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4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6.xml" ContentType="application/vnd.openxmlformats-officedocument.theme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7.xml" ContentType="application/vnd.openxmlformats-officedocument.theme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theme/theme8.xml" ContentType="application/vnd.openxmlformats-officedocument.theme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9.xml" ContentType="application/vnd.openxmlformats-officedocument.theme+xml"/>
  <Override PartName="/ppt/tags/tag3.xml" ContentType="application/vnd.openxmlformats-officedocument.presentationml.tags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theme/theme10.xml" ContentType="application/vnd.openxmlformats-officedocument.theme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theme/theme11.xml" ContentType="application/vnd.openxmlformats-officedocument.theme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theme/theme12.xml" ContentType="application/vnd.openxmlformats-officedocument.theme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theme/theme13.xml" ContentType="application/vnd.openxmlformats-officedocument.theme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theme/theme1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Ex3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Ex4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2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2.xml" ContentType="application/vnd.openxmlformats-officedocument.themeOverride+xml"/>
  <Override PartName="/ppt/charts/chart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3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895" r:id="rId2"/>
    <p:sldMasterId id="2147483920" r:id="rId3"/>
    <p:sldMasterId id="2147483934" r:id="rId4"/>
    <p:sldMasterId id="2147484151" r:id="rId5"/>
    <p:sldMasterId id="2147484154" r:id="rId6"/>
    <p:sldMasterId id="2147484170" r:id="rId7"/>
    <p:sldMasterId id="2147484182" r:id="rId8"/>
    <p:sldMasterId id="2147484195" r:id="rId9"/>
    <p:sldMasterId id="2147484221" r:id="rId10"/>
    <p:sldMasterId id="2147484239" r:id="rId11"/>
    <p:sldMasterId id="2147484251" r:id="rId12"/>
    <p:sldMasterId id="2147484263" r:id="rId13"/>
    <p:sldMasterId id="2147484275" r:id="rId14"/>
  </p:sldMasterIdLst>
  <p:notesMasterIdLst>
    <p:notesMasterId r:id="rId105"/>
  </p:notesMasterIdLst>
  <p:sldIdLst>
    <p:sldId id="4378" r:id="rId15"/>
    <p:sldId id="279" r:id="rId16"/>
    <p:sldId id="4379" r:id="rId17"/>
    <p:sldId id="4380" r:id="rId18"/>
    <p:sldId id="383" r:id="rId19"/>
    <p:sldId id="308" r:id="rId20"/>
    <p:sldId id="286" r:id="rId21"/>
    <p:sldId id="307" r:id="rId22"/>
    <p:sldId id="3805" r:id="rId23"/>
    <p:sldId id="3804" r:id="rId24"/>
    <p:sldId id="3806" r:id="rId25"/>
    <p:sldId id="3803" r:id="rId26"/>
    <p:sldId id="3822" r:id="rId27"/>
    <p:sldId id="281" r:id="rId28"/>
    <p:sldId id="3802" r:id="rId29"/>
    <p:sldId id="278" r:id="rId30"/>
    <p:sldId id="292" r:id="rId31"/>
    <p:sldId id="3815" r:id="rId32"/>
    <p:sldId id="3818" r:id="rId33"/>
    <p:sldId id="271" r:id="rId34"/>
    <p:sldId id="4382" r:id="rId35"/>
    <p:sldId id="4383" r:id="rId36"/>
    <p:sldId id="4388" r:id="rId37"/>
    <p:sldId id="4385" r:id="rId38"/>
    <p:sldId id="270" r:id="rId39"/>
    <p:sldId id="3820" r:id="rId40"/>
    <p:sldId id="261" r:id="rId41"/>
    <p:sldId id="1761" r:id="rId42"/>
    <p:sldId id="4387" r:id="rId43"/>
    <p:sldId id="263" r:id="rId44"/>
    <p:sldId id="306" r:id="rId45"/>
    <p:sldId id="3810" r:id="rId46"/>
    <p:sldId id="3811" r:id="rId47"/>
    <p:sldId id="3816" r:id="rId48"/>
    <p:sldId id="3814" r:id="rId49"/>
    <p:sldId id="4386" r:id="rId50"/>
    <p:sldId id="257" r:id="rId51"/>
    <p:sldId id="4389" r:id="rId52"/>
    <p:sldId id="4397" r:id="rId53"/>
    <p:sldId id="4402" r:id="rId54"/>
    <p:sldId id="4400" r:id="rId55"/>
    <p:sldId id="4398" r:id="rId56"/>
    <p:sldId id="4404" r:id="rId57"/>
    <p:sldId id="256" r:id="rId58"/>
    <p:sldId id="1281" r:id="rId59"/>
    <p:sldId id="1284" r:id="rId60"/>
    <p:sldId id="1285" r:id="rId61"/>
    <p:sldId id="1286" r:id="rId62"/>
    <p:sldId id="1287" r:id="rId63"/>
    <p:sldId id="4390" r:id="rId64"/>
    <p:sldId id="4391" r:id="rId65"/>
    <p:sldId id="258" r:id="rId66"/>
    <p:sldId id="259" r:id="rId67"/>
    <p:sldId id="4392" r:id="rId68"/>
    <p:sldId id="262" r:id="rId69"/>
    <p:sldId id="264" r:id="rId70"/>
    <p:sldId id="265" r:id="rId71"/>
    <p:sldId id="266" r:id="rId72"/>
    <p:sldId id="267" r:id="rId73"/>
    <p:sldId id="268" r:id="rId74"/>
    <p:sldId id="269" r:id="rId75"/>
    <p:sldId id="4393" r:id="rId76"/>
    <p:sldId id="274" r:id="rId77"/>
    <p:sldId id="4394" r:id="rId78"/>
    <p:sldId id="4395" r:id="rId79"/>
    <p:sldId id="272" r:id="rId80"/>
    <p:sldId id="273" r:id="rId81"/>
    <p:sldId id="276" r:id="rId82"/>
    <p:sldId id="275" r:id="rId83"/>
    <p:sldId id="4396" r:id="rId84"/>
    <p:sldId id="4405" r:id="rId85"/>
    <p:sldId id="4406" r:id="rId86"/>
    <p:sldId id="4407" r:id="rId87"/>
    <p:sldId id="4408" r:id="rId88"/>
    <p:sldId id="4409" r:id="rId89"/>
    <p:sldId id="4410" r:id="rId90"/>
    <p:sldId id="4411" r:id="rId91"/>
    <p:sldId id="4412" r:id="rId92"/>
    <p:sldId id="4413" r:id="rId93"/>
    <p:sldId id="4414" r:id="rId94"/>
    <p:sldId id="4415" r:id="rId95"/>
    <p:sldId id="4416" r:id="rId96"/>
    <p:sldId id="4417" r:id="rId97"/>
    <p:sldId id="4418" r:id="rId98"/>
    <p:sldId id="4419" r:id="rId99"/>
    <p:sldId id="4420" r:id="rId100"/>
    <p:sldId id="11647" r:id="rId101"/>
    <p:sldId id="11649" r:id="rId102"/>
    <p:sldId id="11650" r:id="rId103"/>
    <p:sldId id="277" r:id="rId10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6F4D"/>
    <a:srgbClr val="43F3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D92351E-7EE4-4004-875E-9CB5D96E4C27}" v="821" dt="2025-04-21T11:48:12.2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1" d="100"/>
          <a:sy n="91" d="100"/>
        </p:scale>
        <p:origin x="37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63" Type="http://schemas.openxmlformats.org/officeDocument/2006/relationships/slide" Target="slides/slide49.xml"/><Relationship Id="rId68" Type="http://schemas.openxmlformats.org/officeDocument/2006/relationships/slide" Target="slides/slide54.xml"/><Relationship Id="rId84" Type="http://schemas.openxmlformats.org/officeDocument/2006/relationships/slide" Target="slides/slide70.xml"/><Relationship Id="rId89" Type="http://schemas.openxmlformats.org/officeDocument/2006/relationships/slide" Target="slides/slide7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07" Type="http://schemas.openxmlformats.org/officeDocument/2006/relationships/viewProps" Target="viewProps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66" Type="http://schemas.openxmlformats.org/officeDocument/2006/relationships/slide" Target="slides/slide52.xml"/><Relationship Id="rId74" Type="http://schemas.openxmlformats.org/officeDocument/2006/relationships/slide" Target="slides/slide60.xml"/><Relationship Id="rId79" Type="http://schemas.openxmlformats.org/officeDocument/2006/relationships/slide" Target="slides/slide65.xml"/><Relationship Id="rId87" Type="http://schemas.openxmlformats.org/officeDocument/2006/relationships/slide" Target="slides/slide73.xml"/><Relationship Id="rId102" Type="http://schemas.openxmlformats.org/officeDocument/2006/relationships/slide" Target="slides/slide88.xml"/><Relationship Id="rId110" Type="http://schemas.microsoft.com/office/2015/10/relationships/revisionInfo" Target="revisionInfo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7.xml"/><Relationship Id="rId82" Type="http://schemas.openxmlformats.org/officeDocument/2006/relationships/slide" Target="slides/slide68.xml"/><Relationship Id="rId90" Type="http://schemas.openxmlformats.org/officeDocument/2006/relationships/slide" Target="slides/slide76.xml"/><Relationship Id="rId95" Type="http://schemas.openxmlformats.org/officeDocument/2006/relationships/slide" Target="slides/slide81.xml"/><Relationship Id="rId19" Type="http://schemas.openxmlformats.org/officeDocument/2006/relationships/slide" Target="slides/slide5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slide" Target="slides/slide50.xml"/><Relationship Id="rId69" Type="http://schemas.openxmlformats.org/officeDocument/2006/relationships/slide" Target="slides/slide55.xml"/><Relationship Id="rId77" Type="http://schemas.openxmlformats.org/officeDocument/2006/relationships/slide" Target="slides/slide63.xml"/><Relationship Id="rId100" Type="http://schemas.openxmlformats.org/officeDocument/2006/relationships/slide" Target="slides/slide86.xml"/><Relationship Id="rId105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7.xml"/><Relationship Id="rId72" Type="http://schemas.openxmlformats.org/officeDocument/2006/relationships/slide" Target="slides/slide58.xml"/><Relationship Id="rId80" Type="http://schemas.openxmlformats.org/officeDocument/2006/relationships/slide" Target="slides/slide66.xml"/><Relationship Id="rId85" Type="http://schemas.openxmlformats.org/officeDocument/2006/relationships/slide" Target="slides/slide71.xml"/><Relationship Id="rId93" Type="http://schemas.openxmlformats.org/officeDocument/2006/relationships/slide" Target="slides/slide79.xml"/><Relationship Id="rId98" Type="http://schemas.openxmlformats.org/officeDocument/2006/relationships/slide" Target="slides/slide84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slide" Target="slides/slide45.xml"/><Relationship Id="rId67" Type="http://schemas.openxmlformats.org/officeDocument/2006/relationships/slide" Target="slides/slide53.xml"/><Relationship Id="rId103" Type="http://schemas.openxmlformats.org/officeDocument/2006/relationships/slide" Target="slides/slide89.xml"/><Relationship Id="rId108" Type="http://schemas.openxmlformats.org/officeDocument/2006/relationships/theme" Target="theme/theme1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slide" Target="slides/slide48.xml"/><Relationship Id="rId70" Type="http://schemas.openxmlformats.org/officeDocument/2006/relationships/slide" Target="slides/slide56.xml"/><Relationship Id="rId75" Type="http://schemas.openxmlformats.org/officeDocument/2006/relationships/slide" Target="slides/slide61.xml"/><Relationship Id="rId83" Type="http://schemas.openxmlformats.org/officeDocument/2006/relationships/slide" Target="slides/slide69.xml"/><Relationship Id="rId88" Type="http://schemas.openxmlformats.org/officeDocument/2006/relationships/slide" Target="slides/slide74.xml"/><Relationship Id="rId91" Type="http://schemas.openxmlformats.org/officeDocument/2006/relationships/slide" Target="slides/slide77.xml"/><Relationship Id="rId96" Type="http://schemas.openxmlformats.org/officeDocument/2006/relationships/slide" Target="slides/slide8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10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slide" Target="slides/slide46.xml"/><Relationship Id="rId65" Type="http://schemas.openxmlformats.org/officeDocument/2006/relationships/slide" Target="slides/slide51.xml"/><Relationship Id="rId73" Type="http://schemas.openxmlformats.org/officeDocument/2006/relationships/slide" Target="slides/slide59.xml"/><Relationship Id="rId78" Type="http://schemas.openxmlformats.org/officeDocument/2006/relationships/slide" Target="slides/slide64.xml"/><Relationship Id="rId81" Type="http://schemas.openxmlformats.org/officeDocument/2006/relationships/slide" Target="slides/slide67.xml"/><Relationship Id="rId86" Type="http://schemas.openxmlformats.org/officeDocument/2006/relationships/slide" Target="slides/slide72.xml"/><Relationship Id="rId94" Type="http://schemas.openxmlformats.org/officeDocument/2006/relationships/slide" Target="slides/slide80.xml"/><Relationship Id="rId99" Type="http://schemas.openxmlformats.org/officeDocument/2006/relationships/slide" Target="slides/slide85.xml"/><Relationship Id="rId101" Type="http://schemas.openxmlformats.org/officeDocument/2006/relationships/slide" Target="slides/slide8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39" Type="http://schemas.openxmlformats.org/officeDocument/2006/relationships/slide" Target="slides/slide25.xml"/><Relationship Id="rId109" Type="http://schemas.openxmlformats.org/officeDocument/2006/relationships/tableStyles" Target="tableStyles.xml"/><Relationship Id="rId34" Type="http://schemas.openxmlformats.org/officeDocument/2006/relationships/slide" Target="slides/slide20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76" Type="http://schemas.openxmlformats.org/officeDocument/2006/relationships/slide" Target="slides/slide62.xml"/><Relationship Id="rId97" Type="http://schemas.openxmlformats.org/officeDocument/2006/relationships/slide" Target="slides/slide83.xml"/><Relationship Id="rId104" Type="http://schemas.openxmlformats.org/officeDocument/2006/relationships/slide" Target="slides/slide90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7.xml"/><Relationship Id="rId92" Type="http://schemas.openxmlformats.org/officeDocument/2006/relationships/slide" Target="slides/slide7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7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hindware365-my.sharepoint.com/personal/sounak_majumder_hindware_com/Documents/Desktop/Black%20Belt%20Project/Compiled%20Liquidation_Final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8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9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https://hindware365-my.sharepoint.com/personal/sounak_majumder_hindware_com/Documents/Desktop/Pareto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https://hindware365-my.sharepoint.com/personal/sounak_majumder_hindware_com/Documents/Desktop/Pareto.xlsx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https://hindware365-my.sharepoint.com/personal/sounak_majumder_hindware_com/Documents/Desktop/Pareto.xlsx" TargetMode="Externa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https://hindware365-my.sharepoint.com/personal/sounak_majumder_hindware_com/Documents/Desktop/Pareto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sz="1200" b="1" dirty="0">
                <a:solidFill>
                  <a:schemeClr val="tx1"/>
                </a:solidFill>
              </a:rPr>
              <a:t>S-100</a:t>
            </a:r>
          </a:p>
        </c:rich>
      </c:tx>
      <c:layout>
        <c:manualLayout>
          <c:xMode val="edge"/>
          <c:yMode val="edge"/>
          <c:x val="0.46138911902538132"/>
          <c:y val="6.45299408763470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104502162711638"/>
          <c:y val="0.20175257871236635"/>
          <c:w val="0.85106703849292642"/>
          <c:h val="0.471330865515168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46</c:f>
              <c:strCache>
                <c:ptCount val="45"/>
                <c:pt idx="0">
                  <c:v>2021-04</c:v>
                </c:pt>
                <c:pt idx="1">
                  <c:v>2021-05</c:v>
                </c:pt>
                <c:pt idx="2">
                  <c:v>2021-06</c:v>
                </c:pt>
                <c:pt idx="3">
                  <c:v>2021-07</c:v>
                </c:pt>
                <c:pt idx="4">
                  <c:v>2021-08</c:v>
                </c:pt>
                <c:pt idx="5">
                  <c:v>2021-09</c:v>
                </c:pt>
                <c:pt idx="6">
                  <c:v>2021-10</c:v>
                </c:pt>
                <c:pt idx="7">
                  <c:v>2021-11</c:v>
                </c:pt>
                <c:pt idx="8">
                  <c:v>2021-12</c:v>
                </c:pt>
                <c:pt idx="9">
                  <c:v>2022-01</c:v>
                </c:pt>
                <c:pt idx="10">
                  <c:v>2022-02</c:v>
                </c:pt>
                <c:pt idx="11">
                  <c:v>2022-03</c:v>
                </c:pt>
                <c:pt idx="12">
                  <c:v>2022-04</c:v>
                </c:pt>
                <c:pt idx="13">
                  <c:v>2022-05</c:v>
                </c:pt>
                <c:pt idx="14">
                  <c:v>2022-06</c:v>
                </c:pt>
                <c:pt idx="15">
                  <c:v>2022-07</c:v>
                </c:pt>
                <c:pt idx="16">
                  <c:v>2022-08</c:v>
                </c:pt>
                <c:pt idx="17">
                  <c:v>2022-09</c:v>
                </c:pt>
                <c:pt idx="18">
                  <c:v>2022-10</c:v>
                </c:pt>
                <c:pt idx="19">
                  <c:v>2022-11</c:v>
                </c:pt>
                <c:pt idx="20">
                  <c:v>2022-12</c:v>
                </c:pt>
                <c:pt idx="21">
                  <c:v>2023-01</c:v>
                </c:pt>
                <c:pt idx="22">
                  <c:v>2023-02</c:v>
                </c:pt>
                <c:pt idx="23">
                  <c:v>2023-03</c:v>
                </c:pt>
                <c:pt idx="24">
                  <c:v>2023-04</c:v>
                </c:pt>
                <c:pt idx="25">
                  <c:v>2023-05</c:v>
                </c:pt>
                <c:pt idx="26">
                  <c:v>2023-06</c:v>
                </c:pt>
                <c:pt idx="27">
                  <c:v>2023-07</c:v>
                </c:pt>
                <c:pt idx="28">
                  <c:v>2023-08</c:v>
                </c:pt>
                <c:pt idx="29">
                  <c:v>2023-09</c:v>
                </c:pt>
                <c:pt idx="30">
                  <c:v>2023-10</c:v>
                </c:pt>
                <c:pt idx="31">
                  <c:v>2023-11</c:v>
                </c:pt>
                <c:pt idx="32">
                  <c:v>2023-12</c:v>
                </c:pt>
                <c:pt idx="33">
                  <c:v>2024-01</c:v>
                </c:pt>
                <c:pt idx="34">
                  <c:v>2024-02</c:v>
                </c:pt>
                <c:pt idx="35">
                  <c:v>2024-03</c:v>
                </c:pt>
                <c:pt idx="36">
                  <c:v>2024-04</c:v>
                </c:pt>
                <c:pt idx="37">
                  <c:v>2024-05</c:v>
                </c:pt>
                <c:pt idx="38">
                  <c:v>2024-06</c:v>
                </c:pt>
                <c:pt idx="39">
                  <c:v>2024-07</c:v>
                </c:pt>
                <c:pt idx="40">
                  <c:v>2024-08</c:v>
                </c:pt>
                <c:pt idx="41">
                  <c:v>2024-09</c:v>
                </c:pt>
                <c:pt idx="42">
                  <c:v>2024-10</c:v>
                </c:pt>
                <c:pt idx="43">
                  <c:v>2024-11</c:v>
                </c:pt>
                <c:pt idx="44">
                  <c:v>2024-12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247</c:v>
                </c:pt>
                <c:pt idx="1">
                  <c:v>66</c:v>
                </c:pt>
                <c:pt idx="2">
                  <c:v>314</c:v>
                </c:pt>
                <c:pt idx="3">
                  <c:v>428</c:v>
                </c:pt>
                <c:pt idx="4">
                  <c:v>345</c:v>
                </c:pt>
                <c:pt idx="5">
                  <c:v>484</c:v>
                </c:pt>
                <c:pt idx="6">
                  <c:v>780</c:v>
                </c:pt>
                <c:pt idx="7">
                  <c:v>896</c:v>
                </c:pt>
                <c:pt idx="8">
                  <c:v>918</c:v>
                </c:pt>
                <c:pt idx="9">
                  <c:v>802</c:v>
                </c:pt>
                <c:pt idx="10">
                  <c:v>734</c:v>
                </c:pt>
                <c:pt idx="11">
                  <c:v>1036</c:v>
                </c:pt>
                <c:pt idx="12">
                  <c:v>1178</c:v>
                </c:pt>
                <c:pt idx="13">
                  <c:v>1019</c:v>
                </c:pt>
                <c:pt idx="14">
                  <c:v>662</c:v>
                </c:pt>
                <c:pt idx="15">
                  <c:v>819</c:v>
                </c:pt>
                <c:pt idx="16">
                  <c:v>849</c:v>
                </c:pt>
                <c:pt idx="17">
                  <c:v>1139</c:v>
                </c:pt>
                <c:pt idx="18">
                  <c:v>883</c:v>
                </c:pt>
                <c:pt idx="19">
                  <c:v>515</c:v>
                </c:pt>
                <c:pt idx="20">
                  <c:v>678</c:v>
                </c:pt>
                <c:pt idx="21">
                  <c:v>529</c:v>
                </c:pt>
                <c:pt idx="22">
                  <c:v>566</c:v>
                </c:pt>
                <c:pt idx="23">
                  <c:v>967</c:v>
                </c:pt>
                <c:pt idx="24">
                  <c:v>657</c:v>
                </c:pt>
                <c:pt idx="25">
                  <c:v>787</c:v>
                </c:pt>
                <c:pt idx="26">
                  <c:v>785</c:v>
                </c:pt>
                <c:pt idx="27">
                  <c:v>638</c:v>
                </c:pt>
                <c:pt idx="28">
                  <c:v>631</c:v>
                </c:pt>
                <c:pt idx="29">
                  <c:v>945</c:v>
                </c:pt>
                <c:pt idx="30">
                  <c:v>668</c:v>
                </c:pt>
                <c:pt idx="31">
                  <c:v>581</c:v>
                </c:pt>
                <c:pt idx="32">
                  <c:v>565</c:v>
                </c:pt>
                <c:pt idx="33">
                  <c:v>956</c:v>
                </c:pt>
                <c:pt idx="34">
                  <c:v>947</c:v>
                </c:pt>
                <c:pt idx="35">
                  <c:v>902</c:v>
                </c:pt>
                <c:pt idx="36">
                  <c:v>637</c:v>
                </c:pt>
                <c:pt idx="37">
                  <c:v>984</c:v>
                </c:pt>
                <c:pt idx="38">
                  <c:v>990</c:v>
                </c:pt>
                <c:pt idx="39">
                  <c:v>703</c:v>
                </c:pt>
                <c:pt idx="40">
                  <c:v>746</c:v>
                </c:pt>
                <c:pt idx="41">
                  <c:v>8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EC5-4F19-B531-CC6BAB27761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edic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46</c:f>
              <c:strCache>
                <c:ptCount val="45"/>
                <c:pt idx="0">
                  <c:v>2021-04</c:v>
                </c:pt>
                <c:pt idx="1">
                  <c:v>2021-05</c:v>
                </c:pt>
                <c:pt idx="2">
                  <c:v>2021-06</c:v>
                </c:pt>
                <c:pt idx="3">
                  <c:v>2021-07</c:v>
                </c:pt>
                <c:pt idx="4">
                  <c:v>2021-08</c:v>
                </c:pt>
                <c:pt idx="5">
                  <c:v>2021-09</c:v>
                </c:pt>
                <c:pt idx="6">
                  <c:v>2021-10</c:v>
                </c:pt>
                <c:pt idx="7">
                  <c:v>2021-11</c:v>
                </c:pt>
                <c:pt idx="8">
                  <c:v>2021-12</c:v>
                </c:pt>
                <c:pt idx="9">
                  <c:v>2022-01</c:v>
                </c:pt>
                <c:pt idx="10">
                  <c:v>2022-02</c:v>
                </c:pt>
                <c:pt idx="11">
                  <c:v>2022-03</c:v>
                </c:pt>
                <c:pt idx="12">
                  <c:v>2022-04</c:v>
                </c:pt>
                <c:pt idx="13">
                  <c:v>2022-05</c:v>
                </c:pt>
                <c:pt idx="14">
                  <c:v>2022-06</c:v>
                </c:pt>
                <c:pt idx="15">
                  <c:v>2022-07</c:v>
                </c:pt>
                <c:pt idx="16">
                  <c:v>2022-08</c:v>
                </c:pt>
                <c:pt idx="17">
                  <c:v>2022-09</c:v>
                </c:pt>
                <c:pt idx="18">
                  <c:v>2022-10</c:v>
                </c:pt>
                <c:pt idx="19">
                  <c:v>2022-11</c:v>
                </c:pt>
                <c:pt idx="20">
                  <c:v>2022-12</c:v>
                </c:pt>
                <c:pt idx="21">
                  <c:v>2023-01</c:v>
                </c:pt>
                <c:pt idx="22">
                  <c:v>2023-02</c:v>
                </c:pt>
                <c:pt idx="23">
                  <c:v>2023-03</c:v>
                </c:pt>
                <c:pt idx="24">
                  <c:v>2023-04</c:v>
                </c:pt>
                <c:pt idx="25">
                  <c:v>2023-05</c:v>
                </c:pt>
                <c:pt idx="26">
                  <c:v>2023-06</c:v>
                </c:pt>
                <c:pt idx="27">
                  <c:v>2023-07</c:v>
                </c:pt>
                <c:pt idx="28">
                  <c:v>2023-08</c:v>
                </c:pt>
                <c:pt idx="29">
                  <c:v>2023-09</c:v>
                </c:pt>
                <c:pt idx="30">
                  <c:v>2023-10</c:v>
                </c:pt>
                <c:pt idx="31">
                  <c:v>2023-11</c:v>
                </c:pt>
                <c:pt idx="32">
                  <c:v>2023-12</c:v>
                </c:pt>
                <c:pt idx="33">
                  <c:v>2024-01</c:v>
                </c:pt>
                <c:pt idx="34">
                  <c:v>2024-02</c:v>
                </c:pt>
                <c:pt idx="35">
                  <c:v>2024-03</c:v>
                </c:pt>
                <c:pt idx="36">
                  <c:v>2024-04</c:v>
                </c:pt>
                <c:pt idx="37">
                  <c:v>2024-05</c:v>
                </c:pt>
                <c:pt idx="38">
                  <c:v>2024-06</c:v>
                </c:pt>
                <c:pt idx="39">
                  <c:v>2024-07</c:v>
                </c:pt>
                <c:pt idx="40">
                  <c:v>2024-08</c:v>
                </c:pt>
                <c:pt idx="41">
                  <c:v>2024-09</c:v>
                </c:pt>
                <c:pt idx="42">
                  <c:v>2024-10</c:v>
                </c:pt>
                <c:pt idx="43">
                  <c:v>2024-11</c:v>
                </c:pt>
                <c:pt idx="44">
                  <c:v>2024-12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277</c:v>
                </c:pt>
                <c:pt idx="1">
                  <c:v>58</c:v>
                </c:pt>
                <c:pt idx="2">
                  <c:v>288</c:v>
                </c:pt>
                <c:pt idx="3">
                  <c:v>414</c:v>
                </c:pt>
                <c:pt idx="4">
                  <c:v>405</c:v>
                </c:pt>
                <c:pt idx="5">
                  <c:v>559</c:v>
                </c:pt>
                <c:pt idx="6">
                  <c:v>808</c:v>
                </c:pt>
                <c:pt idx="7">
                  <c:v>941</c:v>
                </c:pt>
                <c:pt idx="8">
                  <c:v>896</c:v>
                </c:pt>
                <c:pt idx="9">
                  <c:v>789</c:v>
                </c:pt>
                <c:pt idx="10">
                  <c:v>748</c:v>
                </c:pt>
                <c:pt idx="11">
                  <c:v>1094</c:v>
                </c:pt>
                <c:pt idx="12">
                  <c:v>1114</c:v>
                </c:pt>
                <c:pt idx="13">
                  <c:v>1042</c:v>
                </c:pt>
                <c:pt idx="14">
                  <c:v>627</c:v>
                </c:pt>
                <c:pt idx="15">
                  <c:v>817</c:v>
                </c:pt>
                <c:pt idx="16">
                  <c:v>821</c:v>
                </c:pt>
                <c:pt idx="17">
                  <c:v>1104</c:v>
                </c:pt>
                <c:pt idx="18">
                  <c:v>872</c:v>
                </c:pt>
                <c:pt idx="19">
                  <c:v>555</c:v>
                </c:pt>
                <c:pt idx="20">
                  <c:v>692</c:v>
                </c:pt>
                <c:pt idx="21">
                  <c:v>570</c:v>
                </c:pt>
                <c:pt idx="22">
                  <c:v>572</c:v>
                </c:pt>
                <c:pt idx="23">
                  <c:v>930</c:v>
                </c:pt>
                <c:pt idx="24">
                  <c:v>652</c:v>
                </c:pt>
                <c:pt idx="25">
                  <c:v>801</c:v>
                </c:pt>
                <c:pt idx="26">
                  <c:v>781</c:v>
                </c:pt>
                <c:pt idx="27">
                  <c:v>586</c:v>
                </c:pt>
                <c:pt idx="28">
                  <c:v>564</c:v>
                </c:pt>
                <c:pt idx="29">
                  <c:v>1085</c:v>
                </c:pt>
                <c:pt idx="30">
                  <c:v>623</c:v>
                </c:pt>
                <c:pt idx="31">
                  <c:v>538</c:v>
                </c:pt>
                <c:pt idx="32">
                  <c:v>529</c:v>
                </c:pt>
                <c:pt idx="33">
                  <c:v>870</c:v>
                </c:pt>
                <c:pt idx="34">
                  <c:v>886</c:v>
                </c:pt>
                <c:pt idx="35">
                  <c:v>902</c:v>
                </c:pt>
                <c:pt idx="36">
                  <c:v>626</c:v>
                </c:pt>
                <c:pt idx="37">
                  <c:v>903</c:v>
                </c:pt>
                <c:pt idx="38">
                  <c:v>867</c:v>
                </c:pt>
                <c:pt idx="39">
                  <c:v>668</c:v>
                </c:pt>
                <c:pt idx="40">
                  <c:v>682</c:v>
                </c:pt>
                <c:pt idx="41">
                  <c:v>784</c:v>
                </c:pt>
                <c:pt idx="42">
                  <c:v>912</c:v>
                </c:pt>
                <c:pt idx="43">
                  <c:v>1218</c:v>
                </c:pt>
                <c:pt idx="44">
                  <c:v>7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EC5-4F19-B531-CC6BAB2776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4687984"/>
        <c:axId val="1092037759"/>
      </c:lineChart>
      <c:catAx>
        <c:axId val="684687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900" dirty="0"/>
                  <a:t>FY-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2037759"/>
        <c:crosses val="autoZero"/>
        <c:auto val="1"/>
        <c:lblAlgn val="ctr"/>
        <c:lblOffset val="100"/>
        <c:noMultiLvlLbl val="0"/>
      </c:catAx>
      <c:valAx>
        <c:axId val="109203775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900" dirty="0"/>
                  <a:t>Quantit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468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>
          <a:lumMod val="65000"/>
          <a:lumOff val="3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sz="1200" b="1" dirty="0">
                <a:solidFill>
                  <a:schemeClr val="tx1"/>
                </a:solidFill>
              </a:rPr>
              <a:t>P-tra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104502162711638"/>
          <c:y val="0.20175257871236635"/>
          <c:w val="0.85106703849292642"/>
          <c:h val="0.471330865515168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46</c:f>
              <c:strCache>
                <c:ptCount val="45"/>
                <c:pt idx="0">
                  <c:v>2021-04</c:v>
                </c:pt>
                <c:pt idx="1">
                  <c:v>2021-05</c:v>
                </c:pt>
                <c:pt idx="2">
                  <c:v>2021-06</c:v>
                </c:pt>
                <c:pt idx="3">
                  <c:v>2021-07</c:v>
                </c:pt>
                <c:pt idx="4">
                  <c:v>2021-08</c:v>
                </c:pt>
                <c:pt idx="5">
                  <c:v>2021-09</c:v>
                </c:pt>
                <c:pt idx="6">
                  <c:v>2021-10</c:v>
                </c:pt>
                <c:pt idx="7">
                  <c:v>2021-11</c:v>
                </c:pt>
                <c:pt idx="8">
                  <c:v>2021-12</c:v>
                </c:pt>
                <c:pt idx="9">
                  <c:v>2022-01</c:v>
                </c:pt>
                <c:pt idx="10">
                  <c:v>2022-02</c:v>
                </c:pt>
                <c:pt idx="11">
                  <c:v>2022-03</c:v>
                </c:pt>
                <c:pt idx="12">
                  <c:v>2022-04</c:v>
                </c:pt>
                <c:pt idx="13">
                  <c:v>2022-05</c:v>
                </c:pt>
                <c:pt idx="14">
                  <c:v>2022-06</c:v>
                </c:pt>
                <c:pt idx="15">
                  <c:v>2022-07</c:v>
                </c:pt>
                <c:pt idx="16">
                  <c:v>2022-08</c:v>
                </c:pt>
                <c:pt idx="17">
                  <c:v>2022-09</c:v>
                </c:pt>
                <c:pt idx="18">
                  <c:v>2022-10</c:v>
                </c:pt>
                <c:pt idx="19">
                  <c:v>2022-11</c:v>
                </c:pt>
                <c:pt idx="20">
                  <c:v>2022-12</c:v>
                </c:pt>
                <c:pt idx="21">
                  <c:v>2023-01</c:v>
                </c:pt>
                <c:pt idx="22">
                  <c:v>2023-02</c:v>
                </c:pt>
                <c:pt idx="23">
                  <c:v>2023-03</c:v>
                </c:pt>
                <c:pt idx="24">
                  <c:v>2023-04</c:v>
                </c:pt>
                <c:pt idx="25">
                  <c:v>2023-05</c:v>
                </c:pt>
                <c:pt idx="26">
                  <c:v>2023-06</c:v>
                </c:pt>
                <c:pt idx="27">
                  <c:v>2023-07</c:v>
                </c:pt>
                <c:pt idx="28">
                  <c:v>2023-08</c:v>
                </c:pt>
                <c:pt idx="29">
                  <c:v>2023-09</c:v>
                </c:pt>
                <c:pt idx="30">
                  <c:v>2023-10</c:v>
                </c:pt>
                <c:pt idx="31">
                  <c:v>2023-11</c:v>
                </c:pt>
                <c:pt idx="32">
                  <c:v>2023-12</c:v>
                </c:pt>
                <c:pt idx="33">
                  <c:v>2024-01</c:v>
                </c:pt>
                <c:pt idx="34">
                  <c:v>2024-02</c:v>
                </c:pt>
                <c:pt idx="35">
                  <c:v>2024-03</c:v>
                </c:pt>
                <c:pt idx="36">
                  <c:v>2024-04</c:v>
                </c:pt>
                <c:pt idx="37">
                  <c:v>2024-05</c:v>
                </c:pt>
                <c:pt idx="38">
                  <c:v>2024-06</c:v>
                </c:pt>
                <c:pt idx="39">
                  <c:v>2024-07</c:v>
                </c:pt>
                <c:pt idx="40">
                  <c:v>2024-08</c:v>
                </c:pt>
                <c:pt idx="41">
                  <c:v>2024-09</c:v>
                </c:pt>
                <c:pt idx="42">
                  <c:v>2024-10</c:v>
                </c:pt>
                <c:pt idx="43">
                  <c:v>2024-11</c:v>
                </c:pt>
                <c:pt idx="44">
                  <c:v>2024-12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1324</c:v>
                </c:pt>
                <c:pt idx="1">
                  <c:v>648</c:v>
                </c:pt>
                <c:pt idx="2">
                  <c:v>1894</c:v>
                </c:pt>
                <c:pt idx="3">
                  <c:v>2222</c:v>
                </c:pt>
                <c:pt idx="4">
                  <c:v>2045</c:v>
                </c:pt>
                <c:pt idx="5">
                  <c:v>2982</c:v>
                </c:pt>
                <c:pt idx="6">
                  <c:v>2458</c:v>
                </c:pt>
                <c:pt idx="7">
                  <c:v>3708</c:v>
                </c:pt>
                <c:pt idx="8">
                  <c:v>2788</c:v>
                </c:pt>
                <c:pt idx="9">
                  <c:v>2797</c:v>
                </c:pt>
                <c:pt idx="10">
                  <c:v>2614</c:v>
                </c:pt>
                <c:pt idx="11">
                  <c:v>2345</c:v>
                </c:pt>
                <c:pt idx="12">
                  <c:v>2474</c:v>
                </c:pt>
                <c:pt idx="13">
                  <c:v>2307</c:v>
                </c:pt>
                <c:pt idx="14">
                  <c:v>3595</c:v>
                </c:pt>
                <c:pt idx="15">
                  <c:v>2634</c:v>
                </c:pt>
                <c:pt idx="16">
                  <c:v>3245</c:v>
                </c:pt>
                <c:pt idx="17">
                  <c:v>3841</c:v>
                </c:pt>
                <c:pt idx="18">
                  <c:v>3225</c:v>
                </c:pt>
                <c:pt idx="19">
                  <c:v>2309</c:v>
                </c:pt>
                <c:pt idx="20">
                  <c:v>2318</c:v>
                </c:pt>
                <c:pt idx="21">
                  <c:v>3879</c:v>
                </c:pt>
                <c:pt idx="22">
                  <c:v>2637</c:v>
                </c:pt>
                <c:pt idx="23">
                  <c:v>2506</c:v>
                </c:pt>
                <c:pt idx="24">
                  <c:v>2137</c:v>
                </c:pt>
                <c:pt idx="25">
                  <c:v>3331</c:v>
                </c:pt>
                <c:pt idx="26">
                  <c:v>3135</c:v>
                </c:pt>
                <c:pt idx="27">
                  <c:v>2184</c:v>
                </c:pt>
                <c:pt idx="28">
                  <c:v>3112</c:v>
                </c:pt>
                <c:pt idx="29">
                  <c:v>3233</c:v>
                </c:pt>
                <c:pt idx="30">
                  <c:v>3005</c:v>
                </c:pt>
                <c:pt idx="31">
                  <c:v>2813</c:v>
                </c:pt>
                <c:pt idx="32">
                  <c:v>3064</c:v>
                </c:pt>
                <c:pt idx="33">
                  <c:v>2280</c:v>
                </c:pt>
                <c:pt idx="34">
                  <c:v>2596</c:v>
                </c:pt>
                <c:pt idx="35">
                  <c:v>3447</c:v>
                </c:pt>
                <c:pt idx="36">
                  <c:v>1697</c:v>
                </c:pt>
                <c:pt idx="37">
                  <c:v>2896</c:v>
                </c:pt>
                <c:pt idx="38">
                  <c:v>2524</c:v>
                </c:pt>
                <c:pt idx="39">
                  <c:v>2596</c:v>
                </c:pt>
                <c:pt idx="40">
                  <c:v>3177</c:v>
                </c:pt>
                <c:pt idx="41">
                  <c:v>35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4C5-4292-A8F9-87597854F25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edic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46</c:f>
              <c:strCache>
                <c:ptCount val="45"/>
                <c:pt idx="0">
                  <c:v>2021-04</c:v>
                </c:pt>
                <c:pt idx="1">
                  <c:v>2021-05</c:v>
                </c:pt>
                <c:pt idx="2">
                  <c:v>2021-06</c:v>
                </c:pt>
                <c:pt idx="3">
                  <c:v>2021-07</c:v>
                </c:pt>
                <c:pt idx="4">
                  <c:v>2021-08</c:v>
                </c:pt>
                <c:pt idx="5">
                  <c:v>2021-09</c:v>
                </c:pt>
                <c:pt idx="6">
                  <c:v>2021-10</c:v>
                </c:pt>
                <c:pt idx="7">
                  <c:v>2021-11</c:v>
                </c:pt>
                <c:pt idx="8">
                  <c:v>2021-12</c:v>
                </c:pt>
                <c:pt idx="9">
                  <c:v>2022-01</c:v>
                </c:pt>
                <c:pt idx="10">
                  <c:v>2022-02</c:v>
                </c:pt>
                <c:pt idx="11">
                  <c:v>2022-03</c:v>
                </c:pt>
                <c:pt idx="12">
                  <c:v>2022-04</c:v>
                </c:pt>
                <c:pt idx="13">
                  <c:v>2022-05</c:v>
                </c:pt>
                <c:pt idx="14">
                  <c:v>2022-06</c:v>
                </c:pt>
                <c:pt idx="15">
                  <c:v>2022-07</c:v>
                </c:pt>
                <c:pt idx="16">
                  <c:v>2022-08</c:v>
                </c:pt>
                <c:pt idx="17">
                  <c:v>2022-09</c:v>
                </c:pt>
                <c:pt idx="18">
                  <c:v>2022-10</c:v>
                </c:pt>
                <c:pt idx="19">
                  <c:v>2022-11</c:v>
                </c:pt>
                <c:pt idx="20">
                  <c:v>2022-12</c:v>
                </c:pt>
                <c:pt idx="21">
                  <c:v>2023-01</c:v>
                </c:pt>
                <c:pt idx="22">
                  <c:v>2023-02</c:v>
                </c:pt>
                <c:pt idx="23">
                  <c:v>2023-03</c:v>
                </c:pt>
                <c:pt idx="24">
                  <c:v>2023-04</c:v>
                </c:pt>
                <c:pt idx="25">
                  <c:v>2023-05</c:v>
                </c:pt>
                <c:pt idx="26">
                  <c:v>2023-06</c:v>
                </c:pt>
                <c:pt idx="27">
                  <c:v>2023-07</c:v>
                </c:pt>
                <c:pt idx="28">
                  <c:v>2023-08</c:v>
                </c:pt>
                <c:pt idx="29">
                  <c:v>2023-09</c:v>
                </c:pt>
                <c:pt idx="30">
                  <c:v>2023-10</c:v>
                </c:pt>
                <c:pt idx="31">
                  <c:v>2023-11</c:v>
                </c:pt>
                <c:pt idx="32">
                  <c:v>2023-12</c:v>
                </c:pt>
                <c:pt idx="33">
                  <c:v>2024-01</c:v>
                </c:pt>
                <c:pt idx="34">
                  <c:v>2024-02</c:v>
                </c:pt>
                <c:pt idx="35">
                  <c:v>2024-03</c:v>
                </c:pt>
                <c:pt idx="36">
                  <c:v>2024-04</c:v>
                </c:pt>
                <c:pt idx="37">
                  <c:v>2024-05</c:v>
                </c:pt>
                <c:pt idx="38">
                  <c:v>2024-06</c:v>
                </c:pt>
                <c:pt idx="39">
                  <c:v>2024-07</c:v>
                </c:pt>
                <c:pt idx="40">
                  <c:v>2024-08</c:v>
                </c:pt>
                <c:pt idx="41">
                  <c:v>2024-09</c:v>
                </c:pt>
                <c:pt idx="42">
                  <c:v>2024-10</c:v>
                </c:pt>
                <c:pt idx="43">
                  <c:v>2024-11</c:v>
                </c:pt>
                <c:pt idx="44">
                  <c:v>2024-12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1166</c:v>
                </c:pt>
                <c:pt idx="1">
                  <c:v>647</c:v>
                </c:pt>
                <c:pt idx="2">
                  <c:v>1783</c:v>
                </c:pt>
                <c:pt idx="3">
                  <c:v>2174</c:v>
                </c:pt>
                <c:pt idx="4">
                  <c:v>2164</c:v>
                </c:pt>
                <c:pt idx="5">
                  <c:v>3114</c:v>
                </c:pt>
                <c:pt idx="6">
                  <c:v>2449</c:v>
                </c:pt>
                <c:pt idx="7">
                  <c:v>3691</c:v>
                </c:pt>
                <c:pt idx="8">
                  <c:v>2550</c:v>
                </c:pt>
                <c:pt idx="9">
                  <c:v>2828</c:v>
                </c:pt>
                <c:pt idx="10">
                  <c:v>2588</c:v>
                </c:pt>
                <c:pt idx="11">
                  <c:v>2375</c:v>
                </c:pt>
                <c:pt idx="12">
                  <c:v>2376</c:v>
                </c:pt>
                <c:pt idx="13">
                  <c:v>2536</c:v>
                </c:pt>
                <c:pt idx="14">
                  <c:v>3830</c:v>
                </c:pt>
                <c:pt idx="15">
                  <c:v>2811</c:v>
                </c:pt>
                <c:pt idx="16">
                  <c:v>3084</c:v>
                </c:pt>
                <c:pt idx="17">
                  <c:v>3834</c:v>
                </c:pt>
                <c:pt idx="18">
                  <c:v>3228</c:v>
                </c:pt>
                <c:pt idx="19">
                  <c:v>2592</c:v>
                </c:pt>
                <c:pt idx="20">
                  <c:v>2525</c:v>
                </c:pt>
                <c:pt idx="21">
                  <c:v>3704</c:v>
                </c:pt>
                <c:pt idx="22">
                  <c:v>2707</c:v>
                </c:pt>
                <c:pt idx="23">
                  <c:v>2751</c:v>
                </c:pt>
                <c:pt idx="24">
                  <c:v>2209</c:v>
                </c:pt>
                <c:pt idx="25">
                  <c:v>3070</c:v>
                </c:pt>
                <c:pt idx="26">
                  <c:v>3114</c:v>
                </c:pt>
                <c:pt idx="27">
                  <c:v>2194</c:v>
                </c:pt>
                <c:pt idx="28">
                  <c:v>2888</c:v>
                </c:pt>
                <c:pt idx="29">
                  <c:v>3313</c:v>
                </c:pt>
                <c:pt idx="30">
                  <c:v>2876</c:v>
                </c:pt>
                <c:pt idx="31">
                  <c:v>2698</c:v>
                </c:pt>
                <c:pt idx="32">
                  <c:v>3081</c:v>
                </c:pt>
                <c:pt idx="33">
                  <c:v>2224</c:v>
                </c:pt>
                <c:pt idx="34">
                  <c:v>2531</c:v>
                </c:pt>
                <c:pt idx="35">
                  <c:v>3295</c:v>
                </c:pt>
                <c:pt idx="36">
                  <c:v>1723</c:v>
                </c:pt>
                <c:pt idx="37">
                  <c:v>2575</c:v>
                </c:pt>
                <c:pt idx="38">
                  <c:v>2376</c:v>
                </c:pt>
                <c:pt idx="39">
                  <c:v>2602</c:v>
                </c:pt>
                <c:pt idx="40">
                  <c:v>2909</c:v>
                </c:pt>
                <c:pt idx="41">
                  <c:v>3325</c:v>
                </c:pt>
                <c:pt idx="42">
                  <c:v>3541</c:v>
                </c:pt>
                <c:pt idx="43">
                  <c:v>3549</c:v>
                </c:pt>
                <c:pt idx="44">
                  <c:v>35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C5-4292-A8F9-87597854F2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4687984"/>
        <c:axId val="1092037759"/>
      </c:lineChart>
      <c:catAx>
        <c:axId val="684687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900" dirty="0"/>
                  <a:t>FY-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2037759"/>
        <c:crosses val="autoZero"/>
        <c:auto val="1"/>
        <c:lblAlgn val="ctr"/>
        <c:lblOffset val="100"/>
        <c:noMultiLvlLbl val="0"/>
      </c:catAx>
      <c:valAx>
        <c:axId val="109203775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900" dirty="0"/>
                  <a:t>Quantit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468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>
          <a:lumMod val="65000"/>
          <a:lumOff val="3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sz="1200" b="1" dirty="0">
                <a:solidFill>
                  <a:schemeClr val="tx1"/>
                </a:solidFill>
              </a:rPr>
              <a:t>S-300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104502162711638"/>
          <c:y val="0.20175257871236635"/>
          <c:w val="0.85106703849292642"/>
          <c:h val="0.471330865515168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46</c:f>
              <c:strCache>
                <c:ptCount val="45"/>
                <c:pt idx="0">
                  <c:v>2021-04</c:v>
                </c:pt>
                <c:pt idx="1">
                  <c:v>2021-05</c:v>
                </c:pt>
                <c:pt idx="2">
                  <c:v>2021-06</c:v>
                </c:pt>
                <c:pt idx="3">
                  <c:v>2021-07</c:v>
                </c:pt>
                <c:pt idx="4">
                  <c:v>2021-08</c:v>
                </c:pt>
                <c:pt idx="5">
                  <c:v>2021-09</c:v>
                </c:pt>
                <c:pt idx="6">
                  <c:v>2021-10</c:v>
                </c:pt>
                <c:pt idx="7">
                  <c:v>2021-11</c:v>
                </c:pt>
                <c:pt idx="8">
                  <c:v>2021-12</c:v>
                </c:pt>
                <c:pt idx="9">
                  <c:v>2022-01</c:v>
                </c:pt>
                <c:pt idx="10">
                  <c:v>2022-02</c:v>
                </c:pt>
                <c:pt idx="11">
                  <c:v>2022-03</c:v>
                </c:pt>
                <c:pt idx="12">
                  <c:v>2022-04</c:v>
                </c:pt>
                <c:pt idx="13">
                  <c:v>2022-05</c:v>
                </c:pt>
                <c:pt idx="14">
                  <c:v>2022-06</c:v>
                </c:pt>
                <c:pt idx="15">
                  <c:v>2022-07</c:v>
                </c:pt>
                <c:pt idx="16">
                  <c:v>2022-08</c:v>
                </c:pt>
                <c:pt idx="17">
                  <c:v>2022-09</c:v>
                </c:pt>
                <c:pt idx="18">
                  <c:v>2022-10</c:v>
                </c:pt>
                <c:pt idx="19">
                  <c:v>2022-11</c:v>
                </c:pt>
                <c:pt idx="20">
                  <c:v>2022-12</c:v>
                </c:pt>
                <c:pt idx="21">
                  <c:v>2023-01</c:v>
                </c:pt>
                <c:pt idx="22">
                  <c:v>2023-02</c:v>
                </c:pt>
                <c:pt idx="23">
                  <c:v>2023-03</c:v>
                </c:pt>
                <c:pt idx="24">
                  <c:v>2023-04</c:v>
                </c:pt>
                <c:pt idx="25">
                  <c:v>2023-05</c:v>
                </c:pt>
                <c:pt idx="26">
                  <c:v>2023-06</c:v>
                </c:pt>
                <c:pt idx="27">
                  <c:v>2023-07</c:v>
                </c:pt>
                <c:pt idx="28">
                  <c:v>2023-08</c:v>
                </c:pt>
                <c:pt idx="29">
                  <c:v>2023-09</c:v>
                </c:pt>
                <c:pt idx="30">
                  <c:v>2023-10</c:v>
                </c:pt>
                <c:pt idx="31">
                  <c:v>2023-11</c:v>
                </c:pt>
                <c:pt idx="32">
                  <c:v>2023-12</c:v>
                </c:pt>
                <c:pt idx="33">
                  <c:v>2024-01</c:v>
                </c:pt>
                <c:pt idx="34">
                  <c:v>2024-02</c:v>
                </c:pt>
                <c:pt idx="35">
                  <c:v>2024-03</c:v>
                </c:pt>
                <c:pt idx="36">
                  <c:v>2024-04</c:v>
                </c:pt>
                <c:pt idx="37">
                  <c:v>2024-05</c:v>
                </c:pt>
                <c:pt idx="38">
                  <c:v>2024-06</c:v>
                </c:pt>
                <c:pt idx="39">
                  <c:v>2024-07</c:v>
                </c:pt>
                <c:pt idx="40">
                  <c:v>2024-08</c:v>
                </c:pt>
                <c:pt idx="41">
                  <c:v>2024-09</c:v>
                </c:pt>
                <c:pt idx="42">
                  <c:v>2024-10</c:v>
                </c:pt>
                <c:pt idx="43">
                  <c:v>2024-11</c:v>
                </c:pt>
                <c:pt idx="44">
                  <c:v>2024-12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870</c:v>
                </c:pt>
                <c:pt idx="1">
                  <c:v>826</c:v>
                </c:pt>
                <c:pt idx="2">
                  <c:v>1974</c:v>
                </c:pt>
                <c:pt idx="3">
                  <c:v>3493</c:v>
                </c:pt>
                <c:pt idx="4">
                  <c:v>3550</c:v>
                </c:pt>
                <c:pt idx="5">
                  <c:v>3265</c:v>
                </c:pt>
                <c:pt idx="6">
                  <c:v>3392</c:v>
                </c:pt>
                <c:pt idx="7">
                  <c:v>4084</c:v>
                </c:pt>
                <c:pt idx="8">
                  <c:v>2992</c:v>
                </c:pt>
                <c:pt idx="9">
                  <c:v>2248</c:v>
                </c:pt>
                <c:pt idx="10">
                  <c:v>3160</c:v>
                </c:pt>
                <c:pt idx="11">
                  <c:v>2499</c:v>
                </c:pt>
                <c:pt idx="12">
                  <c:v>3854</c:v>
                </c:pt>
                <c:pt idx="13">
                  <c:v>3963</c:v>
                </c:pt>
                <c:pt idx="14">
                  <c:v>3427</c:v>
                </c:pt>
                <c:pt idx="15">
                  <c:v>3719</c:v>
                </c:pt>
                <c:pt idx="16">
                  <c:v>3556</c:v>
                </c:pt>
                <c:pt idx="17">
                  <c:v>3110</c:v>
                </c:pt>
                <c:pt idx="18">
                  <c:v>3476</c:v>
                </c:pt>
                <c:pt idx="19">
                  <c:v>3164</c:v>
                </c:pt>
                <c:pt idx="20">
                  <c:v>3078</c:v>
                </c:pt>
                <c:pt idx="21">
                  <c:v>4135</c:v>
                </c:pt>
                <c:pt idx="22">
                  <c:v>3748</c:v>
                </c:pt>
                <c:pt idx="23">
                  <c:v>3601</c:v>
                </c:pt>
                <c:pt idx="24">
                  <c:v>3042</c:v>
                </c:pt>
                <c:pt idx="25">
                  <c:v>3107</c:v>
                </c:pt>
                <c:pt idx="26">
                  <c:v>3045</c:v>
                </c:pt>
                <c:pt idx="27">
                  <c:v>2711</c:v>
                </c:pt>
                <c:pt idx="28">
                  <c:v>3103</c:v>
                </c:pt>
                <c:pt idx="29">
                  <c:v>3256</c:v>
                </c:pt>
                <c:pt idx="30">
                  <c:v>3111</c:v>
                </c:pt>
                <c:pt idx="31">
                  <c:v>3719</c:v>
                </c:pt>
                <c:pt idx="32">
                  <c:v>4139</c:v>
                </c:pt>
                <c:pt idx="33">
                  <c:v>3702</c:v>
                </c:pt>
                <c:pt idx="34">
                  <c:v>4463</c:v>
                </c:pt>
                <c:pt idx="35">
                  <c:v>4606</c:v>
                </c:pt>
                <c:pt idx="36">
                  <c:v>2754</c:v>
                </c:pt>
                <c:pt idx="37">
                  <c:v>2729</c:v>
                </c:pt>
                <c:pt idx="38">
                  <c:v>4209</c:v>
                </c:pt>
                <c:pt idx="39">
                  <c:v>2404</c:v>
                </c:pt>
                <c:pt idx="40">
                  <c:v>3226</c:v>
                </c:pt>
                <c:pt idx="41">
                  <c:v>2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4EF-41F7-A49C-DE7CA360A2A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edic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46</c:f>
              <c:strCache>
                <c:ptCount val="45"/>
                <c:pt idx="0">
                  <c:v>2021-04</c:v>
                </c:pt>
                <c:pt idx="1">
                  <c:v>2021-05</c:v>
                </c:pt>
                <c:pt idx="2">
                  <c:v>2021-06</c:v>
                </c:pt>
                <c:pt idx="3">
                  <c:v>2021-07</c:v>
                </c:pt>
                <c:pt idx="4">
                  <c:v>2021-08</c:v>
                </c:pt>
                <c:pt idx="5">
                  <c:v>2021-09</c:v>
                </c:pt>
                <c:pt idx="6">
                  <c:v>2021-10</c:v>
                </c:pt>
                <c:pt idx="7">
                  <c:v>2021-11</c:v>
                </c:pt>
                <c:pt idx="8">
                  <c:v>2021-12</c:v>
                </c:pt>
                <c:pt idx="9">
                  <c:v>2022-01</c:v>
                </c:pt>
                <c:pt idx="10">
                  <c:v>2022-02</c:v>
                </c:pt>
                <c:pt idx="11">
                  <c:v>2022-03</c:v>
                </c:pt>
                <c:pt idx="12">
                  <c:v>2022-04</c:v>
                </c:pt>
                <c:pt idx="13">
                  <c:v>2022-05</c:v>
                </c:pt>
                <c:pt idx="14">
                  <c:v>2022-06</c:v>
                </c:pt>
                <c:pt idx="15">
                  <c:v>2022-07</c:v>
                </c:pt>
                <c:pt idx="16">
                  <c:v>2022-08</c:v>
                </c:pt>
                <c:pt idx="17">
                  <c:v>2022-09</c:v>
                </c:pt>
                <c:pt idx="18">
                  <c:v>2022-10</c:v>
                </c:pt>
                <c:pt idx="19">
                  <c:v>2022-11</c:v>
                </c:pt>
                <c:pt idx="20">
                  <c:v>2022-12</c:v>
                </c:pt>
                <c:pt idx="21">
                  <c:v>2023-01</c:v>
                </c:pt>
                <c:pt idx="22">
                  <c:v>2023-02</c:v>
                </c:pt>
                <c:pt idx="23">
                  <c:v>2023-03</c:v>
                </c:pt>
                <c:pt idx="24">
                  <c:v>2023-04</c:v>
                </c:pt>
                <c:pt idx="25">
                  <c:v>2023-05</c:v>
                </c:pt>
                <c:pt idx="26">
                  <c:v>2023-06</c:v>
                </c:pt>
                <c:pt idx="27">
                  <c:v>2023-07</c:v>
                </c:pt>
                <c:pt idx="28">
                  <c:v>2023-08</c:v>
                </c:pt>
                <c:pt idx="29">
                  <c:v>2023-09</c:v>
                </c:pt>
                <c:pt idx="30">
                  <c:v>2023-10</c:v>
                </c:pt>
                <c:pt idx="31">
                  <c:v>2023-11</c:v>
                </c:pt>
                <c:pt idx="32">
                  <c:v>2023-12</c:v>
                </c:pt>
                <c:pt idx="33">
                  <c:v>2024-01</c:v>
                </c:pt>
                <c:pt idx="34">
                  <c:v>2024-02</c:v>
                </c:pt>
                <c:pt idx="35">
                  <c:v>2024-03</c:v>
                </c:pt>
                <c:pt idx="36">
                  <c:v>2024-04</c:v>
                </c:pt>
                <c:pt idx="37">
                  <c:v>2024-05</c:v>
                </c:pt>
                <c:pt idx="38">
                  <c:v>2024-06</c:v>
                </c:pt>
                <c:pt idx="39">
                  <c:v>2024-07</c:v>
                </c:pt>
                <c:pt idx="40">
                  <c:v>2024-08</c:v>
                </c:pt>
                <c:pt idx="41">
                  <c:v>2024-09</c:v>
                </c:pt>
                <c:pt idx="42">
                  <c:v>2024-10</c:v>
                </c:pt>
                <c:pt idx="43">
                  <c:v>2024-11</c:v>
                </c:pt>
                <c:pt idx="44">
                  <c:v>2024-12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825</c:v>
                </c:pt>
                <c:pt idx="1">
                  <c:v>741</c:v>
                </c:pt>
                <c:pt idx="2">
                  <c:v>1915</c:v>
                </c:pt>
                <c:pt idx="3">
                  <c:v>3669</c:v>
                </c:pt>
                <c:pt idx="4">
                  <c:v>3543</c:v>
                </c:pt>
                <c:pt idx="5">
                  <c:v>3132</c:v>
                </c:pt>
                <c:pt idx="6">
                  <c:v>3322</c:v>
                </c:pt>
                <c:pt idx="7">
                  <c:v>4257</c:v>
                </c:pt>
                <c:pt idx="8">
                  <c:v>3152</c:v>
                </c:pt>
                <c:pt idx="9">
                  <c:v>2330</c:v>
                </c:pt>
                <c:pt idx="10">
                  <c:v>3225</c:v>
                </c:pt>
                <c:pt idx="11">
                  <c:v>2535</c:v>
                </c:pt>
                <c:pt idx="12">
                  <c:v>3675</c:v>
                </c:pt>
                <c:pt idx="13">
                  <c:v>3980</c:v>
                </c:pt>
                <c:pt idx="14">
                  <c:v>3127</c:v>
                </c:pt>
                <c:pt idx="15">
                  <c:v>3721</c:v>
                </c:pt>
                <c:pt idx="16">
                  <c:v>3545</c:v>
                </c:pt>
                <c:pt idx="17">
                  <c:v>3052</c:v>
                </c:pt>
                <c:pt idx="18">
                  <c:v>3442</c:v>
                </c:pt>
                <c:pt idx="19">
                  <c:v>3110</c:v>
                </c:pt>
                <c:pt idx="20">
                  <c:v>3037</c:v>
                </c:pt>
                <c:pt idx="21">
                  <c:v>4064</c:v>
                </c:pt>
                <c:pt idx="22">
                  <c:v>3857</c:v>
                </c:pt>
                <c:pt idx="23">
                  <c:v>3762</c:v>
                </c:pt>
                <c:pt idx="24">
                  <c:v>2975</c:v>
                </c:pt>
                <c:pt idx="25">
                  <c:v>3206</c:v>
                </c:pt>
                <c:pt idx="26">
                  <c:v>3236</c:v>
                </c:pt>
                <c:pt idx="27">
                  <c:v>2721</c:v>
                </c:pt>
                <c:pt idx="28">
                  <c:v>3105</c:v>
                </c:pt>
                <c:pt idx="29">
                  <c:v>3188</c:v>
                </c:pt>
                <c:pt idx="30">
                  <c:v>3180</c:v>
                </c:pt>
                <c:pt idx="31">
                  <c:v>3908</c:v>
                </c:pt>
                <c:pt idx="32">
                  <c:v>4010</c:v>
                </c:pt>
                <c:pt idx="33">
                  <c:v>3670</c:v>
                </c:pt>
                <c:pt idx="34">
                  <c:v>4335</c:v>
                </c:pt>
                <c:pt idx="35">
                  <c:v>4541</c:v>
                </c:pt>
                <c:pt idx="36">
                  <c:v>2885</c:v>
                </c:pt>
                <c:pt idx="37">
                  <c:v>2699</c:v>
                </c:pt>
                <c:pt idx="38">
                  <c:v>4562</c:v>
                </c:pt>
                <c:pt idx="39">
                  <c:v>2414</c:v>
                </c:pt>
                <c:pt idx="40">
                  <c:v>3406</c:v>
                </c:pt>
                <c:pt idx="41">
                  <c:v>2509</c:v>
                </c:pt>
                <c:pt idx="42">
                  <c:v>2458</c:v>
                </c:pt>
                <c:pt idx="43">
                  <c:v>2732</c:v>
                </c:pt>
                <c:pt idx="44">
                  <c:v>26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EF-41F7-A49C-DE7CA360A2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4687984"/>
        <c:axId val="1092037759"/>
      </c:lineChart>
      <c:catAx>
        <c:axId val="684687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900" dirty="0"/>
                  <a:t>FY-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2037759"/>
        <c:crosses val="autoZero"/>
        <c:auto val="1"/>
        <c:lblAlgn val="ctr"/>
        <c:lblOffset val="100"/>
        <c:noMultiLvlLbl val="0"/>
      </c:catAx>
      <c:valAx>
        <c:axId val="109203775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900" dirty="0"/>
                  <a:t>Quantit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468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>
          <a:lumMod val="65000"/>
          <a:lumOff val="3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sz="1200" b="1" dirty="0">
                <a:solidFill>
                  <a:schemeClr val="tx1"/>
                </a:solidFill>
              </a:rPr>
              <a:t>S-220</a:t>
            </a:r>
          </a:p>
        </c:rich>
      </c:tx>
      <c:layout>
        <c:manualLayout>
          <c:xMode val="edge"/>
          <c:yMode val="edge"/>
          <c:x val="0.47293888898488434"/>
          <c:y val="7.31339329931933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104502162711638"/>
          <c:y val="0.20175257871236635"/>
          <c:w val="0.85106703849292642"/>
          <c:h val="0.471330865515168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46</c:f>
              <c:strCache>
                <c:ptCount val="45"/>
                <c:pt idx="0">
                  <c:v>2021-04</c:v>
                </c:pt>
                <c:pt idx="1">
                  <c:v>2021-05</c:v>
                </c:pt>
                <c:pt idx="2">
                  <c:v>2021-06</c:v>
                </c:pt>
                <c:pt idx="3">
                  <c:v>2021-07</c:v>
                </c:pt>
                <c:pt idx="4">
                  <c:v>2021-08</c:v>
                </c:pt>
                <c:pt idx="5">
                  <c:v>2021-09</c:v>
                </c:pt>
                <c:pt idx="6">
                  <c:v>2021-10</c:v>
                </c:pt>
                <c:pt idx="7">
                  <c:v>2021-11</c:v>
                </c:pt>
                <c:pt idx="8">
                  <c:v>2021-12</c:v>
                </c:pt>
                <c:pt idx="9">
                  <c:v>2022-01</c:v>
                </c:pt>
                <c:pt idx="10">
                  <c:v>2022-02</c:v>
                </c:pt>
                <c:pt idx="11">
                  <c:v>2022-03</c:v>
                </c:pt>
                <c:pt idx="12">
                  <c:v>2022-04</c:v>
                </c:pt>
                <c:pt idx="13">
                  <c:v>2022-05</c:v>
                </c:pt>
                <c:pt idx="14">
                  <c:v>2022-06</c:v>
                </c:pt>
                <c:pt idx="15">
                  <c:v>2022-07</c:v>
                </c:pt>
                <c:pt idx="16">
                  <c:v>2022-08</c:v>
                </c:pt>
                <c:pt idx="17">
                  <c:v>2022-09</c:v>
                </c:pt>
                <c:pt idx="18">
                  <c:v>2022-10</c:v>
                </c:pt>
                <c:pt idx="19">
                  <c:v>2022-11</c:v>
                </c:pt>
                <c:pt idx="20">
                  <c:v>2022-12</c:v>
                </c:pt>
                <c:pt idx="21">
                  <c:v>2023-01</c:v>
                </c:pt>
                <c:pt idx="22">
                  <c:v>2023-02</c:v>
                </c:pt>
                <c:pt idx="23">
                  <c:v>2023-03</c:v>
                </c:pt>
                <c:pt idx="24">
                  <c:v>2023-04</c:v>
                </c:pt>
                <c:pt idx="25">
                  <c:v>2023-05</c:v>
                </c:pt>
                <c:pt idx="26">
                  <c:v>2023-06</c:v>
                </c:pt>
                <c:pt idx="27">
                  <c:v>2023-07</c:v>
                </c:pt>
                <c:pt idx="28">
                  <c:v>2023-08</c:v>
                </c:pt>
                <c:pt idx="29">
                  <c:v>2023-09</c:v>
                </c:pt>
                <c:pt idx="30">
                  <c:v>2023-10</c:v>
                </c:pt>
                <c:pt idx="31">
                  <c:v>2023-11</c:v>
                </c:pt>
                <c:pt idx="32">
                  <c:v>2023-12</c:v>
                </c:pt>
                <c:pt idx="33">
                  <c:v>2024-01</c:v>
                </c:pt>
                <c:pt idx="34">
                  <c:v>2024-02</c:v>
                </c:pt>
                <c:pt idx="35">
                  <c:v>2024-03</c:v>
                </c:pt>
                <c:pt idx="36">
                  <c:v>2024-04</c:v>
                </c:pt>
                <c:pt idx="37">
                  <c:v>2024-05</c:v>
                </c:pt>
                <c:pt idx="38">
                  <c:v>2024-06</c:v>
                </c:pt>
                <c:pt idx="39">
                  <c:v>2024-07</c:v>
                </c:pt>
                <c:pt idx="40">
                  <c:v>2024-08</c:v>
                </c:pt>
                <c:pt idx="41">
                  <c:v>2024-09</c:v>
                </c:pt>
                <c:pt idx="42">
                  <c:v>2024-10</c:v>
                </c:pt>
                <c:pt idx="43">
                  <c:v>2024-11</c:v>
                </c:pt>
                <c:pt idx="44">
                  <c:v>2024-12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8611</c:v>
                </c:pt>
                <c:pt idx="1">
                  <c:v>5684</c:v>
                </c:pt>
                <c:pt idx="2">
                  <c:v>13616</c:v>
                </c:pt>
                <c:pt idx="3">
                  <c:v>15324</c:v>
                </c:pt>
                <c:pt idx="4">
                  <c:v>15957</c:v>
                </c:pt>
                <c:pt idx="5">
                  <c:v>19916</c:v>
                </c:pt>
                <c:pt idx="6">
                  <c:v>18766</c:v>
                </c:pt>
                <c:pt idx="7">
                  <c:v>21542</c:v>
                </c:pt>
                <c:pt idx="8">
                  <c:v>18829</c:v>
                </c:pt>
                <c:pt idx="9">
                  <c:v>19386</c:v>
                </c:pt>
                <c:pt idx="10">
                  <c:v>18269</c:v>
                </c:pt>
                <c:pt idx="11">
                  <c:v>20821</c:v>
                </c:pt>
                <c:pt idx="12">
                  <c:v>19892</c:v>
                </c:pt>
                <c:pt idx="13">
                  <c:v>22959</c:v>
                </c:pt>
                <c:pt idx="14">
                  <c:v>19054</c:v>
                </c:pt>
                <c:pt idx="15">
                  <c:v>20923</c:v>
                </c:pt>
                <c:pt idx="16">
                  <c:v>18028</c:v>
                </c:pt>
                <c:pt idx="17">
                  <c:v>22777</c:v>
                </c:pt>
                <c:pt idx="18">
                  <c:v>26056</c:v>
                </c:pt>
                <c:pt idx="19">
                  <c:v>14802</c:v>
                </c:pt>
                <c:pt idx="20">
                  <c:v>19500</c:v>
                </c:pt>
                <c:pt idx="21">
                  <c:v>22223</c:v>
                </c:pt>
                <c:pt idx="22">
                  <c:v>22321</c:v>
                </c:pt>
                <c:pt idx="23">
                  <c:v>23710</c:v>
                </c:pt>
                <c:pt idx="24">
                  <c:v>16459</c:v>
                </c:pt>
                <c:pt idx="25">
                  <c:v>23111</c:v>
                </c:pt>
                <c:pt idx="26">
                  <c:v>24298</c:v>
                </c:pt>
                <c:pt idx="27">
                  <c:v>22145</c:v>
                </c:pt>
                <c:pt idx="28">
                  <c:v>23396</c:v>
                </c:pt>
                <c:pt idx="29">
                  <c:v>27619</c:v>
                </c:pt>
                <c:pt idx="30">
                  <c:v>24727</c:v>
                </c:pt>
                <c:pt idx="31">
                  <c:v>22626</c:v>
                </c:pt>
                <c:pt idx="32">
                  <c:v>21655</c:v>
                </c:pt>
                <c:pt idx="33">
                  <c:v>22384</c:v>
                </c:pt>
                <c:pt idx="34">
                  <c:v>24433</c:v>
                </c:pt>
                <c:pt idx="35">
                  <c:v>25653</c:v>
                </c:pt>
                <c:pt idx="36">
                  <c:v>16849</c:v>
                </c:pt>
                <c:pt idx="37">
                  <c:v>18212</c:v>
                </c:pt>
                <c:pt idx="38">
                  <c:v>18670</c:v>
                </c:pt>
                <c:pt idx="39">
                  <c:v>17055</c:v>
                </c:pt>
                <c:pt idx="40">
                  <c:v>17310</c:v>
                </c:pt>
                <c:pt idx="41">
                  <c:v>182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E4D-4D0E-9A7E-8DAC21FD9C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edic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46</c:f>
              <c:strCache>
                <c:ptCount val="45"/>
                <c:pt idx="0">
                  <c:v>2021-04</c:v>
                </c:pt>
                <c:pt idx="1">
                  <c:v>2021-05</c:v>
                </c:pt>
                <c:pt idx="2">
                  <c:v>2021-06</c:v>
                </c:pt>
                <c:pt idx="3">
                  <c:v>2021-07</c:v>
                </c:pt>
                <c:pt idx="4">
                  <c:v>2021-08</c:v>
                </c:pt>
                <c:pt idx="5">
                  <c:v>2021-09</c:v>
                </c:pt>
                <c:pt idx="6">
                  <c:v>2021-10</c:v>
                </c:pt>
                <c:pt idx="7">
                  <c:v>2021-11</c:v>
                </c:pt>
                <c:pt idx="8">
                  <c:v>2021-12</c:v>
                </c:pt>
                <c:pt idx="9">
                  <c:v>2022-01</c:v>
                </c:pt>
                <c:pt idx="10">
                  <c:v>2022-02</c:v>
                </c:pt>
                <c:pt idx="11">
                  <c:v>2022-03</c:v>
                </c:pt>
                <c:pt idx="12">
                  <c:v>2022-04</c:v>
                </c:pt>
                <c:pt idx="13">
                  <c:v>2022-05</c:v>
                </c:pt>
                <c:pt idx="14">
                  <c:v>2022-06</c:v>
                </c:pt>
                <c:pt idx="15">
                  <c:v>2022-07</c:v>
                </c:pt>
                <c:pt idx="16">
                  <c:v>2022-08</c:v>
                </c:pt>
                <c:pt idx="17">
                  <c:v>2022-09</c:v>
                </c:pt>
                <c:pt idx="18">
                  <c:v>2022-10</c:v>
                </c:pt>
                <c:pt idx="19">
                  <c:v>2022-11</c:v>
                </c:pt>
                <c:pt idx="20">
                  <c:v>2022-12</c:v>
                </c:pt>
                <c:pt idx="21">
                  <c:v>2023-01</c:v>
                </c:pt>
                <c:pt idx="22">
                  <c:v>2023-02</c:v>
                </c:pt>
                <c:pt idx="23">
                  <c:v>2023-03</c:v>
                </c:pt>
                <c:pt idx="24">
                  <c:v>2023-04</c:v>
                </c:pt>
                <c:pt idx="25">
                  <c:v>2023-05</c:v>
                </c:pt>
                <c:pt idx="26">
                  <c:v>2023-06</c:v>
                </c:pt>
                <c:pt idx="27">
                  <c:v>2023-07</c:v>
                </c:pt>
                <c:pt idx="28">
                  <c:v>2023-08</c:v>
                </c:pt>
                <c:pt idx="29">
                  <c:v>2023-09</c:v>
                </c:pt>
                <c:pt idx="30">
                  <c:v>2023-10</c:v>
                </c:pt>
                <c:pt idx="31">
                  <c:v>2023-11</c:v>
                </c:pt>
                <c:pt idx="32">
                  <c:v>2023-12</c:v>
                </c:pt>
                <c:pt idx="33">
                  <c:v>2024-01</c:v>
                </c:pt>
                <c:pt idx="34">
                  <c:v>2024-02</c:v>
                </c:pt>
                <c:pt idx="35">
                  <c:v>2024-03</c:v>
                </c:pt>
                <c:pt idx="36">
                  <c:v>2024-04</c:v>
                </c:pt>
                <c:pt idx="37">
                  <c:v>2024-05</c:v>
                </c:pt>
                <c:pt idx="38">
                  <c:v>2024-06</c:v>
                </c:pt>
                <c:pt idx="39">
                  <c:v>2024-07</c:v>
                </c:pt>
                <c:pt idx="40">
                  <c:v>2024-08</c:v>
                </c:pt>
                <c:pt idx="41">
                  <c:v>2024-09</c:v>
                </c:pt>
                <c:pt idx="42">
                  <c:v>2024-10</c:v>
                </c:pt>
                <c:pt idx="43">
                  <c:v>2024-11</c:v>
                </c:pt>
                <c:pt idx="44">
                  <c:v>2024-12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8363</c:v>
                </c:pt>
                <c:pt idx="1">
                  <c:v>5367</c:v>
                </c:pt>
                <c:pt idx="2">
                  <c:v>13927</c:v>
                </c:pt>
                <c:pt idx="3">
                  <c:v>15526</c:v>
                </c:pt>
                <c:pt idx="4">
                  <c:v>15795</c:v>
                </c:pt>
                <c:pt idx="5">
                  <c:v>19643</c:v>
                </c:pt>
                <c:pt idx="6">
                  <c:v>17927</c:v>
                </c:pt>
                <c:pt idx="7">
                  <c:v>21506</c:v>
                </c:pt>
                <c:pt idx="8">
                  <c:v>18655</c:v>
                </c:pt>
                <c:pt idx="9">
                  <c:v>19395</c:v>
                </c:pt>
                <c:pt idx="10">
                  <c:v>18631</c:v>
                </c:pt>
                <c:pt idx="11">
                  <c:v>20319</c:v>
                </c:pt>
                <c:pt idx="12">
                  <c:v>20380</c:v>
                </c:pt>
                <c:pt idx="13">
                  <c:v>23341</c:v>
                </c:pt>
                <c:pt idx="14">
                  <c:v>18896</c:v>
                </c:pt>
                <c:pt idx="15">
                  <c:v>20985</c:v>
                </c:pt>
                <c:pt idx="16">
                  <c:v>17823</c:v>
                </c:pt>
                <c:pt idx="17">
                  <c:v>22817</c:v>
                </c:pt>
                <c:pt idx="18">
                  <c:v>25210</c:v>
                </c:pt>
                <c:pt idx="19">
                  <c:v>15891</c:v>
                </c:pt>
                <c:pt idx="20">
                  <c:v>20280</c:v>
                </c:pt>
                <c:pt idx="21">
                  <c:v>21546</c:v>
                </c:pt>
                <c:pt idx="22">
                  <c:v>24100</c:v>
                </c:pt>
                <c:pt idx="23">
                  <c:v>24140</c:v>
                </c:pt>
                <c:pt idx="24">
                  <c:v>16985</c:v>
                </c:pt>
                <c:pt idx="25">
                  <c:v>22358</c:v>
                </c:pt>
                <c:pt idx="26">
                  <c:v>24265</c:v>
                </c:pt>
                <c:pt idx="27">
                  <c:v>21144</c:v>
                </c:pt>
                <c:pt idx="28">
                  <c:v>21685</c:v>
                </c:pt>
                <c:pt idx="29">
                  <c:v>26860</c:v>
                </c:pt>
                <c:pt idx="30">
                  <c:v>25757</c:v>
                </c:pt>
                <c:pt idx="31">
                  <c:v>22444</c:v>
                </c:pt>
                <c:pt idx="32">
                  <c:v>20879</c:v>
                </c:pt>
                <c:pt idx="33">
                  <c:v>22454</c:v>
                </c:pt>
                <c:pt idx="34">
                  <c:v>24511</c:v>
                </c:pt>
                <c:pt idx="35">
                  <c:v>26307</c:v>
                </c:pt>
                <c:pt idx="36">
                  <c:v>16173</c:v>
                </c:pt>
                <c:pt idx="37">
                  <c:v>17440</c:v>
                </c:pt>
                <c:pt idx="38">
                  <c:v>18349</c:v>
                </c:pt>
                <c:pt idx="39">
                  <c:v>16327</c:v>
                </c:pt>
                <c:pt idx="40">
                  <c:v>16256</c:v>
                </c:pt>
                <c:pt idx="41">
                  <c:v>17027</c:v>
                </c:pt>
                <c:pt idx="42">
                  <c:v>17346</c:v>
                </c:pt>
                <c:pt idx="43">
                  <c:v>17384</c:v>
                </c:pt>
                <c:pt idx="44">
                  <c:v>176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E4D-4D0E-9A7E-8DAC21FD9C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4687984"/>
        <c:axId val="1092037759"/>
      </c:lineChart>
      <c:catAx>
        <c:axId val="684687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900" dirty="0"/>
                  <a:t>FY-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2037759"/>
        <c:crosses val="autoZero"/>
        <c:auto val="1"/>
        <c:lblAlgn val="ctr"/>
        <c:lblOffset val="100"/>
        <c:noMultiLvlLbl val="0"/>
      </c:catAx>
      <c:valAx>
        <c:axId val="109203775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900" dirty="0"/>
                  <a:t>Quantit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468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>
          <a:lumMod val="65000"/>
          <a:lumOff val="3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ummary (Inventory Reduction)'!$D$1</c:f>
              <c:strCache>
                <c:ptCount val="1"/>
                <c:pt idx="0">
                  <c:v>Unrestricted Qty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ash"/>
              </a:ln>
              <a:effectLst/>
            </c:spPr>
            <c:trendlineType val="linear"/>
            <c:dispRSqr val="0"/>
            <c:dispEq val="0"/>
          </c:trendline>
          <c:cat>
            <c:strRef>
              <c:f>'Summary (Inventory Reduction)'!$C$2:$C$9</c:f>
              <c:strCache>
                <c:ptCount val="8"/>
                <c:pt idx="0">
                  <c:v>Original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 1st</c:v>
                </c:pt>
                <c:pt idx="7">
                  <c:v>Jul 31st</c:v>
                </c:pt>
              </c:strCache>
            </c:strRef>
          </c:cat>
          <c:val>
            <c:numRef>
              <c:f>'Summary (Inventory Reduction)'!$D$2:$D$9</c:f>
              <c:numCache>
                <c:formatCode>_ * #,##0_ ;_ * \-#,##0_ ;_ * "-"??_ ;_ @_ </c:formatCode>
                <c:ptCount val="8"/>
                <c:pt idx="0">
                  <c:v>3490626.19</c:v>
                </c:pt>
                <c:pt idx="1">
                  <c:v>3223746</c:v>
                </c:pt>
                <c:pt idx="2">
                  <c:v>2954085</c:v>
                </c:pt>
                <c:pt idx="3">
                  <c:v>2504844</c:v>
                </c:pt>
                <c:pt idx="4">
                  <c:v>2535256</c:v>
                </c:pt>
                <c:pt idx="5">
                  <c:v>2320931</c:v>
                </c:pt>
                <c:pt idx="6">
                  <c:v>2231572</c:v>
                </c:pt>
                <c:pt idx="7">
                  <c:v>24818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24D-422F-B823-F1C741F35AB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4337152"/>
        <c:axId val="2074353952"/>
      </c:lineChart>
      <c:catAx>
        <c:axId val="20743371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53952"/>
        <c:crosses val="autoZero"/>
        <c:auto val="1"/>
        <c:lblAlgn val="ctr"/>
        <c:lblOffset val="100"/>
        <c:noMultiLvlLbl val="0"/>
      </c:catAx>
      <c:valAx>
        <c:axId val="2074353952"/>
        <c:scaling>
          <c:orientation val="minMax"/>
        </c:scaling>
        <c:delete val="0"/>
        <c:axPos val="l"/>
        <c:numFmt formatCode="_ * #,##0_ ;_ * \-#,##0_ ;_ * &quot;-&quot;??_ ;_ @_ 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37152"/>
        <c:crosses val="autoZero"/>
        <c:crossBetween val="between"/>
        <c:minorUnit val="200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ummary (Inventory Reduction)'!$E$1</c:f>
              <c:strCache>
                <c:ptCount val="1"/>
                <c:pt idx="0">
                  <c:v>Unrst. Value (Cr.)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ash"/>
              </a:ln>
              <a:effectLst/>
            </c:spPr>
            <c:trendlineType val="linear"/>
            <c:dispRSqr val="0"/>
            <c:dispEq val="0"/>
          </c:trendline>
          <c:cat>
            <c:strRef>
              <c:f>'Summary (Inventory Reduction)'!$C$2:$C$9</c:f>
              <c:strCache>
                <c:ptCount val="8"/>
                <c:pt idx="0">
                  <c:v>Original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 1st</c:v>
                </c:pt>
                <c:pt idx="7">
                  <c:v>Jul 31st</c:v>
                </c:pt>
              </c:strCache>
            </c:strRef>
          </c:cat>
          <c:val>
            <c:numRef>
              <c:f>'Summary (Inventory Reduction)'!$E$2:$E$9</c:f>
              <c:numCache>
                <c:formatCode>_(* #,##0.00_);_(* \(#,##0.00\);_(* "-"??_);_(@_)</c:formatCode>
                <c:ptCount val="8"/>
                <c:pt idx="0">
                  <c:v>230.82975318052945</c:v>
                </c:pt>
                <c:pt idx="1">
                  <c:v>218.2598907130002</c:v>
                </c:pt>
                <c:pt idx="2">
                  <c:v>202.14115139400002</c:v>
                </c:pt>
                <c:pt idx="3">
                  <c:v>173.58521458400068</c:v>
                </c:pt>
                <c:pt idx="4">
                  <c:v>170.6348172540005</c:v>
                </c:pt>
                <c:pt idx="5">
                  <c:v>156.32886364400062</c:v>
                </c:pt>
                <c:pt idx="6">
                  <c:v>149.89206822199995</c:v>
                </c:pt>
                <c:pt idx="7">
                  <c:v>165.713988152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7E-4847-9175-26B16B814C1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4375552"/>
        <c:axId val="2074391872"/>
      </c:lineChart>
      <c:catAx>
        <c:axId val="20743755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91872"/>
        <c:crosses val="autoZero"/>
        <c:auto val="1"/>
        <c:lblAlgn val="ctr"/>
        <c:lblOffset val="100"/>
        <c:noMultiLvlLbl val="0"/>
      </c:catAx>
      <c:valAx>
        <c:axId val="2074391872"/>
        <c:scaling>
          <c:orientation val="minMax"/>
        </c:scaling>
        <c:delete val="0"/>
        <c:axPos val="l"/>
        <c:numFmt formatCode="_(* #,##0.00_);_(* \(#,##0.00\);_(* &quot;-&quot;??_);_(@_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75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Discont Netx &amp; Cogs Valu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Discont Liq Summary'!$B$10</c:f>
              <c:strCache>
                <c:ptCount val="1"/>
                <c:pt idx="0">
                  <c:v>Total Net Exfactory (Cr.)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iscont Liq Summary'!$A$11:$A$15</c:f>
              <c:strCache>
                <c:ptCount val="5"/>
                <c:pt idx="0">
                  <c:v>March</c:v>
                </c:pt>
                <c:pt idx="1">
                  <c:v>April</c:v>
                </c:pt>
                <c:pt idx="2">
                  <c:v>May</c:v>
                </c:pt>
                <c:pt idx="3">
                  <c:v>June</c:v>
                </c:pt>
                <c:pt idx="4">
                  <c:v>July</c:v>
                </c:pt>
              </c:strCache>
            </c:strRef>
          </c:cat>
          <c:val>
            <c:numRef>
              <c:f>'Discont Liq Summary'!$B$11:$B$15</c:f>
              <c:numCache>
                <c:formatCode>0.00</c:formatCode>
                <c:ptCount val="5"/>
                <c:pt idx="0">
                  <c:v>4.626537463</c:v>
                </c:pt>
                <c:pt idx="1">
                  <c:v>3.6706337340000004</c:v>
                </c:pt>
                <c:pt idx="2">
                  <c:v>3.4737493409999995</c:v>
                </c:pt>
                <c:pt idx="3">
                  <c:v>2.6118838739999997</c:v>
                </c:pt>
                <c:pt idx="4">
                  <c:v>1.969439019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EB-4B9C-B817-F927ED71AD99}"/>
            </c:ext>
          </c:extLst>
        </c:ser>
        <c:ser>
          <c:idx val="1"/>
          <c:order val="1"/>
          <c:tx>
            <c:strRef>
              <c:f>'Discont Liq Summary'!$C$10</c:f>
              <c:strCache>
                <c:ptCount val="1"/>
                <c:pt idx="0">
                  <c:v>Total Cogs Value (Cr.)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2"/>
                </a:solidFill>
                <a:prstDash val="sysDash"/>
              </a:ln>
              <a:effectLst/>
            </c:spPr>
            <c:trendlineType val="linear"/>
            <c:dispRSqr val="0"/>
            <c:dispEq val="0"/>
          </c:trendline>
          <c:cat>
            <c:strRef>
              <c:f>'Discont Liq Summary'!$A$11:$A$15</c:f>
              <c:strCache>
                <c:ptCount val="5"/>
                <c:pt idx="0">
                  <c:v>March</c:v>
                </c:pt>
                <c:pt idx="1">
                  <c:v>April</c:v>
                </c:pt>
                <c:pt idx="2">
                  <c:v>May</c:v>
                </c:pt>
                <c:pt idx="3">
                  <c:v>June</c:v>
                </c:pt>
                <c:pt idx="4">
                  <c:v>July</c:v>
                </c:pt>
              </c:strCache>
            </c:strRef>
          </c:cat>
          <c:val>
            <c:numRef>
              <c:f>'Discont Liq Summary'!$C$11:$C$15</c:f>
              <c:numCache>
                <c:formatCode>0.00</c:formatCode>
                <c:ptCount val="5"/>
                <c:pt idx="0">
                  <c:v>2.9451754210000001</c:v>
                </c:pt>
                <c:pt idx="1">
                  <c:v>2.0398506140000001</c:v>
                </c:pt>
                <c:pt idx="2">
                  <c:v>1.748426357</c:v>
                </c:pt>
                <c:pt idx="3">
                  <c:v>1.552864614</c:v>
                </c:pt>
                <c:pt idx="4">
                  <c:v>1.185507789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EB-4B9C-B817-F927ED71AD9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680927264"/>
        <c:axId val="1680924384"/>
      </c:lineChart>
      <c:catAx>
        <c:axId val="16809272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0924384"/>
        <c:crosses val="autoZero"/>
        <c:auto val="1"/>
        <c:lblAlgn val="ctr"/>
        <c:lblOffset val="100"/>
        <c:noMultiLvlLbl val="0"/>
      </c:catAx>
      <c:valAx>
        <c:axId val="1680924384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0927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Discont Liq Summary'!$C$18</c:f>
              <c:strCache>
                <c:ptCount val="1"/>
                <c:pt idx="0">
                  <c:v>GM %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ash"/>
              </a:ln>
              <a:effectLst/>
            </c:spPr>
            <c:trendlineType val="linear"/>
            <c:dispRSqr val="0"/>
            <c:dispEq val="0"/>
          </c:trendline>
          <c:cat>
            <c:strRef>
              <c:f>'Discont Liq Summary'!$B$19:$B$23</c:f>
              <c:strCache>
                <c:ptCount val="5"/>
                <c:pt idx="0">
                  <c:v>March</c:v>
                </c:pt>
                <c:pt idx="1">
                  <c:v>April</c:v>
                </c:pt>
                <c:pt idx="2">
                  <c:v>May</c:v>
                </c:pt>
                <c:pt idx="3">
                  <c:v>June</c:v>
                </c:pt>
                <c:pt idx="4">
                  <c:v>July</c:v>
                </c:pt>
              </c:strCache>
            </c:strRef>
          </c:cat>
          <c:val>
            <c:numRef>
              <c:f>'Discont Liq Summary'!$C$19:$C$23</c:f>
              <c:numCache>
                <c:formatCode>0.00%</c:formatCode>
                <c:ptCount val="5"/>
                <c:pt idx="0">
                  <c:v>0.48399999999999999</c:v>
                </c:pt>
                <c:pt idx="1">
                  <c:v>0.64939999999999998</c:v>
                </c:pt>
                <c:pt idx="2">
                  <c:v>0.68769999999999998</c:v>
                </c:pt>
                <c:pt idx="3">
                  <c:v>0.49109999999999998</c:v>
                </c:pt>
                <c:pt idx="4">
                  <c:v>0.472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0CE-4D63-9CE4-0F96E8FEBF1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30943680"/>
        <c:axId val="1030943200"/>
      </c:lineChart>
      <c:catAx>
        <c:axId val="10309436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0943200"/>
        <c:crosses val="autoZero"/>
        <c:auto val="1"/>
        <c:lblAlgn val="ctr"/>
        <c:lblOffset val="100"/>
        <c:noMultiLvlLbl val="0"/>
      </c:catAx>
      <c:valAx>
        <c:axId val="1030943200"/>
        <c:scaling>
          <c:orientation val="minMax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0943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SW Pareto (Cont.)'!$D$4:$D$13</cx:f>
        <cx:lvl ptCount="10">
          <cx:pt idx="0">EWC - 1 Pc CLOSET</cx:pt>
          <cx:pt idx="1">EWC - WATER CLOSET</cx:pt>
          <cx:pt idx="2">PAN</cx:pt>
          <cx:pt idx="3">WB WITH PED</cx:pt>
          <cx:pt idx="4">CONCEALO - BODY</cx:pt>
          <cx:pt idx="5">EWC - W MOUNTING</cx:pt>
          <cx:pt idx="6">WB - WALL HUNG</cx:pt>
          <cx:pt idx="7">PEDESTAL</cx:pt>
          <cx:pt idx="8">URINAL</cx:pt>
          <cx:pt idx="9">PEDESTAL - HALF</cx:pt>
        </cx:lvl>
      </cx:strDim>
      <cx:numDim type="val">
        <cx:f>'SW Pareto (Cont.)'!$E$4:$E$13</cx:f>
        <cx:lvl ptCount="10" formatCode="_ * #,##0.00_ ;_ * \-#,##0.00_ ;_ * &quot;-&quot;??_ ;_ @_ ">
          <cx:pt idx="0">135713719.92403165</cx:pt>
          <cx:pt idx="1">48286083.453230985</cx:pt>
          <cx:pt idx="2">21022629.667633239</cx:pt>
          <cx:pt idx="3">15625883.627567451</cx:pt>
          <cx:pt idx="4">14574124.703685679</cx:pt>
          <cx:pt idx="5">13047729.226721277</cx:pt>
          <cx:pt idx="6">7679134.4656261224</cx:pt>
          <cx:pt idx="7">4581667.9592906022</cx:pt>
          <cx:pt idx="8">4254790.2299999995</cx:pt>
          <cx:pt idx="9">4060213.5471534887</cx:pt>
        </cx:lvl>
      </cx:numDim>
    </cx:data>
  </cx:chartData>
  <cx:chart>
    <cx:title pos="t" align="ctr" overlay="0">
      <cx:tx>
        <cx:txData>
          <cx:v>Pareto Chart Free SKU SW (Cont.)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US" sz="1800" b="1" i="0" u="none" strike="noStrike" baseline="0">
              <a:solidFill>
                <a:sysClr val="windowText" lastClr="000000">
                  <a:lumMod val="65000"/>
                  <a:lumOff val="35000"/>
                </a:sysClr>
              </a:solidFill>
              <a:latin typeface="Aptos Narrow" panose="02110004020202020204"/>
            </a:rPr>
            <a:t>Pareto Chart Free SKU SW (Cont.)</a:t>
          </a:r>
        </a:p>
      </cx:txPr>
    </cx:title>
    <cx:plotArea>
      <cx:plotAreaRegion>
        <cx:series layoutId="clusteredColumn" uniqueId="{445A7C61-ABED-4CF6-8307-A9254469875C}">
          <cx:tx>
            <cx:txData>
              <cx:f>'SW Pareto (Cont.)'!$E$3</cx:f>
              <cx:v>Sum of Free Qty Value</cx:v>
            </cx:txData>
          </cx:tx>
          <cx:dataId val="0"/>
          <cx:layoutPr>
            <cx:aggregation/>
          </cx:layoutPr>
          <cx:axisId val="1"/>
        </cx:series>
        <cx:series layoutId="paretoLine" ownerIdx="0" uniqueId="{C5D85228-286D-4E5D-B670-D7523194E3C3}">
          <cx:axisId val="2"/>
        </cx:series>
      </cx:plotAreaRegion>
      <cx:axis id="0">
        <cx:catScaling gapWidth="0"/>
        <cx:tickLabels/>
      </cx:axis>
      <cx:axis id="1">
        <cx:valScaling/>
        <cx:majorGridlines/>
        <cx:tickLabels/>
      </cx:axis>
      <cx:axis id="2">
        <cx:valScaling max="1" min="0"/>
        <cx:units unit="percentage"/>
        <cx:tickLabels/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CP Cont. Pivot'!$D$4:$D$18</cx:f>
        <cx:lvl ptCount="15">
          <cx:pt idx="0">PVD Range</cx:pt>
          <cx:pt idx="1">OH SHOWER</cx:pt>
          <cx:pt idx="2">WALL MIXER</cx:pt>
          <cx:pt idx="3">DIVERTOR BODY</cx:pt>
          <cx:pt idx="4">SINK COCK</cx:pt>
          <cx:pt idx="5">SINK MIXER</cx:pt>
          <cx:pt idx="6">M/O Therm/Div.Body</cx:pt>
          <cx:pt idx="7">BIB COCK</cx:pt>
          <cx:pt idx="8">M/F.Showers_PVD</cx:pt>
          <cx:pt idx="9">HAND SHOWER</cx:pt>
          <cx:pt idx="10">SLBM</cx:pt>
          <cx:pt idx="11">SENSOR FAUCET</cx:pt>
          <cx:pt idx="12">KITCHEN MIX/TAP</cx:pt>
          <cx:pt idx="13">HEALTH FAUCET</cx:pt>
          <cx:pt idx="14">DIVERTOR UPPER PART</cx:pt>
        </cx:lvl>
      </cx:strDim>
      <cx:numDim type="val">
        <cx:f>'CP Cont. Pivot'!$E$4:$E$18</cx:f>
        <cx:lvl ptCount="15" formatCode="_ * #,##0.00_ ;_ * \-#,##0.00_ ;_ * &quot;-&quot;??_ ;_ @_ ">
          <cx:pt idx="0">45171107.637547016</cx:pt>
          <cx:pt idx="1">44403397.630413324</cx:pt>
          <cx:pt idx="2">39604334.012778237</cx:pt>
          <cx:pt idx="3">29784355.419285536</cx:pt>
          <cx:pt idx="4">17834830.188298892</cx:pt>
          <cx:pt idx="5">16798349.430622507</cx:pt>
          <cx:pt idx="6">12544513.05981653</cx:pt>
          <cx:pt idx="7">9451721.0652809329</cx:pt>
          <cx:pt idx="8">9440459.3647344783</cx:pt>
          <cx:pt idx="9">8803563.3641102761</cx:pt>
          <cx:pt idx="10">8709371.5130128358</cx:pt>
          <cx:pt idx="11">7922482.9578034878</cx:pt>
          <cx:pt idx="12">6682142.0680363337</cx:pt>
          <cx:pt idx="13">6313863.9582884507</cx:pt>
          <cx:pt idx="14">6089434.822460413</cx:pt>
        </cx:lvl>
      </cx:numDim>
    </cx:data>
  </cx:chartData>
  <cx:chart>
    <cx:title pos="t" align="ctr" overlay="0">
      <cx:tx>
        <cx:txData>
          <cx:v>Pareto Chart Free SKU CP (Cont.)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US" sz="1800" b="1" i="0" u="none" strike="noStrike" baseline="0">
              <a:solidFill>
                <a:sysClr val="windowText" lastClr="000000">
                  <a:lumMod val="65000"/>
                  <a:lumOff val="35000"/>
                </a:sysClr>
              </a:solidFill>
              <a:latin typeface="Aptos Narrow" panose="02110004020202020204"/>
            </a:rPr>
            <a:t>Pareto Chart Free SKU CP (Cont.)</a:t>
          </a:r>
        </a:p>
      </cx:txPr>
    </cx:title>
    <cx:plotArea>
      <cx:plotAreaRegion>
        <cx:series layoutId="clusteredColumn" uniqueId="{40C42DD4-7CA1-41B2-9B3E-2C8EA8100945}">
          <cx:tx>
            <cx:txData>
              <cx:f>'CP Cont. Pivot'!$E$3</cx:f>
              <cx:v>Sum of Free Qty Value</cx:v>
            </cx:txData>
          </cx:tx>
          <cx:dataId val="0"/>
          <cx:layoutPr>
            <cx:aggregation/>
          </cx:layoutPr>
          <cx:axisId val="1"/>
        </cx:series>
        <cx:series layoutId="paretoLine" ownerIdx="0" uniqueId="{FED2A328-C118-45FF-8C5A-0CAB549BFCC8}">
          <cx:axisId val="2"/>
        </cx:series>
      </cx:plotAreaRegion>
      <cx:axis id="0">
        <cx:catScaling gapWidth="0"/>
        <cx:tickLabels/>
      </cx:axis>
      <cx:axis id="1">
        <cx:valScaling/>
        <cx:majorGridlines/>
        <cx:tickLabels/>
      </cx:axis>
      <cx:axis id="2">
        <cx:valScaling max="1" min="0"/>
        <cx:units unit="percentage"/>
        <cx:tickLabels/>
      </cx:axis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SW Pivot Discont.'!$D$4:$D$16</cx:f>
        <cx:lvl ptCount="13">
          <cx:pt idx="0">EWC - 1 Pc CLOSET</cx:pt>
          <cx:pt idx="1">EWC - WATER CLOSET</cx:pt>
          <cx:pt idx="2">SEAT COVER</cx:pt>
          <cx:pt idx="3">EWC - W MOUNTING</cx:pt>
          <cx:pt idx="4">EWC - COUPLED CLOSET</cx:pt>
          <cx:pt idx="5">WB - OVER COUNTER</cx:pt>
          <cx:pt idx="6">CISTERN</cx:pt>
          <cx:pt idx="7">ACCESSORIES</cx:pt>
          <cx:pt idx="8">WB - WALL HUNG</cx:pt>
          <cx:pt idx="9">PVC CISTERN</cx:pt>
          <cx:pt idx="10">WB WITH PED</cx:pt>
          <cx:pt idx="11">CONCEALO - BODY</cx:pt>
          <cx:pt idx="12">PEDESTAL - HALF</cx:pt>
        </cx:lvl>
      </cx:strDim>
      <cx:numDim type="val">
        <cx:f>'SW Pivot Discont.'!$E$4:$E$16</cx:f>
        <cx:lvl ptCount="13" formatCode="_ * #,##0.00_ ;_ * \-#,##0.00_ ;_ * &quot;-&quot;??_ ;_ @_ ">
          <cx:pt idx="0">41591058.4094446</cx:pt>
          <cx:pt idx="1">17085718.407294955</cx:pt>
          <cx:pt idx="2">15998355.188183624</cx:pt>
          <cx:pt idx="3">12356929.153492464</cx:pt>
          <cx:pt idx="4">11774524.587952729</cx:pt>
          <cx:pt idx="5">10296890.387096742</cx:pt>
          <cx:pt idx="6">9489643.1790527571</cx:pt>
          <cx:pt idx="7">8944609.8029856216</cx:pt>
          <cx:pt idx="8">6884794.8284336431</cx:pt>
          <cx:pt idx="9">6388335.1491107903</cx:pt>
          <cx:pt idx="10">6373660.2458369574</cx:pt>
          <cx:pt idx="11">6224365.5125213256</cx:pt>
          <cx:pt idx="12">3175815.6000000001</cx:pt>
        </cx:lvl>
      </cx:numDim>
    </cx:data>
  </cx:chartData>
  <cx:chart>
    <cx:title pos="t" align="ctr" overlay="0">
      <cx:tx>
        <cx:txData>
          <cx:v>Pareto Chart Free SKU SW (Discont.)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US" sz="1800" b="1" i="0" u="none" strike="noStrike" baseline="0">
              <a:solidFill>
                <a:sysClr val="windowText" lastClr="000000">
                  <a:lumMod val="65000"/>
                  <a:lumOff val="35000"/>
                </a:sysClr>
              </a:solidFill>
              <a:latin typeface="Aptos Narrow" panose="02110004020202020204"/>
            </a:rPr>
            <a:t>Pareto Chart Free SKU SW (Discont.)</a:t>
          </a:r>
        </a:p>
      </cx:txPr>
    </cx:title>
    <cx:plotArea>
      <cx:plotAreaRegion>
        <cx:series layoutId="clusteredColumn" uniqueId="{76506D90-A69C-4F38-A2C3-7E7C9118F151}">
          <cx:tx>
            <cx:txData>
              <cx:f>'SW Pivot Discont.'!$E$3</cx:f>
              <cx:v>Sum of Free Qty Value</cx:v>
            </cx:txData>
          </cx:tx>
          <cx:dataId val="0"/>
          <cx:layoutPr>
            <cx:aggregation/>
          </cx:layoutPr>
          <cx:axisId val="1"/>
        </cx:series>
        <cx:series layoutId="paretoLine" ownerIdx="0" uniqueId="{330FF1DB-33BD-455E-B55E-B9CFA16982FD}">
          <cx:axisId val="2"/>
        </cx:series>
      </cx:plotAreaRegion>
      <cx:axis id="0">
        <cx:catScaling gapWidth="0"/>
        <cx:tickLabels/>
      </cx:axis>
      <cx:axis id="1">
        <cx:valScaling/>
        <cx:majorGridlines/>
        <cx:tickLabels/>
      </cx:axis>
      <cx:axis id="2">
        <cx:valScaling max="1" min="0"/>
        <cx:units unit="percentage"/>
        <cx:tickLabels/>
      </cx:axis>
    </cx:plotArea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CP Discont. Pivot'!$D$4:$D$17</cx:f>
        <cx:lvl ptCount="14">
          <cx:pt idx="0">WALL MIXER L BEND</cx:pt>
          <cx:pt idx="1">S/L BATH &amp; HAND SHOWER MIXER (EXP)</cx:pt>
          <cx:pt idx="2">EXPOSED KIT FOR 15&amp;20MM CSC</cx:pt>
          <cx:pt idx="3">SL BASIN MIXER W/O PW (450mm SS Hose)_CS</cx:pt>
          <cx:pt idx="4">ANGULAR STOP COCK WITH WALL FLANGE</cx:pt>
          <cx:pt idx="5">SINK MIXER SWIVEL SPOUT-WALL MOUNT</cx:pt>
          <cx:pt idx="6">SINGLE LEVER BASIN MIXER</cx:pt>
          <cx:pt idx="7">BIB COCK 2 IN 1 WITH WALL FLANGE</cx:pt>
          <cx:pt idx="8">BIB COCK WITH WALL FLANGE</cx:pt>
          <cx:pt idx="9">Bath Spout_CS</cx:pt>
          <cx:pt idx="10">Pillar Cock_CS</cx:pt>
          <cx:pt idx="11">CENTER HOLE BASIN MIXER</cx:pt>
          <cx:pt idx="12">PILLAR COCK</cx:pt>
          <cx:pt idx="13">WALL MIXER 3 IN 1</cx:pt>
        </cx:lvl>
      </cx:strDim>
      <cx:numDim type="val">
        <cx:f>'CP Discont. Pivot'!$E$4:$E$17</cx:f>
        <cx:lvl ptCount="14" formatCode="_ * #,##0.00_ ;_ * \-#,##0.00_ ;_ * &quot;-&quot;??_ ;_ @_ ">
          <cx:pt idx="0">13883828.285530923</cx:pt>
          <cx:pt idx="1">9793445.0285162218</cx:pt>
          <cx:pt idx="2">7978693.9760147864</cx:pt>
          <cx:pt idx="3">7629834.3098274395</cx:pt>
          <cx:pt idx="4">6516872.0569952512</cx:pt>
          <cx:pt idx="5">6257368.6749508064</cx:pt>
          <cx:pt idx="6">5789095.6363844546</cx:pt>
          <cx:pt idx="7">4696233.2723924583</cx:pt>
          <cx:pt idx="8">4676133.4453945216</cx:pt>
          <cx:pt idx="9">4219298.4947319552</cx:pt>
          <cx:pt idx="10">4007774.0147725712</cx:pt>
          <cx:pt idx="11">3765310.5344795617</cx:pt>
          <cx:pt idx="12">3628472.6062694383</cx:pt>
          <cx:pt idx="13">3438841.895660961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r>
              <a:rPr lang="en-US" sz="1800" b="1" i="0" u="none" strike="noStrike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ptos Narrow" panose="02110004020202020204"/>
              </a:rPr>
              <a:t>Pareto Chart Free SKU CP (</a:t>
            </a:r>
            <a:r>
              <a:rPr lang="en-US" sz="1800" b="1" i="0" u="none" strike="noStrike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ptos Narrow" panose="02110004020202020204"/>
              </a:rPr>
              <a:t>Discont</a:t>
            </a:r>
            <a:r>
              <a:rPr lang="en-US" sz="1800" b="1" i="0" u="none" strike="noStrike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ptos Narrow" panose="02110004020202020204"/>
              </a:rPr>
              <a:t>.)</a:t>
            </a:r>
          </a:p>
        </cx:rich>
      </cx:tx>
    </cx:title>
    <cx:plotArea>
      <cx:plotAreaRegion>
        <cx:series layoutId="clusteredColumn" uniqueId="{8CF7E417-F387-4502-8D8B-CABDA10B1412}">
          <cx:tx>
            <cx:txData>
              <cx:f>'CP Discont. Pivot'!$E$3</cx:f>
              <cx:v>Sum of Free Qty Value</cx:v>
            </cx:txData>
          </cx:tx>
          <cx:dataId val="0"/>
          <cx:layoutPr>
            <cx:aggregation/>
          </cx:layoutPr>
          <cx:axisId val="1"/>
        </cx:series>
        <cx:series layoutId="paretoLine" ownerIdx="0" uniqueId="{F737C7A3-3B60-4AF1-ABED-F8957C1C2D1A}">
          <cx:axisId val="2"/>
        </cx:series>
      </cx:plotAreaRegion>
      <cx:axis id="0">
        <cx:catScaling gapWidth="0"/>
        <cx:tickLabels/>
      </cx:axis>
      <cx:axis id="1">
        <cx:valScaling/>
        <cx:majorGridlines/>
        <cx:tickLabels/>
      </cx:axis>
      <cx:axis id="2">
        <cx:valScaling max="1" min="0"/>
        <cx:units unit="percentage"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F1725A7-2735-4DDB-ABA9-F93E1748EC7F}" type="doc">
      <dgm:prSet loTypeId="urn:microsoft.com/office/officeart/2009/3/layout/StepUpProcess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05CE25B-6510-420B-9ACE-700CCF669D2A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No Seasonality</a:t>
          </a:r>
        </a:p>
        <a:p>
          <a:r>
            <a:rPr lang="en-US" i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Simple Exponential Smoothing</a:t>
          </a:r>
        </a:p>
      </dgm:t>
    </dgm:pt>
    <dgm:pt modelId="{0C548BD6-2201-4A10-B25F-DE7206E9FE8F}" type="parTrans" cxnId="{1F3F15BC-A698-4F30-9118-8902B7B5F808}">
      <dgm:prSet/>
      <dgm:spPr/>
      <dgm:t>
        <a:bodyPr/>
        <a:lstStyle/>
        <a:p>
          <a:endParaRPr lang="en-US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B7709163-CDC7-47DA-A3F9-D19F928E4B9C}" type="sibTrans" cxnId="{1F3F15BC-A698-4F30-9118-8902B7B5F808}">
      <dgm:prSet/>
      <dgm:spPr/>
      <dgm:t>
        <a:bodyPr/>
        <a:lstStyle/>
        <a:p>
          <a:endParaRPr lang="en-US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5AB49987-20C7-4C70-B319-044028BDBFBC}">
      <dgm:prSet phldrT="[Text]"/>
      <dgm:spPr/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rends but No Seasonality</a:t>
          </a:r>
        </a:p>
        <a:p>
          <a:r>
            <a:rPr lang="en-US" i="1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Holt’s Linear Model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3743134-1669-4940-AAF1-8538205EB379}" type="parTrans" cxnId="{FF69E936-2DD3-4D60-90D3-795407D36D55}">
      <dgm:prSet/>
      <dgm:spPr/>
      <dgm:t>
        <a:bodyPr/>
        <a:lstStyle/>
        <a:p>
          <a:endParaRPr lang="en-US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C854AAA-42F5-4ECE-AF46-C7E789BEC343}" type="sibTrans" cxnId="{FF69E936-2DD3-4D60-90D3-795407D36D55}">
      <dgm:prSet/>
      <dgm:spPr/>
      <dgm:t>
        <a:bodyPr/>
        <a:lstStyle/>
        <a:p>
          <a:endParaRPr lang="en-US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58385176-CE2F-4F90-A79E-9283B8771EF4}">
      <dgm:prSet phldrT="[Text]"/>
      <dgm:spPr/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rends and Seasonality</a:t>
          </a:r>
        </a:p>
        <a:p>
          <a:r>
            <a:rPr lang="en-US" i="1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Holt’s Winter Smoothing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942D5CE6-75EC-4C48-95B7-F699EEDAF700}" type="parTrans" cxnId="{87B7ED67-AAAF-4768-919F-74B9DC098C24}">
      <dgm:prSet/>
      <dgm:spPr/>
      <dgm:t>
        <a:bodyPr/>
        <a:lstStyle/>
        <a:p>
          <a:endParaRPr lang="en-US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77103898-2CB3-49C2-9F2A-F62D50AF5CEF}" type="sibTrans" cxnId="{87B7ED67-AAAF-4768-919F-74B9DC098C24}">
      <dgm:prSet/>
      <dgm:spPr/>
      <dgm:t>
        <a:bodyPr/>
        <a:lstStyle/>
        <a:p>
          <a:endParaRPr lang="en-US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3DBB83A-0D11-47B6-B399-F5C5B7006AF2}">
      <dgm:prSet phldrT="[Text]"/>
      <dgm:spPr/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rends, Seasonality and Causal Factors</a:t>
          </a:r>
        </a:p>
        <a:p>
          <a:r>
            <a:rPr lang="en-US" i="1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ARIMAX/ State Space Models(SARIMAX)</a:t>
          </a:r>
          <a:endParaRPr lang="en-US" i="1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13809A58-0713-474F-9803-30154780A7AE}" type="parTrans" cxnId="{DC4088F4-143B-4246-9616-6791809A21F8}">
      <dgm:prSet/>
      <dgm:spPr/>
      <dgm:t>
        <a:bodyPr/>
        <a:lstStyle/>
        <a:p>
          <a:endParaRPr lang="en-US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C7451B57-2E8A-4E0C-AF62-1B06648B7D04}" type="sibTrans" cxnId="{DC4088F4-143B-4246-9616-6791809A21F8}">
      <dgm:prSet/>
      <dgm:spPr/>
      <dgm:t>
        <a:bodyPr/>
        <a:lstStyle/>
        <a:p>
          <a:endParaRPr lang="en-US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10230A3B-A318-4BF1-A9E2-6B170A48321F}" type="pres">
      <dgm:prSet presAssocID="{1F1725A7-2735-4DDB-ABA9-F93E1748EC7F}" presName="rootnode" presStyleCnt="0">
        <dgm:presLayoutVars>
          <dgm:chMax/>
          <dgm:chPref/>
          <dgm:dir/>
          <dgm:animLvl val="lvl"/>
        </dgm:presLayoutVars>
      </dgm:prSet>
      <dgm:spPr/>
    </dgm:pt>
    <dgm:pt modelId="{7241105F-12BA-4714-9C09-631428B5DAEB}" type="pres">
      <dgm:prSet presAssocID="{805CE25B-6510-420B-9ACE-700CCF669D2A}" presName="composite" presStyleCnt="0"/>
      <dgm:spPr/>
    </dgm:pt>
    <dgm:pt modelId="{B9106C77-A285-4013-A854-38637D25E4A9}" type="pres">
      <dgm:prSet presAssocID="{805CE25B-6510-420B-9ACE-700CCF669D2A}" presName="LShape" presStyleLbl="alignNode1" presStyleIdx="0" presStyleCnt="7"/>
      <dgm:spPr/>
    </dgm:pt>
    <dgm:pt modelId="{06C40976-C664-43DD-B54F-BC7A590CDFBE}" type="pres">
      <dgm:prSet presAssocID="{805CE25B-6510-420B-9ACE-700CCF669D2A}" presName="ParentText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FCEBE2A3-6D6E-4975-863E-4CE37765645A}" type="pres">
      <dgm:prSet presAssocID="{805CE25B-6510-420B-9ACE-700CCF669D2A}" presName="Triangle" presStyleLbl="alignNode1" presStyleIdx="1" presStyleCnt="7"/>
      <dgm:spPr/>
    </dgm:pt>
    <dgm:pt modelId="{CE98111B-454B-4293-8C6D-CCF61854D01E}" type="pres">
      <dgm:prSet presAssocID="{B7709163-CDC7-47DA-A3F9-D19F928E4B9C}" presName="sibTrans" presStyleCnt="0"/>
      <dgm:spPr/>
    </dgm:pt>
    <dgm:pt modelId="{E099306C-87DA-4509-A98B-AD3492DA29FD}" type="pres">
      <dgm:prSet presAssocID="{B7709163-CDC7-47DA-A3F9-D19F928E4B9C}" presName="space" presStyleCnt="0"/>
      <dgm:spPr/>
    </dgm:pt>
    <dgm:pt modelId="{BDC140D7-59AB-4680-9C2F-86A91255F870}" type="pres">
      <dgm:prSet presAssocID="{5AB49987-20C7-4C70-B319-044028BDBFBC}" presName="composite" presStyleCnt="0"/>
      <dgm:spPr/>
    </dgm:pt>
    <dgm:pt modelId="{0BDF0F1C-5BC7-4F10-87D8-D33C80DB9DF4}" type="pres">
      <dgm:prSet presAssocID="{5AB49987-20C7-4C70-B319-044028BDBFBC}" presName="LShape" presStyleLbl="alignNode1" presStyleIdx="2" presStyleCnt="7"/>
      <dgm:spPr>
        <a:solidFill>
          <a:srgbClr val="CCAD2A"/>
        </a:solidFill>
        <a:ln>
          <a:noFill/>
        </a:ln>
      </dgm:spPr>
    </dgm:pt>
    <dgm:pt modelId="{8338DD06-A766-4D1C-8E8A-65216561893A}" type="pres">
      <dgm:prSet presAssocID="{5AB49987-20C7-4C70-B319-044028BDBFBC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C1E794F3-FEE4-4A8C-B0D8-05FE2B5EE58A}" type="pres">
      <dgm:prSet presAssocID="{5AB49987-20C7-4C70-B319-044028BDBFBC}" presName="Triangle" presStyleLbl="alignNode1" presStyleIdx="3" presStyleCnt="7"/>
      <dgm:spPr/>
    </dgm:pt>
    <dgm:pt modelId="{78B7F44E-C336-48F1-9820-8F0ACA5241D7}" type="pres">
      <dgm:prSet presAssocID="{EC854AAA-42F5-4ECE-AF46-C7E789BEC343}" presName="sibTrans" presStyleCnt="0"/>
      <dgm:spPr/>
    </dgm:pt>
    <dgm:pt modelId="{A6A80F97-0D5D-49AB-9E38-F00EDCF36E57}" type="pres">
      <dgm:prSet presAssocID="{EC854AAA-42F5-4ECE-AF46-C7E789BEC343}" presName="space" presStyleCnt="0"/>
      <dgm:spPr/>
    </dgm:pt>
    <dgm:pt modelId="{D56F6616-EDCF-4FD3-B3CE-5E6F9955D1BD}" type="pres">
      <dgm:prSet presAssocID="{58385176-CE2F-4F90-A79E-9283B8771EF4}" presName="composite" presStyleCnt="0"/>
      <dgm:spPr/>
    </dgm:pt>
    <dgm:pt modelId="{BE001C61-95BB-4C68-BEEF-BAF7FEB3E0C9}" type="pres">
      <dgm:prSet presAssocID="{58385176-CE2F-4F90-A79E-9283B8771EF4}" presName="LShape" presStyleLbl="alignNode1" presStyleIdx="4" presStyleCnt="7"/>
      <dgm:spPr>
        <a:solidFill>
          <a:srgbClr val="00B050"/>
        </a:solidFill>
        <a:ln>
          <a:noFill/>
        </a:ln>
      </dgm:spPr>
    </dgm:pt>
    <dgm:pt modelId="{E0CB0FAA-C825-413D-8D36-09F8C68D32E8}" type="pres">
      <dgm:prSet presAssocID="{58385176-CE2F-4F90-A79E-9283B8771EF4}" presName="ParentText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37FFE8F8-4650-4A33-A025-25B7532DE6D7}" type="pres">
      <dgm:prSet presAssocID="{58385176-CE2F-4F90-A79E-9283B8771EF4}" presName="Triangle" presStyleLbl="alignNode1" presStyleIdx="5" presStyleCnt="7"/>
      <dgm:spPr/>
    </dgm:pt>
    <dgm:pt modelId="{DAC1B97B-0046-4A20-8BAD-B241D844FC33}" type="pres">
      <dgm:prSet presAssocID="{77103898-2CB3-49C2-9F2A-F62D50AF5CEF}" presName="sibTrans" presStyleCnt="0"/>
      <dgm:spPr/>
    </dgm:pt>
    <dgm:pt modelId="{D8C3B563-2B93-46DE-9684-957F6EE4C44E}" type="pres">
      <dgm:prSet presAssocID="{77103898-2CB3-49C2-9F2A-F62D50AF5CEF}" presName="space" presStyleCnt="0"/>
      <dgm:spPr/>
    </dgm:pt>
    <dgm:pt modelId="{8530844D-BD20-4E23-8146-EE4254C85399}" type="pres">
      <dgm:prSet presAssocID="{E3DBB83A-0D11-47B6-B399-F5C5B7006AF2}" presName="composite" presStyleCnt="0"/>
      <dgm:spPr/>
    </dgm:pt>
    <dgm:pt modelId="{1F29B285-23BD-4266-9A86-3B5588D9EDCA}" type="pres">
      <dgm:prSet presAssocID="{E3DBB83A-0D11-47B6-B399-F5C5B7006AF2}" presName="LShape" presStyleLbl="alignNode1" presStyleIdx="6" presStyleCnt="7"/>
      <dgm:spPr>
        <a:solidFill>
          <a:schemeClr val="accent4"/>
        </a:solidFill>
        <a:ln>
          <a:noFill/>
        </a:ln>
      </dgm:spPr>
    </dgm:pt>
    <dgm:pt modelId="{1EC15826-45E1-4ADF-BECE-F2C0AA6BE614}" type="pres">
      <dgm:prSet presAssocID="{E3DBB83A-0D11-47B6-B399-F5C5B7006AF2}" presName="ParentText" presStyleLbl="revTx" presStyleIdx="3" presStyleCnt="4" custScaleY="101000" custLinFactNeighborY="953">
        <dgm:presLayoutVars>
          <dgm:chMax val="0"/>
          <dgm:chPref val="0"/>
          <dgm:bulletEnabled val="1"/>
        </dgm:presLayoutVars>
      </dgm:prSet>
      <dgm:spPr/>
    </dgm:pt>
  </dgm:ptLst>
  <dgm:cxnLst>
    <dgm:cxn modelId="{FF69E936-2DD3-4D60-90D3-795407D36D55}" srcId="{1F1725A7-2735-4DDB-ABA9-F93E1748EC7F}" destId="{5AB49987-20C7-4C70-B319-044028BDBFBC}" srcOrd="1" destOrd="0" parTransId="{E3743134-1669-4940-AAF1-8538205EB379}" sibTransId="{EC854AAA-42F5-4ECE-AF46-C7E789BEC343}"/>
    <dgm:cxn modelId="{2F9F8A38-C9F7-44DD-8F5A-266F09E3F58D}" type="presOf" srcId="{805CE25B-6510-420B-9ACE-700CCF669D2A}" destId="{06C40976-C664-43DD-B54F-BC7A590CDFBE}" srcOrd="0" destOrd="0" presId="urn:microsoft.com/office/officeart/2009/3/layout/StepUpProcess"/>
    <dgm:cxn modelId="{87B7ED67-AAAF-4768-919F-74B9DC098C24}" srcId="{1F1725A7-2735-4DDB-ABA9-F93E1748EC7F}" destId="{58385176-CE2F-4F90-A79E-9283B8771EF4}" srcOrd="2" destOrd="0" parTransId="{942D5CE6-75EC-4C48-95B7-F699EEDAF700}" sibTransId="{77103898-2CB3-49C2-9F2A-F62D50AF5CEF}"/>
    <dgm:cxn modelId="{EC0CAD7D-D427-4591-B974-B8A6AB768A48}" type="presOf" srcId="{E3DBB83A-0D11-47B6-B399-F5C5B7006AF2}" destId="{1EC15826-45E1-4ADF-BECE-F2C0AA6BE614}" srcOrd="0" destOrd="0" presId="urn:microsoft.com/office/officeart/2009/3/layout/StepUpProcess"/>
    <dgm:cxn modelId="{3D07079E-85F7-4FE4-8344-B3858BA01D49}" type="presOf" srcId="{5AB49987-20C7-4C70-B319-044028BDBFBC}" destId="{8338DD06-A766-4D1C-8E8A-65216561893A}" srcOrd="0" destOrd="0" presId="urn:microsoft.com/office/officeart/2009/3/layout/StepUpProcess"/>
    <dgm:cxn modelId="{1FE068A1-0CD4-4890-9261-C1C05AE29EE2}" type="presOf" srcId="{58385176-CE2F-4F90-A79E-9283B8771EF4}" destId="{E0CB0FAA-C825-413D-8D36-09F8C68D32E8}" srcOrd="0" destOrd="0" presId="urn:microsoft.com/office/officeart/2009/3/layout/StepUpProcess"/>
    <dgm:cxn modelId="{1F3F15BC-A698-4F30-9118-8902B7B5F808}" srcId="{1F1725A7-2735-4DDB-ABA9-F93E1748EC7F}" destId="{805CE25B-6510-420B-9ACE-700CCF669D2A}" srcOrd="0" destOrd="0" parTransId="{0C548BD6-2201-4A10-B25F-DE7206E9FE8F}" sibTransId="{B7709163-CDC7-47DA-A3F9-D19F928E4B9C}"/>
    <dgm:cxn modelId="{D7D091BC-69C8-4CE1-AD2E-1474B5184F84}" type="presOf" srcId="{1F1725A7-2735-4DDB-ABA9-F93E1748EC7F}" destId="{10230A3B-A318-4BF1-A9E2-6B170A48321F}" srcOrd="0" destOrd="0" presId="urn:microsoft.com/office/officeart/2009/3/layout/StepUpProcess"/>
    <dgm:cxn modelId="{DC4088F4-143B-4246-9616-6791809A21F8}" srcId="{1F1725A7-2735-4DDB-ABA9-F93E1748EC7F}" destId="{E3DBB83A-0D11-47B6-B399-F5C5B7006AF2}" srcOrd="3" destOrd="0" parTransId="{13809A58-0713-474F-9803-30154780A7AE}" sibTransId="{C7451B57-2E8A-4E0C-AF62-1B06648B7D04}"/>
    <dgm:cxn modelId="{44078847-9718-4275-AF7C-7769BCD46BC1}" type="presParOf" srcId="{10230A3B-A318-4BF1-A9E2-6B170A48321F}" destId="{7241105F-12BA-4714-9C09-631428B5DAEB}" srcOrd="0" destOrd="0" presId="urn:microsoft.com/office/officeart/2009/3/layout/StepUpProcess"/>
    <dgm:cxn modelId="{2D022202-1AD8-4D6B-B1A6-9C5E360C7544}" type="presParOf" srcId="{7241105F-12BA-4714-9C09-631428B5DAEB}" destId="{B9106C77-A285-4013-A854-38637D25E4A9}" srcOrd="0" destOrd="0" presId="urn:microsoft.com/office/officeart/2009/3/layout/StepUpProcess"/>
    <dgm:cxn modelId="{7D6A2A29-A9A4-4A73-92F5-ED0320668670}" type="presParOf" srcId="{7241105F-12BA-4714-9C09-631428B5DAEB}" destId="{06C40976-C664-43DD-B54F-BC7A590CDFBE}" srcOrd="1" destOrd="0" presId="urn:microsoft.com/office/officeart/2009/3/layout/StepUpProcess"/>
    <dgm:cxn modelId="{092D7E62-010D-4CD4-B3E8-A767E0835D57}" type="presParOf" srcId="{7241105F-12BA-4714-9C09-631428B5DAEB}" destId="{FCEBE2A3-6D6E-4975-863E-4CE37765645A}" srcOrd="2" destOrd="0" presId="urn:microsoft.com/office/officeart/2009/3/layout/StepUpProcess"/>
    <dgm:cxn modelId="{2860C0FB-855C-4C32-82D1-54828ED02975}" type="presParOf" srcId="{10230A3B-A318-4BF1-A9E2-6B170A48321F}" destId="{CE98111B-454B-4293-8C6D-CCF61854D01E}" srcOrd="1" destOrd="0" presId="urn:microsoft.com/office/officeart/2009/3/layout/StepUpProcess"/>
    <dgm:cxn modelId="{EB0F9F4B-4C89-4FDE-94CD-DA079084FA21}" type="presParOf" srcId="{CE98111B-454B-4293-8C6D-CCF61854D01E}" destId="{E099306C-87DA-4509-A98B-AD3492DA29FD}" srcOrd="0" destOrd="0" presId="urn:microsoft.com/office/officeart/2009/3/layout/StepUpProcess"/>
    <dgm:cxn modelId="{7B1DFD82-F754-4042-9F0A-672AB57051B2}" type="presParOf" srcId="{10230A3B-A318-4BF1-A9E2-6B170A48321F}" destId="{BDC140D7-59AB-4680-9C2F-86A91255F870}" srcOrd="2" destOrd="0" presId="urn:microsoft.com/office/officeart/2009/3/layout/StepUpProcess"/>
    <dgm:cxn modelId="{7F752AF1-7798-4EAF-939C-1651F28F2964}" type="presParOf" srcId="{BDC140D7-59AB-4680-9C2F-86A91255F870}" destId="{0BDF0F1C-5BC7-4F10-87D8-D33C80DB9DF4}" srcOrd="0" destOrd="0" presId="urn:microsoft.com/office/officeart/2009/3/layout/StepUpProcess"/>
    <dgm:cxn modelId="{B109C6D1-C5F7-47C1-A632-11915E925F21}" type="presParOf" srcId="{BDC140D7-59AB-4680-9C2F-86A91255F870}" destId="{8338DD06-A766-4D1C-8E8A-65216561893A}" srcOrd="1" destOrd="0" presId="urn:microsoft.com/office/officeart/2009/3/layout/StepUpProcess"/>
    <dgm:cxn modelId="{BC464EE7-017B-41F1-8FAF-3C3390DF5420}" type="presParOf" srcId="{BDC140D7-59AB-4680-9C2F-86A91255F870}" destId="{C1E794F3-FEE4-4A8C-B0D8-05FE2B5EE58A}" srcOrd="2" destOrd="0" presId="urn:microsoft.com/office/officeart/2009/3/layout/StepUpProcess"/>
    <dgm:cxn modelId="{1312F8D1-4454-4212-A4DA-FE7612252E8B}" type="presParOf" srcId="{10230A3B-A318-4BF1-A9E2-6B170A48321F}" destId="{78B7F44E-C336-48F1-9820-8F0ACA5241D7}" srcOrd="3" destOrd="0" presId="urn:microsoft.com/office/officeart/2009/3/layout/StepUpProcess"/>
    <dgm:cxn modelId="{F9C50EA1-00A3-4DE1-A60A-0ED16FDD7F9C}" type="presParOf" srcId="{78B7F44E-C336-48F1-9820-8F0ACA5241D7}" destId="{A6A80F97-0D5D-49AB-9E38-F00EDCF36E57}" srcOrd="0" destOrd="0" presId="urn:microsoft.com/office/officeart/2009/3/layout/StepUpProcess"/>
    <dgm:cxn modelId="{A12F6F48-2754-44C2-83EA-B1ED9690A395}" type="presParOf" srcId="{10230A3B-A318-4BF1-A9E2-6B170A48321F}" destId="{D56F6616-EDCF-4FD3-B3CE-5E6F9955D1BD}" srcOrd="4" destOrd="0" presId="urn:microsoft.com/office/officeart/2009/3/layout/StepUpProcess"/>
    <dgm:cxn modelId="{6DDE04BF-70A9-498F-95EF-95A17EB317A1}" type="presParOf" srcId="{D56F6616-EDCF-4FD3-B3CE-5E6F9955D1BD}" destId="{BE001C61-95BB-4C68-BEEF-BAF7FEB3E0C9}" srcOrd="0" destOrd="0" presId="urn:microsoft.com/office/officeart/2009/3/layout/StepUpProcess"/>
    <dgm:cxn modelId="{E2FE1E22-A2D4-4A73-ABC5-A462D5E063CD}" type="presParOf" srcId="{D56F6616-EDCF-4FD3-B3CE-5E6F9955D1BD}" destId="{E0CB0FAA-C825-413D-8D36-09F8C68D32E8}" srcOrd="1" destOrd="0" presId="urn:microsoft.com/office/officeart/2009/3/layout/StepUpProcess"/>
    <dgm:cxn modelId="{07B23631-937F-4595-B3A2-003C2BB44051}" type="presParOf" srcId="{D56F6616-EDCF-4FD3-B3CE-5E6F9955D1BD}" destId="{37FFE8F8-4650-4A33-A025-25B7532DE6D7}" srcOrd="2" destOrd="0" presId="urn:microsoft.com/office/officeart/2009/3/layout/StepUpProcess"/>
    <dgm:cxn modelId="{B9950B4D-0BA2-449B-B2A6-0798D0D2A424}" type="presParOf" srcId="{10230A3B-A318-4BF1-A9E2-6B170A48321F}" destId="{DAC1B97B-0046-4A20-8BAD-B241D844FC33}" srcOrd="5" destOrd="0" presId="urn:microsoft.com/office/officeart/2009/3/layout/StepUpProcess"/>
    <dgm:cxn modelId="{E76FA0F1-7868-4E21-8F45-80712E4B25E6}" type="presParOf" srcId="{DAC1B97B-0046-4A20-8BAD-B241D844FC33}" destId="{D8C3B563-2B93-46DE-9684-957F6EE4C44E}" srcOrd="0" destOrd="0" presId="urn:microsoft.com/office/officeart/2009/3/layout/StepUpProcess"/>
    <dgm:cxn modelId="{0CFD5C7E-80F1-481E-BDFB-2CD66C10AF56}" type="presParOf" srcId="{10230A3B-A318-4BF1-A9E2-6B170A48321F}" destId="{8530844D-BD20-4E23-8146-EE4254C85399}" srcOrd="6" destOrd="0" presId="urn:microsoft.com/office/officeart/2009/3/layout/StepUpProcess"/>
    <dgm:cxn modelId="{302AA9FB-B272-45FB-9F20-09A913EE9CBB}" type="presParOf" srcId="{8530844D-BD20-4E23-8146-EE4254C85399}" destId="{1F29B285-23BD-4266-9A86-3B5588D9EDCA}" srcOrd="0" destOrd="0" presId="urn:microsoft.com/office/officeart/2009/3/layout/StepUpProcess"/>
    <dgm:cxn modelId="{8B65D426-AAE2-423F-A0CA-B92BF243CDEC}" type="presParOf" srcId="{8530844D-BD20-4E23-8146-EE4254C85399}" destId="{1EC15826-45E1-4ADF-BECE-F2C0AA6BE614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C9E22CB-C774-403D-86E1-4FDC3F69F2ED}" type="doc">
      <dgm:prSet loTypeId="urn:microsoft.com/office/officeart/2005/8/layout/orgChart1" loCatId="hierarchy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DA22D110-1716-4106-B89F-0EA72803E1A1}">
      <dgm:prSet phldrT="[Text]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en-IN" b="1" dirty="0" err="1">
              <a:solidFill>
                <a:schemeClr val="bg1"/>
              </a:solidFill>
            </a:rPr>
            <a:t>Aureet</a:t>
          </a:r>
          <a:r>
            <a:rPr lang="en-IN" b="1" dirty="0">
              <a:solidFill>
                <a:schemeClr val="bg1"/>
              </a:solidFill>
            </a:rPr>
            <a:t>/ Italian Series (259.55 Cr.)</a:t>
          </a:r>
        </a:p>
      </dgm:t>
    </dgm:pt>
    <dgm:pt modelId="{F28F8565-28EC-47C5-A7AC-9E2C60612E1B}" type="parTrans" cxnId="{D8FCB6B4-55E9-4146-B6B0-B19BEF0A64A2}">
      <dgm:prSet/>
      <dgm:spPr/>
      <dgm:t>
        <a:bodyPr/>
        <a:lstStyle/>
        <a:p>
          <a:endParaRPr lang="en-IN"/>
        </a:p>
      </dgm:t>
    </dgm:pt>
    <dgm:pt modelId="{06206637-7474-4CBC-B456-5D8E108EA74A}" type="sibTrans" cxnId="{D8FCB6B4-55E9-4146-B6B0-B19BEF0A64A2}">
      <dgm:prSet/>
      <dgm:spPr/>
      <dgm:t>
        <a:bodyPr/>
        <a:lstStyle/>
        <a:p>
          <a:endParaRPr lang="en-IN"/>
        </a:p>
      </dgm:t>
    </dgm:pt>
    <dgm:pt modelId="{70AE0455-1774-4FF9-8957-11E4203453C8}">
      <dgm:prSet phldrT="[Text]"/>
      <dgm:spPr>
        <a:solidFill>
          <a:srgbClr val="92D050"/>
        </a:solidFill>
      </dgm:spPr>
      <dgm:t>
        <a:bodyPr/>
        <a:lstStyle/>
        <a:p>
          <a:r>
            <a:rPr lang="en-IN" b="1" dirty="0" err="1">
              <a:solidFill>
                <a:schemeClr val="bg1"/>
              </a:solidFill>
            </a:rPr>
            <a:t>Salable</a:t>
          </a:r>
          <a:r>
            <a:rPr lang="en-IN" b="1" dirty="0">
              <a:solidFill>
                <a:schemeClr val="bg1"/>
              </a:solidFill>
            </a:rPr>
            <a:t> : 230 Cr</a:t>
          </a:r>
        </a:p>
      </dgm:t>
    </dgm:pt>
    <dgm:pt modelId="{A3DECC02-CE72-4359-96ED-799CF59EF2F8}" type="sibTrans" cxnId="{DA9BBC55-2C44-40F3-93DE-E3E8431FD93E}">
      <dgm:prSet/>
      <dgm:spPr/>
      <dgm:t>
        <a:bodyPr/>
        <a:lstStyle/>
        <a:p>
          <a:endParaRPr lang="en-IN"/>
        </a:p>
      </dgm:t>
    </dgm:pt>
    <dgm:pt modelId="{ED720FE2-AFF9-4947-A4F3-2E5FEC2E876A}" type="parTrans" cxnId="{DA9BBC55-2C44-40F3-93DE-E3E8431FD93E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dgm:style>
      </dgm:prSet>
      <dgm:spPr>
        <a:ln w="19050" cap="flat" cmpd="sng" algn="ctr">
          <a:solidFill>
            <a:schemeClr val="dk1"/>
          </a:solidFill>
          <a:prstDash val="solid"/>
          <a:round/>
          <a:headEnd type="none" w="med" len="med"/>
          <a:tailEnd type="arrow" w="med" len="med"/>
        </a:ln>
      </dgm:spPr>
      <dgm:t>
        <a:bodyPr/>
        <a:lstStyle/>
        <a:p>
          <a:endParaRPr lang="en-IN"/>
        </a:p>
      </dgm:t>
    </dgm:pt>
    <dgm:pt modelId="{2632B3FB-0AC9-4201-8DAE-EF495B6184C3}" type="pres">
      <dgm:prSet presAssocID="{2C9E22CB-C774-403D-86E1-4FDC3F69F2E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08FDBBE-98F6-4A85-B10F-27BF9874DF31}" type="pres">
      <dgm:prSet presAssocID="{DA22D110-1716-4106-B89F-0EA72803E1A1}" presName="hierRoot1" presStyleCnt="0">
        <dgm:presLayoutVars>
          <dgm:hierBranch val="init"/>
        </dgm:presLayoutVars>
      </dgm:prSet>
      <dgm:spPr/>
    </dgm:pt>
    <dgm:pt modelId="{7207F699-E6F4-4CAC-874B-578AD8E254C3}" type="pres">
      <dgm:prSet presAssocID="{DA22D110-1716-4106-B89F-0EA72803E1A1}" presName="rootComposite1" presStyleCnt="0"/>
      <dgm:spPr/>
    </dgm:pt>
    <dgm:pt modelId="{6D29F976-A415-4248-9081-50AAE32C461F}" type="pres">
      <dgm:prSet presAssocID="{DA22D110-1716-4106-B89F-0EA72803E1A1}" presName="rootText1" presStyleLbl="node0" presStyleIdx="0" presStyleCnt="1" custScaleX="399943">
        <dgm:presLayoutVars>
          <dgm:chPref val="3"/>
        </dgm:presLayoutVars>
      </dgm:prSet>
      <dgm:spPr/>
    </dgm:pt>
    <dgm:pt modelId="{F8D32CE0-2A61-4645-BD9D-5D54F9F2D497}" type="pres">
      <dgm:prSet presAssocID="{DA22D110-1716-4106-B89F-0EA72803E1A1}" presName="rootConnector1" presStyleLbl="node1" presStyleIdx="0" presStyleCnt="0"/>
      <dgm:spPr/>
    </dgm:pt>
    <dgm:pt modelId="{8411F256-9B8D-4B96-9AB4-0FF33C802A15}" type="pres">
      <dgm:prSet presAssocID="{DA22D110-1716-4106-B89F-0EA72803E1A1}" presName="hierChild2" presStyleCnt="0"/>
      <dgm:spPr/>
    </dgm:pt>
    <dgm:pt modelId="{E01BB785-8782-4CAD-B0DA-CB5B34D804C3}" type="pres">
      <dgm:prSet presAssocID="{ED720FE2-AFF9-4947-A4F3-2E5FEC2E876A}" presName="Name37" presStyleLbl="parChTrans1D2" presStyleIdx="0" presStyleCnt="1"/>
      <dgm:spPr/>
    </dgm:pt>
    <dgm:pt modelId="{3D44B26B-9DE7-41C2-A294-FF885818902D}" type="pres">
      <dgm:prSet presAssocID="{70AE0455-1774-4FF9-8957-11E4203453C8}" presName="hierRoot2" presStyleCnt="0">
        <dgm:presLayoutVars>
          <dgm:hierBranch val="init"/>
        </dgm:presLayoutVars>
      </dgm:prSet>
      <dgm:spPr/>
    </dgm:pt>
    <dgm:pt modelId="{63953839-BAA2-4452-B3F9-BF77F87E061B}" type="pres">
      <dgm:prSet presAssocID="{70AE0455-1774-4FF9-8957-11E4203453C8}" presName="rootComposite" presStyleCnt="0"/>
      <dgm:spPr/>
    </dgm:pt>
    <dgm:pt modelId="{7801FCCE-4547-4B12-B8FE-BA4618832798}" type="pres">
      <dgm:prSet presAssocID="{70AE0455-1774-4FF9-8957-11E4203453C8}" presName="rootText" presStyleLbl="node2" presStyleIdx="0" presStyleCnt="1" custScaleX="185049">
        <dgm:presLayoutVars>
          <dgm:chPref val="3"/>
        </dgm:presLayoutVars>
      </dgm:prSet>
      <dgm:spPr/>
    </dgm:pt>
    <dgm:pt modelId="{DBAD1FD6-FD36-483C-86D4-3A719F29DC76}" type="pres">
      <dgm:prSet presAssocID="{70AE0455-1774-4FF9-8957-11E4203453C8}" presName="rootConnector" presStyleLbl="node2" presStyleIdx="0" presStyleCnt="1"/>
      <dgm:spPr/>
    </dgm:pt>
    <dgm:pt modelId="{9D1CCFFB-172F-41F6-840B-89B646590023}" type="pres">
      <dgm:prSet presAssocID="{70AE0455-1774-4FF9-8957-11E4203453C8}" presName="hierChild4" presStyleCnt="0"/>
      <dgm:spPr/>
    </dgm:pt>
    <dgm:pt modelId="{20D833DB-C998-44FB-A41B-F7431F1467B3}" type="pres">
      <dgm:prSet presAssocID="{70AE0455-1774-4FF9-8957-11E4203453C8}" presName="hierChild5" presStyleCnt="0"/>
      <dgm:spPr/>
    </dgm:pt>
    <dgm:pt modelId="{915C6CB7-DACF-4F8E-BB3D-3FE1BC475108}" type="pres">
      <dgm:prSet presAssocID="{DA22D110-1716-4106-B89F-0EA72803E1A1}" presName="hierChild3" presStyleCnt="0"/>
      <dgm:spPr/>
    </dgm:pt>
  </dgm:ptLst>
  <dgm:cxnLst>
    <dgm:cxn modelId="{D2B6B300-554F-4B24-95E9-D11ADF2284F4}" type="presOf" srcId="{70AE0455-1774-4FF9-8957-11E4203453C8}" destId="{7801FCCE-4547-4B12-B8FE-BA4618832798}" srcOrd="0" destOrd="0" presId="urn:microsoft.com/office/officeart/2005/8/layout/orgChart1"/>
    <dgm:cxn modelId="{B604E94A-B6E1-4755-9A6B-DD5EFDBF3438}" type="presOf" srcId="{2C9E22CB-C774-403D-86E1-4FDC3F69F2ED}" destId="{2632B3FB-0AC9-4201-8DAE-EF495B6184C3}" srcOrd="0" destOrd="0" presId="urn:microsoft.com/office/officeart/2005/8/layout/orgChart1"/>
    <dgm:cxn modelId="{DA9BBC55-2C44-40F3-93DE-E3E8431FD93E}" srcId="{DA22D110-1716-4106-B89F-0EA72803E1A1}" destId="{70AE0455-1774-4FF9-8957-11E4203453C8}" srcOrd="0" destOrd="0" parTransId="{ED720FE2-AFF9-4947-A4F3-2E5FEC2E876A}" sibTransId="{A3DECC02-CE72-4359-96ED-799CF59EF2F8}"/>
    <dgm:cxn modelId="{90EE7185-C9BB-4C20-AA6F-99298518A6EC}" type="presOf" srcId="{70AE0455-1774-4FF9-8957-11E4203453C8}" destId="{DBAD1FD6-FD36-483C-86D4-3A719F29DC76}" srcOrd="1" destOrd="0" presId="urn:microsoft.com/office/officeart/2005/8/layout/orgChart1"/>
    <dgm:cxn modelId="{EC04899F-098E-49F9-A7A7-DD876AE7645B}" type="presOf" srcId="{ED720FE2-AFF9-4947-A4F3-2E5FEC2E876A}" destId="{E01BB785-8782-4CAD-B0DA-CB5B34D804C3}" srcOrd="0" destOrd="0" presId="urn:microsoft.com/office/officeart/2005/8/layout/orgChart1"/>
    <dgm:cxn modelId="{D8FCB6B4-55E9-4146-B6B0-B19BEF0A64A2}" srcId="{2C9E22CB-C774-403D-86E1-4FDC3F69F2ED}" destId="{DA22D110-1716-4106-B89F-0EA72803E1A1}" srcOrd="0" destOrd="0" parTransId="{F28F8565-28EC-47C5-A7AC-9E2C60612E1B}" sibTransId="{06206637-7474-4CBC-B456-5D8E108EA74A}"/>
    <dgm:cxn modelId="{F57C70D0-90F5-48BA-8A6C-C361277BE319}" type="presOf" srcId="{DA22D110-1716-4106-B89F-0EA72803E1A1}" destId="{6D29F976-A415-4248-9081-50AAE32C461F}" srcOrd="0" destOrd="0" presId="urn:microsoft.com/office/officeart/2005/8/layout/orgChart1"/>
    <dgm:cxn modelId="{35E710EC-6324-4331-956B-34B93300FA70}" type="presOf" srcId="{DA22D110-1716-4106-B89F-0EA72803E1A1}" destId="{F8D32CE0-2A61-4645-BD9D-5D54F9F2D497}" srcOrd="1" destOrd="0" presId="urn:microsoft.com/office/officeart/2005/8/layout/orgChart1"/>
    <dgm:cxn modelId="{9FAB70DD-4D70-49B5-B101-8B3794EB8823}" type="presParOf" srcId="{2632B3FB-0AC9-4201-8DAE-EF495B6184C3}" destId="{308FDBBE-98F6-4A85-B10F-27BF9874DF31}" srcOrd="0" destOrd="0" presId="urn:microsoft.com/office/officeart/2005/8/layout/orgChart1"/>
    <dgm:cxn modelId="{60F8924A-7A3A-42AE-9288-66D37B3A20C5}" type="presParOf" srcId="{308FDBBE-98F6-4A85-B10F-27BF9874DF31}" destId="{7207F699-E6F4-4CAC-874B-578AD8E254C3}" srcOrd="0" destOrd="0" presId="urn:microsoft.com/office/officeart/2005/8/layout/orgChart1"/>
    <dgm:cxn modelId="{CB6BFB21-B37B-4E60-BF5E-724CEB316F31}" type="presParOf" srcId="{7207F699-E6F4-4CAC-874B-578AD8E254C3}" destId="{6D29F976-A415-4248-9081-50AAE32C461F}" srcOrd="0" destOrd="0" presId="urn:microsoft.com/office/officeart/2005/8/layout/orgChart1"/>
    <dgm:cxn modelId="{142B928F-F809-419F-B607-28248D935873}" type="presParOf" srcId="{7207F699-E6F4-4CAC-874B-578AD8E254C3}" destId="{F8D32CE0-2A61-4645-BD9D-5D54F9F2D497}" srcOrd="1" destOrd="0" presId="urn:microsoft.com/office/officeart/2005/8/layout/orgChart1"/>
    <dgm:cxn modelId="{69A9B2FE-40C5-4AFB-A15D-B92A1CB2EB49}" type="presParOf" srcId="{308FDBBE-98F6-4A85-B10F-27BF9874DF31}" destId="{8411F256-9B8D-4B96-9AB4-0FF33C802A15}" srcOrd="1" destOrd="0" presId="urn:microsoft.com/office/officeart/2005/8/layout/orgChart1"/>
    <dgm:cxn modelId="{706F6046-D6F5-49B7-A0D5-49A2BADB6C62}" type="presParOf" srcId="{8411F256-9B8D-4B96-9AB4-0FF33C802A15}" destId="{E01BB785-8782-4CAD-B0DA-CB5B34D804C3}" srcOrd="0" destOrd="0" presId="urn:microsoft.com/office/officeart/2005/8/layout/orgChart1"/>
    <dgm:cxn modelId="{50E3502E-9A0B-46EB-8A26-B617A551B26F}" type="presParOf" srcId="{8411F256-9B8D-4B96-9AB4-0FF33C802A15}" destId="{3D44B26B-9DE7-41C2-A294-FF885818902D}" srcOrd="1" destOrd="0" presId="urn:microsoft.com/office/officeart/2005/8/layout/orgChart1"/>
    <dgm:cxn modelId="{795277BE-8E69-4887-8F9C-9A1B63E0B62B}" type="presParOf" srcId="{3D44B26B-9DE7-41C2-A294-FF885818902D}" destId="{63953839-BAA2-4452-B3F9-BF77F87E061B}" srcOrd="0" destOrd="0" presId="urn:microsoft.com/office/officeart/2005/8/layout/orgChart1"/>
    <dgm:cxn modelId="{20FBC645-5375-40D8-9BF7-ACFB77459FA4}" type="presParOf" srcId="{63953839-BAA2-4452-B3F9-BF77F87E061B}" destId="{7801FCCE-4547-4B12-B8FE-BA4618832798}" srcOrd="0" destOrd="0" presId="urn:microsoft.com/office/officeart/2005/8/layout/orgChart1"/>
    <dgm:cxn modelId="{CB5FBA30-D1B7-480B-BCA6-7B402CDF6444}" type="presParOf" srcId="{63953839-BAA2-4452-B3F9-BF77F87E061B}" destId="{DBAD1FD6-FD36-483C-86D4-3A719F29DC76}" srcOrd="1" destOrd="0" presId="urn:microsoft.com/office/officeart/2005/8/layout/orgChart1"/>
    <dgm:cxn modelId="{D6EA50AD-B709-4597-8E02-10B1DEA0E567}" type="presParOf" srcId="{3D44B26B-9DE7-41C2-A294-FF885818902D}" destId="{9D1CCFFB-172F-41F6-840B-89B646590023}" srcOrd="1" destOrd="0" presId="urn:microsoft.com/office/officeart/2005/8/layout/orgChart1"/>
    <dgm:cxn modelId="{12AA8520-417B-4135-960D-EAAE77A511C0}" type="presParOf" srcId="{3D44B26B-9DE7-41C2-A294-FF885818902D}" destId="{20D833DB-C998-44FB-A41B-F7431F1467B3}" srcOrd="2" destOrd="0" presId="urn:microsoft.com/office/officeart/2005/8/layout/orgChart1"/>
    <dgm:cxn modelId="{AECF3E3E-136D-492E-8B4F-A2A81749499E}" type="presParOf" srcId="{308FDBBE-98F6-4A85-B10F-27BF9874DF31}" destId="{915C6CB7-DACF-4F8E-BB3D-3FE1BC475108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C9E22CB-C774-403D-86E1-4FDC3F69F2ED}" type="doc">
      <dgm:prSet loTypeId="urn:microsoft.com/office/officeart/2005/8/layout/orgChart1" loCatId="hierarchy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DA22D110-1716-4106-B89F-0EA72803E1A1}">
      <dgm:prSet phldrT="[Text]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en-IN" b="1" dirty="0">
              <a:solidFill>
                <a:schemeClr val="bg1"/>
              </a:solidFill>
            </a:rPr>
            <a:t>Sanitaryware + CP  (259.55 Cr.)</a:t>
          </a:r>
        </a:p>
      </dgm:t>
    </dgm:pt>
    <dgm:pt modelId="{F28F8565-28EC-47C5-A7AC-9E2C60612E1B}" type="parTrans" cxnId="{D8FCB6B4-55E9-4146-B6B0-B19BEF0A64A2}">
      <dgm:prSet/>
      <dgm:spPr/>
      <dgm:t>
        <a:bodyPr/>
        <a:lstStyle/>
        <a:p>
          <a:endParaRPr lang="en-IN"/>
        </a:p>
      </dgm:t>
    </dgm:pt>
    <dgm:pt modelId="{06206637-7474-4CBC-B456-5D8E108EA74A}" type="sibTrans" cxnId="{D8FCB6B4-55E9-4146-B6B0-B19BEF0A64A2}">
      <dgm:prSet/>
      <dgm:spPr/>
      <dgm:t>
        <a:bodyPr/>
        <a:lstStyle/>
        <a:p>
          <a:endParaRPr lang="en-IN"/>
        </a:p>
      </dgm:t>
    </dgm:pt>
    <dgm:pt modelId="{70AE0455-1774-4FF9-8957-11E4203453C8}">
      <dgm:prSet phldrT="[Text]"/>
      <dgm:spPr>
        <a:solidFill>
          <a:srgbClr val="92D050"/>
        </a:solidFill>
      </dgm:spPr>
      <dgm:t>
        <a:bodyPr/>
        <a:lstStyle/>
        <a:p>
          <a:r>
            <a:rPr lang="en-IN" b="1" dirty="0" err="1">
              <a:solidFill>
                <a:schemeClr val="bg1"/>
              </a:solidFill>
            </a:rPr>
            <a:t>Salable</a:t>
          </a:r>
          <a:r>
            <a:rPr lang="en-IN" b="1" dirty="0">
              <a:solidFill>
                <a:schemeClr val="bg1"/>
              </a:solidFill>
            </a:rPr>
            <a:t> : 230 Cr</a:t>
          </a:r>
        </a:p>
      </dgm:t>
    </dgm:pt>
    <dgm:pt modelId="{A3DECC02-CE72-4359-96ED-799CF59EF2F8}" type="sibTrans" cxnId="{DA9BBC55-2C44-40F3-93DE-E3E8431FD93E}">
      <dgm:prSet/>
      <dgm:spPr/>
      <dgm:t>
        <a:bodyPr/>
        <a:lstStyle/>
        <a:p>
          <a:endParaRPr lang="en-IN"/>
        </a:p>
      </dgm:t>
    </dgm:pt>
    <dgm:pt modelId="{ED720FE2-AFF9-4947-A4F3-2E5FEC2E876A}" type="parTrans" cxnId="{DA9BBC55-2C44-40F3-93DE-E3E8431FD93E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dgm:style>
      </dgm:prSet>
      <dgm:spPr>
        <a:ln w="19050" cap="flat" cmpd="sng" algn="ctr">
          <a:solidFill>
            <a:schemeClr val="dk1"/>
          </a:solidFill>
          <a:prstDash val="solid"/>
          <a:round/>
          <a:headEnd type="none" w="med" len="med"/>
          <a:tailEnd type="arrow" w="med" len="med"/>
        </a:ln>
      </dgm:spPr>
      <dgm:t>
        <a:bodyPr/>
        <a:lstStyle/>
        <a:p>
          <a:endParaRPr lang="en-IN"/>
        </a:p>
      </dgm:t>
    </dgm:pt>
    <dgm:pt modelId="{2632B3FB-0AC9-4201-8DAE-EF495B6184C3}" type="pres">
      <dgm:prSet presAssocID="{2C9E22CB-C774-403D-86E1-4FDC3F69F2E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08FDBBE-98F6-4A85-B10F-27BF9874DF31}" type="pres">
      <dgm:prSet presAssocID="{DA22D110-1716-4106-B89F-0EA72803E1A1}" presName="hierRoot1" presStyleCnt="0">
        <dgm:presLayoutVars>
          <dgm:hierBranch val="init"/>
        </dgm:presLayoutVars>
      </dgm:prSet>
      <dgm:spPr/>
    </dgm:pt>
    <dgm:pt modelId="{7207F699-E6F4-4CAC-874B-578AD8E254C3}" type="pres">
      <dgm:prSet presAssocID="{DA22D110-1716-4106-B89F-0EA72803E1A1}" presName="rootComposite1" presStyleCnt="0"/>
      <dgm:spPr/>
    </dgm:pt>
    <dgm:pt modelId="{6D29F976-A415-4248-9081-50AAE32C461F}" type="pres">
      <dgm:prSet presAssocID="{DA22D110-1716-4106-B89F-0EA72803E1A1}" presName="rootText1" presStyleLbl="node0" presStyleIdx="0" presStyleCnt="1" custScaleX="399943">
        <dgm:presLayoutVars>
          <dgm:chPref val="3"/>
        </dgm:presLayoutVars>
      </dgm:prSet>
      <dgm:spPr/>
    </dgm:pt>
    <dgm:pt modelId="{F8D32CE0-2A61-4645-BD9D-5D54F9F2D497}" type="pres">
      <dgm:prSet presAssocID="{DA22D110-1716-4106-B89F-0EA72803E1A1}" presName="rootConnector1" presStyleLbl="node1" presStyleIdx="0" presStyleCnt="0"/>
      <dgm:spPr/>
    </dgm:pt>
    <dgm:pt modelId="{8411F256-9B8D-4B96-9AB4-0FF33C802A15}" type="pres">
      <dgm:prSet presAssocID="{DA22D110-1716-4106-B89F-0EA72803E1A1}" presName="hierChild2" presStyleCnt="0"/>
      <dgm:spPr/>
    </dgm:pt>
    <dgm:pt modelId="{E01BB785-8782-4CAD-B0DA-CB5B34D804C3}" type="pres">
      <dgm:prSet presAssocID="{ED720FE2-AFF9-4947-A4F3-2E5FEC2E876A}" presName="Name37" presStyleLbl="parChTrans1D2" presStyleIdx="0" presStyleCnt="1"/>
      <dgm:spPr/>
    </dgm:pt>
    <dgm:pt modelId="{3D44B26B-9DE7-41C2-A294-FF885818902D}" type="pres">
      <dgm:prSet presAssocID="{70AE0455-1774-4FF9-8957-11E4203453C8}" presName="hierRoot2" presStyleCnt="0">
        <dgm:presLayoutVars>
          <dgm:hierBranch val="init"/>
        </dgm:presLayoutVars>
      </dgm:prSet>
      <dgm:spPr/>
    </dgm:pt>
    <dgm:pt modelId="{63953839-BAA2-4452-B3F9-BF77F87E061B}" type="pres">
      <dgm:prSet presAssocID="{70AE0455-1774-4FF9-8957-11E4203453C8}" presName="rootComposite" presStyleCnt="0"/>
      <dgm:spPr/>
    </dgm:pt>
    <dgm:pt modelId="{7801FCCE-4547-4B12-B8FE-BA4618832798}" type="pres">
      <dgm:prSet presAssocID="{70AE0455-1774-4FF9-8957-11E4203453C8}" presName="rootText" presStyleLbl="node2" presStyleIdx="0" presStyleCnt="1" custScaleX="185049">
        <dgm:presLayoutVars>
          <dgm:chPref val="3"/>
        </dgm:presLayoutVars>
      </dgm:prSet>
      <dgm:spPr/>
    </dgm:pt>
    <dgm:pt modelId="{DBAD1FD6-FD36-483C-86D4-3A719F29DC76}" type="pres">
      <dgm:prSet presAssocID="{70AE0455-1774-4FF9-8957-11E4203453C8}" presName="rootConnector" presStyleLbl="node2" presStyleIdx="0" presStyleCnt="1"/>
      <dgm:spPr/>
    </dgm:pt>
    <dgm:pt modelId="{9D1CCFFB-172F-41F6-840B-89B646590023}" type="pres">
      <dgm:prSet presAssocID="{70AE0455-1774-4FF9-8957-11E4203453C8}" presName="hierChild4" presStyleCnt="0"/>
      <dgm:spPr/>
    </dgm:pt>
    <dgm:pt modelId="{20D833DB-C998-44FB-A41B-F7431F1467B3}" type="pres">
      <dgm:prSet presAssocID="{70AE0455-1774-4FF9-8957-11E4203453C8}" presName="hierChild5" presStyleCnt="0"/>
      <dgm:spPr/>
    </dgm:pt>
    <dgm:pt modelId="{915C6CB7-DACF-4F8E-BB3D-3FE1BC475108}" type="pres">
      <dgm:prSet presAssocID="{DA22D110-1716-4106-B89F-0EA72803E1A1}" presName="hierChild3" presStyleCnt="0"/>
      <dgm:spPr/>
    </dgm:pt>
  </dgm:ptLst>
  <dgm:cxnLst>
    <dgm:cxn modelId="{D2B6B300-554F-4B24-95E9-D11ADF2284F4}" type="presOf" srcId="{70AE0455-1774-4FF9-8957-11E4203453C8}" destId="{7801FCCE-4547-4B12-B8FE-BA4618832798}" srcOrd="0" destOrd="0" presId="urn:microsoft.com/office/officeart/2005/8/layout/orgChart1"/>
    <dgm:cxn modelId="{B604E94A-B6E1-4755-9A6B-DD5EFDBF3438}" type="presOf" srcId="{2C9E22CB-C774-403D-86E1-4FDC3F69F2ED}" destId="{2632B3FB-0AC9-4201-8DAE-EF495B6184C3}" srcOrd="0" destOrd="0" presId="urn:microsoft.com/office/officeart/2005/8/layout/orgChart1"/>
    <dgm:cxn modelId="{DA9BBC55-2C44-40F3-93DE-E3E8431FD93E}" srcId="{DA22D110-1716-4106-B89F-0EA72803E1A1}" destId="{70AE0455-1774-4FF9-8957-11E4203453C8}" srcOrd="0" destOrd="0" parTransId="{ED720FE2-AFF9-4947-A4F3-2E5FEC2E876A}" sibTransId="{A3DECC02-CE72-4359-96ED-799CF59EF2F8}"/>
    <dgm:cxn modelId="{90EE7185-C9BB-4C20-AA6F-99298518A6EC}" type="presOf" srcId="{70AE0455-1774-4FF9-8957-11E4203453C8}" destId="{DBAD1FD6-FD36-483C-86D4-3A719F29DC76}" srcOrd="1" destOrd="0" presId="urn:microsoft.com/office/officeart/2005/8/layout/orgChart1"/>
    <dgm:cxn modelId="{EC04899F-098E-49F9-A7A7-DD876AE7645B}" type="presOf" srcId="{ED720FE2-AFF9-4947-A4F3-2E5FEC2E876A}" destId="{E01BB785-8782-4CAD-B0DA-CB5B34D804C3}" srcOrd="0" destOrd="0" presId="urn:microsoft.com/office/officeart/2005/8/layout/orgChart1"/>
    <dgm:cxn modelId="{D8FCB6B4-55E9-4146-B6B0-B19BEF0A64A2}" srcId="{2C9E22CB-C774-403D-86E1-4FDC3F69F2ED}" destId="{DA22D110-1716-4106-B89F-0EA72803E1A1}" srcOrd="0" destOrd="0" parTransId="{F28F8565-28EC-47C5-A7AC-9E2C60612E1B}" sibTransId="{06206637-7474-4CBC-B456-5D8E108EA74A}"/>
    <dgm:cxn modelId="{F57C70D0-90F5-48BA-8A6C-C361277BE319}" type="presOf" srcId="{DA22D110-1716-4106-B89F-0EA72803E1A1}" destId="{6D29F976-A415-4248-9081-50AAE32C461F}" srcOrd="0" destOrd="0" presId="urn:microsoft.com/office/officeart/2005/8/layout/orgChart1"/>
    <dgm:cxn modelId="{35E710EC-6324-4331-956B-34B93300FA70}" type="presOf" srcId="{DA22D110-1716-4106-B89F-0EA72803E1A1}" destId="{F8D32CE0-2A61-4645-BD9D-5D54F9F2D497}" srcOrd="1" destOrd="0" presId="urn:microsoft.com/office/officeart/2005/8/layout/orgChart1"/>
    <dgm:cxn modelId="{9FAB70DD-4D70-49B5-B101-8B3794EB8823}" type="presParOf" srcId="{2632B3FB-0AC9-4201-8DAE-EF495B6184C3}" destId="{308FDBBE-98F6-4A85-B10F-27BF9874DF31}" srcOrd="0" destOrd="0" presId="urn:microsoft.com/office/officeart/2005/8/layout/orgChart1"/>
    <dgm:cxn modelId="{60F8924A-7A3A-42AE-9288-66D37B3A20C5}" type="presParOf" srcId="{308FDBBE-98F6-4A85-B10F-27BF9874DF31}" destId="{7207F699-E6F4-4CAC-874B-578AD8E254C3}" srcOrd="0" destOrd="0" presId="urn:microsoft.com/office/officeart/2005/8/layout/orgChart1"/>
    <dgm:cxn modelId="{CB6BFB21-B37B-4E60-BF5E-724CEB316F31}" type="presParOf" srcId="{7207F699-E6F4-4CAC-874B-578AD8E254C3}" destId="{6D29F976-A415-4248-9081-50AAE32C461F}" srcOrd="0" destOrd="0" presId="urn:microsoft.com/office/officeart/2005/8/layout/orgChart1"/>
    <dgm:cxn modelId="{142B928F-F809-419F-B607-28248D935873}" type="presParOf" srcId="{7207F699-E6F4-4CAC-874B-578AD8E254C3}" destId="{F8D32CE0-2A61-4645-BD9D-5D54F9F2D497}" srcOrd="1" destOrd="0" presId="urn:microsoft.com/office/officeart/2005/8/layout/orgChart1"/>
    <dgm:cxn modelId="{69A9B2FE-40C5-4AFB-A15D-B92A1CB2EB49}" type="presParOf" srcId="{308FDBBE-98F6-4A85-B10F-27BF9874DF31}" destId="{8411F256-9B8D-4B96-9AB4-0FF33C802A15}" srcOrd="1" destOrd="0" presId="urn:microsoft.com/office/officeart/2005/8/layout/orgChart1"/>
    <dgm:cxn modelId="{706F6046-D6F5-49B7-A0D5-49A2BADB6C62}" type="presParOf" srcId="{8411F256-9B8D-4B96-9AB4-0FF33C802A15}" destId="{E01BB785-8782-4CAD-B0DA-CB5B34D804C3}" srcOrd="0" destOrd="0" presId="urn:microsoft.com/office/officeart/2005/8/layout/orgChart1"/>
    <dgm:cxn modelId="{50E3502E-9A0B-46EB-8A26-B617A551B26F}" type="presParOf" srcId="{8411F256-9B8D-4B96-9AB4-0FF33C802A15}" destId="{3D44B26B-9DE7-41C2-A294-FF885818902D}" srcOrd="1" destOrd="0" presId="urn:microsoft.com/office/officeart/2005/8/layout/orgChart1"/>
    <dgm:cxn modelId="{795277BE-8E69-4887-8F9C-9A1B63E0B62B}" type="presParOf" srcId="{3D44B26B-9DE7-41C2-A294-FF885818902D}" destId="{63953839-BAA2-4452-B3F9-BF77F87E061B}" srcOrd="0" destOrd="0" presId="urn:microsoft.com/office/officeart/2005/8/layout/orgChart1"/>
    <dgm:cxn modelId="{20FBC645-5375-40D8-9BF7-ACFB77459FA4}" type="presParOf" srcId="{63953839-BAA2-4452-B3F9-BF77F87E061B}" destId="{7801FCCE-4547-4B12-B8FE-BA4618832798}" srcOrd="0" destOrd="0" presId="urn:microsoft.com/office/officeart/2005/8/layout/orgChart1"/>
    <dgm:cxn modelId="{CB5FBA30-D1B7-480B-BCA6-7B402CDF6444}" type="presParOf" srcId="{63953839-BAA2-4452-B3F9-BF77F87E061B}" destId="{DBAD1FD6-FD36-483C-86D4-3A719F29DC76}" srcOrd="1" destOrd="0" presId="urn:microsoft.com/office/officeart/2005/8/layout/orgChart1"/>
    <dgm:cxn modelId="{D6EA50AD-B709-4597-8E02-10B1DEA0E567}" type="presParOf" srcId="{3D44B26B-9DE7-41C2-A294-FF885818902D}" destId="{9D1CCFFB-172F-41F6-840B-89B646590023}" srcOrd="1" destOrd="0" presId="urn:microsoft.com/office/officeart/2005/8/layout/orgChart1"/>
    <dgm:cxn modelId="{12AA8520-417B-4135-960D-EAAE77A511C0}" type="presParOf" srcId="{3D44B26B-9DE7-41C2-A294-FF885818902D}" destId="{20D833DB-C998-44FB-A41B-F7431F1467B3}" srcOrd="2" destOrd="0" presId="urn:microsoft.com/office/officeart/2005/8/layout/orgChart1"/>
    <dgm:cxn modelId="{AECF3E3E-136D-492E-8B4F-A2A81749499E}" type="presParOf" srcId="{308FDBBE-98F6-4A85-B10F-27BF9874DF31}" destId="{915C6CB7-DACF-4F8E-BB3D-3FE1BC475108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C9E22CB-C774-403D-86E1-4FDC3F69F2ED}" type="doc">
      <dgm:prSet loTypeId="urn:microsoft.com/office/officeart/2005/8/layout/orgChart1" loCatId="hierarchy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DA22D110-1716-4106-B89F-0EA72803E1A1}">
      <dgm:prSet phldrT="[Text]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en-IN" b="1" dirty="0" err="1">
              <a:solidFill>
                <a:schemeClr val="bg1"/>
              </a:solidFill>
            </a:rPr>
            <a:t>Hindware</a:t>
          </a:r>
          <a:r>
            <a:rPr lang="en-IN" b="1" dirty="0">
              <a:solidFill>
                <a:schemeClr val="bg1"/>
              </a:solidFill>
            </a:rPr>
            <a:t> Italian (259.55 Cr.)</a:t>
          </a:r>
        </a:p>
      </dgm:t>
    </dgm:pt>
    <dgm:pt modelId="{F28F8565-28EC-47C5-A7AC-9E2C60612E1B}" type="parTrans" cxnId="{D8FCB6B4-55E9-4146-B6B0-B19BEF0A64A2}">
      <dgm:prSet/>
      <dgm:spPr/>
      <dgm:t>
        <a:bodyPr/>
        <a:lstStyle/>
        <a:p>
          <a:endParaRPr lang="en-IN"/>
        </a:p>
      </dgm:t>
    </dgm:pt>
    <dgm:pt modelId="{06206637-7474-4CBC-B456-5D8E108EA74A}" type="sibTrans" cxnId="{D8FCB6B4-55E9-4146-B6B0-B19BEF0A64A2}">
      <dgm:prSet/>
      <dgm:spPr/>
      <dgm:t>
        <a:bodyPr/>
        <a:lstStyle/>
        <a:p>
          <a:endParaRPr lang="en-IN"/>
        </a:p>
      </dgm:t>
    </dgm:pt>
    <dgm:pt modelId="{70AE0455-1774-4FF9-8957-11E4203453C8}">
      <dgm:prSet phldrT="[Text]"/>
      <dgm:spPr>
        <a:solidFill>
          <a:srgbClr val="92D050"/>
        </a:solidFill>
      </dgm:spPr>
      <dgm:t>
        <a:bodyPr/>
        <a:lstStyle/>
        <a:p>
          <a:r>
            <a:rPr lang="en-IN" b="1" dirty="0" err="1">
              <a:solidFill>
                <a:schemeClr val="bg1"/>
              </a:solidFill>
            </a:rPr>
            <a:t>Salable</a:t>
          </a:r>
          <a:r>
            <a:rPr lang="en-IN" b="1" dirty="0">
              <a:solidFill>
                <a:schemeClr val="bg1"/>
              </a:solidFill>
            </a:rPr>
            <a:t> : 230 Cr</a:t>
          </a:r>
        </a:p>
      </dgm:t>
    </dgm:pt>
    <dgm:pt modelId="{A3DECC02-CE72-4359-96ED-799CF59EF2F8}" type="sibTrans" cxnId="{DA9BBC55-2C44-40F3-93DE-E3E8431FD93E}">
      <dgm:prSet/>
      <dgm:spPr/>
      <dgm:t>
        <a:bodyPr/>
        <a:lstStyle/>
        <a:p>
          <a:endParaRPr lang="en-IN"/>
        </a:p>
      </dgm:t>
    </dgm:pt>
    <dgm:pt modelId="{ED720FE2-AFF9-4947-A4F3-2E5FEC2E876A}" type="parTrans" cxnId="{DA9BBC55-2C44-40F3-93DE-E3E8431FD93E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dgm:style>
      </dgm:prSet>
      <dgm:spPr>
        <a:ln w="19050" cap="flat" cmpd="sng" algn="ctr">
          <a:solidFill>
            <a:schemeClr val="dk1"/>
          </a:solidFill>
          <a:prstDash val="solid"/>
          <a:round/>
          <a:headEnd type="none" w="med" len="med"/>
          <a:tailEnd type="arrow" w="med" len="med"/>
        </a:ln>
      </dgm:spPr>
      <dgm:t>
        <a:bodyPr/>
        <a:lstStyle/>
        <a:p>
          <a:endParaRPr lang="en-IN"/>
        </a:p>
      </dgm:t>
    </dgm:pt>
    <dgm:pt modelId="{2632B3FB-0AC9-4201-8DAE-EF495B6184C3}" type="pres">
      <dgm:prSet presAssocID="{2C9E22CB-C774-403D-86E1-4FDC3F69F2E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08FDBBE-98F6-4A85-B10F-27BF9874DF31}" type="pres">
      <dgm:prSet presAssocID="{DA22D110-1716-4106-B89F-0EA72803E1A1}" presName="hierRoot1" presStyleCnt="0">
        <dgm:presLayoutVars>
          <dgm:hierBranch val="init"/>
        </dgm:presLayoutVars>
      </dgm:prSet>
      <dgm:spPr/>
    </dgm:pt>
    <dgm:pt modelId="{7207F699-E6F4-4CAC-874B-578AD8E254C3}" type="pres">
      <dgm:prSet presAssocID="{DA22D110-1716-4106-B89F-0EA72803E1A1}" presName="rootComposite1" presStyleCnt="0"/>
      <dgm:spPr/>
    </dgm:pt>
    <dgm:pt modelId="{6D29F976-A415-4248-9081-50AAE32C461F}" type="pres">
      <dgm:prSet presAssocID="{DA22D110-1716-4106-B89F-0EA72803E1A1}" presName="rootText1" presStyleLbl="node0" presStyleIdx="0" presStyleCnt="1" custScaleX="399943">
        <dgm:presLayoutVars>
          <dgm:chPref val="3"/>
        </dgm:presLayoutVars>
      </dgm:prSet>
      <dgm:spPr/>
    </dgm:pt>
    <dgm:pt modelId="{F8D32CE0-2A61-4645-BD9D-5D54F9F2D497}" type="pres">
      <dgm:prSet presAssocID="{DA22D110-1716-4106-B89F-0EA72803E1A1}" presName="rootConnector1" presStyleLbl="node1" presStyleIdx="0" presStyleCnt="0"/>
      <dgm:spPr/>
    </dgm:pt>
    <dgm:pt modelId="{8411F256-9B8D-4B96-9AB4-0FF33C802A15}" type="pres">
      <dgm:prSet presAssocID="{DA22D110-1716-4106-B89F-0EA72803E1A1}" presName="hierChild2" presStyleCnt="0"/>
      <dgm:spPr/>
    </dgm:pt>
    <dgm:pt modelId="{E01BB785-8782-4CAD-B0DA-CB5B34D804C3}" type="pres">
      <dgm:prSet presAssocID="{ED720FE2-AFF9-4947-A4F3-2E5FEC2E876A}" presName="Name37" presStyleLbl="parChTrans1D2" presStyleIdx="0" presStyleCnt="1"/>
      <dgm:spPr/>
    </dgm:pt>
    <dgm:pt modelId="{3D44B26B-9DE7-41C2-A294-FF885818902D}" type="pres">
      <dgm:prSet presAssocID="{70AE0455-1774-4FF9-8957-11E4203453C8}" presName="hierRoot2" presStyleCnt="0">
        <dgm:presLayoutVars>
          <dgm:hierBranch val="init"/>
        </dgm:presLayoutVars>
      </dgm:prSet>
      <dgm:spPr/>
    </dgm:pt>
    <dgm:pt modelId="{63953839-BAA2-4452-B3F9-BF77F87E061B}" type="pres">
      <dgm:prSet presAssocID="{70AE0455-1774-4FF9-8957-11E4203453C8}" presName="rootComposite" presStyleCnt="0"/>
      <dgm:spPr/>
    </dgm:pt>
    <dgm:pt modelId="{7801FCCE-4547-4B12-B8FE-BA4618832798}" type="pres">
      <dgm:prSet presAssocID="{70AE0455-1774-4FF9-8957-11E4203453C8}" presName="rootText" presStyleLbl="node2" presStyleIdx="0" presStyleCnt="1" custScaleX="185049">
        <dgm:presLayoutVars>
          <dgm:chPref val="3"/>
        </dgm:presLayoutVars>
      </dgm:prSet>
      <dgm:spPr/>
    </dgm:pt>
    <dgm:pt modelId="{DBAD1FD6-FD36-483C-86D4-3A719F29DC76}" type="pres">
      <dgm:prSet presAssocID="{70AE0455-1774-4FF9-8957-11E4203453C8}" presName="rootConnector" presStyleLbl="node2" presStyleIdx="0" presStyleCnt="1"/>
      <dgm:spPr/>
    </dgm:pt>
    <dgm:pt modelId="{9D1CCFFB-172F-41F6-840B-89B646590023}" type="pres">
      <dgm:prSet presAssocID="{70AE0455-1774-4FF9-8957-11E4203453C8}" presName="hierChild4" presStyleCnt="0"/>
      <dgm:spPr/>
    </dgm:pt>
    <dgm:pt modelId="{20D833DB-C998-44FB-A41B-F7431F1467B3}" type="pres">
      <dgm:prSet presAssocID="{70AE0455-1774-4FF9-8957-11E4203453C8}" presName="hierChild5" presStyleCnt="0"/>
      <dgm:spPr/>
    </dgm:pt>
    <dgm:pt modelId="{915C6CB7-DACF-4F8E-BB3D-3FE1BC475108}" type="pres">
      <dgm:prSet presAssocID="{DA22D110-1716-4106-B89F-0EA72803E1A1}" presName="hierChild3" presStyleCnt="0"/>
      <dgm:spPr/>
    </dgm:pt>
  </dgm:ptLst>
  <dgm:cxnLst>
    <dgm:cxn modelId="{D2B6B300-554F-4B24-95E9-D11ADF2284F4}" type="presOf" srcId="{70AE0455-1774-4FF9-8957-11E4203453C8}" destId="{7801FCCE-4547-4B12-B8FE-BA4618832798}" srcOrd="0" destOrd="0" presId="urn:microsoft.com/office/officeart/2005/8/layout/orgChart1"/>
    <dgm:cxn modelId="{B604E94A-B6E1-4755-9A6B-DD5EFDBF3438}" type="presOf" srcId="{2C9E22CB-C774-403D-86E1-4FDC3F69F2ED}" destId="{2632B3FB-0AC9-4201-8DAE-EF495B6184C3}" srcOrd="0" destOrd="0" presId="urn:microsoft.com/office/officeart/2005/8/layout/orgChart1"/>
    <dgm:cxn modelId="{DA9BBC55-2C44-40F3-93DE-E3E8431FD93E}" srcId="{DA22D110-1716-4106-B89F-0EA72803E1A1}" destId="{70AE0455-1774-4FF9-8957-11E4203453C8}" srcOrd="0" destOrd="0" parTransId="{ED720FE2-AFF9-4947-A4F3-2E5FEC2E876A}" sibTransId="{A3DECC02-CE72-4359-96ED-799CF59EF2F8}"/>
    <dgm:cxn modelId="{90EE7185-C9BB-4C20-AA6F-99298518A6EC}" type="presOf" srcId="{70AE0455-1774-4FF9-8957-11E4203453C8}" destId="{DBAD1FD6-FD36-483C-86D4-3A719F29DC76}" srcOrd="1" destOrd="0" presId="urn:microsoft.com/office/officeart/2005/8/layout/orgChart1"/>
    <dgm:cxn modelId="{EC04899F-098E-49F9-A7A7-DD876AE7645B}" type="presOf" srcId="{ED720FE2-AFF9-4947-A4F3-2E5FEC2E876A}" destId="{E01BB785-8782-4CAD-B0DA-CB5B34D804C3}" srcOrd="0" destOrd="0" presId="urn:microsoft.com/office/officeart/2005/8/layout/orgChart1"/>
    <dgm:cxn modelId="{D8FCB6B4-55E9-4146-B6B0-B19BEF0A64A2}" srcId="{2C9E22CB-C774-403D-86E1-4FDC3F69F2ED}" destId="{DA22D110-1716-4106-B89F-0EA72803E1A1}" srcOrd="0" destOrd="0" parTransId="{F28F8565-28EC-47C5-A7AC-9E2C60612E1B}" sibTransId="{06206637-7474-4CBC-B456-5D8E108EA74A}"/>
    <dgm:cxn modelId="{F57C70D0-90F5-48BA-8A6C-C361277BE319}" type="presOf" srcId="{DA22D110-1716-4106-B89F-0EA72803E1A1}" destId="{6D29F976-A415-4248-9081-50AAE32C461F}" srcOrd="0" destOrd="0" presId="urn:microsoft.com/office/officeart/2005/8/layout/orgChart1"/>
    <dgm:cxn modelId="{35E710EC-6324-4331-956B-34B93300FA70}" type="presOf" srcId="{DA22D110-1716-4106-B89F-0EA72803E1A1}" destId="{F8D32CE0-2A61-4645-BD9D-5D54F9F2D497}" srcOrd="1" destOrd="0" presId="urn:microsoft.com/office/officeart/2005/8/layout/orgChart1"/>
    <dgm:cxn modelId="{9FAB70DD-4D70-49B5-B101-8B3794EB8823}" type="presParOf" srcId="{2632B3FB-0AC9-4201-8DAE-EF495B6184C3}" destId="{308FDBBE-98F6-4A85-B10F-27BF9874DF31}" srcOrd="0" destOrd="0" presId="urn:microsoft.com/office/officeart/2005/8/layout/orgChart1"/>
    <dgm:cxn modelId="{60F8924A-7A3A-42AE-9288-66D37B3A20C5}" type="presParOf" srcId="{308FDBBE-98F6-4A85-B10F-27BF9874DF31}" destId="{7207F699-E6F4-4CAC-874B-578AD8E254C3}" srcOrd="0" destOrd="0" presId="urn:microsoft.com/office/officeart/2005/8/layout/orgChart1"/>
    <dgm:cxn modelId="{CB6BFB21-B37B-4E60-BF5E-724CEB316F31}" type="presParOf" srcId="{7207F699-E6F4-4CAC-874B-578AD8E254C3}" destId="{6D29F976-A415-4248-9081-50AAE32C461F}" srcOrd="0" destOrd="0" presId="urn:microsoft.com/office/officeart/2005/8/layout/orgChart1"/>
    <dgm:cxn modelId="{142B928F-F809-419F-B607-28248D935873}" type="presParOf" srcId="{7207F699-E6F4-4CAC-874B-578AD8E254C3}" destId="{F8D32CE0-2A61-4645-BD9D-5D54F9F2D497}" srcOrd="1" destOrd="0" presId="urn:microsoft.com/office/officeart/2005/8/layout/orgChart1"/>
    <dgm:cxn modelId="{69A9B2FE-40C5-4AFB-A15D-B92A1CB2EB49}" type="presParOf" srcId="{308FDBBE-98F6-4A85-B10F-27BF9874DF31}" destId="{8411F256-9B8D-4B96-9AB4-0FF33C802A15}" srcOrd="1" destOrd="0" presId="urn:microsoft.com/office/officeart/2005/8/layout/orgChart1"/>
    <dgm:cxn modelId="{706F6046-D6F5-49B7-A0D5-49A2BADB6C62}" type="presParOf" srcId="{8411F256-9B8D-4B96-9AB4-0FF33C802A15}" destId="{E01BB785-8782-4CAD-B0DA-CB5B34D804C3}" srcOrd="0" destOrd="0" presId="urn:microsoft.com/office/officeart/2005/8/layout/orgChart1"/>
    <dgm:cxn modelId="{50E3502E-9A0B-46EB-8A26-B617A551B26F}" type="presParOf" srcId="{8411F256-9B8D-4B96-9AB4-0FF33C802A15}" destId="{3D44B26B-9DE7-41C2-A294-FF885818902D}" srcOrd="1" destOrd="0" presId="urn:microsoft.com/office/officeart/2005/8/layout/orgChart1"/>
    <dgm:cxn modelId="{795277BE-8E69-4887-8F9C-9A1B63E0B62B}" type="presParOf" srcId="{3D44B26B-9DE7-41C2-A294-FF885818902D}" destId="{63953839-BAA2-4452-B3F9-BF77F87E061B}" srcOrd="0" destOrd="0" presId="urn:microsoft.com/office/officeart/2005/8/layout/orgChart1"/>
    <dgm:cxn modelId="{20FBC645-5375-40D8-9BF7-ACFB77459FA4}" type="presParOf" srcId="{63953839-BAA2-4452-B3F9-BF77F87E061B}" destId="{7801FCCE-4547-4B12-B8FE-BA4618832798}" srcOrd="0" destOrd="0" presId="urn:microsoft.com/office/officeart/2005/8/layout/orgChart1"/>
    <dgm:cxn modelId="{CB5FBA30-D1B7-480B-BCA6-7B402CDF6444}" type="presParOf" srcId="{63953839-BAA2-4452-B3F9-BF77F87E061B}" destId="{DBAD1FD6-FD36-483C-86D4-3A719F29DC76}" srcOrd="1" destOrd="0" presId="urn:microsoft.com/office/officeart/2005/8/layout/orgChart1"/>
    <dgm:cxn modelId="{D6EA50AD-B709-4597-8E02-10B1DEA0E567}" type="presParOf" srcId="{3D44B26B-9DE7-41C2-A294-FF885818902D}" destId="{9D1CCFFB-172F-41F6-840B-89B646590023}" srcOrd="1" destOrd="0" presId="urn:microsoft.com/office/officeart/2005/8/layout/orgChart1"/>
    <dgm:cxn modelId="{12AA8520-417B-4135-960D-EAAE77A511C0}" type="presParOf" srcId="{3D44B26B-9DE7-41C2-A294-FF885818902D}" destId="{20D833DB-C998-44FB-A41B-F7431F1467B3}" srcOrd="2" destOrd="0" presId="urn:microsoft.com/office/officeart/2005/8/layout/orgChart1"/>
    <dgm:cxn modelId="{AECF3E3E-136D-492E-8B4F-A2A81749499E}" type="presParOf" srcId="{308FDBBE-98F6-4A85-B10F-27BF9874DF31}" destId="{915C6CB7-DACF-4F8E-BB3D-3FE1BC475108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C2F7D1B-C367-4AD0-83B8-574212DE1399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2B438A21-124A-4F17-BF0F-4272BCFCAE38}">
      <dgm:prSet phldrT="[Text]"/>
      <dgm:spPr/>
      <dgm:t>
        <a:bodyPr/>
        <a:lstStyle/>
        <a:p>
          <a:r>
            <a:rPr lang="en-IN" dirty="0"/>
            <a:t>Product Gap</a:t>
          </a:r>
        </a:p>
      </dgm:t>
    </dgm:pt>
    <dgm:pt modelId="{BFD3AF2F-2856-43F4-905D-0F5A1F439FB6}" type="parTrans" cxnId="{581CEB6D-BC65-4B6B-B839-FB92C9E9FA89}">
      <dgm:prSet/>
      <dgm:spPr/>
      <dgm:t>
        <a:bodyPr/>
        <a:lstStyle/>
        <a:p>
          <a:endParaRPr lang="en-IN"/>
        </a:p>
      </dgm:t>
    </dgm:pt>
    <dgm:pt modelId="{C4B57160-706A-4353-A26A-2DE9DB3120A3}" type="sibTrans" cxnId="{581CEB6D-BC65-4B6B-B839-FB92C9E9FA89}">
      <dgm:prSet/>
      <dgm:spPr/>
      <dgm:t>
        <a:bodyPr/>
        <a:lstStyle/>
        <a:p>
          <a:endParaRPr lang="en-IN"/>
        </a:p>
      </dgm:t>
    </dgm:pt>
    <dgm:pt modelId="{97726BE8-E10E-4FBC-BD79-D1765E355047}">
      <dgm:prSet phldrT="[Text]"/>
      <dgm:spPr/>
      <dgm:t>
        <a:bodyPr/>
        <a:lstStyle/>
        <a:p>
          <a:r>
            <a:rPr lang="en-IN" dirty="0"/>
            <a:t>Customised Requirement</a:t>
          </a:r>
        </a:p>
      </dgm:t>
    </dgm:pt>
    <dgm:pt modelId="{11149620-BB42-47C8-883B-E5F62CDA6A29}" type="parTrans" cxnId="{B1EE1990-C74B-4012-AE96-5721446A17D1}">
      <dgm:prSet/>
      <dgm:spPr/>
      <dgm:t>
        <a:bodyPr/>
        <a:lstStyle/>
        <a:p>
          <a:endParaRPr lang="en-IN"/>
        </a:p>
      </dgm:t>
    </dgm:pt>
    <dgm:pt modelId="{0660BCC4-ED37-4510-9E37-F507E92BB6E2}" type="sibTrans" cxnId="{B1EE1990-C74B-4012-AE96-5721446A17D1}">
      <dgm:prSet/>
      <dgm:spPr/>
      <dgm:t>
        <a:bodyPr/>
        <a:lstStyle/>
        <a:p>
          <a:endParaRPr lang="en-IN"/>
        </a:p>
      </dgm:t>
    </dgm:pt>
    <dgm:pt modelId="{7116A821-1AAB-43AF-A254-24AA352EE30B}">
      <dgm:prSet phldrT="[Text]"/>
      <dgm:spPr/>
      <dgm:t>
        <a:bodyPr/>
        <a:lstStyle/>
        <a:p>
          <a:r>
            <a:rPr lang="en-IN" dirty="0"/>
            <a:t>NPD</a:t>
          </a:r>
        </a:p>
      </dgm:t>
    </dgm:pt>
    <dgm:pt modelId="{12E0EE17-35FE-4CFB-ADF4-9B896E25FC29}" type="sibTrans" cxnId="{B9B5DEA7-D105-4C14-8358-12CDAD2503D4}">
      <dgm:prSet/>
      <dgm:spPr/>
      <dgm:t>
        <a:bodyPr/>
        <a:lstStyle/>
        <a:p>
          <a:endParaRPr lang="en-IN"/>
        </a:p>
      </dgm:t>
    </dgm:pt>
    <dgm:pt modelId="{18E084F2-5023-44A3-96BC-50061FC04209}" type="parTrans" cxnId="{B9B5DEA7-D105-4C14-8358-12CDAD2503D4}">
      <dgm:prSet/>
      <dgm:spPr/>
      <dgm:t>
        <a:bodyPr/>
        <a:lstStyle/>
        <a:p>
          <a:endParaRPr lang="en-IN"/>
        </a:p>
      </dgm:t>
    </dgm:pt>
    <dgm:pt modelId="{1AE29315-6E46-4972-90EF-A4AED86010BB}">
      <dgm:prSet phldrT="[Text]"/>
      <dgm:spPr/>
      <dgm:t>
        <a:bodyPr/>
        <a:lstStyle/>
        <a:p>
          <a:r>
            <a:rPr lang="en-IN" dirty="0"/>
            <a:t>Innovation</a:t>
          </a:r>
        </a:p>
      </dgm:t>
    </dgm:pt>
    <dgm:pt modelId="{686A038D-3554-41BF-9B3D-B7813A1BA4A7}" type="sibTrans" cxnId="{430974F4-F60D-4403-A9D4-49B4C4F8BFC5}">
      <dgm:prSet/>
      <dgm:spPr/>
      <dgm:t>
        <a:bodyPr/>
        <a:lstStyle/>
        <a:p>
          <a:endParaRPr lang="en-IN"/>
        </a:p>
      </dgm:t>
    </dgm:pt>
    <dgm:pt modelId="{09325D3A-F3DA-404B-A6D4-94345BC589BD}" type="parTrans" cxnId="{430974F4-F60D-4403-A9D4-49B4C4F8BFC5}">
      <dgm:prSet/>
      <dgm:spPr/>
      <dgm:t>
        <a:bodyPr/>
        <a:lstStyle/>
        <a:p>
          <a:endParaRPr lang="en-IN"/>
        </a:p>
      </dgm:t>
    </dgm:pt>
    <dgm:pt modelId="{538896E9-46F7-4AD5-AADC-FE8E47089973}" type="pres">
      <dgm:prSet presAssocID="{DC2F7D1B-C367-4AD0-83B8-574212DE13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1D41319-ACA1-4434-ACF5-12A7A031B7CE}" type="pres">
      <dgm:prSet presAssocID="{7116A821-1AAB-43AF-A254-24AA352EE30B}" presName="hierRoot1" presStyleCnt="0">
        <dgm:presLayoutVars>
          <dgm:hierBranch val="init"/>
        </dgm:presLayoutVars>
      </dgm:prSet>
      <dgm:spPr/>
    </dgm:pt>
    <dgm:pt modelId="{B51092F2-57B7-4C49-AD62-785123AAED00}" type="pres">
      <dgm:prSet presAssocID="{7116A821-1AAB-43AF-A254-24AA352EE30B}" presName="rootComposite1" presStyleCnt="0"/>
      <dgm:spPr/>
    </dgm:pt>
    <dgm:pt modelId="{77BD7A69-66D7-46A0-8898-CF59365E45C4}" type="pres">
      <dgm:prSet presAssocID="{7116A821-1AAB-43AF-A254-24AA352EE30B}" presName="rootText1" presStyleLbl="node0" presStyleIdx="0" presStyleCnt="1">
        <dgm:presLayoutVars>
          <dgm:chPref val="3"/>
        </dgm:presLayoutVars>
      </dgm:prSet>
      <dgm:spPr/>
    </dgm:pt>
    <dgm:pt modelId="{84BA874D-DE8F-44D2-9185-414CB18B7B42}" type="pres">
      <dgm:prSet presAssocID="{7116A821-1AAB-43AF-A254-24AA352EE30B}" presName="rootConnector1" presStyleLbl="node1" presStyleIdx="0" presStyleCnt="0"/>
      <dgm:spPr/>
    </dgm:pt>
    <dgm:pt modelId="{AC7B33EE-3560-48B4-9D71-4FEB7525AE51}" type="pres">
      <dgm:prSet presAssocID="{7116A821-1AAB-43AF-A254-24AA352EE30B}" presName="hierChild2" presStyleCnt="0"/>
      <dgm:spPr/>
    </dgm:pt>
    <dgm:pt modelId="{34A92182-25D9-4CC9-989D-8D137C3A71E2}" type="pres">
      <dgm:prSet presAssocID="{BFD3AF2F-2856-43F4-905D-0F5A1F439FB6}" presName="Name37" presStyleLbl="parChTrans1D2" presStyleIdx="0" presStyleCnt="3"/>
      <dgm:spPr/>
    </dgm:pt>
    <dgm:pt modelId="{E4D23320-B853-4782-B5FD-9D4282625CB3}" type="pres">
      <dgm:prSet presAssocID="{2B438A21-124A-4F17-BF0F-4272BCFCAE38}" presName="hierRoot2" presStyleCnt="0">
        <dgm:presLayoutVars>
          <dgm:hierBranch val="init"/>
        </dgm:presLayoutVars>
      </dgm:prSet>
      <dgm:spPr/>
    </dgm:pt>
    <dgm:pt modelId="{92C17686-F544-45EB-BDEC-56E77787C5E3}" type="pres">
      <dgm:prSet presAssocID="{2B438A21-124A-4F17-BF0F-4272BCFCAE38}" presName="rootComposite" presStyleCnt="0"/>
      <dgm:spPr/>
    </dgm:pt>
    <dgm:pt modelId="{8A225E41-08B6-493B-BFF0-6A1B4FF66104}" type="pres">
      <dgm:prSet presAssocID="{2B438A21-124A-4F17-BF0F-4272BCFCAE38}" presName="rootText" presStyleLbl="node2" presStyleIdx="0" presStyleCnt="3">
        <dgm:presLayoutVars>
          <dgm:chPref val="3"/>
        </dgm:presLayoutVars>
      </dgm:prSet>
      <dgm:spPr/>
    </dgm:pt>
    <dgm:pt modelId="{015B7B6D-919E-45FA-8187-057093C5D1C4}" type="pres">
      <dgm:prSet presAssocID="{2B438A21-124A-4F17-BF0F-4272BCFCAE38}" presName="rootConnector" presStyleLbl="node2" presStyleIdx="0" presStyleCnt="3"/>
      <dgm:spPr/>
    </dgm:pt>
    <dgm:pt modelId="{E0709671-DF4E-4DE5-94E0-5F3205CD042D}" type="pres">
      <dgm:prSet presAssocID="{2B438A21-124A-4F17-BF0F-4272BCFCAE38}" presName="hierChild4" presStyleCnt="0"/>
      <dgm:spPr/>
    </dgm:pt>
    <dgm:pt modelId="{684A4E6B-91C8-43C1-AC45-1900F647F98D}" type="pres">
      <dgm:prSet presAssocID="{2B438A21-124A-4F17-BF0F-4272BCFCAE38}" presName="hierChild5" presStyleCnt="0"/>
      <dgm:spPr/>
    </dgm:pt>
    <dgm:pt modelId="{ACE0A22E-E599-400F-A694-A0B1FA1CFFA3}" type="pres">
      <dgm:prSet presAssocID="{09325D3A-F3DA-404B-A6D4-94345BC589BD}" presName="Name37" presStyleLbl="parChTrans1D2" presStyleIdx="1" presStyleCnt="3"/>
      <dgm:spPr/>
    </dgm:pt>
    <dgm:pt modelId="{FB6E85F3-6590-49E4-BE9B-A6E8259B70DA}" type="pres">
      <dgm:prSet presAssocID="{1AE29315-6E46-4972-90EF-A4AED86010BB}" presName="hierRoot2" presStyleCnt="0">
        <dgm:presLayoutVars>
          <dgm:hierBranch val="init"/>
        </dgm:presLayoutVars>
      </dgm:prSet>
      <dgm:spPr/>
    </dgm:pt>
    <dgm:pt modelId="{1A7FED5E-071B-471C-91BA-37768BE8CE1A}" type="pres">
      <dgm:prSet presAssocID="{1AE29315-6E46-4972-90EF-A4AED86010BB}" presName="rootComposite" presStyleCnt="0"/>
      <dgm:spPr/>
    </dgm:pt>
    <dgm:pt modelId="{A0E49FA3-0702-4234-A540-674DAB765E04}" type="pres">
      <dgm:prSet presAssocID="{1AE29315-6E46-4972-90EF-A4AED86010BB}" presName="rootText" presStyleLbl="node2" presStyleIdx="1" presStyleCnt="3">
        <dgm:presLayoutVars>
          <dgm:chPref val="3"/>
        </dgm:presLayoutVars>
      </dgm:prSet>
      <dgm:spPr/>
    </dgm:pt>
    <dgm:pt modelId="{5647980E-3060-4803-ACBA-A394C8336A5F}" type="pres">
      <dgm:prSet presAssocID="{1AE29315-6E46-4972-90EF-A4AED86010BB}" presName="rootConnector" presStyleLbl="node2" presStyleIdx="1" presStyleCnt="3"/>
      <dgm:spPr/>
    </dgm:pt>
    <dgm:pt modelId="{2519ED6B-7B2F-4749-99E6-CC3280C8AB36}" type="pres">
      <dgm:prSet presAssocID="{1AE29315-6E46-4972-90EF-A4AED86010BB}" presName="hierChild4" presStyleCnt="0"/>
      <dgm:spPr/>
    </dgm:pt>
    <dgm:pt modelId="{ADA3B221-EA55-48B1-A616-B19FC745FCEA}" type="pres">
      <dgm:prSet presAssocID="{1AE29315-6E46-4972-90EF-A4AED86010BB}" presName="hierChild5" presStyleCnt="0"/>
      <dgm:spPr/>
    </dgm:pt>
    <dgm:pt modelId="{C227F39E-6F7A-45EA-A1E2-33ADA1ABBFA1}" type="pres">
      <dgm:prSet presAssocID="{11149620-BB42-47C8-883B-E5F62CDA6A29}" presName="Name37" presStyleLbl="parChTrans1D2" presStyleIdx="2" presStyleCnt="3"/>
      <dgm:spPr/>
    </dgm:pt>
    <dgm:pt modelId="{5A988381-D13B-4C5A-B4DB-1EE9C80C00CC}" type="pres">
      <dgm:prSet presAssocID="{97726BE8-E10E-4FBC-BD79-D1765E355047}" presName="hierRoot2" presStyleCnt="0">
        <dgm:presLayoutVars>
          <dgm:hierBranch val="init"/>
        </dgm:presLayoutVars>
      </dgm:prSet>
      <dgm:spPr/>
    </dgm:pt>
    <dgm:pt modelId="{68D3481F-FC74-49FE-9098-77F5E4C7412F}" type="pres">
      <dgm:prSet presAssocID="{97726BE8-E10E-4FBC-BD79-D1765E355047}" presName="rootComposite" presStyleCnt="0"/>
      <dgm:spPr/>
    </dgm:pt>
    <dgm:pt modelId="{17D597D6-6B6B-4D55-A316-2308AA5D0F97}" type="pres">
      <dgm:prSet presAssocID="{97726BE8-E10E-4FBC-BD79-D1765E355047}" presName="rootText" presStyleLbl="node2" presStyleIdx="2" presStyleCnt="3" custScaleX="128143">
        <dgm:presLayoutVars>
          <dgm:chPref val="3"/>
        </dgm:presLayoutVars>
      </dgm:prSet>
      <dgm:spPr/>
    </dgm:pt>
    <dgm:pt modelId="{9A5A171B-9A35-45D1-8415-F414326D296C}" type="pres">
      <dgm:prSet presAssocID="{97726BE8-E10E-4FBC-BD79-D1765E355047}" presName="rootConnector" presStyleLbl="node2" presStyleIdx="2" presStyleCnt="3"/>
      <dgm:spPr/>
    </dgm:pt>
    <dgm:pt modelId="{43206D6B-A964-490D-9FFD-B874A04E74DE}" type="pres">
      <dgm:prSet presAssocID="{97726BE8-E10E-4FBC-BD79-D1765E355047}" presName="hierChild4" presStyleCnt="0"/>
      <dgm:spPr/>
    </dgm:pt>
    <dgm:pt modelId="{CE987A8E-1EE9-41E5-8CA2-59668B15047D}" type="pres">
      <dgm:prSet presAssocID="{97726BE8-E10E-4FBC-BD79-D1765E355047}" presName="hierChild5" presStyleCnt="0"/>
      <dgm:spPr/>
    </dgm:pt>
    <dgm:pt modelId="{7EB9E421-8AE7-469A-B1BB-B3FA42FFBED5}" type="pres">
      <dgm:prSet presAssocID="{7116A821-1AAB-43AF-A254-24AA352EE30B}" presName="hierChild3" presStyleCnt="0"/>
      <dgm:spPr/>
    </dgm:pt>
  </dgm:ptLst>
  <dgm:cxnLst>
    <dgm:cxn modelId="{0D5DBB12-E5E0-4FAE-A8FD-30C5D611D4CD}" type="presOf" srcId="{09325D3A-F3DA-404B-A6D4-94345BC589BD}" destId="{ACE0A22E-E599-400F-A694-A0B1FA1CFFA3}" srcOrd="0" destOrd="0" presId="urn:microsoft.com/office/officeart/2005/8/layout/orgChart1"/>
    <dgm:cxn modelId="{841D2214-5249-408E-AC15-32D971394FB0}" type="presOf" srcId="{7116A821-1AAB-43AF-A254-24AA352EE30B}" destId="{84BA874D-DE8F-44D2-9185-414CB18B7B42}" srcOrd="1" destOrd="0" presId="urn:microsoft.com/office/officeart/2005/8/layout/orgChart1"/>
    <dgm:cxn modelId="{B6B3403C-7090-4495-95FF-9EB7AC5779B4}" type="presOf" srcId="{BFD3AF2F-2856-43F4-905D-0F5A1F439FB6}" destId="{34A92182-25D9-4CC9-989D-8D137C3A71E2}" srcOrd="0" destOrd="0" presId="urn:microsoft.com/office/officeart/2005/8/layout/orgChart1"/>
    <dgm:cxn modelId="{77B4A35F-7932-4C1A-94EF-E69225C471E9}" type="presOf" srcId="{1AE29315-6E46-4972-90EF-A4AED86010BB}" destId="{5647980E-3060-4803-ACBA-A394C8336A5F}" srcOrd="1" destOrd="0" presId="urn:microsoft.com/office/officeart/2005/8/layout/orgChart1"/>
    <dgm:cxn modelId="{4D68A044-5F25-4F35-88F5-3DE29CAEAE8C}" type="presOf" srcId="{1AE29315-6E46-4972-90EF-A4AED86010BB}" destId="{A0E49FA3-0702-4234-A540-674DAB765E04}" srcOrd="0" destOrd="0" presId="urn:microsoft.com/office/officeart/2005/8/layout/orgChart1"/>
    <dgm:cxn modelId="{B13F4D67-5212-4725-8CA4-464D82B70AA7}" type="presOf" srcId="{2B438A21-124A-4F17-BF0F-4272BCFCAE38}" destId="{8A225E41-08B6-493B-BFF0-6A1B4FF66104}" srcOrd="0" destOrd="0" presId="urn:microsoft.com/office/officeart/2005/8/layout/orgChart1"/>
    <dgm:cxn modelId="{581CEB6D-BC65-4B6B-B839-FB92C9E9FA89}" srcId="{7116A821-1AAB-43AF-A254-24AA352EE30B}" destId="{2B438A21-124A-4F17-BF0F-4272BCFCAE38}" srcOrd="0" destOrd="0" parTransId="{BFD3AF2F-2856-43F4-905D-0F5A1F439FB6}" sibTransId="{C4B57160-706A-4353-A26A-2DE9DB3120A3}"/>
    <dgm:cxn modelId="{35129353-8D5F-4F90-BCD2-7A7D7D084F38}" type="presOf" srcId="{97726BE8-E10E-4FBC-BD79-D1765E355047}" destId="{17D597D6-6B6B-4D55-A316-2308AA5D0F97}" srcOrd="0" destOrd="0" presId="urn:microsoft.com/office/officeart/2005/8/layout/orgChart1"/>
    <dgm:cxn modelId="{1908C189-B191-4F77-88B7-507D53C0F698}" type="presOf" srcId="{11149620-BB42-47C8-883B-E5F62CDA6A29}" destId="{C227F39E-6F7A-45EA-A1E2-33ADA1ABBFA1}" srcOrd="0" destOrd="0" presId="urn:microsoft.com/office/officeart/2005/8/layout/orgChart1"/>
    <dgm:cxn modelId="{B1EE1990-C74B-4012-AE96-5721446A17D1}" srcId="{7116A821-1AAB-43AF-A254-24AA352EE30B}" destId="{97726BE8-E10E-4FBC-BD79-D1765E355047}" srcOrd="2" destOrd="0" parTransId="{11149620-BB42-47C8-883B-E5F62CDA6A29}" sibTransId="{0660BCC4-ED37-4510-9E37-F507E92BB6E2}"/>
    <dgm:cxn modelId="{A713BBA3-7CBD-427A-9979-698AFC7DEF66}" type="presOf" srcId="{2B438A21-124A-4F17-BF0F-4272BCFCAE38}" destId="{015B7B6D-919E-45FA-8187-057093C5D1C4}" srcOrd="1" destOrd="0" presId="urn:microsoft.com/office/officeart/2005/8/layout/orgChart1"/>
    <dgm:cxn modelId="{AFB3FAA3-3FE3-40C9-8A30-A3EE16305F54}" type="presOf" srcId="{DC2F7D1B-C367-4AD0-83B8-574212DE1399}" destId="{538896E9-46F7-4AD5-AADC-FE8E47089973}" srcOrd="0" destOrd="0" presId="urn:microsoft.com/office/officeart/2005/8/layout/orgChart1"/>
    <dgm:cxn modelId="{B9B5DEA7-D105-4C14-8358-12CDAD2503D4}" srcId="{DC2F7D1B-C367-4AD0-83B8-574212DE1399}" destId="{7116A821-1AAB-43AF-A254-24AA352EE30B}" srcOrd="0" destOrd="0" parTransId="{18E084F2-5023-44A3-96BC-50061FC04209}" sibTransId="{12E0EE17-35FE-4CFB-ADF4-9B896E25FC29}"/>
    <dgm:cxn modelId="{34DF85B0-E4AE-4066-B4B8-32BC9B31F1DC}" type="presOf" srcId="{7116A821-1AAB-43AF-A254-24AA352EE30B}" destId="{77BD7A69-66D7-46A0-8898-CF59365E45C4}" srcOrd="0" destOrd="0" presId="urn:microsoft.com/office/officeart/2005/8/layout/orgChart1"/>
    <dgm:cxn modelId="{B179EDB4-9A66-49CA-868A-425588D5399A}" type="presOf" srcId="{97726BE8-E10E-4FBC-BD79-D1765E355047}" destId="{9A5A171B-9A35-45D1-8415-F414326D296C}" srcOrd="1" destOrd="0" presId="urn:microsoft.com/office/officeart/2005/8/layout/orgChart1"/>
    <dgm:cxn modelId="{430974F4-F60D-4403-A9D4-49B4C4F8BFC5}" srcId="{7116A821-1AAB-43AF-A254-24AA352EE30B}" destId="{1AE29315-6E46-4972-90EF-A4AED86010BB}" srcOrd="1" destOrd="0" parTransId="{09325D3A-F3DA-404B-A6D4-94345BC589BD}" sibTransId="{686A038D-3554-41BF-9B3D-B7813A1BA4A7}"/>
    <dgm:cxn modelId="{26B529DE-4F08-4672-AC3F-DECEB174B9C8}" type="presParOf" srcId="{538896E9-46F7-4AD5-AADC-FE8E47089973}" destId="{01D41319-ACA1-4434-ACF5-12A7A031B7CE}" srcOrd="0" destOrd="0" presId="urn:microsoft.com/office/officeart/2005/8/layout/orgChart1"/>
    <dgm:cxn modelId="{1BE7BB20-B446-4235-81A3-1B3355779D9C}" type="presParOf" srcId="{01D41319-ACA1-4434-ACF5-12A7A031B7CE}" destId="{B51092F2-57B7-4C49-AD62-785123AAED00}" srcOrd="0" destOrd="0" presId="urn:microsoft.com/office/officeart/2005/8/layout/orgChart1"/>
    <dgm:cxn modelId="{3F27B862-CDE7-49A2-8DF8-5778C2D0F0CE}" type="presParOf" srcId="{B51092F2-57B7-4C49-AD62-785123AAED00}" destId="{77BD7A69-66D7-46A0-8898-CF59365E45C4}" srcOrd="0" destOrd="0" presId="urn:microsoft.com/office/officeart/2005/8/layout/orgChart1"/>
    <dgm:cxn modelId="{6B323C66-4285-4E39-9A48-265C45547957}" type="presParOf" srcId="{B51092F2-57B7-4C49-AD62-785123AAED00}" destId="{84BA874D-DE8F-44D2-9185-414CB18B7B42}" srcOrd="1" destOrd="0" presId="urn:microsoft.com/office/officeart/2005/8/layout/orgChart1"/>
    <dgm:cxn modelId="{9F7F5B11-C349-48BC-89DB-3AB1B4399173}" type="presParOf" srcId="{01D41319-ACA1-4434-ACF5-12A7A031B7CE}" destId="{AC7B33EE-3560-48B4-9D71-4FEB7525AE51}" srcOrd="1" destOrd="0" presId="urn:microsoft.com/office/officeart/2005/8/layout/orgChart1"/>
    <dgm:cxn modelId="{90393EB3-0D0C-4804-8877-7271029E62CB}" type="presParOf" srcId="{AC7B33EE-3560-48B4-9D71-4FEB7525AE51}" destId="{34A92182-25D9-4CC9-989D-8D137C3A71E2}" srcOrd="0" destOrd="0" presId="urn:microsoft.com/office/officeart/2005/8/layout/orgChart1"/>
    <dgm:cxn modelId="{7C1BFA5D-6C68-440C-8A17-3A76FC10C296}" type="presParOf" srcId="{AC7B33EE-3560-48B4-9D71-4FEB7525AE51}" destId="{E4D23320-B853-4782-B5FD-9D4282625CB3}" srcOrd="1" destOrd="0" presId="urn:microsoft.com/office/officeart/2005/8/layout/orgChart1"/>
    <dgm:cxn modelId="{17D82856-00E5-4945-94A0-326EFEC92A4F}" type="presParOf" srcId="{E4D23320-B853-4782-B5FD-9D4282625CB3}" destId="{92C17686-F544-45EB-BDEC-56E77787C5E3}" srcOrd="0" destOrd="0" presId="urn:microsoft.com/office/officeart/2005/8/layout/orgChart1"/>
    <dgm:cxn modelId="{A41CFBA8-F872-44F8-B656-9EE65F72C42E}" type="presParOf" srcId="{92C17686-F544-45EB-BDEC-56E77787C5E3}" destId="{8A225E41-08B6-493B-BFF0-6A1B4FF66104}" srcOrd="0" destOrd="0" presId="urn:microsoft.com/office/officeart/2005/8/layout/orgChart1"/>
    <dgm:cxn modelId="{BB1D4DA3-190B-463C-9CB8-7849DBEFE8D9}" type="presParOf" srcId="{92C17686-F544-45EB-BDEC-56E77787C5E3}" destId="{015B7B6D-919E-45FA-8187-057093C5D1C4}" srcOrd="1" destOrd="0" presId="urn:microsoft.com/office/officeart/2005/8/layout/orgChart1"/>
    <dgm:cxn modelId="{54DB8833-6AFA-4C08-A4BA-594E5B9EC775}" type="presParOf" srcId="{E4D23320-B853-4782-B5FD-9D4282625CB3}" destId="{E0709671-DF4E-4DE5-94E0-5F3205CD042D}" srcOrd="1" destOrd="0" presId="urn:microsoft.com/office/officeart/2005/8/layout/orgChart1"/>
    <dgm:cxn modelId="{9EFF2C13-2C93-406E-BEF4-DFA4CB035FCD}" type="presParOf" srcId="{E4D23320-B853-4782-B5FD-9D4282625CB3}" destId="{684A4E6B-91C8-43C1-AC45-1900F647F98D}" srcOrd="2" destOrd="0" presId="urn:microsoft.com/office/officeart/2005/8/layout/orgChart1"/>
    <dgm:cxn modelId="{BCA8E582-F7EB-4D8B-9D3E-01C6E3412023}" type="presParOf" srcId="{AC7B33EE-3560-48B4-9D71-4FEB7525AE51}" destId="{ACE0A22E-E599-400F-A694-A0B1FA1CFFA3}" srcOrd="2" destOrd="0" presId="urn:microsoft.com/office/officeart/2005/8/layout/orgChart1"/>
    <dgm:cxn modelId="{DA9B9769-FD7A-403F-B1DA-3DEB29E5B41C}" type="presParOf" srcId="{AC7B33EE-3560-48B4-9D71-4FEB7525AE51}" destId="{FB6E85F3-6590-49E4-BE9B-A6E8259B70DA}" srcOrd="3" destOrd="0" presId="urn:microsoft.com/office/officeart/2005/8/layout/orgChart1"/>
    <dgm:cxn modelId="{72E40F9D-EE09-4F15-A57D-83A337D9C238}" type="presParOf" srcId="{FB6E85F3-6590-49E4-BE9B-A6E8259B70DA}" destId="{1A7FED5E-071B-471C-91BA-37768BE8CE1A}" srcOrd="0" destOrd="0" presId="urn:microsoft.com/office/officeart/2005/8/layout/orgChart1"/>
    <dgm:cxn modelId="{D84B2A89-64C3-4D4A-9C2A-45A1594AAE34}" type="presParOf" srcId="{1A7FED5E-071B-471C-91BA-37768BE8CE1A}" destId="{A0E49FA3-0702-4234-A540-674DAB765E04}" srcOrd="0" destOrd="0" presId="urn:microsoft.com/office/officeart/2005/8/layout/orgChart1"/>
    <dgm:cxn modelId="{4448C219-EF67-40BB-9ED2-3D3633DCB500}" type="presParOf" srcId="{1A7FED5E-071B-471C-91BA-37768BE8CE1A}" destId="{5647980E-3060-4803-ACBA-A394C8336A5F}" srcOrd="1" destOrd="0" presId="urn:microsoft.com/office/officeart/2005/8/layout/orgChart1"/>
    <dgm:cxn modelId="{2FF9EC33-AF66-4CB9-BD84-1BB468182E25}" type="presParOf" srcId="{FB6E85F3-6590-49E4-BE9B-A6E8259B70DA}" destId="{2519ED6B-7B2F-4749-99E6-CC3280C8AB36}" srcOrd="1" destOrd="0" presId="urn:microsoft.com/office/officeart/2005/8/layout/orgChart1"/>
    <dgm:cxn modelId="{832CF3B4-5046-49EC-99E5-A6840F1F16F9}" type="presParOf" srcId="{FB6E85F3-6590-49E4-BE9B-A6E8259B70DA}" destId="{ADA3B221-EA55-48B1-A616-B19FC745FCEA}" srcOrd="2" destOrd="0" presId="urn:microsoft.com/office/officeart/2005/8/layout/orgChart1"/>
    <dgm:cxn modelId="{21310134-A8E4-4088-89E6-E34E4627D0C1}" type="presParOf" srcId="{AC7B33EE-3560-48B4-9D71-4FEB7525AE51}" destId="{C227F39E-6F7A-45EA-A1E2-33ADA1ABBFA1}" srcOrd="4" destOrd="0" presId="urn:microsoft.com/office/officeart/2005/8/layout/orgChart1"/>
    <dgm:cxn modelId="{EE796E8A-CE53-43F1-B47E-C89EB34A2199}" type="presParOf" srcId="{AC7B33EE-3560-48B4-9D71-4FEB7525AE51}" destId="{5A988381-D13B-4C5A-B4DB-1EE9C80C00CC}" srcOrd="5" destOrd="0" presId="urn:microsoft.com/office/officeart/2005/8/layout/orgChart1"/>
    <dgm:cxn modelId="{C53C7FBB-438E-4C05-906C-9ED9A14E7659}" type="presParOf" srcId="{5A988381-D13B-4C5A-B4DB-1EE9C80C00CC}" destId="{68D3481F-FC74-49FE-9098-77F5E4C7412F}" srcOrd="0" destOrd="0" presId="urn:microsoft.com/office/officeart/2005/8/layout/orgChart1"/>
    <dgm:cxn modelId="{5BFC1CF5-0187-4C5C-849A-53C3776ABBE1}" type="presParOf" srcId="{68D3481F-FC74-49FE-9098-77F5E4C7412F}" destId="{17D597D6-6B6B-4D55-A316-2308AA5D0F97}" srcOrd="0" destOrd="0" presId="urn:microsoft.com/office/officeart/2005/8/layout/orgChart1"/>
    <dgm:cxn modelId="{65070891-5FB3-4D28-92F5-2B3A14964EE1}" type="presParOf" srcId="{68D3481F-FC74-49FE-9098-77F5E4C7412F}" destId="{9A5A171B-9A35-45D1-8415-F414326D296C}" srcOrd="1" destOrd="0" presId="urn:microsoft.com/office/officeart/2005/8/layout/orgChart1"/>
    <dgm:cxn modelId="{7F9AD71C-950D-4174-BA92-4DEAE9CE0F6D}" type="presParOf" srcId="{5A988381-D13B-4C5A-B4DB-1EE9C80C00CC}" destId="{43206D6B-A964-490D-9FFD-B874A04E74DE}" srcOrd="1" destOrd="0" presId="urn:microsoft.com/office/officeart/2005/8/layout/orgChart1"/>
    <dgm:cxn modelId="{34F1AAAD-035B-47C3-9BAD-3A2C3FF2FC98}" type="presParOf" srcId="{5A988381-D13B-4C5A-B4DB-1EE9C80C00CC}" destId="{CE987A8E-1EE9-41E5-8CA2-59668B15047D}" srcOrd="2" destOrd="0" presId="urn:microsoft.com/office/officeart/2005/8/layout/orgChart1"/>
    <dgm:cxn modelId="{B1E40D87-7531-49E2-B32D-C71C935B1AEB}" type="presParOf" srcId="{01D41319-ACA1-4434-ACF5-12A7A031B7CE}" destId="{7EB9E421-8AE7-469A-B1BB-B3FA42FFBED5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106C77-A285-4013-A854-38637D25E4A9}">
      <dsp:nvSpPr>
        <dsp:cNvPr id="0" name=""/>
        <dsp:cNvSpPr/>
      </dsp:nvSpPr>
      <dsp:spPr>
        <a:xfrm rot="5400000">
          <a:off x="465509" y="1111082"/>
          <a:ext cx="1066745" cy="1775040"/>
        </a:xfrm>
        <a:prstGeom prst="corner">
          <a:avLst>
            <a:gd name="adj1" fmla="val 16120"/>
            <a:gd name="adj2" fmla="val 1611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C40976-C664-43DD-B54F-BC7A590CDFBE}">
      <dsp:nvSpPr>
        <dsp:cNvPr id="0" name=""/>
        <dsp:cNvSpPr/>
      </dsp:nvSpPr>
      <dsp:spPr>
        <a:xfrm>
          <a:off x="287443" y="1641436"/>
          <a:ext cx="1602516" cy="1404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No Seasonality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i="1" kern="12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Simple Exponential Smoothing</a:t>
          </a:r>
        </a:p>
      </dsp:txBody>
      <dsp:txXfrm>
        <a:off x="287443" y="1641436"/>
        <a:ext cx="1602516" cy="1404699"/>
      </dsp:txXfrm>
    </dsp:sp>
    <dsp:sp modelId="{FCEBE2A3-6D6E-4975-863E-4CE37765645A}">
      <dsp:nvSpPr>
        <dsp:cNvPr id="0" name=""/>
        <dsp:cNvSpPr/>
      </dsp:nvSpPr>
      <dsp:spPr>
        <a:xfrm>
          <a:off x="1587597" y="980401"/>
          <a:ext cx="302361" cy="302361"/>
        </a:xfrm>
        <a:prstGeom prst="triangle">
          <a:avLst>
            <a:gd name="adj" fmla="val 10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DF0F1C-5BC7-4F10-87D8-D33C80DB9DF4}">
      <dsp:nvSpPr>
        <dsp:cNvPr id="0" name=""/>
        <dsp:cNvSpPr/>
      </dsp:nvSpPr>
      <dsp:spPr>
        <a:xfrm rot="5400000">
          <a:off x="2427302" y="625634"/>
          <a:ext cx="1066745" cy="1775040"/>
        </a:xfrm>
        <a:prstGeom prst="corner">
          <a:avLst>
            <a:gd name="adj1" fmla="val 16120"/>
            <a:gd name="adj2" fmla="val 16110"/>
          </a:avLst>
        </a:prstGeom>
        <a:solidFill>
          <a:srgbClr val="CCAD2A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38DD06-A766-4D1C-8E8A-65216561893A}">
      <dsp:nvSpPr>
        <dsp:cNvPr id="0" name=""/>
        <dsp:cNvSpPr/>
      </dsp:nvSpPr>
      <dsp:spPr>
        <a:xfrm>
          <a:off x="2249236" y="1155989"/>
          <a:ext cx="1602516" cy="1404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rends but No Seasonality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i="1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Holt’s Linear Model</a:t>
          </a:r>
          <a:endParaRPr lang="en-US" sz="13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2249236" y="1155989"/>
        <a:ext cx="1602516" cy="1404699"/>
      </dsp:txXfrm>
    </dsp:sp>
    <dsp:sp modelId="{C1E794F3-FEE4-4A8C-B0D8-05FE2B5EE58A}">
      <dsp:nvSpPr>
        <dsp:cNvPr id="0" name=""/>
        <dsp:cNvSpPr/>
      </dsp:nvSpPr>
      <dsp:spPr>
        <a:xfrm>
          <a:off x="3549390" y="494954"/>
          <a:ext cx="302361" cy="302361"/>
        </a:xfrm>
        <a:prstGeom prst="triangle">
          <a:avLst>
            <a:gd name="adj" fmla="val 10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001C61-95BB-4C68-BEEF-BAF7FEB3E0C9}">
      <dsp:nvSpPr>
        <dsp:cNvPr id="0" name=""/>
        <dsp:cNvSpPr/>
      </dsp:nvSpPr>
      <dsp:spPr>
        <a:xfrm rot="5400000">
          <a:off x="4389095" y="140187"/>
          <a:ext cx="1066745" cy="1775040"/>
        </a:xfrm>
        <a:prstGeom prst="corner">
          <a:avLst>
            <a:gd name="adj1" fmla="val 16120"/>
            <a:gd name="adj2" fmla="val 16110"/>
          </a:avLst>
        </a:prstGeom>
        <a:solidFill>
          <a:srgbClr val="00B050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CB0FAA-C825-413D-8D36-09F8C68D32E8}">
      <dsp:nvSpPr>
        <dsp:cNvPr id="0" name=""/>
        <dsp:cNvSpPr/>
      </dsp:nvSpPr>
      <dsp:spPr>
        <a:xfrm>
          <a:off x="4211028" y="670541"/>
          <a:ext cx="1602516" cy="1404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rends and Seasonality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i="1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Holt’s Winter Smoothing</a:t>
          </a:r>
          <a:endParaRPr lang="en-US" sz="13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4211028" y="670541"/>
        <a:ext cx="1602516" cy="1404699"/>
      </dsp:txXfrm>
    </dsp:sp>
    <dsp:sp modelId="{37FFE8F8-4650-4A33-A025-25B7532DE6D7}">
      <dsp:nvSpPr>
        <dsp:cNvPr id="0" name=""/>
        <dsp:cNvSpPr/>
      </dsp:nvSpPr>
      <dsp:spPr>
        <a:xfrm>
          <a:off x="5511183" y="9506"/>
          <a:ext cx="302361" cy="302361"/>
        </a:xfrm>
        <a:prstGeom prst="triangle">
          <a:avLst>
            <a:gd name="adj" fmla="val 1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29B285-23BD-4266-9A86-3B5588D9EDCA}">
      <dsp:nvSpPr>
        <dsp:cNvPr id="0" name=""/>
        <dsp:cNvSpPr/>
      </dsp:nvSpPr>
      <dsp:spPr>
        <a:xfrm rot="5400000">
          <a:off x="6350888" y="-352283"/>
          <a:ext cx="1066745" cy="1775040"/>
        </a:xfrm>
        <a:prstGeom prst="corner">
          <a:avLst>
            <a:gd name="adj1" fmla="val 16120"/>
            <a:gd name="adj2" fmla="val 16110"/>
          </a:avLst>
        </a:prstGeom>
        <a:solidFill>
          <a:schemeClr val="accent4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C15826-45E1-4ADF-BECE-F2C0AA6BE614}">
      <dsp:nvSpPr>
        <dsp:cNvPr id="0" name=""/>
        <dsp:cNvSpPr/>
      </dsp:nvSpPr>
      <dsp:spPr>
        <a:xfrm>
          <a:off x="6172821" y="184434"/>
          <a:ext cx="1602516" cy="14187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rends, Seasonality and Causal Factors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i="1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ARIMAX/ State Space Models(SARIMAX)</a:t>
          </a:r>
          <a:endParaRPr lang="en-US" sz="1300" i="1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6172821" y="184434"/>
        <a:ext cx="1602516" cy="14187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1BB785-8782-4CAD-B0DA-CB5B34D804C3}">
      <dsp:nvSpPr>
        <dsp:cNvPr id="0" name=""/>
        <dsp:cNvSpPr/>
      </dsp:nvSpPr>
      <dsp:spPr>
        <a:xfrm>
          <a:off x="3585231" y="520267"/>
          <a:ext cx="91440" cy="2185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8501"/>
              </a:lnTo>
            </a:path>
          </a:pathLst>
        </a:custGeom>
        <a:noFill/>
        <a:ln w="19050" cap="flat" cmpd="sng" algn="ctr">
          <a:solidFill>
            <a:schemeClr val="dk1"/>
          </a:solidFill>
          <a:prstDash val="solid"/>
          <a:round/>
          <a:headEnd type="none" w="med" len="med"/>
          <a:tailEnd type="arrow" w="med" len="me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6D29F976-A415-4248-9081-50AAE32C461F}">
      <dsp:nvSpPr>
        <dsp:cNvPr id="0" name=""/>
        <dsp:cNvSpPr/>
      </dsp:nvSpPr>
      <dsp:spPr>
        <a:xfrm>
          <a:off x="1550276" y="24"/>
          <a:ext cx="4161349" cy="520242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b="1" kern="1200" dirty="0" err="1">
              <a:solidFill>
                <a:schemeClr val="bg1"/>
              </a:solidFill>
            </a:rPr>
            <a:t>Aureet</a:t>
          </a:r>
          <a:r>
            <a:rPr lang="en-IN" sz="1900" b="1" kern="1200" dirty="0">
              <a:solidFill>
                <a:schemeClr val="bg1"/>
              </a:solidFill>
            </a:rPr>
            <a:t>/ Italian Series (259.55 Cr.)</a:t>
          </a:r>
        </a:p>
      </dsp:txBody>
      <dsp:txXfrm>
        <a:off x="1550276" y="24"/>
        <a:ext cx="4161349" cy="520242"/>
      </dsp:txXfrm>
    </dsp:sp>
    <dsp:sp modelId="{7801FCCE-4547-4B12-B8FE-BA4618832798}">
      <dsp:nvSpPr>
        <dsp:cNvPr id="0" name=""/>
        <dsp:cNvSpPr/>
      </dsp:nvSpPr>
      <dsp:spPr>
        <a:xfrm>
          <a:off x="2668246" y="738768"/>
          <a:ext cx="1925408" cy="520242"/>
        </a:xfrm>
        <a:prstGeom prst="rect">
          <a:avLst/>
        </a:prstGeom>
        <a:solidFill>
          <a:srgbClr val="92D05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b="1" kern="1200" dirty="0" err="1">
              <a:solidFill>
                <a:schemeClr val="bg1"/>
              </a:solidFill>
            </a:rPr>
            <a:t>Salable</a:t>
          </a:r>
          <a:r>
            <a:rPr lang="en-IN" sz="1900" b="1" kern="1200" dirty="0">
              <a:solidFill>
                <a:schemeClr val="bg1"/>
              </a:solidFill>
            </a:rPr>
            <a:t> : 230 Cr</a:t>
          </a:r>
        </a:p>
      </dsp:txBody>
      <dsp:txXfrm>
        <a:off x="2668246" y="738768"/>
        <a:ext cx="1925408" cy="52024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1BB785-8782-4CAD-B0DA-CB5B34D804C3}">
      <dsp:nvSpPr>
        <dsp:cNvPr id="0" name=""/>
        <dsp:cNvSpPr/>
      </dsp:nvSpPr>
      <dsp:spPr>
        <a:xfrm>
          <a:off x="3585231" y="520267"/>
          <a:ext cx="91440" cy="2185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8501"/>
              </a:lnTo>
            </a:path>
          </a:pathLst>
        </a:custGeom>
        <a:noFill/>
        <a:ln w="19050" cap="flat" cmpd="sng" algn="ctr">
          <a:solidFill>
            <a:schemeClr val="dk1"/>
          </a:solidFill>
          <a:prstDash val="solid"/>
          <a:round/>
          <a:headEnd type="none" w="med" len="med"/>
          <a:tailEnd type="arrow" w="med" len="me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6D29F976-A415-4248-9081-50AAE32C461F}">
      <dsp:nvSpPr>
        <dsp:cNvPr id="0" name=""/>
        <dsp:cNvSpPr/>
      </dsp:nvSpPr>
      <dsp:spPr>
        <a:xfrm>
          <a:off x="1550276" y="24"/>
          <a:ext cx="4161349" cy="520242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b="1" kern="1200" dirty="0">
              <a:solidFill>
                <a:schemeClr val="bg1"/>
              </a:solidFill>
            </a:rPr>
            <a:t>Sanitaryware + CP  (259.55 Cr.)</a:t>
          </a:r>
        </a:p>
      </dsp:txBody>
      <dsp:txXfrm>
        <a:off x="1550276" y="24"/>
        <a:ext cx="4161349" cy="520242"/>
      </dsp:txXfrm>
    </dsp:sp>
    <dsp:sp modelId="{7801FCCE-4547-4B12-B8FE-BA4618832798}">
      <dsp:nvSpPr>
        <dsp:cNvPr id="0" name=""/>
        <dsp:cNvSpPr/>
      </dsp:nvSpPr>
      <dsp:spPr>
        <a:xfrm>
          <a:off x="2668246" y="738768"/>
          <a:ext cx="1925408" cy="520242"/>
        </a:xfrm>
        <a:prstGeom prst="rect">
          <a:avLst/>
        </a:prstGeom>
        <a:solidFill>
          <a:srgbClr val="92D05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b="1" kern="1200" dirty="0" err="1">
              <a:solidFill>
                <a:schemeClr val="bg1"/>
              </a:solidFill>
            </a:rPr>
            <a:t>Salable</a:t>
          </a:r>
          <a:r>
            <a:rPr lang="en-IN" sz="1900" b="1" kern="1200" dirty="0">
              <a:solidFill>
                <a:schemeClr val="bg1"/>
              </a:solidFill>
            </a:rPr>
            <a:t> : 230 Cr</a:t>
          </a:r>
        </a:p>
      </dsp:txBody>
      <dsp:txXfrm>
        <a:off x="2668246" y="738768"/>
        <a:ext cx="1925408" cy="52024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1BB785-8782-4CAD-B0DA-CB5B34D804C3}">
      <dsp:nvSpPr>
        <dsp:cNvPr id="0" name=""/>
        <dsp:cNvSpPr/>
      </dsp:nvSpPr>
      <dsp:spPr>
        <a:xfrm>
          <a:off x="3585231" y="520267"/>
          <a:ext cx="91440" cy="2185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8501"/>
              </a:lnTo>
            </a:path>
          </a:pathLst>
        </a:custGeom>
        <a:noFill/>
        <a:ln w="19050" cap="flat" cmpd="sng" algn="ctr">
          <a:solidFill>
            <a:schemeClr val="dk1"/>
          </a:solidFill>
          <a:prstDash val="solid"/>
          <a:round/>
          <a:headEnd type="none" w="med" len="med"/>
          <a:tailEnd type="arrow" w="med" len="me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6D29F976-A415-4248-9081-50AAE32C461F}">
      <dsp:nvSpPr>
        <dsp:cNvPr id="0" name=""/>
        <dsp:cNvSpPr/>
      </dsp:nvSpPr>
      <dsp:spPr>
        <a:xfrm>
          <a:off x="1550276" y="24"/>
          <a:ext cx="4161349" cy="520242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b="1" kern="1200" dirty="0" err="1">
              <a:solidFill>
                <a:schemeClr val="bg1"/>
              </a:solidFill>
            </a:rPr>
            <a:t>Hindware</a:t>
          </a:r>
          <a:r>
            <a:rPr lang="en-IN" sz="1900" b="1" kern="1200" dirty="0">
              <a:solidFill>
                <a:schemeClr val="bg1"/>
              </a:solidFill>
            </a:rPr>
            <a:t> Italian (259.55 Cr.)</a:t>
          </a:r>
        </a:p>
      </dsp:txBody>
      <dsp:txXfrm>
        <a:off x="1550276" y="24"/>
        <a:ext cx="4161349" cy="520242"/>
      </dsp:txXfrm>
    </dsp:sp>
    <dsp:sp modelId="{7801FCCE-4547-4B12-B8FE-BA4618832798}">
      <dsp:nvSpPr>
        <dsp:cNvPr id="0" name=""/>
        <dsp:cNvSpPr/>
      </dsp:nvSpPr>
      <dsp:spPr>
        <a:xfrm>
          <a:off x="2668246" y="738768"/>
          <a:ext cx="1925408" cy="520242"/>
        </a:xfrm>
        <a:prstGeom prst="rect">
          <a:avLst/>
        </a:prstGeom>
        <a:solidFill>
          <a:srgbClr val="92D05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b="1" kern="1200" dirty="0" err="1">
              <a:solidFill>
                <a:schemeClr val="bg1"/>
              </a:solidFill>
            </a:rPr>
            <a:t>Salable</a:t>
          </a:r>
          <a:r>
            <a:rPr lang="en-IN" sz="1900" b="1" kern="1200" dirty="0">
              <a:solidFill>
                <a:schemeClr val="bg1"/>
              </a:solidFill>
            </a:rPr>
            <a:t> : 230 Cr</a:t>
          </a:r>
        </a:p>
      </dsp:txBody>
      <dsp:txXfrm>
        <a:off x="2668246" y="738768"/>
        <a:ext cx="1925408" cy="52024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27F39E-6F7A-45EA-A1E2-33ADA1ABBFA1}">
      <dsp:nvSpPr>
        <dsp:cNvPr id="0" name=""/>
        <dsp:cNvSpPr/>
      </dsp:nvSpPr>
      <dsp:spPr>
        <a:xfrm>
          <a:off x="4296228" y="1615042"/>
          <a:ext cx="2807993" cy="4873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3668"/>
              </a:lnTo>
              <a:lnTo>
                <a:pt x="2807993" y="243668"/>
              </a:lnTo>
              <a:lnTo>
                <a:pt x="2807993" y="487337"/>
              </a:lnTo>
            </a:path>
          </a:pathLst>
        </a:cu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E0A22E-E599-400F-A694-A0B1FA1CFFA3}">
      <dsp:nvSpPr>
        <dsp:cNvPr id="0" name=""/>
        <dsp:cNvSpPr/>
      </dsp:nvSpPr>
      <dsp:spPr>
        <a:xfrm>
          <a:off x="3969677" y="1615042"/>
          <a:ext cx="326551" cy="487337"/>
        </a:xfrm>
        <a:custGeom>
          <a:avLst/>
          <a:gdLst/>
          <a:ahLst/>
          <a:cxnLst/>
          <a:rect l="0" t="0" r="0" b="0"/>
          <a:pathLst>
            <a:path>
              <a:moveTo>
                <a:pt x="326551" y="0"/>
              </a:moveTo>
              <a:lnTo>
                <a:pt x="326551" y="243668"/>
              </a:lnTo>
              <a:lnTo>
                <a:pt x="0" y="243668"/>
              </a:lnTo>
              <a:lnTo>
                <a:pt x="0" y="487337"/>
              </a:lnTo>
            </a:path>
          </a:pathLst>
        </a:cu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A92182-25D9-4CC9-989D-8D137C3A71E2}">
      <dsp:nvSpPr>
        <dsp:cNvPr id="0" name=""/>
        <dsp:cNvSpPr/>
      </dsp:nvSpPr>
      <dsp:spPr>
        <a:xfrm>
          <a:off x="1161684" y="1615042"/>
          <a:ext cx="3134544" cy="487337"/>
        </a:xfrm>
        <a:custGeom>
          <a:avLst/>
          <a:gdLst/>
          <a:ahLst/>
          <a:cxnLst/>
          <a:rect l="0" t="0" r="0" b="0"/>
          <a:pathLst>
            <a:path>
              <a:moveTo>
                <a:pt x="3134544" y="0"/>
              </a:moveTo>
              <a:lnTo>
                <a:pt x="3134544" y="243668"/>
              </a:lnTo>
              <a:lnTo>
                <a:pt x="0" y="243668"/>
              </a:lnTo>
              <a:lnTo>
                <a:pt x="0" y="487337"/>
              </a:lnTo>
            </a:path>
          </a:pathLst>
        </a:cu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BD7A69-66D7-46A0-8898-CF59365E45C4}">
      <dsp:nvSpPr>
        <dsp:cNvPr id="0" name=""/>
        <dsp:cNvSpPr/>
      </dsp:nvSpPr>
      <dsp:spPr>
        <a:xfrm>
          <a:off x="3135900" y="454714"/>
          <a:ext cx="2320655" cy="116032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900" kern="1200" dirty="0"/>
            <a:t>NPD</a:t>
          </a:r>
        </a:p>
      </dsp:txBody>
      <dsp:txXfrm>
        <a:off x="3135900" y="454714"/>
        <a:ext cx="2320655" cy="1160327"/>
      </dsp:txXfrm>
    </dsp:sp>
    <dsp:sp modelId="{8A225E41-08B6-493B-BFF0-6A1B4FF66104}">
      <dsp:nvSpPr>
        <dsp:cNvPr id="0" name=""/>
        <dsp:cNvSpPr/>
      </dsp:nvSpPr>
      <dsp:spPr>
        <a:xfrm>
          <a:off x="1356" y="2102380"/>
          <a:ext cx="2320655" cy="116032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900" kern="1200" dirty="0"/>
            <a:t>Product Gap</a:t>
          </a:r>
        </a:p>
      </dsp:txBody>
      <dsp:txXfrm>
        <a:off x="1356" y="2102380"/>
        <a:ext cx="2320655" cy="1160327"/>
      </dsp:txXfrm>
    </dsp:sp>
    <dsp:sp modelId="{A0E49FA3-0702-4234-A540-674DAB765E04}">
      <dsp:nvSpPr>
        <dsp:cNvPr id="0" name=""/>
        <dsp:cNvSpPr/>
      </dsp:nvSpPr>
      <dsp:spPr>
        <a:xfrm>
          <a:off x="2809349" y="2102380"/>
          <a:ext cx="2320655" cy="116032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900" kern="1200" dirty="0"/>
            <a:t>Innovation</a:t>
          </a:r>
        </a:p>
      </dsp:txBody>
      <dsp:txXfrm>
        <a:off x="2809349" y="2102380"/>
        <a:ext cx="2320655" cy="1160327"/>
      </dsp:txXfrm>
    </dsp:sp>
    <dsp:sp modelId="{17D597D6-6B6B-4D55-A316-2308AA5D0F97}">
      <dsp:nvSpPr>
        <dsp:cNvPr id="0" name=""/>
        <dsp:cNvSpPr/>
      </dsp:nvSpPr>
      <dsp:spPr>
        <a:xfrm>
          <a:off x="5617342" y="2102380"/>
          <a:ext cx="2973757" cy="116032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900" kern="1200" dirty="0"/>
            <a:t>Customised Requirement</a:t>
          </a:r>
        </a:p>
      </dsp:txBody>
      <dsp:txXfrm>
        <a:off x="5617342" y="2102380"/>
        <a:ext cx="2973757" cy="11603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0F83A5-46DD-4F2B-8D5E-33B7088FF0F9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959102-DB14-4D63-B52B-A87CDB398EF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58902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D190F8-BAA5-4E53-B428-7E93A8756C9A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35586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D190F8-BAA5-4E53-B428-7E93A8756C9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2681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3200" dirty="0">
                <a:solidFill>
                  <a:schemeClr val="tx2"/>
                </a:solidFill>
                <a:latin typeface="Roboto Light" charset="0"/>
                <a:ea typeface="Roboto Light" charset="0"/>
                <a:cs typeface="Roboto Light" charset="0"/>
              </a:rPr>
              <a:t>been the industry's standard dummy text ever since the 1500s,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438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3FC40D-6FB9-1648-B027-EAD4E7DC4F2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438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66008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7" name="Google Shape;1467;g4dfce81f19_0_12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68" name="Google Shape;1468;g4dfce81f19_0_12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7D0D4-4F1A-4BCE-91F5-3D273294B35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51315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Note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048C66-FE91-446B-8884-2E60DC4056F4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6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2628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7E44C8-CE20-E598-C421-B20E0D3803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1535EA-4B51-45A8-BC7F-ADD9CEC933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DD8C48-22A4-4C41-F479-F87B6EBD5C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Not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CBC48D-48BE-8220-DDE5-A070E94477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048C66-FE91-446B-8884-2E60DC4056F4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8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1717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21152-C921-D034-10D2-97B3DE4B0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EFA13E-CB1E-AFB3-D6D9-7FDC35E99F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6080D4-15C8-FDC6-1640-E0DF82EE3C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Not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FD6EF-A382-7AA9-0EEF-3935C2CDB8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048C66-FE91-446B-8884-2E60DC4056F4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9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17383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2.xml"/><Relationship Id="rId4" Type="http://schemas.openxmlformats.org/officeDocument/2006/relationships/image" Target="../media/image12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i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0097" y="3249001"/>
            <a:ext cx="3815927" cy="259198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20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772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defRPr>
            </a:lvl1pPr>
          </a:lstStyle>
          <a:p>
            <a:r>
              <a:rPr lang="en-US"/>
              <a:t>NAME OF YOUR TOP SLID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063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67419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446094" y="1654531"/>
            <a:ext cx="2289156" cy="267043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444108" y="4733380"/>
            <a:ext cx="2290865" cy="917723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3226297" y="1207805"/>
            <a:ext cx="2289156" cy="3095884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24" hasCustomPrompt="1"/>
          </p:nvPr>
        </p:nvSpPr>
        <p:spPr>
          <a:xfrm>
            <a:off x="3224310" y="4733380"/>
            <a:ext cx="2290865" cy="917723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6006499" y="795443"/>
            <a:ext cx="2289156" cy="3488609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2" name="Текст 3"/>
          <p:cNvSpPr>
            <a:spLocks noGrp="1"/>
          </p:cNvSpPr>
          <p:nvPr>
            <p:ph type="body" sz="quarter" idx="26" hasCustomPrompt="1"/>
          </p:nvPr>
        </p:nvSpPr>
        <p:spPr>
          <a:xfrm>
            <a:off x="6004513" y="4733380"/>
            <a:ext cx="2290865" cy="917723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28" hasCustomPrompt="1"/>
          </p:nvPr>
        </p:nvSpPr>
        <p:spPr>
          <a:xfrm>
            <a:off x="8784716" y="4733380"/>
            <a:ext cx="2290865" cy="917723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8786510" y="451809"/>
            <a:ext cx="2289156" cy="381588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4555A5F4-3405-9449-AFFD-68D15037D086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0420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1017011"/>
            <a:ext cx="3567177" cy="129599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53478"/>
            <a:ext cx="3567177" cy="2791513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25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18" y="1144536"/>
            <a:ext cx="6191882" cy="129599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60018" y="2781003"/>
            <a:ext cx="6191882" cy="2791513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D6FFB5C0-C555-E445-987A-C62F981FEB4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0" y="0"/>
            <a:ext cx="4166236" cy="6858000"/>
          </a:xfrm>
          <a:custGeom>
            <a:avLst/>
            <a:gdLst>
              <a:gd name="connsiteX0" fmla="*/ 0 w 8333557"/>
              <a:gd name="connsiteY0" fmla="*/ 0 h 13717588"/>
              <a:gd name="connsiteX1" fmla="*/ 8333557 w 8333557"/>
              <a:gd name="connsiteY1" fmla="*/ 0 h 13717588"/>
              <a:gd name="connsiteX2" fmla="*/ 8333557 w 8333557"/>
              <a:gd name="connsiteY2" fmla="*/ 13717588 h 13717588"/>
              <a:gd name="connsiteX3" fmla="*/ 0 w 8333557"/>
              <a:gd name="connsiteY3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33557" h="13717588">
                <a:moveTo>
                  <a:pt x="0" y="0"/>
                </a:moveTo>
                <a:lnTo>
                  <a:pt x="8333557" y="0"/>
                </a:lnTo>
                <a:lnTo>
                  <a:pt x="8333557" y="13717588"/>
                </a:lnTo>
                <a:lnTo>
                  <a:pt x="0" y="13717588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90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6096" y="1144536"/>
            <a:ext cx="5939887" cy="129599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6096" y="2781003"/>
            <a:ext cx="5939887" cy="2791513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D6FFB5C0-C555-E445-987A-C62F981FEB4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8025764" y="0"/>
            <a:ext cx="4166236" cy="6858000"/>
          </a:xfrm>
          <a:custGeom>
            <a:avLst/>
            <a:gdLst>
              <a:gd name="connsiteX0" fmla="*/ 0 w 8333557"/>
              <a:gd name="connsiteY0" fmla="*/ 0 h 13717588"/>
              <a:gd name="connsiteX1" fmla="*/ 8333557 w 8333557"/>
              <a:gd name="connsiteY1" fmla="*/ 0 h 13717588"/>
              <a:gd name="connsiteX2" fmla="*/ 8333557 w 8333557"/>
              <a:gd name="connsiteY2" fmla="*/ 13717588 h 13717588"/>
              <a:gd name="connsiteX3" fmla="*/ 0 w 8333557"/>
              <a:gd name="connsiteY3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33557" h="13717588">
                <a:moveTo>
                  <a:pt x="0" y="0"/>
                </a:moveTo>
                <a:lnTo>
                  <a:pt x="8333557" y="0"/>
                </a:lnTo>
                <a:lnTo>
                  <a:pt x="8333557" y="13717588"/>
                </a:lnTo>
                <a:lnTo>
                  <a:pt x="0" y="13717588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58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alysi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/>
          <p:cNvSpPr>
            <a:spLocks noGrp="1"/>
          </p:cNvSpPr>
          <p:nvPr>
            <p:ph type="pic" sz="quarter" idx="26"/>
          </p:nvPr>
        </p:nvSpPr>
        <p:spPr>
          <a:xfrm>
            <a:off x="5052020" y="-134983"/>
            <a:ext cx="7139980" cy="7106143"/>
          </a:xfrm>
          <a:custGeom>
            <a:avLst/>
            <a:gdLst>
              <a:gd name="connsiteX0" fmla="*/ 5777727 w 14281819"/>
              <a:gd name="connsiteY0" fmla="*/ 0 h 14213931"/>
              <a:gd name="connsiteX1" fmla="*/ 7717963 w 14281819"/>
              <a:gd name="connsiteY1" fmla="*/ 201064 h 14213931"/>
              <a:gd name="connsiteX2" fmla="*/ 8032593 w 14281819"/>
              <a:gd name="connsiteY2" fmla="*/ 282092 h 14213931"/>
              <a:gd name="connsiteX3" fmla="*/ 14281819 w 14281819"/>
              <a:gd name="connsiteY3" fmla="*/ 269998 h 14213931"/>
              <a:gd name="connsiteX4" fmla="*/ 14281819 w 14281819"/>
              <a:gd name="connsiteY4" fmla="*/ 13987586 h 14213931"/>
              <a:gd name="connsiteX5" fmla="*/ 7917867 w 14281819"/>
              <a:gd name="connsiteY5" fmla="*/ 13979652 h 14213931"/>
              <a:gd name="connsiteX6" fmla="*/ 7719415 w 14281819"/>
              <a:gd name="connsiteY6" fmla="*/ 14025547 h 14213931"/>
              <a:gd name="connsiteX7" fmla="*/ 5832183 w 14281819"/>
              <a:gd name="connsiteY7" fmla="*/ 14213931 h 14213931"/>
              <a:gd name="connsiteX8" fmla="*/ 0 w 14281819"/>
              <a:gd name="connsiteY8" fmla="*/ 10920792 h 14213931"/>
              <a:gd name="connsiteX9" fmla="*/ 2101982 w 14281819"/>
              <a:gd name="connsiteY9" fmla="*/ 9830348 h 14213931"/>
              <a:gd name="connsiteX10" fmla="*/ 5870301 w 14281819"/>
              <a:gd name="connsiteY10" fmla="*/ 11956713 h 14213931"/>
              <a:gd name="connsiteX11" fmla="*/ 8952481 w 14281819"/>
              <a:gd name="connsiteY11" fmla="*/ 9944845 h 14213931"/>
              <a:gd name="connsiteX12" fmla="*/ 5853965 w 14281819"/>
              <a:gd name="connsiteY12" fmla="*/ 7971142 h 14213931"/>
              <a:gd name="connsiteX13" fmla="*/ 593565 w 14281819"/>
              <a:gd name="connsiteY13" fmla="*/ 3909240 h 14213931"/>
              <a:gd name="connsiteX14" fmla="*/ 5777727 w 14281819"/>
              <a:gd name="connsiteY14" fmla="*/ 0 h 14213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281819" h="14213931">
                <a:moveTo>
                  <a:pt x="5777727" y="0"/>
                </a:moveTo>
                <a:cubicBezTo>
                  <a:pt x="6429491" y="0"/>
                  <a:pt x="7088701" y="58036"/>
                  <a:pt x="7717963" y="201064"/>
                </a:cubicBezTo>
                <a:lnTo>
                  <a:pt x="8032593" y="282092"/>
                </a:lnTo>
                <a:lnTo>
                  <a:pt x="14281819" y="269998"/>
                </a:lnTo>
                <a:lnTo>
                  <a:pt x="14281819" y="13987586"/>
                </a:lnTo>
                <a:lnTo>
                  <a:pt x="7917867" y="13979652"/>
                </a:lnTo>
                <a:lnTo>
                  <a:pt x="7719415" y="14025547"/>
                </a:lnTo>
                <a:cubicBezTo>
                  <a:pt x="7123199" y="14152620"/>
                  <a:pt x="6486160" y="14213931"/>
                  <a:pt x="5832183" y="14213931"/>
                </a:cubicBezTo>
                <a:cubicBezTo>
                  <a:pt x="3098517" y="14213931"/>
                  <a:pt x="996535" y="13374290"/>
                  <a:pt x="0" y="10920792"/>
                </a:cubicBezTo>
                <a:cubicBezTo>
                  <a:pt x="2101982" y="9830348"/>
                  <a:pt x="2101982" y="9830348"/>
                  <a:pt x="2101982" y="9830348"/>
                </a:cubicBezTo>
                <a:cubicBezTo>
                  <a:pt x="2695547" y="11302447"/>
                  <a:pt x="4247528" y="11956713"/>
                  <a:pt x="5870301" y="11956713"/>
                </a:cubicBezTo>
                <a:cubicBezTo>
                  <a:pt x="7460401" y="11956713"/>
                  <a:pt x="8952481" y="11400587"/>
                  <a:pt x="8952481" y="9944845"/>
                </a:cubicBezTo>
                <a:cubicBezTo>
                  <a:pt x="8952481" y="8679930"/>
                  <a:pt x="7634659" y="8161970"/>
                  <a:pt x="5853965" y="7971142"/>
                </a:cubicBezTo>
                <a:cubicBezTo>
                  <a:pt x="3120299" y="7644009"/>
                  <a:pt x="593565" y="6918864"/>
                  <a:pt x="593565" y="3909240"/>
                </a:cubicBezTo>
                <a:cubicBezTo>
                  <a:pt x="593565" y="1150418"/>
                  <a:pt x="3310893" y="21809"/>
                  <a:pt x="5777727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E56EF66C-8CEE-B146-BE90-73DB7CBE3A4A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96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13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13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alysis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11"/>
          <p:cNvSpPr>
            <a:spLocks noGrp="1"/>
          </p:cNvSpPr>
          <p:nvPr>
            <p:ph type="pic" sz="quarter" idx="25"/>
          </p:nvPr>
        </p:nvSpPr>
        <p:spPr>
          <a:xfrm flipH="1">
            <a:off x="0" y="0"/>
            <a:ext cx="7390301" cy="6858000"/>
          </a:xfrm>
          <a:custGeom>
            <a:avLst/>
            <a:gdLst>
              <a:gd name="connsiteX0" fmla="*/ 0 w 14782526"/>
              <a:gd name="connsiteY0" fmla="*/ 0 h 13717588"/>
              <a:gd name="connsiteX1" fmla="*/ 2901097 w 14782526"/>
              <a:gd name="connsiteY1" fmla="*/ 0 h 13717588"/>
              <a:gd name="connsiteX2" fmla="*/ 9458929 w 14782526"/>
              <a:gd name="connsiteY2" fmla="*/ 0 h 13717588"/>
              <a:gd name="connsiteX3" fmla="*/ 11149091 w 14782526"/>
              <a:gd name="connsiteY3" fmla="*/ 0 h 13717588"/>
              <a:gd name="connsiteX4" fmla="*/ 14782526 w 14782526"/>
              <a:gd name="connsiteY4" fmla="*/ 0 h 13717588"/>
              <a:gd name="connsiteX5" fmla="*/ 14782526 w 14782526"/>
              <a:gd name="connsiteY5" fmla="*/ 9245313 h 13717588"/>
              <a:gd name="connsiteX6" fmla="*/ 14782526 w 14782526"/>
              <a:gd name="connsiteY6" fmla="*/ 9245306 h 13717588"/>
              <a:gd name="connsiteX7" fmla="*/ 14782526 w 14782526"/>
              <a:gd name="connsiteY7" fmla="*/ 13717588 h 13717588"/>
              <a:gd name="connsiteX8" fmla="*/ 14782526 w 14782526"/>
              <a:gd name="connsiteY8" fmla="*/ 13717588 h 13717588"/>
              <a:gd name="connsiteX9" fmla="*/ 13477898 w 14782526"/>
              <a:gd name="connsiteY9" fmla="*/ 13717588 h 13717588"/>
              <a:gd name="connsiteX10" fmla="*/ 7228215 w 14782526"/>
              <a:gd name="connsiteY10" fmla="*/ 13717588 h 13717588"/>
              <a:gd name="connsiteX11" fmla="*/ 5167162 w 14782526"/>
              <a:gd name="connsiteY11" fmla="*/ 13717588 h 13717588"/>
              <a:gd name="connsiteX12" fmla="*/ 5033707 w 14782526"/>
              <a:gd name="connsiteY12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782526" h="13717588">
                <a:moveTo>
                  <a:pt x="0" y="0"/>
                </a:moveTo>
                <a:lnTo>
                  <a:pt x="2901097" y="0"/>
                </a:lnTo>
                <a:lnTo>
                  <a:pt x="9458929" y="0"/>
                </a:lnTo>
                <a:lnTo>
                  <a:pt x="11149091" y="0"/>
                </a:lnTo>
                <a:lnTo>
                  <a:pt x="14782526" y="0"/>
                </a:lnTo>
                <a:lnTo>
                  <a:pt x="14782526" y="9245313"/>
                </a:lnTo>
                <a:lnTo>
                  <a:pt x="14782526" y="9245306"/>
                </a:lnTo>
                <a:lnTo>
                  <a:pt x="14782526" y="13717588"/>
                </a:lnTo>
                <a:lnTo>
                  <a:pt x="14782526" y="13717588"/>
                </a:lnTo>
                <a:lnTo>
                  <a:pt x="13477898" y="13717588"/>
                </a:lnTo>
                <a:lnTo>
                  <a:pt x="7228215" y="13717588"/>
                </a:lnTo>
                <a:lnTo>
                  <a:pt x="5167162" y="13717588"/>
                </a:lnTo>
                <a:lnTo>
                  <a:pt x="5033707" y="13717588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81453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7181453" y="2601004"/>
            <a:ext cx="4215165" cy="295198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C7C8F354-4A2C-3F49-8E8D-9A74D5D50519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06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/>
          <p:bldP spid="15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/>
          <p:bldP spid="15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alysi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Рисунок 23"/>
          <p:cNvSpPr>
            <a:spLocks noGrp="1"/>
          </p:cNvSpPr>
          <p:nvPr>
            <p:ph type="pic" sz="quarter" idx="25"/>
          </p:nvPr>
        </p:nvSpPr>
        <p:spPr>
          <a:xfrm>
            <a:off x="5196017" y="-98984"/>
            <a:ext cx="6995984" cy="7055967"/>
          </a:xfrm>
          <a:custGeom>
            <a:avLst/>
            <a:gdLst>
              <a:gd name="connsiteX0" fmla="*/ 6996893 w 13993789"/>
              <a:gd name="connsiteY0" fmla="*/ 0 h 14113568"/>
              <a:gd name="connsiteX1" fmla="*/ 8407013 w 13993789"/>
              <a:gd name="connsiteY1" fmla="*/ 143369 h 14113568"/>
              <a:gd name="connsiteX2" fmla="*/ 8641665 w 13993789"/>
              <a:gd name="connsiteY2" fmla="*/ 197990 h 14113568"/>
              <a:gd name="connsiteX3" fmla="*/ 13993787 w 13993789"/>
              <a:gd name="connsiteY3" fmla="*/ 197990 h 14113568"/>
              <a:gd name="connsiteX4" fmla="*/ 13993787 w 13993789"/>
              <a:gd name="connsiteY4" fmla="*/ 7056701 h 14113568"/>
              <a:gd name="connsiteX5" fmla="*/ 13993789 w 13993789"/>
              <a:gd name="connsiteY5" fmla="*/ 7056784 h 14113568"/>
              <a:gd name="connsiteX6" fmla="*/ 13993787 w 13993789"/>
              <a:gd name="connsiteY6" fmla="*/ 7056867 h 14113568"/>
              <a:gd name="connsiteX7" fmla="*/ 13993787 w 13993789"/>
              <a:gd name="connsiteY7" fmla="*/ 13915578 h 14113568"/>
              <a:gd name="connsiteX8" fmla="*/ 8641667 w 13993789"/>
              <a:gd name="connsiteY8" fmla="*/ 13915578 h 14113568"/>
              <a:gd name="connsiteX9" fmla="*/ 8407013 w 13993789"/>
              <a:gd name="connsiteY9" fmla="*/ 13970199 h 14113568"/>
              <a:gd name="connsiteX10" fmla="*/ 6996893 w 13993789"/>
              <a:gd name="connsiteY10" fmla="*/ 14113568 h 14113568"/>
              <a:gd name="connsiteX11" fmla="*/ 0 w 13993789"/>
              <a:gd name="connsiteY11" fmla="*/ 7056784 h 14113568"/>
              <a:gd name="connsiteX12" fmla="*/ 6996893 w 13993789"/>
              <a:gd name="connsiteY12" fmla="*/ 0 h 14113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3993789" h="14113568">
                <a:moveTo>
                  <a:pt x="6996893" y="0"/>
                </a:moveTo>
                <a:cubicBezTo>
                  <a:pt x="7479929" y="0"/>
                  <a:pt x="7951531" y="49366"/>
                  <a:pt x="8407013" y="143369"/>
                </a:cubicBezTo>
                <a:lnTo>
                  <a:pt x="8641665" y="197990"/>
                </a:lnTo>
                <a:lnTo>
                  <a:pt x="13993787" y="197990"/>
                </a:lnTo>
                <a:lnTo>
                  <a:pt x="13993787" y="7056701"/>
                </a:lnTo>
                <a:lnTo>
                  <a:pt x="13993789" y="7056784"/>
                </a:lnTo>
                <a:lnTo>
                  <a:pt x="13993787" y="7056867"/>
                </a:lnTo>
                <a:lnTo>
                  <a:pt x="13993787" y="13915578"/>
                </a:lnTo>
                <a:lnTo>
                  <a:pt x="8641667" y="13915578"/>
                </a:lnTo>
                <a:lnTo>
                  <a:pt x="8407013" y="13970199"/>
                </a:lnTo>
                <a:cubicBezTo>
                  <a:pt x="7951531" y="14064202"/>
                  <a:pt x="7479929" y="14113568"/>
                  <a:pt x="6996893" y="14113568"/>
                </a:cubicBezTo>
                <a:cubicBezTo>
                  <a:pt x="3132616" y="14113568"/>
                  <a:pt x="0" y="10954138"/>
                  <a:pt x="0" y="7056784"/>
                </a:cubicBezTo>
                <a:cubicBezTo>
                  <a:pt x="0" y="3159430"/>
                  <a:pt x="3132616" y="0"/>
                  <a:pt x="6996893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02499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13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13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alysi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/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5880004" cy="6858000"/>
          </a:xfrm>
          <a:custGeom>
            <a:avLst/>
            <a:gdLst>
              <a:gd name="connsiteX0" fmla="*/ 0 w 11761540"/>
              <a:gd name="connsiteY0" fmla="*/ 0 h 13717588"/>
              <a:gd name="connsiteX1" fmla="*/ 44667 w 11761540"/>
              <a:gd name="connsiteY1" fmla="*/ 0 h 13717588"/>
              <a:gd name="connsiteX2" fmla="*/ 11761540 w 11761540"/>
              <a:gd name="connsiteY2" fmla="*/ 0 h 13717588"/>
              <a:gd name="connsiteX3" fmla="*/ 11761540 w 11761540"/>
              <a:gd name="connsiteY3" fmla="*/ 35494 h 13717588"/>
              <a:gd name="connsiteX4" fmla="*/ 11761540 w 11761540"/>
              <a:gd name="connsiteY4" fmla="*/ 2173939 h 13717588"/>
              <a:gd name="connsiteX5" fmla="*/ 7246146 w 11761540"/>
              <a:gd name="connsiteY5" fmla="*/ 2173939 h 13717588"/>
              <a:gd name="connsiteX6" fmla="*/ 7246146 w 11761540"/>
              <a:gd name="connsiteY6" fmla="*/ 13717588 h 13717588"/>
              <a:gd name="connsiteX7" fmla="*/ 4560064 w 11761540"/>
              <a:gd name="connsiteY7" fmla="*/ 13717588 h 13717588"/>
              <a:gd name="connsiteX8" fmla="*/ 0 w 11761540"/>
              <a:gd name="connsiteY8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61540" h="13717588">
                <a:moveTo>
                  <a:pt x="0" y="0"/>
                </a:moveTo>
                <a:lnTo>
                  <a:pt x="44667" y="0"/>
                </a:lnTo>
                <a:lnTo>
                  <a:pt x="11761540" y="0"/>
                </a:lnTo>
                <a:lnTo>
                  <a:pt x="11761540" y="35494"/>
                </a:lnTo>
                <a:cubicBezTo>
                  <a:pt x="11761540" y="340987"/>
                  <a:pt x="11761540" y="951971"/>
                  <a:pt x="11761540" y="2173939"/>
                </a:cubicBezTo>
                <a:cubicBezTo>
                  <a:pt x="11761540" y="2173939"/>
                  <a:pt x="11761540" y="2173939"/>
                  <a:pt x="7246146" y="2173939"/>
                </a:cubicBezTo>
                <a:lnTo>
                  <a:pt x="7246146" y="13717588"/>
                </a:lnTo>
                <a:lnTo>
                  <a:pt x="4560064" y="13717588"/>
                </a:lnTo>
                <a:lnTo>
                  <a:pt x="0" y="13717588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81453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7181453" y="2601004"/>
            <a:ext cx="4215165" cy="295198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1E63912D-DB77-2F4C-BF3C-0E94254B9D5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517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/>
          <p:bldP spid="15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/>
          <p:bldP spid="15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11">
            <a:extLst>
              <a:ext uri="{FF2B5EF4-FFF2-40B4-BE49-F238E27FC236}">
                <a16:creationId xmlns:a16="http://schemas.microsoft.com/office/drawing/2014/main" id="{6F8B1662-AAB6-1747-9740-CDB6A5066402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tx2">
                <a:lumMod val="50000"/>
                <a:lumOff val="50000"/>
              </a:schemeClr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Заголовок 3">
            <a:extLst>
              <a:ext uri="{FF2B5EF4-FFF2-40B4-BE49-F238E27FC236}">
                <a16:creationId xmlns:a16="http://schemas.microsoft.com/office/drawing/2014/main" id="{42956CC0-0D41-6243-A4C8-4F4234499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856" y="1521009"/>
            <a:ext cx="7239107" cy="1006232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" sz="6899" dirty="0">
                <a:solidFill>
                  <a:schemeClr val="bg1"/>
                </a:solidFill>
              </a:rPr>
              <a:t>STRENGTHS</a:t>
            </a:r>
            <a:endParaRPr lang="ru-RU" sz="4799" dirty="0">
              <a:solidFill>
                <a:schemeClr val="bg1"/>
              </a:solidFill>
            </a:endParaRPr>
          </a:p>
        </p:txBody>
      </p:sp>
      <p:sp>
        <p:nvSpPr>
          <p:cNvPr id="6" name="Текст 4">
            <a:extLst>
              <a:ext uri="{FF2B5EF4-FFF2-40B4-BE49-F238E27FC236}">
                <a16:creationId xmlns:a16="http://schemas.microsoft.com/office/drawing/2014/main" id="{14A3F471-7430-884F-AE5A-85F760705C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0856" y="3085476"/>
            <a:ext cx="3914086" cy="22875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None/>
              <a:defRPr/>
            </a:lvl1pPr>
          </a:lstStyle>
          <a:p>
            <a:pPr marL="0" indent="0">
              <a:lnSpc>
                <a:spcPct val="150000"/>
              </a:lnSpc>
              <a:buNone/>
            </a:pPr>
            <a:r>
              <a:rPr lang="en-US" sz="1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n an unknown printer took galley of type and scrambled it to make a type specimen When an unknown printer took galley of type and scrambled it to make 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EFBF7C61-F5DC-F848-86C6-155E3E5694D8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7192501" y="0"/>
            <a:ext cx="4999499" cy="6858000"/>
          </a:xfrm>
          <a:custGeom>
            <a:avLst/>
            <a:gdLst>
              <a:gd name="connsiteX0" fmla="*/ 3586216 w 10000300"/>
              <a:gd name="connsiteY0" fmla="*/ 0 h 13717588"/>
              <a:gd name="connsiteX1" fmla="*/ 8387846 w 10000300"/>
              <a:gd name="connsiteY1" fmla="*/ 0 h 13717588"/>
              <a:gd name="connsiteX2" fmla="*/ 8806854 w 10000300"/>
              <a:gd name="connsiteY2" fmla="*/ 96481 h 13717588"/>
              <a:gd name="connsiteX3" fmla="*/ 9894396 w 10000300"/>
              <a:gd name="connsiteY3" fmla="*/ 436735 h 13717588"/>
              <a:gd name="connsiteX4" fmla="*/ 10000300 w 10000300"/>
              <a:gd name="connsiteY4" fmla="*/ 478603 h 13717588"/>
              <a:gd name="connsiteX5" fmla="*/ 10000300 w 10000300"/>
              <a:gd name="connsiteY5" fmla="*/ 3696168 h 13717588"/>
              <a:gd name="connsiteX6" fmla="*/ 9890642 w 10000300"/>
              <a:gd name="connsiteY6" fmla="*/ 3606092 h 13717588"/>
              <a:gd name="connsiteX7" fmla="*/ 8213836 w 10000300"/>
              <a:gd name="connsiteY7" fmla="*/ 2658082 h 13717588"/>
              <a:gd name="connsiteX8" fmla="*/ 5957420 w 10000300"/>
              <a:gd name="connsiteY8" fmla="*/ 2216350 h 13717588"/>
              <a:gd name="connsiteX9" fmla="*/ 5145586 w 10000300"/>
              <a:gd name="connsiteY9" fmla="*/ 2276043 h 13717588"/>
              <a:gd name="connsiteX10" fmla="*/ 4393448 w 10000300"/>
              <a:gd name="connsiteY10" fmla="*/ 2526757 h 13717588"/>
              <a:gd name="connsiteX11" fmla="*/ 3832328 w 10000300"/>
              <a:gd name="connsiteY11" fmla="*/ 2956550 h 13717588"/>
              <a:gd name="connsiteX12" fmla="*/ 3605492 w 10000300"/>
              <a:gd name="connsiteY12" fmla="*/ 3613180 h 13717588"/>
              <a:gd name="connsiteX13" fmla="*/ 3975592 w 10000300"/>
              <a:gd name="connsiteY13" fmla="*/ 4448891 h 13717588"/>
              <a:gd name="connsiteX14" fmla="*/ 5420176 w 10000300"/>
              <a:gd name="connsiteY14" fmla="*/ 4998072 h 13717588"/>
              <a:gd name="connsiteX15" fmla="*/ 6745374 w 10000300"/>
              <a:gd name="connsiteY15" fmla="*/ 5308478 h 13717588"/>
              <a:gd name="connsiteX16" fmla="*/ 8118326 w 10000300"/>
              <a:gd name="connsiteY16" fmla="*/ 5714395 h 13717588"/>
              <a:gd name="connsiteX17" fmla="*/ 9842538 w 10000300"/>
              <a:gd name="connsiteY17" fmla="*/ 6683110 h 13717588"/>
              <a:gd name="connsiteX18" fmla="*/ 10000300 w 10000300"/>
              <a:gd name="connsiteY18" fmla="*/ 6837701 h 13717588"/>
              <a:gd name="connsiteX19" fmla="*/ 10000300 w 10000300"/>
              <a:gd name="connsiteY19" fmla="*/ 12038090 h 13717588"/>
              <a:gd name="connsiteX20" fmla="*/ 9871872 w 10000300"/>
              <a:gd name="connsiteY20" fmla="*/ 12182413 h 13717588"/>
              <a:gd name="connsiteX21" fmla="*/ 9324136 w 10000300"/>
              <a:gd name="connsiteY21" fmla="*/ 12674667 h 13717588"/>
              <a:gd name="connsiteX22" fmla="*/ 7157514 w 10000300"/>
              <a:gd name="connsiteY22" fmla="*/ 13688292 h 13717588"/>
              <a:gd name="connsiteX23" fmla="*/ 7026508 w 10000300"/>
              <a:gd name="connsiteY23" fmla="*/ 13717588 h 13717588"/>
              <a:gd name="connsiteX24" fmla="*/ 2663628 w 10000300"/>
              <a:gd name="connsiteY24" fmla="*/ 13717588 h 13717588"/>
              <a:gd name="connsiteX25" fmla="*/ 2522240 w 10000300"/>
              <a:gd name="connsiteY25" fmla="*/ 13689434 h 13717588"/>
              <a:gd name="connsiteX26" fmla="*/ 2220601 w 10000300"/>
              <a:gd name="connsiteY26" fmla="*/ 13617825 h 13717588"/>
              <a:gd name="connsiteX27" fmla="*/ 0 w 10000300"/>
              <a:gd name="connsiteY27" fmla="*/ 12865686 h 13717588"/>
              <a:gd name="connsiteX28" fmla="*/ 0 w 10000300"/>
              <a:gd name="connsiteY28" fmla="*/ 9606416 h 13717588"/>
              <a:gd name="connsiteX29" fmla="*/ 310407 w 10000300"/>
              <a:gd name="connsiteY29" fmla="*/ 9606416 h 13717588"/>
              <a:gd name="connsiteX30" fmla="*/ 2590702 w 10000300"/>
              <a:gd name="connsiteY30" fmla="*/ 10943553 h 13717588"/>
              <a:gd name="connsiteX31" fmla="*/ 5002322 w 10000300"/>
              <a:gd name="connsiteY31" fmla="*/ 11421101 h 13717588"/>
              <a:gd name="connsiteX32" fmla="*/ 5778338 w 10000300"/>
              <a:gd name="connsiteY32" fmla="*/ 11349469 h 13717588"/>
              <a:gd name="connsiteX33" fmla="*/ 6554354 w 10000300"/>
              <a:gd name="connsiteY33" fmla="*/ 11146511 h 13717588"/>
              <a:gd name="connsiteX34" fmla="*/ 7163228 w 10000300"/>
              <a:gd name="connsiteY34" fmla="*/ 10716717 h 13717588"/>
              <a:gd name="connsiteX35" fmla="*/ 7413942 w 10000300"/>
              <a:gd name="connsiteY35" fmla="*/ 9976516 h 13717588"/>
              <a:gd name="connsiteX36" fmla="*/ 7008026 w 10000300"/>
              <a:gd name="connsiteY36" fmla="*/ 9140806 h 13717588"/>
              <a:gd name="connsiteX37" fmla="*/ 6040990 w 10000300"/>
              <a:gd name="connsiteY37" fmla="*/ 8663257 h 13717588"/>
              <a:gd name="connsiteX38" fmla="*/ 4548650 w 10000300"/>
              <a:gd name="connsiteY38" fmla="*/ 8317035 h 13717588"/>
              <a:gd name="connsiteX39" fmla="*/ 3056312 w 10000300"/>
              <a:gd name="connsiteY39" fmla="*/ 7911118 h 13717588"/>
              <a:gd name="connsiteX40" fmla="*/ 776016 w 10000300"/>
              <a:gd name="connsiteY40" fmla="*/ 6394901 h 13717588"/>
              <a:gd name="connsiteX41" fmla="*/ 83571 w 10000300"/>
              <a:gd name="connsiteY41" fmla="*/ 4019096 h 13717588"/>
              <a:gd name="connsiteX42" fmla="*/ 1719175 w 10000300"/>
              <a:gd name="connsiteY42" fmla="*/ 903091 h 13717588"/>
              <a:gd name="connsiteX43" fmla="*/ 3547290 w 10000300"/>
              <a:gd name="connsiteY43" fmla="*/ 10672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0000300" h="13717588">
                <a:moveTo>
                  <a:pt x="3586216" y="0"/>
                </a:moveTo>
                <a:lnTo>
                  <a:pt x="8387846" y="0"/>
                </a:lnTo>
                <a:lnTo>
                  <a:pt x="8806854" y="96481"/>
                </a:lnTo>
                <a:cubicBezTo>
                  <a:pt x="9191504" y="194976"/>
                  <a:pt x="9554516" y="308394"/>
                  <a:pt x="9894396" y="436735"/>
                </a:cubicBezTo>
                <a:lnTo>
                  <a:pt x="10000300" y="478603"/>
                </a:lnTo>
                <a:lnTo>
                  <a:pt x="10000300" y="3696168"/>
                </a:lnTo>
                <a:lnTo>
                  <a:pt x="9890642" y="3606092"/>
                </a:lnTo>
                <a:cubicBezTo>
                  <a:pt x="9417780" y="3235245"/>
                  <a:pt x="8861510" y="2919242"/>
                  <a:pt x="8213836" y="2658082"/>
                </a:cubicBezTo>
                <a:cubicBezTo>
                  <a:pt x="7485574" y="2359614"/>
                  <a:pt x="6733436" y="2216350"/>
                  <a:pt x="5957420" y="2216350"/>
                </a:cubicBezTo>
                <a:cubicBezTo>
                  <a:pt x="5658952" y="2216350"/>
                  <a:pt x="5384360" y="2228289"/>
                  <a:pt x="5145586" y="2276043"/>
                </a:cubicBezTo>
                <a:cubicBezTo>
                  <a:pt x="4906812" y="2323798"/>
                  <a:pt x="4656100" y="2395431"/>
                  <a:pt x="4393448" y="2526757"/>
                </a:cubicBezTo>
                <a:cubicBezTo>
                  <a:pt x="4178550" y="2622266"/>
                  <a:pt x="3987530" y="2765531"/>
                  <a:pt x="3832328" y="2956550"/>
                </a:cubicBezTo>
                <a:cubicBezTo>
                  <a:pt x="3677124" y="3159509"/>
                  <a:pt x="3605492" y="3374405"/>
                  <a:pt x="3605492" y="3613180"/>
                </a:cubicBezTo>
                <a:cubicBezTo>
                  <a:pt x="3605492" y="3959403"/>
                  <a:pt x="3724880" y="4233994"/>
                  <a:pt x="3975592" y="4448891"/>
                </a:cubicBezTo>
                <a:cubicBezTo>
                  <a:pt x="4226304" y="4651848"/>
                  <a:pt x="4703854" y="4830930"/>
                  <a:pt x="5420176" y="4998072"/>
                </a:cubicBezTo>
                <a:cubicBezTo>
                  <a:pt x="5873848" y="5105520"/>
                  <a:pt x="6315580" y="5201029"/>
                  <a:pt x="6745374" y="5308478"/>
                </a:cubicBezTo>
                <a:cubicBezTo>
                  <a:pt x="7175168" y="5403987"/>
                  <a:pt x="7628840" y="5535314"/>
                  <a:pt x="8118326" y="5714395"/>
                </a:cubicBezTo>
                <a:cubicBezTo>
                  <a:pt x="8825694" y="5965107"/>
                  <a:pt x="9405468" y="6289691"/>
                  <a:pt x="9842538" y="6683110"/>
                </a:cubicBezTo>
                <a:lnTo>
                  <a:pt x="10000300" y="6837701"/>
                </a:lnTo>
                <a:lnTo>
                  <a:pt x="10000300" y="12038090"/>
                </a:lnTo>
                <a:lnTo>
                  <a:pt x="9871872" y="12182413"/>
                </a:lnTo>
                <a:cubicBezTo>
                  <a:pt x="9708180" y="12356099"/>
                  <a:pt x="9525602" y="12520210"/>
                  <a:pt x="9324136" y="12674667"/>
                </a:cubicBezTo>
                <a:cubicBezTo>
                  <a:pt x="8719738" y="13144754"/>
                  <a:pt x="7998240" y="13482629"/>
                  <a:pt x="7157514" y="13688292"/>
                </a:cubicBezTo>
                <a:lnTo>
                  <a:pt x="7026508" y="13717588"/>
                </a:lnTo>
                <a:lnTo>
                  <a:pt x="2663628" y="13717588"/>
                </a:lnTo>
                <a:lnTo>
                  <a:pt x="2522240" y="13689434"/>
                </a:lnTo>
                <a:cubicBezTo>
                  <a:pt x="2419642" y="13667072"/>
                  <a:pt x="2319096" y="13643195"/>
                  <a:pt x="2220601" y="13617825"/>
                </a:cubicBezTo>
                <a:cubicBezTo>
                  <a:pt x="1420707" y="13414867"/>
                  <a:pt x="680507" y="13164154"/>
                  <a:pt x="0" y="12865686"/>
                </a:cubicBezTo>
                <a:cubicBezTo>
                  <a:pt x="0" y="9606416"/>
                  <a:pt x="0" y="9606416"/>
                  <a:pt x="0" y="9606416"/>
                </a:cubicBezTo>
                <a:cubicBezTo>
                  <a:pt x="310407" y="9606416"/>
                  <a:pt x="310407" y="9606416"/>
                  <a:pt x="310407" y="9606416"/>
                </a:cubicBezTo>
                <a:cubicBezTo>
                  <a:pt x="1002852" y="10191413"/>
                  <a:pt x="1754991" y="10633146"/>
                  <a:pt x="2590702" y="10943553"/>
                </a:cubicBezTo>
                <a:cubicBezTo>
                  <a:pt x="3414472" y="11265898"/>
                  <a:pt x="4226304" y="11421101"/>
                  <a:pt x="5002322" y="11421101"/>
                </a:cubicBezTo>
                <a:cubicBezTo>
                  <a:pt x="5193340" y="11421101"/>
                  <a:pt x="5455992" y="11397224"/>
                  <a:pt x="5778338" y="11349469"/>
                </a:cubicBezTo>
                <a:cubicBezTo>
                  <a:pt x="6100684" y="11313653"/>
                  <a:pt x="6363336" y="11242020"/>
                  <a:pt x="6554354" y="11146511"/>
                </a:cubicBezTo>
                <a:cubicBezTo>
                  <a:pt x="6793128" y="11051001"/>
                  <a:pt x="6996088" y="10895798"/>
                  <a:pt x="7163228" y="10716717"/>
                </a:cubicBezTo>
                <a:cubicBezTo>
                  <a:pt x="7330372" y="10525697"/>
                  <a:pt x="7413942" y="10274984"/>
                  <a:pt x="7413942" y="9976516"/>
                </a:cubicBezTo>
                <a:cubicBezTo>
                  <a:pt x="7413942" y="9630294"/>
                  <a:pt x="7282616" y="9355703"/>
                  <a:pt x="7008026" y="9140806"/>
                </a:cubicBezTo>
                <a:cubicBezTo>
                  <a:pt x="6733436" y="8925909"/>
                  <a:pt x="6411090" y="8758767"/>
                  <a:pt x="6040990" y="8663257"/>
                </a:cubicBezTo>
                <a:cubicBezTo>
                  <a:pt x="5575380" y="8543870"/>
                  <a:pt x="5073954" y="8424483"/>
                  <a:pt x="4548650" y="8317035"/>
                </a:cubicBezTo>
                <a:cubicBezTo>
                  <a:pt x="4011408" y="8209586"/>
                  <a:pt x="3521920" y="8066322"/>
                  <a:pt x="3056312" y="7911118"/>
                </a:cubicBezTo>
                <a:cubicBezTo>
                  <a:pt x="1993765" y="7541018"/>
                  <a:pt x="1229688" y="7027653"/>
                  <a:pt x="776016" y="6394901"/>
                </a:cubicBezTo>
                <a:cubicBezTo>
                  <a:pt x="310407" y="5762150"/>
                  <a:pt x="83571" y="4974194"/>
                  <a:pt x="83571" y="4019096"/>
                </a:cubicBezTo>
                <a:cubicBezTo>
                  <a:pt x="83571" y="2741653"/>
                  <a:pt x="632752" y="1702985"/>
                  <a:pt x="1719175" y="903091"/>
                </a:cubicBezTo>
                <a:cubicBezTo>
                  <a:pt x="2262387" y="509114"/>
                  <a:pt x="2871262" y="210646"/>
                  <a:pt x="3547290" y="10672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12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1">
            <a:extLst>
              <a:ext uri="{FF2B5EF4-FFF2-40B4-BE49-F238E27FC236}">
                <a16:creationId xmlns:a16="http://schemas.microsoft.com/office/drawing/2014/main" id="{7950C400-8C2D-5A4B-8CB1-FFC1E554093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tx2">
                <a:lumMod val="50000"/>
                <a:lumOff val="50000"/>
              </a:schemeClr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ECED2C50-3E90-4940-A08B-459E9B2EBBF2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4513724" y="0"/>
            <a:ext cx="7678277" cy="6858000"/>
          </a:xfrm>
          <a:custGeom>
            <a:avLst/>
            <a:gdLst>
              <a:gd name="connsiteX0" fmla="*/ 0 w 14641861"/>
              <a:gd name="connsiteY0" fmla="*/ 0 h 13717587"/>
              <a:gd name="connsiteX1" fmla="*/ 3267413 w 14641861"/>
              <a:gd name="connsiteY1" fmla="*/ 0 h 13717587"/>
              <a:gd name="connsiteX2" fmla="*/ 5153731 w 14641861"/>
              <a:gd name="connsiteY2" fmla="*/ 9204751 h 13717587"/>
              <a:gd name="connsiteX3" fmla="*/ 7445965 w 14641861"/>
              <a:gd name="connsiteY3" fmla="*/ 0 h 13717587"/>
              <a:gd name="connsiteX4" fmla="*/ 10872377 w 14641861"/>
              <a:gd name="connsiteY4" fmla="*/ 0 h 13717587"/>
              <a:gd name="connsiteX5" fmla="*/ 13047213 w 14641861"/>
              <a:gd name="connsiteY5" fmla="*/ 9204751 h 13717587"/>
              <a:gd name="connsiteX6" fmla="*/ 14641861 w 14641861"/>
              <a:gd name="connsiteY6" fmla="*/ 1842627 h 13717587"/>
              <a:gd name="connsiteX7" fmla="*/ 14641861 w 14641861"/>
              <a:gd name="connsiteY7" fmla="*/ 13717587 h 13717587"/>
              <a:gd name="connsiteX8" fmla="*/ 11278293 w 14641861"/>
              <a:gd name="connsiteY8" fmla="*/ 13717587 h 13717587"/>
              <a:gd name="connsiteX9" fmla="*/ 9069629 w 14641861"/>
              <a:gd name="connsiteY9" fmla="*/ 5229159 h 13717587"/>
              <a:gd name="connsiteX10" fmla="*/ 6932599 w 14641861"/>
              <a:gd name="connsiteY10" fmla="*/ 13717587 h 13717587"/>
              <a:gd name="connsiteX11" fmla="*/ 3159965 w 14641861"/>
              <a:gd name="connsiteY11" fmla="*/ 13717587 h 13717587"/>
              <a:gd name="connsiteX12" fmla="*/ 0 w 14641861"/>
              <a:gd name="connsiteY12" fmla="*/ 1240612 h 13717587"/>
              <a:gd name="connsiteX0" fmla="*/ 0 w 14641861"/>
              <a:gd name="connsiteY0" fmla="*/ 0 h 13717587"/>
              <a:gd name="connsiteX1" fmla="*/ 3267413 w 14641861"/>
              <a:gd name="connsiteY1" fmla="*/ 0 h 13717587"/>
              <a:gd name="connsiteX2" fmla="*/ 5203158 w 14641861"/>
              <a:gd name="connsiteY2" fmla="*/ 6906394 h 13717587"/>
              <a:gd name="connsiteX3" fmla="*/ 7445965 w 14641861"/>
              <a:gd name="connsiteY3" fmla="*/ 0 h 13717587"/>
              <a:gd name="connsiteX4" fmla="*/ 10872377 w 14641861"/>
              <a:gd name="connsiteY4" fmla="*/ 0 h 13717587"/>
              <a:gd name="connsiteX5" fmla="*/ 13047213 w 14641861"/>
              <a:gd name="connsiteY5" fmla="*/ 9204751 h 13717587"/>
              <a:gd name="connsiteX6" fmla="*/ 14641861 w 14641861"/>
              <a:gd name="connsiteY6" fmla="*/ 1842627 h 13717587"/>
              <a:gd name="connsiteX7" fmla="*/ 14641861 w 14641861"/>
              <a:gd name="connsiteY7" fmla="*/ 13717587 h 13717587"/>
              <a:gd name="connsiteX8" fmla="*/ 11278293 w 14641861"/>
              <a:gd name="connsiteY8" fmla="*/ 13717587 h 13717587"/>
              <a:gd name="connsiteX9" fmla="*/ 9069629 w 14641861"/>
              <a:gd name="connsiteY9" fmla="*/ 5229159 h 13717587"/>
              <a:gd name="connsiteX10" fmla="*/ 6932599 w 14641861"/>
              <a:gd name="connsiteY10" fmla="*/ 13717587 h 13717587"/>
              <a:gd name="connsiteX11" fmla="*/ 3159965 w 14641861"/>
              <a:gd name="connsiteY11" fmla="*/ 13717587 h 13717587"/>
              <a:gd name="connsiteX12" fmla="*/ 0 w 14641861"/>
              <a:gd name="connsiteY12" fmla="*/ 1240612 h 13717587"/>
              <a:gd name="connsiteX13" fmla="*/ 0 w 14641861"/>
              <a:gd name="connsiteY13" fmla="*/ 0 h 13717587"/>
              <a:gd name="connsiteX0" fmla="*/ 0 w 14641861"/>
              <a:gd name="connsiteY0" fmla="*/ 0 h 13717587"/>
              <a:gd name="connsiteX1" fmla="*/ 3267413 w 14641861"/>
              <a:gd name="connsiteY1" fmla="*/ 0 h 13717587"/>
              <a:gd name="connsiteX2" fmla="*/ 5203158 w 14641861"/>
              <a:gd name="connsiteY2" fmla="*/ 6906394 h 13717587"/>
              <a:gd name="connsiteX3" fmla="*/ 7445965 w 14641861"/>
              <a:gd name="connsiteY3" fmla="*/ 0 h 13717587"/>
              <a:gd name="connsiteX4" fmla="*/ 10872377 w 14641861"/>
              <a:gd name="connsiteY4" fmla="*/ 0 h 13717587"/>
              <a:gd name="connsiteX5" fmla="*/ 13047213 w 14641861"/>
              <a:gd name="connsiteY5" fmla="*/ 9204751 h 13717587"/>
              <a:gd name="connsiteX6" fmla="*/ 14641861 w 14641861"/>
              <a:gd name="connsiteY6" fmla="*/ 1842627 h 13717587"/>
              <a:gd name="connsiteX7" fmla="*/ 14641861 w 14641861"/>
              <a:gd name="connsiteY7" fmla="*/ 13717587 h 13717587"/>
              <a:gd name="connsiteX8" fmla="*/ 11278293 w 14641861"/>
              <a:gd name="connsiteY8" fmla="*/ 13717587 h 13717587"/>
              <a:gd name="connsiteX9" fmla="*/ 9044915 w 14641861"/>
              <a:gd name="connsiteY9" fmla="*/ 6613116 h 13717587"/>
              <a:gd name="connsiteX10" fmla="*/ 6932599 w 14641861"/>
              <a:gd name="connsiteY10" fmla="*/ 13717587 h 13717587"/>
              <a:gd name="connsiteX11" fmla="*/ 3159965 w 14641861"/>
              <a:gd name="connsiteY11" fmla="*/ 13717587 h 13717587"/>
              <a:gd name="connsiteX12" fmla="*/ 0 w 14641861"/>
              <a:gd name="connsiteY12" fmla="*/ 1240612 h 13717587"/>
              <a:gd name="connsiteX13" fmla="*/ 0 w 14641861"/>
              <a:gd name="connsiteY13" fmla="*/ 0 h 13717587"/>
              <a:gd name="connsiteX0" fmla="*/ 0 w 14641861"/>
              <a:gd name="connsiteY0" fmla="*/ 0 h 13717587"/>
              <a:gd name="connsiteX1" fmla="*/ 3267413 w 14641861"/>
              <a:gd name="connsiteY1" fmla="*/ 0 h 13717587"/>
              <a:gd name="connsiteX2" fmla="*/ 5203158 w 14641861"/>
              <a:gd name="connsiteY2" fmla="*/ 6906394 h 13717587"/>
              <a:gd name="connsiteX3" fmla="*/ 7445965 w 14641861"/>
              <a:gd name="connsiteY3" fmla="*/ 0 h 13717587"/>
              <a:gd name="connsiteX4" fmla="*/ 10872377 w 14641861"/>
              <a:gd name="connsiteY4" fmla="*/ 0 h 13717587"/>
              <a:gd name="connsiteX5" fmla="*/ 13047213 w 14641861"/>
              <a:gd name="connsiteY5" fmla="*/ 7375951 h 13717587"/>
              <a:gd name="connsiteX6" fmla="*/ 14641861 w 14641861"/>
              <a:gd name="connsiteY6" fmla="*/ 1842627 h 13717587"/>
              <a:gd name="connsiteX7" fmla="*/ 14641861 w 14641861"/>
              <a:gd name="connsiteY7" fmla="*/ 13717587 h 13717587"/>
              <a:gd name="connsiteX8" fmla="*/ 11278293 w 14641861"/>
              <a:gd name="connsiteY8" fmla="*/ 13717587 h 13717587"/>
              <a:gd name="connsiteX9" fmla="*/ 9044915 w 14641861"/>
              <a:gd name="connsiteY9" fmla="*/ 6613116 h 13717587"/>
              <a:gd name="connsiteX10" fmla="*/ 6932599 w 14641861"/>
              <a:gd name="connsiteY10" fmla="*/ 13717587 h 13717587"/>
              <a:gd name="connsiteX11" fmla="*/ 3159965 w 14641861"/>
              <a:gd name="connsiteY11" fmla="*/ 13717587 h 13717587"/>
              <a:gd name="connsiteX12" fmla="*/ 0 w 14641861"/>
              <a:gd name="connsiteY12" fmla="*/ 1240612 h 13717587"/>
              <a:gd name="connsiteX13" fmla="*/ 0 w 14641861"/>
              <a:gd name="connsiteY13" fmla="*/ 0 h 13717587"/>
              <a:gd name="connsiteX0" fmla="*/ 716692 w 15358553"/>
              <a:gd name="connsiteY0" fmla="*/ 0 h 13717587"/>
              <a:gd name="connsiteX1" fmla="*/ 3984105 w 15358553"/>
              <a:gd name="connsiteY1" fmla="*/ 0 h 13717587"/>
              <a:gd name="connsiteX2" fmla="*/ 5919850 w 15358553"/>
              <a:gd name="connsiteY2" fmla="*/ 6906394 h 13717587"/>
              <a:gd name="connsiteX3" fmla="*/ 8162657 w 15358553"/>
              <a:gd name="connsiteY3" fmla="*/ 0 h 13717587"/>
              <a:gd name="connsiteX4" fmla="*/ 11589069 w 15358553"/>
              <a:gd name="connsiteY4" fmla="*/ 0 h 13717587"/>
              <a:gd name="connsiteX5" fmla="*/ 13763905 w 15358553"/>
              <a:gd name="connsiteY5" fmla="*/ 7375951 h 13717587"/>
              <a:gd name="connsiteX6" fmla="*/ 15358553 w 15358553"/>
              <a:gd name="connsiteY6" fmla="*/ 1842627 h 13717587"/>
              <a:gd name="connsiteX7" fmla="*/ 15358553 w 15358553"/>
              <a:gd name="connsiteY7" fmla="*/ 13717587 h 13717587"/>
              <a:gd name="connsiteX8" fmla="*/ 11994985 w 15358553"/>
              <a:gd name="connsiteY8" fmla="*/ 13717587 h 13717587"/>
              <a:gd name="connsiteX9" fmla="*/ 9761607 w 15358553"/>
              <a:gd name="connsiteY9" fmla="*/ 6613116 h 13717587"/>
              <a:gd name="connsiteX10" fmla="*/ 7649291 w 15358553"/>
              <a:gd name="connsiteY10" fmla="*/ 13717587 h 13717587"/>
              <a:gd name="connsiteX11" fmla="*/ 3876657 w 15358553"/>
              <a:gd name="connsiteY11" fmla="*/ 13717587 h 13717587"/>
              <a:gd name="connsiteX12" fmla="*/ 0 w 15358553"/>
              <a:gd name="connsiteY12" fmla="*/ 4936 h 13717587"/>
              <a:gd name="connsiteX13" fmla="*/ 716692 w 15358553"/>
              <a:gd name="connsiteY13" fmla="*/ 0 h 1371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5358553" h="13717587">
                <a:moveTo>
                  <a:pt x="716692" y="0"/>
                </a:moveTo>
                <a:lnTo>
                  <a:pt x="3984105" y="0"/>
                </a:lnTo>
                <a:lnTo>
                  <a:pt x="5919850" y="6906394"/>
                </a:lnTo>
                <a:lnTo>
                  <a:pt x="8162657" y="0"/>
                </a:lnTo>
                <a:lnTo>
                  <a:pt x="11589069" y="0"/>
                </a:lnTo>
                <a:lnTo>
                  <a:pt x="13763905" y="7375951"/>
                </a:lnTo>
                <a:lnTo>
                  <a:pt x="15358553" y="1842627"/>
                </a:lnTo>
                <a:lnTo>
                  <a:pt x="15358553" y="13717587"/>
                </a:lnTo>
                <a:lnTo>
                  <a:pt x="11994985" y="13717587"/>
                </a:lnTo>
                <a:lnTo>
                  <a:pt x="9761607" y="6613116"/>
                </a:lnTo>
                <a:lnTo>
                  <a:pt x="7649291" y="13717587"/>
                </a:lnTo>
                <a:lnTo>
                  <a:pt x="3876657" y="13717587"/>
                </a:lnTo>
                <a:lnTo>
                  <a:pt x="0" y="4936"/>
                </a:lnTo>
                <a:lnTo>
                  <a:pt x="716692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5" name="Заголовок 3">
            <a:extLst>
              <a:ext uri="{FF2B5EF4-FFF2-40B4-BE49-F238E27FC236}">
                <a16:creationId xmlns:a16="http://schemas.microsoft.com/office/drawing/2014/main" id="{42956CC0-0D41-6243-A4C8-4F4234499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856" y="1521009"/>
            <a:ext cx="7239107" cy="1006232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" sz="6899" dirty="0">
                <a:solidFill>
                  <a:schemeClr val="bg1"/>
                </a:solidFill>
              </a:rPr>
              <a:t>STRENGTHS</a:t>
            </a:r>
            <a:endParaRPr lang="ru-RU" sz="4799" dirty="0">
              <a:solidFill>
                <a:schemeClr val="bg1"/>
              </a:solidFill>
            </a:endParaRPr>
          </a:p>
        </p:txBody>
      </p:sp>
      <p:sp>
        <p:nvSpPr>
          <p:cNvPr id="6" name="Текст 4">
            <a:extLst>
              <a:ext uri="{FF2B5EF4-FFF2-40B4-BE49-F238E27FC236}">
                <a16:creationId xmlns:a16="http://schemas.microsoft.com/office/drawing/2014/main" id="{14A3F471-7430-884F-AE5A-85F760705C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0856" y="3085476"/>
            <a:ext cx="3914086" cy="22875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None/>
              <a:defRPr/>
            </a:lvl1pPr>
          </a:lstStyle>
          <a:p>
            <a:pPr marL="0" indent="0">
              <a:lnSpc>
                <a:spcPct val="150000"/>
              </a:lnSpc>
              <a:buNone/>
            </a:pPr>
            <a:r>
              <a:rPr lang="en-US" sz="1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n an unknown printer took galley of type and scrambled it to make a type specimen When an unknown printer took galley of type and scrambled it to make </a:t>
            </a:r>
          </a:p>
        </p:txBody>
      </p:sp>
    </p:spTree>
    <p:extLst>
      <p:ext uri="{BB962C8B-B14F-4D97-AF65-F5344CB8AC3E}">
        <p14:creationId xmlns:p14="http://schemas.microsoft.com/office/powerpoint/2010/main" val="177697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56884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1">
            <a:extLst>
              <a:ext uri="{FF2B5EF4-FFF2-40B4-BE49-F238E27FC236}">
                <a16:creationId xmlns:a16="http://schemas.microsoft.com/office/drawing/2014/main" id="{9C8710CC-845C-6C40-9E29-B6FEBED3B25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tx2">
                <a:lumMod val="50000"/>
                <a:lumOff val="50000"/>
              </a:schemeClr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Заголовок 3">
            <a:extLst>
              <a:ext uri="{FF2B5EF4-FFF2-40B4-BE49-F238E27FC236}">
                <a16:creationId xmlns:a16="http://schemas.microsoft.com/office/drawing/2014/main" id="{42956CC0-0D41-6243-A4C8-4F4234499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856" y="1521009"/>
            <a:ext cx="7239107" cy="1006232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" sz="6899" dirty="0">
                <a:solidFill>
                  <a:schemeClr val="bg1"/>
                </a:solidFill>
              </a:rPr>
              <a:t>STRENGTHS</a:t>
            </a:r>
            <a:endParaRPr lang="ru-RU" sz="4799" dirty="0">
              <a:solidFill>
                <a:schemeClr val="bg1"/>
              </a:solidFill>
            </a:endParaRPr>
          </a:p>
        </p:txBody>
      </p:sp>
      <p:sp>
        <p:nvSpPr>
          <p:cNvPr id="6" name="Текст 4">
            <a:extLst>
              <a:ext uri="{FF2B5EF4-FFF2-40B4-BE49-F238E27FC236}">
                <a16:creationId xmlns:a16="http://schemas.microsoft.com/office/drawing/2014/main" id="{14A3F471-7430-884F-AE5A-85F760705C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0856" y="3085476"/>
            <a:ext cx="3914086" cy="22875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None/>
              <a:defRPr/>
            </a:lvl1pPr>
          </a:lstStyle>
          <a:p>
            <a:pPr marL="0" indent="0">
              <a:lnSpc>
                <a:spcPct val="150000"/>
              </a:lnSpc>
              <a:buNone/>
            </a:pPr>
            <a:r>
              <a:rPr lang="en-US" sz="1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n an unknown printer took galley of type and scrambled it to make a type specimen When an unknown printer took galley of type and scrambled it to make </a:t>
            </a:r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42D721B0-8EFB-4F43-858E-41FAC4A0121D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6454783" y="0"/>
            <a:ext cx="5737218" cy="6858000"/>
          </a:xfrm>
          <a:custGeom>
            <a:avLst/>
            <a:gdLst>
              <a:gd name="connsiteX0" fmla="*/ 6644895 w 11475931"/>
              <a:gd name="connsiteY0" fmla="*/ 2191459 h 13717588"/>
              <a:gd name="connsiteX1" fmla="*/ 3545001 w 11475931"/>
              <a:gd name="connsiteY1" fmla="*/ 6813000 h 13717588"/>
              <a:gd name="connsiteX2" fmla="*/ 6644895 w 11475931"/>
              <a:gd name="connsiteY2" fmla="*/ 11434541 h 13717588"/>
              <a:gd name="connsiteX3" fmla="*/ 9744787 w 11475931"/>
              <a:gd name="connsiteY3" fmla="*/ 6813000 h 13717588"/>
              <a:gd name="connsiteX4" fmla="*/ 6644895 w 11475931"/>
              <a:gd name="connsiteY4" fmla="*/ 2191459 h 13717588"/>
              <a:gd name="connsiteX5" fmla="*/ 3969287 w 11475931"/>
              <a:gd name="connsiteY5" fmla="*/ 0 h 13717588"/>
              <a:gd name="connsiteX6" fmla="*/ 9320501 w 11475931"/>
              <a:gd name="connsiteY6" fmla="*/ 0 h 13717588"/>
              <a:gd name="connsiteX7" fmla="*/ 9525729 w 11475931"/>
              <a:gd name="connsiteY7" fmla="*/ 103927 h 13717588"/>
              <a:gd name="connsiteX8" fmla="*/ 11343543 w 11475931"/>
              <a:gd name="connsiteY8" fmla="*/ 1549978 h 13717588"/>
              <a:gd name="connsiteX9" fmla="*/ 11475931 w 11475931"/>
              <a:gd name="connsiteY9" fmla="*/ 1705514 h 13717588"/>
              <a:gd name="connsiteX10" fmla="*/ 11475931 w 11475931"/>
              <a:gd name="connsiteY10" fmla="*/ 11920486 h 13717588"/>
              <a:gd name="connsiteX11" fmla="*/ 11343543 w 11475931"/>
              <a:gd name="connsiteY11" fmla="*/ 12076023 h 13717588"/>
              <a:gd name="connsiteX12" fmla="*/ 9231385 w 11475931"/>
              <a:gd name="connsiteY12" fmla="*/ 13671127 h 13717588"/>
              <a:gd name="connsiteX13" fmla="*/ 9126187 w 11475931"/>
              <a:gd name="connsiteY13" fmla="*/ 13717588 h 13717588"/>
              <a:gd name="connsiteX14" fmla="*/ 4163599 w 11475931"/>
              <a:gd name="connsiteY14" fmla="*/ 13717588 h 13717588"/>
              <a:gd name="connsiteX15" fmla="*/ 4058401 w 11475931"/>
              <a:gd name="connsiteY15" fmla="*/ 13671127 h 13717588"/>
              <a:gd name="connsiteX16" fmla="*/ 0 w 11475931"/>
              <a:gd name="connsiteY16" fmla="*/ 6813000 h 13717588"/>
              <a:gd name="connsiteX17" fmla="*/ 3764057 w 11475931"/>
              <a:gd name="connsiteY17" fmla="*/ 103927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1475931" h="13717588">
                <a:moveTo>
                  <a:pt x="6644895" y="2191459"/>
                </a:moveTo>
                <a:cubicBezTo>
                  <a:pt x="4932871" y="2191459"/>
                  <a:pt x="3545001" y="4260594"/>
                  <a:pt x="3545001" y="6813000"/>
                </a:cubicBezTo>
                <a:cubicBezTo>
                  <a:pt x="3545001" y="9365407"/>
                  <a:pt x="4932871" y="11434541"/>
                  <a:pt x="6644895" y="11434541"/>
                </a:cubicBezTo>
                <a:cubicBezTo>
                  <a:pt x="8356919" y="11434541"/>
                  <a:pt x="9744787" y="9365407"/>
                  <a:pt x="9744787" y="6813000"/>
                </a:cubicBezTo>
                <a:cubicBezTo>
                  <a:pt x="9744787" y="4260594"/>
                  <a:pt x="8356919" y="2191459"/>
                  <a:pt x="6644895" y="2191459"/>
                </a:cubicBezTo>
                <a:close/>
                <a:moveTo>
                  <a:pt x="3969287" y="0"/>
                </a:moveTo>
                <a:lnTo>
                  <a:pt x="9320501" y="0"/>
                </a:lnTo>
                <a:lnTo>
                  <a:pt x="9525729" y="103927"/>
                </a:lnTo>
                <a:cubicBezTo>
                  <a:pt x="10203561" y="469770"/>
                  <a:pt x="10817453" y="960698"/>
                  <a:pt x="11343543" y="1549978"/>
                </a:cubicBezTo>
                <a:lnTo>
                  <a:pt x="11475931" y="1705514"/>
                </a:lnTo>
                <a:lnTo>
                  <a:pt x="11475931" y="11920486"/>
                </a:lnTo>
                <a:lnTo>
                  <a:pt x="11343543" y="12076023"/>
                </a:lnTo>
                <a:cubicBezTo>
                  <a:pt x="10742299" y="12749485"/>
                  <a:pt x="10026369" y="13294489"/>
                  <a:pt x="9231385" y="13671127"/>
                </a:cubicBezTo>
                <a:lnTo>
                  <a:pt x="9126187" y="13717588"/>
                </a:lnTo>
                <a:lnTo>
                  <a:pt x="4163599" y="13717588"/>
                </a:lnTo>
                <a:lnTo>
                  <a:pt x="4058401" y="13671127"/>
                </a:lnTo>
                <a:cubicBezTo>
                  <a:pt x="1673449" y="12541212"/>
                  <a:pt x="0" y="9896007"/>
                  <a:pt x="0" y="6813000"/>
                </a:cubicBezTo>
                <a:cubicBezTo>
                  <a:pt x="0" y="3858452"/>
                  <a:pt x="1536900" y="1305982"/>
                  <a:pt x="3764057" y="103927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467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1">
            <a:extLst>
              <a:ext uri="{FF2B5EF4-FFF2-40B4-BE49-F238E27FC236}">
                <a16:creationId xmlns:a16="http://schemas.microsoft.com/office/drawing/2014/main" id="{444FD9EE-AD1E-4043-B5F9-0018FB4B866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tx2">
                <a:lumMod val="50000"/>
                <a:lumOff val="50000"/>
              </a:schemeClr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Заголовок 3">
            <a:extLst>
              <a:ext uri="{FF2B5EF4-FFF2-40B4-BE49-F238E27FC236}">
                <a16:creationId xmlns:a16="http://schemas.microsoft.com/office/drawing/2014/main" id="{42956CC0-0D41-6243-A4C8-4F4234499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856" y="1521009"/>
            <a:ext cx="7239107" cy="1006232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" sz="6899" dirty="0">
                <a:solidFill>
                  <a:schemeClr val="bg1"/>
                </a:solidFill>
              </a:rPr>
              <a:t>STRENGTHS</a:t>
            </a:r>
            <a:endParaRPr lang="ru-RU" sz="4799" dirty="0">
              <a:solidFill>
                <a:schemeClr val="bg1"/>
              </a:solidFill>
            </a:endParaRPr>
          </a:p>
        </p:txBody>
      </p:sp>
      <p:sp>
        <p:nvSpPr>
          <p:cNvPr id="6" name="Текст 4">
            <a:extLst>
              <a:ext uri="{FF2B5EF4-FFF2-40B4-BE49-F238E27FC236}">
                <a16:creationId xmlns:a16="http://schemas.microsoft.com/office/drawing/2014/main" id="{14A3F471-7430-884F-AE5A-85F760705C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0856" y="3085476"/>
            <a:ext cx="3914086" cy="22875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None/>
              <a:defRPr/>
            </a:lvl1pPr>
          </a:lstStyle>
          <a:p>
            <a:pPr marL="0" indent="0">
              <a:lnSpc>
                <a:spcPct val="150000"/>
              </a:lnSpc>
              <a:buNone/>
            </a:pPr>
            <a:r>
              <a:rPr lang="en-US" sz="1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n an unknown printer took galley of type and scrambled it to make a type specimen When an unknown printer took galley of type and scrambled it to make </a:t>
            </a:r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732DEA2-CCAB-1F4F-8577-54F4EC2DBBE8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7001056" y="0"/>
            <a:ext cx="5190945" cy="6858000"/>
          </a:xfrm>
          <a:custGeom>
            <a:avLst/>
            <a:gdLst>
              <a:gd name="connsiteX0" fmla="*/ 0 w 10383241"/>
              <a:gd name="connsiteY0" fmla="*/ 0 h 13717587"/>
              <a:gd name="connsiteX1" fmla="*/ 10383241 w 10383241"/>
              <a:gd name="connsiteY1" fmla="*/ 0 h 13717587"/>
              <a:gd name="connsiteX2" fmla="*/ 10383241 w 10383241"/>
              <a:gd name="connsiteY2" fmla="*/ 2614579 h 13717587"/>
              <a:gd name="connsiteX3" fmla="*/ 7499505 w 10383241"/>
              <a:gd name="connsiteY3" fmla="*/ 2614579 h 13717587"/>
              <a:gd name="connsiteX4" fmla="*/ 7499505 w 10383241"/>
              <a:gd name="connsiteY4" fmla="*/ 13717587 h 13717587"/>
              <a:gd name="connsiteX5" fmla="*/ 4047225 w 10383241"/>
              <a:gd name="connsiteY5" fmla="*/ 13717587 h 13717587"/>
              <a:gd name="connsiteX6" fmla="*/ 4047225 w 10383241"/>
              <a:gd name="connsiteY6" fmla="*/ 2614579 h 13717587"/>
              <a:gd name="connsiteX7" fmla="*/ 0 w 10383241"/>
              <a:gd name="connsiteY7" fmla="*/ 2614579 h 1371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383241" h="13717587">
                <a:moveTo>
                  <a:pt x="0" y="0"/>
                </a:moveTo>
                <a:lnTo>
                  <a:pt x="10383241" y="0"/>
                </a:lnTo>
                <a:lnTo>
                  <a:pt x="10383241" y="2614579"/>
                </a:lnTo>
                <a:lnTo>
                  <a:pt x="7499505" y="2614579"/>
                </a:lnTo>
                <a:lnTo>
                  <a:pt x="7499505" y="13717587"/>
                </a:lnTo>
                <a:lnTo>
                  <a:pt x="4047225" y="13717587"/>
                </a:lnTo>
                <a:lnTo>
                  <a:pt x="4047225" y="2614579"/>
                </a:lnTo>
                <a:lnTo>
                  <a:pt x="0" y="2614579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970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r team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5" y="585013"/>
            <a:ext cx="10595763" cy="63653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57178" y="5981995"/>
            <a:ext cx="2844800" cy="878036"/>
          </a:xfrm>
          <a:prstGeom prst="rect">
            <a:avLst/>
          </a:prstGeom>
        </p:spPr>
        <p:txBody>
          <a:bodyPr/>
          <a:lstStyle>
            <a:lvl1pPr algn="r">
              <a:defRPr lang="uk-UA" sz="6949" b="0" i="0" kern="1200" baseline="0" smtClean="0">
                <a:solidFill>
                  <a:schemeClr val="bg1">
                    <a:lumMod val="95000"/>
                  </a:schemeClr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800855" y="1737008"/>
            <a:ext cx="10595763" cy="3815982"/>
          </a:xfrm>
          <a:prstGeom prst="rect">
            <a:avLst/>
          </a:prstGeom>
        </p:spPr>
        <p:txBody>
          <a:bodyPr/>
          <a:lstStyle>
            <a:lvl1pPr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89983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12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12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dget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B63032EE-53CA-2747-BC73-563509D71F6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96086" y="2313005"/>
            <a:ext cx="2400080" cy="1813193"/>
          </a:xfrm>
          <a:custGeom>
            <a:avLst/>
            <a:gdLst>
              <a:gd name="connsiteX0" fmla="*/ 84642 w 4800785"/>
              <a:gd name="connsiteY0" fmla="*/ 0 h 3626805"/>
              <a:gd name="connsiteX1" fmla="*/ 4800785 w 4800785"/>
              <a:gd name="connsiteY1" fmla="*/ 0 h 3626805"/>
              <a:gd name="connsiteX2" fmla="*/ 4800785 w 4800785"/>
              <a:gd name="connsiteY2" fmla="*/ 3626805 h 3626805"/>
              <a:gd name="connsiteX3" fmla="*/ 0 w 4800785"/>
              <a:gd name="connsiteY3" fmla="*/ 3626805 h 3626805"/>
              <a:gd name="connsiteX4" fmla="*/ 0 w 4800785"/>
              <a:gd name="connsiteY4" fmla="*/ 85193 h 3626805"/>
              <a:gd name="connsiteX5" fmla="*/ 84642 w 4800785"/>
              <a:gd name="connsiteY5" fmla="*/ 0 h 3626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00785" h="3626805">
                <a:moveTo>
                  <a:pt x="84642" y="0"/>
                </a:moveTo>
                <a:lnTo>
                  <a:pt x="4800785" y="0"/>
                </a:lnTo>
                <a:lnTo>
                  <a:pt x="4800785" y="3626805"/>
                </a:lnTo>
                <a:lnTo>
                  <a:pt x="0" y="3626805"/>
                </a:lnTo>
                <a:lnTo>
                  <a:pt x="0" y="85193"/>
                </a:lnTo>
                <a:cubicBezTo>
                  <a:pt x="0" y="38143"/>
                  <a:pt x="37896" y="0"/>
                  <a:pt x="84642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C69AA40C-85DF-B148-A1A3-EDB300B367C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196837" y="2313005"/>
            <a:ext cx="2400080" cy="1813193"/>
          </a:xfrm>
          <a:custGeom>
            <a:avLst/>
            <a:gdLst>
              <a:gd name="connsiteX0" fmla="*/ 0 w 4800785"/>
              <a:gd name="connsiteY0" fmla="*/ 0 h 3626805"/>
              <a:gd name="connsiteX1" fmla="*/ 4716143 w 4800785"/>
              <a:gd name="connsiteY1" fmla="*/ 0 h 3626805"/>
              <a:gd name="connsiteX2" fmla="*/ 4800785 w 4800785"/>
              <a:gd name="connsiteY2" fmla="*/ 85193 h 3626805"/>
              <a:gd name="connsiteX3" fmla="*/ 4800785 w 4800785"/>
              <a:gd name="connsiteY3" fmla="*/ 3626805 h 3626805"/>
              <a:gd name="connsiteX4" fmla="*/ 0 w 4800785"/>
              <a:gd name="connsiteY4" fmla="*/ 3626805 h 3626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00785" h="3626805">
                <a:moveTo>
                  <a:pt x="0" y="0"/>
                </a:moveTo>
                <a:lnTo>
                  <a:pt x="4716143" y="0"/>
                </a:lnTo>
                <a:cubicBezTo>
                  <a:pt x="4762889" y="0"/>
                  <a:pt x="4800785" y="38143"/>
                  <a:pt x="4800785" y="85193"/>
                </a:cubicBezTo>
                <a:lnTo>
                  <a:pt x="4800785" y="3626805"/>
                </a:lnTo>
                <a:lnTo>
                  <a:pt x="0" y="3626805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3636FF99-E882-7841-8364-80253CC1C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0540" y="1917007"/>
            <a:ext cx="4031923" cy="2375989"/>
          </a:xfrm>
          <a:custGeom>
            <a:avLst/>
            <a:gdLst>
              <a:gd name="connsiteX0" fmla="*/ 110914 w 8064896"/>
              <a:gd name="connsiteY0" fmla="*/ 0 h 4752528"/>
              <a:gd name="connsiteX1" fmla="*/ 7953982 w 8064896"/>
              <a:gd name="connsiteY1" fmla="*/ 0 h 4752528"/>
              <a:gd name="connsiteX2" fmla="*/ 8064896 w 8064896"/>
              <a:gd name="connsiteY2" fmla="*/ 111636 h 4752528"/>
              <a:gd name="connsiteX3" fmla="*/ 8064896 w 8064896"/>
              <a:gd name="connsiteY3" fmla="*/ 4752528 h 4752528"/>
              <a:gd name="connsiteX4" fmla="*/ 0 w 8064896"/>
              <a:gd name="connsiteY4" fmla="*/ 4752528 h 4752528"/>
              <a:gd name="connsiteX5" fmla="*/ 0 w 8064896"/>
              <a:gd name="connsiteY5" fmla="*/ 111636 h 4752528"/>
              <a:gd name="connsiteX6" fmla="*/ 110914 w 8064896"/>
              <a:gd name="connsiteY6" fmla="*/ 0 h 4752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64896" h="4752528">
                <a:moveTo>
                  <a:pt x="110914" y="0"/>
                </a:moveTo>
                <a:lnTo>
                  <a:pt x="7953982" y="0"/>
                </a:lnTo>
                <a:cubicBezTo>
                  <a:pt x="8015238" y="0"/>
                  <a:pt x="8064896" y="49982"/>
                  <a:pt x="8064896" y="111636"/>
                </a:cubicBezTo>
                <a:lnTo>
                  <a:pt x="8064896" y="4752528"/>
                </a:lnTo>
                <a:lnTo>
                  <a:pt x="0" y="4752528"/>
                </a:lnTo>
                <a:lnTo>
                  <a:pt x="0" y="111636"/>
                </a:lnTo>
                <a:cubicBezTo>
                  <a:pt x="0" y="49982"/>
                  <a:pt x="49658" y="0"/>
                  <a:pt x="11091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5" y="513014"/>
            <a:ext cx="10595763" cy="63653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24" hasCustomPrompt="1"/>
          </p:nvPr>
        </p:nvSpPr>
        <p:spPr>
          <a:xfrm>
            <a:off x="800855" y="5012993"/>
            <a:ext cx="10595763" cy="755996"/>
          </a:xfrm>
          <a:prstGeom prst="rect">
            <a:avLst/>
          </a:prstGeom>
        </p:spPr>
        <p:txBody>
          <a:bodyPr/>
          <a:lstStyle>
            <a:lvl1pPr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953EC3EE-8B0E-EB48-8F52-32A97A8B8CBA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43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/>
          <p:bldP spid="12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/>
          <p:bldP spid="12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Gadget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3636FF99-E882-7841-8364-80253CC1C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81432" y="1917007"/>
            <a:ext cx="4031923" cy="2375989"/>
          </a:xfrm>
          <a:custGeom>
            <a:avLst/>
            <a:gdLst>
              <a:gd name="connsiteX0" fmla="*/ 110914 w 8064896"/>
              <a:gd name="connsiteY0" fmla="*/ 0 h 4752528"/>
              <a:gd name="connsiteX1" fmla="*/ 7953982 w 8064896"/>
              <a:gd name="connsiteY1" fmla="*/ 0 h 4752528"/>
              <a:gd name="connsiteX2" fmla="*/ 8064896 w 8064896"/>
              <a:gd name="connsiteY2" fmla="*/ 111636 h 4752528"/>
              <a:gd name="connsiteX3" fmla="*/ 8064896 w 8064896"/>
              <a:gd name="connsiteY3" fmla="*/ 4752528 h 4752528"/>
              <a:gd name="connsiteX4" fmla="*/ 0 w 8064896"/>
              <a:gd name="connsiteY4" fmla="*/ 4752528 h 4752528"/>
              <a:gd name="connsiteX5" fmla="*/ 0 w 8064896"/>
              <a:gd name="connsiteY5" fmla="*/ 111636 h 4752528"/>
              <a:gd name="connsiteX6" fmla="*/ 110914 w 8064896"/>
              <a:gd name="connsiteY6" fmla="*/ 0 h 4752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64896" h="4752528">
                <a:moveTo>
                  <a:pt x="110914" y="0"/>
                </a:moveTo>
                <a:lnTo>
                  <a:pt x="7953982" y="0"/>
                </a:lnTo>
                <a:cubicBezTo>
                  <a:pt x="8015238" y="0"/>
                  <a:pt x="8064896" y="49982"/>
                  <a:pt x="8064896" y="111636"/>
                </a:cubicBezTo>
                <a:lnTo>
                  <a:pt x="8064896" y="4752528"/>
                </a:lnTo>
                <a:lnTo>
                  <a:pt x="0" y="4752528"/>
                </a:lnTo>
                <a:lnTo>
                  <a:pt x="0" y="111636"/>
                </a:lnTo>
                <a:cubicBezTo>
                  <a:pt x="0" y="49982"/>
                  <a:pt x="49658" y="0"/>
                  <a:pt x="11091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5" y="513014"/>
            <a:ext cx="10595763" cy="63653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24" hasCustomPrompt="1"/>
          </p:nvPr>
        </p:nvSpPr>
        <p:spPr>
          <a:xfrm>
            <a:off x="800855" y="5588990"/>
            <a:ext cx="10595763" cy="755996"/>
          </a:xfrm>
          <a:prstGeom prst="rect">
            <a:avLst/>
          </a:prstGeom>
        </p:spPr>
        <p:txBody>
          <a:bodyPr/>
          <a:lstStyle>
            <a:lvl1pPr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953EC3EE-8B0E-EB48-8F52-32A97A8B8CBA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A2D38010-93CC-5044-A23F-98D33D90921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934863" y="1616252"/>
            <a:ext cx="3179148" cy="2989528"/>
          </a:xfrm>
          <a:custGeom>
            <a:avLst/>
            <a:gdLst>
              <a:gd name="connsiteX0" fmla="*/ 0 w 7081019"/>
              <a:gd name="connsiteY0" fmla="*/ 0 h 4055377"/>
              <a:gd name="connsiteX1" fmla="*/ 7081019 w 7081019"/>
              <a:gd name="connsiteY1" fmla="*/ 0 h 4055377"/>
              <a:gd name="connsiteX2" fmla="*/ 7081019 w 7081019"/>
              <a:gd name="connsiteY2" fmla="*/ 4055377 h 4055377"/>
              <a:gd name="connsiteX3" fmla="*/ 0 w 7081019"/>
              <a:gd name="connsiteY3" fmla="*/ 4055377 h 4055377"/>
              <a:gd name="connsiteX0" fmla="*/ 0 w 7081019"/>
              <a:gd name="connsiteY0" fmla="*/ 513333 h 4568710"/>
              <a:gd name="connsiteX1" fmla="*/ 6359124 w 7081019"/>
              <a:gd name="connsiteY1" fmla="*/ 0 h 4568710"/>
              <a:gd name="connsiteX2" fmla="*/ 7081019 w 7081019"/>
              <a:gd name="connsiteY2" fmla="*/ 4568710 h 4568710"/>
              <a:gd name="connsiteX3" fmla="*/ 0 w 7081019"/>
              <a:gd name="connsiteY3" fmla="*/ 4568710 h 4568710"/>
              <a:gd name="connsiteX4" fmla="*/ 0 w 7081019"/>
              <a:gd name="connsiteY4" fmla="*/ 513333 h 4568710"/>
              <a:gd name="connsiteX0" fmla="*/ 0 w 6359124"/>
              <a:gd name="connsiteY0" fmla="*/ 513333 h 5102576"/>
              <a:gd name="connsiteX1" fmla="*/ 6359124 w 6359124"/>
              <a:gd name="connsiteY1" fmla="*/ 0 h 5102576"/>
              <a:gd name="connsiteX2" fmla="*/ 5781609 w 6359124"/>
              <a:gd name="connsiteY2" fmla="*/ 5102576 h 5102576"/>
              <a:gd name="connsiteX3" fmla="*/ 0 w 6359124"/>
              <a:gd name="connsiteY3" fmla="*/ 4568710 h 5102576"/>
              <a:gd name="connsiteX4" fmla="*/ 0 w 6359124"/>
              <a:gd name="connsiteY4" fmla="*/ 513333 h 5102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9124" h="5102576">
                <a:moveTo>
                  <a:pt x="0" y="513333"/>
                </a:moveTo>
                <a:lnTo>
                  <a:pt x="6359124" y="0"/>
                </a:lnTo>
                <a:lnTo>
                  <a:pt x="5781609" y="5102576"/>
                </a:lnTo>
                <a:lnTo>
                  <a:pt x="0" y="4568710"/>
                </a:lnTo>
                <a:lnTo>
                  <a:pt x="0" y="513333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4F9996F9-9A00-B644-A23E-906AC8098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 rot="10800000">
            <a:off x="7776759" y="1611671"/>
            <a:ext cx="2914488" cy="2989528"/>
          </a:xfrm>
          <a:custGeom>
            <a:avLst/>
            <a:gdLst>
              <a:gd name="connsiteX0" fmla="*/ 0 w 7081019"/>
              <a:gd name="connsiteY0" fmla="*/ 0 h 4055377"/>
              <a:gd name="connsiteX1" fmla="*/ 7081019 w 7081019"/>
              <a:gd name="connsiteY1" fmla="*/ 0 h 4055377"/>
              <a:gd name="connsiteX2" fmla="*/ 7081019 w 7081019"/>
              <a:gd name="connsiteY2" fmla="*/ 4055377 h 4055377"/>
              <a:gd name="connsiteX3" fmla="*/ 0 w 7081019"/>
              <a:gd name="connsiteY3" fmla="*/ 4055377 h 4055377"/>
              <a:gd name="connsiteX0" fmla="*/ 0 w 7081019"/>
              <a:gd name="connsiteY0" fmla="*/ 513333 h 4568710"/>
              <a:gd name="connsiteX1" fmla="*/ 6359124 w 7081019"/>
              <a:gd name="connsiteY1" fmla="*/ 0 h 4568710"/>
              <a:gd name="connsiteX2" fmla="*/ 7081019 w 7081019"/>
              <a:gd name="connsiteY2" fmla="*/ 4568710 h 4568710"/>
              <a:gd name="connsiteX3" fmla="*/ 0 w 7081019"/>
              <a:gd name="connsiteY3" fmla="*/ 4568710 h 4568710"/>
              <a:gd name="connsiteX4" fmla="*/ 0 w 7081019"/>
              <a:gd name="connsiteY4" fmla="*/ 513333 h 4568710"/>
              <a:gd name="connsiteX0" fmla="*/ 0 w 6359124"/>
              <a:gd name="connsiteY0" fmla="*/ 513333 h 5102576"/>
              <a:gd name="connsiteX1" fmla="*/ 6359124 w 6359124"/>
              <a:gd name="connsiteY1" fmla="*/ 0 h 5102576"/>
              <a:gd name="connsiteX2" fmla="*/ 5781609 w 6359124"/>
              <a:gd name="connsiteY2" fmla="*/ 5102576 h 5102576"/>
              <a:gd name="connsiteX3" fmla="*/ 0 w 6359124"/>
              <a:gd name="connsiteY3" fmla="*/ 4568710 h 5102576"/>
              <a:gd name="connsiteX4" fmla="*/ 0 w 6359124"/>
              <a:gd name="connsiteY4" fmla="*/ 513333 h 5102576"/>
              <a:gd name="connsiteX0" fmla="*/ 0 w 6359124"/>
              <a:gd name="connsiteY0" fmla="*/ 513333 h 5102576"/>
              <a:gd name="connsiteX1" fmla="*/ 6359124 w 6359124"/>
              <a:gd name="connsiteY1" fmla="*/ 0 h 5102576"/>
              <a:gd name="connsiteX2" fmla="*/ 5781609 w 6359124"/>
              <a:gd name="connsiteY2" fmla="*/ 5102576 h 5102576"/>
              <a:gd name="connsiteX3" fmla="*/ 649705 w 6359124"/>
              <a:gd name="connsiteY3" fmla="*/ 4424977 h 5102576"/>
              <a:gd name="connsiteX4" fmla="*/ 0 w 6359124"/>
              <a:gd name="connsiteY4" fmla="*/ 513333 h 5102576"/>
              <a:gd name="connsiteX0" fmla="*/ 0 w 6286934"/>
              <a:gd name="connsiteY0" fmla="*/ 718667 h 5102576"/>
              <a:gd name="connsiteX1" fmla="*/ 6286934 w 6286934"/>
              <a:gd name="connsiteY1" fmla="*/ 0 h 5102576"/>
              <a:gd name="connsiteX2" fmla="*/ 5709419 w 6286934"/>
              <a:gd name="connsiteY2" fmla="*/ 5102576 h 5102576"/>
              <a:gd name="connsiteX3" fmla="*/ 577515 w 6286934"/>
              <a:gd name="connsiteY3" fmla="*/ 4424977 h 5102576"/>
              <a:gd name="connsiteX4" fmla="*/ 0 w 6286934"/>
              <a:gd name="connsiteY4" fmla="*/ 718667 h 5102576"/>
              <a:gd name="connsiteX0" fmla="*/ 0 w 6286934"/>
              <a:gd name="connsiteY0" fmla="*/ 718667 h 5102576"/>
              <a:gd name="connsiteX1" fmla="*/ 6286934 w 6286934"/>
              <a:gd name="connsiteY1" fmla="*/ 0 h 5102576"/>
              <a:gd name="connsiteX2" fmla="*/ 5709419 w 6286934"/>
              <a:gd name="connsiteY2" fmla="*/ 5102576 h 5102576"/>
              <a:gd name="connsiteX3" fmla="*/ 1106905 w 6286934"/>
              <a:gd name="connsiteY3" fmla="*/ 4486577 h 5102576"/>
              <a:gd name="connsiteX4" fmla="*/ 0 w 6286934"/>
              <a:gd name="connsiteY4" fmla="*/ 718667 h 5102576"/>
              <a:gd name="connsiteX0" fmla="*/ 0 w 5829734"/>
              <a:gd name="connsiteY0" fmla="*/ 595467 h 5102576"/>
              <a:gd name="connsiteX1" fmla="*/ 5829734 w 5829734"/>
              <a:gd name="connsiteY1" fmla="*/ 0 h 5102576"/>
              <a:gd name="connsiteX2" fmla="*/ 5252219 w 5829734"/>
              <a:gd name="connsiteY2" fmla="*/ 5102576 h 5102576"/>
              <a:gd name="connsiteX3" fmla="*/ 649705 w 5829734"/>
              <a:gd name="connsiteY3" fmla="*/ 4486577 h 5102576"/>
              <a:gd name="connsiteX4" fmla="*/ 0 w 5829734"/>
              <a:gd name="connsiteY4" fmla="*/ 595467 h 5102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29734" h="5102576">
                <a:moveTo>
                  <a:pt x="0" y="595467"/>
                </a:moveTo>
                <a:lnTo>
                  <a:pt x="5829734" y="0"/>
                </a:lnTo>
                <a:lnTo>
                  <a:pt x="5252219" y="5102576"/>
                </a:lnTo>
                <a:lnTo>
                  <a:pt x="649705" y="4486577"/>
                </a:lnTo>
                <a:lnTo>
                  <a:pt x="0" y="595467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C145779F-AF02-B947-87B3-85C51ECA546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0379918" y="1750607"/>
            <a:ext cx="1812082" cy="2729939"/>
          </a:xfrm>
          <a:custGeom>
            <a:avLst/>
            <a:gdLst>
              <a:gd name="connsiteX0" fmla="*/ 3624636 w 3624636"/>
              <a:gd name="connsiteY0" fmla="*/ 0 h 5460510"/>
              <a:gd name="connsiteX1" fmla="*/ 3624636 w 3624636"/>
              <a:gd name="connsiteY1" fmla="*/ 5460510 h 5460510"/>
              <a:gd name="connsiteX2" fmla="*/ 649704 w 3624636"/>
              <a:gd name="connsiteY2" fmla="*/ 4993899 h 5460510"/>
              <a:gd name="connsiteX3" fmla="*/ 0 w 3624636"/>
              <a:gd name="connsiteY3" fmla="*/ 433878 h 5460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4636" h="5460510">
                <a:moveTo>
                  <a:pt x="3624636" y="0"/>
                </a:moveTo>
                <a:lnTo>
                  <a:pt x="3624636" y="5460510"/>
                </a:lnTo>
                <a:lnTo>
                  <a:pt x="649704" y="4993899"/>
                </a:lnTo>
                <a:lnTo>
                  <a:pt x="0" y="433878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911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/>
          <p:bldP spid="12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/>
          <p:bldP spid="12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dge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5" y="657013"/>
            <a:ext cx="10443046" cy="68352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800855" y="5346559"/>
            <a:ext cx="10443046" cy="458430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3097C23A-76F1-D240-B30E-1E819BC0CA8C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8276B532-D2C3-5445-90BA-14287F22437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00042" y="1940938"/>
            <a:ext cx="4619042" cy="3003582"/>
          </a:xfrm>
          <a:custGeom>
            <a:avLst/>
            <a:gdLst>
              <a:gd name="connsiteX0" fmla="*/ 232204 w 9239287"/>
              <a:gd name="connsiteY0" fmla="*/ 0 h 6007859"/>
              <a:gd name="connsiteX1" fmla="*/ 9007083 w 9239287"/>
              <a:gd name="connsiteY1" fmla="*/ 0 h 6007859"/>
              <a:gd name="connsiteX2" fmla="*/ 9239287 w 9239287"/>
              <a:gd name="connsiteY2" fmla="*/ 232204 h 6007859"/>
              <a:gd name="connsiteX3" fmla="*/ 9239287 w 9239287"/>
              <a:gd name="connsiteY3" fmla="*/ 2027228 h 6007859"/>
              <a:gd name="connsiteX4" fmla="*/ 9239287 w 9239287"/>
              <a:gd name="connsiteY4" fmla="*/ 5775655 h 6007859"/>
              <a:gd name="connsiteX5" fmla="*/ 9239287 w 9239287"/>
              <a:gd name="connsiteY5" fmla="*/ 5956042 h 6007859"/>
              <a:gd name="connsiteX6" fmla="*/ 9187469 w 9239287"/>
              <a:gd name="connsiteY6" fmla="*/ 6007859 h 6007859"/>
              <a:gd name="connsiteX7" fmla="*/ 9007083 w 9239287"/>
              <a:gd name="connsiteY7" fmla="*/ 6007859 h 6007859"/>
              <a:gd name="connsiteX8" fmla="*/ 232204 w 9239287"/>
              <a:gd name="connsiteY8" fmla="*/ 6007859 h 6007859"/>
              <a:gd name="connsiteX9" fmla="*/ 51817 w 9239287"/>
              <a:gd name="connsiteY9" fmla="*/ 6007859 h 6007859"/>
              <a:gd name="connsiteX10" fmla="*/ 0 w 9239287"/>
              <a:gd name="connsiteY10" fmla="*/ 5956042 h 6007859"/>
              <a:gd name="connsiteX11" fmla="*/ 0 w 9239287"/>
              <a:gd name="connsiteY11" fmla="*/ 5775655 h 6007859"/>
              <a:gd name="connsiteX12" fmla="*/ 0 w 9239287"/>
              <a:gd name="connsiteY12" fmla="*/ 2027228 h 6007859"/>
              <a:gd name="connsiteX13" fmla="*/ 0 w 9239287"/>
              <a:gd name="connsiteY13" fmla="*/ 232204 h 6007859"/>
              <a:gd name="connsiteX14" fmla="*/ 232204 w 9239287"/>
              <a:gd name="connsiteY14" fmla="*/ 0 h 6007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239287" h="6007859">
                <a:moveTo>
                  <a:pt x="232204" y="0"/>
                </a:moveTo>
                <a:lnTo>
                  <a:pt x="9007083" y="0"/>
                </a:lnTo>
                <a:cubicBezTo>
                  <a:pt x="9135325" y="0"/>
                  <a:pt x="9239287" y="103961"/>
                  <a:pt x="9239287" y="232204"/>
                </a:cubicBezTo>
                <a:lnTo>
                  <a:pt x="9239287" y="2027228"/>
                </a:lnTo>
                <a:lnTo>
                  <a:pt x="9239287" y="5775655"/>
                </a:lnTo>
                <a:lnTo>
                  <a:pt x="9239287" y="5956042"/>
                </a:lnTo>
                <a:cubicBezTo>
                  <a:pt x="9239287" y="5984660"/>
                  <a:pt x="9216089" y="6007859"/>
                  <a:pt x="9187469" y="6007859"/>
                </a:cubicBezTo>
                <a:lnTo>
                  <a:pt x="9007083" y="6007859"/>
                </a:lnTo>
                <a:lnTo>
                  <a:pt x="232204" y="6007859"/>
                </a:lnTo>
                <a:lnTo>
                  <a:pt x="51817" y="6007859"/>
                </a:lnTo>
                <a:cubicBezTo>
                  <a:pt x="23199" y="6007859"/>
                  <a:pt x="0" y="5984660"/>
                  <a:pt x="0" y="5956042"/>
                </a:cubicBezTo>
                <a:lnTo>
                  <a:pt x="0" y="5775655"/>
                </a:lnTo>
                <a:lnTo>
                  <a:pt x="0" y="2027228"/>
                </a:lnTo>
                <a:lnTo>
                  <a:pt x="0" y="232204"/>
                </a:lnTo>
                <a:cubicBezTo>
                  <a:pt x="0" y="103961"/>
                  <a:pt x="103961" y="0"/>
                  <a:pt x="23220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88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dge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5" y="657013"/>
            <a:ext cx="10443046" cy="68352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800855" y="5346559"/>
            <a:ext cx="10443046" cy="458430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3097C23A-76F1-D240-B30E-1E819BC0CA8C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26" name="Рисунок 25">
            <a:extLst>
              <a:ext uri="{FF2B5EF4-FFF2-40B4-BE49-F238E27FC236}">
                <a16:creationId xmlns:a16="http://schemas.microsoft.com/office/drawing/2014/main" id="{F1E15886-2A16-7249-B8D8-BA81DAA37F3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90660" y="2565004"/>
            <a:ext cx="6680733" cy="1784345"/>
          </a:xfrm>
          <a:custGeom>
            <a:avLst/>
            <a:gdLst>
              <a:gd name="connsiteX0" fmla="*/ 313601 w 13363206"/>
              <a:gd name="connsiteY0" fmla="*/ 0 h 3569104"/>
              <a:gd name="connsiteX1" fmla="*/ 5743554 w 13363206"/>
              <a:gd name="connsiteY1" fmla="*/ 0 h 3569104"/>
              <a:gd name="connsiteX2" fmla="*/ 7619652 w 13363206"/>
              <a:gd name="connsiteY2" fmla="*/ 0 h 3569104"/>
              <a:gd name="connsiteX3" fmla="*/ 13049605 w 13363206"/>
              <a:gd name="connsiteY3" fmla="*/ 0 h 3569104"/>
              <a:gd name="connsiteX4" fmla="*/ 13153129 w 13363206"/>
              <a:gd name="connsiteY4" fmla="*/ 9886 h 3569104"/>
              <a:gd name="connsiteX5" fmla="*/ 13363181 w 13363206"/>
              <a:gd name="connsiteY5" fmla="*/ 179701 h 3569104"/>
              <a:gd name="connsiteX6" fmla="*/ 13352365 w 13363206"/>
              <a:gd name="connsiteY6" fmla="*/ 233124 h 3569104"/>
              <a:gd name="connsiteX7" fmla="*/ 12211607 w 13363206"/>
              <a:gd name="connsiteY7" fmla="*/ 3392753 h 3569104"/>
              <a:gd name="connsiteX8" fmla="*/ 12193763 w 13363206"/>
              <a:gd name="connsiteY8" fmla="*/ 3429152 h 3569104"/>
              <a:gd name="connsiteX9" fmla="*/ 11954791 w 13363206"/>
              <a:gd name="connsiteY9" fmla="*/ 3563121 h 3569104"/>
              <a:gd name="connsiteX10" fmla="*/ 11869061 w 13363206"/>
              <a:gd name="connsiteY10" fmla="*/ 3569104 h 3569104"/>
              <a:gd name="connsiteX11" fmla="*/ 7619652 w 13363206"/>
              <a:gd name="connsiteY11" fmla="*/ 3569104 h 3569104"/>
              <a:gd name="connsiteX12" fmla="*/ 5743554 w 13363206"/>
              <a:gd name="connsiteY12" fmla="*/ 3569104 h 3569104"/>
              <a:gd name="connsiteX13" fmla="*/ 1494145 w 13363206"/>
              <a:gd name="connsiteY13" fmla="*/ 3569104 h 3569104"/>
              <a:gd name="connsiteX14" fmla="*/ 1408415 w 13363206"/>
              <a:gd name="connsiteY14" fmla="*/ 3563121 h 3569104"/>
              <a:gd name="connsiteX15" fmla="*/ 1169443 w 13363206"/>
              <a:gd name="connsiteY15" fmla="*/ 3429152 h 3569104"/>
              <a:gd name="connsiteX16" fmla="*/ 1151599 w 13363206"/>
              <a:gd name="connsiteY16" fmla="*/ 3392753 h 3569104"/>
              <a:gd name="connsiteX17" fmla="*/ 10841 w 13363206"/>
              <a:gd name="connsiteY17" fmla="*/ 233124 h 3569104"/>
              <a:gd name="connsiteX18" fmla="*/ 25 w 13363206"/>
              <a:gd name="connsiteY18" fmla="*/ 179701 h 3569104"/>
              <a:gd name="connsiteX19" fmla="*/ 210077 w 13363206"/>
              <a:gd name="connsiteY19" fmla="*/ 9886 h 3569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3363206" h="3569104">
                <a:moveTo>
                  <a:pt x="313601" y="0"/>
                </a:moveTo>
                <a:lnTo>
                  <a:pt x="5743554" y="0"/>
                </a:lnTo>
                <a:lnTo>
                  <a:pt x="7619652" y="0"/>
                </a:lnTo>
                <a:lnTo>
                  <a:pt x="13049605" y="0"/>
                </a:lnTo>
                <a:lnTo>
                  <a:pt x="13153129" y="9886"/>
                </a:lnTo>
                <a:cubicBezTo>
                  <a:pt x="13266173" y="29988"/>
                  <a:pt x="13365025" y="76959"/>
                  <a:pt x="13363181" y="179701"/>
                </a:cubicBezTo>
                <a:lnTo>
                  <a:pt x="13352365" y="233124"/>
                </a:lnTo>
                <a:lnTo>
                  <a:pt x="12211607" y="3392753"/>
                </a:lnTo>
                <a:lnTo>
                  <a:pt x="12193763" y="3429152"/>
                </a:lnTo>
                <a:cubicBezTo>
                  <a:pt x="12143451" y="3509024"/>
                  <a:pt x="12059273" y="3547326"/>
                  <a:pt x="11954791" y="3563121"/>
                </a:cubicBezTo>
                <a:lnTo>
                  <a:pt x="11869061" y="3569104"/>
                </a:lnTo>
                <a:lnTo>
                  <a:pt x="7619652" y="3569104"/>
                </a:lnTo>
                <a:lnTo>
                  <a:pt x="5743554" y="3569104"/>
                </a:lnTo>
                <a:lnTo>
                  <a:pt x="1494145" y="3569104"/>
                </a:lnTo>
                <a:lnTo>
                  <a:pt x="1408415" y="3563121"/>
                </a:lnTo>
                <a:cubicBezTo>
                  <a:pt x="1303933" y="3547326"/>
                  <a:pt x="1219755" y="3509024"/>
                  <a:pt x="1169443" y="3429152"/>
                </a:cubicBezTo>
                <a:lnTo>
                  <a:pt x="1151599" y="3392753"/>
                </a:lnTo>
                <a:lnTo>
                  <a:pt x="10841" y="233124"/>
                </a:lnTo>
                <a:lnTo>
                  <a:pt x="25" y="179701"/>
                </a:lnTo>
                <a:cubicBezTo>
                  <a:pt x="-1819" y="76959"/>
                  <a:pt x="97033" y="29988"/>
                  <a:pt x="210077" y="9886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10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adge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3097C23A-76F1-D240-B30E-1E819BC0CA8C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B3EEE69-E80F-2545-B938-3573730E15E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067981" y="1305010"/>
            <a:ext cx="5124019" cy="4120603"/>
          </a:xfrm>
          <a:custGeom>
            <a:avLst/>
            <a:gdLst>
              <a:gd name="connsiteX0" fmla="*/ 0 w 9239287"/>
              <a:gd name="connsiteY0" fmla="*/ 0 h 3738574"/>
              <a:gd name="connsiteX1" fmla="*/ 9239287 w 9239287"/>
              <a:gd name="connsiteY1" fmla="*/ 0 h 3738574"/>
              <a:gd name="connsiteX2" fmla="*/ 9239287 w 9239287"/>
              <a:gd name="connsiteY2" fmla="*/ 3506370 h 3738574"/>
              <a:gd name="connsiteX3" fmla="*/ 9239287 w 9239287"/>
              <a:gd name="connsiteY3" fmla="*/ 3686757 h 3738574"/>
              <a:gd name="connsiteX4" fmla="*/ 9187469 w 9239287"/>
              <a:gd name="connsiteY4" fmla="*/ 3738574 h 3738574"/>
              <a:gd name="connsiteX5" fmla="*/ 9007083 w 9239287"/>
              <a:gd name="connsiteY5" fmla="*/ 3738574 h 3738574"/>
              <a:gd name="connsiteX6" fmla="*/ 232205 w 9239287"/>
              <a:gd name="connsiteY6" fmla="*/ 3738574 h 3738574"/>
              <a:gd name="connsiteX7" fmla="*/ 51817 w 9239287"/>
              <a:gd name="connsiteY7" fmla="*/ 3738574 h 3738574"/>
              <a:gd name="connsiteX8" fmla="*/ 0 w 9239287"/>
              <a:gd name="connsiteY8" fmla="*/ 3686757 h 3738574"/>
              <a:gd name="connsiteX9" fmla="*/ 0 w 9239287"/>
              <a:gd name="connsiteY9" fmla="*/ 3506370 h 373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39287" h="3738574">
                <a:moveTo>
                  <a:pt x="0" y="0"/>
                </a:moveTo>
                <a:lnTo>
                  <a:pt x="9239287" y="0"/>
                </a:lnTo>
                <a:lnTo>
                  <a:pt x="9239287" y="3506370"/>
                </a:lnTo>
                <a:lnTo>
                  <a:pt x="9239287" y="3686757"/>
                </a:lnTo>
                <a:cubicBezTo>
                  <a:pt x="9239287" y="3715375"/>
                  <a:pt x="9216089" y="3738574"/>
                  <a:pt x="9187469" y="3738574"/>
                </a:cubicBezTo>
                <a:lnTo>
                  <a:pt x="9007083" y="3738574"/>
                </a:lnTo>
                <a:lnTo>
                  <a:pt x="232205" y="3738574"/>
                </a:lnTo>
                <a:lnTo>
                  <a:pt x="51817" y="3738574"/>
                </a:lnTo>
                <a:cubicBezTo>
                  <a:pt x="23199" y="3738574"/>
                  <a:pt x="0" y="3715375"/>
                  <a:pt x="0" y="3686757"/>
                </a:cubicBezTo>
                <a:lnTo>
                  <a:pt x="0" y="3506370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813D84F9-6EBF-0945-86CA-C6551DC5BD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101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5724FD71-A690-CC4C-B343-E71ADAA8BD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4101" y="2608214"/>
            <a:ext cx="4247919" cy="3341308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749751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adge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3097C23A-76F1-D240-B30E-1E819BC0CA8C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B3EEE69-E80F-2545-B938-3573730E15E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1368699"/>
            <a:ext cx="3540049" cy="4120603"/>
          </a:xfrm>
          <a:custGeom>
            <a:avLst/>
            <a:gdLst>
              <a:gd name="connsiteX0" fmla="*/ 0 w 9239287"/>
              <a:gd name="connsiteY0" fmla="*/ 0 h 3738574"/>
              <a:gd name="connsiteX1" fmla="*/ 9239287 w 9239287"/>
              <a:gd name="connsiteY1" fmla="*/ 0 h 3738574"/>
              <a:gd name="connsiteX2" fmla="*/ 9239287 w 9239287"/>
              <a:gd name="connsiteY2" fmla="*/ 3506370 h 3738574"/>
              <a:gd name="connsiteX3" fmla="*/ 9239287 w 9239287"/>
              <a:gd name="connsiteY3" fmla="*/ 3686757 h 3738574"/>
              <a:gd name="connsiteX4" fmla="*/ 9187469 w 9239287"/>
              <a:gd name="connsiteY4" fmla="*/ 3738574 h 3738574"/>
              <a:gd name="connsiteX5" fmla="*/ 9007083 w 9239287"/>
              <a:gd name="connsiteY5" fmla="*/ 3738574 h 3738574"/>
              <a:gd name="connsiteX6" fmla="*/ 232205 w 9239287"/>
              <a:gd name="connsiteY6" fmla="*/ 3738574 h 3738574"/>
              <a:gd name="connsiteX7" fmla="*/ 51817 w 9239287"/>
              <a:gd name="connsiteY7" fmla="*/ 3738574 h 3738574"/>
              <a:gd name="connsiteX8" fmla="*/ 0 w 9239287"/>
              <a:gd name="connsiteY8" fmla="*/ 3686757 h 3738574"/>
              <a:gd name="connsiteX9" fmla="*/ 0 w 9239287"/>
              <a:gd name="connsiteY9" fmla="*/ 3506370 h 373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39287" h="3738574">
                <a:moveTo>
                  <a:pt x="0" y="0"/>
                </a:moveTo>
                <a:lnTo>
                  <a:pt x="9239287" y="0"/>
                </a:lnTo>
                <a:lnTo>
                  <a:pt x="9239287" y="3506370"/>
                </a:lnTo>
                <a:lnTo>
                  <a:pt x="9239287" y="3686757"/>
                </a:lnTo>
                <a:cubicBezTo>
                  <a:pt x="9239287" y="3715375"/>
                  <a:pt x="9216089" y="3738574"/>
                  <a:pt x="9187469" y="3738574"/>
                </a:cubicBezTo>
                <a:lnTo>
                  <a:pt x="9007083" y="3738574"/>
                </a:lnTo>
                <a:lnTo>
                  <a:pt x="232205" y="3738574"/>
                </a:lnTo>
                <a:lnTo>
                  <a:pt x="51817" y="3738574"/>
                </a:lnTo>
                <a:cubicBezTo>
                  <a:pt x="23199" y="3738574"/>
                  <a:pt x="0" y="3715375"/>
                  <a:pt x="0" y="3686757"/>
                </a:cubicBezTo>
                <a:lnTo>
                  <a:pt x="0" y="3506370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id="{258A7824-0654-2A4B-877F-B133CA27E6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87950" y="1368699"/>
            <a:ext cx="2555951" cy="412060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427165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>
            <p:tmplLst>
              <p:tmpl>
                <p:tnLst>
                  <p:par>
                    <p:cTn presetID="2" presetClass="entr" presetSubtype="2" fill="hold" nodeType="with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>
            <p:tmplLst>
              <p:tmpl>
                <p:tnLst>
                  <p:par>
                    <p:cTn presetID="2" presetClass="entr" presetSubtype="2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adge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67B1F294-BDB4-2B4A-9517-52132339DCC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04051" y="1824058"/>
            <a:ext cx="4571912" cy="2972935"/>
          </a:xfrm>
          <a:custGeom>
            <a:avLst/>
            <a:gdLst>
              <a:gd name="connsiteX0" fmla="*/ 229834 w 9145015"/>
              <a:gd name="connsiteY0" fmla="*/ 0 h 5946559"/>
              <a:gd name="connsiteX1" fmla="*/ 8915180 w 9145015"/>
              <a:gd name="connsiteY1" fmla="*/ 0 h 5946559"/>
              <a:gd name="connsiteX2" fmla="*/ 9145015 w 9145015"/>
              <a:gd name="connsiteY2" fmla="*/ 229835 h 5946559"/>
              <a:gd name="connsiteX3" fmla="*/ 9145015 w 9145015"/>
              <a:gd name="connsiteY3" fmla="*/ 2006544 h 5946559"/>
              <a:gd name="connsiteX4" fmla="*/ 9145015 w 9145015"/>
              <a:gd name="connsiteY4" fmla="*/ 2304117 h 5946559"/>
              <a:gd name="connsiteX5" fmla="*/ 8605366 w 9145015"/>
              <a:gd name="connsiteY5" fmla="*/ 2304117 h 5946559"/>
              <a:gd name="connsiteX6" fmla="*/ 8367184 w 9145015"/>
              <a:gd name="connsiteY6" fmla="*/ 2542296 h 5946559"/>
              <a:gd name="connsiteX7" fmla="*/ 8367185 w 9145015"/>
              <a:gd name="connsiteY7" fmla="*/ 5946559 h 5946559"/>
              <a:gd name="connsiteX8" fmla="*/ 229834 w 9145015"/>
              <a:gd name="connsiteY8" fmla="*/ 5946559 h 5946559"/>
              <a:gd name="connsiteX9" fmla="*/ 51288 w 9145015"/>
              <a:gd name="connsiteY9" fmla="*/ 5946559 h 5946559"/>
              <a:gd name="connsiteX10" fmla="*/ 0 w 9145015"/>
              <a:gd name="connsiteY10" fmla="*/ 5895270 h 5946559"/>
              <a:gd name="connsiteX11" fmla="*/ 0 w 9145015"/>
              <a:gd name="connsiteY11" fmla="*/ 5716724 h 5946559"/>
              <a:gd name="connsiteX12" fmla="*/ 0 w 9145015"/>
              <a:gd name="connsiteY12" fmla="*/ 2006544 h 5946559"/>
              <a:gd name="connsiteX13" fmla="*/ 0 w 9145015"/>
              <a:gd name="connsiteY13" fmla="*/ 229835 h 5946559"/>
              <a:gd name="connsiteX14" fmla="*/ 229834 w 9145015"/>
              <a:gd name="connsiteY14" fmla="*/ 0 h 5946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145015" h="5946559">
                <a:moveTo>
                  <a:pt x="229834" y="0"/>
                </a:moveTo>
                <a:lnTo>
                  <a:pt x="8915180" y="0"/>
                </a:lnTo>
                <a:cubicBezTo>
                  <a:pt x="9042114" y="0"/>
                  <a:pt x="9145015" y="102900"/>
                  <a:pt x="9145015" y="229835"/>
                </a:cubicBezTo>
                <a:lnTo>
                  <a:pt x="9145015" y="2006544"/>
                </a:lnTo>
                <a:lnTo>
                  <a:pt x="9145015" y="2304117"/>
                </a:lnTo>
                <a:lnTo>
                  <a:pt x="8605366" y="2304117"/>
                </a:lnTo>
                <a:cubicBezTo>
                  <a:pt x="8473823" y="2304117"/>
                  <a:pt x="8367184" y="2410754"/>
                  <a:pt x="8367184" y="2542296"/>
                </a:cubicBezTo>
                <a:lnTo>
                  <a:pt x="8367185" y="5946559"/>
                </a:lnTo>
                <a:lnTo>
                  <a:pt x="229834" y="5946559"/>
                </a:lnTo>
                <a:lnTo>
                  <a:pt x="51288" y="5946559"/>
                </a:lnTo>
                <a:cubicBezTo>
                  <a:pt x="22962" y="5946559"/>
                  <a:pt x="0" y="5923596"/>
                  <a:pt x="0" y="5895270"/>
                </a:cubicBezTo>
                <a:lnTo>
                  <a:pt x="0" y="5716724"/>
                </a:lnTo>
                <a:lnTo>
                  <a:pt x="0" y="2006544"/>
                </a:lnTo>
                <a:lnTo>
                  <a:pt x="0" y="229835"/>
                </a:lnTo>
                <a:cubicBezTo>
                  <a:pt x="0" y="102900"/>
                  <a:pt x="102900" y="0"/>
                  <a:pt x="22983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5" y="657013"/>
            <a:ext cx="10443046" cy="68352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800855" y="5346559"/>
            <a:ext cx="10443046" cy="458430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3097C23A-76F1-D240-B30E-1E819BC0CA8C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1A7CD6F1-FB75-5B4B-9B71-A79CFF07084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740039" y="3033002"/>
            <a:ext cx="2811859" cy="2128451"/>
          </a:xfrm>
          <a:custGeom>
            <a:avLst/>
            <a:gdLst>
              <a:gd name="connsiteX0" fmla="*/ 168842 w 5704772"/>
              <a:gd name="connsiteY0" fmla="*/ 0 h 4318195"/>
              <a:gd name="connsiteX1" fmla="*/ 4005014 w 5704772"/>
              <a:gd name="connsiteY1" fmla="*/ 0 h 4318195"/>
              <a:gd name="connsiteX2" fmla="*/ 5535930 w 5704772"/>
              <a:gd name="connsiteY2" fmla="*/ 0 h 4318195"/>
              <a:gd name="connsiteX3" fmla="*/ 5704772 w 5704772"/>
              <a:gd name="connsiteY3" fmla="*/ 168840 h 4318195"/>
              <a:gd name="connsiteX4" fmla="*/ 5704772 w 5704772"/>
              <a:gd name="connsiteY4" fmla="*/ 168841 h 4318195"/>
              <a:gd name="connsiteX5" fmla="*/ 5704772 w 5704772"/>
              <a:gd name="connsiteY5" fmla="*/ 3931961 h 4318195"/>
              <a:gd name="connsiteX6" fmla="*/ 5704772 w 5704772"/>
              <a:gd name="connsiteY6" fmla="*/ 4149353 h 4318195"/>
              <a:gd name="connsiteX7" fmla="*/ 5535928 w 5704772"/>
              <a:gd name="connsiteY7" fmla="*/ 4318195 h 4318195"/>
              <a:gd name="connsiteX8" fmla="*/ 1699756 w 5704772"/>
              <a:gd name="connsiteY8" fmla="*/ 4318195 h 4318195"/>
              <a:gd name="connsiteX9" fmla="*/ 168842 w 5704772"/>
              <a:gd name="connsiteY9" fmla="*/ 4318195 h 4318195"/>
              <a:gd name="connsiteX10" fmla="*/ 134815 w 5704772"/>
              <a:gd name="connsiteY10" fmla="*/ 4314764 h 4318195"/>
              <a:gd name="connsiteX11" fmla="*/ 111772 w 5704772"/>
              <a:gd name="connsiteY11" fmla="*/ 4307610 h 4318195"/>
              <a:gd name="connsiteX12" fmla="*/ 103121 w 5704772"/>
              <a:gd name="connsiteY12" fmla="*/ 4304926 h 4318195"/>
              <a:gd name="connsiteX13" fmla="*/ 103120 w 5704772"/>
              <a:gd name="connsiteY13" fmla="*/ 4304926 h 4318195"/>
              <a:gd name="connsiteX14" fmla="*/ 101525 w 5704772"/>
              <a:gd name="connsiteY14" fmla="*/ 4304060 h 4318195"/>
              <a:gd name="connsiteX15" fmla="*/ 74441 w 5704772"/>
              <a:gd name="connsiteY15" fmla="*/ 4289359 h 4318195"/>
              <a:gd name="connsiteX16" fmla="*/ 1 w 5704772"/>
              <a:gd name="connsiteY16" fmla="*/ 4149353 h 4318195"/>
              <a:gd name="connsiteX17" fmla="*/ 1 w 5704772"/>
              <a:gd name="connsiteY17" fmla="*/ 4149352 h 4318195"/>
              <a:gd name="connsiteX18" fmla="*/ 0 w 5704772"/>
              <a:gd name="connsiteY18" fmla="*/ 168840 h 4318195"/>
              <a:gd name="connsiteX19" fmla="*/ 168842 w 5704772"/>
              <a:gd name="connsiteY19" fmla="*/ 0 h 4318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704772" h="4318195">
                <a:moveTo>
                  <a:pt x="168842" y="0"/>
                </a:moveTo>
                <a:lnTo>
                  <a:pt x="4005014" y="0"/>
                </a:lnTo>
                <a:lnTo>
                  <a:pt x="5535930" y="0"/>
                </a:lnTo>
                <a:cubicBezTo>
                  <a:pt x="5629176" y="0"/>
                  <a:pt x="5704772" y="75593"/>
                  <a:pt x="5704772" y="168840"/>
                </a:cubicBezTo>
                <a:lnTo>
                  <a:pt x="5704772" y="168841"/>
                </a:lnTo>
                <a:lnTo>
                  <a:pt x="5704772" y="3931961"/>
                </a:lnTo>
                <a:lnTo>
                  <a:pt x="5704772" y="4149353"/>
                </a:lnTo>
                <a:cubicBezTo>
                  <a:pt x="5704770" y="4242601"/>
                  <a:pt x="5629176" y="4318195"/>
                  <a:pt x="5535928" y="4318195"/>
                </a:cubicBezTo>
                <a:lnTo>
                  <a:pt x="1699756" y="4318195"/>
                </a:lnTo>
                <a:lnTo>
                  <a:pt x="168842" y="4318195"/>
                </a:lnTo>
                <a:cubicBezTo>
                  <a:pt x="157185" y="4318195"/>
                  <a:pt x="145805" y="4317013"/>
                  <a:pt x="134815" y="4314764"/>
                </a:cubicBezTo>
                <a:lnTo>
                  <a:pt x="111772" y="4307610"/>
                </a:lnTo>
                <a:lnTo>
                  <a:pt x="103121" y="4304926"/>
                </a:lnTo>
                <a:lnTo>
                  <a:pt x="103120" y="4304926"/>
                </a:lnTo>
                <a:lnTo>
                  <a:pt x="101525" y="4304060"/>
                </a:lnTo>
                <a:lnTo>
                  <a:pt x="74441" y="4289359"/>
                </a:lnTo>
                <a:cubicBezTo>
                  <a:pt x="29529" y="4259016"/>
                  <a:pt x="1" y="4207633"/>
                  <a:pt x="1" y="4149353"/>
                </a:cubicBezTo>
                <a:lnTo>
                  <a:pt x="1" y="4149352"/>
                </a:lnTo>
                <a:lnTo>
                  <a:pt x="0" y="168840"/>
                </a:lnTo>
                <a:cubicBezTo>
                  <a:pt x="0" y="75593"/>
                  <a:pt x="75594" y="0"/>
                  <a:pt x="168842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965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32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6">
                <a:solidFill>
                  <a:schemeClr val="tx1">
                    <a:tint val="75000"/>
                  </a:schemeClr>
                </a:solidFill>
              </a:defRPr>
            </a:lvl1pPr>
            <a:lvl2pPr marL="609422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4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267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689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11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534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5955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37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8667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adge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800855" y="5994556"/>
            <a:ext cx="10443046" cy="458430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3097C23A-76F1-D240-B30E-1E819BC0CA8C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26" name="Рисунок 25">
            <a:extLst>
              <a:ext uri="{FF2B5EF4-FFF2-40B4-BE49-F238E27FC236}">
                <a16:creationId xmlns:a16="http://schemas.microsoft.com/office/drawing/2014/main" id="{52F51C96-8365-0448-9C8D-C99548C0EDF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204219" y="2973134"/>
            <a:ext cx="3096271" cy="2499766"/>
          </a:xfrm>
          <a:custGeom>
            <a:avLst/>
            <a:gdLst>
              <a:gd name="connsiteX0" fmla="*/ 6069459 w 6193349"/>
              <a:gd name="connsiteY0" fmla="*/ 5 h 5000110"/>
              <a:gd name="connsiteX1" fmla="*/ 6191103 w 6193349"/>
              <a:gd name="connsiteY1" fmla="*/ 179072 h 5000110"/>
              <a:gd name="connsiteX2" fmla="*/ 6185135 w 6193349"/>
              <a:gd name="connsiteY2" fmla="*/ 218517 h 5000110"/>
              <a:gd name="connsiteX3" fmla="*/ 5163091 w 6193349"/>
              <a:gd name="connsiteY3" fmla="*/ 5000110 h 5000110"/>
              <a:gd name="connsiteX4" fmla="*/ 0 w 6193349"/>
              <a:gd name="connsiteY4" fmla="*/ 4975396 h 5000110"/>
              <a:gd name="connsiteX5" fmla="*/ 965626 w 6193349"/>
              <a:gd name="connsiteY5" fmla="*/ 954681 h 5000110"/>
              <a:gd name="connsiteX6" fmla="*/ 966122 w 6193349"/>
              <a:gd name="connsiteY6" fmla="*/ 953132 h 5000110"/>
              <a:gd name="connsiteX7" fmla="*/ 1264705 w 6193349"/>
              <a:gd name="connsiteY7" fmla="*/ 730068 h 5000110"/>
              <a:gd name="connsiteX8" fmla="*/ 1285019 w 6193349"/>
              <a:gd name="connsiteY8" fmla="*/ 723328 h 5000110"/>
              <a:gd name="connsiteX9" fmla="*/ 6019632 w 6193349"/>
              <a:gd name="connsiteY9" fmla="*/ 3796 h 5000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93349" h="5000110">
                <a:moveTo>
                  <a:pt x="6069459" y="5"/>
                </a:moveTo>
                <a:cubicBezTo>
                  <a:pt x="6160379" y="-522"/>
                  <a:pt x="6204092" y="38561"/>
                  <a:pt x="6191103" y="179072"/>
                </a:cubicBezTo>
                <a:lnTo>
                  <a:pt x="6185135" y="218517"/>
                </a:lnTo>
                <a:lnTo>
                  <a:pt x="5163091" y="5000110"/>
                </a:lnTo>
                <a:lnTo>
                  <a:pt x="0" y="4975396"/>
                </a:lnTo>
                <a:lnTo>
                  <a:pt x="965626" y="954681"/>
                </a:lnTo>
                <a:lnTo>
                  <a:pt x="966122" y="953132"/>
                </a:lnTo>
                <a:cubicBezTo>
                  <a:pt x="1026249" y="805396"/>
                  <a:pt x="1143857" y="748589"/>
                  <a:pt x="1264705" y="730068"/>
                </a:cubicBezTo>
                <a:lnTo>
                  <a:pt x="1285019" y="723328"/>
                </a:lnTo>
                <a:lnTo>
                  <a:pt x="6019632" y="3796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7" name="Рисунок 26">
            <a:extLst>
              <a:ext uri="{FF2B5EF4-FFF2-40B4-BE49-F238E27FC236}">
                <a16:creationId xmlns:a16="http://schemas.microsoft.com/office/drawing/2014/main" id="{BFE7ECB2-C715-D44A-BB39-9CDDBA98026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460681" y="1740564"/>
            <a:ext cx="4514112" cy="3254640"/>
          </a:xfrm>
          <a:custGeom>
            <a:avLst/>
            <a:gdLst>
              <a:gd name="connsiteX0" fmla="*/ 96584 w 9029400"/>
              <a:gd name="connsiteY0" fmla="*/ 0 h 6510033"/>
              <a:gd name="connsiteX1" fmla="*/ 8373986 w 9029400"/>
              <a:gd name="connsiteY1" fmla="*/ 934131 h 6510033"/>
              <a:gd name="connsiteX2" fmla="*/ 8402982 w 9029400"/>
              <a:gd name="connsiteY2" fmla="*/ 939519 h 6510033"/>
              <a:gd name="connsiteX3" fmla="*/ 8517860 w 9029400"/>
              <a:gd name="connsiteY3" fmla="*/ 1043750 h 6510033"/>
              <a:gd name="connsiteX4" fmla="*/ 8525564 w 9029400"/>
              <a:gd name="connsiteY4" fmla="*/ 1082818 h 6510033"/>
              <a:gd name="connsiteX5" fmla="*/ 9029400 w 9029400"/>
              <a:gd name="connsiteY5" fmla="*/ 6421537 h 6510033"/>
              <a:gd name="connsiteX6" fmla="*/ 9026722 w 9029400"/>
              <a:gd name="connsiteY6" fmla="*/ 6439300 h 6510033"/>
              <a:gd name="connsiteX7" fmla="*/ 8951344 w 9029400"/>
              <a:gd name="connsiteY7" fmla="*/ 6505485 h 6510033"/>
              <a:gd name="connsiteX8" fmla="*/ 8917118 w 9029400"/>
              <a:gd name="connsiteY8" fmla="*/ 6510033 h 6510033"/>
              <a:gd name="connsiteX9" fmla="*/ 1105127 w 9029400"/>
              <a:gd name="connsiteY9" fmla="*/ 6340918 h 6510033"/>
              <a:gd name="connsiteX10" fmla="*/ 1852449 w 9029400"/>
              <a:gd name="connsiteY10" fmla="*/ 2781020 h 6510033"/>
              <a:gd name="connsiteX11" fmla="*/ 1882334 w 9029400"/>
              <a:gd name="connsiteY11" fmla="*/ 2607901 h 6510033"/>
              <a:gd name="connsiteX12" fmla="*/ 1649922 w 9029400"/>
              <a:gd name="connsiteY12" fmla="*/ 2307192 h 6510033"/>
              <a:gd name="connsiteX13" fmla="*/ 1629441 w 9029400"/>
              <a:gd name="connsiteY13" fmla="*/ 2308632 h 6510033"/>
              <a:gd name="connsiteX14" fmla="*/ 79217 w 9029400"/>
              <a:gd name="connsiteY14" fmla="*/ 2554835 h 6510033"/>
              <a:gd name="connsiteX15" fmla="*/ 0 w 9029400"/>
              <a:gd name="connsiteY15" fmla="*/ 100536 h 6510033"/>
              <a:gd name="connsiteX16" fmla="*/ 7630 w 9029400"/>
              <a:gd name="connsiteY16" fmla="*/ 67986 h 6510033"/>
              <a:gd name="connsiteX17" fmla="*/ 87543 w 9029400"/>
              <a:gd name="connsiteY17" fmla="*/ 531 h 6510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029400" h="6510033">
                <a:moveTo>
                  <a:pt x="96584" y="0"/>
                </a:moveTo>
                <a:lnTo>
                  <a:pt x="8373986" y="934131"/>
                </a:lnTo>
                <a:lnTo>
                  <a:pt x="8402982" y="939519"/>
                </a:lnTo>
                <a:cubicBezTo>
                  <a:pt x="8471372" y="957535"/>
                  <a:pt x="8502274" y="994420"/>
                  <a:pt x="8517860" y="1043750"/>
                </a:cubicBezTo>
                <a:lnTo>
                  <a:pt x="8525564" y="1082818"/>
                </a:lnTo>
                <a:lnTo>
                  <a:pt x="9029400" y="6421537"/>
                </a:lnTo>
                <a:lnTo>
                  <a:pt x="9026722" y="6439300"/>
                </a:lnTo>
                <a:cubicBezTo>
                  <a:pt x="9015488" y="6477914"/>
                  <a:pt x="8986680" y="6496521"/>
                  <a:pt x="8951344" y="6505485"/>
                </a:cubicBezTo>
                <a:lnTo>
                  <a:pt x="8917118" y="6510033"/>
                </a:lnTo>
                <a:lnTo>
                  <a:pt x="1105127" y="6340918"/>
                </a:lnTo>
                <a:lnTo>
                  <a:pt x="1852449" y="2781020"/>
                </a:lnTo>
                <a:lnTo>
                  <a:pt x="1882334" y="2607901"/>
                </a:lnTo>
                <a:cubicBezTo>
                  <a:pt x="1928819" y="2414450"/>
                  <a:pt x="1856341" y="2309907"/>
                  <a:pt x="1649922" y="2307192"/>
                </a:cubicBezTo>
                <a:lnTo>
                  <a:pt x="1629441" y="2308632"/>
                </a:lnTo>
                <a:lnTo>
                  <a:pt x="79217" y="2554835"/>
                </a:lnTo>
                <a:lnTo>
                  <a:pt x="0" y="100536"/>
                </a:lnTo>
                <a:lnTo>
                  <a:pt x="7630" y="67986"/>
                </a:lnTo>
                <a:cubicBezTo>
                  <a:pt x="21653" y="28067"/>
                  <a:pt x="49608" y="6656"/>
                  <a:pt x="87543" y="531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AEB6830-DDB4-C641-AFF0-4B8AE3E78F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5" y="657013"/>
            <a:ext cx="10443046" cy="68352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906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7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7" grpId="0"/>
        </p:bldLst>
      </p:timing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dget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953EC3EE-8B0E-EB48-8F52-32A97A8B8CBA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6CEC9BB-205F-7B42-A632-421C2BF540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101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DCFCEC5E-3BF1-0E4D-A6D7-75A243B163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4101" y="2608214"/>
            <a:ext cx="4247919" cy="3341308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2FEA2AF-AFB3-F542-B18F-F3895ECA462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427975" y="1975740"/>
            <a:ext cx="2555951" cy="3037550"/>
          </a:xfrm>
          <a:custGeom>
            <a:avLst/>
            <a:gdLst>
              <a:gd name="connsiteX0" fmla="*/ 721980 w 4968553"/>
              <a:gd name="connsiteY0" fmla="*/ 0 h 5904656"/>
              <a:gd name="connsiteX1" fmla="*/ 4246573 w 4968553"/>
              <a:gd name="connsiteY1" fmla="*/ 0 h 5904656"/>
              <a:gd name="connsiteX2" fmla="*/ 4968553 w 4968553"/>
              <a:gd name="connsiteY2" fmla="*/ 721980 h 5904656"/>
              <a:gd name="connsiteX3" fmla="*/ 4968553 w 4968553"/>
              <a:gd name="connsiteY3" fmla="*/ 5182676 h 5904656"/>
              <a:gd name="connsiteX4" fmla="*/ 4246573 w 4968553"/>
              <a:gd name="connsiteY4" fmla="*/ 5904656 h 5904656"/>
              <a:gd name="connsiteX5" fmla="*/ 721980 w 4968553"/>
              <a:gd name="connsiteY5" fmla="*/ 5904656 h 5904656"/>
              <a:gd name="connsiteX6" fmla="*/ 0 w 4968553"/>
              <a:gd name="connsiteY6" fmla="*/ 5182676 h 5904656"/>
              <a:gd name="connsiteX7" fmla="*/ 0 w 4968553"/>
              <a:gd name="connsiteY7" fmla="*/ 721980 h 5904656"/>
              <a:gd name="connsiteX8" fmla="*/ 721980 w 4968553"/>
              <a:gd name="connsiteY8" fmla="*/ 0 h 590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68553" h="5904656">
                <a:moveTo>
                  <a:pt x="721980" y="0"/>
                </a:moveTo>
                <a:lnTo>
                  <a:pt x="4246573" y="0"/>
                </a:lnTo>
                <a:cubicBezTo>
                  <a:pt x="4645311" y="0"/>
                  <a:pt x="4968553" y="323241"/>
                  <a:pt x="4968553" y="721980"/>
                </a:cubicBezTo>
                <a:lnTo>
                  <a:pt x="4968553" y="5182676"/>
                </a:lnTo>
                <a:cubicBezTo>
                  <a:pt x="4968553" y="5581415"/>
                  <a:pt x="4645311" y="5904656"/>
                  <a:pt x="4246573" y="5904656"/>
                </a:cubicBezTo>
                <a:lnTo>
                  <a:pt x="721980" y="5904656"/>
                </a:lnTo>
                <a:cubicBezTo>
                  <a:pt x="323241" y="5904656"/>
                  <a:pt x="0" y="5581415"/>
                  <a:pt x="0" y="5182676"/>
                </a:cubicBezTo>
                <a:lnTo>
                  <a:pt x="0" y="721980"/>
                </a:lnTo>
                <a:cubicBezTo>
                  <a:pt x="0" y="323241"/>
                  <a:pt x="323241" y="0"/>
                  <a:pt x="721980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25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3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3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adget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953EC3EE-8B0E-EB48-8F52-32A97A8B8CBA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DCFCEC5E-3BF1-0E4D-A6D7-75A243B163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4101" y="1485009"/>
            <a:ext cx="2339955" cy="4277304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2FEA2AF-AFB3-F542-B18F-F3895ECA462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728026" y="2047740"/>
            <a:ext cx="2555951" cy="3037550"/>
          </a:xfrm>
          <a:custGeom>
            <a:avLst/>
            <a:gdLst>
              <a:gd name="connsiteX0" fmla="*/ 721980 w 4968553"/>
              <a:gd name="connsiteY0" fmla="*/ 0 h 5904656"/>
              <a:gd name="connsiteX1" fmla="*/ 4246573 w 4968553"/>
              <a:gd name="connsiteY1" fmla="*/ 0 h 5904656"/>
              <a:gd name="connsiteX2" fmla="*/ 4968553 w 4968553"/>
              <a:gd name="connsiteY2" fmla="*/ 721980 h 5904656"/>
              <a:gd name="connsiteX3" fmla="*/ 4968553 w 4968553"/>
              <a:gd name="connsiteY3" fmla="*/ 5182676 h 5904656"/>
              <a:gd name="connsiteX4" fmla="*/ 4246573 w 4968553"/>
              <a:gd name="connsiteY4" fmla="*/ 5904656 h 5904656"/>
              <a:gd name="connsiteX5" fmla="*/ 721980 w 4968553"/>
              <a:gd name="connsiteY5" fmla="*/ 5904656 h 5904656"/>
              <a:gd name="connsiteX6" fmla="*/ 0 w 4968553"/>
              <a:gd name="connsiteY6" fmla="*/ 5182676 h 5904656"/>
              <a:gd name="connsiteX7" fmla="*/ 0 w 4968553"/>
              <a:gd name="connsiteY7" fmla="*/ 721980 h 5904656"/>
              <a:gd name="connsiteX8" fmla="*/ 721980 w 4968553"/>
              <a:gd name="connsiteY8" fmla="*/ 0 h 590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68553" h="5904656">
                <a:moveTo>
                  <a:pt x="721980" y="0"/>
                </a:moveTo>
                <a:lnTo>
                  <a:pt x="4246573" y="0"/>
                </a:lnTo>
                <a:cubicBezTo>
                  <a:pt x="4645311" y="0"/>
                  <a:pt x="4968553" y="323241"/>
                  <a:pt x="4968553" y="721980"/>
                </a:cubicBezTo>
                <a:lnTo>
                  <a:pt x="4968553" y="5182676"/>
                </a:lnTo>
                <a:cubicBezTo>
                  <a:pt x="4968553" y="5581415"/>
                  <a:pt x="4645311" y="5904656"/>
                  <a:pt x="4246573" y="5904656"/>
                </a:cubicBezTo>
                <a:lnTo>
                  <a:pt x="721980" y="5904656"/>
                </a:lnTo>
                <a:cubicBezTo>
                  <a:pt x="323241" y="5904656"/>
                  <a:pt x="0" y="5581415"/>
                  <a:pt x="0" y="5182676"/>
                </a:cubicBezTo>
                <a:lnTo>
                  <a:pt x="0" y="721980"/>
                </a:lnTo>
                <a:cubicBezTo>
                  <a:pt x="0" y="323241"/>
                  <a:pt x="323241" y="0"/>
                  <a:pt x="721980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19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>
            <p:tmplLst>
              <p:tmpl>
                <p:tnLst>
                  <p:par>
                    <p:cTn presetID="2" presetClass="entr" presetSubtype="8" fill="hold" nodeType="with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adget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953EC3EE-8B0E-EB48-8F52-32A97A8B8CBA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DCFCEC5E-3BF1-0E4D-A6D7-75A243B163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7998" y="1970615"/>
            <a:ext cx="4967905" cy="3037550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Picture Placeholder 34">
            <a:extLst>
              <a:ext uri="{FF2B5EF4-FFF2-40B4-BE49-F238E27FC236}">
                <a16:creationId xmlns:a16="http://schemas.microsoft.com/office/drawing/2014/main" id="{9C8859A7-96C0-E046-9B9C-B5DFCC530FA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592348" y="1970614"/>
            <a:ext cx="2555951" cy="3037550"/>
          </a:xfrm>
          <a:custGeom>
            <a:avLst/>
            <a:gdLst>
              <a:gd name="connsiteX0" fmla="*/ 721980 w 4968553"/>
              <a:gd name="connsiteY0" fmla="*/ 0 h 5904656"/>
              <a:gd name="connsiteX1" fmla="*/ 4246573 w 4968553"/>
              <a:gd name="connsiteY1" fmla="*/ 0 h 5904656"/>
              <a:gd name="connsiteX2" fmla="*/ 4968553 w 4968553"/>
              <a:gd name="connsiteY2" fmla="*/ 721980 h 5904656"/>
              <a:gd name="connsiteX3" fmla="*/ 4968553 w 4968553"/>
              <a:gd name="connsiteY3" fmla="*/ 5182676 h 5904656"/>
              <a:gd name="connsiteX4" fmla="*/ 4246573 w 4968553"/>
              <a:gd name="connsiteY4" fmla="*/ 5904656 h 5904656"/>
              <a:gd name="connsiteX5" fmla="*/ 721980 w 4968553"/>
              <a:gd name="connsiteY5" fmla="*/ 5904656 h 5904656"/>
              <a:gd name="connsiteX6" fmla="*/ 0 w 4968553"/>
              <a:gd name="connsiteY6" fmla="*/ 5182676 h 5904656"/>
              <a:gd name="connsiteX7" fmla="*/ 0 w 4968553"/>
              <a:gd name="connsiteY7" fmla="*/ 721980 h 5904656"/>
              <a:gd name="connsiteX8" fmla="*/ 721980 w 4968553"/>
              <a:gd name="connsiteY8" fmla="*/ 0 h 590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68553" h="5904656">
                <a:moveTo>
                  <a:pt x="721980" y="0"/>
                </a:moveTo>
                <a:lnTo>
                  <a:pt x="4246573" y="0"/>
                </a:lnTo>
                <a:cubicBezTo>
                  <a:pt x="4645311" y="0"/>
                  <a:pt x="4968553" y="323241"/>
                  <a:pt x="4968553" y="721980"/>
                </a:cubicBezTo>
                <a:lnTo>
                  <a:pt x="4968553" y="5182676"/>
                </a:lnTo>
                <a:cubicBezTo>
                  <a:pt x="4968553" y="5581415"/>
                  <a:pt x="4645311" y="5904656"/>
                  <a:pt x="4246573" y="5904656"/>
                </a:cubicBezTo>
                <a:lnTo>
                  <a:pt x="721980" y="5904656"/>
                </a:lnTo>
                <a:cubicBezTo>
                  <a:pt x="323241" y="5904656"/>
                  <a:pt x="0" y="5581415"/>
                  <a:pt x="0" y="5182676"/>
                </a:cubicBezTo>
                <a:lnTo>
                  <a:pt x="0" y="721980"/>
                </a:lnTo>
                <a:cubicBezTo>
                  <a:pt x="0" y="323241"/>
                  <a:pt x="323241" y="0"/>
                  <a:pt x="721980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29042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>
            <p:tmplLst>
              <p:tmpl>
                <p:tnLst>
                  <p:par>
                    <p:cTn presetID="2" presetClass="entr" presetSubtype="8" fill="hold" nodeType="with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adget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953EC3EE-8B0E-EB48-8F52-32A97A8B8CBA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6CEC9BB-205F-7B42-A632-421C2BF540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101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DCFCEC5E-3BF1-0E4D-A6D7-75A243B163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4101" y="2608214"/>
            <a:ext cx="4247919" cy="3341308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7880482-8059-564F-AA41-EBEE15B0077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955821" y="1167536"/>
            <a:ext cx="2614984" cy="2408891"/>
          </a:xfrm>
          <a:custGeom>
            <a:avLst/>
            <a:gdLst>
              <a:gd name="connsiteX0" fmla="*/ 4997713 w 5230648"/>
              <a:gd name="connsiteY0" fmla="*/ 2436 h 4818339"/>
              <a:gd name="connsiteX1" fmla="*/ 5211443 w 5230648"/>
              <a:gd name="connsiteY1" fmla="*/ 375086 h 4818339"/>
              <a:gd name="connsiteX2" fmla="*/ 3885897 w 5230648"/>
              <a:gd name="connsiteY2" fmla="*/ 3817307 h 4818339"/>
              <a:gd name="connsiteX3" fmla="*/ 2859319 w 5230648"/>
              <a:gd name="connsiteY3" fmla="*/ 4594818 h 4818339"/>
              <a:gd name="connsiteX4" fmla="*/ 247850 w 5230648"/>
              <a:gd name="connsiteY4" fmla="*/ 4817485 h 4818339"/>
              <a:gd name="connsiteX5" fmla="*/ 17320 w 5230648"/>
              <a:gd name="connsiteY5" fmla="*/ 4496260 h 4818339"/>
              <a:gd name="connsiteX6" fmla="*/ 1486947 w 5230648"/>
              <a:gd name="connsiteY6" fmla="*/ 966433 h 4818339"/>
              <a:gd name="connsiteX7" fmla="*/ 2250577 w 5230648"/>
              <a:gd name="connsiteY7" fmla="*/ 371436 h 4818339"/>
              <a:gd name="connsiteX8" fmla="*/ 4923281 w 5230648"/>
              <a:gd name="connsiteY8" fmla="*/ 2757 h 4818339"/>
              <a:gd name="connsiteX9" fmla="*/ 4997713 w 5230648"/>
              <a:gd name="connsiteY9" fmla="*/ 2436 h 4818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30648" h="4818339">
                <a:moveTo>
                  <a:pt x="4997713" y="2436"/>
                </a:moveTo>
                <a:cubicBezTo>
                  <a:pt x="5164559" y="25343"/>
                  <a:pt x="5277629" y="205804"/>
                  <a:pt x="5211443" y="375086"/>
                </a:cubicBezTo>
                <a:cubicBezTo>
                  <a:pt x="3885897" y="3817307"/>
                  <a:pt x="3885897" y="3817307"/>
                  <a:pt x="3885897" y="3817307"/>
                </a:cubicBezTo>
                <a:cubicBezTo>
                  <a:pt x="3716601" y="4251691"/>
                  <a:pt x="3320379" y="4554664"/>
                  <a:pt x="2859319" y="4594818"/>
                </a:cubicBezTo>
                <a:cubicBezTo>
                  <a:pt x="247850" y="4817485"/>
                  <a:pt x="247850" y="4817485"/>
                  <a:pt x="247850" y="4817485"/>
                </a:cubicBezTo>
                <a:cubicBezTo>
                  <a:pt x="78555" y="4832086"/>
                  <a:pt x="-47516" y="4656873"/>
                  <a:pt x="17320" y="4496260"/>
                </a:cubicBezTo>
                <a:cubicBezTo>
                  <a:pt x="1486947" y="966433"/>
                  <a:pt x="1486947" y="966433"/>
                  <a:pt x="1486947" y="966433"/>
                </a:cubicBezTo>
                <a:cubicBezTo>
                  <a:pt x="1620222" y="645208"/>
                  <a:pt x="1908384" y="418890"/>
                  <a:pt x="2250577" y="371436"/>
                </a:cubicBezTo>
                <a:cubicBezTo>
                  <a:pt x="4923281" y="2757"/>
                  <a:pt x="4923281" y="2757"/>
                  <a:pt x="4923281" y="2757"/>
                </a:cubicBezTo>
                <a:cubicBezTo>
                  <a:pt x="4948945" y="-893"/>
                  <a:pt x="4973877" y="-836"/>
                  <a:pt x="4997713" y="2436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65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3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3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dge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6" name="Рисунок 13">
            <a:extLst>
              <a:ext uri="{FF2B5EF4-FFF2-40B4-BE49-F238E27FC236}">
                <a16:creationId xmlns:a16="http://schemas.microsoft.com/office/drawing/2014/main" id="{0CF4836D-6B8B-A740-B023-A95F20F227F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895965" y="554724"/>
            <a:ext cx="2689989" cy="5748552"/>
          </a:xfrm>
          <a:custGeom>
            <a:avLst/>
            <a:gdLst>
              <a:gd name="connsiteX0" fmla="*/ 466924 w 4408266"/>
              <a:gd name="connsiteY0" fmla="*/ 0 h 9420405"/>
              <a:gd name="connsiteX1" fmla="*/ 1057794 w 4408266"/>
              <a:gd name="connsiteY1" fmla="*/ 0 h 9420405"/>
              <a:gd name="connsiteX2" fmla="*/ 1057794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900 w 4408266"/>
              <a:gd name="connsiteY5" fmla="*/ 111037 h 9420405"/>
              <a:gd name="connsiteX6" fmla="*/ 3351900 w 4408266"/>
              <a:gd name="connsiteY6" fmla="*/ 0 h 9420405"/>
              <a:gd name="connsiteX7" fmla="*/ 3941342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2 w 4408266"/>
              <a:gd name="connsiteY10" fmla="*/ 9420405 h 9420405"/>
              <a:gd name="connsiteX11" fmla="*/ 466924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4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4" y="0"/>
                </a:moveTo>
                <a:lnTo>
                  <a:pt x="1057794" y="0"/>
                </a:lnTo>
                <a:lnTo>
                  <a:pt x="1057794" y="111037"/>
                </a:lnTo>
                <a:cubicBezTo>
                  <a:pt x="1057794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900" y="216468"/>
                  <a:pt x="3351900" y="111037"/>
                </a:cubicBezTo>
                <a:lnTo>
                  <a:pt x="3351900" y="0"/>
                </a:lnTo>
                <a:lnTo>
                  <a:pt x="3941342" y="0"/>
                </a:lnTo>
                <a:cubicBezTo>
                  <a:pt x="4199216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6" y="9420405"/>
                  <a:pt x="3941342" y="9420405"/>
                </a:cubicBezTo>
                <a:lnTo>
                  <a:pt x="466924" y="9420405"/>
                </a:lnTo>
                <a:cubicBezTo>
                  <a:pt x="209050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50" y="0"/>
                  <a:pt x="46692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B0EC2B80-B001-D246-AC98-10647F3F8CF3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165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/>
          <p:bldP spid="12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/>
          <p:bldP spid="12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adge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B0EC2B80-B001-D246-AC98-10647F3F8CF3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6" name="Рисунок 13">
            <a:extLst>
              <a:ext uri="{FF2B5EF4-FFF2-40B4-BE49-F238E27FC236}">
                <a16:creationId xmlns:a16="http://schemas.microsoft.com/office/drawing/2014/main" id="{0CF4836D-6B8B-A740-B023-A95F20F227F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733006" y="554724"/>
            <a:ext cx="2689989" cy="5748552"/>
          </a:xfrm>
          <a:custGeom>
            <a:avLst/>
            <a:gdLst>
              <a:gd name="connsiteX0" fmla="*/ 466924 w 4408266"/>
              <a:gd name="connsiteY0" fmla="*/ 0 h 9420405"/>
              <a:gd name="connsiteX1" fmla="*/ 1057794 w 4408266"/>
              <a:gd name="connsiteY1" fmla="*/ 0 h 9420405"/>
              <a:gd name="connsiteX2" fmla="*/ 1057794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900 w 4408266"/>
              <a:gd name="connsiteY5" fmla="*/ 111037 h 9420405"/>
              <a:gd name="connsiteX6" fmla="*/ 3351900 w 4408266"/>
              <a:gd name="connsiteY6" fmla="*/ 0 h 9420405"/>
              <a:gd name="connsiteX7" fmla="*/ 3941342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2 w 4408266"/>
              <a:gd name="connsiteY10" fmla="*/ 9420405 h 9420405"/>
              <a:gd name="connsiteX11" fmla="*/ 466924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4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4" y="0"/>
                </a:moveTo>
                <a:lnTo>
                  <a:pt x="1057794" y="0"/>
                </a:lnTo>
                <a:lnTo>
                  <a:pt x="1057794" y="111037"/>
                </a:lnTo>
                <a:cubicBezTo>
                  <a:pt x="1057794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900" y="216468"/>
                  <a:pt x="3351900" y="111037"/>
                </a:cubicBezTo>
                <a:lnTo>
                  <a:pt x="3351900" y="0"/>
                </a:lnTo>
                <a:lnTo>
                  <a:pt x="3941342" y="0"/>
                </a:lnTo>
                <a:cubicBezTo>
                  <a:pt x="4199216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6" y="9420405"/>
                  <a:pt x="3941342" y="9420405"/>
                </a:cubicBezTo>
                <a:lnTo>
                  <a:pt x="466924" y="9420405"/>
                </a:lnTo>
                <a:cubicBezTo>
                  <a:pt x="209050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50" y="0"/>
                  <a:pt x="46692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552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adge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B0EC2B80-B001-D246-AC98-10647F3F8CF3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6" name="Рисунок 13">
            <a:extLst>
              <a:ext uri="{FF2B5EF4-FFF2-40B4-BE49-F238E27FC236}">
                <a16:creationId xmlns:a16="http://schemas.microsoft.com/office/drawing/2014/main" id="{0CF4836D-6B8B-A740-B023-A95F20F227F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257377" y="554724"/>
            <a:ext cx="2689989" cy="5748552"/>
          </a:xfrm>
          <a:custGeom>
            <a:avLst/>
            <a:gdLst>
              <a:gd name="connsiteX0" fmla="*/ 466924 w 4408266"/>
              <a:gd name="connsiteY0" fmla="*/ 0 h 9420405"/>
              <a:gd name="connsiteX1" fmla="*/ 1057794 w 4408266"/>
              <a:gd name="connsiteY1" fmla="*/ 0 h 9420405"/>
              <a:gd name="connsiteX2" fmla="*/ 1057794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900 w 4408266"/>
              <a:gd name="connsiteY5" fmla="*/ 111037 h 9420405"/>
              <a:gd name="connsiteX6" fmla="*/ 3351900 w 4408266"/>
              <a:gd name="connsiteY6" fmla="*/ 0 h 9420405"/>
              <a:gd name="connsiteX7" fmla="*/ 3941342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2 w 4408266"/>
              <a:gd name="connsiteY10" fmla="*/ 9420405 h 9420405"/>
              <a:gd name="connsiteX11" fmla="*/ 466924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4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4" y="0"/>
                </a:moveTo>
                <a:lnTo>
                  <a:pt x="1057794" y="0"/>
                </a:lnTo>
                <a:lnTo>
                  <a:pt x="1057794" y="111037"/>
                </a:lnTo>
                <a:cubicBezTo>
                  <a:pt x="1057794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900" y="216468"/>
                  <a:pt x="3351900" y="111037"/>
                </a:cubicBezTo>
                <a:lnTo>
                  <a:pt x="3351900" y="0"/>
                </a:lnTo>
                <a:lnTo>
                  <a:pt x="3941342" y="0"/>
                </a:lnTo>
                <a:cubicBezTo>
                  <a:pt x="4199216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6" y="9420405"/>
                  <a:pt x="3941342" y="9420405"/>
                </a:cubicBezTo>
                <a:lnTo>
                  <a:pt x="466924" y="9420405"/>
                </a:lnTo>
                <a:cubicBezTo>
                  <a:pt x="209050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50" y="0"/>
                  <a:pt x="46692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948E2183-961E-2B4E-ACCB-E03CEA367E4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869637" y="1563953"/>
            <a:ext cx="1268688" cy="3707983"/>
          </a:xfrm>
          <a:custGeom>
            <a:avLst/>
            <a:gdLst>
              <a:gd name="connsiteX0" fmla="*/ 367616 w 2537707"/>
              <a:gd name="connsiteY0" fmla="*/ 0 h 7416824"/>
              <a:gd name="connsiteX1" fmla="*/ 832817 w 2537707"/>
              <a:gd name="connsiteY1" fmla="*/ 0 h 7416824"/>
              <a:gd name="connsiteX2" fmla="*/ 832817 w 2537707"/>
              <a:gd name="connsiteY2" fmla="*/ 87421 h 7416824"/>
              <a:gd name="connsiteX3" fmla="*/ 983114 w 2537707"/>
              <a:gd name="connsiteY3" fmla="*/ 237719 h 7416824"/>
              <a:gd name="connsiteX4" fmla="*/ 2488702 w 2537707"/>
              <a:gd name="connsiteY4" fmla="*/ 237719 h 7416824"/>
              <a:gd name="connsiteX5" fmla="*/ 2537707 w 2537707"/>
              <a:gd name="connsiteY5" fmla="*/ 227825 h 7416824"/>
              <a:gd name="connsiteX6" fmla="*/ 2537707 w 2537707"/>
              <a:gd name="connsiteY6" fmla="*/ 7416824 h 7416824"/>
              <a:gd name="connsiteX7" fmla="*/ 367616 w 2537707"/>
              <a:gd name="connsiteY7" fmla="*/ 7416824 h 7416824"/>
              <a:gd name="connsiteX8" fmla="*/ 0 w 2537707"/>
              <a:gd name="connsiteY8" fmla="*/ 7049209 h 7416824"/>
              <a:gd name="connsiteX9" fmla="*/ 0 w 2537707"/>
              <a:gd name="connsiteY9" fmla="*/ 367616 h 7416824"/>
              <a:gd name="connsiteX10" fmla="*/ 367616 w 2537707"/>
              <a:gd name="connsiteY10" fmla="*/ 0 h 7416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7707" h="7416824">
                <a:moveTo>
                  <a:pt x="367616" y="0"/>
                </a:moveTo>
                <a:lnTo>
                  <a:pt x="832817" y="0"/>
                </a:lnTo>
                <a:lnTo>
                  <a:pt x="832817" y="87421"/>
                </a:lnTo>
                <a:cubicBezTo>
                  <a:pt x="832817" y="170429"/>
                  <a:pt x="900107" y="237719"/>
                  <a:pt x="983114" y="237719"/>
                </a:cubicBezTo>
                <a:lnTo>
                  <a:pt x="2488702" y="237719"/>
                </a:lnTo>
                <a:lnTo>
                  <a:pt x="2537707" y="227825"/>
                </a:lnTo>
                <a:lnTo>
                  <a:pt x="2537707" y="7416824"/>
                </a:lnTo>
                <a:lnTo>
                  <a:pt x="367616" y="7416824"/>
                </a:lnTo>
                <a:cubicBezTo>
                  <a:pt x="164588" y="7416824"/>
                  <a:pt x="0" y="7252237"/>
                  <a:pt x="0" y="7049209"/>
                </a:cubicBezTo>
                <a:lnTo>
                  <a:pt x="0" y="367616"/>
                </a:lnTo>
                <a:cubicBezTo>
                  <a:pt x="0" y="164587"/>
                  <a:pt x="164588" y="0"/>
                  <a:pt x="367616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6A370CD5-8145-834E-84DA-08B8071573E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0066419" y="1563953"/>
            <a:ext cx="1268688" cy="3707983"/>
          </a:xfrm>
          <a:custGeom>
            <a:avLst/>
            <a:gdLst>
              <a:gd name="connsiteX0" fmla="*/ 1704888 w 2537706"/>
              <a:gd name="connsiteY0" fmla="*/ 0 h 7416824"/>
              <a:gd name="connsiteX1" fmla="*/ 2170090 w 2537706"/>
              <a:gd name="connsiteY1" fmla="*/ 0 h 7416824"/>
              <a:gd name="connsiteX2" fmla="*/ 2537706 w 2537706"/>
              <a:gd name="connsiteY2" fmla="*/ 367616 h 7416824"/>
              <a:gd name="connsiteX3" fmla="*/ 2537706 w 2537706"/>
              <a:gd name="connsiteY3" fmla="*/ 7049209 h 7416824"/>
              <a:gd name="connsiteX4" fmla="*/ 2170090 w 2537706"/>
              <a:gd name="connsiteY4" fmla="*/ 7416824 h 7416824"/>
              <a:gd name="connsiteX5" fmla="*/ 0 w 2537706"/>
              <a:gd name="connsiteY5" fmla="*/ 7416824 h 7416824"/>
              <a:gd name="connsiteX6" fmla="*/ 0 w 2537706"/>
              <a:gd name="connsiteY6" fmla="*/ 227825 h 7416824"/>
              <a:gd name="connsiteX7" fmla="*/ 49004 w 2537706"/>
              <a:gd name="connsiteY7" fmla="*/ 237719 h 7416824"/>
              <a:gd name="connsiteX8" fmla="*/ 1554592 w 2537706"/>
              <a:gd name="connsiteY8" fmla="*/ 237719 h 7416824"/>
              <a:gd name="connsiteX9" fmla="*/ 1704888 w 2537706"/>
              <a:gd name="connsiteY9" fmla="*/ 87421 h 7416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37706" h="7416824">
                <a:moveTo>
                  <a:pt x="1704888" y="0"/>
                </a:moveTo>
                <a:lnTo>
                  <a:pt x="2170090" y="0"/>
                </a:lnTo>
                <a:cubicBezTo>
                  <a:pt x="2373118" y="0"/>
                  <a:pt x="2537706" y="164587"/>
                  <a:pt x="2537706" y="367616"/>
                </a:cubicBezTo>
                <a:lnTo>
                  <a:pt x="2537706" y="7049209"/>
                </a:lnTo>
                <a:cubicBezTo>
                  <a:pt x="2537706" y="7252237"/>
                  <a:pt x="2373118" y="7416824"/>
                  <a:pt x="2170090" y="7416824"/>
                </a:cubicBezTo>
                <a:lnTo>
                  <a:pt x="0" y="7416824"/>
                </a:lnTo>
                <a:lnTo>
                  <a:pt x="0" y="227825"/>
                </a:lnTo>
                <a:lnTo>
                  <a:pt x="49004" y="237719"/>
                </a:lnTo>
                <a:lnTo>
                  <a:pt x="1554592" y="237719"/>
                </a:lnTo>
                <a:cubicBezTo>
                  <a:pt x="1637600" y="237719"/>
                  <a:pt x="1704888" y="170429"/>
                  <a:pt x="1704888" y="87421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85648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adge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C6C9163A-BDC6-6A4E-AEB0-13318041E67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308556" y="900972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7308556" y="2664963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828C4BCE-88B3-424A-B168-7BE66061F7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80042" y="2795942"/>
            <a:ext cx="5748470" cy="2690028"/>
          </a:xfrm>
          <a:custGeom>
            <a:avLst/>
            <a:gdLst>
              <a:gd name="connsiteX0" fmla="*/ 569921 w 11498436"/>
              <a:gd name="connsiteY0" fmla="*/ 0 h 5380678"/>
              <a:gd name="connsiteX1" fmla="*/ 10928515 w 11498436"/>
              <a:gd name="connsiteY1" fmla="*/ 0 h 5380678"/>
              <a:gd name="connsiteX2" fmla="*/ 11498436 w 11498436"/>
              <a:gd name="connsiteY2" fmla="*/ 569922 h 5380678"/>
              <a:gd name="connsiteX3" fmla="*/ 11498436 w 11498436"/>
              <a:gd name="connsiteY3" fmla="*/ 4810756 h 5380678"/>
              <a:gd name="connsiteX4" fmla="*/ 10928515 w 11498436"/>
              <a:gd name="connsiteY4" fmla="*/ 5380678 h 5380678"/>
              <a:gd name="connsiteX5" fmla="*/ 569921 w 11498436"/>
              <a:gd name="connsiteY5" fmla="*/ 5380678 h 5380678"/>
              <a:gd name="connsiteX6" fmla="*/ 0 w 11498436"/>
              <a:gd name="connsiteY6" fmla="*/ 4810756 h 5380678"/>
              <a:gd name="connsiteX7" fmla="*/ 0 w 11498436"/>
              <a:gd name="connsiteY7" fmla="*/ 4089547 h 5380678"/>
              <a:gd name="connsiteX8" fmla="*/ 135531 w 11498436"/>
              <a:gd name="connsiteY8" fmla="*/ 4089547 h 5380678"/>
              <a:gd name="connsiteX9" fmla="*/ 368540 w 11498436"/>
              <a:gd name="connsiteY9" fmla="*/ 3856539 h 5380678"/>
              <a:gd name="connsiteX10" fmla="*/ 368540 w 11498436"/>
              <a:gd name="connsiteY10" fmla="*/ 1522398 h 5380678"/>
              <a:gd name="connsiteX11" fmla="*/ 135531 w 11498436"/>
              <a:gd name="connsiteY11" fmla="*/ 1289388 h 5380678"/>
              <a:gd name="connsiteX12" fmla="*/ 0 w 11498436"/>
              <a:gd name="connsiteY12" fmla="*/ 1289388 h 5380678"/>
              <a:gd name="connsiteX13" fmla="*/ 0 w 11498436"/>
              <a:gd name="connsiteY13" fmla="*/ 569922 h 5380678"/>
              <a:gd name="connsiteX14" fmla="*/ 569921 w 11498436"/>
              <a:gd name="connsiteY14" fmla="*/ 0 h 5380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498436" h="5380678">
                <a:moveTo>
                  <a:pt x="569921" y="0"/>
                </a:moveTo>
                <a:lnTo>
                  <a:pt x="10928515" y="0"/>
                </a:lnTo>
                <a:cubicBezTo>
                  <a:pt x="11243273" y="0"/>
                  <a:pt x="11498436" y="255164"/>
                  <a:pt x="11498436" y="569922"/>
                </a:cubicBezTo>
                <a:lnTo>
                  <a:pt x="11498436" y="4810756"/>
                </a:lnTo>
                <a:cubicBezTo>
                  <a:pt x="11498436" y="5125514"/>
                  <a:pt x="11243273" y="5380678"/>
                  <a:pt x="10928515" y="5380678"/>
                </a:cubicBezTo>
                <a:lnTo>
                  <a:pt x="569921" y="5380678"/>
                </a:lnTo>
                <a:cubicBezTo>
                  <a:pt x="255163" y="5380678"/>
                  <a:pt x="0" y="5125514"/>
                  <a:pt x="0" y="4810756"/>
                </a:cubicBezTo>
                <a:lnTo>
                  <a:pt x="0" y="4089547"/>
                </a:lnTo>
                <a:lnTo>
                  <a:pt x="135531" y="4089547"/>
                </a:lnTo>
                <a:cubicBezTo>
                  <a:pt x="264218" y="4089547"/>
                  <a:pt x="368540" y="3985226"/>
                  <a:pt x="368540" y="3856539"/>
                </a:cubicBezTo>
                <a:lnTo>
                  <a:pt x="368540" y="1522398"/>
                </a:lnTo>
                <a:cubicBezTo>
                  <a:pt x="368540" y="1393712"/>
                  <a:pt x="264218" y="1289388"/>
                  <a:pt x="135531" y="1289388"/>
                </a:cubicBezTo>
                <a:lnTo>
                  <a:pt x="0" y="1289388"/>
                </a:lnTo>
                <a:lnTo>
                  <a:pt x="0" y="569922"/>
                </a:lnTo>
                <a:cubicBezTo>
                  <a:pt x="0" y="255164"/>
                  <a:pt x="255163" y="0"/>
                  <a:pt x="569921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76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/>
          <p:bldP spid="12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/>
          <p:bldP spid="12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adge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C6C9163A-BDC6-6A4E-AEB0-13318041E67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8" name="Рисунок 6">
            <a:extLst>
              <a:ext uri="{FF2B5EF4-FFF2-40B4-BE49-F238E27FC236}">
                <a16:creationId xmlns:a16="http://schemas.microsoft.com/office/drawing/2014/main" id="{7F7ACF32-DEC0-6C43-80D5-5F440FDA7AA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2475777" y="2795942"/>
            <a:ext cx="5748470" cy="2690028"/>
          </a:xfrm>
          <a:custGeom>
            <a:avLst/>
            <a:gdLst>
              <a:gd name="connsiteX0" fmla="*/ 569921 w 11498436"/>
              <a:gd name="connsiteY0" fmla="*/ 0 h 5380678"/>
              <a:gd name="connsiteX1" fmla="*/ 10928515 w 11498436"/>
              <a:gd name="connsiteY1" fmla="*/ 0 h 5380678"/>
              <a:gd name="connsiteX2" fmla="*/ 11498436 w 11498436"/>
              <a:gd name="connsiteY2" fmla="*/ 569922 h 5380678"/>
              <a:gd name="connsiteX3" fmla="*/ 11498436 w 11498436"/>
              <a:gd name="connsiteY3" fmla="*/ 4810756 h 5380678"/>
              <a:gd name="connsiteX4" fmla="*/ 10928515 w 11498436"/>
              <a:gd name="connsiteY4" fmla="*/ 5380678 h 5380678"/>
              <a:gd name="connsiteX5" fmla="*/ 569921 w 11498436"/>
              <a:gd name="connsiteY5" fmla="*/ 5380678 h 5380678"/>
              <a:gd name="connsiteX6" fmla="*/ 0 w 11498436"/>
              <a:gd name="connsiteY6" fmla="*/ 4810756 h 5380678"/>
              <a:gd name="connsiteX7" fmla="*/ 0 w 11498436"/>
              <a:gd name="connsiteY7" fmla="*/ 4089547 h 5380678"/>
              <a:gd name="connsiteX8" fmla="*/ 135531 w 11498436"/>
              <a:gd name="connsiteY8" fmla="*/ 4089547 h 5380678"/>
              <a:gd name="connsiteX9" fmla="*/ 368540 w 11498436"/>
              <a:gd name="connsiteY9" fmla="*/ 3856539 h 5380678"/>
              <a:gd name="connsiteX10" fmla="*/ 368540 w 11498436"/>
              <a:gd name="connsiteY10" fmla="*/ 1522398 h 5380678"/>
              <a:gd name="connsiteX11" fmla="*/ 135531 w 11498436"/>
              <a:gd name="connsiteY11" fmla="*/ 1289388 h 5380678"/>
              <a:gd name="connsiteX12" fmla="*/ 0 w 11498436"/>
              <a:gd name="connsiteY12" fmla="*/ 1289388 h 5380678"/>
              <a:gd name="connsiteX13" fmla="*/ 0 w 11498436"/>
              <a:gd name="connsiteY13" fmla="*/ 569922 h 5380678"/>
              <a:gd name="connsiteX14" fmla="*/ 569921 w 11498436"/>
              <a:gd name="connsiteY14" fmla="*/ 0 h 5380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498436" h="5380678">
                <a:moveTo>
                  <a:pt x="569921" y="0"/>
                </a:moveTo>
                <a:lnTo>
                  <a:pt x="10928515" y="0"/>
                </a:lnTo>
                <a:cubicBezTo>
                  <a:pt x="11243273" y="0"/>
                  <a:pt x="11498436" y="255164"/>
                  <a:pt x="11498436" y="569922"/>
                </a:cubicBezTo>
                <a:lnTo>
                  <a:pt x="11498436" y="4810756"/>
                </a:lnTo>
                <a:cubicBezTo>
                  <a:pt x="11498436" y="5125514"/>
                  <a:pt x="11243273" y="5380678"/>
                  <a:pt x="10928515" y="5380678"/>
                </a:cubicBezTo>
                <a:lnTo>
                  <a:pt x="569921" y="5380678"/>
                </a:lnTo>
                <a:cubicBezTo>
                  <a:pt x="255163" y="5380678"/>
                  <a:pt x="0" y="5125514"/>
                  <a:pt x="0" y="4810756"/>
                </a:cubicBezTo>
                <a:lnTo>
                  <a:pt x="0" y="4089547"/>
                </a:lnTo>
                <a:lnTo>
                  <a:pt x="135531" y="4089547"/>
                </a:lnTo>
                <a:cubicBezTo>
                  <a:pt x="264218" y="4089547"/>
                  <a:pt x="368540" y="3985226"/>
                  <a:pt x="368540" y="3856539"/>
                </a:cubicBezTo>
                <a:lnTo>
                  <a:pt x="368540" y="1522398"/>
                </a:lnTo>
                <a:cubicBezTo>
                  <a:pt x="368540" y="1393712"/>
                  <a:pt x="264218" y="1289388"/>
                  <a:pt x="135531" y="1289388"/>
                </a:cubicBezTo>
                <a:lnTo>
                  <a:pt x="0" y="1289388"/>
                </a:lnTo>
                <a:lnTo>
                  <a:pt x="0" y="569922"/>
                </a:lnTo>
                <a:cubicBezTo>
                  <a:pt x="0" y="255164"/>
                  <a:pt x="255163" y="0"/>
                  <a:pt x="569921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73870FC-EF0C-E54D-99CA-E013123A2A1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239361" y="2795942"/>
            <a:ext cx="2952640" cy="2690028"/>
          </a:xfrm>
          <a:custGeom>
            <a:avLst/>
            <a:gdLst>
              <a:gd name="connsiteX0" fmla="*/ 569920 w 5906048"/>
              <a:gd name="connsiteY0" fmla="*/ 0 h 5380678"/>
              <a:gd name="connsiteX1" fmla="*/ 5906048 w 5906048"/>
              <a:gd name="connsiteY1" fmla="*/ 0 h 5380678"/>
              <a:gd name="connsiteX2" fmla="*/ 5906048 w 5906048"/>
              <a:gd name="connsiteY2" fmla="*/ 5380678 h 5380678"/>
              <a:gd name="connsiteX3" fmla="*/ 569920 w 5906048"/>
              <a:gd name="connsiteY3" fmla="*/ 5380678 h 5380678"/>
              <a:gd name="connsiteX4" fmla="*/ 0 w 5906048"/>
              <a:gd name="connsiteY4" fmla="*/ 4810756 h 5380678"/>
              <a:gd name="connsiteX5" fmla="*/ 0 w 5906048"/>
              <a:gd name="connsiteY5" fmla="*/ 4089547 h 5380678"/>
              <a:gd name="connsiteX6" fmla="*/ 135530 w 5906048"/>
              <a:gd name="connsiteY6" fmla="*/ 4089547 h 5380678"/>
              <a:gd name="connsiteX7" fmla="*/ 368540 w 5906048"/>
              <a:gd name="connsiteY7" fmla="*/ 3856539 h 5380678"/>
              <a:gd name="connsiteX8" fmla="*/ 368540 w 5906048"/>
              <a:gd name="connsiteY8" fmla="*/ 1522398 h 5380678"/>
              <a:gd name="connsiteX9" fmla="*/ 135530 w 5906048"/>
              <a:gd name="connsiteY9" fmla="*/ 1289388 h 5380678"/>
              <a:gd name="connsiteX10" fmla="*/ 0 w 5906048"/>
              <a:gd name="connsiteY10" fmla="*/ 1289388 h 5380678"/>
              <a:gd name="connsiteX11" fmla="*/ 0 w 5906048"/>
              <a:gd name="connsiteY11" fmla="*/ 569922 h 5380678"/>
              <a:gd name="connsiteX12" fmla="*/ 569920 w 5906048"/>
              <a:gd name="connsiteY12" fmla="*/ 0 h 5380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906048" h="5380678">
                <a:moveTo>
                  <a:pt x="569920" y="0"/>
                </a:moveTo>
                <a:lnTo>
                  <a:pt x="5906048" y="0"/>
                </a:lnTo>
                <a:lnTo>
                  <a:pt x="5906048" y="5380678"/>
                </a:lnTo>
                <a:lnTo>
                  <a:pt x="569920" y="5380678"/>
                </a:lnTo>
                <a:cubicBezTo>
                  <a:pt x="255162" y="5380678"/>
                  <a:pt x="0" y="5125514"/>
                  <a:pt x="0" y="4810756"/>
                </a:cubicBezTo>
                <a:lnTo>
                  <a:pt x="0" y="4089547"/>
                </a:lnTo>
                <a:lnTo>
                  <a:pt x="135530" y="4089547"/>
                </a:lnTo>
                <a:cubicBezTo>
                  <a:pt x="264216" y="4089547"/>
                  <a:pt x="368540" y="3985226"/>
                  <a:pt x="368540" y="3856539"/>
                </a:cubicBezTo>
                <a:lnTo>
                  <a:pt x="368540" y="1522398"/>
                </a:lnTo>
                <a:cubicBezTo>
                  <a:pt x="368540" y="1393712"/>
                  <a:pt x="264216" y="1289388"/>
                  <a:pt x="135530" y="1289388"/>
                </a:cubicBezTo>
                <a:lnTo>
                  <a:pt x="0" y="1289388"/>
                </a:lnTo>
                <a:lnTo>
                  <a:pt x="0" y="569922"/>
                </a:lnTo>
                <a:cubicBezTo>
                  <a:pt x="0" y="255164"/>
                  <a:pt x="255162" y="0"/>
                  <a:pt x="569920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5697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32"/>
            </a:lvl1pPr>
            <a:lvl2pPr>
              <a:defRPr sz="3199"/>
            </a:lvl2pPr>
            <a:lvl3pPr>
              <a:defRPr sz="2666"/>
            </a:lvl3pPr>
            <a:lvl4pPr>
              <a:defRPr sz="2399"/>
            </a:lvl4pPr>
            <a:lvl5pPr>
              <a:defRPr sz="2399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32"/>
            </a:lvl1pPr>
            <a:lvl2pPr>
              <a:defRPr sz="3199"/>
            </a:lvl2pPr>
            <a:lvl3pPr>
              <a:defRPr sz="2666"/>
            </a:lvl3pPr>
            <a:lvl4pPr>
              <a:defRPr sz="2399"/>
            </a:lvl4pPr>
            <a:lvl5pPr>
              <a:defRPr sz="2399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1937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adge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04100" y="1"/>
            <a:ext cx="2262550" cy="57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7EABB2CE-9240-294D-BAD5-CE4EDC5AF039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EEEF608B-5A90-AF44-8783-5B110384E2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101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49F81B4E-761B-8747-BB42-D68C123EE1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4101" y="2608214"/>
            <a:ext cx="4247919" cy="3341308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05C9CE02-9E94-7948-95BF-40AFDD9B75C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70757" y="429873"/>
            <a:ext cx="2203846" cy="4709657"/>
          </a:xfrm>
          <a:custGeom>
            <a:avLst/>
            <a:gdLst>
              <a:gd name="connsiteX0" fmla="*/ 466923 w 4408266"/>
              <a:gd name="connsiteY0" fmla="*/ 0 h 9420405"/>
              <a:gd name="connsiteX1" fmla="*/ 1057793 w 4408266"/>
              <a:gd name="connsiteY1" fmla="*/ 0 h 9420405"/>
              <a:gd name="connsiteX2" fmla="*/ 1057793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899 w 4408266"/>
              <a:gd name="connsiteY5" fmla="*/ 111037 h 9420405"/>
              <a:gd name="connsiteX6" fmla="*/ 3351899 w 4408266"/>
              <a:gd name="connsiteY6" fmla="*/ 0 h 9420405"/>
              <a:gd name="connsiteX7" fmla="*/ 3941343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3 w 4408266"/>
              <a:gd name="connsiteY10" fmla="*/ 9420405 h 9420405"/>
              <a:gd name="connsiteX11" fmla="*/ 466923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3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3" y="0"/>
                </a:moveTo>
                <a:lnTo>
                  <a:pt x="1057793" y="0"/>
                </a:lnTo>
                <a:lnTo>
                  <a:pt x="1057793" y="111037"/>
                </a:lnTo>
                <a:cubicBezTo>
                  <a:pt x="1057793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899" y="216468"/>
                  <a:pt x="3351899" y="111037"/>
                </a:cubicBezTo>
                <a:lnTo>
                  <a:pt x="3351899" y="0"/>
                </a:lnTo>
                <a:lnTo>
                  <a:pt x="3941343" y="0"/>
                </a:lnTo>
                <a:cubicBezTo>
                  <a:pt x="4199217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7" y="9420405"/>
                  <a:pt x="3941343" y="9420405"/>
                </a:cubicBezTo>
                <a:lnTo>
                  <a:pt x="466923" y="9420405"/>
                </a:lnTo>
                <a:cubicBezTo>
                  <a:pt x="209049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49" y="0"/>
                  <a:pt x="466923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21" name="Рисунок 20">
            <a:extLst>
              <a:ext uri="{FF2B5EF4-FFF2-40B4-BE49-F238E27FC236}">
                <a16:creationId xmlns:a16="http://schemas.microsoft.com/office/drawing/2014/main" id="{1F35B954-748F-5A41-B8A5-46B8DF39426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96703" y="1677770"/>
            <a:ext cx="2203846" cy="4709657"/>
          </a:xfrm>
          <a:custGeom>
            <a:avLst/>
            <a:gdLst>
              <a:gd name="connsiteX0" fmla="*/ 466924 w 4408266"/>
              <a:gd name="connsiteY0" fmla="*/ 0 h 9420405"/>
              <a:gd name="connsiteX1" fmla="*/ 1057794 w 4408266"/>
              <a:gd name="connsiteY1" fmla="*/ 0 h 9420405"/>
              <a:gd name="connsiteX2" fmla="*/ 1057794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900 w 4408266"/>
              <a:gd name="connsiteY5" fmla="*/ 111037 h 9420405"/>
              <a:gd name="connsiteX6" fmla="*/ 3351900 w 4408266"/>
              <a:gd name="connsiteY6" fmla="*/ 0 h 9420405"/>
              <a:gd name="connsiteX7" fmla="*/ 3941342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2 w 4408266"/>
              <a:gd name="connsiteY10" fmla="*/ 9420405 h 9420405"/>
              <a:gd name="connsiteX11" fmla="*/ 466924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4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4" y="0"/>
                </a:moveTo>
                <a:lnTo>
                  <a:pt x="1057794" y="0"/>
                </a:lnTo>
                <a:lnTo>
                  <a:pt x="1057794" y="111037"/>
                </a:lnTo>
                <a:cubicBezTo>
                  <a:pt x="1057794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900" y="216468"/>
                  <a:pt x="3351900" y="111037"/>
                </a:cubicBezTo>
                <a:lnTo>
                  <a:pt x="3351900" y="0"/>
                </a:lnTo>
                <a:lnTo>
                  <a:pt x="3941342" y="0"/>
                </a:lnTo>
                <a:cubicBezTo>
                  <a:pt x="4199216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6" y="9420405"/>
                  <a:pt x="3941342" y="9420405"/>
                </a:cubicBezTo>
                <a:lnTo>
                  <a:pt x="466924" y="9420405"/>
                </a:lnTo>
                <a:cubicBezTo>
                  <a:pt x="209050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50" y="0"/>
                  <a:pt x="46692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20" name="Рисунок 19">
            <a:extLst>
              <a:ext uri="{FF2B5EF4-FFF2-40B4-BE49-F238E27FC236}">
                <a16:creationId xmlns:a16="http://schemas.microsoft.com/office/drawing/2014/main" id="{2C990126-6A29-7F42-95A9-F7AD120FFB4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6703" y="1"/>
            <a:ext cx="2203846" cy="1131451"/>
          </a:xfrm>
          <a:custGeom>
            <a:avLst/>
            <a:gdLst>
              <a:gd name="connsiteX0" fmla="*/ 0 w 4408266"/>
              <a:gd name="connsiteY0" fmla="*/ 0 h 2263163"/>
              <a:gd name="connsiteX1" fmla="*/ 4408266 w 4408266"/>
              <a:gd name="connsiteY1" fmla="*/ 0 h 2263163"/>
              <a:gd name="connsiteX2" fmla="*/ 4408266 w 4408266"/>
              <a:gd name="connsiteY2" fmla="*/ 1796240 h 2263163"/>
              <a:gd name="connsiteX3" fmla="*/ 3941342 w 4408266"/>
              <a:gd name="connsiteY3" fmla="*/ 2263163 h 2263163"/>
              <a:gd name="connsiteX4" fmla="*/ 466924 w 4408266"/>
              <a:gd name="connsiteY4" fmla="*/ 2263163 h 2263163"/>
              <a:gd name="connsiteX5" fmla="*/ 0 w 4408266"/>
              <a:gd name="connsiteY5" fmla="*/ 1796240 h 2263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08266" h="2263163">
                <a:moveTo>
                  <a:pt x="0" y="0"/>
                </a:moveTo>
                <a:lnTo>
                  <a:pt x="4408266" y="0"/>
                </a:lnTo>
                <a:lnTo>
                  <a:pt x="4408266" y="1796240"/>
                </a:lnTo>
                <a:cubicBezTo>
                  <a:pt x="4408266" y="2054114"/>
                  <a:pt x="4199216" y="2263163"/>
                  <a:pt x="3941342" y="2263163"/>
                </a:cubicBezTo>
                <a:lnTo>
                  <a:pt x="466924" y="2263163"/>
                </a:lnTo>
                <a:cubicBezTo>
                  <a:pt x="209050" y="2263163"/>
                  <a:pt x="0" y="2054114"/>
                  <a:pt x="0" y="179624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F8EA344A-665C-E842-8ECD-AE41FDE9691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70757" y="5685848"/>
            <a:ext cx="2203846" cy="1172152"/>
          </a:xfrm>
          <a:custGeom>
            <a:avLst/>
            <a:gdLst>
              <a:gd name="connsiteX0" fmla="*/ 466923 w 4408266"/>
              <a:gd name="connsiteY0" fmla="*/ 0 h 2344575"/>
              <a:gd name="connsiteX1" fmla="*/ 1057793 w 4408266"/>
              <a:gd name="connsiteY1" fmla="*/ 0 h 2344575"/>
              <a:gd name="connsiteX2" fmla="*/ 1057793 w 4408266"/>
              <a:gd name="connsiteY2" fmla="*/ 111037 h 2344575"/>
              <a:gd name="connsiteX3" fmla="*/ 1248692 w 4408266"/>
              <a:gd name="connsiteY3" fmla="*/ 301936 h 2344575"/>
              <a:gd name="connsiteX4" fmla="*/ 3161000 w 4408266"/>
              <a:gd name="connsiteY4" fmla="*/ 301936 h 2344575"/>
              <a:gd name="connsiteX5" fmla="*/ 3351899 w 4408266"/>
              <a:gd name="connsiteY5" fmla="*/ 111037 h 2344575"/>
              <a:gd name="connsiteX6" fmla="*/ 3351899 w 4408266"/>
              <a:gd name="connsiteY6" fmla="*/ 0 h 2344575"/>
              <a:gd name="connsiteX7" fmla="*/ 3941343 w 4408266"/>
              <a:gd name="connsiteY7" fmla="*/ 0 h 2344575"/>
              <a:gd name="connsiteX8" fmla="*/ 4408266 w 4408266"/>
              <a:gd name="connsiteY8" fmla="*/ 466923 h 2344575"/>
              <a:gd name="connsiteX9" fmla="*/ 4408266 w 4408266"/>
              <a:gd name="connsiteY9" fmla="*/ 2344575 h 2344575"/>
              <a:gd name="connsiteX10" fmla="*/ 0 w 4408266"/>
              <a:gd name="connsiteY10" fmla="*/ 2344575 h 2344575"/>
              <a:gd name="connsiteX11" fmla="*/ 0 w 4408266"/>
              <a:gd name="connsiteY11" fmla="*/ 466923 h 2344575"/>
              <a:gd name="connsiteX12" fmla="*/ 466923 w 4408266"/>
              <a:gd name="connsiteY12" fmla="*/ 0 h 234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08266" h="2344575">
                <a:moveTo>
                  <a:pt x="466923" y="0"/>
                </a:moveTo>
                <a:lnTo>
                  <a:pt x="1057793" y="0"/>
                </a:lnTo>
                <a:lnTo>
                  <a:pt x="1057793" y="111037"/>
                </a:lnTo>
                <a:cubicBezTo>
                  <a:pt x="1057793" y="216467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899" y="216467"/>
                  <a:pt x="3351899" y="111037"/>
                </a:cubicBezTo>
                <a:lnTo>
                  <a:pt x="3351899" y="0"/>
                </a:lnTo>
                <a:lnTo>
                  <a:pt x="3941343" y="0"/>
                </a:lnTo>
                <a:cubicBezTo>
                  <a:pt x="4199217" y="0"/>
                  <a:pt x="4408266" y="209049"/>
                  <a:pt x="4408266" y="466923"/>
                </a:cubicBezTo>
                <a:lnTo>
                  <a:pt x="4408266" y="2344575"/>
                </a:lnTo>
                <a:lnTo>
                  <a:pt x="0" y="2344575"/>
                </a:lnTo>
                <a:lnTo>
                  <a:pt x="0" y="466923"/>
                </a:lnTo>
                <a:cubicBezTo>
                  <a:pt x="0" y="209049"/>
                  <a:pt x="209049" y="0"/>
                  <a:pt x="466923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017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dge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Рисунок 30"/>
          <p:cNvSpPr>
            <a:spLocks noGrp="1"/>
          </p:cNvSpPr>
          <p:nvPr>
            <p:ph type="pic" sz="quarter" idx="24"/>
          </p:nvPr>
        </p:nvSpPr>
        <p:spPr>
          <a:xfrm>
            <a:off x="9097998" y="708124"/>
            <a:ext cx="2203846" cy="4709657"/>
          </a:xfrm>
          <a:custGeom>
            <a:avLst/>
            <a:gdLst>
              <a:gd name="connsiteX0" fmla="*/ 466924 w 4408266"/>
              <a:gd name="connsiteY0" fmla="*/ 0 h 9420405"/>
              <a:gd name="connsiteX1" fmla="*/ 1057794 w 4408266"/>
              <a:gd name="connsiteY1" fmla="*/ 0 h 9420405"/>
              <a:gd name="connsiteX2" fmla="*/ 1057794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900 w 4408266"/>
              <a:gd name="connsiteY5" fmla="*/ 111037 h 9420405"/>
              <a:gd name="connsiteX6" fmla="*/ 3351900 w 4408266"/>
              <a:gd name="connsiteY6" fmla="*/ 0 h 9420405"/>
              <a:gd name="connsiteX7" fmla="*/ 3941342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2 w 4408266"/>
              <a:gd name="connsiteY10" fmla="*/ 9420405 h 9420405"/>
              <a:gd name="connsiteX11" fmla="*/ 466924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4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4" y="0"/>
                </a:moveTo>
                <a:lnTo>
                  <a:pt x="1057794" y="0"/>
                </a:lnTo>
                <a:lnTo>
                  <a:pt x="1057794" y="111037"/>
                </a:lnTo>
                <a:cubicBezTo>
                  <a:pt x="1057794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900" y="216468"/>
                  <a:pt x="3351900" y="111037"/>
                </a:cubicBezTo>
                <a:lnTo>
                  <a:pt x="3351900" y="0"/>
                </a:lnTo>
                <a:lnTo>
                  <a:pt x="3941342" y="0"/>
                </a:lnTo>
                <a:cubicBezTo>
                  <a:pt x="4199216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6" y="9420405"/>
                  <a:pt x="3941342" y="9420405"/>
                </a:cubicBezTo>
                <a:lnTo>
                  <a:pt x="466924" y="9420405"/>
                </a:lnTo>
                <a:cubicBezTo>
                  <a:pt x="209050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50" y="0"/>
                  <a:pt x="46692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804100" y="1"/>
            <a:ext cx="2262550" cy="57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7EABB2CE-9240-294D-BAD5-CE4EDC5AF039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E47C0716-32EC-114C-BFA0-1B8CCD863D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101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600D95A1-5AA2-324C-9087-85B6BA9BC8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4101" y="2608214"/>
            <a:ext cx="4247919" cy="3341308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A279EB2-0EC9-6B4C-BC03-ADFF6198169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70758" y="1401"/>
            <a:ext cx="2203846" cy="3571599"/>
          </a:xfrm>
          <a:custGeom>
            <a:avLst/>
            <a:gdLst>
              <a:gd name="connsiteX0" fmla="*/ 0 w 4408266"/>
              <a:gd name="connsiteY0" fmla="*/ 0 h 7144025"/>
              <a:gd name="connsiteX1" fmla="*/ 4408266 w 4408266"/>
              <a:gd name="connsiteY1" fmla="*/ 0 h 7144025"/>
              <a:gd name="connsiteX2" fmla="*/ 4408266 w 4408266"/>
              <a:gd name="connsiteY2" fmla="*/ 6677102 h 7144025"/>
              <a:gd name="connsiteX3" fmla="*/ 3941343 w 4408266"/>
              <a:gd name="connsiteY3" fmla="*/ 7144025 h 7144025"/>
              <a:gd name="connsiteX4" fmla="*/ 466923 w 4408266"/>
              <a:gd name="connsiteY4" fmla="*/ 7144025 h 7144025"/>
              <a:gd name="connsiteX5" fmla="*/ 0 w 4408266"/>
              <a:gd name="connsiteY5" fmla="*/ 6677102 h 7144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08266" h="7144025">
                <a:moveTo>
                  <a:pt x="0" y="0"/>
                </a:moveTo>
                <a:lnTo>
                  <a:pt x="4408266" y="0"/>
                </a:lnTo>
                <a:lnTo>
                  <a:pt x="4408266" y="6677102"/>
                </a:lnTo>
                <a:cubicBezTo>
                  <a:pt x="4408266" y="6934976"/>
                  <a:pt x="4199217" y="7144025"/>
                  <a:pt x="3941343" y="7144025"/>
                </a:cubicBezTo>
                <a:lnTo>
                  <a:pt x="466923" y="7144025"/>
                </a:lnTo>
                <a:cubicBezTo>
                  <a:pt x="209049" y="7144025"/>
                  <a:pt x="0" y="6934976"/>
                  <a:pt x="0" y="6677102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114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4101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9" hasCustomPrompt="1"/>
          </p:nvPr>
        </p:nvSpPr>
        <p:spPr>
          <a:xfrm>
            <a:off x="804101" y="2608214"/>
            <a:ext cx="4247919" cy="3341308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E07963F5-A24A-C444-9C86-FFCA5FA3CDE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3" name="Рисунок 30">
            <a:extLst>
              <a:ext uri="{FF2B5EF4-FFF2-40B4-BE49-F238E27FC236}">
                <a16:creationId xmlns:a16="http://schemas.microsoft.com/office/drawing/2014/main" id="{AE247E82-D3E9-F445-84EC-93F5B567D16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945548" y="2529004"/>
            <a:ext cx="1813958" cy="3876460"/>
          </a:xfrm>
          <a:custGeom>
            <a:avLst/>
            <a:gdLst>
              <a:gd name="connsiteX0" fmla="*/ 466924 w 4408266"/>
              <a:gd name="connsiteY0" fmla="*/ 0 h 9420405"/>
              <a:gd name="connsiteX1" fmla="*/ 1057794 w 4408266"/>
              <a:gd name="connsiteY1" fmla="*/ 0 h 9420405"/>
              <a:gd name="connsiteX2" fmla="*/ 1057794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900 w 4408266"/>
              <a:gd name="connsiteY5" fmla="*/ 111037 h 9420405"/>
              <a:gd name="connsiteX6" fmla="*/ 3351900 w 4408266"/>
              <a:gd name="connsiteY6" fmla="*/ 0 h 9420405"/>
              <a:gd name="connsiteX7" fmla="*/ 3941342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2 w 4408266"/>
              <a:gd name="connsiteY10" fmla="*/ 9420405 h 9420405"/>
              <a:gd name="connsiteX11" fmla="*/ 466924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4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4" y="0"/>
                </a:moveTo>
                <a:lnTo>
                  <a:pt x="1057794" y="0"/>
                </a:lnTo>
                <a:lnTo>
                  <a:pt x="1057794" y="111037"/>
                </a:lnTo>
                <a:cubicBezTo>
                  <a:pt x="1057794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900" y="216468"/>
                  <a:pt x="3351900" y="111037"/>
                </a:cubicBezTo>
                <a:lnTo>
                  <a:pt x="3351900" y="0"/>
                </a:lnTo>
                <a:lnTo>
                  <a:pt x="3941342" y="0"/>
                </a:lnTo>
                <a:cubicBezTo>
                  <a:pt x="4199216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6" y="9420405"/>
                  <a:pt x="3941342" y="9420405"/>
                </a:cubicBezTo>
                <a:lnTo>
                  <a:pt x="466924" y="9420405"/>
                </a:lnTo>
                <a:cubicBezTo>
                  <a:pt x="209050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50" y="0"/>
                  <a:pt x="46692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5DF41069-A454-D144-A4F2-87B4909BE10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490073" y="893124"/>
            <a:ext cx="3923924" cy="5183976"/>
          </a:xfrm>
          <a:custGeom>
            <a:avLst/>
            <a:gdLst>
              <a:gd name="connsiteX0" fmla="*/ 306891 w 7848870"/>
              <a:gd name="connsiteY0" fmla="*/ 0 h 10369152"/>
              <a:gd name="connsiteX1" fmla="*/ 7541982 w 7848870"/>
              <a:gd name="connsiteY1" fmla="*/ 0 h 10369152"/>
              <a:gd name="connsiteX2" fmla="*/ 7848870 w 7848870"/>
              <a:gd name="connsiteY2" fmla="*/ 306891 h 10369152"/>
              <a:gd name="connsiteX3" fmla="*/ 7848870 w 7848870"/>
              <a:gd name="connsiteY3" fmla="*/ 10062261 h 10369152"/>
              <a:gd name="connsiteX4" fmla="*/ 7541982 w 7848870"/>
              <a:gd name="connsiteY4" fmla="*/ 10369152 h 10369152"/>
              <a:gd name="connsiteX5" fmla="*/ 702027 w 7848870"/>
              <a:gd name="connsiteY5" fmla="*/ 10369152 h 10369152"/>
              <a:gd name="connsiteX6" fmla="*/ 702027 w 7848870"/>
              <a:gd name="connsiteY6" fmla="*/ 3662056 h 10369152"/>
              <a:gd name="connsiteX7" fmla="*/ 129494 w 7848870"/>
              <a:gd name="connsiteY7" fmla="*/ 3089523 h 10369152"/>
              <a:gd name="connsiteX8" fmla="*/ 0 w 7848870"/>
              <a:gd name="connsiteY8" fmla="*/ 3089523 h 10369152"/>
              <a:gd name="connsiteX9" fmla="*/ 0 w 7848870"/>
              <a:gd name="connsiteY9" fmla="*/ 306891 h 10369152"/>
              <a:gd name="connsiteX10" fmla="*/ 306891 w 7848870"/>
              <a:gd name="connsiteY10" fmla="*/ 0 h 10369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848870" h="10369152">
                <a:moveTo>
                  <a:pt x="306891" y="0"/>
                </a:moveTo>
                <a:lnTo>
                  <a:pt x="7541982" y="0"/>
                </a:lnTo>
                <a:cubicBezTo>
                  <a:pt x="7711470" y="0"/>
                  <a:pt x="7848870" y="137400"/>
                  <a:pt x="7848870" y="306891"/>
                </a:cubicBezTo>
                <a:lnTo>
                  <a:pt x="7848870" y="10062261"/>
                </a:lnTo>
                <a:cubicBezTo>
                  <a:pt x="7848870" y="10231752"/>
                  <a:pt x="7711470" y="10369152"/>
                  <a:pt x="7541982" y="10369152"/>
                </a:cubicBezTo>
                <a:lnTo>
                  <a:pt x="702027" y="10369152"/>
                </a:lnTo>
                <a:lnTo>
                  <a:pt x="702027" y="3662056"/>
                </a:lnTo>
                <a:cubicBezTo>
                  <a:pt x="702027" y="3345855"/>
                  <a:pt x="445695" y="3089523"/>
                  <a:pt x="129494" y="3089523"/>
                </a:cubicBezTo>
                <a:lnTo>
                  <a:pt x="0" y="3089523"/>
                </a:lnTo>
                <a:lnTo>
                  <a:pt x="0" y="306891"/>
                </a:lnTo>
                <a:cubicBezTo>
                  <a:pt x="0" y="137400"/>
                  <a:pt x="137400" y="0"/>
                  <a:pt x="306891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80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6878565E-B8C7-404C-89F6-B8AFE1B4220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931965" y="0"/>
            <a:ext cx="4260035" cy="6858000"/>
          </a:xfrm>
          <a:custGeom>
            <a:avLst/>
            <a:gdLst>
              <a:gd name="connsiteX0" fmla="*/ 0 w 7416823"/>
              <a:gd name="connsiteY0" fmla="*/ 0 h 6552727"/>
              <a:gd name="connsiteX1" fmla="*/ 5429415 w 7416823"/>
              <a:gd name="connsiteY1" fmla="*/ 0 h 6552727"/>
              <a:gd name="connsiteX2" fmla="*/ 7416823 w 7416823"/>
              <a:gd name="connsiteY2" fmla="*/ 0 h 6552727"/>
              <a:gd name="connsiteX3" fmla="*/ 7416823 w 7416823"/>
              <a:gd name="connsiteY3" fmla="*/ 6416236 h 6552727"/>
              <a:gd name="connsiteX4" fmla="*/ 7416823 w 7416823"/>
              <a:gd name="connsiteY4" fmla="*/ 6552727 h 6552727"/>
              <a:gd name="connsiteX5" fmla="*/ 1931253 w 7416823"/>
              <a:gd name="connsiteY5" fmla="*/ 6552727 h 6552727"/>
              <a:gd name="connsiteX6" fmla="*/ 0 w 7416823"/>
              <a:gd name="connsiteY6" fmla="*/ 6552727 h 6552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416823" h="6552727">
                <a:moveTo>
                  <a:pt x="0" y="0"/>
                </a:moveTo>
                <a:lnTo>
                  <a:pt x="5429415" y="0"/>
                </a:lnTo>
                <a:lnTo>
                  <a:pt x="7416823" y="0"/>
                </a:lnTo>
                <a:lnTo>
                  <a:pt x="7416823" y="6416236"/>
                </a:lnTo>
                <a:lnTo>
                  <a:pt x="7416823" y="6552727"/>
                </a:lnTo>
                <a:lnTo>
                  <a:pt x="1931253" y="6552727"/>
                </a:lnTo>
                <a:lnTo>
                  <a:pt x="0" y="6552727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4101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9" hasCustomPrompt="1"/>
          </p:nvPr>
        </p:nvSpPr>
        <p:spPr>
          <a:xfrm>
            <a:off x="804101" y="2608214"/>
            <a:ext cx="4247919" cy="3341308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E07963F5-A24A-C444-9C86-FFCA5FA3CDE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FC1A92A0-E405-4946-AD52-240623F263A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311996" y="1305011"/>
            <a:ext cx="3275937" cy="4327906"/>
          </a:xfrm>
          <a:custGeom>
            <a:avLst/>
            <a:gdLst>
              <a:gd name="connsiteX0" fmla="*/ 6296518 w 6552728"/>
              <a:gd name="connsiteY0" fmla="*/ 0 h 8656815"/>
              <a:gd name="connsiteX1" fmla="*/ 6552728 w 6552728"/>
              <a:gd name="connsiteY1" fmla="*/ 256212 h 8656815"/>
              <a:gd name="connsiteX2" fmla="*/ 6552728 w 6552728"/>
              <a:gd name="connsiteY2" fmla="*/ 6077487 h 8656815"/>
              <a:gd name="connsiteX3" fmla="*/ 6552728 w 6552728"/>
              <a:gd name="connsiteY3" fmla="*/ 8400603 h 8656815"/>
              <a:gd name="connsiteX4" fmla="*/ 6296518 w 6552728"/>
              <a:gd name="connsiteY4" fmla="*/ 8656815 h 8656815"/>
              <a:gd name="connsiteX5" fmla="*/ 6296516 w 6552728"/>
              <a:gd name="connsiteY5" fmla="*/ 8656815 h 8656815"/>
              <a:gd name="connsiteX6" fmla="*/ 586098 w 6552728"/>
              <a:gd name="connsiteY6" fmla="*/ 8656815 h 8656815"/>
              <a:gd name="connsiteX7" fmla="*/ 256212 w 6552728"/>
              <a:gd name="connsiteY7" fmla="*/ 8656815 h 8656815"/>
              <a:gd name="connsiteX8" fmla="*/ 0 w 6552728"/>
              <a:gd name="connsiteY8" fmla="*/ 8400601 h 8656815"/>
              <a:gd name="connsiteX9" fmla="*/ 0 w 6552728"/>
              <a:gd name="connsiteY9" fmla="*/ 2579326 h 8656815"/>
              <a:gd name="connsiteX10" fmla="*/ 0 w 6552728"/>
              <a:gd name="connsiteY10" fmla="*/ 256213 h 8656815"/>
              <a:gd name="connsiteX11" fmla="*/ 0 w 6552728"/>
              <a:gd name="connsiteY11" fmla="*/ 256212 h 8656815"/>
              <a:gd name="connsiteX12" fmla="*/ 5206 w 6552728"/>
              <a:gd name="connsiteY12" fmla="*/ 204577 h 8656815"/>
              <a:gd name="connsiteX13" fmla="*/ 16062 w 6552728"/>
              <a:gd name="connsiteY13" fmla="*/ 169610 h 8656815"/>
              <a:gd name="connsiteX14" fmla="*/ 20136 w 6552728"/>
              <a:gd name="connsiteY14" fmla="*/ 156483 h 8656815"/>
              <a:gd name="connsiteX15" fmla="*/ 20136 w 6552728"/>
              <a:gd name="connsiteY15" fmla="*/ 156482 h 8656815"/>
              <a:gd name="connsiteX16" fmla="*/ 21450 w 6552728"/>
              <a:gd name="connsiteY16" fmla="*/ 154061 h 8656815"/>
              <a:gd name="connsiteX17" fmla="*/ 43758 w 6552728"/>
              <a:gd name="connsiteY17" fmla="*/ 112962 h 8656815"/>
              <a:gd name="connsiteX18" fmla="*/ 256212 w 6552728"/>
              <a:gd name="connsiteY18" fmla="*/ 1 h 8656815"/>
              <a:gd name="connsiteX19" fmla="*/ 256214 w 6552728"/>
              <a:gd name="connsiteY19" fmla="*/ 1 h 8656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552728" h="8656815">
                <a:moveTo>
                  <a:pt x="6296518" y="0"/>
                </a:moveTo>
                <a:cubicBezTo>
                  <a:pt x="6438018" y="0"/>
                  <a:pt x="6552728" y="114711"/>
                  <a:pt x="6552728" y="256212"/>
                </a:cubicBezTo>
                <a:lnTo>
                  <a:pt x="6552728" y="6077487"/>
                </a:lnTo>
                <a:lnTo>
                  <a:pt x="6552728" y="8400603"/>
                </a:lnTo>
                <a:cubicBezTo>
                  <a:pt x="6552728" y="8542103"/>
                  <a:pt x="6438018" y="8656815"/>
                  <a:pt x="6296518" y="8656815"/>
                </a:cubicBezTo>
                <a:lnTo>
                  <a:pt x="6296516" y="8656815"/>
                </a:lnTo>
                <a:lnTo>
                  <a:pt x="586098" y="8656815"/>
                </a:lnTo>
                <a:lnTo>
                  <a:pt x="256212" y="8656815"/>
                </a:lnTo>
                <a:cubicBezTo>
                  <a:pt x="114712" y="8656813"/>
                  <a:pt x="0" y="8542103"/>
                  <a:pt x="0" y="8400601"/>
                </a:cubicBezTo>
                <a:lnTo>
                  <a:pt x="0" y="2579326"/>
                </a:lnTo>
                <a:lnTo>
                  <a:pt x="0" y="256213"/>
                </a:lnTo>
                <a:lnTo>
                  <a:pt x="0" y="256212"/>
                </a:lnTo>
                <a:cubicBezTo>
                  <a:pt x="0" y="238524"/>
                  <a:pt x="1794" y="221254"/>
                  <a:pt x="5206" y="204577"/>
                </a:cubicBezTo>
                <a:lnTo>
                  <a:pt x="16062" y="169610"/>
                </a:lnTo>
                <a:lnTo>
                  <a:pt x="20136" y="156483"/>
                </a:lnTo>
                <a:lnTo>
                  <a:pt x="20136" y="156482"/>
                </a:lnTo>
                <a:lnTo>
                  <a:pt x="21450" y="154061"/>
                </a:lnTo>
                <a:lnTo>
                  <a:pt x="43758" y="112962"/>
                </a:lnTo>
                <a:cubicBezTo>
                  <a:pt x="89802" y="44809"/>
                  <a:pt x="167774" y="1"/>
                  <a:pt x="256212" y="1"/>
                </a:cubicBezTo>
                <a:lnTo>
                  <a:pt x="256214" y="1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741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>
            <p:tmplLst>
              <p:tmpl>
                <p:tnLst>
                  <p:par>
                    <p:cTn presetID="2" presetClass="entr" presetSubtype="8" fill="hold" nodeType="with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22">
            <a:extLst>
              <a:ext uri="{FF2B5EF4-FFF2-40B4-BE49-F238E27FC236}">
                <a16:creationId xmlns:a16="http://schemas.microsoft.com/office/drawing/2014/main" id="{1FF0BB80-613B-A14F-B177-AE15C691FC9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278700" y="1008476"/>
            <a:ext cx="3603531" cy="4760697"/>
          </a:xfrm>
          <a:custGeom>
            <a:avLst/>
            <a:gdLst>
              <a:gd name="connsiteX0" fmla="*/ 6296518 w 6552728"/>
              <a:gd name="connsiteY0" fmla="*/ 0 h 8656815"/>
              <a:gd name="connsiteX1" fmla="*/ 6552728 w 6552728"/>
              <a:gd name="connsiteY1" fmla="*/ 256212 h 8656815"/>
              <a:gd name="connsiteX2" fmla="*/ 6552728 w 6552728"/>
              <a:gd name="connsiteY2" fmla="*/ 6077487 h 8656815"/>
              <a:gd name="connsiteX3" fmla="*/ 6552728 w 6552728"/>
              <a:gd name="connsiteY3" fmla="*/ 8400603 h 8656815"/>
              <a:gd name="connsiteX4" fmla="*/ 6296518 w 6552728"/>
              <a:gd name="connsiteY4" fmla="*/ 8656815 h 8656815"/>
              <a:gd name="connsiteX5" fmla="*/ 6296516 w 6552728"/>
              <a:gd name="connsiteY5" fmla="*/ 8656815 h 8656815"/>
              <a:gd name="connsiteX6" fmla="*/ 586098 w 6552728"/>
              <a:gd name="connsiteY6" fmla="*/ 8656815 h 8656815"/>
              <a:gd name="connsiteX7" fmla="*/ 256212 w 6552728"/>
              <a:gd name="connsiteY7" fmla="*/ 8656815 h 8656815"/>
              <a:gd name="connsiteX8" fmla="*/ 0 w 6552728"/>
              <a:gd name="connsiteY8" fmla="*/ 8400601 h 8656815"/>
              <a:gd name="connsiteX9" fmla="*/ 0 w 6552728"/>
              <a:gd name="connsiteY9" fmla="*/ 2579326 h 8656815"/>
              <a:gd name="connsiteX10" fmla="*/ 0 w 6552728"/>
              <a:gd name="connsiteY10" fmla="*/ 256213 h 8656815"/>
              <a:gd name="connsiteX11" fmla="*/ 0 w 6552728"/>
              <a:gd name="connsiteY11" fmla="*/ 256212 h 8656815"/>
              <a:gd name="connsiteX12" fmla="*/ 5206 w 6552728"/>
              <a:gd name="connsiteY12" fmla="*/ 204577 h 8656815"/>
              <a:gd name="connsiteX13" fmla="*/ 16062 w 6552728"/>
              <a:gd name="connsiteY13" fmla="*/ 169610 h 8656815"/>
              <a:gd name="connsiteX14" fmla="*/ 20136 w 6552728"/>
              <a:gd name="connsiteY14" fmla="*/ 156483 h 8656815"/>
              <a:gd name="connsiteX15" fmla="*/ 20136 w 6552728"/>
              <a:gd name="connsiteY15" fmla="*/ 156482 h 8656815"/>
              <a:gd name="connsiteX16" fmla="*/ 21450 w 6552728"/>
              <a:gd name="connsiteY16" fmla="*/ 154061 h 8656815"/>
              <a:gd name="connsiteX17" fmla="*/ 43758 w 6552728"/>
              <a:gd name="connsiteY17" fmla="*/ 112962 h 8656815"/>
              <a:gd name="connsiteX18" fmla="*/ 256212 w 6552728"/>
              <a:gd name="connsiteY18" fmla="*/ 1 h 8656815"/>
              <a:gd name="connsiteX19" fmla="*/ 256214 w 6552728"/>
              <a:gd name="connsiteY19" fmla="*/ 1 h 8656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552728" h="8656815">
                <a:moveTo>
                  <a:pt x="6296518" y="0"/>
                </a:moveTo>
                <a:cubicBezTo>
                  <a:pt x="6438018" y="0"/>
                  <a:pt x="6552728" y="114711"/>
                  <a:pt x="6552728" y="256212"/>
                </a:cubicBezTo>
                <a:lnTo>
                  <a:pt x="6552728" y="6077487"/>
                </a:lnTo>
                <a:lnTo>
                  <a:pt x="6552728" y="8400603"/>
                </a:lnTo>
                <a:cubicBezTo>
                  <a:pt x="6552728" y="8542103"/>
                  <a:pt x="6438018" y="8656815"/>
                  <a:pt x="6296518" y="8656815"/>
                </a:cubicBezTo>
                <a:lnTo>
                  <a:pt x="6296516" y="8656815"/>
                </a:lnTo>
                <a:lnTo>
                  <a:pt x="586098" y="8656815"/>
                </a:lnTo>
                <a:lnTo>
                  <a:pt x="256212" y="8656815"/>
                </a:lnTo>
                <a:cubicBezTo>
                  <a:pt x="114712" y="8656813"/>
                  <a:pt x="0" y="8542103"/>
                  <a:pt x="0" y="8400601"/>
                </a:cubicBezTo>
                <a:lnTo>
                  <a:pt x="0" y="2579326"/>
                </a:lnTo>
                <a:lnTo>
                  <a:pt x="0" y="256213"/>
                </a:lnTo>
                <a:lnTo>
                  <a:pt x="0" y="256212"/>
                </a:lnTo>
                <a:cubicBezTo>
                  <a:pt x="0" y="238524"/>
                  <a:pt x="1794" y="221254"/>
                  <a:pt x="5206" y="204577"/>
                </a:cubicBezTo>
                <a:lnTo>
                  <a:pt x="16062" y="169610"/>
                </a:lnTo>
                <a:lnTo>
                  <a:pt x="20136" y="156483"/>
                </a:lnTo>
                <a:lnTo>
                  <a:pt x="20136" y="156482"/>
                </a:lnTo>
                <a:lnTo>
                  <a:pt x="21450" y="154061"/>
                </a:lnTo>
                <a:lnTo>
                  <a:pt x="43758" y="112962"/>
                </a:lnTo>
                <a:cubicBezTo>
                  <a:pt x="89802" y="44809"/>
                  <a:pt x="167774" y="1"/>
                  <a:pt x="256212" y="1"/>
                </a:cubicBezTo>
                <a:lnTo>
                  <a:pt x="256214" y="1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91389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22">
            <a:extLst>
              <a:ext uri="{FF2B5EF4-FFF2-40B4-BE49-F238E27FC236}">
                <a16:creationId xmlns:a16="http://schemas.microsoft.com/office/drawing/2014/main" id="{1FF0BB80-613B-A14F-B177-AE15C691FC9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92703" y="981012"/>
            <a:ext cx="3161090" cy="4176179"/>
          </a:xfrm>
          <a:custGeom>
            <a:avLst/>
            <a:gdLst>
              <a:gd name="connsiteX0" fmla="*/ 6296518 w 6552728"/>
              <a:gd name="connsiteY0" fmla="*/ 0 h 8656815"/>
              <a:gd name="connsiteX1" fmla="*/ 6552728 w 6552728"/>
              <a:gd name="connsiteY1" fmla="*/ 256212 h 8656815"/>
              <a:gd name="connsiteX2" fmla="*/ 6552728 w 6552728"/>
              <a:gd name="connsiteY2" fmla="*/ 6077487 h 8656815"/>
              <a:gd name="connsiteX3" fmla="*/ 6552728 w 6552728"/>
              <a:gd name="connsiteY3" fmla="*/ 8400603 h 8656815"/>
              <a:gd name="connsiteX4" fmla="*/ 6296518 w 6552728"/>
              <a:gd name="connsiteY4" fmla="*/ 8656815 h 8656815"/>
              <a:gd name="connsiteX5" fmla="*/ 6296516 w 6552728"/>
              <a:gd name="connsiteY5" fmla="*/ 8656815 h 8656815"/>
              <a:gd name="connsiteX6" fmla="*/ 586098 w 6552728"/>
              <a:gd name="connsiteY6" fmla="*/ 8656815 h 8656815"/>
              <a:gd name="connsiteX7" fmla="*/ 256212 w 6552728"/>
              <a:gd name="connsiteY7" fmla="*/ 8656815 h 8656815"/>
              <a:gd name="connsiteX8" fmla="*/ 0 w 6552728"/>
              <a:gd name="connsiteY8" fmla="*/ 8400601 h 8656815"/>
              <a:gd name="connsiteX9" fmla="*/ 0 w 6552728"/>
              <a:gd name="connsiteY9" fmla="*/ 2579326 h 8656815"/>
              <a:gd name="connsiteX10" fmla="*/ 0 w 6552728"/>
              <a:gd name="connsiteY10" fmla="*/ 256213 h 8656815"/>
              <a:gd name="connsiteX11" fmla="*/ 0 w 6552728"/>
              <a:gd name="connsiteY11" fmla="*/ 256212 h 8656815"/>
              <a:gd name="connsiteX12" fmla="*/ 5206 w 6552728"/>
              <a:gd name="connsiteY12" fmla="*/ 204577 h 8656815"/>
              <a:gd name="connsiteX13" fmla="*/ 16062 w 6552728"/>
              <a:gd name="connsiteY13" fmla="*/ 169610 h 8656815"/>
              <a:gd name="connsiteX14" fmla="*/ 20136 w 6552728"/>
              <a:gd name="connsiteY14" fmla="*/ 156483 h 8656815"/>
              <a:gd name="connsiteX15" fmla="*/ 20136 w 6552728"/>
              <a:gd name="connsiteY15" fmla="*/ 156482 h 8656815"/>
              <a:gd name="connsiteX16" fmla="*/ 21450 w 6552728"/>
              <a:gd name="connsiteY16" fmla="*/ 154061 h 8656815"/>
              <a:gd name="connsiteX17" fmla="*/ 43758 w 6552728"/>
              <a:gd name="connsiteY17" fmla="*/ 112962 h 8656815"/>
              <a:gd name="connsiteX18" fmla="*/ 256212 w 6552728"/>
              <a:gd name="connsiteY18" fmla="*/ 1 h 8656815"/>
              <a:gd name="connsiteX19" fmla="*/ 256214 w 6552728"/>
              <a:gd name="connsiteY19" fmla="*/ 1 h 8656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552728" h="8656815">
                <a:moveTo>
                  <a:pt x="6296518" y="0"/>
                </a:moveTo>
                <a:cubicBezTo>
                  <a:pt x="6438018" y="0"/>
                  <a:pt x="6552728" y="114711"/>
                  <a:pt x="6552728" y="256212"/>
                </a:cubicBezTo>
                <a:lnTo>
                  <a:pt x="6552728" y="6077487"/>
                </a:lnTo>
                <a:lnTo>
                  <a:pt x="6552728" y="8400603"/>
                </a:lnTo>
                <a:cubicBezTo>
                  <a:pt x="6552728" y="8542103"/>
                  <a:pt x="6438018" y="8656815"/>
                  <a:pt x="6296518" y="8656815"/>
                </a:cubicBezTo>
                <a:lnTo>
                  <a:pt x="6296516" y="8656815"/>
                </a:lnTo>
                <a:lnTo>
                  <a:pt x="586098" y="8656815"/>
                </a:lnTo>
                <a:lnTo>
                  <a:pt x="256212" y="8656815"/>
                </a:lnTo>
                <a:cubicBezTo>
                  <a:pt x="114712" y="8656813"/>
                  <a:pt x="0" y="8542103"/>
                  <a:pt x="0" y="8400601"/>
                </a:cubicBezTo>
                <a:lnTo>
                  <a:pt x="0" y="2579326"/>
                </a:lnTo>
                <a:lnTo>
                  <a:pt x="0" y="256213"/>
                </a:lnTo>
                <a:lnTo>
                  <a:pt x="0" y="256212"/>
                </a:lnTo>
                <a:cubicBezTo>
                  <a:pt x="0" y="238524"/>
                  <a:pt x="1794" y="221254"/>
                  <a:pt x="5206" y="204577"/>
                </a:cubicBezTo>
                <a:lnTo>
                  <a:pt x="16062" y="169610"/>
                </a:lnTo>
                <a:lnTo>
                  <a:pt x="20136" y="156483"/>
                </a:lnTo>
                <a:lnTo>
                  <a:pt x="20136" y="156482"/>
                </a:lnTo>
                <a:lnTo>
                  <a:pt x="21450" y="154061"/>
                </a:lnTo>
                <a:lnTo>
                  <a:pt x="43758" y="112962"/>
                </a:lnTo>
                <a:cubicBezTo>
                  <a:pt x="89802" y="44809"/>
                  <a:pt x="167774" y="1"/>
                  <a:pt x="256212" y="1"/>
                </a:cubicBezTo>
                <a:lnTo>
                  <a:pt x="256214" y="1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71A8C8D-EF19-9D43-B42D-27D04A7E3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101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20AEB083-F8B2-E448-9839-C723418EB4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4101" y="2608214"/>
            <a:ext cx="4247919" cy="3341308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74125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adge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04100" y="1"/>
            <a:ext cx="2262550" cy="57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7EABB2CE-9240-294D-BAD5-CE4EDC5AF039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E47C0716-32EC-114C-BFA0-1B8CCD863D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101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600D95A1-5AA2-324C-9087-85B6BA9BC8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4101" y="2608214"/>
            <a:ext cx="4247919" cy="3341308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B94D6E7-3CD5-DE40-B9A3-C41862E3186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67998" y="837012"/>
            <a:ext cx="1979962" cy="4211980"/>
          </a:xfrm>
          <a:custGeom>
            <a:avLst/>
            <a:gdLst>
              <a:gd name="connsiteX0" fmla="*/ 400519 w 3960440"/>
              <a:gd name="connsiteY0" fmla="*/ 0 h 8424936"/>
              <a:gd name="connsiteX1" fmla="*/ 3559921 w 3960440"/>
              <a:gd name="connsiteY1" fmla="*/ 0 h 8424936"/>
              <a:gd name="connsiteX2" fmla="*/ 3960440 w 3960440"/>
              <a:gd name="connsiteY2" fmla="*/ 400519 h 8424936"/>
              <a:gd name="connsiteX3" fmla="*/ 3960440 w 3960440"/>
              <a:gd name="connsiteY3" fmla="*/ 8024417 h 8424936"/>
              <a:gd name="connsiteX4" fmla="*/ 3559921 w 3960440"/>
              <a:gd name="connsiteY4" fmla="*/ 8424936 h 8424936"/>
              <a:gd name="connsiteX5" fmla="*/ 400519 w 3960440"/>
              <a:gd name="connsiteY5" fmla="*/ 8424936 h 8424936"/>
              <a:gd name="connsiteX6" fmla="*/ 0 w 3960440"/>
              <a:gd name="connsiteY6" fmla="*/ 8024417 h 8424936"/>
              <a:gd name="connsiteX7" fmla="*/ 0 w 3960440"/>
              <a:gd name="connsiteY7" fmla="*/ 400519 h 8424936"/>
              <a:gd name="connsiteX8" fmla="*/ 400519 w 3960440"/>
              <a:gd name="connsiteY8" fmla="*/ 0 h 8424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60440" h="8424936">
                <a:moveTo>
                  <a:pt x="400519" y="0"/>
                </a:moveTo>
                <a:lnTo>
                  <a:pt x="3559921" y="0"/>
                </a:lnTo>
                <a:cubicBezTo>
                  <a:pt x="3781122" y="0"/>
                  <a:pt x="3960440" y="179318"/>
                  <a:pt x="3960440" y="400519"/>
                </a:cubicBezTo>
                <a:lnTo>
                  <a:pt x="3960440" y="8024417"/>
                </a:lnTo>
                <a:cubicBezTo>
                  <a:pt x="3960440" y="8245618"/>
                  <a:pt x="3781122" y="8424936"/>
                  <a:pt x="3559921" y="8424936"/>
                </a:cubicBezTo>
                <a:lnTo>
                  <a:pt x="400519" y="8424936"/>
                </a:lnTo>
                <a:cubicBezTo>
                  <a:pt x="179318" y="8424936"/>
                  <a:pt x="0" y="8245618"/>
                  <a:pt x="0" y="8024417"/>
                </a:cubicBezTo>
                <a:lnTo>
                  <a:pt x="0" y="400519"/>
                </a:lnTo>
                <a:cubicBezTo>
                  <a:pt x="0" y="179318"/>
                  <a:pt x="179318" y="0"/>
                  <a:pt x="400519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862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adge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04100" y="1"/>
            <a:ext cx="2262550" cy="57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7EABB2CE-9240-294D-BAD5-CE4EDC5AF039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E47C0716-32EC-114C-BFA0-1B8CCD863D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101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600D95A1-5AA2-324C-9087-85B6BA9BC8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4101" y="2608214"/>
            <a:ext cx="4247919" cy="3341308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13AF7579-3869-7D4C-B3AF-9AA2B5F5829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 rot="1576699">
            <a:off x="5461681" y="800746"/>
            <a:ext cx="2189274" cy="4657251"/>
          </a:xfrm>
          <a:custGeom>
            <a:avLst/>
            <a:gdLst>
              <a:gd name="connsiteX0" fmla="*/ 400519 w 3960440"/>
              <a:gd name="connsiteY0" fmla="*/ 0 h 8424936"/>
              <a:gd name="connsiteX1" fmla="*/ 3559921 w 3960440"/>
              <a:gd name="connsiteY1" fmla="*/ 0 h 8424936"/>
              <a:gd name="connsiteX2" fmla="*/ 3960440 w 3960440"/>
              <a:gd name="connsiteY2" fmla="*/ 400519 h 8424936"/>
              <a:gd name="connsiteX3" fmla="*/ 3960440 w 3960440"/>
              <a:gd name="connsiteY3" fmla="*/ 8024417 h 8424936"/>
              <a:gd name="connsiteX4" fmla="*/ 3559921 w 3960440"/>
              <a:gd name="connsiteY4" fmla="*/ 8424936 h 8424936"/>
              <a:gd name="connsiteX5" fmla="*/ 400519 w 3960440"/>
              <a:gd name="connsiteY5" fmla="*/ 8424936 h 8424936"/>
              <a:gd name="connsiteX6" fmla="*/ 0 w 3960440"/>
              <a:gd name="connsiteY6" fmla="*/ 8024417 h 8424936"/>
              <a:gd name="connsiteX7" fmla="*/ 0 w 3960440"/>
              <a:gd name="connsiteY7" fmla="*/ 400519 h 8424936"/>
              <a:gd name="connsiteX8" fmla="*/ 400519 w 3960440"/>
              <a:gd name="connsiteY8" fmla="*/ 0 h 8424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60440" h="8424936">
                <a:moveTo>
                  <a:pt x="400519" y="0"/>
                </a:moveTo>
                <a:lnTo>
                  <a:pt x="3559921" y="0"/>
                </a:lnTo>
                <a:cubicBezTo>
                  <a:pt x="3781122" y="0"/>
                  <a:pt x="3960440" y="179318"/>
                  <a:pt x="3960440" y="400519"/>
                </a:cubicBezTo>
                <a:lnTo>
                  <a:pt x="3960440" y="8024417"/>
                </a:lnTo>
                <a:cubicBezTo>
                  <a:pt x="3960440" y="8245618"/>
                  <a:pt x="3781122" y="8424936"/>
                  <a:pt x="3559921" y="8424936"/>
                </a:cubicBezTo>
                <a:lnTo>
                  <a:pt x="400519" y="8424936"/>
                </a:lnTo>
                <a:cubicBezTo>
                  <a:pt x="179318" y="8424936"/>
                  <a:pt x="0" y="8245618"/>
                  <a:pt x="0" y="8024417"/>
                </a:cubicBezTo>
                <a:lnTo>
                  <a:pt x="0" y="400519"/>
                </a:lnTo>
                <a:cubicBezTo>
                  <a:pt x="0" y="179318"/>
                  <a:pt x="179318" y="0"/>
                  <a:pt x="400519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82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24B5F703-B028-D542-B0B6-193978F85D6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60805" y="2313908"/>
            <a:ext cx="3478361" cy="2175322"/>
          </a:xfrm>
          <a:custGeom>
            <a:avLst/>
            <a:gdLst>
              <a:gd name="connsiteX0" fmla="*/ 0 w 9239287"/>
              <a:gd name="connsiteY0" fmla="*/ 0 h 3738574"/>
              <a:gd name="connsiteX1" fmla="*/ 9239287 w 9239287"/>
              <a:gd name="connsiteY1" fmla="*/ 0 h 3738574"/>
              <a:gd name="connsiteX2" fmla="*/ 9239287 w 9239287"/>
              <a:gd name="connsiteY2" fmla="*/ 3506370 h 3738574"/>
              <a:gd name="connsiteX3" fmla="*/ 9239287 w 9239287"/>
              <a:gd name="connsiteY3" fmla="*/ 3686757 h 3738574"/>
              <a:gd name="connsiteX4" fmla="*/ 9187469 w 9239287"/>
              <a:gd name="connsiteY4" fmla="*/ 3738574 h 3738574"/>
              <a:gd name="connsiteX5" fmla="*/ 9007083 w 9239287"/>
              <a:gd name="connsiteY5" fmla="*/ 3738574 h 3738574"/>
              <a:gd name="connsiteX6" fmla="*/ 232205 w 9239287"/>
              <a:gd name="connsiteY6" fmla="*/ 3738574 h 3738574"/>
              <a:gd name="connsiteX7" fmla="*/ 51817 w 9239287"/>
              <a:gd name="connsiteY7" fmla="*/ 3738574 h 3738574"/>
              <a:gd name="connsiteX8" fmla="*/ 0 w 9239287"/>
              <a:gd name="connsiteY8" fmla="*/ 3686757 h 3738574"/>
              <a:gd name="connsiteX9" fmla="*/ 0 w 9239287"/>
              <a:gd name="connsiteY9" fmla="*/ 3506370 h 373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39287" h="3738574">
                <a:moveTo>
                  <a:pt x="0" y="0"/>
                </a:moveTo>
                <a:lnTo>
                  <a:pt x="9239287" y="0"/>
                </a:lnTo>
                <a:lnTo>
                  <a:pt x="9239287" y="3506370"/>
                </a:lnTo>
                <a:lnTo>
                  <a:pt x="9239287" y="3686757"/>
                </a:lnTo>
                <a:cubicBezTo>
                  <a:pt x="9239287" y="3715375"/>
                  <a:pt x="9216089" y="3738574"/>
                  <a:pt x="9187469" y="3738574"/>
                </a:cubicBezTo>
                <a:lnTo>
                  <a:pt x="9007083" y="3738574"/>
                </a:lnTo>
                <a:lnTo>
                  <a:pt x="232205" y="3738574"/>
                </a:lnTo>
                <a:lnTo>
                  <a:pt x="51817" y="3738574"/>
                </a:lnTo>
                <a:cubicBezTo>
                  <a:pt x="23199" y="3738574"/>
                  <a:pt x="0" y="3715375"/>
                  <a:pt x="0" y="3686757"/>
                </a:cubicBezTo>
                <a:lnTo>
                  <a:pt x="0" y="3506370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805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</p:bld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22">
            <a:extLst>
              <a:ext uri="{FF2B5EF4-FFF2-40B4-BE49-F238E27FC236}">
                <a16:creationId xmlns:a16="http://schemas.microsoft.com/office/drawing/2014/main" id="{19B55A7D-F0CD-D54F-B53F-74EE3422A26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071647" y="1485009"/>
            <a:ext cx="2986315" cy="3945280"/>
          </a:xfrm>
          <a:custGeom>
            <a:avLst/>
            <a:gdLst>
              <a:gd name="connsiteX0" fmla="*/ 6296518 w 6552728"/>
              <a:gd name="connsiteY0" fmla="*/ 0 h 8656815"/>
              <a:gd name="connsiteX1" fmla="*/ 6552728 w 6552728"/>
              <a:gd name="connsiteY1" fmla="*/ 256212 h 8656815"/>
              <a:gd name="connsiteX2" fmla="*/ 6552728 w 6552728"/>
              <a:gd name="connsiteY2" fmla="*/ 6077487 h 8656815"/>
              <a:gd name="connsiteX3" fmla="*/ 6552728 w 6552728"/>
              <a:gd name="connsiteY3" fmla="*/ 8400603 h 8656815"/>
              <a:gd name="connsiteX4" fmla="*/ 6296518 w 6552728"/>
              <a:gd name="connsiteY4" fmla="*/ 8656815 h 8656815"/>
              <a:gd name="connsiteX5" fmla="*/ 6296516 w 6552728"/>
              <a:gd name="connsiteY5" fmla="*/ 8656815 h 8656815"/>
              <a:gd name="connsiteX6" fmla="*/ 586098 w 6552728"/>
              <a:gd name="connsiteY6" fmla="*/ 8656815 h 8656815"/>
              <a:gd name="connsiteX7" fmla="*/ 256212 w 6552728"/>
              <a:gd name="connsiteY7" fmla="*/ 8656815 h 8656815"/>
              <a:gd name="connsiteX8" fmla="*/ 0 w 6552728"/>
              <a:gd name="connsiteY8" fmla="*/ 8400601 h 8656815"/>
              <a:gd name="connsiteX9" fmla="*/ 0 w 6552728"/>
              <a:gd name="connsiteY9" fmla="*/ 2579326 h 8656815"/>
              <a:gd name="connsiteX10" fmla="*/ 0 w 6552728"/>
              <a:gd name="connsiteY10" fmla="*/ 256213 h 8656815"/>
              <a:gd name="connsiteX11" fmla="*/ 0 w 6552728"/>
              <a:gd name="connsiteY11" fmla="*/ 256212 h 8656815"/>
              <a:gd name="connsiteX12" fmla="*/ 5206 w 6552728"/>
              <a:gd name="connsiteY12" fmla="*/ 204577 h 8656815"/>
              <a:gd name="connsiteX13" fmla="*/ 16062 w 6552728"/>
              <a:gd name="connsiteY13" fmla="*/ 169610 h 8656815"/>
              <a:gd name="connsiteX14" fmla="*/ 20136 w 6552728"/>
              <a:gd name="connsiteY14" fmla="*/ 156483 h 8656815"/>
              <a:gd name="connsiteX15" fmla="*/ 20136 w 6552728"/>
              <a:gd name="connsiteY15" fmla="*/ 156482 h 8656815"/>
              <a:gd name="connsiteX16" fmla="*/ 21450 w 6552728"/>
              <a:gd name="connsiteY16" fmla="*/ 154061 h 8656815"/>
              <a:gd name="connsiteX17" fmla="*/ 43758 w 6552728"/>
              <a:gd name="connsiteY17" fmla="*/ 112962 h 8656815"/>
              <a:gd name="connsiteX18" fmla="*/ 256212 w 6552728"/>
              <a:gd name="connsiteY18" fmla="*/ 1 h 8656815"/>
              <a:gd name="connsiteX19" fmla="*/ 256214 w 6552728"/>
              <a:gd name="connsiteY19" fmla="*/ 1 h 8656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552728" h="8656815">
                <a:moveTo>
                  <a:pt x="6296518" y="0"/>
                </a:moveTo>
                <a:cubicBezTo>
                  <a:pt x="6438018" y="0"/>
                  <a:pt x="6552728" y="114711"/>
                  <a:pt x="6552728" y="256212"/>
                </a:cubicBezTo>
                <a:lnTo>
                  <a:pt x="6552728" y="6077487"/>
                </a:lnTo>
                <a:lnTo>
                  <a:pt x="6552728" y="8400603"/>
                </a:lnTo>
                <a:cubicBezTo>
                  <a:pt x="6552728" y="8542103"/>
                  <a:pt x="6438018" y="8656815"/>
                  <a:pt x="6296518" y="8656815"/>
                </a:cubicBezTo>
                <a:lnTo>
                  <a:pt x="6296516" y="8656815"/>
                </a:lnTo>
                <a:lnTo>
                  <a:pt x="586098" y="8656815"/>
                </a:lnTo>
                <a:lnTo>
                  <a:pt x="256212" y="8656815"/>
                </a:lnTo>
                <a:cubicBezTo>
                  <a:pt x="114712" y="8656813"/>
                  <a:pt x="0" y="8542103"/>
                  <a:pt x="0" y="8400601"/>
                </a:cubicBezTo>
                <a:lnTo>
                  <a:pt x="0" y="2579326"/>
                </a:lnTo>
                <a:lnTo>
                  <a:pt x="0" y="256213"/>
                </a:lnTo>
                <a:lnTo>
                  <a:pt x="0" y="256212"/>
                </a:lnTo>
                <a:cubicBezTo>
                  <a:pt x="0" y="238524"/>
                  <a:pt x="1794" y="221254"/>
                  <a:pt x="5206" y="204577"/>
                </a:cubicBezTo>
                <a:lnTo>
                  <a:pt x="16062" y="169610"/>
                </a:lnTo>
                <a:lnTo>
                  <a:pt x="20136" y="156483"/>
                </a:lnTo>
                <a:lnTo>
                  <a:pt x="20136" y="156482"/>
                </a:lnTo>
                <a:lnTo>
                  <a:pt x="21450" y="154061"/>
                </a:lnTo>
                <a:lnTo>
                  <a:pt x="43758" y="112962"/>
                </a:lnTo>
                <a:cubicBezTo>
                  <a:pt x="89802" y="44809"/>
                  <a:pt x="167774" y="1"/>
                  <a:pt x="256212" y="1"/>
                </a:cubicBezTo>
                <a:lnTo>
                  <a:pt x="256214" y="1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2283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22" indent="0">
              <a:buNone/>
              <a:defRPr sz="2666" b="1"/>
            </a:lvl2pPr>
            <a:lvl3pPr marL="1218845" indent="0">
              <a:buNone/>
              <a:defRPr sz="2399" b="1"/>
            </a:lvl3pPr>
            <a:lvl4pPr marL="1828267" indent="0">
              <a:buNone/>
              <a:defRPr sz="2133" b="1"/>
            </a:lvl4pPr>
            <a:lvl5pPr marL="2437689" indent="0">
              <a:buNone/>
              <a:defRPr sz="2133" b="1"/>
            </a:lvl5pPr>
            <a:lvl6pPr marL="3047111" indent="0">
              <a:buNone/>
              <a:defRPr sz="2133" b="1"/>
            </a:lvl6pPr>
            <a:lvl7pPr marL="3656534" indent="0">
              <a:buNone/>
              <a:defRPr sz="2133" b="1"/>
            </a:lvl7pPr>
            <a:lvl8pPr marL="4265955" indent="0">
              <a:buNone/>
              <a:defRPr sz="2133" b="1"/>
            </a:lvl8pPr>
            <a:lvl9pPr marL="48753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199"/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22" indent="0">
              <a:buNone/>
              <a:defRPr sz="2666" b="1"/>
            </a:lvl2pPr>
            <a:lvl3pPr marL="1218845" indent="0">
              <a:buNone/>
              <a:defRPr sz="2399" b="1"/>
            </a:lvl3pPr>
            <a:lvl4pPr marL="1828267" indent="0">
              <a:buNone/>
              <a:defRPr sz="2133" b="1"/>
            </a:lvl4pPr>
            <a:lvl5pPr marL="2437689" indent="0">
              <a:buNone/>
              <a:defRPr sz="2133" b="1"/>
            </a:lvl5pPr>
            <a:lvl6pPr marL="3047111" indent="0">
              <a:buNone/>
              <a:defRPr sz="2133" b="1"/>
            </a:lvl6pPr>
            <a:lvl7pPr marL="3656534" indent="0">
              <a:buNone/>
              <a:defRPr sz="2133" b="1"/>
            </a:lvl7pPr>
            <a:lvl8pPr marL="4265955" indent="0">
              <a:buNone/>
              <a:defRPr sz="2133" b="1"/>
            </a:lvl8pPr>
            <a:lvl9pPr marL="48753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3199"/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3786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30">
            <a:extLst>
              <a:ext uri="{FF2B5EF4-FFF2-40B4-BE49-F238E27FC236}">
                <a16:creationId xmlns:a16="http://schemas.microsoft.com/office/drawing/2014/main" id="{9206EEC1-B615-6A4E-AA89-02BC24849C9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40048" y="693013"/>
            <a:ext cx="2206804" cy="4715978"/>
          </a:xfrm>
          <a:custGeom>
            <a:avLst/>
            <a:gdLst>
              <a:gd name="connsiteX0" fmla="*/ 466924 w 4408266"/>
              <a:gd name="connsiteY0" fmla="*/ 0 h 9420405"/>
              <a:gd name="connsiteX1" fmla="*/ 1057794 w 4408266"/>
              <a:gd name="connsiteY1" fmla="*/ 0 h 9420405"/>
              <a:gd name="connsiteX2" fmla="*/ 1057794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900 w 4408266"/>
              <a:gd name="connsiteY5" fmla="*/ 111037 h 9420405"/>
              <a:gd name="connsiteX6" fmla="*/ 3351900 w 4408266"/>
              <a:gd name="connsiteY6" fmla="*/ 0 h 9420405"/>
              <a:gd name="connsiteX7" fmla="*/ 3941342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2 w 4408266"/>
              <a:gd name="connsiteY10" fmla="*/ 9420405 h 9420405"/>
              <a:gd name="connsiteX11" fmla="*/ 466924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4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4" y="0"/>
                </a:moveTo>
                <a:lnTo>
                  <a:pt x="1057794" y="0"/>
                </a:lnTo>
                <a:lnTo>
                  <a:pt x="1057794" y="111037"/>
                </a:lnTo>
                <a:cubicBezTo>
                  <a:pt x="1057794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900" y="216468"/>
                  <a:pt x="3351900" y="111037"/>
                </a:cubicBezTo>
                <a:lnTo>
                  <a:pt x="3351900" y="0"/>
                </a:lnTo>
                <a:lnTo>
                  <a:pt x="3941342" y="0"/>
                </a:lnTo>
                <a:cubicBezTo>
                  <a:pt x="4199216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6" y="9420405"/>
                  <a:pt x="3941342" y="9420405"/>
                </a:cubicBezTo>
                <a:lnTo>
                  <a:pt x="466924" y="9420405"/>
                </a:lnTo>
                <a:cubicBezTo>
                  <a:pt x="209050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50" y="0"/>
                  <a:pt x="46692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66273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2">
            <a:extLst>
              <a:ext uri="{FF2B5EF4-FFF2-40B4-BE49-F238E27FC236}">
                <a16:creationId xmlns:a16="http://schemas.microsoft.com/office/drawing/2014/main" id="{E92681FC-2AB8-EF46-B61D-A1FB0644C1FF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5913854" y="1750554"/>
            <a:ext cx="2974989" cy="3930316"/>
          </a:xfrm>
          <a:custGeom>
            <a:avLst/>
            <a:gdLst>
              <a:gd name="connsiteX0" fmla="*/ 6296518 w 6552728"/>
              <a:gd name="connsiteY0" fmla="*/ 0 h 8656815"/>
              <a:gd name="connsiteX1" fmla="*/ 6552728 w 6552728"/>
              <a:gd name="connsiteY1" fmla="*/ 256212 h 8656815"/>
              <a:gd name="connsiteX2" fmla="*/ 6552728 w 6552728"/>
              <a:gd name="connsiteY2" fmla="*/ 6077487 h 8656815"/>
              <a:gd name="connsiteX3" fmla="*/ 6552728 w 6552728"/>
              <a:gd name="connsiteY3" fmla="*/ 8400603 h 8656815"/>
              <a:gd name="connsiteX4" fmla="*/ 6296518 w 6552728"/>
              <a:gd name="connsiteY4" fmla="*/ 8656815 h 8656815"/>
              <a:gd name="connsiteX5" fmla="*/ 6296516 w 6552728"/>
              <a:gd name="connsiteY5" fmla="*/ 8656815 h 8656815"/>
              <a:gd name="connsiteX6" fmla="*/ 586098 w 6552728"/>
              <a:gd name="connsiteY6" fmla="*/ 8656815 h 8656815"/>
              <a:gd name="connsiteX7" fmla="*/ 256212 w 6552728"/>
              <a:gd name="connsiteY7" fmla="*/ 8656815 h 8656815"/>
              <a:gd name="connsiteX8" fmla="*/ 0 w 6552728"/>
              <a:gd name="connsiteY8" fmla="*/ 8400601 h 8656815"/>
              <a:gd name="connsiteX9" fmla="*/ 0 w 6552728"/>
              <a:gd name="connsiteY9" fmla="*/ 2579326 h 8656815"/>
              <a:gd name="connsiteX10" fmla="*/ 0 w 6552728"/>
              <a:gd name="connsiteY10" fmla="*/ 256213 h 8656815"/>
              <a:gd name="connsiteX11" fmla="*/ 0 w 6552728"/>
              <a:gd name="connsiteY11" fmla="*/ 256212 h 8656815"/>
              <a:gd name="connsiteX12" fmla="*/ 5206 w 6552728"/>
              <a:gd name="connsiteY12" fmla="*/ 204577 h 8656815"/>
              <a:gd name="connsiteX13" fmla="*/ 16062 w 6552728"/>
              <a:gd name="connsiteY13" fmla="*/ 169610 h 8656815"/>
              <a:gd name="connsiteX14" fmla="*/ 20136 w 6552728"/>
              <a:gd name="connsiteY14" fmla="*/ 156483 h 8656815"/>
              <a:gd name="connsiteX15" fmla="*/ 20136 w 6552728"/>
              <a:gd name="connsiteY15" fmla="*/ 156482 h 8656815"/>
              <a:gd name="connsiteX16" fmla="*/ 21450 w 6552728"/>
              <a:gd name="connsiteY16" fmla="*/ 154061 h 8656815"/>
              <a:gd name="connsiteX17" fmla="*/ 43758 w 6552728"/>
              <a:gd name="connsiteY17" fmla="*/ 112962 h 8656815"/>
              <a:gd name="connsiteX18" fmla="*/ 256212 w 6552728"/>
              <a:gd name="connsiteY18" fmla="*/ 1 h 8656815"/>
              <a:gd name="connsiteX19" fmla="*/ 256214 w 6552728"/>
              <a:gd name="connsiteY19" fmla="*/ 1 h 8656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552728" h="8656815">
                <a:moveTo>
                  <a:pt x="6296518" y="0"/>
                </a:moveTo>
                <a:cubicBezTo>
                  <a:pt x="6438018" y="0"/>
                  <a:pt x="6552728" y="114711"/>
                  <a:pt x="6552728" y="256212"/>
                </a:cubicBezTo>
                <a:lnTo>
                  <a:pt x="6552728" y="6077487"/>
                </a:lnTo>
                <a:lnTo>
                  <a:pt x="6552728" y="8400603"/>
                </a:lnTo>
                <a:cubicBezTo>
                  <a:pt x="6552728" y="8542103"/>
                  <a:pt x="6438018" y="8656815"/>
                  <a:pt x="6296518" y="8656815"/>
                </a:cubicBezTo>
                <a:lnTo>
                  <a:pt x="6296516" y="8656815"/>
                </a:lnTo>
                <a:lnTo>
                  <a:pt x="586098" y="8656815"/>
                </a:lnTo>
                <a:lnTo>
                  <a:pt x="256212" y="8656815"/>
                </a:lnTo>
                <a:cubicBezTo>
                  <a:pt x="114712" y="8656813"/>
                  <a:pt x="0" y="8542103"/>
                  <a:pt x="0" y="8400601"/>
                </a:cubicBezTo>
                <a:lnTo>
                  <a:pt x="0" y="2579326"/>
                </a:lnTo>
                <a:lnTo>
                  <a:pt x="0" y="256213"/>
                </a:lnTo>
                <a:lnTo>
                  <a:pt x="0" y="256212"/>
                </a:lnTo>
                <a:cubicBezTo>
                  <a:pt x="0" y="238524"/>
                  <a:pt x="1794" y="221254"/>
                  <a:pt x="5206" y="204577"/>
                </a:cubicBezTo>
                <a:lnTo>
                  <a:pt x="16062" y="169610"/>
                </a:lnTo>
                <a:lnTo>
                  <a:pt x="20136" y="156483"/>
                </a:lnTo>
                <a:lnTo>
                  <a:pt x="20136" y="156482"/>
                </a:lnTo>
                <a:lnTo>
                  <a:pt x="21450" y="154061"/>
                </a:lnTo>
                <a:lnTo>
                  <a:pt x="43758" y="112962"/>
                </a:lnTo>
                <a:cubicBezTo>
                  <a:pt x="89802" y="44809"/>
                  <a:pt x="167774" y="1"/>
                  <a:pt x="256212" y="1"/>
                </a:cubicBezTo>
                <a:lnTo>
                  <a:pt x="256214" y="1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6574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561F0B58-9E66-254E-B276-E938C39D78C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0" y="1341011"/>
            <a:ext cx="3576048" cy="2339988"/>
          </a:xfrm>
          <a:custGeom>
            <a:avLst/>
            <a:gdLst>
              <a:gd name="connsiteX0" fmla="*/ 0 w 7153027"/>
              <a:gd name="connsiteY0" fmla="*/ 0 h 4680519"/>
              <a:gd name="connsiteX1" fmla="*/ 7153027 w 7153027"/>
              <a:gd name="connsiteY1" fmla="*/ 0 h 4680519"/>
              <a:gd name="connsiteX2" fmla="*/ 7153027 w 7153027"/>
              <a:gd name="connsiteY2" fmla="*/ 4592418 h 4680519"/>
              <a:gd name="connsiteX3" fmla="*/ 7153027 w 7153027"/>
              <a:gd name="connsiteY3" fmla="*/ 4680519 h 4680519"/>
              <a:gd name="connsiteX4" fmla="*/ 0 w 7153027"/>
              <a:gd name="connsiteY4" fmla="*/ 4680519 h 4680519"/>
              <a:gd name="connsiteX5" fmla="*/ 0 w 7153027"/>
              <a:gd name="connsiteY5" fmla="*/ 4592418 h 4680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53027" h="4680519">
                <a:moveTo>
                  <a:pt x="0" y="0"/>
                </a:moveTo>
                <a:lnTo>
                  <a:pt x="7153027" y="0"/>
                </a:lnTo>
                <a:lnTo>
                  <a:pt x="7153027" y="4592418"/>
                </a:lnTo>
                <a:lnTo>
                  <a:pt x="7153027" y="4680519"/>
                </a:lnTo>
                <a:lnTo>
                  <a:pt x="0" y="4680519"/>
                </a:lnTo>
                <a:lnTo>
                  <a:pt x="0" y="4592418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51665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399939E9-D676-8842-8BFF-4537C9787F61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990262" y="916379"/>
            <a:ext cx="2116618" cy="1949803"/>
          </a:xfrm>
          <a:custGeom>
            <a:avLst/>
            <a:gdLst>
              <a:gd name="connsiteX0" fmla="*/ 4997713 w 5230648"/>
              <a:gd name="connsiteY0" fmla="*/ 2436 h 4818339"/>
              <a:gd name="connsiteX1" fmla="*/ 5211443 w 5230648"/>
              <a:gd name="connsiteY1" fmla="*/ 375086 h 4818339"/>
              <a:gd name="connsiteX2" fmla="*/ 3885897 w 5230648"/>
              <a:gd name="connsiteY2" fmla="*/ 3817307 h 4818339"/>
              <a:gd name="connsiteX3" fmla="*/ 2859319 w 5230648"/>
              <a:gd name="connsiteY3" fmla="*/ 4594818 h 4818339"/>
              <a:gd name="connsiteX4" fmla="*/ 247850 w 5230648"/>
              <a:gd name="connsiteY4" fmla="*/ 4817485 h 4818339"/>
              <a:gd name="connsiteX5" fmla="*/ 17320 w 5230648"/>
              <a:gd name="connsiteY5" fmla="*/ 4496260 h 4818339"/>
              <a:gd name="connsiteX6" fmla="*/ 1486947 w 5230648"/>
              <a:gd name="connsiteY6" fmla="*/ 966433 h 4818339"/>
              <a:gd name="connsiteX7" fmla="*/ 2250577 w 5230648"/>
              <a:gd name="connsiteY7" fmla="*/ 371436 h 4818339"/>
              <a:gd name="connsiteX8" fmla="*/ 4923281 w 5230648"/>
              <a:gd name="connsiteY8" fmla="*/ 2757 h 4818339"/>
              <a:gd name="connsiteX9" fmla="*/ 4997713 w 5230648"/>
              <a:gd name="connsiteY9" fmla="*/ 2436 h 4818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30648" h="4818339">
                <a:moveTo>
                  <a:pt x="4997713" y="2436"/>
                </a:moveTo>
                <a:cubicBezTo>
                  <a:pt x="5164559" y="25343"/>
                  <a:pt x="5277629" y="205804"/>
                  <a:pt x="5211443" y="375086"/>
                </a:cubicBezTo>
                <a:cubicBezTo>
                  <a:pt x="3885897" y="3817307"/>
                  <a:pt x="3885897" y="3817307"/>
                  <a:pt x="3885897" y="3817307"/>
                </a:cubicBezTo>
                <a:cubicBezTo>
                  <a:pt x="3716601" y="4251691"/>
                  <a:pt x="3320379" y="4554664"/>
                  <a:pt x="2859319" y="4594818"/>
                </a:cubicBezTo>
                <a:cubicBezTo>
                  <a:pt x="247850" y="4817485"/>
                  <a:pt x="247850" y="4817485"/>
                  <a:pt x="247850" y="4817485"/>
                </a:cubicBezTo>
                <a:cubicBezTo>
                  <a:pt x="78555" y="4832086"/>
                  <a:pt x="-47516" y="4656873"/>
                  <a:pt x="17320" y="4496260"/>
                </a:cubicBezTo>
                <a:cubicBezTo>
                  <a:pt x="1486947" y="966433"/>
                  <a:pt x="1486947" y="966433"/>
                  <a:pt x="1486947" y="966433"/>
                </a:cubicBezTo>
                <a:cubicBezTo>
                  <a:pt x="1620222" y="645208"/>
                  <a:pt x="1908384" y="418890"/>
                  <a:pt x="2250577" y="371436"/>
                </a:cubicBezTo>
                <a:cubicBezTo>
                  <a:pt x="4923281" y="2757"/>
                  <a:pt x="4923281" y="2757"/>
                  <a:pt x="4923281" y="2757"/>
                </a:cubicBezTo>
                <a:cubicBezTo>
                  <a:pt x="4948945" y="-893"/>
                  <a:pt x="4973877" y="-836"/>
                  <a:pt x="4997713" y="2436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721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22">
            <a:extLst>
              <a:ext uri="{FF2B5EF4-FFF2-40B4-BE49-F238E27FC236}">
                <a16:creationId xmlns:a16="http://schemas.microsoft.com/office/drawing/2014/main" id="{F7234255-A921-8641-856A-5687F2FD162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66751" y="609899"/>
            <a:ext cx="3017295" cy="3986208"/>
          </a:xfrm>
          <a:custGeom>
            <a:avLst/>
            <a:gdLst>
              <a:gd name="connsiteX0" fmla="*/ 6296518 w 6552728"/>
              <a:gd name="connsiteY0" fmla="*/ 0 h 8656815"/>
              <a:gd name="connsiteX1" fmla="*/ 6552728 w 6552728"/>
              <a:gd name="connsiteY1" fmla="*/ 256212 h 8656815"/>
              <a:gd name="connsiteX2" fmla="*/ 6552728 w 6552728"/>
              <a:gd name="connsiteY2" fmla="*/ 6077487 h 8656815"/>
              <a:gd name="connsiteX3" fmla="*/ 6552728 w 6552728"/>
              <a:gd name="connsiteY3" fmla="*/ 8400603 h 8656815"/>
              <a:gd name="connsiteX4" fmla="*/ 6296518 w 6552728"/>
              <a:gd name="connsiteY4" fmla="*/ 8656815 h 8656815"/>
              <a:gd name="connsiteX5" fmla="*/ 6296516 w 6552728"/>
              <a:gd name="connsiteY5" fmla="*/ 8656815 h 8656815"/>
              <a:gd name="connsiteX6" fmla="*/ 586098 w 6552728"/>
              <a:gd name="connsiteY6" fmla="*/ 8656815 h 8656815"/>
              <a:gd name="connsiteX7" fmla="*/ 256212 w 6552728"/>
              <a:gd name="connsiteY7" fmla="*/ 8656815 h 8656815"/>
              <a:gd name="connsiteX8" fmla="*/ 0 w 6552728"/>
              <a:gd name="connsiteY8" fmla="*/ 8400601 h 8656815"/>
              <a:gd name="connsiteX9" fmla="*/ 0 w 6552728"/>
              <a:gd name="connsiteY9" fmla="*/ 2579326 h 8656815"/>
              <a:gd name="connsiteX10" fmla="*/ 0 w 6552728"/>
              <a:gd name="connsiteY10" fmla="*/ 256213 h 8656815"/>
              <a:gd name="connsiteX11" fmla="*/ 0 w 6552728"/>
              <a:gd name="connsiteY11" fmla="*/ 256212 h 8656815"/>
              <a:gd name="connsiteX12" fmla="*/ 5206 w 6552728"/>
              <a:gd name="connsiteY12" fmla="*/ 204577 h 8656815"/>
              <a:gd name="connsiteX13" fmla="*/ 16062 w 6552728"/>
              <a:gd name="connsiteY13" fmla="*/ 169610 h 8656815"/>
              <a:gd name="connsiteX14" fmla="*/ 20136 w 6552728"/>
              <a:gd name="connsiteY14" fmla="*/ 156483 h 8656815"/>
              <a:gd name="connsiteX15" fmla="*/ 20136 w 6552728"/>
              <a:gd name="connsiteY15" fmla="*/ 156482 h 8656815"/>
              <a:gd name="connsiteX16" fmla="*/ 21450 w 6552728"/>
              <a:gd name="connsiteY16" fmla="*/ 154061 h 8656815"/>
              <a:gd name="connsiteX17" fmla="*/ 43758 w 6552728"/>
              <a:gd name="connsiteY17" fmla="*/ 112962 h 8656815"/>
              <a:gd name="connsiteX18" fmla="*/ 256212 w 6552728"/>
              <a:gd name="connsiteY18" fmla="*/ 1 h 8656815"/>
              <a:gd name="connsiteX19" fmla="*/ 256214 w 6552728"/>
              <a:gd name="connsiteY19" fmla="*/ 1 h 8656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552728" h="8656815">
                <a:moveTo>
                  <a:pt x="6296518" y="0"/>
                </a:moveTo>
                <a:cubicBezTo>
                  <a:pt x="6438018" y="0"/>
                  <a:pt x="6552728" y="114711"/>
                  <a:pt x="6552728" y="256212"/>
                </a:cubicBezTo>
                <a:lnTo>
                  <a:pt x="6552728" y="6077487"/>
                </a:lnTo>
                <a:lnTo>
                  <a:pt x="6552728" y="8400603"/>
                </a:lnTo>
                <a:cubicBezTo>
                  <a:pt x="6552728" y="8542103"/>
                  <a:pt x="6438018" y="8656815"/>
                  <a:pt x="6296518" y="8656815"/>
                </a:cubicBezTo>
                <a:lnTo>
                  <a:pt x="6296516" y="8656815"/>
                </a:lnTo>
                <a:lnTo>
                  <a:pt x="586098" y="8656815"/>
                </a:lnTo>
                <a:lnTo>
                  <a:pt x="256212" y="8656815"/>
                </a:lnTo>
                <a:cubicBezTo>
                  <a:pt x="114712" y="8656813"/>
                  <a:pt x="0" y="8542103"/>
                  <a:pt x="0" y="8400601"/>
                </a:cubicBezTo>
                <a:lnTo>
                  <a:pt x="0" y="2579326"/>
                </a:lnTo>
                <a:lnTo>
                  <a:pt x="0" y="256213"/>
                </a:lnTo>
                <a:lnTo>
                  <a:pt x="0" y="256212"/>
                </a:lnTo>
                <a:cubicBezTo>
                  <a:pt x="0" y="238524"/>
                  <a:pt x="1794" y="221254"/>
                  <a:pt x="5206" y="204577"/>
                </a:cubicBezTo>
                <a:lnTo>
                  <a:pt x="16062" y="169610"/>
                </a:lnTo>
                <a:lnTo>
                  <a:pt x="20136" y="156483"/>
                </a:lnTo>
                <a:lnTo>
                  <a:pt x="20136" y="156482"/>
                </a:lnTo>
                <a:lnTo>
                  <a:pt x="21450" y="154061"/>
                </a:lnTo>
                <a:lnTo>
                  <a:pt x="43758" y="112962"/>
                </a:lnTo>
                <a:cubicBezTo>
                  <a:pt x="89802" y="44809"/>
                  <a:pt x="167774" y="1"/>
                  <a:pt x="256212" y="1"/>
                </a:cubicBezTo>
                <a:lnTo>
                  <a:pt x="256214" y="1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02937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0">
            <a:extLst>
              <a:ext uri="{FF2B5EF4-FFF2-40B4-BE49-F238E27FC236}">
                <a16:creationId xmlns:a16="http://schemas.microsoft.com/office/drawing/2014/main" id="{7BB9C299-543B-A74A-B24E-5B17D53AACE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876710" y="657013"/>
            <a:ext cx="2004654" cy="4283980"/>
          </a:xfrm>
          <a:custGeom>
            <a:avLst/>
            <a:gdLst>
              <a:gd name="connsiteX0" fmla="*/ 466924 w 4408266"/>
              <a:gd name="connsiteY0" fmla="*/ 0 h 9420405"/>
              <a:gd name="connsiteX1" fmla="*/ 1057794 w 4408266"/>
              <a:gd name="connsiteY1" fmla="*/ 0 h 9420405"/>
              <a:gd name="connsiteX2" fmla="*/ 1057794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900 w 4408266"/>
              <a:gd name="connsiteY5" fmla="*/ 111037 h 9420405"/>
              <a:gd name="connsiteX6" fmla="*/ 3351900 w 4408266"/>
              <a:gd name="connsiteY6" fmla="*/ 0 h 9420405"/>
              <a:gd name="connsiteX7" fmla="*/ 3941342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2 w 4408266"/>
              <a:gd name="connsiteY10" fmla="*/ 9420405 h 9420405"/>
              <a:gd name="connsiteX11" fmla="*/ 466924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4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4" y="0"/>
                </a:moveTo>
                <a:lnTo>
                  <a:pt x="1057794" y="0"/>
                </a:lnTo>
                <a:lnTo>
                  <a:pt x="1057794" y="111037"/>
                </a:lnTo>
                <a:cubicBezTo>
                  <a:pt x="1057794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900" y="216468"/>
                  <a:pt x="3351900" y="111037"/>
                </a:cubicBezTo>
                <a:lnTo>
                  <a:pt x="3351900" y="0"/>
                </a:lnTo>
                <a:lnTo>
                  <a:pt x="3941342" y="0"/>
                </a:lnTo>
                <a:cubicBezTo>
                  <a:pt x="4199216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6" y="9420405"/>
                  <a:pt x="3941342" y="9420405"/>
                </a:cubicBezTo>
                <a:lnTo>
                  <a:pt x="466924" y="9420405"/>
                </a:lnTo>
                <a:cubicBezTo>
                  <a:pt x="209050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50" y="0"/>
                  <a:pt x="46692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79882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D3BA5F6D-6D6C-564C-A2D5-02D8B8BD0EC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886932" y="1917007"/>
            <a:ext cx="2459491" cy="4926208"/>
          </a:xfrm>
          <a:custGeom>
            <a:avLst/>
            <a:gdLst>
              <a:gd name="connsiteX0" fmla="*/ 521087 w 4919623"/>
              <a:gd name="connsiteY0" fmla="*/ 0 h 9853556"/>
              <a:gd name="connsiteX1" fmla="*/ 1180498 w 4919623"/>
              <a:gd name="connsiteY1" fmla="*/ 0 h 9853556"/>
              <a:gd name="connsiteX2" fmla="*/ 1180498 w 4919623"/>
              <a:gd name="connsiteY2" fmla="*/ 123918 h 9853556"/>
              <a:gd name="connsiteX3" fmla="*/ 1393540 w 4919623"/>
              <a:gd name="connsiteY3" fmla="*/ 336961 h 9853556"/>
              <a:gd name="connsiteX4" fmla="*/ 3527675 w 4919623"/>
              <a:gd name="connsiteY4" fmla="*/ 336961 h 9853556"/>
              <a:gd name="connsiteX5" fmla="*/ 3740719 w 4919623"/>
              <a:gd name="connsiteY5" fmla="*/ 123918 h 9853556"/>
              <a:gd name="connsiteX6" fmla="*/ 3740719 w 4919623"/>
              <a:gd name="connsiteY6" fmla="*/ 0 h 9853556"/>
              <a:gd name="connsiteX7" fmla="*/ 4398536 w 4919623"/>
              <a:gd name="connsiteY7" fmla="*/ 0 h 9853556"/>
              <a:gd name="connsiteX8" fmla="*/ 4919623 w 4919623"/>
              <a:gd name="connsiteY8" fmla="*/ 521087 h 9853556"/>
              <a:gd name="connsiteX9" fmla="*/ 4919623 w 4919623"/>
              <a:gd name="connsiteY9" fmla="*/ 9853556 h 9853556"/>
              <a:gd name="connsiteX10" fmla="*/ 0 w 4919623"/>
              <a:gd name="connsiteY10" fmla="*/ 9853556 h 9853556"/>
              <a:gd name="connsiteX11" fmla="*/ 0 w 4919623"/>
              <a:gd name="connsiteY11" fmla="*/ 521087 h 9853556"/>
              <a:gd name="connsiteX12" fmla="*/ 521087 w 4919623"/>
              <a:gd name="connsiteY12" fmla="*/ 0 h 9853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19623" h="9853556">
                <a:moveTo>
                  <a:pt x="521087" y="0"/>
                </a:moveTo>
                <a:lnTo>
                  <a:pt x="1180498" y="0"/>
                </a:lnTo>
                <a:lnTo>
                  <a:pt x="1180498" y="123918"/>
                </a:lnTo>
                <a:cubicBezTo>
                  <a:pt x="1180498" y="241579"/>
                  <a:pt x="1275880" y="336961"/>
                  <a:pt x="1393540" y="336961"/>
                </a:cubicBezTo>
                <a:lnTo>
                  <a:pt x="3527675" y="336961"/>
                </a:lnTo>
                <a:cubicBezTo>
                  <a:pt x="3645334" y="336961"/>
                  <a:pt x="3740719" y="241579"/>
                  <a:pt x="3740719" y="123918"/>
                </a:cubicBezTo>
                <a:lnTo>
                  <a:pt x="3740719" y="0"/>
                </a:lnTo>
                <a:lnTo>
                  <a:pt x="4398536" y="0"/>
                </a:lnTo>
                <a:cubicBezTo>
                  <a:pt x="4686324" y="0"/>
                  <a:pt x="4919623" y="233299"/>
                  <a:pt x="4919623" y="521087"/>
                </a:cubicBezTo>
                <a:lnTo>
                  <a:pt x="4919623" y="9853556"/>
                </a:lnTo>
                <a:lnTo>
                  <a:pt x="0" y="9853556"/>
                </a:lnTo>
                <a:lnTo>
                  <a:pt x="0" y="521087"/>
                </a:lnTo>
                <a:cubicBezTo>
                  <a:pt x="0" y="233299"/>
                  <a:pt x="233300" y="0"/>
                  <a:pt x="521087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24279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5F9EFD9-8A2D-4F4D-B541-D96093A22D3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32033" y="2277006"/>
            <a:ext cx="3527933" cy="4580995"/>
          </a:xfrm>
          <a:custGeom>
            <a:avLst/>
            <a:gdLst>
              <a:gd name="connsiteX0" fmla="*/ 6780865 w 7056784"/>
              <a:gd name="connsiteY0" fmla="*/ 0 h 9163051"/>
              <a:gd name="connsiteX1" fmla="*/ 7056784 w 7056784"/>
              <a:gd name="connsiteY1" fmla="*/ 279720 h 9163051"/>
              <a:gd name="connsiteX2" fmla="*/ 7056784 w 7056784"/>
              <a:gd name="connsiteY2" fmla="*/ 6635100 h 9163051"/>
              <a:gd name="connsiteX3" fmla="*/ 7056784 w 7056784"/>
              <a:gd name="connsiteY3" fmla="*/ 9163051 h 9163051"/>
              <a:gd name="connsiteX4" fmla="*/ 0 w 7056784"/>
              <a:gd name="connsiteY4" fmla="*/ 9163051 h 9163051"/>
              <a:gd name="connsiteX5" fmla="*/ 0 w 7056784"/>
              <a:gd name="connsiteY5" fmla="*/ 2815981 h 9163051"/>
              <a:gd name="connsiteX6" fmla="*/ 0 w 7056784"/>
              <a:gd name="connsiteY6" fmla="*/ 279721 h 9163051"/>
              <a:gd name="connsiteX7" fmla="*/ 0 w 7056784"/>
              <a:gd name="connsiteY7" fmla="*/ 279720 h 9163051"/>
              <a:gd name="connsiteX8" fmla="*/ 5606 w 7056784"/>
              <a:gd name="connsiteY8" fmla="*/ 223348 h 9163051"/>
              <a:gd name="connsiteX9" fmla="*/ 17298 w 7056784"/>
              <a:gd name="connsiteY9" fmla="*/ 185173 h 9163051"/>
              <a:gd name="connsiteX10" fmla="*/ 21685 w 7056784"/>
              <a:gd name="connsiteY10" fmla="*/ 170841 h 9163051"/>
              <a:gd name="connsiteX11" fmla="*/ 21685 w 7056784"/>
              <a:gd name="connsiteY11" fmla="*/ 170840 h 9163051"/>
              <a:gd name="connsiteX12" fmla="*/ 23100 w 7056784"/>
              <a:gd name="connsiteY12" fmla="*/ 168197 h 9163051"/>
              <a:gd name="connsiteX13" fmla="*/ 47124 w 7056784"/>
              <a:gd name="connsiteY13" fmla="*/ 123327 h 9163051"/>
              <a:gd name="connsiteX14" fmla="*/ 275921 w 7056784"/>
              <a:gd name="connsiteY14" fmla="*/ 2 h 9163051"/>
              <a:gd name="connsiteX15" fmla="*/ 275923 w 7056784"/>
              <a:gd name="connsiteY15" fmla="*/ 2 h 9163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056784" h="9163051">
                <a:moveTo>
                  <a:pt x="6780865" y="0"/>
                </a:moveTo>
                <a:cubicBezTo>
                  <a:pt x="6933250" y="0"/>
                  <a:pt x="7056784" y="125236"/>
                  <a:pt x="7056784" y="279720"/>
                </a:cubicBezTo>
                <a:lnTo>
                  <a:pt x="7056784" y="6635100"/>
                </a:lnTo>
                <a:lnTo>
                  <a:pt x="7056784" y="9163051"/>
                </a:lnTo>
                <a:lnTo>
                  <a:pt x="0" y="9163051"/>
                </a:lnTo>
                <a:lnTo>
                  <a:pt x="0" y="2815981"/>
                </a:lnTo>
                <a:lnTo>
                  <a:pt x="0" y="279721"/>
                </a:lnTo>
                <a:lnTo>
                  <a:pt x="0" y="279720"/>
                </a:lnTo>
                <a:cubicBezTo>
                  <a:pt x="0" y="260409"/>
                  <a:pt x="1932" y="241555"/>
                  <a:pt x="5606" y="223348"/>
                </a:cubicBezTo>
                <a:lnTo>
                  <a:pt x="17298" y="185173"/>
                </a:lnTo>
                <a:lnTo>
                  <a:pt x="21685" y="170841"/>
                </a:lnTo>
                <a:lnTo>
                  <a:pt x="21685" y="170840"/>
                </a:lnTo>
                <a:lnTo>
                  <a:pt x="23100" y="168197"/>
                </a:lnTo>
                <a:lnTo>
                  <a:pt x="47124" y="123327"/>
                </a:lnTo>
                <a:cubicBezTo>
                  <a:pt x="96710" y="48920"/>
                  <a:pt x="180680" y="2"/>
                  <a:pt x="275921" y="2"/>
                </a:cubicBezTo>
                <a:lnTo>
                  <a:pt x="275923" y="2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24087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9">
            <a:extLst>
              <a:ext uri="{FF2B5EF4-FFF2-40B4-BE49-F238E27FC236}">
                <a16:creationId xmlns:a16="http://schemas.microsoft.com/office/drawing/2014/main" id="{84C8DAC4-7CD1-AF44-B030-A2FB76C43F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836024" y="2493034"/>
            <a:ext cx="2519952" cy="2987956"/>
          </a:xfrm>
          <a:custGeom>
            <a:avLst/>
            <a:gdLst>
              <a:gd name="connsiteX0" fmla="*/ 721980 w 4968553"/>
              <a:gd name="connsiteY0" fmla="*/ 0 h 5904656"/>
              <a:gd name="connsiteX1" fmla="*/ 4246573 w 4968553"/>
              <a:gd name="connsiteY1" fmla="*/ 0 h 5904656"/>
              <a:gd name="connsiteX2" fmla="*/ 4968553 w 4968553"/>
              <a:gd name="connsiteY2" fmla="*/ 721980 h 5904656"/>
              <a:gd name="connsiteX3" fmla="*/ 4968553 w 4968553"/>
              <a:gd name="connsiteY3" fmla="*/ 5182676 h 5904656"/>
              <a:gd name="connsiteX4" fmla="*/ 4246573 w 4968553"/>
              <a:gd name="connsiteY4" fmla="*/ 5904656 h 5904656"/>
              <a:gd name="connsiteX5" fmla="*/ 721980 w 4968553"/>
              <a:gd name="connsiteY5" fmla="*/ 5904656 h 5904656"/>
              <a:gd name="connsiteX6" fmla="*/ 0 w 4968553"/>
              <a:gd name="connsiteY6" fmla="*/ 5182676 h 5904656"/>
              <a:gd name="connsiteX7" fmla="*/ 0 w 4968553"/>
              <a:gd name="connsiteY7" fmla="*/ 721980 h 5904656"/>
              <a:gd name="connsiteX8" fmla="*/ 721980 w 4968553"/>
              <a:gd name="connsiteY8" fmla="*/ 0 h 590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68553" h="5904656">
                <a:moveTo>
                  <a:pt x="721980" y="0"/>
                </a:moveTo>
                <a:lnTo>
                  <a:pt x="4246573" y="0"/>
                </a:lnTo>
                <a:cubicBezTo>
                  <a:pt x="4645311" y="0"/>
                  <a:pt x="4968553" y="323241"/>
                  <a:pt x="4968553" y="721980"/>
                </a:cubicBezTo>
                <a:lnTo>
                  <a:pt x="4968553" y="5182676"/>
                </a:lnTo>
                <a:cubicBezTo>
                  <a:pt x="4968553" y="5581415"/>
                  <a:pt x="4645311" y="5904656"/>
                  <a:pt x="4246573" y="5904656"/>
                </a:cubicBezTo>
                <a:lnTo>
                  <a:pt x="721980" y="5904656"/>
                </a:lnTo>
                <a:cubicBezTo>
                  <a:pt x="323241" y="5904656"/>
                  <a:pt x="0" y="5581415"/>
                  <a:pt x="0" y="5182676"/>
                </a:cubicBezTo>
                <a:lnTo>
                  <a:pt x="0" y="721980"/>
                </a:lnTo>
                <a:cubicBezTo>
                  <a:pt x="0" y="323241"/>
                  <a:pt x="323241" y="0"/>
                  <a:pt x="721980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19172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E9DB36CE-C85A-F84B-BAF0-0EA6D2B7F82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3609000"/>
          </a:xfrm>
          <a:custGeom>
            <a:avLst/>
            <a:gdLst>
              <a:gd name="connsiteX0" fmla="*/ 0 w 9239287"/>
              <a:gd name="connsiteY0" fmla="*/ 0 h 3738574"/>
              <a:gd name="connsiteX1" fmla="*/ 9239287 w 9239287"/>
              <a:gd name="connsiteY1" fmla="*/ 0 h 3738574"/>
              <a:gd name="connsiteX2" fmla="*/ 9239287 w 9239287"/>
              <a:gd name="connsiteY2" fmla="*/ 3506370 h 3738574"/>
              <a:gd name="connsiteX3" fmla="*/ 9239287 w 9239287"/>
              <a:gd name="connsiteY3" fmla="*/ 3686757 h 3738574"/>
              <a:gd name="connsiteX4" fmla="*/ 9187469 w 9239287"/>
              <a:gd name="connsiteY4" fmla="*/ 3738574 h 3738574"/>
              <a:gd name="connsiteX5" fmla="*/ 9007083 w 9239287"/>
              <a:gd name="connsiteY5" fmla="*/ 3738574 h 3738574"/>
              <a:gd name="connsiteX6" fmla="*/ 232205 w 9239287"/>
              <a:gd name="connsiteY6" fmla="*/ 3738574 h 3738574"/>
              <a:gd name="connsiteX7" fmla="*/ 51817 w 9239287"/>
              <a:gd name="connsiteY7" fmla="*/ 3738574 h 3738574"/>
              <a:gd name="connsiteX8" fmla="*/ 0 w 9239287"/>
              <a:gd name="connsiteY8" fmla="*/ 3686757 h 3738574"/>
              <a:gd name="connsiteX9" fmla="*/ 0 w 9239287"/>
              <a:gd name="connsiteY9" fmla="*/ 3506370 h 373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39287" h="3738574">
                <a:moveTo>
                  <a:pt x="0" y="0"/>
                </a:moveTo>
                <a:lnTo>
                  <a:pt x="9239287" y="0"/>
                </a:lnTo>
                <a:lnTo>
                  <a:pt x="9239287" y="3506370"/>
                </a:lnTo>
                <a:lnTo>
                  <a:pt x="9239287" y="3686757"/>
                </a:lnTo>
                <a:cubicBezTo>
                  <a:pt x="9239287" y="3715375"/>
                  <a:pt x="9216089" y="3738574"/>
                  <a:pt x="9187469" y="3738574"/>
                </a:cubicBezTo>
                <a:lnTo>
                  <a:pt x="9007083" y="3738574"/>
                </a:lnTo>
                <a:lnTo>
                  <a:pt x="232205" y="3738574"/>
                </a:lnTo>
                <a:lnTo>
                  <a:pt x="51817" y="3738574"/>
                </a:lnTo>
                <a:cubicBezTo>
                  <a:pt x="23199" y="3738574"/>
                  <a:pt x="0" y="3715375"/>
                  <a:pt x="0" y="3686757"/>
                </a:cubicBezTo>
                <a:lnTo>
                  <a:pt x="0" y="3506370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C4D963AE-CD3E-0B46-A931-1DA4DC786E5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00094" y="2169006"/>
            <a:ext cx="4535913" cy="2792083"/>
          </a:xfrm>
          <a:custGeom>
            <a:avLst/>
            <a:gdLst>
              <a:gd name="connsiteX0" fmla="*/ 0 w 9239287"/>
              <a:gd name="connsiteY0" fmla="*/ 0 h 3738574"/>
              <a:gd name="connsiteX1" fmla="*/ 9239287 w 9239287"/>
              <a:gd name="connsiteY1" fmla="*/ 0 h 3738574"/>
              <a:gd name="connsiteX2" fmla="*/ 9239287 w 9239287"/>
              <a:gd name="connsiteY2" fmla="*/ 3506370 h 3738574"/>
              <a:gd name="connsiteX3" fmla="*/ 9239287 w 9239287"/>
              <a:gd name="connsiteY3" fmla="*/ 3686757 h 3738574"/>
              <a:gd name="connsiteX4" fmla="*/ 9187469 w 9239287"/>
              <a:gd name="connsiteY4" fmla="*/ 3738574 h 3738574"/>
              <a:gd name="connsiteX5" fmla="*/ 9007083 w 9239287"/>
              <a:gd name="connsiteY5" fmla="*/ 3738574 h 3738574"/>
              <a:gd name="connsiteX6" fmla="*/ 232205 w 9239287"/>
              <a:gd name="connsiteY6" fmla="*/ 3738574 h 3738574"/>
              <a:gd name="connsiteX7" fmla="*/ 51817 w 9239287"/>
              <a:gd name="connsiteY7" fmla="*/ 3738574 h 3738574"/>
              <a:gd name="connsiteX8" fmla="*/ 0 w 9239287"/>
              <a:gd name="connsiteY8" fmla="*/ 3686757 h 3738574"/>
              <a:gd name="connsiteX9" fmla="*/ 0 w 9239287"/>
              <a:gd name="connsiteY9" fmla="*/ 3506370 h 373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39287" h="3738574">
                <a:moveTo>
                  <a:pt x="0" y="0"/>
                </a:moveTo>
                <a:lnTo>
                  <a:pt x="9239287" y="0"/>
                </a:lnTo>
                <a:lnTo>
                  <a:pt x="9239287" y="3506370"/>
                </a:lnTo>
                <a:lnTo>
                  <a:pt x="9239287" y="3686757"/>
                </a:lnTo>
                <a:cubicBezTo>
                  <a:pt x="9239287" y="3715375"/>
                  <a:pt x="9216089" y="3738574"/>
                  <a:pt x="9187469" y="3738574"/>
                </a:cubicBezTo>
                <a:lnTo>
                  <a:pt x="9007083" y="3738574"/>
                </a:lnTo>
                <a:lnTo>
                  <a:pt x="232205" y="3738574"/>
                </a:lnTo>
                <a:lnTo>
                  <a:pt x="51817" y="3738574"/>
                </a:lnTo>
                <a:cubicBezTo>
                  <a:pt x="23199" y="3738574"/>
                  <a:pt x="0" y="3715375"/>
                  <a:pt x="0" y="3686757"/>
                </a:cubicBezTo>
                <a:lnTo>
                  <a:pt x="0" y="3506370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9976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212726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E9DB36CE-C85A-F84B-BAF0-0EA6D2B7F82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3609000"/>
          </a:xfrm>
          <a:custGeom>
            <a:avLst/>
            <a:gdLst>
              <a:gd name="connsiteX0" fmla="*/ 0 w 9239287"/>
              <a:gd name="connsiteY0" fmla="*/ 0 h 3738574"/>
              <a:gd name="connsiteX1" fmla="*/ 9239287 w 9239287"/>
              <a:gd name="connsiteY1" fmla="*/ 0 h 3738574"/>
              <a:gd name="connsiteX2" fmla="*/ 9239287 w 9239287"/>
              <a:gd name="connsiteY2" fmla="*/ 3506370 h 3738574"/>
              <a:gd name="connsiteX3" fmla="*/ 9239287 w 9239287"/>
              <a:gd name="connsiteY3" fmla="*/ 3686757 h 3738574"/>
              <a:gd name="connsiteX4" fmla="*/ 9187469 w 9239287"/>
              <a:gd name="connsiteY4" fmla="*/ 3738574 h 3738574"/>
              <a:gd name="connsiteX5" fmla="*/ 9007083 w 9239287"/>
              <a:gd name="connsiteY5" fmla="*/ 3738574 h 3738574"/>
              <a:gd name="connsiteX6" fmla="*/ 232205 w 9239287"/>
              <a:gd name="connsiteY6" fmla="*/ 3738574 h 3738574"/>
              <a:gd name="connsiteX7" fmla="*/ 51817 w 9239287"/>
              <a:gd name="connsiteY7" fmla="*/ 3738574 h 3738574"/>
              <a:gd name="connsiteX8" fmla="*/ 0 w 9239287"/>
              <a:gd name="connsiteY8" fmla="*/ 3686757 h 3738574"/>
              <a:gd name="connsiteX9" fmla="*/ 0 w 9239287"/>
              <a:gd name="connsiteY9" fmla="*/ 3506370 h 373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39287" h="3738574">
                <a:moveTo>
                  <a:pt x="0" y="0"/>
                </a:moveTo>
                <a:lnTo>
                  <a:pt x="9239287" y="0"/>
                </a:lnTo>
                <a:lnTo>
                  <a:pt x="9239287" y="3506370"/>
                </a:lnTo>
                <a:lnTo>
                  <a:pt x="9239287" y="3686757"/>
                </a:lnTo>
                <a:cubicBezTo>
                  <a:pt x="9239287" y="3715375"/>
                  <a:pt x="9216089" y="3738574"/>
                  <a:pt x="9187469" y="3738574"/>
                </a:cubicBezTo>
                <a:lnTo>
                  <a:pt x="9007083" y="3738574"/>
                </a:lnTo>
                <a:lnTo>
                  <a:pt x="232205" y="3738574"/>
                </a:lnTo>
                <a:lnTo>
                  <a:pt x="51817" y="3738574"/>
                </a:lnTo>
                <a:cubicBezTo>
                  <a:pt x="23199" y="3738574"/>
                  <a:pt x="0" y="3715375"/>
                  <a:pt x="0" y="3686757"/>
                </a:cubicBezTo>
                <a:lnTo>
                  <a:pt x="0" y="3506370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3" name="Рисунок 22">
            <a:extLst>
              <a:ext uri="{FF2B5EF4-FFF2-40B4-BE49-F238E27FC236}">
                <a16:creationId xmlns:a16="http://schemas.microsoft.com/office/drawing/2014/main" id="{927DCC29-0E28-7E44-BFD7-62F449631E1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677051" y="1144244"/>
            <a:ext cx="3544597" cy="4682838"/>
          </a:xfrm>
          <a:custGeom>
            <a:avLst/>
            <a:gdLst>
              <a:gd name="connsiteX0" fmla="*/ 6296518 w 6552728"/>
              <a:gd name="connsiteY0" fmla="*/ 0 h 8656815"/>
              <a:gd name="connsiteX1" fmla="*/ 6552728 w 6552728"/>
              <a:gd name="connsiteY1" fmla="*/ 256212 h 8656815"/>
              <a:gd name="connsiteX2" fmla="*/ 6552728 w 6552728"/>
              <a:gd name="connsiteY2" fmla="*/ 6077487 h 8656815"/>
              <a:gd name="connsiteX3" fmla="*/ 6552728 w 6552728"/>
              <a:gd name="connsiteY3" fmla="*/ 8400603 h 8656815"/>
              <a:gd name="connsiteX4" fmla="*/ 6296518 w 6552728"/>
              <a:gd name="connsiteY4" fmla="*/ 8656815 h 8656815"/>
              <a:gd name="connsiteX5" fmla="*/ 6296516 w 6552728"/>
              <a:gd name="connsiteY5" fmla="*/ 8656815 h 8656815"/>
              <a:gd name="connsiteX6" fmla="*/ 586098 w 6552728"/>
              <a:gd name="connsiteY6" fmla="*/ 8656815 h 8656815"/>
              <a:gd name="connsiteX7" fmla="*/ 256212 w 6552728"/>
              <a:gd name="connsiteY7" fmla="*/ 8656815 h 8656815"/>
              <a:gd name="connsiteX8" fmla="*/ 0 w 6552728"/>
              <a:gd name="connsiteY8" fmla="*/ 8400601 h 8656815"/>
              <a:gd name="connsiteX9" fmla="*/ 0 w 6552728"/>
              <a:gd name="connsiteY9" fmla="*/ 2579326 h 8656815"/>
              <a:gd name="connsiteX10" fmla="*/ 0 w 6552728"/>
              <a:gd name="connsiteY10" fmla="*/ 256213 h 8656815"/>
              <a:gd name="connsiteX11" fmla="*/ 0 w 6552728"/>
              <a:gd name="connsiteY11" fmla="*/ 256212 h 8656815"/>
              <a:gd name="connsiteX12" fmla="*/ 5206 w 6552728"/>
              <a:gd name="connsiteY12" fmla="*/ 204577 h 8656815"/>
              <a:gd name="connsiteX13" fmla="*/ 16062 w 6552728"/>
              <a:gd name="connsiteY13" fmla="*/ 169610 h 8656815"/>
              <a:gd name="connsiteX14" fmla="*/ 20136 w 6552728"/>
              <a:gd name="connsiteY14" fmla="*/ 156483 h 8656815"/>
              <a:gd name="connsiteX15" fmla="*/ 20136 w 6552728"/>
              <a:gd name="connsiteY15" fmla="*/ 156482 h 8656815"/>
              <a:gd name="connsiteX16" fmla="*/ 21450 w 6552728"/>
              <a:gd name="connsiteY16" fmla="*/ 154061 h 8656815"/>
              <a:gd name="connsiteX17" fmla="*/ 43758 w 6552728"/>
              <a:gd name="connsiteY17" fmla="*/ 112962 h 8656815"/>
              <a:gd name="connsiteX18" fmla="*/ 256212 w 6552728"/>
              <a:gd name="connsiteY18" fmla="*/ 1 h 8656815"/>
              <a:gd name="connsiteX19" fmla="*/ 256214 w 6552728"/>
              <a:gd name="connsiteY19" fmla="*/ 1 h 8656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552728" h="8656815">
                <a:moveTo>
                  <a:pt x="6296518" y="0"/>
                </a:moveTo>
                <a:cubicBezTo>
                  <a:pt x="6438018" y="0"/>
                  <a:pt x="6552728" y="114711"/>
                  <a:pt x="6552728" y="256212"/>
                </a:cubicBezTo>
                <a:lnTo>
                  <a:pt x="6552728" y="6077487"/>
                </a:lnTo>
                <a:lnTo>
                  <a:pt x="6552728" y="8400603"/>
                </a:lnTo>
                <a:cubicBezTo>
                  <a:pt x="6552728" y="8542103"/>
                  <a:pt x="6438018" y="8656815"/>
                  <a:pt x="6296518" y="8656815"/>
                </a:cubicBezTo>
                <a:lnTo>
                  <a:pt x="6296516" y="8656815"/>
                </a:lnTo>
                <a:lnTo>
                  <a:pt x="586098" y="8656815"/>
                </a:lnTo>
                <a:lnTo>
                  <a:pt x="256212" y="8656815"/>
                </a:lnTo>
                <a:cubicBezTo>
                  <a:pt x="114712" y="8656813"/>
                  <a:pt x="0" y="8542103"/>
                  <a:pt x="0" y="8400601"/>
                </a:cubicBezTo>
                <a:lnTo>
                  <a:pt x="0" y="2579326"/>
                </a:lnTo>
                <a:lnTo>
                  <a:pt x="0" y="256213"/>
                </a:lnTo>
                <a:lnTo>
                  <a:pt x="0" y="256212"/>
                </a:lnTo>
                <a:cubicBezTo>
                  <a:pt x="0" y="238524"/>
                  <a:pt x="1794" y="221254"/>
                  <a:pt x="5206" y="204577"/>
                </a:cubicBezTo>
                <a:lnTo>
                  <a:pt x="16062" y="169610"/>
                </a:lnTo>
                <a:lnTo>
                  <a:pt x="20136" y="156483"/>
                </a:lnTo>
                <a:lnTo>
                  <a:pt x="20136" y="156482"/>
                </a:lnTo>
                <a:lnTo>
                  <a:pt x="21450" y="154061"/>
                </a:lnTo>
                <a:lnTo>
                  <a:pt x="43758" y="112962"/>
                </a:lnTo>
                <a:cubicBezTo>
                  <a:pt x="89802" y="44809"/>
                  <a:pt x="167774" y="1"/>
                  <a:pt x="256212" y="1"/>
                </a:cubicBezTo>
                <a:lnTo>
                  <a:pt x="256214" y="1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10014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E9DB36CE-C85A-F84B-BAF0-0EA6D2B7F82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3609000"/>
          </a:xfrm>
          <a:custGeom>
            <a:avLst/>
            <a:gdLst>
              <a:gd name="connsiteX0" fmla="*/ 0 w 9239287"/>
              <a:gd name="connsiteY0" fmla="*/ 0 h 3738574"/>
              <a:gd name="connsiteX1" fmla="*/ 9239287 w 9239287"/>
              <a:gd name="connsiteY1" fmla="*/ 0 h 3738574"/>
              <a:gd name="connsiteX2" fmla="*/ 9239287 w 9239287"/>
              <a:gd name="connsiteY2" fmla="*/ 3506370 h 3738574"/>
              <a:gd name="connsiteX3" fmla="*/ 9239287 w 9239287"/>
              <a:gd name="connsiteY3" fmla="*/ 3686757 h 3738574"/>
              <a:gd name="connsiteX4" fmla="*/ 9187469 w 9239287"/>
              <a:gd name="connsiteY4" fmla="*/ 3738574 h 3738574"/>
              <a:gd name="connsiteX5" fmla="*/ 9007083 w 9239287"/>
              <a:gd name="connsiteY5" fmla="*/ 3738574 h 3738574"/>
              <a:gd name="connsiteX6" fmla="*/ 232205 w 9239287"/>
              <a:gd name="connsiteY6" fmla="*/ 3738574 h 3738574"/>
              <a:gd name="connsiteX7" fmla="*/ 51817 w 9239287"/>
              <a:gd name="connsiteY7" fmla="*/ 3738574 h 3738574"/>
              <a:gd name="connsiteX8" fmla="*/ 0 w 9239287"/>
              <a:gd name="connsiteY8" fmla="*/ 3686757 h 3738574"/>
              <a:gd name="connsiteX9" fmla="*/ 0 w 9239287"/>
              <a:gd name="connsiteY9" fmla="*/ 3506370 h 373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39287" h="3738574">
                <a:moveTo>
                  <a:pt x="0" y="0"/>
                </a:moveTo>
                <a:lnTo>
                  <a:pt x="9239287" y="0"/>
                </a:lnTo>
                <a:lnTo>
                  <a:pt x="9239287" y="3506370"/>
                </a:lnTo>
                <a:lnTo>
                  <a:pt x="9239287" y="3686757"/>
                </a:lnTo>
                <a:cubicBezTo>
                  <a:pt x="9239287" y="3715375"/>
                  <a:pt x="9216089" y="3738574"/>
                  <a:pt x="9187469" y="3738574"/>
                </a:cubicBezTo>
                <a:lnTo>
                  <a:pt x="9007083" y="3738574"/>
                </a:lnTo>
                <a:lnTo>
                  <a:pt x="232205" y="3738574"/>
                </a:lnTo>
                <a:lnTo>
                  <a:pt x="51817" y="3738574"/>
                </a:lnTo>
                <a:cubicBezTo>
                  <a:pt x="23199" y="3738574"/>
                  <a:pt x="0" y="3715375"/>
                  <a:pt x="0" y="3686757"/>
                </a:cubicBezTo>
                <a:lnTo>
                  <a:pt x="0" y="3506370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Рисунок 30">
            <a:extLst>
              <a:ext uri="{FF2B5EF4-FFF2-40B4-BE49-F238E27FC236}">
                <a16:creationId xmlns:a16="http://schemas.microsoft.com/office/drawing/2014/main" id="{E7BBC9D3-3EE3-054B-A649-54BA8F6BC98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263546" y="810819"/>
            <a:ext cx="2445409" cy="5225881"/>
          </a:xfrm>
          <a:custGeom>
            <a:avLst/>
            <a:gdLst>
              <a:gd name="connsiteX0" fmla="*/ 466924 w 4408266"/>
              <a:gd name="connsiteY0" fmla="*/ 0 h 9420405"/>
              <a:gd name="connsiteX1" fmla="*/ 1057794 w 4408266"/>
              <a:gd name="connsiteY1" fmla="*/ 0 h 9420405"/>
              <a:gd name="connsiteX2" fmla="*/ 1057794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900 w 4408266"/>
              <a:gd name="connsiteY5" fmla="*/ 111037 h 9420405"/>
              <a:gd name="connsiteX6" fmla="*/ 3351900 w 4408266"/>
              <a:gd name="connsiteY6" fmla="*/ 0 h 9420405"/>
              <a:gd name="connsiteX7" fmla="*/ 3941342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2 w 4408266"/>
              <a:gd name="connsiteY10" fmla="*/ 9420405 h 9420405"/>
              <a:gd name="connsiteX11" fmla="*/ 466924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4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4" y="0"/>
                </a:moveTo>
                <a:lnTo>
                  <a:pt x="1057794" y="0"/>
                </a:lnTo>
                <a:lnTo>
                  <a:pt x="1057794" y="111037"/>
                </a:lnTo>
                <a:cubicBezTo>
                  <a:pt x="1057794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900" y="216468"/>
                  <a:pt x="3351900" y="111037"/>
                </a:cubicBezTo>
                <a:lnTo>
                  <a:pt x="3351900" y="0"/>
                </a:lnTo>
                <a:lnTo>
                  <a:pt x="3941342" y="0"/>
                </a:lnTo>
                <a:cubicBezTo>
                  <a:pt x="4199216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6" y="9420405"/>
                  <a:pt x="3941342" y="9420405"/>
                </a:cubicBezTo>
                <a:lnTo>
                  <a:pt x="466924" y="9420405"/>
                </a:lnTo>
                <a:cubicBezTo>
                  <a:pt x="209050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50" y="0"/>
                  <a:pt x="46692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49779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E9DB36CE-C85A-F84B-BAF0-0EA6D2B7F82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3609000"/>
          </a:xfrm>
          <a:custGeom>
            <a:avLst/>
            <a:gdLst>
              <a:gd name="connsiteX0" fmla="*/ 0 w 9239287"/>
              <a:gd name="connsiteY0" fmla="*/ 0 h 3738574"/>
              <a:gd name="connsiteX1" fmla="*/ 9239287 w 9239287"/>
              <a:gd name="connsiteY1" fmla="*/ 0 h 3738574"/>
              <a:gd name="connsiteX2" fmla="*/ 9239287 w 9239287"/>
              <a:gd name="connsiteY2" fmla="*/ 3506370 h 3738574"/>
              <a:gd name="connsiteX3" fmla="*/ 9239287 w 9239287"/>
              <a:gd name="connsiteY3" fmla="*/ 3686757 h 3738574"/>
              <a:gd name="connsiteX4" fmla="*/ 9187469 w 9239287"/>
              <a:gd name="connsiteY4" fmla="*/ 3738574 h 3738574"/>
              <a:gd name="connsiteX5" fmla="*/ 9007083 w 9239287"/>
              <a:gd name="connsiteY5" fmla="*/ 3738574 h 3738574"/>
              <a:gd name="connsiteX6" fmla="*/ 232205 w 9239287"/>
              <a:gd name="connsiteY6" fmla="*/ 3738574 h 3738574"/>
              <a:gd name="connsiteX7" fmla="*/ 51817 w 9239287"/>
              <a:gd name="connsiteY7" fmla="*/ 3738574 h 3738574"/>
              <a:gd name="connsiteX8" fmla="*/ 0 w 9239287"/>
              <a:gd name="connsiteY8" fmla="*/ 3686757 h 3738574"/>
              <a:gd name="connsiteX9" fmla="*/ 0 w 9239287"/>
              <a:gd name="connsiteY9" fmla="*/ 3506370 h 373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39287" h="3738574">
                <a:moveTo>
                  <a:pt x="0" y="0"/>
                </a:moveTo>
                <a:lnTo>
                  <a:pt x="9239287" y="0"/>
                </a:lnTo>
                <a:lnTo>
                  <a:pt x="9239287" y="3506370"/>
                </a:lnTo>
                <a:lnTo>
                  <a:pt x="9239287" y="3686757"/>
                </a:lnTo>
                <a:cubicBezTo>
                  <a:pt x="9239287" y="3715375"/>
                  <a:pt x="9216089" y="3738574"/>
                  <a:pt x="9187469" y="3738574"/>
                </a:cubicBezTo>
                <a:lnTo>
                  <a:pt x="9007083" y="3738574"/>
                </a:lnTo>
                <a:lnTo>
                  <a:pt x="232205" y="3738574"/>
                </a:lnTo>
                <a:lnTo>
                  <a:pt x="51817" y="3738574"/>
                </a:lnTo>
                <a:cubicBezTo>
                  <a:pt x="23199" y="3738574"/>
                  <a:pt x="0" y="3715375"/>
                  <a:pt x="0" y="3686757"/>
                </a:cubicBezTo>
                <a:lnTo>
                  <a:pt x="0" y="3506370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63A934B-9646-B442-B55B-C681D5D7CC5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779986" y="1341010"/>
            <a:ext cx="2591951" cy="2387673"/>
          </a:xfrm>
          <a:custGeom>
            <a:avLst/>
            <a:gdLst>
              <a:gd name="connsiteX0" fmla="*/ 4997713 w 5230648"/>
              <a:gd name="connsiteY0" fmla="*/ 2436 h 4818339"/>
              <a:gd name="connsiteX1" fmla="*/ 5211443 w 5230648"/>
              <a:gd name="connsiteY1" fmla="*/ 375086 h 4818339"/>
              <a:gd name="connsiteX2" fmla="*/ 3885897 w 5230648"/>
              <a:gd name="connsiteY2" fmla="*/ 3817307 h 4818339"/>
              <a:gd name="connsiteX3" fmla="*/ 2859319 w 5230648"/>
              <a:gd name="connsiteY3" fmla="*/ 4594818 h 4818339"/>
              <a:gd name="connsiteX4" fmla="*/ 247850 w 5230648"/>
              <a:gd name="connsiteY4" fmla="*/ 4817485 h 4818339"/>
              <a:gd name="connsiteX5" fmla="*/ 17320 w 5230648"/>
              <a:gd name="connsiteY5" fmla="*/ 4496260 h 4818339"/>
              <a:gd name="connsiteX6" fmla="*/ 1486947 w 5230648"/>
              <a:gd name="connsiteY6" fmla="*/ 966433 h 4818339"/>
              <a:gd name="connsiteX7" fmla="*/ 2250577 w 5230648"/>
              <a:gd name="connsiteY7" fmla="*/ 371436 h 4818339"/>
              <a:gd name="connsiteX8" fmla="*/ 4923281 w 5230648"/>
              <a:gd name="connsiteY8" fmla="*/ 2757 h 4818339"/>
              <a:gd name="connsiteX9" fmla="*/ 4997713 w 5230648"/>
              <a:gd name="connsiteY9" fmla="*/ 2436 h 4818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30648" h="4818339">
                <a:moveTo>
                  <a:pt x="4997713" y="2436"/>
                </a:moveTo>
                <a:cubicBezTo>
                  <a:pt x="5164559" y="25343"/>
                  <a:pt x="5277629" y="205804"/>
                  <a:pt x="5211443" y="375086"/>
                </a:cubicBezTo>
                <a:cubicBezTo>
                  <a:pt x="3885897" y="3817307"/>
                  <a:pt x="3885897" y="3817307"/>
                  <a:pt x="3885897" y="3817307"/>
                </a:cubicBezTo>
                <a:cubicBezTo>
                  <a:pt x="3716601" y="4251691"/>
                  <a:pt x="3320379" y="4554664"/>
                  <a:pt x="2859319" y="4594818"/>
                </a:cubicBezTo>
                <a:cubicBezTo>
                  <a:pt x="247850" y="4817485"/>
                  <a:pt x="247850" y="4817485"/>
                  <a:pt x="247850" y="4817485"/>
                </a:cubicBezTo>
                <a:cubicBezTo>
                  <a:pt x="78555" y="4832086"/>
                  <a:pt x="-47516" y="4656873"/>
                  <a:pt x="17320" y="4496260"/>
                </a:cubicBezTo>
                <a:cubicBezTo>
                  <a:pt x="1486947" y="966433"/>
                  <a:pt x="1486947" y="966433"/>
                  <a:pt x="1486947" y="966433"/>
                </a:cubicBezTo>
                <a:cubicBezTo>
                  <a:pt x="1620222" y="645208"/>
                  <a:pt x="1908384" y="418890"/>
                  <a:pt x="2250577" y="371436"/>
                </a:cubicBezTo>
                <a:cubicBezTo>
                  <a:pt x="4923281" y="2757"/>
                  <a:pt x="4923281" y="2757"/>
                  <a:pt x="4923281" y="2757"/>
                </a:cubicBezTo>
                <a:cubicBezTo>
                  <a:pt x="4948945" y="-893"/>
                  <a:pt x="4973877" y="-836"/>
                  <a:pt x="4997713" y="2436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91215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E9DB36CE-C85A-F84B-BAF0-0EA6D2B7F82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1845007"/>
            <a:ext cx="4332033" cy="4067981"/>
          </a:xfrm>
          <a:custGeom>
            <a:avLst/>
            <a:gdLst>
              <a:gd name="connsiteX0" fmla="*/ 0 w 9239287"/>
              <a:gd name="connsiteY0" fmla="*/ 0 h 3738574"/>
              <a:gd name="connsiteX1" fmla="*/ 9239287 w 9239287"/>
              <a:gd name="connsiteY1" fmla="*/ 0 h 3738574"/>
              <a:gd name="connsiteX2" fmla="*/ 9239287 w 9239287"/>
              <a:gd name="connsiteY2" fmla="*/ 3506370 h 3738574"/>
              <a:gd name="connsiteX3" fmla="*/ 9239287 w 9239287"/>
              <a:gd name="connsiteY3" fmla="*/ 3686757 h 3738574"/>
              <a:gd name="connsiteX4" fmla="*/ 9187469 w 9239287"/>
              <a:gd name="connsiteY4" fmla="*/ 3738574 h 3738574"/>
              <a:gd name="connsiteX5" fmla="*/ 9007083 w 9239287"/>
              <a:gd name="connsiteY5" fmla="*/ 3738574 h 3738574"/>
              <a:gd name="connsiteX6" fmla="*/ 232205 w 9239287"/>
              <a:gd name="connsiteY6" fmla="*/ 3738574 h 3738574"/>
              <a:gd name="connsiteX7" fmla="*/ 51817 w 9239287"/>
              <a:gd name="connsiteY7" fmla="*/ 3738574 h 3738574"/>
              <a:gd name="connsiteX8" fmla="*/ 0 w 9239287"/>
              <a:gd name="connsiteY8" fmla="*/ 3686757 h 3738574"/>
              <a:gd name="connsiteX9" fmla="*/ 0 w 9239287"/>
              <a:gd name="connsiteY9" fmla="*/ 3506370 h 373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39287" h="3738574">
                <a:moveTo>
                  <a:pt x="0" y="0"/>
                </a:moveTo>
                <a:lnTo>
                  <a:pt x="9239287" y="0"/>
                </a:lnTo>
                <a:lnTo>
                  <a:pt x="9239287" y="3506370"/>
                </a:lnTo>
                <a:lnTo>
                  <a:pt x="9239287" y="3686757"/>
                </a:lnTo>
                <a:cubicBezTo>
                  <a:pt x="9239287" y="3715375"/>
                  <a:pt x="9216089" y="3738574"/>
                  <a:pt x="9187469" y="3738574"/>
                </a:cubicBezTo>
                <a:lnTo>
                  <a:pt x="9007083" y="3738574"/>
                </a:lnTo>
                <a:lnTo>
                  <a:pt x="232205" y="3738574"/>
                </a:lnTo>
                <a:lnTo>
                  <a:pt x="51817" y="3738574"/>
                </a:lnTo>
                <a:cubicBezTo>
                  <a:pt x="23199" y="3738574"/>
                  <a:pt x="0" y="3715375"/>
                  <a:pt x="0" y="3686757"/>
                </a:cubicBezTo>
                <a:lnTo>
                  <a:pt x="0" y="3506370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26918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2">
            <a:extLst>
              <a:ext uri="{FF2B5EF4-FFF2-40B4-BE49-F238E27FC236}">
                <a16:creationId xmlns:a16="http://schemas.microsoft.com/office/drawing/2014/main" id="{4BF37FA8-E5C1-C54F-8D52-098A1C34CF0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194343" y="894829"/>
            <a:ext cx="3920752" cy="5179784"/>
          </a:xfrm>
          <a:custGeom>
            <a:avLst/>
            <a:gdLst>
              <a:gd name="connsiteX0" fmla="*/ 6296518 w 6552728"/>
              <a:gd name="connsiteY0" fmla="*/ 0 h 8656815"/>
              <a:gd name="connsiteX1" fmla="*/ 6552728 w 6552728"/>
              <a:gd name="connsiteY1" fmla="*/ 256212 h 8656815"/>
              <a:gd name="connsiteX2" fmla="*/ 6552728 w 6552728"/>
              <a:gd name="connsiteY2" fmla="*/ 6077487 h 8656815"/>
              <a:gd name="connsiteX3" fmla="*/ 6552728 w 6552728"/>
              <a:gd name="connsiteY3" fmla="*/ 8400603 h 8656815"/>
              <a:gd name="connsiteX4" fmla="*/ 6296518 w 6552728"/>
              <a:gd name="connsiteY4" fmla="*/ 8656815 h 8656815"/>
              <a:gd name="connsiteX5" fmla="*/ 6296516 w 6552728"/>
              <a:gd name="connsiteY5" fmla="*/ 8656815 h 8656815"/>
              <a:gd name="connsiteX6" fmla="*/ 586098 w 6552728"/>
              <a:gd name="connsiteY6" fmla="*/ 8656815 h 8656815"/>
              <a:gd name="connsiteX7" fmla="*/ 256212 w 6552728"/>
              <a:gd name="connsiteY7" fmla="*/ 8656815 h 8656815"/>
              <a:gd name="connsiteX8" fmla="*/ 0 w 6552728"/>
              <a:gd name="connsiteY8" fmla="*/ 8400601 h 8656815"/>
              <a:gd name="connsiteX9" fmla="*/ 0 w 6552728"/>
              <a:gd name="connsiteY9" fmla="*/ 2579326 h 8656815"/>
              <a:gd name="connsiteX10" fmla="*/ 0 w 6552728"/>
              <a:gd name="connsiteY10" fmla="*/ 256213 h 8656815"/>
              <a:gd name="connsiteX11" fmla="*/ 0 w 6552728"/>
              <a:gd name="connsiteY11" fmla="*/ 256212 h 8656815"/>
              <a:gd name="connsiteX12" fmla="*/ 5206 w 6552728"/>
              <a:gd name="connsiteY12" fmla="*/ 204577 h 8656815"/>
              <a:gd name="connsiteX13" fmla="*/ 16062 w 6552728"/>
              <a:gd name="connsiteY13" fmla="*/ 169610 h 8656815"/>
              <a:gd name="connsiteX14" fmla="*/ 20136 w 6552728"/>
              <a:gd name="connsiteY14" fmla="*/ 156483 h 8656815"/>
              <a:gd name="connsiteX15" fmla="*/ 20136 w 6552728"/>
              <a:gd name="connsiteY15" fmla="*/ 156482 h 8656815"/>
              <a:gd name="connsiteX16" fmla="*/ 21450 w 6552728"/>
              <a:gd name="connsiteY16" fmla="*/ 154061 h 8656815"/>
              <a:gd name="connsiteX17" fmla="*/ 43758 w 6552728"/>
              <a:gd name="connsiteY17" fmla="*/ 112962 h 8656815"/>
              <a:gd name="connsiteX18" fmla="*/ 256212 w 6552728"/>
              <a:gd name="connsiteY18" fmla="*/ 1 h 8656815"/>
              <a:gd name="connsiteX19" fmla="*/ 256214 w 6552728"/>
              <a:gd name="connsiteY19" fmla="*/ 1 h 8656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552728" h="8656815">
                <a:moveTo>
                  <a:pt x="6296518" y="0"/>
                </a:moveTo>
                <a:cubicBezTo>
                  <a:pt x="6438018" y="0"/>
                  <a:pt x="6552728" y="114711"/>
                  <a:pt x="6552728" y="256212"/>
                </a:cubicBezTo>
                <a:lnTo>
                  <a:pt x="6552728" y="6077487"/>
                </a:lnTo>
                <a:lnTo>
                  <a:pt x="6552728" y="8400603"/>
                </a:lnTo>
                <a:cubicBezTo>
                  <a:pt x="6552728" y="8542103"/>
                  <a:pt x="6438018" y="8656815"/>
                  <a:pt x="6296518" y="8656815"/>
                </a:cubicBezTo>
                <a:lnTo>
                  <a:pt x="6296516" y="8656815"/>
                </a:lnTo>
                <a:lnTo>
                  <a:pt x="586098" y="8656815"/>
                </a:lnTo>
                <a:lnTo>
                  <a:pt x="256212" y="8656815"/>
                </a:lnTo>
                <a:cubicBezTo>
                  <a:pt x="114712" y="8656813"/>
                  <a:pt x="0" y="8542103"/>
                  <a:pt x="0" y="8400601"/>
                </a:cubicBezTo>
                <a:lnTo>
                  <a:pt x="0" y="2579326"/>
                </a:lnTo>
                <a:lnTo>
                  <a:pt x="0" y="256213"/>
                </a:lnTo>
                <a:lnTo>
                  <a:pt x="0" y="256212"/>
                </a:lnTo>
                <a:cubicBezTo>
                  <a:pt x="0" y="238524"/>
                  <a:pt x="1794" y="221254"/>
                  <a:pt x="5206" y="204577"/>
                </a:cubicBezTo>
                <a:lnTo>
                  <a:pt x="16062" y="169610"/>
                </a:lnTo>
                <a:lnTo>
                  <a:pt x="20136" y="156483"/>
                </a:lnTo>
                <a:lnTo>
                  <a:pt x="20136" y="156482"/>
                </a:lnTo>
                <a:lnTo>
                  <a:pt x="21450" y="154061"/>
                </a:lnTo>
                <a:lnTo>
                  <a:pt x="43758" y="112962"/>
                </a:lnTo>
                <a:cubicBezTo>
                  <a:pt x="89802" y="44809"/>
                  <a:pt x="167774" y="1"/>
                  <a:pt x="256212" y="1"/>
                </a:cubicBezTo>
                <a:lnTo>
                  <a:pt x="256214" y="1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34316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30">
            <a:extLst>
              <a:ext uri="{FF2B5EF4-FFF2-40B4-BE49-F238E27FC236}">
                <a16:creationId xmlns:a16="http://schemas.microsoft.com/office/drawing/2014/main" id="{88596502-FF34-8146-91AC-0BEDA495974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263546" y="810819"/>
            <a:ext cx="2445409" cy="5225881"/>
          </a:xfrm>
          <a:custGeom>
            <a:avLst/>
            <a:gdLst>
              <a:gd name="connsiteX0" fmla="*/ 466924 w 4408266"/>
              <a:gd name="connsiteY0" fmla="*/ 0 h 9420405"/>
              <a:gd name="connsiteX1" fmla="*/ 1057794 w 4408266"/>
              <a:gd name="connsiteY1" fmla="*/ 0 h 9420405"/>
              <a:gd name="connsiteX2" fmla="*/ 1057794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900 w 4408266"/>
              <a:gd name="connsiteY5" fmla="*/ 111037 h 9420405"/>
              <a:gd name="connsiteX6" fmla="*/ 3351900 w 4408266"/>
              <a:gd name="connsiteY6" fmla="*/ 0 h 9420405"/>
              <a:gd name="connsiteX7" fmla="*/ 3941342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2 w 4408266"/>
              <a:gd name="connsiteY10" fmla="*/ 9420405 h 9420405"/>
              <a:gd name="connsiteX11" fmla="*/ 466924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4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4" y="0"/>
                </a:moveTo>
                <a:lnTo>
                  <a:pt x="1057794" y="0"/>
                </a:lnTo>
                <a:lnTo>
                  <a:pt x="1057794" y="111037"/>
                </a:lnTo>
                <a:cubicBezTo>
                  <a:pt x="1057794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900" y="216468"/>
                  <a:pt x="3351900" y="111037"/>
                </a:cubicBezTo>
                <a:lnTo>
                  <a:pt x="3351900" y="0"/>
                </a:lnTo>
                <a:lnTo>
                  <a:pt x="3941342" y="0"/>
                </a:lnTo>
                <a:cubicBezTo>
                  <a:pt x="4199216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6" y="9420405"/>
                  <a:pt x="3941342" y="9420405"/>
                </a:cubicBezTo>
                <a:lnTo>
                  <a:pt x="466924" y="9420405"/>
                </a:lnTo>
                <a:cubicBezTo>
                  <a:pt x="209050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50" y="0"/>
                  <a:pt x="46692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2551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eam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7722D86E-AD34-F74E-B687-74FE668F611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265815" y="1957192"/>
            <a:ext cx="2568603" cy="2366166"/>
          </a:xfrm>
          <a:custGeom>
            <a:avLst/>
            <a:gdLst>
              <a:gd name="connsiteX0" fmla="*/ 4997713 w 5230648"/>
              <a:gd name="connsiteY0" fmla="*/ 2436 h 4818339"/>
              <a:gd name="connsiteX1" fmla="*/ 5211443 w 5230648"/>
              <a:gd name="connsiteY1" fmla="*/ 375086 h 4818339"/>
              <a:gd name="connsiteX2" fmla="*/ 3885897 w 5230648"/>
              <a:gd name="connsiteY2" fmla="*/ 3817307 h 4818339"/>
              <a:gd name="connsiteX3" fmla="*/ 2859319 w 5230648"/>
              <a:gd name="connsiteY3" fmla="*/ 4594818 h 4818339"/>
              <a:gd name="connsiteX4" fmla="*/ 247850 w 5230648"/>
              <a:gd name="connsiteY4" fmla="*/ 4817485 h 4818339"/>
              <a:gd name="connsiteX5" fmla="*/ 17320 w 5230648"/>
              <a:gd name="connsiteY5" fmla="*/ 4496260 h 4818339"/>
              <a:gd name="connsiteX6" fmla="*/ 1486947 w 5230648"/>
              <a:gd name="connsiteY6" fmla="*/ 966433 h 4818339"/>
              <a:gd name="connsiteX7" fmla="*/ 2250577 w 5230648"/>
              <a:gd name="connsiteY7" fmla="*/ 371436 h 4818339"/>
              <a:gd name="connsiteX8" fmla="*/ 4923281 w 5230648"/>
              <a:gd name="connsiteY8" fmla="*/ 2757 h 4818339"/>
              <a:gd name="connsiteX9" fmla="*/ 4997713 w 5230648"/>
              <a:gd name="connsiteY9" fmla="*/ 2436 h 4818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30648" h="4818339">
                <a:moveTo>
                  <a:pt x="4997713" y="2436"/>
                </a:moveTo>
                <a:cubicBezTo>
                  <a:pt x="5164559" y="25343"/>
                  <a:pt x="5277629" y="205804"/>
                  <a:pt x="5211443" y="375086"/>
                </a:cubicBezTo>
                <a:cubicBezTo>
                  <a:pt x="3885897" y="3817307"/>
                  <a:pt x="3885897" y="3817307"/>
                  <a:pt x="3885897" y="3817307"/>
                </a:cubicBezTo>
                <a:cubicBezTo>
                  <a:pt x="3716601" y="4251691"/>
                  <a:pt x="3320379" y="4554664"/>
                  <a:pt x="2859319" y="4594818"/>
                </a:cubicBezTo>
                <a:cubicBezTo>
                  <a:pt x="247850" y="4817485"/>
                  <a:pt x="247850" y="4817485"/>
                  <a:pt x="247850" y="4817485"/>
                </a:cubicBezTo>
                <a:cubicBezTo>
                  <a:pt x="78555" y="4832086"/>
                  <a:pt x="-47516" y="4656873"/>
                  <a:pt x="17320" y="4496260"/>
                </a:cubicBezTo>
                <a:cubicBezTo>
                  <a:pt x="1486947" y="966433"/>
                  <a:pt x="1486947" y="966433"/>
                  <a:pt x="1486947" y="966433"/>
                </a:cubicBezTo>
                <a:cubicBezTo>
                  <a:pt x="1620222" y="645208"/>
                  <a:pt x="1908384" y="418890"/>
                  <a:pt x="2250577" y="371436"/>
                </a:cubicBezTo>
                <a:cubicBezTo>
                  <a:pt x="4923281" y="2757"/>
                  <a:pt x="4923281" y="2757"/>
                  <a:pt x="4923281" y="2757"/>
                </a:cubicBezTo>
                <a:cubicBezTo>
                  <a:pt x="4948945" y="-893"/>
                  <a:pt x="4973877" y="-836"/>
                  <a:pt x="4997713" y="2436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7332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585013"/>
            <a:ext cx="10623042" cy="61199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3299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1EA8315D-353A-2C4C-8809-F3D8DC536A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1449009"/>
            <a:ext cx="10623042" cy="3851982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A80CA377-4C38-E549-97E6-0355B4091877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15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>
            <a:extLst>
              <a:ext uri="{FF2B5EF4-FFF2-40B4-BE49-F238E27FC236}">
                <a16:creationId xmlns:a16="http://schemas.microsoft.com/office/drawing/2014/main" id="{C6282626-941E-C146-9E35-EE693DBF1A6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8110" y="369014"/>
            <a:ext cx="11375782" cy="2647968"/>
          </a:xfrm>
          <a:custGeom>
            <a:avLst/>
            <a:gdLst>
              <a:gd name="connsiteX0" fmla="*/ 0 w 22754527"/>
              <a:gd name="connsiteY0" fmla="*/ 0 h 5296549"/>
              <a:gd name="connsiteX1" fmla="*/ 22754527 w 22754527"/>
              <a:gd name="connsiteY1" fmla="*/ 0 h 5296549"/>
              <a:gd name="connsiteX2" fmla="*/ 22754527 w 22754527"/>
              <a:gd name="connsiteY2" fmla="*/ 5296549 h 5296549"/>
              <a:gd name="connsiteX3" fmla="*/ 0 w 22754527"/>
              <a:gd name="connsiteY3" fmla="*/ 5296549 h 5296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754527" h="5296549">
                <a:moveTo>
                  <a:pt x="0" y="0"/>
                </a:moveTo>
                <a:lnTo>
                  <a:pt x="22754527" y="0"/>
                </a:lnTo>
                <a:lnTo>
                  <a:pt x="22754527" y="5296549"/>
                </a:lnTo>
                <a:lnTo>
                  <a:pt x="0" y="5296549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8" y="4472995"/>
            <a:ext cx="10586960" cy="1494934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32922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12">
            <a:extLst>
              <a:ext uri="{FF2B5EF4-FFF2-40B4-BE49-F238E27FC236}">
                <a16:creationId xmlns:a16="http://schemas.microsoft.com/office/drawing/2014/main" id="{4F94C411-5B1F-8C41-A55F-C554AF5EB3E0}"/>
              </a:ext>
            </a:extLst>
          </p:cNvPr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48115" y="945012"/>
            <a:ext cx="6839869" cy="5425746"/>
          </a:xfrm>
          <a:custGeom>
            <a:avLst/>
            <a:gdLst>
              <a:gd name="T0" fmla="*/ 411 w 13934"/>
              <a:gd name="T1" fmla="*/ 8296 h 11124"/>
              <a:gd name="T2" fmla="*/ 13141 w 13934"/>
              <a:gd name="T3" fmla="*/ 5957 h 11124"/>
              <a:gd name="T4" fmla="*/ 12107 w 13934"/>
              <a:gd name="T5" fmla="*/ 6190 h 11124"/>
              <a:gd name="T6" fmla="*/ 10628 w 13934"/>
              <a:gd name="T7" fmla="*/ 4884 h 11124"/>
              <a:gd name="T8" fmla="*/ 9948 w 13934"/>
              <a:gd name="T9" fmla="*/ 1315 h 11124"/>
              <a:gd name="T10" fmla="*/ 9226 w 13934"/>
              <a:gd name="T11" fmla="*/ 5067 h 11124"/>
              <a:gd name="T12" fmla="*/ 9686 w 13934"/>
              <a:gd name="T13" fmla="*/ 1144 h 11124"/>
              <a:gd name="T14" fmla="*/ 9789 w 13934"/>
              <a:gd name="T15" fmla="*/ 1102 h 11124"/>
              <a:gd name="T16" fmla="*/ 10002 w 13934"/>
              <a:gd name="T17" fmla="*/ 1124 h 11124"/>
              <a:gd name="T18" fmla="*/ 11366 w 13934"/>
              <a:gd name="T19" fmla="*/ 8703 h 11124"/>
              <a:gd name="T20" fmla="*/ 8779 w 13934"/>
              <a:gd name="T21" fmla="*/ 1237 h 11124"/>
              <a:gd name="T22" fmla="*/ 7653 w 13934"/>
              <a:gd name="T23" fmla="*/ 9868 h 11124"/>
              <a:gd name="T24" fmla="*/ 6642 w 13934"/>
              <a:gd name="T25" fmla="*/ 1970 h 11124"/>
              <a:gd name="T26" fmla="*/ 6102 w 13934"/>
              <a:gd name="T27" fmla="*/ 10234 h 11124"/>
              <a:gd name="T28" fmla="*/ 6265 w 13934"/>
              <a:gd name="T29" fmla="*/ 10020 h 11124"/>
              <a:gd name="T30" fmla="*/ 4062 w 13934"/>
              <a:gd name="T31" fmla="*/ 3115 h 11124"/>
              <a:gd name="T32" fmla="*/ 2906 w 13934"/>
              <a:gd name="T33" fmla="*/ 7856 h 11124"/>
              <a:gd name="T34" fmla="*/ 10399 w 13934"/>
              <a:gd name="T35" fmla="*/ 3292 h 11124"/>
              <a:gd name="T36" fmla="*/ 11364 w 13934"/>
              <a:gd name="T37" fmla="*/ 1036 h 11124"/>
              <a:gd name="T38" fmla="*/ 11173 w 13934"/>
              <a:gd name="T39" fmla="*/ 3228 h 11124"/>
              <a:gd name="T40" fmla="*/ 11074 w 13934"/>
              <a:gd name="T41" fmla="*/ 2707 h 11124"/>
              <a:gd name="T42" fmla="*/ 10864 w 13934"/>
              <a:gd name="T43" fmla="*/ 3345 h 11124"/>
              <a:gd name="T44" fmla="*/ 12370 w 13934"/>
              <a:gd name="T45" fmla="*/ 1768 h 11124"/>
              <a:gd name="T46" fmla="*/ 12798 w 13934"/>
              <a:gd name="T47" fmla="*/ 5987 h 11124"/>
              <a:gd name="T48" fmla="*/ 10472 w 13934"/>
              <a:gd name="T49" fmla="*/ 4624 h 11124"/>
              <a:gd name="T50" fmla="*/ 11985 w 13934"/>
              <a:gd name="T51" fmla="*/ 3010 h 11124"/>
              <a:gd name="T52" fmla="*/ 9798 w 13934"/>
              <a:gd name="T53" fmla="*/ 586 h 11124"/>
              <a:gd name="T54" fmla="*/ 1287 w 13934"/>
              <a:gd name="T55" fmla="*/ 5532 h 11124"/>
              <a:gd name="T56" fmla="*/ 4340 w 13934"/>
              <a:gd name="T57" fmla="*/ 10336 h 11124"/>
              <a:gd name="T58" fmla="*/ 11040 w 13934"/>
              <a:gd name="T59" fmla="*/ 9066 h 11124"/>
              <a:gd name="T60" fmla="*/ 12923 w 13934"/>
              <a:gd name="T61" fmla="*/ 6799 h 11124"/>
              <a:gd name="T62" fmla="*/ 2688 w 13934"/>
              <a:gd name="T63" fmla="*/ 4323 h 11124"/>
              <a:gd name="T64" fmla="*/ 10822 w 13934"/>
              <a:gd name="T65" fmla="*/ 9146 h 11124"/>
              <a:gd name="T66" fmla="*/ 10767 w 13934"/>
              <a:gd name="T67" fmla="*/ 9145 h 11124"/>
              <a:gd name="T68" fmla="*/ 8847 w 13934"/>
              <a:gd name="T69" fmla="*/ 9695 h 11124"/>
              <a:gd name="T70" fmla="*/ 7959 w 13934"/>
              <a:gd name="T71" fmla="*/ 9883 h 11124"/>
              <a:gd name="T72" fmla="*/ 10501 w 13934"/>
              <a:gd name="T73" fmla="*/ 4631 h 11124"/>
              <a:gd name="T74" fmla="*/ 12686 w 13934"/>
              <a:gd name="T75" fmla="*/ 3026 h 11124"/>
              <a:gd name="T76" fmla="*/ 11777 w 13934"/>
              <a:gd name="T77" fmla="*/ 7760 h 11124"/>
              <a:gd name="T78" fmla="*/ 1626 w 13934"/>
              <a:gd name="T79" fmla="*/ 4347 h 11124"/>
              <a:gd name="T80" fmla="*/ 845 w 13934"/>
              <a:gd name="T81" fmla="*/ 4931 h 11124"/>
              <a:gd name="T82" fmla="*/ 11446 w 13934"/>
              <a:gd name="T83" fmla="*/ 3226 h 11124"/>
              <a:gd name="T84" fmla="*/ 10393 w 13934"/>
              <a:gd name="T85" fmla="*/ 542 h 11124"/>
              <a:gd name="T86" fmla="*/ 13588 w 13934"/>
              <a:gd name="T87" fmla="*/ 4175 h 11124"/>
              <a:gd name="T88" fmla="*/ 13216 w 13934"/>
              <a:gd name="T89" fmla="*/ 2077 h 11124"/>
              <a:gd name="T90" fmla="*/ 7750 w 13934"/>
              <a:gd name="T91" fmla="*/ 864 h 11124"/>
              <a:gd name="T92" fmla="*/ 12452 w 13934"/>
              <a:gd name="T93" fmla="*/ 1533 h 11124"/>
              <a:gd name="T94" fmla="*/ 2264 w 13934"/>
              <a:gd name="T95" fmla="*/ 7755 h 11124"/>
              <a:gd name="T96" fmla="*/ 2116 w 13934"/>
              <a:gd name="T97" fmla="*/ 8096 h 11124"/>
              <a:gd name="T98" fmla="*/ 13773 w 13934"/>
              <a:gd name="T99" fmla="*/ 6270 h 11124"/>
              <a:gd name="T100" fmla="*/ 12522 w 13934"/>
              <a:gd name="T101" fmla="*/ 5628 h 11124"/>
              <a:gd name="T102" fmla="*/ 13388 w 13934"/>
              <a:gd name="T103" fmla="*/ 5463 h 11124"/>
              <a:gd name="T104" fmla="*/ 11154 w 13934"/>
              <a:gd name="T105" fmla="*/ 4695 h 11124"/>
              <a:gd name="T106" fmla="*/ 2507 w 13934"/>
              <a:gd name="T107" fmla="*/ 10847 h 11124"/>
              <a:gd name="T108" fmla="*/ 500 w 13934"/>
              <a:gd name="T109" fmla="*/ 8473 h 11124"/>
              <a:gd name="T110" fmla="*/ 2356 w 13934"/>
              <a:gd name="T111" fmla="*/ 8784 h 11124"/>
              <a:gd name="T112" fmla="*/ 2110 w 13934"/>
              <a:gd name="T113" fmla="*/ 4646 h 11124"/>
              <a:gd name="T114" fmla="*/ 2152 w 13934"/>
              <a:gd name="T115" fmla="*/ 4422 h 11124"/>
              <a:gd name="T116" fmla="*/ 10788 w 13934"/>
              <a:gd name="T117" fmla="*/ 9162 h 11124"/>
              <a:gd name="T118" fmla="*/ 8682 w 13934"/>
              <a:gd name="T119" fmla="*/ 9683 h 11124"/>
              <a:gd name="T120" fmla="*/ 12294 w 13934"/>
              <a:gd name="T121" fmla="*/ 7686 h 11124"/>
              <a:gd name="T122" fmla="*/ 11204 w 13934"/>
              <a:gd name="T123" fmla="*/ 7907 h 11124"/>
              <a:gd name="T124" fmla="*/ 11836 w 13934"/>
              <a:gd name="T125" fmla="*/ 2650 h 11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934" h="11124">
                <a:moveTo>
                  <a:pt x="13713" y="6261"/>
                </a:moveTo>
                <a:lnTo>
                  <a:pt x="13710" y="6263"/>
                </a:lnTo>
                <a:lnTo>
                  <a:pt x="13708" y="6261"/>
                </a:lnTo>
                <a:lnTo>
                  <a:pt x="13705" y="6261"/>
                </a:lnTo>
                <a:lnTo>
                  <a:pt x="13704" y="6259"/>
                </a:lnTo>
                <a:lnTo>
                  <a:pt x="13703" y="6258"/>
                </a:lnTo>
                <a:lnTo>
                  <a:pt x="13701" y="6255"/>
                </a:lnTo>
                <a:lnTo>
                  <a:pt x="13703" y="6253"/>
                </a:lnTo>
                <a:lnTo>
                  <a:pt x="13704" y="6250"/>
                </a:lnTo>
                <a:lnTo>
                  <a:pt x="13711" y="6246"/>
                </a:lnTo>
                <a:lnTo>
                  <a:pt x="13718" y="6245"/>
                </a:lnTo>
                <a:lnTo>
                  <a:pt x="13722" y="6244"/>
                </a:lnTo>
                <a:lnTo>
                  <a:pt x="13723" y="6244"/>
                </a:lnTo>
                <a:lnTo>
                  <a:pt x="13723" y="6246"/>
                </a:lnTo>
                <a:lnTo>
                  <a:pt x="13722" y="6250"/>
                </a:lnTo>
                <a:lnTo>
                  <a:pt x="13718" y="6255"/>
                </a:lnTo>
                <a:lnTo>
                  <a:pt x="13713" y="6261"/>
                </a:lnTo>
                <a:close/>
                <a:moveTo>
                  <a:pt x="2486" y="10840"/>
                </a:moveTo>
                <a:lnTo>
                  <a:pt x="2491" y="10830"/>
                </a:lnTo>
                <a:lnTo>
                  <a:pt x="2497" y="10821"/>
                </a:lnTo>
                <a:lnTo>
                  <a:pt x="2500" y="10817"/>
                </a:lnTo>
                <a:lnTo>
                  <a:pt x="2501" y="10813"/>
                </a:lnTo>
                <a:lnTo>
                  <a:pt x="2500" y="10811"/>
                </a:lnTo>
                <a:lnTo>
                  <a:pt x="2496" y="10808"/>
                </a:lnTo>
                <a:lnTo>
                  <a:pt x="2488" y="10813"/>
                </a:lnTo>
                <a:lnTo>
                  <a:pt x="2483" y="10820"/>
                </a:lnTo>
                <a:lnTo>
                  <a:pt x="2482" y="10824"/>
                </a:lnTo>
                <a:lnTo>
                  <a:pt x="2482" y="10829"/>
                </a:lnTo>
                <a:lnTo>
                  <a:pt x="2483" y="10834"/>
                </a:lnTo>
                <a:lnTo>
                  <a:pt x="2486" y="10840"/>
                </a:lnTo>
                <a:close/>
                <a:moveTo>
                  <a:pt x="1001" y="8481"/>
                </a:moveTo>
                <a:lnTo>
                  <a:pt x="1001" y="8485"/>
                </a:lnTo>
                <a:lnTo>
                  <a:pt x="1002" y="8487"/>
                </a:lnTo>
                <a:lnTo>
                  <a:pt x="1003" y="8488"/>
                </a:lnTo>
                <a:lnTo>
                  <a:pt x="1004" y="8489"/>
                </a:lnTo>
                <a:lnTo>
                  <a:pt x="1008" y="8488"/>
                </a:lnTo>
                <a:lnTo>
                  <a:pt x="1015" y="8485"/>
                </a:lnTo>
                <a:lnTo>
                  <a:pt x="1011" y="8481"/>
                </a:lnTo>
                <a:lnTo>
                  <a:pt x="1007" y="8480"/>
                </a:lnTo>
                <a:lnTo>
                  <a:pt x="1004" y="8480"/>
                </a:lnTo>
                <a:lnTo>
                  <a:pt x="1001" y="8481"/>
                </a:lnTo>
                <a:close/>
                <a:moveTo>
                  <a:pt x="1341" y="9007"/>
                </a:moveTo>
                <a:lnTo>
                  <a:pt x="1338" y="9008"/>
                </a:lnTo>
                <a:lnTo>
                  <a:pt x="1336" y="9010"/>
                </a:lnTo>
                <a:lnTo>
                  <a:pt x="1334" y="9011"/>
                </a:lnTo>
                <a:lnTo>
                  <a:pt x="1334" y="9014"/>
                </a:lnTo>
                <a:lnTo>
                  <a:pt x="1334" y="9016"/>
                </a:lnTo>
                <a:lnTo>
                  <a:pt x="1336" y="9017"/>
                </a:lnTo>
                <a:lnTo>
                  <a:pt x="1337" y="9020"/>
                </a:lnTo>
                <a:lnTo>
                  <a:pt x="1339" y="9022"/>
                </a:lnTo>
                <a:lnTo>
                  <a:pt x="1343" y="9021"/>
                </a:lnTo>
                <a:lnTo>
                  <a:pt x="1346" y="9021"/>
                </a:lnTo>
                <a:lnTo>
                  <a:pt x="1347" y="9019"/>
                </a:lnTo>
                <a:lnTo>
                  <a:pt x="1348" y="9016"/>
                </a:lnTo>
                <a:lnTo>
                  <a:pt x="1347" y="9015"/>
                </a:lnTo>
                <a:lnTo>
                  <a:pt x="1347" y="9012"/>
                </a:lnTo>
                <a:lnTo>
                  <a:pt x="1344" y="9010"/>
                </a:lnTo>
                <a:lnTo>
                  <a:pt x="1341" y="9007"/>
                </a:lnTo>
                <a:close/>
                <a:moveTo>
                  <a:pt x="1008" y="8007"/>
                </a:moveTo>
                <a:lnTo>
                  <a:pt x="1002" y="8008"/>
                </a:lnTo>
                <a:lnTo>
                  <a:pt x="999" y="8012"/>
                </a:lnTo>
                <a:lnTo>
                  <a:pt x="999" y="8016"/>
                </a:lnTo>
                <a:lnTo>
                  <a:pt x="1001" y="8019"/>
                </a:lnTo>
                <a:lnTo>
                  <a:pt x="1004" y="8023"/>
                </a:lnTo>
                <a:lnTo>
                  <a:pt x="1010" y="8024"/>
                </a:lnTo>
                <a:lnTo>
                  <a:pt x="1016" y="8023"/>
                </a:lnTo>
                <a:lnTo>
                  <a:pt x="1022" y="8018"/>
                </a:lnTo>
                <a:lnTo>
                  <a:pt x="1015" y="8010"/>
                </a:lnTo>
                <a:lnTo>
                  <a:pt x="1008" y="8007"/>
                </a:lnTo>
                <a:close/>
                <a:moveTo>
                  <a:pt x="1018" y="7565"/>
                </a:moveTo>
                <a:lnTo>
                  <a:pt x="1020" y="7573"/>
                </a:lnTo>
                <a:lnTo>
                  <a:pt x="1021" y="7579"/>
                </a:lnTo>
                <a:lnTo>
                  <a:pt x="1022" y="7583"/>
                </a:lnTo>
                <a:lnTo>
                  <a:pt x="1024" y="7587"/>
                </a:lnTo>
                <a:lnTo>
                  <a:pt x="1027" y="7588"/>
                </a:lnTo>
                <a:lnTo>
                  <a:pt x="1031" y="7589"/>
                </a:lnTo>
                <a:lnTo>
                  <a:pt x="1036" y="7589"/>
                </a:lnTo>
                <a:lnTo>
                  <a:pt x="1044" y="7589"/>
                </a:lnTo>
                <a:lnTo>
                  <a:pt x="1054" y="7606"/>
                </a:lnTo>
                <a:lnTo>
                  <a:pt x="1061" y="7612"/>
                </a:lnTo>
                <a:lnTo>
                  <a:pt x="1062" y="7611"/>
                </a:lnTo>
                <a:lnTo>
                  <a:pt x="1059" y="7604"/>
                </a:lnTo>
                <a:lnTo>
                  <a:pt x="1053" y="7594"/>
                </a:lnTo>
                <a:lnTo>
                  <a:pt x="1044" y="7583"/>
                </a:lnTo>
                <a:lnTo>
                  <a:pt x="1032" y="7573"/>
                </a:lnTo>
                <a:lnTo>
                  <a:pt x="1018" y="7565"/>
                </a:lnTo>
                <a:close/>
                <a:moveTo>
                  <a:pt x="841" y="9230"/>
                </a:moveTo>
                <a:lnTo>
                  <a:pt x="843" y="9236"/>
                </a:lnTo>
                <a:lnTo>
                  <a:pt x="844" y="9240"/>
                </a:lnTo>
                <a:lnTo>
                  <a:pt x="845" y="9244"/>
                </a:lnTo>
                <a:lnTo>
                  <a:pt x="848" y="9246"/>
                </a:lnTo>
                <a:lnTo>
                  <a:pt x="850" y="9246"/>
                </a:lnTo>
                <a:lnTo>
                  <a:pt x="854" y="9246"/>
                </a:lnTo>
                <a:lnTo>
                  <a:pt x="861" y="9245"/>
                </a:lnTo>
                <a:lnTo>
                  <a:pt x="867" y="9243"/>
                </a:lnTo>
                <a:lnTo>
                  <a:pt x="862" y="9232"/>
                </a:lnTo>
                <a:lnTo>
                  <a:pt x="857" y="9226"/>
                </a:lnTo>
                <a:lnTo>
                  <a:pt x="853" y="9225"/>
                </a:lnTo>
                <a:lnTo>
                  <a:pt x="849" y="9225"/>
                </a:lnTo>
                <a:lnTo>
                  <a:pt x="847" y="9226"/>
                </a:lnTo>
                <a:lnTo>
                  <a:pt x="841" y="9230"/>
                </a:lnTo>
                <a:close/>
                <a:moveTo>
                  <a:pt x="338" y="7841"/>
                </a:moveTo>
                <a:lnTo>
                  <a:pt x="346" y="7842"/>
                </a:lnTo>
                <a:lnTo>
                  <a:pt x="352" y="7841"/>
                </a:lnTo>
                <a:lnTo>
                  <a:pt x="358" y="7839"/>
                </a:lnTo>
                <a:lnTo>
                  <a:pt x="361" y="7834"/>
                </a:lnTo>
                <a:lnTo>
                  <a:pt x="363" y="7828"/>
                </a:lnTo>
                <a:lnTo>
                  <a:pt x="361" y="7821"/>
                </a:lnTo>
                <a:lnTo>
                  <a:pt x="359" y="7814"/>
                </a:lnTo>
                <a:lnTo>
                  <a:pt x="354" y="7806"/>
                </a:lnTo>
                <a:lnTo>
                  <a:pt x="346" y="7825"/>
                </a:lnTo>
                <a:lnTo>
                  <a:pt x="338" y="7841"/>
                </a:lnTo>
                <a:close/>
                <a:moveTo>
                  <a:pt x="1682" y="8697"/>
                </a:moveTo>
                <a:lnTo>
                  <a:pt x="1691" y="8690"/>
                </a:lnTo>
                <a:lnTo>
                  <a:pt x="1699" y="8683"/>
                </a:lnTo>
                <a:lnTo>
                  <a:pt x="1702" y="8679"/>
                </a:lnTo>
                <a:lnTo>
                  <a:pt x="1705" y="8674"/>
                </a:lnTo>
                <a:lnTo>
                  <a:pt x="1706" y="8667"/>
                </a:lnTo>
                <a:lnTo>
                  <a:pt x="1707" y="8660"/>
                </a:lnTo>
                <a:lnTo>
                  <a:pt x="1696" y="8658"/>
                </a:lnTo>
                <a:lnTo>
                  <a:pt x="1685" y="8660"/>
                </a:lnTo>
                <a:lnTo>
                  <a:pt x="1676" y="8666"/>
                </a:lnTo>
                <a:lnTo>
                  <a:pt x="1668" y="8674"/>
                </a:lnTo>
                <a:lnTo>
                  <a:pt x="1664" y="8683"/>
                </a:lnTo>
                <a:lnTo>
                  <a:pt x="1664" y="8690"/>
                </a:lnTo>
                <a:lnTo>
                  <a:pt x="1671" y="8695"/>
                </a:lnTo>
                <a:lnTo>
                  <a:pt x="1682" y="8697"/>
                </a:lnTo>
                <a:close/>
                <a:moveTo>
                  <a:pt x="937" y="8509"/>
                </a:moveTo>
                <a:lnTo>
                  <a:pt x="920" y="8509"/>
                </a:lnTo>
                <a:lnTo>
                  <a:pt x="905" y="8512"/>
                </a:lnTo>
                <a:lnTo>
                  <a:pt x="897" y="8516"/>
                </a:lnTo>
                <a:lnTo>
                  <a:pt x="891" y="8520"/>
                </a:lnTo>
                <a:lnTo>
                  <a:pt x="883" y="8525"/>
                </a:lnTo>
                <a:lnTo>
                  <a:pt x="877" y="8531"/>
                </a:lnTo>
                <a:lnTo>
                  <a:pt x="887" y="8535"/>
                </a:lnTo>
                <a:lnTo>
                  <a:pt x="896" y="8537"/>
                </a:lnTo>
                <a:lnTo>
                  <a:pt x="905" y="8537"/>
                </a:lnTo>
                <a:lnTo>
                  <a:pt x="914" y="8536"/>
                </a:lnTo>
                <a:lnTo>
                  <a:pt x="922" y="8532"/>
                </a:lnTo>
                <a:lnTo>
                  <a:pt x="928" y="8526"/>
                </a:lnTo>
                <a:lnTo>
                  <a:pt x="933" y="8520"/>
                </a:lnTo>
                <a:lnTo>
                  <a:pt x="937" y="8509"/>
                </a:lnTo>
                <a:close/>
                <a:moveTo>
                  <a:pt x="1896" y="7662"/>
                </a:moveTo>
                <a:lnTo>
                  <a:pt x="1895" y="7678"/>
                </a:lnTo>
                <a:lnTo>
                  <a:pt x="1900" y="7694"/>
                </a:lnTo>
                <a:lnTo>
                  <a:pt x="1910" y="7708"/>
                </a:lnTo>
                <a:lnTo>
                  <a:pt x="1924" y="7719"/>
                </a:lnTo>
                <a:lnTo>
                  <a:pt x="1939" y="7725"/>
                </a:lnTo>
                <a:lnTo>
                  <a:pt x="1955" y="7727"/>
                </a:lnTo>
                <a:lnTo>
                  <a:pt x="1969" y="7722"/>
                </a:lnTo>
                <a:lnTo>
                  <a:pt x="1979" y="7706"/>
                </a:lnTo>
                <a:lnTo>
                  <a:pt x="1979" y="7694"/>
                </a:lnTo>
                <a:lnTo>
                  <a:pt x="1972" y="7681"/>
                </a:lnTo>
                <a:lnTo>
                  <a:pt x="1962" y="7667"/>
                </a:lnTo>
                <a:lnTo>
                  <a:pt x="1948" y="7657"/>
                </a:lnTo>
                <a:lnTo>
                  <a:pt x="1934" y="7649"/>
                </a:lnTo>
                <a:lnTo>
                  <a:pt x="1919" y="7646"/>
                </a:lnTo>
                <a:lnTo>
                  <a:pt x="1906" y="7650"/>
                </a:lnTo>
                <a:lnTo>
                  <a:pt x="1896" y="7662"/>
                </a:lnTo>
                <a:close/>
                <a:moveTo>
                  <a:pt x="1856" y="7743"/>
                </a:moveTo>
                <a:lnTo>
                  <a:pt x="1859" y="7757"/>
                </a:lnTo>
                <a:lnTo>
                  <a:pt x="1867" y="7771"/>
                </a:lnTo>
                <a:lnTo>
                  <a:pt x="1878" y="7784"/>
                </a:lnTo>
                <a:lnTo>
                  <a:pt x="1893" y="7794"/>
                </a:lnTo>
                <a:lnTo>
                  <a:pt x="1910" y="7800"/>
                </a:lnTo>
                <a:lnTo>
                  <a:pt x="1926" y="7800"/>
                </a:lnTo>
                <a:lnTo>
                  <a:pt x="1939" y="7794"/>
                </a:lnTo>
                <a:lnTo>
                  <a:pt x="1949" y="7779"/>
                </a:lnTo>
                <a:lnTo>
                  <a:pt x="1948" y="7765"/>
                </a:lnTo>
                <a:lnTo>
                  <a:pt x="1940" y="7752"/>
                </a:lnTo>
                <a:lnTo>
                  <a:pt x="1929" y="7739"/>
                </a:lnTo>
                <a:lnTo>
                  <a:pt x="1914" y="7729"/>
                </a:lnTo>
                <a:lnTo>
                  <a:pt x="1897" y="7724"/>
                </a:lnTo>
                <a:lnTo>
                  <a:pt x="1881" y="7723"/>
                </a:lnTo>
                <a:lnTo>
                  <a:pt x="1867" y="7729"/>
                </a:lnTo>
                <a:lnTo>
                  <a:pt x="1856" y="7743"/>
                </a:lnTo>
                <a:close/>
                <a:moveTo>
                  <a:pt x="1304" y="8704"/>
                </a:moveTo>
                <a:lnTo>
                  <a:pt x="1290" y="8716"/>
                </a:lnTo>
                <a:lnTo>
                  <a:pt x="1276" y="8728"/>
                </a:lnTo>
                <a:lnTo>
                  <a:pt x="1262" y="8744"/>
                </a:lnTo>
                <a:lnTo>
                  <a:pt x="1250" y="8758"/>
                </a:lnTo>
                <a:lnTo>
                  <a:pt x="1240" y="8774"/>
                </a:lnTo>
                <a:lnTo>
                  <a:pt x="1232" y="8791"/>
                </a:lnTo>
                <a:lnTo>
                  <a:pt x="1229" y="8807"/>
                </a:lnTo>
                <a:lnTo>
                  <a:pt x="1229" y="8824"/>
                </a:lnTo>
                <a:lnTo>
                  <a:pt x="1244" y="8816"/>
                </a:lnTo>
                <a:lnTo>
                  <a:pt x="1257" y="8805"/>
                </a:lnTo>
                <a:lnTo>
                  <a:pt x="1267" y="8791"/>
                </a:lnTo>
                <a:lnTo>
                  <a:pt x="1276" y="8773"/>
                </a:lnTo>
                <a:lnTo>
                  <a:pt x="1291" y="8737"/>
                </a:lnTo>
                <a:lnTo>
                  <a:pt x="1304" y="8704"/>
                </a:lnTo>
                <a:close/>
                <a:moveTo>
                  <a:pt x="411" y="8296"/>
                </a:moveTo>
                <a:lnTo>
                  <a:pt x="422" y="8313"/>
                </a:lnTo>
                <a:lnTo>
                  <a:pt x="440" y="8319"/>
                </a:lnTo>
                <a:lnTo>
                  <a:pt x="459" y="8316"/>
                </a:lnTo>
                <a:lnTo>
                  <a:pt x="479" y="8305"/>
                </a:lnTo>
                <a:lnTo>
                  <a:pt x="493" y="8291"/>
                </a:lnTo>
                <a:lnTo>
                  <a:pt x="499" y="8274"/>
                </a:lnTo>
                <a:lnTo>
                  <a:pt x="493" y="8257"/>
                </a:lnTo>
                <a:lnTo>
                  <a:pt x="472" y="8245"/>
                </a:lnTo>
                <a:lnTo>
                  <a:pt x="458" y="8226"/>
                </a:lnTo>
                <a:lnTo>
                  <a:pt x="440" y="8219"/>
                </a:lnTo>
                <a:lnTo>
                  <a:pt x="420" y="8223"/>
                </a:lnTo>
                <a:lnTo>
                  <a:pt x="402" y="8233"/>
                </a:lnTo>
                <a:lnTo>
                  <a:pt x="389" y="8248"/>
                </a:lnTo>
                <a:lnTo>
                  <a:pt x="384" y="8266"/>
                </a:lnTo>
                <a:lnTo>
                  <a:pt x="391" y="8283"/>
                </a:lnTo>
                <a:lnTo>
                  <a:pt x="411" y="8296"/>
                </a:lnTo>
                <a:close/>
                <a:moveTo>
                  <a:pt x="2671" y="7578"/>
                </a:moveTo>
                <a:lnTo>
                  <a:pt x="2637" y="7589"/>
                </a:lnTo>
                <a:lnTo>
                  <a:pt x="2612" y="7609"/>
                </a:lnTo>
                <a:lnTo>
                  <a:pt x="2594" y="7635"/>
                </a:lnTo>
                <a:lnTo>
                  <a:pt x="2585" y="7663"/>
                </a:lnTo>
                <a:lnTo>
                  <a:pt x="2586" y="7687"/>
                </a:lnTo>
                <a:lnTo>
                  <a:pt x="2595" y="7702"/>
                </a:lnTo>
                <a:lnTo>
                  <a:pt x="2615" y="7708"/>
                </a:lnTo>
                <a:lnTo>
                  <a:pt x="2647" y="7696"/>
                </a:lnTo>
                <a:lnTo>
                  <a:pt x="2664" y="7678"/>
                </a:lnTo>
                <a:lnTo>
                  <a:pt x="2678" y="7662"/>
                </a:lnTo>
                <a:lnTo>
                  <a:pt x="2689" y="7646"/>
                </a:lnTo>
                <a:lnTo>
                  <a:pt x="2697" y="7631"/>
                </a:lnTo>
                <a:lnTo>
                  <a:pt x="2700" y="7616"/>
                </a:lnTo>
                <a:lnTo>
                  <a:pt x="2697" y="7602"/>
                </a:lnTo>
                <a:lnTo>
                  <a:pt x="2688" y="7589"/>
                </a:lnTo>
                <a:lnTo>
                  <a:pt x="2671" y="7578"/>
                </a:lnTo>
                <a:close/>
                <a:moveTo>
                  <a:pt x="13649" y="6269"/>
                </a:moveTo>
                <a:lnTo>
                  <a:pt x="13641" y="6267"/>
                </a:lnTo>
                <a:lnTo>
                  <a:pt x="13636" y="6264"/>
                </a:lnTo>
                <a:lnTo>
                  <a:pt x="13636" y="6261"/>
                </a:lnTo>
                <a:lnTo>
                  <a:pt x="13636" y="6260"/>
                </a:lnTo>
                <a:lnTo>
                  <a:pt x="13638" y="6258"/>
                </a:lnTo>
                <a:lnTo>
                  <a:pt x="13641" y="6256"/>
                </a:lnTo>
                <a:lnTo>
                  <a:pt x="13645" y="6256"/>
                </a:lnTo>
                <a:lnTo>
                  <a:pt x="13649" y="6256"/>
                </a:lnTo>
                <a:lnTo>
                  <a:pt x="13653" y="6259"/>
                </a:lnTo>
                <a:lnTo>
                  <a:pt x="13654" y="6260"/>
                </a:lnTo>
                <a:lnTo>
                  <a:pt x="13655" y="6263"/>
                </a:lnTo>
                <a:lnTo>
                  <a:pt x="13654" y="6264"/>
                </a:lnTo>
                <a:lnTo>
                  <a:pt x="13653" y="6267"/>
                </a:lnTo>
                <a:lnTo>
                  <a:pt x="13649" y="6269"/>
                </a:lnTo>
                <a:close/>
                <a:moveTo>
                  <a:pt x="13593" y="6265"/>
                </a:moveTo>
                <a:lnTo>
                  <a:pt x="13590" y="6264"/>
                </a:lnTo>
                <a:lnTo>
                  <a:pt x="13590" y="6261"/>
                </a:lnTo>
                <a:lnTo>
                  <a:pt x="13592" y="6260"/>
                </a:lnTo>
                <a:lnTo>
                  <a:pt x="13594" y="6259"/>
                </a:lnTo>
                <a:lnTo>
                  <a:pt x="13596" y="6261"/>
                </a:lnTo>
                <a:lnTo>
                  <a:pt x="13596" y="6263"/>
                </a:lnTo>
                <a:lnTo>
                  <a:pt x="13594" y="6264"/>
                </a:lnTo>
                <a:lnTo>
                  <a:pt x="13593" y="6265"/>
                </a:lnTo>
                <a:close/>
                <a:moveTo>
                  <a:pt x="12956" y="6785"/>
                </a:moveTo>
                <a:lnTo>
                  <a:pt x="12959" y="6783"/>
                </a:lnTo>
                <a:lnTo>
                  <a:pt x="12963" y="6778"/>
                </a:lnTo>
                <a:lnTo>
                  <a:pt x="12969" y="6782"/>
                </a:lnTo>
                <a:lnTo>
                  <a:pt x="12972" y="6785"/>
                </a:lnTo>
                <a:lnTo>
                  <a:pt x="12973" y="6787"/>
                </a:lnTo>
                <a:lnTo>
                  <a:pt x="12973" y="6787"/>
                </a:lnTo>
                <a:lnTo>
                  <a:pt x="12966" y="6787"/>
                </a:lnTo>
                <a:lnTo>
                  <a:pt x="12956" y="6785"/>
                </a:lnTo>
                <a:close/>
                <a:moveTo>
                  <a:pt x="12951" y="6204"/>
                </a:moveTo>
                <a:lnTo>
                  <a:pt x="12944" y="6222"/>
                </a:lnTo>
                <a:lnTo>
                  <a:pt x="12933" y="6233"/>
                </a:lnTo>
                <a:lnTo>
                  <a:pt x="12921" y="6242"/>
                </a:lnTo>
                <a:lnTo>
                  <a:pt x="12904" y="6246"/>
                </a:lnTo>
                <a:lnTo>
                  <a:pt x="12870" y="6251"/>
                </a:lnTo>
                <a:lnTo>
                  <a:pt x="12834" y="6258"/>
                </a:lnTo>
                <a:lnTo>
                  <a:pt x="12834" y="6236"/>
                </a:lnTo>
                <a:lnTo>
                  <a:pt x="12840" y="6221"/>
                </a:lnTo>
                <a:lnTo>
                  <a:pt x="12853" y="6211"/>
                </a:lnTo>
                <a:lnTo>
                  <a:pt x="12870" y="6205"/>
                </a:lnTo>
                <a:lnTo>
                  <a:pt x="12889" y="6204"/>
                </a:lnTo>
                <a:lnTo>
                  <a:pt x="12909" y="6203"/>
                </a:lnTo>
                <a:lnTo>
                  <a:pt x="12931" y="6204"/>
                </a:lnTo>
                <a:lnTo>
                  <a:pt x="12951" y="6204"/>
                </a:lnTo>
                <a:close/>
                <a:moveTo>
                  <a:pt x="12916" y="6273"/>
                </a:moveTo>
                <a:lnTo>
                  <a:pt x="12910" y="6286"/>
                </a:lnTo>
                <a:lnTo>
                  <a:pt x="12904" y="6293"/>
                </a:lnTo>
                <a:lnTo>
                  <a:pt x="12896" y="6298"/>
                </a:lnTo>
                <a:lnTo>
                  <a:pt x="12888" y="6302"/>
                </a:lnTo>
                <a:lnTo>
                  <a:pt x="12866" y="6302"/>
                </a:lnTo>
                <a:lnTo>
                  <a:pt x="12842" y="6303"/>
                </a:lnTo>
                <a:lnTo>
                  <a:pt x="12852" y="6301"/>
                </a:lnTo>
                <a:lnTo>
                  <a:pt x="12863" y="6297"/>
                </a:lnTo>
                <a:lnTo>
                  <a:pt x="12875" y="6293"/>
                </a:lnTo>
                <a:lnTo>
                  <a:pt x="12885" y="6288"/>
                </a:lnTo>
                <a:lnTo>
                  <a:pt x="12903" y="6279"/>
                </a:lnTo>
                <a:lnTo>
                  <a:pt x="12916" y="6273"/>
                </a:lnTo>
                <a:close/>
                <a:moveTo>
                  <a:pt x="12863" y="6363"/>
                </a:moveTo>
                <a:lnTo>
                  <a:pt x="12845" y="6365"/>
                </a:lnTo>
                <a:lnTo>
                  <a:pt x="12829" y="6367"/>
                </a:lnTo>
                <a:lnTo>
                  <a:pt x="12821" y="6368"/>
                </a:lnTo>
                <a:lnTo>
                  <a:pt x="12814" y="6368"/>
                </a:lnTo>
                <a:lnTo>
                  <a:pt x="12806" y="6367"/>
                </a:lnTo>
                <a:lnTo>
                  <a:pt x="12797" y="6366"/>
                </a:lnTo>
                <a:lnTo>
                  <a:pt x="12815" y="6363"/>
                </a:lnTo>
                <a:lnTo>
                  <a:pt x="12835" y="6359"/>
                </a:lnTo>
                <a:lnTo>
                  <a:pt x="12844" y="6358"/>
                </a:lnTo>
                <a:lnTo>
                  <a:pt x="12853" y="6358"/>
                </a:lnTo>
                <a:lnTo>
                  <a:pt x="12859" y="6359"/>
                </a:lnTo>
                <a:lnTo>
                  <a:pt x="12863" y="6363"/>
                </a:lnTo>
                <a:close/>
                <a:moveTo>
                  <a:pt x="12801" y="6498"/>
                </a:moveTo>
                <a:lnTo>
                  <a:pt x="12815" y="6497"/>
                </a:lnTo>
                <a:lnTo>
                  <a:pt x="12829" y="6493"/>
                </a:lnTo>
                <a:lnTo>
                  <a:pt x="12837" y="6492"/>
                </a:lnTo>
                <a:lnTo>
                  <a:pt x="12843" y="6491"/>
                </a:lnTo>
                <a:lnTo>
                  <a:pt x="12849" y="6491"/>
                </a:lnTo>
                <a:lnTo>
                  <a:pt x="12854" y="6492"/>
                </a:lnTo>
                <a:lnTo>
                  <a:pt x="12842" y="6493"/>
                </a:lnTo>
                <a:lnTo>
                  <a:pt x="12828" y="6494"/>
                </a:lnTo>
                <a:lnTo>
                  <a:pt x="12815" y="6497"/>
                </a:lnTo>
                <a:lnTo>
                  <a:pt x="12801" y="6498"/>
                </a:lnTo>
                <a:close/>
                <a:moveTo>
                  <a:pt x="12764" y="6120"/>
                </a:moveTo>
                <a:lnTo>
                  <a:pt x="12797" y="6090"/>
                </a:lnTo>
                <a:lnTo>
                  <a:pt x="12840" y="6077"/>
                </a:lnTo>
                <a:lnTo>
                  <a:pt x="12891" y="6077"/>
                </a:lnTo>
                <a:lnTo>
                  <a:pt x="12946" y="6083"/>
                </a:lnTo>
                <a:lnTo>
                  <a:pt x="13000" y="6090"/>
                </a:lnTo>
                <a:lnTo>
                  <a:pt x="13049" y="6091"/>
                </a:lnTo>
                <a:lnTo>
                  <a:pt x="13093" y="6083"/>
                </a:lnTo>
                <a:lnTo>
                  <a:pt x="13123" y="6058"/>
                </a:lnTo>
                <a:lnTo>
                  <a:pt x="13122" y="6053"/>
                </a:lnTo>
                <a:lnTo>
                  <a:pt x="13132" y="6037"/>
                </a:lnTo>
                <a:lnTo>
                  <a:pt x="13151" y="6015"/>
                </a:lnTo>
                <a:lnTo>
                  <a:pt x="13179" y="5992"/>
                </a:lnTo>
                <a:lnTo>
                  <a:pt x="13215" y="5970"/>
                </a:lnTo>
                <a:lnTo>
                  <a:pt x="13257" y="5957"/>
                </a:lnTo>
                <a:lnTo>
                  <a:pt x="13305" y="5959"/>
                </a:lnTo>
                <a:lnTo>
                  <a:pt x="13357" y="5976"/>
                </a:lnTo>
                <a:lnTo>
                  <a:pt x="13301" y="5992"/>
                </a:lnTo>
                <a:lnTo>
                  <a:pt x="13264" y="6003"/>
                </a:lnTo>
                <a:lnTo>
                  <a:pt x="13245" y="6012"/>
                </a:lnTo>
                <a:lnTo>
                  <a:pt x="13240" y="6020"/>
                </a:lnTo>
                <a:lnTo>
                  <a:pt x="13248" y="6029"/>
                </a:lnTo>
                <a:lnTo>
                  <a:pt x="13264" y="6037"/>
                </a:lnTo>
                <a:lnTo>
                  <a:pt x="13287" y="6050"/>
                </a:lnTo>
                <a:lnTo>
                  <a:pt x="13314" y="6067"/>
                </a:lnTo>
                <a:lnTo>
                  <a:pt x="13276" y="6086"/>
                </a:lnTo>
                <a:lnTo>
                  <a:pt x="13221" y="6100"/>
                </a:lnTo>
                <a:lnTo>
                  <a:pt x="13154" y="6107"/>
                </a:lnTo>
                <a:lnTo>
                  <a:pt x="13077" y="6111"/>
                </a:lnTo>
                <a:lnTo>
                  <a:pt x="12997" y="6113"/>
                </a:lnTo>
                <a:lnTo>
                  <a:pt x="12916" y="6114"/>
                </a:lnTo>
                <a:lnTo>
                  <a:pt x="12837" y="6116"/>
                </a:lnTo>
                <a:lnTo>
                  <a:pt x="12764" y="6120"/>
                </a:lnTo>
                <a:close/>
                <a:moveTo>
                  <a:pt x="12767" y="7392"/>
                </a:moveTo>
                <a:lnTo>
                  <a:pt x="12764" y="7393"/>
                </a:lnTo>
                <a:lnTo>
                  <a:pt x="12763" y="7393"/>
                </a:lnTo>
                <a:lnTo>
                  <a:pt x="12763" y="7391"/>
                </a:lnTo>
                <a:lnTo>
                  <a:pt x="12764" y="7388"/>
                </a:lnTo>
                <a:lnTo>
                  <a:pt x="12767" y="7391"/>
                </a:lnTo>
                <a:lnTo>
                  <a:pt x="12767" y="7392"/>
                </a:lnTo>
                <a:close/>
                <a:moveTo>
                  <a:pt x="12992" y="6040"/>
                </a:moveTo>
                <a:lnTo>
                  <a:pt x="12975" y="6045"/>
                </a:lnTo>
                <a:lnTo>
                  <a:pt x="12960" y="6049"/>
                </a:lnTo>
                <a:lnTo>
                  <a:pt x="12945" y="6050"/>
                </a:lnTo>
                <a:lnTo>
                  <a:pt x="12930" y="6051"/>
                </a:lnTo>
                <a:lnTo>
                  <a:pt x="12899" y="6053"/>
                </a:lnTo>
                <a:lnTo>
                  <a:pt x="12868" y="6055"/>
                </a:lnTo>
                <a:lnTo>
                  <a:pt x="12886" y="6048"/>
                </a:lnTo>
                <a:lnTo>
                  <a:pt x="12903" y="6043"/>
                </a:lnTo>
                <a:lnTo>
                  <a:pt x="12918" y="6037"/>
                </a:lnTo>
                <a:lnTo>
                  <a:pt x="12932" y="6035"/>
                </a:lnTo>
                <a:lnTo>
                  <a:pt x="12947" y="6035"/>
                </a:lnTo>
                <a:lnTo>
                  <a:pt x="12961" y="6035"/>
                </a:lnTo>
                <a:lnTo>
                  <a:pt x="12977" y="6037"/>
                </a:lnTo>
                <a:lnTo>
                  <a:pt x="12992" y="6040"/>
                </a:lnTo>
                <a:close/>
                <a:moveTo>
                  <a:pt x="12968" y="5995"/>
                </a:moveTo>
                <a:lnTo>
                  <a:pt x="12970" y="5998"/>
                </a:lnTo>
                <a:lnTo>
                  <a:pt x="12973" y="6001"/>
                </a:lnTo>
                <a:lnTo>
                  <a:pt x="12974" y="6003"/>
                </a:lnTo>
                <a:lnTo>
                  <a:pt x="12974" y="6004"/>
                </a:lnTo>
                <a:lnTo>
                  <a:pt x="12974" y="6006"/>
                </a:lnTo>
                <a:lnTo>
                  <a:pt x="12973" y="6007"/>
                </a:lnTo>
                <a:lnTo>
                  <a:pt x="12966" y="6006"/>
                </a:lnTo>
                <a:lnTo>
                  <a:pt x="12965" y="6003"/>
                </a:lnTo>
                <a:lnTo>
                  <a:pt x="12965" y="6001"/>
                </a:lnTo>
                <a:lnTo>
                  <a:pt x="12968" y="5995"/>
                </a:lnTo>
                <a:close/>
                <a:moveTo>
                  <a:pt x="13086" y="6032"/>
                </a:moveTo>
                <a:lnTo>
                  <a:pt x="13085" y="6031"/>
                </a:lnTo>
                <a:lnTo>
                  <a:pt x="13086" y="6032"/>
                </a:lnTo>
                <a:lnTo>
                  <a:pt x="13085" y="6035"/>
                </a:lnTo>
                <a:lnTo>
                  <a:pt x="13084" y="6035"/>
                </a:lnTo>
                <a:lnTo>
                  <a:pt x="13085" y="6034"/>
                </a:lnTo>
                <a:lnTo>
                  <a:pt x="13086" y="6032"/>
                </a:lnTo>
                <a:close/>
                <a:moveTo>
                  <a:pt x="13122" y="5989"/>
                </a:moveTo>
                <a:lnTo>
                  <a:pt x="13109" y="5992"/>
                </a:lnTo>
                <a:lnTo>
                  <a:pt x="13094" y="5994"/>
                </a:lnTo>
                <a:lnTo>
                  <a:pt x="13098" y="5990"/>
                </a:lnTo>
                <a:lnTo>
                  <a:pt x="13101" y="5988"/>
                </a:lnTo>
                <a:lnTo>
                  <a:pt x="13105" y="5985"/>
                </a:lnTo>
                <a:lnTo>
                  <a:pt x="13108" y="5985"/>
                </a:lnTo>
                <a:lnTo>
                  <a:pt x="13115" y="5987"/>
                </a:lnTo>
                <a:lnTo>
                  <a:pt x="13122" y="5989"/>
                </a:lnTo>
                <a:close/>
                <a:moveTo>
                  <a:pt x="13164" y="5988"/>
                </a:moveTo>
                <a:lnTo>
                  <a:pt x="13155" y="5990"/>
                </a:lnTo>
                <a:lnTo>
                  <a:pt x="13146" y="5993"/>
                </a:lnTo>
                <a:lnTo>
                  <a:pt x="13141" y="5993"/>
                </a:lnTo>
                <a:lnTo>
                  <a:pt x="13136" y="5993"/>
                </a:lnTo>
                <a:lnTo>
                  <a:pt x="13131" y="5992"/>
                </a:lnTo>
                <a:lnTo>
                  <a:pt x="13126" y="5989"/>
                </a:lnTo>
                <a:lnTo>
                  <a:pt x="13136" y="5987"/>
                </a:lnTo>
                <a:lnTo>
                  <a:pt x="13145" y="5984"/>
                </a:lnTo>
                <a:lnTo>
                  <a:pt x="13150" y="5984"/>
                </a:lnTo>
                <a:lnTo>
                  <a:pt x="13155" y="5984"/>
                </a:lnTo>
                <a:lnTo>
                  <a:pt x="13159" y="5985"/>
                </a:lnTo>
                <a:lnTo>
                  <a:pt x="13164" y="5988"/>
                </a:lnTo>
                <a:close/>
                <a:moveTo>
                  <a:pt x="13109" y="5941"/>
                </a:moveTo>
                <a:lnTo>
                  <a:pt x="13131" y="5941"/>
                </a:lnTo>
                <a:lnTo>
                  <a:pt x="13152" y="5941"/>
                </a:lnTo>
                <a:lnTo>
                  <a:pt x="13164" y="5942"/>
                </a:lnTo>
                <a:lnTo>
                  <a:pt x="13174" y="5943"/>
                </a:lnTo>
                <a:lnTo>
                  <a:pt x="13186" y="5947"/>
                </a:lnTo>
                <a:lnTo>
                  <a:pt x="13196" y="5951"/>
                </a:lnTo>
                <a:lnTo>
                  <a:pt x="13183" y="5951"/>
                </a:lnTo>
                <a:lnTo>
                  <a:pt x="13169" y="5952"/>
                </a:lnTo>
                <a:lnTo>
                  <a:pt x="13155" y="5955"/>
                </a:lnTo>
                <a:lnTo>
                  <a:pt x="13141" y="5957"/>
                </a:lnTo>
                <a:lnTo>
                  <a:pt x="13127" y="5957"/>
                </a:lnTo>
                <a:lnTo>
                  <a:pt x="13118" y="5956"/>
                </a:lnTo>
                <a:lnTo>
                  <a:pt x="13112" y="5951"/>
                </a:lnTo>
                <a:lnTo>
                  <a:pt x="13109" y="5941"/>
                </a:lnTo>
                <a:close/>
                <a:moveTo>
                  <a:pt x="13137" y="6143"/>
                </a:moveTo>
                <a:lnTo>
                  <a:pt x="13141" y="6134"/>
                </a:lnTo>
                <a:lnTo>
                  <a:pt x="13145" y="6129"/>
                </a:lnTo>
                <a:lnTo>
                  <a:pt x="13151" y="6128"/>
                </a:lnTo>
                <a:lnTo>
                  <a:pt x="13163" y="6130"/>
                </a:lnTo>
                <a:lnTo>
                  <a:pt x="13151" y="6135"/>
                </a:lnTo>
                <a:lnTo>
                  <a:pt x="13137" y="6143"/>
                </a:lnTo>
                <a:close/>
                <a:moveTo>
                  <a:pt x="12819" y="7140"/>
                </a:moveTo>
                <a:lnTo>
                  <a:pt x="12845" y="7127"/>
                </a:lnTo>
                <a:lnTo>
                  <a:pt x="12871" y="7113"/>
                </a:lnTo>
                <a:lnTo>
                  <a:pt x="12885" y="7107"/>
                </a:lnTo>
                <a:lnTo>
                  <a:pt x="12898" y="7102"/>
                </a:lnTo>
                <a:lnTo>
                  <a:pt x="12912" y="7098"/>
                </a:lnTo>
                <a:lnTo>
                  <a:pt x="12927" y="7095"/>
                </a:lnTo>
                <a:lnTo>
                  <a:pt x="12917" y="7111"/>
                </a:lnTo>
                <a:lnTo>
                  <a:pt x="12899" y="7128"/>
                </a:lnTo>
                <a:lnTo>
                  <a:pt x="12876" y="7146"/>
                </a:lnTo>
                <a:lnTo>
                  <a:pt x="12852" y="7161"/>
                </a:lnTo>
                <a:lnTo>
                  <a:pt x="12831" y="7170"/>
                </a:lnTo>
                <a:lnTo>
                  <a:pt x="12816" y="7172"/>
                </a:lnTo>
                <a:lnTo>
                  <a:pt x="12810" y="7163"/>
                </a:lnTo>
                <a:lnTo>
                  <a:pt x="12819" y="7140"/>
                </a:lnTo>
                <a:close/>
                <a:moveTo>
                  <a:pt x="12988" y="7156"/>
                </a:moveTo>
                <a:lnTo>
                  <a:pt x="12998" y="7153"/>
                </a:lnTo>
                <a:lnTo>
                  <a:pt x="13010" y="7150"/>
                </a:lnTo>
                <a:lnTo>
                  <a:pt x="13000" y="7156"/>
                </a:lnTo>
                <a:lnTo>
                  <a:pt x="12989" y="7163"/>
                </a:lnTo>
                <a:lnTo>
                  <a:pt x="12986" y="7164"/>
                </a:lnTo>
                <a:lnTo>
                  <a:pt x="12983" y="7164"/>
                </a:lnTo>
                <a:lnTo>
                  <a:pt x="12984" y="7161"/>
                </a:lnTo>
                <a:lnTo>
                  <a:pt x="12988" y="7156"/>
                </a:lnTo>
                <a:close/>
                <a:moveTo>
                  <a:pt x="13034" y="7094"/>
                </a:moveTo>
                <a:lnTo>
                  <a:pt x="13040" y="7100"/>
                </a:lnTo>
                <a:lnTo>
                  <a:pt x="13043" y="7108"/>
                </a:lnTo>
                <a:lnTo>
                  <a:pt x="13043" y="7114"/>
                </a:lnTo>
                <a:lnTo>
                  <a:pt x="13039" y="7121"/>
                </a:lnTo>
                <a:lnTo>
                  <a:pt x="13028" y="7133"/>
                </a:lnTo>
                <a:lnTo>
                  <a:pt x="13014" y="7146"/>
                </a:lnTo>
                <a:lnTo>
                  <a:pt x="13001" y="7147"/>
                </a:lnTo>
                <a:lnTo>
                  <a:pt x="12996" y="7146"/>
                </a:lnTo>
                <a:lnTo>
                  <a:pt x="12996" y="7141"/>
                </a:lnTo>
                <a:lnTo>
                  <a:pt x="13001" y="7133"/>
                </a:lnTo>
                <a:lnTo>
                  <a:pt x="13019" y="7114"/>
                </a:lnTo>
                <a:lnTo>
                  <a:pt x="13034" y="7094"/>
                </a:lnTo>
                <a:close/>
                <a:moveTo>
                  <a:pt x="13142" y="7112"/>
                </a:moveTo>
                <a:lnTo>
                  <a:pt x="13141" y="7113"/>
                </a:lnTo>
                <a:lnTo>
                  <a:pt x="13141" y="7116"/>
                </a:lnTo>
                <a:lnTo>
                  <a:pt x="13140" y="7112"/>
                </a:lnTo>
                <a:lnTo>
                  <a:pt x="13140" y="7109"/>
                </a:lnTo>
                <a:lnTo>
                  <a:pt x="13141" y="7108"/>
                </a:lnTo>
                <a:lnTo>
                  <a:pt x="13142" y="7112"/>
                </a:lnTo>
                <a:close/>
                <a:moveTo>
                  <a:pt x="13206" y="7189"/>
                </a:moveTo>
                <a:lnTo>
                  <a:pt x="13201" y="7207"/>
                </a:lnTo>
                <a:lnTo>
                  <a:pt x="13196" y="7217"/>
                </a:lnTo>
                <a:lnTo>
                  <a:pt x="13191" y="7214"/>
                </a:lnTo>
                <a:lnTo>
                  <a:pt x="13189" y="7211"/>
                </a:lnTo>
                <a:lnTo>
                  <a:pt x="13189" y="7207"/>
                </a:lnTo>
                <a:lnTo>
                  <a:pt x="13192" y="7203"/>
                </a:lnTo>
                <a:lnTo>
                  <a:pt x="13198" y="7197"/>
                </a:lnTo>
                <a:lnTo>
                  <a:pt x="13206" y="7189"/>
                </a:lnTo>
                <a:close/>
                <a:moveTo>
                  <a:pt x="13203" y="7275"/>
                </a:moveTo>
                <a:lnTo>
                  <a:pt x="13205" y="7273"/>
                </a:lnTo>
                <a:lnTo>
                  <a:pt x="13205" y="7273"/>
                </a:lnTo>
                <a:lnTo>
                  <a:pt x="13206" y="7277"/>
                </a:lnTo>
                <a:lnTo>
                  <a:pt x="13205" y="7280"/>
                </a:lnTo>
                <a:lnTo>
                  <a:pt x="13205" y="7279"/>
                </a:lnTo>
                <a:lnTo>
                  <a:pt x="13203" y="7275"/>
                </a:lnTo>
                <a:close/>
                <a:moveTo>
                  <a:pt x="13228" y="7287"/>
                </a:moveTo>
                <a:lnTo>
                  <a:pt x="13230" y="7296"/>
                </a:lnTo>
                <a:lnTo>
                  <a:pt x="13230" y="7305"/>
                </a:lnTo>
                <a:lnTo>
                  <a:pt x="13228" y="7315"/>
                </a:lnTo>
                <a:lnTo>
                  <a:pt x="13224" y="7323"/>
                </a:lnTo>
                <a:lnTo>
                  <a:pt x="13220" y="7328"/>
                </a:lnTo>
                <a:lnTo>
                  <a:pt x="13216" y="7328"/>
                </a:lnTo>
                <a:lnTo>
                  <a:pt x="13214" y="7323"/>
                </a:lnTo>
                <a:lnTo>
                  <a:pt x="13211" y="7310"/>
                </a:lnTo>
                <a:lnTo>
                  <a:pt x="13217" y="7307"/>
                </a:lnTo>
                <a:lnTo>
                  <a:pt x="13221" y="7301"/>
                </a:lnTo>
                <a:lnTo>
                  <a:pt x="13225" y="7295"/>
                </a:lnTo>
                <a:lnTo>
                  <a:pt x="13228" y="7287"/>
                </a:lnTo>
                <a:close/>
                <a:moveTo>
                  <a:pt x="12675" y="6391"/>
                </a:moveTo>
                <a:lnTo>
                  <a:pt x="12675" y="6389"/>
                </a:lnTo>
                <a:lnTo>
                  <a:pt x="12677" y="6389"/>
                </a:lnTo>
                <a:lnTo>
                  <a:pt x="12681" y="6389"/>
                </a:lnTo>
                <a:lnTo>
                  <a:pt x="12688" y="6387"/>
                </a:lnTo>
                <a:lnTo>
                  <a:pt x="12679" y="6390"/>
                </a:lnTo>
                <a:lnTo>
                  <a:pt x="12675" y="6391"/>
                </a:lnTo>
                <a:close/>
                <a:moveTo>
                  <a:pt x="12606" y="6312"/>
                </a:moveTo>
                <a:lnTo>
                  <a:pt x="12606" y="6307"/>
                </a:lnTo>
                <a:lnTo>
                  <a:pt x="12607" y="6303"/>
                </a:lnTo>
                <a:lnTo>
                  <a:pt x="12610" y="6300"/>
                </a:lnTo>
                <a:lnTo>
                  <a:pt x="12614" y="6297"/>
                </a:lnTo>
                <a:lnTo>
                  <a:pt x="12632" y="6300"/>
                </a:lnTo>
                <a:lnTo>
                  <a:pt x="12642" y="6302"/>
                </a:lnTo>
                <a:lnTo>
                  <a:pt x="12646" y="6303"/>
                </a:lnTo>
                <a:lnTo>
                  <a:pt x="12646" y="6305"/>
                </a:lnTo>
                <a:lnTo>
                  <a:pt x="12632" y="6307"/>
                </a:lnTo>
                <a:lnTo>
                  <a:pt x="12606" y="6312"/>
                </a:lnTo>
                <a:close/>
                <a:moveTo>
                  <a:pt x="12561" y="6387"/>
                </a:moveTo>
                <a:lnTo>
                  <a:pt x="12568" y="6381"/>
                </a:lnTo>
                <a:lnTo>
                  <a:pt x="12577" y="6376"/>
                </a:lnTo>
                <a:lnTo>
                  <a:pt x="12588" y="6372"/>
                </a:lnTo>
                <a:lnTo>
                  <a:pt x="12601" y="6370"/>
                </a:lnTo>
                <a:lnTo>
                  <a:pt x="12629" y="6366"/>
                </a:lnTo>
                <a:lnTo>
                  <a:pt x="12653" y="6361"/>
                </a:lnTo>
                <a:lnTo>
                  <a:pt x="12630" y="6367"/>
                </a:lnTo>
                <a:lnTo>
                  <a:pt x="12607" y="6373"/>
                </a:lnTo>
                <a:lnTo>
                  <a:pt x="12584" y="6381"/>
                </a:lnTo>
                <a:lnTo>
                  <a:pt x="12561" y="6387"/>
                </a:lnTo>
                <a:close/>
                <a:moveTo>
                  <a:pt x="12569" y="7431"/>
                </a:moveTo>
                <a:lnTo>
                  <a:pt x="12573" y="7429"/>
                </a:lnTo>
                <a:lnTo>
                  <a:pt x="12569" y="7431"/>
                </a:lnTo>
                <a:lnTo>
                  <a:pt x="12570" y="7429"/>
                </a:lnTo>
                <a:lnTo>
                  <a:pt x="12569" y="7431"/>
                </a:lnTo>
                <a:close/>
                <a:moveTo>
                  <a:pt x="12616" y="6254"/>
                </a:moveTo>
                <a:lnTo>
                  <a:pt x="12625" y="6249"/>
                </a:lnTo>
                <a:lnTo>
                  <a:pt x="12630" y="6247"/>
                </a:lnTo>
                <a:lnTo>
                  <a:pt x="12630" y="6250"/>
                </a:lnTo>
                <a:lnTo>
                  <a:pt x="12629" y="6254"/>
                </a:lnTo>
                <a:lnTo>
                  <a:pt x="12621" y="6267"/>
                </a:lnTo>
                <a:lnTo>
                  <a:pt x="12615" y="6281"/>
                </a:lnTo>
                <a:lnTo>
                  <a:pt x="12604" y="6270"/>
                </a:lnTo>
                <a:lnTo>
                  <a:pt x="12600" y="6263"/>
                </a:lnTo>
                <a:lnTo>
                  <a:pt x="12600" y="6260"/>
                </a:lnTo>
                <a:lnTo>
                  <a:pt x="12602" y="6258"/>
                </a:lnTo>
                <a:lnTo>
                  <a:pt x="12609" y="6255"/>
                </a:lnTo>
                <a:lnTo>
                  <a:pt x="12616" y="6254"/>
                </a:lnTo>
                <a:close/>
                <a:moveTo>
                  <a:pt x="12502" y="7545"/>
                </a:moveTo>
                <a:lnTo>
                  <a:pt x="12498" y="7545"/>
                </a:lnTo>
                <a:lnTo>
                  <a:pt x="12495" y="7545"/>
                </a:lnTo>
                <a:lnTo>
                  <a:pt x="12494" y="7543"/>
                </a:lnTo>
                <a:lnTo>
                  <a:pt x="12499" y="7541"/>
                </a:lnTo>
                <a:lnTo>
                  <a:pt x="12503" y="7538"/>
                </a:lnTo>
                <a:lnTo>
                  <a:pt x="12507" y="7538"/>
                </a:lnTo>
                <a:lnTo>
                  <a:pt x="12505" y="7539"/>
                </a:lnTo>
                <a:lnTo>
                  <a:pt x="12502" y="7545"/>
                </a:lnTo>
                <a:close/>
                <a:moveTo>
                  <a:pt x="12483" y="7522"/>
                </a:moveTo>
                <a:lnTo>
                  <a:pt x="12484" y="7520"/>
                </a:lnTo>
                <a:lnTo>
                  <a:pt x="12483" y="7522"/>
                </a:lnTo>
                <a:lnTo>
                  <a:pt x="12484" y="7518"/>
                </a:lnTo>
                <a:lnTo>
                  <a:pt x="12483" y="7522"/>
                </a:lnTo>
                <a:close/>
                <a:moveTo>
                  <a:pt x="12477" y="7522"/>
                </a:moveTo>
                <a:lnTo>
                  <a:pt x="12472" y="7523"/>
                </a:lnTo>
                <a:lnTo>
                  <a:pt x="12467" y="7522"/>
                </a:lnTo>
                <a:lnTo>
                  <a:pt x="12474" y="7519"/>
                </a:lnTo>
                <a:lnTo>
                  <a:pt x="12479" y="7517"/>
                </a:lnTo>
                <a:lnTo>
                  <a:pt x="12481" y="7517"/>
                </a:lnTo>
                <a:lnTo>
                  <a:pt x="12481" y="7517"/>
                </a:lnTo>
                <a:lnTo>
                  <a:pt x="12480" y="7518"/>
                </a:lnTo>
                <a:lnTo>
                  <a:pt x="12477" y="7522"/>
                </a:lnTo>
                <a:close/>
                <a:moveTo>
                  <a:pt x="12460" y="6343"/>
                </a:moveTo>
                <a:lnTo>
                  <a:pt x="12433" y="6351"/>
                </a:lnTo>
                <a:lnTo>
                  <a:pt x="12405" y="6358"/>
                </a:lnTo>
                <a:lnTo>
                  <a:pt x="12392" y="6361"/>
                </a:lnTo>
                <a:lnTo>
                  <a:pt x="12378" y="6362"/>
                </a:lnTo>
                <a:lnTo>
                  <a:pt x="12364" y="6359"/>
                </a:lnTo>
                <a:lnTo>
                  <a:pt x="12350" y="6354"/>
                </a:lnTo>
                <a:lnTo>
                  <a:pt x="12377" y="6344"/>
                </a:lnTo>
                <a:lnTo>
                  <a:pt x="12419" y="6329"/>
                </a:lnTo>
                <a:lnTo>
                  <a:pt x="12439" y="6325"/>
                </a:lnTo>
                <a:lnTo>
                  <a:pt x="12455" y="6324"/>
                </a:lnTo>
                <a:lnTo>
                  <a:pt x="12462" y="6330"/>
                </a:lnTo>
                <a:lnTo>
                  <a:pt x="12460" y="6343"/>
                </a:lnTo>
                <a:close/>
                <a:moveTo>
                  <a:pt x="12458" y="7499"/>
                </a:moveTo>
                <a:lnTo>
                  <a:pt x="12441" y="7504"/>
                </a:lnTo>
                <a:lnTo>
                  <a:pt x="12420" y="7508"/>
                </a:lnTo>
                <a:lnTo>
                  <a:pt x="12401" y="7510"/>
                </a:lnTo>
                <a:lnTo>
                  <a:pt x="12386" y="7511"/>
                </a:lnTo>
                <a:lnTo>
                  <a:pt x="12377" y="7510"/>
                </a:lnTo>
                <a:lnTo>
                  <a:pt x="12377" y="7509"/>
                </a:lnTo>
                <a:lnTo>
                  <a:pt x="12388" y="7504"/>
                </a:lnTo>
                <a:lnTo>
                  <a:pt x="12414" y="7497"/>
                </a:lnTo>
                <a:lnTo>
                  <a:pt x="12418" y="7485"/>
                </a:lnTo>
                <a:lnTo>
                  <a:pt x="12423" y="7477"/>
                </a:lnTo>
                <a:lnTo>
                  <a:pt x="12428" y="7475"/>
                </a:lnTo>
                <a:lnTo>
                  <a:pt x="12433" y="7476"/>
                </a:lnTo>
                <a:lnTo>
                  <a:pt x="12446" y="7486"/>
                </a:lnTo>
                <a:lnTo>
                  <a:pt x="12458" y="7499"/>
                </a:lnTo>
                <a:close/>
                <a:moveTo>
                  <a:pt x="12344" y="6231"/>
                </a:moveTo>
                <a:lnTo>
                  <a:pt x="12311" y="6240"/>
                </a:lnTo>
                <a:lnTo>
                  <a:pt x="12276" y="6249"/>
                </a:lnTo>
                <a:lnTo>
                  <a:pt x="12242" y="6255"/>
                </a:lnTo>
                <a:lnTo>
                  <a:pt x="12206" y="6260"/>
                </a:lnTo>
                <a:lnTo>
                  <a:pt x="12169" y="6263"/>
                </a:lnTo>
                <a:lnTo>
                  <a:pt x="12134" y="6265"/>
                </a:lnTo>
                <a:lnTo>
                  <a:pt x="12098" y="6267"/>
                </a:lnTo>
                <a:lnTo>
                  <a:pt x="12062" y="6267"/>
                </a:lnTo>
                <a:lnTo>
                  <a:pt x="12061" y="6265"/>
                </a:lnTo>
                <a:lnTo>
                  <a:pt x="12060" y="6265"/>
                </a:lnTo>
                <a:lnTo>
                  <a:pt x="12058" y="6265"/>
                </a:lnTo>
                <a:lnTo>
                  <a:pt x="12057" y="6267"/>
                </a:lnTo>
                <a:lnTo>
                  <a:pt x="12056" y="6267"/>
                </a:lnTo>
                <a:lnTo>
                  <a:pt x="12056" y="6267"/>
                </a:lnTo>
                <a:lnTo>
                  <a:pt x="11967" y="6263"/>
                </a:lnTo>
                <a:lnTo>
                  <a:pt x="11892" y="6253"/>
                </a:lnTo>
                <a:lnTo>
                  <a:pt x="11834" y="6241"/>
                </a:lnTo>
                <a:lnTo>
                  <a:pt x="11804" y="6228"/>
                </a:lnTo>
                <a:lnTo>
                  <a:pt x="11805" y="6216"/>
                </a:lnTo>
                <a:lnTo>
                  <a:pt x="11843" y="6208"/>
                </a:lnTo>
                <a:lnTo>
                  <a:pt x="11926" y="6204"/>
                </a:lnTo>
                <a:lnTo>
                  <a:pt x="12058" y="6209"/>
                </a:lnTo>
                <a:lnTo>
                  <a:pt x="12074" y="6194"/>
                </a:lnTo>
                <a:lnTo>
                  <a:pt x="12090" y="6189"/>
                </a:lnTo>
                <a:lnTo>
                  <a:pt x="12107" y="6190"/>
                </a:lnTo>
                <a:lnTo>
                  <a:pt x="12125" y="6197"/>
                </a:lnTo>
                <a:lnTo>
                  <a:pt x="12143" y="6205"/>
                </a:lnTo>
                <a:lnTo>
                  <a:pt x="12162" y="6214"/>
                </a:lnTo>
                <a:lnTo>
                  <a:pt x="12181" y="6221"/>
                </a:lnTo>
                <a:lnTo>
                  <a:pt x="12199" y="6223"/>
                </a:lnTo>
                <a:lnTo>
                  <a:pt x="12221" y="6212"/>
                </a:lnTo>
                <a:lnTo>
                  <a:pt x="12234" y="6195"/>
                </a:lnTo>
                <a:lnTo>
                  <a:pt x="12242" y="6176"/>
                </a:lnTo>
                <a:lnTo>
                  <a:pt x="12242" y="6155"/>
                </a:lnTo>
                <a:lnTo>
                  <a:pt x="12237" y="6135"/>
                </a:lnTo>
                <a:lnTo>
                  <a:pt x="12229" y="6119"/>
                </a:lnTo>
                <a:lnTo>
                  <a:pt x="12218" y="6107"/>
                </a:lnTo>
                <a:lnTo>
                  <a:pt x="12204" y="6102"/>
                </a:lnTo>
                <a:lnTo>
                  <a:pt x="12243" y="6102"/>
                </a:lnTo>
                <a:lnTo>
                  <a:pt x="12281" y="6100"/>
                </a:lnTo>
                <a:lnTo>
                  <a:pt x="12314" y="6097"/>
                </a:lnTo>
                <a:lnTo>
                  <a:pt x="12337" y="6097"/>
                </a:lnTo>
                <a:lnTo>
                  <a:pt x="12349" y="6100"/>
                </a:lnTo>
                <a:lnTo>
                  <a:pt x="12344" y="6107"/>
                </a:lnTo>
                <a:lnTo>
                  <a:pt x="12318" y="6123"/>
                </a:lnTo>
                <a:lnTo>
                  <a:pt x="12270" y="6144"/>
                </a:lnTo>
                <a:lnTo>
                  <a:pt x="12307" y="6138"/>
                </a:lnTo>
                <a:lnTo>
                  <a:pt x="12334" y="6139"/>
                </a:lnTo>
                <a:lnTo>
                  <a:pt x="12351" y="6144"/>
                </a:lnTo>
                <a:lnTo>
                  <a:pt x="12360" y="6155"/>
                </a:lnTo>
                <a:lnTo>
                  <a:pt x="12364" y="6170"/>
                </a:lnTo>
                <a:lnTo>
                  <a:pt x="12362" y="6188"/>
                </a:lnTo>
                <a:lnTo>
                  <a:pt x="12354" y="6208"/>
                </a:lnTo>
                <a:lnTo>
                  <a:pt x="12344" y="6231"/>
                </a:lnTo>
                <a:close/>
                <a:moveTo>
                  <a:pt x="12331" y="7523"/>
                </a:moveTo>
                <a:lnTo>
                  <a:pt x="12317" y="7525"/>
                </a:lnTo>
                <a:lnTo>
                  <a:pt x="12312" y="7525"/>
                </a:lnTo>
                <a:lnTo>
                  <a:pt x="12317" y="7523"/>
                </a:lnTo>
                <a:lnTo>
                  <a:pt x="12331" y="7515"/>
                </a:lnTo>
                <a:lnTo>
                  <a:pt x="12332" y="7515"/>
                </a:lnTo>
                <a:lnTo>
                  <a:pt x="12332" y="7517"/>
                </a:lnTo>
                <a:lnTo>
                  <a:pt x="12332" y="7517"/>
                </a:lnTo>
                <a:lnTo>
                  <a:pt x="12332" y="7518"/>
                </a:lnTo>
                <a:lnTo>
                  <a:pt x="12331" y="7522"/>
                </a:lnTo>
                <a:lnTo>
                  <a:pt x="12331" y="7523"/>
                </a:lnTo>
                <a:close/>
                <a:moveTo>
                  <a:pt x="12261" y="7517"/>
                </a:moveTo>
                <a:lnTo>
                  <a:pt x="12262" y="7515"/>
                </a:lnTo>
                <a:lnTo>
                  <a:pt x="12261" y="7517"/>
                </a:lnTo>
                <a:lnTo>
                  <a:pt x="12261" y="7515"/>
                </a:lnTo>
                <a:lnTo>
                  <a:pt x="12261" y="7517"/>
                </a:lnTo>
                <a:close/>
                <a:moveTo>
                  <a:pt x="12173" y="7551"/>
                </a:moveTo>
                <a:lnTo>
                  <a:pt x="12145" y="7552"/>
                </a:lnTo>
                <a:lnTo>
                  <a:pt x="12128" y="7552"/>
                </a:lnTo>
                <a:lnTo>
                  <a:pt x="12121" y="7552"/>
                </a:lnTo>
                <a:lnTo>
                  <a:pt x="12123" y="7551"/>
                </a:lnTo>
                <a:lnTo>
                  <a:pt x="12132" y="7550"/>
                </a:lnTo>
                <a:lnTo>
                  <a:pt x="12146" y="7546"/>
                </a:lnTo>
                <a:lnTo>
                  <a:pt x="12165" y="7542"/>
                </a:lnTo>
                <a:lnTo>
                  <a:pt x="12188" y="7536"/>
                </a:lnTo>
                <a:lnTo>
                  <a:pt x="12199" y="7537"/>
                </a:lnTo>
                <a:lnTo>
                  <a:pt x="12202" y="7538"/>
                </a:lnTo>
                <a:lnTo>
                  <a:pt x="12202" y="7541"/>
                </a:lnTo>
                <a:lnTo>
                  <a:pt x="12199" y="7542"/>
                </a:lnTo>
                <a:lnTo>
                  <a:pt x="12185" y="7547"/>
                </a:lnTo>
                <a:lnTo>
                  <a:pt x="12173" y="7551"/>
                </a:lnTo>
                <a:close/>
                <a:moveTo>
                  <a:pt x="12135" y="5987"/>
                </a:moveTo>
                <a:lnTo>
                  <a:pt x="12130" y="5993"/>
                </a:lnTo>
                <a:lnTo>
                  <a:pt x="12123" y="5998"/>
                </a:lnTo>
                <a:lnTo>
                  <a:pt x="12118" y="6002"/>
                </a:lnTo>
                <a:lnTo>
                  <a:pt x="12112" y="6004"/>
                </a:lnTo>
                <a:lnTo>
                  <a:pt x="12100" y="6006"/>
                </a:lnTo>
                <a:lnTo>
                  <a:pt x="12089" y="6006"/>
                </a:lnTo>
                <a:lnTo>
                  <a:pt x="12099" y="6001"/>
                </a:lnTo>
                <a:lnTo>
                  <a:pt x="12109" y="5997"/>
                </a:lnTo>
                <a:lnTo>
                  <a:pt x="12122" y="5992"/>
                </a:lnTo>
                <a:lnTo>
                  <a:pt x="12135" y="5987"/>
                </a:lnTo>
                <a:close/>
                <a:moveTo>
                  <a:pt x="11701" y="6057"/>
                </a:moveTo>
                <a:lnTo>
                  <a:pt x="11699" y="6035"/>
                </a:lnTo>
                <a:lnTo>
                  <a:pt x="11685" y="6025"/>
                </a:lnTo>
                <a:lnTo>
                  <a:pt x="11662" y="6025"/>
                </a:lnTo>
                <a:lnTo>
                  <a:pt x="11631" y="6031"/>
                </a:lnTo>
                <a:lnTo>
                  <a:pt x="11595" y="6040"/>
                </a:lnTo>
                <a:lnTo>
                  <a:pt x="11558" y="6049"/>
                </a:lnTo>
                <a:lnTo>
                  <a:pt x="11520" y="6053"/>
                </a:lnTo>
                <a:lnTo>
                  <a:pt x="11485" y="6049"/>
                </a:lnTo>
                <a:lnTo>
                  <a:pt x="11557" y="6031"/>
                </a:lnTo>
                <a:lnTo>
                  <a:pt x="11625" y="6013"/>
                </a:lnTo>
                <a:lnTo>
                  <a:pt x="11692" y="5999"/>
                </a:lnTo>
                <a:lnTo>
                  <a:pt x="11753" y="5989"/>
                </a:lnTo>
                <a:lnTo>
                  <a:pt x="11809" y="5983"/>
                </a:lnTo>
                <a:lnTo>
                  <a:pt x="11859" y="5981"/>
                </a:lnTo>
                <a:lnTo>
                  <a:pt x="11903" y="5988"/>
                </a:lnTo>
                <a:lnTo>
                  <a:pt x="11939" y="6002"/>
                </a:lnTo>
                <a:lnTo>
                  <a:pt x="11951" y="5980"/>
                </a:lnTo>
                <a:lnTo>
                  <a:pt x="11979" y="5952"/>
                </a:lnTo>
                <a:lnTo>
                  <a:pt x="12016" y="5922"/>
                </a:lnTo>
                <a:lnTo>
                  <a:pt x="12058" y="5894"/>
                </a:lnTo>
                <a:lnTo>
                  <a:pt x="12100" y="5873"/>
                </a:lnTo>
                <a:lnTo>
                  <a:pt x="12139" y="5863"/>
                </a:lnTo>
                <a:lnTo>
                  <a:pt x="12168" y="5868"/>
                </a:lnTo>
                <a:lnTo>
                  <a:pt x="12183" y="5894"/>
                </a:lnTo>
                <a:lnTo>
                  <a:pt x="12159" y="5899"/>
                </a:lnTo>
                <a:lnTo>
                  <a:pt x="12130" y="5906"/>
                </a:lnTo>
                <a:lnTo>
                  <a:pt x="12100" y="5914"/>
                </a:lnTo>
                <a:lnTo>
                  <a:pt x="12078" y="5923"/>
                </a:lnTo>
                <a:lnTo>
                  <a:pt x="12064" y="5931"/>
                </a:lnTo>
                <a:lnTo>
                  <a:pt x="12065" y="5938"/>
                </a:lnTo>
                <a:lnTo>
                  <a:pt x="12085" y="5943"/>
                </a:lnTo>
                <a:lnTo>
                  <a:pt x="12130" y="5946"/>
                </a:lnTo>
                <a:lnTo>
                  <a:pt x="12126" y="5961"/>
                </a:lnTo>
                <a:lnTo>
                  <a:pt x="12102" y="5979"/>
                </a:lnTo>
                <a:lnTo>
                  <a:pt x="12062" y="5998"/>
                </a:lnTo>
                <a:lnTo>
                  <a:pt x="12011" y="6018"/>
                </a:lnTo>
                <a:lnTo>
                  <a:pt x="11953" y="6039"/>
                </a:lnTo>
                <a:lnTo>
                  <a:pt x="11890" y="6059"/>
                </a:lnTo>
                <a:lnTo>
                  <a:pt x="11829" y="6079"/>
                </a:lnTo>
                <a:lnTo>
                  <a:pt x="11773" y="6096"/>
                </a:lnTo>
                <a:lnTo>
                  <a:pt x="11732" y="6087"/>
                </a:lnTo>
                <a:lnTo>
                  <a:pt x="11722" y="6077"/>
                </a:lnTo>
                <a:lnTo>
                  <a:pt x="11732" y="6068"/>
                </a:lnTo>
                <a:lnTo>
                  <a:pt x="11752" y="6059"/>
                </a:lnTo>
                <a:lnTo>
                  <a:pt x="11768" y="6053"/>
                </a:lnTo>
                <a:lnTo>
                  <a:pt x="11773" y="6049"/>
                </a:lnTo>
                <a:lnTo>
                  <a:pt x="11754" y="6050"/>
                </a:lnTo>
                <a:lnTo>
                  <a:pt x="11701" y="6057"/>
                </a:lnTo>
                <a:close/>
                <a:moveTo>
                  <a:pt x="11684" y="6111"/>
                </a:moveTo>
                <a:lnTo>
                  <a:pt x="11683" y="6109"/>
                </a:lnTo>
                <a:lnTo>
                  <a:pt x="11681" y="6106"/>
                </a:lnTo>
                <a:lnTo>
                  <a:pt x="11683" y="6105"/>
                </a:lnTo>
                <a:lnTo>
                  <a:pt x="11685" y="6104"/>
                </a:lnTo>
                <a:lnTo>
                  <a:pt x="11687" y="6106"/>
                </a:lnTo>
                <a:lnTo>
                  <a:pt x="11687" y="6109"/>
                </a:lnTo>
                <a:lnTo>
                  <a:pt x="11685" y="6110"/>
                </a:lnTo>
                <a:lnTo>
                  <a:pt x="11684" y="6111"/>
                </a:lnTo>
                <a:close/>
                <a:moveTo>
                  <a:pt x="11499" y="7722"/>
                </a:moveTo>
                <a:lnTo>
                  <a:pt x="11496" y="7730"/>
                </a:lnTo>
                <a:lnTo>
                  <a:pt x="11493" y="7737"/>
                </a:lnTo>
                <a:lnTo>
                  <a:pt x="11490" y="7739"/>
                </a:lnTo>
                <a:lnTo>
                  <a:pt x="11489" y="7739"/>
                </a:lnTo>
                <a:lnTo>
                  <a:pt x="11487" y="7733"/>
                </a:lnTo>
                <a:lnTo>
                  <a:pt x="11482" y="7718"/>
                </a:lnTo>
                <a:lnTo>
                  <a:pt x="11487" y="7718"/>
                </a:lnTo>
                <a:lnTo>
                  <a:pt x="11493" y="7718"/>
                </a:lnTo>
                <a:lnTo>
                  <a:pt x="11496" y="7718"/>
                </a:lnTo>
                <a:lnTo>
                  <a:pt x="11498" y="7718"/>
                </a:lnTo>
                <a:lnTo>
                  <a:pt x="11499" y="7720"/>
                </a:lnTo>
                <a:lnTo>
                  <a:pt x="11499" y="7722"/>
                </a:lnTo>
                <a:close/>
                <a:moveTo>
                  <a:pt x="12207" y="5827"/>
                </a:moveTo>
                <a:lnTo>
                  <a:pt x="12200" y="5840"/>
                </a:lnTo>
                <a:lnTo>
                  <a:pt x="12192" y="5849"/>
                </a:lnTo>
                <a:lnTo>
                  <a:pt x="12188" y="5852"/>
                </a:lnTo>
                <a:lnTo>
                  <a:pt x="12185" y="5853"/>
                </a:lnTo>
                <a:lnTo>
                  <a:pt x="12178" y="5852"/>
                </a:lnTo>
                <a:lnTo>
                  <a:pt x="12172" y="5848"/>
                </a:lnTo>
                <a:lnTo>
                  <a:pt x="12190" y="5838"/>
                </a:lnTo>
                <a:lnTo>
                  <a:pt x="12207" y="5827"/>
                </a:lnTo>
                <a:close/>
                <a:moveTo>
                  <a:pt x="12216" y="5966"/>
                </a:moveTo>
                <a:lnTo>
                  <a:pt x="12224" y="5969"/>
                </a:lnTo>
                <a:lnTo>
                  <a:pt x="12227" y="5971"/>
                </a:lnTo>
                <a:lnTo>
                  <a:pt x="12224" y="5974"/>
                </a:lnTo>
                <a:lnTo>
                  <a:pt x="12216" y="5975"/>
                </a:lnTo>
                <a:lnTo>
                  <a:pt x="12214" y="5974"/>
                </a:lnTo>
                <a:lnTo>
                  <a:pt x="12211" y="5970"/>
                </a:lnTo>
                <a:lnTo>
                  <a:pt x="12211" y="5969"/>
                </a:lnTo>
                <a:lnTo>
                  <a:pt x="12213" y="5967"/>
                </a:lnTo>
                <a:lnTo>
                  <a:pt x="12214" y="5967"/>
                </a:lnTo>
                <a:lnTo>
                  <a:pt x="12216" y="5966"/>
                </a:lnTo>
                <a:close/>
                <a:moveTo>
                  <a:pt x="12239" y="6001"/>
                </a:moveTo>
                <a:lnTo>
                  <a:pt x="12234" y="6012"/>
                </a:lnTo>
                <a:lnTo>
                  <a:pt x="12227" y="6020"/>
                </a:lnTo>
                <a:lnTo>
                  <a:pt x="12216" y="6023"/>
                </a:lnTo>
                <a:lnTo>
                  <a:pt x="12205" y="6025"/>
                </a:lnTo>
                <a:lnTo>
                  <a:pt x="12192" y="6025"/>
                </a:lnTo>
                <a:lnTo>
                  <a:pt x="12178" y="6025"/>
                </a:lnTo>
                <a:lnTo>
                  <a:pt x="12164" y="6025"/>
                </a:lnTo>
                <a:lnTo>
                  <a:pt x="12150" y="6026"/>
                </a:lnTo>
                <a:lnTo>
                  <a:pt x="12176" y="6018"/>
                </a:lnTo>
                <a:lnTo>
                  <a:pt x="12199" y="6012"/>
                </a:lnTo>
                <a:lnTo>
                  <a:pt x="12219" y="6006"/>
                </a:lnTo>
                <a:lnTo>
                  <a:pt x="12239" y="6001"/>
                </a:lnTo>
                <a:close/>
                <a:moveTo>
                  <a:pt x="12418" y="6292"/>
                </a:moveTo>
                <a:lnTo>
                  <a:pt x="12434" y="6288"/>
                </a:lnTo>
                <a:lnTo>
                  <a:pt x="12448" y="6286"/>
                </a:lnTo>
                <a:lnTo>
                  <a:pt x="12453" y="6287"/>
                </a:lnTo>
                <a:lnTo>
                  <a:pt x="12457" y="6291"/>
                </a:lnTo>
                <a:lnTo>
                  <a:pt x="12461" y="6297"/>
                </a:lnTo>
                <a:lnTo>
                  <a:pt x="12462" y="6307"/>
                </a:lnTo>
                <a:lnTo>
                  <a:pt x="12453" y="6311"/>
                </a:lnTo>
                <a:lnTo>
                  <a:pt x="12442" y="6312"/>
                </a:lnTo>
                <a:lnTo>
                  <a:pt x="12430" y="6312"/>
                </a:lnTo>
                <a:lnTo>
                  <a:pt x="12419" y="6312"/>
                </a:lnTo>
                <a:lnTo>
                  <a:pt x="12410" y="6310"/>
                </a:lnTo>
                <a:lnTo>
                  <a:pt x="12406" y="6305"/>
                </a:lnTo>
                <a:lnTo>
                  <a:pt x="12409" y="6300"/>
                </a:lnTo>
                <a:lnTo>
                  <a:pt x="12418" y="6292"/>
                </a:lnTo>
                <a:close/>
                <a:moveTo>
                  <a:pt x="10791" y="4967"/>
                </a:moveTo>
                <a:lnTo>
                  <a:pt x="10780" y="4964"/>
                </a:lnTo>
                <a:lnTo>
                  <a:pt x="10770" y="4962"/>
                </a:lnTo>
                <a:lnTo>
                  <a:pt x="10765" y="4961"/>
                </a:lnTo>
                <a:lnTo>
                  <a:pt x="10758" y="4961"/>
                </a:lnTo>
                <a:lnTo>
                  <a:pt x="10753" y="4961"/>
                </a:lnTo>
                <a:lnTo>
                  <a:pt x="10748" y="4961"/>
                </a:lnTo>
                <a:lnTo>
                  <a:pt x="10753" y="4959"/>
                </a:lnTo>
                <a:lnTo>
                  <a:pt x="10759" y="4957"/>
                </a:lnTo>
                <a:lnTo>
                  <a:pt x="10767" y="4955"/>
                </a:lnTo>
                <a:lnTo>
                  <a:pt x="10775" y="4955"/>
                </a:lnTo>
                <a:lnTo>
                  <a:pt x="10781" y="4957"/>
                </a:lnTo>
                <a:lnTo>
                  <a:pt x="10786" y="4959"/>
                </a:lnTo>
                <a:lnTo>
                  <a:pt x="10790" y="4962"/>
                </a:lnTo>
                <a:lnTo>
                  <a:pt x="10791" y="4967"/>
                </a:lnTo>
                <a:close/>
                <a:moveTo>
                  <a:pt x="10586" y="4899"/>
                </a:moveTo>
                <a:lnTo>
                  <a:pt x="10609" y="4888"/>
                </a:lnTo>
                <a:lnTo>
                  <a:pt x="10628" y="4884"/>
                </a:lnTo>
                <a:lnTo>
                  <a:pt x="10646" y="4885"/>
                </a:lnTo>
                <a:lnTo>
                  <a:pt x="10663" y="4891"/>
                </a:lnTo>
                <a:lnTo>
                  <a:pt x="10679" y="4898"/>
                </a:lnTo>
                <a:lnTo>
                  <a:pt x="10697" y="4906"/>
                </a:lnTo>
                <a:lnTo>
                  <a:pt x="10715" y="4915"/>
                </a:lnTo>
                <a:lnTo>
                  <a:pt x="10735" y="4920"/>
                </a:lnTo>
                <a:lnTo>
                  <a:pt x="10733" y="4924"/>
                </a:lnTo>
                <a:lnTo>
                  <a:pt x="10721" y="4924"/>
                </a:lnTo>
                <a:lnTo>
                  <a:pt x="10702" y="4921"/>
                </a:lnTo>
                <a:lnTo>
                  <a:pt x="10679" y="4917"/>
                </a:lnTo>
                <a:lnTo>
                  <a:pt x="10627" y="4906"/>
                </a:lnTo>
                <a:lnTo>
                  <a:pt x="10586" y="4899"/>
                </a:lnTo>
                <a:close/>
                <a:moveTo>
                  <a:pt x="10700" y="8064"/>
                </a:moveTo>
                <a:lnTo>
                  <a:pt x="10692" y="8065"/>
                </a:lnTo>
                <a:lnTo>
                  <a:pt x="10683" y="8068"/>
                </a:lnTo>
                <a:lnTo>
                  <a:pt x="10679" y="8068"/>
                </a:lnTo>
                <a:lnTo>
                  <a:pt x="10677" y="8068"/>
                </a:lnTo>
                <a:lnTo>
                  <a:pt x="10677" y="8066"/>
                </a:lnTo>
                <a:lnTo>
                  <a:pt x="10677" y="8063"/>
                </a:lnTo>
                <a:lnTo>
                  <a:pt x="10679" y="8060"/>
                </a:lnTo>
                <a:lnTo>
                  <a:pt x="10683" y="8059"/>
                </a:lnTo>
                <a:lnTo>
                  <a:pt x="10686" y="8058"/>
                </a:lnTo>
                <a:lnTo>
                  <a:pt x="10689" y="8058"/>
                </a:lnTo>
                <a:lnTo>
                  <a:pt x="10693" y="8058"/>
                </a:lnTo>
                <a:lnTo>
                  <a:pt x="10696" y="8059"/>
                </a:lnTo>
                <a:lnTo>
                  <a:pt x="10698" y="8061"/>
                </a:lnTo>
                <a:lnTo>
                  <a:pt x="10700" y="8064"/>
                </a:lnTo>
                <a:close/>
                <a:moveTo>
                  <a:pt x="10663" y="5078"/>
                </a:moveTo>
                <a:lnTo>
                  <a:pt x="10647" y="5075"/>
                </a:lnTo>
                <a:lnTo>
                  <a:pt x="10640" y="5076"/>
                </a:lnTo>
                <a:lnTo>
                  <a:pt x="10636" y="5079"/>
                </a:lnTo>
                <a:lnTo>
                  <a:pt x="10637" y="5083"/>
                </a:lnTo>
                <a:lnTo>
                  <a:pt x="10640" y="5088"/>
                </a:lnTo>
                <a:lnTo>
                  <a:pt x="10642" y="5093"/>
                </a:lnTo>
                <a:lnTo>
                  <a:pt x="10645" y="5099"/>
                </a:lnTo>
                <a:lnTo>
                  <a:pt x="10644" y="5103"/>
                </a:lnTo>
                <a:lnTo>
                  <a:pt x="10576" y="5098"/>
                </a:lnTo>
                <a:lnTo>
                  <a:pt x="10547" y="5087"/>
                </a:lnTo>
                <a:lnTo>
                  <a:pt x="10547" y="5074"/>
                </a:lnTo>
                <a:lnTo>
                  <a:pt x="10567" y="5061"/>
                </a:lnTo>
                <a:lnTo>
                  <a:pt x="10598" y="5053"/>
                </a:lnTo>
                <a:lnTo>
                  <a:pt x="10630" y="5051"/>
                </a:lnTo>
                <a:lnTo>
                  <a:pt x="10655" y="5059"/>
                </a:lnTo>
                <a:lnTo>
                  <a:pt x="10663" y="5078"/>
                </a:lnTo>
                <a:close/>
                <a:moveTo>
                  <a:pt x="10642" y="7910"/>
                </a:moveTo>
                <a:lnTo>
                  <a:pt x="10639" y="7914"/>
                </a:lnTo>
                <a:lnTo>
                  <a:pt x="10633" y="7916"/>
                </a:lnTo>
                <a:lnTo>
                  <a:pt x="10630" y="7916"/>
                </a:lnTo>
                <a:lnTo>
                  <a:pt x="10624" y="7916"/>
                </a:lnTo>
                <a:lnTo>
                  <a:pt x="10614" y="7914"/>
                </a:lnTo>
                <a:lnTo>
                  <a:pt x="10604" y="7910"/>
                </a:lnTo>
                <a:lnTo>
                  <a:pt x="10609" y="7905"/>
                </a:lnTo>
                <a:lnTo>
                  <a:pt x="10616" y="7900"/>
                </a:lnTo>
                <a:lnTo>
                  <a:pt x="10622" y="7896"/>
                </a:lnTo>
                <a:lnTo>
                  <a:pt x="10628" y="7895"/>
                </a:lnTo>
                <a:lnTo>
                  <a:pt x="10635" y="7893"/>
                </a:lnTo>
                <a:lnTo>
                  <a:pt x="10640" y="7896"/>
                </a:lnTo>
                <a:lnTo>
                  <a:pt x="10642" y="7901"/>
                </a:lnTo>
                <a:lnTo>
                  <a:pt x="10642" y="7910"/>
                </a:lnTo>
                <a:close/>
                <a:moveTo>
                  <a:pt x="10603" y="8083"/>
                </a:moveTo>
                <a:lnTo>
                  <a:pt x="10604" y="8082"/>
                </a:lnTo>
                <a:lnTo>
                  <a:pt x="10603" y="8083"/>
                </a:lnTo>
                <a:lnTo>
                  <a:pt x="10603" y="8080"/>
                </a:lnTo>
                <a:lnTo>
                  <a:pt x="10603" y="8083"/>
                </a:lnTo>
                <a:close/>
                <a:moveTo>
                  <a:pt x="10521" y="7947"/>
                </a:moveTo>
                <a:lnTo>
                  <a:pt x="10529" y="7937"/>
                </a:lnTo>
                <a:lnTo>
                  <a:pt x="10538" y="7929"/>
                </a:lnTo>
                <a:lnTo>
                  <a:pt x="10547" y="7921"/>
                </a:lnTo>
                <a:lnTo>
                  <a:pt x="10556" y="7915"/>
                </a:lnTo>
                <a:lnTo>
                  <a:pt x="10566" y="7911"/>
                </a:lnTo>
                <a:lnTo>
                  <a:pt x="10577" y="7909"/>
                </a:lnTo>
                <a:lnTo>
                  <a:pt x="10589" y="7909"/>
                </a:lnTo>
                <a:lnTo>
                  <a:pt x="10602" y="7910"/>
                </a:lnTo>
                <a:lnTo>
                  <a:pt x="10594" y="7919"/>
                </a:lnTo>
                <a:lnTo>
                  <a:pt x="10585" y="7925"/>
                </a:lnTo>
                <a:lnTo>
                  <a:pt x="10575" y="7930"/>
                </a:lnTo>
                <a:lnTo>
                  <a:pt x="10565" y="7934"/>
                </a:lnTo>
                <a:lnTo>
                  <a:pt x="10543" y="7940"/>
                </a:lnTo>
                <a:lnTo>
                  <a:pt x="10521" y="7947"/>
                </a:lnTo>
                <a:close/>
                <a:moveTo>
                  <a:pt x="10488" y="5113"/>
                </a:moveTo>
                <a:lnTo>
                  <a:pt x="10493" y="5106"/>
                </a:lnTo>
                <a:lnTo>
                  <a:pt x="10498" y="5102"/>
                </a:lnTo>
                <a:lnTo>
                  <a:pt x="10505" y="5103"/>
                </a:lnTo>
                <a:lnTo>
                  <a:pt x="10515" y="5106"/>
                </a:lnTo>
                <a:lnTo>
                  <a:pt x="10502" y="5109"/>
                </a:lnTo>
                <a:lnTo>
                  <a:pt x="10488" y="5113"/>
                </a:lnTo>
                <a:close/>
                <a:moveTo>
                  <a:pt x="10464" y="5153"/>
                </a:moveTo>
                <a:lnTo>
                  <a:pt x="10441" y="5159"/>
                </a:lnTo>
                <a:lnTo>
                  <a:pt x="10418" y="5164"/>
                </a:lnTo>
                <a:lnTo>
                  <a:pt x="10395" y="5168"/>
                </a:lnTo>
                <a:lnTo>
                  <a:pt x="10374" y="5169"/>
                </a:lnTo>
                <a:lnTo>
                  <a:pt x="10351" y="5171"/>
                </a:lnTo>
                <a:lnTo>
                  <a:pt x="10329" y="5169"/>
                </a:lnTo>
                <a:lnTo>
                  <a:pt x="10306" y="5167"/>
                </a:lnTo>
                <a:lnTo>
                  <a:pt x="10284" y="5163"/>
                </a:lnTo>
                <a:lnTo>
                  <a:pt x="10307" y="5150"/>
                </a:lnTo>
                <a:lnTo>
                  <a:pt x="10344" y="5141"/>
                </a:lnTo>
                <a:lnTo>
                  <a:pt x="10389" y="5135"/>
                </a:lnTo>
                <a:lnTo>
                  <a:pt x="10432" y="5134"/>
                </a:lnTo>
                <a:lnTo>
                  <a:pt x="10468" y="5134"/>
                </a:lnTo>
                <a:lnTo>
                  <a:pt x="10491" y="5137"/>
                </a:lnTo>
                <a:lnTo>
                  <a:pt x="10491" y="5144"/>
                </a:lnTo>
                <a:lnTo>
                  <a:pt x="10464" y="5153"/>
                </a:lnTo>
                <a:close/>
                <a:moveTo>
                  <a:pt x="10487" y="9118"/>
                </a:moveTo>
                <a:lnTo>
                  <a:pt x="10492" y="9117"/>
                </a:lnTo>
                <a:lnTo>
                  <a:pt x="10496" y="9114"/>
                </a:lnTo>
                <a:lnTo>
                  <a:pt x="10498" y="9113"/>
                </a:lnTo>
                <a:lnTo>
                  <a:pt x="10501" y="9112"/>
                </a:lnTo>
                <a:lnTo>
                  <a:pt x="10502" y="9113"/>
                </a:lnTo>
                <a:lnTo>
                  <a:pt x="10505" y="9113"/>
                </a:lnTo>
                <a:lnTo>
                  <a:pt x="10496" y="9115"/>
                </a:lnTo>
                <a:lnTo>
                  <a:pt x="10487" y="9118"/>
                </a:lnTo>
                <a:close/>
                <a:moveTo>
                  <a:pt x="10440" y="8121"/>
                </a:moveTo>
                <a:lnTo>
                  <a:pt x="10447" y="8115"/>
                </a:lnTo>
                <a:lnTo>
                  <a:pt x="10455" y="8110"/>
                </a:lnTo>
                <a:lnTo>
                  <a:pt x="10459" y="8108"/>
                </a:lnTo>
                <a:lnTo>
                  <a:pt x="10463" y="8108"/>
                </a:lnTo>
                <a:lnTo>
                  <a:pt x="10468" y="8108"/>
                </a:lnTo>
                <a:lnTo>
                  <a:pt x="10473" y="8111"/>
                </a:lnTo>
                <a:lnTo>
                  <a:pt x="10465" y="8114"/>
                </a:lnTo>
                <a:lnTo>
                  <a:pt x="10459" y="8119"/>
                </a:lnTo>
                <a:lnTo>
                  <a:pt x="10455" y="8121"/>
                </a:lnTo>
                <a:lnTo>
                  <a:pt x="10451" y="8122"/>
                </a:lnTo>
                <a:lnTo>
                  <a:pt x="10446" y="8122"/>
                </a:lnTo>
                <a:lnTo>
                  <a:pt x="10440" y="8121"/>
                </a:lnTo>
                <a:close/>
                <a:moveTo>
                  <a:pt x="10449" y="9127"/>
                </a:moveTo>
                <a:lnTo>
                  <a:pt x="10451" y="9124"/>
                </a:lnTo>
                <a:lnTo>
                  <a:pt x="10455" y="9123"/>
                </a:lnTo>
                <a:lnTo>
                  <a:pt x="10459" y="9122"/>
                </a:lnTo>
                <a:lnTo>
                  <a:pt x="10463" y="9122"/>
                </a:lnTo>
                <a:lnTo>
                  <a:pt x="10472" y="9120"/>
                </a:lnTo>
                <a:lnTo>
                  <a:pt x="10479" y="9119"/>
                </a:lnTo>
                <a:lnTo>
                  <a:pt x="10464" y="9123"/>
                </a:lnTo>
                <a:lnTo>
                  <a:pt x="10449" y="9127"/>
                </a:lnTo>
                <a:close/>
                <a:moveTo>
                  <a:pt x="10343" y="9127"/>
                </a:moveTo>
                <a:lnTo>
                  <a:pt x="10356" y="9126"/>
                </a:lnTo>
                <a:lnTo>
                  <a:pt x="10370" y="9126"/>
                </a:lnTo>
                <a:lnTo>
                  <a:pt x="10362" y="9128"/>
                </a:lnTo>
                <a:lnTo>
                  <a:pt x="10356" y="9128"/>
                </a:lnTo>
                <a:lnTo>
                  <a:pt x="10349" y="9128"/>
                </a:lnTo>
                <a:lnTo>
                  <a:pt x="10343" y="9127"/>
                </a:lnTo>
                <a:close/>
                <a:moveTo>
                  <a:pt x="10240" y="8075"/>
                </a:moveTo>
                <a:lnTo>
                  <a:pt x="10234" y="8070"/>
                </a:lnTo>
                <a:lnTo>
                  <a:pt x="10235" y="8065"/>
                </a:lnTo>
                <a:lnTo>
                  <a:pt x="10242" y="8061"/>
                </a:lnTo>
                <a:lnTo>
                  <a:pt x="10255" y="8058"/>
                </a:lnTo>
                <a:lnTo>
                  <a:pt x="10284" y="8052"/>
                </a:lnTo>
                <a:lnTo>
                  <a:pt x="10310" y="8047"/>
                </a:lnTo>
                <a:lnTo>
                  <a:pt x="10301" y="8055"/>
                </a:lnTo>
                <a:lnTo>
                  <a:pt x="10291" y="8061"/>
                </a:lnTo>
                <a:lnTo>
                  <a:pt x="10282" y="8066"/>
                </a:lnTo>
                <a:lnTo>
                  <a:pt x="10274" y="8070"/>
                </a:lnTo>
                <a:lnTo>
                  <a:pt x="10265" y="8073"/>
                </a:lnTo>
                <a:lnTo>
                  <a:pt x="10256" y="8074"/>
                </a:lnTo>
                <a:lnTo>
                  <a:pt x="10249" y="8075"/>
                </a:lnTo>
                <a:lnTo>
                  <a:pt x="10240" y="8075"/>
                </a:lnTo>
                <a:close/>
                <a:moveTo>
                  <a:pt x="10160" y="8108"/>
                </a:moveTo>
                <a:lnTo>
                  <a:pt x="10129" y="8124"/>
                </a:lnTo>
                <a:lnTo>
                  <a:pt x="10092" y="8138"/>
                </a:lnTo>
                <a:lnTo>
                  <a:pt x="10055" y="8149"/>
                </a:lnTo>
                <a:lnTo>
                  <a:pt x="10023" y="8157"/>
                </a:lnTo>
                <a:lnTo>
                  <a:pt x="10003" y="8161"/>
                </a:lnTo>
                <a:lnTo>
                  <a:pt x="9999" y="8159"/>
                </a:lnTo>
                <a:lnTo>
                  <a:pt x="10018" y="8152"/>
                </a:lnTo>
                <a:lnTo>
                  <a:pt x="10065" y="8136"/>
                </a:lnTo>
                <a:lnTo>
                  <a:pt x="10090" y="8122"/>
                </a:lnTo>
                <a:lnTo>
                  <a:pt x="10121" y="8107"/>
                </a:lnTo>
                <a:lnTo>
                  <a:pt x="10156" y="8092"/>
                </a:lnTo>
                <a:lnTo>
                  <a:pt x="10185" y="8080"/>
                </a:lnTo>
                <a:lnTo>
                  <a:pt x="10207" y="8074"/>
                </a:lnTo>
                <a:lnTo>
                  <a:pt x="10213" y="8075"/>
                </a:lnTo>
                <a:lnTo>
                  <a:pt x="10199" y="8086"/>
                </a:lnTo>
                <a:lnTo>
                  <a:pt x="10160" y="8108"/>
                </a:lnTo>
                <a:close/>
                <a:moveTo>
                  <a:pt x="10039" y="7910"/>
                </a:moveTo>
                <a:lnTo>
                  <a:pt x="10036" y="7910"/>
                </a:lnTo>
                <a:lnTo>
                  <a:pt x="10039" y="7910"/>
                </a:lnTo>
                <a:lnTo>
                  <a:pt x="10037" y="7914"/>
                </a:lnTo>
                <a:lnTo>
                  <a:pt x="10037" y="7914"/>
                </a:lnTo>
                <a:lnTo>
                  <a:pt x="10037" y="7912"/>
                </a:lnTo>
                <a:lnTo>
                  <a:pt x="10039" y="7910"/>
                </a:lnTo>
                <a:close/>
                <a:moveTo>
                  <a:pt x="9960" y="4771"/>
                </a:moveTo>
                <a:lnTo>
                  <a:pt x="9956" y="4759"/>
                </a:lnTo>
                <a:lnTo>
                  <a:pt x="9961" y="4748"/>
                </a:lnTo>
                <a:lnTo>
                  <a:pt x="9971" y="4740"/>
                </a:lnTo>
                <a:lnTo>
                  <a:pt x="9984" y="4735"/>
                </a:lnTo>
                <a:lnTo>
                  <a:pt x="9995" y="4734"/>
                </a:lnTo>
                <a:lnTo>
                  <a:pt x="10004" y="4738"/>
                </a:lnTo>
                <a:lnTo>
                  <a:pt x="10007" y="4747"/>
                </a:lnTo>
                <a:lnTo>
                  <a:pt x="10000" y="4761"/>
                </a:lnTo>
                <a:lnTo>
                  <a:pt x="10049" y="4776"/>
                </a:lnTo>
                <a:lnTo>
                  <a:pt x="10077" y="4785"/>
                </a:lnTo>
                <a:lnTo>
                  <a:pt x="10087" y="4789"/>
                </a:lnTo>
                <a:lnTo>
                  <a:pt x="10082" y="4787"/>
                </a:lnTo>
                <a:lnTo>
                  <a:pt x="10063" y="4785"/>
                </a:lnTo>
                <a:lnTo>
                  <a:pt x="10035" y="4780"/>
                </a:lnTo>
                <a:lnTo>
                  <a:pt x="9999" y="4775"/>
                </a:lnTo>
                <a:lnTo>
                  <a:pt x="9960" y="4771"/>
                </a:lnTo>
                <a:close/>
                <a:moveTo>
                  <a:pt x="9948" y="1315"/>
                </a:moveTo>
                <a:lnTo>
                  <a:pt x="9950" y="1309"/>
                </a:lnTo>
                <a:lnTo>
                  <a:pt x="9948" y="1315"/>
                </a:lnTo>
                <a:lnTo>
                  <a:pt x="9946" y="1314"/>
                </a:lnTo>
                <a:lnTo>
                  <a:pt x="9943" y="1312"/>
                </a:lnTo>
                <a:lnTo>
                  <a:pt x="9942" y="1309"/>
                </a:lnTo>
                <a:lnTo>
                  <a:pt x="9941" y="1306"/>
                </a:lnTo>
                <a:lnTo>
                  <a:pt x="9942" y="1305"/>
                </a:lnTo>
                <a:lnTo>
                  <a:pt x="9943" y="1305"/>
                </a:lnTo>
                <a:lnTo>
                  <a:pt x="9946" y="1307"/>
                </a:lnTo>
                <a:lnTo>
                  <a:pt x="9948" y="1315"/>
                </a:lnTo>
                <a:close/>
                <a:moveTo>
                  <a:pt x="9978" y="1399"/>
                </a:moveTo>
                <a:lnTo>
                  <a:pt x="9978" y="1404"/>
                </a:lnTo>
                <a:lnTo>
                  <a:pt x="9975" y="1408"/>
                </a:lnTo>
                <a:lnTo>
                  <a:pt x="9971" y="1409"/>
                </a:lnTo>
                <a:lnTo>
                  <a:pt x="9965" y="1408"/>
                </a:lnTo>
                <a:lnTo>
                  <a:pt x="9967" y="1401"/>
                </a:lnTo>
                <a:lnTo>
                  <a:pt x="9970" y="1396"/>
                </a:lnTo>
                <a:lnTo>
                  <a:pt x="9972" y="1395"/>
                </a:lnTo>
                <a:lnTo>
                  <a:pt x="9974" y="1395"/>
                </a:lnTo>
                <a:lnTo>
                  <a:pt x="9975" y="1396"/>
                </a:lnTo>
                <a:lnTo>
                  <a:pt x="9978" y="1399"/>
                </a:lnTo>
                <a:close/>
                <a:moveTo>
                  <a:pt x="9995" y="1381"/>
                </a:moveTo>
                <a:lnTo>
                  <a:pt x="9995" y="1377"/>
                </a:lnTo>
                <a:lnTo>
                  <a:pt x="9997" y="1375"/>
                </a:lnTo>
                <a:lnTo>
                  <a:pt x="10000" y="1373"/>
                </a:lnTo>
                <a:lnTo>
                  <a:pt x="10004" y="1371"/>
                </a:lnTo>
                <a:lnTo>
                  <a:pt x="10003" y="1376"/>
                </a:lnTo>
                <a:lnTo>
                  <a:pt x="10003" y="1380"/>
                </a:lnTo>
                <a:lnTo>
                  <a:pt x="10000" y="1381"/>
                </a:lnTo>
                <a:lnTo>
                  <a:pt x="9995" y="1381"/>
                </a:lnTo>
                <a:close/>
                <a:moveTo>
                  <a:pt x="10007" y="1395"/>
                </a:moveTo>
                <a:lnTo>
                  <a:pt x="10011" y="1396"/>
                </a:lnTo>
                <a:lnTo>
                  <a:pt x="10013" y="1398"/>
                </a:lnTo>
                <a:lnTo>
                  <a:pt x="10014" y="1400"/>
                </a:lnTo>
                <a:lnTo>
                  <a:pt x="10013" y="1403"/>
                </a:lnTo>
                <a:lnTo>
                  <a:pt x="10012" y="1405"/>
                </a:lnTo>
                <a:lnTo>
                  <a:pt x="10009" y="1407"/>
                </a:lnTo>
                <a:lnTo>
                  <a:pt x="10004" y="1408"/>
                </a:lnTo>
                <a:lnTo>
                  <a:pt x="10000" y="1407"/>
                </a:lnTo>
                <a:lnTo>
                  <a:pt x="10003" y="1400"/>
                </a:lnTo>
                <a:lnTo>
                  <a:pt x="10007" y="1395"/>
                </a:lnTo>
                <a:close/>
                <a:moveTo>
                  <a:pt x="10027" y="1319"/>
                </a:moveTo>
                <a:lnTo>
                  <a:pt x="10028" y="1314"/>
                </a:lnTo>
                <a:lnTo>
                  <a:pt x="10031" y="1311"/>
                </a:lnTo>
                <a:lnTo>
                  <a:pt x="10034" y="1311"/>
                </a:lnTo>
                <a:lnTo>
                  <a:pt x="10035" y="1311"/>
                </a:lnTo>
                <a:lnTo>
                  <a:pt x="10037" y="1314"/>
                </a:lnTo>
                <a:lnTo>
                  <a:pt x="10040" y="1317"/>
                </a:lnTo>
                <a:lnTo>
                  <a:pt x="10040" y="1321"/>
                </a:lnTo>
                <a:lnTo>
                  <a:pt x="10041" y="1328"/>
                </a:lnTo>
                <a:lnTo>
                  <a:pt x="10031" y="1321"/>
                </a:lnTo>
                <a:lnTo>
                  <a:pt x="10027" y="1319"/>
                </a:lnTo>
                <a:close/>
                <a:moveTo>
                  <a:pt x="10039" y="1368"/>
                </a:moveTo>
                <a:lnTo>
                  <a:pt x="10037" y="1377"/>
                </a:lnTo>
                <a:lnTo>
                  <a:pt x="10039" y="1368"/>
                </a:lnTo>
                <a:lnTo>
                  <a:pt x="10044" y="1370"/>
                </a:lnTo>
                <a:lnTo>
                  <a:pt x="10046" y="1371"/>
                </a:lnTo>
                <a:lnTo>
                  <a:pt x="10048" y="1375"/>
                </a:lnTo>
                <a:lnTo>
                  <a:pt x="10048" y="1379"/>
                </a:lnTo>
                <a:lnTo>
                  <a:pt x="10046" y="1380"/>
                </a:lnTo>
                <a:lnTo>
                  <a:pt x="10044" y="1380"/>
                </a:lnTo>
                <a:lnTo>
                  <a:pt x="10041" y="1377"/>
                </a:lnTo>
                <a:lnTo>
                  <a:pt x="10039" y="1368"/>
                </a:lnTo>
                <a:close/>
                <a:moveTo>
                  <a:pt x="9873" y="1297"/>
                </a:moveTo>
                <a:lnTo>
                  <a:pt x="9865" y="1261"/>
                </a:lnTo>
                <a:lnTo>
                  <a:pt x="9878" y="1240"/>
                </a:lnTo>
                <a:lnTo>
                  <a:pt x="9905" y="1230"/>
                </a:lnTo>
                <a:lnTo>
                  <a:pt x="9939" y="1225"/>
                </a:lnTo>
                <a:lnTo>
                  <a:pt x="9974" y="1219"/>
                </a:lnTo>
                <a:lnTo>
                  <a:pt x="10000" y="1208"/>
                </a:lnTo>
                <a:lnTo>
                  <a:pt x="10014" y="1188"/>
                </a:lnTo>
                <a:lnTo>
                  <a:pt x="10007" y="1149"/>
                </a:lnTo>
                <a:lnTo>
                  <a:pt x="10043" y="1171"/>
                </a:lnTo>
                <a:lnTo>
                  <a:pt x="10049" y="1190"/>
                </a:lnTo>
                <a:lnTo>
                  <a:pt x="10034" y="1208"/>
                </a:lnTo>
                <a:lnTo>
                  <a:pt x="10002" y="1226"/>
                </a:lnTo>
                <a:lnTo>
                  <a:pt x="9964" y="1244"/>
                </a:lnTo>
                <a:lnTo>
                  <a:pt x="9924" y="1260"/>
                </a:lnTo>
                <a:lnTo>
                  <a:pt x="9892" y="1279"/>
                </a:lnTo>
                <a:lnTo>
                  <a:pt x="9873" y="1297"/>
                </a:lnTo>
                <a:close/>
                <a:moveTo>
                  <a:pt x="9929" y="8133"/>
                </a:moveTo>
                <a:lnTo>
                  <a:pt x="9929" y="8130"/>
                </a:lnTo>
                <a:lnTo>
                  <a:pt x="9932" y="8128"/>
                </a:lnTo>
                <a:lnTo>
                  <a:pt x="9934" y="8126"/>
                </a:lnTo>
                <a:lnTo>
                  <a:pt x="9937" y="8125"/>
                </a:lnTo>
                <a:lnTo>
                  <a:pt x="9933" y="8129"/>
                </a:lnTo>
                <a:lnTo>
                  <a:pt x="9929" y="8133"/>
                </a:lnTo>
                <a:close/>
                <a:moveTo>
                  <a:pt x="9922" y="8134"/>
                </a:moveTo>
                <a:lnTo>
                  <a:pt x="9919" y="8135"/>
                </a:lnTo>
                <a:lnTo>
                  <a:pt x="9918" y="8135"/>
                </a:lnTo>
                <a:lnTo>
                  <a:pt x="9916" y="8134"/>
                </a:lnTo>
                <a:lnTo>
                  <a:pt x="9916" y="8133"/>
                </a:lnTo>
                <a:lnTo>
                  <a:pt x="9918" y="8129"/>
                </a:lnTo>
                <a:lnTo>
                  <a:pt x="9919" y="8126"/>
                </a:lnTo>
                <a:lnTo>
                  <a:pt x="9924" y="8128"/>
                </a:lnTo>
                <a:lnTo>
                  <a:pt x="9927" y="8129"/>
                </a:lnTo>
                <a:lnTo>
                  <a:pt x="9925" y="8131"/>
                </a:lnTo>
                <a:lnTo>
                  <a:pt x="9922" y="8134"/>
                </a:lnTo>
                <a:close/>
                <a:moveTo>
                  <a:pt x="9934" y="1422"/>
                </a:moveTo>
                <a:lnTo>
                  <a:pt x="9933" y="1426"/>
                </a:lnTo>
                <a:lnTo>
                  <a:pt x="9930" y="1428"/>
                </a:lnTo>
                <a:lnTo>
                  <a:pt x="9927" y="1428"/>
                </a:lnTo>
                <a:lnTo>
                  <a:pt x="9923" y="1427"/>
                </a:lnTo>
                <a:lnTo>
                  <a:pt x="9922" y="1424"/>
                </a:lnTo>
                <a:lnTo>
                  <a:pt x="9923" y="1422"/>
                </a:lnTo>
                <a:lnTo>
                  <a:pt x="9923" y="1421"/>
                </a:lnTo>
                <a:lnTo>
                  <a:pt x="9925" y="1419"/>
                </a:lnTo>
                <a:lnTo>
                  <a:pt x="9929" y="1419"/>
                </a:lnTo>
                <a:lnTo>
                  <a:pt x="9934" y="1422"/>
                </a:lnTo>
                <a:close/>
                <a:moveTo>
                  <a:pt x="9894" y="1300"/>
                </a:moveTo>
                <a:lnTo>
                  <a:pt x="9897" y="1292"/>
                </a:lnTo>
                <a:lnTo>
                  <a:pt x="9900" y="1286"/>
                </a:lnTo>
                <a:lnTo>
                  <a:pt x="9902" y="1284"/>
                </a:lnTo>
                <a:lnTo>
                  <a:pt x="9905" y="1283"/>
                </a:lnTo>
                <a:lnTo>
                  <a:pt x="9908" y="1284"/>
                </a:lnTo>
                <a:lnTo>
                  <a:pt x="9910" y="1287"/>
                </a:lnTo>
                <a:lnTo>
                  <a:pt x="9908" y="1292"/>
                </a:lnTo>
                <a:lnTo>
                  <a:pt x="9904" y="1297"/>
                </a:lnTo>
                <a:lnTo>
                  <a:pt x="9901" y="1300"/>
                </a:lnTo>
                <a:lnTo>
                  <a:pt x="9900" y="1301"/>
                </a:lnTo>
                <a:lnTo>
                  <a:pt x="9897" y="1301"/>
                </a:lnTo>
                <a:lnTo>
                  <a:pt x="9894" y="1300"/>
                </a:lnTo>
                <a:close/>
                <a:moveTo>
                  <a:pt x="9891" y="1348"/>
                </a:moveTo>
                <a:lnTo>
                  <a:pt x="9909" y="1338"/>
                </a:lnTo>
                <a:lnTo>
                  <a:pt x="9923" y="1330"/>
                </a:lnTo>
                <a:lnTo>
                  <a:pt x="9922" y="1338"/>
                </a:lnTo>
                <a:lnTo>
                  <a:pt x="9919" y="1344"/>
                </a:lnTo>
                <a:lnTo>
                  <a:pt x="9918" y="1348"/>
                </a:lnTo>
                <a:lnTo>
                  <a:pt x="9915" y="1351"/>
                </a:lnTo>
                <a:lnTo>
                  <a:pt x="9911" y="1352"/>
                </a:lnTo>
                <a:lnTo>
                  <a:pt x="9906" y="1352"/>
                </a:lnTo>
                <a:lnTo>
                  <a:pt x="9900" y="1351"/>
                </a:lnTo>
                <a:lnTo>
                  <a:pt x="9891" y="1348"/>
                </a:lnTo>
                <a:close/>
                <a:moveTo>
                  <a:pt x="9849" y="8232"/>
                </a:moveTo>
                <a:lnTo>
                  <a:pt x="9799" y="8250"/>
                </a:lnTo>
                <a:lnTo>
                  <a:pt x="9748" y="8266"/>
                </a:lnTo>
                <a:lnTo>
                  <a:pt x="9699" y="8284"/>
                </a:lnTo>
                <a:lnTo>
                  <a:pt x="9648" y="8301"/>
                </a:lnTo>
                <a:lnTo>
                  <a:pt x="9597" y="8317"/>
                </a:lnTo>
                <a:lnTo>
                  <a:pt x="9546" y="8334"/>
                </a:lnTo>
                <a:lnTo>
                  <a:pt x="9495" y="8350"/>
                </a:lnTo>
                <a:lnTo>
                  <a:pt x="9443" y="8366"/>
                </a:lnTo>
                <a:lnTo>
                  <a:pt x="9485" y="8326"/>
                </a:lnTo>
                <a:lnTo>
                  <a:pt x="9552" y="8289"/>
                </a:lnTo>
                <a:lnTo>
                  <a:pt x="9636" y="8256"/>
                </a:lnTo>
                <a:lnTo>
                  <a:pt x="9723" y="8231"/>
                </a:lnTo>
                <a:lnTo>
                  <a:pt x="9799" y="8213"/>
                </a:lnTo>
                <a:lnTo>
                  <a:pt x="9854" y="8205"/>
                </a:lnTo>
                <a:lnTo>
                  <a:pt x="9874" y="8212"/>
                </a:lnTo>
                <a:lnTo>
                  <a:pt x="9849" y="8232"/>
                </a:lnTo>
                <a:close/>
                <a:moveTo>
                  <a:pt x="9562" y="9341"/>
                </a:moveTo>
                <a:lnTo>
                  <a:pt x="9565" y="9339"/>
                </a:lnTo>
                <a:lnTo>
                  <a:pt x="9562" y="9341"/>
                </a:lnTo>
                <a:lnTo>
                  <a:pt x="9565" y="9336"/>
                </a:lnTo>
                <a:lnTo>
                  <a:pt x="9562" y="9341"/>
                </a:lnTo>
                <a:close/>
                <a:moveTo>
                  <a:pt x="9511" y="9348"/>
                </a:moveTo>
                <a:lnTo>
                  <a:pt x="9519" y="9341"/>
                </a:lnTo>
                <a:lnTo>
                  <a:pt x="9527" y="9334"/>
                </a:lnTo>
                <a:lnTo>
                  <a:pt x="9531" y="9332"/>
                </a:lnTo>
                <a:lnTo>
                  <a:pt x="9536" y="9329"/>
                </a:lnTo>
                <a:lnTo>
                  <a:pt x="9541" y="9328"/>
                </a:lnTo>
                <a:lnTo>
                  <a:pt x="9547" y="9327"/>
                </a:lnTo>
                <a:lnTo>
                  <a:pt x="9537" y="9337"/>
                </a:lnTo>
                <a:lnTo>
                  <a:pt x="9528" y="9343"/>
                </a:lnTo>
                <a:lnTo>
                  <a:pt x="9520" y="9347"/>
                </a:lnTo>
                <a:lnTo>
                  <a:pt x="9511" y="9348"/>
                </a:lnTo>
                <a:close/>
                <a:moveTo>
                  <a:pt x="9523" y="9384"/>
                </a:moveTo>
                <a:lnTo>
                  <a:pt x="9529" y="9378"/>
                </a:lnTo>
                <a:lnTo>
                  <a:pt x="9538" y="9372"/>
                </a:lnTo>
                <a:lnTo>
                  <a:pt x="9548" y="9366"/>
                </a:lnTo>
                <a:lnTo>
                  <a:pt x="9559" y="9362"/>
                </a:lnTo>
                <a:lnTo>
                  <a:pt x="9569" y="9358"/>
                </a:lnTo>
                <a:lnTo>
                  <a:pt x="9579" y="9357"/>
                </a:lnTo>
                <a:lnTo>
                  <a:pt x="9588" y="9357"/>
                </a:lnTo>
                <a:lnTo>
                  <a:pt x="9596" y="9361"/>
                </a:lnTo>
                <a:lnTo>
                  <a:pt x="9578" y="9366"/>
                </a:lnTo>
                <a:lnTo>
                  <a:pt x="9561" y="9371"/>
                </a:lnTo>
                <a:lnTo>
                  <a:pt x="9542" y="9378"/>
                </a:lnTo>
                <a:lnTo>
                  <a:pt x="9523" y="9384"/>
                </a:lnTo>
                <a:close/>
                <a:moveTo>
                  <a:pt x="9309" y="5034"/>
                </a:moveTo>
                <a:lnTo>
                  <a:pt x="9254" y="5031"/>
                </a:lnTo>
                <a:lnTo>
                  <a:pt x="9219" y="5027"/>
                </a:lnTo>
                <a:lnTo>
                  <a:pt x="9197" y="5022"/>
                </a:lnTo>
                <a:lnTo>
                  <a:pt x="9191" y="5018"/>
                </a:lnTo>
                <a:lnTo>
                  <a:pt x="9193" y="5013"/>
                </a:lnTo>
                <a:lnTo>
                  <a:pt x="9205" y="5008"/>
                </a:lnTo>
                <a:lnTo>
                  <a:pt x="9221" y="5001"/>
                </a:lnTo>
                <a:lnTo>
                  <a:pt x="9240" y="4996"/>
                </a:lnTo>
                <a:lnTo>
                  <a:pt x="9243" y="4996"/>
                </a:lnTo>
                <a:lnTo>
                  <a:pt x="9241" y="4996"/>
                </a:lnTo>
                <a:lnTo>
                  <a:pt x="9259" y="4991"/>
                </a:lnTo>
                <a:lnTo>
                  <a:pt x="9276" y="4985"/>
                </a:lnTo>
                <a:lnTo>
                  <a:pt x="9282" y="4982"/>
                </a:lnTo>
                <a:lnTo>
                  <a:pt x="9289" y="4980"/>
                </a:lnTo>
                <a:lnTo>
                  <a:pt x="9292" y="4977"/>
                </a:lnTo>
                <a:lnTo>
                  <a:pt x="9295" y="4975"/>
                </a:lnTo>
                <a:lnTo>
                  <a:pt x="9382" y="4958"/>
                </a:lnTo>
                <a:lnTo>
                  <a:pt x="9448" y="4949"/>
                </a:lnTo>
                <a:lnTo>
                  <a:pt x="9492" y="4948"/>
                </a:lnTo>
                <a:lnTo>
                  <a:pt x="9511" y="4953"/>
                </a:lnTo>
                <a:lnTo>
                  <a:pt x="9504" y="4966"/>
                </a:lnTo>
                <a:lnTo>
                  <a:pt x="9469" y="4983"/>
                </a:lnTo>
                <a:lnTo>
                  <a:pt x="9406" y="5006"/>
                </a:lnTo>
                <a:lnTo>
                  <a:pt x="9309" y="5034"/>
                </a:lnTo>
                <a:close/>
                <a:moveTo>
                  <a:pt x="9217" y="5088"/>
                </a:moveTo>
                <a:lnTo>
                  <a:pt x="9191" y="5097"/>
                </a:lnTo>
                <a:lnTo>
                  <a:pt x="9163" y="5104"/>
                </a:lnTo>
                <a:lnTo>
                  <a:pt x="9134" y="5111"/>
                </a:lnTo>
                <a:lnTo>
                  <a:pt x="9105" y="5117"/>
                </a:lnTo>
                <a:lnTo>
                  <a:pt x="9076" y="5121"/>
                </a:lnTo>
                <a:lnTo>
                  <a:pt x="9048" y="5123"/>
                </a:lnTo>
                <a:lnTo>
                  <a:pt x="9020" y="5125"/>
                </a:lnTo>
                <a:lnTo>
                  <a:pt x="8992" y="5122"/>
                </a:lnTo>
                <a:lnTo>
                  <a:pt x="9022" y="5108"/>
                </a:lnTo>
                <a:lnTo>
                  <a:pt x="9071" y="5094"/>
                </a:lnTo>
                <a:lnTo>
                  <a:pt x="9126" y="5081"/>
                </a:lnTo>
                <a:lnTo>
                  <a:pt x="9180" y="5073"/>
                </a:lnTo>
                <a:lnTo>
                  <a:pt x="9226" y="5067"/>
                </a:lnTo>
                <a:lnTo>
                  <a:pt x="9253" y="5067"/>
                </a:lnTo>
                <a:lnTo>
                  <a:pt x="9253" y="5074"/>
                </a:lnTo>
                <a:lnTo>
                  <a:pt x="9217" y="5088"/>
                </a:lnTo>
                <a:close/>
                <a:moveTo>
                  <a:pt x="9163" y="9496"/>
                </a:moveTo>
                <a:lnTo>
                  <a:pt x="9159" y="9492"/>
                </a:lnTo>
                <a:lnTo>
                  <a:pt x="9156" y="9491"/>
                </a:lnTo>
                <a:lnTo>
                  <a:pt x="9156" y="9488"/>
                </a:lnTo>
                <a:lnTo>
                  <a:pt x="9159" y="9487"/>
                </a:lnTo>
                <a:lnTo>
                  <a:pt x="9166" y="9485"/>
                </a:lnTo>
                <a:lnTo>
                  <a:pt x="9174" y="9482"/>
                </a:lnTo>
                <a:lnTo>
                  <a:pt x="9169" y="9488"/>
                </a:lnTo>
                <a:lnTo>
                  <a:pt x="9163" y="9496"/>
                </a:lnTo>
                <a:close/>
                <a:moveTo>
                  <a:pt x="9104" y="9519"/>
                </a:moveTo>
                <a:lnTo>
                  <a:pt x="9092" y="9521"/>
                </a:lnTo>
                <a:lnTo>
                  <a:pt x="9082" y="9525"/>
                </a:lnTo>
                <a:lnTo>
                  <a:pt x="9086" y="9521"/>
                </a:lnTo>
                <a:lnTo>
                  <a:pt x="9091" y="9519"/>
                </a:lnTo>
                <a:lnTo>
                  <a:pt x="9098" y="9519"/>
                </a:lnTo>
                <a:lnTo>
                  <a:pt x="9104" y="9519"/>
                </a:lnTo>
                <a:close/>
                <a:moveTo>
                  <a:pt x="9076" y="9528"/>
                </a:moveTo>
                <a:lnTo>
                  <a:pt x="9077" y="9528"/>
                </a:lnTo>
                <a:lnTo>
                  <a:pt x="9076" y="9528"/>
                </a:lnTo>
                <a:lnTo>
                  <a:pt x="9077" y="9527"/>
                </a:lnTo>
                <a:lnTo>
                  <a:pt x="9077" y="9527"/>
                </a:lnTo>
                <a:lnTo>
                  <a:pt x="9077" y="9527"/>
                </a:lnTo>
                <a:lnTo>
                  <a:pt x="9076" y="9528"/>
                </a:lnTo>
                <a:close/>
                <a:moveTo>
                  <a:pt x="9058" y="9502"/>
                </a:moveTo>
                <a:lnTo>
                  <a:pt x="9058" y="9502"/>
                </a:lnTo>
                <a:lnTo>
                  <a:pt x="9058" y="9502"/>
                </a:lnTo>
                <a:lnTo>
                  <a:pt x="9058" y="9502"/>
                </a:lnTo>
                <a:lnTo>
                  <a:pt x="9058" y="9502"/>
                </a:lnTo>
                <a:close/>
                <a:moveTo>
                  <a:pt x="9020" y="9519"/>
                </a:moveTo>
                <a:lnTo>
                  <a:pt x="9015" y="9511"/>
                </a:lnTo>
                <a:lnTo>
                  <a:pt x="9001" y="9514"/>
                </a:lnTo>
                <a:lnTo>
                  <a:pt x="8982" y="9521"/>
                </a:lnTo>
                <a:lnTo>
                  <a:pt x="8961" y="9532"/>
                </a:lnTo>
                <a:lnTo>
                  <a:pt x="8945" y="9539"/>
                </a:lnTo>
                <a:lnTo>
                  <a:pt x="8936" y="9539"/>
                </a:lnTo>
                <a:lnTo>
                  <a:pt x="8938" y="9529"/>
                </a:lnTo>
                <a:lnTo>
                  <a:pt x="8957" y="9502"/>
                </a:lnTo>
                <a:lnTo>
                  <a:pt x="8910" y="9507"/>
                </a:lnTo>
                <a:lnTo>
                  <a:pt x="8904" y="9507"/>
                </a:lnTo>
                <a:lnTo>
                  <a:pt x="8926" y="9505"/>
                </a:lnTo>
                <a:lnTo>
                  <a:pt x="8963" y="9501"/>
                </a:lnTo>
                <a:lnTo>
                  <a:pt x="9003" y="9499"/>
                </a:lnTo>
                <a:lnTo>
                  <a:pt x="9034" y="9499"/>
                </a:lnTo>
                <a:lnTo>
                  <a:pt x="9044" y="9505"/>
                </a:lnTo>
                <a:lnTo>
                  <a:pt x="9020" y="9519"/>
                </a:lnTo>
                <a:close/>
                <a:moveTo>
                  <a:pt x="9003" y="3111"/>
                </a:moveTo>
                <a:lnTo>
                  <a:pt x="9007" y="3115"/>
                </a:lnTo>
                <a:lnTo>
                  <a:pt x="9010" y="3120"/>
                </a:lnTo>
                <a:lnTo>
                  <a:pt x="9007" y="3120"/>
                </a:lnTo>
                <a:lnTo>
                  <a:pt x="9003" y="3119"/>
                </a:lnTo>
                <a:lnTo>
                  <a:pt x="9001" y="3119"/>
                </a:lnTo>
                <a:lnTo>
                  <a:pt x="9000" y="3117"/>
                </a:lnTo>
                <a:lnTo>
                  <a:pt x="8998" y="3115"/>
                </a:lnTo>
                <a:lnTo>
                  <a:pt x="8998" y="3114"/>
                </a:lnTo>
                <a:lnTo>
                  <a:pt x="9000" y="3112"/>
                </a:lnTo>
                <a:lnTo>
                  <a:pt x="9003" y="3111"/>
                </a:lnTo>
                <a:close/>
                <a:moveTo>
                  <a:pt x="9052" y="5085"/>
                </a:moveTo>
                <a:lnTo>
                  <a:pt x="9058" y="5085"/>
                </a:lnTo>
                <a:lnTo>
                  <a:pt x="9066" y="5085"/>
                </a:lnTo>
                <a:lnTo>
                  <a:pt x="9058" y="5087"/>
                </a:lnTo>
                <a:lnTo>
                  <a:pt x="9049" y="5089"/>
                </a:lnTo>
                <a:lnTo>
                  <a:pt x="9047" y="5089"/>
                </a:lnTo>
                <a:lnTo>
                  <a:pt x="9045" y="5089"/>
                </a:lnTo>
                <a:lnTo>
                  <a:pt x="9047" y="5088"/>
                </a:lnTo>
                <a:lnTo>
                  <a:pt x="9052" y="5085"/>
                </a:lnTo>
                <a:close/>
                <a:moveTo>
                  <a:pt x="9076" y="4692"/>
                </a:moveTo>
                <a:lnTo>
                  <a:pt x="9085" y="4691"/>
                </a:lnTo>
                <a:lnTo>
                  <a:pt x="9092" y="4691"/>
                </a:lnTo>
                <a:lnTo>
                  <a:pt x="9096" y="4691"/>
                </a:lnTo>
                <a:lnTo>
                  <a:pt x="9098" y="4691"/>
                </a:lnTo>
                <a:lnTo>
                  <a:pt x="9096" y="4693"/>
                </a:lnTo>
                <a:lnTo>
                  <a:pt x="9092" y="4696"/>
                </a:lnTo>
                <a:lnTo>
                  <a:pt x="9087" y="4697"/>
                </a:lnTo>
                <a:lnTo>
                  <a:pt x="9082" y="4697"/>
                </a:lnTo>
                <a:lnTo>
                  <a:pt x="9080" y="4697"/>
                </a:lnTo>
                <a:lnTo>
                  <a:pt x="9078" y="4696"/>
                </a:lnTo>
                <a:lnTo>
                  <a:pt x="9077" y="4695"/>
                </a:lnTo>
                <a:lnTo>
                  <a:pt x="9076" y="4692"/>
                </a:lnTo>
                <a:close/>
                <a:moveTo>
                  <a:pt x="9529" y="1051"/>
                </a:moveTo>
                <a:lnTo>
                  <a:pt x="9525" y="1055"/>
                </a:lnTo>
                <a:lnTo>
                  <a:pt x="9523" y="1057"/>
                </a:lnTo>
                <a:lnTo>
                  <a:pt x="9520" y="1057"/>
                </a:lnTo>
                <a:lnTo>
                  <a:pt x="9519" y="1055"/>
                </a:lnTo>
                <a:lnTo>
                  <a:pt x="9514" y="1050"/>
                </a:lnTo>
                <a:lnTo>
                  <a:pt x="9509" y="1042"/>
                </a:lnTo>
                <a:lnTo>
                  <a:pt x="9517" y="1041"/>
                </a:lnTo>
                <a:lnTo>
                  <a:pt x="9523" y="1042"/>
                </a:lnTo>
                <a:lnTo>
                  <a:pt x="9525" y="1044"/>
                </a:lnTo>
                <a:lnTo>
                  <a:pt x="9528" y="1045"/>
                </a:lnTo>
                <a:lnTo>
                  <a:pt x="9528" y="1048"/>
                </a:lnTo>
                <a:lnTo>
                  <a:pt x="9529" y="1051"/>
                </a:lnTo>
                <a:close/>
                <a:moveTo>
                  <a:pt x="9524" y="978"/>
                </a:moveTo>
                <a:lnTo>
                  <a:pt x="9529" y="980"/>
                </a:lnTo>
                <a:lnTo>
                  <a:pt x="9531" y="984"/>
                </a:lnTo>
                <a:lnTo>
                  <a:pt x="9531" y="988"/>
                </a:lnTo>
                <a:lnTo>
                  <a:pt x="9529" y="993"/>
                </a:lnTo>
                <a:lnTo>
                  <a:pt x="9525" y="992"/>
                </a:lnTo>
                <a:lnTo>
                  <a:pt x="9523" y="989"/>
                </a:lnTo>
                <a:lnTo>
                  <a:pt x="9522" y="988"/>
                </a:lnTo>
                <a:lnTo>
                  <a:pt x="9522" y="986"/>
                </a:lnTo>
                <a:lnTo>
                  <a:pt x="9523" y="983"/>
                </a:lnTo>
                <a:lnTo>
                  <a:pt x="9524" y="978"/>
                </a:lnTo>
                <a:close/>
                <a:moveTo>
                  <a:pt x="9574" y="951"/>
                </a:moveTo>
                <a:lnTo>
                  <a:pt x="9566" y="956"/>
                </a:lnTo>
                <a:lnTo>
                  <a:pt x="9560" y="958"/>
                </a:lnTo>
                <a:lnTo>
                  <a:pt x="9553" y="958"/>
                </a:lnTo>
                <a:lnTo>
                  <a:pt x="9547" y="957"/>
                </a:lnTo>
                <a:lnTo>
                  <a:pt x="9542" y="955"/>
                </a:lnTo>
                <a:lnTo>
                  <a:pt x="9538" y="951"/>
                </a:lnTo>
                <a:lnTo>
                  <a:pt x="9534" y="944"/>
                </a:lnTo>
                <a:lnTo>
                  <a:pt x="9532" y="936"/>
                </a:lnTo>
                <a:lnTo>
                  <a:pt x="9543" y="937"/>
                </a:lnTo>
                <a:lnTo>
                  <a:pt x="9555" y="938"/>
                </a:lnTo>
                <a:lnTo>
                  <a:pt x="9561" y="939"/>
                </a:lnTo>
                <a:lnTo>
                  <a:pt x="9566" y="942"/>
                </a:lnTo>
                <a:lnTo>
                  <a:pt x="9570" y="946"/>
                </a:lnTo>
                <a:lnTo>
                  <a:pt x="9574" y="951"/>
                </a:lnTo>
                <a:close/>
                <a:moveTo>
                  <a:pt x="9560" y="4913"/>
                </a:moveTo>
                <a:lnTo>
                  <a:pt x="9557" y="4916"/>
                </a:lnTo>
                <a:lnTo>
                  <a:pt x="9556" y="4917"/>
                </a:lnTo>
                <a:lnTo>
                  <a:pt x="9555" y="4917"/>
                </a:lnTo>
                <a:lnTo>
                  <a:pt x="9552" y="4916"/>
                </a:lnTo>
                <a:lnTo>
                  <a:pt x="9555" y="4913"/>
                </a:lnTo>
                <a:lnTo>
                  <a:pt x="9560" y="4913"/>
                </a:lnTo>
                <a:close/>
                <a:moveTo>
                  <a:pt x="9552" y="1027"/>
                </a:moveTo>
                <a:lnTo>
                  <a:pt x="9553" y="1025"/>
                </a:lnTo>
                <a:lnTo>
                  <a:pt x="9555" y="1022"/>
                </a:lnTo>
                <a:lnTo>
                  <a:pt x="9557" y="1020"/>
                </a:lnTo>
                <a:lnTo>
                  <a:pt x="9560" y="1021"/>
                </a:lnTo>
                <a:lnTo>
                  <a:pt x="9561" y="1025"/>
                </a:lnTo>
                <a:lnTo>
                  <a:pt x="9560" y="1028"/>
                </a:lnTo>
                <a:lnTo>
                  <a:pt x="9556" y="1028"/>
                </a:lnTo>
                <a:lnTo>
                  <a:pt x="9552" y="1027"/>
                </a:lnTo>
                <a:close/>
                <a:moveTo>
                  <a:pt x="9594" y="989"/>
                </a:moveTo>
                <a:lnTo>
                  <a:pt x="9576" y="993"/>
                </a:lnTo>
                <a:lnTo>
                  <a:pt x="9560" y="995"/>
                </a:lnTo>
                <a:lnTo>
                  <a:pt x="9564" y="988"/>
                </a:lnTo>
                <a:lnTo>
                  <a:pt x="9566" y="983"/>
                </a:lnTo>
                <a:lnTo>
                  <a:pt x="9570" y="979"/>
                </a:lnTo>
                <a:lnTo>
                  <a:pt x="9574" y="978"/>
                </a:lnTo>
                <a:lnTo>
                  <a:pt x="9579" y="978"/>
                </a:lnTo>
                <a:lnTo>
                  <a:pt x="9583" y="980"/>
                </a:lnTo>
                <a:lnTo>
                  <a:pt x="9589" y="984"/>
                </a:lnTo>
                <a:lnTo>
                  <a:pt x="9594" y="989"/>
                </a:lnTo>
                <a:close/>
                <a:moveTo>
                  <a:pt x="9603" y="5482"/>
                </a:moveTo>
                <a:lnTo>
                  <a:pt x="9596" y="5484"/>
                </a:lnTo>
                <a:lnTo>
                  <a:pt x="9598" y="5481"/>
                </a:lnTo>
                <a:lnTo>
                  <a:pt x="9599" y="5479"/>
                </a:lnTo>
                <a:lnTo>
                  <a:pt x="9601" y="5479"/>
                </a:lnTo>
                <a:lnTo>
                  <a:pt x="9603" y="5482"/>
                </a:lnTo>
                <a:close/>
                <a:moveTo>
                  <a:pt x="9617" y="4927"/>
                </a:moveTo>
                <a:lnTo>
                  <a:pt x="9612" y="4933"/>
                </a:lnTo>
                <a:lnTo>
                  <a:pt x="9607" y="4936"/>
                </a:lnTo>
                <a:lnTo>
                  <a:pt x="9602" y="4939"/>
                </a:lnTo>
                <a:lnTo>
                  <a:pt x="9596" y="4940"/>
                </a:lnTo>
                <a:lnTo>
                  <a:pt x="9584" y="4941"/>
                </a:lnTo>
                <a:lnTo>
                  <a:pt x="9574" y="4941"/>
                </a:lnTo>
                <a:lnTo>
                  <a:pt x="9583" y="4929"/>
                </a:lnTo>
                <a:lnTo>
                  <a:pt x="9593" y="4919"/>
                </a:lnTo>
                <a:lnTo>
                  <a:pt x="9598" y="4916"/>
                </a:lnTo>
                <a:lnTo>
                  <a:pt x="9603" y="4916"/>
                </a:lnTo>
                <a:lnTo>
                  <a:pt x="9610" y="4920"/>
                </a:lnTo>
                <a:lnTo>
                  <a:pt x="9617" y="4927"/>
                </a:lnTo>
                <a:close/>
                <a:moveTo>
                  <a:pt x="9611" y="992"/>
                </a:moveTo>
                <a:lnTo>
                  <a:pt x="9607" y="976"/>
                </a:lnTo>
                <a:lnTo>
                  <a:pt x="9603" y="958"/>
                </a:lnTo>
                <a:lnTo>
                  <a:pt x="9608" y="962"/>
                </a:lnTo>
                <a:lnTo>
                  <a:pt x="9613" y="965"/>
                </a:lnTo>
                <a:lnTo>
                  <a:pt x="9616" y="969"/>
                </a:lnTo>
                <a:lnTo>
                  <a:pt x="9617" y="971"/>
                </a:lnTo>
                <a:lnTo>
                  <a:pt x="9617" y="975"/>
                </a:lnTo>
                <a:lnTo>
                  <a:pt x="9616" y="979"/>
                </a:lnTo>
                <a:lnTo>
                  <a:pt x="9613" y="984"/>
                </a:lnTo>
                <a:lnTo>
                  <a:pt x="9611" y="992"/>
                </a:lnTo>
                <a:close/>
                <a:moveTo>
                  <a:pt x="9631" y="1007"/>
                </a:moveTo>
                <a:lnTo>
                  <a:pt x="9640" y="1013"/>
                </a:lnTo>
                <a:lnTo>
                  <a:pt x="9645" y="1021"/>
                </a:lnTo>
                <a:lnTo>
                  <a:pt x="9649" y="1028"/>
                </a:lnTo>
                <a:lnTo>
                  <a:pt x="9650" y="1036"/>
                </a:lnTo>
                <a:lnTo>
                  <a:pt x="9649" y="1054"/>
                </a:lnTo>
                <a:lnTo>
                  <a:pt x="9645" y="1073"/>
                </a:lnTo>
                <a:lnTo>
                  <a:pt x="9638" y="1055"/>
                </a:lnTo>
                <a:lnTo>
                  <a:pt x="9632" y="1040"/>
                </a:lnTo>
                <a:lnTo>
                  <a:pt x="9631" y="1032"/>
                </a:lnTo>
                <a:lnTo>
                  <a:pt x="9630" y="1023"/>
                </a:lnTo>
                <a:lnTo>
                  <a:pt x="9630" y="1016"/>
                </a:lnTo>
                <a:lnTo>
                  <a:pt x="9631" y="1007"/>
                </a:lnTo>
                <a:close/>
                <a:moveTo>
                  <a:pt x="9669" y="1190"/>
                </a:moveTo>
                <a:lnTo>
                  <a:pt x="9672" y="1190"/>
                </a:lnTo>
                <a:lnTo>
                  <a:pt x="9673" y="1190"/>
                </a:lnTo>
                <a:lnTo>
                  <a:pt x="9673" y="1193"/>
                </a:lnTo>
                <a:lnTo>
                  <a:pt x="9673" y="1195"/>
                </a:lnTo>
                <a:lnTo>
                  <a:pt x="9671" y="1194"/>
                </a:lnTo>
                <a:lnTo>
                  <a:pt x="9669" y="1194"/>
                </a:lnTo>
                <a:lnTo>
                  <a:pt x="9669" y="1193"/>
                </a:lnTo>
                <a:lnTo>
                  <a:pt x="9669" y="1190"/>
                </a:lnTo>
                <a:close/>
                <a:moveTo>
                  <a:pt x="9720" y="1146"/>
                </a:moveTo>
                <a:lnTo>
                  <a:pt x="9710" y="1151"/>
                </a:lnTo>
                <a:lnTo>
                  <a:pt x="9699" y="1156"/>
                </a:lnTo>
                <a:lnTo>
                  <a:pt x="9694" y="1157"/>
                </a:lnTo>
                <a:lnTo>
                  <a:pt x="9687" y="1157"/>
                </a:lnTo>
                <a:lnTo>
                  <a:pt x="9681" y="1156"/>
                </a:lnTo>
                <a:lnTo>
                  <a:pt x="9673" y="1152"/>
                </a:lnTo>
                <a:lnTo>
                  <a:pt x="9680" y="1148"/>
                </a:lnTo>
                <a:lnTo>
                  <a:pt x="9686" y="1144"/>
                </a:lnTo>
                <a:lnTo>
                  <a:pt x="9691" y="1142"/>
                </a:lnTo>
                <a:lnTo>
                  <a:pt x="9697" y="1141"/>
                </a:lnTo>
                <a:lnTo>
                  <a:pt x="9702" y="1139"/>
                </a:lnTo>
                <a:lnTo>
                  <a:pt x="9708" y="1141"/>
                </a:lnTo>
                <a:lnTo>
                  <a:pt x="9714" y="1143"/>
                </a:lnTo>
                <a:lnTo>
                  <a:pt x="9720" y="1146"/>
                </a:lnTo>
                <a:close/>
                <a:moveTo>
                  <a:pt x="9696" y="1065"/>
                </a:moveTo>
                <a:lnTo>
                  <a:pt x="9700" y="1071"/>
                </a:lnTo>
                <a:lnTo>
                  <a:pt x="9701" y="1076"/>
                </a:lnTo>
                <a:lnTo>
                  <a:pt x="9701" y="1081"/>
                </a:lnTo>
                <a:lnTo>
                  <a:pt x="9700" y="1086"/>
                </a:lnTo>
                <a:lnTo>
                  <a:pt x="9697" y="1092"/>
                </a:lnTo>
                <a:lnTo>
                  <a:pt x="9695" y="1097"/>
                </a:lnTo>
                <a:lnTo>
                  <a:pt x="9694" y="1104"/>
                </a:lnTo>
                <a:lnTo>
                  <a:pt x="9692" y="1110"/>
                </a:lnTo>
                <a:lnTo>
                  <a:pt x="9687" y="1104"/>
                </a:lnTo>
                <a:lnTo>
                  <a:pt x="9683" y="1097"/>
                </a:lnTo>
                <a:lnTo>
                  <a:pt x="9682" y="1092"/>
                </a:lnTo>
                <a:lnTo>
                  <a:pt x="9682" y="1087"/>
                </a:lnTo>
                <a:lnTo>
                  <a:pt x="9683" y="1082"/>
                </a:lnTo>
                <a:lnTo>
                  <a:pt x="9686" y="1077"/>
                </a:lnTo>
                <a:lnTo>
                  <a:pt x="9691" y="1072"/>
                </a:lnTo>
                <a:lnTo>
                  <a:pt x="9696" y="1065"/>
                </a:lnTo>
                <a:close/>
                <a:moveTo>
                  <a:pt x="9746" y="1233"/>
                </a:moveTo>
                <a:lnTo>
                  <a:pt x="9757" y="1228"/>
                </a:lnTo>
                <a:lnTo>
                  <a:pt x="9762" y="1231"/>
                </a:lnTo>
                <a:lnTo>
                  <a:pt x="9760" y="1239"/>
                </a:lnTo>
                <a:lnTo>
                  <a:pt x="9755" y="1247"/>
                </a:lnTo>
                <a:lnTo>
                  <a:pt x="9746" y="1256"/>
                </a:lnTo>
                <a:lnTo>
                  <a:pt x="9737" y="1264"/>
                </a:lnTo>
                <a:lnTo>
                  <a:pt x="9728" y="1268"/>
                </a:lnTo>
                <a:lnTo>
                  <a:pt x="9722" y="1265"/>
                </a:lnTo>
                <a:lnTo>
                  <a:pt x="9722" y="1260"/>
                </a:lnTo>
                <a:lnTo>
                  <a:pt x="9724" y="1256"/>
                </a:lnTo>
                <a:lnTo>
                  <a:pt x="9727" y="1251"/>
                </a:lnTo>
                <a:lnTo>
                  <a:pt x="9730" y="1249"/>
                </a:lnTo>
                <a:lnTo>
                  <a:pt x="9739" y="1241"/>
                </a:lnTo>
                <a:lnTo>
                  <a:pt x="9746" y="1233"/>
                </a:lnTo>
                <a:close/>
                <a:moveTo>
                  <a:pt x="9765" y="1188"/>
                </a:moveTo>
                <a:lnTo>
                  <a:pt x="9751" y="1199"/>
                </a:lnTo>
                <a:lnTo>
                  <a:pt x="9734" y="1211"/>
                </a:lnTo>
                <a:lnTo>
                  <a:pt x="9736" y="1202"/>
                </a:lnTo>
                <a:lnTo>
                  <a:pt x="9737" y="1194"/>
                </a:lnTo>
                <a:lnTo>
                  <a:pt x="9738" y="1189"/>
                </a:lnTo>
                <a:lnTo>
                  <a:pt x="9741" y="1186"/>
                </a:lnTo>
                <a:lnTo>
                  <a:pt x="9745" y="1185"/>
                </a:lnTo>
                <a:lnTo>
                  <a:pt x="9750" y="1185"/>
                </a:lnTo>
                <a:lnTo>
                  <a:pt x="9756" y="1186"/>
                </a:lnTo>
                <a:lnTo>
                  <a:pt x="9765" y="1188"/>
                </a:lnTo>
                <a:close/>
                <a:moveTo>
                  <a:pt x="9762" y="1063"/>
                </a:moveTo>
                <a:lnTo>
                  <a:pt x="9757" y="1065"/>
                </a:lnTo>
                <a:lnTo>
                  <a:pt x="9756" y="1065"/>
                </a:lnTo>
                <a:lnTo>
                  <a:pt x="9759" y="1064"/>
                </a:lnTo>
                <a:lnTo>
                  <a:pt x="9762" y="1063"/>
                </a:lnTo>
                <a:lnTo>
                  <a:pt x="9764" y="1065"/>
                </a:lnTo>
                <a:lnTo>
                  <a:pt x="9762" y="1068"/>
                </a:lnTo>
                <a:lnTo>
                  <a:pt x="9761" y="1071"/>
                </a:lnTo>
                <a:lnTo>
                  <a:pt x="9759" y="1073"/>
                </a:lnTo>
                <a:lnTo>
                  <a:pt x="9757" y="1073"/>
                </a:lnTo>
                <a:lnTo>
                  <a:pt x="9756" y="1072"/>
                </a:lnTo>
                <a:lnTo>
                  <a:pt x="9757" y="1069"/>
                </a:lnTo>
                <a:lnTo>
                  <a:pt x="9762" y="1063"/>
                </a:lnTo>
                <a:close/>
                <a:moveTo>
                  <a:pt x="9753" y="1487"/>
                </a:moveTo>
                <a:lnTo>
                  <a:pt x="9756" y="1483"/>
                </a:lnTo>
                <a:lnTo>
                  <a:pt x="9757" y="1480"/>
                </a:lnTo>
                <a:lnTo>
                  <a:pt x="9760" y="1479"/>
                </a:lnTo>
                <a:lnTo>
                  <a:pt x="9764" y="1480"/>
                </a:lnTo>
                <a:lnTo>
                  <a:pt x="9762" y="1485"/>
                </a:lnTo>
                <a:lnTo>
                  <a:pt x="9761" y="1488"/>
                </a:lnTo>
                <a:lnTo>
                  <a:pt x="9759" y="1488"/>
                </a:lnTo>
                <a:lnTo>
                  <a:pt x="9753" y="1487"/>
                </a:lnTo>
                <a:close/>
                <a:moveTo>
                  <a:pt x="9733" y="3061"/>
                </a:moveTo>
                <a:lnTo>
                  <a:pt x="9734" y="3063"/>
                </a:lnTo>
                <a:lnTo>
                  <a:pt x="9736" y="3065"/>
                </a:lnTo>
                <a:lnTo>
                  <a:pt x="9734" y="3066"/>
                </a:lnTo>
                <a:lnTo>
                  <a:pt x="9732" y="3069"/>
                </a:lnTo>
                <a:lnTo>
                  <a:pt x="9729" y="3070"/>
                </a:lnTo>
                <a:lnTo>
                  <a:pt x="9727" y="3070"/>
                </a:lnTo>
                <a:lnTo>
                  <a:pt x="9724" y="3070"/>
                </a:lnTo>
                <a:lnTo>
                  <a:pt x="9723" y="3068"/>
                </a:lnTo>
                <a:lnTo>
                  <a:pt x="9728" y="3065"/>
                </a:lnTo>
                <a:lnTo>
                  <a:pt x="9733" y="3061"/>
                </a:lnTo>
                <a:close/>
                <a:moveTo>
                  <a:pt x="9739" y="1377"/>
                </a:moveTo>
                <a:lnTo>
                  <a:pt x="9739" y="1381"/>
                </a:lnTo>
                <a:lnTo>
                  <a:pt x="9738" y="1382"/>
                </a:lnTo>
                <a:lnTo>
                  <a:pt x="9734" y="1382"/>
                </a:lnTo>
                <a:lnTo>
                  <a:pt x="9732" y="1381"/>
                </a:lnTo>
                <a:lnTo>
                  <a:pt x="9733" y="1379"/>
                </a:lnTo>
                <a:lnTo>
                  <a:pt x="9734" y="1377"/>
                </a:lnTo>
                <a:lnTo>
                  <a:pt x="9737" y="1376"/>
                </a:lnTo>
                <a:lnTo>
                  <a:pt x="9739" y="1377"/>
                </a:lnTo>
                <a:close/>
                <a:moveTo>
                  <a:pt x="9728" y="1296"/>
                </a:moveTo>
                <a:lnTo>
                  <a:pt x="9729" y="1292"/>
                </a:lnTo>
                <a:lnTo>
                  <a:pt x="9730" y="1291"/>
                </a:lnTo>
                <a:lnTo>
                  <a:pt x="9733" y="1289"/>
                </a:lnTo>
                <a:lnTo>
                  <a:pt x="9734" y="1289"/>
                </a:lnTo>
                <a:lnTo>
                  <a:pt x="9736" y="1291"/>
                </a:lnTo>
                <a:lnTo>
                  <a:pt x="9737" y="1293"/>
                </a:lnTo>
                <a:lnTo>
                  <a:pt x="9738" y="1296"/>
                </a:lnTo>
                <a:lnTo>
                  <a:pt x="9738" y="1300"/>
                </a:lnTo>
                <a:lnTo>
                  <a:pt x="9732" y="1297"/>
                </a:lnTo>
                <a:lnTo>
                  <a:pt x="9728" y="1296"/>
                </a:lnTo>
                <a:close/>
                <a:moveTo>
                  <a:pt x="9722" y="4745"/>
                </a:moveTo>
                <a:lnTo>
                  <a:pt x="9734" y="4748"/>
                </a:lnTo>
                <a:lnTo>
                  <a:pt x="9739" y="4751"/>
                </a:lnTo>
                <a:lnTo>
                  <a:pt x="9736" y="4754"/>
                </a:lnTo>
                <a:lnTo>
                  <a:pt x="9727" y="4757"/>
                </a:lnTo>
                <a:lnTo>
                  <a:pt x="9715" y="4759"/>
                </a:lnTo>
                <a:lnTo>
                  <a:pt x="9701" y="4759"/>
                </a:lnTo>
                <a:lnTo>
                  <a:pt x="9690" y="4757"/>
                </a:lnTo>
                <a:lnTo>
                  <a:pt x="9681" y="4751"/>
                </a:lnTo>
                <a:lnTo>
                  <a:pt x="9691" y="4747"/>
                </a:lnTo>
                <a:lnTo>
                  <a:pt x="9701" y="4744"/>
                </a:lnTo>
                <a:lnTo>
                  <a:pt x="9711" y="4744"/>
                </a:lnTo>
                <a:lnTo>
                  <a:pt x="9722" y="4745"/>
                </a:lnTo>
                <a:close/>
                <a:moveTo>
                  <a:pt x="9708" y="1174"/>
                </a:moveTo>
                <a:lnTo>
                  <a:pt x="9711" y="1176"/>
                </a:lnTo>
                <a:lnTo>
                  <a:pt x="9714" y="1179"/>
                </a:lnTo>
                <a:lnTo>
                  <a:pt x="9715" y="1183"/>
                </a:lnTo>
                <a:lnTo>
                  <a:pt x="9715" y="1185"/>
                </a:lnTo>
                <a:lnTo>
                  <a:pt x="9713" y="1190"/>
                </a:lnTo>
                <a:lnTo>
                  <a:pt x="9708" y="1197"/>
                </a:lnTo>
                <a:lnTo>
                  <a:pt x="9708" y="1185"/>
                </a:lnTo>
                <a:lnTo>
                  <a:pt x="9708" y="1174"/>
                </a:lnTo>
                <a:close/>
                <a:moveTo>
                  <a:pt x="9711" y="1222"/>
                </a:moveTo>
                <a:lnTo>
                  <a:pt x="9713" y="1227"/>
                </a:lnTo>
                <a:lnTo>
                  <a:pt x="9711" y="1230"/>
                </a:lnTo>
                <a:lnTo>
                  <a:pt x="9709" y="1232"/>
                </a:lnTo>
                <a:lnTo>
                  <a:pt x="9705" y="1233"/>
                </a:lnTo>
                <a:lnTo>
                  <a:pt x="9700" y="1235"/>
                </a:lnTo>
                <a:lnTo>
                  <a:pt x="9696" y="1233"/>
                </a:lnTo>
                <a:lnTo>
                  <a:pt x="9692" y="1232"/>
                </a:lnTo>
                <a:lnTo>
                  <a:pt x="9690" y="1230"/>
                </a:lnTo>
                <a:lnTo>
                  <a:pt x="9694" y="1225"/>
                </a:lnTo>
                <a:lnTo>
                  <a:pt x="9699" y="1221"/>
                </a:lnTo>
                <a:lnTo>
                  <a:pt x="9701" y="1219"/>
                </a:lnTo>
                <a:lnTo>
                  <a:pt x="9705" y="1219"/>
                </a:lnTo>
                <a:lnTo>
                  <a:pt x="9708" y="1221"/>
                </a:lnTo>
                <a:lnTo>
                  <a:pt x="9711" y="1222"/>
                </a:lnTo>
                <a:close/>
                <a:moveTo>
                  <a:pt x="9868" y="8144"/>
                </a:moveTo>
                <a:lnTo>
                  <a:pt x="9860" y="8150"/>
                </a:lnTo>
                <a:lnTo>
                  <a:pt x="9850" y="8158"/>
                </a:lnTo>
                <a:lnTo>
                  <a:pt x="9839" y="8164"/>
                </a:lnTo>
                <a:lnTo>
                  <a:pt x="9827" y="8170"/>
                </a:lnTo>
                <a:lnTo>
                  <a:pt x="9815" y="8173"/>
                </a:lnTo>
                <a:lnTo>
                  <a:pt x="9803" y="8173"/>
                </a:lnTo>
                <a:lnTo>
                  <a:pt x="9794" y="8168"/>
                </a:lnTo>
                <a:lnTo>
                  <a:pt x="9787" y="8158"/>
                </a:lnTo>
                <a:lnTo>
                  <a:pt x="9798" y="8156"/>
                </a:lnTo>
                <a:lnTo>
                  <a:pt x="9809" y="8152"/>
                </a:lnTo>
                <a:lnTo>
                  <a:pt x="9821" y="8147"/>
                </a:lnTo>
                <a:lnTo>
                  <a:pt x="9832" y="8142"/>
                </a:lnTo>
                <a:lnTo>
                  <a:pt x="9843" y="8139"/>
                </a:lnTo>
                <a:lnTo>
                  <a:pt x="9851" y="8136"/>
                </a:lnTo>
                <a:lnTo>
                  <a:pt x="9860" y="8139"/>
                </a:lnTo>
                <a:lnTo>
                  <a:pt x="9868" y="8144"/>
                </a:lnTo>
                <a:close/>
                <a:moveTo>
                  <a:pt x="9877" y="1326"/>
                </a:moveTo>
                <a:lnTo>
                  <a:pt x="9879" y="1324"/>
                </a:lnTo>
                <a:lnTo>
                  <a:pt x="9882" y="1321"/>
                </a:lnTo>
                <a:lnTo>
                  <a:pt x="9885" y="1321"/>
                </a:lnTo>
                <a:lnTo>
                  <a:pt x="9887" y="1324"/>
                </a:lnTo>
                <a:lnTo>
                  <a:pt x="9886" y="1326"/>
                </a:lnTo>
                <a:lnTo>
                  <a:pt x="9883" y="1329"/>
                </a:lnTo>
                <a:lnTo>
                  <a:pt x="9881" y="1329"/>
                </a:lnTo>
                <a:lnTo>
                  <a:pt x="9877" y="1326"/>
                </a:lnTo>
                <a:close/>
                <a:moveTo>
                  <a:pt x="9879" y="1381"/>
                </a:moveTo>
                <a:lnTo>
                  <a:pt x="9881" y="1385"/>
                </a:lnTo>
                <a:lnTo>
                  <a:pt x="9881" y="1389"/>
                </a:lnTo>
                <a:lnTo>
                  <a:pt x="9881" y="1389"/>
                </a:lnTo>
                <a:lnTo>
                  <a:pt x="9879" y="1390"/>
                </a:lnTo>
                <a:lnTo>
                  <a:pt x="9878" y="1390"/>
                </a:lnTo>
                <a:lnTo>
                  <a:pt x="9876" y="1389"/>
                </a:lnTo>
                <a:lnTo>
                  <a:pt x="9876" y="1386"/>
                </a:lnTo>
                <a:lnTo>
                  <a:pt x="9876" y="1384"/>
                </a:lnTo>
                <a:lnTo>
                  <a:pt x="9877" y="1382"/>
                </a:lnTo>
                <a:lnTo>
                  <a:pt x="9879" y="1381"/>
                </a:lnTo>
                <a:close/>
                <a:moveTo>
                  <a:pt x="9831" y="4721"/>
                </a:moveTo>
                <a:lnTo>
                  <a:pt x="9850" y="4721"/>
                </a:lnTo>
                <a:lnTo>
                  <a:pt x="9867" y="4725"/>
                </a:lnTo>
                <a:lnTo>
                  <a:pt x="9878" y="4730"/>
                </a:lnTo>
                <a:lnTo>
                  <a:pt x="9885" y="4738"/>
                </a:lnTo>
                <a:lnTo>
                  <a:pt x="9885" y="4744"/>
                </a:lnTo>
                <a:lnTo>
                  <a:pt x="9877" y="4749"/>
                </a:lnTo>
                <a:lnTo>
                  <a:pt x="9862" y="4752"/>
                </a:lnTo>
                <a:lnTo>
                  <a:pt x="9837" y="4751"/>
                </a:lnTo>
                <a:lnTo>
                  <a:pt x="9802" y="4744"/>
                </a:lnTo>
                <a:lnTo>
                  <a:pt x="9775" y="4739"/>
                </a:lnTo>
                <a:lnTo>
                  <a:pt x="9755" y="4734"/>
                </a:lnTo>
                <a:lnTo>
                  <a:pt x="9746" y="4730"/>
                </a:lnTo>
                <a:lnTo>
                  <a:pt x="9747" y="4728"/>
                </a:lnTo>
                <a:lnTo>
                  <a:pt x="9761" y="4725"/>
                </a:lnTo>
                <a:lnTo>
                  <a:pt x="9789" y="4723"/>
                </a:lnTo>
                <a:lnTo>
                  <a:pt x="9831" y="4721"/>
                </a:lnTo>
                <a:close/>
                <a:moveTo>
                  <a:pt x="9783" y="1345"/>
                </a:moveTo>
                <a:lnTo>
                  <a:pt x="9788" y="1347"/>
                </a:lnTo>
                <a:lnTo>
                  <a:pt x="9794" y="1348"/>
                </a:lnTo>
                <a:lnTo>
                  <a:pt x="9795" y="1349"/>
                </a:lnTo>
                <a:lnTo>
                  <a:pt x="9797" y="1351"/>
                </a:lnTo>
                <a:lnTo>
                  <a:pt x="9798" y="1353"/>
                </a:lnTo>
                <a:lnTo>
                  <a:pt x="9797" y="1356"/>
                </a:lnTo>
                <a:lnTo>
                  <a:pt x="9789" y="1357"/>
                </a:lnTo>
                <a:lnTo>
                  <a:pt x="9784" y="1356"/>
                </a:lnTo>
                <a:lnTo>
                  <a:pt x="9781" y="1354"/>
                </a:lnTo>
                <a:lnTo>
                  <a:pt x="9780" y="1352"/>
                </a:lnTo>
                <a:lnTo>
                  <a:pt x="9780" y="1349"/>
                </a:lnTo>
                <a:lnTo>
                  <a:pt x="9783" y="1345"/>
                </a:lnTo>
                <a:close/>
                <a:moveTo>
                  <a:pt x="9793" y="1097"/>
                </a:moveTo>
                <a:lnTo>
                  <a:pt x="9789" y="1102"/>
                </a:lnTo>
                <a:lnTo>
                  <a:pt x="9789" y="1102"/>
                </a:lnTo>
                <a:lnTo>
                  <a:pt x="9790" y="1101"/>
                </a:lnTo>
                <a:lnTo>
                  <a:pt x="9793" y="1097"/>
                </a:lnTo>
                <a:lnTo>
                  <a:pt x="9797" y="1100"/>
                </a:lnTo>
                <a:lnTo>
                  <a:pt x="9798" y="1102"/>
                </a:lnTo>
                <a:lnTo>
                  <a:pt x="9797" y="1106"/>
                </a:lnTo>
                <a:lnTo>
                  <a:pt x="9795" y="1107"/>
                </a:lnTo>
                <a:lnTo>
                  <a:pt x="9793" y="1109"/>
                </a:lnTo>
                <a:lnTo>
                  <a:pt x="9792" y="1107"/>
                </a:lnTo>
                <a:lnTo>
                  <a:pt x="9792" y="1105"/>
                </a:lnTo>
                <a:lnTo>
                  <a:pt x="9793" y="1097"/>
                </a:lnTo>
                <a:close/>
                <a:moveTo>
                  <a:pt x="9795" y="891"/>
                </a:moveTo>
                <a:lnTo>
                  <a:pt x="9792" y="897"/>
                </a:lnTo>
                <a:lnTo>
                  <a:pt x="9795" y="891"/>
                </a:lnTo>
                <a:lnTo>
                  <a:pt x="9798" y="891"/>
                </a:lnTo>
                <a:lnTo>
                  <a:pt x="9799" y="894"/>
                </a:lnTo>
                <a:lnTo>
                  <a:pt x="9799" y="897"/>
                </a:lnTo>
                <a:lnTo>
                  <a:pt x="9798" y="900"/>
                </a:lnTo>
                <a:lnTo>
                  <a:pt x="9797" y="901"/>
                </a:lnTo>
                <a:lnTo>
                  <a:pt x="9795" y="900"/>
                </a:lnTo>
                <a:lnTo>
                  <a:pt x="9794" y="897"/>
                </a:lnTo>
                <a:lnTo>
                  <a:pt x="9795" y="891"/>
                </a:lnTo>
                <a:close/>
                <a:moveTo>
                  <a:pt x="9792" y="1212"/>
                </a:moveTo>
                <a:lnTo>
                  <a:pt x="9794" y="1211"/>
                </a:lnTo>
                <a:lnTo>
                  <a:pt x="9797" y="1211"/>
                </a:lnTo>
                <a:lnTo>
                  <a:pt x="9798" y="1211"/>
                </a:lnTo>
                <a:lnTo>
                  <a:pt x="9799" y="1213"/>
                </a:lnTo>
                <a:lnTo>
                  <a:pt x="9799" y="1219"/>
                </a:lnTo>
                <a:lnTo>
                  <a:pt x="9801" y="1228"/>
                </a:lnTo>
                <a:lnTo>
                  <a:pt x="9794" y="1225"/>
                </a:lnTo>
                <a:lnTo>
                  <a:pt x="9790" y="1221"/>
                </a:lnTo>
                <a:lnTo>
                  <a:pt x="9790" y="1219"/>
                </a:lnTo>
                <a:lnTo>
                  <a:pt x="9789" y="1217"/>
                </a:lnTo>
                <a:lnTo>
                  <a:pt x="9790" y="1216"/>
                </a:lnTo>
                <a:lnTo>
                  <a:pt x="9792" y="1212"/>
                </a:lnTo>
                <a:close/>
                <a:moveTo>
                  <a:pt x="9813" y="1241"/>
                </a:moveTo>
                <a:lnTo>
                  <a:pt x="9817" y="1247"/>
                </a:lnTo>
                <a:lnTo>
                  <a:pt x="9818" y="1253"/>
                </a:lnTo>
                <a:lnTo>
                  <a:pt x="9816" y="1256"/>
                </a:lnTo>
                <a:lnTo>
                  <a:pt x="9813" y="1260"/>
                </a:lnTo>
                <a:lnTo>
                  <a:pt x="9808" y="1261"/>
                </a:lnTo>
                <a:lnTo>
                  <a:pt x="9802" y="1261"/>
                </a:lnTo>
                <a:lnTo>
                  <a:pt x="9795" y="1260"/>
                </a:lnTo>
                <a:lnTo>
                  <a:pt x="9789" y="1256"/>
                </a:lnTo>
                <a:lnTo>
                  <a:pt x="9792" y="1251"/>
                </a:lnTo>
                <a:lnTo>
                  <a:pt x="9794" y="1246"/>
                </a:lnTo>
                <a:lnTo>
                  <a:pt x="9797" y="1244"/>
                </a:lnTo>
                <a:lnTo>
                  <a:pt x="9799" y="1241"/>
                </a:lnTo>
                <a:lnTo>
                  <a:pt x="9802" y="1240"/>
                </a:lnTo>
                <a:lnTo>
                  <a:pt x="9806" y="1240"/>
                </a:lnTo>
                <a:lnTo>
                  <a:pt x="9809" y="1240"/>
                </a:lnTo>
                <a:lnTo>
                  <a:pt x="9813" y="1241"/>
                </a:lnTo>
                <a:close/>
                <a:moveTo>
                  <a:pt x="9827" y="1155"/>
                </a:moveTo>
                <a:lnTo>
                  <a:pt x="9832" y="1165"/>
                </a:lnTo>
                <a:lnTo>
                  <a:pt x="9836" y="1175"/>
                </a:lnTo>
                <a:lnTo>
                  <a:pt x="9836" y="1180"/>
                </a:lnTo>
                <a:lnTo>
                  <a:pt x="9836" y="1185"/>
                </a:lnTo>
                <a:lnTo>
                  <a:pt x="9835" y="1190"/>
                </a:lnTo>
                <a:lnTo>
                  <a:pt x="9831" y="1195"/>
                </a:lnTo>
                <a:lnTo>
                  <a:pt x="9825" y="1189"/>
                </a:lnTo>
                <a:lnTo>
                  <a:pt x="9818" y="1185"/>
                </a:lnTo>
                <a:lnTo>
                  <a:pt x="9815" y="1180"/>
                </a:lnTo>
                <a:lnTo>
                  <a:pt x="9812" y="1175"/>
                </a:lnTo>
                <a:lnTo>
                  <a:pt x="9812" y="1171"/>
                </a:lnTo>
                <a:lnTo>
                  <a:pt x="9815" y="1166"/>
                </a:lnTo>
                <a:lnTo>
                  <a:pt x="9820" y="1161"/>
                </a:lnTo>
                <a:lnTo>
                  <a:pt x="9827" y="1155"/>
                </a:lnTo>
                <a:close/>
                <a:moveTo>
                  <a:pt x="9829" y="1123"/>
                </a:moveTo>
                <a:lnTo>
                  <a:pt x="9829" y="1127"/>
                </a:lnTo>
                <a:lnTo>
                  <a:pt x="9827" y="1128"/>
                </a:lnTo>
                <a:lnTo>
                  <a:pt x="9825" y="1129"/>
                </a:lnTo>
                <a:lnTo>
                  <a:pt x="9821" y="1129"/>
                </a:lnTo>
                <a:lnTo>
                  <a:pt x="9821" y="1125"/>
                </a:lnTo>
                <a:lnTo>
                  <a:pt x="9822" y="1123"/>
                </a:lnTo>
                <a:lnTo>
                  <a:pt x="9825" y="1123"/>
                </a:lnTo>
                <a:lnTo>
                  <a:pt x="9829" y="1123"/>
                </a:lnTo>
                <a:close/>
                <a:moveTo>
                  <a:pt x="9831" y="1044"/>
                </a:moveTo>
                <a:lnTo>
                  <a:pt x="9826" y="1050"/>
                </a:lnTo>
                <a:lnTo>
                  <a:pt x="9831" y="1044"/>
                </a:lnTo>
                <a:lnTo>
                  <a:pt x="9834" y="1045"/>
                </a:lnTo>
                <a:lnTo>
                  <a:pt x="9835" y="1049"/>
                </a:lnTo>
                <a:lnTo>
                  <a:pt x="9835" y="1051"/>
                </a:lnTo>
                <a:lnTo>
                  <a:pt x="9832" y="1055"/>
                </a:lnTo>
                <a:lnTo>
                  <a:pt x="9831" y="1057"/>
                </a:lnTo>
                <a:lnTo>
                  <a:pt x="9830" y="1055"/>
                </a:lnTo>
                <a:lnTo>
                  <a:pt x="9830" y="1051"/>
                </a:lnTo>
                <a:lnTo>
                  <a:pt x="9831" y="1044"/>
                </a:lnTo>
                <a:close/>
                <a:moveTo>
                  <a:pt x="9844" y="1205"/>
                </a:moveTo>
                <a:lnTo>
                  <a:pt x="9844" y="1216"/>
                </a:lnTo>
                <a:lnTo>
                  <a:pt x="9844" y="1226"/>
                </a:lnTo>
                <a:lnTo>
                  <a:pt x="9844" y="1235"/>
                </a:lnTo>
                <a:lnTo>
                  <a:pt x="9844" y="1245"/>
                </a:lnTo>
                <a:lnTo>
                  <a:pt x="9837" y="1240"/>
                </a:lnTo>
                <a:lnTo>
                  <a:pt x="9834" y="1235"/>
                </a:lnTo>
                <a:lnTo>
                  <a:pt x="9831" y="1230"/>
                </a:lnTo>
                <a:lnTo>
                  <a:pt x="9830" y="1226"/>
                </a:lnTo>
                <a:lnTo>
                  <a:pt x="9831" y="1222"/>
                </a:lnTo>
                <a:lnTo>
                  <a:pt x="9834" y="1218"/>
                </a:lnTo>
                <a:lnTo>
                  <a:pt x="9837" y="1212"/>
                </a:lnTo>
                <a:lnTo>
                  <a:pt x="9844" y="1205"/>
                </a:lnTo>
                <a:close/>
                <a:moveTo>
                  <a:pt x="9789" y="1286"/>
                </a:moveTo>
                <a:lnTo>
                  <a:pt x="9808" y="1278"/>
                </a:lnTo>
                <a:lnTo>
                  <a:pt x="9826" y="1272"/>
                </a:lnTo>
                <a:lnTo>
                  <a:pt x="9826" y="1281"/>
                </a:lnTo>
                <a:lnTo>
                  <a:pt x="9825" y="1287"/>
                </a:lnTo>
                <a:lnTo>
                  <a:pt x="9822" y="1291"/>
                </a:lnTo>
                <a:lnTo>
                  <a:pt x="9818" y="1292"/>
                </a:lnTo>
                <a:lnTo>
                  <a:pt x="9806" y="1291"/>
                </a:lnTo>
                <a:lnTo>
                  <a:pt x="9789" y="1286"/>
                </a:lnTo>
                <a:close/>
                <a:moveTo>
                  <a:pt x="9831" y="1371"/>
                </a:moveTo>
                <a:lnTo>
                  <a:pt x="9818" y="1379"/>
                </a:lnTo>
                <a:lnTo>
                  <a:pt x="9806" y="1385"/>
                </a:lnTo>
                <a:lnTo>
                  <a:pt x="9807" y="1379"/>
                </a:lnTo>
                <a:lnTo>
                  <a:pt x="9808" y="1373"/>
                </a:lnTo>
                <a:lnTo>
                  <a:pt x="9809" y="1371"/>
                </a:lnTo>
                <a:lnTo>
                  <a:pt x="9811" y="1370"/>
                </a:lnTo>
                <a:lnTo>
                  <a:pt x="9818" y="1368"/>
                </a:lnTo>
                <a:lnTo>
                  <a:pt x="9831" y="1371"/>
                </a:lnTo>
                <a:close/>
                <a:moveTo>
                  <a:pt x="9867" y="918"/>
                </a:moveTo>
                <a:lnTo>
                  <a:pt x="9872" y="938"/>
                </a:lnTo>
                <a:lnTo>
                  <a:pt x="9873" y="951"/>
                </a:lnTo>
                <a:lnTo>
                  <a:pt x="9871" y="957"/>
                </a:lnTo>
                <a:lnTo>
                  <a:pt x="9865" y="960"/>
                </a:lnTo>
                <a:lnTo>
                  <a:pt x="9858" y="961"/>
                </a:lnTo>
                <a:lnTo>
                  <a:pt x="9849" y="961"/>
                </a:lnTo>
                <a:lnTo>
                  <a:pt x="9840" y="964"/>
                </a:lnTo>
                <a:lnTo>
                  <a:pt x="9830" y="969"/>
                </a:lnTo>
                <a:lnTo>
                  <a:pt x="9830" y="957"/>
                </a:lnTo>
                <a:lnTo>
                  <a:pt x="9832" y="950"/>
                </a:lnTo>
                <a:lnTo>
                  <a:pt x="9837" y="943"/>
                </a:lnTo>
                <a:lnTo>
                  <a:pt x="9844" y="938"/>
                </a:lnTo>
                <a:lnTo>
                  <a:pt x="9850" y="934"/>
                </a:lnTo>
                <a:lnTo>
                  <a:pt x="9858" y="929"/>
                </a:lnTo>
                <a:lnTo>
                  <a:pt x="9863" y="924"/>
                </a:lnTo>
                <a:lnTo>
                  <a:pt x="9867" y="918"/>
                </a:lnTo>
                <a:close/>
                <a:moveTo>
                  <a:pt x="9863" y="1077"/>
                </a:moveTo>
                <a:lnTo>
                  <a:pt x="9863" y="1072"/>
                </a:lnTo>
                <a:lnTo>
                  <a:pt x="9864" y="1065"/>
                </a:lnTo>
                <a:lnTo>
                  <a:pt x="9864" y="1064"/>
                </a:lnTo>
                <a:lnTo>
                  <a:pt x="9865" y="1062"/>
                </a:lnTo>
                <a:lnTo>
                  <a:pt x="9867" y="1060"/>
                </a:lnTo>
                <a:lnTo>
                  <a:pt x="9869" y="1060"/>
                </a:lnTo>
                <a:lnTo>
                  <a:pt x="9871" y="1067"/>
                </a:lnTo>
                <a:lnTo>
                  <a:pt x="9871" y="1073"/>
                </a:lnTo>
                <a:lnTo>
                  <a:pt x="9871" y="1076"/>
                </a:lnTo>
                <a:lnTo>
                  <a:pt x="9869" y="1077"/>
                </a:lnTo>
                <a:lnTo>
                  <a:pt x="9867" y="1077"/>
                </a:lnTo>
                <a:lnTo>
                  <a:pt x="9863" y="1077"/>
                </a:lnTo>
                <a:close/>
                <a:moveTo>
                  <a:pt x="9868" y="1181"/>
                </a:moveTo>
                <a:lnTo>
                  <a:pt x="9871" y="1181"/>
                </a:lnTo>
                <a:lnTo>
                  <a:pt x="9873" y="1183"/>
                </a:lnTo>
                <a:lnTo>
                  <a:pt x="9874" y="1184"/>
                </a:lnTo>
                <a:lnTo>
                  <a:pt x="9874" y="1185"/>
                </a:lnTo>
                <a:lnTo>
                  <a:pt x="9873" y="1186"/>
                </a:lnTo>
                <a:lnTo>
                  <a:pt x="9872" y="1188"/>
                </a:lnTo>
                <a:lnTo>
                  <a:pt x="9869" y="1188"/>
                </a:lnTo>
                <a:lnTo>
                  <a:pt x="9867" y="1186"/>
                </a:lnTo>
                <a:lnTo>
                  <a:pt x="9868" y="1184"/>
                </a:lnTo>
                <a:lnTo>
                  <a:pt x="9868" y="1181"/>
                </a:lnTo>
                <a:close/>
                <a:moveTo>
                  <a:pt x="9922" y="1085"/>
                </a:moveTo>
                <a:lnTo>
                  <a:pt x="9925" y="1093"/>
                </a:lnTo>
                <a:lnTo>
                  <a:pt x="9928" y="1100"/>
                </a:lnTo>
                <a:lnTo>
                  <a:pt x="9928" y="1106"/>
                </a:lnTo>
                <a:lnTo>
                  <a:pt x="9925" y="1111"/>
                </a:lnTo>
                <a:lnTo>
                  <a:pt x="9922" y="1116"/>
                </a:lnTo>
                <a:lnTo>
                  <a:pt x="9914" y="1123"/>
                </a:lnTo>
                <a:lnTo>
                  <a:pt x="9902" y="1130"/>
                </a:lnTo>
                <a:lnTo>
                  <a:pt x="9888" y="1139"/>
                </a:lnTo>
                <a:lnTo>
                  <a:pt x="9896" y="1127"/>
                </a:lnTo>
                <a:lnTo>
                  <a:pt x="9904" y="1113"/>
                </a:lnTo>
                <a:lnTo>
                  <a:pt x="9913" y="1100"/>
                </a:lnTo>
                <a:lnTo>
                  <a:pt x="9922" y="1085"/>
                </a:lnTo>
                <a:close/>
                <a:moveTo>
                  <a:pt x="9932" y="984"/>
                </a:moveTo>
                <a:lnTo>
                  <a:pt x="9936" y="986"/>
                </a:lnTo>
                <a:lnTo>
                  <a:pt x="9937" y="990"/>
                </a:lnTo>
                <a:lnTo>
                  <a:pt x="9938" y="993"/>
                </a:lnTo>
                <a:lnTo>
                  <a:pt x="9938" y="997"/>
                </a:lnTo>
                <a:lnTo>
                  <a:pt x="9934" y="1002"/>
                </a:lnTo>
                <a:lnTo>
                  <a:pt x="9929" y="1007"/>
                </a:lnTo>
                <a:lnTo>
                  <a:pt x="9930" y="995"/>
                </a:lnTo>
                <a:lnTo>
                  <a:pt x="9932" y="984"/>
                </a:lnTo>
                <a:close/>
                <a:moveTo>
                  <a:pt x="9967" y="1125"/>
                </a:moveTo>
                <a:lnTo>
                  <a:pt x="9967" y="1137"/>
                </a:lnTo>
                <a:lnTo>
                  <a:pt x="9965" y="1144"/>
                </a:lnTo>
                <a:lnTo>
                  <a:pt x="9962" y="1147"/>
                </a:lnTo>
                <a:lnTo>
                  <a:pt x="9960" y="1149"/>
                </a:lnTo>
                <a:lnTo>
                  <a:pt x="9953" y="1151"/>
                </a:lnTo>
                <a:lnTo>
                  <a:pt x="9947" y="1151"/>
                </a:lnTo>
                <a:lnTo>
                  <a:pt x="9957" y="1138"/>
                </a:lnTo>
                <a:lnTo>
                  <a:pt x="9967" y="1125"/>
                </a:lnTo>
                <a:close/>
                <a:moveTo>
                  <a:pt x="9975" y="1081"/>
                </a:moveTo>
                <a:lnTo>
                  <a:pt x="9979" y="1082"/>
                </a:lnTo>
                <a:lnTo>
                  <a:pt x="9979" y="1085"/>
                </a:lnTo>
                <a:lnTo>
                  <a:pt x="9978" y="1087"/>
                </a:lnTo>
                <a:lnTo>
                  <a:pt x="9976" y="1090"/>
                </a:lnTo>
                <a:lnTo>
                  <a:pt x="9974" y="1088"/>
                </a:lnTo>
                <a:lnTo>
                  <a:pt x="9972" y="1086"/>
                </a:lnTo>
                <a:lnTo>
                  <a:pt x="9974" y="1083"/>
                </a:lnTo>
                <a:lnTo>
                  <a:pt x="9975" y="1081"/>
                </a:lnTo>
                <a:close/>
                <a:moveTo>
                  <a:pt x="9984" y="1114"/>
                </a:moveTo>
                <a:lnTo>
                  <a:pt x="9986" y="1110"/>
                </a:lnTo>
                <a:lnTo>
                  <a:pt x="9990" y="1109"/>
                </a:lnTo>
                <a:lnTo>
                  <a:pt x="9993" y="1107"/>
                </a:lnTo>
                <a:lnTo>
                  <a:pt x="9995" y="1107"/>
                </a:lnTo>
                <a:lnTo>
                  <a:pt x="10002" y="1110"/>
                </a:lnTo>
                <a:lnTo>
                  <a:pt x="10009" y="1115"/>
                </a:lnTo>
                <a:lnTo>
                  <a:pt x="10006" y="1120"/>
                </a:lnTo>
                <a:lnTo>
                  <a:pt x="10002" y="1124"/>
                </a:lnTo>
                <a:lnTo>
                  <a:pt x="9997" y="1127"/>
                </a:lnTo>
                <a:lnTo>
                  <a:pt x="9993" y="1127"/>
                </a:lnTo>
                <a:lnTo>
                  <a:pt x="9988" y="1125"/>
                </a:lnTo>
                <a:lnTo>
                  <a:pt x="9985" y="1123"/>
                </a:lnTo>
                <a:lnTo>
                  <a:pt x="9984" y="1119"/>
                </a:lnTo>
                <a:lnTo>
                  <a:pt x="9984" y="1114"/>
                </a:lnTo>
                <a:close/>
                <a:moveTo>
                  <a:pt x="10007" y="1063"/>
                </a:moveTo>
                <a:lnTo>
                  <a:pt x="10009" y="1078"/>
                </a:lnTo>
                <a:lnTo>
                  <a:pt x="10011" y="1093"/>
                </a:lnTo>
                <a:lnTo>
                  <a:pt x="10007" y="1090"/>
                </a:lnTo>
                <a:lnTo>
                  <a:pt x="10004" y="1087"/>
                </a:lnTo>
                <a:lnTo>
                  <a:pt x="10002" y="1083"/>
                </a:lnTo>
                <a:lnTo>
                  <a:pt x="10000" y="1079"/>
                </a:lnTo>
                <a:lnTo>
                  <a:pt x="10000" y="1076"/>
                </a:lnTo>
                <a:lnTo>
                  <a:pt x="10002" y="1072"/>
                </a:lnTo>
                <a:lnTo>
                  <a:pt x="10004" y="1068"/>
                </a:lnTo>
                <a:lnTo>
                  <a:pt x="10007" y="1063"/>
                </a:lnTo>
                <a:close/>
                <a:moveTo>
                  <a:pt x="10062" y="1040"/>
                </a:moveTo>
                <a:lnTo>
                  <a:pt x="10054" y="1049"/>
                </a:lnTo>
                <a:lnTo>
                  <a:pt x="10051" y="1058"/>
                </a:lnTo>
                <a:lnTo>
                  <a:pt x="10051" y="1067"/>
                </a:lnTo>
                <a:lnTo>
                  <a:pt x="10053" y="1077"/>
                </a:lnTo>
                <a:lnTo>
                  <a:pt x="10054" y="1086"/>
                </a:lnTo>
                <a:lnTo>
                  <a:pt x="10055" y="1095"/>
                </a:lnTo>
                <a:lnTo>
                  <a:pt x="10054" y="1105"/>
                </a:lnTo>
                <a:lnTo>
                  <a:pt x="10050" y="1115"/>
                </a:lnTo>
                <a:lnTo>
                  <a:pt x="10045" y="1092"/>
                </a:lnTo>
                <a:lnTo>
                  <a:pt x="10040" y="1072"/>
                </a:lnTo>
                <a:lnTo>
                  <a:pt x="10039" y="1063"/>
                </a:lnTo>
                <a:lnTo>
                  <a:pt x="10041" y="1054"/>
                </a:lnTo>
                <a:lnTo>
                  <a:pt x="10049" y="1046"/>
                </a:lnTo>
                <a:lnTo>
                  <a:pt x="10062" y="1040"/>
                </a:lnTo>
                <a:close/>
                <a:moveTo>
                  <a:pt x="10100" y="948"/>
                </a:moveTo>
                <a:lnTo>
                  <a:pt x="10092" y="961"/>
                </a:lnTo>
                <a:lnTo>
                  <a:pt x="10086" y="967"/>
                </a:lnTo>
                <a:lnTo>
                  <a:pt x="10083" y="970"/>
                </a:lnTo>
                <a:lnTo>
                  <a:pt x="10079" y="970"/>
                </a:lnTo>
                <a:lnTo>
                  <a:pt x="10074" y="970"/>
                </a:lnTo>
                <a:lnTo>
                  <a:pt x="10069" y="970"/>
                </a:lnTo>
                <a:lnTo>
                  <a:pt x="10083" y="960"/>
                </a:lnTo>
                <a:lnTo>
                  <a:pt x="10100" y="948"/>
                </a:lnTo>
                <a:close/>
                <a:moveTo>
                  <a:pt x="10124" y="990"/>
                </a:moveTo>
                <a:lnTo>
                  <a:pt x="10129" y="988"/>
                </a:lnTo>
                <a:lnTo>
                  <a:pt x="10134" y="985"/>
                </a:lnTo>
                <a:lnTo>
                  <a:pt x="10139" y="985"/>
                </a:lnTo>
                <a:lnTo>
                  <a:pt x="10144" y="986"/>
                </a:lnTo>
                <a:lnTo>
                  <a:pt x="10149" y="988"/>
                </a:lnTo>
                <a:lnTo>
                  <a:pt x="10155" y="990"/>
                </a:lnTo>
                <a:lnTo>
                  <a:pt x="10161" y="994"/>
                </a:lnTo>
                <a:lnTo>
                  <a:pt x="10167" y="999"/>
                </a:lnTo>
                <a:lnTo>
                  <a:pt x="10153" y="999"/>
                </a:lnTo>
                <a:lnTo>
                  <a:pt x="10139" y="1002"/>
                </a:lnTo>
                <a:lnTo>
                  <a:pt x="10128" y="1007"/>
                </a:lnTo>
                <a:lnTo>
                  <a:pt x="10118" y="1012"/>
                </a:lnTo>
                <a:lnTo>
                  <a:pt x="10111" y="1014"/>
                </a:lnTo>
                <a:lnTo>
                  <a:pt x="10109" y="1012"/>
                </a:lnTo>
                <a:lnTo>
                  <a:pt x="10114" y="1006"/>
                </a:lnTo>
                <a:lnTo>
                  <a:pt x="10124" y="990"/>
                </a:lnTo>
                <a:close/>
                <a:moveTo>
                  <a:pt x="10165" y="951"/>
                </a:moveTo>
                <a:lnTo>
                  <a:pt x="10169" y="951"/>
                </a:lnTo>
                <a:lnTo>
                  <a:pt x="10171" y="952"/>
                </a:lnTo>
                <a:lnTo>
                  <a:pt x="10171" y="953"/>
                </a:lnTo>
                <a:lnTo>
                  <a:pt x="10170" y="957"/>
                </a:lnTo>
                <a:lnTo>
                  <a:pt x="10167" y="957"/>
                </a:lnTo>
                <a:lnTo>
                  <a:pt x="10165" y="956"/>
                </a:lnTo>
                <a:lnTo>
                  <a:pt x="10163" y="953"/>
                </a:lnTo>
                <a:lnTo>
                  <a:pt x="10165" y="951"/>
                </a:lnTo>
                <a:close/>
                <a:moveTo>
                  <a:pt x="10156" y="1137"/>
                </a:moveTo>
                <a:lnTo>
                  <a:pt x="10151" y="1128"/>
                </a:lnTo>
                <a:lnTo>
                  <a:pt x="10147" y="1119"/>
                </a:lnTo>
                <a:lnTo>
                  <a:pt x="10147" y="1115"/>
                </a:lnTo>
                <a:lnTo>
                  <a:pt x="10148" y="1111"/>
                </a:lnTo>
                <a:lnTo>
                  <a:pt x="10151" y="1107"/>
                </a:lnTo>
                <a:lnTo>
                  <a:pt x="10155" y="1104"/>
                </a:lnTo>
                <a:lnTo>
                  <a:pt x="10160" y="1105"/>
                </a:lnTo>
                <a:lnTo>
                  <a:pt x="10161" y="1109"/>
                </a:lnTo>
                <a:lnTo>
                  <a:pt x="10162" y="1113"/>
                </a:lnTo>
                <a:lnTo>
                  <a:pt x="10161" y="1118"/>
                </a:lnTo>
                <a:lnTo>
                  <a:pt x="10157" y="1128"/>
                </a:lnTo>
                <a:lnTo>
                  <a:pt x="10156" y="1137"/>
                </a:lnTo>
                <a:close/>
                <a:moveTo>
                  <a:pt x="10134" y="1163"/>
                </a:moveTo>
                <a:lnTo>
                  <a:pt x="10138" y="1162"/>
                </a:lnTo>
                <a:lnTo>
                  <a:pt x="10141" y="1162"/>
                </a:lnTo>
                <a:lnTo>
                  <a:pt x="10143" y="1163"/>
                </a:lnTo>
                <a:lnTo>
                  <a:pt x="10144" y="1165"/>
                </a:lnTo>
                <a:lnTo>
                  <a:pt x="10144" y="1169"/>
                </a:lnTo>
                <a:lnTo>
                  <a:pt x="10143" y="1176"/>
                </a:lnTo>
                <a:lnTo>
                  <a:pt x="10138" y="1174"/>
                </a:lnTo>
                <a:lnTo>
                  <a:pt x="10134" y="1171"/>
                </a:lnTo>
                <a:lnTo>
                  <a:pt x="10133" y="1170"/>
                </a:lnTo>
                <a:lnTo>
                  <a:pt x="10132" y="1167"/>
                </a:lnTo>
                <a:lnTo>
                  <a:pt x="10133" y="1166"/>
                </a:lnTo>
                <a:lnTo>
                  <a:pt x="10134" y="1163"/>
                </a:lnTo>
                <a:close/>
                <a:moveTo>
                  <a:pt x="10149" y="1582"/>
                </a:moveTo>
                <a:lnTo>
                  <a:pt x="10142" y="1582"/>
                </a:lnTo>
                <a:lnTo>
                  <a:pt x="10132" y="1583"/>
                </a:lnTo>
                <a:lnTo>
                  <a:pt x="10128" y="1585"/>
                </a:lnTo>
                <a:lnTo>
                  <a:pt x="10124" y="1583"/>
                </a:lnTo>
                <a:lnTo>
                  <a:pt x="10123" y="1582"/>
                </a:lnTo>
                <a:lnTo>
                  <a:pt x="10124" y="1578"/>
                </a:lnTo>
                <a:lnTo>
                  <a:pt x="10133" y="1578"/>
                </a:lnTo>
                <a:lnTo>
                  <a:pt x="10143" y="1576"/>
                </a:lnTo>
                <a:lnTo>
                  <a:pt x="10148" y="1576"/>
                </a:lnTo>
                <a:lnTo>
                  <a:pt x="10151" y="1577"/>
                </a:lnTo>
                <a:lnTo>
                  <a:pt x="10152" y="1578"/>
                </a:lnTo>
                <a:lnTo>
                  <a:pt x="10149" y="1582"/>
                </a:lnTo>
                <a:close/>
                <a:moveTo>
                  <a:pt x="10099" y="1120"/>
                </a:moveTo>
                <a:lnTo>
                  <a:pt x="10106" y="1106"/>
                </a:lnTo>
                <a:lnTo>
                  <a:pt x="10106" y="1093"/>
                </a:lnTo>
                <a:lnTo>
                  <a:pt x="10104" y="1082"/>
                </a:lnTo>
                <a:lnTo>
                  <a:pt x="10099" y="1072"/>
                </a:lnTo>
                <a:lnTo>
                  <a:pt x="10095" y="1063"/>
                </a:lnTo>
                <a:lnTo>
                  <a:pt x="10096" y="1055"/>
                </a:lnTo>
                <a:lnTo>
                  <a:pt x="10102" y="1046"/>
                </a:lnTo>
                <a:lnTo>
                  <a:pt x="10120" y="1039"/>
                </a:lnTo>
                <a:lnTo>
                  <a:pt x="10116" y="1050"/>
                </a:lnTo>
                <a:lnTo>
                  <a:pt x="10116" y="1060"/>
                </a:lnTo>
                <a:lnTo>
                  <a:pt x="10119" y="1072"/>
                </a:lnTo>
                <a:lnTo>
                  <a:pt x="10120" y="1082"/>
                </a:lnTo>
                <a:lnTo>
                  <a:pt x="10121" y="1092"/>
                </a:lnTo>
                <a:lnTo>
                  <a:pt x="10119" y="1102"/>
                </a:lnTo>
                <a:lnTo>
                  <a:pt x="10111" y="1113"/>
                </a:lnTo>
                <a:lnTo>
                  <a:pt x="10099" y="1120"/>
                </a:lnTo>
                <a:close/>
                <a:moveTo>
                  <a:pt x="10087" y="1175"/>
                </a:moveTo>
                <a:lnTo>
                  <a:pt x="10091" y="1175"/>
                </a:lnTo>
                <a:lnTo>
                  <a:pt x="10091" y="1176"/>
                </a:lnTo>
                <a:lnTo>
                  <a:pt x="10091" y="1180"/>
                </a:lnTo>
                <a:lnTo>
                  <a:pt x="10090" y="1183"/>
                </a:lnTo>
                <a:lnTo>
                  <a:pt x="10086" y="1183"/>
                </a:lnTo>
                <a:lnTo>
                  <a:pt x="10085" y="1180"/>
                </a:lnTo>
                <a:lnTo>
                  <a:pt x="10085" y="1177"/>
                </a:lnTo>
                <a:lnTo>
                  <a:pt x="10087" y="1175"/>
                </a:lnTo>
                <a:close/>
                <a:moveTo>
                  <a:pt x="10076" y="1120"/>
                </a:moveTo>
                <a:lnTo>
                  <a:pt x="10081" y="1132"/>
                </a:lnTo>
                <a:lnTo>
                  <a:pt x="10087" y="1146"/>
                </a:lnTo>
                <a:lnTo>
                  <a:pt x="10078" y="1139"/>
                </a:lnTo>
                <a:lnTo>
                  <a:pt x="10074" y="1135"/>
                </a:lnTo>
                <a:lnTo>
                  <a:pt x="10073" y="1129"/>
                </a:lnTo>
                <a:lnTo>
                  <a:pt x="10076" y="1120"/>
                </a:lnTo>
                <a:close/>
                <a:moveTo>
                  <a:pt x="10100" y="4730"/>
                </a:moveTo>
                <a:lnTo>
                  <a:pt x="10102" y="4742"/>
                </a:lnTo>
                <a:lnTo>
                  <a:pt x="10102" y="4758"/>
                </a:lnTo>
                <a:lnTo>
                  <a:pt x="10091" y="4756"/>
                </a:lnTo>
                <a:lnTo>
                  <a:pt x="10082" y="4751"/>
                </a:lnTo>
                <a:lnTo>
                  <a:pt x="10076" y="4744"/>
                </a:lnTo>
                <a:lnTo>
                  <a:pt x="10073" y="4738"/>
                </a:lnTo>
                <a:lnTo>
                  <a:pt x="10073" y="4731"/>
                </a:lnTo>
                <a:lnTo>
                  <a:pt x="10078" y="4728"/>
                </a:lnTo>
                <a:lnTo>
                  <a:pt x="10087" y="4728"/>
                </a:lnTo>
                <a:lnTo>
                  <a:pt x="10100" y="4730"/>
                </a:lnTo>
                <a:close/>
                <a:moveTo>
                  <a:pt x="10218" y="5200"/>
                </a:moveTo>
                <a:lnTo>
                  <a:pt x="10227" y="5200"/>
                </a:lnTo>
                <a:lnTo>
                  <a:pt x="10237" y="5197"/>
                </a:lnTo>
                <a:lnTo>
                  <a:pt x="10246" y="5195"/>
                </a:lnTo>
                <a:lnTo>
                  <a:pt x="10255" y="5191"/>
                </a:lnTo>
                <a:lnTo>
                  <a:pt x="10264" y="5188"/>
                </a:lnTo>
                <a:lnTo>
                  <a:pt x="10272" y="5186"/>
                </a:lnTo>
                <a:lnTo>
                  <a:pt x="10281" y="5185"/>
                </a:lnTo>
                <a:lnTo>
                  <a:pt x="10291" y="5185"/>
                </a:lnTo>
                <a:lnTo>
                  <a:pt x="10264" y="5192"/>
                </a:lnTo>
                <a:lnTo>
                  <a:pt x="10230" y="5201"/>
                </a:lnTo>
                <a:lnTo>
                  <a:pt x="10216" y="5204"/>
                </a:lnTo>
                <a:lnTo>
                  <a:pt x="10208" y="5205"/>
                </a:lnTo>
                <a:lnTo>
                  <a:pt x="10208" y="5205"/>
                </a:lnTo>
                <a:lnTo>
                  <a:pt x="10218" y="5200"/>
                </a:lnTo>
                <a:close/>
                <a:moveTo>
                  <a:pt x="10255" y="4771"/>
                </a:moveTo>
                <a:lnTo>
                  <a:pt x="10255" y="4773"/>
                </a:lnTo>
                <a:lnTo>
                  <a:pt x="10255" y="4773"/>
                </a:lnTo>
                <a:lnTo>
                  <a:pt x="10255" y="4772"/>
                </a:lnTo>
                <a:lnTo>
                  <a:pt x="10255" y="4771"/>
                </a:lnTo>
                <a:lnTo>
                  <a:pt x="10263" y="4773"/>
                </a:lnTo>
                <a:lnTo>
                  <a:pt x="10265" y="4773"/>
                </a:lnTo>
                <a:lnTo>
                  <a:pt x="10263" y="4773"/>
                </a:lnTo>
                <a:lnTo>
                  <a:pt x="10255" y="4771"/>
                </a:lnTo>
                <a:close/>
                <a:moveTo>
                  <a:pt x="10453" y="4908"/>
                </a:moveTo>
                <a:lnTo>
                  <a:pt x="10459" y="4913"/>
                </a:lnTo>
                <a:lnTo>
                  <a:pt x="10465" y="4917"/>
                </a:lnTo>
                <a:lnTo>
                  <a:pt x="10473" y="4920"/>
                </a:lnTo>
                <a:lnTo>
                  <a:pt x="10481" y="4922"/>
                </a:lnTo>
                <a:lnTo>
                  <a:pt x="10496" y="4925"/>
                </a:lnTo>
                <a:lnTo>
                  <a:pt x="10510" y="4927"/>
                </a:lnTo>
                <a:lnTo>
                  <a:pt x="10521" y="4934"/>
                </a:lnTo>
                <a:lnTo>
                  <a:pt x="10509" y="4938"/>
                </a:lnTo>
                <a:lnTo>
                  <a:pt x="10481" y="4938"/>
                </a:lnTo>
                <a:lnTo>
                  <a:pt x="10447" y="4934"/>
                </a:lnTo>
                <a:lnTo>
                  <a:pt x="10419" y="4929"/>
                </a:lnTo>
                <a:lnTo>
                  <a:pt x="10404" y="4922"/>
                </a:lnTo>
                <a:lnTo>
                  <a:pt x="10412" y="4915"/>
                </a:lnTo>
                <a:lnTo>
                  <a:pt x="10453" y="4908"/>
                </a:lnTo>
                <a:close/>
                <a:moveTo>
                  <a:pt x="10953" y="8002"/>
                </a:moveTo>
                <a:lnTo>
                  <a:pt x="10953" y="8005"/>
                </a:lnTo>
                <a:lnTo>
                  <a:pt x="10953" y="8008"/>
                </a:lnTo>
                <a:lnTo>
                  <a:pt x="10952" y="8009"/>
                </a:lnTo>
                <a:lnTo>
                  <a:pt x="10948" y="8009"/>
                </a:lnTo>
                <a:lnTo>
                  <a:pt x="10948" y="8007"/>
                </a:lnTo>
                <a:lnTo>
                  <a:pt x="10948" y="8004"/>
                </a:lnTo>
                <a:lnTo>
                  <a:pt x="10951" y="8003"/>
                </a:lnTo>
                <a:lnTo>
                  <a:pt x="10953" y="8002"/>
                </a:lnTo>
                <a:close/>
                <a:moveTo>
                  <a:pt x="11157" y="9003"/>
                </a:moveTo>
                <a:lnTo>
                  <a:pt x="11157" y="9003"/>
                </a:lnTo>
                <a:lnTo>
                  <a:pt x="11157" y="9003"/>
                </a:lnTo>
                <a:lnTo>
                  <a:pt x="11157" y="9005"/>
                </a:lnTo>
                <a:lnTo>
                  <a:pt x="11157" y="9003"/>
                </a:lnTo>
                <a:close/>
                <a:moveTo>
                  <a:pt x="11283" y="8702"/>
                </a:moveTo>
                <a:lnTo>
                  <a:pt x="11313" y="8699"/>
                </a:lnTo>
                <a:lnTo>
                  <a:pt x="11348" y="8698"/>
                </a:lnTo>
                <a:lnTo>
                  <a:pt x="11361" y="8699"/>
                </a:lnTo>
                <a:lnTo>
                  <a:pt x="11366" y="8703"/>
                </a:lnTo>
                <a:lnTo>
                  <a:pt x="11362" y="8711"/>
                </a:lnTo>
                <a:lnTo>
                  <a:pt x="11345" y="8722"/>
                </a:lnTo>
                <a:lnTo>
                  <a:pt x="11339" y="8723"/>
                </a:lnTo>
                <a:lnTo>
                  <a:pt x="11327" y="8725"/>
                </a:lnTo>
                <a:lnTo>
                  <a:pt x="11311" y="8723"/>
                </a:lnTo>
                <a:lnTo>
                  <a:pt x="11294" y="8722"/>
                </a:lnTo>
                <a:lnTo>
                  <a:pt x="11282" y="8719"/>
                </a:lnTo>
                <a:lnTo>
                  <a:pt x="11273" y="8716"/>
                </a:lnTo>
                <a:lnTo>
                  <a:pt x="11273" y="8709"/>
                </a:lnTo>
                <a:lnTo>
                  <a:pt x="11283" y="8702"/>
                </a:lnTo>
                <a:close/>
                <a:moveTo>
                  <a:pt x="11450" y="8579"/>
                </a:moveTo>
                <a:lnTo>
                  <a:pt x="11460" y="8585"/>
                </a:lnTo>
                <a:lnTo>
                  <a:pt x="11461" y="8588"/>
                </a:lnTo>
                <a:lnTo>
                  <a:pt x="11452" y="8592"/>
                </a:lnTo>
                <a:lnTo>
                  <a:pt x="11440" y="8595"/>
                </a:lnTo>
                <a:lnTo>
                  <a:pt x="11423" y="8599"/>
                </a:lnTo>
                <a:lnTo>
                  <a:pt x="11408" y="8604"/>
                </a:lnTo>
                <a:lnTo>
                  <a:pt x="11394" y="8611"/>
                </a:lnTo>
                <a:lnTo>
                  <a:pt x="11386" y="8620"/>
                </a:lnTo>
                <a:lnTo>
                  <a:pt x="11377" y="8613"/>
                </a:lnTo>
                <a:lnTo>
                  <a:pt x="11377" y="8609"/>
                </a:lnTo>
                <a:lnTo>
                  <a:pt x="11383" y="8605"/>
                </a:lnTo>
                <a:lnTo>
                  <a:pt x="11395" y="8601"/>
                </a:lnTo>
                <a:lnTo>
                  <a:pt x="11410" y="8599"/>
                </a:lnTo>
                <a:lnTo>
                  <a:pt x="11426" y="8595"/>
                </a:lnTo>
                <a:lnTo>
                  <a:pt x="11440" y="8588"/>
                </a:lnTo>
                <a:lnTo>
                  <a:pt x="11450" y="8579"/>
                </a:lnTo>
                <a:close/>
                <a:moveTo>
                  <a:pt x="11496" y="7932"/>
                </a:moveTo>
                <a:lnTo>
                  <a:pt x="11496" y="7938"/>
                </a:lnTo>
                <a:lnTo>
                  <a:pt x="11493" y="7946"/>
                </a:lnTo>
                <a:lnTo>
                  <a:pt x="11492" y="7942"/>
                </a:lnTo>
                <a:lnTo>
                  <a:pt x="11492" y="7938"/>
                </a:lnTo>
                <a:lnTo>
                  <a:pt x="11493" y="7934"/>
                </a:lnTo>
                <a:lnTo>
                  <a:pt x="11496" y="7932"/>
                </a:lnTo>
                <a:close/>
                <a:moveTo>
                  <a:pt x="11517" y="7949"/>
                </a:moveTo>
                <a:lnTo>
                  <a:pt x="11518" y="7951"/>
                </a:lnTo>
                <a:lnTo>
                  <a:pt x="11520" y="7952"/>
                </a:lnTo>
                <a:lnTo>
                  <a:pt x="11517" y="7952"/>
                </a:lnTo>
                <a:lnTo>
                  <a:pt x="11516" y="7951"/>
                </a:lnTo>
                <a:lnTo>
                  <a:pt x="11515" y="7951"/>
                </a:lnTo>
                <a:lnTo>
                  <a:pt x="11517" y="7949"/>
                </a:lnTo>
                <a:close/>
                <a:moveTo>
                  <a:pt x="11585" y="8502"/>
                </a:moveTo>
                <a:lnTo>
                  <a:pt x="11592" y="8498"/>
                </a:lnTo>
                <a:lnTo>
                  <a:pt x="11599" y="8495"/>
                </a:lnTo>
                <a:lnTo>
                  <a:pt x="11605" y="8494"/>
                </a:lnTo>
                <a:lnTo>
                  <a:pt x="11611" y="8494"/>
                </a:lnTo>
                <a:lnTo>
                  <a:pt x="11618" y="8495"/>
                </a:lnTo>
                <a:lnTo>
                  <a:pt x="11624" y="8498"/>
                </a:lnTo>
                <a:lnTo>
                  <a:pt x="11629" y="8502"/>
                </a:lnTo>
                <a:lnTo>
                  <a:pt x="11634" y="8507"/>
                </a:lnTo>
                <a:lnTo>
                  <a:pt x="11622" y="8509"/>
                </a:lnTo>
                <a:lnTo>
                  <a:pt x="11606" y="8509"/>
                </a:lnTo>
                <a:lnTo>
                  <a:pt x="11599" y="8508"/>
                </a:lnTo>
                <a:lnTo>
                  <a:pt x="11592" y="8507"/>
                </a:lnTo>
                <a:lnTo>
                  <a:pt x="11587" y="8506"/>
                </a:lnTo>
                <a:lnTo>
                  <a:pt x="11585" y="8502"/>
                </a:lnTo>
                <a:close/>
                <a:moveTo>
                  <a:pt x="11613" y="7946"/>
                </a:moveTo>
                <a:lnTo>
                  <a:pt x="11610" y="7946"/>
                </a:lnTo>
                <a:lnTo>
                  <a:pt x="11613" y="7946"/>
                </a:lnTo>
                <a:lnTo>
                  <a:pt x="11611" y="7947"/>
                </a:lnTo>
                <a:lnTo>
                  <a:pt x="11613" y="7946"/>
                </a:lnTo>
                <a:close/>
                <a:moveTo>
                  <a:pt x="11657" y="8495"/>
                </a:moveTo>
                <a:lnTo>
                  <a:pt x="11659" y="8495"/>
                </a:lnTo>
                <a:lnTo>
                  <a:pt x="11660" y="8495"/>
                </a:lnTo>
                <a:lnTo>
                  <a:pt x="11660" y="8497"/>
                </a:lnTo>
                <a:lnTo>
                  <a:pt x="11659" y="8498"/>
                </a:lnTo>
                <a:lnTo>
                  <a:pt x="11656" y="8499"/>
                </a:lnTo>
                <a:lnTo>
                  <a:pt x="11653" y="8501"/>
                </a:lnTo>
                <a:lnTo>
                  <a:pt x="11652" y="8502"/>
                </a:lnTo>
                <a:lnTo>
                  <a:pt x="11652" y="8502"/>
                </a:lnTo>
                <a:lnTo>
                  <a:pt x="11652" y="8501"/>
                </a:lnTo>
                <a:lnTo>
                  <a:pt x="11653" y="8501"/>
                </a:lnTo>
                <a:lnTo>
                  <a:pt x="11656" y="8498"/>
                </a:lnTo>
                <a:lnTo>
                  <a:pt x="11657" y="8495"/>
                </a:lnTo>
                <a:close/>
                <a:moveTo>
                  <a:pt x="11661" y="8481"/>
                </a:moveTo>
                <a:lnTo>
                  <a:pt x="11660" y="8487"/>
                </a:lnTo>
                <a:lnTo>
                  <a:pt x="11661" y="8481"/>
                </a:lnTo>
                <a:lnTo>
                  <a:pt x="11662" y="8487"/>
                </a:lnTo>
                <a:lnTo>
                  <a:pt x="11661" y="8481"/>
                </a:lnTo>
                <a:close/>
                <a:moveTo>
                  <a:pt x="11920" y="8520"/>
                </a:moveTo>
                <a:lnTo>
                  <a:pt x="11909" y="8521"/>
                </a:lnTo>
                <a:lnTo>
                  <a:pt x="11920" y="8520"/>
                </a:lnTo>
                <a:lnTo>
                  <a:pt x="11918" y="8526"/>
                </a:lnTo>
                <a:lnTo>
                  <a:pt x="11917" y="8529"/>
                </a:lnTo>
                <a:lnTo>
                  <a:pt x="11916" y="8530"/>
                </a:lnTo>
                <a:lnTo>
                  <a:pt x="11913" y="8530"/>
                </a:lnTo>
                <a:lnTo>
                  <a:pt x="11913" y="8527"/>
                </a:lnTo>
                <a:lnTo>
                  <a:pt x="11913" y="8525"/>
                </a:lnTo>
                <a:lnTo>
                  <a:pt x="11916" y="8522"/>
                </a:lnTo>
                <a:lnTo>
                  <a:pt x="11920" y="8520"/>
                </a:lnTo>
                <a:close/>
                <a:moveTo>
                  <a:pt x="12164" y="8549"/>
                </a:moveTo>
                <a:lnTo>
                  <a:pt x="12185" y="8549"/>
                </a:lnTo>
                <a:lnTo>
                  <a:pt x="12209" y="8553"/>
                </a:lnTo>
                <a:lnTo>
                  <a:pt x="12234" y="8559"/>
                </a:lnTo>
                <a:lnTo>
                  <a:pt x="12256" y="8565"/>
                </a:lnTo>
                <a:lnTo>
                  <a:pt x="12270" y="8572"/>
                </a:lnTo>
                <a:lnTo>
                  <a:pt x="12275" y="8577"/>
                </a:lnTo>
                <a:lnTo>
                  <a:pt x="12265" y="8581"/>
                </a:lnTo>
                <a:lnTo>
                  <a:pt x="12237" y="8582"/>
                </a:lnTo>
                <a:lnTo>
                  <a:pt x="12205" y="8591"/>
                </a:lnTo>
                <a:lnTo>
                  <a:pt x="12173" y="8592"/>
                </a:lnTo>
                <a:lnTo>
                  <a:pt x="12143" y="8586"/>
                </a:lnTo>
                <a:lnTo>
                  <a:pt x="12118" y="8577"/>
                </a:lnTo>
                <a:lnTo>
                  <a:pt x="12104" y="8567"/>
                </a:lnTo>
                <a:lnTo>
                  <a:pt x="12106" y="8557"/>
                </a:lnTo>
                <a:lnTo>
                  <a:pt x="12123" y="8550"/>
                </a:lnTo>
                <a:lnTo>
                  <a:pt x="12164" y="8549"/>
                </a:lnTo>
                <a:close/>
                <a:moveTo>
                  <a:pt x="12157" y="7892"/>
                </a:moveTo>
                <a:lnTo>
                  <a:pt x="12172" y="7891"/>
                </a:lnTo>
                <a:lnTo>
                  <a:pt x="12188" y="7890"/>
                </a:lnTo>
                <a:lnTo>
                  <a:pt x="12204" y="7888"/>
                </a:lnTo>
                <a:lnTo>
                  <a:pt x="12220" y="7888"/>
                </a:lnTo>
                <a:lnTo>
                  <a:pt x="12204" y="7890"/>
                </a:lnTo>
                <a:lnTo>
                  <a:pt x="12188" y="7892"/>
                </a:lnTo>
                <a:lnTo>
                  <a:pt x="12172" y="7892"/>
                </a:lnTo>
                <a:lnTo>
                  <a:pt x="12157" y="7892"/>
                </a:lnTo>
                <a:close/>
                <a:moveTo>
                  <a:pt x="12275" y="8531"/>
                </a:moveTo>
                <a:lnTo>
                  <a:pt x="12272" y="8532"/>
                </a:lnTo>
                <a:lnTo>
                  <a:pt x="12275" y="8531"/>
                </a:lnTo>
                <a:lnTo>
                  <a:pt x="12272" y="8536"/>
                </a:lnTo>
                <a:lnTo>
                  <a:pt x="12275" y="8531"/>
                </a:lnTo>
                <a:close/>
                <a:moveTo>
                  <a:pt x="12391" y="8521"/>
                </a:moveTo>
                <a:lnTo>
                  <a:pt x="12410" y="8534"/>
                </a:lnTo>
                <a:lnTo>
                  <a:pt x="12416" y="8540"/>
                </a:lnTo>
                <a:lnTo>
                  <a:pt x="12411" y="8541"/>
                </a:lnTo>
                <a:lnTo>
                  <a:pt x="12400" y="8540"/>
                </a:lnTo>
                <a:lnTo>
                  <a:pt x="12383" y="8540"/>
                </a:lnTo>
                <a:lnTo>
                  <a:pt x="12364" y="8543"/>
                </a:lnTo>
                <a:lnTo>
                  <a:pt x="12346" y="8550"/>
                </a:lnTo>
                <a:lnTo>
                  <a:pt x="12332" y="8565"/>
                </a:lnTo>
                <a:lnTo>
                  <a:pt x="12303" y="8554"/>
                </a:lnTo>
                <a:lnTo>
                  <a:pt x="12289" y="8545"/>
                </a:lnTo>
                <a:lnTo>
                  <a:pt x="12288" y="8539"/>
                </a:lnTo>
                <a:lnTo>
                  <a:pt x="12295" y="8534"/>
                </a:lnTo>
                <a:lnTo>
                  <a:pt x="12313" y="8530"/>
                </a:lnTo>
                <a:lnTo>
                  <a:pt x="12336" y="8527"/>
                </a:lnTo>
                <a:lnTo>
                  <a:pt x="12362" y="8525"/>
                </a:lnTo>
                <a:lnTo>
                  <a:pt x="12391" y="8521"/>
                </a:lnTo>
                <a:close/>
                <a:moveTo>
                  <a:pt x="12093" y="8649"/>
                </a:moveTo>
                <a:lnTo>
                  <a:pt x="12093" y="8649"/>
                </a:lnTo>
                <a:lnTo>
                  <a:pt x="12093" y="8649"/>
                </a:lnTo>
                <a:lnTo>
                  <a:pt x="12093" y="8649"/>
                </a:lnTo>
                <a:lnTo>
                  <a:pt x="12093" y="8649"/>
                </a:lnTo>
                <a:close/>
                <a:moveTo>
                  <a:pt x="12731" y="8553"/>
                </a:moveTo>
                <a:lnTo>
                  <a:pt x="12730" y="8555"/>
                </a:lnTo>
                <a:lnTo>
                  <a:pt x="12728" y="8555"/>
                </a:lnTo>
                <a:lnTo>
                  <a:pt x="12727" y="8555"/>
                </a:lnTo>
                <a:lnTo>
                  <a:pt x="12726" y="8553"/>
                </a:lnTo>
                <a:lnTo>
                  <a:pt x="12731" y="8553"/>
                </a:lnTo>
                <a:close/>
                <a:moveTo>
                  <a:pt x="8796" y="5206"/>
                </a:moveTo>
                <a:lnTo>
                  <a:pt x="8770" y="5207"/>
                </a:lnTo>
                <a:lnTo>
                  <a:pt x="8760" y="5206"/>
                </a:lnTo>
                <a:lnTo>
                  <a:pt x="8763" y="5204"/>
                </a:lnTo>
                <a:lnTo>
                  <a:pt x="8775" y="5200"/>
                </a:lnTo>
                <a:lnTo>
                  <a:pt x="8794" y="5196"/>
                </a:lnTo>
                <a:lnTo>
                  <a:pt x="8816" y="5192"/>
                </a:lnTo>
                <a:lnTo>
                  <a:pt x="8836" y="5188"/>
                </a:lnTo>
                <a:lnTo>
                  <a:pt x="8853" y="5186"/>
                </a:lnTo>
                <a:lnTo>
                  <a:pt x="8839" y="5192"/>
                </a:lnTo>
                <a:lnTo>
                  <a:pt x="8825" y="5197"/>
                </a:lnTo>
                <a:lnTo>
                  <a:pt x="8810" y="5202"/>
                </a:lnTo>
                <a:lnTo>
                  <a:pt x="8796" y="5206"/>
                </a:lnTo>
                <a:close/>
                <a:moveTo>
                  <a:pt x="8742" y="2881"/>
                </a:moveTo>
                <a:lnTo>
                  <a:pt x="8733" y="2877"/>
                </a:lnTo>
                <a:lnTo>
                  <a:pt x="8723" y="2876"/>
                </a:lnTo>
                <a:lnTo>
                  <a:pt x="8713" y="2878"/>
                </a:lnTo>
                <a:lnTo>
                  <a:pt x="8702" y="2883"/>
                </a:lnTo>
                <a:lnTo>
                  <a:pt x="8680" y="2895"/>
                </a:lnTo>
                <a:lnTo>
                  <a:pt x="8661" y="2906"/>
                </a:lnTo>
                <a:lnTo>
                  <a:pt x="8654" y="2895"/>
                </a:lnTo>
                <a:lnTo>
                  <a:pt x="8663" y="2883"/>
                </a:lnTo>
                <a:lnTo>
                  <a:pt x="8684" y="2872"/>
                </a:lnTo>
                <a:lnTo>
                  <a:pt x="8708" y="2864"/>
                </a:lnTo>
                <a:lnTo>
                  <a:pt x="8732" y="2859"/>
                </a:lnTo>
                <a:lnTo>
                  <a:pt x="8750" y="2859"/>
                </a:lnTo>
                <a:lnTo>
                  <a:pt x="8755" y="2865"/>
                </a:lnTo>
                <a:lnTo>
                  <a:pt x="8742" y="2881"/>
                </a:lnTo>
                <a:close/>
                <a:moveTo>
                  <a:pt x="8642" y="1121"/>
                </a:moveTo>
                <a:lnTo>
                  <a:pt x="8616" y="1118"/>
                </a:lnTo>
                <a:lnTo>
                  <a:pt x="8587" y="1114"/>
                </a:lnTo>
                <a:lnTo>
                  <a:pt x="8558" y="1109"/>
                </a:lnTo>
                <a:lnTo>
                  <a:pt x="8527" y="1104"/>
                </a:lnTo>
                <a:lnTo>
                  <a:pt x="8568" y="1093"/>
                </a:lnTo>
                <a:lnTo>
                  <a:pt x="8606" y="1083"/>
                </a:lnTo>
                <a:lnTo>
                  <a:pt x="8623" y="1083"/>
                </a:lnTo>
                <a:lnTo>
                  <a:pt x="8634" y="1088"/>
                </a:lnTo>
                <a:lnTo>
                  <a:pt x="8640" y="1101"/>
                </a:lnTo>
                <a:lnTo>
                  <a:pt x="8642" y="1121"/>
                </a:lnTo>
                <a:close/>
                <a:moveTo>
                  <a:pt x="8554" y="2935"/>
                </a:moveTo>
                <a:lnTo>
                  <a:pt x="8551" y="2940"/>
                </a:lnTo>
                <a:lnTo>
                  <a:pt x="8549" y="2944"/>
                </a:lnTo>
                <a:lnTo>
                  <a:pt x="8547" y="2942"/>
                </a:lnTo>
                <a:lnTo>
                  <a:pt x="8547" y="2935"/>
                </a:lnTo>
                <a:lnTo>
                  <a:pt x="8551" y="2933"/>
                </a:lnTo>
                <a:lnTo>
                  <a:pt x="8555" y="2930"/>
                </a:lnTo>
                <a:lnTo>
                  <a:pt x="8556" y="2930"/>
                </a:lnTo>
                <a:lnTo>
                  <a:pt x="8556" y="2932"/>
                </a:lnTo>
                <a:lnTo>
                  <a:pt x="8555" y="2933"/>
                </a:lnTo>
                <a:lnTo>
                  <a:pt x="8554" y="2935"/>
                </a:lnTo>
                <a:close/>
                <a:moveTo>
                  <a:pt x="8751" y="1217"/>
                </a:moveTo>
                <a:lnTo>
                  <a:pt x="8759" y="1216"/>
                </a:lnTo>
                <a:lnTo>
                  <a:pt x="8766" y="1216"/>
                </a:lnTo>
                <a:lnTo>
                  <a:pt x="8775" y="1217"/>
                </a:lnTo>
                <a:lnTo>
                  <a:pt x="8783" y="1218"/>
                </a:lnTo>
                <a:lnTo>
                  <a:pt x="8788" y="1221"/>
                </a:lnTo>
                <a:lnTo>
                  <a:pt x="8791" y="1226"/>
                </a:lnTo>
                <a:lnTo>
                  <a:pt x="8788" y="1231"/>
                </a:lnTo>
                <a:lnTo>
                  <a:pt x="8779" y="1237"/>
                </a:lnTo>
                <a:lnTo>
                  <a:pt x="8773" y="1237"/>
                </a:lnTo>
                <a:lnTo>
                  <a:pt x="8768" y="1236"/>
                </a:lnTo>
                <a:lnTo>
                  <a:pt x="8761" y="1235"/>
                </a:lnTo>
                <a:lnTo>
                  <a:pt x="8756" y="1233"/>
                </a:lnTo>
                <a:lnTo>
                  <a:pt x="8752" y="1231"/>
                </a:lnTo>
                <a:lnTo>
                  <a:pt x="8750" y="1227"/>
                </a:lnTo>
                <a:lnTo>
                  <a:pt x="8749" y="1222"/>
                </a:lnTo>
                <a:lnTo>
                  <a:pt x="8751" y="1217"/>
                </a:lnTo>
                <a:close/>
                <a:moveTo>
                  <a:pt x="8780" y="1093"/>
                </a:moveTo>
                <a:lnTo>
                  <a:pt x="8775" y="1101"/>
                </a:lnTo>
                <a:lnTo>
                  <a:pt x="8770" y="1105"/>
                </a:lnTo>
                <a:lnTo>
                  <a:pt x="8766" y="1106"/>
                </a:lnTo>
                <a:lnTo>
                  <a:pt x="8764" y="1106"/>
                </a:lnTo>
                <a:lnTo>
                  <a:pt x="8759" y="1105"/>
                </a:lnTo>
                <a:lnTo>
                  <a:pt x="8755" y="1102"/>
                </a:lnTo>
                <a:lnTo>
                  <a:pt x="8769" y="1097"/>
                </a:lnTo>
                <a:lnTo>
                  <a:pt x="8780" y="1093"/>
                </a:lnTo>
                <a:close/>
                <a:moveTo>
                  <a:pt x="8853" y="2850"/>
                </a:moveTo>
                <a:lnTo>
                  <a:pt x="8845" y="2865"/>
                </a:lnTo>
                <a:lnTo>
                  <a:pt x="8833" y="2881"/>
                </a:lnTo>
                <a:lnTo>
                  <a:pt x="8817" y="2896"/>
                </a:lnTo>
                <a:lnTo>
                  <a:pt x="8805" y="2910"/>
                </a:lnTo>
                <a:lnTo>
                  <a:pt x="8796" y="2921"/>
                </a:lnTo>
                <a:lnTo>
                  <a:pt x="8793" y="2930"/>
                </a:lnTo>
                <a:lnTo>
                  <a:pt x="8802" y="2935"/>
                </a:lnTo>
                <a:lnTo>
                  <a:pt x="8824" y="2935"/>
                </a:lnTo>
                <a:lnTo>
                  <a:pt x="8788" y="2953"/>
                </a:lnTo>
                <a:lnTo>
                  <a:pt x="8770" y="2957"/>
                </a:lnTo>
                <a:lnTo>
                  <a:pt x="8768" y="2949"/>
                </a:lnTo>
                <a:lnTo>
                  <a:pt x="8777" y="2933"/>
                </a:lnTo>
                <a:lnTo>
                  <a:pt x="8792" y="2912"/>
                </a:lnTo>
                <a:lnTo>
                  <a:pt x="8814" y="2890"/>
                </a:lnTo>
                <a:lnTo>
                  <a:pt x="8834" y="2868"/>
                </a:lnTo>
                <a:lnTo>
                  <a:pt x="8853" y="2850"/>
                </a:lnTo>
                <a:close/>
                <a:moveTo>
                  <a:pt x="8468" y="1393"/>
                </a:moveTo>
                <a:lnTo>
                  <a:pt x="8456" y="1389"/>
                </a:lnTo>
                <a:lnTo>
                  <a:pt x="8449" y="1381"/>
                </a:lnTo>
                <a:lnTo>
                  <a:pt x="8446" y="1373"/>
                </a:lnTo>
                <a:lnTo>
                  <a:pt x="8447" y="1363"/>
                </a:lnTo>
                <a:lnTo>
                  <a:pt x="8449" y="1353"/>
                </a:lnTo>
                <a:lnTo>
                  <a:pt x="8456" y="1344"/>
                </a:lnTo>
                <a:lnTo>
                  <a:pt x="8463" y="1338"/>
                </a:lnTo>
                <a:lnTo>
                  <a:pt x="8474" y="1333"/>
                </a:lnTo>
                <a:lnTo>
                  <a:pt x="8479" y="1339"/>
                </a:lnTo>
                <a:lnTo>
                  <a:pt x="8482" y="1348"/>
                </a:lnTo>
                <a:lnTo>
                  <a:pt x="8485" y="1357"/>
                </a:lnTo>
                <a:lnTo>
                  <a:pt x="8488" y="1367"/>
                </a:lnTo>
                <a:lnTo>
                  <a:pt x="8486" y="1376"/>
                </a:lnTo>
                <a:lnTo>
                  <a:pt x="8484" y="1382"/>
                </a:lnTo>
                <a:lnTo>
                  <a:pt x="8477" y="1389"/>
                </a:lnTo>
                <a:lnTo>
                  <a:pt x="8468" y="1393"/>
                </a:lnTo>
                <a:close/>
                <a:moveTo>
                  <a:pt x="8457" y="9637"/>
                </a:moveTo>
                <a:lnTo>
                  <a:pt x="8457" y="9635"/>
                </a:lnTo>
                <a:lnTo>
                  <a:pt x="8458" y="9633"/>
                </a:lnTo>
                <a:lnTo>
                  <a:pt x="8461" y="9632"/>
                </a:lnTo>
                <a:lnTo>
                  <a:pt x="8463" y="9632"/>
                </a:lnTo>
                <a:lnTo>
                  <a:pt x="8470" y="9632"/>
                </a:lnTo>
                <a:lnTo>
                  <a:pt x="8475" y="9631"/>
                </a:lnTo>
                <a:lnTo>
                  <a:pt x="8466" y="9635"/>
                </a:lnTo>
                <a:lnTo>
                  <a:pt x="8457" y="9637"/>
                </a:lnTo>
                <a:close/>
                <a:moveTo>
                  <a:pt x="8432" y="2953"/>
                </a:moveTo>
                <a:lnTo>
                  <a:pt x="8442" y="2947"/>
                </a:lnTo>
                <a:lnTo>
                  <a:pt x="8449" y="2943"/>
                </a:lnTo>
                <a:lnTo>
                  <a:pt x="8454" y="2942"/>
                </a:lnTo>
                <a:lnTo>
                  <a:pt x="8457" y="2944"/>
                </a:lnTo>
                <a:lnTo>
                  <a:pt x="8458" y="2949"/>
                </a:lnTo>
                <a:lnTo>
                  <a:pt x="8458" y="2957"/>
                </a:lnTo>
                <a:lnTo>
                  <a:pt x="8458" y="2966"/>
                </a:lnTo>
                <a:lnTo>
                  <a:pt x="8456" y="2976"/>
                </a:lnTo>
                <a:lnTo>
                  <a:pt x="8444" y="2965"/>
                </a:lnTo>
                <a:lnTo>
                  <a:pt x="8432" y="2953"/>
                </a:lnTo>
                <a:close/>
                <a:moveTo>
                  <a:pt x="8452" y="9608"/>
                </a:moveTo>
                <a:lnTo>
                  <a:pt x="8452" y="9605"/>
                </a:lnTo>
                <a:lnTo>
                  <a:pt x="8456" y="9604"/>
                </a:lnTo>
                <a:lnTo>
                  <a:pt x="8460" y="9603"/>
                </a:lnTo>
                <a:lnTo>
                  <a:pt x="8462" y="9602"/>
                </a:lnTo>
                <a:lnTo>
                  <a:pt x="8457" y="9605"/>
                </a:lnTo>
                <a:lnTo>
                  <a:pt x="8452" y="9608"/>
                </a:lnTo>
                <a:close/>
                <a:moveTo>
                  <a:pt x="8344" y="1208"/>
                </a:moveTo>
                <a:lnTo>
                  <a:pt x="8340" y="1207"/>
                </a:lnTo>
                <a:lnTo>
                  <a:pt x="8339" y="1205"/>
                </a:lnTo>
                <a:lnTo>
                  <a:pt x="8337" y="1203"/>
                </a:lnTo>
                <a:lnTo>
                  <a:pt x="8339" y="1199"/>
                </a:lnTo>
                <a:lnTo>
                  <a:pt x="8342" y="1199"/>
                </a:lnTo>
                <a:lnTo>
                  <a:pt x="8344" y="1202"/>
                </a:lnTo>
                <a:lnTo>
                  <a:pt x="8345" y="1204"/>
                </a:lnTo>
                <a:lnTo>
                  <a:pt x="8344" y="1208"/>
                </a:lnTo>
                <a:close/>
                <a:moveTo>
                  <a:pt x="8056" y="1232"/>
                </a:moveTo>
                <a:lnTo>
                  <a:pt x="8062" y="1225"/>
                </a:lnTo>
                <a:lnTo>
                  <a:pt x="8070" y="1218"/>
                </a:lnTo>
                <a:lnTo>
                  <a:pt x="8077" y="1214"/>
                </a:lnTo>
                <a:lnTo>
                  <a:pt x="8085" y="1212"/>
                </a:lnTo>
                <a:lnTo>
                  <a:pt x="8094" y="1211"/>
                </a:lnTo>
                <a:lnTo>
                  <a:pt x="8103" y="1211"/>
                </a:lnTo>
                <a:lnTo>
                  <a:pt x="8112" y="1212"/>
                </a:lnTo>
                <a:lnTo>
                  <a:pt x="8122" y="1216"/>
                </a:lnTo>
                <a:lnTo>
                  <a:pt x="8106" y="1219"/>
                </a:lnTo>
                <a:lnTo>
                  <a:pt x="8089" y="1223"/>
                </a:lnTo>
                <a:lnTo>
                  <a:pt x="8072" y="1228"/>
                </a:lnTo>
                <a:lnTo>
                  <a:pt x="8056" y="1232"/>
                </a:lnTo>
                <a:close/>
                <a:moveTo>
                  <a:pt x="8112" y="9775"/>
                </a:moveTo>
                <a:lnTo>
                  <a:pt x="8112" y="9775"/>
                </a:lnTo>
                <a:lnTo>
                  <a:pt x="8112" y="9775"/>
                </a:lnTo>
                <a:lnTo>
                  <a:pt x="8109" y="9776"/>
                </a:lnTo>
                <a:lnTo>
                  <a:pt x="8112" y="9775"/>
                </a:lnTo>
                <a:close/>
                <a:moveTo>
                  <a:pt x="8049" y="9734"/>
                </a:moveTo>
                <a:lnTo>
                  <a:pt x="8033" y="9729"/>
                </a:lnTo>
                <a:lnTo>
                  <a:pt x="8016" y="9725"/>
                </a:lnTo>
                <a:lnTo>
                  <a:pt x="8000" y="9723"/>
                </a:lnTo>
                <a:lnTo>
                  <a:pt x="7983" y="9723"/>
                </a:lnTo>
                <a:lnTo>
                  <a:pt x="7992" y="9716"/>
                </a:lnTo>
                <a:lnTo>
                  <a:pt x="8000" y="9707"/>
                </a:lnTo>
                <a:lnTo>
                  <a:pt x="8000" y="9707"/>
                </a:lnTo>
                <a:lnTo>
                  <a:pt x="8000" y="9707"/>
                </a:lnTo>
                <a:lnTo>
                  <a:pt x="7995" y="9706"/>
                </a:lnTo>
                <a:lnTo>
                  <a:pt x="7988" y="9705"/>
                </a:lnTo>
                <a:lnTo>
                  <a:pt x="7983" y="9705"/>
                </a:lnTo>
                <a:lnTo>
                  <a:pt x="7979" y="9706"/>
                </a:lnTo>
                <a:lnTo>
                  <a:pt x="7974" y="9709"/>
                </a:lnTo>
                <a:lnTo>
                  <a:pt x="7971" y="9711"/>
                </a:lnTo>
                <a:lnTo>
                  <a:pt x="7965" y="9715"/>
                </a:lnTo>
                <a:lnTo>
                  <a:pt x="7962" y="9720"/>
                </a:lnTo>
                <a:lnTo>
                  <a:pt x="7965" y="9721"/>
                </a:lnTo>
                <a:lnTo>
                  <a:pt x="7968" y="9723"/>
                </a:lnTo>
                <a:lnTo>
                  <a:pt x="7935" y="9728"/>
                </a:lnTo>
                <a:lnTo>
                  <a:pt x="7902" y="9735"/>
                </a:lnTo>
                <a:lnTo>
                  <a:pt x="7870" y="9747"/>
                </a:lnTo>
                <a:lnTo>
                  <a:pt x="7838" y="9761"/>
                </a:lnTo>
                <a:lnTo>
                  <a:pt x="7808" y="9776"/>
                </a:lnTo>
                <a:lnTo>
                  <a:pt x="7778" y="9793"/>
                </a:lnTo>
                <a:lnTo>
                  <a:pt x="7753" y="9809"/>
                </a:lnTo>
                <a:lnTo>
                  <a:pt x="7729" y="9826"/>
                </a:lnTo>
                <a:lnTo>
                  <a:pt x="7758" y="9796"/>
                </a:lnTo>
                <a:lnTo>
                  <a:pt x="7796" y="9765"/>
                </a:lnTo>
                <a:lnTo>
                  <a:pt x="7839" y="9737"/>
                </a:lnTo>
                <a:lnTo>
                  <a:pt x="7886" y="9712"/>
                </a:lnTo>
                <a:lnTo>
                  <a:pt x="7932" y="9698"/>
                </a:lnTo>
                <a:lnTo>
                  <a:pt x="7977" y="9695"/>
                </a:lnTo>
                <a:lnTo>
                  <a:pt x="8018" y="9706"/>
                </a:lnTo>
                <a:lnTo>
                  <a:pt x="8049" y="9734"/>
                </a:lnTo>
                <a:close/>
                <a:moveTo>
                  <a:pt x="7907" y="9768"/>
                </a:moveTo>
                <a:lnTo>
                  <a:pt x="7921" y="9762"/>
                </a:lnTo>
                <a:lnTo>
                  <a:pt x="7922" y="9762"/>
                </a:lnTo>
                <a:lnTo>
                  <a:pt x="7916" y="9763"/>
                </a:lnTo>
                <a:lnTo>
                  <a:pt x="7907" y="9768"/>
                </a:lnTo>
                <a:lnTo>
                  <a:pt x="7916" y="9759"/>
                </a:lnTo>
                <a:lnTo>
                  <a:pt x="7922" y="9752"/>
                </a:lnTo>
                <a:lnTo>
                  <a:pt x="7920" y="9753"/>
                </a:lnTo>
                <a:lnTo>
                  <a:pt x="7907" y="9768"/>
                </a:lnTo>
                <a:close/>
                <a:moveTo>
                  <a:pt x="7923" y="9796"/>
                </a:moveTo>
                <a:lnTo>
                  <a:pt x="7935" y="9787"/>
                </a:lnTo>
                <a:lnTo>
                  <a:pt x="7946" y="9776"/>
                </a:lnTo>
                <a:lnTo>
                  <a:pt x="7953" y="9772"/>
                </a:lnTo>
                <a:lnTo>
                  <a:pt x="7958" y="9770"/>
                </a:lnTo>
                <a:lnTo>
                  <a:pt x="7964" y="9770"/>
                </a:lnTo>
                <a:lnTo>
                  <a:pt x="7971" y="9772"/>
                </a:lnTo>
                <a:lnTo>
                  <a:pt x="7959" y="9779"/>
                </a:lnTo>
                <a:lnTo>
                  <a:pt x="7948" y="9785"/>
                </a:lnTo>
                <a:lnTo>
                  <a:pt x="7935" y="9790"/>
                </a:lnTo>
                <a:lnTo>
                  <a:pt x="7923" y="9796"/>
                </a:lnTo>
                <a:close/>
                <a:moveTo>
                  <a:pt x="7813" y="9875"/>
                </a:moveTo>
                <a:lnTo>
                  <a:pt x="7824" y="9868"/>
                </a:lnTo>
                <a:lnTo>
                  <a:pt x="7834" y="9861"/>
                </a:lnTo>
                <a:lnTo>
                  <a:pt x="7846" y="9856"/>
                </a:lnTo>
                <a:lnTo>
                  <a:pt x="7856" y="9851"/>
                </a:lnTo>
                <a:lnTo>
                  <a:pt x="7867" y="9847"/>
                </a:lnTo>
                <a:lnTo>
                  <a:pt x="7880" y="9843"/>
                </a:lnTo>
                <a:lnTo>
                  <a:pt x="7892" y="9841"/>
                </a:lnTo>
                <a:lnTo>
                  <a:pt x="7904" y="9838"/>
                </a:lnTo>
                <a:lnTo>
                  <a:pt x="7881" y="9847"/>
                </a:lnTo>
                <a:lnTo>
                  <a:pt x="7860" y="9857"/>
                </a:lnTo>
                <a:lnTo>
                  <a:pt x="7837" y="9866"/>
                </a:lnTo>
                <a:lnTo>
                  <a:pt x="7813" y="9875"/>
                </a:lnTo>
                <a:close/>
                <a:moveTo>
                  <a:pt x="7779" y="9835"/>
                </a:moveTo>
                <a:lnTo>
                  <a:pt x="7763" y="9843"/>
                </a:lnTo>
                <a:lnTo>
                  <a:pt x="7746" y="9852"/>
                </a:lnTo>
                <a:lnTo>
                  <a:pt x="7739" y="9857"/>
                </a:lnTo>
                <a:lnTo>
                  <a:pt x="7732" y="9863"/>
                </a:lnTo>
                <a:lnTo>
                  <a:pt x="7726" y="9870"/>
                </a:lnTo>
                <a:lnTo>
                  <a:pt x="7720" y="9878"/>
                </a:lnTo>
                <a:lnTo>
                  <a:pt x="7725" y="9869"/>
                </a:lnTo>
                <a:lnTo>
                  <a:pt x="7731" y="9860"/>
                </a:lnTo>
                <a:lnTo>
                  <a:pt x="7739" y="9854"/>
                </a:lnTo>
                <a:lnTo>
                  <a:pt x="7746" y="9847"/>
                </a:lnTo>
                <a:lnTo>
                  <a:pt x="7755" y="9842"/>
                </a:lnTo>
                <a:lnTo>
                  <a:pt x="7764" y="9840"/>
                </a:lnTo>
                <a:lnTo>
                  <a:pt x="7773" y="9836"/>
                </a:lnTo>
                <a:lnTo>
                  <a:pt x="7779" y="9835"/>
                </a:lnTo>
                <a:close/>
                <a:moveTo>
                  <a:pt x="7745" y="9901"/>
                </a:moveTo>
                <a:lnTo>
                  <a:pt x="7749" y="9899"/>
                </a:lnTo>
                <a:lnTo>
                  <a:pt x="7749" y="9898"/>
                </a:lnTo>
                <a:lnTo>
                  <a:pt x="7748" y="9899"/>
                </a:lnTo>
                <a:lnTo>
                  <a:pt x="7745" y="9901"/>
                </a:lnTo>
                <a:lnTo>
                  <a:pt x="7746" y="9898"/>
                </a:lnTo>
                <a:lnTo>
                  <a:pt x="7748" y="9897"/>
                </a:lnTo>
                <a:lnTo>
                  <a:pt x="7748" y="9898"/>
                </a:lnTo>
                <a:lnTo>
                  <a:pt x="7745" y="9901"/>
                </a:lnTo>
                <a:close/>
                <a:moveTo>
                  <a:pt x="7715" y="9920"/>
                </a:moveTo>
                <a:lnTo>
                  <a:pt x="7717" y="9917"/>
                </a:lnTo>
                <a:lnTo>
                  <a:pt x="7717" y="9919"/>
                </a:lnTo>
                <a:lnTo>
                  <a:pt x="7717" y="9920"/>
                </a:lnTo>
                <a:lnTo>
                  <a:pt x="7716" y="9920"/>
                </a:lnTo>
                <a:lnTo>
                  <a:pt x="7715" y="9920"/>
                </a:lnTo>
                <a:close/>
                <a:moveTo>
                  <a:pt x="7692" y="9860"/>
                </a:moveTo>
                <a:lnTo>
                  <a:pt x="7683" y="9864"/>
                </a:lnTo>
                <a:lnTo>
                  <a:pt x="7674" y="9866"/>
                </a:lnTo>
                <a:lnTo>
                  <a:pt x="7664" y="9868"/>
                </a:lnTo>
                <a:lnTo>
                  <a:pt x="7653" y="9868"/>
                </a:lnTo>
                <a:lnTo>
                  <a:pt x="7643" y="9869"/>
                </a:lnTo>
                <a:lnTo>
                  <a:pt x="7633" y="9871"/>
                </a:lnTo>
                <a:lnTo>
                  <a:pt x="7623" y="9874"/>
                </a:lnTo>
                <a:lnTo>
                  <a:pt x="7613" y="9878"/>
                </a:lnTo>
                <a:lnTo>
                  <a:pt x="7641" y="9868"/>
                </a:lnTo>
                <a:lnTo>
                  <a:pt x="7674" y="9852"/>
                </a:lnTo>
                <a:lnTo>
                  <a:pt x="7688" y="9847"/>
                </a:lnTo>
                <a:lnTo>
                  <a:pt x="7697" y="9846"/>
                </a:lnTo>
                <a:lnTo>
                  <a:pt x="7699" y="9850"/>
                </a:lnTo>
                <a:lnTo>
                  <a:pt x="7692" y="9860"/>
                </a:lnTo>
                <a:close/>
                <a:moveTo>
                  <a:pt x="7624" y="1589"/>
                </a:moveTo>
                <a:lnTo>
                  <a:pt x="7628" y="1589"/>
                </a:lnTo>
                <a:lnTo>
                  <a:pt x="7632" y="1589"/>
                </a:lnTo>
                <a:lnTo>
                  <a:pt x="7634" y="1590"/>
                </a:lnTo>
                <a:lnTo>
                  <a:pt x="7637" y="1591"/>
                </a:lnTo>
                <a:lnTo>
                  <a:pt x="7638" y="1594"/>
                </a:lnTo>
                <a:lnTo>
                  <a:pt x="7638" y="1597"/>
                </a:lnTo>
                <a:lnTo>
                  <a:pt x="7637" y="1600"/>
                </a:lnTo>
                <a:lnTo>
                  <a:pt x="7633" y="1603"/>
                </a:lnTo>
                <a:lnTo>
                  <a:pt x="7629" y="1604"/>
                </a:lnTo>
                <a:lnTo>
                  <a:pt x="7625" y="1603"/>
                </a:lnTo>
                <a:lnTo>
                  <a:pt x="7623" y="1603"/>
                </a:lnTo>
                <a:lnTo>
                  <a:pt x="7622" y="1600"/>
                </a:lnTo>
                <a:lnTo>
                  <a:pt x="7620" y="1597"/>
                </a:lnTo>
                <a:lnTo>
                  <a:pt x="7620" y="1595"/>
                </a:lnTo>
                <a:lnTo>
                  <a:pt x="7622" y="1591"/>
                </a:lnTo>
                <a:lnTo>
                  <a:pt x="7624" y="1589"/>
                </a:lnTo>
                <a:close/>
                <a:moveTo>
                  <a:pt x="7723" y="1578"/>
                </a:moveTo>
                <a:lnTo>
                  <a:pt x="7716" y="1583"/>
                </a:lnTo>
                <a:lnTo>
                  <a:pt x="7708" y="1585"/>
                </a:lnTo>
                <a:lnTo>
                  <a:pt x="7702" y="1583"/>
                </a:lnTo>
                <a:lnTo>
                  <a:pt x="7697" y="1580"/>
                </a:lnTo>
                <a:lnTo>
                  <a:pt x="7693" y="1575"/>
                </a:lnTo>
                <a:lnTo>
                  <a:pt x="7693" y="1569"/>
                </a:lnTo>
                <a:lnTo>
                  <a:pt x="7695" y="1563"/>
                </a:lnTo>
                <a:lnTo>
                  <a:pt x="7702" y="1558"/>
                </a:lnTo>
                <a:lnTo>
                  <a:pt x="7707" y="1558"/>
                </a:lnTo>
                <a:lnTo>
                  <a:pt x="7712" y="1558"/>
                </a:lnTo>
                <a:lnTo>
                  <a:pt x="7717" y="1559"/>
                </a:lnTo>
                <a:lnTo>
                  <a:pt x="7721" y="1562"/>
                </a:lnTo>
                <a:lnTo>
                  <a:pt x="7723" y="1566"/>
                </a:lnTo>
                <a:lnTo>
                  <a:pt x="7725" y="1569"/>
                </a:lnTo>
                <a:lnTo>
                  <a:pt x="7725" y="1575"/>
                </a:lnTo>
                <a:lnTo>
                  <a:pt x="7723" y="1578"/>
                </a:lnTo>
                <a:close/>
                <a:moveTo>
                  <a:pt x="7764" y="2546"/>
                </a:moveTo>
                <a:lnTo>
                  <a:pt x="7757" y="2548"/>
                </a:lnTo>
                <a:lnTo>
                  <a:pt x="7748" y="2552"/>
                </a:lnTo>
                <a:lnTo>
                  <a:pt x="7744" y="2552"/>
                </a:lnTo>
                <a:lnTo>
                  <a:pt x="7740" y="2552"/>
                </a:lnTo>
                <a:lnTo>
                  <a:pt x="7737" y="2550"/>
                </a:lnTo>
                <a:lnTo>
                  <a:pt x="7734" y="2547"/>
                </a:lnTo>
                <a:lnTo>
                  <a:pt x="7741" y="2542"/>
                </a:lnTo>
                <a:lnTo>
                  <a:pt x="7751" y="2539"/>
                </a:lnTo>
                <a:lnTo>
                  <a:pt x="7755" y="2539"/>
                </a:lnTo>
                <a:lnTo>
                  <a:pt x="7760" y="2539"/>
                </a:lnTo>
                <a:lnTo>
                  <a:pt x="7763" y="2542"/>
                </a:lnTo>
                <a:lnTo>
                  <a:pt x="7764" y="2546"/>
                </a:lnTo>
                <a:close/>
                <a:moveTo>
                  <a:pt x="7787" y="1051"/>
                </a:moveTo>
                <a:lnTo>
                  <a:pt x="7771" y="1060"/>
                </a:lnTo>
                <a:lnTo>
                  <a:pt x="7753" y="1067"/>
                </a:lnTo>
                <a:lnTo>
                  <a:pt x="7735" y="1071"/>
                </a:lnTo>
                <a:lnTo>
                  <a:pt x="7717" y="1072"/>
                </a:lnTo>
                <a:lnTo>
                  <a:pt x="7699" y="1071"/>
                </a:lnTo>
                <a:lnTo>
                  <a:pt x="7680" y="1068"/>
                </a:lnTo>
                <a:lnTo>
                  <a:pt x="7661" y="1064"/>
                </a:lnTo>
                <a:lnTo>
                  <a:pt x="7641" y="1059"/>
                </a:lnTo>
                <a:lnTo>
                  <a:pt x="7673" y="1051"/>
                </a:lnTo>
                <a:lnTo>
                  <a:pt x="7698" y="1045"/>
                </a:lnTo>
                <a:lnTo>
                  <a:pt x="7717" y="1041"/>
                </a:lnTo>
                <a:lnTo>
                  <a:pt x="7732" y="1039"/>
                </a:lnTo>
                <a:lnTo>
                  <a:pt x="7745" y="1039"/>
                </a:lnTo>
                <a:lnTo>
                  <a:pt x="7758" y="1041"/>
                </a:lnTo>
                <a:lnTo>
                  <a:pt x="7772" y="1045"/>
                </a:lnTo>
                <a:lnTo>
                  <a:pt x="7787" y="1051"/>
                </a:lnTo>
                <a:close/>
                <a:moveTo>
                  <a:pt x="7870" y="1561"/>
                </a:moveTo>
                <a:lnTo>
                  <a:pt x="7881" y="1557"/>
                </a:lnTo>
                <a:lnTo>
                  <a:pt x="7893" y="1554"/>
                </a:lnTo>
                <a:lnTo>
                  <a:pt x="7898" y="1554"/>
                </a:lnTo>
                <a:lnTo>
                  <a:pt x="7903" y="1557"/>
                </a:lnTo>
                <a:lnTo>
                  <a:pt x="7908" y="1562"/>
                </a:lnTo>
                <a:lnTo>
                  <a:pt x="7913" y="1569"/>
                </a:lnTo>
                <a:lnTo>
                  <a:pt x="7912" y="1582"/>
                </a:lnTo>
                <a:lnTo>
                  <a:pt x="7904" y="1587"/>
                </a:lnTo>
                <a:lnTo>
                  <a:pt x="7893" y="1587"/>
                </a:lnTo>
                <a:lnTo>
                  <a:pt x="7881" y="1583"/>
                </a:lnTo>
                <a:lnTo>
                  <a:pt x="7870" y="1577"/>
                </a:lnTo>
                <a:lnTo>
                  <a:pt x="7864" y="1571"/>
                </a:lnTo>
                <a:lnTo>
                  <a:pt x="7862" y="1564"/>
                </a:lnTo>
                <a:lnTo>
                  <a:pt x="7870" y="1561"/>
                </a:lnTo>
                <a:close/>
                <a:moveTo>
                  <a:pt x="8020" y="1558"/>
                </a:moveTo>
                <a:lnTo>
                  <a:pt x="8018" y="1564"/>
                </a:lnTo>
                <a:lnTo>
                  <a:pt x="8015" y="1569"/>
                </a:lnTo>
                <a:lnTo>
                  <a:pt x="8013" y="1573"/>
                </a:lnTo>
                <a:lnTo>
                  <a:pt x="8009" y="1576"/>
                </a:lnTo>
                <a:lnTo>
                  <a:pt x="8005" y="1576"/>
                </a:lnTo>
                <a:lnTo>
                  <a:pt x="8000" y="1576"/>
                </a:lnTo>
                <a:lnTo>
                  <a:pt x="7995" y="1573"/>
                </a:lnTo>
                <a:lnTo>
                  <a:pt x="7988" y="1568"/>
                </a:lnTo>
                <a:lnTo>
                  <a:pt x="7991" y="1563"/>
                </a:lnTo>
                <a:lnTo>
                  <a:pt x="7993" y="1559"/>
                </a:lnTo>
                <a:lnTo>
                  <a:pt x="7997" y="1557"/>
                </a:lnTo>
                <a:lnTo>
                  <a:pt x="8001" y="1555"/>
                </a:lnTo>
                <a:lnTo>
                  <a:pt x="8010" y="1555"/>
                </a:lnTo>
                <a:lnTo>
                  <a:pt x="8020" y="1558"/>
                </a:lnTo>
                <a:close/>
                <a:moveTo>
                  <a:pt x="8013" y="1354"/>
                </a:moveTo>
                <a:lnTo>
                  <a:pt x="8002" y="1362"/>
                </a:lnTo>
                <a:lnTo>
                  <a:pt x="7991" y="1370"/>
                </a:lnTo>
                <a:lnTo>
                  <a:pt x="7986" y="1372"/>
                </a:lnTo>
                <a:lnTo>
                  <a:pt x="7979" y="1373"/>
                </a:lnTo>
                <a:lnTo>
                  <a:pt x="7974" y="1375"/>
                </a:lnTo>
                <a:lnTo>
                  <a:pt x="7968" y="1373"/>
                </a:lnTo>
                <a:lnTo>
                  <a:pt x="7974" y="1365"/>
                </a:lnTo>
                <a:lnTo>
                  <a:pt x="7979" y="1357"/>
                </a:lnTo>
                <a:lnTo>
                  <a:pt x="7985" y="1352"/>
                </a:lnTo>
                <a:lnTo>
                  <a:pt x="7988" y="1349"/>
                </a:lnTo>
                <a:lnTo>
                  <a:pt x="7993" y="1348"/>
                </a:lnTo>
                <a:lnTo>
                  <a:pt x="7999" y="1348"/>
                </a:lnTo>
                <a:lnTo>
                  <a:pt x="8005" y="1351"/>
                </a:lnTo>
                <a:lnTo>
                  <a:pt x="8013" y="1354"/>
                </a:lnTo>
                <a:close/>
                <a:moveTo>
                  <a:pt x="7307" y="1375"/>
                </a:moveTo>
                <a:lnTo>
                  <a:pt x="7304" y="1372"/>
                </a:lnTo>
                <a:lnTo>
                  <a:pt x="7303" y="1370"/>
                </a:lnTo>
                <a:lnTo>
                  <a:pt x="7302" y="1367"/>
                </a:lnTo>
                <a:lnTo>
                  <a:pt x="7303" y="1366"/>
                </a:lnTo>
                <a:lnTo>
                  <a:pt x="7304" y="1363"/>
                </a:lnTo>
                <a:lnTo>
                  <a:pt x="7307" y="1362"/>
                </a:lnTo>
                <a:lnTo>
                  <a:pt x="7310" y="1362"/>
                </a:lnTo>
                <a:lnTo>
                  <a:pt x="7313" y="1361"/>
                </a:lnTo>
                <a:lnTo>
                  <a:pt x="7316" y="1363"/>
                </a:lnTo>
                <a:lnTo>
                  <a:pt x="7317" y="1365"/>
                </a:lnTo>
                <a:lnTo>
                  <a:pt x="7316" y="1367"/>
                </a:lnTo>
                <a:lnTo>
                  <a:pt x="7315" y="1368"/>
                </a:lnTo>
                <a:lnTo>
                  <a:pt x="7311" y="1372"/>
                </a:lnTo>
                <a:lnTo>
                  <a:pt x="7307" y="1375"/>
                </a:lnTo>
                <a:close/>
                <a:moveTo>
                  <a:pt x="7133" y="1665"/>
                </a:moveTo>
                <a:lnTo>
                  <a:pt x="7135" y="1665"/>
                </a:lnTo>
                <a:lnTo>
                  <a:pt x="7133" y="1665"/>
                </a:lnTo>
                <a:lnTo>
                  <a:pt x="7133" y="1660"/>
                </a:lnTo>
                <a:lnTo>
                  <a:pt x="7133" y="1665"/>
                </a:lnTo>
                <a:close/>
                <a:moveTo>
                  <a:pt x="6897" y="1923"/>
                </a:moveTo>
                <a:lnTo>
                  <a:pt x="6922" y="1917"/>
                </a:lnTo>
                <a:lnTo>
                  <a:pt x="6947" y="1911"/>
                </a:lnTo>
                <a:lnTo>
                  <a:pt x="6971" y="1904"/>
                </a:lnTo>
                <a:lnTo>
                  <a:pt x="6995" y="1899"/>
                </a:lnTo>
                <a:lnTo>
                  <a:pt x="7019" y="1893"/>
                </a:lnTo>
                <a:lnTo>
                  <a:pt x="7043" y="1886"/>
                </a:lnTo>
                <a:lnTo>
                  <a:pt x="7070" y="1880"/>
                </a:lnTo>
                <a:lnTo>
                  <a:pt x="7097" y="1874"/>
                </a:lnTo>
                <a:lnTo>
                  <a:pt x="7071" y="1889"/>
                </a:lnTo>
                <a:lnTo>
                  <a:pt x="7047" y="1903"/>
                </a:lnTo>
                <a:lnTo>
                  <a:pt x="7024" y="1914"/>
                </a:lnTo>
                <a:lnTo>
                  <a:pt x="7001" y="1925"/>
                </a:lnTo>
                <a:lnTo>
                  <a:pt x="6977" y="1930"/>
                </a:lnTo>
                <a:lnTo>
                  <a:pt x="6952" y="1932"/>
                </a:lnTo>
                <a:lnTo>
                  <a:pt x="6925" y="1930"/>
                </a:lnTo>
                <a:lnTo>
                  <a:pt x="6897" y="1923"/>
                </a:lnTo>
                <a:close/>
                <a:moveTo>
                  <a:pt x="7031" y="1437"/>
                </a:moveTo>
                <a:lnTo>
                  <a:pt x="7034" y="1438"/>
                </a:lnTo>
                <a:lnTo>
                  <a:pt x="7036" y="1440"/>
                </a:lnTo>
                <a:lnTo>
                  <a:pt x="7036" y="1441"/>
                </a:lnTo>
                <a:lnTo>
                  <a:pt x="7036" y="1442"/>
                </a:lnTo>
                <a:lnTo>
                  <a:pt x="7033" y="1443"/>
                </a:lnTo>
                <a:lnTo>
                  <a:pt x="7032" y="1445"/>
                </a:lnTo>
                <a:lnTo>
                  <a:pt x="7029" y="1445"/>
                </a:lnTo>
                <a:lnTo>
                  <a:pt x="7027" y="1442"/>
                </a:lnTo>
                <a:lnTo>
                  <a:pt x="7029" y="1440"/>
                </a:lnTo>
                <a:lnTo>
                  <a:pt x="7031" y="1437"/>
                </a:lnTo>
                <a:close/>
                <a:moveTo>
                  <a:pt x="6821" y="1964"/>
                </a:moveTo>
                <a:lnTo>
                  <a:pt x="6818" y="1963"/>
                </a:lnTo>
                <a:lnTo>
                  <a:pt x="6814" y="1960"/>
                </a:lnTo>
                <a:lnTo>
                  <a:pt x="6812" y="1956"/>
                </a:lnTo>
                <a:lnTo>
                  <a:pt x="6810" y="1951"/>
                </a:lnTo>
                <a:lnTo>
                  <a:pt x="6809" y="1948"/>
                </a:lnTo>
                <a:lnTo>
                  <a:pt x="6809" y="1942"/>
                </a:lnTo>
                <a:lnTo>
                  <a:pt x="6812" y="1939"/>
                </a:lnTo>
                <a:lnTo>
                  <a:pt x="6815" y="1936"/>
                </a:lnTo>
                <a:lnTo>
                  <a:pt x="6823" y="1937"/>
                </a:lnTo>
                <a:lnTo>
                  <a:pt x="6828" y="1941"/>
                </a:lnTo>
                <a:lnTo>
                  <a:pt x="6832" y="1945"/>
                </a:lnTo>
                <a:lnTo>
                  <a:pt x="6833" y="1949"/>
                </a:lnTo>
                <a:lnTo>
                  <a:pt x="6833" y="1954"/>
                </a:lnTo>
                <a:lnTo>
                  <a:pt x="6831" y="1958"/>
                </a:lnTo>
                <a:lnTo>
                  <a:pt x="6827" y="1962"/>
                </a:lnTo>
                <a:lnTo>
                  <a:pt x="6821" y="1964"/>
                </a:lnTo>
                <a:close/>
                <a:moveTo>
                  <a:pt x="6803" y="1477"/>
                </a:moveTo>
                <a:lnTo>
                  <a:pt x="6812" y="1480"/>
                </a:lnTo>
                <a:lnTo>
                  <a:pt x="6818" y="1484"/>
                </a:lnTo>
                <a:lnTo>
                  <a:pt x="6821" y="1487"/>
                </a:lnTo>
                <a:lnTo>
                  <a:pt x="6821" y="1489"/>
                </a:lnTo>
                <a:lnTo>
                  <a:pt x="6818" y="1492"/>
                </a:lnTo>
                <a:lnTo>
                  <a:pt x="6813" y="1496"/>
                </a:lnTo>
                <a:lnTo>
                  <a:pt x="6809" y="1496"/>
                </a:lnTo>
                <a:lnTo>
                  <a:pt x="6805" y="1496"/>
                </a:lnTo>
                <a:lnTo>
                  <a:pt x="6803" y="1494"/>
                </a:lnTo>
                <a:lnTo>
                  <a:pt x="6801" y="1492"/>
                </a:lnTo>
                <a:lnTo>
                  <a:pt x="6800" y="1485"/>
                </a:lnTo>
                <a:lnTo>
                  <a:pt x="6803" y="1477"/>
                </a:lnTo>
                <a:close/>
                <a:moveTo>
                  <a:pt x="6730" y="1517"/>
                </a:moveTo>
                <a:lnTo>
                  <a:pt x="6729" y="1513"/>
                </a:lnTo>
                <a:lnTo>
                  <a:pt x="6730" y="1511"/>
                </a:lnTo>
                <a:lnTo>
                  <a:pt x="6731" y="1510"/>
                </a:lnTo>
                <a:lnTo>
                  <a:pt x="6735" y="1510"/>
                </a:lnTo>
                <a:lnTo>
                  <a:pt x="6736" y="1513"/>
                </a:lnTo>
                <a:lnTo>
                  <a:pt x="6735" y="1515"/>
                </a:lnTo>
                <a:lnTo>
                  <a:pt x="6734" y="1516"/>
                </a:lnTo>
                <a:lnTo>
                  <a:pt x="6730" y="1517"/>
                </a:lnTo>
                <a:close/>
                <a:moveTo>
                  <a:pt x="6642" y="1974"/>
                </a:moveTo>
                <a:lnTo>
                  <a:pt x="6642" y="1970"/>
                </a:lnTo>
                <a:lnTo>
                  <a:pt x="6647" y="1967"/>
                </a:lnTo>
                <a:lnTo>
                  <a:pt x="6656" y="1963"/>
                </a:lnTo>
                <a:lnTo>
                  <a:pt x="6666" y="1960"/>
                </a:lnTo>
                <a:lnTo>
                  <a:pt x="6678" y="1958"/>
                </a:lnTo>
                <a:lnTo>
                  <a:pt x="6688" y="1956"/>
                </a:lnTo>
                <a:lnTo>
                  <a:pt x="6696" y="1958"/>
                </a:lnTo>
                <a:lnTo>
                  <a:pt x="6700" y="1960"/>
                </a:lnTo>
                <a:lnTo>
                  <a:pt x="6686" y="1964"/>
                </a:lnTo>
                <a:lnTo>
                  <a:pt x="6670" y="1968"/>
                </a:lnTo>
                <a:lnTo>
                  <a:pt x="6656" y="1970"/>
                </a:lnTo>
                <a:lnTo>
                  <a:pt x="6642" y="1974"/>
                </a:lnTo>
                <a:close/>
                <a:moveTo>
                  <a:pt x="6655" y="10358"/>
                </a:moveTo>
                <a:lnTo>
                  <a:pt x="6652" y="10356"/>
                </a:lnTo>
                <a:lnTo>
                  <a:pt x="6652" y="10355"/>
                </a:lnTo>
                <a:lnTo>
                  <a:pt x="6654" y="10354"/>
                </a:lnTo>
                <a:lnTo>
                  <a:pt x="6655" y="10353"/>
                </a:lnTo>
                <a:lnTo>
                  <a:pt x="6656" y="10354"/>
                </a:lnTo>
                <a:lnTo>
                  <a:pt x="6658" y="10355"/>
                </a:lnTo>
                <a:lnTo>
                  <a:pt x="6656" y="10356"/>
                </a:lnTo>
                <a:lnTo>
                  <a:pt x="6655" y="10358"/>
                </a:lnTo>
                <a:close/>
                <a:moveTo>
                  <a:pt x="6529" y="10406"/>
                </a:moveTo>
                <a:lnTo>
                  <a:pt x="6524" y="10402"/>
                </a:lnTo>
                <a:lnTo>
                  <a:pt x="6526" y="10397"/>
                </a:lnTo>
                <a:lnTo>
                  <a:pt x="6534" y="10391"/>
                </a:lnTo>
                <a:lnTo>
                  <a:pt x="6547" y="10386"/>
                </a:lnTo>
                <a:lnTo>
                  <a:pt x="6561" y="10381"/>
                </a:lnTo>
                <a:lnTo>
                  <a:pt x="6575" y="10377"/>
                </a:lnTo>
                <a:lnTo>
                  <a:pt x="6587" y="10376"/>
                </a:lnTo>
                <a:lnTo>
                  <a:pt x="6595" y="10378"/>
                </a:lnTo>
                <a:lnTo>
                  <a:pt x="6576" y="10387"/>
                </a:lnTo>
                <a:lnTo>
                  <a:pt x="6559" y="10393"/>
                </a:lnTo>
                <a:lnTo>
                  <a:pt x="6544" y="10401"/>
                </a:lnTo>
                <a:lnTo>
                  <a:pt x="6529" y="10406"/>
                </a:lnTo>
                <a:close/>
                <a:moveTo>
                  <a:pt x="6413" y="9889"/>
                </a:moveTo>
                <a:lnTo>
                  <a:pt x="6416" y="9885"/>
                </a:lnTo>
                <a:lnTo>
                  <a:pt x="6413" y="9889"/>
                </a:lnTo>
                <a:lnTo>
                  <a:pt x="6416" y="9884"/>
                </a:lnTo>
                <a:lnTo>
                  <a:pt x="6413" y="9889"/>
                </a:lnTo>
                <a:close/>
                <a:moveTo>
                  <a:pt x="6346" y="10489"/>
                </a:moveTo>
                <a:lnTo>
                  <a:pt x="6352" y="10481"/>
                </a:lnTo>
                <a:lnTo>
                  <a:pt x="6358" y="10475"/>
                </a:lnTo>
                <a:lnTo>
                  <a:pt x="6366" y="10470"/>
                </a:lnTo>
                <a:lnTo>
                  <a:pt x="6374" y="10466"/>
                </a:lnTo>
                <a:lnTo>
                  <a:pt x="6391" y="10458"/>
                </a:lnTo>
                <a:lnTo>
                  <a:pt x="6409" y="10452"/>
                </a:lnTo>
                <a:lnTo>
                  <a:pt x="6394" y="10462"/>
                </a:lnTo>
                <a:lnTo>
                  <a:pt x="6379" y="10472"/>
                </a:lnTo>
                <a:lnTo>
                  <a:pt x="6362" y="10481"/>
                </a:lnTo>
                <a:lnTo>
                  <a:pt x="6346" y="10489"/>
                </a:lnTo>
                <a:close/>
                <a:moveTo>
                  <a:pt x="6334" y="9929"/>
                </a:moveTo>
                <a:lnTo>
                  <a:pt x="6342" y="9917"/>
                </a:lnTo>
                <a:lnTo>
                  <a:pt x="6352" y="9905"/>
                </a:lnTo>
                <a:lnTo>
                  <a:pt x="6358" y="9899"/>
                </a:lnTo>
                <a:lnTo>
                  <a:pt x="6363" y="9894"/>
                </a:lnTo>
                <a:lnTo>
                  <a:pt x="6370" y="9891"/>
                </a:lnTo>
                <a:lnTo>
                  <a:pt x="6375" y="9888"/>
                </a:lnTo>
                <a:lnTo>
                  <a:pt x="6375" y="9888"/>
                </a:lnTo>
                <a:lnTo>
                  <a:pt x="6374" y="9889"/>
                </a:lnTo>
                <a:lnTo>
                  <a:pt x="6375" y="9889"/>
                </a:lnTo>
                <a:lnTo>
                  <a:pt x="6375" y="9888"/>
                </a:lnTo>
                <a:lnTo>
                  <a:pt x="6375" y="9888"/>
                </a:lnTo>
                <a:lnTo>
                  <a:pt x="6377" y="9887"/>
                </a:lnTo>
                <a:lnTo>
                  <a:pt x="6380" y="9887"/>
                </a:lnTo>
                <a:lnTo>
                  <a:pt x="6374" y="9892"/>
                </a:lnTo>
                <a:lnTo>
                  <a:pt x="6370" y="9898"/>
                </a:lnTo>
                <a:lnTo>
                  <a:pt x="6365" y="9906"/>
                </a:lnTo>
                <a:lnTo>
                  <a:pt x="6361" y="9913"/>
                </a:lnTo>
                <a:lnTo>
                  <a:pt x="6357" y="9920"/>
                </a:lnTo>
                <a:lnTo>
                  <a:pt x="6351" y="9925"/>
                </a:lnTo>
                <a:lnTo>
                  <a:pt x="6343" y="9929"/>
                </a:lnTo>
                <a:lnTo>
                  <a:pt x="6334" y="9929"/>
                </a:lnTo>
                <a:close/>
                <a:moveTo>
                  <a:pt x="6321" y="9707"/>
                </a:moveTo>
                <a:lnTo>
                  <a:pt x="6339" y="9700"/>
                </a:lnTo>
                <a:lnTo>
                  <a:pt x="6357" y="9691"/>
                </a:lnTo>
                <a:lnTo>
                  <a:pt x="6374" y="9681"/>
                </a:lnTo>
                <a:lnTo>
                  <a:pt x="6389" y="9669"/>
                </a:lnTo>
                <a:lnTo>
                  <a:pt x="6380" y="9684"/>
                </a:lnTo>
                <a:lnTo>
                  <a:pt x="6367" y="9700"/>
                </a:lnTo>
                <a:lnTo>
                  <a:pt x="6349" y="9716"/>
                </a:lnTo>
                <a:lnTo>
                  <a:pt x="6333" y="9729"/>
                </a:lnTo>
                <a:lnTo>
                  <a:pt x="6319" y="9737"/>
                </a:lnTo>
                <a:lnTo>
                  <a:pt x="6311" y="9737"/>
                </a:lnTo>
                <a:lnTo>
                  <a:pt x="6311" y="9728"/>
                </a:lnTo>
                <a:lnTo>
                  <a:pt x="6321" y="9707"/>
                </a:lnTo>
                <a:close/>
                <a:moveTo>
                  <a:pt x="6275" y="10545"/>
                </a:moveTo>
                <a:lnTo>
                  <a:pt x="6286" y="10541"/>
                </a:lnTo>
                <a:lnTo>
                  <a:pt x="6296" y="10537"/>
                </a:lnTo>
                <a:lnTo>
                  <a:pt x="6295" y="10541"/>
                </a:lnTo>
                <a:lnTo>
                  <a:pt x="6293" y="10544"/>
                </a:lnTo>
                <a:lnTo>
                  <a:pt x="6291" y="10546"/>
                </a:lnTo>
                <a:lnTo>
                  <a:pt x="6288" y="10549"/>
                </a:lnTo>
                <a:lnTo>
                  <a:pt x="6286" y="10549"/>
                </a:lnTo>
                <a:lnTo>
                  <a:pt x="6282" y="10549"/>
                </a:lnTo>
                <a:lnTo>
                  <a:pt x="6279" y="10547"/>
                </a:lnTo>
                <a:lnTo>
                  <a:pt x="6275" y="10545"/>
                </a:lnTo>
                <a:close/>
                <a:moveTo>
                  <a:pt x="6258" y="10055"/>
                </a:moveTo>
                <a:lnTo>
                  <a:pt x="6237" y="10071"/>
                </a:lnTo>
                <a:lnTo>
                  <a:pt x="6219" y="10085"/>
                </a:lnTo>
                <a:lnTo>
                  <a:pt x="6214" y="10088"/>
                </a:lnTo>
                <a:lnTo>
                  <a:pt x="6214" y="10087"/>
                </a:lnTo>
                <a:lnTo>
                  <a:pt x="6218" y="10080"/>
                </a:lnTo>
                <a:lnTo>
                  <a:pt x="6227" y="10067"/>
                </a:lnTo>
                <a:lnTo>
                  <a:pt x="6244" y="10059"/>
                </a:lnTo>
                <a:lnTo>
                  <a:pt x="6261" y="10050"/>
                </a:lnTo>
                <a:lnTo>
                  <a:pt x="6268" y="10046"/>
                </a:lnTo>
                <a:lnTo>
                  <a:pt x="6270" y="10046"/>
                </a:lnTo>
                <a:lnTo>
                  <a:pt x="6267" y="10048"/>
                </a:lnTo>
                <a:lnTo>
                  <a:pt x="6258" y="10055"/>
                </a:lnTo>
                <a:close/>
                <a:moveTo>
                  <a:pt x="6270" y="10518"/>
                </a:moveTo>
                <a:lnTo>
                  <a:pt x="6263" y="10519"/>
                </a:lnTo>
                <a:lnTo>
                  <a:pt x="6256" y="10521"/>
                </a:lnTo>
                <a:lnTo>
                  <a:pt x="6260" y="10518"/>
                </a:lnTo>
                <a:lnTo>
                  <a:pt x="6267" y="10516"/>
                </a:lnTo>
                <a:lnTo>
                  <a:pt x="6268" y="10516"/>
                </a:lnTo>
                <a:lnTo>
                  <a:pt x="6270" y="10516"/>
                </a:lnTo>
                <a:lnTo>
                  <a:pt x="6270" y="10516"/>
                </a:lnTo>
                <a:lnTo>
                  <a:pt x="6270" y="10518"/>
                </a:lnTo>
                <a:close/>
                <a:moveTo>
                  <a:pt x="6216" y="10112"/>
                </a:moveTo>
                <a:lnTo>
                  <a:pt x="6218" y="10108"/>
                </a:lnTo>
                <a:lnTo>
                  <a:pt x="6223" y="10104"/>
                </a:lnTo>
                <a:lnTo>
                  <a:pt x="6228" y="10102"/>
                </a:lnTo>
                <a:lnTo>
                  <a:pt x="6235" y="10101"/>
                </a:lnTo>
                <a:lnTo>
                  <a:pt x="6225" y="10107"/>
                </a:lnTo>
                <a:lnTo>
                  <a:pt x="6216" y="10112"/>
                </a:lnTo>
                <a:close/>
                <a:moveTo>
                  <a:pt x="6193" y="10126"/>
                </a:moveTo>
                <a:lnTo>
                  <a:pt x="6197" y="10121"/>
                </a:lnTo>
                <a:lnTo>
                  <a:pt x="6200" y="10117"/>
                </a:lnTo>
                <a:lnTo>
                  <a:pt x="6205" y="10115"/>
                </a:lnTo>
                <a:lnTo>
                  <a:pt x="6213" y="10115"/>
                </a:lnTo>
                <a:lnTo>
                  <a:pt x="6203" y="10120"/>
                </a:lnTo>
                <a:lnTo>
                  <a:pt x="6193" y="10126"/>
                </a:lnTo>
                <a:close/>
                <a:moveTo>
                  <a:pt x="6191" y="10127"/>
                </a:moveTo>
                <a:lnTo>
                  <a:pt x="6186" y="10131"/>
                </a:lnTo>
                <a:lnTo>
                  <a:pt x="6184" y="10132"/>
                </a:lnTo>
                <a:lnTo>
                  <a:pt x="6184" y="10131"/>
                </a:lnTo>
                <a:lnTo>
                  <a:pt x="6185" y="10129"/>
                </a:lnTo>
                <a:lnTo>
                  <a:pt x="6191" y="10121"/>
                </a:lnTo>
                <a:lnTo>
                  <a:pt x="6197" y="10112"/>
                </a:lnTo>
                <a:lnTo>
                  <a:pt x="6195" y="10120"/>
                </a:lnTo>
                <a:lnTo>
                  <a:pt x="6191" y="10127"/>
                </a:lnTo>
                <a:close/>
                <a:moveTo>
                  <a:pt x="6166" y="9976"/>
                </a:moveTo>
                <a:lnTo>
                  <a:pt x="6149" y="10008"/>
                </a:lnTo>
                <a:lnTo>
                  <a:pt x="6140" y="10018"/>
                </a:lnTo>
                <a:lnTo>
                  <a:pt x="6137" y="10011"/>
                </a:lnTo>
                <a:lnTo>
                  <a:pt x="6139" y="9994"/>
                </a:lnTo>
                <a:lnTo>
                  <a:pt x="6147" y="9969"/>
                </a:lnTo>
                <a:lnTo>
                  <a:pt x="6158" y="9943"/>
                </a:lnTo>
                <a:lnTo>
                  <a:pt x="6175" y="9922"/>
                </a:lnTo>
                <a:lnTo>
                  <a:pt x="6193" y="9910"/>
                </a:lnTo>
                <a:lnTo>
                  <a:pt x="6221" y="9897"/>
                </a:lnTo>
                <a:lnTo>
                  <a:pt x="6233" y="9896"/>
                </a:lnTo>
                <a:lnTo>
                  <a:pt x="6235" y="9902"/>
                </a:lnTo>
                <a:lnTo>
                  <a:pt x="6226" y="9913"/>
                </a:lnTo>
                <a:lnTo>
                  <a:pt x="6212" y="9930"/>
                </a:lnTo>
                <a:lnTo>
                  <a:pt x="6194" y="9948"/>
                </a:lnTo>
                <a:lnTo>
                  <a:pt x="6179" y="9963"/>
                </a:lnTo>
                <a:lnTo>
                  <a:pt x="6166" y="9976"/>
                </a:lnTo>
                <a:close/>
                <a:moveTo>
                  <a:pt x="6161" y="10051"/>
                </a:moveTo>
                <a:lnTo>
                  <a:pt x="6140" y="10090"/>
                </a:lnTo>
                <a:lnTo>
                  <a:pt x="6105" y="10139"/>
                </a:lnTo>
                <a:lnTo>
                  <a:pt x="6062" y="10192"/>
                </a:lnTo>
                <a:lnTo>
                  <a:pt x="6016" y="10242"/>
                </a:lnTo>
                <a:lnTo>
                  <a:pt x="5975" y="10284"/>
                </a:lnTo>
                <a:lnTo>
                  <a:pt x="5946" y="10309"/>
                </a:lnTo>
                <a:lnTo>
                  <a:pt x="5935" y="10313"/>
                </a:lnTo>
                <a:lnTo>
                  <a:pt x="5951" y="10289"/>
                </a:lnTo>
                <a:lnTo>
                  <a:pt x="5952" y="10293"/>
                </a:lnTo>
                <a:lnTo>
                  <a:pt x="5972" y="10272"/>
                </a:lnTo>
                <a:lnTo>
                  <a:pt x="6006" y="10237"/>
                </a:lnTo>
                <a:lnTo>
                  <a:pt x="6041" y="10192"/>
                </a:lnTo>
                <a:lnTo>
                  <a:pt x="6074" y="10150"/>
                </a:lnTo>
                <a:lnTo>
                  <a:pt x="6096" y="10116"/>
                </a:lnTo>
                <a:lnTo>
                  <a:pt x="6098" y="10101"/>
                </a:lnTo>
                <a:lnTo>
                  <a:pt x="6077" y="10111"/>
                </a:lnTo>
                <a:lnTo>
                  <a:pt x="6059" y="10132"/>
                </a:lnTo>
                <a:lnTo>
                  <a:pt x="6041" y="10160"/>
                </a:lnTo>
                <a:lnTo>
                  <a:pt x="6023" y="10188"/>
                </a:lnTo>
                <a:lnTo>
                  <a:pt x="6006" y="10214"/>
                </a:lnTo>
                <a:lnTo>
                  <a:pt x="5991" y="10230"/>
                </a:lnTo>
                <a:lnTo>
                  <a:pt x="5983" y="10236"/>
                </a:lnTo>
                <a:lnTo>
                  <a:pt x="5979" y="10223"/>
                </a:lnTo>
                <a:lnTo>
                  <a:pt x="5981" y="10187"/>
                </a:lnTo>
                <a:lnTo>
                  <a:pt x="5947" y="10208"/>
                </a:lnTo>
                <a:lnTo>
                  <a:pt x="5943" y="10195"/>
                </a:lnTo>
                <a:lnTo>
                  <a:pt x="5963" y="10160"/>
                </a:lnTo>
                <a:lnTo>
                  <a:pt x="6000" y="10116"/>
                </a:lnTo>
                <a:lnTo>
                  <a:pt x="6046" y="10073"/>
                </a:lnTo>
                <a:lnTo>
                  <a:pt x="6093" y="10039"/>
                </a:lnTo>
                <a:lnTo>
                  <a:pt x="6134" y="10028"/>
                </a:lnTo>
                <a:lnTo>
                  <a:pt x="6161" y="10051"/>
                </a:lnTo>
                <a:close/>
                <a:moveTo>
                  <a:pt x="6138" y="10350"/>
                </a:moveTo>
                <a:lnTo>
                  <a:pt x="6124" y="10360"/>
                </a:lnTo>
                <a:lnTo>
                  <a:pt x="6115" y="10365"/>
                </a:lnTo>
                <a:lnTo>
                  <a:pt x="6111" y="10365"/>
                </a:lnTo>
                <a:lnTo>
                  <a:pt x="6111" y="10362"/>
                </a:lnTo>
                <a:lnTo>
                  <a:pt x="6115" y="10356"/>
                </a:lnTo>
                <a:lnTo>
                  <a:pt x="6123" y="10349"/>
                </a:lnTo>
                <a:lnTo>
                  <a:pt x="6133" y="10341"/>
                </a:lnTo>
                <a:lnTo>
                  <a:pt x="6147" y="10334"/>
                </a:lnTo>
                <a:lnTo>
                  <a:pt x="6149" y="10334"/>
                </a:lnTo>
                <a:lnTo>
                  <a:pt x="6151" y="10335"/>
                </a:lnTo>
                <a:lnTo>
                  <a:pt x="6151" y="10337"/>
                </a:lnTo>
                <a:lnTo>
                  <a:pt x="6148" y="10340"/>
                </a:lnTo>
                <a:lnTo>
                  <a:pt x="6143" y="10345"/>
                </a:lnTo>
                <a:lnTo>
                  <a:pt x="6138" y="10350"/>
                </a:lnTo>
                <a:close/>
                <a:moveTo>
                  <a:pt x="6097" y="10247"/>
                </a:moveTo>
                <a:lnTo>
                  <a:pt x="6098" y="10241"/>
                </a:lnTo>
                <a:lnTo>
                  <a:pt x="6102" y="10234"/>
                </a:lnTo>
                <a:lnTo>
                  <a:pt x="6107" y="10229"/>
                </a:lnTo>
                <a:lnTo>
                  <a:pt x="6112" y="10225"/>
                </a:lnTo>
                <a:lnTo>
                  <a:pt x="6125" y="10218"/>
                </a:lnTo>
                <a:lnTo>
                  <a:pt x="6139" y="10211"/>
                </a:lnTo>
                <a:lnTo>
                  <a:pt x="6129" y="10222"/>
                </a:lnTo>
                <a:lnTo>
                  <a:pt x="6119" y="10230"/>
                </a:lnTo>
                <a:lnTo>
                  <a:pt x="6107" y="10239"/>
                </a:lnTo>
                <a:lnTo>
                  <a:pt x="6097" y="10247"/>
                </a:lnTo>
                <a:close/>
                <a:moveTo>
                  <a:pt x="6042" y="10402"/>
                </a:moveTo>
                <a:lnTo>
                  <a:pt x="6046" y="10396"/>
                </a:lnTo>
                <a:lnTo>
                  <a:pt x="6051" y="10391"/>
                </a:lnTo>
                <a:lnTo>
                  <a:pt x="6058" y="10387"/>
                </a:lnTo>
                <a:lnTo>
                  <a:pt x="6064" y="10382"/>
                </a:lnTo>
                <a:lnTo>
                  <a:pt x="6064" y="10387"/>
                </a:lnTo>
                <a:lnTo>
                  <a:pt x="6063" y="10391"/>
                </a:lnTo>
                <a:lnTo>
                  <a:pt x="6062" y="10395"/>
                </a:lnTo>
                <a:lnTo>
                  <a:pt x="6059" y="10397"/>
                </a:lnTo>
                <a:lnTo>
                  <a:pt x="6056" y="10398"/>
                </a:lnTo>
                <a:lnTo>
                  <a:pt x="6053" y="10400"/>
                </a:lnTo>
                <a:lnTo>
                  <a:pt x="6048" y="10401"/>
                </a:lnTo>
                <a:lnTo>
                  <a:pt x="6042" y="10402"/>
                </a:lnTo>
                <a:close/>
                <a:moveTo>
                  <a:pt x="5943" y="10379"/>
                </a:moveTo>
                <a:lnTo>
                  <a:pt x="5920" y="10401"/>
                </a:lnTo>
                <a:lnTo>
                  <a:pt x="5907" y="10410"/>
                </a:lnTo>
                <a:lnTo>
                  <a:pt x="5901" y="10409"/>
                </a:lnTo>
                <a:lnTo>
                  <a:pt x="5902" y="10401"/>
                </a:lnTo>
                <a:lnTo>
                  <a:pt x="5909" y="10388"/>
                </a:lnTo>
                <a:lnTo>
                  <a:pt x="5919" y="10373"/>
                </a:lnTo>
                <a:lnTo>
                  <a:pt x="5933" y="10359"/>
                </a:lnTo>
                <a:lnTo>
                  <a:pt x="5948" y="10348"/>
                </a:lnTo>
                <a:lnTo>
                  <a:pt x="5953" y="10342"/>
                </a:lnTo>
                <a:lnTo>
                  <a:pt x="5946" y="10350"/>
                </a:lnTo>
                <a:lnTo>
                  <a:pt x="5941" y="10358"/>
                </a:lnTo>
                <a:lnTo>
                  <a:pt x="5937" y="10365"/>
                </a:lnTo>
                <a:lnTo>
                  <a:pt x="5938" y="10373"/>
                </a:lnTo>
                <a:lnTo>
                  <a:pt x="5943" y="10379"/>
                </a:lnTo>
                <a:close/>
                <a:moveTo>
                  <a:pt x="5892" y="10524"/>
                </a:moveTo>
                <a:lnTo>
                  <a:pt x="5891" y="10519"/>
                </a:lnTo>
                <a:lnTo>
                  <a:pt x="5888" y="10518"/>
                </a:lnTo>
                <a:lnTo>
                  <a:pt x="5888" y="10517"/>
                </a:lnTo>
                <a:lnTo>
                  <a:pt x="5897" y="10518"/>
                </a:lnTo>
                <a:lnTo>
                  <a:pt x="5896" y="10521"/>
                </a:lnTo>
                <a:lnTo>
                  <a:pt x="5892" y="10524"/>
                </a:lnTo>
                <a:close/>
                <a:moveTo>
                  <a:pt x="5869" y="10544"/>
                </a:moveTo>
                <a:lnTo>
                  <a:pt x="5865" y="10546"/>
                </a:lnTo>
                <a:lnTo>
                  <a:pt x="5864" y="10547"/>
                </a:lnTo>
                <a:lnTo>
                  <a:pt x="5863" y="10546"/>
                </a:lnTo>
                <a:lnTo>
                  <a:pt x="5862" y="10544"/>
                </a:lnTo>
                <a:lnTo>
                  <a:pt x="5860" y="10537"/>
                </a:lnTo>
                <a:lnTo>
                  <a:pt x="5858" y="10531"/>
                </a:lnTo>
                <a:lnTo>
                  <a:pt x="5867" y="10524"/>
                </a:lnTo>
                <a:lnTo>
                  <a:pt x="5873" y="10519"/>
                </a:lnTo>
                <a:lnTo>
                  <a:pt x="5878" y="10519"/>
                </a:lnTo>
                <a:lnTo>
                  <a:pt x="5881" y="10521"/>
                </a:lnTo>
                <a:lnTo>
                  <a:pt x="5881" y="10523"/>
                </a:lnTo>
                <a:lnTo>
                  <a:pt x="5878" y="10528"/>
                </a:lnTo>
                <a:lnTo>
                  <a:pt x="5874" y="10536"/>
                </a:lnTo>
                <a:lnTo>
                  <a:pt x="5869" y="10544"/>
                </a:lnTo>
                <a:close/>
                <a:moveTo>
                  <a:pt x="5822" y="10517"/>
                </a:moveTo>
                <a:lnTo>
                  <a:pt x="5828" y="10510"/>
                </a:lnTo>
                <a:lnTo>
                  <a:pt x="5835" y="10507"/>
                </a:lnTo>
                <a:lnTo>
                  <a:pt x="5841" y="10503"/>
                </a:lnTo>
                <a:lnTo>
                  <a:pt x="5849" y="10499"/>
                </a:lnTo>
                <a:lnTo>
                  <a:pt x="5855" y="10496"/>
                </a:lnTo>
                <a:lnTo>
                  <a:pt x="5863" y="10495"/>
                </a:lnTo>
                <a:lnTo>
                  <a:pt x="5872" y="10494"/>
                </a:lnTo>
                <a:lnTo>
                  <a:pt x="5881" y="10494"/>
                </a:lnTo>
                <a:lnTo>
                  <a:pt x="5874" y="10502"/>
                </a:lnTo>
                <a:lnTo>
                  <a:pt x="5867" y="10508"/>
                </a:lnTo>
                <a:lnTo>
                  <a:pt x="5860" y="10513"/>
                </a:lnTo>
                <a:lnTo>
                  <a:pt x="5854" y="10516"/>
                </a:lnTo>
                <a:lnTo>
                  <a:pt x="5848" y="10518"/>
                </a:lnTo>
                <a:lnTo>
                  <a:pt x="5840" y="10519"/>
                </a:lnTo>
                <a:lnTo>
                  <a:pt x="5832" y="10518"/>
                </a:lnTo>
                <a:lnTo>
                  <a:pt x="5822" y="10517"/>
                </a:lnTo>
                <a:close/>
                <a:moveTo>
                  <a:pt x="5790" y="10530"/>
                </a:moveTo>
                <a:lnTo>
                  <a:pt x="5789" y="10521"/>
                </a:lnTo>
                <a:lnTo>
                  <a:pt x="5795" y="10509"/>
                </a:lnTo>
                <a:lnTo>
                  <a:pt x="5806" y="10498"/>
                </a:lnTo>
                <a:lnTo>
                  <a:pt x="5818" y="10485"/>
                </a:lnTo>
                <a:lnTo>
                  <a:pt x="5831" y="10474"/>
                </a:lnTo>
                <a:lnTo>
                  <a:pt x="5845" y="10463"/>
                </a:lnTo>
                <a:lnTo>
                  <a:pt x="5855" y="10456"/>
                </a:lnTo>
                <a:lnTo>
                  <a:pt x="5863" y="10451"/>
                </a:lnTo>
                <a:lnTo>
                  <a:pt x="5859" y="10462"/>
                </a:lnTo>
                <a:lnTo>
                  <a:pt x="5853" y="10474"/>
                </a:lnTo>
                <a:lnTo>
                  <a:pt x="5845" y="10485"/>
                </a:lnTo>
                <a:lnTo>
                  <a:pt x="5835" y="10495"/>
                </a:lnTo>
                <a:lnTo>
                  <a:pt x="5812" y="10514"/>
                </a:lnTo>
                <a:lnTo>
                  <a:pt x="5790" y="10530"/>
                </a:lnTo>
                <a:close/>
                <a:moveTo>
                  <a:pt x="5716" y="2308"/>
                </a:moveTo>
                <a:lnTo>
                  <a:pt x="5750" y="2295"/>
                </a:lnTo>
                <a:lnTo>
                  <a:pt x="5783" y="2282"/>
                </a:lnTo>
                <a:lnTo>
                  <a:pt x="5799" y="2277"/>
                </a:lnTo>
                <a:lnTo>
                  <a:pt x="5817" y="2273"/>
                </a:lnTo>
                <a:lnTo>
                  <a:pt x="5834" y="2272"/>
                </a:lnTo>
                <a:lnTo>
                  <a:pt x="5851" y="2271"/>
                </a:lnTo>
                <a:lnTo>
                  <a:pt x="5835" y="2277"/>
                </a:lnTo>
                <a:lnTo>
                  <a:pt x="5818" y="2284"/>
                </a:lnTo>
                <a:lnTo>
                  <a:pt x="5802" y="2287"/>
                </a:lnTo>
                <a:lnTo>
                  <a:pt x="5785" y="2291"/>
                </a:lnTo>
                <a:lnTo>
                  <a:pt x="5751" y="2299"/>
                </a:lnTo>
                <a:lnTo>
                  <a:pt x="5716" y="2308"/>
                </a:lnTo>
                <a:close/>
                <a:moveTo>
                  <a:pt x="5746" y="10616"/>
                </a:moveTo>
                <a:lnTo>
                  <a:pt x="5734" y="10622"/>
                </a:lnTo>
                <a:lnTo>
                  <a:pt x="5729" y="10622"/>
                </a:lnTo>
                <a:lnTo>
                  <a:pt x="5729" y="10619"/>
                </a:lnTo>
                <a:lnTo>
                  <a:pt x="5734" y="10610"/>
                </a:lnTo>
                <a:lnTo>
                  <a:pt x="5750" y="10587"/>
                </a:lnTo>
                <a:lnTo>
                  <a:pt x="5764" y="10565"/>
                </a:lnTo>
                <a:lnTo>
                  <a:pt x="5762" y="10577"/>
                </a:lnTo>
                <a:lnTo>
                  <a:pt x="5764" y="10584"/>
                </a:lnTo>
                <a:lnTo>
                  <a:pt x="5766" y="10592"/>
                </a:lnTo>
                <a:lnTo>
                  <a:pt x="5767" y="10597"/>
                </a:lnTo>
                <a:lnTo>
                  <a:pt x="5767" y="10602"/>
                </a:lnTo>
                <a:lnTo>
                  <a:pt x="5765" y="10606"/>
                </a:lnTo>
                <a:lnTo>
                  <a:pt x="5758" y="10611"/>
                </a:lnTo>
                <a:lnTo>
                  <a:pt x="5746" y="10616"/>
                </a:lnTo>
                <a:close/>
                <a:moveTo>
                  <a:pt x="5841" y="6275"/>
                </a:moveTo>
                <a:lnTo>
                  <a:pt x="5845" y="6274"/>
                </a:lnTo>
                <a:lnTo>
                  <a:pt x="5845" y="6273"/>
                </a:lnTo>
                <a:lnTo>
                  <a:pt x="5844" y="6274"/>
                </a:lnTo>
                <a:lnTo>
                  <a:pt x="5841" y="6275"/>
                </a:lnTo>
                <a:lnTo>
                  <a:pt x="5842" y="6273"/>
                </a:lnTo>
                <a:lnTo>
                  <a:pt x="5844" y="6272"/>
                </a:lnTo>
                <a:lnTo>
                  <a:pt x="5844" y="6273"/>
                </a:lnTo>
                <a:lnTo>
                  <a:pt x="5841" y="6275"/>
                </a:lnTo>
                <a:close/>
                <a:moveTo>
                  <a:pt x="5859" y="10416"/>
                </a:moveTo>
                <a:lnTo>
                  <a:pt x="5853" y="10434"/>
                </a:lnTo>
                <a:lnTo>
                  <a:pt x="5848" y="10452"/>
                </a:lnTo>
                <a:lnTo>
                  <a:pt x="5846" y="10442"/>
                </a:lnTo>
                <a:lnTo>
                  <a:pt x="5848" y="10432"/>
                </a:lnTo>
                <a:lnTo>
                  <a:pt x="5849" y="10426"/>
                </a:lnTo>
                <a:lnTo>
                  <a:pt x="5851" y="10423"/>
                </a:lnTo>
                <a:lnTo>
                  <a:pt x="5855" y="10419"/>
                </a:lnTo>
                <a:lnTo>
                  <a:pt x="5859" y="10416"/>
                </a:lnTo>
                <a:close/>
                <a:moveTo>
                  <a:pt x="5872" y="6301"/>
                </a:moveTo>
                <a:lnTo>
                  <a:pt x="5862" y="6302"/>
                </a:lnTo>
                <a:lnTo>
                  <a:pt x="5851" y="6303"/>
                </a:lnTo>
                <a:lnTo>
                  <a:pt x="5858" y="6300"/>
                </a:lnTo>
                <a:lnTo>
                  <a:pt x="5865" y="6296"/>
                </a:lnTo>
                <a:lnTo>
                  <a:pt x="5868" y="6295"/>
                </a:lnTo>
                <a:lnTo>
                  <a:pt x="5871" y="6295"/>
                </a:lnTo>
                <a:lnTo>
                  <a:pt x="5872" y="6297"/>
                </a:lnTo>
                <a:lnTo>
                  <a:pt x="5872" y="6301"/>
                </a:lnTo>
                <a:close/>
                <a:moveTo>
                  <a:pt x="5886" y="10288"/>
                </a:moveTo>
                <a:lnTo>
                  <a:pt x="5890" y="10284"/>
                </a:lnTo>
                <a:lnTo>
                  <a:pt x="5893" y="10280"/>
                </a:lnTo>
                <a:lnTo>
                  <a:pt x="5895" y="10281"/>
                </a:lnTo>
                <a:lnTo>
                  <a:pt x="5893" y="10285"/>
                </a:lnTo>
                <a:lnTo>
                  <a:pt x="5892" y="10290"/>
                </a:lnTo>
                <a:lnTo>
                  <a:pt x="5890" y="10293"/>
                </a:lnTo>
                <a:lnTo>
                  <a:pt x="5886" y="10295"/>
                </a:lnTo>
                <a:lnTo>
                  <a:pt x="5885" y="10297"/>
                </a:lnTo>
                <a:lnTo>
                  <a:pt x="5885" y="10294"/>
                </a:lnTo>
                <a:lnTo>
                  <a:pt x="5886" y="10288"/>
                </a:lnTo>
                <a:close/>
                <a:moveTo>
                  <a:pt x="5896" y="6281"/>
                </a:moveTo>
                <a:lnTo>
                  <a:pt x="5892" y="6283"/>
                </a:lnTo>
                <a:lnTo>
                  <a:pt x="5896" y="6281"/>
                </a:lnTo>
                <a:lnTo>
                  <a:pt x="5895" y="6288"/>
                </a:lnTo>
                <a:lnTo>
                  <a:pt x="5896" y="6281"/>
                </a:lnTo>
                <a:close/>
                <a:moveTo>
                  <a:pt x="5913" y="10350"/>
                </a:moveTo>
                <a:lnTo>
                  <a:pt x="5902" y="10362"/>
                </a:lnTo>
                <a:lnTo>
                  <a:pt x="5892" y="10374"/>
                </a:lnTo>
                <a:lnTo>
                  <a:pt x="5882" y="10386"/>
                </a:lnTo>
                <a:lnTo>
                  <a:pt x="5872" y="10397"/>
                </a:lnTo>
                <a:lnTo>
                  <a:pt x="5881" y="10384"/>
                </a:lnTo>
                <a:lnTo>
                  <a:pt x="5888" y="10370"/>
                </a:lnTo>
                <a:lnTo>
                  <a:pt x="5892" y="10364"/>
                </a:lnTo>
                <a:lnTo>
                  <a:pt x="5899" y="10358"/>
                </a:lnTo>
                <a:lnTo>
                  <a:pt x="5905" y="10353"/>
                </a:lnTo>
                <a:lnTo>
                  <a:pt x="5913" y="10350"/>
                </a:lnTo>
                <a:close/>
                <a:moveTo>
                  <a:pt x="6143" y="2795"/>
                </a:moveTo>
                <a:lnTo>
                  <a:pt x="6139" y="2807"/>
                </a:lnTo>
                <a:lnTo>
                  <a:pt x="6133" y="2816"/>
                </a:lnTo>
                <a:lnTo>
                  <a:pt x="6126" y="2822"/>
                </a:lnTo>
                <a:lnTo>
                  <a:pt x="6119" y="2827"/>
                </a:lnTo>
                <a:lnTo>
                  <a:pt x="6110" y="2830"/>
                </a:lnTo>
                <a:lnTo>
                  <a:pt x="6101" y="2831"/>
                </a:lnTo>
                <a:lnTo>
                  <a:pt x="6090" y="2832"/>
                </a:lnTo>
                <a:lnTo>
                  <a:pt x="6077" y="2832"/>
                </a:lnTo>
                <a:lnTo>
                  <a:pt x="6095" y="2818"/>
                </a:lnTo>
                <a:lnTo>
                  <a:pt x="6111" y="2807"/>
                </a:lnTo>
                <a:lnTo>
                  <a:pt x="6119" y="2803"/>
                </a:lnTo>
                <a:lnTo>
                  <a:pt x="6126" y="2799"/>
                </a:lnTo>
                <a:lnTo>
                  <a:pt x="6134" y="2797"/>
                </a:lnTo>
                <a:lnTo>
                  <a:pt x="6143" y="2795"/>
                </a:lnTo>
                <a:close/>
                <a:moveTo>
                  <a:pt x="6151" y="6450"/>
                </a:moveTo>
                <a:lnTo>
                  <a:pt x="6155" y="6450"/>
                </a:lnTo>
                <a:lnTo>
                  <a:pt x="6156" y="6452"/>
                </a:lnTo>
                <a:lnTo>
                  <a:pt x="6156" y="6456"/>
                </a:lnTo>
                <a:lnTo>
                  <a:pt x="6155" y="6463"/>
                </a:lnTo>
                <a:lnTo>
                  <a:pt x="6153" y="6468"/>
                </a:lnTo>
                <a:lnTo>
                  <a:pt x="6151" y="6470"/>
                </a:lnTo>
                <a:lnTo>
                  <a:pt x="6147" y="6470"/>
                </a:lnTo>
                <a:lnTo>
                  <a:pt x="6144" y="6465"/>
                </a:lnTo>
                <a:lnTo>
                  <a:pt x="6148" y="6466"/>
                </a:lnTo>
                <a:lnTo>
                  <a:pt x="6151" y="6466"/>
                </a:lnTo>
                <a:lnTo>
                  <a:pt x="6152" y="6465"/>
                </a:lnTo>
                <a:lnTo>
                  <a:pt x="6153" y="6463"/>
                </a:lnTo>
                <a:lnTo>
                  <a:pt x="6152" y="6456"/>
                </a:lnTo>
                <a:lnTo>
                  <a:pt x="6151" y="6450"/>
                </a:lnTo>
                <a:close/>
                <a:moveTo>
                  <a:pt x="6269" y="10011"/>
                </a:moveTo>
                <a:lnTo>
                  <a:pt x="6278" y="10010"/>
                </a:lnTo>
                <a:lnTo>
                  <a:pt x="6288" y="10009"/>
                </a:lnTo>
                <a:lnTo>
                  <a:pt x="6279" y="10015"/>
                </a:lnTo>
                <a:lnTo>
                  <a:pt x="6269" y="10019"/>
                </a:lnTo>
                <a:lnTo>
                  <a:pt x="6265" y="10020"/>
                </a:lnTo>
                <a:lnTo>
                  <a:pt x="6264" y="10019"/>
                </a:lnTo>
                <a:lnTo>
                  <a:pt x="6265" y="10017"/>
                </a:lnTo>
                <a:lnTo>
                  <a:pt x="6269" y="10011"/>
                </a:lnTo>
                <a:close/>
                <a:moveTo>
                  <a:pt x="6279" y="9795"/>
                </a:moveTo>
                <a:lnTo>
                  <a:pt x="6275" y="9804"/>
                </a:lnTo>
                <a:lnTo>
                  <a:pt x="6279" y="9795"/>
                </a:lnTo>
                <a:lnTo>
                  <a:pt x="6283" y="9796"/>
                </a:lnTo>
                <a:lnTo>
                  <a:pt x="6284" y="9799"/>
                </a:lnTo>
                <a:lnTo>
                  <a:pt x="6284" y="9803"/>
                </a:lnTo>
                <a:lnTo>
                  <a:pt x="6284" y="9805"/>
                </a:lnTo>
                <a:lnTo>
                  <a:pt x="6282" y="9808"/>
                </a:lnTo>
                <a:lnTo>
                  <a:pt x="6281" y="9807"/>
                </a:lnTo>
                <a:lnTo>
                  <a:pt x="6279" y="9803"/>
                </a:lnTo>
                <a:lnTo>
                  <a:pt x="6279" y="9795"/>
                </a:lnTo>
                <a:close/>
                <a:moveTo>
                  <a:pt x="6289" y="6289"/>
                </a:moveTo>
                <a:lnTo>
                  <a:pt x="6304" y="6284"/>
                </a:lnTo>
                <a:lnTo>
                  <a:pt x="6318" y="6279"/>
                </a:lnTo>
                <a:lnTo>
                  <a:pt x="6332" y="6274"/>
                </a:lnTo>
                <a:lnTo>
                  <a:pt x="6346" y="6268"/>
                </a:lnTo>
                <a:lnTo>
                  <a:pt x="6346" y="6277"/>
                </a:lnTo>
                <a:lnTo>
                  <a:pt x="6339" y="6287"/>
                </a:lnTo>
                <a:lnTo>
                  <a:pt x="6328" y="6296"/>
                </a:lnTo>
                <a:lnTo>
                  <a:pt x="6314" y="6302"/>
                </a:lnTo>
                <a:lnTo>
                  <a:pt x="6300" y="6306"/>
                </a:lnTo>
                <a:lnTo>
                  <a:pt x="6289" y="6306"/>
                </a:lnTo>
                <a:lnTo>
                  <a:pt x="6286" y="6301"/>
                </a:lnTo>
                <a:lnTo>
                  <a:pt x="6289" y="6289"/>
                </a:lnTo>
                <a:close/>
                <a:moveTo>
                  <a:pt x="6403" y="9903"/>
                </a:moveTo>
                <a:lnTo>
                  <a:pt x="6403" y="9905"/>
                </a:lnTo>
                <a:lnTo>
                  <a:pt x="6403" y="9903"/>
                </a:lnTo>
                <a:lnTo>
                  <a:pt x="6404" y="9906"/>
                </a:lnTo>
                <a:lnTo>
                  <a:pt x="6403" y="9903"/>
                </a:lnTo>
                <a:close/>
                <a:moveTo>
                  <a:pt x="5710" y="9416"/>
                </a:moveTo>
                <a:lnTo>
                  <a:pt x="5714" y="9423"/>
                </a:lnTo>
                <a:lnTo>
                  <a:pt x="5715" y="9434"/>
                </a:lnTo>
                <a:lnTo>
                  <a:pt x="5713" y="9432"/>
                </a:lnTo>
                <a:lnTo>
                  <a:pt x="5711" y="9428"/>
                </a:lnTo>
                <a:lnTo>
                  <a:pt x="5711" y="9423"/>
                </a:lnTo>
                <a:lnTo>
                  <a:pt x="5710" y="9416"/>
                </a:lnTo>
                <a:close/>
                <a:moveTo>
                  <a:pt x="5705" y="10689"/>
                </a:moveTo>
                <a:lnTo>
                  <a:pt x="5699" y="10691"/>
                </a:lnTo>
                <a:lnTo>
                  <a:pt x="5694" y="10695"/>
                </a:lnTo>
                <a:lnTo>
                  <a:pt x="5691" y="10701"/>
                </a:lnTo>
                <a:lnTo>
                  <a:pt x="5688" y="10709"/>
                </a:lnTo>
                <a:lnTo>
                  <a:pt x="5687" y="10717"/>
                </a:lnTo>
                <a:lnTo>
                  <a:pt x="5683" y="10723"/>
                </a:lnTo>
                <a:lnTo>
                  <a:pt x="5679" y="10729"/>
                </a:lnTo>
                <a:lnTo>
                  <a:pt x="5673" y="10736"/>
                </a:lnTo>
                <a:lnTo>
                  <a:pt x="5671" y="10724"/>
                </a:lnTo>
                <a:lnTo>
                  <a:pt x="5674" y="10709"/>
                </a:lnTo>
                <a:lnTo>
                  <a:pt x="5683" y="10694"/>
                </a:lnTo>
                <a:lnTo>
                  <a:pt x="5694" y="10681"/>
                </a:lnTo>
                <a:lnTo>
                  <a:pt x="5702" y="10671"/>
                </a:lnTo>
                <a:lnTo>
                  <a:pt x="5710" y="10667"/>
                </a:lnTo>
                <a:lnTo>
                  <a:pt x="5711" y="10672"/>
                </a:lnTo>
                <a:lnTo>
                  <a:pt x="5705" y="10689"/>
                </a:lnTo>
                <a:close/>
                <a:moveTo>
                  <a:pt x="5510" y="10619"/>
                </a:moveTo>
                <a:lnTo>
                  <a:pt x="5509" y="10612"/>
                </a:lnTo>
                <a:lnTo>
                  <a:pt x="5509" y="10606"/>
                </a:lnTo>
                <a:lnTo>
                  <a:pt x="5510" y="10600"/>
                </a:lnTo>
                <a:lnTo>
                  <a:pt x="5511" y="10593"/>
                </a:lnTo>
                <a:lnTo>
                  <a:pt x="5514" y="10587"/>
                </a:lnTo>
                <a:lnTo>
                  <a:pt x="5519" y="10580"/>
                </a:lnTo>
                <a:lnTo>
                  <a:pt x="5524" y="10574"/>
                </a:lnTo>
                <a:lnTo>
                  <a:pt x="5530" y="10568"/>
                </a:lnTo>
                <a:lnTo>
                  <a:pt x="5530" y="10577"/>
                </a:lnTo>
                <a:lnTo>
                  <a:pt x="5529" y="10584"/>
                </a:lnTo>
                <a:lnTo>
                  <a:pt x="5525" y="10591"/>
                </a:lnTo>
                <a:lnTo>
                  <a:pt x="5522" y="10597"/>
                </a:lnTo>
                <a:lnTo>
                  <a:pt x="5518" y="10602"/>
                </a:lnTo>
                <a:lnTo>
                  <a:pt x="5514" y="10607"/>
                </a:lnTo>
                <a:lnTo>
                  <a:pt x="5511" y="10614"/>
                </a:lnTo>
                <a:lnTo>
                  <a:pt x="5510" y="10619"/>
                </a:lnTo>
                <a:close/>
                <a:moveTo>
                  <a:pt x="5432" y="8447"/>
                </a:moveTo>
                <a:lnTo>
                  <a:pt x="5417" y="8455"/>
                </a:lnTo>
                <a:lnTo>
                  <a:pt x="5410" y="8456"/>
                </a:lnTo>
                <a:lnTo>
                  <a:pt x="5410" y="8451"/>
                </a:lnTo>
                <a:lnTo>
                  <a:pt x="5415" y="8443"/>
                </a:lnTo>
                <a:lnTo>
                  <a:pt x="5435" y="8419"/>
                </a:lnTo>
                <a:lnTo>
                  <a:pt x="5454" y="8394"/>
                </a:lnTo>
                <a:lnTo>
                  <a:pt x="5473" y="8390"/>
                </a:lnTo>
                <a:lnTo>
                  <a:pt x="5481" y="8390"/>
                </a:lnTo>
                <a:lnTo>
                  <a:pt x="5480" y="8396"/>
                </a:lnTo>
                <a:lnTo>
                  <a:pt x="5473" y="8404"/>
                </a:lnTo>
                <a:lnTo>
                  <a:pt x="5452" y="8425"/>
                </a:lnTo>
                <a:lnTo>
                  <a:pt x="5432" y="8447"/>
                </a:lnTo>
                <a:close/>
                <a:moveTo>
                  <a:pt x="5384" y="8499"/>
                </a:moveTo>
                <a:lnTo>
                  <a:pt x="5373" y="8506"/>
                </a:lnTo>
                <a:lnTo>
                  <a:pt x="5360" y="8509"/>
                </a:lnTo>
                <a:lnTo>
                  <a:pt x="5365" y="8504"/>
                </a:lnTo>
                <a:lnTo>
                  <a:pt x="5373" y="8499"/>
                </a:lnTo>
                <a:lnTo>
                  <a:pt x="5380" y="8494"/>
                </a:lnTo>
                <a:lnTo>
                  <a:pt x="5388" y="8492"/>
                </a:lnTo>
                <a:lnTo>
                  <a:pt x="5393" y="8489"/>
                </a:lnTo>
                <a:lnTo>
                  <a:pt x="5396" y="8490"/>
                </a:lnTo>
                <a:lnTo>
                  <a:pt x="5393" y="8493"/>
                </a:lnTo>
                <a:lnTo>
                  <a:pt x="5384" y="8499"/>
                </a:lnTo>
                <a:close/>
                <a:moveTo>
                  <a:pt x="4671" y="2942"/>
                </a:moveTo>
                <a:lnTo>
                  <a:pt x="4667" y="2944"/>
                </a:lnTo>
                <a:lnTo>
                  <a:pt x="4661" y="2946"/>
                </a:lnTo>
                <a:lnTo>
                  <a:pt x="4661" y="2942"/>
                </a:lnTo>
                <a:lnTo>
                  <a:pt x="4662" y="2939"/>
                </a:lnTo>
                <a:lnTo>
                  <a:pt x="4665" y="2937"/>
                </a:lnTo>
                <a:lnTo>
                  <a:pt x="4667" y="2935"/>
                </a:lnTo>
                <a:lnTo>
                  <a:pt x="4670" y="2934"/>
                </a:lnTo>
                <a:lnTo>
                  <a:pt x="4671" y="2935"/>
                </a:lnTo>
                <a:lnTo>
                  <a:pt x="4672" y="2938"/>
                </a:lnTo>
                <a:lnTo>
                  <a:pt x="4671" y="2942"/>
                </a:lnTo>
                <a:close/>
                <a:moveTo>
                  <a:pt x="4563" y="9282"/>
                </a:moveTo>
                <a:lnTo>
                  <a:pt x="4555" y="9274"/>
                </a:lnTo>
                <a:lnTo>
                  <a:pt x="4549" y="9267"/>
                </a:lnTo>
                <a:lnTo>
                  <a:pt x="4554" y="9264"/>
                </a:lnTo>
                <a:lnTo>
                  <a:pt x="4558" y="9264"/>
                </a:lnTo>
                <a:lnTo>
                  <a:pt x="4563" y="9266"/>
                </a:lnTo>
                <a:lnTo>
                  <a:pt x="4565" y="9267"/>
                </a:lnTo>
                <a:lnTo>
                  <a:pt x="4568" y="9271"/>
                </a:lnTo>
                <a:lnTo>
                  <a:pt x="4569" y="9274"/>
                </a:lnTo>
                <a:lnTo>
                  <a:pt x="4566" y="9278"/>
                </a:lnTo>
                <a:lnTo>
                  <a:pt x="4563" y="9282"/>
                </a:lnTo>
                <a:close/>
                <a:moveTo>
                  <a:pt x="4426" y="3194"/>
                </a:moveTo>
                <a:lnTo>
                  <a:pt x="4355" y="3224"/>
                </a:lnTo>
                <a:lnTo>
                  <a:pt x="4324" y="3236"/>
                </a:lnTo>
                <a:lnTo>
                  <a:pt x="4328" y="3229"/>
                </a:lnTo>
                <a:lnTo>
                  <a:pt x="4356" y="3212"/>
                </a:lnTo>
                <a:lnTo>
                  <a:pt x="4402" y="3186"/>
                </a:lnTo>
                <a:lnTo>
                  <a:pt x="4456" y="3158"/>
                </a:lnTo>
                <a:lnTo>
                  <a:pt x="4510" y="3130"/>
                </a:lnTo>
                <a:lnTo>
                  <a:pt x="4558" y="3108"/>
                </a:lnTo>
                <a:lnTo>
                  <a:pt x="4544" y="3122"/>
                </a:lnTo>
                <a:lnTo>
                  <a:pt x="4527" y="3135"/>
                </a:lnTo>
                <a:lnTo>
                  <a:pt x="4512" y="3147"/>
                </a:lnTo>
                <a:lnTo>
                  <a:pt x="4495" y="3157"/>
                </a:lnTo>
                <a:lnTo>
                  <a:pt x="4461" y="3176"/>
                </a:lnTo>
                <a:lnTo>
                  <a:pt x="4426" y="3194"/>
                </a:lnTo>
                <a:close/>
                <a:moveTo>
                  <a:pt x="4468" y="9521"/>
                </a:moveTo>
                <a:lnTo>
                  <a:pt x="4434" y="9557"/>
                </a:lnTo>
                <a:lnTo>
                  <a:pt x="4395" y="9589"/>
                </a:lnTo>
                <a:lnTo>
                  <a:pt x="4356" y="9613"/>
                </a:lnTo>
                <a:lnTo>
                  <a:pt x="4319" y="9630"/>
                </a:lnTo>
                <a:lnTo>
                  <a:pt x="4289" y="9633"/>
                </a:lnTo>
                <a:lnTo>
                  <a:pt x="4266" y="9625"/>
                </a:lnTo>
                <a:lnTo>
                  <a:pt x="4254" y="9598"/>
                </a:lnTo>
                <a:lnTo>
                  <a:pt x="4260" y="9553"/>
                </a:lnTo>
                <a:lnTo>
                  <a:pt x="4266" y="9502"/>
                </a:lnTo>
                <a:lnTo>
                  <a:pt x="4279" y="9472"/>
                </a:lnTo>
                <a:lnTo>
                  <a:pt x="4298" y="9455"/>
                </a:lnTo>
                <a:lnTo>
                  <a:pt x="4322" y="9453"/>
                </a:lnTo>
                <a:lnTo>
                  <a:pt x="4351" y="9460"/>
                </a:lnTo>
                <a:lnTo>
                  <a:pt x="4386" y="9476"/>
                </a:lnTo>
                <a:lnTo>
                  <a:pt x="4425" y="9497"/>
                </a:lnTo>
                <a:lnTo>
                  <a:pt x="4468" y="9521"/>
                </a:lnTo>
                <a:close/>
                <a:moveTo>
                  <a:pt x="4063" y="3236"/>
                </a:moveTo>
                <a:lnTo>
                  <a:pt x="4086" y="3213"/>
                </a:lnTo>
                <a:lnTo>
                  <a:pt x="4112" y="3195"/>
                </a:lnTo>
                <a:lnTo>
                  <a:pt x="4140" y="3178"/>
                </a:lnTo>
                <a:lnTo>
                  <a:pt x="4168" y="3163"/>
                </a:lnTo>
                <a:lnTo>
                  <a:pt x="4197" y="3150"/>
                </a:lnTo>
                <a:lnTo>
                  <a:pt x="4228" y="3136"/>
                </a:lnTo>
                <a:lnTo>
                  <a:pt x="4256" y="3121"/>
                </a:lnTo>
                <a:lnTo>
                  <a:pt x="4284" y="3105"/>
                </a:lnTo>
                <a:lnTo>
                  <a:pt x="4293" y="3115"/>
                </a:lnTo>
                <a:lnTo>
                  <a:pt x="4280" y="3129"/>
                </a:lnTo>
                <a:lnTo>
                  <a:pt x="4252" y="3145"/>
                </a:lnTo>
                <a:lnTo>
                  <a:pt x="4211" y="3164"/>
                </a:lnTo>
                <a:lnTo>
                  <a:pt x="4168" y="3184"/>
                </a:lnTo>
                <a:lnTo>
                  <a:pt x="4123" y="3203"/>
                </a:lnTo>
                <a:lnTo>
                  <a:pt x="4088" y="3220"/>
                </a:lnTo>
                <a:lnTo>
                  <a:pt x="4063" y="3236"/>
                </a:lnTo>
                <a:close/>
                <a:moveTo>
                  <a:pt x="4219" y="3282"/>
                </a:moveTo>
                <a:lnTo>
                  <a:pt x="4205" y="3293"/>
                </a:lnTo>
                <a:lnTo>
                  <a:pt x="4189" y="3302"/>
                </a:lnTo>
                <a:lnTo>
                  <a:pt x="4181" y="3306"/>
                </a:lnTo>
                <a:lnTo>
                  <a:pt x="4172" y="3310"/>
                </a:lnTo>
                <a:lnTo>
                  <a:pt x="4163" y="3311"/>
                </a:lnTo>
                <a:lnTo>
                  <a:pt x="4153" y="3312"/>
                </a:lnTo>
                <a:lnTo>
                  <a:pt x="4159" y="3306"/>
                </a:lnTo>
                <a:lnTo>
                  <a:pt x="4170" y="3297"/>
                </a:lnTo>
                <a:lnTo>
                  <a:pt x="4183" y="3288"/>
                </a:lnTo>
                <a:lnTo>
                  <a:pt x="4197" y="3279"/>
                </a:lnTo>
                <a:lnTo>
                  <a:pt x="4209" y="3273"/>
                </a:lnTo>
                <a:lnTo>
                  <a:pt x="4218" y="3270"/>
                </a:lnTo>
                <a:lnTo>
                  <a:pt x="4221" y="3273"/>
                </a:lnTo>
                <a:lnTo>
                  <a:pt x="4219" y="3282"/>
                </a:lnTo>
                <a:close/>
                <a:moveTo>
                  <a:pt x="4179" y="9519"/>
                </a:moveTo>
                <a:lnTo>
                  <a:pt x="4172" y="9509"/>
                </a:lnTo>
                <a:lnTo>
                  <a:pt x="4172" y="9505"/>
                </a:lnTo>
                <a:lnTo>
                  <a:pt x="4189" y="9500"/>
                </a:lnTo>
                <a:lnTo>
                  <a:pt x="4200" y="9497"/>
                </a:lnTo>
                <a:lnTo>
                  <a:pt x="4201" y="9500"/>
                </a:lnTo>
                <a:lnTo>
                  <a:pt x="4198" y="9502"/>
                </a:lnTo>
                <a:lnTo>
                  <a:pt x="4191" y="9510"/>
                </a:lnTo>
                <a:lnTo>
                  <a:pt x="4179" y="9519"/>
                </a:lnTo>
                <a:close/>
                <a:moveTo>
                  <a:pt x="4061" y="3112"/>
                </a:moveTo>
                <a:lnTo>
                  <a:pt x="4062" y="3107"/>
                </a:lnTo>
                <a:lnTo>
                  <a:pt x="4063" y="3103"/>
                </a:lnTo>
                <a:lnTo>
                  <a:pt x="4065" y="3102"/>
                </a:lnTo>
                <a:lnTo>
                  <a:pt x="4066" y="3101"/>
                </a:lnTo>
                <a:lnTo>
                  <a:pt x="4069" y="3101"/>
                </a:lnTo>
                <a:lnTo>
                  <a:pt x="4070" y="3103"/>
                </a:lnTo>
                <a:lnTo>
                  <a:pt x="4072" y="3106"/>
                </a:lnTo>
                <a:lnTo>
                  <a:pt x="4074" y="3111"/>
                </a:lnTo>
                <a:lnTo>
                  <a:pt x="4074" y="3114"/>
                </a:lnTo>
                <a:lnTo>
                  <a:pt x="4072" y="3115"/>
                </a:lnTo>
                <a:lnTo>
                  <a:pt x="4070" y="3117"/>
                </a:lnTo>
                <a:lnTo>
                  <a:pt x="4067" y="3117"/>
                </a:lnTo>
                <a:lnTo>
                  <a:pt x="4066" y="3117"/>
                </a:lnTo>
                <a:lnTo>
                  <a:pt x="4063" y="3117"/>
                </a:lnTo>
                <a:lnTo>
                  <a:pt x="4062" y="3115"/>
                </a:lnTo>
                <a:lnTo>
                  <a:pt x="4061" y="3112"/>
                </a:lnTo>
                <a:close/>
                <a:moveTo>
                  <a:pt x="4035" y="3097"/>
                </a:moveTo>
                <a:lnTo>
                  <a:pt x="4053" y="3088"/>
                </a:lnTo>
                <a:lnTo>
                  <a:pt x="4072" y="3079"/>
                </a:lnTo>
                <a:lnTo>
                  <a:pt x="4070" y="3087"/>
                </a:lnTo>
                <a:lnTo>
                  <a:pt x="4067" y="3091"/>
                </a:lnTo>
                <a:lnTo>
                  <a:pt x="4063" y="3093"/>
                </a:lnTo>
                <a:lnTo>
                  <a:pt x="4058" y="3096"/>
                </a:lnTo>
                <a:lnTo>
                  <a:pt x="4047" y="3096"/>
                </a:lnTo>
                <a:lnTo>
                  <a:pt x="4035" y="3097"/>
                </a:lnTo>
                <a:close/>
                <a:moveTo>
                  <a:pt x="4153" y="3050"/>
                </a:moveTo>
                <a:lnTo>
                  <a:pt x="4173" y="3054"/>
                </a:lnTo>
                <a:lnTo>
                  <a:pt x="4179" y="3059"/>
                </a:lnTo>
                <a:lnTo>
                  <a:pt x="4174" y="3065"/>
                </a:lnTo>
                <a:lnTo>
                  <a:pt x="4160" y="3070"/>
                </a:lnTo>
                <a:lnTo>
                  <a:pt x="4142" y="3075"/>
                </a:lnTo>
                <a:lnTo>
                  <a:pt x="4121" y="3078"/>
                </a:lnTo>
                <a:lnTo>
                  <a:pt x="4100" y="3078"/>
                </a:lnTo>
                <a:lnTo>
                  <a:pt x="4084" y="3075"/>
                </a:lnTo>
                <a:lnTo>
                  <a:pt x="4100" y="3069"/>
                </a:lnTo>
                <a:lnTo>
                  <a:pt x="4118" y="3063"/>
                </a:lnTo>
                <a:lnTo>
                  <a:pt x="4135" y="3056"/>
                </a:lnTo>
                <a:lnTo>
                  <a:pt x="4153" y="3050"/>
                </a:lnTo>
                <a:close/>
                <a:moveTo>
                  <a:pt x="4178" y="3046"/>
                </a:moveTo>
                <a:lnTo>
                  <a:pt x="4179" y="3046"/>
                </a:lnTo>
                <a:lnTo>
                  <a:pt x="4181" y="3046"/>
                </a:lnTo>
                <a:lnTo>
                  <a:pt x="4182" y="3047"/>
                </a:lnTo>
                <a:lnTo>
                  <a:pt x="4183" y="3050"/>
                </a:lnTo>
                <a:lnTo>
                  <a:pt x="4182" y="3051"/>
                </a:lnTo>
                <a:lnTo>
                  <a:pt x="4181" y="3051"/>
                </a:lnTo>
                <a:lnTo>
                  <a:pt x="4179" y="3051"/>
                </a:lnTo>
                <a:lnTo>
                  <a:pt x="4178" y="3050"/>
                </a:lnTo>
                <a:lnTo>
                  <a:pt x="4177" y="3049"/>
                </a:lnTo>
                <a:lnTo>
                  <a:pt x="4178" y="3046"/>
                </a:lnTo>
                <a:close/>
                <a:moveTo>
                  <a:pt x="4207" y="3037"/>
                </a:moveTo>
                <a:lnTo>
                  <a:pt x="4215" y="3044"/>
                </a:lnTo>
                <a:lnTo>
                  <a:pt x="4220" y="3050"/>
                </a:lnTo>
                <a:lnTo>
                  <a:pt x="4216" y="3050"/>
                </a:lnTo>
                <a:lnTo>
                  <a:pt x="4212" y="3050"/>
                </a:lnTo>
                <a:lnTo>
                  <a:pt x="4209" y="3050"/>
                </a:lnTo>
                <a:lnTo>
                  <a:pt x="4207" y="3049"/>
                </a:lnTo>
                <a:lnTo>
                  <a:pt x="4206" y="3047"/>
                </a:lnTo>
                <a:lnTo>
                  <a:pt x="4206" y="3045"/>
                </a:lnTo>
                <a:lnTo>
                  <a:pt x="4206" y="3041"/>
                </a:lnTo>
                <a:lnTo>
                  <a:pt x="4207" y="3037"/>
                </a:lnTo>
                <a:close/>
                <a:moveTo>
                  <a:pt x="3863" y="3215"/>
                </a:moveTo>
                <a:lnTo>
                  <a:pt x="3877" y="3205"/>
                </a:lnTo>
                <a:lnTo>
                  <a:pt x="3893" y="3195"/>
                </a:lnTo>
                <a:lnTo>
                  <a:pt x="3900" y="3191"/>
                </a:lnTo>
                <a:lnTo>
                  <a:pt x="3909" y="3189"/>
                </a:lnTo>
                <a:lnTo>
                  <a:pt x="3917" y="3187"/>
                </a:lnTo>
                <a:lnTo>
                  <a:pt x="3926" y="3187"/>
                </a:lnTo>
                <a:lnTo>
                  <a:pt x="3911" y="3195"/>
                </a:lnTo>
                <a:lnTo>
                  <a:pt x="3895" y="3203"/>
                </a:lnTo>
                <a:lnTo>
                  <a:pt x="3880" y="3209"/>
                </a:lnTo>
                <a:lnTo>
                  <a:pt x="3863" y="3215"/>
                </a:lnTo>
                <a:close/>
                <a:moveTo>
                  <a:pt x="3906" y="3436"/>
                </a:moveTo>
                <a:lnTo>
                  <a:pt x="3903" y="3433"/>
                </a:lnTo>
                <a:lnTo>
                  <a:pt x="3902" y="3430"/>
                </a:lnTo>
                <a:lnTo>
                  <a:pt x="3903" y="3428"/>
                </a:lnTo>
                <a:lnTo>
                  <a:pt x="3907" y="3427"/>
                </a:lnTo>
                <a:lnTo>
                  <a:pt x="3908" y="3429"/>
                </a:lnTo>
                <a:lnTo>
                  <a:pt x="3909" y="3430"/>
                </a:lnTo>
                <a:lnTo>
                  <a:pt x="3908" y="3433"/>
                </a:lnTo>
                <a:lnTo>
                  <a:pt x="3906" y="3436"/>
                </a:lnTo>
                <a:close/>
                <a:moveTo>
                  <a:pt x="3746" y="3593"/>
                </a:moveTo>
                <a:lnTo>
                  <a:pt x="3748" y="3593"/>
                </a:lnTo>
                <a:lnTo>
                  <a:pt x="3746" y="3593"/>
                </a:lnTo>
                <a:lnTo>
                  <a:pt x="3746" y="3593"/>
                </a:lnTo>
                <a:lnTo>
                  <a:pt x="3746" y="3593"/>
                </a:lnTo>
                <a:close/>
                <a:moveTo>
                  <a:pt x="3700" y="3287"/>
                </a:moveTo>
                <a:lnTo>
                  <a:pt x="3690" y="3292"/>
                </a:lnTo>
                <a:lnTo>
                  <a:pt x="3680" y="3298"/>
                </a:lnTo>
                <a:lnTo>
                  <a:pt x="3675" y="3299"/>
                </a:lnTo>
                <a:lnTo>
                  <a:pt x="3669" y="3301"/>
                </a:lnTo>
                <a:lnTo>
                  <a:pt x="3664" y="3301"/>
                </a:lnTo>
                <a:lnTo>
                  <a:pt x="3657" y="3299"/>
                </a:lnTo>
                <a:lnTo>
                  <a:pt x="3661" y="3294"/>
                </a:lnTo>
                <a:lnTo>
                  <a:pt x="3667" y="3290"/>
                </a:lnTo>
                <a:lnTo>
                  <a:pt x="3675" y="3287"/>
                </a:lnTo>
                <a:lnTo>
                  <a:pt x="3683" y="3283"/>
                </a:lnTo>
                <a:lnTo>
                  <a:pt x="3690" y="3282"/>
                </a:lnTo>
                <a:lnTo>
                  <a:pt x="3697" y="3280"/>
                </a:lnTo>
                <a:lnTo>
                  <a:pt x="3700" y="3283"/>
                </a:lnTo>
                <a:lnTo>
                  <a:pt x="3700" y="3287"/>
                </a:lnTo>
                <a:close/>
                <a:moveTo>
                  <a:pt x="3364" y="8301"/>
                </a:moveTo>
                <a:lnTo>
                  <a:pt x="3363" y="8311"/>
                </a:lnTo>
                <a:lnTo>
                  <a:pt x="3360" y="8319"/>
                </a:lnTo>
                <a:lnTo>
                  <a:pt x="3357" y="8325"/>
                </a:lnTo>
                <a:lnTo>
                  <a:pt x="3353" y="8331"/>
                </a:lnTo>
                <a:lnTo>
                  <a:pt x="3348" y="8336"/>
                </a:lnTo>
                <a:lnTo>
                  <a:pt x="3341" y="8341"/>
                </a:lnTo>
                <a:lnTo>
                  <a:pt x="3334" y="8347"/>
                </a:lnTo>
                <a:lnTo>
                  <a:pt x="3326" y="8352"/>
                </a:lnTo>
                <a:lnTo>
                  <a:pt x="3335" y="8336"/>
                </a:lnTo>
                <a:lnTo>
                  <a:pt x="3344" y="8321"/>
                </a:lnTo>
                <a:lnTo>
                  <a:pt x="3349" y="8313"/>
                </a:lnTo>
                <a:lnTo>
                  <a:pt x="3354" y="8308"/>
                </a:lnTo>
                <a:lnTo>
                  <a:pt x="3359" y="8303"/>
                </a:lnTo>
                <a:lnTo>
                  <a:pt x="3364" y="8301"/>
                </a:lnTo>
                <a:close/>
                <a:moveTo>
                  <a:pt x="3299" y="8382"/>
                </a:moveTo>
                <a:lnTo>
                  <a:pt x="3285" y="8383"/>
                </a:lnTo>
                <a:lnTo>
                  <a:pt x="3273" y="8376"/>
                </a:lnTo>
                <a:lnTo>
                  <a:pt x="3264" y="8362"/>
                </a:lnTo>
                <a:lnTo>
                  <a:pt x="3259" y="8345"/>
                </a:lnTo>
                <a:lnTo>
                  <a:pt x="3259" y="8329"/>
                </a:lnTo>
                <a:lnTo>
                  <a:pt x="3265" y="8315"/>
                </a:lnTo>
                <a:lnTo>
                  <a:pt x="3278" y="8310"/>
                </a:lnTo>
                <a:lnTo>
                  <a:pt x="3301" y="8313"/>
                </a:lnTo>
                <a:lnTo>
                  <a:pt x="3307" y="8282"/>
                </a:lnTo>
                <a:lnTo>
                  <a:pt x="3313" y="8268"/>
                </a:lnTo>
                <a:lnTo>
                  <a:pt x="3318" y="8268"/>
                </a:lnTo>
                <a:lnTo>
                  <a:pt x="3321" y="8278"/>
                </a:lnTo>
                <a:lnTo>
                  <a:pt x="3321" y="8298"/>
                </a:lnTo>
                <a:lnTo>
                  <a:pt x="3318" y="8324"/>
                </a:lnTo>
                <a:lnTo>
                  <a:pt x="3311" y="8353"/>
                </a:lnTo>
                <a:lnTo>
                  <a:pt x="3299" y="8382"/>
                </a:lnTo>
                <a:close/>
                <a:moveTo>
                  <a:pt x="3194" y="6414"/>
                </a:moveTo>
                <a:lnTo>
                  <a:pt x="3196" y="6412"/>
                </a:lnTo>
                <a:lnTo>
                  <a:pt x="3197" y="6410"/>
                </a:lnTo>
                <a:lnTo>
                  <a:pt x="3200" y="6409"/>
                </a:lnTo>
                <a:lnTo>
                  <a:pt x="3204" y="6412"/>
                </a:lnTo>
                <a:lnTo>
                  <a:pt x="3199" y="6413"/>
                </a:lnTo>
                <a:lnTo>
                  <a:pt x="3194" y="6414"/>
                </a:lnTo>
                <a:close/>
                <a:moveTo>
                  <a:pt x="2955" y="3977"/>
                </a:moveTo>
                <a:lnTo>
                  <a:pt x="2955" y="3977"/>
                </a:lnTo>
                <a:lnTo>
                  <a:pt x="2955" y="3977"/>
                </a:lnTo>
                <a:lnTo>
                  <a:pt x="2955" y="3977"/>
                </a:lnTo>
                <a:lnTo>
                  <a:pt x="2955" y="3977"/>
                </a:lnTo>
                <a:close/>
                <a:moveTo>
                  <a:pt x="2912" y="8125"/>
                </a:moveTo>
                <a:lnTo>
                  <a:pt x="2924" y="8120"/>
                </a:lnTo>
                <a:lnTo>
                  <a:pt x="2936" y="8115"/>
                </a:lnTo>
                <a:lnTo>
                  <a:pt x="2940" y="8115"/>
                </a:lnTo>
                <a:lnTo>
                  <a:pt x="2944" y="8117"/>
                </a:lnTo>
                <a:lnTo>
                  <a:pt x="2945" y="8122"/>
                </a:lnTo>
                <a:lnTo>
                  <a:pt x="2945" y="8131"/>
                </a:lnTo>
                <a:lnTo>
                  <a:pt x="2940" y="8133"/>
                </a:lnTo>
                <a:lnTo>
                  <a:pt x="2936" y="8134"/>
                </a:lnTo>
                <a:lnTo>
                  <a:pt x="2931" y="8134"/>
                </a:lnTo>
                <a:lnTo>
                  <a:pt x="2927" y="8134"/>
                </a:lnTo>
                <a:lnTo>
                  <a:pt x="2920" y="8130"/>
                </a:lnTo>
                <a:lnTo>
                  <a:pt x="2912" y="8125"/>
                </a:lnTo>
                <a:close/>
                <a:moveTo>
                  <a:pt x="2878" y="8058"/>
                </a:moveTo>
                <a:lnTo>
                  <a:pt x="2877" y="8052"/>
                </a:lnTo>
                <a:lnTo>
                  <a:pt x="2877" y="8047"/>
                </a:lnTo>
                <a:lnTo>
                  <a:pt x="2878" y="8044"/>
                </a:lnTo>
                <a:lnTo>
                  <a:pt x="2880" y="8040"/>
                </a:lnTo>
                <a:lnTo>
                  <a:pt x="2888" y="8033"/>
                </a:lnTo>
                <a:lnTo>
                  <a:pt x="2897" y="8026"/>
                </a:lnTo>
                <a:lnTo>
                  <a:pt x="2903" y="8031"/>
                </a:lnTo>
                <a:lnTo>
                  <a:pt x="2906" y="8035"/>
                </a:lnTo>
                <a:lnTo>
                  <a:pt x="2905" y="8038"/>
                </a:lnTo>
                <a:lnTo>
                  <a:pt x="2901" y="8042"/>
                </a:lnTo>
                <a:lnTo>
                  <a:pt x="2889" y="8050"/>
                </a:lnTo>
                <a:lnTo>
                  <a:pt x="2878" y="8058"/>
                </a:lnTo>
                <a:close/>
                <a:moveTo>
                  <a:pt x="2860" y="7984"/>
                </a:moveTo>
                <a:lnTo>
                  <a:pt x="2855" y="7984"/>
                </a:lnTo>
                <a:lnTo>
                  <a:pt x="2851" y="7981"/>
                </a:lnTo>
                <a:lnTo>
                  <a:pt x="2850" y="7980"/>
                </a:lnTo>
                <a:lnTo>
                  <a:pt x="2850" y="7977"/>
                </a:lnTo>
                <a:lnTo>
                  <a:pt x="2851" y="7975"/>
                </a:lnTo>
                <a:lnTo>
                  <a:pt x="2852" y="7972"/>
                </a:lnTo>
                <a:lnTo>
                  <a:pt x="2859" y="7974"/>
                </a:lnTo>
                <a:lnTo>
                  <a:pt x="2865" y="7976"/>
                </a:lnTo>
                <a:lnTo>
                  <a:pt x="2866" y="7977"/>
                </a:lnTo>
                <a:lnTo>
                  <a:pt x="2866" y="7979"/>
                </a:lnTo>
                <a:lnTo>
                  <a:pt x="2864" y="7981"/>
                </a:lnTo>
                <a:lnTo>
                  <a:pt x="2860" y="7984"/>
                </a:lnTo>
                <a:close/>
                <a:moveTo>
                  <a:pt x="2834" y="7926"/>
                </a:moveTo>
                <a:lnTo>
                  <a:pt x="2782" y="7962"/>
                </a:lnTo>
                <a:lnTo>
                  <a:pt x="2754" y="7979"/>
                </a:lnTo>
                <a:lnTo>
                  <a:pt x="2747" y="7979"/>
                </a:lnTo>
                <a:lnTo>
                  <a:pt x="2757" y="7968"/>
                </a:lnTo>
                <a:lnTo>
                  <a:pt x="2778" y="7948"/>
                </a:lnTo>
                <a:lnTo>
                  <a:pt x="2808" y="7924"/>
                </a:lnTo>
                <a:lnTo>
                  <a:pt x="2843" y="7896"/>
                </a:lnTo>
                <a:lnTo>
                  <a:pt x="2878" y="7869"/>
                </a:lnTo>
                <a:lnTo>
                  <a:pt x="2911" y="7858"/>
                </a:lnTo>
                <a:lnTo>
                  <a:pt x="2925" y="7854"/>
                </a:lnTo>
                <a:lnTo>
                  <a:pt x="2925" y="7858"/>
                </a:lnTo>
                <a:lnTo>
                  <a:pt x="2915" y="7867"/>
                </a:lnTo>
                <a:lnTo>
                  <a:pt x="2897" y="7879"/>
                </a:lnTo>
                <a:lnTo>
                  <a:pt x="2874" y="7895"/>
                </a:lnTo>
                <a:lnTo>
                  <a:pt x="2852" y="7911"/>
                </a:lnTo>
                <a:lnTo>
                  <a:pt x="2834" y="7926"/>
                </a:lnTo>
                <a:close/>
                <a:moveTo>
                  <a:pt x="2756" y="8150"/>
                </a:moveTo>
                <a:lnTo>
                  <a:pt x="2749" y="8156"/>
                </a:lnTo>
                <a:lnTo>
                  <a:pt x="2744" y="8159"/>
                </a:lnTo>
                <a:lnTo>
                  <a:pt x="2739" y="8161"/>
                </a:lnTo>
                <a:lnTo>
                  <a:pt x="2734" y="8161"/>
                </a:lnTo>
                <a:lnTo>
                  <a:pt x="2729" y="8159"/>
                </a:lnTo>
                <a:lnTo>
                  <a:pt x="2724" y="8156"/>
                </a:lnTo>
                <a:lnTo>
                  <a:pt x="2721" y="8152"/>
                </a:lnTo>
                <a:lnTo>
                  <a:pt x="2719" y="8144"/>
                </a:lnTo>
                <a:lnTo>
                  <a:pt x="2738" y="8131"/>
                </a:lnTo>
                <a:lnTo>
                  <a:pt x="2758" y="8122"/>
                </a:lnTo>
                <a:lnTo>
                  <a:pt x="2776" y="8115"/>
                </a:lnTo>
                <a:lnTo>
                  <a:pt x="2790" y="8112"/>
                </a:lnTo>
                <a:lnTo>
                  <a:pt x="2796" y="8115"/>
                </a:lnTo>
                <a:lnTo>
                  <a:pt x="2795" y="8121"/>
                </a:lnTo>
                <a:lnTo>
                  <a:pt x="2782" y="8133"/>
                </a:lnTo>
                <a:lnTo>
                  <a:pt x="2756" y="8150"/>
                </a:lnTo>
                <a:close/>
                <a:moveTo>
                  <a:pt x="2931" y="7832"/>
                </a:moveTo>
                <a:lnTo>
                  <a:pt x="2927" y="7841"/>
                </a:lnTo>
                <a:lnTo>
                  <a:pt x="2922" y="7850"/>
                </a:lnTo>
                <a:lnTo>
                  <a:pt x="2915" y="7856"/>
                </a:lnTo>
                <a:lnTo>
                  <a:pt x="2907" y="7863"/>
                </a:lnTo>
                <a:lnTo>
                  <a:pt x="2906" y="7856"/>
                </a:lnTo>
                <a:lnTo>
                  <a:pt x="2907" y="7851"/>
                </a:lnTo>
                <a:lnTo>
                  <a:pt x="2910" y="7848"/>
                </a:lnTo>
                <a:lnTo>
                  <a:pt x="2913" y="7844"/>
                </a:lnTo>
                <a:lnTo>
                  <a:pt x="2922" y="7837"/>
                </a:lnTo>
                <a:lnTo>
                  <a:pt x="2931" y="7832"/>
                </a:lnTo>
                <a:close/>
                <a:moveTo>
                  <a:pt x="2781" y="7727"/>
                </a:moveTo>
                <a:lnTo>
                  <a:pt x="2781" y="7723"/>
                </a:lnTo>
                <a:lnTo>
                  <a:pt x="2782" y="7716"/>
                </a:lnTo>
                <a:lnTo>
                  <a:pt x="2785" y="7710"/>
                </a:lnTo>
                <a:lnTo>
                  <a:pt x="2787" y="7704"/>
                </a:lnTo>
                <a:lnTo>
                  <a:pt x="2791" y="7699"/>
                </a:lnTo>
                <a:lnTo>
                  <a:pt x="2795" y="7695"/>
                </a:lnTo>
                <a:lnTo>
                  <a:pt x="2800" y="7694"/>
                </a:lnTo>
                <a:lnTo>
                  <a:pt x="2806" y="7696"/>
                </a:lnTo>
                <a:lnTo>
                  <a:pt x="2792" y="7713"/>
                </a:lnTo>
                <a:lnTo>
                  <a:pt x="2781" y="7727"/>
                </a:lnTo>
                <a:close/>
                <a:moveTo>
                  <a:pt x="2500" y="7514"/>
                </a:moveTo>
                <a:lnTo>
                  <a:pt x="2498" y="7514"/>
                </a:lnTo>
                <a:lnTo>
                  <a:pt x="2498" y="7514"/>
                </a:lnTo>
                <a:lnTo>
                  <a:pt x="2497" y="7509"/>
                </a:lnTo>
                <a:lnTo>
                  <a:pt x="2497" y="7506"/>
                </a:lnTo>
                <a:lnTo>
                  <a:pt x="2500" y="7505"/>
                </a:lnTo>
                <a:lnTo>
                  <a:pt x="2502" y="7506"/>
                </a:lnTo>
                <a:lnTo>
                  <a:pt x="2503" y="7508"/>
                </a:lnTo>
                <a:lnTo>
                  <a:pt x="2505" y="7509"/>
                </a:lnTo>
                <a:lnTo>
                  <a:pt x="2503" y="7511"/>
                </a:lnTo>
                <a:lnTo>
                  <a:pt x="2500" y="7514"/>
                </a:lnTo>
                <a:close/>
                <a:moveTo>
                  <a:pt x="2188" y="6996"/>
                </a:moveTo>
                <a:lnTo>
                  <a:pt x="2170" y="7043"/>
                </a:lnTo>
                <a:lnTo>
                  <a:pt x="2151" y="7074"/>
                </a:lnTo>
                <a:lnTo>
                  <a:pt x="2132" y="7089"/>
                </a:lnTo>
                <a:lnTo>
                  <a:pt x="2112" y="7091"/>
                </a:lnTo>
                <a:lnTo>
                  <a:pt x="2095" y="7081"/>
                </a:lnTo>
                <a:lnTo>
                  <a:pt x="2078" y="7062"/>
                </a:lnTo>
                <a:lnTo>
                  <a:pt x="2064" y="7037"/>
                </a:lnTo>
                <a:lnTo>
                  <a:pt x="2053" y="7005"/>
                </a:lnTo>
                <a:lnTo>
                  <a:pt x="2065" y="7004"/>
                </a:lnTo>
                <a:lnTo>
                  <a:pt x="2077" y="7000"/>
                </a:lnTo>
                <a:lnTo>
                  <a:pt x="2082" y="6996"/>
                </a:lnTo>
                <a:lnTo>
                  <a:pt x="2087" y="6992"/>
                </a:lnTo>
                <a:lnTo>
                  <a:pt x="2092" y="6987"/>
                </a:lnTo>
                <a:lnTo>
                  <a:pt x="2097" y="6981"/>
                </a:lnTo>
                <a:lnTo>
                  <a:pt x="2088" y="6981"/>
                </a:lnTo>
                <a:lnTo>
                  <a:pt x="2082" y="6982"/>
                </a:lnTo>
                <a:lnTo>
                  <a:pt x="2075" y="6983"/>
                </a:lnTo>
                <a:lnTo>
                  <a:pt x="2069" y="6986"/>
                </a:lnTo>
                <a:lnTo>
                  <a:pt x="2064" y="6990"/>
                </a:lnTo>
                <a:lnTo>
                  <a:pt x="2060" y="6993"/>
                </a:lnTo>
                <a:lnTo>
                  <a:pt x="2056" y="6998"/>
                </a:lnTo>
                <a:lnTo>
                  <a:pt x="2053" y="7005"/>
                </a:lnTo>
                <a:lnTo>
                  <a:pt x="2047" y="6984"/>
                </a:lnTo>
                <a:lnTo>
                  <a:pt x="2044" y="6964"/>
                </a:lnTo>
                <a:lnTo>
                  <a:pt x="2041" y="6944"/>
                </a:lnTo>
                <a:lnTo>
                  <a:pt x="2040" y="6922"/>
                </a:lnTo>
                <a:lnTo>
                  <a:pt x="2041" y="6902"/>
                </a:lnTo>
                <a:lnTo>
                  <a:pt x="2044" y="6883"/>
                </a:lnTo>
                <a:lnTo>
                  <a:pt x="2047" y="6865"/>
                </a:lnTo>
                <a:lnTo>
                  <a:pt x="2054" y="6848"/>
                </a:lnTo>
                <a:lnTo>
                  <a:pt x="2072" y="6837"/>
                </a:lnTo>
                <a:lnTo>
                  <a:pt x="2097" y="6839"/>
                </a:lnTo>
                <a:lnTo>
                  <a:pt x="2128" y="6852"/>
                </a:lnTo>
                <a:lnTo>
                  <a:pt x="2157" y="6872"/>
                </a:lnTo>
                <a:lnTo>
                  <a:pt x="2182" y="6899"/>
                </a:lnTo>
                <a:lnTo>
                  <a:pt x="2199" y="6930"/>
                </a:lnTo>
                <a:lnTo>
                  <a:pt x="2202" y="6963"/>
                </a:lnTo>
                <a:lnTo>
                  <a:pt x="2188" y="6996"/>
                </a:lnTo>
                <a:close/>
                <a:moveTo>
                  <a:pt x="2621" y="4156"/>
                </a:moveTo>
                <a:lnTo>
                  <a:pt x="2622" y="4156"/>
                </a:lnTo>
                <a:lnTo>
                  <a:pt x="2621" y="4156"/>
                </a:lnTo>
                <a:lnTo>
                  <a:pt x="2621" y="4156"/>
                </a:lnTo>
                <a:lnTo>
                  <a:pt x="2621" y="4156"/>
                </a:lnTo>
                <a:close/>
                <a:moveTo>
                  <a:pt x="2607" y="4166"/>
                </a:moveTo>
                <a:lnTo>
                  <a:pt x="2598" y="4174"/>
                </a:lnTo>
                <a:lnTo>
                  <a:pt x="2591" y="4183"/>
                </a:lnTo>
                <a:lnTo>
                  <a:pt x="2586" y="4193"/>
                </a:lnTo>
                <a:lnTo>
                  <a:pt x="2584" y="4203"/>
                </a:lnTo>
                <a:lnTo>
                  <a:pt x="2572" y="4193"/>
                </a:lnTo>
                <a:lnTo>
                  <a:pt x="2567" y="4185"/>
                </a:lnTo>
                <a:lnTo>
                  <a:pt x="2568" y="4180"/>
                </a:lnTo>
                <a:lnTo>
                  <a:pt x="2572" y="4176"/>
                </a:lnTo>
                <a:lnTo>
                  <a:pt x="2589" y="4171"/>
                </a:lnTo>
                <a:lnTo>
                  <a:pt x="2607" y="4166"/>
                </a:lnTo>
                <a:close/>
                <a:moveTo>
                  <a:pt x="2538" y="4157"/>
                </a:moveTo>
                <a:lnTo>
                  <a:pt x="2539" y="4156"/>
                </a:lnTo>
                <a:lnTo>
                  <a:pt x="2540" y="4156"/>
                </a:lnTo>
                <a:lnTo>
                  <a:pt x="2539" y="4156"/>
                </a:lnTo>
                <a:lnTo>
                  <a:pt x="2538" y="4157"/>
                </a:lnTo>
                <a:lnTo>
                  <a:pt x="2539" y="4156"/>
                </a:lnTo>
                <a:lnTo>
                  <a:pt x="2538" y="4157"/>
                </a:lnTo>
                <a:close/>
                <a:moveTo>
                  <a:pt x="9911" y="155"/>
                </a:moveTo>
                <a:lnTo>
                  <a:pt x="9908" y="155"/>
                </a:lnTo>
                <a:lnTo>
                  <a:pt x="9905" y="153"/>
                </a:lnTo>
                <a:lnTo>
                  <a:pt x="9905" y="151"/>
                </a:lnTo>
                <a:lnTo>
                  <a:pt x="9906" y="149"/>
                </a:lnTo>
                <a:lnTo>
                  <a:pt x="9910" y="149"/>
                </a:lnTo>
                <a:lnTo>
                  <a:pt x="9911" y="150"/>
                </a:lnTo>
                <a:lnTo>
                  <a:pt x="9913" y="153"/>
                </a:lnTo>
                <a:lnTo>
                  <a:pt x="9911" y="155"/>
                </a:lnTo>
                <a:close/>
                <a:moveTo>
                  <a:pt x="9974" y="84"/>
                </a:moveTo>
                <a:lnTo>
                  <a:pt x="9980" y="83"/>
                </a:lnTo>
                <a:lnTo>
                  <a:pt x="9989" y="81"/>
                </a:lnTo>
                <a:lnTo>
                  <a:pt x="9986" y="88"/>
                </a:lnTo>
                <a:lnTo>
                  <a:pt x="9984" y="92"/>
                </a:lnTo>
                <a:lnTo>
                  <a:pt x="9980" y="94"/>
                </a:lnTo>
                <a:lnTo>
                  <a:pt x="9976" y="95"/>
                </a:lnTo>
                <a:lnTo>
                  <a:pt x="9974" y="94"/>
                </a:lnTo>
                <a:lnTo>
                  <a:pt x="9972" y="92"/>
                </a:lnTo>
                <a:lnTo>
                  <a:pt x="9972" y="89"/>
                </a:lnTo>
                <a:lnTo>
                  <a:pt x="9974" y="84"/>
                </a:lnTo>
                <a:close/>
                <a:moveTo>
                  <a:pt x="10123" y="383"/>
                </a:moveTo>
                <a:lnTo>
                  <a:pt x="10127" y="382"/>
                </a:lnTo>
                <a:lnTo>
                  <a:pt x="10130" y="382"/>
                </a:lnTo>
                <a:lnTo>
                  <a:pt x="10132" y="383"/>
                </a:lnTo>
                <a:lnTo>
                  <a:pt x="10134" y="386"/>
                </a:lnTo>
                <a:lnTo>
                  <a:pt x="10134" y="388"/>
                </a:lnTo>
                <a:lnTo>
                  <a:pt x="10134" y="392"/>
                </a:lnTo>
                <a:lnTo>
                  <a:pt x="10133" y="395"/>
                </a:lnTo>
                <a:lnTo>
                  <a:pt x="10132" y="398"/>
                </a:lnTo>
                <a:lnTo>
                  <a:pt x="10127" y="397"/>
                </a:lnTo>
                <a:lnTo>
                  <a:pt x="10123" y="393"/>
                </a:lnTo>
                <a:lnTo>
                  <a:pt x="10121" y="391"/>
                </a:lnTo>
                <a:lnTo>
                  <a:pt x="10121" y="388"/>
                </a:lnTo>
                <a:lnTo>
                  <a:pt x="10121" y="386"/>
                </a:lnTo>
                <a:lnTo>
                  <a:pt x="10123" y="383"/>
                </a:lnTo>
                <a:close/>
                <a:moveTo>
                  <a:pt x="10160" y="87"/>
                </a:moveTo>
                <a:lnTo>
                  <a:pt x="10163" y="85"/>
                </a:lnTo>
                <a:lnTo>
                  <a:pt x="10165" y="87"/>
                </a:lnTo>
                <a:lnTo>
                  <a:pt x="10166" y="89"/>
                </a:lnTo>
                <a:lnTo>
                  <a:pt x="10166" y="93"/>
                </a:lnTo>
                <a:lnTo>
                  <a:pt x="10162" y="93"/>
                </a:lnTo>
                <a:lnTo>
                  <a:pt x="10160" y="92"/>
                </a:lnTo>
                <a:lnTo>
                  <a:pt x="10160" y="89"/>
                </a:lnTo>
                <a:lnTo>
                  <a:pt x="10160" y="87"/>
                </a:lnTo>
                <a:close/>
                <a:moveTo>
                  <a:pt x="10213" y="1395"/>
                </a:moveTo>
                <a:lnTo>
                  <a:pt x="10211" y="1400"/>
                </a:lnTo>
                <a:lnTo>
                  <a:pt x="10209" y="1401"/>
                </a:lnTo>
                <a:lnTo>
                  <a:pt x="10211" y="1399"/>
                </a:lnTo>
                <a:lnTo>
                  <a:pt x="10213" y="1395"/>
                </a:lnTo>
                <a:lnTo>
                  <a:pt x="10217" y="1396"/>
                </a:lnTo>
                <a:lnTo>
                  <a:pt x="10217" y="1399"/>
                </a:lnTo>
                <a:lnTo>
                  <a:pt x="10217" y="1403"/>
                </a:lnTo>
                <a:lnTo>
                  <a:pt x="10216" y="1405"/>
                </a:lnTo>
                <a:lnTo>
                  <a:pt x="10214" y="1407"/>
                </a:lnTo>
                <a:lnTo>
                  <a:pt x="10213" y="1407"/>
                </a:lnTo>
                <a:lnTo>
                  <a:pt x="10213" y="1403"/>
                </a:lnTo>
                <a:lnTo>
                  <a:pt x="10213" y="1395"/>
                </a:lnTo>
                <a:close/>
                <a:moveTo>
                  <a:pt x="10339" y="962"/>
                </a:moveTo>
                <a:lnTo>
                  <a:pt x="10343" y="962"/>
                </a:lnTo>
                <a:lnTo>
                  <a:pt x="10347" y="964"/>
                </a:lnTo>
                <a:lnTo>
                  <a:pt x="10348" y="966"/>
                </a:lnTo>
                <a:lnTo>
                  <a:pt x="10347" y="971"/>
                </a:lnTo>
                <a:lnTo>
                  <a:pt x="10342" y="971"/>
                </a:lnTo>
                <a:lnTo>
                  <a:pt x="10339" y="970"/>
                </a:lnTo>
                <a:lnTo>
                  <a:pt x="10338" y="969"/>
                </a:lnTo>
                <a:lnTo>
                  <a:pt x="10338" y="967"/>
                </a:lnTo>
                <a:lnTo>
                  <a:pt x="10338" y="965"/>
                </a:lnTo>
                <a:lnTo>
                  <a:pt x="10339" y="962"/>
                </a:lnTo>
                <a:close/>
                <a:moveTo>
                  <a:pt x="10367" y="976"/>
                </a:moveTo>
                <a:lnTo>
                  <a:pt x="10395" y="978"/>
                </a:lnTo>
                <a:lnTo>
                  <a:pt x="10411" y="983"/>
                </a:lnTo>
                <a:lnTo>
                  <a:pt x="10416" y="992"/>
                </a:lnTo>
                <a:lnTo>
                  <a:pt x="10413" y="999"/>
                </a:lnTo>
                <a:lnTo>
                  <a:pt x="10403" y="1007"/>
                </a:lnTo>
                <a:lnTo>
                  <a:pt x="10389" y="1011"/>
                </a:lnTo>
                <a:lnTo>
                  <a:pt x="10371" y="1009"/>
                </a:lnTo>
                <a:lnTo>
                  <a:pt x="10351" y="1000"/>
                </a:lnTo>
                <a:lnTo>
                  <a:pt x="10360" y="999"/>
                </a:lnTo>
                <a:lnTo>
                  <a:pt x="10366" y="999"/>
                </a:lnTo>
                <a:lnTo>
                  <a:pt x="10372" y="998"/>
                </a:lnTo>
                <a:lnTo>
                  <a:pt x="10376" y="995"/>
                </a:lnTo>
                <a:lnTo>
                  <a:pt x="10377" y="993"/>
                </a:lnTo>
                <a:lnTo>
                  <a:pt x="10376" y="989"/>
                </a:lnTo>
                <a:lnTo>
                  <a:pt x="10374" y="984"/>
                </a:lnTo>
                <a:lnTo>
                  <a:pt x="10367" y="976"/>
                </a:lnTo>
                <a:close/>
                <a:moveTo>
                  <a:pt x="10412" y="923"/>
                </a:moveTo>
                <a:lnTo>
                  <a:pt x="10421" y="924"/>
                </a:lnTo>
                <a:lnTo>
                  <a:pt x="10427" y="929"/>
                </a:lnTo>
                <a:lnTo>
                  <a:pt x="10430" y="934"/>
                </a:lnTo>
                <a:lnTo>
                  <a:pt x="10430" y="942"/>
                </a:lnTo>
                <a:lnTo>
                  <a:pt x="10427" y="948"/>
                </a:lnTo>
                <a:lnTo>
                  <a:pt x="10422" y="952"/>
                </a:lnTo>
                <a:lnTo>
                  <a:pt x="10414" y="955"/>
                </a:lnTo>
                <a:lnTo>
                  <a:pt x="10404" y="955"/>
                </a:lnTo>
                <a:lnTo>
                  <a:pt x="10402" y="944"/>
                </a:lnTo>
                <a:lnTo>
                  <a:pt x="10395" y="938"/>
                </a:lnTo>
                <a:lnTo>
                  <a:pt x="10388" y="934"/>
                </a:lnTo>
                <a:lnTo>
                  <a:pt x="10380" y="932"/>
                </a:lnTo>
                <a:lnTo>
                  <a:pt x="10376" y="930"/>
                </a:lnTo>
                <a:lnTo>
                  <a:pt x="10379" y="929"/>
                </a:lnTo>
                <a:lnTo>
                  <a:pt x="10389" y="927"/>
                </a:lnTo>
                <a:lnTo>
                  <a:pt x="10412" y="923"/>
                </a:lnTo>
                <a:close/>
                <a:moveTo>
                  <a:pt x="10412" y="900"/>
                </a:moveTo>
                <a:lnTo>
                  <a:pt x="10417" y="900"/>
                </a:lnTo>
                <a:lnTo>
                  <a:pt x="10418" y="901"/>
                </a:lnTo>
                <a:lnTo>
                  <a:pt x="10419" y="905"/>
                </a:lnTo>
                <a:lnTo>
                  <a:pt x="10417" y="909"/>
                </a:lnTo>
                <a:lnTo>
                  <a:pt x="10413" y="908"/>
                </a:lnTo>
                <a:lnTo>
                  <a:pt x="10411" y="905"/>
                </a:lnTo>
                <a:lnTo>
                  <a:pt x="10411" y="902"/>
                </a:lnTo>
                <a:lnTo>
                  <a:pt x="10412" y="900"/>
                </a:lnTo>
                <a:close/>
                <a:moveTo>
                  <a:pt x="10447" y="3245"/>
                </a:moveTo>
                <a:lnTo>
                  <a:pt x="10447" y="3255"/>
                </a:lnTo>
                <a:lnTo>
                  <a:pt x="10444" y="3262"/>
                </a:lnTo>
                <a:lnTo>
                  <a:pt x="10439" y="3270"/>
                </a:lnTo>
                <a:lnTo>
                  <a:pt x="10432" y="3276"/>
                </a:lnTo>
                <a:lnTo>
                  <a:pt x="10416" y="3289"/>
                </a:lnTo>
                <a:lnTo>
                  <a:pt x="10402" y="3302"/>
                </a:lnTo>
                <a:lnTo>
                  <a:pt x="10399" y="3292"/>
                </a:lnTo>
                <a:lnTo>
                  <a:pt x="10400" y="3282"/>
                </a:lnTo>
                <a:lnTo>
                  <a:pt x="10404" y="3273"/>
                </a:lnTo>
                <a:lnTo>
                  <a:pt x="10411" y="3264"/>
                </a:lnTo>
                <a:lnTo>
                  <a:pt x="10418" y="3257"/>
                </a:lnTo>
                <a:lnTo>
                  <a:pt x="10427" y="3251"/>
                </a:lnTo>
                <a:lnTo>
                  <a:pt x="10437" y="3247"/>
                </a:lnTo>
                <a:lnTo>
                  <a:pt x="10447" y="3245"/>
                </a:lnTo>
                <a:close/>
                <a:moveTo>
                  <a:pt x="10449" y="1057"/>
                </a:moveTo>
                <a:lnTo>
                  <a:pt x="10450" y="1060"/>
                </a:lnTo>
                <a:lnTo>
                  <a:pt x="10450" y="1063"/>
                </a:lnTo>
                <a:lnTo>
                  <a:pt x="10449" y="1065"/>
                </a:lnTo>
                <a:lnTo>
                  <a:pt x="10445" y="1065"/>
                </a:lnTo>
                <a:lnTo>
                  <a:pt x="10445" y="1062"/>
                </a:lnTo>
                <a:lnTo>
                  <a:pt x="10445" y="1059"/>
                </a:lnTo>
                <a:lnTo>
                  <a:pt x="10446" y="1057"/>
                </a:lnTo>
                <a:lnTo>
                  <a:pt x="10449" y="1057"/>
                </a:lnTo>
                <a:close/>
                <a:moveTo>
                  <a:pt x="10468" y="952"/>
                </a:moveTo>
                <a:lnTo>
                  <a:pt x="10461" y="972"/>
                </a:lnTo>
                <a:lnTo>
                  <a:pt x="10455" y="990"/>
                </a:lnTo>
                <a:lnTo>
                  <a:pt x="10451" y="984"/>
                </a:lnTo>
                <a:lnTo>
                  <a:pt x="10449" y="979"/>
                </a:lnTo>
                <a:lnTo>
                  <a:pt x="10447" y="975"/>
                </a:lnTo>
                <a:lnTo>
                  <a:pt x="10447" y="972"/>
                </a:lnTo>
                <a:lnTo>
                  <a:pt x="10450" y="969"/>
                </a:lnTo>
                <a:lnTo>
                  <a:pt x="10454" y="965"/>
                </a:lnTo>
                <a:lnTo>
                  <a:pt x="10459" y="960"/>
                </a:lnTo>
                <a:lnTo>
                  <a:pt x="10468" y="952"/>
                </a:lnTo>
                <a:close/>
                <a:moveTo>
                  <a:pt x="10474" y="3317"/>
                </a:moveTo>
                <a:lnTo>
                  <a:pt x="10469" y="3317"/>
                </a:lnTo>
                <a:lnTo>
                  <a:pt x="10467" y="3315"/>
                </a:lnTo>
                <a:lnTo>
                  <a:pt x="10464" y="3312"/>
                </a:lnTo>
                <a:lnTo>
                  <a:pt x="10464" y="3307"/>
                </a:lnTo>
                <a:lnTo>
                  <a:pt x="10467" y="3307"/>
                </a:lnTo>
                <a:lnTo>
                  <a:pt x="10469" y="3307"/>
                </a:lnTo>
                <a:lnTo>
                  <a:pt x="10470" y="3307"/>
                </a:lnTo>
                <a:lnTo>
                  <a:pt x="10472" y="3308"/>
                </a:lnTo>
                <a:lnTo>
                  <a:pt x="10473" y="3312"/>
                </a:lnTo>
                <a:lnTo>
                  <a:pt x="10474" y="3317"/>
                </a:lnTo>
                <a:close/>
                <a:moveTo>
                  <a:pt x="10475" y="1109"/>
                </a:moveTo>
                <a:lnTo>
                  <a:pt x="10479" y="1107"/>
                </a:lnTo>
                <a:lnTo>
                  <a:pt x="10486" y="1109"/>
                </a:lnTo>
                <a:lnTo>
                  <a:pt x="10483" y="1114"/>
                </a:lnTo>
                <a:lnTo>
                  <a:pt x="10481" y="1118"/>
                </a:lnTo>
                <a:lnTo>
                  <a:pt x="10478" y="1119"/>
                </a:lnTo>
                <a:lnTo>
                  <a:pt x="10475" y="1120"/>
                </a:lnTo>
                <a:lnTo>
                  <a:pt x="10473" y="1119"/>
                </a:lnTo>
                <a:lnTo>
                  <a:pt x="10473" y="1116"/>
                </a:lnTo>
                <a:lnTo>
                  <a:pt x="10473" y="1113"/>
                </a:lnTo>
                <a:lnTo>
                  <a:pt x="10475" y="1109"/>
                </a:lnTo>
                <a:close/>
                <a:moveTo>
                  <a:pt x="10504" y="1078"/>
                </a:moveTo>
                <a:lnTo>
                  <a:pt x="10504" y="1081"/>
                </a:lnTo>
                <a:lnTo>
                  <a:pt x="10504" y="1083"/>
                </a:lnTo>
                <a:lnTo>
                  <a:pt x="10502" y="1085"/>
                </a:lnTo>
                <a:lnTo>
                  <a:pt x="10500" y="1085"/>
                </a:lnTo>
                <a:lnTo>
                  <a:pt x="10498" y="1082"/>
                </a:lnTo>
                <a:lnTo>
                  <a:pt x="10497" y="1079"/>
                </a:lnTo>
                <a:lnTo>
                  <a:pt x="10497" y="1077"/>
                </a:lnTo>
                <a:lnTo>
                  <a:pt x="10498" y="1076"/>
                </a:lnTo>
                <a:lnTo>
                  <a:pt x="10500" y="1076"/>
                </a:lnTo>
                <a:lnTo>
                  <a:pt x="10504" y="1078"/>
                </a:lnTo>
                <a:close/>
                <a:moveTo>
                  <a:pt x="10454" y="3312"/>
                </a:moveTo>
                <a:lnTo>
                  <a:pt x="10458" y="3311"/>
                </a:lnTo>
                <a:lnTo>
                  <a:pt x="10454" y="3312"/>
                </a:lnTo>
                <a:lnTo>
                  <a:pt x="10455" y="3310"/>
                </a:lnTo>
                <a:lnTo>
                  <a:pt x="10454" y="3312"/>
                </a:lnTo>
                <a:close/>
                <a:moveTo>
                  <a:pt x="10446" y="3296"/>
                </a:moveTo>
                <a:lnTo>
                  <a:pt x="10453" y="3296"/>
                </a:lnTo>
                <a:lnTo>
                  <a:pt x="10458" y="3296"/>
                </a:lnTo>
                <a:lnTo>
                  <a:pt x="10454" y="3301"/>
                </a:lnTo>
                <a:lnTo>
                  <a:pt x="10450" y="3304"/>
                </a:lnTo>
                <a:lnTo>
                  <a:pt x="10449" y="3304"/>
                </a:lnTo>
                <a:lnTo>
                  <a:pt x="10447" y="3303"/>
                </a:lnTo>
                <a:lnTo>
                  <a:pt x="10446" y="3301"/>
                </a:lnTo>
                <a:lnTo>
                  <a:pt x="10446" y="3296"/>
                </a:lnTo>
                <a:close/>
                <a:moveTo>
                  <a:pt x="10419" y="1028"/>
                </a:moveTo>
                <a:lnTo>
                  <a:pt x="10417" y="1045"/>
                </a:lnTo>
                <a:lnTo>
                  <a:pt x="10416" y="1060"/>
                </a:lnTo>
                <a:lnTo>
                  <a:pt x="10408" y="1059"/>
                </a:lnTo>
                <a:lnTo>
                  <a:pt x="10403" y="1057"/>
                </a:lnTo>
                <a:lnTo>
                  <a:pt x="10399" y="1055"/>
                </a:lnTo>
                <a:lnTo>
                  <a:pt x="10399" y="1053"/>
                </a:lnTo>
                <a:lnTo>
                  <a:pt x="10400" y="1049"/>
                </a:lnTo>
                <a:lnTo>
                  <a:pt x="10404" y="1044"/>
                </a:lnTo>
                <a:lnTo>
                  <a:pt x="10411" y="1037"/>
                </a:lnTo>
                <a:lnTo>
                  <a:pt x="10419" y="1028"/>
                </a:lnTo>
                <a:close/>
                <a:moveTo>
                  <a:pt x="10388" y="1142"/>
                </a:moveTo>
                <a:lnTo>
                  <a:pt x="10391" y="1137"/>
                </a:lnTo>
                <a:lnTo>
                  <a:pt x="10395" y="1132"/>
                </a:lnTo>
                <a:lnTo>
                  <a:pt x="10397" y="1129"/>
                </a:lnTo>
                <a:lnTo>
                  <a:pt x="10399" y="1128"/>
                </a:lnTo>
                <a:lnTo>
                  <a:pt x="10402" y="1128"/>
                </a:lnTo>
                <a:lnTo>
                  <a:pt x="10404" y="1130"/>
                </a:lnTo>
                <a:lnTo>
                  <a:pt x="10400" y="1138"/>
                </a:lnTo>
                <a:lnTo>
                  <a:pt x="10397" y="1146"/>
                </a:lnTo>
                <a:lnTo>
                  <a:pt x="10394" y="1148"/>
                </a:lnTo>
                <a:lnTo>
                  <a:pt x="10391" y="1149"/>
                </a:lnTo>
                <a:lnTo>
                  <a:pt x="10390" y="1147"/>
                </a:lnTo>
                <a:lnTo>
                  <a:pt x="10388" y="1142"/>
                </a:lnTo>
                <a:close/>
                <a:moveTo>
                  <a:pt x="10384" y="1121"/>
                </a:moveTo>
                <a:lnTo>
                  <a:pt x="10381" y="1119"/>
                </a:lnTo>
                <a:lnTo>
                  <a:pt x="10379" y="1118"/>
                </a:lnTo>
                <a:lnTo>
                  <a:pt x="10377" y="1115"/>
                </a:lnTo>
                <a:lnTo>
                  <a:pt x="10380" y="1113"/>
                </a:lnTo>
                <a:lnTo>
                  <a:pt x="10383" y="1114"/>
                </a:lnTo>
                <a:lnTo>
                  <a:pt x="10385" y="1115"/>
                </a:lnTo>
                <a:lnTo>
                  <a:pt x="10385" y="1118"/>
                </a:lnTo>
                <a:lnTo>
                  <a:pt x="10384" y="1121"/>
                </a:lnTo>
                <a:close/>
                <a:moveTo>
                  <a:pt x="10544" y="3217"/>
                </a:moveTo>
                <a:lnTo>
                  <a:pt x="10547" y="3217"/>
                </a:lnTo>
                <a:lnTo>
                  <a:pt x="10548" y="3218"/>
                </a:lnTo>
                <a:lnTo>
                  <a:pt x="10549" y="3220"/>
                </a:lnTo>
                <a:lnTo>
                  <a:pt x="10549" y="3223"/>
                </a:lnTo>
                <a:lnTo>
                  <a:pt x="10548" y="3226"/>
                </a:lnTo>
                <a:lnTo>
                  <a:pt x="10547" y="3228"/>
                </a:lnTo>
                <a:lnTo>
                  <a:pt x="10546" y="3229"/>
                </a:lnTo>
                <a:lnTo>
                  <a:pt x="10543" y="3229"/>
                </a:lnTo>
                <a:lnTo>
                  <a:pt x="10543" y="3226"/>
                </a:lnTo>
                <a:lnTo>
                  <a:pt x="10542" y="3222"/>
                </a:lnTo>
                <a:lnTo>
                  <a:pt x="10542" y="3218"/>
                </a:lnTo>
                <a:lnTo>
                  <a:pt x="10544" y="3217"/>
                </a:lnTo>
                <a:close/>
                <a:moveTo>
                  <a:pt x="10596" y="3212"/>
                </a:moveTo>
                <a:lnTo>
                  <a:pt x="10594" y="3215"/>
                </a:lnTo>
                <a:lnTo>
                  <a:pt x="10596" y="3212"/>
                </a:lnTo>
                <a:lnTo>
                  <a:pt x="10600" y="3213"/>
                </a:lnTo>
                <a:lnTo>
                  <a:pt x="10600" y="3215"/>
                </a:lnTo>
                <a:lnTo>
                  <a:pt x="10600" y="3217"/>
                </a:lnTo>
                <a:lnTo>
                  <a:pt x="10600" y="3219"/>
                </a:lnTo>
                <a:lnTo>
                  <a:pt x="10599" y="3219"/>
                </a:lnTo>
                <a:lnTo>
                  <a:pt x="10598" y="3219"/>
                </a:lnTo>
                <a:lnTo>
                  <a:pt x="10596" y="3217"/>
                </a:lnTo>
                <a:lnTo>
                  <a:pt x="10596" y="3212"/>
                </a:lnTo>
                <a:close/>
                <a:moveTo>
                  <a:pt x="10650" y="3212"/>
                </a:moveTo>
                <a:lnTo>
                  <a:pt x="10650" y="3219"/>
                </a:lnTo>
                <a:lnTo>
                  <a:pt x="10647" y="3226"/>
                </a:lnTo>
                <a:lnTo>
                  <a:pt x="10644" y="3231"/>
                </a:lnTo>
                <a:lnTo>
                  <a:pt x="10637" y="3234"/>
                </a:lnTo>
                <a:lnTo>
                  <a:pt x="10631" y="3237"/>
                </a:lnTo>
                <a:lnTo>
                  <a:pt x="10623" y="3238"/>
                </a:lnTo>
                <a:lnTo>
                  <a:pt x="10614" y="3237"/>
                </a:lnTo>
                <a:lnTo>
                  <a:pt x="10608" y="3234"/>
                </a:lnTo>
                <a:lnTo>
                  <a:pt x="10617" y="3228"/>
                </a:lnTo>
                <a:lnTo>
                  <a:pt x="10627" y="3223"/>
                </a:lnTo>
                <a:lnTo>
                  <a:pt x="10637" y="3218"/>
                </a:lnTo>
                <a:lnTo>
                  <a:pt x="10650" y="3212"/>
                </a:lnTo>
                <a:close/>
                <a:moveTo>
                  <a:pt x="10650" y="3355"/>
                </a:moveTo>
                <a:lnTo>
                  <a:pt x="10647" y="3354"/>
                </a:lnTo>
                <a:lnTo>
                  <a:pt x="10646" y="3352"/>
                </a:lnTo>
                <a:lnTo>
                  <a:pt x="10646" y="3349"/>
                </a:lnTo>
                <a:lnTo>
                  <a:pt x="10646" y="3346"/>
                </a:lnTo>
                <a:lnTo>
                  <a:pt x="10650" y="3349"/>
                </a:lnTo>
                <a:lnTo>
                  <a:pt x="10651" y="3350"/>
                </a:lnTo>
                <a:lnTo>
                  <a:pt x="10651" y="3353"/>
                </a:lnTo>
                <a:lnTo>
                  <a:pt x="10650" y="3355"/>
                </a:lnTo>
                <a:close/>
                <a:moveTo>
                  <a:pt x="10622" y="3321"/>
                </a:moveTo>
                <a:lnTo>
                  <a:pt x="10637" y="3301"/>
                </a:lnTo>
                <a:lnTo>
                  <a:pt x="10649" y="3284"/>
                </a:lnTo>
                <a:lnTo>
                  <a:pt x="10646" y="3294"/>
                </a:lnTo>
                <a:lnTo>
                  <a:pt x="10644" y="3306"/>
                </a:lnTo>
                <a:lnTo>
                  <a:pt x="10641" y="3311"/>
                </a:lnTo>
                <a:lnTo>
                  <a:pt x="10637" y="3315"/>
                </a:lnTo>
                <a:lnTo>
                  <a:pt x="10631" y="3318"/>
                </a:lnTo>
                <a:lnTo>
                  <a:pt x="10622" y="3321"/>
                </a:lnTo>
                <a:close/>
                <a:moveTo>
                  <a:pt x="10691" y="3366"/>
                </a:moveTo>
                <a:lnTo>
                  <a:pt x="10675" y="3353"/>
                </a:lnTo>
                <a:lnTo>
                  <a:pt x="10658" y="3338"/>
                </a:lnTo>
                <a:lnTo>
                  <a:pt x="10669" y="3338"/>
                </a:lnTo>
                <a:lnTo>
                  <a:pt x="10678" y="3338"/>
                </a:lnTo>
                <a:lnTo>
                  <a:pt x="10686" y="3339"/>
                </a:lnTo>
                <a:lnTo>
                  <a:pt x="10689" y="3341"/>
                </a:lnTo>
                <a:lnTo>
                  <a:pt x="10692" y="3345"/>
                </a:lnTo>
                <a:lnTo>
                  <a:pt x="10693" y="3350"/>
                </a:lnTo>
                <a:lnTo>
                  <a:pt x="10692" y="3357"/>
                </a:lnTo>
                <a:lnTo>
                  <a:pt x="10691" y="3366"/>
                </a:lnTo>
                <a:close/>
                <a:moveTo>
                  <a:pt x="10711" y="3296"/>
                </a:moveTo>
                <a:lnTo>
                  <a:pt x="10714" y="3299"/>
                </a:lnTo>
                <a:lnTo>
                  <a:pt x="10716" y="3304"/>
                </a:lnTo>
                <a:lnTo>
                  <a:pt x="10717" y="3310"/>
                </a:lnTo>
                <a:lnTo>
                  <a:pt x="10719" y="3315"/>
                </a:lnTo>
                <a:lnTo>
                  <a:pt x="10717" y="3324"/>
                </a:lnTo>
                <a:lnTo>
                  <a:pt x="10714" y="3334"/>
                </a:lnTo>
                <a:lnTo>
                  <a:pt x="10709" y="3331"/>
                </a:lnTo>
                <a:lnTo>
                  <a:pt x="10703" y="3327"/>
                </a:lnTo>
                <a:lnTo>
                  <a:pt x="10701" y="3325"/>
                </a:lnTo>
                <a:lnTo>
                  <a:pt x="10701" y="3322"/>
                </a:lnTo>
                <a:lnTo>
                  <a:pt x="10701" y="3317"/>
                </a:lnTo>
                <a:lnTo>
                  <a:pt x="10702" y="3312"/>
                </a:lnTo>
                <a:lnTo>
                  <a:pt x="10706" y="3304"/>
                </a:lnTo>
                <a:lnTo>
                  <a:pt x="10711" y="3296"/>
                </a:lnTo>
                <a:close/>
                <a:moveTo>
                  <a:pt x="10749" y="1132"/>
                </a:moveTo>
                <a:lnTo>
                  <a:pt x="10818" y="1190"/>
                </a:lnTo>
                <a:lnTo>
                  <a:pt x="10878" y="1219"/>
                </a:lnTo>
                <a:lnTo>
                  <a:pt x="10933" y="1225"/>
                </a:lnTo>
                <a:lnTo>
                  <a:pt x="10981" y="1212"/>
                </a:lnTo>
                <a:lnTo>
                  <a:pt x="11026" y="1186"/>
                </a:lnTo>
                <a:lnTo>
                  <a:pt x="11066" y="1152"/>
                </a:lnTo>
                <a:lnTo>
                  <a:pt x="11107" y="1115"/>
                </a:lnTo>
                <a:lnTo>
                  <a:pt x="11149" y="1079"/>
                </a:lnTo>
                <a:lnTo>
                  <a:pt x="11167" y="1064"/>
                </a:lnTo>
                <a:lnTo>
                  <a:pt x="11184" y="1058"/>
                </a:lnTo>
                <a:lnTo>
                  <a:pt x="11198" y="1058"/>
                </a:lnTo>
                <a:lnTo>
                  <a:pt x="11213" y="1064"/>
                </a:lnTo>
                <a:lnTo>
                  <a:pt x="11228" y="1071"/>
                </a:lnTo>
                <a:lnTo>
                  <a:pt x="11245" y="1076"/>
                </a:lnTo>
                <a:lnTo>
                  <a:pt x="11263" y="1077"/>
                </a:lnTo>
                <a:lnTo>
                  <a:pt x="11283" y="1071"/>
                </a:lnTo>
                <a:lnTo>
                  <a:pt x="11317" y="1041"/>
                </a:lnTo>
                <a:lnTo>
                  <a:pt x="11345" y="1031"/>
                </a:lnTo>
                <a:lnTo>
                  <a:pt x="11364" y="1036"/>
                </a:lnTo>
                <a:lnTo>
                  <a:pt x="11373" y="1053"/>
                </a:lnTo>
                <a:lnTo>
                  <a:pt x="11368" y="1076"/>
                </a:lnTo>
                <a:lnTo>
                  <a:pt x="11348" y="1104"/>
                </a:lnTo>
                <a:lnTo>
                  <a:pt x="11311" y="1130"/>
                </a:lnTo>
                <a:lnTo>
                  <a:pt x="11252" y="1153"/>
                </a:lnTo>
                <a:lnTo>
                  <a:pt x="11198" y="1219"/>
                </a:lnTo>
                <a:lnTo>
                  <a:pt x="11119" y="1261"/>
                </a:lnTo>
                <a:lnTo>
                  <a:pt x="11026" y="1279"/>
                </a:lnTo>
                <a:lnTo>
                  <a:pt x="10930" y="1279"/>
                </a:lnTo>
                <a:lnTo>
                  <a:pt x="10844" y="1260"/>
                </a:lnTo>
                <a:lnTo>
                  <a:pt x="10777" y="1228"/>
                </a:lnTo>
                <a:lnTo>
                  <a:pt x="10742" y="1185"/>
                </a:lnTo>
                <a:lnTo>
                  <a:pt x="10749" y="1132"/>
                </a:lnTo>
                <a:close/>
                <a:moveTo>
                  <a:pt x="11428" y="2914"/>
                </a:moveTo>
                <a:lnTo>
                  <a:pt x="11432" y="2925"/>
                </a:lnTo>
                <a:lnTo>
                  <a:pt x="11433" y="2934"/>
                </a:lnTo>
                <a:lnTo>
                  <a:pt x="11433" y="2940"/>
                </a:lnTo>
                <a:lnTo>
                  <a:pt x="11429" y="2946"/>
                </a:lnTo>
                <a:lnTo>
                  <a:pt x="11424" y="2947"/>
                </a:lnTo>
                <a:lnTo>
                  <a:pt x="11418" y="2948"/>
                </a:lnTo>
                <a:lnTo>
                  <a:pt x="11408" y="2948"/>
                </a:lnTo>
                <a:lnTo>
                  <a:pt x="11398" y="2947"/>
                </a:lnTo>
                <a:lnTo>
                  <a:pt x="11398" y="2939"/>
                </a:lnTo>
                <a:lnTo>
                  <a:pt x="11399" y="2934"/>
                </a:lnTo>
                <a:lnTo>
                  <a:pt x="11401" y="2929"/>
                </a:lnTo>
                <a:lnTo>
                  <a:pt x="11405" y="2925"/>
                </a:lnTo>
                <a:lnTo>
                  <a:pt x="11415" y="2919"/>
                </a:lnTo>
                <a:lnTo>
                  <a:pt x="11428" y="2914"/>
                </a:lnTo>
                <a:close/>
                <a:moveTo>
                  <a:pt x="11440" y="3022"/>
                </a:moveTo>
                <a:lnTo>
                  <a:pt x="11436" y="3027"/>
                </a:lnTo>
                <a:lnTo>
                  <a:pt x="11429" y="3033"/>
                </a:lnTo>
                <a:lnTo>
                  <a:pt x="11429" y="3030"/>
                </a:lnTo>
                <a:lnTo>
                  <a:pt x="11429" y="3027"/>
                </a:lnTo>
                <a:lnTo>
                  <a:pt x="11429" y="3024"/>
                </a:lnTo>
                <a:lnTo>
                  <a:pt x="11431" y="3023"/>
                </a:lnTo>
                <a:lnTo>
                  <a:pt x="11434" y="3022"/>
                </a:lnTo>
                <a:lnTo>
                  <a:pt x="11440" y="3022"/>
                </a:lnTo>
                <a:close/>
                <a:moveTo>
                  <a:pt x="11511" y="2900"/>
                </a:moveTo>
                <a:lnTo>
                  <a:pt x="11539" y="2916"/>
                </a:lnTo>
                <a:lnTo>
                  <a:pt x="11559" y="2932"/>
                </a:lnTo>
                <a:lnTo>
                  <a:pt x="11571" y="2943"/>
                </a:lnTo>
                <a:lnTo>
                  <a:pt x="11573" y="2953"/>
                </a:lnTo>
                <a:lnTo>
                  <a:pt x="11567" y="2960"/>
                </a:lnTo>
                <a:lnTo>
                  <a:pt x="11553" y="2962"/>
                </a:lnTo>
                <a:lnTo>
                  <a:pt x="11529" y="2961"/>
                </a:lnTo>
                <a:lnTo>
                  <a:pt x="11497" y="2954"/>
                </a:lnTo>
                <a:lnTo>
                  <a:pt x="11480" y="2930"/>
                </a:lnTo>
                <a:lnTo>
                  <a:pt x="11470" y="2918"/>
                </a:lnTo>
                <a:lnTo>
                  <a:pt x="11462" y="2912"/>
                </a:lnTo>
                <a:lnTo>
                  <a:pt x="11461" y="2911"/>
                </a:lnTo>
                <a:lnTo>
                  <a:pt x="11464" y="2912"/>
                </a:lnTo>
                <a:lnTo>
                  <a:pt x="11473" y="2912"/>
                </a:lnTo>
                <a:lnTo>
                  <a:pt x="11489" y="2910"/>
                </a:lnTo>
                <a:lnTo>
                  <a:pt x="11511" y="2900"/>
                </a:lnTo>
                <a:close/>
                <a:moveTo>
                  <a:pt x="11538" y="3021"/>
                </a:moveTo>
                <a:lnTo>
                  <a:pt x="11547" y="3022"/>
                </a:lnTo>
                <a:lnTo>
                  <a:pt x="11555" y="3021"/>
                </a:lnTo>
                <a:lnTo>
                  <a:pt x="11561" y="3019"/>
                </a:lnTo>
                <a:lnTo>
                  <a:pt x="11564" y="3019"/>
                </a:lnTo>
                <a:lnTo>
                  <a:pt x="11567" y="3021"/>
                </a:lnTo>
                <a:lnTo>
                  <a:pt x="11571" y="3022"/>
                </a:lnTo>
                <a:lnTo>
                  <a:pt x="11569" y="3027"/>
                </a:lnTo>
                <a:lnTo>
                  <a:pt x="11567" y="3030"/>
                </a:lnTo>
                <a:lnTo>
                  <a:pt x="11562" y="3032"/>
                </a:lnTo>
                <a:lnTo>
                  <a:pt x="11555" y="3032"/>
                </a:lnTo>
                <a:lnTo>
                  <a:pt x="11549" y="3031"/>
                </a:lnTo>
                <a:lnTo>
                  <a:pt x="11544" y="3030"/>
                </a:lnTo>
                <a:lnTo>
                  <a:pt x="11540" y="3026"/>
                </a:lnTo>
                <a:lnTo>
                  <a:pt x="11538" y="3021"/>
                </a:lnTo>
                <a:close/>
                <a:moveTo>
                  <a:pt x="11554" y="3089"/>
                </a:moveTo>
                <a:lnTo>
                  <a:pt x="11548" y="3101"/>
                </a:lnTo>
                <a:lnTo>
                  <a:pt x="11547" y="3103"/>
                </a:lnTo>
                <a:lnTo>
                  <a:pt x="11549" y="3098"/>
                </a:lnTo>
                <a:lnTo>
                  <a:pt x="11554" y="3089"/>
                </a:lnTo>
                <a:lnTo>
                  <a:pt x="11555" y="3092"/>
                </a:lnTo>
                <a:lnTo>
                  <a:pt x="11557" y="3097"/>
                </a:lnTo>
                <a:lnTo>
                  <a:pt x="11555" y="3102"/>
                </a:lnTo>
                <a:lnTo>
                  <a:pt x="11554" y="3107"/>
                </a:lnTo>
                <a:lnTo>
                  <a:pt x="11552" y="3110"/>
                </a:lnTo>
                <a:lnTo>
                  <a:pt x="11550" y="3108"/>
                </a:lnTo>
                <a:lnTo>
                  <a:pt x="11552" y="3102"/>
                </a:lnTo>
                <a:lnTo>
                  <a:pt x="11554" y="3089"/>
                </a:lnTo>
                <a:close/>
                <a:moveTo>
                  <a:pt x="11349" y="3084"/>
                </a:moveTo>
                <a:lnTo>
                  <a:pt x="11349" y="3084"/>
                </a:lnTo>
                <a:lnTo>
                  <a:pt x="11349" y="3084"/>
                </a:lnTo>
                <a:lnTo>
                  <a:pt x="11349" y="3084"/>
                </a:lnTo>
                <a:lnTo>
                  <a:pt x="11349" y="3084"/>
                </a:lnTo>
                <a:close/>
                <a:moveTo>
                  <a:pt x="11400" y="3078"/>
                </a:moveTo>
                <a:lnTo>
                  <a:pt x="11391" y="3079"/>
                </a:lnTo>
                <a:lnTo>
                  <a:pt x="11381" y="3083"/>
                </a:lnTo>
                <a:lnTo>
                  <a:pt x="11376" y="3083"/>
                </a:lnTo>
                <a:lnTo>
                  <a:pt x="11371" y="3083"/>
                </a:lnTo>
                <a:lnTo>
                  <a:pt x="11367" y="3082"/>
                </a:lnTo>
                <a:lnTo>
                  <a:pt x="11364" y="3079"/>
                </a:lnTo>
                <a:lnTo>
                  <a:pt x="11377" y="3077"/>
                </a:lnTo>
                <a:lnTo>
                  <a:pt x="11394" y="3073"/>
                </a:lnTo>
                <a:lnTo>
                  <a:pt x="11400" y="3072"/>
                </a:lnTo>
                <a:lnTo>
                  <a:pt x="11404" y="3072"/>
                </a:lnTo>
                <a:lnTo>
                  <a:pt x="11404" y="3073"/>
                </a:lnTo>
                <a:lnTo>
                  <a:pt x="11400" y="3078"/>
                </a:lnTo>
                <a:close/>
                <a:moveTo>
                  <a:pt x="11498" y="3021"/>
                </a:moveTo>
                <a:lnTo>
                  <a:pt x="11506" y="3021"/>
                </a:lnTo>
                <a:lnTo>
                  <a:pt x="11512" y="3022"/>
                </a:lnTo>
                <a:lnTo>
                  <a:pt x="11515" y="3024"/>
                </a:lnTo>
                <a:lnTo>
                  <a:pt x="11516" y="3027"/>
                </a:lnTo>
                <a:lnTo>
                  <a:pt x="11513" y="3030"/>
                </a:lnTo>
                <a:lnTo>
                  <a:pt x="11510" y="3032"/>
                </a:lnTo>
                <a:lnTo>
                  <a:pt x="11504" y="3032"/>
                </a:lnTo>
                <a:lnTo>
                  <a:pt x="11497" y="3031"/>
                </a:lnTo>
                <a:lnTo>
                  <a:pt x="11496" y="3027"/>
                </a:lnTo>
                <a:lnTo>
                  <a:pt x="11498" y="3021"/>
                </a:lnTo>
                <a:close/>
                <a:moveTo>
                  <a:pt x="11443" y="3120"/>
                </a:moveTo>
                <a:lnTo>
                  <a:pt x="11473" y="3105"/>
                </a:lnTo>
                <a:lnTo>
                  <a:pt x="11494" y="3102"/>
                </a:lnTo>
                <a:lnTo>
                  <a:pt x="11507" y="3108"/>
                </a:lnTo>
                <a:lnTo>
                  <a:pt x="11511" y="3120"/>
                </a:lnTo>
                <a:lnTo>
                  <a:pt x="11506" y="3133"/>
                </a:lnTo>
                <a:lnTo>
                  <a:pt x="11492" y="3143"/>
                </a:lnTo>
                <a:lnTo>
                  <a:pt x="11466" y="3147"/>
                </a:lnTo>
                <a:lnTo>
                  <a:pt x="11432" y="3140"/>
                </a:lnTo>
                <a:lnTo>
                  <a:pt x="11391" y="3148"/>
                </a:lnTo>
                <a:lnTo>
                  <a:pt x="11369" y="3145"/>
                </a:lnTo>
                <a:lnTo>
                  <a:pt x="11364" y="3138"/>
                </a:lnTo>
                <a:lnTo>
                  <a:pt x="11371" y="3128"/>
                </a:lnTo>
                <a:lnTo>
                  <a:pt x="11386" y="3117"/>
                </a:lnTo>
                <a:lnTo>
                  <a:pt x="11406" y="3111"/>
                </a:lnTo>
                <a:lnTo>
                  <a:pt x="11427" y="3111"/>
                </a:lnTo>
                <a:lnTo>
                  <a:pt x="11443" y="3120"/>
                </a:lnTo>
                <a:close/>
                <a:moveTo>
                  <a:pt x="11378" y="3032"/>
                </a:moveTo>
                <a:lnTo>
                  <a:pt x="11381" y="3046"/>
                </a:lnTo>
                <a:lnTo>
                  <a:pt x="11369" y="3056"/>
                </a:lnTo>
                <a:lnTo>
                  <a:pt x="11349" y="3061"/>
                </a:lnTo>
                <a:lnTo>
                  <a:pt x="11326" y="3063"/>
                </a:lnTo>
                <a:lnTo>
                  <a:pt x="11307" y="3060"/>
                </a:lnTo>
                <a:lnTo>
                  <a:pt x="11297" y="3051"/>
                </a:lnTo>
                <a:lnTo>
                  <a:pt x="11302" y="3038"/>
                </a:lnTo>
                <a:lnTo>
                  <a:pt x="11327" y="3021"/>
                </a:lnTo>
                <a:lnTo>
                  <a:pt x="11334" y="3028"/>
                </a:lnTo>
                <a:lnTo>
                  <a:pt x="11340" y="3033"/>
                </a:lnTo>
                <a:lnTo>
                  <a:pt x="11347" y="3037"/>
                </a:lnTo>
                <a:lnTo>
                  <a:pt x="11353" y="3040"/>
                </a:lnTo>
                <a:lnTo>
                  <a:pt x="11359" y="3040"/>
                </a:lnTo>
                <a:lnTo>
                  <a:pt x="11366" y="3038"/>
                </a:lnTo>
                <a:lnTo>
                  <a:pt x="11372" y="3036"/>
                </a:lnTo>
                <a:lnTo>
                  <a:pt x="11378" y="3032"/>
                </a:lnTo>
                <a:close/>
                <a:moveTo>
                  <a:pt x="11383" y="3014"/>
                </a:moveTo>
                <a:lnTo>
                  <a:pt x="11382" y="3021"/>
                </a:lnTo>
                <a:lnTo>
                  <a:pt x="11383" y="3014"/>
                </a:lnTo>
                <a:lnTo>
                  <a:pt x="11387" y="3019"/>
                </a:lnTo>
                <a:lnTo>
                  <a:pt x="11383" y="3014"/>
                </a:lnTo>
                <a:close/>
                <a:moveTo>
                  <a:pt x="11371" y="2937"/>
                </a:moveTo>
                <a:lnTo>
                  <a:pt x="11368" y="2935"/>
                </a:lnTo>
                <a:lnTo>
                  <a:pt x="11367" y="2933"/>
                </a:lnTo>
                <a:lnTo>
                  <a:pt x="11367" y="2930"/>
                </a:lnTo>
                <a:lnTo>
                  <a:pt x="11367" y="2928"/>
                </a:lnTo>
                <a:lnTo>
                  <a:pt x="11369" y="2924"/>
                </a:lnTo>
                <a:lnTo>
                  <a:pt x="11371" y="2921"/>
                </a:lnTo>
                <a:lnTo>
                  <a:pt x="11373" y="2920"/>
                </a:lnTo>
                <a:lnTo>
                  <a:pt x="11377" y="2919"/>
                </a:lnTo>
                <a:lnTo>
                  <a:pt x="11378" y="2920"/>
                </a:lnTo>
                <a:lnTo>
                  <a:pt x="11378" y="2923"/>
                </a:lnTo>
                <a:lnTo>
                  <a:pt x="11378" y="2924"/>
                </a:lnTo>
                <a:lnTo>
                  <a:pt x="11377" y="2926"/>
                </a:lnTo>
                <a:lnTo>
                  <a:pt x="11373" y="2932"/>
                </a:lnTo>
                <a:lnTo>
                  <a:pt x="11371" y="2937"/>
                </a:lnTo>
                <a:close/>
                <a:moveTo>
                  <a:pt x="11189" y="3072"/>
                </a:moveTo>
                <a:lnTo>
                  <a:pt x="11191" y="3060"/>
                </a:lnTo>
                <a:lnTo>
                  <a:pt x="11195" y="3049"/>
                </a:lnTo>
                <a:lnTo>
                  <a:pt x="11196" y="3056"/>
                </a:lnTo>
                <a:lnTo>
                  <a:pt x="11198" y="3065"/>
                </a:lnTo>
                <a:lnTo>
                  <a:pt x="11198" y="3068"/>
                </a:lnTo>
                <a:lnTo>
                  <a:pt x="11196" y="3070"/>
                </a:lnTo>
                <a:lnTo>
                  <a:pt x="11192" y="3072"/>
                </a:lnTo>
                <a:lnTo>
                  <a:pt x="11189" y="3072"/>
                </a:lnTo>
                <a:close/>
                <a:moveTo>
                  <a:pt x="11173" y="2730"/>
                </a:moveTo>
                <a:lnTo>
                  <a:pt x="11175" y="2724"/>
                </a:lnTo>
                <a:lnTo>
                  <a:pt x="11177" y="2721"/>
                </a:lnTo>
                <a:lnTo>
                  <a:pt x="11180" y="2720"/>
                </a:lnTo>
                <a:lnTo>
                  <a:pt x="11184" y="2721"/>
                </a:lnTo>
                <a:lnTo>
                  <a:pt x="11185" y="2724"/>
                </a:lnTo>
                <a:lnTo>
                  <a:pt x="11186" y="2728"/>
                </a:lnTo>
                <a:lnTo>
                  <a:pt x="11186" y="2733"/>
                </a:lnTo>
                <a:lnTo>
                  <a:pt x="11184" y="2738"/>
                </a:lnTo>
                <a:lnTo>
                  <a:pt x="11177" y="2733"/>
                </a:lnTo>
                <a:lnTo>
                  <a:pt x="11173" y="2730"/>
                </a:lnTo>
                <a:close/>
                <a:moveTo>
                  <a:pt x="11122" y="2687"/>
                </a:moveTo>
                <a:lnTo>
                  <a:pt x="11130" y="2681"/>
                </a:lnTo>
                <a:lnTo>
                  <a:pt x="11136" y="2677"/>
                </a:lnTo>
                <a:lnTo>
                  <a:pt x="11142" y="2677"/>
                </a:lnTo>
                <a:lnTo>
                  <a:pt x="11145" y="2681"/>
                </a:lnTo>
                <a:lnTo>
                  <a:pt x="11148" y="2687"/>
                </a:lnTo>
                <a:lnTo>
                  <a:pt x="11150" y="2695"/>
                </a:lnTo>
                <a:lnTo>
                  <a:pt x="11152" y="2704"/>
                </a:lnTo>
                <a:lnTo>
                  <a:pt x="11153" y="2713"/>
                </a:lnTo>
                <a:lnTo>
                  <a:pt x="11136" y="2699"/>
                </a:lnTo>
                <a:lnTo>
                  <a:pt x="11122" y="2687"/>
                </a:lnTo>
                <a:close/>
                <a:moveTo>
                  <a:pt x="11589" y="3340"/>
                </a:moveTo>
                <a:lnTo>
                  <a:pt x="11549" y="3363"/>
                </a:lnTo>
                <a:lnTo>
                  <a:pt x="11506" y="3367"/>
                </a:lnTo>
                <a:lnTo>
                  <a:pt x="11459" y="3358"/>
                </a:lnTo>
                <a:lnTo>
                  <a:pt x="11409" y="3344"/>
                </a:lnTo>
                <a:lnTo>
                  <a:pt x="11354" y="3335"/>
                </a:lnTo>
                <a:lnTo>
                  <a:pt x="11297" y="3338"/>
                </a:lnTo>
                <a:lnTo>
                  <a:pt x="11234" y="3360"/>
                </a:lnTo>
                <a:lnTo>
                  <a:pt x="11167" y="3411"/>
                </a:lnTo>
                <a:lnTo>
                  <a:pt x="11189" y="3338"/>
                </a:lnTo>
                <a:lnTo>
                  <a:pt x="11189" y="3276"/>
                </a:lnTo>
                <a:lnTo>
                  <a:pt x="11173" y="3228"/>
                </a:lnTo>
                <a:lnTo>
                  <a:pt x="11153" y="3191"/>
                </a:lnTo>
                <a:lnTo>
                  <a:pt x="11131" y="3166"/>
                </a:lnTo>
                <a:lnTo>
                  <a:pt x="11117" y="3149"/>
                </a:lnTo>
                <a:lnTo>
                  <a:pt x="11119" y="3144"/>
                </a:lnTo>
                <a:lnTo>
                  <a:pt x="11142" y="3147"/>
                </a:lnTo>
                <a:lnTo>
                  <a:pt x="11164" y="3148"/>
                </a:lnTo>
                <a:lnTo>
                  <a:pt x="11182" y="3150"/>
                </a:lnTo>
                <a:lnTo>
                  <a:pt x="11195" y="3157"/>
                </a:lnTo>
                <a:lnTo>
                  <a:pt x="11205" y="3166"/>
                </a:lnTo>
                <a:lnTo>
                  <a:pt x="11214" y="3180"/>
                </a:lnTo>
                <a:lnTo>
                  <a:pt x="11220" y="3200"/>
                </a:lnTo>
                <a:lnTo>
                  <a:pt x="11228" y="3227"/>
                </a:lnTo>
                <a:lnTo>
                  <a:pt x="11236" y="3262"/>
                </a:lnTo>
                <a:lnTo>
                  <a:pt x="11298" y="3262"/>
                </a:lnTo>
                <a:lnTo>
                  <a:pt x="11350" y="3250"/>
                </a:lnTo>
                <a:lnTo>
                  <a:pt x="11396" y="3231"/>
                </a:lnTo>
                <a:lnTo>
                  <a:pt x="11436" y="3215"/>
                </a:lnTo>
                <a:lnTo>
                  <a:pt x="11473" y="3210"/>
                </a:lnTo>
                <a:lnTo>
                  <a:pt x="11510" y="3223"/>
                </a:lnTo>
                <a:lnTo>
                  <a:pt x="11548" y="3264"/>
                </a:lnTo>
                <a:lnTo>
                  <a:pt x="11589" y="3340"/>
                </a:lnTo>
                <a:close/>
                <a:moveTo>
                  <a:pt x="11615" y="4245"/>
                </a:moveTo>
                <a:lnTo>
                  <a:pt x="11645" y="4248"/>
                </a:lnTo>
                <a:lnTo>
                  <a:pt x="11656" y="4253"/>
                </a:lnTo>
                <a:lnTo>
                  <a:pt x="11653" y="4258"/>
                </a:lnTo>
                <a:lnTo>
                  <a:pt x="11641" y="4262"/>
                </a:lnTo>
                <a:lnTo>
                  <a:pt x="11622" y="4263"/>
                </a:lnTo>
                <a:lnTo>
                  <a:pt x="11599" y="4259"/>
                </a:lnTo>
                <a:lnTo>
                  <a:pt x="11578" y="4249"/>
                </a:lnTo>
                <a:lnTo>
                  <a:pt x="11562" y="4230"/>
                </a:lnTo>
                <a:lnTo>
                  <a:pt x="11541" y="4224"/>
                </a:lnTo>
                <a:lnTo>
                  <a:pt x="11535" y="4218"/>
                </a:lnTo>
                <a:lnTo>
                  <a:pt x="11539" y="4216"/>
                </a:lnTo>
                <a:lnTo>
                  <a:pt x="11552" y="4216"/>
                </a:lnTo>
                <a:lnTo>
                  <a:pt x="11569" y="4220"/>
                </a:lnTo>
                <a:lnTo>
                  <a:pt x="11587" y="4225"/>
                </a:lnTo>
                <a:lnTo>
                  <a:pt x="11604" y="4234"/>
                </a:lnTo>
                <a:lnTo>
                  <a:pt x="11615" y="4245"/>
                </a:lnTo>
                <a:close/>
                <a:moveTo>
                  <a:pt x="11647" y="4202"/>
                </a:moveTo>
                <a:lnTo>
                  <a:pt x="11645" y="4203"/>
                </a:lnTo>
                <a:lnTo>
                  <a:pt x="11647" y="4202"/>
                </a:lnTo>
                <a:lnTo>
                  <a:pt x="11646" y="4204"/>
                </a:lnTo>
                <a:lnTo>
                  <a:pt x="11645" y="4207"/>
                </a:lnTo>
                <a:lnTo>
                  <a:pt x="11645" y="4207"/>
                </a:lnTo>
                <a:lnTo>
                  <a:pt x="11647" y="4202"/>
                </a:lnTo>
                <a:close/>
                <a:moveTo>
                  <a:pt x="11797" y="4199"/>
                </a:moveTo>
                <a:lnTo>
                  <a:pt x="11802" y="4218"/>
                </a:lnTo>
                <a:lnTo>
                  <a:pt x="11802" y="4229"/>
                </a:lnTo>
                <a:lnTo>
                  <a:pt x="11796" y="4232"/>
                </a:lnTo>
                <a:lnTo>
                  <a:pt x="11785" y="4231"/>
                </a:lnTo>
                <a:lnTo>
                  <a:pt x="11771" y="4230"/>
                </a:lnTo>
                <a:lnTo>
                  <a:pt x="11754" y="4231"/>
                </a:lnTo>
                <a:lnTo>
                  <a:pt x="11736" y="4238"/>
                </a:lnTo>
                <a:lnTo>
                  <a:pt x="11718" y="4252"/>
                </a:lnTo>
                <a:lnTo>
                  <a:pt x="11678" y="4234"/>
                </a:lnTo>
                <a:lnTo>
                  <a:pt x="11659" y="4221"/>
                </a:lnTo>
                <a:lnTo>
                  <a:pt x="11657" y="4212"/>
                </a:lnTo>
                <a:lnTo>
                  <a:pt x="11670" y="4206"/>
                </a:lnTo>
                <a:lnTo>
                  <a:pt x="11694" y="4203"/>
                </a:lnTo>
                <a:lnTo>
                  <a:pt x="11725" y="4202"/>
                </a:lnTo>
                <a:lnTo>
                  <a:pt x="11760" y="4201"/>
                </a:lnTo>
                <a:lnTo>
                  <a:pt x="11797" y="4199"/>
                </a:lnTo>
                <a:close/>
                <a:moveTo>
                  <a:pt x="11510" y="4222"/>
                </a:moveTo>
                <a:lnTo>
                  <a:pt x="11512" y="4222"/>
                </a:lnTo>
                <a:lnTo>
                  <a:pt x="11516" y="4224"/>
                </a:lnTo>
                <a:lnTo>
                  <a:pt x="11517" y="4225"/>
                </a:lnTo>
                <a:lnTo>
                  <a:pt x="11520" y="4227"/>
                </a:lnTo>
                <a:lnTo>
                  <a:pt x="11522" y="4232"/>
                </a:lnTo>
                <a:lnTo>
                  <a:pt x="11522" y="4239"/>
                </a:lnTo>
                <a:lnTo>
                  <a:pt x="11515" y="4231"/>
                </a:lnTo>
                <a:lnTo>
                  <a:pt x="11510" y="4222"/>
                </a:lnTo>
                <a:close/>
                <a:moveTo>
                  <a:pt x="11170" y="3424"/>
                </a:moveTo>
                <a:lnTo>
                  <a:pt x="11176" y="3430"/>
                </a:lnTo>
                <a:lnTo>
                  <a:pt x="11181" y="3436"/>
                </a:lnTo>
                <a:lnTo>
                  <a:pt x="11185" y="3437"/>
                </a:lnTo>
                <a:lnTo>
                  <a:pt x="11190" y="3438"/>
                </a:lnTo>
                <a:lnTo>
                  <a:pt x="11181" y="3438"/>
                </a:lnTo>
                <a:lnTo>
                  <a:pt x="11175" y="3437"/>
                </a:lnTo>
                <a:lnTo>
                  <a:pt x="11172" y="3434"/>
                </a:lnTo>
                <a:lnTo>
                  <a:pt x="11170" y="3432"/>
                </a:lnTo>
                <a:lnTo>
                  <a:pt x="11170" y="3428"/>
                </a:lnTo>
                <a:lnTo>
                  <a:pt x="11170" y="3424"/>
                </a:lnTo>
                <a:close/>
                <a:moveTo>
                  <a:pt x="11120" y="3283"/>
                </a:moveTo>
                <a:lnTo>
                  <a:pt x="11115" y="3274"/>
                </a:lnTo>
                <a:lnTo>
                  <a:pt x="11111" y="3262"/>
                </a:lnTo>
                <a:lnTo>
                  <a:pt x="11110" y="3251"/>
                </a:lnTo>
                <a:lnTo>
                  <a:pt x="11108" y="3240"/>
                </a:lnTo>
                <a:lnTo>
                  <a:pt x="11111" y="3228"/>
                </a:lnTo>
                <a:lnTo>
                  <a:pt x="11115" y="3218"/>
                </a:lnTo>
                <a:lnTo>
                  <a:pt x="11121" y="3210"/>
                </a:lnTo>
                <a:lnTo>
                  <a:pt x="11131" y="3204"/>
                </a:lnTo>
                <a:lnTo>
                  <a:pt x="11136" y="3215"/>
                </a:lnTo>
                <a:lnTo>
                  <a:pt x="11138" y="3226"/>
                </a:lnTo>
                <a:lnTo>
                  <a:pt x="11138" y="3236"/>
                </a:lnTo>
                <a:lnTo>
                  <a:pt x="11135" y="3245"/>
                </a:lnTo>
                <a:lnTo>
                  <a:pt x="11129" y="3264"/>
                </a:lnTo>
                <a:lnTo>
                  <a:pt x="11120" y="3283"/>
                </a:lnTo>
                <a:close/>
                <a:moveTo>
                  <a:pt x="11135" y="3285"/>
                </a:moveTo>
                <a:lnTo>
                  <a:pt x="11144" y="3285"/>
                </a:lnTo>
                <a:lnTo>
                  <a:pt x="11148" y="3287"/>
                </a:lnTo>
                <a:lnTo>
                  <a:pt x="11149" y="3290"/>
                </a:lnTo>
                <a:lnTo>
                  <a:pt x="11149" y="3297"/>
                </a:lnTo>
                <a:lnTo>
                  <a:pt x="11143" y="3292"/>
                </a:lnTo>
                <a:lnTo>
                  <a:pt x="11135" y="3285"/>
                </a:lnTo>
                <a:close/>
                <a:moveTo>
                  <a:pt x="11164" y="3355"/>
                </a:moveTo>
                <a:lnTo>
                  <a:pt x="11163" y="3358"/>
                </a:lnTo>
                <a:lnTo>
                  <a:pt x="11161" y="3359"/>
                </a:lnTo>
                <a:lnTo>
                  <a:pt x="11158" y="3357"/>
                </a:lnTo>
                <a:lnTo>
                  <a:pt x="11158" y="3355"/>
                </a:lnTo>
                <a:lnTo>
                  <a:pt x="11158" y="3354"/>
                </a:lnTo>
                <a:lnTo>
                  <a:pt x="11159" y="3353"/>
                </a:lnTo>
                <a:lnTo>
                  <a:pt x="11162" y="3352"/>
                </a:lnTo>
                <a:lnTo>
                  <a:pt x="11163" y="3352"/>
                </a:lnTo>
                <a:lnTo>
                  <a:pt x="11164" y="3353"/>
                </a:lnTo>
                <a:lnTo>
                  <a:pt x="11164" y="3355"/>
                </a:lnTo>
                <a:close/>
                <a:moveTo>
                  <a:pt x="11148" y="3322"/>
                </a:moveTo>
                <a:lnTo>
                  <a:pt x="11145" y="3318"/>
                </a:lnTo>
                <a:lnTo>
                  <a:pt x="11144" y="3316"/>
                </a:lnTo>
                <a:lnTo>
                  <a:pt x="11144" y="3312"/>
                </a:lnTo>
                <a:lnTo>
                  <a:pt x="11144" y="3310"/>
                </a:lnTo>
                <a:lnTo>
                  <a:pt x="11147" y="3303"/>
                </a:lnTo>
                <a:lnTo>
                  <a:pt x="11150" y="3298"/>
                </a:lnTo>
                <a:lnTo>
                  <a:pt x="11159" y="3301"/>
                </a:lnTo>
                <a:lnTo>
                  <a:pt x="11164" y="3304"/>
                </a:lnTo>
                <a:lnTo>
                  <a:pt x="11168" y="3311"/>
                </a:lnTo>
                <a:lnTo>
                  <a:pt x="11170" y="3317"/>
                </a:lnTo>
                <a:lnTo>
                  <a:pt x="11167" y="3322"/>
                </a:lnTo>
                <a:lnTo>
                  <a:pt x="11163" y="3326"/>
                </a:lnTo>
                <a:lnTo>
                  <a:pt x="11157" y="3326"/>
                </a:lnTo>
                <a:lnTo>
                  <a:pt x="11148" y="3322"/>
                </a:lnTo>
                <a:close/>
                <a:moveTo>
                  <a:pt x="11070" y="3218"/>
                </a:moveTo>
                <a:lnTo>
                  <a:pt x="11084" y="3198"/>
                </a:lnTo>
                <a:lnTo>
                  <a:pt x="11093" y="3190"/>
                </a:lnTo>
                <a:lnTo>
                  <a:pt x="11098" y="3194"/>
                </a:lnTo>
                <a:lnTo>
                  <a:pt x="11098" y="3206"/>
                </a:lnTo>
                <a:lnTo>
                  <a:pt x="11096" y="3224"/>
                </a:lnTo>
                <a:lnTo>
                  <a:pt x="11091" y="3245"/>
                </a:lnTo>
                <a:lnTo>
                  <a:pt x="11085" y="3266"/>
                </a:lnTo>
                <a:lnTo>
                  <a:pt x="11079" y="3285"/>
                </a:lnTo>
                <a:lnTo>
                  <a:pt x="11070" y="3278"/>
                </a:lnTo>
                <a:lnTo>
                  <a:pt x="11066" y="3271"/>
                </a:lnTo>
                <a:lnTo>
                  <a:pt x="11068" y="3264"/>
                </a:lnTo>
                <a:lnTo>
                  <a:pt x="11070" y="3255"/>
                </a:lnTo>
                <a:lnTo>
                  <a:pt x="11074" y="3246"/>
                </a:lnTo>
                <a:lnTo>
                  <a:pt x="11075" y="3237"/>
                </a:lnTo>
                <a:lnTo>
                  <a:pt x="11075" y="3228"/>
                </a:lnTo>
                <a:lnTo>
                  <a:pt x="11070" y="3218"/>
                </a:lnTo>
                <a:close/>
                <a:moveTo>
                  <a:pt x="11077" y="3143"/>
                </a:moveTo>
                <a:lnTo>
                  <a:pt x="11077" y="3145"/>
                </a:lnTo>
                <a:lnTo>
                  <a:pt x="11075" y="3148"/>
                </a:lnTo>
                <a:lnTo>
                  <a:pt x="11069" y="3145"/>
                </a:lnTo>
                <a:lnTo>
                  <a:pt x="11068" y="3144"/>
                </a:lnTo>
                <a:lnTo>
                  <a:pt x="11070" y="3143"/>
                </a:lnTo>
                <a:lnTo>
                  <a:pt x="11077" y="3143"/>
                </a:lnTo>
                <a:close/>
                <a:moveTo>
                  <a:pt x="11101" y="3162"/>
                </a:moveTo>
                <a:lnTo>
                  <a:pt x="11097" y="3166"/>
                </a:lnTo>
                <a:lnTo>
                  <a:pt x="11093" y="3168"/>
                </a:lnTo>
                <a:lnTo>
                  <a:pt x="11092" y="3168"/>
                </a:lnTo>
                <a:lnTo>
                  <a:pt x="11089" y="3168"/>
                </a:lnTo>
                <a:lnTo>
                  <a:pt x="11088" y="3166"/>
                </a:lnTo>
                <a:lnTo>
                  <a:pt x="11087" y="3163"/>
                </a:lnTo>
                <a:lnTo>
                  <a:pt x="11091" y="3162"/>
                </a:lnTo>
                <a:lnTo>
                  <a:pt x="11094" y="3159"/>
                </a:lnTo>
                <a:lnTo>
                  <a:pt x="11097" y="3158"/>
                </a:lnTo>
                <a:lnTo>
                  <a:pt x="11098" y="3159"/>
                </a:lnTo>
                <a:lnTo>
                  <a:pt x="11100" y="3159"/>
                </a:lnTo>
                <a:lnTo>
                  <a:pt x="11101" y="3162"/>
                </a:lnTo>
                <a:close/>
                <a:moveTo>
                  <a:pt x="11097" y="3077"/>
                </a:moveTo>
                <a:lnTo>
                  <a:pt x="11098" y="3077"/>
                </a:lnTo>
                <a:lnTo>
                  <a:pt x="11097" y="3077"/>
                </a:lnTo>
                <a:lnTo>
                  <a:pt x="11089" y="3077"/>
                </a:lnTo>
                <a:lnTo>
                  <a:pt x="11087" y="3074"/>
                </a:lnTo>
                <a:lnTo>
                  <a:pt x="11087" y="3070"/>
                </a:lnTo>
                <a:lnTo>
                  <a:pt x="11089" y="3066"/>
                </a:lnTo>
                <a:lnTo>
                  <a:pt x="11093" y="3064"/>
                </a:lnTo>
                <a:lnTo>
                  <a:pt x="11096" y="3063"/>
                </a:lnTo>
                <a:lnTo>
                  <a:pt x="11097" y="3066"/>
                </a:lnTo>
                <a:lnTo>
                  <a:pt x="11097" y="3077"/>
                </a:lnTo>
                <a:close/>
                <a:moveTo>
                  <a:pt x="11097" y="3016"/>
                </a:moveTo>
                <a:lnTo>
                  <a:pt x="11089" y="3030"/>
                </a:lnTo>
                <a:lnTo>
                  <a:pt x="11083" y="3040"/>
                </a:lnTo>
                <a:lnTo>
                  <a:pt x="11078" y="3051"/>
                </a:lnTo>
                <a:lnTo>
                  <a:pt x="11073" y="3055"/>
                </a:lnTo>
                <a:lnTo>
                  <a:pt x="11070" y="3052"/>
                </a:lnTo>
                <a:lnTo>
                  <a:pt x="11069" y="3046"/>
                </a:lnTo>
                <a:lnTo>
                  <a:pt x="11070" y="3037"/>
                </a:lnTo>
                <a:lnTo>
                  <a:pt x="11075" y="3028"/>
                </a:lnTo>
                <a:lnTo>
                  <a:pt x="11084" y="3021"/>
                </a:lnTo>
                <a:lnTo>
                  <a:pt x="11097" y="3016"/>
                </a:lnTo>
                <a:close/>
                <a:moveTo>
                  <a:pt x="11084" y="3000"/>
                </a:moveTo>
                <a:lnTo>
                  <a:pt x="11083" y="3005"/>
                </a:lnTo>
                <a:lnTo>
                  <a:pt x="11083" y="3013"/>
                </a:lnTo>
                <a:lnTo>
                  <a:pt x="11078" y="3012"/>
                </a:lnTo>
                <a:lnTo>
                  <a:pt x="11075" y="3009"/>
                </a:lnTo>
                <a:lnTo>
                  <a:pt x="11075" y="3007"/>
                </a:lnTo>
                <a:lnTo>
                  <a:pt x="11074" y="3004"/>
                </a:lnTo>
                <a:lnTo>
                  <a:pt x="11075" y="3003"/>
                </a:lnTo>
                <a:lnTo>
                  <a:pt x="11078" y="3000"/>
                </a:lnTo>
                <a:lnTo>
                  <a:pt x="11080" y="3000"/>
                </a:lnTo>
                <a:lnTo>
                  <a:pt x="11084" y="3000"/>
                </a:lnTo>
                <a:close/>
                <a:moveTo>
                  <a:pt x="11077" y="2715"/>
                </a:moveTo>
                <a:lnTo>
                  <a:pt x="11082" y="2711"/>
                </a:lnTo>
                <a:lnTo>
                  <a:pt x="11083" y="2710"/>
                </a:lnTo>
                <a:lnTo>
                  <a:pt x="11080" y="2713"/>
                </a:lnTo>
                <a:lnTo>
                  <a:pt x="11077" y="2715"/>
                </a:lnTo>
                <a:lnTo>
                  <a:pt x="11074" y="2711"/>
                </a:lnTo>
                <a:lnTo>
                  <a:pt x="11074" y="2709"/>
                </a:lnTo>
                <a:lnTo>
                  <a:pt x="11074" y="2707"/>
                </a:lnTo>
                <a:lnTo>
                  <a:pt x="11075" y="2706"/>
                </a:lnTo>
                <a:lnTo>
                  <a:pt x="11077" y="2706"/>
                </a:lnTo>
                <a:lnTo>
                  <a:pt x="11078" y="2709"/>
                </a:lnTo>
                <a:lnTo>
                  <a:pt x="11079" y="2711"/>
                </a:lnTo>
                <a:lnTo>
                  <a:pt x="11077" y="2715"/>
                </a:lnTo>
                <a:close/>
                <a:moveTo>
                  <a:pt x="11059" y="3163"/>
                </a:moveTo>
                <a:lnTo>
                  <a:pt x="11045" y="3173"/>
                </a:lnTo>
                <a:lnTo>
                  <a:pt x="11029" y="3184"/>
                </a:lnTo>
                <a:lnTo>
                  <a:pt x="11035" y="3172"/>
                </a:lnTo>
                <a:lnTo>
                  <a:pt x="11040" y="3167"/>
                </a:lnTo>
                <a:lnTo>
                  <a:pt x="11047" y="3164"/>
                </a:lnTo>
                <a:lnTo>
                  <a:pt x="11059" y="3163"/>
                </a:lnTo>
                <a:close/>
                <a:moveTo>
                  <a:pt x="11045" y="2944"/>
                </a:moveTo>
                <a:lnTo>
                  <a:pt x="11049" y="2956"/>
                </a:lnTo>
                <a:lnTo>
                  <a:pt x="11050" y="2968"/>
                </a:lnTo>
                <a:lnTo>
                  <a:pt x="11049" y="2980"/>
                </a:lnTo>
                <a:lnTo>
                  <a:pt x="11046" y="2993"/>
                </a:lnTo>
                <a:lnTo>
                  <a:pt x="11040" y="3018"/>
                </a:lnTo>
                <a:lnTo>
                  <a:pt x="11033" y="3042"/>
                </a:lnTo>
                <a:lnTo>
                  <a:pt x="11031" y="3032"/>
                </a:lnTo>
                <a:lnTo>
                  <a:pt x="11029" y="3021"/>
                </a:lnTo>
                <a:lnTo>
                  <a:pt x="11029" y="3007"/>
                </a:lnTo>
                <a:lnTo>
                  <a:pt x="11031" y="2993"/>
                </a:lnTo>
                <a:lnTo>
                  <a:pt x="11033" y="2979"/>
                </a:lnTo>
                <a:lnTo>
                  <a:pt x="11036" y="2965"/>
                </a:lnTo>
                <a:lnTo>
                  <a:pt x="11040" y="2953"/>
                </a:lnTo>
                <a:lnTo>
                  <a:pt x="11045" y="2944"/>
                </a:lnTo>
                <a:close/>
                <a:moveTo>
                  <a:pt x="11051" y="3073"/>
                </a:moveTo>
                <a:lnTo>
                  <a:pt x="11041" y="3072"/>
                </a:lnTo>
                <a:lnTo>
                  <a:pt x="11031" y="3070"/>
                </a:lnTo>
                <a:lnTo>
                  <a:pt x="11027" y="3069"/>
                </a:lnTo>
                <a:lnTo>
                  <a:pt x="11024" y="3066"/>
                </a:lnTo>
                <a:lnTo>
                  <a:pt x="11022" y="3061"/>
                </a:lnTo>
                <a:lnTo>
                  <a:pt x="11022" y="3056"/>
                </a:lnTo>
                <a:lnTo>
                  <a:pt x="11028" y="3056"/>
                </a:lnTo>
                <a:lnTo>
                  <a:pt x="11033" y="3056"/>
                </a:lnTo>
                <a:lnTo>
                  <a:pt x="11037" y="3058"/>
                </a:lnTo>
                <a:lnTo>
                  <a:pt x="11041" y="3060"/>
                </a:lnTo>
                <a:lnTo>
                  <a:pt x="11046" y="3065"/>
                </a:lnTo>
                <a:lnTo>
                  <a:pt x="11051" y="3073"/>
                </a:lnTo>
                <a:close/>
                <a:moveTo>
                  <a:pt x="10986" y="2930"/>
                </a:moveTo>
                <a:lnTo>
                  <a:pt x="10993" y="2932"/>
                </a:lnTo>
                <a:lnTo>
                  <a:pt x="10986" y="2930"/>
                </a:lnTo>
                <a:lnTo>
                  <a:pt x="10991" y="2926"/>
                </a:lnTo>
                <a:lnTo>
                  <a:pt x="10986" y="2930"/>
                </a:lnTo>
                <a:close/>
                <a:moveTo>
                  <a:pt x="11004" y="2935"/>
                </a:moveTo>
                <a:lnTo>
                  <a:pt x="11008" y="2940"/>
                </a:lnTo>
                <a:lnTo>
                  <a:pt x="11008" y="2940"/>
                </a:lnTo>
                <a:lnTo>
                  <a:pt x="11007" y="2939"/>
                </a:lnTo>
                <a:lnTo>
                  <a:pt x="11004" y="2935"/>
                </a:lnTo>
                <a:lnTo>
                  <a:pt x="11009" y="2938"/>
                </a:lnTo>
                <a:lnTo>
                  <a:pt x="11014" y="2939"/>
                </a:lnTo>
                <a:lnTo>
                  <a:pt x="11013" y="2938"/>
                </a:lnTo>
                <a:lnTo>
                  <a:pt x="11004" y="2935"/>
                </a:lnTo>
                <a:close/>
                <a:moveTo>
                  <a:pt x="11008" y="3002"/>
                </a:moveTo>
                <a:lnTo>
                  <a:pt x="11003" y="2989"/>
                </a:lnTo>
                <a:lnTo>
                  <a:pt x="10995" y="2974"/>
                </a:lnTo>
                <a:lnTo>
                  <a:pt x="11003" y="2977"/>
                </a:lnTo>
                <a:lnTo>
                  <a:pt x="11008" y="2980"/>
                </a:lnTo>
                <a:lnTo>
                  <a:pt x="11012" y="2982"/>
                </a:lnTo>
                <a:lnTo>
                  <a:pt x="11013" y="2985"/>
                </a:lnTo>
                <a:lnTo>
                  <a:pt x="11014" y="2988"/>
                </a:lnTo>
                <a:lnTo>
                  <a:pt x="11013" y="2991"/>
                </a:lnTo>
                <a:lnTo>
                  <a:pt x="11010" y="2995"/>
                </a:lnTo>
                <a:lnTo>
                  <a:pt x="11008" y="3002"/>
                </a:lnTo>
                <a:close/>
                <a:moveTo>
                  <a:pt x="11249" y="4245"/>
                </a:moveTo>
                <a:lnTo>
                  <a:pt x="11218" y="4278"/>
                </a:lnTo>
                <a:lnTo>
                  <a:pt x="11184" y="4300"/>
                </a:lnTo>
                <a:lnTo>
                  <a:pt x="11145" y="4310"/>
                </a:lnTo>
                <a:lnTo>
                  <a:pt x="11103" y="4315"/>
                </a:lnTo>
                <a:lnTo>
                  <a:pt x="11061" y="4316"/>
                </a:lnTo>
                <a:lnTo>
                  <a:pt x="11017" y="4316"/>
                </a:lnTo>
                <a:lnTo>
                  <a:pt x="10973" y="4320"/>
                </a:lnTo>
                <a:lnTo>
                  <a:pt x="10930" y="4330"/>
                </a:lnTo>
                <a:lnTo>
                  <a:pt x="10952" y="4296"/>
                </a:lnTo>
                <a:lnTo>
                  <a:pt x="10984" y="4274"/>
                </a:lnTo>
                <a:lnTo>
                  <a:pt x="11024" y="4260"/>
                </a:lnTo>
                <a:lnTo>
                  <a:pt x="11070" y="4254"/>
                </a:lnTo>
                <a:lnTo>
                  <a:pt x="11117" y="4253"/>
                </a:lnTo>
                <a:lnTo>
                  <a:pt x="11166" y="4252"/>
                </a:lnTo>
                <a:lnTo>
                  <a:pt x="11210" y="4250"/>
                </a:lnTo>
                <a:lnTo>
                  <a:pt x="11249" y="4245"/>
                </a:lnTo>
                <a:close/>
                <a:moveTo>
                  <a:pt x="10956" y="3119"/>
                </a:moveTo>
                <a:lnTo>
                  <a:pt x="10948" y="3122"/>
                </a:lnTo>
                <a:lnTo>
                  <a:pt x="10942" y="3124"/>
                </a:lnTo>
                <a:lnTo>
                  <a:pt x="10934" y="3125"/>
                </a:lnTo>
                <a:lnTo>
                  <a:pt x="10928" y="3125"/>
                </a:lnTo>
                <a:lnTo>
                  <a:pt x="10942" y="3121"/>
                </a:lnTo>
                <a:lnTo>
                  <a:pt x="10956" y="3119"/>
                </a:lnTo>
                <a:close/>
                <a:moveTo>
                  <a:pt x="10958" y="2981"/>
                </a:moveTo>
                <a:lnTo>
                  <a:pt x="10961" y="2986"/>
                </a:lnTo>
                <a:lnTo>
                  <a:pt x="10961" y="2993"/>
                </a:lnTo>
                <a:lnTo>
                  <a:pt x="10961" y="2999"/>
                </a:lnTo>
                <a:lnTo>
                  <a:pt x="10959" y="3005"/>
                </a:lnTo>
                <a:lnTo>
                  <a:pt x="10958" y="3009"/>
                </a:lnTo>
                <a:lnTo>
                  <a:pt x="10957" y="3010"/>
                </a:lnTo>
                <a:lnTo>
                  <a:pt x="10953" y="3009"/>
                </a:lnTo>
                <a:lnTo>
                  <a:pt x="10951" y="3004"/>
                </a:lnTo>
                <a:lnTo>
                  <a:pt x="10953" y="2993"/>
                </a:lnTo>
                <a:lnTo>
                  <a:pt x="10958" y="2981"/>
                </a:lnTo>
                <a:close/>
                <a:moveTo>
                  <a:pt x="10959" y="2980"/>
                </a:moveTo>
                <a:lnTo>
                  <a:pt x="10957" y="2970"/>
                </a:lnTo>
                <a:lnTo>
                  <a:pt x="10956" y="2958"/>
                </a:lnTo>
                <a:lnTo>
                  <a:pt x="10959" y="2961"/>
                </a:lnTo>
                <a:lnTo>
                  <a:pt x="10962" y="2963"/>
                </a:lnTo>
                <a:lnTo>
                  <a:pt x="10965" y="2967"/>
                </a:lnTo>
                <a:lnTo>
                  <a:pt x="10965" y="2970"/>
                </a:lnTo>
                <a:lnTo>
                  <a:pt x="10962" y="2975"/>
                </a:lnTo>
                <a:lnTo>
                  <a:pt x="10959" y="2980"/>
                </a:lnTo>
                <a:close/>
                <a:moveTo>
                  <a:pt x="10975" y="3019"/>
                </a:moveTo>
                <a:lnTo>
                  <a:pt x="10968" y="3016"/>
                </a:lnTo>
                <a:lnTo>
                  <a:pt x="10966" y="3012"/>
                </a:lnTo>
                <a:lnTo>
                  <a:pt x="10965" y="3008"/>
                </a:lnTo>
                <a:lnTo>
                  <a:pt x="10966" y="3003"/>
                </a:lnTo>
                <a:lnTo>
                  <a:pt x="10971" y="2995"/>
                </a:lnTo>
                <a:lnTo>
                  <a:pt x="10977" y="2986"/>
                </a:lnTo>
                <a:lnTo>
                  <a:pt x="10981" y="2994"/>
                </a:lnTo>
                <a:lnTo>
                  <a:pt x="10982" y="3000"/>
                </a:lnTo>
                <a:lnTo>
                  <a:pt x="10981" y="3008"/>
                </a:lnTo>
                <a:lnTo>
                  <a:pt x="10975" y="3019"/>
                </a:lnTo>
                <a:close/>
                <a:moveTo>
                  <a:pt x="10968" y="3282"/>
                </a:moveTo>
                <a:lnTo>
                  <a:pt x="10953" y="3266"/>
                </a:lnTo>
                <a:lnTo>
                  <a:pt x="10945" y="3257"/>
                </a:lnTo>
                <a:lnTo>
                  <a:pt x="10944" y="3255"/>
                </a:lnTo>
                <a:lnTo>
                  <a:pt x="10944" y="3252"/>
                </a:lnTo>
                <a:lnTo>
                  <a:pt x="10944" y="3250"/>
                </a:lnTo>
                <a:lnTo>
                  <a:pt x="10945" y="3247"/>
                </a:lnTo>
                <a:lnTo>
                  <a:pt x="10957" y="3254"/>
                </a:lnTo>
                <a:lnTo>
                  <a:pt x="10962" y="3259"/>
                </a:lnTo>
                <a:lnTo>
                  <a:pt x="10966" y="3268"/>
                </a:lnTo>
                <a:lnTo>
                  <a:pt x="10968" y="3282"/>
                </a:lnTo>
                <a:close/>
                <a:moveTo>
                  <a:pt x="10961" y="3184"/>
                </a:moveTo>
                <a:lnTo>
                  <a:pt x="10966" y="3181"/>
                </a:lnTo>
                <a:lnTo>
                  <a:pt x="10967" y="3181"/>
                </a:lnTo>
                <a:lnTo>
                  <a:pt x="10965" y="3182"/>
                </a:lnTo>
                <a:lnTo>
                  <a:pt x="10961" y="3184"/>
                </a:lnTo>
                <a:lnTo>
                  <a:pt x="10959" y="3180"/>
                </a:lnTo>
                <a:lnTo>
                  <a:pt x="10959" y="3177"/>
                </a:lnTo>
                <a:lnTo>
                  <a:pt x="10962" y="3175"/>
                </a:lnTo>
                <a:lnTo>
                  <a:pt x="10965" y="3173"/>
                </a:lnTo>
                <a:lnTo>
                  <a:pt x="10966" y="3173"/>
                </a:lnTo>
                <a:lnTo>
                  <a:pt x="10967" y="3176"/>
                </a:lnTo>
                <a:lnTo>
                  <a:pt x="10966" y="3178"/>
                </a:lnTo>
                <a:lnTo>
                  <a:pt x="10961" y="3184"/>
                </a:lnTo>
                <a:close/>
                <a:moveTo>
                  <a:pt x="10935" y="2953"/>
                </a:moveTo>
                <a:lnTo>
                  <a:pt x="10936" y="2958"/>
                </a:lnTo>
                <a:lnTo>
                  <a:pt x="10936" y="2962"/>
                </a:lnTo>
                <a:lnTo>
                  <a:pt x="10935" y="2965"/>
                </a:lnTo>
                <a:lnTo>
                  <a:pt x="10934" y="2965"/>
                </a:lnTo>
                <a:lnTo>
                  <a:pt x="10933" y="2966"/>
                </a:lnTo>
                <a:lnTo>
                  <a:pt x="10929" y="2965"/>
                </a:lnTo>
                <a:lnTo>
                  <a:pt x="10930" y="2961"/>
                </a:lnTo>
                <a:lnTo>
                  <a:pt x="10930" y="2956"/>
                </a:lnTo>
                <a:lnTo>
                  <a:pt x="10930" y="2954"/>
                </a:lnTo>
                <a:lnTo>
                  <a:pt x="10931" y="2953"/>
                </a:lnTo>
                <a:lnTo>
                  <a:pt x="10934" y="2952"/>
                </a:lnTo>
                <a:lnTo>
                  <a:pt x="10935" y="2953"/>
                </a:lnTo>
                <a:close/>
                <a:moveTo>
                  <a:pt x="10925" y="2897"/>
                </a:moveTo>
                <a:lnTo>
                  <a:pt x="10922" y="2897"/>
                </a:lnTo>
                <a:lnTo>
                  <a:pt x="10920" y="2895"/>
                </a:lnTo>
                <a:lnTo>
                  <a:pt x="10917" y="2892"/>
                </a:lnTo>
                <a:lnTo>
                  <a:pt x="10919" y="2890"/>
                </a:lnTo>
                <a:lnTo>
                  <a:pt x="10924" y="2888"/>
                </a:lnTo>
                <a:lnTo>
                  <a:pt x="10928" y="2890"/>
                </a:lnTo>
                <a:lnTo>
                  <a:pt x="10929" y="2891"/>
                </a:lnTo>
                <a:lnTo>
                  <a:pt x="10929" y="2892"/>
                </a:lnTo>
                <a:lnTo>
                  <a:pt x="10928" y="2895"/>
                </a:lnTo>
                <a:lnTo>
                  <a:pt x="10925" y="2897"/>
                </a:lnTo>
                <a:close/>
                <a:moveTo>
                  <a:pt x="10915" y="3114"/>
                </a:moveTo>
                <a:lnTo>
                  <a:pt x="10914" y="3105"/>
                </a:lnTo>
                <a:lnTo>
                  <a:pt x="10914" y="3097"/>
                </a:lnTo>
                <a:lnTo>
                  <a:pt x="10917" y="3091"/>
                </a:lnTo>
                <a:lnTo>
                  <a:pt x="10922" y="3086"/>
                </a:lnTo>
                <a:lnTo>
                  <a:pt x="10929" y="3080"/>
                </a:lnTo>
                <a:lnTo>
                  <a:pt x="10938" y="3078"/>
                </a:lnTo>
                <a:lnTo>
                  <a:pt x="10945" y="3075"/>
                </a:lnTo>
                <a:lnTo>
                  <a:pt x="10954" y="3075"/>
                </a:lnTo>
                <a:lnTo>
                  <a:pt x="10948" y="3078"/>
                </a:lnTo>
                <a:lnTo>
                  <a:pt x="10942" y="3083"/>
                </a:lnTo>
                <a:lnTo>
                  <a:pt x="10936" y="3092"/>
                </a:lnTo>
                <a:lnTo>
                  <a:pt x="10933" y="3101"/>
                </a:lnTo>
                <a:lnTo>
                  <a:pt x="10928" y="3110"/>
                </a:lnTo>
                <a:lnTo>
                  <a:pt x="10924" y="3116"/>
                </a:lnTo>
                <a:lnTo>
                  <a:pt x="10920" y="3117"/>
                </a:lnTo>
                <a:lnTo>
                  <a:pt x="10915" y="3114"/>
                </a:lnTo>
                <a:close/>
                <a:moveTo>
                  <a:pt x="10916" y="3181"/>
                </a:moveTo>
                <a:lnTo>
                  <a:pt x="10914" y="3180"/>
                </a:lnTo>
                <a:lnTo>
                  <a:pt x="10912" y="3177"/>
                </a:lnTo>
                <a:lnTo>
                  <a:pt x="10914" y="3175"/>
                </a:lnTo>
                <a:lnTo>
                  <a:pt x="10915" y="3172"/>
                </a:lnTo>
                <a:lnTo>
                  <a:pt x="10919" y="3173"/>
                </a:lnTo>
                <a:lnTo>
                  <a:pt x="10920" y="3175"/>
                </a:lnTo>
                <a:lnTo>
                  <a:pt x="10919" y="3177"/>
                </a:lnTo>
                <a:lnTo>
                  <a:pt x="10916" y="3181"/>
                </a:lnTo>
                <a:close/>
                <a:moveTo>
                  <a:pt x="10903" y="3285"/>
                </a:moveTo>
                <a:lnTo>
                  <a:pt x="10905" y="3276"/>
                </a:lnTo>
                <a:lnTo>
                  <a:pt x="10905" y="3265"/>
                </a:lnTo>
                <a:lnTo>
                  <a:pt x="10910" y="3269"/>
                </a:lnTo>
                <a:lnTo>
                  <a:pt x="10912" y="3271"/>
                </a:lnTo>
                <a:lnTo>
                  <a:pt x="10915" y="3274"/>
                </a:lnTo>
                <a:lnTo>
                  <a:pt x="10915" y="3276"/>
                </a:lnTo>
                <a:lnTo>
                  <a:pt x="10914" y="3279"/>
                </a:lnTo>
                <a:lnTo>
                  <a:pt x="10911" y="3282"/>
                </a:lnTo>
                <a:lnTo>
                  <a:pt x="10908" y="3283"/>
                </a:lnTo>
                <a:lnTo>
                  <a:pt x="10903" y="3285"/>
                </a:lnTo>
                <a:close/>
                <a:moveTo>
                  <a:pt x="10861" y="3321"/>
                </a:moveTo>
                <a:lnTo>
                  <a:pt x="10861" y="3332"/>
                </a:lnTo>
                <a:lnTo>
                  <a:pt x="10864" y="3345"/>
                </a:lnTo>
                <a:lnTo>
                  <a:pt x="10864" y="3352"/>
                </a:lnTo>
                <a:lnTo>
                  <a:pt x="10863" y="3355"/>
                </a:lnTo>
                <a:lnTo>
                  <a:pt x="10860" y="3358"/>
                </a:lnTo>
                <a:lnTo>
                  <a:pt x="10855" y="3358"/>
                </a:lnTo>
                <a:lnTo>
                  <a:pt x="10855" y="3348"/>
                </a:lnTo>
                <a:lnTo>
                  <a:pt x="10852" y="3335"/>
                </a:lnTo>
                <a:lnTo>
                  <a:pt x="10852" y="3330"/>
                </a:lnTo>
                <a:lnTo>
                  <a:pt x="10854" y="3325"/>
                </a:lnTo>
                <a:lnTo>
                  <a:pt x="10856" y="3322"/>
                </a:lnTo>
                <a:lnTo>
                  <a:pt x="10861" y="3321"/>
                </a:lnTo>
                <a:close/>
                <a:moveTo>
                  <a:pt x="10874" y="3257"/>
                </a:moveTo>
                <a:lnTo>
                  <a:pt x="10866" y="3261"/>
                </a:lnTo>
                <a:lnTo>
                  <a:pt x="10861" y="3265"/>
                </a:lnTo>
                <a:lnTo>
                  <a:pt x="10863" y="3260"/>
                </a:lnTo>
                <a:lnTo>
                  <a:pt x="10864" y="3257"/>
                </a:lnTo>
                <a:lnTo>
                  <a:pt x="10868" y="3256"/>
                </a:lnTo>
                <a:lnTo>
                  <a:pt x="10874" y="3257"/>
                </a:lnTo>
                <a:close/>
                <a:moveTo>
                  <a:pt x="10877" y="2918"/>
                </a:moveTo>
                <a:lnTo>
                  <a:pt x="10873" y="2901"/>
                </a:lnTo>
                <a:lnTo>
                  <a:pt x="10869" y="2884"/>
                </a:lnTo>
                <a:lnTo>
                  <a:pt x="10868" y="2878"/>
                </a:lnTo>
                <a:lnTo>
                  <a:pt x="10870" y="2873"/>
                </a:lnTo>
                <a:lnTo>
                  <a:pt x="10874" y="2869"/>
                </a:lnTo>
                <a:lnTo>
                  <a:pt x="10883" y="2868"/>
                </a:lnTo>
                <a:lnTo>
                  <a:pt x="10886" y="2874"/>
                </a:lnTo>
                <a:lnTo>
                  <a:pt x="10887" y="2879"/>
                </a:lnTo>
                <a:lnTo>
                  <a:pt x="10887" y="2884"/>
                </a:lnTo>
                <a:lnTo>
                  <a:pt x="10886" y="2888"/>
                </a:lnTo>
                <a:lnTo>
                  <a:pt x="10882" y="2901"/>
                </a:lnTo>
                <a:lnTo>
                  <a:pt x="10877" y="2918"/>
                </a:lnTo>
                <a:close/>
                <a:moveTo>
                  <a:pt x="10883" y="3306"/>
                </a:moveTo>
                <a:lnTo>
                  <a:pt x="10887" y="3310"/>
                </a:lnTo>
                <a:lnTo>
                  <a:pt x="10889" y="3312"/>
                </a:lnTo>
                <a:lnTo>
                  <a:pt x="10889" y="3316"/>
                </a:lnTo>
                <a:lnTo>
                  <a:pt x="10887" y="3320"/>
                </a:lnTo>
                <a:lnTo>
                  <a:pt x="10882" y="3318"/>
                </a:lnTo>
                <a:lnTo>
                  <a:pt x="10880" y="3315"/>
                </a:lnTo>
                <a:lnTo>
                  <a:pt x="10880" y="3311"/>
                </a:lnTo>
                <a:lnTo>
                  <a:pt x="10883" y="3306"/>
                </a:lnTo>
                <a:close/>
                <a:moveTo>
                  <a:pt x="10878" y="2952"/>
                </a:moveTo>
                <a:lnTo>
                  <a:pt x="10878" y="2946"/>
                </a:lnTo>
                <a:lnTo>
                  <a:pt x="10879" y="2939"/>
                </a:lnTo>
                <a:lnTo>
                  <a:pt x="10879" y="2938"/>
                </a:lnTo>
                <a:lnTo>
                  <a:pt x="10882" y="2935"/>
                </a:lnTo>
                <a:lnTo>
                  <a:pt x="10884" y="2935"/>
                </a:lnTo>
                <a:lnTo>
                  <a:pt x="10888" y="2937"/>
                </a:lnTo>
                <a:lnTo>
                  <a:pt x="10887" y="2943"/>
                </a:lnTo>
                <a:lnTo>
                  <a:pt x="10886" y="2948"/>
                </a:lnTo>
                <a:lnTo>
                  <a:pt x="10884" y="2951"/>
                </a:lnTo>
                <a:lnTo>
                  <a:pt x="10883" y="2952"/>
                </a:lnTo>
                <a:lnTo>
                  <a:pt x="10880" y="2953"/>
                </a:lnTo>
                <a:lnTo>
                  <a:pt x="10878" y="2952"/>
                </a:lnTo>
                <a:close/>
                <a:moveTo>
                  <a:pt x="10882" y="3269"/>
                </a:moveTo>
                <a:lnTo>
                  <a:pt x="10877" y="3274"/>
                </a:lnTo>
                <a:lnTo>
                  <a:pt x="10882" y="3269"/>
                </a:lnTo>
                <a:lnTo>
                  <a:pt x="10884" y="3270"/>
                </a:lnTo>
                <a:lnTo>
                  <a:pt x="10886" y="3274"/>
                </a:lnTo>
                <a:lnTo>
                  <a:pt x="10884" y="3278"/>
                </a:lnTo>
                <a:lnTo>
                  <a:pt x="10883" y="3280"/>
                </a:lnTo>
                <a:lnTo>
                  <a:pt x="10880" y="3282"/>
                </a:lnTo>
                <a:lnTo>
                  <a:pt x="10879" y="3280"/>
                </a:lnTo>
                <a:lnTo>
                  <a:pt x="10879" y="3276"/>
                </a:lnTo>
                <a:lnTo>
                  <a:pt x="10882" y="3269"/>
                </a:lnTo>
                <a:close/>
                <a:moveTo>
                  <a:pt x="10858" y="4327"/>
                </a:moveTo>
                <a:lnTo>
                  <a:pt x="10846" y="4320"/>
                </a:lnTo>
                <a:lnTo>
                  <a:pt x="10841" y="4314"/>
                </a:lnTo>
                <a:lnTo>
                  <a:pt x="10842" y="4308"/>
                </a:lnTo>
                <a:lnTo>
                  <a:pt x="10849" y="4302"/>
                </a:lnTo>
                <a:lnTo>
                  <a:pt x="10858" y="4299"/>
                </a:lnTo>
                <a:lnTo>
                  <a:pt x="10868" y="4297"/>
                </a:lnTo>
                <a:lnTo>
                  <a:pt x="10877" y="4300"/>
                </a:lnTo>
                <a:lnTo>
                  <a:pt x="10886" y="4305"/>
                </a:lnTo>
                <a:lnTo>
                  <a:pt x="10891" y="4316"/>
                </a:lnTo>
                <a:lnTo>
                  <a:pt x="10892" y="4323"/>
                </a:lnTo>
                <a:lnTo>
                  <a:pt x="10892" y="4327"/>
                </a:lnTo>
                <a:lnTo>
                  <a:pt x="10888" y="4329"/>
                </a:lnTo>
                <a:lnTo>
                  <a:pt x="10877" y="4328"/>
                </a:lnTo>
                <a:lnTo>
                  <a:pt x="10858" y="4327"/>
                </a:lnTo>
                <a:close/>
                <a:moveTo>
                  <a:pt x="10780" y="3259"/>
                </a:moveTo>
                <a:lnTo>
                  <a:pt x="10780" y="3257"/>
                </a:lnTo>
                <a:lnTo>
                  <a:pt x="10780" y="3259"/>
                </a:lnTo>
                <a:lnTo>
                  <a:pt x="10777" y="3259"/>
                </a:lnTo>
                <a:lnTo>
                  <a:pt x="10777" y="3259"/>
                </a:lnTo>
                <a:lnTo>
                  <a:pt x="10779" y="3259"/>
                </a:lnTo>
                <a:lnTo>
                  <a:pt x="10780" y="3259"/>
                </a:lnTo>
                <a:close/>
                <a:moveTo>
                  <a:pt x="10759" y="3276"/>
                </a:moveTo>
                <a:lnTo>
                  <a:pt x="10762" y="3273"/>
                </a:lnTo>
                <a:lnTo>
                  <a:pt x="10766" y="3271"/>
                </a:lnTo>
                <a:lnTo>
                  <a:pt x="10768" y="3271"/>
                </a:lnTo>
                <a:lnTo>
                  <a:pt x="10772" y="3273"/>
                </a:lnTo>
                <a:lnTo>
                  <a:pt x="10767" y="3275"/>
                </a:lnTo>
                <a:lnTo>
                  <a:pt x="10759" y="3276"/>
                </a:lnTo>
                <a:close/>
                <a:moveTo>
                  <a:pt x="10751" y="3224"/>
                </a:moveTo>
                <a:lnTo>
                  <a:pt x="10748" y="3219"/>
                </a:lnTo>
                <a:lnTo>
                  <a:pt x="10748" y="3215"/>
                </a:lnTo>
                <a:lnTo>
                  <a:pt x="10748" y="3213"/>
                </a:lnTo>
                <a:lnTo>
                  <a:pt x="10748" y="3212"/>
                </a:lnTo>
                <a:lnTo>
                  <a:pt x="10751" y="3210"/>
                </a:lnTo>
                <a:lnTo>
                  <a:pt x="10753" y="3210"/>
                </a:lnTo>
                <a:lnTo>
                  <a:pt x="10754" y="3215"/>
                </a:lnTo>
                <a:lnTo>
                  <a:pt x="10754" y="3219"/>
                </a:lnTo>
                <a:lnTo>
                  <a:pt x="10754" y="3222"/>
                </a:lnTo>
                <a:lnTo>
                  <a:pt x="10753" y="3223"/>
                </a:lnTo>
                <a:lnTo>
                  <a:pt x="10752" y="3224"/>
                </a:lnTo>
                <a:lnTo>
                  <a:pt x="10751" y="3224"/>
                </a:lnTo>
                <a:close/>
                <a:moveTo>
                  <a:pt x="10734" y="1578"/>
                </a:moveTo>
                <a:lnTo>
                  <a:pt x="10730" y="1561"/>
                </a:lnTo>
                <a:lnTo>
                  <a:pt x="10728" y="1545"/>
                </a:lnTo>
                <a:lnTo>
                  <a:pt x="10734" y="1552"/>
                </a:lnTo>
                <a:lnTo>
                  <a:pt x="10739" y="1559"/>
                </a:lnTo>
                <a:lnTo>
                  <a:pt x="10740" y="1563"/>
                </a:lnTo>
                <a:lnTo>
                  <a:pt x="10740" y="1568"/>
                </a:lnTo>
                <a:lnTo>
                  <a:pt x="10738" y="1573"/>
                </a:lnTo>
                <a:lnTo>
                  <a:pt x="10734" y="1578"/>
                </a:lnTo>
                <a:close/>
                <a:moveTo>
                  <a:pt x="11627" y="2947"/>
                </a:moveTo>
                <a:lnTo>
                  <a:pt x="11624" y="2946"/>
                </a:lnTo>
                <a:lnTo>
                  <a:pt x="11627" y="2947"/>
                </a:lnTo>
                <a:lnTo>
                  <a:pt x="11622" y="2949"/>
                </a:lnTo>
                <a:lnTo>
                  <a:pt x="11627" y="2947"/>
                </a:lnTo>
                <a:close/>
                <a:moveTo>
                  <a:pt x="11642" y="2893"/>
                </a:moveTo>
                <a:lnTo>
                  <a:pt x="11678" y="2842"/>
                </a:lnTo>
                <a:lnTo>
                  <a:pt x="11731" y="2807"/>
                </a:lnTo>
                <a:lnTo>
                  <a:pt x="11799" y="2781"/>
                </a:lnTo>
                <a:lnTo>
                  <a:pt x="11874" y="2763"/>
                </a:lnTo>
                <a:lnTo>
                  <a:pt x="11951" y="2753"/>
                </a:lnTo>
                <a:lnTo>
                  <a:pt x="12024" y="2746"/>
                </a:lnTo>
                <a:lnTo>
                  <a:pt x="12089" y="2739"/>
                </a:lnTo>
                <a:lnTo>
                  <a:pt x="12137" y="2732"/>
                </a:lnTo>
                <a:lnTo>
                  <a:pt x="12181" y="2714"/>
                </a:lnTo>
                <a:lnTo>
                  <a:pt x="12243" y="2686"/>
                </a:lnTo>
                <a:lnTo>
                  <a:pt x="12316" y="2651"/>
                </a:lnTo>
                <a:lnTo>
                  <a:pt x="12392" y="2617"/>
                </a:lnTo>
                <a:lnTo>
                  <a:pt x="12462" y="2589"/>
                </a:lnTo>
                <a:lnTo>
                  <a:pt x="12518" y="2571"/>
                </a:lnTo>
                <a:lnTo>
                  <a:pt x="12554" y="2573"/>
                </a:lnTo>
                <a:lnTo>
                  <a:pt x="12559" y="2597"/>
                </a:lnTo>
                <a:lnTo>
                  <a:pt x="12412" y="2646"/>
                </a:lnTo>
                <a:lnTo>
                  <a:pt x="12292" y="2706"/>
                </a:lnTo>
                <a:lnTo>
                  <a:pt x="12186" y="2770"/>
                </a:lnTo>
                <a:lnTo>
                  <a:pt x="12090" y="2828"/>
                </a:lnTo>
                <a:lnTo>
                  <a:pt x="11995" y="2877"/>
                </a:lnTo>
                <a:lnTo>
                  <a:pt x="11894" y="2909"/>
                </a:lnTo>
                <a:lnTo>
                  <a:pt x="11780" y="2916"/>
                </a:lnTo>
                <a:lnTo>
                  <a:pt x="11642" y="2893"/>
                </a:lnTo>
                <a:close/>
                <a:moveTo>
                  <a:pt x="12103" y="2595"/>
                </a:moveTo>
                <a:lnTo>
                  <a:pt x="12098" y="2599"/>
                </a:lnTo>
                <a:lnTo>
                  <a:pt x="12090" y="2603"/>
                </a:lnTo>
                <a:lnTo>
                  <a:pt x="12086" y="2604"/>
                </a:lnTo>
                <a:lnTo>
                  <a:pt x="12083" y="2604"/>
                </a:lnTo>
                <a:lnTo>
                  <a:pt x="12079" y="2603"/>
                </a:lnTo>
                <a:lnTo>
                  <a:pt x="12076" y="2602"/>
                </a:lnTo>
                <a:lnTo>
                  <a:pt x="12079" y="2598"/>
                </a:lnTo>
                <a:lnTo>
                  <a:pt x="12081" y="2595"/>
                </a:lnTo>
                <a:lnTo>
                  <a:pt x="12085" y="2594"/>
                </a:lnTo>
                <a:lnTo>
                  <a:pt x="12089" y="2594"/>
                </a:lnTo>
                <a:lnTo>
                  <a:pt x="12095" y="2594"/>
                </a:lnTo>
                <a:lnTo>
                  <a:pt x="12103" y="2595"/>
                </a:lnTo>
                <a:close/>
                <a:moveTo>
                  <a:pt x="11716" y="2683"/>
                </a:moveTo>
                <a:lnTo>
                  <a:pt x="11721" y="2653"/>
                </a:lnTo>
                <a:lnTo>
                  <a:pt x="11745" y="2634"/>
                </a:lnTo>
                <a:lnTo>
                  <a:pt x="11780" y="2621"/>
                </a:lnTo>
                <a:lnTo>
                  <a:pt x="11818" y="2612"/>
                </a:lnTo>
                <a:lnTo>
                  <a:pt x="11850" y="2604"/>
                </a:lnTo>
                <a:lnTo>
                  <a:pt x="11870" y="2597"/>
                </a:lnTo>
                <a:lnTo>
                  <a:pt x="11869" y="2584"/>
                </a:lnTo>
                <a:lnTo>
                  <a:pt x="11838" y="2565"/>
                </a:lnTo>
                <a:lnTo>
                  <a:pt x="11781" y="2532"/>
                </a:lnTo>
                <a:lnTo>
                  <a:pt x="11783" y="2514"/>
                </a:lnTo>
                <a:lnTo>
                  <a:pt x="11830" y="2508"/>
                </a:lnTo>
                <a:lnTo>
                  <a:pt x="11908" y="2509"/>
                </a:lnTo>
                <a:lnTo>
                  <a:pt x="12002" y="2517"/>
                </a:lnTo>
                <a:lnTo>
                  <a:pt x="12098" y="2527"/>
                </a:lnTo>
                <a:lnTo>
                  <a:pt x="12183" y="2536"/>
                </a:lnTo>
                <a:lnTo>
                  <a:pt x="12242" y="2542"/>
                </a:lnTo>
                <a:lnTo>
                  <a:pt x="12277" y="2548"/>
                </a:lnTo>
                <a:lnTo>
                  <a:pt x="12276" y="2557"/>
                </a:lnTo>
                <a:lnTo>
                  <a:pt x="12247" y="2564"/>
                </a:lnTo>
                <a:lnTo>
                  <a:pt x="12199" y="2567"/>
                </a:lnTo>
                <a:lnTo>
                  <a:pt x="12140" y="2569"/>
                </a:lnTo>
                <a:lnTo>
                  <a:pt x="12080" y="2565"/>
                </a:lnTo>
                <a:lnTo>
                  <a:pt x="12029" y="2556"/>
                </a:lnTo>
                <a:lnTo>
                  <a:pt x="11996" y="2538"/>
                </a:lnTo>
                <a:lnTo>
                  <a:pt x="11974" y="2581"/>
                </a:lnTo>
                <a:lnTo>
                  <a:pt x="11950" y="2620"/>
                </a:lnTo>
                <a:lnTo>
                  <a:pt x="11923" y="2650"/>
                </a:lnTo>
                <a:lnTo>
                  <a:pt x="11894" y="2673"/>
                </a:lnTo>
                <a:lnTo>
                  <a:pt x="11859" y="2690"/>
                </a:lnTo>
                <a:lnTo>
                  <a:pt x="11818" y="2696"/>
                </a:lnTo>
                <a:lnTo>
                  <a:pt x="11771" y="2695"/>
                </a:lnTo>
                <a:lnTo>
                  <a:pt x="11716" y="2683"/>
                </a:lnTo>
                <a:close/>
                <a:moveTo>
                  <a:pt x="12490" y="2552"/>
                </a:moveTo>
                <a:lnTo>
                  <a:pt x="12488" y="2552"/>
                </a:lnTo>
                <a:lnTo>
                  <a:pt x="12490" y="2552"/>
                </a:lnTo>
                <a:lnTo>
                  <a:pt x="12489" y="2553"/>
                </a:lnTo>
                <a:lnTo>
                  <a:pt x="12490" y="2552"/>
                </a:lnTo>
                <a:close/>
                <a:moveTo>
                  <a:pt x="11622" y="2968"/>
                </a:moveTo>
                <a:lnTo>
                  <a:pt x="11620" y="2960"/>
                </a:lnTo>
                <a:lnTo>
                  <a:pt x="11619" y="2951"/>
                </a:lnTo>
                <a:lnTo>
                  <a:pt x="11627" y="2954"/>
                </a:lnTo>
                <a:lnTo>
                  <a:pt x="11629" y="2958"/>
                </a:lnTo>
                <a:lnTo>
                  <a:pt x="11629" y="2961"/>
                </a:lnTo>
                <a:lnTo>
                  <a:pt x="11628" y="2962"/>
                </a:lnTo>
                <a:lnTo>
                  <a:pt x="11625" y="2965"/>
                </a:lnTo>
                <a:lnTo>
                  <a:pt x="11622" y="2968"/>
                </a:lnTo>
                <a:close/>
                <a:moveTo>
                  <a:pt x="12369" y="1764"/>
                </a:moveTo>
                <a:lnTo>
                  <a:pt x="12368" y="1766"/>
                </a:lnTo>
                <a:lnTo>
                  <a:pt x="12369" y="1764"/>
                </a:lnTo>
                <a:lnTo>
                  <a:pt x="12370" y="1768"/>
                </a:lnTo>
                <a:lnTo>
                  <a:pt x="12369" y="1764"/>
                </a:lnTo>
                <a:close/>
                <a:moveTo>
                  <a:pt x="12661" y="2189"/>
                </a:moveTo>
                <a:lnTo>
                  <a:pt x="12667" y="2194"/>
                </a:lnTo>
                <a:lnTo>
                  <a:pt x="12668" y="2198"/>
                </a:lnTo>
                <a:lnTo>
                  <a:pt x="12666" y="2198"/>
                </a:lnTo>
                <a:lnTo>
                  <a:pt x="12658" y="2196"/>
                </a:lnTo>
                <a:lnTo>
                  <a:pt x="12660" y="2193"/>
                </a:lnTo>
                <a:lnTo>
                  <a:pt x="12661" y="2189"/>
                </a:lnTo>
                <a:close/>
                <a:moveTo>
                  <a:pt x="12712" y="2569"/>
                </a:moveTo>
                <a:lnTo>
                  <a:pt x="12723" y="2581"/>
                </a:lnTo>
                <a:lnTo>
                  <a:pt x="12724" y="2594"/>
                </a:lnTo>
                <a:lnTo>
                  <a:pt x="12718" y="2608"/>
                </a:lnTo>
                <a:lnTo>
                  <a:pt x="12705" y="2621"/>
                </a:lnTo>
                <a:lnTo>
                  <a:pt x="12689" y="2632"/>
                </a:lnTo>
                <a:lnTo>
                  <a:pt x="12670" y="2643"/>
                </a:lnTo>
                <a:lnTo>
                  <a:pt x="12651" y="2653"/>
                </a:lnTo>
                <a:lnTo>
                  <a:pt x="12633" y="2660"/>
                </a:lnTo>
                <a:lnTo>
                  <a:pt x="12640" y="2648"/>
                </a:lnTo>
                <a:lnTo>
                  <a:pt x="12649" y="2636"/>
                </a:lnTo>
                <a:lnTo>
                  <a:pt x="12658" y="2625"/>
                </a:lnTo>
                <a:lnTo>
                  <a:pt x="12668" y="2613"/>
                </a:lnTo>
                <a:lnTo>
                  <a:pt x="12689" y="2590"/>
                </a:lnTo>
                <a:lnTo>
                  <a:pt x="12712" y="2569"/>
                </a:lnTo>
                <a:close/>
                <a:moveTo>
                  <a:pt x="12838" y="2589"/>
                </a:moveTo>
                <a:lnTo>
                  <a:pt x="12838" y="2589"/>
                </a:lnTo>
                <a:lnTo>
                  <a:pt x="12838" y="2590"/>
                </a:lnTo>
                <a:lnTo>
                  <a:pt x="12838" y="2590"/>
                </a:lnTo>
                <a:lnTo>
                  <a:pt x="12838" y="2589"/>
                </a:lnTo>
                <a:close/>
                <a:moveTo>
                  <a:pt x="12838" y="2604"/>
                </a:moveTo>
                <a:lnTo>
                  <a:pt x="12838" y="2599"/>
                </a:lnTo>
                <a:lnTo>
                  <a:pt x="12838" y="2594"/>
                </a:lnTo>
                <a:lnTo>
                  <a:pt x="12839" y="2597"/>
                </a:lnTo>
                <a:lnTo>
                  <a:pt x="12840" y="2599"/>
                </a:lnTo>
                <a:lnTo>
                  <a:pt x="12839" y="2602"/>
                </a:lnTo>
                <a:lnTo>
                  <a:pt x="12838" y="2604"/>
                </a:lnTo>
                <a:close/>
                <a:moveTo>
                  <a:pt x="12890" y="2555"/>
                </a:moveTo>
                <a:lnTo>
                  <a:pt x="12890" y="2556"/>
                </a:lnTo>
                <a:lnTo>
                  <a:pt x="12890" y="2557"/>
                </a:lnTo>
                <a:lnTo>
                  <a:pt x="12889" y="2559"/>
                </a:lnTo>
                <a:lnTo>
                  <a:pt x="12888" y="2560"/>
                </a:lnTo>
                <a:lnTo>
                  <a:pt x="12884" y="2562"/>
                </a:lnTo>
                <a:lnTo>
                  <a:pt x="12881" y="2566"/>
                </a:lnTo>
                <a:lnTo>
                  <a:pt x="12881" y="2562"/>
                </a:lnTo>
                <a:lnTo>
                  <a:pt x="12882" y="2560"/>
                </a:lnTo>
                <a:lnTo>
                  <a:pt x="12885" y="2557"/>
                </a:lnTo>
                <a:lnTo>
                  <a:pt x="12890" y="2555"/>
                </a:lnTo>
                <a:close/>
                <a:moveTo>
                  <a:pt x="12907" y="2707"/>
                </a:moveTo>
                <a:lnTo>
                  <a:pt x="12899" y="2723"/>
                </a:lnTo>
                <a:lnTo>
                  <a:pt x="12893" y="2733"/>
                </a:lnTo>
                <a:lnTo>
                  <a:pt x="12890" y="2730"/>
                </a:lnTo>
                <a:lnTo>
                  <a:pt x="12890" y="2727"/>
                </a:lnTo>
                <a:lnTo>
                  <a:pt x="12891" y="2724"/>
                </a:lnTo>
                <a:lnTo>
                  <a:pt x="12894" y="2720"/>
                </a:lnTo>
                <a:lnTo>
                  <a:pt x="12900" y="2714"/>
                </a:lnTo>
                <a:lnTo>
                  <a:pt x="12907" y="2707"/>
                </a:lnTo>
                <a:close/>
                <a:moveTo>
                  <a:pt x="12928" y="2827"/>
                </a:moveTo>
                <a:lnTo>
                  <a:pt x="12927" y="2835"/>
                </a:lnTo>
                <a:lnTo>
                  <a:pt x="12926" y="2845"/>
                </a:lnTo>
                <a:lnTo>
                  <a:pt x="12922" y="2854"/>
                </a:lnTo>
                <a:lnTo>
                  <a:pt x="12917" y="2862"/>
                </a:lnTo>
                <a:lnTo>
                  <a:pt x="12913" y="2867"/>
                </a:lnTo>
                <a:lnTo>
                  <a:pt x="12909" y="2867"/>
                </a:lnTo>
                <a:lnTo>
                  <a:pt x="12907" y="2862"/>
                </a:lnTo>
                <a:lnTo>
                  <a:pt x="12905" y="2850"/>
                </a:lnTo>
                <a:lnTo>
                  <a:pt x="12913" y="2846"/>
                </a:lnTo>
                <a:lnTo>
                  <a:pt x="12919" y="2841"/>
                </a:lnTo>
                <a:lnTo>
                  <a:pt x="12924" y="2835"/>
                </a:lnTo>
                <a:lnTo>
                  <a:pt x="12928" y="2827"/>
                </a:lnTo>
                <a:close/>
                <a:moveTo>
                  <a:pt x="12902" y="2821"/>
                </a:moveTo>
                <a:lnTo>
                  <a:pt x="12900" y="2814"/>
                </a:lnTo>
                <a:lnTo>
                  <a:pt x="12899" y="2808"/>
                </a:lnTo>
                <a:lnTo>
                  <a:pt x="12899" y="2804"/>
                </a:lnTo>
                <a:lnTo>
                  <a:pt x="12899" y="2802"/>
                </a:lnTo>
                <a:lnTo>
                  <a:pt x="12900" y="2799"/>
                </a:lnTo>
                <a:lnTo>
                  <a:pt x="12902" y="2797"/>
                </a:lnTo>
                <a:lnTo>
                  <a:pt x="12903" y="2803"/>
                </a:lnTo>
                <a:lnTo>
                  <a:pt x="12903" y="2808"/>
                </a:lnTo>
                <a:lnTo>
                  <a:pt x="12903" y="2814"/>
                </a:lnTo>
                <a:lnTo>
                  <a:pt x="12902" y="2821"/>
                </a:lnTo>
                <a:close/>
                <a:moveTo>
                  <a:pt x="12193" y="4272"/>
                </a:moveTo>
                <a:lnTo>
                  <a:pt x="12197" y="4272"/>
                </a:lnTo>
                <a:lnTo>
                  <a:pt x="12196" y="4274"/>
                </a:lnTo>
                <a:lnTo>
                  <a:pt x="12193" y="4274"/>
                </a:lnTo>
                <a:lnTo>
                  <a:pt x="12192" y="4274"/>
                </a:lnTo>
                <a:lnTo>
                  <a:pt x="12193" y="4272"/>
                </a:lnTo>
                <a:close/>
                <a:moveTo>
                  <a:pt x="12633" y="4045"/>
                </a:moveTo>
                <a:lnTo>
                  <a:pt x="12621" y="4044"/>
                </a:lnTo>
                <a:lnTo>
                  <a:pt x="12609" y="4043"/>
                </a:lnTo>
                <a:lnTo>
                  <a:pt x="12596" y="4043"/>
                </a:lnTo>
                <a:lnTo>
                  <a:pt x="12584" y="4041"/>
                </a:lnTo>
                <a:lnTo>
                  <a:pt x="12597" y="4040"/>
                </a:lnTo>
                <a:lnTo>
                  <a:pt x="12609" y="4041"/>
                </a:lnTo>
                <a:lnTo>
                  <a:pt x="12621" y="4043"/>
                </a:lnTo>
                <a:lnTo>
                  <a:pt x="12633" y="4045"/>
                </a:lnTo>
                <a:close/>
                <a:moveTo>
                  <a:pt x="12717" y="3961"/>
                </a:moveTo>
                <a:lnTo>
                  <a:pt x="12731" y="3961"/>
                </a:lnTo>
                <a:lnTo>
                  <a:pt x="12737" y="3963"/>
                </a:lnTo>
                <a:lnTo>
                  <a:pt x="12741" y="3964"/>
                </a:lnTo>
                <a:lnTo>
                  <a:pt x="12739" y="3964"/>
                </a:lnTo>
                <a:lnTo>
                  <a:pt x="12726" y="3966"/>
                </a:lnTo>
                <a:lnTo>
                  <a:pt x="12705" y="3970"/>
                </a:lnTo>
                <a:lnTo>
                  <a:pt x="12710" y="3966"/>
                </a:lnTo>
                <a:lnTo>
                  <a:pt x="12717" y="3961"/>
                </a:lnTo>
                <a:close/>
                <a:moveTo>
                  <a:pt x="10841" y="4530"/>
                </a:moveTo>
                <a:lnTo>
                  <a:pt x="10844" y="4538"/>
                </a:lnTo>
                <a:lnTo>
                  <a:pt x="10845" y="4543"/>
                </a:lnTo>
                <a:lnTo>
                  <a:pt x="10844" y="4546"/>
                </a:lnTo>
                <a:lnTo>
                  <a:pt x="10840" y="4547"/>
                </a:lnTo>
                <a:lnTo>
                  <a:pt x="10830" y="4544"/>
                </a:lnTo>
                <a:lnTo>
                  <a:pt x="10816" y="4542"/>
                </a:lnTo>
                <a:lnTo>
                  <a:pt x="10828" y="4535"/>
                </a:lnTo>
                <a:lnTo>
                  <a:pt x="10841" y="4530"/>
                </a:lnTo>
                <a:close/>
                <a:moveTo>
                  <a:pt x="10827" y="4919"/>
                </a:moveTo>
                <a:lnTo>
                  <a:pt x="10831" y="4917"/>
                </a:lnTo>
                <a:lnTo>
                  <a:pt x="10836" y="4915"/>
                </a:lnTo>
                <a:lnTo>
                  <a:pt x="10840" y="4911"/>
                </a:lnTo>
                <a:lnTo>
                  <a:pt x="10844" y="4908"/>
                </a:lnTo>
                <a:lnTo>
                  <a:pt x="10846" y="4906"/>
                </a:lnTo>
                <a:lnTo>
                  <a:pt x="10850" y="4903"/>
                </a:lnTo>
                <a:lnTo>
                  <a:pt x="10854" y="4905"/>
                </a:lnTo>
                <a:lnTo>
                  <a:pt x="10858" y="4907"/>
                </a:lnTo>
                <a:lnTo>
                  <a:pt x="10855" y="4913"/>
                </a:lnTo>
                <a:lnTo>
                  <a:pt x="10852" y="4919"/>
                </a:lnTo>
                <a:lnTo>
                  <a:pt x="10849" y="4920"/>
                </a:lnTo>
                <a:lnTo>
                  <a:pt x="10845" y="4921"/>
                </a:lnTo>
                <a:lnTo>
                  <a:pt x="10836" y="4920"/>
                </a:lnTo>
                <a:lnTo>
                  <a:pt x="10827" y="4919"/>
                </a:lnTo>
                <a:close/>
                <a:moveTo>
                  <a:pt x="10863" y="4969"/>
                </a:moveTo>
                <a:lnTo>
                  <a:pt x="10858" y="4968"/>
                </a:lnTo>
                <a:lnTo>
                  <a:pt x="10863" y="4969"/>
                </a:lnTo>
                <a:lnTo>
                  <a:pt x="10856" y="4969"/>
                </a:lnTo>
                <a:lnTo>
                  <a:pt x="10863" y="4969"/>
                </a:lnTo>
                <a:close/>
                <a:moveTo>
                  <a:pt x="10962" y="4728"/>
                </a:moveTo>
                <a:lnTo>
                  <a:pt x="10975" y="4734"/>
                </a:lnTo>
                <a:lnTo>
                  <a:pt x="10980" y="4742"/>
                </a:lnTo>
                <a:lnTo>
                  <a:pt x="10980" y="4747"/>
                </a:lnTo>
                <a:lnTo>
                  <a:pt x="10973" y="4752"/>
                </a:lnTo>
                <a:lnTo>
                  <a:pt x="10965" y="4756"/>
                </a:lnTo>
                <a:lnTo>
                  <a:pt x="10952" y="4756"/>
                </a:lnTo>
                <a:lnTo>
                  <a:pt x="10938" y="4754"/>
                </a:lnTo>
                <a:lnTo>
                  <a:pt x="10925" y="4748"/>
                </a:lnTo>
                <a:lnTo>
                  <a:pt x="10947" y="4735"/>
                </a:lnTo>
                <a:lnTo>
                  <a:pt x="10962" y="4728"/>
                </a:lnTo>
                <a:close/>
                <a:moveTo>
                  <a:pt x="12438" y="5266"/>
                </a:moveTo>
                <a:lnTo>
                  <a:pt x="12470" y="5260"/>
                </a:lnTo>
                <a:lnTo>
                  <a:pt x="12502" y="5252"/>
                </a:lnTo>
                <a:lnTo>
                  <a:pt x="12533" y="5243"/>
                </a:lnTo>
                <a:lnTo>
                  <a:pt x="12565" y="5237"/>
                </a:lnTo>
                <a:lnTo>
                  <a:pt x="12597" y="5232"/>
                </a:lnTo>
                <a:lnTo>
                  <a:pt x="12629" y="5230"/>
                </a:lnTo>
                <a:lnTo>
                  <a:pt x="12662" y="5234"/>
                </a:lnTo>
                <a:lnTo>
                  <a:pt x="12694" y="5244"/>
                </a:lnTo>
                <a:lnTo>
                  <a:pt x="12652" y="5264"/>
                </a:lnTo>
                <a:lnTo>
                  <a:pt x="12588" y="5280"/>
                </a:lnTo>
                <a:lnTo>
                  <a:pt x="12514" y="5294"/>
                </a:lnTo>
                <a:lnTo>
                  <a:pt x="12444" y="5303"/>
                </a:lnTo>
                <a:lnTo>
                  <a:pt x="12388" y="5307"/>
                </a:lnTo>
                <a:lnTo>
                  <a:pt x="12360" y="5303"/>
                </a:lnTo>
                <a:lnTo>
                  <a:pt x="12373" y="5289"/>
                </a:lnTo>
                <a:lnTo>
                  <a:pt x="12438" y="5266"/>
                </a:lnTo>
                <a:close/>
                <a:moveTo>
                  <a:pt x="12679" y="5188"/>
                </a:moveTo>
                <a:lnTo>
                  <a:pt x="12679" y="5193"/>
                </a:lnTo>
                <a:lnTo>
                  <a:pt x="12676" y="5199"/>
                </a:lnTo>
                <a:lnTo>
                  <a:pt x="12672" y="5201"/>
                </a:lnTo>
                <a:lnTo>
                  <a:pt x="12666" y="5204"/>
                </a:lnTo>
                <a:lnTo>
                  <a:pt x="12660" y="5205"/>
                </a:lnTo>
                <a:lnTo>
                  <a:pt x="12653" y="5205"/>
                </a:lnTo>
                <a:lnTo>
                  <a:pt x="12647" y="5205"/>
                </a:lnTo>
                <a:lnTo>
                  <a:pt x="12642" y="5204"/>
                </a:lnTo>
                <a:lnTo>
                  <a:pt x="12661" y="5195"/>
                </a:lnTo>
                <a:lnTo>
                  <a:pt x="12679" y="5188"/>
                </a:lnTo>
                <a:close/>
                <a:moveTo>
                  <a:pt x="12623" y="5314"/>
                </a:moveTo>
                <a:lnTo>
                  <a:pt x="12606" y="5313"/>
                </a:lnTo>
                <a:lnTo>
                  <a:pt x="12591" y="5313"/>
                </a:lnTo>
                <a:lnTo>
                  <a:pt x="12575" y="5316"/>
                </a:lnTo>
                <a:lnTo>
                  <a:pt x="12560" y="5320"/>
                </a:lnTo>
                <a:lnTo>
                  <a:pt x="12577" y="5311"/>
                </a:lnTo>
                <a:lnTo>
                  <a:pt x="12598" y="5302"/>
                </a:lnTo>
                <a:lnTo>
                  <a:pt x="12609" y="5300"/>
                </a:lnTo>
                <a:lnTo>
                  <a:pt x="12616" y="5300"/>
                </a:lnTo>
                <a:lnTo>
                  <a:pt x="12621" y="5306"/>
                </a:lnTo>
                <a:lnTo>
                  <a:pt x="12623" y="5314"/>
                </a:lnTo>
                <a:close/>
                <a:moveTo>
                  <a:pt x="12805" y="5053"/>
                </a:moveTo>
                <a:lnTo>
                  <a:pt x="12811" y="5053"/>
                </a:lnTo>
                <a:lnTo>
                  <a:pt x="12817" y="5055"/>
                </a:lnTo>
                <a:lnTo>
                  <a:pt x="12821" y="5059"/>
                </a:lnTo>
                <a:lnTo>
                  <a:pt x="12824" y="5064"/>
                </a:lnTo>
                <a:lnTo>
                  <a:pt x="12824" y="5070"/>
                </a:lnTo>
                <a:lnTo>
                  <a:pt x="12821" y="5075"/>
                </a:lnTo>
                <a:lnTo>
                  <a:pt x="12817" y="5079"/>
                </a:lnTo>
                <a:lnTo>
                  <a:pt x="12810" y="5081"/>
                </a:lnTo>
                <a:lnTo>
                  <a:pt x="12795" y="5083"/>
                </a:lnTo>
                <a:lnTo>
                  <a:pt x="12784" y="5081"/>
                </a:lnTo>
                <a:lnTo>
                  <a:pt x="12778" y="5080"/>
                </a:lnTo>
                <a:lnTo>
                  <a:pt x="12775" y="5076"/>
                </a:lnTo>
                <a:lnTo>
                  <a:pt x="12778" y="5071"/>
                </a:lnTo>
                <a:lnTo>
                  <a:pt x="12783" y="5066"/>
                </a:lnTo>
                <a:lnTo>
                  <a:pt x="12792" y="5060"/>
                </a:lnTo>
                <a:lnTo>
                  <a:pt x="12805" y="5053"/>
                </a:lnTo>
                <a:close/>
                <a:moveTo>
                  <a:pt x="12789" y="5994"/>
                </a:moveTo>
                <a:lnTo>
                  <a:pt x="12787" y="5995"/>
                </a:lnTo>
                <a:lnTo>
                  <a:pt x="12786" y="5995"/>
                </a:lnTo>
                <a:lnTo>
                  <a:pt x="12784" y="5994"/>
                </a:lnTo>
                <a:lnTo>
                  <a:pt x="12784" y="5993"/>
                </a:lnTo>
                <a:lnTo>
                  <a:pt x="12786" y="5990"/>
                </a:lnTo>
                <a:lnTo>
                  <a:pt x="12787" y="5988"/>
                </a:lnTo>
                <a:lnTo>
                  <a:pt x="12796" y="5985"/>
                </a:lnTo>
                <a:lnTo>
                  <a:pt x="12798" y="5987"/>
                </a:lnTo>
                <a:lnTo>
                  <a:pt x="12796" y="5989"/>
                </a:lnTo>
                <a:lnTo>
                  <a:pt x="12789" y="5994"/>
                </a:lnTo>
                <a:close/>
                <a:moveTo>
                  <a:pt x="12737" y="6034"/>
                </a:moveTo>
                <a:lnTo>
                  <a:pt x="12733" y="6032"/>
                </a:lnTo>
                <a:lnTo>
                  <a:pt x="12731" y="6030"/>
                </a:lnTo>
                <a:lnTo>
                  <a:pt x="12731" y="6027"/>
                </a:lnTo>
                <a:lnTo>
                  <a:pt x="12733" y="6023"/>
                </a:lnTo>
                <a:lnTo>
                  <a:pt x="12736" y="6023"/>
                </a:lnTo>
                <a:lnTo>
                  <a:pt x="12737" y="6023"/>
                </a:lnTo>
                <a:lnTo>
                  <a:pt x="12739" y="6025"/>
                </a:lnTo>
                <a:lnTo>
                  <a:pt x="12739" y="6026"/>
                </a:lnTo>
                <a:lnTo>
                  <a:pt x="12739" y="6030"/>
                </a:lnTo>
                <a:lnTo>
                  <a:pt x="12737" y="6034"/>
                </a:lnTo>
                <a:close/>
                <a:moveTo>
                  <a:pt x="13412" y="6111"/>
                </a:moveTo>
                <a:lnTo>
                  <a:pt x="13412" y="6113"/>
                </a:lnTo>
                <a:lnTo>
                  <a:pt x="13411" y="6115"/>
                </a:lnTo>
                <a:lnTo>
                  <a:pt x="13410" y="6115"/>
                </a:lnTo>
                <a:lnTo>
                  <a:pt x="13408" y="6115"/>
                </a:lnTo>
                <a:lnTo>
                  <a:pt x="13407" y="6113"/>
                </a:lnTo>
                <a:lnTo>
                  <a:pt x="13408" y="6111"/>
                </a:lnTo>
                <a:lnTo>
                  <a:pt x="13410" y="6111"/>
                </a:lnTo>
                <a:lnTo>
                  <a:pt x="13412" y="6111"/>
                </a:lnTo>
                <a:close/>
                <a:moveTo>
                  <a:pt x="13728" y="6240"/>
                </a:moveTo>
                <a:lnTo>
                  <a:pt x="13631" y="6221"/>
                </a:lnTo>
                <a:lnTo>
                  <a:pt x="13528" y="6222"/>
                </a:lnTo>
                <a:lnTo>
                  <a:pt x="13421" y="6236"/>
                </a:lnTo>
                <a:lnTo>
                  <a:pt x="13313" y="6254"/>
                </a:lnTo>
                <a:lnTo>
                  <a:pt x="13210" y="6268"/>
                </a:lnTo>
                <a:lnTo>
                  <a:pt x="13112" y="6269"/>
                </a:lnTo>
                <a:lnTo>
                  <a:pt x="13025" y="6250"/>
                </a:lnTo>
                <a:lnTo>
                  <a:pt x="12952" y="6203"/>
                </a:lnTo>
                <a:lnTo>
                  <a:pt x="13061" y="6174"/>
                </a:lnTo>
                <a:lnTo>
                  <a:pt x="13186" y="6161"/>
                </a:lnTo>
                <a:lnTo>
                  <a:pt x="13313" y="6156"/>
                </a:lnTo>
                <a:lnTo>
                  <a:pt x="13427" y="6152"/>
                </a:lnTo>
                <a:lnTo>
                  <a:pt x="13514" y="6138"/>
                </a:lnTo>
                <a:lnTo>
                  <a:pt x="13556" y="6107"/>
                </a:lnTo>
                <a:lnTo>
                  <a:pt x="13538" y="6050"/>
                </a:lnTo>
                <a:lnTo>
                  <a:pt x="13447" y="5957"/>
                </a:lnTo>
                <a:lnTo>
                  <a:pt x="13394" y="5932"/>
                </a:lnTo>
                <a:lnTo>
                  <a:pt x="13380" y="5919"/>
                </a:lnTo>
                <a:lnTo>
                  <a:pt x="13393" y="5914"/>
                </a:lnTo>
                <a:lnTo>
                  <a:pt x="13425" y="5914"/>
                </a:lnTo>
                <a:lnTo>
                  <a:pt x="13464" y="5914"/>
                </a:lnTo>
                <a:lnTo>
                  <a:pt x="13504" y="5911"/>
                </a:lnTo>
                <a:lnTo>
                  <a:pt x="13533" y="5900"/>
                </a:lnTo>
                <a:lnTo>
                  <a:pt x="13543" y="5877"/>
                </a:lnTo>
                <a:lnTo>
                  <a:pt x="13427" y="5875"/>
                </a:lnTo>
                <a:lnTo>
                  <a:pt x="13323" y="5882"/>
                </a:lnTo>
                <a:lnTo>
                  <a:pt x="13225" y="5900"/>
                </a:lnTo>
                <a:lnTo>
                  <a:pt x="13133" y="5920"/>
                </a:lnTo>
                <a:lnTo>
                  <a:pt x="13045" y="5943"/>
                </a:lnTo>
                <a:lnTo>
                  <a:pt x="12959" y="5961"/>
                </a:lnTo>
                <a:lnTo>
                  <a:pt x="12872" y="5974"/>
                </a:lnTo>
                <a:lnTo>
                  <a:pt x="12782" y="5975"/>
                </a:lnTo>
                <a:lnTo>
                  <a:pt x="12753" y="5981"/>
                </a:lnTo>
                <a:lnTo>
                  <a:pt x="12721" y="5994"/>
                </a:lnTo>
                <a:lnTo>
                  <a:pt x="12688" y="6011"/>
                </a:lnTo>
                <a:lnTo>
                  <a:pt x="12654" y="6030"/>
                </a:lnTo>
                <a:lnTo>
                  <a:pt x="12621" y="6050"/>
                </a:lnTo>
                <a:lnTo>
                  <a:pt x="12591" y="6071"/>
                </a:lnTo>
                <a:lnTo>
                  <a:pt x="12563" y="6090"/>
                </a:lnTo>
                <a:lnTo>
                  <a:pt x="12540" y="6105"/>
                </a:lnTo>
                <a:lnTo>
                  <a:pt x="12607" y="6097"/>
                </a:lnTo>
                <a:lnTo>
                  <a:pt x="12647" y="6087"/>
                </a:lnTo>
                <a:lnTo>
                  <a:pt x="12667" y="6077"/>
                </a:lnTo>
                <a:lnTo>
                  <a:pt x="12680" y="6065"/>
                </a:lnTo>
                <a:lnTo>
                  <a:pt x="12694" y="6055"/>
                </a:lnTo>
                <a:lnTo>
                  <a:pt x="12717" y="6046"/>
                </a:lnTo>
                <a:lnTo>
                  <a:pt x="12759" y="6039"/>
                </a:lnTo>
                <a:lnTo>
                  <a:pt x="12830" y="6036"/>
                </a:lnTo>
                <a:lnTo>
                  <a:pt x="12814" y="6063"/>
                </a:lnTo>
                <a:lnTo>
                  <a:pt x="12779" y="6088"/>
                </a:lnTo>
                <a:lnTo>
                  <a:pt x="12732" y="6111"/>
                </a:lnTo>
                <a:lnTo>
                  <a:pt x="12677" y="6127"/>
                </a:lnTo>
                <a:lnTo>
                  <a:pt x="12619" y="6129"/>
                </a:lnTo>
                <a:lnTo>
                  <a:pt x="12559" y="6118"/>
                </a:lnTo>
                <a:lnTo>
                  <a:pt x="12505" y="6087"/>
                </a:lnTo>
                <a:lnTo>
                  <a:pt x="12461" y="6034"/>
                </a:lnTo>
                <a:lnTo>
                  <a:pt x="12326" y="6062"/>
                </a:lnTo>
                <a:lnTo>
                  <a:pt x="12284" y="6068"/>
                </a:lnTo>
                <a:lnTo>
                  <a:pt x="12303" y="6060"/>
                </a:lnTo>
                <a:lnTo>
                  <a:pt x="12354" y="6045"/>
                </a:lnTo>
                <a:lnTo>
                  <a:pt x="12406" y="6029"/>
                </a:lnTo>
                <a:lnTo>
                  <a:pt x="12429" y="6016"/>
                </a:lnTo>
                <a:lnTo>
                  <a:pt x="12392" y="6015"/>
                </a:lnTo>
                <a:lnTo>
                  <a:pt x="12265" y="6030"/>
                </a:lnTo>
                <a:lnTo>
                  <a:pt x="12307" y="6003"/>
                </a:lnTo>
                <a:lnTo>
                  <a:pt x="12321" y="5987"/>
                </a:lnTo>
                <a:lnTo>
                  <a:pt x="12314" y="5979"/>
                </a:lnTo>
                <a:lnTo>
                  <a:pt x="12295" y="5975"/>
                </a:lnTo>
                <a:lnTo>
                  <a:pt x="12275" y="5975"/>
                </a:lnTo>
                <a:lnTo>
                  <a:pt x="12258" y="5974"/>
                </a:lnTo>
                <a:lnTo>
                  <a:pt x="12256" y="5970"/>
                </a:lnTo>
                <a:lnTo>
                  <a:pt x="12276" y="5961"/>
                </a:lnTo>
                <a:lnTo>
                  <a:pt x="12299" y="5952"/>
                </a:lnTo>
                <a:lnTo>
                  <a:pt x="12327" y="5953"/>
                </a:lnTo>
                <a:lnTo>
                  <a:pt x="12356" y="5959"/>
                </a:lnTo>
                <a:lnTo>
                  <a:pt x="12383" y="5965"/>
                </a:lnTo>
                <a:lnTo>
                  <a:pt x="12402" y="5967"/>
                </a:lnTo>
                <a:lnTo>
                  <a:pt x="12411" y="5965"/>
                </a:lnTo>
                <a:lnTo>
                  <a:pt x="12405" y="5950"/>
                </a:lnTo>
                <a:lnTo>
                  <a:pt x="12381" y="5920"/>
                </a:lnTo>
                <a:lnTo>
                  <a:pt x="12306" y="5818"/>
                </a:lnTo>
                <a:lnTo>
                  <a:pt x="12298" y="5709"/>
                </a:lnTo>
                <a:lnTo>
                  <a:pt x="12348" y="5598"/>
                </a:lnTo>
                <a:lnTo>
                  <a:pt x="12442" y="5493"/>
                </a:lnTo>
                <a:lnTo>
                  <a:pt x="12572" y="5396"/>
                </a:lnTo>
                <a:lnTo>
                  <a:pt x="12728" y="5317"/>
                </a:lnTo>
                <a:lnTo>
                  <a:pt x="12899" y="5260"/>
                </a:lnTo>
                <a:lnTo>
                  <a:pt x="13075" y="5232"/>
                </a:lnTo>
                <a:lnTo>
                  <a:pt x="13025" y="5228"/>
                </a:lnTo>
                <a:lnTo>
                  <a:pt x="12974" y="5234"/>
                </a:lnTo>
                <a:lnTo>
                  <a:pt x="12923" y="5247"/>
                </a:lnTo>
                <a:lnTo>
                  <a:pt x="12872" y="5262"/>
                </a:lnTo>
                <a:lnTo>
                  <a:pt x="12821" y="5278"/>
                </a:lnTo>
                <a:lnTo>
                  <a:pt x="12773" y="5290"/>
                </a:lnTo>
                <a:lnTo>
                  <a:pt x="12724" y="5297"/>
                </a:lnTo>
                <a:lnTo>
                  <a:pt x="12680" y="5294"/>
                </a:lnTo>
                <a:lnTo>
                  <a:pt x="12712" y="5272"/>
                </a:lnTo>
                <a:lnTo>
                  <a:pt x="12736" y="5257"/>
                </a:lnTo>
                <a:lnTo>
                  <a:pt x="12753" y="5247"/>
                </a:lnTo>
                <a:lnTo>
                  <a:pt x="12759" y="5238"/>
                </a:lnTo>
                <a:lnTo>
                  <a:pt x="12755" y="5230"/>
                </a:lnTo>
                <a:lnTo>
                  <a:pt x="12742" y="5220"/>
                </a:lnTo>
                <a:lnTo>
                  <a:pt x="12717" y="5207"/>
                </a:lnTo>
                <a:lnTo>
                  <a:pt x="12680" y="5187"/>
                </a:lnTo>
                <a:lnTo>
                  <a:pt x="12694" y="5150"/>
                </a:lnTo>
                <a:lnTo>
                  <a:pt x="12737" y="5116"/>
                </a:lnTo>
                <a:lnTo>
                  <a:pt x="12795" y="5085"/>
                </a:lnTo>
                <a:lnTo>
                  <a:pt x="12851" y="5060"/>
                </a:lnTo>
                <a:lnTo>
                  <a:pt x="12891" y="5039"/>
                </a:lnTo>
                <a:lnTo>
                  <a:pt x="12902" y="5025"/>
                </a:lnTo>
                <a:lnTo>
                  <a:pt x="12865" y="5019"/>
                </a:lnTo>
                <a:lnTo>
                  <a:pt x="12768" y="5020"/>
                </a:lnTo>
                <a:lnTo>
                  <a:pt x="12740" y="5011"/>
                </a:lnTo>
                <a:lnTo>
                  <a:pt x="12712" y="4992"/>
                </a:lnTo>
                <a:lnTo>
                  <a:pt x="12685" y="4968"/>
                </a:lnTo>
                <a:lnTo>
                  <a:pt x="12657" y="4945"/>
                </a:lnTo>
                <a:lnTo>
                  <a:pt x="12626" y="4929"/>
                </a:lnTo>
                <a:lnTo>
                  <a:pt x="12593" y="4922"/>
                </a:lnTo>
                <a:lnTo>
                  <a:pt x="12556" y="4933"/>
                </a:lnTo>
                <a:lnTo>
                  <a:pt x="12514" y="4964"/>
                </a:lnTo>
                <a:lnTo>
                  <a:pt x="12475" y="5084"/>
                </a:lnTo>
                <a:lnTo>
                  <a:pt x="12397" y="5130"/>
                </a:lnTo>
                <a:lnTo>
                  <a:pt x="12290" y="5120"/>
                </a:lnTo>
                <a:lnTo>
                  <a:pt x="12165" y="5071"/>
                </a:lnTo>
                <a:lnTo>
                  <a:pt x="12032" y="5004"/>
                </a:lnTo>
                <a:lnTo>
                  <a:pt x="11901" y="4934"/>
                </a:lnTo>
                <a:lnTo>
                  <a:pt x="11782" y="4880"/>
                </a:lnTo>
                <a:lnTo>
                  <a:pt x="11685" y="4861"/>
                </a:lnTo>
                <a:lnTo>
                  <a:pt x="11671" y="4786"/>
                </a:lnTo>
                <a:lnTo>
                  <a:pt x="11643" y="4731"/>
                </a:lnTo>
                <a:lnTo>
                  <a:pt x="11608" y="4697"/>
                </a:lnTo>
                <a:lnTo>
                  <a:pt x="11566" y="4683"/>
                </a:lnTo>
                <a:lnTo>
                  <a:pt x="11524" y="4688"/>
                </a:lnTo>
                <a:lnTo>
                  <a:pt x="11484" y="4712"/>
                </a:lnTo>
                <a:lnTo>
                  <a:pt x="11452" y="4756"/>
                </a:lnTo>
                <a:lnTo>
                  <a:pt x="11432" y="4817"/>
                </a:lnTo>
                <a:lnTo>
                  <a:pt x="11371" y="4908"/>
                </a:lnTo>
                <a:lnTo>
                  <a:pt x="11250" y="4972"/>
                </a:lnTo>
                <a:lnTo>
                  <a:pt x="11103" y="5009"/>
                </a:lnTo>
                <a:lnTo>
                  <a:pt x="10966" y="5025"/>
                </a:lnTo>
                <a:lnTo>
                  <a:pt x="10872" y="5024"/>
                </a:lnTo>
                <a:lnTo>
                  <a:pt x="10859" y="5010"/>
                </a:lnTo>
                <a:lnTo>
                  <a:pt x="10959" y="4986"/>
                </a:lnTo>
                <a:lnTo>
                  <a:pt x="11212" y="4955"/>
                </a:lnTo>
                <a:lnTo>
                  <a:pt x="11093" y="4957"/>
                </a:lnTo>
                <a:lnTo>
                  <a:pt x="10998" y="4948"/>
                </a:lnTo>
                <a:lnTo>
                  <a:pt x="10929" y="4930"/>
                </a:lnTo>
                <a:lnTo>
                  <a:pt x="10888" y="4902"/>
                </a:lnTo>
                <a:lnTo>
                  <a:pt x="10878" y="4865"/>
                </a:lnTo>
                <a:lnTo>
                  <a:pt x="10902" y="4818"/>
                </a:lnTo>
                <a:lnTo>
                  <a:pt x="10962" y="4763"/>
                </a:lnTo>
                <a:lnTo>
                  <a:pt x="11059" y="4701"/>
                </a:lnTo>
                <a:lnTo>
                  <a:pt x="10961" y="4693"/>
                </a:lnTo>
                <a:lnTo>
                  <a:pt x="10816" y="4700"/>
                </a:lnTo>
                <a:lnTo>
                  <a:pt x="10646" y="4714"/>
                </a:lnTo>
                <a:lnTo>
                  <a:pt x="10481" y="4733"/>
                </a:lnTo>
                <a:lnTo>
                  <a:pt x="10341" y="4748"/>
                </a:lnTo>
                <a:lnTo>
                  <a:pt x="10253" y="4757"/>
                </a:lnTo>
                <a:lnTo>
                  <a:pt x="10241" y="4753"/>
                </a:lnTo>
                <a:lnTo>
                  <a:pt x="10330" y="4731"/>
                </a:lnTo>
                <a:lnTo>
                  <a:pt x="10231" y="4724"/>
                </a:lnTo>
                <a:lnTo>
                  <a:pt x="10174" y="4717"/>
                </a:lnTo>
                <a:lnTo>
                  <a:pt x="10151" y="4712"/>
                </a:lnTo>
                <a:lnTo>
                  <a:pt x="10157" y="4706"/>
                </a:lnTo>
                <a:lnTo>
                  <a:pt x="10189" y="4696"/>
                </a:lnTo>
                <a:lnTo>
                  <a:pt x="10239" y="4682"/>
                </a:lnTo>
                <a:lnTo>
                  <a:pt x="10301" y="4663"/>
                </a:lnTo>
                <a:lnTo>
                  <a:pt x="10371" y="4633"/>
                </a:lnTo>
                <a:lnTo>
                  <a:pt x="10380" y="4661"/>
                </a:lnTo>
                <a:lnTo>
                  <a:pt x="10390" y="4678"/>
                </a:lnTo>
                <a:lnTo>
                  <a:pt x="10400" y="4684"/>
                </a:lnTo>
                <a:lnTo>
                  <a:pt x="10411" y="4683"/>
                </a:lnTo>
                <a:lnTo>
                  <a:pt x="10422" y="4675"/>
                </a:lnTo>
                <a:lnTo>
                  <a:pt x="10435" y="4663"/>
                </a:lnTo>
                <a:lnTo>
                  <a:pt x="10447" y="4649"/>
                </a:lnTo>
                <a:lnTo>
                  <a:pt x="10463" y="4633"/>
                </a:lnTo>
                <a:lnTo>
                  <a:pt x="10465" y="4637"/>
                </a:lnTo>
                <a:lnTo>
                  <a:pt x="10469" y="4644"/>
                </a:lnTo>
                <a:lnTo>
                  <a:pt x="10465" y="4645"/>
                </a:lnTo>
                <a:lnTo>
                  <a:pt x="10465" y="4645"/>
                </a:lnTo>
                <a:lnTo>
                  <a:pt x="10467" y="4645"/>
                </a:lnTo>
                <a:lnTo>
                  <a:pt x="10469" y="4644"/>
                </a:lnTo>
                <a:lnTo>
                  <a:pt x="10465" y="4637"/>
                </a:lnTo>
                <a:lnTo>
                  <a:pt x="10463" y="4632"/>
                </a:lnTo>
                <a:lnTo>
                  <a:pt x="10472" y="4624"/>
                </a:lnTo>
                <a:lnTo>
                  <a:pt x="10481" y="4617"/>
                </a:lnTo>
                <a:lnTo>
                  <a:pt x="10490" y="4609"/>
                </a:lnTo>
                <a:lnTo>
                  <a:pt x="10500" y="4604"/>
                </a:lnTo>
                <a:lnTo>
                  <a:pt x="10511" y="4600"/>
                </a:lnTo>
                <a:lnTo>
                  <a:pt x="10521" y="4599"/>
                </a:lnTo>
                <a:lnTo>
                  <a:pt x="10533" y="4599"/>
                </a:lnTo>
                <a:lnTo>
                  <a:pt x="10546" y="4602"/>
                </a:lnTo>
                <a:lnTo>
                  <a:pt x="10590" y="4582"/>
                </a:lnTo>
                <a:lnTo>
                  <a:pt x="10649" y="4571"/>
                </a:lnTo>
                <a:lnTo>
                  <a:pt x="10715" y="4563"/>
                </a:lnTo>
                <a:lnTo>
                  <a:pt x="10779" y="4558"/>
                </a:lnTo>
                <a:lnTo>
                  <a:pt x="10832" y="4552"/>
                </a:lnTo>
                <a:lnTo>
                  <a:pt x="10865" y="4543"/>
                </a:lnTo>
                <a:lnTo>
                  <a:pt x="10872" y="4526"/>
                </a:lnTo>
                <a:lnTo>
                  <a:pt x="10840" y="4501"/>
                </a:lnTo>
                <a:lnTo>
                  <a:pt x="10724" y="4463"/>
                </a:lnTo>
                <a:lnTo>
                  <a:pt x="10691" y="4435"/>
                </a:lnTo>
                <a:lnTo>
                  <a:pt x="10719" y="4414"/>
                </a:lnTo>
                <a:lnTo>
                  <a:pt x="10794" y="4402"/>
                </a:lnTo>
                <a:lnTo>
                  <a:pt x="10897" y="4395"/>
                </a:lnTo>
                <a:lnTo>
                  <a:pt x="11012" y="4393"/>
                </a:lnTo>
                <a:lnTo>
                  <a:pt x="11119" y="4394"/>
                </a:lnTo>
                <a:lnTo>
                  <a:pt x="11201" y="4397"/>
                </a:lnTo>
                <a:lnTo>
                  <a:pt x="11215" y="4436"/>
                </a:lnTo>
                <a:lnTo>
                  <a:pt x="11229" y="4468"/>
                </a:lnTo>
                <a:lnTo>
                  <a:pt x="11245" y="4493"/>
                </a:lnTo>
                <a:lnTo>
                  <a:pt x="11261" y="4514"/>
                </a:lnTo>
                <a:lnTo>
                  <a:pt x="11280" y="4529"/>
                </a:lnTo>
                <a:lnTo>
                  <a:pt x="11305" y="4543"/>
                </a:lnTo>
                <a:lnTo>
                  <a:pt x="11333" y="4556"/>
                </a:lnTo>
                <a:lnTo>
                  <a:pt x="11364" y="4567"/>
                </a:lnTo>
                <a:lnTo>
                  <a:pt x="11398" y="4563"/>
                </a:lnTo>
                <a:lnTo>
                  <a:pt x="11429" y="4557"/>
                </a:lnTo>
                <a:lnTo>
                  <a:pt x="11461" y="4548"/>
                </a:lnTo>
                <a:lnTo>
                  <a:pt x="11493" y="4540"/>
                </a:lnTo>
                <a:lnTo>
                  <a:pt x="11525" y="4532"/>
                </a:lnTo>
                <a:lnTo>
                  <a:pt x="11558" y="4525"/>
                </a:lnTo>
                <a:lnTo>
                  <a:pt x="11592" y="4520"/>
                </a:lnTo>
                <a:lnTo>
                  <a:pt x="11627" y="4519"/>
                </a:lnTo>
                <a:lnTo>
                  <a:pt x="11627" y="4548"/>
                </a:lnTo>
                <a:lnTo>
                  <a:pt x="11633" y="4563"/>
                </a:lnTo>
                <a:lnTo>
                  <a:pt x="11642" y="4570"/>
                </a:lnTo>
                <a:lnTo>
                  <a:pt x="11652" y="4566"/>
                </a:lnTo>
                <a:lnTo>
                  <a:pt x="11661" y="4554"/>
                </a:lnTo>
                <a:lnTo>
                  <a:pt x="11667" y="4537"/>
                </a:lnTo>
                <a:lnTo>
                  <a:pt x="11667" y="4515"/>
                </a:lnTo>
                <a:lnTo>
                  <a:pt x="11660" y="4491"/>
                </a:lnTo>
                <a:lnTo>
                  <a:pt x="11623" y="4477"/>
                </a:lnTo>
                <a:lnTo>
                  <a:pt x="11592" y="4479"/>
                </a:lnTo>
                <a:lnTo>
                  <a:pt x="11568" y="4491"/>
                </a:lnTo>
                <a:lnTo>
                  <a:pt x="11553" y="4502"/>
                </a:lnTo>
                <a:lnTo>
                  <a:pt x="11545" y="4509"/>
                </a:lnTo>
                <a:lnTo>
                  <a:pt x="11545" y="4498"/>
                </a:lnTo>
                <a:lnTo>
                  <a:pt x="11555" y="4465"/>
                </a:lnTo>
                <a:lnTo>
                  <a:pt x="11576" y="4402"/>
                </a:lnTo>
                <a:lnTo>
                  <a:pt x="11615" y="4362"/>
                </a:lnTo>
                <a:lnTo>
                  <a:pt x="11669" y="4329"/>
                </a:lnTo>
                <a:lnTo>
                  <a:pt x="11732" y="4301"/>
                </a:lnTo>
                <a:lnTo>
                  <a:pt x="11797" y="4280"/>
                </a:lnTo>
                <a:lnTo>
                  <a:pt x="11860" y="4264"/>
                </a:lnTo>
                <a:lnTo>
                  <a:pt x="11912" y="4253"/>
                </a:lnTo>
                <a:lnTo>
                  <a:pt x="11948" y="4248"/>
                </a:lnTo>
                <a:lnTo>
                  <a:pt x="11960" y="4249"/>
                </a:lnTo>
                <a:lnTo>
                  <a:pt x="11990" y="4276"/>
                </a:lnTo>
                <a:lnTo>
                  <a:pt x="11973" y="4291"/>
                </a:lnTo>
                <a:lnTo>
                  <a:pt x="11927" y="4304"/>
                </a:lnTo>
                <a:lnTo>
                  <a:pt x="11866" y="4323"/>
                </a:lnTo>
                <a:lnTo>
                  <a:pt x="11806" y="4357"/>
                </a:lnTo>
                <a:lnTo>
                  <a:pt x="11763" y="4416"/>
                </a:lnTo>
                <a:lnTo>
                  <a:pt x="11753" y="4505"/>
                </a:lnTo>
                <a:lnTo>
                  <a:pt x="11790" y="4636"/>
                </a:lnTo>
                <a:lnTo>
                  <a:pt x="11888" y="4721"/>
                </a:lnTo>
                <a:lnTo>
                  <a:pt x="11977" y="4737"/>
                </a:lnTo>
                <a:lnTo>
                  <a:pt x="12052" y="4698"/>
                </a:lnTo>
                <a:lnTo>
                  <a:pt x="12108" y="4624"/>
                </a:lnTo>
                <a:lnTo>
                  <a:pt x="12140" y="4529"/>
                </a:lnTo>
                <a:lnTo>
                  <a:pt x="12140" y="4430"/>
                </a:lnTo>
                <a:lnTo>
                  <a:pt x="12104" y="4342"/>
                </a:lnTo>
                <a:lnTo>
                  <a:pt x="12027" y="4281"/>
                </a:lnTo>
                <a:lnTo>
                  <a:pt x="12135" y="4281"/>
                </a:lnTo>
                <a:lnTo>
                  <a:pt x="12235" y="4282"/>
                </a:lnTo>
                <a:lnTo>
                  <a:pt x="12321" y="4283"/>
                </a:lnTo>
                <a:lnTo>
                  <a:pt x="12383" y="4278"/>
                </a:lnTo>
                <a:lnTo>
                  <a:pt x="12415" y="4262"/>
                </a:lnTo>
                <a:lnTo>
                  <a:pt x="12411" y="4231"/>
                </a:lnTo>
                <a:lnTo>
                  <a:pt x="12362" y="4180"/>
                </a:lnTo>
                <a:lnTo>
                  <a:pt x="12260" y="4106"/>
                </a:lnTo>
                <a:lnTo>
                  <a:pt x="12284" y="4109"/>
                </a:lnTo>
                <a:lnTo>
                  <a:pt x="12308" y="4112"/>
                </a:lnTo>
                <a:lnTo>
                  <a:pt x="12334" y="4114"/>
                </a:lnTo>
                <a:lnTo>
                  <a:pt x="12360" y="4115"/>
                </a:lnTo>
                <a:lnTo>
                  <a:pt x="12387" y="4118"/>
                </a:lnTo>
                <a:lnTo>
                  <a:pt x="12414" y="4120"/>
                </a:lnTo>
                <a:lnTo>
                  <a:pt x="12441" y="4123"/>
                </a:lnTo>
                <a:lnTo>
                  <a:pt x="12469" y="4124"/>
                </a:lnTo>
                <a:lnTo>
                  <a:pt x="12458" y="4126"/>
                </a:lnTo>
                <a:lnTo>
                  <a:pt x="12449" y="4128"/>
                </a:lnTo>
                <a:lnTo>
                  <a:pt x="12439" y="4131"/>
                </a:lnTo>
                <a:lnTo>
                  <a:pt x="12430" y="4136"/>
                </a:lnTo>
                <a:lnTo>
                  <a:pt x="12439" y="4138"/>
                </a:lnTo>
                <a:lnTo>
                  <a:pt x="12448" y="4140"/>
                </a:lnTo>
                <a:lnTo>
                  <a:pt x="12457" y="4141"/>
                </a:lnTo>
                <a:lnTo>
                  <a:pt x="12465" y="4141"/>
                </a:lnTo>
                <a:lnTo>
                  <a:pt x="12474" y="4140"/>
                </a:lnTo>
                <a:lnTo>
                  <a:pt x="12481" y="4137"/>
                </a:lnTo>
                <a:lnTo>
                  <a:pt x="12490" y="4134"/>
                </a:lnTo>
                <a:lnTo>
                  <a:pt x="12498" y="4128"/>
                </a:lnTo>
                <a:lnTo>
                  <a:pt x="12493" y="4127"/>
                </a:lnTo>
                <a:lnTo>
                  <a:pt x="12486" y="4126"/>
                </a:lnTo>
                <a:lnTo>
                  <a:pt x="12527" y="4128"/>
                </a:lnTo>
                <a:lnTo>
                  <a:pt x="12568" y="4131"/>
                </a:lnTo>
                <a:lnTo>
                  <a:pt x="12610" y="4133"/>
                </a:lnTo>
                <a:lnTo>
                  <a:pt x="12652" y="4134"/>
                </a:lnTo>
                <a:lnTo>
                  <a:pt x="12694" y="4136"/>
                </a:lnTo>
                <a:lnTo>
                  <a:pt x="12735" y="4138"/>
                </a:lnTo>
                <a:lnTo>
                  <a:pt x="12777" y="4140"/>
                </a:lnTo>
                <a:lnTo>
                  <a:pt x="12819" y="4140"/>
                </a:lnTo>
                <a:lnTo>
                  <a:pt x="12788" y="4178"/>
                </a:lnTo>
                <a:lnTo>
                  <a:pt x="12786" y="4212"/>
                </a:lnTo>
                <a:lnTo>
                  <a:pt x="12802" y="4239"/>
                </a:lnTo>
                <a:lnTo>
                  <a:pt x="12831" y="4257"/>
                </a:lnTo>
                <a:lnTo>
                  <a:pt x="12865" y="4262"/>
                </a:lnTo>
                <a:lnTo>
                  <a:pt x="12894" y="4252"/>
                </a:lnTo>
                <a:lnTo>
                  <a:pt x="12912" y="4225"/>
                </a:lnTo>
                <a:lnTo>
                  <a:pt x="12909" y="4175"/>
                </a:lnTo>
                <a:lnTo>
                  <a:pt x="12884" y="4150"/>
                </a:lnTo>
                <a:lnTo>
                  <a:pt x="12880" y="4134"/>
                </a:lnTo>
                <a:lnTo>
                  <a:pt x="12895" y="4126"/>
                </a:lnTo>
                <a:lnTo>
                  <a:pt x="12922" y="4123"/>
                </a:lnTo>
                <a:lnTo>
                  <a:pt x="12956" y="4122"/>
                </a:lnTo>
                <a:lnTo>
                  <a:pt x="12993" y="4119"/>
                </a:lnTo>
                <a:lnTo>
                  <a:pt x="13026" y="4112"/>
                </a:lnTo>
                <a:lnTo>
                  <a:pt x="13053" y="4096"/>
                </a:lnTo>
                <a:lnTo>
                  <a:pt x="13024" y="4086"/>
                </a:lnTo>
                <a:lnTo>
                  <a:pt x="12986" y="4080"/>
                </a:lnTo>
                <a:lnTo>
                  <a:pt x="12942" y="4076"/>
                </a:lnTo>
                <a:lnTo>
                  <a:pt x="12903" y="4072"/>
                </a:lnTo>
                <a:lnTo>
                  <a:pt x="12870" y="4067"/>
                </a:lnTo>
                <a:lnTo>
                  <a:pt x="12853" y="4059"/>
                </a:lnTo>
                <a:lnTo>
                  <a:pt x="12857" y="4047"/>
                </a:lnTo>
                <a:lnTo>
                  <a:pt x="12889" y="4026"/>
                </a:lnTo>
                <a:lnTo>
                  <a:pt x="12885" y="3999"/>
                </a:lnTo>
                <a:lnTo>
                  <a:pt x="12873" y="3982"/>
                </a:lnTo>
                <a:lnTo>
                  <a:pt x="12858" y="3969"/>
                </a:lnTo>
                <a:lnTo>
                  <a:pt x="12838" y="3961"/>
                </a:lnTo>
                <a:lnTo>
                  <a:pt x="12786" y="3955"/>
                </a:lnTo>
                <a:lnTo>
                  <a:pt x="12727" y="3946"/>
                </a:lnTo>
                <a:lnTo>
                  <a:pt x="12707" y="3929"/>
                </a:lnTo>
                <a:lnTo>
                  <a:pt x="12724" y="3923"/>
                </a:lnTo>
                <a:lnTo>
                  <a:pt x="12768" y="3924"/>
                </a:lnTo>
                <a:lnTo>
                  <a:pt x="12826" y="3932"/>
                </a:lnTo>
                <a:lnTo>
                  <a:pt x="12891" y="3942"/>
                </a:lnTo>
                <a:lnTo>
                  <a:pt x="12952" y="3951"/>
                </a:lnTo>
                <a:lnTo>
                  <a:pt x="13000" y="3956"/>
                </a:lnTo>
                <a:lnTo>
                  <a:pt x="13021" y="3956"/>
                </a:lnTo>
                <a:lnTo>
                  <a:pt x="13024" y="3959"/>
                </a:lnTo>
                <a:lnTo>
                  <a:pt x="13028" y="3960"/>
                </a:lnTo>
                <a:lnTo>
                  <a:pt x="13031" y="3960"/>
                </a:lnTo>
                <a:lnTo>
                  <a:pt x="13037" y="3959"/>
                </a:lnTo>
                <a:lnTo>
                  <a:pt x="13029" y="3956"/>
                </a:lnTo>
                <a:lnTo>
                  <a:pt x="13021" y="3955"/>
                </a:lnTo>
                <a:lnTo>
                  <a:pt x="13017" y="3951"/>
                </a:lnTo>
                <a:lnTo>
                  <a:pt x="13008" y="3947"/>
                </a:lnTo>
                <a:lnTo>
                  <a:pt x="12993" y="3941"/>
                </a:lnTo>
                <a:lnTo>
                  <a:pt x="12973" y="3933"/>
                </a:lnTo>
                <a:lnTo>
                  <a:pt x="12945" y="3924"/>
                </a:lnTo>
                <a:lnTo>
                  <a:pt x="12909" y="3913"/>
                </a:lnTo>
                <a:lnTo>
                  <a:pt x="12866" y="3899"/>
                </a:lnTo>
                <a:lnTo>
                  <a:pt x="12815" y="3884"/>
                </a:lnTo>
                <a:lnTo>
                  <a:pt x="12908" y="3857"/>
                </a:lnTo>
                <a:lnTo>
                  <a:pt x="12961" y="3826"/>
                </a:lnTo>
                <a:lnTo>
                  <a:pt x="12983" y="3791"/>
                </a:lnTo>
                <a:lnTo>
                  <a:pt x="12975" y="3755"/>
                </a:lnTo>
                <a:lnTo>
                  <a:pt x="12944" y="3719"/>
                </a:lnTo>
                <a:lnTo>
                  <a:pt x="12891" y="3686"/>
                </a:lnTo>
                <a:lnTo>
                  <a:pt x="12825" y="3656"/>
                </a:lnTo>
                <a:lnTo>
                  <a:pt x="12747" y="3632"/>
                </a:lnTo>
                <a:lnTo>
                  <a:pt x="12306" y="3530"/>
                </a:lnTo>
                <a:lnTo>
                  <a:pt x="12058" y="3471"/>
                </a:lnTo>
                <a:lnTo>
                  <a:pt x="11953" y="3438"/>
                </a:lnTo>
                <a:lnTo>
                  <a:pt x="11930" y="3411"/>
                </a:lnTo>
                <a:lnTo>
                  <a:pt x="11937" y="3373"/>
                </a:lnTo>
                <a:lnTo>
                  <a:pt x="11920" y="3307"/>
                </a:lnTo>
                <a:lnTo>
                  <a:pt x="11820" y="3195"/>
                </a:lnTo>
                <a:lnTo>
                  <a:pt x="11585" y="3017"/>
                </a:lnTo>
                <a:lnTo>
                  <a:pt x="11648" y="2995"/>
                </a:lnTo>
                <a:lnTo>
                  <a:pt x="11701" y="3010"/>
                </a:lnTo>
                <a:lnTo>
                  <a:pt x="11745" y="3047"/>
                </a:lnTo>
                <a:lnTo>
                  <a:pt x="11787" y="3094"/>
                </a:lnTo>
                <a:lnTo>
                  <a:pt x="11829" y="3135"/>
                </a:lnTo>
                <a:lnTo>
                  <a:pt x="11876" y="3158"/>
                </a:lnTo>
                <a:lnTo>
                  <a:pt x="11930" y="3148"/>
                </a:lnTo>
                <a:lnTo>
                  <a:pt x="11996" y="3092"/>
                </a:lnTo>
                <a:lnTo>
                  <a:pt x="11903" y="3086"/>
                </a:lnTo>
                <a:lnTo>
                  <a:pt x="11860" y="3066"/>
                </a:lnTo>
                <a:lnTo>
                  <a:pt x="11860" y="3040"/>
                </a:lnTo>
                <a:lnTo>
                  <a:pt x="11893" y="3008"/>
                </a:lnTo>
                <a:lnTo>
                  <a:pt x="11954" y="2974"/>
                </a:lnTo>
                <a:lnTo>
                  <a:pt x="12033" y="2942"/>
                </a:lnTo>
                <a:lnTo>
                  <a:pt x="12123" y="2914"/>
                </a:lnTo>
                <a:lnTo>
                  <a:pt x="12216" y="2895"/>
                </a:lnTo>
                <a:lnTo>
                  <a:pt x="12167" y="2916"/>
                </a:lnTo>
                <a:lnTo>
                  <a:pt x="12112" y="2930"/>
                </a:lnTo>
                <a:lnTo>
                  <a:pt x="12057" y="2940"/>
                </a:lnTo>
                <a:lnTo>
                  <a:pt x="12010" y="2951"/>
                </a:lnTo>
                <a:lnTo>
                  <a:pt x="11978" y="2963"/>
                </a:lnTo>
                <a:lnTo>
                  <a:pt x="11968" y="2982"/>
                </a:lnTo>
                <a:lnTo>
                  <a:pt x="11985" y="3010"/>
                </a:lnTo>
                <a:lnTo>
                  <a:pt x="12037" y="3054"/>
                </a:lnTo>
                <a:lnTo>
                  <a:pt x="12128" y="3065"/>
                </a:lnTo>
                <a:lnTo>
                  <a:pt x="12239" y="3044"/>
                </a:lnTo>
                <a:lnTo>
                  <a:pt x="12362" y="3002"/>
                </a:lnTo>
                <a:lnTo>
                  <a:pt x="12485" y="2949"/>
                </a:lnTo>
                <a:lnTo>
                  <a:pt x="12600" y="2902"/>
                </a:lnTo>
                <a:lnTo>
                  <a:pt x="12699" y="2868"/>
                </a:lnTo>
                <a:lnTo>
                  <a:pt x="12770" y="2862"/>
                </a:lnTo>
                <a:lnTo>
                  <a:pt x="12807" y="2893"/>
                </a:lnTo>
                <a:lnTo>
                  <a:pt x="12868" y="2897"/>
                </a:lnTo>
                <a:lnTo>
                  <a:pt x="12913" y="2873"/>
                </a:lnTo>
                <a:lnTo>
                  <a:pt x="12942" y="2830"/>
                </a:lnTo>
                <a:lnTo>
                  <a:pt x="12958" y="2774"/>
                </a:lnTo>
                <a:lnTo>
                  <a:pt x="12963" y="2713"/>
                </a:lnTo>
                <a:lnTo>
                  <a:pt x="12959" y="2653"/>
                </a:lnTo>
                <a:lnTo>
                  <a:pt x="12949" y="2603"/>
                </a:lnTo>
                <a:lnTo>
                  <a:pt x="12935" y="2570"/>
                </a:lnTo>
                <a:lnTo>
                  <a:pt x="12876" y="2492"/>
                </a:lnTo>
                <a:lnTo>
                  <a:pt x="12758" y="2435"/>
                </a:lnTo>
                <a:lnTo>
                  <a:pt x="12597" y="2394"/>
                </a:lnTo>
                <a:lnTo>
                  <a:pt x="12415" y="2366"/>
                </a:lnTo>
                <a:lnTo>
                  <a:pt x="12229" y="2347"/>
                </a:lnTo>
                <a:lnTo>
                  <a:pt x="12061" y="2335"/>
                </a:lnTo>
                <a:lnTo>
                  <a:pt x="11929" y="2322"/>
                </a:lnTo>
                <a:lnTo>
                  <a:pt x="11851" y="2308"/>
                </a:lnTo>
                <a:lnTo>
                  <a:pt x="11852" y="2307"/>
                </a:lnTo>
                <a:lnTo>
                  <a:pt x="11852" y="2305"/>
                </a:lnTo>
                <a:lnTo>
                  <a:pt x="11846" y="2303"/>
                </a:lnTo>
                <a:lnTo>
                  <a:pt x="11838" y="2300"/>
                </a:lnTo>
                <a:lnTo>
                  <a:pt x="11838" y="2295"/>
                </a:lnTo>
                <a:lnTo>
                  <a:pt x="11845" y="2289"/>
                </a:lnTo>
                <a:lnTo>
                  <a:pt x="11857" y="2282"/>
                </a:lnTo>
                <a:lnTo>
                  <a:pt x="11876" y="2276"/>
                </a:lnTo>
                <a:lnTo>
                  <a:pt x="11903" y="2268"/>
                </a:lnTo>
                <a:lnTo>
                  <a:pt x="11936" y="2259"/>
                </a:lnTo>
                <a:lnTo>
                  <a:pt x="11977" y="2249"/>
                </a:lnTo>
                <a:lnTo>
                  <a:pt x="12025" y="2239"/>
                </a:lnTo>
                <a:lnTo>
                  <a:pt x="12092" y="2229"/>
                </a:lnTo>
                <a:lnTo>
                  <a:pt x="12130" y="2221"/>
                </a:lnTo>
                <a:lnTo>
                  <a:pt x="12145" y="2219"/>
                </a:lnTo>
                <a:lnTo>
                  <a:pt x="12148" y="2222"/>
                </a:lnTo>
                <a:lnTo>
                  <a:pt x="12143" y="2234"/>
                </a:lnTo>
                <a:lnTo>
                  <a:pt x="12139" y="2254"/>
                </a:lnTo>
                <a:lnTo>
                  <a:pt x="12144" y="2285"/>
                </a:lnTo>
                <a:lnTo>
                  <a:pt x="12164" y="2327"/>
                </a:lnTo>
                <a:lnTo>
                  <a:pt x="12186" y="2336"/>
                </a:lnTo>
                <a:lnTo>
                  <a:pt x="12210" y="2335"/>
                </a:lnTo>
                <a:lnTo>
                  <a:pt x="12232" y="2327"/>
                </a:lnTo>
                <a:lnTo>
                  <a:pt x="12251" y="2313"/>
                </a:lnTo>
                <a:lnTo>
                  <a:pt x="12266" y="2294"/>
                </a:lnTo>
                <a:lnTo>
                  <a:pt x="12272" y="2272"/>
                </a:lnTo>
                <a:lnTo>
                  <a:pt x="12271" y="2249"/>
                </a:lnTo>
                <a:lnTo>
                  <a:pt x="12258" y="2228"/>
                </a:lnTo>
                <a:lnTo>
                  <a:pt x="12376" y="2219"/>
                </a:lnTo>
                <a:lnTo>
                  <a:pt x="12474" y="2206"/>
                </a:lnTo>
                <a:lnTo>
                  <a:pt x="12560" y="2187"/>
                </a:lnTo>
                <a:lnTo>
                  <a:pt x="12642" y="2165"/>
                </a:lnTo>
                <a:lnTo>
                  <a:pt x="12722" y="2137"/>
                </a:lnTo>
                <a:lnTo>
                  <a:pt x="12809" y="2107"/>
                </a:lnTo>
                <a:lnTo>
                  <a:pt x="12908" y="2074"/>
                </a:lnTo>
                <a:lnTo>
                  <a:pt x="13025" y="2037"/>
                </a:lnTo>
                <a:lnTo>
                  <a:pt x="12918" y="1934"/>
                </a:lnTo>
                <a:lnTo>
                  <a:pt x="12779" y="1875"/>
                </a:lnTo>
                <a:lnTo>
                  <a:pt x="12630" y="1851"/>
                </a:lnTo>
                <a:lnTo>
                  <a:pt x="12499" y="1848"/>
                </a:lnTo>
                <a:lnTo>
                  <a:pt x="12410" y="1853"/>
                </a:lnTo>
                <a:lnTo>
                  <a:pt x="12388" y="1853"/>
                </a:lnTo>
                <a:lnTo>
                  <a:pt x="12460" y="1838"/>
                </a:lnTo>
                <a:lnTo>
                  <a:pt x="12648" y="1795"/>
                </a:lnTo>
                <a:lnTo>
                  <a:pt x="12568" y="1776"/>
                </a:lnTo>
                <a:lnTo>
                  <a:pt x="12526" y="1750"/>
                </a:lnTo>
                <a:lnTo>
                  <a:pt x="12508" y="1724"/>
                </a:lnTo>
                <a:lnTo>
                  <a:pt x="12504" y="1696"/>
                </a:lnTo>
                <a:lnTo>
                  <a:pt x="12502" y="1673"/>
                </a:lnTo>
                <a:lnTo>
                  <a:pt x="12489" y="1655"/>
                </a:lnTo>
                <a:lnTo>
                  <a:pt x="12452" y="1647"/>
                </a:lnTo>
                <a:lnTo>
                  <a:pt x="12379" y="1651"/>
                </a:lnTo>
                <a:lnTo>
                  <a:pt x="12354" y="1697"/>
                </a:lnTo>
                <a:lnTo>
                  <a:pt x="12279" y="1740"/>
                </a:lnTo>
                <a:lnTo>
                  <a:pt x="12173" y="1778"/>
                </a:lnTo>
                <a:lnTo>
                  <a:pt x="12051" y="1804"/>
                </a:lnTo>
                <a:lnTo>
                  <a:pt x="11929" y="1811"/>
                </a:lnTo>
                <a:lnTo>
                  <a:pt x="11824" y="1799"/>
                </a:lnTo>
                <a:lnTo>
                  <a:pt x="11752" y="1760"/>
                </a:lnTo>
                <a:lnTo>
                  <a:pt x="11729" y="1689"/>
                </a:lnTo>
                <a:lnTo>
                  <a:pt x="11745" y="1633"/>
                </a:lnTo>
                <a:lnTo>
                  <a:pt x="11743" y="1567"/>
                </a:lnTo>
                <a:lnTo>
                  <a:pt x="11725" y="1494"/>
                </a:lnTo>
                <a:lnTo>
                  <a:pt x="11697" y="1419"/>
                </a:lnTo>
                <a:lnTo>
                  <a:pt x="11667" y="1344"/>
                </a:lnTo>
                <a:lnTo>
                  <a:pt x="11642" y="1273"/>
                </a:lnTo>
                <a:lnTo>
                  <a:pt x="11625" y="1209"/>
                </a:lnTo>
                <a:lnTo>
                  <a:pt x="11625" y="1156"/>
                </a:lnTo>
                <a:lnTo>
                  <a:pt x="11683" y="1097"/>
                </a:lnTo>
                <a:lnTo>
                  <a:pt x="11752" y="1076"/>
                </a:lnTo>
                <a:lnTo>
                  <a:pt x="11824" y="1078"/>
                </a:lnTo>
                <a:lnTo>
                  <a:pt x="11898" y="1092"/>
                </a:lnTo>
                <a:lnTo>
                  <a:pt x="11968" y="1109"/>
                </a:lnTo>
                <a:lnTo>
                  <a:pt x="12028" y="1116"/>
                </a:lnTo>
                <a:lnTo>
                  <a:pt x="12075" y="1101"/>
                </a:lnTo>
                <a:lnTo>
                  <a:pt x="12104" y="1054"/>
                </a:lnTo>
                <a:lnTo>
                  <a:pt x="12144" y="1026"/>
                </a:lnTo>
                <a:lnTo>
                  <a:pt x="12158" y="993"/>
                </a:lnTo>
                <a:lnTo>
                  <a:pt x="12157" y="957"/>
                </a:lnTo>
                <a:lnTo>
                  <a:pt x="12146" y="923"/>
                </a:lnTo>
                <a:lnTo>
                  <a:pt x="12136" y="888"/>
                </a:lnTo>
                <a:lnTo>
                  <a:pt x="12137" y="858"/>
                </a:lnTo>
                <a:lnTo>
                  <a:pt x="12157" y="832"/>
                </a:lnTo>
                <a:lnTo>
                  <a:pt x="12202" y="815"/>
                </a:lnTo>
                <a:lnTo>
                  <a:pt x="12207" y="799"/>
                </a:lnTo>
                <a:lnTo>
                  <a:pt x="12193" y="794"/>
                </a:lnTo>
                <a:lnTo>
                  <a:pt x="12168" y="794"/>
                </a:lnTo>
                <a:lnTo>
                  <a:pt x="12136" y="797"/>
                </a:lnTo>
                <a:lnTo>
                  <a:pt x="12100" y="797"/>
                </a:lnTo>
                <a:lnTo>
                  <a:pt x="12070" y="792"/>
                </a:lnTo>
                <a:lnTo>
                  <a:pt x="12047" y="776"/>
                </a:lnTo>
                <a:lnTo>
                  <a:pt x="12038" y="747"/>
                </a:lnTo>
                <a:lnTo>
                  <a:pt x="12032" y="738"/>
                </a:lnTo>
                <a:lnTo>
                  <a:pt x="12024" y="738"/>
                </a:lnTo>
                <a:lnTo>
                  <a:pt x="12014" y="745"/>
                </a:lnTo>
                <a:lnTo>
                  <a:pt x="12002" y="755"/>
                </a:lnTo>
                <a:lnTo>
                  <a:pt x="11991" y="766"/>
                </a:lnTo>
                <a:lnTo>
                  <a:pt x="11977" y="774"/>
                </a:lnTo>
                <a:lnTo>
                  <a:pt x="11963" y="775"/>
                </a:lnTo>
                <a:lnTo>
                  <a:pt x="11948" y="769"/>
                </a:lnTo>
                <a:lnTo>
                  <a:pt x="11894" y="710"/>
                </a:lnTo>
                <a:lnTo>
                  <a:pt x="11842" y="689"/>
                </a:lnTo>
                <a:lnTo>
                  <a:pt x="11794" y="691"/>
                </a:lnTo>
                <a:lnTo>
                  <a:pt x="11745" y="706"/>
                </a:lnTo>
                <a:lnTo>
                  <a:pt x="11699" y="724"/>
                </a:lnTo>
                <a:lnTo>
                  <a:pt x="11653" y="733"/>
                </a:lnTo>
                <a:lnTo>
                  <a:pt x="11609" y="720"/>
                </a:lnTo>
                <a:lnTo>
                  <a:pt x="11564" y="677"/>
                </a:lnTo>
                <a:lnTo>
                  <a:pt x="11540" y="706"/>
                </a:lnTo>
                <a:lnTo>
                  <a:pt x="11517" y="736"/>
                </a:lnTo>
                <a:lnTo>
                  <a:pt x="11497" y="764"/>
                </a:lnTo>
                <a:lnTo>
                  <a:pt x="11475" y="789"/>
                </a:lnTo>
                <a:lnTo>
                  <a:pt x="11454" y="812"/>
                </a:lnTo>
                <a:lnTo>
                  <a:pt x="11429" y="831"/>
                </a:lnTo>
                <a:lnTo>
                  <a:pt x="11401" y="843"/>
                </a:lnTo>
                <a:lnTo>
                  <a:pt x="11368" y="849"/>
                </a:lnTo>
                <a:lnTo>
                  <a:pt x="11334" y="840"/>
                </a:lnTo>
                <a:lnTo>
                  <a:pt x="11293" y="846"/>
                </a:lnTo>
                <a:lnTo>
                  <a:pt x="11249" y="862"/>
                </a:lnTo>
                <a:lnTo>
                  <a:pt x="11204" y="878"/>
                </a:lnTo>
                <a:lnTo>
                  <a:pt x="11163" y="892"/>
                </a:lnTo>
                <a:lnTo>
                  <a:pt x="11128" y="897"/>
                </a:lnTo>
                <a:lnTo>
                  <a:pt x="11105" y="886"/>
                </a:lnTo>
                <a:lnTo>
                  <a:pt x="11094" y="854"/>
                </a:lnTo>
                <a:lnTo>
                  <a:pt x="11121" y="789"/>
                </a:lnTo>
                <a:lnTo>
                  <a:pt x="11130" y="732"/>
                </a:lnTo>
                <a:lnTo>
                  <a:pt x="11124" y="681"/>
                </a:lnTo>
                <a:lnTo>
                  <a:pt x="11105" y="638"/>
                </a:lnTo>
                <a:lnTo>
                  <a:pt x="11077" y="600"/>
                </a:lnTo>
                <a:lnTo>
                  <a:pt x="11041" y="569"/>
                </a:lnTo>
                <a:lnTo>
                  <a:pt x="11000" y="545"/>
                </a:lnTo>
                <a:lnTo>
                  <a:pt x="10959" y="527"/>
                </a:lnTo>
                <a:lnTo>
                  <a:pt x="10905" y="495"/>
                </a:lnTo>
                <a:lnTo>
                  <a:pt x="10850" y="479"/>
                </a:lnTo>
                <a:lnTo>
                  <a:pt x="10795" y="474"/>
                </a:lnTo>
                <a:lnTo>
                  <a:pt x="10740" y="475"/>
                </a:lnTo>
                <a:lnTo>
                  <a:pt x="10688" y="480"/>
                </a:lnTo>
                <a:lnTo>
                  <a:pt x="10637" y="482"/>
                </a:lnTo>
                <a:lnTo>
                  <a:pt x="10589" y="480"/>
                </a:lnTo>
                <a:lnTo>
                  <a:pt x="10544" y="467"/>
                </a:lnTo>
                <a:lnTo>
                  <a:pt x="10535" y="504"/>
                </a:lnTo>
                <a:lnTo>
                  <a:pt x="10530" y="545"/>
                </a:lnTo>
                <a:lnTo>
                  <a:pt x="10526" y="588"/>
                </a:lnTo>
                <a:lnTo>
                  <a:pt x="10524" y="631"/>
                </a:lnTo>
                <a:lnTo>
                  <a:pt x="10516" y="673"/>
                </a:lnTo>
                <a:lnTo>
                  <a:pt x="10505" y="714"/>
                </a:lnTo>
                <a:lnTo>
                  <a:pt x="10483" y="751"/>
                </a:lnTo>
                <a:lnTo>
                  <a:pt x="10453" y="783"/>
                </a:lnTo>
                <a:lnTo>
                  <a:pt x="10426" y="778"/>
                </a:lnTo>
                <a:lnTo>
                  <a:pt x="10407" y="776"/>
                </a:lnTo>
                <a:lnTo>
                  <a:pt x="10391" y="778"/>
                </a:lnTo>
                <a:lnTo>
                  <a:pt x="10380" y="783"/>
                </a:lnTo>
                <a:lnTo>
                  <a:pt x="10367" y="790"/>
                </a:lnTo>
                <a:lnTo>
                  <a:pt x="10351" y="801"/>
                </a:lnTo>
                <a:lnTo>
                  <a:pt x="10329" y="812"/>
                </a:lnTo>
                <a:lnTo>
                  <a:pt x="10298" y="827"/>
                </a:lnTo>
                <a:lnTo>
                  <a:pt x="10226" y="787"/>
                </a:lnTo>
                <a:lnTo>
                  <a:pt x="10175" y="756"/>
                </a:lnTo>
                <a:lnTo>
                  <a:pt x="10143" y="740"/>
                </a:lnTo>
                <a:lnTo>
                  <a:pt x="10124" y="737"/>
                </a:lnTo>
                <a:lnTo>
                  <a:pt x="10113" y="751"/>
                </a:lnTo>
                <a:lnTo>
                  <a:pt x="10106" y="783"/>
                </a:lnTo>
                <a:lnTo>
                  <a:pt x="10100" y="836"/>
                </a:lnTo>
                <a:lnTo>
                  <a:pt x="10088" y="910"/>
                </a:lnTo>
                <a:lnTo>
                  <a:pt x="10059" y="979"/>
                </a:lnTo>
                <a:lnTo>
                  <a:pt x="10040" y="1013"/>
                </a:lnTo>
                <a:lnTo>
                  <a:pt x="10028" y="1021"/>
                </a:lnTo>
                <a:lnTo>
                  <a:pt x="10021" y="1009"/>
                </a:lnTo>
                <a:lnTo>
                  <a:pt x="10016" y="981"/>
                </a:lnTo>
                <a:lnTo>
                  <a:pt x="10008" y="944"/>
                </a:lnTo>
                <a:lnTo>
                  <a:pt x="9995" y="905"/>
                </a:lnTo>
                <a:lnTo>
                  <a:pt x="9975" y="869"/>
                </a:lnTo>
                <a:lnTo>
                  <a:pt x="9911" y="895"/>
                </a:lnTo>
                <a:lnTo>
                  <a:pt x="9857" y="890"/>
                </a:lnTo>
                <a:lnTo>
                  <a:pt x="9813" y="862"/>
                </a:lnTo>
                <a:lnTo>
                  <a:pt x="9780" y="816"/>
                </a:lnTo>
                <a:lnTo>
                  <a:pt x="9757" y="757"/>
                </a:lnTo>
                <a:lnTo>
                  <a:pt x="9747" y="694"/>
                </a:lnTo>
                <a:lnTo>
                  <a:pt x="9746" y="629"/>
                </a:lnTo>
                <a:lnTo>
                  <a:pt x="9757" y="572"/>
                </a:lnTo>
                <a:lnTo>
                  <a:pt x="9762" y="589"/>
                </a:lnTo>
                <a:lnTo>
                  <a:pt x="9776" y="593"/>
                </a:lnTo>
                <a:lnTo>
                  <a:pt x="9798" y="586"/>
                </a:lnTo>
                <a:lnTo>
                  <a:pt x="9823" y="570"/>
                </a:lnTo>
                <a:lnTo>
                  <a:pt x="9850" y="550"/>
                </a:lnTo>
                <a:lnTo>
                  <a:pt x="9877" y="527"/>
                </a:lnTo>
                <a:lnTo>
                  <a:pt x="9900" y="503"/>
                </a:lnTo>
                <a:lnTo>
                  <a:pt x="9918" y="482"/>
                </a:lnTo>
                <a:lnTo>
                  <a:pt x="9910" y="440"/>
                </a:lnTo>
                <a:lnTo>
                  <a:pt x="9909" y="414"/>
                </a:lnTo>
                <a:lnTo>
                  <a:pt x="9913" y="401"/>
                </a:lnTo>
                <a:lnTo>
                  <a:pt x="9923" y="398"/>
                </a:lnTo>
                <a:lnTo>
                  <a:pt x="9937" y="405"/>
                </a:lnTo>
                <a:lnTo>
                  <a:pt x="9956" y="417"/>
                </a:lnTo>
                <a:lnTo>
                  <a:pt x="9978" y="435"/>
                </a:lnTo>
                <a:lnTo>
                  <a:pt x="10002" y="456"/>
                </a:lnTo>
                <a:lnTo>
                  <a:pt x="10124" y="433"/>
                </a:lnTo>
                <a:lnTo>
                  <a:pt x="10203" y="372"/>
                </a:lnTo>
                <a:lnTo>
                  <a:pt x="10242" y="289"/>
                </a:lnTo>
                <a:lnTo>
                  <a:pt x="10246" y="199"/>
                </a:lnTo>
                <a:lnTo>
                  <a:pt x="10216" y="117"/>
                </a:lnTo>
                <a:lnTo>
                  <a:pt x="10155" y="57"/>
                </a:lnTo>
                <a:lnTo>
                  <a:pt x="10067" y="36"/>
                </a:lnTo>
                <a:lnTo>
                  <a:pt x="9955" y="66"/>
                </a:lnTo>
                <a:lnTo>
                  <a:pt x="9934" y="79"/>
                </a:lnTo>
                <a:lnTo>
                  <a:pt x="9915" y="95"/>
                </a:lnTo>
                <a:lnTo>
                  <a:pt x="9899" y="113"/>
                </a:lnTo>
                <a:lnTo>
                  <a:pt x="9883" y="134"/>
                </a:lnTo>
                <a:lnTo>
                  <a:pt x="9872" y="157"/>
                </a:lnTo>
                <a:lnTo>
                  <a:pt x="9864" y="182"/>
                </a:lnTo>
                <a:lnTo>
                  <a:pt x="9859" y="211"/>
                </a:lnTo>
                <a:lnTo>
                  <a:pt x="9858" y="242"/>
                </a:lnTo>
                <a:lnTo>
                  <a:pt x="9823" y="256"/>
                </a:lnTo>
                <a:lnTo>
                  <a:pt x="9794" y="270"/>
                </a:lnTo>
                <a:lnTo>
                  <a:pt x="9773" y="285"/>
                </a:lnTo>
                <a:lnTo>
                  <a:pt x="9760" y="298"/>
                </a:lnTo>
                <a:lnTo>
                  <a:pt x="9759" y="304"/>
                </a:lnTo>
                <a:lnTo>
                  <a:pt x="9770" y="305"/>
                </a:lnTo>
                <a:lnTo>
                  <a:pt x="9797" y="298"/>
                </a:lnTo>
                <a:lnTo>
                  <a:pt x="9841" y="279"/>
                </a:lnTo>
                <a:lnTo>
                  <a:pt x="9855" y="299"/>
                </a:lnTo>
                <a:lnTo>
                  <a:pt x="9868" y="305"/>
                </a:lnTo>
                <a:lnTo>
                  <a:pt x="9879" y="302"/>
                </a:lnTo>
                <a:lnTo>
                  <a:pt x="9891" y="294"/>
                </a:lnTo>
                <a:lnTo>
                  <a:pt x="9901" y="289"/>
                </a:lnTo>
                <a:lnTo>
                  <a:pt x="9913" y="291"/>
                </a:lnTo>
                <a:lnTo>
                  <a:pt x="9924" y="307"/>
                </a:lnTo>
                <a:lnTo>
                  <a:pt x="9938" y="341"/>
                </a:lnTo>
                <a:lnTo>
                  <a:pt x="9916" y="358"/>
                </a:lnTo>
                <a:lnTo>
                  <a:pt x="9882" y="368"/>
                </a:lnTo>
                <a:lnTo>
                  <a:pt x="9841" y="374"/>
                </a:lnTo>
                <a:lnTo>
                  <a:pt x="9799" y="382"/>
                </a:lnTo>
                <a:lnTo>
                  <a:pt x="9762" y="395"/>
                </a:lnTo>
                <a:lnTo>
                  <a:pt x="9737" y="417"/>
                </a:lnTo>
                <a:lnTo>
                  <a:pt x="9729" y="454"/>
                </a:lnTo>
                <a:lnTo>
                  <a:pt x="9746" y="509"/>
                </a:lnTo>
                <a:lnTo>
                  <a:pt x="9746" y="532"/>
                </a:lnTo>
                <a:lnTo>
                  <a:pt x="9728" y="538"/>
                </a:lnTo>
                <a:lnTo>
                  <a:pt x="9696" y="536"/>
                </a:lnTo>
                <a:lnTo>
                  <a:pt x="9658" y="530"/>
                </a:lnTo>
                <a:lnTo>
                  <a:pt x="9615" y="526"/>
                </a:lnTo>
                <a:lnTo>
                  <a:pt x="9575" y="531"/>
                </a:lnTo>
                <a:lnTo>
                  <a:pt x="9543" y="550"/>
                </a:lnTo>
                <a:lnTo>
                  <a:pt x="9524" y="589"/>
                </a:lnTo>
                <a:lnTo>
                  <a:pt x="9468" y="685"/>
                </a:lnTo>
                <a:lnTo>
                  <a:pt x="9449" y="738"/>
                </a:lnTo>
                <a:lnTo>
                  <a:pt x="9458" y="761"/>
                </a:lnTo>
                <a:lnTo>
                  <a:pt x="9483" y="765"/>
                </a:lnTo>
                <a:lnTo>
                  <a:pt x="9519" y="761"/>
                </a:lnTo>
                <a:lnTo>
                  <a:pt x="9553" y="760"/>
                </a:lnTo>
                <a:lnTo>
                  <a:pt x="9579" y="773"/>
                </a:lnTo>
                <a:lnTo>
                  <a:pt x="9587" y="812"/>
                </a:lnTo>
                <a:lnTo>
                  <a:pt x="9567" y="853"/>
                </a:lnTo>
                <a:lnTo>
                  <a:pt x="9531" y="883"/>
                </a:lnTo>
                <a:lnTo>
                  <a:pt x="9482" y="905"/>
                </a:lnTo>
                <a:lnTo>
                  <a:pt x="9430" y="916"/>
                </a:lnTo>
                <a:lnTo>
                  <a:pt x="9379" y="918"/>
                </a:lnTo>
                <a:lnTo>
                  <a:pt x="9334" y="909"/>
                </a:lnTo>
                <a:lnTo>
                  <a:pt x="9304" y="891"/>
                </a:lnTo>
                <a:lnTo>
                  <a:pt x="9294" y="862"/>
                </a:lnTo>
                <a:lnTo>
                  <a:pt x="9310" y="859"/>
                </a:lnTo>
                <a:lnTo>
                  <a:pt x="9324" y="852"/>
                </a:lnTo>
                <a:lnTo>
                  <a:pt x="9334" y="840"/>
                </a:lnTo>
                <a:lnTo>
                  <a:pt x="9342" y="826"/>
                </a:lnTo>
                <a:lnTo>
                  <a:pt x="9343" y="812"/>
                </a:lnTo>
                <a:lnTo>
                  <a:pt x="9338" y="799"/>
                </a:lnTo>
                <a:lnTo>
                  <a:pt x="9327" y="790"/>
                </a:lnTo>
                <a:lnTo>
                  <a:pt x="9305" y="788"/>
                </a:lnTo>
                <a:lnTo>
                  <a:pt x="9286" y="790"/>
                </a:lnTo>
                <a:lnTo>
                  <a:pt x="9245" y="808"/>
                </a:lnTo>
                <a:lnTo>
                  <a:pt x="9194" y="839"/>
                </a:lnTo>
                <a:lnTo>
                  <a:pt x="9141" y="877"/>
                </a:lnTo>
                <a:lnTo>
                  <a:pt x="9098" y="916"/>
                </a:lnTo>
                <a:lnTo>
                  <a:pt x="9072" y="956"/>
                </a:lnTo>
                <a:lnTo>
                  <a:pt x="9075" y="989"/>
                </a:lnTo>
                <a:lnTo>
                  <a:pt x="9114" y="1012"/>
                </a:lnTo>
                <a:lnTo>
                  <a:pt x="8591" y="969"/>
                </a:lnTo>
                <a:lnTo>
                  <a:pt x="8069" y="972"/>
                </a:lnTo>
                <a:lnTo>
                  <a:pt x="7548" y="1017"/>
                </a:lnTo>
                <a:lnTo>
                  <a:pt x="7028" y="1096"/>
                </a:lnTo>
                <a:lnTo>
                  <a:pt x="6512" y="1203"/>
                </a:lnTo>
                <a:lnTo>
                  <a:pt x="6000" y="1330"/>
                </a:lnTo>
                <a:lnTo>
                  <a:pt x="5492" y="1473"/>
                </a:lnTo>
                <a:lnTo>
                  <a:pt x="4989" y="1624"/>
                </a:lnTo>
                <a:lnTo>
                  <a:pt x="4518" y="1808"/>
                </a:lnTo>
                <a:lnTo>
                  <a:pt x="3917" y="2015"/>
                </a:lnTo>
                <a:lnTo>
                  <a:pt x="3259" y="2254"/>
                </a:lnTo>
                <a:lnTo>
                  <a:pt x="2619" y="2536"/>
                </a:lnTo>
                <a:lnTo>
                  <a:pt x="2074" y="2867"/>
                </a:lnTo>
                <a:lnTo>
                  <a:pt x="1700" y="3256"/>
                </a:lnTo>
                <a:lnTo>
                  <a:pt x="1569" y="3713"/>
                </a:lnTo>
                <a:lnTo>
                  <a:pt x="1760" y="4246"/>
                </a:lnTo>
                <a:lnTo>
                  <a:pt x="1921" y="4332"/>
                </a:lnTo>
                <a:lnTo>
                  <a:pt x="2088" y="4332"/>
                </a:lnTo>
                <a:lnTo>
                  <a:pt x="2251" y="4268"/>
                </a:lnTo>
                <a:lnTo>
                  <a:pt x="2407" y="4161"/>
                </a:lnTo>
                <a:lnTo>
                  <a:pt x="2548" y="4030"/>
                </a:lnTo>
                <a:lnTo>
                  <a:pt x="2670" y="3896"/>
                </a:lnTo>
                <a:lnTo>
                  <a:pt x="2768" y="3781"/>
                </a:lnTo>
                <a:lnTo>
                  <a:pt x="2834" y="3703"/>
                </a:lnTo>
                <a:lnTo>
                  <a:pt x="2847" y="3695"/>
                </a:lnTo>
                <a:lnTo>
                  <a:pt x="2860" y="3686"/>
                </a:lnTo>
                <a:lnTo>
                  <a:pt x="2874" y="3677"/>
                </a:lnTo>
                <a:lnTo>
                  <a:pt x="2888" y="3669"/>
                </a:lnTo>
                <a:lnTo>
                  <a:pt x="2887" y="3674"/>
                </a:lnTo>
                <a:lnTo>
                  <a:pt x="2885" y="3680"/>
                </a:lnTo>
                <a:lnTo>
                  <a:pt x="2887" y="3688"/>
                </a:lnTo>
                <a:lnTo>
                  <a:pt x="2888" y="3694"/>
                </a:lnTo>
                <a:lnTo>
                  <a:pt x="2891" y="3700"/>
                </a:lnTo>
                <a:lnTo>
                  <a:pt x="2896" y="3705"/>
                </a:lnTo>
                <a:lnTo>
                  <a:pt x="2902" y="3708"/>
                </a:lnTo>
                <a:lnTo>
                  <a:pt x="2910" y="3711"/>
                </a:lnTo>
                <a:lnTo>
                  <a:pt x="2913" y="3707"/>
                </a:lnTo>
                <a:lnTo>
                  <a:pt x="2916" y="3702"/>
                </a:lnTo>
                <a:lnTo>
                  <a:pt x="2917" y="3698"/>
                </a:lnTo>
                <a:lnTo>
                  <a:pt x="2919" y="3693"/>
                </a:lnTo>
                <a:lnTo>
                  <a:pt x="2917" y="3684"/>
                </a:lnTo>
                <a:lnTo>
                  <a:pt x="2915" y="3676"/>
                </a:lnTo>
                <a:lnTo>
                  <a:pt x="2911" y="3670"/>
                </a:lnTo>
                <a:lnTo>
                  <a:pt x="2907" y="3666"/>
                </a:lnTo>
                <a:lnTo>
                  <a:pt x="2903" y="3663"/>
                </a:lnTo>
                <a:lnTo>
                  <a:pt x="2899" y="3662"/>
                </a:lnTo>
                <a:lnTo>
                  <a:pt x="3071" y="3562"/>
                </a:lnTo>
                <a:lnTo>
                  <a:pt x="3273" y="3448"/>
                </a:lnTo>
                <a:lnTo>
                  <a:pt x="3480" y="3336"/>
                </a:lnTo>
                <a:lnTo>
                  <a:pt x="3664" y="3243"/>
                </a:lnTo>
                <a:lnTo>
                  <a:pt x="3799" y="3182"/>
                </a:lnTo>
                <a:lnTo>
                  <a:pt x="3856" y="3168"/>
                </a:lnTo>
                <a:lnTo>
                  <a:pt x="3810" y="3218"/>
                </a:lnTo>
                <a:lnTo>
                  <a:pt x="3632" y="3345"/>
                </a:lnTo>
                <a:lnTo>
                  <a:pt x="3531" y="3408"/>
                </a:lnTo>
                <a:lnTo>
                  <a:pt x="3443" y="3481"/>
                </a:lnTo>
                <a:lnTo>
                  <a:pt x="3363" y="3563"/>
                </a:lnTo>
                <a:lnTo>
                  <a:pt x="3287" y="3648"/>
                </a:lnTo>
                <a:lnTo>
                  <a:pt x="3211" y="3733"/>
                </a:lnTo>
                <a:lnTo>
                  <a:pt x="3132" y="3814"/>
                </a:lnTo>
                <a:lnTo>
                  <a:pt x="3048" y="3885"/>
                </a:lnTo>
                <a:lnTo>
                  <a:pt x="2953" y="3943"/>
                </a:lnTo>
                <a:lnTo>
                  <a:pt x="2861" y="3977"/>
                </a:lnTo>
                <a:lnTo>
                  <a:pt x="2733" y="4033"/>
                </a:lnTo>
                <a:lnTo>
                  <a:pt x="2589" y="4099"/>
                </a:lnTo>
                <a:lnTo>
                  <a:pt x="2452" y="4169"/>
                </a:lnTo>
                <a:lnTo>
                  <a:pt x="2344" y="4232"/>
                </a:lnTo>
                <a:lnTo>
                  <a:pt x="2286" y="4280"/>
                </a:lnTo>
                <a:lnTo>
                  <a:pt x="2298" y="4304"/>
                </a:lnTo>
                <a:lnTo>
                  <a:pt x="2405" y="4295"/>
                </a:lnTo>
                <a:lnTo>
                  <a:pt x="2451" y="4252"/>
                </a:lnTo>
                <a:lnTo>
                  <a:pt x="2497" y="4230"/>
                </a:lnTo>
                <a:lnTo>
                  <a:pt x="2542" y="4226"/>
                </a:lnTo>
                <a:lnTo>
                  <a:pt x="2589" y="4231"/>
                </a:lnTo>
                <a:lnTo>
                  <a:pt x="2636" y="4239"/>
                </a:lnTo>
                <a:lnTo>
                  <a:pt x="2688" y="4245"/>
                </a:lnTo>
                <a:lnTo>
                  <a:pt x="2743" y="4243"/>
                </a:lnTo>
                <a:lnTo>
                  <a:pt x="2804" y="4226"/>
                </a:lnTo>
                <a:lnTo>
                  <a:pt x="2843" y="4224"/>
                </a:lnTo>
                <a:lnTo>
                  <a:pt x="2860" y="4229"/>
                </a:lnTo>
                <a:lnTo>
                  <a:pt x="2855" y="4241"/>
                </a:lnTo>
                <a:lnTo>
                  <a:pt x="2833" y="4259"/>
                </a:lnTo>
                <a:lnTo>
                  <a:pt x="2799" y="4282"/>
                </a:lnTo>
                <a:lnTo>
                  <a:pt x="2753" y="4309"/>
                </a:lnTo>
                <a:lnTo>
                  <a:pt x="2700" y="4338"/>
                </a:lnTo>
                <a:lnTo>
                  <a:pt x="2641" y="4370"/>
                </a:lnTo>
                <a:lnTo>
                  <a:pt x="2641" y="4370"/>
                </a:lnTo>
                <a:lnTo>
                  <a:pt x="2637" y="4371"/>
                </a:lnTo>
                <a:lnTo>
                  <a:pt x="2633" y="4374"/>
                </a:lnTo>
                <a:lnTo>
                  <a:pt x="2595" y="4395"/>
                </a:lnTo>
                <a:lnTo>
                  <a:pt x="2558" y="4417"/>
                </a:lnTo>
                <a:lnTo>
                  <a:pt x="2521" y="4439"/>
                </a:lnTo>
                <a:lnTo>
                  <a:pt x="2488" y="4460"/>
                </a:lnTo>
                <a:lnTo>
                  <a:pt x="2458" y="4481"/>
                </a:lnTo>
                <a:lnTo>
                  <a:pt x="2431" y="4501"/>
                </a:lnTo>
                <a:lnTo>
                  <a:pt x="2409" y="4520"/>
                </a:lnTo>
                <a:lnTo>
                  <a:pt x="2393" y="4537"/>
                </a:lnTo>
                <a:lnTo>
                  <a:pt x="2281" y="4665"/>
                </a:lnTo>
                <a:lnTo>
                  <a:pt x="2154" y="4787"/>
                </a:lnTo>
                <a:lnTo>
                  <a:pt x="2018" y="4907"/>
                </a:lnTo>
                <a:lnTo>
                  <a:pt x="1876" y="5024"/>
                </a:lnTo>
                <a:lnTo>
                  <a:pt x="1730" y="5143"/>
                </a:lnTo>
                <a:lnTo>
                  <a:pt x="1585" y="5262"/>
                </a:lnTo>
                <a:lnTo>
                  <a:pt x="1443" y="5387"/>
                </a:lnTo>
                <a:lnTo>
                  <a:pt x="1308" y="5517"/>
                </a:lnTo>
                <a:lnTo>
                  <a:pt x="1308" y="5514"/>
                </a:lnTo>
                <a:lnTo>
                  <a:pt x="1308" y="5512"/>
                </a:lnTo>
                <a:lnTo>
                  <a:pt x="1302" y="5512"/>
                </a:lnTo>
                <a:lnTo>
                  <a:pt x="1297" y="5513"/>
                </a:lnTo>
                <a:lnTo>
                  <a:pt x="1294" y="5514"/>
                </a:lnTo>
                <a:lnTo>
                  <a:pt x="1291" y="5516"/>
                </a:lnTo>
                <a:lnTo>
                  <a:pt x="1288" y="5518"/>
                </a:lnTo>
                <a:lnTo>
                  <a:pt x="1287" y="5522"/>
                </a:lnTo>
                <a:lnTo>
                  <a:pt x="1287" y="5527"/>
                </a:lnTo>
                <a:lnTo>
                  <a:pt x="1287" y="5532"/>
                </a:lnTo>
                <a:lnTo>
                  <a:pt x="1290" y="5532"/>
                </a:lnTo>
                <a:lnTo>
                  <a:pt x="1294" y="5532"/>
                </a:lnTo>
                <a:lnTo>
                  <a:pt x="1227" y="5603"/>
                </a:lnTo>
                <a:lnTo>
                  <a:pt x="1165" y="5677"/>
                </a:lnTo>
                <a:lnTo>
                  <a:pt x="1105" y="5754"/>
                </a:lnTo>
                <a:lnTo>
                  <a:pt x="1050" y="5832"/>
                </a:lnTo>
                <a:lnTo>
                  <a:pt x="1001" y="5917"/>
                </a:lnTo>
                <a:lnTo>
                  <a:pt x="956" y="6003"/>
                </a:lnTo>
                <a:lnTo>
                  <a:pt x="917" y="6093"/>
                </a:lnTo>
                <a:lnTo>
                  <a:pt x="883" y="6188"/>
                </a:lnTo>
                <a:lnTo>
                  <a:pt x="863" y="6477"/>
                </a:lnTo>
                <a:lnTo>
                  <a:pt x="878" y="6682"/>
                </a:lnTo>
                <a:lnTo>
                  <a:pt x="926" y="6818"/>
                </a:lnTo>
                <a:lnTo>
                  <a:pt x="1004" y="6897"/>
                </a:lnTo>
                <a:lnTo>
                  <a:pt x="1114" y="6931"/>
                </a:lnTo>
                <a:lnTo>
                  <a:pt x="1253" y="6932"/>
                </a:lnTo>
                <a:lnTo>
                  <a:pt x="1418" y="6916"/>
                </a:lnTo>
                <a:lnTo>
                  <a:pt x="1609" y="6893"/>
                </a:lnTo>
                <a:lnTo>
                  <a:pt x="1616" y="6945"/>
                </a:lnTo>
                <a:lnTo>
                  <a:pt x="1622" y="6984"/>
                </a:lnTo>
                <a:lnTo>
                  <a:pt x="1630" y="6998"/>
                </a:lnTo>
                <a:lnTo>
                  <a:pt x="1645" y="7009"/>
                </a:lnTo>
                <a:lnTo>
                  <a:pt x="1668" y="7012"/>
                </a:lnTo>
                <a:lnTo>
                  <a:pt x="1701" y="7010"/>
                </a:lnTo>
                <a:lnTo>
                  <a:pt x="1704" y="7085"/>
                </a:lnTo>
                <a:lnTo>
                  <a:pt x="1720" y="7133"/>
                </a:lnTo>
                <a:lnTo>
                  <a:pt x="1746" y="7161"/>
                </a:lnTo>
                <a:lnTo>
                  <a:pt x="1779" y="7172"/>
                </a:lnTo>
                <a:lnTo>
                  <a:pt x="1817" y="7173"/>
                </a:lnTo>
                <a:lnTo>
                  <a:pt x="1856" y="7168"/>
                </a:lnTo>
                <a:lnTo>
                  <a:pt x="1897" y="7165"/>
                </a:lnTo>
                <a:lnTo>
                  <a:pt x="1935" y="7169"/>
                </a:lnTo>
                <a:lnTo>
                  <a:pt x="1949" y="7195"/>
                </a:lnTo>
                <a:lnTo>
                  <a:pt x="1963" y="7235"/>
                </a:lnTo>
                <a:lnTo>
                  <a:pt x="1977" y="7282"/>
                </a:lnTo>
                <a:lnTo>
                  <a:pt x="1994" y="7332"/>
                </a:lnTo>
                <a:lnTo>
                  <a:pt x="2011" y="7377"/>
                </a:lnTo>
                <a:lnTo>
                  <a:pt x="2027" y="7411"/>
                </a:lnTo>
                <a:lnTo>
                  <a:pt x="2046" y="7427"/>
                </a:lnTo>
                <a:lnTo>
                  <a:pt x="2065" y="7421"/>
                </a:lnTo>
                <a:lnTo>
                  <a:pt x="2081" y="7429"/>
                </a:lnTo>
                <a:lnTo>
                  <a:pt x="2096" y="7435"/>
                </a:lnTo>
                <a:lnTo>
                  <a:pt x="2111" y="7439"/>
                </a:lnTo>
                <a:lnTo>
                  <a:pt x="2125" y="7440"/>
                </a:lnTo>
                <a:lnTo>
                  <a:pt x="2153" y="7440"/>
                </a:lnTo>
                <a:lnTo>
                  <a:pt x="2182" y="7438"/>
                </a:lnTo>
                <a:lnTo>
                  <a:pt x="2156" y="7454"/>
                </a:lnTo>
                <a:lnTo>
                  <a:pt x="2144" y="7476"/>
                </a:lnTo>
                <a:lnTo>
                  <a:pt x="2146" y="7500"/>
                </a:lnTo>
                <a:lnTo>
                  <a:pt x="2156" y="7522"/>
                </a:lnTo>
                <a:lnTo>
                  <a:pt x="2174" y="7537"/>
                </a:lnTo>
                <a:lnTo>
                  <a:pt x="2196" y="7543"/>
                </a:lnTo>
                <a:lnTo>
                  <a:pt x="2219" y="7534"/>
                </a:lnTo>
                <a:lnTo>
                  <a:pt x="2242" y="7508"/>
                </a:lnTo>
                <a:lnTo>
                  <a:pt x="2238" y="7485"/>
                </a:lnTo>
                <a:lnTo>
                  <a:pt x="2232" y="7467"/>
                </a:lnTo>
                <a:lnTo>
                  <a:pt x="2227" y="7455"/>
                </a:lnTo>
                <a:lnTo>
                  <a:pt x="2223" y="7449"/>
                </a:lnTo>
                <a:lnTo>
                  <a:pt x="2232" y="7454"/>
                </a:lnTo>
                <a:lnTo>
                  <a:pt x="2272" y="7482"/>
                </a:lnTo>
                <a:lnTo>
                  <a:pt x="2362" y="7457"/>
                </a:lnTo>
                <a:lnTo>
                  <a:pt x="2357" y="7501"/>
                </a:lnTo>
                <a:lnTo>
                  <a:pt x="2289" y="7588"/>
                </a:lnTo>
                <a:lnTo>
                  <a:pt x="2195" y="7690"/>
                </a:lnTo>
                <a:lnTo>
                  <a:pt x="2107" y="7781"/>
                </a:lnTo>
                <a:lnTo>
                  <a:pt x="2059" y="7832"/>
                </a:lnTo>
                <a:lnTo>
                  <a:pt x="2084" y="7818"/>
                </a:lnTo>
                <a:lnTo>
                  <a:pt x="2217" y="7711"/>
                </a:lnTo>
                <a:lnTo>
                  <a:pt x="2335" y="7613"/>
                </a:lnTo>
                <a:lnTo>
                  <a:pt x="2404" y="7553"/>
                </a:lnTo>
                <a:lnTo>
                  <a:pt x="2433" y="7527"/>
                </a:lnTo>
                <a:lnTo>
                  <a:pt x="2435" y="7529"/>
                </a:lnTo>
                <a:lnTo>
                  <a:pt x="2418" y="7556"/>
                </a:lnTo>
                <a:lnTo>
                  <a:pt x="2395" y="7603"/>
                </a:lnTo>
                <a:lnTo>
                  <a:pt x="2379" y="7667"/>
                </a:lnTo>
                <a:lnTo>
                  <a:pt x="2376" y="7742"/>
                </a:lnTo>
                <a:lnTo>
                  <a:pt x="2449" y="7629"/>
                </a:lnTo>
                <a:lnTo>
                  <a:pt x="2519" y="7550"/>
                </a:lnTo>
                <a:lnTo>
                  <a:pt x="2584" y="7506"/>
                </a:lnTo>
                <a:lnTo>
                  <a:pt x="2642" y="7496"/>
                </a:lnTo>
                <a:lnTo>
                  <a:pt x="2692" y="7515"/>
                </a:lnTo>
                <a:lnTo>
                  <a:pt x="2731" y="7565"/>
                </a:lnTo>
                <a:lnTo>
                  <a:pt x="2758" y="7643"/>
                </a:lnTo>
                <a:lnTo>
                  <a:pt x="2771" y="7744"/>
                </a:lnTo>
                <a:lnTo>
                  <a:pt x="2800" y="7747"/>
                </a:lnTo>
                <a:lnTo>
                  <a:pt x="2801" y="7753"/>
                </a:lnTo>
                <a:lnTo>
                  <a:pt x="2785" y="7762"/>
                </a:lnTo>
                <a:lnTo>
                  <a:pt x="2757" y="7775"/>
                </a:lnTo>
                <a:lnTo>
                  <a:pt x="2724" y="7794"/>
                </a:lnTo>
                <a:lnTo>
                  <a:pt x="2694" y="7818"/>
                </a:lnTo>
                <a:lnTo>
                  <a:pt x="2673" y="7849"/>
                </a:lnTo>
                <a:lnTo>
                  <a:pt x="2669" y="7888"/>
                </a:lnTo>
                <a:lnTo>
                  <a:pt x="2683" y="7887"/>
                </a:lnTo>
                <a:lnTo>
                  <a:pt x="2714" y="7876"/>
                </a:lnTo>
                <a:lnTo>
                  <a:pt x="2753" y="7859"/>
                </a:lnTo>
                <a:lnTo>
                  <a:pt x="2795" y="7842"/>
                </a:lnTo>
                <a:lnTo>
                  <a:pt x="2829" y="7830"/>
                </a:lnTo>
                <a:lnTo>
                  <a:pt x="2850" y="7823"/>
                </a:lnTo>
                <a:lnTo>
                  <a:pt x="2849" y="7828"/>
                </a:lnTo>
                <a:lnTo>
                  <a:pt x="2819" y="7850"/>
                </a:lnTo>
                <a:lnTo>
                  <a:pt x="2775" y="7884"/>
                </a:lnTo>
                <a:lnTo>
                  <a:pt x="2724" y="7933"/>
                </a:lnTo>
                <a:lnTo>
                  <a:pt x="2674" y="7986"/>
                </a:lnTo>
                <a:lnTo>
                  <a:pt x="2633" y="8036"/>
                </a:lnTo>
                <a:lnTo>
                  <a:pt x="2608" y="8073"/>
                </a:lnTo>
                <a:lnTo>
                  <a:pt x="2605" y="8088"/>
                </a:lnTo>
                <a:lnTo>
                  <a:pt x="2635" y="8073"/>
                </a:lnTo>
                <a:lnTo>
                  <a:pt x="2701" y="8019"/>
                </a:lnTo>
                <a:lnTo>
                  <a:pt x="2720" y="8008"/>
                </a:lnTo>
                <a:lnTo>
                  <a:pt x="2724" y="8008"/>
                </a:lnTo>
                <a:lnTo>
                  <a:pt x="2719" y="8018"/>
                </a:lnTo>
                <a:lnTo>
                  <a:pt x="2707" y="8033"/>
                </a:lnTo>
                <a:lnTo>
                  <a:pt x="2697" y="8054"/>
                </a:lnTo>
                <a:lnTo>
                  <a:pt x="2689" y="8074"/>
                </a:lnTo>
                <a:lnTo>
                  <a:pt x="2693" y="8092"/>
                </a:lnTo>
                <a:lnTo>
                  <a:pt x="2710" y="8105"/>
                </a:lnTo>
                <a:lnTo>
                  <a:pt x="2752" y="8086"/>
                </a:lnTo>
                <a:lnTo>
                  <a:pt x="2752" y="8091"/>
                </a:lnTo>
                <a:lnTo>
                  <a:pt x="2724" y="8114"/>
                </a:lnTo>
                <a:lnTo>
                  <a:pt x="2679" y="8149"/>
                </a:lnTo>
                <a:lnTo>
                  <a:pt x="2632" y="8190"/>
                </a:lnTo>
                <a:lnTo>
                  <a:pt x="2594" y="8234"/>
                </a:lnTo>
                <a:lnTo>
                  <a:pt x="2579" y="8274"/>
                </a:lnTo>
                <a:lnTo>
                  <a:pt x="2598" y="8305"/>
                </a:lnTo>
                <a:lnTo>
                  <a:pt x="2726" y="8298"/>
                </a:lnTo>
                <a:lnTo>
                  <a:pt x="2798" y="8291"/>
                </a:lnTo>
                <a:lnTo>
                  <a:pt x="2828" y="8280"/>
                </a:lnTo>
                <a:lnTo>
                  <a:pt x="2831" y="8268"/>
                </a:lnTo>
                <a:lnTo>
                  <a:pt x="2819" y="8248"/>
                </a:lnTo>
                <a:lnTo>
                  <a:pt x="2809" y="8226"/>
                </a:lnTo>
                <a:lnTo>
                  <a:pt x="2814" y="8194"/>
                </a:lnTo>
                <a:lnTo>
                  <a:pt x="2849" y="8154"/>
                </a:lnTo>
                <a:lnTo>
                  <a:pt x="2859" y="8231"/>
                </a:lnTo>
                <a:lnTo>
                  <a:pt x="2857" y="8301"/>
                </a:lnTo>
                <a:lnTo>
                  <a:pt x="2845" y="8366"/>
                </a:lnTo>
                <a:lnTo>
                  <a:pt x="2822" y="8427"/>
                </a:lnTo>
                <a:lnTo>
                  <a:pt x="2789" y="8487"/>
                </a:lnTo>
                <a:lnTo>
                  <a:pt x="2748" y="8545"/>
                </a:lnTo>
                <a:lnTo>
                  <a:pt x="2700" y="8604"/>
                </a:lnTo>
                <a:lnTo>
                  <a:pt x="2643" y="8662"/>
                </a:lnTo>
                <a:lnTo>
                  <a:pt x="2632" y="8739"/>
                </a:lnTo>
                <a:lnTo>
                  <a:pt x="2604" y="8801"/>
                </a:lnTo>
                <a:lnTo>
                  <a:pt x="2565" y="8852"/>
                </a:lnTo>
                <a:lnTo>
                  <a:pt x="2520" y="8896"/>
                </a:lnTo>
                <a:lnTo>
                  <a:pt x="2475" y="8938"/>
                </a:lnTo>
                <a:lnTo>
                  <a:pt x="2440" y="8982"/>
                </a:lnTo>
                <a:lnTo>
                  <a:pt x="2419" y="9029"/>
                </a:lnTo>
                <a:lnTo>
                  <a:pt x="2418" y="9086"/>
                </a:lnTo>
                <a:lnTo>
                  <a:pt x="2396" y="9145"/>
                </a:lnTo>
                <a:lnTo>
                  <a:pt x="2387" y="9206"/>
                </a:lnTo>
                <a:lnTo>
                  <a:pt x="2391" y="9267"/>
                </a:lnTo>
                <a:lnTo>
                  <a:pt x="2407" y="9327"/>
                </a:lnTo>
                <a:lnTo>
                  <a:pt x="2431" y="9384"/>
                </a:lnTo>
                <a:lnTo>
                  <a:pt x="2461" y="9439"/>
                </a:lnTo>
                <a:lnTo>
                  <a:pt x="2500" y="9490"/>
                </a:lnTo>
                <a:lnTo>
                  <a:pt x="2542" y="9537"/>
                </a:lnTo>
                <a:lnTo>
                  <a:pt x="2496" y="9689"/>
                </a:lnTo>
                <a:lnTo>
                  <a:pt x="2463" y="9836"/>
                </a:lnTo>
                <a:lnTo>
                  <a:pt x="2449" y="9971"/>
                </a:lnTo>
                <a:lnTo>
                  <a:pt x="2461" y="10092"/>
                </a:lnTo>
                <a:lnTo>
                  <a:pt x="2507" y="10195"/>
                </a:lnTo>
                <a:lnTo>
                  <a:pt x="2593" y="10278"/>
                </a:lnTo>
                <a:lnTo>
                  <a:pt x="2726" y="10335"/>
                </a:lnTo>
                <a:lnTo>
                  <a:pt x="2915" y="10365"/>
                </a:lnTo>
                <a:lnTo>
                  <a:pt x="3115" y="10276"/>
                </a:lnTo>
                <a:lnTo>
                  <a:pt x="3283" y="10223"/>
                </a:lnTo>
                <a:lnTo>
                  <a:pt x="3423" y="10187"/>
                </a:lnTo>
                <a:lnTo>
                  <a:pt x="3545" y="10155"/>
                </a:lnTo>
                <a:lnTo>
                  <a:pt x="3652" y="10112"/>
                </a:lnTo>
                <a:lnTo>
                  <a:pt x="3753" y="10041"/>
                </a:lnTo>
                <a:lnTo>
                  <a:pt x="3853" y="9926"/>
                </a:lnTo>
                <a:lnTo>
                  <a:pt x="3959" y="9754"/>
                </a:lnTo>
                <a:lnTo>
                  <a:pt x="3870" y="9711"/>
                </a:lnTo>
                <a:lnTo>
                  <a:pt x="3828" y="9665"/>
                </a:lnTo>
                <a:lnTo>
                  <a:pt x="3828" y="9619"/>
                </a:lnTo>
                <a:lnTo>
                  <a:pt x="3860" y="9579"/>
                </a:lnTo>
                <a:lnTo>
                  <a:pt x="3914" y="9544"/>
                </a:lnTo>
                <a:lnTo>
                  <a:pt x="3984" y="9521"/>
                </a:lnTo>
                <a:lnTo>
                  <a:pt x="4062" y="9514"/>
                </a:lnTo>
                <a:lnTo>
                  <a:pt x="4137" y="9524"/>
                </a:lnTo>
                <a:lnTo>
                  <a:pt x="4130" y="9553"/>
                </a:lnTo>
                <a:lnTo>
                  <a:pt x="4131" y="9577"/>
                </a:lnTo>
                <a:lnTo>
                  <a:pt x="4139" y="9598"/>
                </a:lnTo>
                <a:lnTo>
                  <a:pt x="4151" y="9616"/>
                </a:lnTo>
                <a:lnTo>
                  <a:pt x="4167" y="9633"/>
                </a:lnTo>
                <a:lnTo>
                  <a:pt x="4183" y="9654"/>
                </a:lnTo>
                <a:lnTo>
                  <a:pt x="4198" y="9678"/>
                </a:lnTo>
                <a:lnTo>
                  <a:pt x="4211" y="9707"/>
                </a:lnTo>
                <a:lnTo>
                  <a:pt x="4155" y="9707"/>
                </a:lnTo>
                <a:lnTo>
                  <a:pt x="4123" y="9726"/>
                </a:lnTo>
                <a:lnTo>
                  <a:pt x="4108" y="9759"/>
                </a:lnTo>
                <a:lnTo>
                  <a:pt x="4104" y="9803"/>
                </a:lnTo>
                <a:lnTo>
                  <a:pt x="4105" y="9852"/>
                </a:lnTo>
                <a:lnTo>
                  <a:pt x="4107" y="9907"/>
                </a:lnTo>
                <a:lnTo>
                  <a:pt x="4102" y="9961"/>
                </a:lnTo>
                <a:lnTo>
                  <a:pt x="4084" y="10011"/>
                </a:lnTo>
                <a:lnTo>
                  <a:pt x="4097" y="10055"/>
                </a:lnTo>
                <a:lnTo>
                  <a:pt x="4114" y="10082"/>
                </a:lnTo>
                <a:lnTo>
                  <a:pt x="4133" y="10094"/>
                </a:lnTo>
                <a:lnTo>
                  <a:pt x="4155" y="10101"/>
                </a:lnTo>
                <a:lnTo>
                  <a:pt x="4175" y="10103"/>
                </a:lnTo>
                <a:lnTo>
                  <a:pt x="4195" y="10110"/>
                </a:lnTo>
                <a:lnTo>
                  <a:pt x="4210" y="10122"/>
                </a:lnTo>
                <a:lnTo>
                  <a:pt x="4223" y="10146"/>
                </a:lnTo>
                <a:lnTo>
                  <a:pt x="4265" y="10233"/>
                </a:lnTo>
                <a:lnTo>
                  <a:pt x="4296" y="10293"/>
                </a:lnTo>
                <a:lnTo>
                  <a:pt x="4319" y="10326"/>
                </a:lnTo>
                <a:lnTo>
                  <a:pt x="4340" y="10336"/>
                </a:lnTo>
                <a:lnTo>
                  <a:pt x="4360" y="10325"/>
                </a:lnTo>
                <a:lnTo>
                  <a:pt x="4386" y="10295"/>
                </a:lnTo>
                <a:lnTo>
                  <a:pt x="4420" y="10247"/>
                </a:lnTo>
                <a:lnTo>
                  <a:pt x="4467" y="10185"/>
                </a:lnTo>
                <a:lnTo>
                  <a:pt x="4516" y="10150"/>
                </a:lnTo>
                <a:lnTo>
                  <a:pt x="4533" y="10164"/>
                </a:lnTo>
                <a:lnTo>
                  <a:pt x="4535" y="10215"/>
                </a:lnTo>
                <a:lnTo>
                  <a:pt x="4533" y="10288"/>
                </a:lnTo>
                <a:lnTo>
                  <a:pt x="4545" y="10369"/>
                </a:lnTo>
                <a:lnTo>
                  <a:pt x="4582" y="10444"/>
                </a:lnTo>
                <a:lnTo>
                  <a:pt x="4658" y="10503"/>
                </a:lnTo>
                <a:lnTo>
                  <a:pt x="4789" y="10527"/>
                </a:lnTo>
                <a:lnTo>
                  <a:pt x="4856" y="10580"/>
                </a:lnTo>
                <a:lnTo>
                  <a:pt x="4954" y="10577"/>
                </a:lnTo>
                <a:lnTo>
                  <a:pt x="5072" y="10540"/>
                </a:lnTo>
                <a:lnTo>
                  <a:pt x="5196" y="10489"/>
                </a:lnTo>
                <a:lnTo>
                  <a:pt x="5310" y="10449"/>
                </a:lnTo>
                <a:lnTo>
                  <a:pt x="5403" y="10442"/>
                </a:lnTo>
                <a:lnTo>
                  <a:pt x="5460" y="10488"/>
                </a:lnTo>
                <a:lnTo>
                  <a:pt x="5468" y="10610"/>
                </a:lnTo>
                <a:lnTo>
                  <a:pt x="5469" y="10633"/>
                </a:lnTo>
                <a:lnTo>
                  <a:pt x="5476" y="10643"/>
                </a:lnTo>
                <a:lnTo>
                  <a:pt x="5485" y="10645"/>
                </a:lnTo>
                <a:lnTo>
                  <a:pt x="5497" y="10643"/>
                </a:lnTo>
                <a:lnTo>
                  <a:pt x="5510" y="10638"/>
                </a:lnTo>
                <a:lnTo>
                  <a:pt x="5524" y="10633"/>
                </a:lnTo>
                <a:lnTo>
                  <a:pt x="5539" y="10631"/>
                </a:lnTo>
                <a:lnTo>
                  <a:pt x="5553" y="10636"/>
                </a:lnTo>
                <a:lnTo>
                  <a:pt x="5546" y="10654"/>
                </a:lnTo>
                <a:lnTo>
                  <a:pt x="5542" y="10667"/>
                </a:lnTo>
                <a:lnTo>
                  <a:pt x="5542" y="10677"/>
                </a:lnTo>
                <a:lnTo>
                  <a:pt x="5546" y="10682"/>
                </a:lnTo>
                <a:lnTo>
                  <a:pt x="5553" y="10682"/>
                </a:lnTo>
                <a:lnTo>
                  <a:pt x="5562" y="10677"/>
                </a:lnTo>
                <a:lnTo>
                  <a:pt x="5574" y="10667"/>
                </a:lnTo>
                <a:lnTo>
                  <a:pt x="5588" y="10650"/>
                </a:lnTo>
                <a:lnTo>
                  <a:pt x="5595" y="10673"/>
                </a:lnTo>
                <a:lnTo>
                  <a:pt x="5604" y="10696"/>
                </a:lnTo>
                <a:lnTo>
                  <a:pt x="5615" y="10718"/>
                </a:lnTo>
                <a:lnTo>
                  <a:pt x="5627" y="10735"/>
                </a:lnTo>
                <a:lnTo>
                  <a:pt x="5643" y="10746"/>
                </a:lnTo>
                <a:lnTo>
                  <a:pt x="5659" y="10746"/>
                </a:lnTo>
                <a:lnTo>
                  <a:pt x="5679" y="10733"/>
                </a:lnTo>
                <a:lnTo>
                  <a:pt x="5704" y="10705"/>
                </a:lnTo>
                <a:lnTo>
                  <a:pt x="5727" y="10751"/>
                </a:lnTo>
                <a:lnTo>
                  <a:pt x="5804" y="10747"/>
                </a:lnTo>
                <a:lnTo>
                  <a:pt x="5921" y="10709"/>
                </a:lnTo>
                <a:lnTo>
                  <a:pt x="6065" y="10648"/>
                </a:lnTo>
                <a:lnTo>
                  <a:pt x="6219" y="10577"/>
                </a:lnTo>
                <a:lnTo>
                  <a:pt x="6368" y="10509"/>
                </a:lnTo>
                <a:lnTo>
                  <a:pt x="6500" y="10457"/>
                </a:lnTo>
                <a:lnTo>
                  <a:pt x="6595" y="10434"/>
                </a:lnTo>
                <a:lnTo>
                  <a:pt x="6627" y="10393"/>
                </a:lnTo>
                <a:lnTo>
                  <a:pt x="6661" y="10365"/>
                </a:lnTo>
                <a:lnTo>
                  <a:pt x="6701" y="10346"/>
                </a:lnTo>
                <a:lnTo>
                  <a:pt x="6745" y="10336"/>
                </a:lnTo>
                <a:lnTo>
                  <a:pt x="6796" y="10331"/>
                </a:lnTo>
                <a:lnTo>
                  <a:pt x="6852" y="10330"/>
                </a:lnTo>
                <a:lnTo>
                  <a:pt x="6916" y="10327"/>
                </a:lnTo>
                <a:lnTo>
                  <a:pt x="6986" y="10322"/>
                </a:lnTo>
                <a:lnTo>
                  <a:pt x="7020" y="10312"/>
                </a:lnTo>
                <a:lnTo>
                  <a:pt x="7055" y="10297"/>
                </a:lnTo>
                <a:lnTo>
                  <a:pt x="7087" y="10276"/>
                </a:lnTo>
                <a:lnTo>
                  <a:pt x="7117" y="10253"/>
                </a:lnTo>
                <a:lnTo>
                  <a:pt x="7147" y="10228"/>
                </a:lnTo>
                <a:lnTo>
                  <a:pt x="7176" y="10201"/>
                </a:lnTo>
                <a:lnTo>
                  <a:pt x="7205" y="10173"/>
                </a:lnTo>
                <a:lnTo>
                  <a:pt x="7233" y="10145"/>
                </a:lnTo>
                <a:lnTo>
                  <a:pt x="7234" y="10145"/>
                </a:lnTo>
                <a:lnTo>
                  <a:pt x="7236" y="10145"/>
                </a:lnTo>
                <a:lnTo>
                  <a:pt x="7237" y="10144"/>
                </a:lnTo>
                <a:lnTo>
                  <a:pt x="7238" y="10140"/>
                </a:lnTo>
                <a:lnTo>
                  <a:pt x="7237" y="10140"/>
                </a:lnTo>
                <a:lnTo>
                  <a:pt x="7264" y="10115"/>
                </a:lnTo>
                <a:lnTo>
                  <a:pt x="7290" y="10089"/>
                </a:lnTo>
                <a:lnTo>
                  <a:pt x="7318" y="10066"/>
                </a:lnTo>
                <a:lnTo>
                  <a:pt x="7347" y="10046"/>
                </a:lnTo>
                <a:lnTo>
                  <a:pt x="7375" y="10031"/>
                </a:lnTo>
                <a:lnTo>
                  <a:pt x="7405" y="10018"/>
                </a:lnTo>
                <a:lnTo>
                  <a:pt x="7436" y="10010"/>
                </a:lnTo>
                <a:lnTo>
                  <a:pt x="7469" y="10008"/>
                </a:lnTo>
                <a:lnTo>
                  <a:pt x="7480" y="10000"/>
                </a:lnTo>
                <a:lnTo>
                  <a:pt x="7493" y="9991"/>
                </a:lnTo>
                <a:lnTo>
                  <a:pt x="7507" y="9983"/>
                </a:lnTo>
                <a:lnTo>
                  <a:pt x="7521" y="9977"/>
                </a:lnTo>
                <a:lnTo>
                  <a:pt x="7527" y="9977"/>
                </a:lnTo>
                <a:lnTo>
                  <a:pt x="7534" y="9976"/>
                </a:lnTo>
                <a:lnTo>
                  <a:pt x="7538" y="9973"/>
                </a:lnTo>
                <a:lnTo>
                  <a:pt x="7543" y="9969"/>
                </a:lnTo>
                <a:lnTo>
                  <a:pt x="7605" y="9950"/>
                </a:lnTo>
                <a:lnTo>
                  <a:pt x="7678" y="9934"/>
                </a:lnTo>
                <a:lnTo>
                  <a:pt x="7757" y="9919"/>
                </a:lnTo>
                <a:lnTo>
                  <a:pt x="7839" y="9899"/>
                </a:lnTo>
                <a:lnTo>
                  <a:pt x="7926" y="9875"/>
                </a:lnTo>
                <a:lnTo>
                  <a:pt x="8011" y="9842"/>
                </a:lnTo>
                <a:lnTo>
                  <a:pt x="8094" y="9799"/>
                </a:lnTo>
                <a:lnTo>
                  <a:pt x="8174" y="9742"/>
                </a:lnTo>
                <a:lnTo>
                  <a:pt x="8168" y="9767"/>
                </a:lnTo>
                <a:lnTo>
                  <a:pt x="8178" y="9782"/>
                </a:lnTo>
                <a:lnTo>
                  <a:pt x="8198" y="9791"/>
                </a:lnTo>
                <a:lnTo>
                  <a:pt x="8221" y="9791"/>
                </a:lnTo>
                <a:lnTo>
                  <a:pt x="8242" y="9784"/>
                </a:lnTo>
                <a:lnTo>
                  <a:pt x="8253" y="9768"/>
                </a:lnTo>
                <a:lnTo>
                  <a:pt x="8247" y="9744"/>
                </a:lnTo>
                <a:lnTo>
                  <a:pt x="8219" y="9712"/>
                </a:lnTo>
                <a:lnTo>
                  <a:pt x="8243" y="9691"/>
                </a:lnTo>
                <a:lnTo>
                  <a:pt x="8265" y="9696"/>
                </a:lnTo>
                <a:lnTo>
                  <a:pt x="8283" y="9720"/>
                </a:lnTo>
                <a:lnTo>
                  <a:pt x="8297" y="9753"/>
                </a:lnTo>
                <a:lnTo>
                  <a:pt x="8308" y="9786"/>
                </a:lnTo>
                <a:lnTo>
                  <a:pt x="8316" y="9810"/>
                </a:lnTo>
                <a:lnTo>
                  <a:pt x="8318" y="9817"/>
                </a:lnTo>
                <a:lnTo>
                  <a:pt x="8317" y="9796"/>
                </a:lnTo>
                <a:lnTo>
                  <a:pt x="8365" y="9813"/>
                </a:lnTo>
                <a:lnTo>
                  <a:pt x="8414" y="9819"/>
                </a:lnTo>
                <a:lnTo>
                  <a:pt x="8460" y="9818"/>
                </a:lnTo>
                <a:lnTo>
                  <a:pt x="8505" y="9808"/>
                </a:lnTo>
                <a:lnTo>
                  <a:pt x="8550" y="9790"/>
                </a:lnTo>
                <a:lnTo>
                  <a:pt x="8593" y="9766"/>
                </a:lnTo>
                <a:lnTo>
                  <a:pt x="8637" y="9735"/>
                </a:lnTo>
                <a:lnTo>
                  <a:pt x="8679" y="9697"/>
                </a:lnTo>
                <a:lnTo>
                  <a:pt x="8596" y="9698"/>
                </a:lnTo>
                <a:lnTo>
                  <a:pt x="8542" y="9692"/>
                </a:lnTo>
                <a:lnTo>
                  <a:pt x="8517" y="9679"/>
                </a:lnTo>
                <a:lnTo>
                  <a:pt x="8518" y="9663"/>
                </a:lnTo>
                <a:lnTo>
                  <a:pt x="8545" y="9641"/>
                </a:lnTo>
                <a:lnTo>
                  <a:pt x="8593" y="9617"/>
                </a:lnTo>
                <a:lnTo>
                  <a:pt x="8663" y="9591"/>
                </a:lnTo>
                <a:lnTo>
                  <a:pt x="8754" y="9565"/>
                </a:lnTo>
                <a:lnTo>
                  <a:pt x="8792" y="9553"/>
                </a:lnTo>
                <a:lnTo>
                  <a:pt x="8815" y="9551"/>
                </a:lnTo>
                <a:lnTo>
                  <a:pt x="8829" y="9557"/>
                </a:lnTo>
                <a:lnTo>
                  <a:pt x="8838" y="9569"/>
                </a:lnTo>
                <a:lnTo>
                  <a:pt x="8844" y="9580"/>
                </a:lnTo>
                <a:lnTo>
                  <a:pt x="8854" y="9589"/>
                </a:lnTo>
                <a:lnTo>
                  <a:pt x="8873" y="9591"/>
                </a:lnTo>
                <a:lnTo>
                  <a:pt x="8904" y="9585"/>
                </a:lnTo>
                <a:lnTo>
                  <a:pt x="8889" y="9599"/>
                </a:lnTo>
                <a:lnTo>
                  <a:pt x="8875" y="9617"/>
                </a:lnTo>
                <a:lnTo>
                  <a:pt x="8865" y="9637"/>
                </a:lnTo>
                <a:lnTo>
                  <a:pt x="8857" y="9655"/>
                </a:lnTo>
                <a:lnTo>
                  <a:pt x="8853" y="9668"/>
                </a:lnTo>
                <a:lnTo>
                  <a:pt x="8854" y="9670"/>
                </a:lnTo>
                <a:lnTo>
                  <a:pt x="8862" y="9660"/>
                </a:lnTo>
                <a:lnTo>
                  <a:pt x="8876" y="9633"/>
                </a:lnTo>
                <a:lnTo>
                  <a:pt x="8887" y="9661"/>
                </a:lnTo>
                <a:lnTo>
                  <a:pt x="8904" y="9670"/>
                </a:lnTo>
                <a:lnTo>
                  <a:pt x="8924" y="9665"/>
                </a:lnTo>
                <a:lnTo>
                  <a:pt x="8945" y="9654"/>
                </a:lnTo>
                <a:lnTo>
                  <a:pt x="8966" y="9641"/>
                </a:lnTo>
                <a:lnTo>
                  <a:pt x="8984" y="9636"/>
                </a:lnTo>
                <a:lnTo>
                  <a:pt x="8997" y="9642"/>
                </a:lnTo>
                <a:lnTo>
                  <a:pt x="9003" y="9668"/>
                </a:lnTo>
                <a:lnTo>
                  <a:pt x="9016" y="9665"/>
                </a:lnTo>
                <a:lnTo>
                  <a:pt x="9022" y="9661"/>
                </a:lnTo>
                <a:lnTo>
                  <a:pt x="9026" y="9656"/>
                </a:lnTo>
                <a:lnTo>
                  <a:pt x="9029" y="9650"/>
                </a:lnTo>
                <a:lnTo>
                  <a:pt x="9030" y="9642"/>
                </a:lnTo>
                <a:lnTo>
                  <a:pt x="9031" y="9633"/>
                </a:lnTo>
                <a:lnTo>
                  <a:pt x="9035" y="9623"/>
                </a:lnTo>
                <a:lnTo>
                  <a:pt x="9043" y="9612"/>
                </a:lnTo>
                <a:lnTo>
                  <a:pt x="9044" y="9631"/>
                </a:lnTo>
                <a:lnTo>
                  <a:pt x="9038" y="9649"/>
                </a:lnTo>
                <a:lnTo>
                  <a:pt x="9028" y="9664"/>
                </a:lnTo>
                <a:lnTo>
                  <a:pt x="9019" y="9677"/>
                </a:lnTo>
                <a:lnTo>
                  <a:pt x="9012" y="9687"/>
                </a:lnTo>
                <a:lnTo>
                  <a:pt x="9012" y="9692"/>
                </a:lnTo>
                <a:lnTo>
                  <a:pt x="9025" y="9692"/>
                </a:lnTo>
                <a:lnTo>
                  <a:pt x="9050" y="9687"/>
                </a:lnTo>
                <a:lnTo>
                  <a:pt x="9059" y="9647"/>
                </a:lnTo>
                <a:lnTo>
                  <a:pt x="9070" y="9628"/>
                </a:lnTo>
                <a:lnTo>
                  <a:pt x="9082" y="9621"/>
                </a:lnTo>
                <a:lnTo>
                  <a:pt x="9098" y="9622"/>
                </a:lnTo>
                <a:lnTo>
                  <a:pt x="9114" y="9623"/>
                </a:lnTo>
                <a:lnTo>
                  <a:pt x="9136" y="9619"/>
                </a:lnTo>
                <a:lnTo>
                  <a:pt x="9160" y="9605"/>
                </a:lnTo>
                <a:lnTo>
                  <a:pt x="9188" y="9574"/>
                </a:lnTo>
                <a:lnTo>
                  <a:pt x="9202" y="9530"/>
                </a:lnTo>
                <a:lnTo>
                  <a:pt x="9216" y="9495"/>
                </a:lnTo>
                <a:lnTo>
                  <a:pt x="9227" y="9468"/>
                </a:lnTo>
                <a:lnTo>
                  <a:pt x="9236" y="9451"/>
                </a:lnTo>
                <a:lnTo>
                  <a:pt x="9240" y="9449"/>
                </a:lnTo>
                <a:lnTo>
                  <a:pt x="9239" y="9460"/>
                </a:lnTo>
                <a:lnTo>
                  <a:pt x="9230" y="9487"/>
                </a:lnTo>
                <a:lnTo>
                  <a:pt x="9213" y="9533"/>
                </a:lnTo>
                <a:lnTo>
                  <a:pt x="9286" y="9527"/>
                </a:lnTo>
                <a:lnTo>
                  <a:pt x="9380" y="9495"/>
                </a:lnTo>
                <a:lnTo>
                  <a:pt x="9490" y="9444"/>
                </a:lnTo>
                <a:lnTo>
                  <a:pt x="9612" y="9383"/>
                </a:lnTo>
                <a:lnTo>
                  <a:pt x="9742" y="9318"/>
                </a:lnTo>
                <a:lnTo>
                  <a:pt x="9874" y="9259"/>
                </a:lnTo>
                <a:lnTo>
                  <a:pt x="10006" y="9212"/>
                </a:lnTo>
                <a:lnTo>
                  <a:pt x="10130" y="9184"/>
                </a:lnTo>
                <a:lnTo>
                  <a:pt x="10132" y="9187"/>
                </a:lnTo>
                <a:lnTo>
                  <a:pt x="10132" y="9189"/>
                </a:lnTo>
                <a:lnTo>
                  <a:pt x="10133" y="9187"/>
                </a:lnTo>
                <a:lnTo>
                  <a:pt x="10133" y="9185"/>
                </a:lnTo>
                <a:lnTo>
                  <a:pt x="10133" y="9184"/>
                </a:lnTo>
                <a:lnTo>
                  <a:pt x="10143" y="9183"/>
                </a:lnTo>
                <a:lnTo>
                  <a:pt x="10155" y="9183"/>
                </a:lnTo>
                <a:lnTo>
                  <a:pt x="10165" y="9182"/>
                </a:lnTo>
                <a:lnTo>
                  <a:pt x="10176" y="9182"/>
                </a:lnTo>
                <a:lnTo>
                  <a:pt x="10278" y="9162"/>
                </a:lnTo>
                <a:lnTo>
                  <a:pt x="10403" y="9146"/>
                </a:lnTo>
                <a:lnTo>
                  <a:pt x="10547" y="9129"/>
                </a:lnTo>
                <a:lnTo>
                  <a:pt x="10705" y="9113"/>
                </a:lnTo>
                <a:lnTo>
                  <a:pt x="10872" y="9092"/>
                </a:lnTo>
                <a:lnTo>
                  <a:pt x="11040" y="9066"/>
                </a:lnTo>
                <a:lnTo>
                  <a:pt x="11205" y="9033"/>
                </a:lnTo>
                <a:lnTo>
                  <a:pt x="11363" y="8989"/>
                </a:lnTo>
                <a:lnTo>
                  <a:pt x="11366" y="8992"/>
                </a:lnTo>
                <a:lnTo>
                  <a:pt x="11368" y="8992"/>
                </a:lnTo>
                <a:lnTo>
                  <a:pt x="11372" y="8992"/>
                </a:lnTo>
                <a:lnTo>
                  <a:pt x="11375" y="8992"/>
                </a:lnTo>
                <a:lnTo>
                  <a:pt x="11380" y="8989"/>
                </a:lnTo>
                <a:lnTo>
                  <a:pt x="11386" y="8986"/>
                </a:lnTo>
                <a:lnTo>
                  <a:pt x="11387" y="8987"/>
                </a:lnTo>
                <a:lnTo>
                  <a:pt x="11389" y="8987"/>
                </a:lnTo>
                <a:lnTo>
                  <a:pt x="11392" y="8988"/>
                </a:lnTo>
                <a:lnTo>
                  <a:pt x="11396" y="8988"/>
                </a:lnTo>
                <a:lnTo>
                  <a:pt x="11400" y="8987"/>
                </a:lnTo>
                <a:lnTo>
                  <a:pt x="11404" y="8984"/>
                </a:lnTo>
                <a:lnTo>
                  <a:pt x="11396" y="8984"/>
                </a:lnTo>
                <a:lnTo>
                  <a:pt x="11389" y="8987"/>
                </a:lnTo>
                <a:lnTo>
                  <a:pt x="11387" y="8986"/>
                </a:lnTo>
                <a:lnTo>
                  <a:pt x="11386" y="8986"/>
                </a:lnTo>
                <a:lnTo>
                  <a:pt x="11383" y="8984"/>
                </a:lnTo>
                <a:lnTo>
                  <a:pt x="11382" y="8984"/>
                </a:lnTo>
                <a:lnTo>
                  <a:pt x="11418" y="8972"/>
                </a:lnTo>
                <a:lnTo>
                  <a:pt x="11454" y="8959"/>
                </a:lnTo>
                <a:lnTo>
                  <a:pt x="11488" y="8945"/>
                </a:lnTo>
                <a:lnTo>
                  <a:pt x="11521" y="8930"/>
                </a:lnTo>
                <a:lnTo>
                  <a:pt x="11521" y="8932"/>
                </a:lnTo>
                <a:lnTo>
                  <a:pt x="11522" y="8935"/>
                </a:lnTo>
                <a:lnTo>
                  <a:pt x="11524" y="8933"/>
                </a:lnTo>
                <a:lnTo>
                  <a:pt x="11524" y="8932"/>
                </a:lnTo>
                <a:lnTo>
                  <a:pt x="11522" y="8931"/>
                </a:lnTo>
                <a:lnTo>
                  <a:pt x="11522" y="8930"/>
                </a:lnTo>
                <a:lnTo>
                  <a:pt x="11558" y="8912"/>
                </a:lnTo>
                <a:lnTo>
                  <a:pt x="11591" y="8894"/>
                </a:lnTo>
                <a:lnTo>
                  <a:pt x="11624" y="8875"/>
                </a:lnTo>
                <a:lnTo>
                  <a:pt x="11655" y="8854"/>
                </a:lnTo>
                <a:lnTo>
                  <a:pt x="11631" y="8837"/>
                </a:lnTo>
                <a:lnTo>
                  <a:pt x="11581" y="8824"/>
                </a:lnTo>
                <a:lnTo>
                  <a:pt x="11520" y="8816"/>
                </a:lnTo>
                <a:lnTo>
                  <a:pt x="11460" y="8810"/>
                </a:lnTo>
                <a:lnTo>
                  <a:pt x="11418" y="8803"/>
                </a:lnTo>
                <a:lnTo>
                  <a:pt x="11405" y="8796"/>
                </a:lnTo>
                <a:lnTo>
                  <a:pt x="11438" y="8784"/>
                </a:lnTo>
                <a:lnTo>
                  <a:pt x="11531" y="8768"/>
                </a:lnTo>
                <a:lnTo>
                  <a:pt x="11492" y="8735"/>
                </a:lnTo>
                <a:lnTo>
                  <a:pt x="11465" y="8712"/>
                </a:lnTo>
                <a:lnTo>
                  <a:pt x="11452" y="8697"/>
                </a:lnTo>
                <a:lnTo>
                  <a:pt x="11454" y="8688"/>
                </a:lnTo>
                <a:lnTo>
                  <a:pt x="11473" y="8681"/>
                </a:lnTo>
                <a:lnTo>
                  <a:pt x="11510" y="8675"/>
                </a:lnTo>
                <a:lnTo>
                  <a:pt x="11566" y="8667"/>
                </a:lnTo>
                <a:lnTo>
                  <a:pt x="11643" y="8655"/>
                </a:lnTo>
                <a:lnTo>
                  <a:pt x="11834" y="8619"/>
                </a:lnTo>
                <a:lnTo>
                  <a:pt x="11951" y="8600"/>
                </a:lnTo>
                <a:lnTo>
                  <a:pt x="12002" y="8597"/>
                </a:lnTo>
                <a:lnTo>
                  <a:pt x="11996" y="8607"/>
                </a:lnTo>
                <a:lnTo>
                  <a:pt x="11941" y="8627"/>
                </a:lnTo>
                <a:lnTo>
                  <a:pt x="11850" y="8656"/>
                </a:lnTo>
                <a:lnTo>
                  <a:pt x="11727" y="8689"/>
                </a:lnTo>
                <a:lnTo>
                  <a:pt x="11585" y="8727"/>
                </a:lnTo>
                <a:lnTo>
                  <a:pt x="11689" y="8742"/>
                </a:lnTo>
                <a:lnTo>
                  <a:pt x="11815" y="8739"/>
                </a:lnTo>
                <a:lnTo>
                  <a:pt x="11954" y="8719"/>
                </a:lnTo>
                <a:lnTo>
                  <a:pt x="12098" y="8688"/>
                </a:lnTo>
                <a:lnTo>
                  <a:pt x="12235" y="8649"/>
                </a:lnTo>
                <a:lnTo>
                  <a:pt x="12360" y="8610"/>
                </a:lnTo>
                <a:lnTo>
                  <a:pt x="12463" y="8572"/>
                </a:lnTo>
                <a:lnTo>
                  <a:pt x="12535" y="8540"/>
                </a:lnTo>
                <a:lnTo>
                  <a:pt x="12549" y="8555"/>
                </a:lnTo>
                <a:lnTo>
                  <a:pt x="12570" y="8567"/>
                </a:lnTo>
                <a:lnTo>
                  <a:pt x="12597" y="8576"/>
                </a:lnTo>
                <a:lnTo>
                  <a:pt x="12629" y="8581"/>
                </a:lnTo>
                <a:lnTo>
                  <a:pt x="12663" y="8579"/>
                </a:lnTo>
                <a:lnTo>
                  <a:pt x="12702" y="8573"/>
                </a:lnTo>
                <a:lnTo>
                  <a:pt x="12740" y="8560"/>
                </a:lnTo>
                <a:lnTo>
                  <a:pt x="12779" y="8540"/>
                </a:lnTo>
                <a:lnTo>
                  <a:pt x="12797" y="8530"/>
                </a:lnTo>
                <a:lnTo>
                  <a:pt x="12816" y="8530"/>
                </a:lnTo>
                <a:lnTo>
                  <a:pt x="12837" y="8537"/>
                </a:lnTo>
                <a:lnTo>
                  <a:pt x="12858" y="8546"/>
                </a:lnTo>
                <a:lnTo>
                  <a:pt x="12877" y="8554"/>
                </a:lnTo>
                <a:lnTo>
                  <a:pt x="12896" y="8557"/>
                </a:lnTo>
                <a:lnTo>
                  <a:pt x="12912" y="8550"/>
                </a:lnTo>
                <a:lnTo>
                  <a:pt x="12924" y="8530"/>
                </a:lnTo>
                <a:lnTo>
                  <a:pt x="12910" y="8527"/>
                </a:lnTo>
                <a:lnTo>
                  <a:pt x="12904" y="8521"/>
                </a:lnTo>
                <a:lnTo>
                  <a:pt x="12903" y="8512"/>
                </a:lnTo>
                <a:lnTo>
                  <a:pt x="12904" y="8502"/>
                </a:lnTo>
                <a:lnTo>
                  <a:pt x="12905" y="8493"/>
                </a:lnTo>
                <a:lnTo>
                  <a:pt x="12903" y="8487"/>
                </a:lnTo>
                <a:lnTo>
                  <a:pt x="12895" y="8483"/>
                </a:lnTo>
                <a:lnTo>
                  <a:pt x="12879" y="8484"/>
                </a:lnTo>
                <a:lnTo>
                  <a:pt x="12816" y="8450"/>
                </a:lnTo>
                <a:lnTo>
                  <a:pt x="12795" y="8420"/>
                </a:lnTo>
                <a:lnTo>
                  <a:pt x="12805" y="8397"/>
                </a:lnTo>
                <a:lnTo>
                  <a:pt x="12840" y="8377"/>
                </a:lnTo>
                <a:lnTo>
                  <a:pt x="12895" y="8363"/>
                </a:lnTo>
                <a:lnTo>
                  <a:pt x="12960" y="8352"/>
                </a:lnTo>
                <a:lnTo>
                  <a:pt x="13029" y="8345"/>
                </a:lnTo>
                <a:lnTo>
                  <a:pt x="13095" y="8343"/>
                </a:lnTo>
                <a:lnTo>
                  <a:pt x="13001" y="8366"/>
                </a:lnTo>
                <a:lnTo>
                  <a:pt x="12961" y="8378"/>
                </a:lnTo>
                <a:lnTo>
                  <a:pt x="12964" y="8383"/>
                </a:lnTo>
                <a:lnTo>
                  <a:pt x="12994" y="8382"/>
                </a:lnTo>
                <a:lnTo>
                  <a:pt x="13040" y="8378"/>
                </a:lnTo>
                <a:lnTo>
                  <a:pt x="13089" y="8372"/>
                </a:lnTo>
                <a:lnTo>
                  <a:pt x="13126" y="8368"/>
                </a:lnTo>
                <a:lnTo>
                  <a:pt x="13140" y="8368"/>
                </a:lnTo>
                <a:lnTo>
                  <a:pt x="13031" y="8389"/>
                </a:lnTo>
                <a:lnTo>
                  <a:pt x="12996" y="8400"/>
                </a:lnTo>
                <a:lnTo>
                  <a:pt x="13016" y="8405"/>
                </a:lnTo>
                <a:lnTo>
                  <a:pt x="13072" y="8404"/>
                </a:lnTo>
                <a:lnTo>
                  <a:pt x="13143" y="8395"/>
                </a:lnTo>
                <a:lnTo>
                  <a:pt x="13211" y="8381"/>
                </a:lnTo>
                <a:lnTo>
                  <a:pt x="13257" y="8361"/>
                </a:lnTo>
                <a:lnTo>
                  <a:pt x="13261" y="8334"/>
                </a:lnTo>
                <a:lnTo>
                  <a:pt x="13275" y="8287"/>
                </a:lnTo>
                <a:lnTo>
                  <a:pt x="13264" y="8259"/>
                </a:lnTo>
                <a:lnTo>
                  <a:pt x="13239" y="8247"/>
                </a:lnTo>
                <a:lnTo>
                  <a:pt x="13206" y="8245"/>
                </a:lnTo>
                <a:lnTo>
                  <a:pt x="13171" y="8246"/>
                </a:lnTo>
                <a:lnTo>
                  <a:pt x="13143" y="8246"/>
                </a:lnTo>
                <a:lnTo>
                  <a:pt x="13131" y="8238"/>
                </a:lnTo>
                <a:lnTo>
                  <a:pt x="13138" y="8218"/>
                </a:lnTo>
                <a:lnTo>
                  <a:pt x="13259" y="8231"/>
                </a:lnTo>
                <a:lnTo>
                  <a:pt x="13317" y="8237"/>
                </a:lnTo>
                <a:lnTo>
                  <a:pt x="13331" y="8236"/>
                </a:lnTo>
                <a:lnTo>
                  <a:pt x="13319" y="8226"/>
                </a:lnTo>
                <a:lnTo>
                  <a:pt x="13298" y="8205"/>
                </a:lnTo>
                <a:lnTo>
                  <a:pt x="13286" y="8173"/>
                </a:lnTo>
                <a:lnTo>
                  <a:pt x="13301" y="8128"/>
                </a:lnTo>
                <a:lnTo>
                  <a:pt x="13361" y="8069"/>
                </a:lnTo>
                <a:lnTo>
                  <a:pt x="13210" y="8007"/>
                </a:lnTo>
                <a:lnTo>
                  <a:pt x="13065" y="7958"/>
                </a:lnTo>
                <a:lnTo>
                  <a:pt x="12924" y="7921"/>
                </a:lnTo>
                <a:lnTo>
                  <a:pt x="12787" y="7897"/>
                </a:lnTo>
                <a:lnTo>
                  <a:pt x="12654" y="7882"/>
                </a:lnTo>
                <a:lnTo>
                  <a:pt x="12526" y="7874"/>
                </a:lnTo>
                <a:lnTo>
                  <a:pt x="12401" y="7873"/>
                </a:lnTo>
                <a:lnTo>
                  <a:pt x="12279" y="7878"/>
                </a:lnTo>
                <a:lnTo>
                  <a:pt x="12279" y="7876"/>
                </a:lnTo>
                <a:lnTo>
                  <a:pt x="12277" y="7874"/>
                </a:lnTo>
                <a:lnTo>
                  <a:pt x="12276" y="7876"/>
                </a:lnTo>
                <a:lnTo>
                  <a:pt x="12274" y="7877"/>
                </a:lnTo>
                <a:lnTo>
                  <a:pt x="12277" y="7878"/>
                </a:lnTo>
                <a:lnTo>
                  <a:pt x="12195" y="7883"/>
                </a:lnTo>
                <a:lnTo>
                  <a:pt x="12112" y="7890"/>
                </a:lnTo>
                <a:lnTo>
                  <a:pt x="12030" y="7897"/>
                </a:lnTo>
                <a:lnTo>
                  <a:pt x="11949" y="7905"/>
                </a:lnTo>
                <a:lnTo>
                  <a:pt x="11870" y="7912"/>
                </a:lnTo>
                <a:lnTo>
                  <a:pt x="11791" y="7919"/>
                </a:lnTo>
                <a:lnTo>
                  <a:pt x="11712" y="7925"/>
                </a:lnTo>
                <a:lnTo>
                  <a:pt x="11634" y="7929"/>
                </a:lnTo>
                <a:lnTo>
                  <a:pt x="11499" y="7920"/>
                </a:lnTo>
                <a:lnTo>
                  <a:pt x="11369" y="7924"/>
                </a:lnTo>
                <a:lnTo>
                  <a:pt x="11245" y="7937"/>
                </a:lnTo>
                <a:lnTo>
                  <a:pt x="11126" y="7957"/>
                </a:lnTo>
                <a:lnTo>
                  <a:pt x="11012" y="7980"/>
                </a:lnTo>
                <a:lnTo>
                  <a:pt x="10902" y="8004"/>
                </a:lnTo>
                <a:lnTo>
                  <a:pt x="10798" y="8027"/>
                </a:lnTo>
                <a:lnTo>
                  <a:pt x="10698" y="8044"/>
                </a:lnTo>
                <a:lnTo>
                  <a:pt x="10768" y="8017"/>
                </a:lnTo>
                <a:lnTo>
                  <a:pt x="10833" y="7989"/>
                </a:lnTo>
                <a:lnTo>
                  <a:pt x="10896" y="7963"/>
                </a:lnTo>
                <a:lnTo>
                  <a:pt x="10957" y="7938"/>
                </a:lnTo>
                <a:lnTo>
                  <a:pt x="11018" y="7916"/>
                </a:lnTo>
                <a:lnTo>
                  <a:pt x="11082" y="7896"/>
                </a:lnTo>
                <a:lnTo>
                  <a:pt x="11148" y="7879"/>
                </a:lnTo>
                <a:lnTo>
                  <a:pt x="11220" y="7867"/>
                </a:lnTo>
                <a:lnTo>
                  <a:pt x="11233" y="7818"/>
                </a:lnTo>
                <a:lnTo>
                  <a:pt x="11299" y="7778"/>
                </a:lnTo>
                <a:lnTo>
                  <a:pt x="11409" y="7742"/>
                </a:lnTo>
                <a:lnTo>
                  <a:pt x="11550" y="7711"/>
                </a:lnTo>
                <a:lnTo>
                  <a:pt x="11711" y="7686"/>
                </a:lnTo>
                <a:lnTo>
                  <a:pt x="11881" y="7664"/>
                </a:lnTo>
                <a:lnTo>
                  <a:pt x="12050" y="7646"/>
                </a:lnTo>
                <a:lnTo>
                  <a:pt x="12205" y="7632"/>
                </a:lnTo>
                <a:lnTo>
                  <a:pt x="12204" y="7635"/>
                </a:lnTo>
                <a:lnTo>
                  <a:pt x="12201" y="7639"/>
                </a:lnTo>
                <a:lnTo>
                  <a:pt x="12201" y="7641"/>
                </a:lnTo>
                <a:lnTo>
                  <a:pt x="12201" y="7645"/>
                </a:lnTo>
                <a:lnTo>
                  <a:pt x="12206" y="7649"/>
                </a:lnTo>
                <a:lnTo>
                  <a:pt x="12211" y="7651"/>
                </a:lnTo>
                <a:lnTo>
                  <a:pt x="12216" y="7650"/>
                </a:lnTo>
                <a:lnTo>
                  <a:pt x="12223" y="7648"/>
                </a:lnTo>
                <a:lnTo>
                  <a:pt x="12233" y="7639"/>
                </a:lnTo>
                <a:lnTo>
                  <a:pt x="12244" y="7629"/>
                </a:lnTo>
                <a:lnTo>
                  <a:pt x="12294" y="7625"/>
                </a:lnTo>
                <a:lnTo>
                  <a:pt x="12339" y="7621"/>
                </a:lnTo>
                <a:lnTo>
                  <a:pt x="12379" y="7618"/>
                </a:lnTo>
                <a:lnTo>
                  <a:pt x="12414" y="7615"/>
                </a:lnTo>
                <a:lnTo>
                  <a:pt x="12456" y="7597"/>
                </a:lnTo>
                <a:lnTo>
                  <a:pt x="12540" y="7562"/>
                </a:lnTo>
                <a:lnTo>
                  <a:pt x="12653" y="7515"/>
                </a:lnTo>
                <a:lnTo>
                  <a:pt x="12783" y="7464"/>
                </a:lnTo>
                <a:lnTo>
                  <a:pt x="12917" y="7415"/>
                </a:lnTo>
                <a:lnTo>
                  <a:pt x="13043" y="7371"/>
                </a:lnTo>
                <a:lnTo>
                  <a:pt x="13147" y="7343"/>
                </a:lnTo>
                <a:lnTo>
                  <a:pt x="13217" y="7336"/>
                </a:lnTo>
                <a:lnTo>
                  <a:pt x="13249" y="7189"/>
                </a:lnTo>
                <a:lnTo>
                  <a:pt x="13239" y="7094"/>
                </a:lnTo>
                <a:lnTo>
                  <a:pt x="13196" y="7038"/>
                </a:lnTo>
                <a:lnTo>
                  <a:pt x="13129" y="7006"/>
                </a:lnTo>
                <a:lnTo>
                  <a:pt x="13047" y="6986"/>
                </a:lnTo>
                <a:lnTo>
                  <a:pt x="12959" y="6964"/>
                </a:lnTo>
                <a:lnTo>
                  <a:pt x="12876" y="6925"/>
                </a:lnTo>
                <a:lnTo>
                  <a:pt x="12805" y="6856"/>
                </a:lnTo>
                <a:lnTo>
                  <a:pt x="12823" y="6813"/>
                </a:lnTo>
                <a:lnTo>
                  <a:pt x="12865" y="6797"/>
                </a:lnTo>
                <a:lnTo>
                  <a:pt x="12923" y="6799"/>
                </a:lnTo>
                <a:lnTo>
                  <a:pt x="12987" y="6806"/>
                </a:lnTo>
                <a:lnTo>
                  <a:pt x="13045" y="6809"/>
                </a:lnTo>
                <a:lnTo>
                  <a:pt x="13090" y="6796"/>
                </a:lnTo>
                <a:lnTo>
                  <a:pt x="13110" y="6754"/>
                </a:lnTo>
                <a:lnTo>
                  <a:pt x="13098" y="6673"/>
                </a:lnTo>
                <a:lnTo>
                  <a:pt x="13174" y="6656"/>
                </a:lnTo>
                <a:lnTo>
                  <a:pt x="13212" y="6641"/>
                </a:lnTo>
                <a:lnTo>
                  <a:pt x="13221" y="6624"/>
                </a:lnTo>
                <a:lnTo>
                  <a:pt x="13214" y="6603"/>
                </a:lnTo>
                <a:lnTo>
                  <a:pt x="13196" y="6572"/>
                </a:lnTo>
                <a:lnTo>
                  <a:pt x="13178" y="6529"/>
                </a:lnTo>
                <a:lnTo>
                  <a:pt x="13171" y="6469"/>
                </a:lnTo>
                <a:lnTo>
                  <a:pt x="13184" y="6387"/>
                </a:lnTo>
                <a:lnTo>
                  <a:pt x="13305" y="6362"/>
                </a:lnTo>
                <a:lnTo>
                  <a:pt x="13410" y="6348"/>
                </a:lnTo>
                <a:lnTo>
                  <a:pt x="13499" y="6343"/>
                </a:lnTo>
                <a:lnTo>
                  <a:pt x="13573" y="6339"/>
                </a:lnTo>
                <a:lnTo>
                  <a:pt x="13632" y="6333"/>
                </a:lnTo>
                <a:lnTo>
                  <a:pt x="13678" y="6317"/>
                </a:lnTo>
                <a:lnTo>
                  <a:pt x="13710" y="6288"/>
                </a:lnTo>
                <a:lnTo>
                  <a:pt x="13728" y="6240"/>
                </a:lnTo>
                <a:close/>
                <a:moveTo>
                  <a:pt x="2124" y="7660"/>
                </a:moveTo>
                <a:lnTo>
                  <a:pt x="2129" y="7662"/>
                </a:lnTo>
                <a:lnTo>
                  <a:pt x="2133" y="7663"/>
                </a:lnTo>
                <a:lnTo>
                  <a:pt x="2138" y="7662"/>
                </a:lnTo>
                <a:lnTo>
                  <a:pt x="2142" y="7660"/>
                </a:lnTo>
                <a:lnTo>
                  <a:pt x="2146" y="7659"/>
                </a:lnTo>
                <a:lnTo>
                  <a:pt x="2149" y="7655"/>
                </a:lnTo>
                <a:lnTo>
                  <a:pt x="2153" y="7650"/>
                </a:lnTo>
                <a:lnTo>
                  <a:pt x="2157" y="7644"/>
                </a:lnTo>
                <a:lnTo>
                  <a:pt x="2146" y="7646"/>
                </a:lnTo>
                <a:lnTo>
                  <a:pt x="2134" y="7648"/>
                </a:lnTo>
                <a:lnTo>
                  <a:pt x="2129" y="7649"/>
                </a:lnTo>
                <a:lnTo>
                  <a:pt x="2126" y="7650"/>
                </a:lnTo>
                <a:lnTo>
                  <a:pt x="2124" y="7654"/>
                </a:lnTo>
                <a:lnTo>
                  <a:pt x="2124" y="7660"/>
                </a:lnTo>
                <a:close/>
                <a:moveTo>
                  <a:pt x="3876" y="10679"/>
                </a:moveTo>
                <a:lnTo>
                  <a:pt x="3870" y="10675"/>
                </a:lnTo>
                <a:lnTo>
                  <a:pt x="3865" y="10672"/>
                </a:lnTo>
                <a:lnTo>
                  <a:pt x="3860" y="10671"/>
                </a:lnTo>
                <a:lnTo>
                  <a:pt x="3856" y="10672"/>
                </a:lnTo>
                <a:lnTo>
                  <a:pt x="3852" y="10676"/>
                </a:lnTo>
                <a:lnTo>
                  <a:pt x="3851" y="10681"/>
                </a:lnTo>
                <a:lnTo>
                  <a:pt x="3849" y="10686"/>
                </a:lnTo>
                <a:lnTo>
                  <a:pt x="3851" y="10694"/>
                </a:lnTo>
                <a:lnTo>
                  <a:pt x="3855" y="10696"/>
                </a:lnTo>
                <a:lnTo>
                  <a:pt x="3858" y="10696"/>
                </a:lnTo>
                <a:lnTo>
                  <a:pt x="3863" y="10696"/>
                </a:lnTo>
                <a:lnTo>
                  <a:pt x="3867" y="10694"/>
                </a:lnTo>
                <a:lnTo>
                  <a:pt x="3871" y="10691"/>
                </a:lnTo>
                <a:lnTo>
                  <a:pt x="3875" y="10687"/>
                </a:lnTo>
                <a:lnTo>
                  <a:pt x="3876" y="10684"/>
                </a:lnTo>
                <a:lnTo>
                  <a:pt x="3876" y="10679"/>
                </a:lnTo>
                <a:close/>
                <a:moveTo>
                  <a:pt x="5239" y="10572"/>
                </a:moveTo>
                <a:lnTo>
                  <a:pt x="5235" y="10586"/>
                </a:lnTo>
                <a:lnTo>
                  <a:pt x="5230" y="10600"/>
                </a:lnTo>
                <a:lnTo>
                  <a:pt x="5227" y="10606"/>
                </a:lnTo>
                <a:lnTo>
                  <a:pt x="5229" y="10612"/>
                </a:lnTo>
                <a:lnTo>
                  <a:pt x="5231" y="10616"/>
                </a:lnTo>
                <a:lnTo>
                  <a:pt x="5238" y="10617"/>
                </a:lnTo>
                <a:lnTo>
                  <a:pt x="5241" y="10612"/>
                </a:lnTo>
                <a:lnTo>
                  <a:pt x="5245" y="10607"/>
                </a:lnTo>
                <a:lnTo>
                  <a:pt x="5248" y="10601"/>
                </a:lnTo>
                <a:lnTo>
                  <a:pt x="5249" y="10596"/>
                </a:lnTo>
                <a:lnTo>
                  <a:pt x="5249" y="10589"/>
                </a:lnTo>
                <a:lnTo>
                  <a:pt x="5247" y="10584"/>
                </a:lnTo>
                <a:lnTo>
                  <a:pt x="5244" y="10578"/>
                </a:lnTo>
                <a:lnTo>
                  <a:pt x="5239" y="10572"/>
                </a:lnTo>
                <a:close/>
                <a:moveTo>
                  <a:pt x="4544" y="10657"/>
                </a:moveTo>
                <a:lnTo>
                  <a:pt x="4536" y="10661"/>
                </a:lnTo>
                <a:lnTo>
                  <a:pt x="4531" y="10667"/>
                </a:lnTo>
                <a:lnTo>
                  <a:pt x="4526" y="10676"/>
                </a:lnTo>
                <a:lnTo>
                  <a:pt x="4523" y="10685"/>
                </a:lnTo>
                <a:lnTo>
                  <a:pt x="4522" y="10693"/>
                </a:lnTo>
                <a:lnTo>
                  <a:pt x="4524" y="10700"/>
                </a:lnTo>
                <a:lnTo>
                  <a:pt x="4528" y="10707"/>
                </a:lnTo>
                <a:lnTo>
                  <a:pt x="4536" y="10709"/>
                </a:lnTo>
                <a:lnTo>
                  <a:pt x="4542" y="10696"/>
                </a:lnTo>
                <a:lnTo>
                  <a:pt x="4549" y="10682"/>
                </a:lnTo>
                <a:lnTo>
                  <a:pt x="4551" y="10676"/>
                </a:lnTo>
                <a:lnTo>
                  <a:pt x="4551" y="10668"/>
                </a:lnTo>
                <a:lnTo>
                  <a:pt x="4549" y="10663"/>
                </a:lnTo>
                <a:lnTo>
                  <a:pt x="4544" y="10657"/>
                </a:lnTo>
                <a:close/>
                <a:moveTo>
                  <a:pt x="2618" y="4343"/>
                </a:moveTo>
                <a:lnTo>
                  <a:pt x="2626" y="4351"/>
                </a:lnTo>
                <a:lnTo>
                  <a:pt x="2631" y="4352"/>
                </a:lnTo>
                <a:lnTo>
                  <a:pt x="2632" y="4350"/>
                </a:lnTo>
                <a:lnTo>
                  <a:pt x="2631" y="4344"/>
                </a:lnTo>
                <a:lnTo>
                  <a:pt x="2627" y="4339"/>
                </a:lnTo>
                <a:lnTo>
                  <a:pt x="2622" y="4336"/>
                </a:lnTo>
                <a:lnTo>
                  <a:pt x="2615" y="4336"/>
                </a:lnTo>
                <a:lnTo>
                  <a:pt x="2609" y="4342"/>
                </a:lnTo>
                <a:lnTo>
                  <a:pt x="2610" y="4346"/>
                </a:lnTo>
                <a:lnTo>
                  <a:pt x="2613" y="4347"/>
                </a:lnTo>
                <a:lnTo>
                  <a:pt x="2615" y="4346"/>
                </a:lnTo>
                <a:lnTo>
                  <a:pt x="2618" y="4343"/>
                </a:lnTo>
                <a:close/>
                <a:moveTo>
                  <a:pt x="2561" y="4274"/>
                </a:moveTo>
                <a:lnTo>
                  <a:pt x="2556" y="4277"/>
                </a:lnTo>
                <a:lnTo>
                  <a:pt x="2558" y="4278"/>
                </a:lnTo>
                <a:lnTo>
                  <a:pt x="2559" y="4278"/>
                </a:lnTo>
                <a:lnTo>
                  <a:pt x="2561" y="4277"/>
                </a:lnTo>
                <a:lnTo>
                  <a:pt x="2561" y="4274"/>
                </a:lnTo>
                <a:close/>
                <a:moveTo>
                  <a:pt x="1771" y="5104"/>
                </a:moveTo>
                <a:lnTo>
                  <a:pt x="1776" y="5102"/>
                </a:lnTo>
                <a:lnTo>
                  <a:pt x="1774" y="5101"/>
                </a:lnTo>
                <a:lnTo>
                  <a:pt x="1772" y="5101"/>
                </a:lnTo>
                <a:lnTo>
                  <a:pt x="1772" y="5102"/>
                </a:lnTo>
                <a:lnTo>
                  <a:pt x="1771" y="5104"/>
                </a:lnTo>
                <a:close/>
                <a:moveTo>
                  <a:pt x="2181" y="4557"/>
                </a:moveTo>
                <a:lnTo>
                  <a:pt x="2177" y="4558"/>
                </a:lnTo>
                <a:lnTo>
                  <a:pt x="2177" y="4558"/>
                </a:lnTo>
                <a:lnTo>
                  <a:pt x="2179" y="4558"/>
                </a:lnTo>
                <a:lnTo>
                  <a:pt x="2181" y="4557"/>
                </a:lnTo>
                <a:lnTo>
                  <a:pt x="2182" y="4558"/>
                </a:lnTo>
                <a:lnTo>
                  <a:pt x="2184" y="4558"/>
                </a:lnTo>
                <a:lnTo>
                  <a:pt x="2184" y="4557"/>
                </a:lnTo>
                <a:lnTo>
                  <a:pt x="2181" y="4557"/>
                </a:lnTo>
                <a:close/>
                <a:moveTo>
                  <a:pt x="2181" y="4557"/>
                </a:moveTo>
                <a:lnTo>
                  <a:pt x="2177" y="4554"/>
                </a:lnTo>
                <a:lnTo>
                  <a:pt x="2175" y="4553"/>
                </a:lnTo>
                <a:lnTo>
                  <a:pt x="2176" y="4553"/>
                </a:lnTo>
                <a:lnTo>
                  <a:pt x="2181" y="4557"/>
                </a:lnTo>
                <a:lnTo>
                  <a:pt x="2182" y="4557"/>
                </a:lnTo>
                <a:lnTo>
                  <a:pt x="2181" y="4557"/>
                </a:lnTo>
                <a:close/>
                <a:moveTo>
                  <a:pt x="2171" y="4551"/>
                </a:moveTo>
                <a:lnTo>
                  <a:pt x="2172" y="4552"/>
                </a:lnTo>
                <a:lnTo>
                  <a:pt x="2172" y="4551"/>
                </a:lnTo>
                <a:lnTo>
                  <a:pt x="2172" y="4551"/>
                </a:lnTo>
                <a:lnTo>
                  <a:pt x="2172" y="4549"/>
                </a:lnTo>
                <a:lnTo>
                  <a:pt x="2172" y="4549"/>
                </a:lnTo>
                <a:lnTo>
                  <a:pt x="2180" y="4539"/>
                </a:lnTo>
                <a:lnTo>
                  <a:pt x="2188" y="4530"/>
                </a:lnTo>
                <a:lnTo>
                  <a:pt x="2180" y="4533"/>
                </a:lnTo>
                <a:lnTo>
                  <a:pt x="2174" y="4535"/>
                </a:lnTo>
                <a:lnTo>
                  <a:pt x="2172" y="4538"/>
                </a:lnTo>
                <a:lnTo>
                  <a:pt x="2171" y="4542"/>
                </a:lnTo>
                <a:lnTo>
                  <a:pt x="2171" y="4544"/>
                </a:lnTo>
                <a:lnTo>
                  <a:pt x="2172" y="4549"/>
                </a:lnTo>
                <a:lnTo>
                  <a:pt x="2171" y="4549"/>
                </a:lnTo>
                <a:lnTo>
                  <a:pt x="2171" y="4551"/>
                </a:lnTo>
                <a:close/>
                <a:moveTo>
                  <a:pt x="2130" y="4594"/>
                </a:moveTo>
                <a:lnTo>
                  <a:pt x="2135" y="4590"/>
                </a:lnTo>
                <a:lnTo>
                  <a:pt x="2133" y="4589"/>
                </a:lnTo>
                <a:lnTo>
                  <a:pt x="2132" y="4589"/>
                </a:lnTo>
                <a:lnTo>
                  <a:pt x="2130" y="4591"/>
                </a:lnTo>
                <a:lnTo>
                  <a:pt x="2130" y="4594"/>
                </a:lnTo>
                <a:close/>
                <a:moveTo>
                  <a:pt x="2086" y="4622"/>
                </a:moveTo>
                <a:lnTo>
                  <a:pt x="2086" y="4623"/>
                </a:lnTo>
                <a:lnTo>
                  <a:pt x="2091" y="4619"/>
                </a:lnTo>
                <a:lnTo>
                  <a:pt x="2088" y="4621"/>
                </a:lnTo>
                <a:lnTo>
                  <a:pt x="2086" y="4622"/>
                </a:lnTo>
                <a:close/>
                <a:moveTo>
                  <a:pt x="2083" y="4624"/>
                </a:moveTo>
                <a:lnTo>
                  <a:pt x="2083" y="4626"/>
                </a:lnTo>
                <a:lnTo>
                  <a:pt x="2083" y="4624"/>
                </a:lnTo>
                <a:lnTo>
                  <a:pt x="2082" y="4626"/>
                </a:lnTo>
                <a:lnTo>
                  <a:pt x="2083" y="4624"/>
                </a:lnTo>
                <a:close/>
                <a:moveTo>
                  <a:pt x="2210" y="4445"/>
                </a:moveTo>
                <a:lnTo>
                  <a:pt x="2212" y="4441"/>
                </a:lnTo>
                <a:lnTo>
                  <a:pt x="2210" y="4445"/>
                </a:lnTo>
                <a:lnTo>
                  <a:pt x="2219" y="4441"/>
                </a:lnTo>
                <a:lnTo>
                  <a:pt x="2210" y="4445"/>
                </a:lnTo>
                <a:close/>
                <a:moveTo>
                  <a:pt x="2228" y="4412"/>
                </a:moveTo>
                <a:lnTo>
                  <a:pt x="2223" y="4416"/>
                </a:lnTo>
                <a:lnTo>
                  <a:pt x="2218" y="4422"/>
                </a:lnTo>
                <a:lnTo>
                  <a:pt x="2213" y="4430"/>
                </a:lnTo>
                <a:lnTo>
                  <a:pt x="2212" y="4435"/>
                </a:lnTo>
                <a:lnTo>
                  <a:pt x="2219" y="4423"/>
                </a:lnTo>
                <a:lnTo>
                  <a:pt x="2228" y="4412"/>
                </a:lnTo>
                <a:close/>
                <a:moveTo>
                  <a:pt x="2014" y="4528"/>
                </a:moveTo>
                <a:lnTo>
                  <a:pt x="2019" y="4525"/>
                </a:lnTo>
                <a:lnTo>
                  <a:pt x="2017" y="4524"/>
                </a:lnTo>
                <a:lnTo>
                  <a:pt x="2016" y="4524"/>
                </a:lnTo>
                <a:lnTo>
                  <a:pt x="2014" y="4525"/>
                </a:lnTo>
                <a:lnTo>
                  <a:pt x="2014" y="4528"/>
                </a:lnTo>
                <a:close/>
                <a:moveTo>
                  <a:pt x="2534" y="4384"/>
                </a:moveTo>
                <a:lnTo>
                  <a:pt x="2534" y="4384"/>
                </a:lnTo>
                <a:lnTo>
                  <a:pt x="2534" y="4384"/>
                </a:lnTo>
                <a:lnTo>
                  <a:pt x="2529" y="4384"/>
                </a:lnTo>
                <a:lnTo>
                  <a:pt x="2525" y="4384"/>
                </a:lnTo>
                <a:lnTo>
                  <a:pt x="2521" y="4385"/>
                </a:lnTo>
                <a:lnTo>
                  <a:pt x="2517" y="4389"/>
                </a:lnTo>
                <a:lnTo>
                  <a:pt x="2522" y="4390"/>
                </a:lnTo>
                <a:lnTo>
                  <a:pt x="2526" y="4390"/>
                </a:lnTo>
                <a:lnTo>
                  <a:pt x="2530" y="4388"/>
                </a:lnTo>
                <a:lnTo>
                  <a:pt x="2534" y="4384"/>
                </a:lnTo>
                <a:close/>
                <a:moveTo>
                  <a:pt x="2534" y="4384"/>
                </a:moveTo>
                <a:lnTo>
                  <a:pt x="2535" y="4384"/>
                </a:lnTo>
                <a:lnTo>
                  <a:pt x="2534" y="4384"/>
                </a:lnTo>
                <a:close/>
                <a:moveTo>
                  <a:pt x="2552" y="4376"/>
                </a:moveTo>
                <a:lnTo>
                  <a:pt x="2548" y="4376"/>
                </a:lnTo>
                <a:lnTo>
                  <a:pt x="2544" y="4378"/>
                </a:lnTo>
                <a:lnTo>
                  <a:pt x="2540" y="4380"/>
                </a:lnTo>
                <a:lnTo>
                  <a:pt x="2538" y="4383"/>
                </a:lnTo>
                <a:lnTo>
                  <a:pt x="2543" y="4384"/>
                </a:lnTo>
                <a:lnTo>
                  <a:pt x="2547" y="4384"/>
                </a:lnTo>
                <a:lnTo>
                  <a:pt x="2549" y="4381"/>
                </a:lnTo>
                <a:lnTo>
                  <a:pt x="2552" y="4376"/>
                </a:lnTo>
                <a:close/>
                <a:moveTo>
                  <a:pt x="2535" y="4383"/>
                </a:moveTo>
                <a:lnTo>
                  <a:pt x="2536" y="4383"/>
                </a:lnTo>
                <a:lnTo>
                  <a:pt x="2535" y="4383"/>
                </a:lnTo>
                <a:lnTo>
                  <a:pt x="2535" y="4384"/>
                </a:lnTo>
                <a:lnTo>
                  <a:pt x="2535" y="4383"/>
                </a:lnTo>
                <a:close/>
                <a:moveTo>
                  <a:pt x="2689" y="4314"/>
                </a:moveTo>
                <a:lnTo>
                  <a:pt x="2687" y="4315"/>
                </a:lnTo>
                <a:lnTo>
                  <a:pt x="2684" y="4316"/>
                </a:lnTo>
                <a:lnTo>
                  <a:pt x="2683" y="4319"/>
                </a:lnTo>
                <a:lnTo>
                  <a:pt x="2684" y="4322"/>
                </a:lnTo>
                <a:lnTo>
                  <a:pt x="2688" y="4323"/>
                </a:lnTo>
                <a:lnTo>
                  <a:pt x="2691" y="4320"/>
                </a:lnTo>
                <a:lnTo>
                  <a:pt x="2691" y="4318"/>
                </a:lnTo>
                <a:lnTo>
                  <a:pt x="2689" y="4314"/>
                </a:lnTo>
                <a:close/>
                <a:moveTo>
                  <a:pt x="2854" y="4227"/>
                </a:moveTo>
                <a:lnTo>
                  <a:pt x="2852" y="4227"/>
                </a:lnTo>
                <a:lnTo>
                  <a:pt x="2852" y="4227"/>
                </a:lnTo>
                <a:lnTo>
                  <a:pt x="2854" y="4227"/>
                </a:lnTo>
                <a:close/>
                <a:moveTo>
                  <a:pt x="2461" y="4372"/>
                </a:moveTo>
                <a:lnTo>
                  <a:pt x="2458" y="4370"/>
                </a:lnTo>
                <a:lnTo>
                  <a:pt x="2452" y="4370"/>
                </a:lnTo>
                <a:lnTo>
                  <a:pt x="2449" y="4371"/>
                </a:lnTo>
                <a:lnTo>
                  <a:pt x="2445" y="4374"/>
                </a:lnTo>
                <a:lnTo>
                  <a:pt x="2438" y="4381"/>
                </a:lnTo>
                <a:lnTo>
                  <a:pt x="2433" y="4388"/>
                </a:lnTo>
                <a:lnTo>
                  <a:pt x="2432" y="4389"/>
                </a:lnTo>
                <a:lnTo>
                  <a:pt x="2433" y="4388"/>
                </a:lnTo>
                <a:lnTo>
                  <a:pt x="2442" y="4388"/>
                </a:lnTo>
                <a:lnTo>
                  <a:pt x="2450" y="4386"/>
                </a:lnTo>
                <a:lnTo>
                  <a:pt x="2454" y="4384"/>
                </a:lnTo>
                <a:lnTo>
                  <a:pt x="2456" y="4381"/>
                </a:lnTo>
                <a:lnTo>
                  <a:pt x="2459" y="4378"/>
                </a:lnTo>
                <a:lnTo>
                  <a:pt x="2461" y="4372"/>
                </a:lnTo>
                <a:close/>
                <a:moveTo>
                  <a:pt x="2433" y="4388"/>
                </a:moveTo>
                <a:lnTo>
                  <a:pt x="2432" y="4388"/>
                </a:lnTo>
                <a:lnTo>
                  <a:pt x="2433" y="4388"/>
                </a:lnTo>
                <a:close/>
                <a:moveTo>
                  <a:pt x="2412" y="4329"/>
                </a:moveTo>
                <a:lnTo>
                  <a:pt x="2419" y="4329"/>
                </a:lnTo>
                <a:lnTo>
                  <a:pt x="2427" y="4329"/>
                </a:lnTo>
                <a:lnTo>
                  <a:pt x="2435" y="4328"/>
                </a:lnTo>
                <a:lnTo>
                  <a:pt x="2442" y="4327"/>
                </a:lnTo>
                <a:lnTo>
                  <a:pt x="2456" y="4322"/>
                </a:lnTo>
                <a:lnTo>
                  <a:pt x="2470" y="4314"/>
                </a:lnTo>
                <a:lnTo>
                  <a:pt x="2461" y="4310"/>
                </a:lnTo>
                <a:lnTo>
                  <a:pt x="2455" y="4308"/>
                </a:lnTo>
                <a:lnTo>
                  <a:pt x="2449" y="4306"/>
                </a:lnTo>
                <a:lnTo>
                  <a:pt x="2444" y="4306"/>
                </a:lnTo>
                <a:lnTo>
                  <a:pt x="2437" y="4309"/>
                </a:lnTo>
                <a:lnTo>
                  <a:pt x="2431" y="4314"/>
                </a:lnTo>
                <a:lnTo>
                  <a:pt x="2422" y="4320"/>
                </a:lnTo>
                <a:lnTo>
                  <a:pt x="2412" y="4329"/>
                </a:lnTo>
                <a:lnTo>
                  <a:pt x="2409" y="4329"/>
                </a:lnTo>
                <a:lnTo>
                  <a:pt x="2408" y="4330"/>
                </a:lnTo>
                <a:lnTo>
                  <a:pt x="2399" y="4329"/>
                </a:lnTo>
                <a:lnTo>
                  <a:pt x="2390" y="4329"/>
                </a:lnTo>
                <a:lnTo>
                  <a:pt x="2382" y="4330"/>
                </a:lnTo>
                <a:lnTo>
                  <a:pt x="2373" y="4333"/>
                </a:lnTo>
                <a:lnTo>
                  <a:pt x="2358" y="4341"/>
                </a:lnTo>
                <a:lnTo>
                  <a:pt x="2343" y="4348"/>
                </a:lnTo>
                <a:lnTo>
                  <a:pt x="2348" y="4358"/>
                </a:lnTo>
                <a:lnTo>
                  <a:pt x="2356" y="4362"/>
                </a:lnTo>
                <a:lnTo>
                  <a:pt x="2365" y="4362"/>
                </a:lnTo>
                <a:lnTo>
                  <a:pt x="2373" y="4358"/>
                </a:lnTo>
                <a:lnTo>
                  <a:pt x="2382" y="4353"/>
                </a:lnTo>
                <a:lnTo>
                  <a:pt x="2393" y="4346"/>
                </a:lnTo>
                <a:lnTo>
                  <a:pt x="2400" y="4338"/>
                </a:lnTo>
                <a:lnTo>
                  <a:pt x="2408" y="4330"/>
                </a:lnTo>
                <a:lnTo>
                  <a:pt x="2410" y="4330"/>
                </a:lnTo>
                <a:lnTo>
                  <a:pt x="2412" y="4329"/>
                </a:lnTo>
                <a:close/>
                <a:moveTo>
                  <a:pt x="2082" y="4626"/>
                </a:moveTo>
                <a:lnTo>
                  <a:pt x="2081" y="4627"/>
                </a:lnTo>
                <a:lnTo>
                  <a:pt x="2081" y="4627"/>
                </a:lnTo>
                <a:lnTo>
                  <a:pt x="2081" y="4628"/>
                </a:lnTo>
                <a:lnTo>
                  <a:pt x="2082" y="4627"/>
                </a:lnTo>
                <a:lnTo>
                  <a:pt x="2082" y="4626"/>
                </a:lnTo>
                <a:close/>
                <a:moveTo>
                  <a:pt x="2022" y="4664"/>
                </a:moveTo>
                <a:lnTo>
                  <a:pt x="2032" y="4663"/>
                </a:lnTo>
                <a:lnTo>
                  <a:pt x="2042" y="4659"/>
                </a:lnTo>
                <a:lnTo>
                  <a:pt x="2050" y="4655"/>
                </a:lnTo>
                <a:lnTo>
                  <a:pt x="2056" y="4650"/>
                </a:lnTo>
                <a:lnTo>
                  <a:pt x="2069" y="4640"/>
                </a:lnTo>
                <a:lnTo>
                  <a:pt x="2081" y="4628"/>
                </a:lnTo>
                <a:lnTo>
                  <a:pt x="2070" y="4628"/>
                </a:lnTo>
                <a:lnTo>
                  <a:pt x="2061" y="4630"/>
                </a:lnTo>
                <a:lnTo>
                  <a:pt x="2053" y="4632"/>
                </a:lnTo>
                <a:lnTo>
                  <a:pt x="2045" y="4636"/>
                </a:lnTo>
                <a:lnTo>
                  <a:pt x="2039" y="4641"/>
                </a:lnTo>
                <a:lnTo>
                  <a:pt x="2032" y="4646"/>
                </a:lnTo>
                <a:lnTo>
                  <a:pt x="2026" y="4654"/>
                </a:lnTo>
                <a:lnTo>
                  <a:pt x="2022" y="4664"/>
                </a:lnTo>
                <a:close/>
                <a:moveTo>
                  <a:pt x="2342" y="4347"/>
                </a:moveTo>
                <a:lnTo>
                  <a:pt x="2326" y="4358"/>
                </a:lnTo>
                <a:lnTo>
                  <a:pt x="2312" y="4371"/>
                </a:lnTo>
                <a:lnTo>
                  <a:pt x="2328" y="4360"/>
                </a:lnTo>
                <a:lnTo>
                  <a:pt x="2342" y="4347"/>
                </a:lnTo>
                <a:close/>
                <a:moveTo>
                  <a:pt x="2053" y="4497"/>
                </a:moveTo>
                <a:lnTo>
                  <a:pt x="2051" y="4502"/>
                </a:lnTo>
                <a:lnTo>
                  <a:pt x="2053" y="4506"/>
                </a:lnTo>
                <a:lnTo>
                  <a:pt x="2055" y="4507"/>
                </a:lnTo>
                <a:lnTo>
                  <a:pt x="2060" y="4509"/>
                </a:lnTo>
                <a:lnTo>
                  <a:pt x="2072" y="4507"/>
                </a:lnTo>
                <a:lnTo>
                  <a:pt x="2082" y="4507"/>
                </a:lnTo>
                <a:lnTo>
                  <a:pt x="2082" y="4500"/>
                </a:lnTo>
                <a:lnTo>
                  <a:pt x="2081" y="4495"/>
                </a:lnTo>
                <a:lnTo>
                  <a:pt x="2077" y="4491"/>
                </a:lnTo>
                <a:lnTo>
                  <a:pt x="2073" y="4488"/>
                </a:lnTo>
                <a:lnTo>
                  <a:pt x="2067" y="4488"/>
                </a:lnTo>
                <a:lnTo>
                  <a:pt x="2061" y="4490"/>
                </a:lnTo>
                <a:lnTo>
                  <a:pt x="2056" y="4492"/>
                </a:lnTo>
                <a:lnTo>
                  <a:pt x="2053" y="4497"/>
                </a:lnTo>
                <a:close/>
                <a:moveTo>
                  <a:pt x="2263" y="4381"/>
                </a:moveTo>
                <a:lnTo>
                  <a:pt x="2253" y="4393"/>
                </a:lnTo>
                <a:lnTo>
                  <a:pt x="2244" y="4406"/>
                </a:lnTo>
                <a:lnTo>
                  <a:pt x="2236" y="4418"/>
                </a:lnTo>
                <a:lnTo>
                  <a:pt x="2231" y="4428"/>
                </a:lnTo>
                <a:lnTo>
                  <a:pt x="2228" y="4436"/>
                </a:lnTo>
                <a:lnTo>
                  <a:pt x="2230" y="4437"/>
                </a:lnTo>
                <a:lnTo>
                  <a:pt x="2236" y="4434"/>
                </a:lnTo>
                <a:lnTo>
                  <a:pt x="2246" y="4420"/>
                </a:lnTo>
                <a:lnTo>
                  <a:pt x="2265" y="4414"/>
                </a:lnTo>
                <a:lnTo>
                  <a:pt x="2281" y="4404"/>
                </a:lnTo>
                <a:lnTo>
                  <a:pt x="2293" y="4393"/>
                </a:lnTo>
                <a:lnTo>
                  <a:pt x="2301" y="4381"/>
                </a:lnTo>
                <a:lnTo>
                  <a:pt x="2302" y="4371"/>
                </a:lnTo>
                <a:lnTo>
                  <a:pt x="2297" y="4367"/>
                </a:lnTo>
                <a:lnTo>
                  <a:pt x="2284" y="4370"/>
                </a:lnTo>
                <a:lnTo>
                  <a:pt x="2263" y="4381"/>
                </a:lnTo>
                <a:close/>
                <a:moveTo>
                  <a:pt x="2184" y="4557"/>
                </a:moveTo>
                <a:lnTo>
                  <a:pt x="2199" y="4553"/>
                </a:lnTo>
                <a:lnTo>
                  <a:pt x="2212" y="4548"/>
                </a:lnTo>
                <a:lnTo>
                  <a:pt x="2224" y="4539"/>
                </a:lnTo>
                <a:lnTo>
                  <a:pt x="2237" y="4530"/>
                </a:lnTo>
                <a:lnTo>
                  <a:pt x="2260" y="4510"/>
                </a:lnTo>
                <a:lnTo>
                  <a:pt x="2284" y="4492"/>
                </a:lnTo>
                <a:lnTo>
                  <a:pt x="2267" y="4492"/>
                </a:lnTo>
                <a:lnTo>
                  <a:pt x="2249" y="4495"/>
                </a:lnTo>
                <a:lnTo>
                  <a:pt x="2232" y="4500"/>
                </a:lnTo>
                <a:lnTo>
                  <a:pt x="2217" y="4506"/>
                </a:lnTo>
                <a:lnTo>
                  <a:pt x="2204" y="4516"/>
                </a:lnTo>
                <a:lnTo>
                  <a:pt x="2194" y="4528"/>
                </a:lnTo>
                <a:lnTo>
                  <a:pt x="2186" y="4542"/>
                </a:lnTo>
                <a:lnTo>
                  <a:pt x="2184" y="4557"/>
                </a:lnTo>
                <a:close/>
                <a:moveTo>
                  <a:pt x="2614" y="4026"/>
                </a:moveTo>
                <a:lnTo>
                  <a:pt x="2624" y="4035"/>
                </a:lnTo>
                <a:lnTo>
                  <a:pt x="2635" y="4041"/>
                </a:lnTo>
                <a:lnTo>
                  <a:pt x="2645" y="4044"/>
                </a:lnTo>
                <a:lnTo>
                  <a:pt x="2656" y="4044"/>
                </a:lnTo>
                <a:lnTo>
                  <a:pt x="2669" y="4039"/>
                </a:lnTo>
                <a:lnTo>
                  <a:pt x="2684" y="4030"/>
                </a:lnTo>
                <a:lnTo>
                  <a:pt x="2700" y="4019"/>
                </a:lnTo>
                <a:lnTo>
                  <a:pt x="2716" y="4001"/>
                </a:lnTo>
                <a:lnTo>
                  <a:pt x="2697" y="4002"/>
                </a:lnTo>
                <a:lnTo>
                  <a:pt x="2678" y="3993"/>
                </a:lnTo>
                <a:lnTo>
                  <a:pt x="2659" y="3980"/>
                </a:lnTo>
                <a:lnTo>
                  <a:pt x="2641" y="3968"/>
                </a:lnTo>
                <a:lnTo>
                  <a:pt x="2627" y="3961"/>
                </a:lnTo>
                <a:lnTo>
                  <a:pt x="2617" y="3965"/>
                </a:lnTo>
                <a:lnTo>
                  <a:pt x="2613" y="3985"/>
                </a:lnTo>
                <a:lnTo>
                  <a:pt x="2614" y="4026"/>
                </a:lnTo>
                <a:close/>
                <a:moveTo>
                  <a:pt x="2287" y="4491"/>
                </a:moveTo>
                <a:lnTo>
                  <a:pt x="2287" y="4492"/>
                </a:lnTo>
                <a:lnTo>
                  <a:pt x="2287" y="4491"/>
                </a:lnTo>
                <a:lnTo>
                  <a:pt x="2301" y="4490"/>
                </a:lnTo>
                <a:lnTo>
                  <a:pt x="2315" y="4486"/>
                </a:lnTo>
                <a:lnTo>
                  <a:pt x="2328" y="4481"/>
                </a:lnTo>
                <a:lnTo>
                  <a:pt x="2340" y="4473"/>
                </a:lnTo>
                <a:lnTo>
                  <a:pt x="2331" y="4482"/>
                </a:lnTo>
                <a:lnTo>
                  <a:pt x="2324" y="4492"/>
                </a:lnTo>
                <a:lnTo>
                  <a:pt x="2316" y="4502"/>
                </a:lnTo>
                <a:lnTo>
                  <a:pt x="2311" y="4514"/>
                </a:lnTo>
                <a:lnTo>
                  <a:pt x="2334" y="4510"/>
                </a:lnTo>
                <a:lnTo>
                  <a:pt x="2353" y="4502"/>
                </a:lnTo>
                <a:lnTo>
                  <a:pt x="2372" y="4491"/>
                </a:lnTo>
                <a:lnTo>
                  <a:pt x="2389" y="4476"/>
                </a:lnTo>
                <a:lnTo>
                  <a:pt x="2404" y="4460"/>
                </a:lnTo>
                <a:lnTo>
                  <a:pt x="2421" y="4442"/>
                </a:lnTo>
                <a:lnTo>
                  <a:pt x="2436" y="4427"/>
                </a:lnTo>
                <a:lnTo>
                  <a:pt x="2454" y="4413"/>
                </a:lnTo>
                <a:lnTo>
                  <a:pt x="2430" y="4421"/>
                </a:lnTo>
                <a:lnTo>
                  <a:pt x="2407" y="4430"/>
                </a:lnTo>
                <a:lnTo>
                  <a:pt x="2384" y="4441"/>
                </a:lnTo>
                <a:lnTo>
                  <a:pt x="2362" y="4454"/>
                </a:lnTo>
                <a:lnTo>
                  <a:pt x="2379" y="4439"/>
                </a:lnTo>
                <a:lnTo>
                  <a:pt x="2395" y="4421"/>
                </a:lnTo>
                <a:lnTo>
                  <a:pt x="2412" y="4406"/>
                </a:lnTo>
                <a:lnTo>
                  <a:pt x="2428" y="4390"/>
                </a:lnTo>
                <a:lnTo>
                  <a:pt x="2408" y="4398"/>
                </a:lnTo>
                <a:lnTo>
                  <a:pt x="2386" y="4406"/>
                </a:lnTo>
                <a:lnTo>
                  <a:pt x="2365" y="4416"/>
                </a:lnTo>
                <a:lnTo>
                  <a:pt x="2344" y="4427"/>
                </a:lnTo>
                <a:lnTo>
                  <a:pt x="2326" y="4441"/>
                </a:lnTo>
                <a:lnTo>
                  <a:pt x="2310" y="4455"/>
                </a:lnTo>
                <a:lnTo>
                  <a:pt x="2297" y="4473"/>
                </a:lnTo>
                <a:lnTo>
                  <a:pt x="2287" y="4491"/>
                </a:lnTo>
                <a:close/>
                <a:moveTo>
                  <a:pt x="2287" y="4491"/>
                </a:moveTo>
                <a:lnTo>
                  <a:pt x="2284" y="4492"/>
                </a:lnTo>
                <a:lnTo>
                  <a:pt x="2287" y="4491"/>
                </a:lnTo>
                <a:close/>
                <a:moveTo>
                  <a:pt x="2431" y="4388"/>
                </a:moveTo>
                <a:lnTo>
                  <a:pt x="2430" y="4389"/>
                </a:lnTo>
                <a:lnTo>
                  <a:pt x="2430" y="4390"/>
                </a:lnTo>
                <a:lnTo>
                  <a:pt x="2430" y="4390"/>
                </a:lnTo>
                <a:lnTo>
                  <a:pt x="2432" y="4390"/>
                </a:lnTo>
                <a:lnTo>
                  <a:pt x="2431" y="4388"/>
                </a:lnTo>
                <a:close/>
                <a:moveTo>
                  <a:pt x="2251" y="4314"/>
                </a:moveTo>
                <a:lnTo>
                  <a:pt x="2250" y="4314"/>
                </a:lnTo>
                <a:lnTo>
                  <a:pt x="2249" y="4315"/>
                </a:lnTo>
                <a:lnTo>
                  <a:pt x="2251" y="4315"/>
                </a:lnTo>
                <a:lnTo>
                  <a:pt x="2251" y="4314"/>
                </a:lnTo>
                <a:close/>
                <a:moveTo>
                  <a:pt x="9820" y="9496"/>
                </a:moveTo>
                <a:lnTo>
                  <a:pt x="9820" y="9492"/>
                </a:lnTo>
                <a:lnTo>
                  <a:pt x="9817" y="9493"/>
                </a:lnTo>
                <a:lnTo>
                  <a:pt x="9816" y="9495"/>
                </a:lnTo>
                <a:lnTo>
                  <a:pt x="9816" y="9495"/>
                </a:lnTo>
                <a:lnTo>
                  <a:pt x="9820" y="9496"/>
                </a:lnTo>
                <a:close/>
                <a:moveTo>
                  <a:pt x="10822" y="9148"/>
                </a:moveTo>
                <a:lnTo>
                  <a:pt x="10826" y="9146"/>
                </a:lnTo>
                <a:lnTo>
                  <a:pt x="10823" y="9145"/>
                </a:lnTo>
                <a:lnTo>
                  <a:pt x="10822" y="9145"/>
                </a:lnTo>
                <a:lnTo>
                  <a:pt x="10822" y="9146"/>
                </a:lnTo>
                <a:lnTo>
                  <a:pt x="10822" y="9148"/>
                </a:lnTo>
                <a:close/>
                <a:moveTo>
                  <a:pt x="10483" y="9229"/>
                </a:moveTo>
                <a:lnTo>
                  <a:pt x="10479" y="9227"/>
                </a:lnTo>
                <a:lnTo>
                  <a:pt x="10475" y="9226"/>
                </a:lnTo>
                <a:lnTo>
                  <a:pt x="10477" y="9227"/>
                </a:lnTo>
                <a:lnTo>
                  <a:pt x="10478" y="9229"/>
                </a:lnTo>
                <a:lnTo>
                  <a:pt x="10481" y="9229"/>
                </a:lnTo>
                <a:lnTo>
                  <a:pt x="10483" y="9229"/>
                </a:lnTo>
                <a:close/>
                <a:moveTo>
                  <a:pt x="9329" y="9569"/>
                </a:moveTo>
                <a:lnTo>
                  <a:pt x="9331" y="9569"/>
                </a:lnTo>
                <a:lnTo>
                  <a:pt x="9329" y="9569"/>
                </a:lnTo>
                <a:lnTo>
                  <a:pt x="9332" y="9570"/>
                </a:lnTo>
                <a:lnTo>
                  <a:pt x="9329" y="9569"/>
                </a:lnTo>
                <a:close/>
                <a:moveTo>
                  <a:pt x="9332" y="9570"/>
                </a:moveTo>
                <a:lnTo>
                  <a:pt x="9334" y="9571"/>
                </a:lnTo>
                <a:lnTo>
                  <a:pt x="9337" y="9572"/>
                </a:lnTo>
                <a:lnTo>
                  <a:pt x="9334" y="9571"/>
                </a:lnTo>
                <a:lnTo>
                  <a:pt x="9332" y="9570"/>
                </a:lnTo>
                <a:close/>
                <a:moveTo>
                  <a:pt x="5961" y="10737"/>
                </a:moveTo>
                <a:lnTo>
                  <a:pt x="5966" y="10736"/>
                </a:lnTo>
                <a:lnTo>
                  <a:pt x="5966" y="10736"/>
                </a:lnTo>
                <a:lnTo>
                  <a:pt x="5963" y="10737"/>
                </a:lnTo>
                <a:lnTo>
                  <a:pt x="5960" y="10740"/>
                </a:lnTo>
                <a:lnTo>
                  <a:pt x="5953" y="10743"/>
                </a:lnTo>
                <a:lnTo>
                  <a:pt x="5948" y="10747"/>
                </a:lnTo>
                <a:lnTo>
                  <a:pt x="5943" y="10752"/>
                </a:lnTo>
                <a:lnTo>
                  <a:pt x="5939" y="10757"/>
                </a:lnTo>
                <a:lnTo>
                  <a:pt x="5938" y="10757"/>
                </a:lnTo>
                <a:lnTo>
                  <a:pt x="5938" y="10757"/>
                </a:lnTo>
                <a:lnTo>
                  <a:pt x="5938" y="10757"/>
                </a:lnTo>
                <a:lnTo>
                  <a:pt x="5939" y="10759"/>
                </a:lnTo>
                <a:lnTo>
                  <a:pt x="5939" y="10757"/>
                </a:lnTo>
                <a:lnTo>
                  <a:pt x="5949" y="10747"/>
                </a:lnTo>
                <a:lnTo>
                  <a:pt x="5961" y="10737"/>
                </a:lnTo>
                <a:close/>
                <a:moveTo>
                  <a:pt x="9452" y="9567"/>
                </a:moveTo>
                <a:lnTo>
                  <a:pt x="9452" y="9570"/>
                </a:lnTo>
                <a:lnTo>
                  <a:pt x="9452" y="9572"/>
                </a:lnTo>
                <a:lnTo>
                  <a:pt x="9454" y="9572"/>
                </a:lnTo>
                <a:lnTo>
                  <a:pt x="9457" y="9571"/>
                </a:lnTo>
                <a:lnTo>
                  <a:pt x="9457" y="9569"/>
                </a:lnTo>
                <a:lnTo>
                  <a:pt x="9455" y="9567"/>
                </a:lnTo>
                <a:lnTo>
                  <a:pt x="9454" y="9567"/>
                </a:lnTo>
                <a:lnTo>
                  <a:pt x="9452" y="9567"/>
                </a:lnTo>
                <a:close/>
                <a:moveTo>
                  <a:pt x="9483" y="9525"/>
                </a:moveTo>
                <a:lnTo>
                  <a:pt x="9486" y="9527"/>
                </a:lnTo>
                <a:lnTo>
                  <a:pt x="9489" y="9527"/>
                </a:lnTo>
                <a:lnTo>
                  <a:pt x="9490" y="9525"/>
                </a:lnTo>
                <a:lnTo>
                  <a:pt x="9492" y="9524"/>
                </a:lnTo>
                <a:lnTo>
                  <a:pt x="9490" y="9523"/>
                </a:lnTo>
                <a:lnTo>
                  <a:pt x="9487" y="9521"/>
                </a:lnTo>
                <a:lnTo>
                  <a:pt x="9486" y="9521"/>
                </a:lnTo>
                <a:lnTo>
                  <a:pt x="9485" y="9521"/>
                </a:lnTo>
                <a:lnTo>
                  <a:pt x="9483" y="9523"/>
                </a:lnTo>
                <a:lnTo>
                  <a:pt x="9483" y="9525"/>
                </a:lnTo>
                <a:close/>
                <a:moveTo>
                  <a:pt x="12350" y="8544"/>
                </a:moveTo>
                <a:lnTo>
                  <a:pt x="12351" y="8544"/>
                </a:lnTo>
                <a:lnTo>
                  <a:pt x="12350" y="8544"/>
                </a:lnTo>
                <a:lnTo>
                  <a:pt x="12348" y="8540"/>
                </a:lnTo>
                <a:lnTo>
                  <a:pt x="12345" y="8536"/>
                </a:lnTo>
                <a:lnTo>
                  <a:pt x="12342" y="8534"/>
                </a:lnTo>
                <a:lnTo>
                  <a:pt x="12339" y="8532"/>
                </a:lnTo>
                <a:lnTo>
                  <a:pt x="12337" y="8535"/>
                </a:lnTo>
                <a:lnTo>
                  <a:pt x="12337" y="8537"/>
                </a:lnTo>
                <a:lnTo>
                  <a:pt x="12339" y="8539"/>
                </a:lnTo>
                <a:lnTo>
                  <a:pt x="12341" y="8540"/>
                </a:lnTo>
                <a:lnTo>
                  <a:pt x="12345" y="8543"/>
                </a:lnTo>
                <a:lnTo>
                  <a:pt x="12350" y="8544"/>
                </a:lnTo>
                <a:close/>
                <a:moveTo>
                  <a:pt x="12350" y="8544"/>
                </a:moveTo>
                <a:lnTo>
                  <a:pt x="12351" y="8545"/>
                </a:lnTo>
                <a:lnTo>
                  <a:pt x="12350" y="8544"/>
                </a:lnTo>
                <a:close/>
                <a:moveTo>
                  <a:pt x="9927" y="9502"/>
                </a:moveTo>
                <a:lnTo>
                  <a:pt x="9929" y="9501"/>
                </a:lnTo>
                <a:lnTo>
                  <a:pt x="9930" y="9500"/>
                </a:lnTo>
                <a:lnTo>
                  <a:pt x="9930" y="9497"/>
                </a:lnTo>
                <a:lnTo>
                  <a:pt x="9929" y="9496"/>
                </a:lnTo>
                <a:lnTo>
                  <a:pt x="9928" y="9499"/>
                </a:lnTo>
                <a:lnTo>
                  <a:pt x="9927" y="9502"/>
                </a:lnTo>
                <a:close/>
                <a:moveTo>
                  <a:pt x="9239" y="9603"/>
                </a:moveTo>
                <a:lnTo>
                  <a:pt x="9240" y="9604"/>
                </a:lnTo>
                <a:lnTo>
                  <a:pt x="9241" y="9605"/>
                </a:lnTo>
                <a:lnTo>
                  <a:pt x="9244" y="9604"/>
                </a:lnTo>
                <a:lnTo>
                  <a:pt x="9245" y="9603"/>
                </a:lnTo>
                <a:lnTo>
                  <a:pt x="9244" y="9600"/>
                </a:lnTo>
                <a:lnTo>
                  <a:pt x="9241" y="9600"/>
                </a:lnTo>
                <a:lnTo>
                  <a:pt x="9240" y="9602"/>
                </a:lnTo>
                <a:lnTo>
                  <a:pt x="9239" y="9603"/>
                </a:lnTo>
                <a:close/>
                <a:moveTo>
                  <a:pt x="13373" y="8212"/>
                </a:moveTo>
                <a:lnTo>
                  <a:pt x="13365" y="8210"/>
                </a:lnTo>
                <a:lnTo>
                  <a:pt x="13359" y="8209"/>
                </a:lnTo>
                <a:lnTo>
                  <a:pt x="13361" y="8212"/>
                </a:lnTo>
                <a:lnTo>
                  <a:pt x="13365" y="8213"/>
                </a:lnTo>
                <a:lnTo>
                  <a:pt x="13369" y="8213"/>
                </a:lnTo>
                <a:lnTo>
                  <a:pt x="13373" y="8212"/>
                </a:lnTo>
                <a:close/>
                <a:moveTo>
                  <a:pt x="10207" y="9336"/>
                </a:moveTo>
                <a:lnTo>
                  <a:pt x="10208" y="9333"/>
                </a:lnTo>
                <a:lnTo>
                  <a:pt x="10207" y="9333"/>
                </a:lnTo>
                <a:lnTo>
                  <a:pt x="10207" y="9334"/>
                </a:lnTo>
                <a:lnTo>
                  <a:pt x="10206" y="9334"/>
                </a:lnTo>
                <a:lnTo>
                  <a:pt x="10207" y="9336"/>
                </a:lnTo>
                <a:close/>
                <a:moveTo>
                  <a:pt x="12895" y="8632"/>
                </a:moveTo>
                <a:lnTo>
                  <a:pt x="12895" y="8630"/>
                </a:lnTo>
                <a:lnTo>
                  <a:pt x="12895" y="8629"/>
                </a:lnTo>
                <a:lnTo>
                  <a:pt x="12894" y="8629"/>
                </a:lnTo>
                <a:lnTo>
                  <a:pt x="12893" y="8630"/>
                </a:lnTo>
                <a:lnTo>
                  <a:pt x="12895" y="8632"/>
                </a:lnTo>
                <a:close/>
                <a:moveTo>
                  <a:pt x="10516" y="9216"/>
                </a:moveTo>
                <a:lnTo>
                  <a:pt x="10514" y="9216"/>
                </a:lnTo>
                <a:lnTo>
                  <a:pt x="10511" y="9218"/>
                </a:lnTo>
                <a:lnTo>
                  <a:pt x="10511" y="9220"/>
                </a:lnTo>
                <a:lnTo>
                  <a:pt x="10511" y="9222"/>
                </a:lnTo>
                <a:lnTo>
                  <a:pt x="10515" y="9224"/>
                </a:lnTo>
                <a:lnTo>
                  <a:pt x="10516" y="9221"/>
                </a:lnTo>
                <a:lnTo>
                  <a:pt x="10516" y="9218"/>
                </a:lnTo>
                <a:lnTo>
                  <a:pt x="10516" y="9216"/>
                </a:lnTo>
                <a:close/>
                <a:moveTo>
                  <a:pt x="12255" y="7851"/>
                </a:moveTo>
                <a:lnTo>
                  <a:pt x="12249" y="7854"/>
                </a:lnTo>
                <a:lnTo>
                  <a:pt x="12252" y="7855"/>
                </a:lnTo>
                <a:lnTo>
                  <a:pt x="12253" y="7855"/>
                </a:lnTo>
                <a:lnTo>
                  <a:pt x="12255" y="7854"/>
                </a:lnTo>
                <a:lnTo>
                  <a:pt x="12255" y="7851"/>
                </a:lnTo>
                <a:close/>
                <a:moveTo>
                  <a:pt x="10761" y="9131"/>
                </a:moveTo>
                <a:lnTo>
                  <a:pt x="10759" y="9134"/>
                </a:lnTo>
                <a:lnTo>
                  <a:pt x="10761" y="9138"/>
                </a:lnTo>
                <a:lnTo>
                  <a:pt x="10762" y="9141"/>
                </a:lnTo>
                <a:lnTo>
                  <a:pt x="10766" y="9143"/>
                </a:lnTo>
                <a:lnTo>
                  <a:pt x="10766" y="9140"/>
                </a:lnTo>
                <a:lnTo>
                  <a:pt x="10765" y="9136"/>
                </a:lnTo>
                <a:lnTo>
                  <a:pt x="10763" y="9133"/>
                </a:lnTo>
                <a:lnTo>
                  <a:pt x="10761" y="9131"/>
                </a:lnTo>
                <a:close/>
                <a:moveTo>
                  <a:pt x="12508" y="7687"/>
                </a:moveTo>
                <a:lnTo>
                  <a:pt x="12511" y="7687"/>
                </a:lnTo>
                <a:lnTo>
                  <a:pt x="12512" y="7687"/>
                </a:lnTo>
                <a:lnTo>
                  <a:pt x="12512" y="7686"/>
                </a:lnTo>
                <a:lnTo>
                  <a:pt x="12512" y="7683"/>
                </a:lnTo>
                <a:lnTo>
                  <a:pt x="12511" y="7683"/>
                </a:lnTo>
                <a:lnTo>
                  <a:pt x="12509" y="7685"/>
                </a:lnTo>
                <a:lnTo>
                  <a:pt x="12508" y="7686"/>
                </a:lnTo>
                <a:lnTo>
                  <a:pt x="12508" y="7687"/>
                </a:lnTo>
                <a:close/>
                <a:moveTo>
                  <a:pt x="12634" y="7634"/>
                </a:moveTo>
                <a:lnTo>
                  <a:pt x="12638" y="7632"/>
                </a:lnTo>
                <a:lnTo>
                  <a:pt x="12642" y="7631"/>
                </a:lnTo>
                <a:lnTo>
                  <a:pt x="12642" y="7630"/>
                </a:lnTo>
                <a:lnTo>
                  <a:pt x="12642" y="7629"/>
                </a:lnTo>
                <a:lnTo>
                  <a:pt x="12640" y="7627"/>
                </a:lnTo>
                <a:lnTo>
                  <a:pt x="12638" y="7625"/>
                </a:lnTo>
                <a:lnTo>
                  <a:pt x="12635" y="7625"/>
                </a:lnTo>
                <a:lnTo>
                  <a:pt x="12634" y="7627"/>
                </a:lnTo>
                <a:lnTo>
                  <a:pt x="12634" y="7631"/>
                </a:lnTo>
                <a:lnTo>
                  <a:pt x="12634" y="7634"/>
                </a:lnTo>
                <a:close/>
                <a:moveTo>
                  <a:pt x="10268" y="9357"/>
                </a:moveTo>
                <a:lnTo>
                  <a:pt x="10268" y="9360"/>
                </a:lnTo>
                <a:lnTo>
                  <a:pt x="10269" y="9361"/>
                </a:lnTo>
                <a:lnTo>
                  <a:pt x="10270" y="9361"/>
                </a:lnTo>
                <a:lnTo>
                  <a:pt x="10272" y="9360"/>
                </a:lnTo>
                <a:lnTo>
                  <a:pt x="10272" y="9357"/>
                </a:lnTo>
                <a:lnTo>
                  <a:pt x="10272" y="9355"/>
                </a:lnTo>
                <a:lnTo>
                  <a:pt x="10270" y="9355"/>
                </a:lnTo>
                <a:lnTo>
                  <a:pt x="10268" y="9357"/>
                </a:lnTo>
                <a:close/>
                <a:moveTo>
                  <a:pt x="8710" y="9650"/>
                </a:moveTo>
                <a:lnTo>
                  <a:pt x="8708" y="9647"/>
                </a:lnTo>
                <a:lnTo>
                  <a:pt x="8704" y="9646"/>
                </a:lnTo>
                <a:lnTo>
                  <a:pt x="8702" y="9646"/>
                </a:lnTo>
                <a:lnTo>
                  <a:pt x="8699" y="9647"/>
                </a:lnTo>
                <a:lnTo>
                  <a:pt x="8694" y="9653"/>
                </a:lnTo>
                <a:lnTo>
                  <a:pt x="8689" y="9658"/>
                </a:lnTo>
                <a:lnTo>
                  <a:pt x="8687" y="9659"/>
                </a:lnTo>
                <a:lnTo>
                  <a:pt x="8689" y="9658"/>
                </a:lnTo>
                <a:lnTo>
                  <a:pt x="8695" y="9656"/>
                </a:lnTo>
                <a:lnTo>
                  <a:pt x="8702" y="9656"/>
                </a:lnTo>
                <a:lnTo>
                  <a:pt x="8704" y="9655"/>
                </a:lnTo>
                <a:lnTo>
                  <a:pt x="8707" y="9654"/>
                </a:lnTo>
                <a:lnTo>
                  <a:pt x="8709" y="9653"/>
                </a:lnTo>
                <a:lnTo>
                  <a:pt x="8710" y="9650"/>
                </a:lnTo>
                <a:close/>
                <a:moveTo>
                  <a:pt x="8689" y="9658"/>
                </a:moveTo>
                <a:lnTo>
                  <a:pt x="8687" y="9658"/>
                </a:lnTo>
                <a:lnTo>
                  <a:pt x="8689" y="9658"/>
                </a:lnTo>
                <a:close/>
                <a:moveTo>
                  <a:pt x="9085" y="9679"/>
                </a:moveTo>
                <a:lnTo>
                  <a:pt x="9087" y="9684"/>
                </a:lnTo>
                <a:lnTo>
                  <a:pt x="9091" y="9687"/>
                </a:lnTo>
                <a:lnTo>
                  <a:pt x="9094" y="9686"/>
                </a:lnTo>
                <a:lnTo>
                  <a:pt x="9099" y="9683"/>
                </a:lnTo>
                <a:lnTo>
                  <a:pt x="9098" y="9678"/>
                </a:lnTo>
                <a:lnTo>
                  <a:pt x="9094" y="9675"/>
                </a:lnTo>
                <a:lnTo>
                  <a:pt x="9090" y="9677"/>
                </a:lnTo>
                <a:lnTo>
                  <a:pt x="9085" y="9679"/>
                </a:lnTo>
                <a:close/>
                <a:moveTo>
                  <a:pt x="5900" y="10770"/>
                </a:moveTo>
                <a:lnTo>
                  <a:pt x="5895" y="10774"/>
                </a:lnTo>
                <a:lnTo>
                  <a:pt x="5893" y="10775"/>
                </a:lnTo>
                <a:lnTo>
                  <a:pt x="5895" y="10775"/>
                </a:lnTo>
                <a:lnTo>
                  <a:pt x="5900" y="10771"/>
                </a:lnTo>
                <a:lnTo>
                  <a:pt x="5901" y="10770"/>
                </a:lnTo>
                <a:lnTo>
                  <a:pt x="5900" y="10770"/>
                </a:lnTo>
                <a:close/>
                <a:moveTo>
                  <a:pt x="5901" y="10770"/>
                </a:moveTo>
                <a:lnTo>
                  <a:pt x="5906" y="10771"/>
                </a:lnTo>
                <a:lnTo>
                  <a:pt x="5911" y="10770"/>
                </a:lnTo>
                <a:lnTo>
                  <a:pt x="5916" y="10769"/>
                </a:lnTo>
                <a:lnTo>
                  <a:pt x="5920" y="10768"/>
                </a:lnTo>
                <a:lnTo>
                  <a:pt x="5929" y="10763"/>
                </a:lnTo>
                <a:lnTo>
                  <a:pt x="5937" y="10757"/>
                </a:lnTo>
                <a:lnTo>
                  <a:pt x="5932" y="10757"/>
                </a:lnTo>
                <a:lnTo>
                  <a:pt x="5927" y="10757"/>
                </a:lnTo>
                <a:lnTo>
                  <a:pt x="5923" y="10757"/>
                </a:lnTo>
                <a:lnTo>
                  <a:pt x="5918" y="10760"/>
                </a:lnTo>
                <a:lnTo>
                  <a:pt x="5909" y="10764"/>
                </a:lnTo>
                <a:lnTo>
                  <a:pt x="5901" y="10770"/>
                </a:lnTo>
                <a:close/>
                <a:moveTo>
                  <a:pt x="10768" y="9143"/>
                </a:moveTo>
                <a:lnTo>
                  <a:pt x="10767" y="9143"/>
                </a:lnTo>
                <a:lnTo>
                  <a:pt x="10767" y="9145"/>
                </a:lnTo>
                <a:lnTo>
                  <a:pt x="10767" y="9145"/>
                </a:lnTo>
                <a:lnTo>
                  <a:pt x="10768" y="9143"/>
                </a:lnTo>
                <a:close/>
                <a:moveTo>
                  <a:pt x="10766" y="9159"/>
                </a:moveTo>
                <a:lnTo>
                  <a:pt x="10767" y="9160"/>
                </a:lnTo>
                <a:lnTo>
                  <a:pt x="10768" y="9162"/>
                </a:lnTo>
                <a:lnTo>
                  <a:pt x="10770" y="9162"/>
                </a:lnTo>
                <a:lnTo>
                  <a:pt x="10771" y="9162"/>
                </a:lnTo>
                <a:lnTo>
                  <a:pt x="10773" y="9160"/>
                </a:lnTo>
                <a:lnTo>
                  <a:pt x="10775" y="9156"/>
                </a:lnTo>
                <a:lnTo>
                  <a:pt x="10773" y="9152"/>
                </a:lnTo>
                <a:lnTo>
                  <a:pt x="10771" y="9150"/>
                </a:lnTo>
                <a:lnTo>
                  <a:pt x="10770" y="9148"/>
                </a:lnTo>
                <a:lnTo>
                  <a:pt x="10768" y="9148"/>
                </a:lnTo>
                <a:lnTo>
                  <a:pt x="10766" y="9151"/>
                </a:lnTo>
                <a:lnTo>
                  <a:pt x="10766" y="9159"/>
                </a:lnTo>
                <a:close/>
                <a:moveTo>
                  <a:pt x="9231" y="9669"/>
                </a:moveTo>
                <a:lnTo>
                  <a:pt x="9234" y="9672"/>
                </a:lnTo>
                <a:lnTo>
                  <a:pt x="9236" y="9673"/>
                </a:lnTo>
                <a:lnTo>
                  <a:pt x="9239" y="9672"/>
                </a:lnTo>
                <a:lnTo>
                  <a:pt x="9241" y="9669"/>
                </a:lnTo>
                <a:lnTo>
                  <a:pt x="9243" y="9667"/>
                </a:lnTo>
                <a:lnTo>
                  <a:pt x="9243" y="9663"/>
                </a:lnTo>
                <a:lnTo>
                  <a:pt x="9243" y="9659"/>
                </a:lnTo>
                <a:lnTo>
                  <a:pt x="9243" y="9655"/>
                </a:lnTo>
                <a:lnTo>
                  <a:pt x="9235" y="9663"/>
                </a:lnTo>
                <a:lnTo>
                  <a:pt x="9231" y="9669"/>
                </a:lnTo>
                <a:close/>
                <a:moveTo>
                  <a:pt x="9285" y="9667"/>
                </a:moveTo>
                <a:lnTo>
                  <a:pt x="9285" y="9669"/>
                </a:lnTo>
                <a:lnTo>
                  <a:pt x="9286" y="9672"/>
                </a:lnTo>
                <a:lnTo>
                  <a:pt x="9287" y="9673"/>
                </a:lnTo>
                <a:lnTo>
                  <a:pt x="9289" y="9673"/>
                </a:lnTo>
                <a:lnTo>
                  <a:pt x="9292" y="9670"/>
                </a:lnTo>
                <a:lnTo>
                  <a:pt x="9298" y="9665"/>
                </a:lnTo>
                <a:lnTo>
                  <a:pt x="9296" y="9664"/>
                </a:lnTo>
                <a:lnTo>
                  <a:pt x="9295" y="9663"/>
                </a:lnTo>
                <a:lnTo>
                  <a:pt x="9294" y="9661"/>
                </a:lnTo>
                <a:lnTo>
                  <a:pt x="9291" y="9661"/>
                </a:lnTo>
                <a:lnTo>
                  <a:pt x="9287" y="9663"/>
                </a:lnTo>
                <a:lnTo>
                  <a:pt x="9285" y="9667"/>
                </a:lnTo>
                <a:close/>
                <a:moveTo>
                  <a:pt x="9399" y="9549"/>
                </a:moveTo>
                <a:lnTo>
                  <a:pt x="9401" y="9551"/>
                </a:lnTo>
                <a:lnTo>
                  <a:pt x="9402" y="9552"/>
                </a:lnTo>
                <a:lnTo>
                  <a:pt x="9403" y="9551"/>
                </a:lnTo>
                <a:lnTo>
                  <a:pt x="9406" y="9549"/>
                </a:lnTo>
                <a:lnTo>
                  <a:pt x="9407" y="9548"/>
                </a:lnTo>
                <a:lnTo>
                  <a:pt x="9407" y="9546"/>
                </a:lnTo>
                <a:lnTo>
                  <a:pt x="9407" y="9544"/>
                </a:lnTo>
                <a:lnTo>
                  <a:pt x="9406" y="9543"/>
                </a:lnTo>
                <a:lnTo>
                  <a:pt x="9403" y="9546"/>
                </a:lnTo>
                <a:lnTo>
                  <a:pt x="9399" y="9549"/>
                </a:lnTo>
                <a:close/>
                <a:moveTo>
                  <a:pt x="9420" y="9605"/>
                </a:moveTo>
                <a:lnTo>
                  <a:pt x="9421" y="9608"/>
                </a:lnTo>
                <a:lnTo>
                  <a:pt x="9422" y="9608"/>
                </a:lnTo>
                <a:lnTo>
                  <a:pt x="9425" y="9608"/>
                </a:lnTo>
                <a:lnTo>
                  <a:pt x="9426" y="9607"/>
                </a:lnTo>
                <a:lnTo>
                  <a:pt x="9425" y="9604"/>
                </a:lnTo>
                <a:lnTo>
                  <a:pt x="9422" y="9602"/>
                </a:lnTo>
                <a:lnTo>
                  <a:pt x="9421" y="9603"/>
                </a:lnTo>
                <a:lnTo>
                  <a:pt x="9420" y="9605"/>
                </a:lnTo>
                <a:close/>
                <a:moveTo>
                  <a:pt x="12968" y="7547"/>
                </a:moveTo>
                <a:lnTo>
                  <a:pt x="12960" y="7562"/>
                </a:lnTo>
                <a:lnTo>
                  <a:pt x="12954" y="7574"/>
                </a:lnTo>
                <a:lnTo>
                  <a:pt x="12952" y="7574"/>
                </a:lnTo>
                <a:lnTo>
                  <a:pt x="12954" y="7574"/>
                </a:lnTo>
                <a:lnTo>
                  <a:pt x="12959" y="7570"/>
                </a:lnTo>
                <a:lnTo>
                  <a:pt x="12965" y="7565"/>
                </a:lnTo>
                <a:lnTo>
                  <a:pt x="12966" y="7562"/>
                </a:lnTo>
                <a:lnTo>
                  <a:pt x="12968" y="7559"/>
                </a:lnTo>
                <a:lnTo>
                  <a:pt x="12969" y="7553"/>
                </a:lnTo>
                <a:lnTo>
                  <a:pt x="12968" y="7547"/>
                </a:lnTo>
                <a:close/>
                <a:moveTo>
                  <a:pt x="12954" y="7574"/>
                </a:moveTo>
                <a:lnTo>
                  <a:pt x="12952" y="7574"/>
                </a:lnTo>
                <a:lnTo>
                  <a:pt x="12954" y="7574"/>
                </a:lnTo>
                <a:close/>
                <a:moveTo>
                  <a:pt x="12185" y="8579"/>
                </a:moveTo>
                <a:lnTo>
                  <a:pt x="12183" y="8577"/>
                </a:lnTo>
                <a:lnTo>
                  <a:pt x="12181" y="8576"/>
                </a:lnTo>
                <a:lnTo>
                  <a:pt x="12178" y="8576"/>
                </a:lnTo>
                <a:lnTo>
                  <a:pt x="12176" y="8577"/>
                </a:lnTo>
                <a:lnTo>
                  <a:pt x="12177" y="8582"/>
                </a:lnTo>
                <a:lnTo>
                  <a:pt x="12178" y="8583"/>
                </a:lnTo>
                <a:lnTo>
                  <a:pt x="12181" y="8582"/>
                </a:lnTo>
                <a:lnTo>
                  <a:pt x="12185" y="8579"/>
                </a:lnTo>
                <a:close/>
                <a:moveTo>
                  <a:pt x="12843" y="8415"/>
                </a:moveTo>
                <a:lnTo>
                  <a:pt x="12857" y="8410"/>
                </a:lnTo>
                <a:lnTo>
                  <a:pt x="12867" y="8406"/>
                </a:lnTo>
                <a:lnTo>
                  <a:pt x="12876" y="8404"/>
                </a:lnTo>
                <a:lnTo>
                  <a:pt x="12884" y="8401"/>
                </a:lnTo>
                <a:lnTo>
                  <a:pt x="12885" y="8401"/>
                </a:lnTo>
                <a:lnTo>
                  <a:pt x="12884" y="8401"/>
                </a:lnTo>
                <a:lnTo>
                  <a:pt x="12873" y="8400"/>
                </a:lnTo>
                <a:lnTo>
                  <a:pt x="12866" y="8401"/>
                </a:lnTo>
                <a:lnTo>
                  <a:pt x="12857" y="8406"/>
                </a:lnTo>
                <a:lnTo>
                  <a:pt x="12843" y="8415"/>
                </a:lnTo>
                <a:close/>
                <a:moveTo>
                  <a:pt x="12884" y="8401"/>
                </a:moveTo>
                <a:lnTo>
                  <a:pt x="12885" y="8403"/>
                </a:lnTo>
                <a:lnTo>
                  <a:pt x="12884" y="8401"/>
                </a:lnTo>
                <a:close/>
                <a:moveTo>
                  <a:pt x="8686" y="9660"/>
                </a:moveTo>
                <a:lnTo>
                  <a:pt x="8686" y="9660"/>
                </a:lnTo>
                <a:lnTo>
                  <a:pt x="8686" y="9660"/>
                </a:lnTo>
                <a:lnTo>
                  <a:pt x="8686" y="9659"/>
                </a:lnTo>
                <a:lnTo>
                  <a:pt x="8686" y="9660"/>
                </a:lnTo>
                <a:close/>
                <a:moveTo>
                  <a:pt x="8651" y="9668"/>
                </a:moveTo>
                <a:lnTo>
                  <a:pt x="8656" y="9669"/>
                </a:lnTo>
                <a:lnTo>
                  <a:pt x="8661" y="9670"/>
                </a:lnTo>
                <a:lnTo>
                  <a:pt x="8665" y="9669"/>
                </a:lnTo>
                <a:lnTo>
                  <a:pt x="8668" y="9668"/>
                </a:lnTo>
                <a:lnTo>
                  <a:pt x="8676" y="9664"/>
                </a:lnTo>
                <a:lnTo>
                  <a:pt x="8684" y="9659"/>
                </a:lnTo>
                <a:lnTo>
                  <a:pt x="8675" y="9658"/>
                </a:lnTo>
                <a:lnTo>
                  <a:pt x="8667" y="9658"/>
                </a:lnTo>
                <a:lnTo>
                  <a:pt x="8662" y="9659"/>
                </a:lnTo>
                <a:lnTo>
                  <a:pt x="8658" y="9660"/>
                </a:lnTo>
                <a:lnTo>
                  <a:pt x="8654" y="9664"/>
                </a:lnTo>
                <a:lnTo>
                  <a:pt x="8651" y="9668"/>
                </a:lnTo>
                <a:close/>
                <a:moveTo>
                  <a:pt x="12965" y="6847"/>
                </a:moveTo>
                <a:lnTo>
                  <a:pt x="12969" y="6846"/>
                </a:lnTo>
                <a:lnTo>
                  <a:pt x="12972" y="6843"/>
                </a:lnTo>
                <a:lnTo>
                  <a:pt x="12973" y="6842"/>
                </a:lnTo>
                <a:lnTo>
                  <a:pt x="12973" y="6841"/>
                </a:lnTo>
                <a:lnTo>
                  <a:pt x="12972" y="6838"/>
                </a:lnTo>
                <a:lnTo>
                  <a:pt x="12970" y="6837"/>
                </a:lnTo>
                <a:lnTo>
                  <a:pt x="12968" y="6838"/>
                </a:lnTo>
                <a:lnTo>
                  <a:pt x="12965" y="6839"/>
                </a:lnTo>
                <a:lnTo>
                  <a:pt x="12965" y="6843"/>
                </a:lnTo>
                <a:lnTo>
                  <a:pt x="12965" y="6847"/>
                </a:lnTo>
                <a:close/>
                <a:moveTo>
                  <a:pt x="12819" y="6844"/>
                </a:moveTo>
                <a:lnTo>
                  <a:pt x="12824" y="6842"/>
                </a:lnTo>
                <a:lnTo>
                  <a:pt x="12825" y="6841"/>
                </a:lnTo>
                <a:lnTo>
                  <a:pt x="12825" y="6837"/>
                </a:lnTo>
                <a:lnTo>
                  <a:pt x="12820" y="6834"/>
                </a:lnTo>
                <a:lnTo>
                  <a:pt x="12817" y="6836"/>
                </a:lnTo>
                <a:lnTo>
                  <a:pt x="12816" y="6836"/>
                </a:lnTo>
                <a:lnTo>
                  <a:pt x="12816" y="6837"/>
                </a:lnTo>
                <a:lnTo>
                  <a:pt x="12816" y="6838"/>
                </a:lnTo>
                <a:lnTo>
                  <a:pt x="12817" y="6842"/>
                </a:lnTo>
                <a:lnTo>
                  <a:pt x="12819" y="6844"/>
                </a:lnTo>
                <a:close/>
                <a:moveTo>
                  <a:pt x="8968" y="9506"/>
                </a:moveTo>
                <a:lnTo>
                  <a:pt x="8968" y="9505"/>
                </a:lnTo>
                <a:lnTo>
                  <a:pt x="8969" y="9505"/>
                </a:lnTo>
                <a:lnTo>
                  <a:pt x="8968" y="9505"/>
                </a:lnTo>
                <a:lnTo>
                  <a:pt x="8966" y="9505"/>
                </a:lnTo>
                <a:lnTo>
                  <a:pt x="8966" y="9506"/>
                </a:lnTo>
                <a:lnTo>
                  <a:pt x="8968" y="9506"/>
                </a:lnTo>
                <a:close/>
                <a:moveTo>
                  <a:pt x="12980" y="7473"/>
                </a:moveTo>
                <a:lnTo>
                  <a:pt x="12986" y="7473"/>
                </a:lnTo>
                <a:lnTo>
                  <a:pt x="12989" y="7471"/>
                </a:lnTo>
                <a:lnTo>
                  <a:pt x="12989" y="7469"/>
                </a:lnTo>
                <a:lnTo>
                  <a:pt x="12989" y="7468"/>
                </a:lnTo>
                <a:lnTo>
                  <a:pt x="12988" y="7466"/>
                </a:lnTo>
                <a:lnTo>
                  <a:pt x="12986" y="7464"/>
                </a:lnTo>
                <a:lnTo>
                  <a:pt x="12980" y="7466"/>
                </a:lnTo>
                <a:lnTo>
                  <a:pt x="12977" y="7467"/>
                </a:lnTo>
                <a:lnTo>
                  <a:pt x="12977" y="7469"/>
                </a:lnTo>
                <a:lnTo>
                  <a:pt x="12977" y="7471"/>
                </a:lnTo>
                <a:lnTo>
                  <a:pt x="12978" y="7472"/>
                </a:lnTo>
                <a:lnTo>
                  <a:pt x="12980" y="7473"/>
                </a:lnTo>
                <a:close/>
                <a:moveTo>
                  <a:pt x="9201" y="9667"/>
                </a:moveTo>
                <a:lnTo>
                  <a:pt x="9199" y="9674"/>
                </a:lnTo>
                <a:lnTo>
                  <a:pt x="9196" y="9679"/>
                </a:lnTo>
                <a:lnTo>
                  <a:pt x="9192" y="9683"/>
                </a:lnTo>
                <a:lnTo>
                  <a:pt x="9189" y="9687"/>
                </a:lnTo>
                <a:lnTo>
                  <a:pt x="9185" y="9691"/>
                </a:lnTo>
                <a:lnTo>
                  <a:pt x="9183" y="9696"/>
                </a:lnTo>
                <a:lnTo>
                  <a:pt x="9182" y="9703"/>
                </a:lnTo>
                <a:lnTo>
                  <a:pt x="9183" y="9712"/>
                </a:lnTo>
                <a:lnTo>
                  <a:pt x="9193" y="9700"/>
                </a:lnTo>
                <a:lnTo>
                  <a:pt x="9205" y="9686"/>
                </a:lnTo>
                <a:lnTo>
                  <a:pt x="9208" y="9679"/>
                </a:lnTo>
                <a:lnTo>
                  <a:pt x="9210" y="9673"/>
                </a:lnTo>
                <a:lnTo>
                  <a:pt x="9207" y="9669"/>
                </a:lnTo>
                <a:lnTo>
                  <a:pt x="9201" y="9667"/>
                </a:lnTo>
                <a:close/>
                <a:moveTo>
                  <a:pt x="12317" y="8649"/>
                </a:moveTo>
                <a:lnTo>
                  <a:pt x="12320" y="8653"/>
                </a:lnTo>
                <a:lnTo>
                  <a:pt x="12321" y="8655"/>
                </a:lnTo>
                <a:lnTo>
                  <a:pt x="12323" y="8656"/>
                </a:lnTo>
                <a:lnTo>
                  <a:pt x="12325" y="8656"/>
                </a:lnTo>
                <a:lnTo>
                  <a:pt x="12330" y="8653"/>
                </a:lnTo>
                <a:lnTo>
                  <a:pt x="12335" y="8648"/>
                </a:lnTo>
                <a:lnTo>
                  <a:pt x="12330" y="8646"/>
                </a:lnTo>
                <a:lnTo>
                  <a:pt x="12326" y="8644"/>
                </a:lnTo>
                <a:lnTo>
                  <a:pt x="12321" y="8647"/>
                </a:lnTo>
                <a:lnTo>
                  <a:pt x="12317" y="8649"/>
                </a:lnTo>
                <a:close/>
                <a:moveTo>
                  <a:pt x="9743" y="9524"/>
                </a:moveTo>
                <a:lnTo>
                  <a:pt x="9752" y="9523"/>
                </a:lnTo>
                <a:lnTo>
                  <a:pt x="9759" y="9520"/>
                </a:lnTo>
                <a:lnTo>
                  <a:pt x="9764" y="9518"/>
                </a:lnTo>
                <a:lnTo>
                  <a:pt x="9767" y="9514"/>
                </a:lnTo>
                <a:lnTo>
                  <a:pt x="9771" y="9505"/>
                </a:lnTo>
                <a:lnTo>
                  <a:pt x="9774" y="9496"/>
                </a:lnTo>
                <a:lnTo>
                  <a:pt x="9775" y="9496"/>
                </a:lnTo>
                <a:lnTo>
                  <a:pt x="9775" y="9495"/>
                </a:lnTo>
                <a:lnTo>
                  <a:pt x="9774" y="9495"/>
                </a:lnTo>
                <a:lnTo>
                  <a:pt x="9774" y="9496"/>
                </a:lnTo>
                <a:lnTo>
                  <a:pt x="9760" y="9509"/>
                </a:lnTo>
                <a:lnTo>
                  <a:pt x="9743" y="9524"/>
                </a:lnTo>
                <a:close/>
                <a:moveTo>
                  <a:pt x="8847" y="9695"/>
                </a:moveTo>
                <a:lnTo>
                  <a:pt x="8853" y="9695"/>
                </a:lnTo>
                <a:lnTo>
                  <a:pt x="8858" y="9693"/>
                </a:lnTo>
                <a:lnTo>
                  <a:pt x="8862" y="9692"/>
                </a:lnTo>
                <a:lnTo>
                  <a:pt x="8865" y="9691"/>
                </a:lnTo>
                <a:lnTo>
                  <a:pt x="8868" y="9683"/>
                </a:lnTo>
                <a:lnTo>
                  <a:pt x="8872" y="9670"/>
                </a:lnTo>
                <a:lnTo>
                  <a:pt x="8863" y="9674"/>
                </a:lnTo>
                <a:lnTo>
                  <a:pt x="8856" y="9679"/>
                </a:lnTo>
                <a:lnTo>
                  <a:pt x="8852" y="9682"/>
                </a:lnTo>
                <a:lnTo>
                  <a:pt x="8851" y="9686"/>
                </a:lnTo>
                <a:lnTo>
                  <a:pt x="8848" y="9689"/>
                </a:lnTo>
                <a:lnTo>
                  <a:pt x="8847" y="9695"/>
                </a:lnTo>
                <a:close/>
                <a:moveTo>
                  <a:pt x="9157" y="9723"/>
                </a:moveTo>
                <a:lnTo>
                  <a:pt x="9161" y="9729"/>
                </a:lnTo>
                <a:lnTo>
                  <a:pt x="9163" y="9731"/>
                </a:lnTo>
                <a:lnTo>
                  <a:pt x="9170" y="9730"/>
                </a:lnTo>
                <a:lnTo>
                  <a:pt x="9174" y="9726"/>
                </a:lnTo>
                <a:lnTo>
                  <a:pt x="9177" y="9724"/>
                </a:lnTo>
                <a:lnTo>
                  <a:pt x="9175" y="9720"/>
                </a:lnTo>
                <a:lnTo>
                  <a:pt x="9173" y="9717"/>
                </a:lnTo>
                <a:lnTo>
                  <a:pt x="9169" y="9717"/>
                </a:lnTo>
                <a:lnTo>
                  <a:pt x="9164" y="9719"/>
                </a:lnTo>
                <a:lnTo>
                  <a:pt x="9157" y="9723"/>
                </a:lnTo>
                <a:close/>
                <a:moveTo>
                  <a:pt x="10478" y="9260"/>
                </a:moveTo>
                <a:lnTo>
                  <a:pt x="10478" y="9264"/>
                </a:lnTo>
                <a:lnTo>
                  <a:pt x="10479" y="9267"/>
                </a:lnTo>
                <a:lnTo>
                  <a:pt x="10481" y="9268"/>
                </a:lnTo>
                <a:lnTo>
                  <a:pt x="10484" y="9268"/>
                </a:lnTo>
                <a:lnTo>
                  <a:pt x="10492" y="9266"/>
                </a:lnTo>
                <a:lnTo>
                  <a:pt x="10501" y="9263"/>
                </a:lnTo>
                <a:lnTo>
                  <a:pt x="10498" y="9257"/>
                </a:lnTo>
                <a:lnTo>
                  <a:pt x="10497" y="9253"/>
                </a:lnTo>
                <a:lnTo>
                  <a:pt x="10495" y="9250"/>
                </a:lnTo>
                <a:lnTo>
                  <a:pt x="10492" y="9250"/>
                </a:lnTo>
                <a:lnTo>
                  <a:pt x="10486" y="9254"/>
                </a:lnTo>
                <a:lnTo>
                  <a:pt x="10478" y="9260"/>
                </a:lnTo>
                <a:close/>
                <a:moveTo>
                  <a:pt x="12814" y="7573"/>
                </a:moveTo>
                <a:lnTo>
                  <a:pt x="12821" y="7573"/>
                </a:lnTo>
                <a:lnTo>
                  <a:pt x="12826" y="7570"/>
                </a:lnTo>
                <a:lnTo>
                  <a:pt x="12829" y="7569"/>
                </a:lnTo>
                <a:lnTo>
                  <a:pt x="12830" y="7566"/>
                </a:lnTo>
                <a:lnTo>
                  <a:pt x="12831" y="7564"/>
                </a:lnTo>
                <a:lnTo>
                  <a:pt x="12833" y="7560"/>
                </a:lnTo>
                <a:lnTo>
                  <a:pt x="12826" y="7560"/>
                </a:lnTo>
                <a:lnTo>
                  <a:pt x="12820" y="7561"/>
                </a:lnTo>
                <a:lnTo>
                  <a:pt x="12817" y="7564"/>
                </a:lnTo>
                <a:lnTo>
                  <a:pt x="12816" y="7565"/>
                </a:lnTo>
                <a:lnTo>
                  <a:pt x="12814" y="7569"/>
                </a:lnTo>
                <a:lnTo>
                  <a:pt x="12814" y="7573"/>
                </a:lnTo>
                <a:close/>
                <a:moveTo>
                  <a:pt x="13208" y="6992"/>
                </a:moveTo>
                <a:lnTo>
                  <a:pt x="13215" y="6991"/>
                </a:lnTo>
                <a:lnTo>
                  <a:pt x="13220" y="6990"/>
                </a:lnTo>
                <a:lnTo>
                  <a:pt x="13221" y="6988"/>
                </a:lnTo>
                <a:lnTo>
                  <a:pt x="13222" y="6986"/>
                </a:lnTo>
                <a:lnTo>
                  <a:pt x="13221" y="6983"/>
                </a:lnTo>
                <a:lnTo>
                  <a:pt x="13219" y="6981"/>
                </a:lnTo>
                <a:lnTo>
                  <a:pt x="13215" y="6981"/>
                </a:lnTo>
                <a:lnTo>
                  <a:pt x="13211" y="6981"/>
                </a:lnTo>
                <a:lnTo>
                  <a:pt x="13207" y="6982"/>
                </a:lnTo>
                <a:lnTo>
                  <a:pt x="13206" y="6983"/>
                </a:lnTo>
                <a:lnTo>
                  <a:pt x="13205" y="6984"/>
                </a:lnTo>
                <a:lnTo>
                  <a:pt x="13203" y="6987"/>
                </a:lnTo>
                <a:lnTo>
                  <a:pt x="13205" y="6990"/>
                </a:lnTo>
                <a:lnTo>
                  <a:pt x="13208" y="6992"/>
                </a:lnTo>
                <a:close/>
                <a:moveTo>
                  <a:pt x="12886" y="8403"/>
                </a:moveTo>
                <a:lnTo>
                  <a:pt x="12888" y="8401"/>
                </a:lnTo>
                <a:lnTo>
                  <a:pt x="12886" y="8400"/>
                </a:lnTo>
                <a:lnTo>
                  <a:pt x="12886" y="8403"/>
                </a:lnTo>
                <a:close/>
                <a:moveTo>
                  <a:pt x="12888" y="8401"/>
                </a:moveTo>
                <a:lnTo>
                  <a:pt x="12895" y="8403"/>
                </a:lnTo>
                <a:lnTo>
                  <a:pt x="12903" y="8404"/>
                </a:lnTo>
                <a:lnTo>
                  <a:pt x="12909" y="8404"/>
                </a:lnTo>
                <a:lnTo>
                  <a:pt x="12917" y="8403"/>
                </a:lnTo>
                <a:lnTo>
                  <a:pt x="12923" y="8401"/>
                </a:lnTo>
                <a:lnTo>
                  <a:pt x="12931" y="8399"/>
                </a:lnTo>
                <a:lnTo>
                  <a:pt x="12937" y="8395"/>
                </a:lnTo>
                <a:lnTo>
                  <a:pt x="12944" y="8390"/>
                </a:lnTo>
                <a:lnTo>
                  <a:pt x="12936" y="8389"/>
                </a:lnTo>
                <a:lnTo>
                  <a:pt x="12928" y="8389"/>
                </a:lnTo>
                <a:lnTo>
                  <a:pt x="12922" y="8389"/>
                </a:lnTo>
                <a:lnTo>
                  <a:pt x="12914" y="8390"/>
                </a:lnTo>
                <a:lnTo>
                  <a:pt x="12908" y="8391"/>
                </a:lnTo>
                <a:lnTo>
                  <a:pt x="12902" y="8394"/>
                </a:lnTo>
                <a:lnTo>
                  <a:pt x="12895" y="8397"/>
                </a:lnTo>
                <a:lnTo>
                  <a:pt x="12888" y="8401"/>
                </a:lnTo>
                <a:close/>
                <a:moveTo>
                  <a:pt x="12944" y="8390"/>
                </a:moveTo>
                <a:lnTo>
                  <a:pt x="12945" y="8390"/>
                </a:lnTo>
                <a:lnTo>
                  <a:pt x="12946" y="8390"/>
                </a:lnTo>
                <a:lnTo>
                  <a:pt x="12945" y="8390"/>
                </a:lnTo>
                <a:lnTo>
                  <a:pt x="12944" y="8390"/>
                </a:lnTo>
                <a:close/>
                <a:moveTo>
                  <a:pt x="9976" y="9400"/>
                </a:moveTo>
                <a:lnTo>
                  <a:pt x="9969" y="9407"/>
                </a:lnTo>
                <a:lnTo>
                  <a:pt x="9962" y="9413"/>
                </a:lnTo>
                <a:lnTo>
                  <a:pt x="9958" y="9417"/>
                </a:lnTo>
                <a:lnTo>
                  <a:pt x="9957" y="9421"/>
                </a:lnTo>
                <a:lnTo>
                  <a:pt x="9956" y="9425"/>
                </a:lnTo>
                <a:lnTo>
                  <a:pt x="9958" y="9430"/>
                </a:lnTo>
                <a:lnTo>
                  <a:pt x="9962" y="9430"/>
                </a:lnTo>
                <a:lnTo>
                  <a:pt x="9969" y="9428"/>
                </a:lnTo>
                <a:lnTo>
                  <a:pt x="9974" y="9425"/>
                </a:lnTo>
                <a:lnTo>
                  <a:pt x="9978" y="9420"/>
                </a:lnTo>
                <a:lnTo>
                  <a:pt x="9980" y="9413"/>
                </a:lnTo>
                <a:lnTo>
                  <a:pt x="9981" y="9408"/>
                </a:lnTo>
                <a:lnTo>
                  <a:pt x="9980" y="9404"/>
                </a:lnTo>
                <a:lnTo>
                  <a:pt x="9976" y="9400"/>
                </a:lnTo>
                <a:close/>
                <a:moveTo>
                  <a:pt x="8851" y="9609"/>
                </a:moveTo>
                <a:lnTo>
                  <a:pt x="8852" y="9609"/>
                </a:lnTo>
                <a:lnTo>
                  <a:pt x="8853" y="9608"/>
                </a:lnTo>
                <a:lnTo>
                  <a:pt x="8852" y="9608"/>
                </a:lnTo>
                <a:lnTo>
                  <a:pt x="8851" y="9609"/>
                </a:lnTo>
                <a:close/>
                <a:moveTo>
                  <a:pt x="8836" y="9649"/>
                </a:moveTo>
                <a:lnTo>
                  <a:pt x="8840" y="9645"/>
                </a:lnTo>
                <a:lnTo>
                  <a:pt x="8844" y="9640"/>
                </a:lnTo>
                <a:lnTo>
                  <a:pt x="8847" y="9635"/>
                </a:lnTo>
                <a:lnTo>
                  <a:pt x="8848" y="9631"/>
                </a:lnTo>
                <a:lnTo>
                  <a:pt x="8851" y="9621"/>
                </a:lnTo>
                <a:lnTo>
                  <a:pt x="8851" y="9609"/>
                </a:lnTo>
                <a:lnTo>
                  <a:pt x="8844" y="9614"/>
                </a:lnTo>
                <a:lnTo>
                  <a:pt x="8835" y="9622"/>
                </a:lnTo>
                <a:lnTo>
                  <a:pt x="8828" y="9631"/>
                </a:lnTo>
                <a:lnTo>
                  <a:pt x="8821" y="9639"/>
                </a:lnTo>
                <a:lnTo>
                  <a:pt x="8819" y="9646"/>
                </a:lnTo>
                <a:lnTo>
                  <a:pt x="8819" y="9651"/>
                </a:lnTo>
                <a:lnTo>
                  <a:pt x="8825" y="9653"/>
                </a:lnTo>
                <a:lnTo>
                  <a:pt x="8836" y="9649"/>
                </a:lnTo>
                <a:close/>
                <a:moveTo>
                  <a:pt x="9184" y="9650"/>
                </a:moveTo>
                <a:lnTo>
                  <a:pt x="9175" y="9655"/>
                </a:lnTo>
                <a:lnTo>
                  <a:pt x="9169" y="9659"/>
                </a:lnTo>
                <a:lnTo>
                  <a:pt x="9165" y="9663"/>
                </a:lnTo>
                <a:lnTo>
                  <a:pt x="9161" y="9665"/>
                </a:lnTo>
                <a:lnTo>
                  <a:pt x="9160" y="9670"/>
                </a:lnTo>
                <a:lnTo>
                  <a:pt x="9159" y="9675"/>
                </a:lnTo>
                <a:lnTo>
                  <a:pt x="9159" y="9682"/>
                </a:lnTo>
                <a:lnTo>
                  <a:pt x="9159" y="9691"/>
                </a:lnTo>
                <a:lnTo>
                  <a:pt x="9168" y="9679"/>
                </a:lnTo>
                <a:lnTo>
                  <a:pt x="9174" y="9670"/>
                </a:lnTo>
                <a:lnTo>
                  <a:pt x="9179" y="9663"/>
                </a:lnTo>
                <a:lnTo>
                  <a:pt x="9184" y="9650"/>
                </a:lnTo>
                <a:close/>
                <a:moveTo>
                  <a:pt x="11457" y="7786"/>
                </a:moveTo>
                <a:lnTo>
                  <a:pt x="11461" y="7789"/>
                </a:lnTo>
                <a:lnTo>
                  <a:pt x="11464" y="7792"/>
                </a:lnTo>
                <a:lnTo>
                  <a:pt x="11466" y="7793"/>
                </a:lnTo>
                <a:lnTo>
                  <a:pt x="11470" y="7793"/>
                </a:lnTo>
                <a:lnTo>
                  <a:pt x="11479" y="7792"/>
                </a:lnTo>
                <a:lnTo>
                  <a:pt x="11494" y="7786"/>
                </a:lnTo>
                <a:lnTo>
                  <a:pt x="11489" y="7783"/>
                </a:lnTo>
                <a:lnTo>
                  <a:pt x="11484" y="7781"/>
                </a:lnTo>
                <a:lnTo>
                  <a:pt x="11480" y="7780"/>
                </a:lnTo>
                <a:lnTo>
                  <a:pt x="11475" y="7780"/>
                </a:lnTo>
                <a:lnTo>
                  <a:pt x="11466" y="7783"/>
                </a:lnTo>
                <a:lnTo>
                  <a:pt x="11457" y="7786"/>
                </a:lnTo>
                <a:close/>
                <a:moveTo>
                  <a:pt x="9771" y="9463"/>
                </a:moveTo>
                <a:lnTo>
                  <a:pt x="9769" y="9465"/>
                </a:lnTo>
                <a:lnTo>
                  <a:pt x="9767" y="9469"/>
                </a:lnTo>
                <a:lnTo>
                  <a:pt x="9767" y="9473"/>
                </a:lnTo>
                <a:lnTo>
                  <a:pt x="9767" y="9477"/>
                </a:lnTo>
                <a:lnTo>
                  <a:pt x="9770" y="9487"/>
                </a:lnTo>
                <a:lnTo>
                  <a:pt x="9775" y="9490"/>
                </a:lnTo>
                <a:lnTo>
                  <a:pt x="9781" y="9487"/>
                </a:lnTo>
                <a:lnTo>
                  <a:pt x="9787" y="9479"/>
                </a:lnTo>
                <a:lnTo>
                  <a:pt x="9789" y="9472"/>
                </a:lnTo>
                <a:lnTo>
                  <a:pt x="9789" y="9465"/>
                </a:lnTo>
                <a:lnTo>
                  <a:pt x="9783" y="9462"/>
                </a:lnTo>
                <a:lnTo>
                  <a:pt x="9771" y="9463"/>
                </a:lnTo>
                <a:close/>
                <a:moveTo>
                  <a:pt x="8182" y="9819"/>
                </a:moveTo>
                <a:lnTo>
                  <a:pt x="8176" y="9819"/>
                </a:lnTo>
                <a:lnTo>
                  <a:pt x="8169" y="9821"/>
                </a:lnTo>
                <a:lnTo>
                  <a:pt x="8165" y="9824"/>
                </a:lnTo>
                <a:lnTo>
                  <a:pt x="8162" y="9828"/>
                </a:lnTo>
                <a:lnTo>
                  <a:pt x="8160" y="9835"/>
                </a:lnTo>
                <a:lnTo>
                  <a:pt x="8159" y="9841"/>
                </a:lnTo>
                <a:lnTo>
                  <a:pt x="8160" y="9847"/>
                </a:lnTo>
                <a:lnTo>
                  <a:pt x="8164" y="9852"/>
                </a:lnTo>
                <a:lnTo>
                  <a:pt x="8178" y="9840"/>
                </a:lnTo>
                <a:lnTo>
                  <a:pt x="8184" y="9832"/>
                </a:lnTo>
                <a:lnTo>
                  <a:pt x="8186" y="9828"/>
                </a:lnTo>
                <a:lnTo>
                  <a:pt x="8186" y="9826"/>
                </a:lnTo>
                <a:lnTo>
                  <a:pt x="8184" y="9823"/>
                </a:lnTo>
                <a:lnTo>
                  <a:pt x="8182" y="9819"/>
                </a:lnTo>
                <a:close/>
                <a:moveTo>
                  <a:pt x="9868" y="9414"/>
                </a:moveTo>
                <a:lnTo>
                  <a:pt x="9863" y="9418"/>
                </a:lnTo>
                <a:lnTo>
                  <a:pt x="9858" y="9422"/>
                </a:lnTo>
                <a:lnTo>
                  <a:pt x="9853" y="9427"/>
                </a:lnTo>
                <a:lnTo>
                  <a:pt x="9849" y="9432"/>
                </a:lnTo>
                <a:lnTo>
                  <a:pt x="9841" y="9445"/>
                </a:lnTo>
                <a:lnTo>
                  <a:pt x="9831" y="9459"/>
                </a:lnTo>
                <a:lnTo>
                  <a:pt x="9845" y="9454"/>
                </a:lnTo>
                <a:lnTo>
                  <a:pt x="9855" y="9450"/>
                </a:lnTo>
                <a:lnTo>
                  <a:pt x="9862" y="9446"/>
                </a:lnTo>
                <a:lnTo>
                  <a:pt x="9867" y="9442"/>
                </a:lnTo>
                <a:lnTo>
                  <a:pt x="9869" y="9439"/>
                </a:lnTo>
                <a:lnTo>
                  <a:pt x="9871" y="9432"/>
                </a:lnTo>
                <a:lnTo>
                  <a:pt x="9869" y="9425"/>
                </a:lnTo>
                <a:lnTo>
                  <a:pt x="9868" y="9414"/>
                </a:lnTo>
                <a:close/>
                <a:moveTo>
                  <a:pt x="9345" y="9617"/>
                </a:moveTo>
                <a:lnTo>
                  <a:pt x="9340" y="9616"/>
                </a:lnTo>
                <a:lnTo>
                  <a:pt x="9334" y="9617"/>
                </a:lnTo>
                <a:lnTo>
                  <a:pt x="9331" y="9619"/>
                </a:lnTo>
                <a:lnTo>
                  <a:pt x="9328" y="9623"/>
                </a:lnTo>
                <a:lnTo>
                  <a:pt x="9327" y="9628"/>
                </a:lnTo>
                <a:lnTo>
                  <a:pt x="9327" y="9633"/>
                </a:lnTo>
                <a:lnTo>
                  <a:pt x="9328" y="9640"/>
                </a:lnTo>
                <a:lnTo>
                  <a:pt x="9329" y="9645"/>
                </a:lnTo>
                <a:lnTo>
                  <a:pt x="9334" y="9644"/>
                </a:lnTo>
                <a:lnTo>
                  <a:pt x="9341" y="9641"/>
                </a:lnTo>
                <a:lnTo>
                  <a:pt x="9345" y="9639"/>
                </a:lnTo>
                <a:lnTo>
                  <a:pt x="9348" y="9636"/>
                </a:lnTo>
                <a:lnTo>
                  <a:pt x="9350" y="9632"/>
                </a:lnTo>
                <a:lnTo>
                  <a:pt x="9351" y="9627"/>
                </a:lnTo>
                <a:lnTo>
                  <a:pt x="9348" y="9622"/>
                </a:lnTo>
                <a:lnTo>
                  <a:pt x="9345" y="9617"/>
                </a:lnTo>
                <a:close/>
                <a:moveTo>
                  <a:pt x="8015" y="9883"/>
                </a:moveTo>
                <a:lnTo>
                  <a:pt x="8007" y="9874"/>
                </a:lnTo>
                <a:lnTo>
                  <a:pt x="7997" y="9875"/>
                </a:lnTo>
                <a:lnTo>
                  <a:pt x="7986" y="9885"/>
                </a:lnTo>
                <a:lnTo>
                  <a:pt x="7974" y="9897"/>
                </a:lnTo>
                <a:lnTo>
                  <a:pt x="7964" y="9907"/>
                </a:lnTo>
                <a:lnTo>
                  <a:pt x="7958" y="9911"/>
                </a:lnTo>
                <a:lnTo>
                  <a:pt x="7955" y="9905"/>
                </a:lnTo>
                <a:lnTo>
                  <a:pt x="7959" y="9883"/>
                </a:lnTo>
                <a:lnTo>
                  <a:pt x="7935" y="9889"/>
                </a:lnTo>
                <a:lnTo>
                  <a:pt x="7927" y="9899"/>
                </a:lnTo>
                <a:lnTo>
                  <a:pt x="7931" y="9912"/>
                </a:lnTo>
                <a:lnTo>
                  <a:pt x="7944" y="9921"/>
                </a:lnTo>
                <a:lnTo>
                  <a:pt x="7962" y="9926"/>
                </a:lnTo>
                <a:lnTo>
                  <a:pt x="7982" y="9924"/>
                </a:lnTo>
                <a:lnTo>
                  <a:pt x="8001" y="9910"/>
                </a:lnTo>
                <a:lnTo>
                  <a:pt x="8015" y="9883"/>
                </a:lnTo>
                <a:close/>
                <a:moveTo>
                  <a:pt x="8127" y="9837"/>
                </a:moveTo>
                <a:lnTo>
                  <a:pt x="8127" y="9829"/>
                </a:lnTo>
                <a:lnTo>
                  <a:pt x="8125" y="9824"/>
                </a:lnTo>
                <a:lnTo>
                  <a:pt x="8121" y="9822"/>
                </a:lnTo>
                <a:lnTo>
                  <a:pt x="8116" y="9823"/>
                </a:lnTo>
                <a:lnTo>
                  <a:pt x="8109" y="9826"/>
                </a:lnTo>
                <a:lnTo>
                  <a:pt x="8103" y="9829"/>
                </a:lnTo>
                <a:lnTo>
                  <a:pt x="8099" y="9836"/>
                </a:lnTo>
                <a:lnTo>
                  <a:pt x="8097" y="9841"/>
                </a:lnTo>
                <a:lnTo>
                  <a:pt x="8098" y="9847"/>
                </a:lnTo>
                <a:lnTo>
                  <a:pt x="8100" y="9850"/>
                </a:lnTo>
                <a:lnTo>
                  <a:pt x="8104" y="9852"/>
                </a:lnTo>
                <a:lnTo>
                  <a:pt x="8109" y="9852"/>
                </a:lnTo>
                <a:lnTo>
                  <a:pt x="8114" y="9851"/>
                </a:lnTo>
                <a:lnTo>
                  <a:pt x="8120" y="9847"/>
                </a:lnTo>
                <a:lnTo>
                  <a:pt x="8123" y="9843"/>
                </a:lnTo>
                <a:lnTo>
                  <a:pt x="8127" y="9837"/>
                </a:lnTo>
                <a:close/>
                <a:moveTo>
                  <a:pt x="7921" y="9891"/>
                </a:moveTo>
                <a:lnTo>
                  <a:pt x="7917" y="9896"/>
                </a:lnTo>
                <a:lnTo>
                  <a:pt x="7916" y="9897"/>
                </a:lnTo>
                <a:lnTo>
                  <a:pt x="7917" y="9896"/>
                </a:lnTo>
                <a:lnTo>
                  <a:pt x="7921" y="9892"/>
                </a:lnTo>
                <a:lnTo>
                  <a:pt x="7921" y="9892"/>
                </a:lnTo>
                <a:lnTo>
                  <a:pt x="7921" y="9891"/>
                </a:lnTo>
                <a:close/>
                <a:moveTo>
                  <a:pt x="7870" y="9910"/>
                </a:moveTo>
                <a:lnTo>
                  <a:pt x="7864" y="9907"/>
                </a:lnTo>
                <a:lnTo>
                  <a:pt x="7856" y="9907"/>
                </a:lnTo>
                <a:lnTo>
                  <a:pt x="7850" y="9910"/>
                </a:lnTo>
                <a:lnTo>
                  <a:pt x="7843" y="9912"/>
                </a:lnTo>
                <a:lnTo>
                  <a:pt x="7837" y="9917"/>
                </a:lnTo>
                <a:lnTo>
                  <a:pt x="7832" y="9922"/>
                </a:lnTo>
                <a:lnTo>
                  <a:pt x="7829" y="9927"/>
                </a:lnTo>
                <a:lnTo>
                  <a:pt x="7828" y="9934"/>
                </a:lnTo>
                <a:lnTo>
                  <a:pt x="7833" y="9938"/>
                </a:lnTo>
                <a:lnTo>
                  <a:pt x="7839" y="9940"/>
                </a:lnTo>
                <a:lnTo>
                  <a:pt x="7846" y="9939"/>
                </a:lnTo>
                <a:lnTo>
                  <a:pt x="7852" y="9936"/>
                </a:lnTo>
                <a:lnTo>
                  <a:pt x="7857" y="9931"/>
                </a:lnTo>
                <a:lnTo>
                  <a:pt x="7862" y="9926"/>
                </a:lnTo>
                <a:lnTo>
                  <a:pt x="7866" y="9919"/>
                </a:lnTo>
                <a:lnTo>
                  <a:pt x="7870" y="9910"/>
                </a:lnTo>
                <a:close/>
                <a:moveTo>
                  <a:pt x="9305" y="9566"/>
                </a:moveTo>
                <a:lnTo>
                  <a:pt x="9295" y="9579"/>
                </a:lnTo>
                <a:lnTo>
                  <a:pt x="9286" y="9597"/>
                </a:lnTo>
                <a:lnTo>
                  <a:pt x="9299" y="9597"/>
                </a:lnTo>
                <a:lnTo>
                  <a:pt x="9310" y="9591"/>
                </a:lnTo>
                <a:lnTo>
                  <a:pt x="9319" y="9585"/>
                </a:lnTo>
                <a:lnTo>
                  <a:pt x="9324" y="9576"/>
                </a:lnTo>
                <a:lnTo>
                  <a:pt x="9326" y="9570"/>
                </a:lnTo>
                <a:lnTo>
                  <a:pt x="9324" y="9565"/>
                </a:lnTo>
                <a:lnTo>
                  <a:pt x="9317" y="9563"/>
                </a:lnTo>
                <a:lnTo>
                  <a:pt x="9305" y="9566"/>
                </a:lnTo>
                <a:close/>
                <a:moveTo>
                  <a:pt x="8814" y="9684"/>
                </a:moveTo>
                <a:lnTo>
                  <a:pt x="8793" y="9677"/>
                </a:lnTo>
                <a:lnTo>
                  <a:pt x="8779" y="9672"/>
                </a:lnTo>
                <a:lnTo>
                  <a:pt x="8770" y="9670"/>
                </a:lnTo>
                <a:lnTo>
                  <a:pt x="8763" y="9673"/>
                </a:lnTo>
                <a:lnTo>
                  <a:pt x="8756" y="9681"/>
                </a:lnTo>
                <a:lnTo>
                  <a:pt x="8750" y="9695"/>
                </a:lnTo>
                <a:lnTo>
                  <a:pt x="8741" y="9715"/>
                </a:lnTo>
                <a:lnTo>
                  <a:pt x="8728" y="9744"/>
                </a:lnTo>
                <a:lnTo>
                  <a:pt x="8738" y="9745"/>
                </a:lnTo>
                <a:lnTo>
                  <a:pt x="8751" y="9743"/>
                </a:lnTo>
                <a:lnTo>
                  <a:pt x="8765" y="9738"/>
                </a:lnTo>
                <a:lnTo>
                  <a:pt x="8778" y="9730"/>
                </a:lnTo>
                <a:lnTo>
                  <a:pt x="8791" y="9720"/>
                </a:lnTo>
                <a:lnTo>
                  <a:pt x="8801" y="9709"/>
                </a:lnTo>
                <a:lnTo>
                  <a:pt x="8808" y="9696"/>
                </a:lnTo>
                <a:lnTo>
                  <a:pt x="8814" y="9684"/>
                </a:lnTo>
                <a:close/>
                <a:moveTo>
                  <a:pt x="11220" y="7867"/>
                </a:moveTo>
                <a:lnTo>
                  <a:pt x="11220" y="7867"/>
                </a:lnTo>
                <a:lnTo>
                  <a:pt x="11220" y="7867"/>
                </a:lnTo>
                <a:lnTo>
                  <a:pt x="11220" y="7868"/>
                </a:lnTo>
                <a:lnTo>
                  <a:pt x="11220" y="7868"/>
                </a:lnTo>
                <a:lnTo>
                  <a:pt x="11220" y="7868"/>
                </a:lnTo>
                <a:lnTo>
                  <a:pt x="11220" y="7868"/>
                </a:lnTo>
                <a:lnTo>
                  <a:pt x="11220" y="7868"/>
                </a:lnTo>
                <a:lnTo>
                  <a:pt x="11222" y="7867"/>
                </a:lnTo>
                <a:lnTo>
                  <a:pt x="11220" y="7867"/>
                </a:lnTo>
                <a:lnTo>
                  <a:pt x="11220" y="7867"/>
                </a:lnTo>
                <a:lnTo>
                  <a:pt x="11220" y="7867"/>
                </a:lnTo>
                <a:close/>
                <a:moveTo>
                  <a:pt x="10678" y="9179"/>
                </a:moveTo>
                <a:lnTo>
                  <a:pt x="10669" y="9174"/>
                </a:lnTo>
                <a:lnTo>
                  <a:pt x="10661" y="9174"/>
                </a:lnTo>
                <a:lnTo>
                  <a:pt x="10653" y="9178"/>
                </a:lnTo>
                <a:lnTo>
                  <a:pt x="10642" y="9184"/>
                </a:lnTo>
                <a:lnTo>
                  <a:pt x="10623" y="9201"/>
                </a:lnTo>
                <a:lnTo>
                  <a:pt x="10605" y="9216"/>
                </a:lnTo>
                <a:lnTo>
                  <a:pt x="10619" y="9217"/>
                </a:lnTo>
                <a:lnTo>
                  <a:pt x="10631" y="9215"/>
                </a:lnTo>
                <a:lnTo>
                  <a:pt x="10641" y="9212"/>
                </a:lnTo>
                <a:lnTo>
                  <a:pt x="10650" y="9207"/>
                </a:lnTo>
                <a:lnTo>
                  <a:pt x="10658" y="9201"/>
                </a:lnTo>
                <a:lnTo>
                  <a:pt x="10665" y="9194"/>
                </a:lnTo>
                <a:lnTo>
                  <a:pt x="10672" y="9187"/>
                </a:lnTo>
                <a:lnTo>
                  <a:pt x="10678" y="9179"/>
                </a:lnTo>
                <a:close/>
                <a:moveTo>
                  <a:pt x="12952" y="7576"/>
                </a:moveTo>
                <a:lnTo>
                  <a:pt x="12951" y="7576"/>
                </a:lnTo>
                <a:lnTo>
                  <a:pt x="12952" y="7576"/>
                </a:lnTo>
                <a:lnTo>
                  <a:pt x="12951" y="7575"/>
                </a:lnTo>
                <a:lnTo>
                  <a:pt x="12952" y="7576"/>
                </a:lnTo>
                <a:close/>
                <a:moveTo>
                  <a:pt x="12877" y="7626"/>
                </a:moveTo>
                <a:lnTo>
                  <a:pt x="12891" y="7625"/>
                </a:lnTo>
                <a:lnTo>
                  <a:pt x="12903" y="7621"/>
                </a:lnTo>
                <a:lnTo>
                  <a:pt x="12913" y="7616"/>
                </a:lnTo>
                <a:lnTo>
                  <a:pt x="12922" y="7609"/>
                </a:lnTo>
                <a:lnTo>
                  <a:pt x="12937" y="7594"/>
                </a:lnTo>
                <a:lnTo>
                  <a:pt x="12950" y="7576"/>
                </a:lnTo>
                <a:lnTo>
                  <a:pt x="12927" y="7584"/>
                </a:lnTo>
                <a:lnTo>
                  <a:pt x="12904" y="7592"/>
                </a:lnTo>
                <a:lnTo>
                  <a:pt x="12894" y="7597"/>
                </a:lnTo>
                <a:lnTo>
                  <a:pt x="12886" y="7604"/>
                </a:lnTo>
                <a:lnTo>
                  <a:pt x="12880" y="7615"/>
                </a:lnTo>
                <a:lnTo>
                  <a:pt x="12877" y="7626"/>
                </a:lnTo>
                <a:close/>
                <a:moveTo>
                  <a:pt x="13019" y="7471"/>
                </a:moveTo>
                <a:lnTo>
                  <a:pt x="13028" y="7477"/>
                </a:lnTo>
                <a:lnTo>
                  <a:pt x="13037" y="7477"/>
                </a:lnTo>
                <a:lnTo>
                  <a:pt x="13044" y="7471"/>
                </a:lnTo>
                <a:lnTo>
                  <a:pt x="13051" y="7459"/>
                </a:lnTo>
                <a:lnTo>
                  <a:pt x="13057" y="7447"/>
                </a:lnTo>
                <a:lnTo>
                  <a:pt x="13061" y="7433"/>
                </a:lnTo>
                <a:lnTo>
                  <a:pt x="13062" y="7419"/>
                </a:lnTo>
                <a:lnTo>
                  <a:pt x="13062" y="7407"/>
                </a:lnTo>
                <a:lnTo>
                  <a:pt x="13052" y="7415"/>
                </a:lnTo>
                <a:lnTo>
                  <a:pt x="13044" y="7422"/>
                </a:lnTo>
                <a:lnTo>
                  <a:pt x="13038" y="7430"/>
                </a:lnTo>
                <a:lnTo>
                  <a:pt x="13031" y="7438"/>
                </a:lnTo>
                <a:lnTo>
                  <a:pt x="13028" y="7447"/>
                </a:lnTo>
                <a:lnTo>
                  <a:pt x="13024" y="7454"/>
                </a:lnTo>
                <a:lnTo>
                  <a:pt x="13021" y="7462"/>
                </a:lnTo>
                <a:lnTo>
                  <a:pt x="13019" y="7471"/>
                </a:lnTo>
                <a:close/>
                <a:moveTo>
                  <a:pt x="8752" y="9681"/>
                </a:moveTo>
                <a:lnTo>
                  <a:pt x="8755" y="9655"/>
                </a:lnTo>
                <a:lnTo>
                  <a:pt x="8752" y="9644"/>
                </a:lnTo>
                <a:lnTo>
                  <a:pt x="8746" y="9644"/>
                </a:lnTo>
                <a:lnTo>
                  <a:pt x="8737" y="9653"/>
                </a:lnTo>
                <a:lnTo>
                  <a:pt x="8727" y="9668"/>
                </a:lnTo>
                <a:lnTo>
                  <a:pt x="8718" y="9687"/>
                </a:lnTo>
                <a:lnTo>
                  <a:pt x="8709" y="9705"/>
                </a:lnTo>
                <a:lnTo>
                  <a:pt x="8704" y="9721"/>
                </a:lnTo>
                <a:lnTo>
                  <a:pt x="8712" y="9726"/>
                </a:lnTo>
                <a:lnTo>
                  <a:pt x="8721" y="9726"/>
                </a:lnTo>
                <a:lnTo>
                  <a:pt x="8728" y="9724"/>
                </a:lnTo>
                <a:lnTo>
                  <a:pt x="8736" y="9716"/>
                </a:lnTo>
                <a:lnTo>
                  <a:pt x="8742" y="9709"/>
                </a:lnTo>
                <a:lnTo>
                  <a:pt x="8747" y="9698"/>
                </a:lnTo>
                <a:lnTo>
                  <a:pt x="8751" y="9689"/>
                </a:lnTo>
                <a:lnTo>
                  <a:pt x="8752" y="9681"/>
                </a:lnTo>
                <a:close/>
                <a:moveTo>
                  <a:pt x="11220" y="7868"/>
                </a:moveTo>
                <a:lnTo>
                  <a:pt x="11220" y="7868"/>
                </a:lnTo>
                <a:lnTo>
                  <a:pt x="11220" y="7868"/>
                </a:lnTo>
                <a:close/>
                <a:moveTo>
                  <a:pt x="12057" y="7886"/>
                </a:moveTo>
                <a:lnTo>
                  <a:pt x="12057" y="7886"/>
                </a:lnTo>
                <a:lnTo>
                  <a:pt x="12056" y="7886"/>
                </a:lnTo>
                <a:lnTo>
                  <a:pt x="12056" y="7886"/>
                </a:lnTo>
                <a:lnTo>
                  <a:pt x="12057" y="7886"/>
                </a:lnTo>
                <a:lnTo>
                  <a:pt x="12056" y="7886"/>
                </a:lnTo>
                <a:lnTo>
                  <a:pt x="12057" y="7886"/>
                </a:lnTo>
                <a:lnTo>
                  <a:pt x="12058" y="7886"/>
                </a:lnTo>
                <a:lnTo>
                  <a:pt x="12057" y="7886"/>
                </a:lnTo>
                <a:lnTo>
                  <a:pt x="12058" y="7886"/>
                </a:lnTo>
                <a:lnTo>
                  <a:pt x="12057" y="7886"/>
                </a:lnTo>
                <a:close/>
                <a:moveTo>
                  <a:pt x="12351" y="8545"/>
                </a:moveTo>
                <a:lnTo>
                  <a:pt x="12351" y="8545"/>
                </a:lnTo>
                <a:lnTo>
                  <a:pt x="12353" y="8544"/>
                </a:lnTo>
                <a:lnTo>
                  <a:pt x="12351" y="8545"/>
                </a:lnTo>
                <a:close/>
                <a:moveTo>
                  <a:pt x="8872" y="9669"/>
                </a:moveTo>
                <a:lnTo>
                  <a:pt x="8872" y="9670"/>
                </a:lnTo>
                <a:lnTo>
                  <a:pt x="8873" y="9669"/>
                </a:lnTo>
                <a:lnTo>
                  <a:pt x="8873" y="9669"/>
                </a:lnTo>
                <a:lnTo>
                  <a:pt x="8872" y="9669"/>
                </a:lnTo>
                <a:close/>
                <a:moveTo>
                  <a:pt x="13357" y="8209"/>
                </a:moveTo>
                <a:lnTo>
                  <a:pt x="13357" y="8209"/>
                </a:lnTo>
                <a:lnTo>
                  <a:pt x="13356" y="8209"/>
                </a:lnTo>
                <a:lnTo>
                  <a:pt x="13356" y="8209"/>
                </a:lnTo>
                <a:lnTo>
                  <a:pt x="13357" y="8209"/>
                </a:lnTo>
                <a:close/>
                <a:moveTo>
                  <a:pt x="11676" y="3023"/>
                </a:moveTo>
                <a:lnTo>
                  <a:pt x="11671" y="3023"/>
                </a:lnTo>
                <a:lnTo>
                  <a:pt x="11673" y="3026"/>
                </a:lnTo>
                <a:lnTo>
                  <a:pt x="11674" y="3027"/>
                </a:lnTo>
                <a:lnTo>
                  <a:pt x="11675" y="3026"/>
                </a:lnTo>
                <a:lnTo>
                  <a:pt x="11676" y="3023"/>
                </a:lnTo>
                <a:close/>
                <a:moveTo>
                  <a:pt x="10502" y="4632"/>
                </a:moveTo>
                <a:lnTo>
                  <a:pt x="10504" y="4632"/>
                </a:lnTo>
                <a:lnTo>
                  <a:pt x="10504" y="4631"/>
                </a:lnTo>
                <a:lnTo>
                  <a:pt x="10502" y="4631"/>
                </a:lnTo>
                <a:lnTo>
                  <a:pt x="10501" y="4631"/>
                </a:lnTo>
                <a:lnTo>
                  <a:pt x="10491" y="4624"/>
                </a:lnTo>
                <a:lnTo>
                  <a:pt x="10482" y="4621"/>
                </a:lnTo>
                <a:lnTo>
                  <a:pt x="10478" y="4619"/>
                </a:lnTo>
                <a:lnTo>
                  <a:pt x="10474" y="4621"/>
                </a:lnTo>
                <a:lnTo>
                  <a:pt x="10472" y="4624"/>
                </a:lnTo>
                <a:lnTo>
                  <a:pt x="10472" y="4631"/>
                </a:lnTo>
                <a:lnTo>
                  <a:pt x="10474" y="4635"/>
                </a:lnTo>
                <a:lnTo>
                  <a:pt x="10478" y="4636"/>
                </a:lnTo>
                <a:lnTo>
                  <a:pt x="10482" y="4637"/>
                </a:lnTo>
                <a:lnTo>
                  <a:pt x="10484" y="4637"/>
                </a:lnTo>
                <a:lnTo>
                  <a:pt x="10492" y="4635"/>
                </a:lnTo>
                <a:lnTo>
                  <a:pt x="10501" y="4631"/>
                </a:lnTo>
                <a:lnTo>
                  <a:pt x="10501" y="4631"/>
                </a:lnTo>
                <a:lnTo>
                  <a:pt x="10502" y="4632"/>
                </a:lnTo>
                <a:close/>
                <a:moveTo>
                  <a:pt x="10523" y="4631"/>
                </a:moveTo>
                <a:lnTo>
                  <a:pt x="10518" y="4630"/>
                </a:lnTo>
                <a:lnTo>
                  <a:pt x="10514" y="4630"/>
                </a:lnTo>
                <a:lnTo>
                  <a:pt x="10509" y="4631"/>
                </a:lnTo>
                <a:lnTo>
                  <a:pt x="10505" y="4632"/>
                </a:lnTo>
                <a:lnTo>
                  <a:pt x="10510" y="4633"/>
                </a:lnTo>
                <a:lnTo>
                  <a:pt x="10514" y="4635"/>
                </a:lnTo>
                <a:lnTo>
                  <a:pt x="10519" y="4633"/>
                </a:lnTo>
                <a:lnTo>
                  <a:pt x="10523" y="4631"/>
                </a:lnTo>
                <a:close/>
                <a:moveTo>
                  <a:pt x="11740" y="4230"/>
                </a:moveTo>
                <a:lnTo>
                  <a:pt x="11741" y="4230"/>
                </a:lnTo>
                <a:lnTo>
                  <a:pt x="11740" y="4230"/>
                </a:lnTo>
                <a:lnTo>
                  <a:pt x="11738" y="4225"/>
                </a:lnTo>
                <a:lnTo>
                  <a:pt x="11735" y="4221"/>
                </a:lnTo>
                <a:lnTo>
                  <a:pt x="11734" y="4218"/>
                </a:lnTo>
                <a:lnTo>
                  <a:pt x="11732" y="4217"/>
                </a:lnTo>
                <a:lnTo>
                  <a:pt x="11730" y="4216"/>
                </a:lnTo>
                <a:lnTo>
                  <a:pt x="11727" y="4215"/>
                </a:lnTo>
                <a:lnTo>
                  <a:pt x="11726" y="4218"/>
                </a:lnTo>
                <a:lnTo>
                  <a:pt x="11726" y="4221"/>
                </a:lnTo>
                <a:lnTo>
                  <a:pt x="11727" y="4224"/>
                </a:lnTo>
                <a:lnTo>
                  <a:pt x="11729" y="4225"/>
                </a:lnTo>
                <a:lnTo>
                  <a:pt x="11735" y="4227"/>
                </a:lnTo>
                <a:lnTo>
                  <a:pt x="11740" y="4230"/>
                </a:lnTo>
                <a:lnTo>
                  <a:pt x="11741" y="4231"/>
                </a:lnTo>
                <a:lnTo>
                  <a:pt x="11740" y="4230"/>
                </a:lnTo>
                <a:close/>
                <a:moveTo>
                  <a:pt x="10673" y="4580"/>
                </a:moveTo>
                <a:lnTo>
                  <a:pt x="10670" y="4576"/>
                </a:lnTo>
                <a:lnTo>
                  <a:pt x="10670" y="4576"/>
                </a:lnTo>
                <a:lnTo>
                  <a:pt x="10670" y="4580"/>
                </a:lnTo>
                <a:lnTo>
                  <a:pt x="10670" y="4584"/>
                </a:lnTo>
                <a:lnTo>
                  <a:pt x="10672" y="4582"/>
                </a:lnTo>
                <a:lnTo>
                  <a:pt x="10673" y="4580"/>
                </a:lnTo>
                <a:close/>
                <a:moveTo>
                  <a:pt x="10670" y="4575"/>
                </a:moveTo>
                <a:lnTo>
                  <a:pt x="10669" y="4572"/>
                </a:lnTo>
                <a:lnTo>
                  <a:pt x="10669" y="4571"/>
                </a:lnTo>
                <a:lnTo>
                  <a:pt x="10668" y="4571"/>
                </a:lnTo>
                <a:lnTo>
                  <a:pt x="10668" y="4572"/>
                </a:lnTo>
                <a:lnTo>
                  <a:pt x="10669" y="4574"/>
                </a:lnTo>
                <a:lnTo>
                  <a:pt x="10670" y="4575"/>
                </a:lnTo>
                <a:close/>
                <a:moveTo>
                  <a:pt x="12062" y="2525"/>
                </a:moveTo>
                <a:lnTo>
                  <a:pt x="12062" y="2525"/>
                </a:lnTo>
                <a:lnTo>
                  <a:pt x="12062" y="2525"/>
                </a:lnTo>
                <a:lnTo>
                  <a:pt x="12061" y="2528"/>
                </a:lnTo>
                <a:lnTo>
                  <a:pt x="12062" y="2525"/>
                </a:lnTo>
                <a:close/>
                <a:moveTo>
                  <a:pt x="12097" y="2805"/>
                </a:moveTo>
                <a:lnTo>
                  <a:pt x="12104" y="2805"/>
                </a:lnTo>
                <a:lnTo>
                  <a:pt x="12113" y="2804"/>
                </a:lnTo>
                <a:lnTo>
                  <a:pt x="12108" y="2802"/>
                </a:lnTo>
                <a:lnTo>
                  <a:pt x="12104" y="2802"/>
                </a:lnTo>
                <a:lnTo>
                  <a:pt x="12100" y="2803"/>
                </a:lnTo>
                <a:lnTo>
                  <a:pt x="12097" y="2805"/>
                </a:lnTo>
                <a:close/>
                <a:moveTo>
                  <a:pt x="13012" y="3937"/>
                </a:moveTo>
                <a:lnTo>
                  <a:pt x="13003" y="3933"/>
                </a:lnTo>
                <a:lnTo>
                  <a:pt x="12994" y="3932"/>
                </a:lnTo>
                <a:lnTo>
                  <a:pt x="12998" y="3936"/>
                </a:lnTo>
                <a:lnTo>
                  <a:pt x="13002" y="3937"/>
                </a:lnTo>
                <a:lnTo>
                  <a:pt x="13007" y="3938"/>
                </a:lnTo>
                <a:lnTo>
                  <a:pt x="13012" y="3937"/>
                </a:lnTo>
                <a:close/>
                <a:moveTo>
                  <a:pt x="12993" y="3932"/>
                </a:moveTo>
                <a:lnTo>
                  <a:pt x="12993" y="3931"/>
                </a:lnTo>
                <a:lnTo>
                  <a:pt x="12991" y="3931"/>
                </a:lnTo>
                <a:lnTo>
                  <a:pt x="12992" y="3932"/>
                </a:lnTo>
                <a:lnTo>
                  <a:pt x="12993" y="3932"/>
                </a:lnTo>
                <a:close/>
                <a:moveTo>
                  <a:pt x="12392" y="4385"/>
                </a:moveTo>
                <a:lnTo>
                  <a:pt x="12388" y="4386"/>
                </a:lnTo>
                <a:lnTo>
                  <a:pt x="12390" y="4388"/>
                </a:lnTo>
                <a:lnTo>
                  <a:pt x="12391" y="4388"/>
                </a:lnTo>
                <a:lnTo>
                  <a:pt x="12392" y="4388"/>
                </a:lnTo>
                <a:lnTo>
                  <a:pt x="12392" y="4385"/>
                </a:lnTo>
                <a:close/>
                <a:moveTo>
                  <a:pt x="11838" y="2627"/>
                </a:moveTo>
                <a:lnTo>
                  <a:pt x="11836" y="2625"/>
                </a:lnTo>
                <a:lnTo>
                  <a:pt x="11832" y="2623"/>
                </a:lnTo>
                <a:lnTo>
                  <a:pt x="11828" y="2622"/>
                </a:lnTo>
                <a:lnTo>
                  <a:pt x="11824" y="2623"/>
                </a:lnTo>
                <a:lnTo>
                  <a:pt x="11818" y="2626"/>
                </a:lnTo>
                <a:lnTo>
                  <a:pt x="11810" y="2629"/>
                </a:lnTo>
                <a:lnTo>
                  <a:pt x="11809" y="2627"/>
                </a:lnTo>
                <a:lnTo>
                  <a:pt x="11808" y="2627"/>
                </a:lnTo>
                <a:lnTo>
                  <a:pt x="11808" y="2627"/>
                </a:lnTo>
                <a:lnTo>
                  <a:pt x="11808" y="2627"/>
                </a:lnTo>
                <a:lnTo>
                  <a:pt x="11808" y="2629"/>
                </a:lnTo>
                <a:lnTo>
                  <a:pt x="11809" y="2629"/>
                </a:lnTo>
                <a:lnTo>
                  <a:pt x="11809" y="2629"/>
                </a:lnTo>
                <a:lnTo>
                  <a:pt x="11809" y="2629"/>
                </a:lnTo>
                <a:lnTo>
                  <a:pt x="11810" y="2629"/>
                </a:lnTo>
                <a:lnTo>
                  <a:pt x="11818" y="2631"/>
                </a:lnTo>
                <a:lnTo>
                  <a:pt x="11824" y="2632"/>
                </a:lnTo>
                <a:lnTo>
                  <a:pt x="11828" y="2632"/>
                </a:lnTo>
                <a:lnTo>
                  <a:pt x="11830" y="2632"/>
                </a:lnTo>
                <a:lnTo>
                  <a:pt x="11834" y="2631"/>
                </a:lnTo>
                <a:lnTo>
                  <a:pt x="11838" y="2627"/>
                </a:lnTo>
                <a:close/>
                <a:moveTo>
                  <a:pt x="12588" y="3107"/>
                </a:moveTo>
                <a:lnTo>
                  <a:pt x="12577" y="3124"/>
                </a:lnTo>
                <a:lnTo>
                  <a:pt x="12568" y="3136"/>
                </a:lnTo>
                <a:lnTo>
                  <a:pt x="12568" y="3138"/>
                </a:lnTo>
                <a:lnTo>
                  <a:pt x="12568" y="3136"/>
                </a:lnTo>
                <a:lnTo>
                  <a:pt x="12575" y="3133"/>
                </a:lnTo>
                <a:lnTo>
                  <a:pt x="12583" y="3128"/>
                </a:lnTo>
                <a:lnTo>
                  <a:pt x="12586" y="3124"/>
                </a:lnTo>
                <a:lnTo>
                  <a:pt x="12588" y="3120"/>
                </a:lnTo>
                <a:lnTo>
                  <a:pt x="12588" y="3115"/>
                </a:lnTo>
                <a:lnTo>
                  <a:pt x="12588" y="3107"/>
                </a:lnTo>
                <a:close/>
                <a:moveTo>
                  <a:pt x="12568" y="3136"/>
                </a:moveTo>
                <a:lnTo>
                  <a:pt x="12567" y="3138"/>
                </a:lnTo>
                <a:lnTo>
                  <a:pt x="12568" y="3136"/>
                </a:lnTo>
                <a:close/>
                <a:moveTo>
                  <a:pt x="12160" y="2565"/>
                </a:moveTo>
                <a:lnTo>
                  <a:pt x="12160" y="2561"/>
                </a:lnTo>
                <a:lnTo>
                  <a:pt x="12160" y="2559"/>
                </a:lnTo>
                <a:lnTo>
                  <a:pt x="12160" y="2557"/>
                </a:lnTo>
                <a:lnTo>
                  <a:pt x="12159" y="2556"/>
                </a:lnTo>
                <a:lnTo>
                  <a:pt x="12155" y="2553"/>
                </a:lnTo>
                <a:lnTo>
                  <a:pt x="12150" y="2553"/>
                </a:lnTo>
                <a:lnTo>
                  <a:pt x="12149" y="2557"/>
                </a:lnTo>
                <a:lnTo>
                  <a:pt x="12148" y="2560"/>
                </a:lnTo>
                <a:lnTo>
                  <a:pt x="12149" y="2562"/>
                </a:lnTo>
                <a:lnTo>
                  <a:pt x="12150" y="2564"/>
                </a:lnTo>
                <a:lnTo>
                  <a:pt x="12154" y="2565"/>
                </a:lnTo>
                <a:lnTo>
                  <a:pt x="12160" y="2565"/>
                </a:lnTo>
                <a:close/>
                <a:moveTo>
                  <a:pt x="12656" y="2275"/>
                </a:moveTo>
                <a:lnTo>
                  <a:pt x="12661" y="2273"/>
                </a:lnTo>
                <a:lnTo>
                  <a:pt x="12665" y="2271"/>
                </a:lnTo>
                <a:lnTo>
                  <a:pt x="12666" y="2270"/>
                </a:lnTo>
                <a:lnTo>
                  <a:pt x="12666" y="2268"/>
                </a:lnTo>
                <a:lnTo>
                  <a:pt x="12665" y="2266"/>
                </a:lnTo>
                <a:lnTo>
                  <a:pt x="12663" y="2262"/>
                </a:lnTo>
                <a:lnTo>
                  <a:pt x="12660" y="2263"/>
                </a:lnTo>
                <a:lnTo>
                  <a:pt x="12657" y="2267"/>
                </a:lnTo>
                <a:lnTo>
                  <a:pt x="12656" y="2270"/>
                </a:lnTo>
                <a:lnTo>
                  <a:pt x="12656" y="2275"/>
                </a:lnTo>
                <a:close/>
                <a:moveTo>
                  <a:pt x="12479" y="2258"/>
                </a:moveTo>
                <a:lnTo>
                  <a:pt x="12485" y="2256"/>
                </a:lnTo>
                <a:lnTo>
                  <a:pt x="12488" y="2253"/>
                </a:lnTo>
                <a:lnTo>
                  <a:pt x="12488" y="2252"/>
                </a:lnTo>
                <a:lnTo>
                  <a:pt x="12486" y="2249"/>
                </a:lnTo>
                <a:lnTo>
                  <a:pt x="12485" y="2248"/>
                </a:lnTo>
                <a:lnTo>
                  <a:pt x="12481" y="2245"/>
                </a:lnTo>
                <a:lnTo>
                  <a:pt x="12479" y="2247"/>
                </a:lnTo>
                <a:lnTo>
                  <a:pt x="12477" y="2247"/>
                </a:lnTo>
                <a:lnTo>
                  <a:pt x="12476" y="2248"/>
                </a:lnTo>
                <a:lnTo>
                  <a:pt x="12476" y="2250"/>
                </a:lnTo>
                <a:lnTo>
                  <a:pt x="12477" y="2254"/>
                </a:lnTo>
                <a:lnTo>
                  <a:pt x="12479" y="2258"/>
                </a:lnTo>
                <a:close/>
                <a:moveTo>
                  <a:pt x="12618" y="3010"/>
                </a:moveTo>
                <a:lnTo>
                  <a:pt x="12612" y="3012"/>
                </a:lnTo>
                <a:lnTo>
                  <a:pt x="12606" y="3013"/>
                </a:lnTo>
                <a:lnTo>
                  <a:pt x="12607" y="3017"/>
                </a:lnTo>
                <a:lnTo>
                  <a:pt x="12611" y="3019"/>
                </a:lnTo>
                <a:lnTo>
                  <a:pt x="12615" y="3021"/>
                </a:lnTo>
                <a:lnTo>
                  <a:pt x="12619" y="3021"/>
                </a:lnTo>
                <a:lnTo>
                  <a:pt x="12621" y="3019"/>
                </a:lnTo>
                <a:lnTo>
                  <a:pt x="12623" y="3017"/>
                </a:lnTo>
                <a:lnTo>
                  <a:pt x="12623" y="3014"/>
                </a:lnTo>
                <a:lnTo>
                  <a:pt x="12618" y="3010"/>
                </a:lnTo>
                <a:close/>
                <a:moveTo>
                  <a:pt x="11697" y="4364"/>
                </a:moveTo>
                <a:lnTo>
                  <a:pt x="11703" y="4358"/>
                </a:lnTo>
                <a:lnTo>
                  <a:pt x="11708" y="4353"/>
                </a:lnTo>
                <a:lnTo>
                  <a:pt x="11708" y="4352"/>
                </a:lnTo>
                <a:lnTo>
                  <a:pt x="11708" y="4350"/>
                </a:lnTo>
                <a:lnTo>
                  <a:pt x="11706" y="4348"/>
                </a:lnTo>
                <a:lnTo>
                  <a:pt x="11701" y="4347"/>
                </a:lnTo>
                <a:lnTo>
                  <a:pt x="11694" y="4350"/>
                </a:lnTo>
                <a:lnTo>
                  <a:pt x="11692" y="4352"/>
                </a:lnTo>
                <a:lnTo>
                  <a:pt x="11692" y="4355"/>
                </a:lnTo>
                <a:lnTo>
                  <a:pt x="11692" y="4357"/>
                </a:lnTo>
                <a:lnTo>
                  <a:pt x="11694" y="4360"/>
                </a:lnTo>
                <a:lnTo>
                  <a:pt x="11697" y="4364"/>
                </a:lnTo>
                <a:close/>
                <a:moveTo>
                  <a:pt x="12424" y="3108"/>
                </a:moveTo>
                <a:lnTo>
                  <a:pt x="12415" y="3108"/>
                </a:lnTo>
                <a:lnTo>
                  <a:pt x="12409" y="3110"/>
                </a:lnTo>
                <a:lnTo>
                  <a:pt x="12405" y="3111"/>
                </a:lnTo>
                <a:lnTo>
                  <a:pt x="12402" y="3114"/>
                </a:lnTo>
                <a:lnTo>
                  <a:pt x="12400" y="3117"/>
                </a:lnTo>
                <a:lnTo>
                  <a:pt x="12398" y="3121"/>
                </a:lnTo>
                <a:lnTo>
                  <a:pt x="12407" y="3122"/>
                </a:lnTo>
                <a:lnTo>
                  <a:pt x="12415" y="3120"/>
                </a:lnTo>
                <a:lnTo>
                  <a:pt x="12418" y="3119"/>
                </a:lnTo>
                <a:lnTo>
                  <a:pt x="12420" y="3116"/>
                </a:lnTo>
                <a:lnTo>
                  <a:pt x="12423" y="3112"/>
                </a:lnTo>
                <a:lnTo>
                  <a:pt x="12424" y="3108"/>
                </a:lnTo>
                <a:close/>
                <a:moveTo>
                  <a:pt x="12930" y="2459"/>
                </a:moveTo>
                <a:lnTo>
                  <a:pt x="12931" y="2464"/>
                </a:lnTo>
                <a:lnTo>
                  <a:pt x="12932" y="2468"/>
                </a:lnTo>
                <a:lnTo>
                  <a:pt x="12935" y="2469"/>
                </a:lnTo>
                <a:lnTo>
                  <a:pt x="12938" y="2471"/>
                </a:lnTo>
                <a:lnTo>
                  <a:pt x="12945" y="2471"/>
                </a:lnTo>
                <a:lnTo>
                  <a:pt x="12954" y="2468"/>
                </a:lnTo>
                <a:lnTo>
                  <a:pt x="12952" y="2464"/>
                </a:lnTo>
                <a:lnTo>
                  <a:pt x="12950" y="2462"/>
                </a:lnTo>
                <a:lnTo>
                  <a:pt x="12947" y="2459"/>
                </a:lnTo>
                <a:lnTo>
                  <a:pt x="12945" y="2458"/>
                </a:lnTo>
                <a:lnTo>
                  <a:pt x="12937" y="2458"/>
                </a:lnTo>
                <a:lnTo>
                  <a:pt x="12930" y="2459"/>
                </a:lnTo>
                <a:close/>
                <a:moveTo>
                  <a:pt x="12567" y="3138"/>
                </a:moveTo>
                <a:lnTo>
                  <a:pt x="12565" y="3139"/>
                </a:lnTo>
                <a:lnTo>
                  <a:pt x="12564" y="3140"/>
                </a:lnTo>
                <a:lnTo>
                  <a:pt x="12565" y="3140"/>
                </a:lnTo>
                <a:lnTo>
                  <a:pt x="12567" y="3140"/>
                </a:lnTo>
                <a:lnTo>
                  <a:pt x="12567" y="3138"/>
                </a:lnTo>
                <a:close/>
                <a:moveTo>
                  <a:pt x="12658" y="3021"/>
                </a:moveTo>
                <a:lnTo>
                  <a:pt x="12662" y="3026"/>
                </a:lnTo>
                <a:lnTo>
                  <a:pt x="12666" y="3030"/>
                </a:lnTo>
                <a:lnTo>
                  <a:pt x="12670" y="3031"/>
                </a:lnTo>
                <a:lnTo>
                  <a:pt x="12674" y="3031"/>
                </a:lnTo>
                <a:lnTo>
                  <a:pt x="12679" y="3031"/>
                </a:lnTo>
                <a:lnTo>
                  <a:pt x="12682" y="3028"/>
                </a:lnTo>
                <a:lnTo>
                  <a:pt x="12686" y="3026"/>
                </a:lnTo>
                <a:lnTo>
                  <a:pt x="12690" y="3022"/>
                </a:lnTo>
                <a:lnTo>
                  <a:pt x="12688" y="3028"/>
                </a:lnTo>
                <a:lnTo>
                  <a:pt x="12685" y="3033"/>
                </a:lnTo>
                <a:lnTo>
                  <a:pt x="12684" y="3038"/>
                </a:lnTo>
                <a:lnTo>
                  <a:pt x="12684" y="3044"/>
                </a:lnTo>
                <a:lnTo>
                  <a:pt x="12686" y="3047"/>
                </a:lnTo>
                <a:lnTo>
                  <a:pt x="12689" y="3051"/>
                </a:lnTo>
                <a:lnTo>
                  <a:pt x="12694" y="3054"/>
                </a:lnTo>
                <a:lnTo>
                  <a:pt x="12700" y="3055"/>
                </a:lnTo>
                <a:lnTo>
                  <a:pt x="12710" y="3047"/>
                </a:lnTo>
                <a:lnTo>
                  <a:pt x="12718" y="3038"/>
                </a:lnTo>
                <a:lnTo>
                  <a:pt x="12724" y="3030"/>
                </a:lnTo>
                <a:lnTo>
                  <a:pt x="12730" y="3019"/>
                </a:lnTo>
                <a:lnTo>
                  <a:pt x="12735" y="3009"/>
                </a:lnTo>
                <a:lnTo>
                  <a:pt x="12737" y="2998"/>
                </a:lnTo>
                <a:lnTo>
                  <a:pt x="12740" y="2986"/>
                </a:lnTo>
                <a:lnTo>
                  <a:pt x="12741" y="2974"/>
                </a:lnTo>
                <a:lnTo>
                  <a:pt x="12731" y="2979"/>
                </a:lnTo>
                <a:lnTo>
                  <a:pt x="12719" y="2988"/>
                </a:lnTo>
                <a:lnTo>
                  <a:pt x="12709" y="2998"/>
                </a:lnTo>
                <a:lnTo>
                  <a:pt x="12700" y="3008"/>
                </a:lnTo>
                <a:lnTo>
                  <a:pt x="12707" y="2993"/>
                </a:lnTo>
                <a:lnTo>
                  <a:pt x="12713" y="2977"/>
                </a:lnTo>
                <a:lnTo>
                  <a:pt x="12716" y="2963"/>
                </a:lnTo>
                <a:lnTo>
                  <a:pt x="12717" y="2951"/>
                </a:lnTo>
                <a:lnTo>
                  <a:pt x="12704" y="2958"/>
                </a:lnTo>
                <a:lnTo>
                  <a:pt x="12693" y="2967"/>
                </a:lnTo>
                <a:lnTo>
                  <a:pt x="12684" y="2975"/>
                </a:lnTo>
                <a:lnTo>
                  <a:pt x="12676" y="2984"/>
                </a:lnTo>
                <a:lnTo>
                  <a:pt x="12671" y="2993"/>
                </a:lnTo>
                <a:lnTo>
                  <a:pt x="12666" y="3002"/>
                </a:lnTo>
                <a:lnTo>
                  <a:pt x="12662" y="3012"/>
                </a:lnTo>
                <a:lnTo>
                  <a:pt x="12658" y="3021"/>
                </a:lnTo>
                <a:close/>
                <a:moveTo>
                  <a:pt x="11741" y="4231"/>
                </a:moveTo>
                <a:lnTo>
                  <a:pt x="11743" y="4231"/>
                </a:lnTo>
                <a:lnTo>
                  <a:pt x="11743" y="4231"/>
                </a:lnTo>
                <a:lnTo>
                  <a:pt x="11741" y="4231"/>
                </a:lnTo>
                <a:close/>
                <a:moveTo>
                  <a:pt x="12116" y="2804"/>
                </a:moveTo>
                <a:lnTo>
                  <a:pt x="12113" y="2803"/>
                </a:lnTo>
                <a:lnTo>
                  <a:pt x="12113" y="2804"/>
                </a:lnTo>
                <a:lnTo>
                  <a:pt x="12116" y="2804"/>
                </a:lnTo>
                <a:lnTo>
                  <a:pt x="12117" y="2803"/>
                </a:lnTo>
                <a:lnTo>
                  <a:pt x="12116" y="2803"/>
                </a:lnTo>
                <a:lnTo>
                  <a:pt x="12116" y="2804"/>
                </a:lnTo>
                <a:close/>
                <a:moveTo>
                  <a:pt x="13049" y="4930"/>
                </a:moveTo>
                <a:lnTo>
                  <a:pt x="13052" y="4934"/>
                </a:lnTo>
                <a:lnTo>
                  <a:pt x="13054" y="4935"/>
                </a:lnTo>
                <a:lnTo>
                  <a:pt x="13057" y="4933"/>
                </a:lnTo>
                <a:lnTo>
                  <a:pt x="13061" y="4927"/>
                </a:lnTo>
                <a:lnTo>
                  <a:pt x="13056" y="4926"/>
                </a:lnTo>
                <a:lnTo>
                  <a:pt x="13053" y="4925"/>
                </a:lnTo>
                <a:lnTo>
                  <a:pt x="13052" y="4925"/>
                </a:lnTo>
                <a:lnTo>
                  <a:pt x="13051" y="4926"/>
                </a:lnTo>
                <a:lnTo>
                  <a:pt x="13049" y="4927"/>
                </a:lnTo>
                <a:lnTo>
                  <a:pt x="13049" y="4930"/>
                </a:lnTo>
                <a:close/>
                <a:moveTo>
                  <a:pt x="12241" y="6142"/>
                </a:moveTo>
                <a:lnTo>
                  <a:pt x="12248" y="6152"/>
                </a:lnTo>
                <a:lnTo>
                  <a:pt x="12256" y="6160"/>
                </a:lnTo>
                <a:lnTo>
                  <a:pt x="12260" y="6161"/>
                </a:lnTo>
                <a:lnTo>
                  <a:pt x="12265" y="6162"/>
                </a:lnTo>
                <a:lnTo>
                  <a:pt x="12270" y="6161"/>
                </a:lnTo>
                <a:lnTo>
                  <a:pt x="12275" y="6158"/>
                </a:lnTo>
                <a:lnTo>
                  <a:pt x="12272" y="6153"/>
                </a:lnTo>
                <a:lnTo>
                  <a:pt x="12271" y="6149"/>
                </a:lnTo>
                <a:lnTo>
                  <a:pt x="12267" y="6147"/>
                </a:lnTo>
                <a:lnTo>
                  <a:pt x="12263" y="6144"/>
                </a:lnTo>
                <a:lnTo>
                  <a:pt x="12253" y="6143"/>
                </a:lnTo>
                <a:lnTo>
                  <a:pt x="12241" y="6142"/>
                </a:lnTo>
                <a:close/>
                <a:moveTo>
                  <a:pt x="13472" y="5964"/>
                </a:moveTo>
                <a:lnTo>
                  <a:pt x="13476" y="5960"/>
                </a:lnTo>
                <a:lnTo>
                  <a:pt x="13477" y="5956"/>
                </a:lnTo>
                <a:lnTo>
                  <a:pt x="13477" y="5952"/>
                </a:lnTo>
                <a:lnTo>
                  <a:pt x="13475" y="5950"/>
                </a:lnTo>
                <a:lnTo>
                  <a:pt x="13468" y="5943"/>
                </a:lnTo>
                <a:lnTo>
                  <a:pt x="13457" y="5938"/>
                </a:lnTo>
                <a:lnTo>
                  <a:pt x="13455" y="5946"/>
                </a:lnTo>
                <a:lnTo>
                  <a:pt x="13454" y="5951"/>
                </a:lnTo>
                <a:lnTo>
                  <a:pt x="13454" y="5955"/>
                </a:lnTo>
                <a:lnTo>
                  <a:pt x="13455" y="5959"/>
                </a:lnTo>
                <a:lnTo>
                  <a:pt x="13458" y="5960"/>
                </a:lnTo>
                <a:lnTo>
                  <a:pt x="13462" y="5962"/>
                </a:lnTo>
                <a:lnTo>
                  <a:pt x="13466" y="5962"/>
                </a:lnTo>
                <a:lnTo>
                  <a:pt x="13472" y="5964"/>
                </a:lnTo>
                <a:close/>
                <a:moveTo>
                  <a:pt x="13469" y="6405"/>
                </a:moveTo>
                <a:lnTo>
                  <a:pt x="13482" y="6401"/>
                </a:lnTo>
                <a:lnTo>
                  <a:pt x="13494" y="6396"/>
                </a:lnTo>
                <a:lnTo>
                  <a:pt x="13499" y="6394"/>
                </a:lnTo>
                <a:lnTo>
                  <a:pt x="13504" y="6390"/>
                </a:lnTo>
                <a:lnTo>
                  <a:pt x="13509" y="6386"/>
                </a:lnTo>
                <a:lnTo>
                  <a:pt x="13513" y="6380"/>
                </a:lnTo>
                <a:lnTo>
                  <a:pt x="13496" y="6382"/>
                </a:lnTo>
                <a:lnTo>
                  <a:pt x="13486" y="6386"/>
                </a:lnTo>
                <a:lnTo>
                  <a:pt x="13482" y="6389"/>
                </a:lnTo>
                <a:lnTo>
                  <a:pt x="13478" y="6393"/>
                </a:lnTo>
                <a:lnTo>
                  <a:pt x="13475" y="6398"/>
                </a:lnTo>
                <a:lnTo>
                  <a:pt x="13469" y="6405"/>
                </a:lnTo>
                <a:close/>
                <a:moveTo>
                  <a:pt x="13160" y="5074"/>
                </a:moveTo>
                <a:lnTo>
                  <a:pt x="13140" y="5090"/>
                </a:lnTo>
                <a:lnTo>
                  <a:pt x="13129" y="5109"/>
                </a:lnTo>
                <a:lnTo>
                  <a:pt x="13128" y="5130"/>
                </a:lnTo>
                <a:lnTo>
                  <a:pt x="13133" y="5150"/>
                </a:lnTo>
                <a:lnTo>
                  <a:pt x="13145" y="5168"/>
                </a:lnTo>
                <a:lnTo>
                  <a:pt x="13161" y="5183"/>
                </a:lnTo>
                <a:lnTo>
                  <a:pt x="13182" y="5192"/>
                </a:lnTo>
                <a:lnTo>
                  <a:pt x="13205" y="5193"/>
                </a:lnTo>
                <a:lnTo>
                  <a:pt x="13236" y="5182"/>
                </a:lnTo>
                <a:lnTo>
                  <a:pt x="13256" y="5162"/>
                </a:lnTo>
                <a:lnTo>
                  <a:pt x="13261" y="5137"/>
                </a:lnTo>
                <a:lnTo>
                  <a:pt x="13256" y="5112"/>
                </a:lnTo>
                <a:lnTo>
                  <a:pt x="13240" y="5089"/>
                </a:lnTo>
                <a:lnTo>
                  <a:pt x="13219" y="5073"/>
                </a:lnTo>
                <a:lnTo>
                  <a:pt x="13192" y="5066"/>
                </a:lnTo>
                <a:lnTo>
                  <a:pt x="13160" y="5074"/>
                </a:lnTo>
                <a:close/>
                <a:moveTo>
                  <a:pt x="12401" y="5639"/>
                </a:moveTo>
                <a:lnTo>
                  <a:pt x="12383" y="5666"/>
                </a:lnTo>
                <a:lnTo>
                  <a:pt x="12378" y="5691"/>
                </a:lnTo>
                <a:lnTo>
                  <a:pt x="12386" y="5717"/>
                </a:lnTo>
                <a:lnTo>
                  <a:pt x="12402" y="5738"/>
                </a:lnTo>
                <a:lnTo>
                  <a:pt x="12425" y="5754"/>
                </a:lnTo>
                <a:lnTo>
                  <a:pt x="12451" y="5759"/>
                </a:lnTo>
                <a:lnTo>
                  <a:pt x="12477" y="5752"/>
                </a:lnTo>
                <a:lnTo>
                  <a:pt x="12502" y="5732"/>
                </a:lnTo>
                <a:lnTo>
                  <a:pt x="12511" y="5708"/>
                </a:lnTo>
                <a:lnTo>
                  <a:pt x="12509" y="5685"/>
                </a:lnTo>
                <a:lnTo>
                  <a:pt x="12502" y="5663"/>
                </a:lnTo>
                <a:lnTo>
                  <a:pt x="12488" y="5645"/>
                </a:lnTo>
                <a:lnTo>
                  <a:pt x="12469" y="5633"/>
                </a:lnTo>
                <a:lnTo>
                  <a:pt x="12447" y="5626"/>
                </a:lnTo>
                <a:lnTo>
                  <a:pt x="12424" y="5628"/>
                </a:lnTo>
                <a:lnTo>
                  <a:pt x="12401" y="5639"/>
                </a:lnTo>
                <a:close/>
                <a:moveTo>
                  <a:pt x="5955" y="10914"/>
                </a:moveTo>
                <a:lnTo>
                  <a:pt x="5952" y="10928"/>
                </a:lnTo>
                <a:lnTo>
                  <a:pt x="5952" y="10938"/>
                </a:lnTo>
                <a:lnTo>
                  <a:pt x="5955" y="10941"/>
                </a:lnTo>
                <a:lnTo>
                  <a:pt x="5957" y="10943"/>
                </a:lnTo>
                <a:lnTo>
                  <a:pt x="5962" y="10943"/>
                </a:lnTo>
                <a:lnTo>
                  <a:pt x="5970" y="10942"/>
                </a:lnTo>
                <a:lnTo>
                  <a:pt x="5974" y="10937"/>
                </a:lnTo>
                <a:lnTo>
                  <a:pt x="5976" y="10932"/>
                </a:lnTo>
                <a:lnTo>
                  <a:pt x="5977" y="10928"/>
                </a:lnTo>
                <a:lnTo>
                  <a:pt x="5975" y="10925"/>
                </a:lnTo>
                <a:lnTo>
                  <a:pt x="5972" y="10922"/>
                </a:lnTo>
                <a:lnTo>
                  <a:pt x="5967" y="10919"/>
                </a:lnTo>
                <a:lnTo>
                  <a:pt x="5961" y="10917"/>
                </a:lnTo>
                <a:lnTo>
                  <a:pt x="5955" y="10914"/>
                </a:lnTo>
                <a:close/>
                <a:moveTo>
                  <a:pt x="7327" y="10862"/>
                </a:moveTo>
                <a:lnTo>
                  <a:pt x="7331" y="10848"/>
                </a:lnTo>
                <a:lnTo>
                  <a:pt x="7332" y="10847"/>
                </a:lnTo>
                <a:lnTo>
                  <a:pt x="7330" y="10852"/>
                </a:lnTo>
                <a:lnTo>
                  <a:pt x="7327" y="10862"/>
                </a:lnTo>
                <a:lnTo>
                  <a:pt x="7335" y="10863"/>
                </a:lnTo>
                <a:lnTo>
                  <a:pt x="7341" y="10861"/>
                </a:lnTo>
                <a:lnTo>
                  <a:pt x="7345" y="10858"/>
                </a:lnTo>
                <a:lnTo>
                  <a:pt x="7348" y="10854"/>
                </a:lnTo>
                <a:lnTo>
                  <a:pt x="7347" y="10852"/>
                </a:lnTo>
                <a:lnTo>
                  <a:pt x="7344" y="10852"/>
                </a:lnTo>
                <a:lnTo>
                  <a:pt x="7338" y="10854"/>
                </a:lnTo>
                <a:lnTo>
                  <a:pt x="7327" y="10862"/>
                </a:lnTo>
                <a:close/>
                <a:moveTo>
                  <a:pt x="6627" y="10918"/>
                </a:moveTo>
                <a:lnTo>
                  <a:pt x="6626" y="10936"/>
                </a:lnTo>
                <a:lnTo>
                  <a:pt x="6626" y="10953"/>
                </a:lnTo>
                <a:lnTo>
                  <a:pt x="6636" y="10953"/>
                </a:lnTo>
                <a:lnTo>
                  <a:pt x="6644" y="10947"/>
                </a:lnTo>
                <a:lnTo>
                  <a:pt x="6649" y="10936"/>
                </a:lnTo>
                <a:lnTo>
                  <a:pt x="6651" y="10923"/>
                </a:lnTo>
                <a:lnTo>
                  <a:pt x="6651" y="10913"/>
                </a:lnTo>
                <a:lnTo>
                  <a:pt x="6646" y="10906"/>
                </a:lnTo>
                <a:lnTo>
                  <a:pt x="6638" y="10906"/>
                </a:lnTo>
                <a:lnTo>
                  <a:pt x="6627" y="10918"/>
                </a:lnTo>
                <a:close/>
                <a:moveTo>
                  <a:pt x="7758" y="10163"/>
                </a:moveTo>
                <a:lnTo>
                  <a:pt x="7754" y="10174"/>
                </a:lnTo>
                <a:lnTo>
                  <a:pt x="7751" y="10186"/>
                </a:lnTo>
                <a:lnTo>
                  <a:pt x="7751" y="10197"/>
                </a:lnTo>
                <a:lnTo>
                  <a:pt x="7753" y="10206"/>
                </a:lnTo>
                <a:lnTo>
                  <a:pt x="7757" y="10213"/>
                </a:lnTo>
                <a:lnTo>
                  <a:pt x="7762" y="10215"/>
                </a:lnTo>
                <a:lnTo>
                  <a:pt x="7771" y="10215"/>
                </a:lnTo>
                <a:lnTo>
                  <a:pt x="7782" y="10210"/>
                </a:lnTo>
                <a:lnTo>
                  <a:pt x="7788" y="10201"/>
                </a:lnTo>
                <a:lnTo>
                  <a:pt x="7791" y="10194"/>
                </a:lnTo>
                <a:lnTo>
                  <a:pt x="7791" y="10187"/>
                </a:lnTo>
                <a:lnTo>
                  <a:pt x="7788" y="10181"/>
                </a:lnTo>
                <a:lnTo>
                  <a:pt x="7785" y="10177"/>
                </a:lnTo>
                <a:lnTo>
                  <a:pt x="7777" y="10172"/>
                </a:lnTo>
                <a:lnTo>
                  <a:pt x="7768" y="10168"/>
                </a:lnTo>
                <a:lnTo>
                  <a:pt x="7758" y="10163"/>
                </a:lnTo>
                <a:close/>
                <a:moveTo>
                  <a:pt x="7236" y="11081"/>
                </a:moveTo>
                <a:lnTo>
                  <a:pt x="7227" y="11087"/>
                </a:lnTo>
                <a:lnTo>
                  <a:pt x="7223" y="11096"/>
                </a:lnTo>
                <a:lnTo>
                  <a:pt x="7223" y="11105"/>
                </a:lnTo>
                <a:lnTo>
                  <a:pt x="7227" y="11114"/>
                </a:lnTo>
                <a:lnTo>
                  <a:pt x="7233" y="11120"/>
                </a:lnTo>
                <a:lnTo>
                  <a:pt x="7242" y="11124"/>
                </a:lnTo>
                <a:lnTo>
                  <a:pt x="7251" y="11123"/>
                </a:lnTo>
                <a:lnTo>
                  <a:pt x="7261" y="11116"/>
                </a:lnTo>
                <a:lnTo>
                  <a:pt x="7269" y="11106"/>
                </a:lnTo>
                <a:lnTo>
                  <a:pt x="7273" y="11097"/>
                </a:lnTo>
                <a:lnTo>
                  <a:pt x="7273" y="11090"/>
                </a:lnTo>
                <a:lnTo>
                  <a:pt x="7270" y="11083"/>
                </a:lnTo>
                <a:lnTo>
                  <a:pt x="7265" y="11078"/>
                </a:lnTo>
                <a:lnTo>
                  <a:pt x="7257" y="11077"/>
                </a:lnTo>
                <a:lnTo>
                  <a:pt x="7247" y="11077"/>
                </a:lnTo>
                <a:lnTo>
                  <a:pt x="7236" y="11081"/>
                </a:lnTo>
                <a:close/>
                <a:moveTo>
                  <a:pt x="11819" y="7710"/>
                </a:moveTo>
                <a:lnTo>
                  <a:pt x="11808" y="7720"/>
                </a:lnTo>
                <a:lnTo>
                  <a:pt x="11796" y="7733"/>
                </a:lnTo>
                <a:lnTo>
                  <a:pt x="11786" y="7746"/>
                </a:lnTo>
                <a:lnTo>
                  <a:pt x="11777" y="7760"/>
                </a:lnTo>
                <a:lnTo>
                  <a:pt x="11769" y="7775"/>
                </a:lnTo>
                <a:lnTo>
                  <a:pt x="11762" y="7790"/>
                </a:lnTo>
                <a:lnTo>
                  <a:pt x="11757" y="7806"/>
                </a:lnTo>
                <a:lnTo>
                  <a:pt x="11752" y="7820"/>
                </a:lnTo>
                <a:lnTo>
                  <a:pt x="11772" y="7793"/>
                </a:lnTo>
                <a:lnTo>
                  <a:pt x="11794" y="7769"/>
                </a:lnTo>
                <a:lnTo>
                  <a:pt x="11802" y="7756"/>
                </a:lnTo>
                <a:lnTo>
                  <a:pt x="11810" y="7742"/>
                </a:lnTo>
                <a:lnTo>
                  <a:pt x="11816" y="7727"/>
                </a:lnTo>
                <a:lnTo>
                  <a:pt x="11819" y="7710"/>
                </a:lnTo>
                <a:close/>
                <a:moveTo>
                  <a:pt x="7273" y="10887"/>
                </a:moveTo>
                <a:lnTo>
                  <a:pt x="7261" y="10904"/>
                </a:lnTo>
                <a:lnTo>
                  <a:pt x="7261" y="10917"/>
                </a:lnTo>
                <a:lnTo>
                  <a:pt x="7269" y="10925"/>
                </a:lnTo>
                <a:lnTo>
                  <a:pt x="7282" y="10931"/>
                </a:lnTo>
                <a:lnTo>
                  <a:pt x="7297" y="10929"/>
                </a:lnTo>
                <a:lnTo>
                  <a:pt x="7311" y="10923"/>
                </a:lnTo>
                <a:lnTo>
                  <a:pt x="7321" y="10911"/>
                </a:lnTo>
                <a:lnTo>
                  <a:pt x="7326" y="10894"/>
                </a:lnTo>
                <a:lnTo>
                  <a:pt x="7321" y="10887"/>
                </a:lnTo>
                <a:lnTo>
                  <a:pt x="7315" y="10883"/>
                </a:lnTo>
                <a:lnTo>
                  <a:pt x="7307" y="10881"/>
                </a:lnTo>
                <a:lnTo>
                  <a:pt x="7301" y="10880"/>
                </a:lnTo>
                <a:lnTo>
                  <a:pt x="7293" y="10880"/>
                </a:lnTo>
                <a:lnTo>
                  <a:pt x="7285" y="10881"/>
                </a:lnTo>
                <a:lnTo>
                  <a:pt x="7278" y="10883"/>
                </a:lnTo>
                <a:lnTo>
                  <a:pt x="7273" y="10887"/>
                </a:lnTo>
                <a:close/>
                <a:moveTo>
                  <a:pt x="7262" y="10406"/>
                </a:moveTo>
                <a:lnTo>
                  <a:pt x="7275" y="10396"/>
                </a:lnTo>
                <a:lnTo>
                  <a:pt x="7280" y="10386"/>
                </a:lnTo>
                <a:lnTo>
                  <a:pt x="7279" y="10376"/>
                </a:lnTo>
                <a:lnTo>
                  <a:pt x="7273" y="10368"/>
                </a:lnTo>
                <a:lnTo>
                  <a:pt x="7262" y="10362"/>
                </a:lnTo>
                <a:lnTo>
                  <a:pt x="7251" y="10358"/>
                </a:lnTo>
                <a:lnTo>
                  <a:pt x="7238" y="10358"/>
                </a:lnTo>
                <a:lnTo>
                  <a:pt x="7226" y="10362"/>
                </a:lnTo>
                <a:lnTo>
                  <a:pt x="7215" y="10372"/>
                </a:lnTo>
                <a:lnTo>
                  <a:pt x="7212" y="10382"/>
                </a:lnTo>
                <a:lnTo>
                  <a:pt x="7213" y="10392"/>
                </a:lnTo>
                <a:lnTo>
                  <a:pt x="7218" y="10401"/>
                </a:lnTo>
                <a:lnTo>
                  <a:pt x="7227" y="10407"/>
                </a:lnTo>
                <a:lnTo>
                  <a:pt x="7237" y="10411"/>
                </a:lnTo>
                <a:lnTo>
                  <a:pt x="7250" y="10411"/>
                </a:lnTo>
                <a:lnTo>
                  <a:pt x="7262" y="10406"/>
                </a:lnTo>
                <a:close/>
                <a:moveTo>
                  <a:pt x="6412" y="10512"/>
                </a:moveTo>
                <a:lnTo>
                  <a:pt x="6403" y="10523"/>
                </a:lnTo>
                <a:lnTo>
                  <a:pt x="6400" y="10536"/>
                </a:lnTo>
                <a:lnTo>
                  <a:pt x="6402" y="10549"/>
                </a:lnTo>
                <a:lnTo>
                  <a:pt x="6407" y="10560"/>
                </a:lnTo>
                <a:lnTo>
                  <a:pt x="6416" y="10568"/>
                </a:lnTo>
                <a:lnTo>
                  <a:pt x="6426" y="10570"/>
                </a:lnTo>
                <a:lnTo>
                  <a:pt x="6440" y="10569"/>
                </a:lnTo>
                <a:lnTo>
                  <a:pt x="6454" y="10560"/>
                </a:lnTo>
                <a:lnTo>
                  <a:pt x="6465" y="10545"/>
                </a:lnTo>
                <a:lnTo>
                  <a:pt x="6470" y="10531"/>
                </a:lnTo>
                <a:lnTo>
                  <a:pt x="6470" y="10518"/>
                </a:lnTo>
                <a:lnTo>
                  <a:pt x="6464" y="10508"/>
                </a:lnTo>
                <a:lnTo>
                  <a:pt x="6455" y="10502"/>
                </a:lnTo>
                <a:lnTo>
                  <a:pt x="6442" y="10499"/>
                </a:lnTo>
                <a:lnTo>
                  <a:pt x="6428" y="10502"/>
                </a:lnTo>
                <a:lnTo>
                  <a:pt x="6412" y="10512"/>
                </a:lnTo>
                <a:close/>
                <a:moveTo>
                  <a:pt x="7732" y="10250"/>
                </a:moveTo>
                <a:lnTo>
                  <a:pt x="7717" y="10262"/>
                </a:lnTo>
                <a:lnTo>
                  <a:pt x="7711" y="10276"/>
                </a:lnTo>
                <a:lnTo>
                  <a:pt x="7711" y="10288"/>
                </a:lnTo>
                <a:lnTo>
                  <a:pt x="7716" y="10299"/>
                </a:lnTo>
                <a:lnTo>
                  <a:pt x="7726" y="10306"/>
                </a:lnTo>
                <a:lnTo>
                  <a:pt x="7740" y="10309"/>
                </a:lnTo>
                <a:lnTo>
                  <a:pt x="7755" y="10307"/>
                </a:lnTo>
                <a:lnTo>
                  <a:pt x="7772" y="10298"/>
                </a:lnTo>
                <a:lnTo>
                  <a:pt x="7785" y="10285"/>
                </a:lnTo>
                <a:lnTo>
                  <a:pt x="7790" y="10272"/>
                </a:lnTo>
                <a:lnTo>
                  <a:pt x="7790" y="10260"/>
                </a:lnTo>
                <a:lnTo>
                  <a:pt x="7786" y="10248"/>
                </a:lnTo>
                <a:lnTo>
                  <a:pt x="7776" y="10241"/>
                </a:lnTo>
                <a:lnTo>
                  <a:pt x="7764" y="10238"/>
                </a:lnTo>
                <a:lnTo>
                  <a:pt x="7749" y="10239"/>
                </a:lnTo>
                <a:lnTo>
                  <a:pt x="7732" y="10250"/>
                </a:lnTo>
                <a:close/>
                <a:moveTo>
                  <a:pt x="6607" y="10495"/>
                </a:moveTo>
                <a:lnTo>
                  <a:pt x="6594" y="10508"/>
                </a:lnTo>
                <a:lnTo>
                  <a:pt x="6589" y="10523"/>
                </a:lnTo>
                <a:lnTo>
                  <a:pt x="6591" y="10537"/>
                </a:lnTo>
                <a:lnTo>
                  <a:pt x="6599" y="10550"/>
                </a:lnTo>
                <a:lnTo>
                  <a:pt x="6612" y="10560"/>
                </a:lnTo>
                <a:lnTo>
                  <a:pt x="6627" y="10564"/>
                </a:lnTo>
                <a:lnTo>
                  <a:pt x="6644" y="10564"/>
                </a:lnTo>
                <a:lnTo>
                  <a:pt x="6660" y="10555"/>
                </a:lnTo>
                <a:lnTo>
                  <a:pt x="6677" y="10538"/>
                </a:lnTo>
                <a:lnTo>
                  <a:pt x="6684" y="10522"/>
                </a:lnTo>
                <a:lnTo>
                  <a:pt x="6683" y="10508"/>
                </a:lnTo>
                <a:lnTo>
                  <a:pt x="6675" y="10495"/>
                </a:lnTo>
                <a:lnTo>
                  <a:pt x="6661" y="10488"/>
                </a:lnTo>
                <a:lnTo>
                  <a:pt x="6645" y="10484"/>
                </a:lnTo>
                <a:lnTo>
                  <a:pt x="6626" y="10486"/>
                </a:lnTo>
                <a:lnTo>
                  <a:pt x="6607" y="10495"/>
                </a:lnTo>
                <a:close/>
                <a:moveTo>
                  <a:pt x="7613" y="10152"/>
                </a:moveTo>
                <a:lnTo>
                  <a:pt x="7595" y="10168"/>
                </a:lnTo>
                <a:lnTo>
                  <a:pt x="7588" y="10185"/>
                </a:lnTo>
                <a:lnTo>
                  <a:pt x="7591" y="10201"/>
                </a:lnTo>
                <a:lnTo>
                  <a:pt x="7599" y="10214"/>
                </a:lnTo>
                <a:lnTo>
                  <a:pt x="7613" y="10224"/>
                </a:lnTo>
                <a:lnTo>
                  <a:pt x="7629" y="10229"/>
                </a:lnTo>
                <a:lnTo>
                  <a:pt x="7648" y="10227"/>
                </a:lnTo>
                <a:lnTo>
                  <a:pt x="7667" y="10216"/>
                </a:lnTo>
                <a:lnTo>
                  <a:pt x="7683" y="10200"/>
                </a:lnTo>
                <a:lnTo>
                  <a:pt x="7689" y="10182"/>
                </a:lnTo>
                <a:lnTo>
                  <a:pt x="7688" y="10166"/>
                </a:lnTo>
                <a:lnTo>
                  <a:pt x="7680" y="10152"/>
                </a:lnTo>
                <a:lnTo>
                  <a:pt x="7667" y="10141"/>
                </a:lnTo>
                <a:lnTo>
                  <a:pt x="7651" y="10136"/>
                </a:lnTo>
                <a:lnTo>
                  <a:pt x="7633" y="10139"/>
                </a:lnTo>
                <a:lnTo>
                  <a:pt x="7613" y="10152"/>
                </a:lnTo>
                <a:close/>
                <a:moveTo>
                  <a:pt x="7428" y="10587"/>
                </a:moveTo>
                <a:lnTo>
                  <a:pt x="7411" y="10603"/>
                </a:lnTo>
                <a:lnTo>
                  <a:pt x="7404" y="10621"/>
                </a:lnTo>
                <a:lnTo>
                  <a:pt x="7405" y="10636"/>
                </a:lnTo>
                <a:lnTo>
                  <a:pt x="7413" y="10650"/>
                </a:lnTo>
                <a:lnTo>
                  <a:pt x="7425" y="10659"/>
                </a:lnTo>
                <a:lnTo>
                  <a:pt x="7442" y="10663"/>
                </a:lnTo>
                <a:lnTo>
                  <a:pt x="7461" y="10661"/>
                </a:lnTo>
                <a:lnTo>
                  <a:pt x="7481" y="10648"/>
                </a:lnTo>
                <a:lnTo>
                  <a:pt x="7499" y="10629"/>
                </a:lnTo>
                <a:lnTo>
                  <a:pt x="7508" y="10611"/>
                </a:lnTo>
                <a:lnTo>
                  <a:pt x="7508" y="10594"/>
                </a:lnTo>
                <a:lnTo>
                  <a:pt x="7502" y="10580"/>
                </a:lnTo>
                <a:lnTo>
                  <a:pt x="7489" y="10572"/>
                </a:lnTo>
                <a:lnTo>
                  <a:pt x="7471" y="10569"/>
                </a:lnTo>
                <a:lnTo>
                  <a:pt x="7451" y="10574"/>
                </a:lnTo>
                <a:lnTo>
                  <a:pt x="7428" y="10587"/>
                </a:lnTo>
                <a:close/>
                <a:moveTo>
                  <a:pt x="6395" y="10797"/>
                </a:moveTo>
                <a:lnTo>
                  <a:pt x="6381" y="10808"/>
                </a:lnTo>
                <a:lnTo>
                  <a:pt x="6367" y="10821"/>
                </a:lnTo>
                <a:lnTo>
                  <a:pt x="6360" y="10827"/>
                </a:lnTo>
                <a:lnTo>
                  <a:pt x="6352" y="10833"/>
                </a:lnTo>
                <a:lnTo>
                  <a:pt x="6343" y="10836"/>
                </a:lnTo>
                <a:lnTo>
                  <a:pt x="6333" y="10839"/>
                </a:lnTo>
                <a:lnTo>
                  <a:pt x="6311" y="10877"/>
                </a:lnTo>
                <a:lnTo>
                  <a:pt x="6321" y="10895"/>
                </a:lnTo>
                <a:lnTo>
                  <a:pt x="6351" y="10896"/>
                </a:lnTo>
                <a:lnTo>
                  <a:pt x="6389" y="10886"/>
                </a:lnTo>
                <a:lnTo>
                  <a:pt x="6423" y="10867"/>
                </a:lnTo>
                <a:lnTo>
                  <a:pt x="6444" y="10843"/>
                </a:lnTo>
                <a:lnTo>
                  <a:pt x="6437" y="10819"/>
                </a:lnTo>
                <a:lnTo>
                  <a:pt x="6395" y="10797"/>
                </a:lnTo>
                <a:close/>
                <a:moveTo>
                  <a:pt x="6956" y="10356"/>
                </a:moveTo>
                <a:lnTo>
                  <a:pt x="6931" y="10381"/>
                </a:lnTo>
                <a:lnTo>
                  <a:pt x="6920" y="10407"/>
                </a:lnTo>
                <a:lnTo>
                  <a:pt x="6919" y="10437"/>
                </a:lnTo>
                <a:lnTo>
                  <a:pt x="6926" y="10462"/>
                </a:lnTo>
                <a:lnTo>
                  <a:pt x="6943" y="10484"/>
                </a:lnTo>
                <a:lnTo>
                  <a:pt x="6966" y="10496"/>
                </a:lnTo>
                <a:lnTo>
                  <a:pt x="6995" y="10498"/>
                </a:lnTo>
                <a:lnTo>
                  <a:pt x="7029" y="10484"/>
                </a:lnTo>
                <a:lnTo>
                  <a:pt x="7063" y="10453"/>
                </a:lnTo>
                <a:lnTo>
                  <a:pt x="7080" y="10421"/>
                </a:lnTo>
                <a:lnTo>
                  <a:pt x="7083" y="10392"/>
                </a:lnTo>
                <a:lnTo>
                  <a:pt x="7074" y="10368"/>
                </a:lnTo>
                <a:lnTo>
                  <a:pt x="7055" y="10350"/>
                </a:lnTo>
                <a:lnTo>
                  <a:pt x="7028" y="10340"/>
                </a:lnTo>
                <a:lnTo>
                  <a:pt x="6994" y="10341"/>
                </a:lnTo>
                <a:lnTo>
                  <a:pt x="6956" y="10356"/>
                </a:lnTo>
                <a:close/>
                <a:moveTo>
                  <a:pt x="4280" y="10279"/>
                </a:moveTo>
                <a:lnTo>
                  <a:pt x="4275" y="10266"/>
                </a:lnTo>
                <a:lnTo>
                  <a:pt x="4270" y="10257"/>
                </a:lnTo>
                <a:lnTo>
                  <a:pt x="4266" y="10251"/>
                </a:lnTo>
                <a:lnTo>
                  <a:pt x="4261" y="10246"/>
                </a:lnTo>
                <a:lnTo>
                  <a:pt x="4254" y="10243"/>
                </a:lnTo>
                <a:lnTo>
                  <a:pt x="4247" y="10243"/>
                </a:lnTo>
                <a:lnTo>
                  <a:pt x="4238" y="10244"/>
                </a:lnTo>
                <a:lnTo>
                  <a:pt x="4225" y="10246"/>
                </a:lnTo>
                <a:lnTo>
                  <a:pt x="4235" y="10262"/>
                </a:lnTo>
                <a:lnTo>
                  <a:pt x="4246" y="10276"/>
                </a:lnTo>
                <a:lnTo>
                  <a:pt x="4252" y="10280"/>
                </a:lnTo>
                <a:lnTo>
                  <a:pt x="4260" y="10283"/>
                </a:lnTo>
                <a:lnTo>
                  <a:pt x="4268" y="10283"/>
                </a:lnTo>
                <a:lnTo>
                  <a:pt x="4280" y="10279"/>
                </a:lnTo>
                <a:close/>
                <a:moveTo>
                  <a:pt x="454" y="5172"/>
                </a:moveTo>
                <a:lnTo>
                  <a:pt x="452" y="5171"/>
                </a:lnTo>
                <a:lnTo>
                  <a:pt x="449" y="5169"/>
                </a:lnTo>
                <a:lnTo>
                  <a:pt x="448" y="5171"/>
                </a:lnTo>
                <a:lnTo>
                  <a:pt x="445" y="5173"/>
                </a:lnTo>
                <a:lnTo>
                  <a:pt x="449" y="5176"/>
                </a:lnTo>
                <a:lnTo>
                  <a:pt x="452" y="5176"/>
                </a:lnTo>
                <a:lnTo>
                  <a:pt x="453" y="5176"/>
                </a:lnTo>
                <a:lnTo>
                  <a:pt x="454" y="5172"/>
                </a:lnTo>
                <a:close/>
                <a:moveTo>
                  <a:pt x="960" y="4528"/>
                </a:moveTo>
                <a:lnTo>
                  <a:pt x="957" y="4526"/>
                </a:lnTo>
                <a:lnTo>
                  <a:pt x="955" y="4526"/>
                </a:lnTo>
                <a:lnTo>
                  <a:pt x="954" y="4528"/>
                </a:lnTo>
                <a:lnTo>
                  <a:pt x="952" y="4530"/>
                </a:lnTo>
                <a:lnTo>
                  <a:pt x="952" y="4533"/>
                </a:lnTo>
                <a:lnTo>
                  <a:pt x="954" y="4535"/>
                </a:lnTo>
                <a:lnTo>
                  <a:pt x="956" y="4537"/>
                </a:lnTo>
                <a:lnTo>
                  <a:pt x="961" y="4538"/>
                </a:lnTo>
                <a:lnTo>
                  <a:pt x="960" y="4533"/>
                </a:lnTo>
                <a:lnTo>
                  <a:pt x="960" y="4528"/>
                </a:lnTo>
                <a:close/>
                <a:moveTo>
                  <a:pt x="2095" y="6884"/>
                </a:moveTo>
                <a:lnTo>
                  <a:pt x="2095" y="6886"/>
                </a:lnTo>
                <a:lnTo>
                  <a:pt x="2096" y="6888"/>
                </a:lnTo>
                <a:lnTo>
                  <a:pt x="2098" y="6889"/>
                </a:lnTo>
                <a:lnTo>
                  <a:pt x="2102" y="6889"/>
                </a:lnTo>
                <a:lnTo>
                  <a:pt x="2101" y="6885"/>
                </a:lnTo>
                <a:lnTo>
                  <a:pt x="2100" y="6883"/>
                </a:lnTo>
                <a:lnTo>
                  <a:pt x="2098" y="6881"/>
                </a:lnTo>
                <a:lnTo>
                  <a:pt x="2097" y="6881"/>
                </a:lnTo>
                <a:lnTo>
                  <a:pt x="2096" y="6881"/>
                </a:lnTo>
                <a:lnTo>
                  <a:pt x="2095" y="6884"/>
                </a:lnTo>
                <a:close/>
                <a:moveTo>
                  <a:pt x="1626" y="4347"/>
                </a:moveTo>
                <a:lnTo>
                  <a:pt x="1631" y="4350"/>
                </a:lnTo>
                <a:lnTo>
                  <a:pt x="1636" y="4353"/>
                </a:lnTo>
                <a:lnTo>
                  <a:pt x="1639" y="4353"/>
                </a:lnTo>
                <a:lnTo>
                  <a:pt x="1641" y="4355"/>
                </a:lnTo>
                <a:lnTo>
                  <a:pt x="1642" y="4353"/>
                </a:lnTo>
                <a:lnTo>
                  <a:pt x="1644" y="4351"/>
                </a:lnTo>
                <a:lnTo>
                  <a:pt x="1639" y="4347"/>
                </a:lnTo>
                <a:lnTo>
                  <a:pt x="1634" y="4343"/>
                </a:lnTo>
                <a:lnTo>
                  <a:pt x="1631" y="4342"/>
                </a:lnTo>
                <a:lnTo>
                  <a:pt x="1628" y="4342"/>
                </a:lnTo>
                <a:lnTo>
                  <a:pt x="1627" y="4343"/>
                </a:lnTo>
                <a:lnTo>
                  <a:pt x="1626" y="4347"/>
                </a:lnTo>
                <a:close/>
                <a:moveTo>
                  <a:pt x="1313" y="5360"/>
                </a:moveTo>
                <a:lnTo>
                  <a:pt x="1304" y="5359"/>
                </a:lnTo>
                <a:lnTo>
                  <a:pt x="1296" y="5356"/>
                </a:lnTo>
                <a:lnTo>
                  <a:pt x="1292" y="5356"/>
                </a:lnTo>
                <a:lnTo>
                  <a:pt x="1290" y="5358"/>
                </a:lnTo>
                <a:lnTo>
                  <a:pt x="1288" y="5360"/>
                </a:lnTo>
                <a:lnTo>
                  <a:pt x="1287" y="5365"/>
                </a:lnTo>
                <a:lnTo>
                  <a:pt x="1295" y="5367"/>
                </a:lnTo>
                <a:lnTo>
                  <a:pt x="1302" y="5369"/>
                </a:lnTo>
                <a:lnTo>
                  <a:pt x="1305" y="5369"/>
                </a:lnTo>
                <a:lnTo>
                  <a:pt x="1308" y="5368"/>
                </a:lnTo>
                <a:lnTo>
                  <a:pt x="1310" y="5365"/>
                </a:lnTo>
                <a:lnTo>
                  <a:pt x="1313" y="5360"/>
                </a:lnTo>
                <a:close/>
                <a:moveTo>
                  <a:pt x="1659" y="7504"/>
                </a:moveTo>
                <a:lnTo>
                  <a:pt x="1671" y="7487"/>
                </a:lnTo>
                <a:lnTo>
                  <a:pt x="1681" y="7475"/>
                </a:lnTo>
                <a:lnTo>
                  <a:pt x="1676" y="7472"/>
                </a:lnTo>
                <a:lnTo>
                  <a:pt x="1672" y="7471"/>
                </a:lnTo>
                <a:lnTo>
                  <a:pt x="1668" y="7473"/>
                </a:lnTo>
                <a:lnTo>
                  <a:pt x="1665" y="7477"/>
                </a:lnTo>
                <a:lnTo>
                  <a:pt x="1663" y="7482"/>
                </a:lnTo>
                <a:lnTo>
                  <a:pt x="1660" y="7489"/>
                </a:lnTo>
                <a:lnTo>
                  <a:pt x="1659" y="7496"/>
                </a:lnTo>
                <a:lnTo>
                  <a:pt x="1659" y="7504"/>
                </a:lnTo>
                <a:close/>
                <a:moveTo>
                  <a:pt x="1455" y="7201"/>
                </a:moveTo>
                <a:lnTo>
                  <a:pt x="1455" y="7196"/>
                </a:lnTo>
                <a:lnTo>
                  <a:pt x="1453" y="7193"/>
                </a:lnTo>
                <a:lnTo>
                  <a:pt x="1449" y="7191"/>
                </a:lnTo>
                <a:lnTo>
                  <a:pt x="1444" y="7189"/>
                </a:lnTo>
                <a:lnTo>
                  <a:pt x="1434" y="7187"/>
                </a:lnTo>
                <a:lnTo>
                  <a:pt x="1425" y="7184"/>
                </a:lnTo>
                <a:lnTo>
                  <a:pt x="1427" y="7191"/>
                </a:lnTo>
                <a:lnTo>
                  <a:pt x="1430" y="7196"/>
                </a:lnTo>
                <a:lnTo>
                  <a:pt x="1434" y="7200"/>
                </a:lnTo>
                <a:lnTo>
                  <a:pt x="1437" y="7201"/>
                </a:lnTo>
                <a:lnTo>
                  <a:pt x="1446" y="7202"/>
                </a:lnTo>
                <a:lnTo>
                  <a:pt x="1455" y="7201"/>
                </a:lnTo>
                <a:close/>
                <a:moveTo>
                  <a:pt x="2530" y="7766"/>
                </a:moveTo>
                <a:lnTo>
                  <a:pt x="2535" y="7769"/>
                </a:lnTo>
                <a:lnTo>
                  <a:pt x="2540" y="7771"/>
                </a:lnTo>
                <a:lnTo>
                  <a:pt x="2545" y="7771"/>
                </a:lnTo>
                <a:lnTo>
                  <a:pt x="2551" y="7771"/>
                </a:lnTo>
                <a:lnTo>
                  <a:pt x="2554" y="7769"/>
                </a:lnTo>
                <a:lnTo>
                  <a:pt x="2558" y="7766"/>
                </a:lnTo>
                <a:lnTo>
                  <a:pt x="2562" y="7760"/>
                </a:lnTo>
                <a:lnTo>
                  <a:pt x="2566" y="7753"/>
                </a:lnTo>
                <a:lnTo>
                  <a:pt x="2554" y="7751"/>
                </a:lnTo>
                <a:lnTo>
                  <a:pt x="2544" y="7752"/>
                </a:lnTo>
                <a:lnTo>
                  <a:pt x="2539" y="7753"/>
                </a:lnTo>
                <a:lnTo>
                  <a:pt x="2535" y="7756"/>
                </a:lnTo>
                <a:lnTo>
                  <a:pt x="2533" y="7760"/>
                </a:lnTo>
                <a:lnTo>
                  <a:pt x="2530" y="7766"/>
                </a:lnTo>
                <a:close/>
                <a:moveTo>
                  <a:pt x="1443" y="5201"/>
                </a:moveTo>
                <a:lnTo>
                  <a:pt x="1443" y="5210"/>
                </a:lnTo>
                <a:lnTo>
                  <a:pt x="1445" y="5216"/>
                </a:lnTo>
                <a:lnTo>
                  <a:pt x="1449" y="5220"/>
                </a:lnTo>
                <a:lnTo>
                  <a:pt x="1454" y="5223"/>
                </a:lnTo>
                <a:lnTo>
                  <a:pt x="1459" y="5223"/>
                </a:lnTo>
                <a:lnTo>
                  <a:pt x="1464" y="5220"/>
                </a:lnTo>
                <a:lnTo>
                  <a:pt x="1468" y="5215"/>
                </a:lnTo>
                <a:lnTo>
                  <a:pt x="1469" y="5207"/>
                </a:lnTo>
                <a:lnTo>
                  <a:pt x="1468" y="5204"/>
                </a:lnTo>
                <a:lnTo>
                  <a:pt x="1465" y="5201"/>
                </a:lnTo>
                <a:lnTo>
                  <a:pt x="1463" y="5199"/>
                </a:lnTo>
                <a:lnTo>
                  <a:pt x="1459" y="5199"/>
                </a:lnTo>
                <a:lnTo>
                  <a:pt x="1451" y="5199"/>
                </a:lnTo>
                <a:lnTo>
                  <a:pt x="1443" y="5201"/>
                </a:lnTo>
                <a:close/>
                <a:moveTo>
                  <a:pt x="1362" y="4819"/>
                </a:moveTo>
                <a:lnTo>
                  <a:pt x="1366" y="4813"/>
                </a:lnTo>
                <a:lnTo>
                  <a:pt x="1366" y="4807"/>
                </a:lnTo>
                <a:lnTo>
                  <a:pt x="1366" y="4800"/>
                </a:lnTo>
                <a:lnTo>
                  <a:pt x="1362" y="4795"/>
                </a:lnTo>
                <a:lnTo>
                  <a:pt x="1359" y="4790"/>
                </a:lnTo>
                <a:lnTo>
                  <a:pt x="1352" y="4786"/>
                </a:lnTo>
                <a:lnTo>
                  <a:pt x="1346" y="4785"/>
                </a:lnTo>
                <a:lnTo>
                  <a:pt x="1338" y="4786"/>
                </a:lnTo>
                <a:lnTo>
                  <a:pt x="1330" y="4791"/>
                </a:lnTo>
                <a:lnTo>
                  <a:pt x="1328" y="4798"/>
                </a:lnTo>
                <a:lnTo>
                  <a:pt x="1329" y="4807"/>
                </a:lnTo>
                <a:lnTo>
                  <a:pt x="1333" y="4814"/>
                </a:lnTo>
                <a:lnTo>
                  <a:pt x="1339" y="4819"/>
                </a:lnTo>
                <a:lnTo>
                  <a:pt x="1346" y="4823"/>
                </a:lnTo>
                <a:lnTo>
                  <a:pt x="1355" y="4824"/>
                </a:lnTo>
                <a:lnTo>
                  <a:pt x="1362" y="4819"/>
                </a:lnTo>
                <a:close/>
                <a:moveTo>
                  <a:pt x="1642" y="4804"/>
                </a:moveTo>
                <a:lnTo>
                  <a:pt x="1653" y="4814"/>
                </a:lnTo>
                <a:lnTo>
                  <a:pt x="1664" y="4819"/>
                </a:lnTo>
                <a:lnTo>
                  <a:pt x="1676" y="4819"/>
                </a:lnTo>
                <a:lnTo>
                  <a:pt x="1687" y="4815"/>
                </a:lnTo>
                <a:lnTo>
                  <a:pt x="1695" y="4808"/>
                </a:lnTo>
                <a:lnTo>
                  <a:pt x="1700" y="4798"/>
                </a:lnTo>
                <a:lnTo>
                  <a:pt x="1701" y="4786"/>
                </a:lnTo>
                <a:lnTo>
                  <a:pt x="1696" y="4772"/>
                </a:lnTo>
                <a:lnTo>
                  <a:pt x="1687" y="4765"/>
                </a:lnTo>
                <a:lnTo>
                  <a:pt x="1676" y="4761"/>
                </a:lnTo>
                <a:lnTo>
                  <a:pt x="1664" y="4761"/>
                </a:lnTo>
                <a:lnTo>
                  <a:pt x="1653" y="4765"/>
                </a:lnTo>
                <a:lnTo>
                  <a:pt x="1644" y="4771"/>
                </a:lnTo>
                <a:lnTo>
                  <a:pt x="1639" y="4780"/>
                </a:lnTo>
                <a:lnTo>
                  <a:pt x="1637" y="4791"/>
                </a:lnTo>
                <a:lnTo>
                  <a:pt x="1642" y="4804"/>
                </a:lnTo>
                <a:close/>
                <a:moveTo>
                  <a:pt x="1203" y="4720"/>
                </a:moveTo>
                <a:lnTo>
                  <a:pt x="1212" y="4710"/>
                </a:lnTo>
                <a:lnTo>
                  <a:pt x="1215" y="4700"/>
                </a:lnTo>
                <a:lnTo>
                  <a:pt x="1213" y="4688"/>
                </a:lnTo>
                <a:lnTo>
                  <a:pt x="1207" y="4678"/>
                </a:lnTo>
                <a:lnTo>
                  <a:pt x="1198" y="4669"/>
                </a:lnTo>
                <a:lnTo>
                  <a:pt x="1187" y="4664"/>
                </a:lnTo>
                <a:lnTo>
                  <a:pt x="1175" y="4663"/>
                </a:lnTo>
                <a:lnTo>
                  <a:pt x="1164" y="4668"/>
                </a:lnTo>
                <a:lnTo>
                  <a:pt x="1155" y="4677"/>
                </a:lnTo>
                <a:lnTo>
                  <a:pt x="1151" y="4688"/>
                </a:lnTo>
                <a:lnTo>
                  <a:pt x="1153" y="4700"/>
                </a:lnTo>
                <a:lnTo>
                  <a:pt x="1160" y="4711"/>
                </a:lnTo>
                <a:lnTo>
                  <a:pt x="1169" y="4720"/>
                </a:lnTo>
                <a:lnTo>
                  <a:pt x="1180" y="4725"/>
                </a:lnTo>
                <a:lnTo>
                  <a:pt x="1193" y="4725"/>
                </a:lnTo>
                <a:lnTo>
                  <a:pt x="1203" y="4720"/>
                </a:lnTo>
                <a:close/>
                <a:moveTo>
                  <a:pt x="1132" y="5023"/>
                </a:moveTo>
                <a:lnTo>
                  <a:pt x="1143" y="5009"/>
                </a:lnTo>
                <a:lnTo>
                  <a:pt x="1148" y="4995"/>
                </a:lnTo>
                <a:lnTo>
                  <a:pt x="1148" y="4980"/>
                </a:lnTo>
                <a:lnTo>
                  <a:pt x="1142" y="4967"/>
                </a:lnTo>
                <a:lnTo>
                  <a:pt x="1132" y="4957"/>
                </a:lnTo>
                <a:lnTo>
                  <a:pt x="1119" y="4950"/>
                </a:lnTo>
                <a:lnTo>
                  <a:pt x="1104" y="4949"/>
                </a:lnTo>
                <a:lnTo>
                  <a:pt x="1086" y="4954"/>
                </a:lnTo>
                <a:lnTo>
                  <a:pt x="1075" y="4966"/>
                </a:lnTo>
                <a:lnTo>
                  <a:pt x="1071" y="4980"/>
                </a:lnTo>
                <a:lnTo>
                  <a:pt x="1072" y="4994"/>
                </a:lnTo>
                <a:lnTo>
                  <a:pt x="1078" y="5006"/>
                </a:lnTo>
                <a:lnTo>
                  <a:pt x="1089" y="5018"/>
                </a:lnTo>
                <a:lnTo>
                  <a:pt x="1101" y="5025"/>
                </a:lnTo>
                <a:lnTo>
                  <a:pt x="1115" y="5027"/>
                </a:lnTo>
                <a:lnTo>
                  <a:pt x="1132" y="5023"/>
                </a:lnTo>
                <a:close/>
                <a:moveTo>
                  <a:pt x="1923" y="4581"/>
                </a:moveTo>
                <a:lnTo>
                  <a:pt x="1955" y="4589"/>
                </a:lnTo>
                <a:lnTo>
                  <a:pt x="1975" y="4581"/>
                </a:lnTo>
                <a:lnTo>
                  <a:pt x="1984" y="4563"/>
                </a:lnTo>
                <a:lnTo>
                  <a:pt x="1985" y="4540"/>
                </a:lnTo>
                <a:lnTo>
                  <a:pt x="1977" y="4518"/>
                </a:lnTo>
                <a:lnTo>
                  <a:pt x="1961" y="4498"/>
                </a:lnTo>
                <a:lnTo>
                  <a:pt x="1939" y="4488"/>
                </a:lnTo>
                <a:lnTo>
                  <a:pt x="1911" y="4492"/>
                </a:lnTo>
                <a:lnTo>
                  <a:pt x="1900" y="4502"/>
                </a:lnTo>
                <a:lnTo>
                  <a:pt x="1892" y="4514"/>
                </a:lnTo>
                <a:lnTo>
                  <a:pt x="1888" y="4528"/>
                </a:lnTo>
                <a:lnTo>
                  <a:pt x="1888" y="4540"/>
                </a:lnTo>
                <a:lnTo>
                  <a:pt x="1892" y="4553"/>
                </a:lnTo>
                <a:lnTo>
                  <a:pt x="1898" y="4565"/>
                </a:lnTo>
                <a:lnTo>
                  <a:pt x="1909" y="4575"/>
                </a:lnTo>
                <a:lnTo>
                  <a:pt x="1923" y="4581"/>
                </a:lnTo>
                <a:close/>
                <a:moveTo>
                  <a:pt x="1350" y="5320"/>
                </a:moveTo>
                <a:lnTo>
                  <a:pt x="1375" y="5364"/>
                </a:lnTo>
                <a:lnTo>
                  <a:pt x="1404" y="5374"/>
                </a:lnTo>
                <a:lnTo>
                  <a:pt x="1431" y="5359"/>
                </a:lnTo>
                <a:lnTo>
                  <a:pt x="1453" y="5330"/>
                </a:lnTo>
                <a:lnTo>
                  <a:pt x="1464" y="5294"/>
                </a:lnTo>
                <a:lnTo>
                  <a:pt x="1463" y="5262"/>
                </a:lnTo>
                <a:lnTo>
                  <a:pt x="1444" y="5243"/>
                </a:lnTo>
                <a:lnTo>
                  <a:pt x="1403" y="5248"/>
                </a:lnTo>
                <a:lnTo>
                  <a:pt x="1385" y="5264"/>
                </a:lnTo>
                <a:lnTo>
                  <a:pt x="1365" y="5278"/>
                </a:lnTo>
                <a:lnTo>
                  <a:pt x="1356" y="5286"/>
                </a:lnTo>
                <a:lnTo>
                  <a:pt x="1350" y="5295"/>
                </a:lnTo>
                <a:lnTo>
                  <a:pt x="1347" y="5307"/>
                </a:lnTo>
                <a:lnTo>
                  <a:pt x="1350" y="5320"/>
                </a:lnTo>
                <a:close/>
                <a:moveTo>
                  <a:pt x="1426" y="4740"/>
                </a:moveTo>
                <a:lnTo>
                  <a:pt x="1450" y="4752"/>
                </a:lnTo>
                <a:lnTo>
                  <a:pt x="1472" y="4753"/>
                </a:lnTo>
                <a:lnTo>
                  <a:pt x="1491" y="4747"/>
                </a:lnTo>
                <a:lnTo>
                  <a:pt x="1505" y="4734"/>
                </a:lnTo>
                <a:lnTo>
                  <a:pt x="1515" y="4716"/>
                </a:lnTo>
                <a:lnTo>
                  <a:pt x="1518" y="4696"/>
                </a:lnTo>
                <a:lnTo>
                  <a:pt x="1511" y="4674"/>
                </a:lnTo>
                <a:lnTo>
                  <a:pt x="1497" y="4654"/>
                </a:lnTo>
                <a:lnTo>
                  <a:pt x="1468" y="4633"/>
                </a:lnTo>
                <a:lnTo>
                  <a:pt x="1441" y="4627"/>
                </a:lnTo>
                <a:lnTo>
                  <a:pt x="1417" y="4631"/>
                </a:lnTo>
                <a:lnTo>
                  <a:pt x="1399" y="4645"/>
                </a:lnTo>
                <a:lnTo>
                  <a:pt x="1389" y="4664"/>
                </a:lnTo>
                <a:lnTo>
                  <a:pt x="1389" y="4688"/>
                </a:lnTo>
                <a:lnTo>
                  <a:pt x="1401" y="4715"/>
                </a:lnTo>
                <a:lnTo>
                  <a:pt x="1426" y="4740"/>
                </a:lnTo>
                <a:close/>
                <a:moveTo>
                  <a:pt x="946" y="4976"/>
                </a:moveTo>
                <a:lnTo>
                  <a:pt x="968" y="4957"/>
                </a:lnTo>
                <a:lnTo>
                  <a:pt x="976" y="4935"/>
                </a:lnTo>
                <a:lnTo>
                  <a:pt x="974" y="4911"/>
                </a:lnTo>
                <a:lnTo>
                  <a:pt x="964" y="4888"/>
                </a:lnTo>
                <a:lnTo>
                  <a:pt x="946" y="4869"/>
                </a:lnTo>
                <a:lnTo>
                  <a:pt x="923" y="4856"/>
                </a:lnTo>
                <a:lnTo>
                  <a:pt x="897" y="4854"/>
                </a:lnTo>
                <a:lnTo>
                  <a:pt x="871" y="4864"/>
                </a:lnTo>
                <a:lnTo>
                  <a:pt x="852" y="4883"/>
                </a:lnTo>
                <a:lnTo>
                  <a:pt x="843" y="4907"/>
                </a:lnTo>
                <a:lnTo>
                  <a:pt x="845" y="4931"/>
                </a:lnTo>
                <a:lnTo>
                  <a:pt x="855" y="4953"/>
                </a:lnTo>
                <a:lnTo>
                  <a:pt x="873" y="4972"/>
                </a:lnTo>
                <a:lnTo>
                  <a:pt x="895" y="4983"/>
                </a:lnTo>
                <a:lnTo>
                  <a:pt x="919" y="4985"/>
                </a:lnTo>
                <a:lnTo>
                  <a:pt x="946" y="4976"/>
                </a:lnTo>
                <a:close/>
                <a:moveTo>
                  <a:pt x="11529" y="2946"/>
                </a:moveTo>
                <a:lnTo>
                  <a:pt x="11524" y="2940"/>
                </a:lnTo>
                <a:lnTo>
                  <a:pt x="11518" y="2935"/>
                </a:lnTo>
                <a:lnTo>
                  <a:pt x="11516" y="2934"/>
                </a:lnTo>
                <a:lnTo>
                  <a:pt x="11513" y="2934"/>
                </a:lnTo>
                <a:lnTo>
                  <a:pt x="11511" y="2937"/>
                </a:lnTo>
                <a:lnTo>
                  <a:pt x="11508" y="2939"/>
                </a:lnTo>
                <a:lnTo>
                  <a:pt x="11512" y="2946"/>
                </a:lnTo>
                <a:lnTo>
                  <a:pt x="11517" y="2951"/>
                </a:lnTo>
                <a:lnTo>
                  <a:pt x="11520" y="2951"/>
                </a:lnTo>
                <a:lnTo>
                  <a:pt x="11522" y="2951"/>
                </a:lnTo>
                <a:lnTo>
                  <a:pt x="11525" y="2949"/>
                </a:lnTo>
                <a:lnTo>
                  <a:pt x="11529" y="2946"/>
                </a:lnTo>
                <a:close/>
                <a:moveTo>
                  <a:pt x="10767" y="1171"/>
                </a:moveTo>
                <a:lnTo>
                  <a:pt x="10762" y="1170"/>
                </a:lnTo>
                <a:lnTo>
                  <a:pt x="10759" y="1170"/>
                </a:lnTo>
                <a:lnTo>
                  <a:pt x="10757" y="1174"/>
                </a:lnTo>
                <a:lnTo>
                  <a:pt x="10756" y="1180"/>
                </a:lnTo>
                <a:lnTo>
                  <a:pt x="10762" y="1180"/>
                </a:lnTo>
                <a:lnTo>
                  <a:pt x="10766" y="1179"/>
                </a:lnTo>
                <a:lnTo>
                  <a:pt x="10767" y="1177"/>
                </a:lnTo>
                <a:lnTo>
                  <a:pt x="10767" y="1176"/>
                </a:lnTo>
                <a:lnTo>
                  <a:pt x="10767" y="1174"/>
                </a:lnTo>
                <a:lnTo>
                  <a:pt x="10767" y="1171"/>
                </a:lnTo>
                <a:close/>
                <a:moveTo>
                  <a:pt x="8747" y="127"/>
                </a:moveTo>
                <a:lnTo>
                  <a:pt x="8744" y="125"/>
                </a:lnTo>
                <a:lnTo>
                  <a:pt x="8741" y="125"/>
                </a:lnTo>
                <a:lnTo>
                  <a:pt x="8740" y="127"/>
                </a:lnTo>
                <a:lnTo>
                  <a:pt x="8740" y="132"/>
                </a:lnTo>
                <a:lnTo>
                  <a:pt x="8744" y="132"/>
                </a:lnTo>
                <a:lnTo>
                  <a:pt x="8746" y="132"/>
                </a:lnTo>
                <a:lnTo>
                  <a:pt x="8747" y="131"/>
                </a:lnTo>
                <a:lnTo>
                  <a:pt x="8749" y="130"/>
                </a:lnTo>
                <a:lnTo>
                  <a:pt x="8749" y="129"/>
                </a:lnTo>
                <a:lnTo>
                  <a:pt x="8747" y="127"/>
                </a:lnTo>
                <a:close/>
                <a:moveTo>
                  <a:pt x="12521" y="1688"/>
                </a:moveTo>
                <a:lnTo>
                  <a:pt x="12525" y="1688"/>
                </a:lnTo>
                <a:lnTo>
                  <a:pt x="12526" y="1687"/>
                </a:lnTo>
                <a:lnTo>
                  <a:pt x="12527" y="1685"/>
                </a:lnTo>
                <a:lnTo>
                  <a:pt x="12528" y="1683"/>
                </a:lnTo>
                <a:lnTo>
                  <a:pt x="12525" y="1683"/>
                </a:lnTo>
                <a:lnTo>
                  <a:pt x="12522" y="1683"/>
                </a:lnTo>
                <a:lnTo>
                  <a:pt x="12521" y="1684"/>
                </a:lnTo>
                <a:lnTo>
                  <a:pt x="12521" y="1688"/>
                </a:lnTo>
                <a:close/>
                <a:moveTo>
                  <a:pt x="12565" y="3167"/>
                </a:moveTo>
                <a:lnTo>
                  <a:pt x="12550" y="3173"/>
                </a:lnTo>
                <a:lnTo>
                  <a:pt x="12542" y="3170"/>
                </a:lnTo>
                <a:lnTo>
                  <a:pt x="12540" y="3159"/>
                </a:lnTo>
                <a:lnTo>
                  <a:pt x="12537" y="3149"/>
                </a:lnTo>
                <a:lnTo>
                  <a:pt x="12532" y="3142"/>
                </a:lnTo>
                <a:lnTo>
                  <a:pt x="12522" y="3144"/>
                </a:lnTo>
                <a:lnTo>
                  <a:pt x="12503" y="3159"/>
                </a:lnTo>
                <a:lnTo>
                  <a:pt x="12471" y="3192"/>
                </a:lnTo>
                <a:lnTo>
                  <a:pt x="12480" y="3200"/>
                </a:lnTo>
                <a:lnTo>
                  <a:pt x="12497" y="3204"/>
                </a:lnTo>
                <a:lnTo>
                  <a:pt x="12518" y="3204"/>
                </a:lnTo>
                <a:lnTo>
                  <a:pt x="12540" y="3201"/>
                </a:lnTo>
                <a:lnTo>
                  <a:pt x="12559" y="3196"/>
                </a:lnTo>
                <a:lnTo>
                  <a:pt x="12572" y="3189"/>
                </a:lnTo>
                <a:lnTo>
                  <a:pt x="12575" y="3178"/>
                </a:lnTo>
                <a:lnTo>
                  <a:pt x="12565" y="3167"/>
                </a:lnTo>
                <a:close/>
                <a:moveTo>
                  <a:pt x="10314" y="233"/>
                </a:moveTo>
                <a:lnTo>
                  <a:pt x="10311" y="233"/>
                </a:lnTo>
                <a:lnTo>
                  <a:pt x="10309" y="234"/>
                </a:lnTo>
                <a:lnTo>
                  <a:pt x="10307" y="237"/>
                </a:lnTo>
                <a:lnTo>
                  <a:pt x="10307" y="239"/>
                </a:lnTo>
                <a:lnTo>
                  <a:pt x="10311" y="241"/>
                </a:lnTo>
                <a:lnTo>
                  <a:pt x="10312" y="239"/>
                </a:lnTo>
                <a:lnTo>
                  <a:pt x="10314" y="237"/>
                </a:lnTo>
                <a:lnTo>
                  <a:pt x="10314" y="233"/>
                </a:lnTo>
                <a:close/>
                <a:moveTo>
                  <a:pt x="7056" y="1057"/>
                </a:moveTo>
                <a:lnTo>
                  <a:pt x="7054" y="1054"/>
                </a:lnTo>
                <a:lnTo>
                  <a:pt x="7051" y="1054"/>
                </a:lnTo>
                <a:lnTo>
                  <a:pt x="7050" y="1054"/>
                </a:lnTo>
                <a:lnTo>
                  <a:pt x="7047" y="1058"/>
                </a:lnTo>
                <a:lnTo>
                  <a:pt x="7050" y="1059"/>
                </a:lnTo>
                <a:lnTo>
                  <a:pt x="7052" y="1060"/>
                </a:lnTo>
                <a:lnTo>
                  <a:pt x="7055" y="1059"/>
                </a:lnTo>
                <a:lnTo>
                  <a:pt x="7056" y="1057"/>
                </a:lnTo>
                <a:close/>
                <a:moveTo>
                  <a:pt x="9357" y="727"/>
                </a:moveTo>
                <a:lnTo>
                  <a:pt x="9359" y="726"/>
                </a:lnTo>
                <a:lnTo>
                  <a:pt x="9362" y="720"/>
                </a:lnTo>
                <a:lnTo>
                  <a:pt x="9359" y="719"/>
                </a:lnTo>
                <a:lnTo>
                  <a:pt x="9356" y="719"/>
                </a:lnTo>
                <a:lnTo>
                  <a:pt x="9354" y="719"/>
                </a:lnTo>
                <a:lnTo>
                  <a:pt x="9352" y="720"/>
                </a:lnTo>
                <a:lnTo>
                  <a:pt x="9351" y="722"/>
                </a:lnTo>
                <a:lnTo>
                  <a:pt x="9352" y="724"/>
                </a:lnTo>
                <a:lnTo>
                  <a:pt x="9354" y="726"/>
                </a:lnTo>
                <a:lnTo>
                  <a:pt x="9357" y="727"/>
                </a:lnTo>
                <a:close/>
                <a:moveTo>
                  <a:pt x="7562" y="412"/>
                </a:moveTo>
                <a:lnTo>
                  <a:pt x="7558" y="411"/>
                </a:lnTo>
                <a:lnTo>
                  <a:pt x="7557" y="411"/>
                </a:lnTo>
                <a:lnTo>
                  <a:pt x="7555" y="412"/>
                </a:lnTo>
                <a:lnTo>
                  <a:pt x="7554" y="414"/>
                </a:lnTo>
                <a:lnTo>
                  <a:pt x="7554" y="416"/>
                </a:lnTo>
                <a:lnTo>
                  <a:pt x="7555" y="419"/>
                </a:lnTo>
                <a:lnTo>
                  <a:pt x="7558" y="421"/>
                </a:lnTo>
                <a:lnTo>
                  <a:pt x="7562" y="423"/>
                </a:lnTo>
                <a:lnTo>
                  <a:pt x="7562" y="416"/>
                </a:lnTo>
                <a:lnTo>
                  <a:pt x="7562" y="412"/>
                </a:lnTo>
                <a:close/>
                <a:moveTo>
                  <a:pt x="11795" y="1503"/>
                </a:moveTo>
                <a:lnTo>
                  <a:pt x="11790" y="1502"/>
                </a:lnTo>
                <a:lnTo>
                  <a:pt x="11787" y="1502"/>
                </a:lnTo>
                <a:lnTo>
                  <a:pt x="11785" y="1505"/>
                </a:lnTo>
                <a:lnTo>
                  <a:pt x="11783" y="1508"/>
                </a:lnTo>
                <a:lnTo>
                  <a:pt x="11787" y="1510"/>
                </a:lnTo>
                <a:lnTo>
                  <a:pt x="11791" y="1510"/>
                </a:lnTo>
                <a:lnTo>
                  <a:pt x="11792" y="1507"/>
                </a:lnTo>
                <a:lnTo>
                  <a:pt x="11795" y="1503"/>
                </a:lnTo>
                <a:close/>
                <a:moveTo>
                  <a:pt x="12714" y="1502"/>
                </a:moveTo>
                <a:lnTo>
                  <a:pt x="12716" y="1503"/>
                </a:lnTo>
                <a:lnTo>
                  <a:pt x="12718" y="1505"/>
                </a:lnTo>
                <a:lnTo>
                  <a:pt x="12719" y="1505"/>
                </a:lnTo>
                <a:lnTo>
                  <a:pt x="12721" y="1503"/>
                </a:lnTo>
                <a:lnTo>
                  <a:pt x="12722" y="1502"/>
                </a:lnTo>
                <a:lnTo>
                  <a:pt x="12723" y="1501"/>
                </a:lnTo>
                <a:lnTo>
                  <a:pt x="12723" y="1498"/>
                </a:lnTo>
                <a:lnTo>
                  <a:pt x="12722" y="1496"/>
                </a:lnTo>
                <a:lnTo>
                  <a:pt x="12718" y="1494"/>
                </a:lnTo>
                <a:lnTo>
                  <a:pt x="12716" y="1496"/>
                </a:lnTo>
                <a:lnTo>
                  <a:pt x="12713" y="1498"/>
                </a:lnTo>
                <a:lnTo>
                  <a:pt x="12714" y="1502"/>
                </a:lnTo>
                <a:close/>
                <a:moveTo>
                  <a:pt x="11741" y="631"/>
                </a:moveTo>
                <a:lnTo>
                  <a:pt x="11739" y="631"/>
                </a:lnTo>
                <a:lnTo>
                  <a:pt x="11736" y="630"/>
                </a:lnTo>
                <a:lnTo>
                  <a:pt x="11734" y="631"/>
                </a:lnTo>
                <a:lnTo>
                  <a:pt x="11734" y="635"/>
                </a:lnTo>
                <a:lnTo>
                  <a:pt x="11736" y="636"/>
                </a:lnTo>
                <a:lnTo>
                  <a:pt x="11739" y="636"/>
                </a:lnTo>
                <a:lnTo>
                  <a:pt x="11740" y="634"/>
                </a:lnTo>
                <a:lnTo>
                  <a:pt x="11741" y="631"/>
                </a:lnTo>
                <a:close/>
                <a:moveTo>
                  <a:pt x="11204" y="3278"/>
                </a:moveTo>
                <a:lnTo>
                  <a:pt x="11205" y="3282"/>
                </a:lnTo>
                <a:lnTo>
                  <a:pt x="11206" y="3285"/>
                </a:lnTo>
                <a:lnTo>
                  <a:pt x="11206" y="3287"/>
                </a:lnTo>
                <a:lnTo>
                  <a:pt x="11208" y="3287"/>
                </a:lnTo>
                <a:lnTo>
                  <a:pt x="11209" y="3287"/>
                </a:lnTo>
                <a:lnTo>
                  <a:pt x="11212" y="3287"/>
                </a:lnTo>
                <a:lnTo>
                  <a:pt x="11212" y="3283"/>
                </a:lnTo>
                <a:lnTo>
                  <a:pt x="11210" y="3280"/>
                </a:lnTo>
                <a:lnTo>
                  <a:pt x="11208" y="3279"/>
                </a:lnTo>
                <a:lnTo>
                  <a:pt x="11204" y="3278"/>
                </a:lnTo>
                <a:close/>
                <a:moveTo>
                  <a:pt x="10037" y="981"/>
                </a:moveTo>
                <a:lnTo>
                  <a:pt x="10036" y="985"/>
                </a:lnTo>
                <a:lnTo>
                  <a:pt x="10034" y="989"/>
                </a:lnTo>
                <a:lnTo>
                  <a:pt x="10034" y="992"/>
                </a:lnTo>
                <a:lnTo>
                  <a:pt x="10034" y="993"/>
                </a:lnTo>
                <a:lnTo>
                  <a:pt x="10035" y="994"/>
                </a:lnTo>
                <a:lnTo>
                  <a:pt x="10037" y="995"/>
                </a:lnTo>
                <a:lnTo>
                  <a:pt x="10039" y="992"/>
                </a:lnTo>
                <a:lnTo>
                  <a:pt x="10041" y="988"/>
                </a:lnTo>
                <a:lnTo>
                  <a:pt x="10041" y="985"/>
                </a:lnTo>
                <a:lnTo>
                  <a:pt x="10041" y="984"/>
                </a:lnTo>
                <a:lnTo>
                  <a:pt x="10040" y="983"/>
                </a:lnTo>
                <a:lnTo>
                  <a:pt x="10037" y="981"/>
                </a:lnTo>
                <a:close/>
                <a:moveTo>
                  <a:pt x="11643" y="540"/>
                </a:moveTo>
                <a:lnTo>
                  <a:pt x="11648" y="540"/>
                </a:lnTo>
                <a:lnTo>
                  <a:pt x="11652" y="538"/>
                </a:lnTo>
                <a:lnTo>
                  <a:pt x="11655" y="537"/>
                </a:lnTo>
                <a:lnTo>
                  <a:pt x="11656" y="536"/>
                </a:lnTo>
                <a:lnTo>
                  <a:pt x="11656" y="533"/>
                </a:lnTo>
                <a:lnTo>
                  <a:pt x="11656" y="531"/>
                </a:lnTo>
                <a:lnTo>
                  <a:pt x="11651" y="530"/>
                </a:lnTo>
                <a:lnTo>
                  <a:pt x="11647" y="530"/>
                </a:lnTo>
                <a:lnTo>
                  <a:pt x="11645" y="532"/>
                </a:lnTo>
                <a:lnTo>
                  <a:pt x="11643" y="540"/>
                </a:lnTo>
                <a:close/>
                <a:moveTo>
                  <a:pt x="8246" y="234"/>
                </a:moveTo>
                <a:lnTo>
                  <a:pt x="8241" y="232"/>
                </a:lnTo>
                <a:lnTo>
                  <a:pt x="8235" y="228"/>
                </a:lnTo>
                <a:lnTo>
                  <a:pt x="8233" y="227"/>
                </a:lnTo>
                <a:lnTo>
                  <a:pt x="8230" y="227"/>
                </a:lnTo>
                <a:lnTo>
                  <a:pt x="8229" y="228"/>
                </a:lnTo>
                <a:lnTo>
                  <a:pt x="8228" y="230"/>
                </a:lnTo>
                <a:lnTo>
                  <a:pt x="8233" y="233"/>
                </a:lnTo>
                <a:lnTo>
                  <a:pt x="8238" y="237"/>
                </a:lnTo>
                <a:lnTo>
                  <a:pt x="8241" y="238"/>
                </a:lnTo>
                <a:lnTo>
                  <a:pt x="8242" y="238"/>
                </a:lnTo>
                <a:lnTo>
                  <a:pt x="8244" y="237"/>
                </a:lnTo>
                <a:lnTo>
                  <a:pt x="8246" y="234"/>
                </a:lnTo>
                <a:close/>
                <a:moveTo>
                  <a:pt x="12835" y="1036"/>
                </a:moveTo>
                <a:lnTo>
                  <a:pt x="12829" y="1037"/>
                </a:lnTo>
                <a:lnTo>
                  <a:pt x="12835" y="1036"/>
                </a:lnTo>
                <a:lnTo>
                  <a:pt x="12835" y="1032"/>
                </a:lnTo>
                <a:lnTo>
                  <a:pt x="12833" y="1031"/>
                </a:lnTo>
                <a:lnTo>
                  <a:pt x="12830" y="1031"/>
                </a:lnTo>
                <a:lnTo>
                  <a:pt x="12828" y="1031"/>
                </a:lnTo>
                <a:lnTo>
                  <a:pt x="12826" y="1032"/>
                </a:lnTo>
                <a:lnTo>
                  <a:pt x="12826" y="1034"/>
                </a:lnTo>
                <a:lnTo>
                  <a:pt x="12829" y="1035"/>
                </a:lnTo>
                <a:lnTo>
                  <a:pt x="12835" y="1036"/>
                </a:lnTo>
                <a:close/>
                <a:moveTo>
                  <a:pt x="12680" y="1450"/>
                </a:moveTo>
                <a:lnTo>
                  <a:pt x="12682" y="1447"/>
                </a:lnTo>
                <a:lnTo>
                  <a:pt x="12684" y="1445"/>
                </a:lnTo>
                <a:lnTo>
                  <a:pt x="12682" y="1443"/>
                </a:lnTo>
                <a:lnTo>
                  <a:pt x="12681" y="1442"/>
                </a:lnTo>
                <a:lnTo>
                  <a:pt x="12680" y="1441"/>
                </a:lnTo>
                <a:lnTo>
                  <a:pt x="12677" y="1442"/>
                </a:lnTo>
                <a:lnTo>
                  <a:pt x="12676" y="1443"/>
                </a:lnTo>
                <a:lnTo>
                  <a:pt x="12675" y="1447"/>
                </a:lnTo>
                <a:lnTo>
                  <a:pt x="12679" y="1450"/>
                </a:lnTo>
                <a:lnTo>
                  <a:pt x="12680" y="1450"/>
                </a:lnTo>
                <a:close/>
                <a:moveTo>
                  <a:pt x="11446" y="3226"/>
                </a:moveTo>
                <a:lnTo>
                  <a:pt x="11446" y="3231"/>
                </a:lnTo>
                <a:lnTo>
                  <a:pt x="11447" y="3234"/>
                </a:lnTo>
                <a:lnTo>
                  <a:pt x="11447" y="3236"/>
                </a:lnTo>
                <a:lnTo>
                  <a:pt x="11448" y="3236"/>
                </a:lnTo>
                <a:lnTo>
                  <a:pt x="11451" y="3236"/>
                </a:lnTo>
                <a:lnTo>
                  <a:pt x="11454" y="3234"/>
                </a:lnTo>
                <a:lnTo>
                  <a:pt x="11452" y="3231"/>
                </a:lnTo>
                <a:lnTo>
                  <a:pt x="11451" y="3227"/>
                </a:lnTo>
                <a:lnTo>
                  <a:pt x="11451" y="3226"/>
                </a:lnTo>
                <a:lnTo>
                  <a:pt x="11450" y="3224"/>
                </a:lnTo>
                <a:lnTo>
                  <a:pt x="11448" y="3224"/>
                </a:lnTo>
                <a:lnTo>
                  <a:pt x="11446" y="3226"/>
                </a:lnTo>
                <a:close/>
                <a:moveTo>
                  <a:pt x="9835" y="751"/>
                </a:moveTo>
                <a:lnTo>
                  <a:pt x="9837" y="754"/>
                </a:lnTo>
                <a:lnTo>
                  <a:pt x="9845" y="755"/>
                </a:lnTo>
                <a:lnTo>
                  <a:pt x="9845" y="750"/>
                </a:lnTo>
                <a:lnTo>
                  <a:pt x="9844" y="746"/>
                </a:lnTo>
                <a:lnTo>
                  <a:pt x="9843" y="743"/>
                </a:lnTo>
                <a:lnTo>
                  <a:pt x="9840" y="742"/>
                </a:lnTo>
                <a:lnTo>
                  <a:pt x="9837" y="742"/>
                </a:lnTo>
                <a:lnTo>
                  <a:pt x="9836" y="743"/>
                </a:lnTo>
                <a:lnTo>
                  <a:pt x="9835" y="746"/>
                </a:lnTo>
                <a:lnTo>
                  <a:pt x="9835" y="751"/>
                </a:lnTo>
                <a:close/>
                <a:moveTo>
                  <a:pt x="8766" y="694"/>
                </a:moveTo>
                <a:lnTo>
                  <a:pt x="8761" y="687"/>
                </a:lnTo>
                <a:lnTo>
                  <a:pt x="8758" y="680"/>
                </a:lnTo>
                <a:lnTo>
                  <a:pt x="8756" y="677"/>
                </a:lnTo>
                <a:lnTo>
                  <a:pt x="8754" y="675"/>
                </a:lnTo>
                <a:lnTo>
                  <a:pt x="8751" y="672"/>
                </a:lnTo>
                <a:lnTo>
                  <a:pt x="8749" y="671"/>
                </a:lnTo>
                <a:lnTo>
                  <a:pt x="8752" y="677"/>
                </a:lnTo>
                <a:lnTo>
                  <a:pt x="8758" y="685"/>
                </a:lnTo>
                <a:lnTo>
                  <a:pt x="8759" y="687"/>
                </a:lnTo>
                <a:lnTo>
                  <a:pt x="8761" y="691"/>
                </a:lnTo>
                <a:lnTo>
                  <a:pt x="8764" y="692"/>
                </a:lnTo>
                <a:lnTo>
                  <a:pt x="8766" y="694"/>
                </a:lnTo>
                <a:close/>
                <a:moveTo>
                  <a:pt x="13402" y="2018"/>
                </a:moveTo>
                <a:lnTo>
                  <a:pt x="13403" y="2015"/>
                </a:lnTo>
                <a:lnTo>
                  <a:pt x="13402" y="2012"/>
                </a:lnTo>
                <a:lnTo>
                  <a:pt x="13401" y="2011"/>
                </a:lnTo>
                <a:lnTo>
                  <a:pt x="13399" y="2010"/>
                </a:lnTo>
                <a:lnTo>
                  <a:pt x="13394" y="2010"/>
                </a:lnTo>
                <a:lnTo>
                  <a:pt x="13388" y="2010"/>
                </a:lnTo>
                <a:lnTo>
                  <a:pt x="13388" y="2014"/>
                </a:lnTo>
                <a:lnTo>
                  <a:pt x="13388" y="2015"/>
                </a:lnTo>
                <a:lnTo>
                  <a:pt x="13391" y="2016"/>
                </a:lnTo>
                <a:lnTo>
                  <a:pt x="13392" y="2016"/>
                </a:lnTo>
                <a:lnTo>
                  <a:pt x="13397" y="2018"/>
                </a:lnTo>
                <a:lnTo>
                  <a:pt x="13402" y="2018"/>
                </a:lnTo>
                <a:close/>
                <a:moveTo>
                  <a:pt x="13133" y="1701"/>
                </a:moveTo>
                <a:lnTo>
                  <a:pt x="13128" y="1698"/>
                </a:lnTo>
                <a:lnTo>
                  <a:pt x="13122" y="1693"/>
                </a:lnTo>
                <a:lnTo>
                  <a:pt x="13119" y="1692"/>
                </a:lnTo>
                <a:lnTo>
                  <a:pt x="13117" y="1692"/>
                </a:lnTo>
                <a:lnTo>
                  <a:pt x="13115" y="1694"/>
                </a:lnTo>
                <a:lnTo>
                  <a:pt x="13114" y="1697"/>
                </a:lnTo>
                <a:lnTo>
                  <a:pt x="13119" y="1699"/>
                </a:lnTo>
                <a:lnTo>
                  <a:pt x="13126" y="1703"/>
                </a:lnTo>
                <a:lnTo>
                  <a:pt x="13128" y="1704"/>
                </a:lnTo>
                <a:lnTo>
                  <a:pt x="13131" y="1704"/>
                </a:lnTo>
                <a:lnTo>
                  <a:pt x="13132" y="1703"/>
                </a:lnTo>
                <a:lnTo>
                  <a:pt x="13133" y="1701"/>
                </a:lnTo>
                <a:close/>
                <a:moveTo>
                  <a:pt x="13831" y="2898"/>
                </a:moveTo>
                <a:lnTo>
                  <a:pt x="13838" y="2898"/>
                </a:lnTo>
                <a:lnTo>
                  <a:pt x="13841" y="2897"/>
                </a:lnTo>
                <a:lnTo>
                  <a:pt x="13844" y="2895"/>
                </a:lnTo>
                <a:lnTo>
                  <a:pt x="13845" y="2888"/>
                </a:lnTo>
                <a:lnTo>
                  <a:pt x="13839" y="2888"/>
                </a:lnTo>
                <a:lnTo>
                  <a:pt x="13835" y="2890"/>
                </a:lnTo>
                <a:lnTo>
                  <a:pt x="13834" y="2891"/>
                </a:lnTo>
                <a:lnTo>
                  <a:pt x="13832" y="2892"/>
                </a:lnTo>
                <a:lnTo>
                  <a:pt x="13831" y="2895"/>
                </a:lnTo>
                <a:lnTo>
                  <a:pt x="13831" y="2898"/>
                </a:lnTo>
                <a:close/>
                <a:moveTo>
                  <a:pt x="12954" y="2300"/>
                </a:moveTo>
                <a:lnTo>
                  <a:pt x="12949" y="2305"/>
                </a:lnTo>
                <a:lnTo>
                  <a:pt x="12942" y="2310"/>
                </a:lnTo>
                <a:lnTo>
                  <a:pt x="12940" y="2313"/>
                </a:lnTo>
                <a:lnTo>
                  <a:pt x="12938" y="2315"/>
                </a:lnTo>
                <a:lnTo>
                  <a:pt x="12938" y="2318"/>
                </a:lnTo>
                <a:lnTo>
                  <a:pt x="12940" y="2321"/>
                </a:lnTo>
                <a:lnTo>
                  <a:pt x="12945" y="2315"/>
                </a:lnTo>
                <a:lnTo>
                  <a:pt x="12952" y="2310"/>
                </a:lnTo>
                <a:lnTo>
                  <a:pt x="12955" y="2308"/>
                </a:lnTo>
                <a:lnTo>
                  <a:pt x="12956" y="2305"/>
                </a:lnTo>
                <a:lnTo>
                  <a:pt x="12956" y="2303"/>
                </a:lnTo>
                <a:lnTo>
                  <a:pt x="12954" y="2300"/>
                </a:lnTo>
                <a:close/>
                <a:moveTo>
                  <a:pt x="13168" y="2074"/>
                </a:moveTo>
                <a:lnTo>
                  <a:pt x="13160" y="2072"/>
                </a:lnTo>
                <a:lnTo>
                  <a:pt x="13154" y="2071"/>
                </a:lnTo>
                <a:lnTo>
                  <a:pt x="13150" y="2071"/>
                </a:lnTo>
                <a:lnTo>
                  <a:pt x="13147" y="2072"/>
                </a:lnTo>
                <a:lnTo>
                  <a:pt x="13146" y="2074"/>
                </a:lnTo>
                <a:lnTo>
                  <a:pt x="13146" y="2077"/>
                </a:lnTo>
                <a:lnTo>
                  <a:pt x="13152" y="2079"/>
                </a:lnTo>
                <a:lnTo>
                  <a:pt x="13160" y="2080"/>
                </a:lnTo>
                <a:lnTo>
                  <a:pt x="13163" y="2080"/>
                </a:lnTo>
                <a:lnTo>
                  <a:pt x="13165" y="2079"/>
                </a:lnTo>
                <a:lnTo>
                  <a:pt x="13166" y="2077"/>
                </a:lnTo>
                <a:lnTo>
                  <a:pt x="13168" y="2074"/>
                </a:lnTo>
                <a:close/>
                <a:moveTo>
                  <a:pt x="11032" y="4459"/>
                </a:moveTo>
                <a:lnTo>
                  <a:pt x="11031" y="4456"/>
                </a:lnTo>
                <a:lnTo>
                  <a:pt x="11028" y="4455"/>
                </a:lnTo>
                <a:lnTo>
                  <a:pt x="11026" y="4455"/>
                </a:lnTo>
                <a:lnTo>
                  <a:pt x="11023" y="4455"/>
                </a:lnTo>
                <a:lnTo>
                  <a:pt x="11021" y="4456"/>
                </a:lnTo>
                <a:lnTo>
                  <a:pt x="11019" y="4458"/>
                </a:lnTo>
                <a:lnTo>
                  <a:pt x="11018" y="4460"/>
                </a:lnTo>
                <a:lnTo>
                  <a:pt x="11019" y="4464"/>
                </a:lnTo>
                <a:lnTo>
                  <a:pt x="11022" y="4467"/>
                </a:lnTo>
                <a:lnTo>
                  <a:pt x="11026" y="4469"/>
                </a:lnTo>
                <a:lnTo>
                  <a:pt x="11029" y="4469"/>
                </a:lnTo>
                <a:lnTo>
                  <a:pt x="11032" y="4470"/>
                </a:lnTo>
                <a:lnTo>
                  <a:pt x="11035" y="4469"/>
                </a:lnTo>
                <a:lnTo>
                  <a:pt x="11036" y="4467"/>
                </a:lnTo>
                <a:lnTo>
                  <a:pt x="11036" y="4463"/>
                </a:lnTo>
                <a:lnTo>
                  <a:pt x="11032" y="4459"/>
                </a:lnTo>
                <a:close/>
                <a:moveTo>
                  <a:pt x="11454" y="4725"/>
                </a:moveTo>
                <a:lnTo>
                  <a:pt x="11459" y="4726"/>
                </a:lnTo>
                <a:lnTo>
                  <a:pt x="11462" y="4726"/>
                </a:lnTo>
                <a:lnTo>
                  <a:pt x="11465" y="4725"/>
                </a:lnTo>
                <a:lnTo>
                  <a:pt x="11466" y="4723"/>
                </a:lnTo>
                <a:lnTo>
                  <a:pt x="11465" y="4719"/>
                </a:lnTo>
                <a:lnTo>
                  <a:pt x="11464" y="4716"/>
                </a:lnTo>
                <a:lnTo>
                  <a:pt x="11460" y="4714"/>
                </a:lnTo>
                <a:lnTo>
                  <a:pt x="11454" y="4712"/>
                </a:lnTo>
                <a:lnTo>
                  <a:pt x="11452" y="4720"/>
                </a:lnTo>
                <a:lnTo>
                  <a:pt x="11454" y="4725"/>
                </a:lnTo>
                <a:close/>
                <a:moveTo>
                  <a:pt x="11780" y="1685"/>
                </a:moveTo>
                <a:lnTo>
                  <a:pt x="11777" y="1688"/>
                </a:lnTo>
                <a:lnTo>
                  <a:pt x="11777" y="1692"/>
                </a:lnTo>
                <a:lnTo>
                  <a:pt x="11777" y="1694"/>
                </a:lnTo>
                <a:lnTo>
                  <a:pt x="11778" y="1697"/>
                </a:lnTo>
                <a:lnTo>
                  <a:pt x="11780" y="1699"/>
                </a:lnTo>
                <a:lnTo>
                  <a:pt x="11782" y="1701"/>
                </a:lnTo>
                <a:lnTo>
                  <a:pt x="11785" y="1701"/>
                </a:lnTo>
                <a:lnTo>
                  <a:pt x="11788" y="1699"/>
                </a:lnTo>
                <a:lnTo>
                  <a:pt x="11790" y="1697"/>
                </a:lnTo>
                <a:lnTo>
                  <a:pt x="11790" y="1694"/>
                </a:lnTo>
                <a:lnTo>
                  <a:pt x="11790" y="1690"/>
                </a:lnTo>
                <a:lnTo>
                  <a:pt x="11788" y="1688"/>
                </a:lnTo>
                <a:lnTo>
                  <a:pt x="11787" y="1687"/>
                </a:lnTo>
                <a:lnTo>
                  <a:pt x="11785" y="1685"/>
                </a:lnTo>
                <a:lnTo>
                  <a:pt x="11782" y="1684"/>
                </a:lnTo>
                <a:lnTo>
                  <a:pt x="11780" y="1685"/>
                </a:lnTo>
                <a:close/>
                <a:moveTo>
                  <a:pt x="11157" y="519"/>
                </a:moveTo>
                <a:lnTo>
                  <a:pt x="11152" y="524"/>
                </a:lnTo>
                <a:lnTo>
                  <a:pt x="11150" y="524"/>
                </a:lnTo>
                <a:lnTo>
                  <a:pt x="11153" y="523"/>
                </a:lnTo>
                <a:lnTo>
                  <a:pt x="11157" y="519"/>
                </a:lnTo>
                <a:lnTo>
                  <a:pt x="11154" y="516"/>
                </a:lnTo>
                <a:lnTo>
                  <a:pt x="11150" y="516"/>
                </a:lnTo>
                <a:lnTo>
                  <a:pt x="11147" y="517"/>
                </a:lnTo>
                <a:lnTo>
                  <a:pt x="11144" y="519"/>
                </a:lnTo>
                <a:lnTo>
                  <a:pt x="11143" y="521"/>
                </a:lnTo>
                <a:lnTo>
                  <a:pt x="11144" y="522"/>
                </a:lnTo>
                <a:lnTo>
                  <a:pt x="11148" y="522"/>
                </a:lnTo>
                <a:lnTo>
                  <a:pt x="11157" y="519"/>
                </a:lnTo>
                <a:close/>
                <a:moveTo>
                  <a:pt x="9938" y="858"/>
                </a:moveTo>
                <a:lnTo>
                  <a:pt x="9927" y="859"/>
                </a:lnTo>
                <a:lnTo>
                  <a:pt x="9915" y="860"/>
                </a:lnTo>
                <a:lnTo>
                  <a:pt x="9918" y="863"/>
                </a:lnTo>
                <a:lnTo>
                  <a:pt x="9922" y="866"/>
                </a:lnTo>
                <a:lnTo>
                  <a:pt x="9924" y="868"/>
                </a:lnTo>
                <a:lnTo>
                  <a:pt x="9928" y="868"/>
                </a:lnTo>
                <a:lnTo>
                  <a:pt x="9930" y="868"/>
                </a:lnTo>
                <a:lnTo>
                  <a:pt x="9933" y="866"/>
                </a:lnTo>
                <a:lnTo>
                  <a:pt x="9936" y="863"/>
                </a:lnTo>
                <a:lnTo>
                  <a:pt x="9938" y="858"/>
                </a:lnTo>
                <a:close/>
                <a:moveTo>
                  <a:pt x="9784" y="775"/>
                </a:moveTo>
                <a:lnTo>
                  <a:pt x="9780" y="771"/>
                </a:lnTo>
                <a:lnTo>
                  <a:pt x="9776" y="770"/>
                </a:lnTo>
                <a:lnTo>
                  <a:pt x="9773" y="771"/>
                </a:lnTo>
                <a:lnTo>
                  <a:pt x="9770" y="774"/>
                </a:lnTo>
                <a:lnTo>
                  <a:pt x="9769" y="778"/>
                </a:lnTo>
                <a:lnTo>
                  <a:pt x="9767" y="782"/>
                </a:lnTo>
                <a:lnTo>
                  <a:pt x="9769" y="787"/>
                </a:lnTo>
                <a:lnTo>
                  <a:pt x="9770" y="790"/>
                </a:lnTo>
                <a:lnTo>
                  <a:pt x="9770" y="790"/>
                </a:lnTo>
                <a:lnTo>
                  <a:pt x="9770" y="790"/>
                </a:lnTo>
                <a:lnTo>
                  <a:pt x="9770" y="790"/>
                </a:lnTo>
                <a:lnTo>
                  <a:pt x="9770" y="790"/>
                </a:lnTo>
                <a:lnTo>
                  <a:pt x="9776" y="789"/>
                </a:lnTo>
                <a:lnTo>
                  <a:pt x="9780" y="787"/>
                </a:lnTo>
                <a:lnTo>
                  <a:pt x="9783" y="784"/>
                </a:lnTo>
                <a:lnTo>
                  <a:pt x="9784" y="782"/>
                </a:lnTo>
                <a:lnTo>
                  <a:pt x="9784" y="779"/>
                </a:lnTo>
                <a:lnTo>
                  <a:pt x="9784" y="775"/>
                </a:lnTo>
                <a:close/>
                <a:moveTo>
                  <a:pt x="11424" y="3232"/>
                </a:moveTo>
                <a:lnTo>
                  <a:pt x="11415" y="3243"/>
                </a:lnTo>
                <a:lnTo>
                  <a:pt x="11406" y="3254"/>
                </a:lnTo>
                <a:lnTo>
                  <a:pt x="11418" y="3252"/>
                </a:lnTo>
                <a:lnTo>
                  <a:pt x="11424" y="3250"/>
                </a:lnTo>
                <a:lnTo>
                  <a:pt x="11424" y="3247"/>
                </a:lnTo>
                <a:lnTo>
                  <a:pt x="11426" y="3243"/>
                </a:lnTo>
                <a:lnTo>
                  <a:pt x="11426" y="3238"/>
                </a:lnTo>
                <a:lnTo>
                  <a:pt x="11424" y="3232"/>
                </a:lnTo>
                <a:close/>
                <a:moveTo>
                  <a:pt x="10389" y="538"/>
                </a:moveTo>
                <a:lnTo>
                  <a:pt x="10386" y="547"/>
                </a:lnTo>
                <a:lnTo>
                  <a:pt x="10385" y="555"/>
                </a:lnTo>
                <a:lnTo>
                  <a:pt x="10385" y="559"/>
                </a:lnTo>
                <a:lnTo>
                  <a:pt x="10386" y="561"/>
                </a:lnTo>
                <a:lnTo>
                  <a:pt x="10389" y="565"/>
                </a:lnTo>
                <a:lnTo>
                  <a:pt x="10391" y="569"/>
                </a:lnTo>
                <a:lnTo>
                  <a:pt x="10395" y="561"/>
                </a:lnTo>
                <a:lnTo>
                  <a:pt x="10397" y="554"/>
                </a:lnTo>
                <a:lnTo>
                  <a:pt x="10397" y="550"/>
                </a:lnTo>
                <a:lnTo>
                  <a:pt x="10394" y="546"/>
                </a:lnTo>
                <a:lnTo>
                  <a:pt x="10393" y="542"/>
                </a:lnTo>
                <a:lnTo>
                  <a:pt x="10389" y="538"/>
                </a:lnTo>
                <a:close/>
                <a:moveTo>
                  <a:pt x="12784" y="4384"/>
                </a:moveTo>
                <a:lnTo>
                  <a:pt x="12788" y="4390"/>
                </a:lnTo>
                <a:lnTo>
                  <a:pt x="12792" y="4394"/>
                </a:lnTo>
                <a:lnTo>
                  <a:pt x="12795" y="4395"/>
                </a:lnTo>
                <a:lnTo>
                  <a:pt x="12798" y="4394"/>
                </a:lnTo>
                <a:lnTo>
                  <a:pt x="12798" y="4392"/>
                </a:lnTo>
                <a:lnTo>
                  <a:pt x="12798" y="4388"/>
                </a:lnTo>
                <a:lnTo>
                  <a:pt x="12795" y="4383"/>
                </a:lnTo>
                <a:lnTo>
                  <a:pt x="12789" y="4379"/>
                </a:lnTo>
                <a:lnTo>
                  <a:pt x="12787" y="4381"/>
                </a:lnTo>
                <a:lnTo>
                  <a:pt x="12784" y="4384"/>
                </a:lnTo>
                <a:close/>
                <a:moveTo>
                  <a:pt x="12362" y="3332"/>
                </a:moveTo>
                <a:lnTo>
                  <a:pt x="12364" y="3329"/>
                </a:lnTo>
                <a:lnTo>
                  <a:pt x="12364" y="3326"/>
                </a:lnTo>
                <a:lnTo>
                  <a:pt x="12364" y="3324"/>
                </a:lnTo>
                <a:lnTo>
                  <a:pt x="12362" y="3322"/>
                </a:lnTo>
                <a:lnTo>
                  <a:pt x="12354" y="3317"/>
                </a:lnTo>
                <a:lnTo>
                  <a:pt x="12346" y="3311"/>
                </a:lnTo>
                <a:lnTo>
                  <a:pt x="12345" y="3317"/>
                </a:lnTo>
                <a:lnTo>
                  <a:pt x="12346" y="3322"/>
                </a:lnTo>
                <a:lnTo>
                  <a:pt x="12346" y="3326"/>
                </a:lnTo>
                <a:lnTo>
                  <a:pt x="12349" y="3330"/>
                </a:lnTo>
                <a:lnTo>
                  <a:pt x="12351" y="3331"/>
                </a:lnTo>
                <a:lnTo>
                  <a:pt x="12354" y="3332"/>
                </a:lnTo>
                <a:lnTo>
                  <a:pt x="12356" y="3332"/>
                </a:lnTo>
                <a:lnTo>
                  <a:pt x="12362" y="3332"/>
                </a:lnTo>
                <a:close/>
                <a:moveTo>
                  <a:pt x="12437" y="1170"/>
                </a:moveTo>
                <a:lnTo>
                  <a:pt x="12426" y="1174"/>
                </a:lnTo>
                <a:lnTo>
                  <a:pt x="12437" y="1170"/>
                </a:lnTo>
                <a:lnTo>
                  <a:pt x="12435" y="1166"/>
                </a:lnTo>
                <a:lnTo>
                  <a:pt x="12432" y="1163"/>
                </a:lnTo>
                <a:lnTo>
                  <a:pt x="12426" y="1163"/>
                </a:lnTo>
                <a:lnTo>
                  <a:pt x="12423" y="1165"/>
                </a:lnTo>
                <a:lnTo>
                  <a:pt x="12420" y="1166"/>
                </a:lnTo>
                <a:lnTo>
                  <a:pt x="12420" y="1167"/>
                </a:lnTo>
                <a:lnTo>
                  <a:pt x="12425" y="1169"/>
                </a:lnTo>
                <a:lnTo>
                  <a:pt x="12437" y="1170"/>
                </a:lnTo>
                <a:close/>
                <a:moveTo>
                  <a:pt x="9238" y="233"/>
                </a:moveTo>
                <a:lnTo>
                  <a:pt x="9231" y="228"/>
                </a:lnTo>
                <a:lnTo>
                  <a:pt x="9226" y="221"/>
                </a:lnTo>
                <a:lnTo>
                  <a:pt x="9224" y="219"/>
                </a:lnTo>
                <a:lnTo>
                  <a:pt x="9220" y="218"/>
                </a:lnTo>
                <a:lnTo>
                  <a:pt x="9217" y="219"/>
                </a:lnTo>
                <a:lnTo>
                  <a:pt x="9215" y="223"/>
                </a:lnTo>
                <a:lnTo>
                  <a:pt x="9220" y="228"/>
                </a:lnTo>
                <a:lnTo>
                  <a:pt x="9226" y="234"/>
                </a:lnTo>
                <a:lnTo>
                  <a:pt x="9229" y="237"/>
                </a:lnTo>
                <a:lnTo>
                  <a:pt x="9231" y="238"/>
                </a:lnTo>
                <a:lnTo>
                  <a:pt x="9234" y="237"/>
                </a:lnTo>
                <a:lnTo>
                  <a:pt x="9238" y="233"/>
                </a:lnTo>
                <a:close/>
                <a:moveTo>
                  <a:pt x="13868" y="2968"/>
                </a:moveTo>
                <a:lnTo>
                  <a:pt x="13866" y="2971"/>
                </a:lnTo>
                <a:lnTo>
                  <a:pt x="13864" y="2974"/>
                </a:lnTo>
                <a:lnTo>
                  <a:pt x="13863" y="2976"/>
                </a:lnTo>
                <a:lnTo>
                  <a:pt x="13864" y="2979"/>
                </a:lnTo>
                <a:lnTo>
                  <a:pt x="13868" y="2984"/>
                </a:lnTo>
                <a:lnTo>
                  <a:pt x="13876" y="2990"/>
                </a:lnTo>
                <a:lnTo>
                  <a:pt x="13878" y="2981"/>
                </a:lnTo>
                <a:lnTo>
                  <a:pt x="13878" y="2974"/>
                </a:lnTo>
                <a:lnTo>
                  <a:pt x="13878" y="2971"/>
                </a:lnTo>
                <a:lnTo>
                  <a:pt x="13876" y="2968"/>
                </a:lnTo>
                <a:lnTo>
                  <a:pt x="13873" y="2967"/>
                </a:lnTo>
                <a:lnTo>
                  <a:pt x="13868" y="2968"/>
                </a:lnTo>
                <a:close/>
                <a:moveTo>
                  <a:pt x="13778" y="3189"/>
                </a:moveTo>
                <a:lnTo>
                  <a:pt x="13785" y="3192"/>
                </a:lnTo>
                <a:lnTo>
                  <a:pt x="13796" y="3196"/>
                </a:lnTo>
                <a:lnTo>
                  <a:pt x="13796" y="3190"/>
                </a:lnTo>
                <a:lnTo>
                  <a:pt x="13794" y="3185"/>
                </a:lnTo>
                <a:lnTo>
                  <a:pt x="13792" y="3181"/>
                </a:lnTo>
                <a:lnTo>
                  <a:pt x="13788" y="3180"/>
                </a:lnTo>
                <a:lnTo>
                  <a:pt x="13784" y="3180"/>
                </a:lnTo>
                <a:lnTo>
                  <a:pt x="13780" y="3181"/>
                </a:lnTo>
                <a:lnTo>
                  <a:pt x="13778" y="3185"/>
                </a:lnTo>
                <a:lnTo>
                  <a:pt x="13778" y="3189"/>
                </a:lnTo>
                <a:close/>
                <a:moveTo>
                  <a:pt x="11982" y="2839"/>
                </a:moveTo>
                <a:lnTo>
                  <a:pt x="11983" y="2831"/>
                </a:lnTo>
                <a:lnTo>
                  <a:pt x="11983" y="2825"/>
                </a:lnTo>
                <a:lnTo>
                  <a:pt x="11983" y="2819"/>
                </a:lnTo>
                <a:lnTo>
                  <a:pt x="11983" y="2817"/>
                </a:lnTo>
                <a:lnTo>
                  <a:pt x="11981" y="2816"/>
                </a:lnTo>
                <a:lnTo>
                  <a:pt x="11978" y="2814"/>
                </a:lnTo>
                <a:lnTo>
                  <a:pt x="11973" y="2814"/>
                </a:lnTo>
                <a:lnTo>
                  <a:pt x="11967" y="2816"/>
                </a:lnTo>
                <a:lnTo>
                  <a:pt x="11964" y="2819"/>
                </a:lnTo>
                <a:lnTo>
                  <a:pt x="11964" y="2822"/>
                </a:lnTo>
                <a:lnTo>
                  <a:pt x="11965" y="2826"/>
                </a:lnTo>
                <a:lnTo>
                  <a:pt x="11967" y="2828"/>
                </a:lnTo>
                <a:lnTo>
                  <a:pt x="11973" y="2833"/>
                </a:lnTo>
                <a:lnTo>
                  <a:pt x="11982" y="2839"/>
                </a:lnTo>
                <a:close/>
                <a:moveTo>
                  <a:pt x="10054" y="950"/>
                </a:moveTo>
                <a:lnTo>
                  <a:pt x="10054" y="950"/>
                </a:lnTo>
                <a:lnTo>
                  <a:pt x="10054" y="950"/>
                </a:lnTo>
                <a:lnTo>
                  <a:pt x="10054" y="948"/>
                </a:lnTo>
                <a:lnTo>
                  <a:pt x="10054" y="950"/>
                </a:lnTo>
                <a:close/>
                <a:moveTo>
                  <a:pt x="10025" y="951"/>
                </a:moveTo>
                <a:lnTo>
                  <a:pt x="10031" y="955"/>
                </a:lnTo>
                <a:lnTo>
                  <a:pt x="10037" y="956"/>
                </a:lnTo>
                <a:lnTo>
                  <a:pt x="10043" y="955"/>
                </a:lnTo>
                <a:lnTo>
                  <a:pt x="10048" y="953"/>
                </a:lnTo>
                <a:lnTo>
                  <a:pt x="10051" y="950"/>
                </a:lnTo>
                <a:lnTo>
                  <a:pt x="10054" y="944"/>
                </a:lnTo>
                <a:lnTo>
                  <a:pt x="10055" y="938"/>
                </a:lnTo>
                <a:lnTo>
                  <a:pt x="10055" y="932"/>
                </a:lnTo>
                <a:lnTo>
                  <a:pt x="10045" y="934"/>
                </a:lnTo>
                <a:lnTo>
                  <a:pt x="10036" y="938"/>
                </a:lnTo>
                <a:lnTo>
                  <a:pt x="10032" y="939"/>
                </a:lnTo>
                <a:lnTo>
                  <a:pt x="10030" y="942"/>
                </a:lnTo>
                <a:lnTo>
                  <a:pt x="10027" y="946"/>
                </a:lnTo>
                <a:lnTo>
                  <a:pt x="10025" y="951"/>
                </a:lnTo>
                <a:close/>
                <a:moveTo>
                  <a:pt x="11233" y="692"/>
                </a:moveTo>
                <a:lnTo>
                  <a:pt x="11240" y="692"/>
                </a:lnTo>
                <a:lnTo>
                  <a:pt x="11245" y="690"/>
                </a:lnTo>
                <a:lnTo>
                  <a:pt x="11247" y="686"/>
                </a:lnTo>
                <a:lnTo>
                  <a:pt x="11249" y="681"/>
                </a:lnTo>
                <a:lnTo>
                  <a:pt x="11249" y="675"/>
                </a:lnTo>
                <a:lnTo>
                  <a:pt x="11246" y="668"/>
                </a:lnTo>
                <a:lnTo>
                  <a:pt x="11241" y="661"/>
                </a:lnTo>
                <a:lnTo>
                  <a:pt x="11234" y="656"/>
                </a:lnTo>
                <a:lnTo>
                  <a:pt x="11233" y="676"/>
                </a:lnTo>
                <a:lnTo>
                  <a:pt x="11233" y="692"/>
                </a:lnTo>
                <a:close/>
                <a:moveTo>
                  <a:pt x="12393" y="1366"/>
                </a:moveTo>
                <a:lnTo>
                  <a:pt x="12392" y="1361"/>
                </a:lnTo>
                <a:lnTo>
                  <a:pt x="12388" y="1357"/>
                </a:lnTo>
                <a:lnTo>
                  <a:pt x="12383" y="1353"/>
                </a:lnTo>
                <a:lnTo>
                  <a:pt x="12378" y="1352"/>
                </a:lnTo>
                <a:lnTo>
                  <a:pt x="12372" y="1352"/>
                </a:lnTo>
                <a:lnTo>
                  <a:pt x="12367" y="1352"/>
                </a:lnTo>
                <a:lnTo>
                  <a:pt x="12360" y="1354"/>
                </a:lnTo>
                <a:lnTo>
                  <a:pt x="12356" y="1359"/>
                </a:lnTo>
                <a:lnTo>
                  <a:pt x="12356" y="1365"/>
                </a:lnTo>
                <a:lnTo>
                  <a:pt x="12360" y="1367"/>
                </a:lnTo>
                <a:lnTo>
                  <a:pt x="12364" y="1368"/>
                </a:lnTo>
                <a:lnTo>
                  <a:pt x="12370" y="1368"/>
                </a:lnTo>
                <a:lnTo>
                  <a:pt x="12382" y="1366"/>
                </a:lnTo>
                <a:lnTo>
                  <a:pt x="12393" y="1366"/>
                </a:lnTo>
                <a:close/>
                <a:moveTo>
                  <a:pt x="12425" y="1272"/>
                </a:moveTo>
                <a:lnTo>
                  <a:pt x="12414" y="1273"/>
                </a:lnTo>
                <a:lnTo>
                  <a:pt x="12405" y="1277"/>
                </a:lnTo>
                <a:lnTo>
                  <a:pt x="12400" y="1279"/>
                </a:lnTo>
                <a:lnTo>
                  <a:pt x="12396" y="1283"/>
                </a:lnTo>
                <a:lnTo>
                  <a:pt x="12393" y="1288"/>
                </a:lnTo>
                <a:lnTo>
                  <a:pt x="12390" y="1293"/>
                </a:lnTo>
                <a:lnTo>
                  <a:pt x="12398" y="1295"/>
                </a:lnTo>
                <a:lnTo>
                  <a:pt x="12406" y="1295"/>
                </a:lnTo>
                <a:lnTo>
                  <a:pt x="12411" y="1295"/>
                </a:lnTo>
                <a:lnTo>
                  <a:pt x="12415" y="1292"/>
                </a:lnTo>
                <a:lnTo>
                  <a:pt x="12418" y="1289"/>
                </a:lnTo>
                <a:lnTo>
                  <a:pt x="12420" y="1286"/>
                </a:lnTo>
                <a:lnTo>
                  <a:pt x="12423" y="1281"/>
                </a:lnTo>
                <a:lnTo>
                  <a:pt x="12425" y="1272"/>
                </a:lnTo>
                <a:close/>
                <a:moveTo>
                  <a:pt x="9550" y="197"/>
                </a:moveTo>
                <a:lnTo>
                  <a:pt x="9550" y="207"/>
                </a:lnTo>
                <a:lnTo>
                  <a:pt x="9551" y="216"/>
                </a:lnTo>
                <a:lnTo>
                  <a:pt x="9552" y="223"/>
                </a:lnTo>
                <a:lnTo>
                  <a:pt x="9555" y="227"/>
                </a:lnTo>
                <a:lnTo>
                  <a:pt x="9557" y="229"/>
                </a:lnTo>
                <a:lnTo>
                  <a:pt x="9562" y="230"/>
                </a:lnTo>
                <a:lnTo>
                  <a:pt x="9567" y="230"/>
                </a:lnTo>
                <a:lnTo>
                  <a:pt x="9574" y="230"/>
                </a:lnTo>
                <a:lnTo>
                  <a:pt x="9571" y="220"/>
                </a:lnTo>
                <a:lnTo>
                  <a:pt x="9569" y="210"/>
                </a:lnTo>
                <a:lnTo>
                  <a:pt x="9565" y="206"/>
                </a:lnTo>
                <a:lnTo>
                  <a:pt x="9561" y="202"/>
                </a:lnTo>
                <a:lnTo>
                  <a:pt x="9556" y="200"/>
                </a:lnTo>
                <a:lnTo>
                  <a:pt x="9550" y="197"/>
                </a:lnTo>
                <a:close/>
                <a:moveTo>
                  <a:pt x="9569" y="57"/>
                </a:moveTo>
                <a:lnTo>
                  <a:pt x="9571" y="52"/>
                </a:lnTo>
                <a:lnTo>
                  <a:pt x="9571" y="46"/>
                </a:lnTo>
                <a:lnTo>
                  <a:pt x="9571" y="39"/>
                </a:lnTo>
                <a:lnTo>
                  <a:pt x="9569" y="33"/>
                </a:lnTo>
                <a:lnTo>
                  <a:pt x="9566" y="28"/>
                </a:lnTo>
                <a:lnTo>
                  <a:pt x="9562" y="25"/>
                </a:lnTo>
                <a:lnTo>
                  <a:pt x="9557" y="23"/>
                </a:lnTo>
                <a:lnTo>
                  <a:pt x="9551" y="23"/>
                </a:lnTo>
                <a:lnTo>
                  <a:pt x="9547" y="28"/>
                </a:lnTo>
                <a:lnTo>
                  <a:pt x="9547" y="33"/>
                </a:lnTo>
                <a:lnTo>
                  <a:pt x="9547" y="38"/>
                </a:lnTo>
                <a:lnTo>
                  <a:pt x="9550" y="43"/>
                </a:lnTo>
                <a:lnTo>
                  <a:pt x="9553" y="48"/>
                </a:lnTo>
                <a:lnTo>
                  <a:pt x="9557" y="53"/>
                </a:lnTo>
                <a:lnTo>
                  <a:pt x="9564" y="56"/>
                </a:lnTo>
                <a:lnTo>
                  <a:pt x="9569" y="57"/>
                </a:lnTo>
                <a:close/>
                <a:moveTo>
                  <a:pt x="11428" y="3268"/>
                </a:moveTo>
                <a:lnTo>
                  <a:pt x="11413" y="3269"/>
                </a:lnTo>
                <a:lnTo>
                  <a:pt x="11399" y="3270"/>
                </a:lnTo>
                <a:lnTo>
                  <a:pt x="11386" y="3271"/>
                </a:lnTo>
                <a:lnTo>
                  <a:pt x="11373" y="3273"/>
                </a:lnTo>
                <a:lnTo>
                  <a:pt x="11381" y="3278"/>
                </a:lnTo>
                <a:lnTo>
                  <a:pt x="11387" y="3282"/>
                </a:lnTo>
                <a:lnTo>
                  <a:pt x="11394" y="3284"/>
                </a:lnTo>
                <a:lnTo>
                  <a:pt x="11400" y="3284"/>
                </a:lnTo>
                <a:lnTo>
                  <a:pt x="11406" y="3283"/>
                </a:lnTo>
                <a:lnTo>
                  <a:pt x="11413" y="3279"/>
                </a:lnTo>
                <a:lnTo>
                  <a:pt x="11420" y="3274"/>
                </a:lnTo>
                <a:lnTo>
                  <a:pt x="11428" y="3268"/>
                </a:lnTo>
                <a:close/>
                <a:moveTo>
                  <a:pt x="13597" y="4150"/>
                </a:moveTo>
                <a:lnTo>
                  <a:pt x="13589" y="4148"/>
                </a:lnTo>
                <a:lnTo>
                  <a:pt x="13583" y="4150"/>
                </a:lnTo>
                <a:lnTo>
                  <a:pt x="13579" y="4150"/>
                </a:lnTo>
                <a:lnTo>
                  <a:pt x="13575" y="4152"/>
                </a:lnTo>
                <a:lnTo>
                  <a:pt x="13574" y="4156"/>
                </a:lnTo>
                <a:lnTo>
                  <a:pt x="13571" y="4162"/>
                </a:lnTo>
                <a:lnTo>
                  <a:pt x="13571" y="4171"/>
                </a:lnTo>
                <a:lnTo>
                  <a:pt x="13570" y="4183"/>
                </a:lnTo>
                <a:lnTo>
                  <a:pt x="13576" y="4180"/>
                </a:lnTo>
                <a:lnTo>
                  <a:pt x="13583" y="4178"/>
                </a:lnTo>
                <a:lnTo>
                  <a:pt x="13588" y="4175"/>
                </a:lnTo>
                <a:lnTo>
                  <a:pt x="13592" y="4171"/>
                </a:lnTo>
                <a:lnTo>
                  <a:pt x="13594" y="4166"/>
                </a:lnTo>
                <a:lnTo>
                  <a:pt x="13597" y="4161"/>
                </a:lnTo>
                <a:lnTo>
                  <a:pt x="13597" y="4156"/>
                </a:lnTo>
                <a:lnTo>
                  <a:pt x="13597" y="4150"/>
                </a:lnTo>
                <a:close/>
                <a:moveTo>
                  <a:pt x="9272" y="586"/>
                </a:moveTo>
                <a:lnTo>
                  <a:pt x="9267" y="579"/>
                </a:lnTo>
                <a:lnTo>
                  <a:pt x="9261" y="575"/>
                </a:lnTo>
                <a:lnTo>
                  <a:pt x="9255" y="573"/>
                </a:lnTo>
                <a:lnTo>
                  <a:pt x="9249" y="570"/>
                </a:lnTo>
                <a:lnTo>
                  <a:pt x="9243" y="570"/>
                </a:lnTo>
                <a:lnTo>
                  <a:pt x="9236" y="572"/>
                </a:lnTo>
                <a:lnTo>
                  <a:pt x="9230" y="574"/>
                </a:lnTo>
                <a:lnTo>
                  <a:pt x="9224" y="578"/>
                </a:lnTo>
                <a:lnTo>
                  <a:pt x="9235" y="586"/>
                </a:lnTo>
                <a:lnTo>
                  <a:pt x="9247" y="591"/>
                </a:lnTo>
                <a:lnTo>
                  <a:pt x="9252" y="592"/>
                </a:lnTo>
                <a:lnTo>
                  <a:pt x="9258" y="592"/>
                </a:lnTo>
                <a:lnTo>
                  <a:pt x="9266" y="589"/>
                </a:lnTo>
                <a:lnTo>
                  <a:pt x="9272" y="586"/>
                </a:lnTo>
                <a:close/>
                <a:moveTo>
                  <a:pt x="12974" y="2240"/>
                </a:moveTo>
                <a:lnTo>
                  <a:pt x="12970" y="2230"/>
                </a:lnTo>
                <a:lnTo>
                  <a:pt x="12964" y="2221"/>
                </a:lnTo>
                <a:lnTo>
                  <a:pt x="12960" y="2217"/>
                </a:lnTo>
                <a:lnTo>
                  <a:pt x="12956" y="2216"/>
                </a:lnTo>
                <a:lnTo>
                  <a:pt x="12951" y="2216"/>
                </a:lnTo>
                <a:lnTo>
                  <a:pt x="12946" y="2219"/>
                </a:lnTo>
                <a:lnTo>
                  <a:pt x="12942" y="2225"/>
                </a:lnTo>
                <a:lnTo>
                  <a:pt x="12944" y="2231"/>
                </a:lnTo>
                <a:lnTo>
                  <a:pt x="12946" y="2236"/>
                </a:lnTo>
                <a:lnTo>
                  <a:pt x="12951" y="2242"/>
                </a:lnTo>
                <a:lnTo>
                  <a:pt x="12958" y="2245"/>
                </a:lnTo>
                <a:lnTo>
                  <a:pt x="12963" y="2247"/>
                </a:lnTo>
                <a:lnTo>
                  <a:pt x="12969" y="2245"/>
                </a:lnTo>
                <a:lnTo>
                  <a:pt x="12974" y="2240"/>
                </a:lnTo>
                <a:close/>
                <a:moveTo>
                  <a:pt x="13797" y="2729"/>
                </a:moveTo>
                <a:lnTo>
                  <a:pt x="13792" y="2733"/>
                </a:lnTo>
                <a:lnTo>
                  <a:pt x="13788" y="2738"/>
                </a:lnTo>
                <a:lnTo>
                  <a:pt x="13787" y="2744"/>
                </a:lnTo>
                <a:lnTo>
                  <a:pt x="13787" y="2751"/>
                </a:lnTo>
                <a:lnTo>
                  <a:pt x="13788" y="2756"/>
                </a:lnTo>
                <a:lnTo>
                  <a:pt x="13792" y="2760"/>
                </a:lnTo>
                <a:lnTo>
                  <a:pt x="13797" y="2762"/>
                </a:lnTo>
                <a:lnTo>
                  <a:pt x="13803" y="2761"/>
                </a:lnTo>
                <a:lnTo>
                  <a:pt x="13810" y="2755"/>
                </a:lnTo>
                <a:lnTo>
                  <a:pt x="13815" y="2748"/>
                </a:lnTo>
                <a:lnTo>
                  <a:pt x="13817" y="2742"/>
                </a:lnTo>
                <a:lnTo>
                  <a:pt x="13818" y="2735"/>
                </a:lnTo>
                <a:lnTo>
                  <a:pt x="13818" y="2732"/>
                </a:lnTo>
                <a:lnTo>
                  <a:pt x="13815" y="2729"/>
                </a:lnTo>
                <a:lnTo>
                  <a:pt x="13807" y="2728"/>
                </a:lnTo>
                <a:lnTo>
                  <a:pt x="13797" y="2729"/>
                </a:lnTo>
                <a:close/>
                <a:moveTo>
                  <a:pt x="8494" y="887"/>
                </a:moveTo>
                <a:lnTo>
                  <a:pt x="8493" y="876"/>
                </a:lnTo>
                <a:lnTo>
                  <a:pt x="8491" y="866"/>
                </a:lnTo>
                <a:lnTo>
                  <a:pt x="8490" y="857"/>
                </a:lnTo>
                <a:lnTo>
                  <a:pt x="8486" y="849"/>
                </a:lnTo>
                <a:lnTo>
                  <a:pt x="8481" y="844"/>
                </a:lnTo>
                <a:lnTo>
                  <a:pt x="8476" y="840"/>
                </a:lnTo>
                <a:lnTo>
                  <a:pt x="8470" y="838"/>
                </a:lnTo>
                <a:lnTo>
                  <a:pt x="8462" y="836"/>
                </a:lnTo>
                <a:lnTo>
                  <a:pt x="8462" y="849"/>
                </a:lnTo>
                <a:lnTo>
                  <a:pt x="8463" y="859"/>
                </a:lnTo>
                <a:lnTo>
                  <a:pt x="8466" y="868"/>
                </a:lnTo>
                <a:lnTo>
                  <a:pt x="8470" y="874"/>
                </a:lnTo>
                <a:lnTo>
                  <a:pt x="8474" y="880"/>
                </a:lnTo>
                <a:lnTo>
                  <a:pt x="8479" y="883"/>
                </a:lnTo>
                <a:lnTo>
                  <a:pt x="8485" y="886"/>
                </a:lnTo>
                <a:lnTo>
                  <a:pt x="8494" y="887"/>
                </a:lnTo>
                <a:close/>
                <a:moveTo>
                  <a:pt x="10422" y="662"/>
                </a:moveTo>
                <a:lnTo>
                  <a:pt x="10433" y="653"/>
                </a:lnTo>
                <a:lnTo>
                  <a:pt x="10439" y="644"/>
                </a:lnTo>
                <a:lnTo>
                  <a:pt x="10436" y="638"/>
                </a:lnTo>
                <a:lnTo>
                  <a:pt x="10430" y="634"/>
                </a:lnTo>
                <a:lnTo>
                  <a:pt x="10419" y="631"/>
                </a:lnTo>
                <a:lnTo>
                  <a:pt x="10407" y="630"/>
                </a:lnTo>
                <a:lnTo>
                  <a:pt x="10395" y="631"/>
                </a:lnTo>
                <a:lnTo>
                  <a:pt x="10384" y="634"/>
                </a:lnTo>
                <a:lnTo>
                  <a:pt x="10388" y="640"/>
                </a:lnTo>
                <a:lnTo>
                  <a:pt x="10391" y="647"/>
                </a:lnTo>
                <a:lnTo>
                  <a:pt x="10395" y="653"/>
                </a:lnTo>
                <a:lnTo>
                  <a:pt x="10400" y="657"/>
                </a:lnTo>
                <a:lnTo>
                  <a:pt x="10405" y="659"/>
                </a:lnTo>
                <a:lnTo>
                  <a:pt x="10411" y="662"/>
                </a:lnTo>
                <a:lnTo>
                  <a:pt x="10416" y="662"/>
                </a:lnTo>
                <a:lnTo>
                  <a:pt x="10422" y="662"/>
                </a:lnTo>
                <a:close/>
                <a:moveTo>
                  <a:pt x="7964" y="704"/>
                </a:moveTo>
                <a:lnTo>
                  <a:pt x="7967" y="698"/>
                </a:lnTo>
                <a:lnTo>
                  <a:pt x="7968" y="690"/>
                </a:lnTo>
                <a:lnTo>
                  <a:pt x="7967" y="684"/>
                </a:lnTo>
                <a:lnTo>
                  <a:pt x="7964" y="678"/>
                </a:lnTo>
                <a:lnTo>
                  <a:pt x="7959" y="673"/>
                </a:lnTo>
                <a:lnTo>
                  <a:pt x="7954" y="671"/>
                </a:lnTo>
                <a:lnTo>
                  <a:pt x="7948" y="670"/>
                </a:lnTo>
                <a:lnTo>
                  <a:pt x="7940" y="670"/>
                </a:lnTo>
                <a:lnTo>
                  <a:pt x="7932" y="675"/>
                </a:lnTo>
                <a:lnTo>
                  <a:pt x="7930" y="682"/>
                </a:lnTo>
                <a:lnTo>
                  <a:pt x="7931" y="690"/>
                </a:lnTo>
                <a:lnTo>
                  <a:pt x="7935" y="698"/>
                </a:lnTo>
                <a:lnTo>
                  <a:pt x="7941" y="704"/>
                </a:lnTo>
                <a:lnTo>
                  <a:pt x="7948" y="708"/>
                </a:lnTo>
                <a:lnTo>
                  <a:pt x="7955" y="708"/>
                </a:lnTo>
                <a:lnTo>
                  <a:pt x="7964" y="704"/>
                </a:lnTo>
                <a:close/>
                <a:moveTo>
                  <a:pt x="13277" y="2279"/>
                </a:moveTo>
                <a:lnTo>
                  <a:pt x="13282" y="2275"/>
                </a:lnTo>
                <a:lnTo>
                  <a:pt x="13285" y="2268"/>
                </a:lnTo>
                <a:lnTo>
                  <a:pt x="13285" y="2261"/>
                </a:lnTo>
                <a:lnTo>
                  <a:pt x="13282" y="2253"/>
                </a:lnTo>
                <a:lnTo>
                  <a:pt x="13278" y="2247"/>
                </a:lnTo>
                <a:lnTo>
                  <a:pt x="13272" y="2243"/>
                </a:lnTo>
                <a:lnTo>
                  <a:pt x="13264" y="2240"/>
                </a:lnTo>
                <a:lnTo>
                  <a:pt x="13256" y="2243"/>
                </a:lnTo>
                <a:lnTo>
                  <a:pt x="13248" y="2248"/>
                </a:lnTo>
                <a:lnTo>
                  <a:pt x="13244" y="2254"/>
                </a:lnTo>
                <a:lnTo>
                  <a:pt x="13244" y="2262"/>
                </a:lnTo>
                <a:lnTo>
                  <a:pt x="13248" y="2270"/>
                </a:lnTo>
                <a:lnTo>
                  <a:pt x="13253" y="2275"/>
                </a:lnTo>
                <a:lnTo>
                  <a:pt x="13261" y="2280"/>
                </a:lnTo>
                <a:lnTo>
                  <a:pt x="13268" y="2281"/>
                </a:lnTo>
                <a:lnTo>
                  <a:pt x="13277" y="2279"/>
                </a:lnTo>
                <a:close/>
                <a:moveTo>
                  <a:pt x="12320" y="1144"/>
                </a:moveTo>
                <a:lnTo>
                  <a:pt x="12328" y="1137"/>
                </a:lnTo>
                <a:lnTo>
                  <a:pt x="12332" y="1129"/>
                </a:lnTo>
                <a:lnTo>
                  <a:pt x="12332" y="1121"/>
                </a:lnTo>
                <a:lnTo>
                  <a:pt x="12328" y="1115"/>
                </a:lnTo>
                <a:lnTo>
                  <a:pt x="12322" y="1111"/>
                </a:lnTo>
                <a:lnTo>
                  <a:pt x="12314" y="1109"/>
                </a:lnTo>
                <a:lnTo>
                  <a:pt x="12306" y="1109"/>
                </a:lnTo>
                <a:lnTo>
                  <a:pt x="12297" y="1113"/>
                </a:lnTo>
                <a:lnTo>
                  <a:pt x="12290" y="1118"/>
                </a:lnTo>
                <a:lnTo>
                  <a:pt x="12288" y="1125"/>
                </a:lnTo>
                <a:lnTo>
                  <a:pt x="12289" y="1132"/>
                </a:lnTo>
                <a:lnTo>
                  <a:pt x="12293" y="1139"/>
                </a:lnTo>
                <a:lnTo>
                  <a:pt x="12298" y="1144"/>
                </a:lnTo>
                <a:lnTo>
                  <a:pt x="12304" y="1147"/>
                </a:lnTo>
                <a:lnTo>
                  <a:pt x="12312" y="1147"/>
                </a:lnTo>
                <a:lnTo>
                  <a:pt x="12320" y="1144"/>
                </a:lnTo>
                <a:close/>
                <a:moveTo>
                  <a:pt x="13781" y="3073"/>
                </a:moveTo>
                <a:lnTo>
                  <a:pt x="13788" y="3066"/>
                </a:lnTo>
                <a:lnTo>
                  <a:pt x="13792" y="3059"/>
                </a:lnTo>
                <a:lnTo>
                  <a:pt x="13792" y="3051"/>
                </a:lnTo>
                <a:lnTo>
                  <a:pt x="13790" y="3045"/>
                </a:lnTo>
                <a:lnTo>
                  <a:pt x="13787" y="3040"/>
                </a:lnTo>
                <a:lnTo>
                  <a:pt x="13780" y="3036"/>
                </a:lnTo>
                <a:lnTo>
                  <a:pt x="13771" y="3036"/>
                </a:lnTo>
                <a:lnTo>
                  <a:pt x="13762" y="3038"/>
                </a:lnTo>
                <a:lnTo>
                  <a:pt x="13756" y="3044"/>
                </a:lnTo>
                <a:lnTo>
                  <a:pt x="13753" y="3051"/>
                </a:lnTo>
                <a:lnTo>
                  <a:pt x="13753" y="3059"/>
                </a:lnTo>
                <a:lnTo>
                  <a:pt x="13756" y="3066"/>
                </a:lnTo>
                <a:lnTo>
                  <a:pt x="13760" y="3074"/>
                </a:lnTo>
                <a:lnTo>
                  <a:pt x="13766" y="3078"/>
                </a:lnTo>
                <a:lnTo>
                  <a:pt x="13774" y="3078"/>
                </a:lnTo>
                <a:lnTo>
                  <a:pt x="13781" y="3073"/>
                </a:lnTo>
                <a:close/>
                <a:moveTo>
                  <a:pt x="11228" y="56"/>
                </a:moveTo>
                <a:lnTo>
                  <a:pt x="11233" y="51"/>
                </a:lnTo>
                <a:lnTo>
                  <a:pt x="11237" y="47"/>
                </a:lnTo>
                <a:lnTo>
                  <a:pt x="11240" y="42"/>
                </a:lnTo>
                <a:lnTo>
                  <a:pt x="11242" y="37"/>
                </a:lnTo>
                <a:lnTo>
                  <a:pt x="11243" y="31"/>
                </a:lnTo>
                <a:lnTo>
                  <a:pt x="11245" y="24"/>
                </a:lnTo>
                <a:lnTo>
                  <a:pt x="11245" y="18"/>
                </a:lnTo>
                <a:lnTo>
                  <a:pt x="11243" y="10"/>
                </a:lnTo>
                <a:lnTo>
                  <a:pt x="11228" y="11"/>
                </a:lnTo>
                <a:lnTo>
                  <a:pt x="11215" y="18"/>
                </a:lnTo>
                <a:lnTo>
                  <a:pt x="11206" y="27"/>
                </a:lnTo>
                <a:lnTo>
                  <a:pt x="11203" y="37"/>
                </a:lnTo>
                <a:lnTo>
                  <a:pt x="11203" y="47"/>
                </a:lnTo>
                <a:lnTo>
                  <a:pt x="11206" y="55"/>
                </a:lnTo>
                <a:lnTo>
                  <a:pt x="11215" y="57"/>
                </a:lnTo>
                <a:lnTo>
                  <a:pt x="11228" y="56"/>
                </a:lnTo>
                <a:close/>
                <a:moveTo>
                  <a:pt x="12137" y="3348"/>
                </a:moveTo>
                <a:lnTo>
                  <a:pt x="12134" y="3357"/>
                </a:lnTo>
                <a:lnTo>
                  <a:pt x="12132" y="3366"/>
                </a:lnTo>
                <a:lnTo>
                  <a:pt x="12135" y="3372"/>
                </a:lnTo>
                <a:lnTo>
                  <a:pt x="12140" y="3378"/>
                </a:lnTo>
                <a:lnTo>
                  <a:pt x="12146" y="3381"/>
                </a:lnTo>
                <a:lnTo>
                  <a:pt x="12155" y="3382"/>
                </a:lnTo>
                <a:lnTo>
                  <a:pt x="12165" y="3381"/>
                </a:lnTo>
                <a:lnTo>
                  <a:pt x="12177" y="3376"/>
                </a:lnTo>
                <a:lnTo>
                  <a:pt x="12178" y="3362"/>
                </a:lnTo>
                <a:lnTo>
                  <a:pt x="12178" y="3352"/>
                </a:lnTo>
                <a:lnTo>
                  <a:pt x="12174" y="3344"/>
                </a:lnTo>
                <a:lnTo>
                  <a:pt x="12168" y="3339"/>
                </a:lnTo>
                <a:lnTo>
                  <a:pt x="12162" y="3338"/>
                </a:lnTo>
                <a:lnTo>
                  <a:pt x="12153" y="3339"/>
                </a:lnTo>
                <a:lnTo>
                  <a:pt x="12145" y="3343"/>
                </a:lnTo>
                <a:lnTo>
                  <a:pt x="12137" y="3348"/>
                </a:lnTo>
                <a:close/>
                <a:moveTo>
                  <a:pt x="12745" y="1413"/>
                </a:moveTo>
                <a:lnTo>
                  <a:pt x="12755" y="1404"/>
                </a:lnTo>
                <a:lnTo>
                  <a:pt x="12759" y="1395"/>
                </a:lnTo>
                <a:lnTo>
                  <a:pt x="12758" y="1385"/>
                </a:lnTo>
                <a:lnTo>
                  <a:pt x="12754" y="1376"/>
                </a:lnTo>
                <a:lnTo>
                  <a:pt x="12746" y="1370"/>
                </a:lnTo>
                <a:lnTo>
                  <a:pt x="12737" y="1365"/>
                </a:lnTo>
                <a:lnTo>
                  <a:pt x="12727" y="1363"/>
                </a:lnTo>
                <a:lnTo>
                  <a:pt x="12716" y="1367"/>
                </a:lnTo>
                <a:lnTo>
                  <a:pt x="12708" y="1376"/>
                </a:lnTo>
                <a:lnTo>
                  <a:pt x="12704" y="1385"/>
                </a:lnTo>
                <a:lnTo>
                  <a:pt x="12704" y="1395"/>
                </a:lnTo>
                <a:lnTo>
                  <a:pt x="12709" y="1404"/>
                </a:lnTo>
                <a:lnTo>
                  <a:pt x="12716" y="1412"/>
                </a:lnTo>
                <a:lnTo>
                  <a:pt x="12724" y="1417"/>
                </a:lnTo>
                <a:lnTo>
                  <a:pt x="12735" y="1417"/>
                </a:lnTo>
                <a:lnTo>
                  <a:pt x="12745" y="1413"/>
                </a:lnTo>
                <a:close/>
                <a:moveTo>
                  <a:pt x="13244" y="2071"/>
                </a:moveTo>
                <a:lnTo>
                  <a:pt x="13230" y="2074"/>
                </a:lnTo>
                <a:lnTo>
                  <a:pt x="13216" y="2077"/>
                </a:lnTo>
                <a:lnTo>
                  <a:pt x="13203" y="2084"/>
                </a:lnTo>
                <a:lnTo>
                  <a:pt x="13191" y="2091"/>
                </a:lnTo>
                <a:lnTo>
                  <a:pt x="13179" y="2099"/>
                </a:lnTo>
                <a:lnTo>
                  <a:pt x="13169" y="2109"/>
                </a:lnTo>
                <a:lnTo>
                  <a:pt x="13161" y="2118"/>
                </a:lnTo>
                <a:lnTo>
                  <a:pt x="13157" y="2128"/>
                </a:lnTo>
                <a:lnTo>
                  <a:pt x="13174" y="2127"/>
                </a:lnTo>
                <a:lnTo>
                  <a:pt x="13191" y="2123"/>
                </a:lnTo>
                <a:lnTo>
                  <a:pt x="13205" y="2118"/>
                </a:lnTo>
                <a:lnTo>
                  <a:pt x="13217" y="2110"/>
                </a:lnTo>
                <a:lnTo>
                  <a:pt x="13228" y="2103"/>
                </a:lnTo>
                <a:lnTo>
                  <a:pt x="13235" y="2094"/>
                </a:lnTo>
                <a:lnTo>
                  <a:pt x="13240" y="2082"/>
                </a:lnTo>
                <a:lnTo>
                  <a:pt x="13244" y="2071"/>
                </a:lnTo>
                <a:close/>
                <a:moveTo>
                  <a:pt x="10470" y="493"/>
                </a:moveTo>
                <a:lnTo>
                  <a:pt x="10473" y="480"/>
                </a:lnTo>
                <a:lnTo>
                  <a:pt x="10472" y="466"/>
                </a:lnTo>
                <a:lnTo>
                  <a:pt x="10469" y="453"/>
                </a:lnTo>
                <a:lnTo>
                  <a:pt x="10463" y="440"/>
                </a:lnTo>
                <a:lnTo>
                  <a:pt x="10454" y="430"/>
                </a:lnTo>
                <a:lnTo>
                  <a:pt x="10445" y="421"/>
                </a:lnTo>
                <a:lnTo>
                  <a:pt x="10433" y="416"/>
                </a:lnTo>
                <a:lnTo>
                  <a:pt x="10421" y="414"/>
                </a:lnTo>
                <a:lnTo>
                  <a:pt x="10417" y="425"/>
                </a:lnTo>
                <a:lnTo>
                  <a:pt x="10417" y="437"/>
                </a:lnTo>
                <a:lnTo>
                  <a:pt x="10421" y="448"/>
                </a:lnTo>
                <a:lnTo>
                  <a:pt x="10428" y="460"/>
                </a:lnTo>
                <a:lnTo>
                  <a:pt x="10437" y="470"/>
                </a:lnTo>
                <a:lnTo>
                  <a:pt x="10447" y="479"/>
                </a:lnTo>
                <a:lnTo>
                  <a:pt x="10459" y="486"/>
                </a:lnTo>
                <a:lnTo>
                  <a:pt x="10470" y="493"/>
                </a:lnTo>
                <a:close/>
                <a:moveTo>
                  <a:pt x="10109" y="586"/>
                </a:moveTo>
                <a:lnTo>
                  <a:pt x="10120" y="594"/>
                </a:lnTo>
                <a:lnTo>
                  <a:pt x="10130" y="593"/>
                </a:lnTo>
                <a:lnTo>
                  <a:pt x="10139" y="586"/>
                </a:lnTo>
                <a:lnTo>
                  <a:pt x="10146" y="573"/>
                </a:lnTo>
                <a:lnTo>
                  <a:pt x="10151" y="558"/>
                </a:lnTo>
                <a:lnTo>
                  <a:pt x="10153" y="542"/>
                </a:lnTo>
                <a:lnTo>
                  <a:pt x="10153" y="527"/>
                </a:lnTo>
                <a:lnTo>
                  <a:pt x="10149" y="517"/>
                </a:lnTo>
                <a:lnTo>
                  <a:pt x="10130" y="531"/>
                </a:lnTo>
                <a:lnTo>
                  <a:pt x="10114" y="546"/>
                </a:lnTo>
                <a:lnTo>
                  <a:pt x="10107" y="555"/>
                </a:lnTo>
                <a:lnTo>
                  <a:pt x="10104" y="564"/>
                </a:lnTo>
                <a:lnTo>
                  <a:pt x="10104" y="574"/>
                </a:lnTo>
                <a:lnTo>
                  <a:pt x="10109" y="586"/>
                </a:lnTo>
                <a:close/>
                <a:moveTo>
                  <a:pt x="11829" y="513"/>
                </a:moveTo>
                <a:lnTo>
                  <a:pt x="11838" y="503"/>
                </a:lnTo>
                <a:lnTo>
                  <a:pt x="11846" y="494"/>
                </a:lnTo>
                <a:lnTo>
                  <a:pt x="11853" y="484"/>
                </a:lnTo>
                <a:lnTo>
                  <a:pt x="11859" y="472"/>
                </a:lnTo>
                <a:lnTo>
                  <a:pt x="11864" y="462"/>
                </a:lnTo>
                <a:lnTo>
                  <a:pt x="11866" y="449"/>
                </a:lnTo>
                <a:lnTo>
                  <a:pt x="11867" y="437"/>
                </a:lnTo>
                <a:lnTo>
                  <a:pt x="11867" y="424"/>
                </a:lnTo>
                <a:lnTo>
                  <a:pt x="11855" y="431"/>
                </a:lnTo>
                <a:lnTo>
                  <a:pt x="11841" y="445"/>
                </a:lnTo>
                <a:lnTo>
                  <a:pt x="11828" y="463"/>
                </a:lnTo>
                <a:lnTo>
                  <a:pt x="11818" y="482"/>
                </a:lnTo>
                <a:lnTo>
                  <a:pt x="11811" y="499"/>
                </a:lnTo>
                <a:lnTo>
                  <a:pt x="11810" y="512"/>
                </a:lnTo>
                <a:lnTo>
                  <a:pt x="11815" y="518"/>
                </a:lnTo>
                <a:lnTo>
                  <a:pt x="11829" y="513"/>
                </a:lnTo>
                <a:close/>
                <a:moveTo>
                  <a:pt x="11066" y="164"/>
                </a:moveTo>
                <a:lnTo>
                  <a:pt x="11078" y="164"/>
                </a:lnTo>
                <a:lnTo>
                  <a:pt x="11087" y="159"/>
                </a:lnTo>
                <a:lnTo>
                  <a:pt x="11093" y="151"/>
                </a:lnTo>
                <a:lnTo>
                  <a:pt x="11098" y="141"/>
                </a:lnTo>
                <a:lnTo>
                  <a:pt x="11102" y="131"/>
                </a:lnTo>
                <a:lnTo>
                  <a:pt x="11103" y="120"/>
                </a:lnTo>
                <a:lnTo>
                  <a:pt x="11105" y="108"/>
                </a:lnTo>
                <a:lnTo>
                  <a:pt x="11103" y="99"/>
                </a:lnTo>
                <a:lnTo>
                  <a:pt x="11092" y="90"/>
                </a:lnTo>
                <a:lnTo>
                  <a:pt x="11082" y="92"/>
                </a:lnTo>
                <a:lnTo>
                  <a:pt x="11071" y="99"/>
                </a:lnTo>
                <a:lnTo>
                  <a:pt x="11063" y="112"/>
                </a:lnTo>
                <a:lnTo>
                  <a:pt x="11057" y="127"/>
                </a:lnTo>
                <a:lnTo>
                  <a:pt x="11056" y="144"/>
                </a:lnTo>
                <a:lnTo>
                  <a:pt x="11059" y="157"/>
                </a:lnTo>
                <a:lnTo>
                  <a:pt x="11066" y="164"/>
                </a:lnTo>
                <a:close/>
                <a:moveTo>
                  <a:pt x="8244" y="687"/>
                </a:moveTo>
                <a:lnTo>
                  <a:pt x="8255" y="699"/>
                </a:lnTo>
                <a:lnTo>
                  <a:pt x="8266" y="704"/>
                </a:lnTo>
                <a:lnTo>
                  <a:pt x="8277" y="704"/>
                </a:lnTo>
                <a:lnTo>
                  <a:pt x="8289" y="700"/>
                </a:lnTo>
                <a:lnTo>
                  <a:pt x="8297" y="692"/>
                </a:lnTo>
                <a:lnTo>
                  <a:pt x="8302" y="682"/>
                </a:lnTo>
                <a:lnTo>
                  <a:pt x="8303" y="670"/>
                </a:lnTo>
                <a:lnTo>
                  <a:pt x="8298" y="657"/>
                </a:lnTo>
                <a:lnTo>
                  <a:pt x="8289" y="648"/>
                </a:lnTo>
                <a:lnTo>
                  <a:pt x="8277" y="645"/>
                </a:lnTo>
                <a:lnTo>
                  <a:pt x="8266" y="645"/>
                </a:lnTo>
                <a:lnTo>
                  <a:pt x="8255" y="648"/>
                </a:lnTo>
                <a:lnTo>
                  <a:pt x="8246" y="654"/>
                </a:lnTo>
                <a:lnTo>
                  <a:pt x="8239" y="663"/>
                </a:lnTo>
                <a:lnTo>
                  <a:pt x="8239" y="675"/>
                </a:lnTo>
                <a:lnTo>
                  <a:pt x="8244" y="687"/>
                </a:lnTo>
                <a:close/>
                <a:moveTo>
                  <a:pt x="13928" y="2714"/>
                </a:moveTo>
                <a:lnTo>
                  <a:pt x="13913" y="2707"/>
                </a:lnTo>
                <a:lnTo>
                  <a:pt x="13900" y="2709"/>
                </a:lnTo>
                <a:lnTo>
                  <a:pt x="13888" y="2718"/>
                </a:lnTo>
                <a:lnTo>
                  <a:pt x="13880" y="2730"/>
                </a:lnTo>
                <a:lnTo>
                  <a:pt x="13877" y="2743"/>
                </a:lnTo>
                <a:lnTo>
                  <a:pt x="13878" y="2756"/>
                </a:lnTo>
                <a:lnTo>
                  <a:pt x="13886" y="2766"/>
                </a:lnTo>
                <a:lnTo>
                  <a:pt x="13901" y="2770"/>
                </a:lnTo>
                <a:lnTo>
                  <a:pt x="13910" y="2766"/>
                </a:lnTo>
                <a:lnTo>
                  <a:pt x="13918" y="2762"/>
                </a:lnTo>
                <a:lnTo>
                  <a:pt x="13925" y="2756"/>
                </a:lnTo>
                <a:lnTo>
                  <a:pt x="13930" y="2748"/>
                </a:lnTo>
                <a:lnTo>
                  <a:pt x="13933" y="2739"/>
                </a:lnTo>
                <a:lnTo>
                  <a:pt x="13934" y="2730"/>
                </a:lnTo>
                <a:lnTo>
                  <a:pt x="13933" y="2723"/>
                </a:lnTo>
                <a:lnTo>
                  <a:pt x="13928" y="2714"/>
                </a:lnTo>
                <a:close/>
                <a:moveTo>
                  <a:pt x="7805" y="603"/>
                </a:moveTo>
                <a:lnTo>
                  <a:pt x="7814" y="594"/>
                </a:lnTo>
                <a:lnTo>
                  <a:pt x="7816" y="583"/>
                </a:lnTo>
                <a:lnTo>
                  <a:pt x="7815" y="572"/>
                </a:lnTo>
                <a:lnTo>
                  <a:pt x="7809" y="561"/>
                </a:lnTo>
                <a:lnTo>
                  <a:pt x="7800" y="554"/>
                </a:lnTo>
                <a:lnTo>
                  <a:pt x="7788" y="547"/>
                </a:lnTo>
                <a:lnTo>
                  <a:pt x="7777" y="547"/>
                </a:lnTo>
                <a:lnTo>
                  <a:pt x="7765" y="551"/>
                </a:lnTo>
                <a:lnTo>
                  <a:pt x="7755" y="561"/>
                </a:lnTo>
                <a:lnTo>
                  <a:pt x="7753" y="572"/>
                </a:lnTo>
                <a:lnTo>
                  <a:pt x="7755" y="584"/>
                </a:lnTo>
                <a:lnTo>
                  <a:pt x="7762" y="594"/>
                </a:lnTo>
                <a:lnTo>
                  <a:pt x="7771" y="603"/>
                </a:lnTo>
                <a:lnTo>
                  <a:pt x="7782" y="608"/>
                </a:lnTo>
                <a:lnTo>
                  <a:pt x="7794" y="610"/>
                </a:lnTo>
                <a:lnTo>
                  <a:pt x="7805" y="603"/>
                </a:lnTo>
                <a:close/>
                <a:moveTo>
                  <a:pt x="9432" y="743"/>
                </a:moveTo>
                <a:lnTo>
                  <a:pt x="9434" y="743"/>
                </a:lnTo>
                <a:lnTo>
                  <a:pt x="9434" y="742"/>
                </a:lnTo>
                <a:lnTo>
                  <a:pt x="9432" y="743"/>
                </a:lnTo>
                <a:lnTo>
                  <a:pt x="9432" y="743"/>
                </a:lnTo>
                <a:close/>
                <a:moveTo>
                  <a:pt x="9404" y="746"/>
                </a:moveTo>
                <a:lnTo>
                  <a:pt x="9399" y="745"/>
                </a:lnTo>
                <a:lnTo>
                  <a:pt x="9396" y="743"/>
                </a:lnTo>
                <a:lnTo>
                  <a:pt x="9392" y="745"/>
                </a:lnTo>
                <a:lnTo>
                  <a:pt x="9388" y="746"/>
                </a:lnTo>
                <a:lnTo>
                  <a:pt x="9385" y="748"/>
                </a:lnTo>
                <a:lnTo>
                  <a:pt x="9383" y="751"/>
                </a:lnTo>
                <a:lnTo>
                  <a:pt x="9380" y="755"/>
                </a:lnTo>
                <a:lnTo>
                  <a:pt x="9379" y="759"/>
                </a:lnTo>
                <a:lnTo>
                  <a:pt x="9375" y="794"/>
                </a:lnTo>
                <a:lnTo>
                  <a:pt x="9384" y="810"/>
                </a:lnTo>
                <a:lnTo>
                  <a:pt x="9398" y="808"/>
                </a:lnTo>
                <a:lnTo>
                  <a:pt x="9416" y="798"/>
                </a:lnTo>
                <a:lnTo>
                  <a:pt x="9430" y="782"/>
                </a:lnTo>
                <a:lnTo>
                  <a:pt x="9435" y="765"/>
                </a:lnTo>
                <a:lnTo>
                  <a:pt x="9429" y="751"/>
                </a:lnTo>
                <a:lnTo>
                  <a:pt x="9404" y="746"/>
                </a:lnTo>
                <a:close/>
                <a:moveTo>
                  <a:pt x="12182" y="1235"/>
                </a:moveTo>
                <a:lnTo>
                  <a:pt x="12183" y="1249"/>
                </a:lnTo>
                <a:lnTo>
                  <a:pt x="12191" y="1261"/>
                </a:lnTo>
                <a:lnTo>
                  <a:pt x="12205" y="1272"/>
                </a:lnTo>
                <a:lnTo>
                  <a:pt x="12220" y="1281"/>
                </a:lnTo>
                <a:lnTo>
                  <a:pt x="12238" y="1286"/>
                </a:lnTo>
                <a:lnTo>
                  <a:pt x="12256" y="1288"/>
                </a:lnTo>
                <a:lnTo>
                  <a:pt x="12271" y="1288"/>
                </a:lnTo>
                <a:lnTo>
                  <a:pt x="12284" y="1283"/>
                </a:lnTo>
                <a:lnTo>
                  <a:pt x="12279" y="1273"/>
                </a:lnTo>
                <a:lnTo>
                  <a:pt x="12270" y="1264"/>
                </a:lnTo>
                <a:lnTo>
                  <a:pt x="12257" y="1255"/>
                </a:lnTo>
                <a:lnTo>
                  <a:pt x="12241" y="1247"/>
                </a:lnTo>
                <a:lnTo>
                  <a:pt x="12224" y="1241"/>
                </a:lnTo>
                <a:lnTo>
                  <a:pt x="12207" y="1237"/>
                </a:lnTo>
                <a:lnTo>
                  <a:pt x="12193" y="1235"/>
                </a:lnTo>
                <a:lnTo>
                  <a:pt x="12182" y="1235"/>
                </a:lnTo>
                <a:close/>
                <a:moveTo>
                  <a:pt x="8816" y="918"/>
                </a:moveTo>
                <a:lnTo>
                  <a:pt x="8808" y="929"/>
                </a:lnTo>
                <a:lnTo>
                  <a:pt x="8806" y="941"/>
                </a:lnTo>
                <a:lnTo>
                  <a:pt x="8807" y="952"/>
                </a:lnTo>
                <a:lnTo>
                  <a:pt x="8814" y="964"/>
                </a:lnTo>
                <a:lnTo>
                  <a:pt x="8821" y="972"/>
                </a:lnTo>
                <a:lnTo>
                  <a:pt x="8833" y="978"/>
                </a:lnTo>
                <a:lnTo>
                  <a:pt x="8845" y="979"/>
                </a:lnTo>
                <a:lnTo>
                  <a:pt x="8858" y="975"/>
                </a:lnTo>
                <a:lnTo>
                  <a:pt x="8867" y="965"/>
                </a:lnTo>
                <a:lnTo>
                  <a:pt x="8871" y="953"/>
                </a:lnTo>
                <a:lnTo>
                  <a:pt x="8868" y="942"/>
                </a:lnTo>
                <a:lnTo>
                  <a:pt x="8862" y="930"/>
                </a:lnTo>
                <a:lnTo>
                  <a:pt x="8853" y="920"/>
                </a:lnTo>
                <a:lnTo>
                  <a:pt x="8842" y="914"/>
                </a:lnTo>
                <a:lnTo>
                  <a:pt x="8829" y="914"/>
                </a:lnTo>
                <a:lnTo>
                  <a:pt x="8816" y="918"/>
                </a:lnTo>
                <a:close/>
                <a:moveTo>
                  <a:pt x="10251" y="633"/>
                </a:moveTo>
                <a:lnTo>
                  <a:pt x="10263" y="638"/>
                </a:lnTo>
                <a:lnTo>
                  <a:pt x="10278" y="642"/>
                </a:lnTo>
                <a:lnTo>
                  <a:pt x="10293" y="643"/>
                </a:lnTo>
                <a:lnTo>
                  <a:pt x="10310" y="642"/>
                </a:lnTo>
                <a:lnTo>
                  <a:pt x="10325" y="639"/>
                </a:lnTo>
                <a:lnTo>
                  <a:pt x="10338" y="631"/>
                </a:lnTo>
                <a:lnTo>
                  <a:pt x="10347" y="621"/>
                </a:lnTo>
                <a:lnTo>
                  <a:pt x="10351" y="608"/>
                </a:lnTo>
                <a:lnTo>
                  <a:pt x="10343" y="598"/>
                </a:lnTo>
                <a:lnTo>
                  <a:pt x="10328" y="592"/>
                </a:lnTo>
                <a:lnTo>
                  <a:pt x="10307" y="591"/>
                </a:lnTo>
                <a:lnTo>
                  <a:pt x="10286" y="592"/>
                </a:lnTo>
                <a:lnTo>
                  <a:pt x="10267" y="597"/>
                </a:lnTo>
                <a:lnTo>
                  <a:pt x="10251" y="606"/>
                </a:lnTo>
                <a:lnTo>
                  <a:pt x="10245" y="617"/>
                </a:lnTo>
                <a:lnTo>
                  <a:pt x="10251" y="633"/>
                </a:lnTo>
                <a:close/>
                <a:moveTo>
                  <a:pt x="7732" y="906"/>
                </a:moveTo>
                <a:lnTo>
                  <a:pt x="7745" y="894"/>
                </a:lnTo>
                <a:lnTo>
                  <a:pt x="7750" y="878"/>
                </a:lnTo>
                <a:lnTo>
                  <a:pt x="7750" y="864"/>
                </a:lnTo>
                <a:lnTo>
                  <a:pt x="7744" y="852"/>
                </a:lnTo>
                <a:lnTo>
                  <a:pt x="7734" y="840"/>
                </a:lnTo>
                <a:lnTo>
                  <a:pt x="7721" y="834"/>
                </a:lnTo>
                <a:lnTo>
                  <a:pt x="7704" y="832"/>
                </a:lnTo>
                <a:lnTo>
                  <a:pt x="7688" y="838"/>
                </a:lnTo>
                <a:lnTo>
                  <a:pt x="7676" y="849"/>
                </a:lnTo>
                <a:lnTo>
                  <a:pt x="7673" y="863"/>
                </a:lnTo>
                <a:lnTo>
                  <a:pt x="7674" y="877"/>
                </a:lnTo>
                <a:lnTo>
                  <a:pt x="7680" y="891"/>
                </a:lnTo>
                <a:lnTo>
                  <a:pt x="7689" y="901"/>
                </a:lnTo>
                <a:lnTo>
                  <a:pt x="7703" y="909"/>
                </a:lnTo>
                <a:lnTo>
                  <a:pt x="7717" y="911"/>
                </a:lnTo>
                <a:lnTo>
                  <a:pt x="7732" y="906"/>
                </a:lnTo>
                <a:close/>
                <a:moveTo>
                  <a:pt x="8783" y="853"/>
                </a:moveTo>
                <a:lnTo>
                  <a:pt x="8797" y="857"/>
                </a:lnTo>
                <a:lnTo>
                  <a:pt x="8811" y="855"/>
                </a:lnTo>
                <a:lnTo>
                  <a:pt x="8824" y="850"/>
                </a:lnTo>
                <a:lnTo>
                  <a:pt x="8835" y="841"/>
                </a:lnTo>
                <a:lnTo>
                  <a:pt x="8843" y="830"/>
                </a:lnTo>
                <a:lnTo>
                  <a:pt x="8845" y="817"/>
                </a:lnTo>
                <a:lnTo>
                  <a:pt x="8842" y="803"/>
                </a:lnTo>
                <a:lnTo>
                  <a:pt x="8829" y="790"/>
                </a:lnTo>
                <a:lnTo>
                  <a:pt x="8817" y="782"/>
                </a:lnTo>
                <a:lnTo>
                  <a:pt x="8801" y="780"/>
                </a:lnTo>
                <a:lnTo>
                  <a:pt x="8786" y="788"/>
                </a:lnTo>
                <a:lnTo>
                  <a:pt x="8770" y="799"/>
                </a:lnTo>
                <a:lnTo>
                  <a:pt x="8760" y="815"/>
                </a:lnTo>
                <a:lnTo>
                  <a:pt x="8758" y="830"/>
                </a:lnTo>
                <a:lnTo>
                  <a:pt x="8765" y="844"/>
                </a:lnTo>
                <a:lnTo>
                  <a:pt x="8783" y="853"/>
                </a:lnTo>
                <a:close/>
                <a:moveTo>
                  <a:pt x="11572" y="69"/>
                </a:moveTo>
                <a:lnTo>
                  <a:pt x="11583" y="75"/>
                </a:lnTo>
                <a:lnTo>
                  <a:pt x="11596" y="78"/>
                </a:lnTo>
                <a:lnTo>
                  <a:pt x="11610" y="75"/>
                </a:lnTo>
                <a:lnTo>
                  <a:pt x="11623" y="69"/>
                </a:lnTo>
                <a:lnTo>
                  <a:pt x="11633" y="61"/>
                </a:lnTo>
                <a:lnTo>
                  <a:pt x="11641" y="50"/>
                </a:lnTo>
                <a:lnTo>
                  <a:pt x="11645" y="38"/>
                </a:lnTo>
                <a:lnTo>
                  <a:pt x="11643" y="24"/>
                </a:lnTo>
                <a:lnTo>
                  <a:pt x="11639" y="19"/>
                </a:lnTo>
                <a:lnTo>
                  <a:pt x="11636" y="14"/>
                </a:lnTo>
                <a:lnTo>
                  <a:pt x="11632" y="10"/>
                </a:lnTo>
                <a:lnTo>
                  <a:pt x="11628" y="6"/>
                </a:lnTo>
                <a:lnTo>
                  <a:pt x="11623" y="4"/>
                </a:lnTo>
                <a:lnTo>
                  <a:pt x="11618" y="1"/>
                </a:lnTo>
                <a:lnTo>
                  <a:pt x="11613" y="1"/>
                </a:lnTo>
                <a:lnTo>
                  <a:pt x="11608" y="0"/>
                </a:lnTo>
                <a:lnTo>
                  <a:pt x="11604" y="0"/>
                </a:lnTo>
                <a:lnTo>
                  <a:pt x="11591" y="3"/>
                </a:lnTo>
                <a:lnTo>
                  <a:pt x="11578" y="6"/>
                </a:lnTo>
                <a:lnTo>
                  <a:pt x="11568" y="14"/>
                </a:lnTo>
                <a:lnTo>
                  <a:pt x="11561" y="23"/>
                </a:lnTo>
                <a:lnTo>
                  <a:pt x="11557" y="34"/>
                </a:lnTo>
                <a:lnTo>
                  <a:pt x="11555" y="46"/>
                </a:lnTo>
                <a:lnTo>
                  <a:pt x="11561" y="57"/>
                </a:lnTo>
                <a:lnTo>
                  <a:pt x="11572" y="69"/>
                </a:lnTo>
                <a:close/>
                <a:moveTo>
                  <a:pt x="10903" y="435"/>
                </a:moveTo>
                <a:lnTo>
                  <a:pt x="10912" y="426"/>
                </a:lnTo>
                <a:lnTo>
                  <a:pt x="10926" y="420"/>
                </a:lnTo>
                <a:lnTo>
                  <a:pt x="10943" y="417"/>
                </a:lnTo>
                <a:lnTo>
                  <a:pt x="10959" y="415"/>
                </a:lnTo>
                <a:lnTo>
                  <a:pt x="10975" y="411"/>
                </a:lnTo>
                <a:lnTo>
                  <a:pt x="10985" y="402"/>
                </a:lnTo>
                <a:lnTo>
                  <a:pt x="10989" y="389"/>
                </a:lnTo>
                <a:lnTo>
                  <a:pt x="10982" y="368"/>
                </a:lnTo>
                <a:lnTo>
                  <a:pt x="10965" y="350"/>
                </a:lnTo>
                <a:lnTo>
                  <a:pt x="10945" y="342"/>
                </a:lnTo>
                <a:lnTo>
                  <a:pt x="10925" y="346"/>
                </a:lnTo>
                <a:lnTo>
                  <a:pt x="10908" y="358"/>
                </a:lnTo>
                <a:lnTo>
                  <a:pt x="10896" y="374"/>
                </a:lnTo>
                <a:lnTo>
                  <a:pt x="10889" y="395"/>
                </a:lnTo>
                <a:lnTo>
                  <a:pt x="10892" y="416"/>
                </a:lnTo>
                <a:lnTo>
                  <a:pt x="10903" y="435"/>
                </a:lnTo>
                <a:close/>
                <a:moveTo>
                  <a:pt x="8875" y="588"/>
                </a:moveTo>
                <a:lnTo>
                  <a:pt x="8893" y="596"/>
                </a:lnTo>
                <a:lnTo>
                  <a:pt x="8908" y="594"/>
                </a:lnTo>
                <a:lnTo>
                  <a:pt x="8921" y="588"/>
                </a:lnTo>
                <a:lnTo>
                  <a:pt x="8931" y="578"/>
                </a:lnTo>
                <a:lnTo>
                  <a:pt x="8936" y="564"/>
                </a:lnTo>
                <a:lnTo>
                  <a:pt x="8936" y="547"/>
                </a:lnTo>
                <a:lnTo>
                  <a:pt x="8931" y="532"/>
                </a:lnTo>
                <a:lnTo>
                  <a:pt x="8918" y="517"/>
                </a:lnTo>
                <a:lnTo>
                  <a:pt x="8898" y="504"/>
                </a:lnTo>
                <a:lnTo>
                  <a:pt x="8879" y="503"/>
                </a:lnTo>
                <a:lnTo>
                  <a:pt x="8863" y="509"/>
                </a:lnTo>
                <a:lnTo>
                  <a:pt x="8852" y="521"/>
                </a:lnTo>
                <a:lnTo>
                  <a:pt x="8845" y="537"/>
                </a:lnTo>
                <a:lnTo>
                  <a:pt x="8847" y="555"/>
                </a:lnTo>
                <a:lnTo>
                  <a:pt x="8856" y="573"/>
                </a:lnTo>
                <a:lnTo>
                  <a:pt x="8875" y="588"/>
                </a:lnTo>
                <a:close/>
                <a:moveTo>
                  <a:pt x="9452" y="671"/>
                </a:moveTo>
                <a:lnTo>
                  <a:pt x="9468" y="656"/>
                </a:lnTo>
                <a:lnTo>
                  <a:pt x="9476" y="639"/>
                </a:lnTo>
                <a:lnTo>
                  <a:pt x="9476" y="621"/>
                </a:lnTo>
                <a:lnTo>
                  <a:pt x="9468" y="605"/>
                </a:lnTo>
                <a:lnTo>
                  <a:pt x="9455" y="592"/>
                </a:lnTo>
                <a:lnTo>
                  <a:pt x="9439" y="583"/>
                </a:lnTo>
                <a:lnTo>
                  <a:pt x="9420" y="582"/>
                </a:lnTo>
                <a:lnTo>
                  <a:pt x="9399" y="588"/>
                </a:lnTo>
                <a:lnTo>
                  <a:pt x="9387" y="602"/>
                </a:lnTo>
                <a:lnTo>
                  <a:pt x="9382" y="617"/>
                </a:lnTo>
                <a:lnTo>
                  <a:pt x="9384" y="635"/>
                </a:lnTo>
                <a:lnTo>
                  <a:pt x="9392" y="650"/>
                </a:lnTo>
                <a:lnTo>
                  <a:pt x="9403" y="664"/>
                </a:lnTo>
                <a:lnTo>
                  <a:pt x="9418" y="673"/>
                </a:lnTo>
                <a:lnTo>
                  <a:pt x="9434" y="676"/>
                </a:lnTo>
                <a:lnTo>
                  <a:pt x="9452" y="671"/>
                </a:lnTo>
                <a:close/>
                <a:moveTo>
                  <a:pt x="9157" y="734"/>
                </a:moveTo>
                <a:lnTo>
                  <a:pt x="9179" y="710"/>
                </a:lnTo>
                <a:lnTo>
                  <a:pt x="9182" y="689"/>
                </a:lnTo>
                <a:lnTo>
                  <a:pt x="9168" y="671"/>
                </a:lnTo>
                <a:lnTo>
                  <a:pt x="9146" y="659"/>
                </a:lnTo>
                <a:lnTo>
                  <a:pt x="9119" y="656"/>
                </a:lnTo>
                <a:lnTo>
                  <a:pt x="9096" y="662"/>
                </a:lnTo>
                <a:lnTo>
                  <a:pt x="9081" y="680"/>
                </a:lnTo>
                <a:lnTo>
                  <a:pt x="9080" y="709"/>
                </a:lnTo>
                <a:lnTo>
                  <a:pt x="9085" y="719"/>
                </a:lnTo>
                <a:lnTo>
                  <a:pt x="9092" y="727"/>
                </a:lnTo>
                <a:lnTo>
                  <a:pt x="9101" y="733"/>
                </a:lnTo>
                <a:lnTo>
                  <a:pt x="9113" y="738"/>
                </a:lnTo>
                <a:lnTo>
                  <a:pt x="9124" y="741"/>
                </a:lnTo>
                <a:lnTo>
                  <a:pt x="9136" y="742"/>
                </a:lnTo>
                <a:lnTo>
                  <a:pt x="9147" y="740"/>
                </a:lnTo>
                <a:lnTo>
                  <a:pt x="9157" y="734"/>
                </a:lnTo>
                <a:close/>
                <a:moveTo>
                  <a:pt x="13359" y="2154"/>
                </a:moveTo>
                <a:lnTo>
                  <a:pt x="13379" y="2159"/>
                </a:lnTo>
                <a:lnTo>
                  <a:pt x="13399" y="2156"/>
                </a:lnTo>
                <a:lnTo>
                  <a:pt x="13419" y="2147"/>
                </a:lnTo>
                <a:lnTo>
                  <a:pt x="13434" y="2133"/>
                </a:lnTo>
                <a:lnTo>
                  <a:pt x="13443" y="2117"/>
                </a:lnTo>
                <a:lnTo>
                  <a:pt x="13444" y="2100"/>
                </a:lnTo>
                <a:lnTo>
                  <a:pt x="13435" y="2085"/>
                </a:lnTo>
                <a:lnTo>
                  <a:pt x="13415" y="2074"/>
                </a:lnTo>
                <a:lnTo>
                  <a:pt x="13396" y="2067"/>
                </a:lnTo>
                <a:lnTo>
                  <a:pt x="13378" y="2070"/>
                </a:lnTo>
                <a:lnTo>
                  <a:pt x="13360" y="2079"/>
                </a:lnTo>
                <a:lnTo>
                  <a:pt x="13347" y="2091"/>
                </a:lnTo>
                <a:lnTo>
                  <a:pt x="13338" y="2108"/>
                </a:lnTo>
                <a:lnTo>
                  <a:pt x="13336" y="2124"/>
                </a:lnTo>
                <a:lnTo>
                  <a:pt x="13343" y="2141"/>
                </a:lnTo>
                <a:lnTo>
                  <a:pt x="13359" y="2154"/>
                </a:lnTo>
                <a:close/>
                <a:moveTo>
                  <a:pt x="8524" y="465"/>
                </a:moveTo>
                <a:lnTo>
                  <a:pt x="8556" y="472"/>
                </a:lnTo>
                <a:lnTo>
                  <a:pt x="8577" y="465"/>
                </a:lnTo>
                <a:lnTo>
                  <a:pt x="8586" y="447"/>
                </a:lnTo>
                <a:lnTo>
                  <a:pt x="8587" y="425"/>
                </a:lnTo>
                <a:lnTo>
                  <a:pt x="8578" y="402"/>
                </a:lnTo>
                <a:lnTo>
                  <a:pt x="8563" y="383"/>
                </a:lnTo>
                <a:lnTo>
                  <a:pt x="8541" y="373"/>
                </a:lnTo>
                <a:lnTo>
                  <a:pt x="8513" y="375"/>
                </a:lnTo>
                <a:lnTo>
                  <a:pt x="8502" y="386"/>
                </a:lnTo>
                <a:lnTo>
                  <a:pt x="8494" y="398"/>
                </a:lnTo>
                <a:lnTo>
                  <a:pt x="8490" y="411"/>
                </a:lnTo>
                <a:lnTo>
                  <a:pt x="8490" y="424"/>
                </a:lnTo>
                <a:lnTo>
                  <a:pt x="8493" y="438"/>
                </a:lnTo>
                <a:lnTo>
                  <a:pt x="8500" y="449"/>
                </a:lnTo>
                <a:lnTo>
                  <a:pt x="8510" y="458"/>
                </a:lnTo>
                <a:lnTo>
                  <a:pt x="8524" y="465"/>
                </a:lnTo>
                <a:close/>
                <a:moveTo>
                  <a:pt x="9016" y="750"/>
                </a:moveTo>
                <a:lnTo>
                  <a:pt x="9045" y="738"/>
                </a:lnTo>
                <a:lnTo>
                  <a:pt x="9058" y="719"/>
                </a:lnTo>
                <a:lnTo>
                  <a:pt x="9056" y="696"/>
                </a:lnTo>
                <a:lnTo>
                  <a:pt x="9043" y="672"/>
                </a:lnTo>
                <a:lnTo>
                  <a:pt x="9022" y="652"/>
                </a:lnTo>
                <a:lnTo>
                  <a:pt x="8998" y="636"/>
                </a:lnTo>
                <a:lnTo>
                  <a:pt x="8974" y="631"/>
                </a:lnTo>
                <a:lnTo>
                  <a:pt x="8954" y="638"/>
                </a:lnTo>
                <a:lnTo>
                  <a:pt x="8946" y="654"/>
                </a:lnTo>
                <a:lnTo>
                  <a:pt x="8943" y="675"/>
                </a:lnTo>
                <a:lnTo>
                  <a:pt x="8945" y="694"/>
                </a:lnTo>
                <a:lnTo>
                  <a:pt x="8951" y="714"/>
                </a:lnTo>
                <a:lnTo>
                  <a:pt x="8961" y="731"/>
                </a:lnTo>
                <a:lnTo>
                  <a:pt x="8975" y="743"/>
                </a:lnTo>
                <a:lnTo>
                  <a:pt x="8993" y="750"/>
                </a:lnTo>
                <a:lnTo>
                  <a:pt x="9016" y="750"/>
                </a:lnTo>
                <a:close/>
                <a:moveTo>
                  <a:pt x="12474" y="1452"/>
                </a:moveTo>
                <a:lnTo>
                  <a:pt x="12472" y="1445"/>
                </a:lnTo>
                <a:lnTo>
                  <a:pt x="12472" y="1436"/>
                </a:lnTo>
                <a:lnTo>
                  <a:pt x="12476" y="1438"/>
                </a:lnTo>
                <a:lnTo>
                  <a:pt x="12479" y="1441"/>
                </a:lnTo>
                <a:lnTo>
                  <a:pt x="12479" y="1443"/>
                </a:lnTo>
                <a:lnTo>
                  <a:pt x="12479" y="1445"/>
                </a:lnTo>
                <a:lnTo>
                  <a:pt x="12476" y="1449"/>
                </a:lnTo>
                <a:lnTo>
                  <a:pt x="12474" y="1452"/>
                </a:lnTo>
                <a:close/>
                <a:moveTo>
                  <a:pt x="12437" y="1561"/>
                </a:moveTo>
                <a:lnTo>
                  <a:pt x="12448" y="1548"/>
                </a:lnTo>
                <a:lnTo>
                  <a:pt x="12456" y="1543"/>
                </a:lnTo>
                <a:lnTo>
                  <a:pt x="12462" y="1545"/>
                </a:lnTo>
                <a:lnTo>
                  <a:pt x="12466" y="1553"/>
                </a:lnTo>
                <a:lnTo>
                  <a:pt x="12471" y="1563"/>
                </a:lnTo>
                <a:lnTo>
                  <a:pt x="12476" y="1575"/>
                </a:lnTo>
                <a:lnTo>
                  <a:pt x="12484" y="1585"/>
                </a:lnTo>
                <a:lnTo>
                  <a:pt x="12494" y="1592"/>
                </a:lnTo>
                <a:lnTo>
                  <a:pt x="12516" y="1564"/>
                </a:lnTo>
                <a:lnTo>
                  <a:pt x="12533" y="1533"/>
                </a:lnTo>
                <a:lnTo>
                  <a:pt x="12544" y="1501"/>
                </a:lnTo>
                <a:lnTo>
                  <a:pt x="12547" y="1471"/>
                </a:lnTo>
                <a:lnTo>
                  <a:pt x="12542" y="1446"/>
                </a:lnTo>
                <a:lnTo>
                  <a:pt x="12528" y="1426"/>
                </a:lnTo>
                <a:lnTo>
                  <a:pt x="12504" y="1414"/>
                </a:lnTo>
                <a:lnTo>
                  <a:pt x="12470" y="1413"/>
                </a:lnTo>
                <a:lnTo>
                  <a:pt x="12466" y="1437"/>
                </a:lnTo>
                <a:lnTo>
                  <a:pt x="12466" y="1456"/>
                </a:lnTo>
                <a:lnTo>
                  <a:pt x="12466" y="1470"/>
                </a:lnTo>
                <a:lnTo>
                  <a:pt x="12466" y="1482"/>
                </a:lnTo>
                <a:lnTo>
                  <a:pt x="12465" y="1494"/>
                </a:lnTo>
                <a:lnTo>
                  <a:pt x="12461" y="1511"/>
                </a:lnTo>
                <a:lnTo>
                  <a:pt x="12452" y="1533"/>
                </a:lnTo>
                <a:lnTo>
                  <a:pt x="12437" y="1561"/>
                </a:lnTo>
                <a:close/>
                <a:moveTo>
                  <a:pt x="12540" y="1431"/>
                </a:moveTo>
                <a:lnTo>
                  <a:pt x="12540" y="1431"/>
                </a:lnTo>
                <a:lnTo>
                  <a:pt x="12540" y="1431"/>
                </a:lnTo>
                <a:lnTo>
                  <a:pt x="12539" y="1431"/>
                </a:lnTo>
                <a:lnTo>
                  <a:pt x="12540" y="1431"/>
                </a:lnTo>
                <a:close/>
                <a:moveTo>
                  <a:pt x="8028" y="624"/>
                </a:moveTo>
                <a:lnTo>
                  <a:pt x="8052" y="636"/>
                </a:lnTo>
                <a:lnTo>
                  <a:pt x="8074" y="638"/>
                </a:lnTo>
                <a:lnTo>
                  <a:pt x="8093" y="630"/>
                </a:lnTo>
                <a:lnTo>
                  <a:pt x="8107" y="617"/>
                </a:lnTo>
                <a:lnTo>
                  <a:pt x="8116" y="600"/>
                </a:lnTo>
                <a:lnTo>
                  <a:pt x="8118" y="579"/>
                </a:lnTo>
                <a:lnTo>
                  <a:pt x="8113" y="558"/>
                </a:lnTo>
                <a:lnTo>
                  <a:pt x="8099" y="537"/>
                </a:lnTo>
                <a:lnTo>
                  <a:pt x="8070" y="517"/>
                </a:lnTo>
                <a:lnTo>
                  <a:pt x="8043" y="510"/>
                </a:lnTo>
                <a:lnTo>
                  <a:pt x="8019" y="516"/>
                </a:lnTo>
                <a:lnTo>
                  <a:pt x="8001" y="528"/>
                </a:lnTo>
                <a:lnTo>
                  <a:pt x="7991" y="549"/>
                </a:lnTo>
                <a:lnTo>
                  <a:pt x="7991" y="573"/>
                </a:lnTo>
                <a:lnTo>
                  <a:pt x="8002" y="598"/>
                </a:lnTo>
                <a:lnTo>
                  <a:pt x="8028" y="624"/>
                </a:lnTo>
                <a:close/>
                <a:moveTo>
                  <a:pt x="7548" y="859"/>
                </a:moveTo>
                <a:lnTo>
                  <a:pt x="7569" y="841"/>
                </a:lnTo>
                <a:lnTo>
                  <a:pt x="7578" y="818"/>
                </a:lnTo>
                <a:lnTo>
                  <a:pt x="7576" y="794"/>
                </a:lnTo>
                <a:lnTo>
                  <a:pt x="7566" y="771"/>
                </a:lnTo>
                <a:lnTo>
                  <a:pt x="7548" y="752"/>
                </a:lnTo>
                <a:lnTo>
                  <a:pt x="7525" y="741"/>
                </a:lnTo>
                <a:lnTo>
                  <a:pt x="7499" y="738"/>
                </a:lnTo>
                <a:lnTo>
                  <a:pt x="7473" y="747"/>
                </a:lnTo>
                <a:lnTo>
                  <a:pt x="7452" y="768"/>
                </a:lnTo>
                <a:lnTo>
                  <a:pt x="7445" y="790"/>
                </a:lnTo>
                <a:lnTo>
                  <a:pt x="7447" y="815"/>
                </a:lnTo>
                <a:lnTo>
                  <a:pt x="7457" y="838"/>
                </a:lnTo>
                <a:lnTo>
                  <a:pt x="7474" y="855"/>
                </a:lnTo>
                <a:lnTo>
                  <a:pt x="7497" y="867"/>
                </a:lnTo>
                <a:lnTo>
                  <a:pt x="7521" y="869"/>
                </a:lnTo>
                <a:lnTo>
                  <a:pt x="7548" y="859"/>
                </a:lnTo>
                <a:close/>
                <a:moveTo>
                  <a:pt x="12174" y="3150"/>
                </a:moveTo>
                <a:lnTo>
                  <a:pt x="12150" y="3107"/>
                </a:lnTo>
                <a:lnTo>
                  <a:pt x="12116" y="3088"/>
                </a:lnTo>
                <a:lnTo>
                  <a:pt x="12075" y="3093"/>
                </a:lnTo>
                <a:lnTo>
                  <a:pt x="12037" y="3115"/>
                </a:lnTo>
                <a:lnTo>
                  <a:pt x="12005" y="3149"/>
                </a:lnTo>
                <a:lnTo>
                  <a:pt x="11987" y="3192"/>
                </a:lnTo>
                <a:lnTo>
                  <a:pt x="11988" y="3241"/>
                </a:lnTo>
                <a:lnTo>
                  <a:pt x="12015" y="3289"/>
                </a:lnTo>
                <a:lnTo>
                  <a:pt x="12015" y="3308"/>
                </a:lnTo>
                <a:lnTo>
                  <a:pt x="12005" y="3327"/>
                </a:lnTo>
                <a:lnTo>
                  <a:pt x="11990" y="3348"/>
                </a:lnTo>
                <a:lnTo>
                  <a:pt x="11973" y="3368"/>
                </a:lnTo>
                <a:lnTo>
                  <a:pt x="11962" y="3388"/>
                </a:lnTo>
                <a:lnTo>
                  <a:pt x="11958" y="3408"/>
                </a:lnTo>
                <a:lnTo>
                  <a:pt x="11969" y="3427"/>
                </a:lnTo>
                <a:lnTo>
                  <a:pt x="11999" y="3443"/>
                </a:lnTo>
                <a:lnTo>
                  <a:pt x="12042" y="3436"/>
                </a:lnTo>
                <a:lnTo>
                  <a:pt x="12083" y="3409"/>
                </a:lnTo>
                <a:lnTo>
                  <a:pt x="12118" y="3368"/>
                </a:lnTo>
                <a:lnTo>
                  <a:pt x="12149" y="3318"/>
                </a:lnTo>
                <a:lnTo>
                  <a:pt x="12171" y="3268"/>
                </a:lnTo>
                <a:lnTo>
                  <a:pt x="12185" y="3218"/>
                </a:lnTo>
                <a:lnTo>
                  <a:pt x="12186" y="3178"/>
                </a:lnTo>
                <a:lnTo>
                  <a:pt x="12174" y="3150"/>
                </a:lnTo>
                <a:close/>
                <a:moveTo>
                  <a:pt x="12577" y="1433"/>
                </a:moveTo>
                <a:lnTo>
                  <a:pt x="12633" y="1394"/>
                </a:lnTo>
                <a:lnTo>
                  <a:pt x="12696" y="1354"/>
                </a:lnTo>
                <a:lnTo>
                  <a:pt x="12759" y="1312"/>
                </a:lnTo>
                <a:lnTo>
                  <a:pt x="12812" y="1269"/>
                </a:lnTo>
                <a:lnTo>
                  <a:pt x="12849" y="1223"/>
                </a:lnTo>
                <a:lnTo>
                  <a:pt x="12862" y="1175"/>
                </a:lnTo>
                <a:lnTo>
                  <a:pt x="12843" y="1124"/>
                </a:lnTo>
                <a:lnTo>
                  <a:pt x="12784" y="1071"/>
                </a:lnTo>
                <a:lnTo>
                  <a:pt x="12704" y="1036"/>
                </a:lnTo>
                <a:lnTo>
                  <a:pt x="12634" y="1050"/>
                </a:lnTo>
                <a:lnTo>
                  <a:pt x="12577" y="1100"/>
                </a:lnTo>
                <a:lnTo>
                  <a:pt x="12536" y="1172"/>
                </a:lnTo>
                <a:lnTo>
                  <a:pt x="12513" y="1255"/>
                </a:lnTo>
                <a:lnTo>
                  <a:pt x="12511" y="1334"/>
                </a:lnTo>
                <a:lnTo>
                  <a:pt x="12531" y="1398"/>
                </a:lnTo>
                <a:lnTo>
                  <a:pt x="12577" y="1433"/>
                </a:lnTo>
                <a:close/>
                <a:moveTo>
                  <a:pt x="11311" y="361"/>
                </a:moveTo>
                <a:lnTo>
                  <a:pt x="11315" y="361"/>
                </a:lnTo>
                <a:lnTo>
                  <a:pt x="11317" y="361"/>
                </a:lnTo>
                <a:lnTo>
                  <a:pt x="11320" y="363"/>
                </a:lnTo>
                <a:lnTo>
                  <a:pt x="11322" y="364"/>
                </a:lnTo>
                <a:lnTo>
                  <a:pt x="11322" y="367"/>
                </a:lnTo>
                <a:lnTo>
                  <a:pt x="11322" y="369"/>
                </a:lnTo>
                <a:lnTo>
                  <a:pt x="11321" y="372"/>
                </a:lnTo>
                <a:lnTo>
                  <a:pt x="11319" y="373"/>
                </a:lnTo>
                <a:lnTo>
                  <a:pt x="11315" y="373"/>
                </a:lnTo>
                <a:lnTo>
                  <a:pt x="11311" y="370"/>
                </a:lnTo>
                <a:lnTo>
                  <a:pt x="11310" y="368"/>
                </a:lnTo>
                <a:lnTo>
                  <a:pt x="11310" y="365"/>
                </a:lnTo>
                <a:lnTo>
                  <a:pt x="11310" y="364"/>
                </a:lnTo>
                <a:lnTo>
                  <a:pt x="11311" y="361"/>
                </a:lnTo>
                <a:close/>
                <a:moveTo>
                  <a:pt x="11441" y="565"/>
                </a:moveTo>
                <a:lnTo>
                  <a:pt x="11446" y="566"/>
                </a:lnTo>
                <a:lnTo>
                  <a:pt x="11448" y="568"/>
                </a:lnTo>
                <a:lnTo>
                  <a:pt x="11450" y="569"/>
                </a:lnTo>
                <a:lnTo>
                  <a:pt x="11448" y="572"/>
                </a:lnTo>
                <a:lnTo>
                  <a:pt x="11447" y="573"/>
                </a:lnTo>
                <a:lnTo>
                  <a:pt x="11445" y="574"/>
                </a:lnTo>
                <a:lnTo>
                  <a:pt x="11441" y="575"/>
                </a:lnTo>
                <a:lnTo>
                  <a:pt x="11436" y="573"/>
                </a:lnTo>
                <a:lnTo>
                  <a:pt x="11440" y="568"/>
                </a:lnTo>
                <a:lnTo>
                  <a:pt x="11441" y="565"/>
                </a:lnTo>
                <a:close/>
                <a:moveTo>
                  <a:pt x="11223" y="349"/>
                </a:moveTo>
                <a:lnTo>
                  <a:pt x="11240" y="493"/>
                </a:lnTo>
                <a:lnTo>
                  <a:pt x="11277" y="589"/>
                </a:lnTo>
                <a:lnTo>
                  <a:pt x="11331" y="644"/>
                </a:lnTo>
                <a:lnTo>
                  <a:pt x="11398" y="662"/>
                </a:lnTo>
                <a:lnTo>
                  <a:pt x="11474" y="645"/>
                </a:lnTo>
                <a:lnTo>
                  <a:pt x="11557" y="601"/>
                </a:lnTo>
                <a:lnTo>
                  <a:pt x="11641" y="532"/>
                </a:lnTo>
                <a:lnTo>
                  <a:pt x="11722" y="443"/>
                </a:lnTo>
                <a:lnTo>
                  <a:pt x="11698" y="440"/>
                </a:lnTo>
                <a:lnTo>
                  <a:pt x="11681" y="434"/>
                </a:lnTo>
                <a:lnTo>
                  <a:pt x="11671" y="426"/>
                </a:lnTo>
                <a:lnTo>
                  <a:pt x="11669" y="415"/>
                </a:lnTo>
                <a:lnTo>
                  <a:pt x="11671" y="402"/>
                </a:lnTo>
                <a:lnTo>
                  <a:pt x="11678" y="387"/>
                </a:lnTo>
                <a:lnTo>
                  <a:pt x="11689" y="372"/>
                </a:lnTo>
                <a:lnTo>
                  <a:pt x="11702" y="355"/>
                </a:lnTo>
                <a:lnTo>
                  <a:pt x="11687" y="358"/>
                </a:lnTo>
                <a:lnTo>
                  <a:pt x="11673" y="351"/>
                </a:lnTo>
                <a:lnTo>
                  <a:pt x="11661" y="340"/>
                </a:lnTo>
                <a:lnTo>
                  <a:pt x="11652" y="322"/>
                </a:lnTo>
                <a:lnTo>
                  <a:pt x="11646" y="300"/>
                </a:lnTo>
                <a:lnTo>
                  <a:pt x="11641" y="277"/>
                </a:lnTo>
                <a:lnTo>
                  <a:pt x="11639" y="252"/>
                </a:lnTo>
                <a:lnTo>
                  <a:pt x="11642" y="228"/>
                </a:lnTo>
                <a:lnTo>
                  <a:pt x="11586" y="228"/>
                </a:lnTo>
                <a:lnTo>
                  <a:pt x="11530" y="234"/>
                </a:lnTo>
                <a:lnTo>
                  <a:pt x="11475" y="244"/>
                </a:lnTo>
                <a:lnTo>
                  <a:pt x="11420" y="260"/>
                </a:lnTo>
                <a:lnTo>
                  <a:pt x="11367" y="277"/>
                </a:lnTo>
                <a:lnTo>
                  <a:pt x="11316" y="299"/>
                </a:lnTo>
                <a:lnTo>
                  <a:pt x="11268" y="323"/>
                </a:lnTo>
                <a:lnTo>
                  <a:pt x="11223" y="349"/>
                </a:lnTo>
                <a:close/>
                <a:moveTo>
                  <a:pt x="10602" y="4609"/>
                </a:moveTo>
                <a:lnTo>
                  <a:pt x="10596" y="4612"/>
                </a:lnTo>
                <a:lnTo>
                  <a:pt x="10599" y="4613"/>
                </a:lnTo>
                <a:lnTo>
                  <a:pt x="10602" y="4614"/>
                </a:lnTo>
                <a:lnTo>
                  <a:pt x="10602" y="4613"/>
                </a:lnTo>
                <a:lnTo>
                  <a:pt x="10602" y="4609"/>
                </a:lnTo>
                <a:close/>
                <a:moveTo>
                  <a:pt x="9247" y="4999"/>
                </a:moveTo>
                <a:lnTo>
                  <a:pt x="9247" y="4999"/>
                </a:lnTo>
                <a:lnTo>
                  <a:pt x="9247" y="4999"/>
                </a:lnTo>
                <a:lnTo>
                  <a:pt x="9248" y="4999"/>
                </a:lnTo>
                <a:lnTo>
                  <a:pt x="9248" y="4997"/>
                </a:lnTo>
                <a:lnTo>
                  <a:pt x="9245" y="4996"/>
                </a:lnTo>
                <a:lnTo>
                  <a:pt x="9244" y="4997"/>
                </a:lnTo>
                <a:lnTo>
                  <a:pt x="9244" y="4997"/>
                </a:lnTo>
                <a:lnTo>
                  <a:pt x="9247" y="4999"/>
                </a:lnTo>
                <a:close/>
                <a:moveTo>
                  <a:pt x="2363" y="8086"/>
                </a:moveTo>
                <a:lnTo>
                  <a:pt x="2368" y="8079"/>
                </a:lnTo>
                <a:lnTo>
                  <a:pt x="2367" y="8079"/>
                </a:lnTo>
                <a:lnTo>
                  <a:pt x="2363" y="8080"/>
                </a:lnTo>
                <a:lnTo>
                  <a:pt x="2358" y="8084"/>
                </a:lnTo>
                <a:lnTo>
                  <a:pt x="2361" y="8086"/>
                </a:lnTo>
                <a:lnTo>
                  <a:pt x="2363" y="8086"/>
                </a:lnTo>
                <a:close/>
                <a:moveTo>
                  <a:pt x="2373" y="8075"/>
                </a:moveTo>
                <a:lnTo>
                  <a:pt x="2373" y="8074"/>
                </a:lnTo>
                <a:lnTo>
                  <a:pt x="2372" y="8073"/>
                </a:lnTo>
                <a:lnTo>
                  <a:pt x="2371" y="8075"/>
                </a:lnTo>
                <a:lnTo>
                  <a:pt x="2371" y="8077"/>
                </a:lnTo>
                <a:lnTo>
                  <a:pt x="2372" y="8077"/>
                </a:lnTo>
                <a:lnTo>
                  <a:pt x="2373" y="8075"/>
                </a:lnTo>
                <a:close/>
                <a:moveTo>
                  <a:pt x="10706" y="4604"/>
                </a:moveTo>
                <a:lnTo>
                  <a:pt x="10701" y="4605"/>
                </a:lnTo>
                <a:lnTo>
                  <a:pt x="10698" y="4608"/>
                </a:lnTo>
                <a:lnTo>
                  <a:pt x="10696" y="4609"/>
                </a:lnTo>
                <a:lnTo>
                  <a:pt x="10696" y="4610"/>
                </a:lnTo>
                <a:lnTo>
                  <a:pt x="10697" y="4612"/>
                </a:lnTo>
                <a:lnTo>
                  <a:pt x="10698" y="4613"/>
                </a:lnTo>
                <a:lnTo>
                  <a:pt x="10702" y="4614"/>
                </a:lnTo>
                <a:lnTo>
                  <a:pt x="10707" y="4616"/>
                </a:lnTo>
                <a:lnTo>
                  <a:pt x="10710" y="4613"/>
                </a:lnTo>
                <a:lnTo>
                  <a:pt x="10711" y="4609"/>
                </a:lnTo>
                <a:lnTo>
                  <a:pt x="10710" y="4607"/>
                </a:lnTo>
                <a:lnTo>
                  <a:pt x="10710" y="4605"/>
                </a:lnTo>
                <a:lnTo>
                  <a:pt x="10707" y="4604"/>
                </a:lnTo>
                <a:lnTo>
                  <a:pt x="10706" y="4604"/>
                </a:lnTo>
                <a:close/>
                <a:moveTo>
                  <a:pt x="11139" y="4530"/>
                </a:moveTo>
                <a:lnTo>
                  <a:pt x="11136" y="4528"/>
                </a:lnTo>
                <a:lnTo>
                  <a:pt x="11135" y="4526"/>
                </a:lnTo>
                <a:lnTo>
                  <a:pt x="11133" y="4525"/>
                </a:lnTo>
                <a:lnTo>
                  <a:pt x="11130" y="4526"/>
                </a:lnTo>
                <a:lnTo>
                  <a:pt x="11126" y="4529"/>
                </a:lnTo>
                <a:lnTo>
                  <a:pt x="11121" y="4532"/>
                </a:lnTo>
                <a:lnTo>
                  <a:pt x="11124" y="4534"/>
                </a:lnTo>
                <a:lnTo>
                  <a:pt x="11125" y="4535"/>
                </a:lnTo>
                <a:lnTo>
                  <a:pt x="11128" y="4537"/>
                </a:lnTo>
                <a:lnTo>
                  <a:pt x="11130" y="4535"/>
                </a:lnTo>
                <a:lnTo>
                  <a:pt x="11134" y="4533"/>
                </a:lnTo>
                <a:lnTo>
                  <a:pt x="11139" y="4530"/>
                </a:lnTo>
                <a:close/>
                <a:moveTo>
                  <a:pt x="11233" y="4586"/>
                </a:moveTo>
                <a:lnTo>
                  <a:pt x="11236" y="4589"/>
                </a:lnTo>
                <a:lnTo>
                  <a:pt x="11237" y="4590"/>
                </a:lnTo>
                <a:lnTo>
                  <a:pt x="11240" y="4589"/>
                </a:lnTo>
                <a:lnTo>
                  <a:pt x="11241" y="4585"/>
                </a:lnTo>
                <a:lnTo>
                  <a:pt x="11233" y="4586"/>
                </a:lnTo>
                <a:close/>
                <a:moveTo>
                  <a:pt x="2250" y="7747"/>
                </a:moveTo>
                <a:lnTo>
                  <a:pt x="2254" y="7752"/>
                </a:lnTo>
                <a:lnTo>
                  <a:pt x="2259" y="7753"/>
                </a:lnTo>
                <a:lnTo>
                  <a:pt x="2264" y="7755"/>
                </a:lnTo>
                <a:lnTo>
                  <a:pt x="2270" y="7756"/>
                </a:lnTo>
                <a:lnTo>
                  <a:pt x="2267" y="7750"/>
                </a:lnTo>
                <a:lnTo>
                  <a:pt x="2263" y="7746"/>
                </a:lnTo>
                <a:lnTo>
                  <a:pt x="2260" y="7744"/>
                </a:lnTo>
                <a:lnTo>
                  <a:pt x="2258" y="7744"/>
                </a:lnTo>
                <a:lnTo>
                  <a:pt x="2254" y="7744"/>
                </a:lnTo>
                <a:lnTo>
                  <a:pt x="2250" y="7747"/>
                </a:lnTo>
                <a:close/>
                <a:moveTo>
                  <a:pt x="1974" y="7958"/>
                </a:moveTo>
                <a:lnTo>
                  <a:pt x="1979" y="7956"/>
                </a:lnTo>
                <a:lnTo>
                  <a:pt x="1984" y="7951"/>
                </a:lnTo>
                <a:lnTo>
                  <a:pt x="1985" y="7949"/>
                </a:lnTo>
                <a:lnTo>
                  <a:pt x="1986" y="7947"/>
                </a:lnTo>
                <a:lnTo>
                  <a:pt x="1986" y="7944"/>
                </a:lnTo>
                <a:lnTo>
                  <a:pt x="1984" y="7942"/>
                </a:lnTo>
                <a:lnTo>
                  <a:pt x="1980" y="7942"/>
                </a:lnTo>
                <a:lnTo>
                  <a:pt x="1976" y="7942"/>
                </a:lnTo>
                <a:lnTo>
                  <a:pt x="1974" y="7943"/>
                </a:lnTo>
                <a:lnTo>
                  <a:pt x="1971" y="7946"/>
                </a:lnTo>
                <a:lnTo>
                  <a:pt x="1971" y="7948"/>
                </a:lnTo>
                <a:lnTo>
                  <a:pt x="1971" y="7951"/>
                </a:lnTo>
                <a:lnTo>
                  <a:pt x="1972" y="7954"/>
                </a:lnTo>
                <a:lnTo>
                  <a:pt x="1974" y="7958"/>
                </a:lnTo>
                <a:close/>
                <a:moveTo>
                  <a:pt x="10344" y="4665"/>
                </a:moveTo>
                <a:lnTo>
                  <a:pt x="10342" y="4664"/>
                </a:lnTo>
                <a:lnTo>
                  <a:pt x="10344" y="4665"/>
                </a:lnTo>
                <a:lnTo>
                  <a:pt x="10348" y="4660"/>
                </a:lnTo>
                <a:lnTo>
                  <a:pt x="10344" y="4665"/>
                </a:lnTo>
                <a:close/>
                <a:moveTo>
                  <a:pt x="2391" y="8041"/>
                </a:moveTo>
                <a:lnTo>
                  <a:pt x="2394" y="8045"/>
                </a:lnTo>
                <a:lnTo>
                  <a:pt x="2391" y="8041"/>
                </a:lnTo>
                <a:lnTo>
                  <a:pt x="2382" y="8056"/>
                </a:lnTo>
                <a:lnTo>
                  <a:pt x="2380" y="8063"/>
                </a:lnTo>
                <a:lnTo>
                  <a:pt x="2384" y="8058"/>
                </a:lnTo>
                <a:lnTo>
                  <a:pt x="2391" y="8041"/>
                </a:lnTo>
                <a:close/>
                <a:moveTo>
                  <a:pt x="2377" y="8069"/>
                </a:moveTo>
                <a:lnTo>
                  <a:pt x="2376" y="8072"/>
                </a:lnTo>
                <a:lnTo>
                  <a:pt x="2377" y="8069"/>
                </a:lnTo>
                <a:lnTo>
                  <a:pt x="2373" y="8072"/>
                </a:lnTo>
                <a:lnTo>
                  <a:pt x="2377" y="8069"/>
                </a:lnTo>
                <a:close/>
                <a:moveTo>
                  <a:pt x="2333" y="7985"/>
                </a:moveTo>
                <a:lnTo>
                  <a:pt x="2325" y="7996"/>
                </a:lnTo>
                <a:lnTo>
                  <a:pt x="2317" y="8007"/>
                </a:lnTo>
                <a:lnTo>
                  <a:pt x="2311" y="8016"/>
                </a:lnTo>
                <a:lnTo>
                  <a:pt x="2305" y="8024"/>
                </a:lnTo>
                <a:lnTo>
                  <a:pt x="2316" y="8021"/>
                </a:lnTo>
                <a:lnTo>
                  <a:pt x="2326" y="8016"/>
                </a:lnTo>
                <a:lnTo>
                  <a:pt x="2330" y="8010"/>
                </a:lnTo>
                <a:lnTo>
                  <a:pt x="2333" y="8004"/>
                </a:lnTo>
                <a:lnTo>
                  <a:pt x="2334" y="7996"/>
                </a:lnTo>
                <a:lnTo>
                  <a:pt x="2333" y="7985"/>
                </a:lnTo>
                <a:close/>
                <a:moveTo>
                  <a:pt x="2301" y="8026"/>
                </a:moveTo>
                <a:lnTo>
                  <a:pt x="2302" y="8024"/>
                </a:lnTo>
                <a:lnTo>
                  <a:pt x="2301" y="8026"/>
                </a:lnTo>
                <a:lnTo>
                  <a:pt x="2301" y="8026"/>
                </a:lnTo>
                <a:lnTo>
                  <a:pt x="2301" y="8026"/>
                </a:lnTo>
                <a:lnTo>
                  <a:pt x="2301" y="8026"/>
                </a:lnTo>
                <a:lnTo>
                  <a:pt x="2303" y="8027"/>
                </a:lnTo>
                <a:lnTo>
                  <a:pt x="2302" y="8026"/>
                </a:lnTo>
                <a:lnTo>
                  <a:pt x="2302" y="8026"/>
                </a:lnTo>
                <a:lnTo>
                  <a:pt x="2301" y="8026"/>
                </a:lnTo>
                <a:close/>
                <a:moveTo>
                  <a:pt x="2296" y="7760"/>
                </a:moveTo>
                <a:lnTo>
                  <a:pt x="2293" y="7766"/>
                </a:lnTo>
                <a:lnTo>
                  <a:pt x="2296" y="7760"/>
                </a:lnTo>
                <a:lnTo>
                  <a:pt x="2284" y="7758"/>
                </a:lnTo>
                <a:lnTo>
                  <a:pt x="2281" y="7760"/>
                </a:lnTo>
                <a:lnTo>
                  <a:pt x="2284" y="7760"/>
                </a:lnTo>
                <a:lnTo>
                  <a:pt x="2296" y="7760"/>
                </a:lnTo>
                <a:close/>
                <a:moveTo>
                  <a:pt x="2275" y="7760"/>
                </a:moveTo>
                <a:lnTo>
                  <a:pt x="2273" y="7756"/>
                </a:lnTo>
                <a:lnTo>
                  <a:pt x="2272" y="7757"/>
                </a:lnTo>
                <a:lnTo>
                  <a:pt x="2272" y="7758"/>
                </a:lnTo>
                <a:lnTo>
                  <a:pt x="2273" y="7757"/>
                </a:lnTo>
                <a:lnTo>
                  <a:pt x="2272" y="7758"/>
                </a:lnTo>
                <a:lnTo>
                  <a:pt x="2273" y="7758"/>
                </a:lnTo>
                <a:lnTo>
                  <a:pt x="2274" y="7760"/>
                </a:lnTo>
                <a:lnTo>
                  <a:pt x="2275" y="7760"/>
                </a:lnTo>
                <a:close/>
                <a:moveTo>
                  <a:pt x="1953" y="7378"/>
                </a:moveTo>
                <a:lnTo>
                  <a:pt x="1960" y="7374"/>
                </a:lnTo>
                <a:lnTo>
                  <a:pt x="1962" y="7369"/>
                </a:lnTo>
                <a:lnTo>
                  <a:pt x="1963" y="7365"/>
                </a:lnTo>
                <a:lnTo>
                  <a:pt x="1961" y="7361"/>
                </a:lnTo>
                <a:lnTo>
                  <a:pt x="1958" y="7360"/>
                </a:lnTo>
                <a:lnTo>
                  <a:pt x="1955" y="7361"/>
                </a:lnTo>
                <a:lnTo>
                  <a:pt x="1951" y="7365"/>
                </a:lnTo>
                <a:lnTo>
                  <a:pt x="1948" y="7373"/>
                </a:lnTo>
                <a:lnTo>
                  <a:pt x="1949" y="7374"/>
                </a:lnTo>
                <a:lnTo>
                  <a:pt x="1953" y="7378"/>
                </a:lnTo>
                <a:close/>
                <a:moveTo>
                  <a:pt x="11462" y="4582"/>
                </a:moveTo>
                <a:lnTo>
                  <a:pt x="11459" y="4582"/>
                </a:lnTo>
                <a:lnTo>
                  <a:pt x="11456" y="4582"/>
                </a:lnTo>
                <a:lnTo>
                  <a:pt x="11456" y="4585"/>
                </a:lnTo>
                <a:lnTo>
                  <a:pt x="11457" y="4585"/>
                </a:lnTo>
                <a:lnTo>
                  <a:pt x="11459" y="4586"/>
                </a:lnTo>
                <a:lnTo>
                  <a:pt x="11461" y="4586"/>
                </a:lnTo>
                <a:lnTo>
                  <a:pt x="11462" y="4585"/>
                </a:lnTo>
                <a:lnTo>
                  <a:pt x="11464" y="4584"/>
                </a:lnTo>
                <a:lnTo>
                  <a:pt x="11464" y="4584"/>
                </a:lnTo>
                <a:lnTo>
                  <a:pt x="11462" y="4582"/>
                </a:lnTo>
                <a:close/>
                <a:moveTo>
                  <a:pt x="11646" y="4356"/>
                </a:moveTo>
                <a:lnTo>
                  <a:pt x="11650" y="4355"/>
                </a:lnTo>
                <a:lnTo>
                  <a:pt x="11652" y="4353"/>
                </a:lnTo>
                <a:lnTo>
                  <a:pt x="11655" y="4351"/>
                </a:lnTo>
                <a:lnTo>
                  <a:pt x="11653" y="4347"/>
                </a:lnTo>
                <a:lnTo>
                  <a:pt x="11647" y="4350"/>
                </a:lnTo>
                <a:lnTo>
                  <a:pt x="11641" y="4351"/>
                </a:lnTo>
                <a:lnTo>
                  <a:pt x="11639" y="4352"/>
                </a:lnTo>
                <a:lnTo>
                  <a:pt x="11639" y="4353"/>
                </a:lnTo>
                <a:lnTo>
                  <a:pt x="11641" y="4355"/>
                </a:lnTo>
                <a:lnTo>
                  <a:pt x="11646" y="4356"/>
                </a:lnTo>
                <a:close/>
                <a:moveTo>
                  <a:pt x="12963" y="4448"/>
                </a:moveTo>
                <a:lnTo>
                  <a:pt x="12965" y="4445"/>
                </a:lnTo>
                <a:lnTo>
                  <a:pt x="12966" y="4441"/>
                </a:lnTo>
                <a:lnTo>
                  <a:pt x="12966" y="4439"/>
                </a:lnTo>
                <a:lnTo>
                  <a:pt x="12965" y="4436"/>
                </a:lnTo>
                <a:lnTo>
                  <a:pt x="12963" y="4435"/>
                </a:lnTo>
                <a:lnTo>
                  <a:pt x="12960" y="4432"/>
                </a:lnTo>
                <a:lnTo>
                  <a:pt x="12955" y="4431"/>
                </a:lnTo>
                <a:lnTo>
                  <a:pt x="12951" y="4431"/>
                </a:lnTo>
                <a:lnTo>
                  <a:pt x="12949" y="4435"/>
                </a:lnTo>
                <a:lnTo>
                  <a:pt x="12947" y="4439"/>
                </a:lnTo>
                <a:lnTo>
                  <a:pt x="12947" y="4442"/>
                </a:lnTo>
                <a:lnTo>
                  <a:pt x="12949" y="4444"/>
                </a:lnTo>
                <a:lnTo>
                  <a:pt x="12951" y="4446"/>
                </a:lnTo>
                <a:lnTo>
                  <a:pt x="12954" y="4448"/>
                </a:lnTo>
                <a:lnTo>
                  <a:pt x="12958" y="4448"/>
                </a:lnTo>
                <a:lnTo>
                  <a:pt x="12963" y="4448"/>
                </a:lnTo>
                <a:close/>
                <a:moveTo>
                  <a:pt x="11340" y="4581"/>
                </a:moveTo>
                <a:lnTo>
                  <a:pt x="11326" y="4586"/>
                </a:lnTo>
                <a:lnTo>
                  <a:pt x="11305" y="4594"/>
                </a:lnTo>
                <a:lnTo>
                  <a:pt x="11313" y="4594"/>
                </a:lnTo>
                <a:lnTo>
                  <a:pt x="11322" y="4594"/>
                </a:lnTo>
                <a:lnTo>
                  <a:pt x="11331" y="4594"/>
                </a:lnTo>
                <a:lnTo>
                  <a:pt x="11339" y="4593"/>
                </a:lnTo>
                <a:lnTo>
                  <a:pt x="11345" y="4590"/>
                </a:lnTo>
                <a:lnTo>
                  <a:pt x="11347" y="4588"/>
                </a:lnTo>
                <a:lnTo>
                  <a:pt x="11345" y="4585"/>
                </a:lnTo>
                <a:lnTo>
                  <a:pt x="11340" y="4581"/>
                </a:lnTo>
                <a:close/>
                <a:moveTo>
                  <a:pt x="2542" y="7547"/>
                </a:moveTo>
                <a:lnTo>
                  <a:pt x="2543" y="7546"/>
                </a:lnTo>
                <a:lnTo>
                  <a:pt x="2543" y="7546"/>
                </a:lnTo>
                <a:lnTo>
                  <a:pt x="2543" y="7546"/>
                </a:lnTo>
                <a:lnTo>
                  <a:pt x="2542" y="7547"/>
                </a:lnTo>
                <a:close/>
                <a:moveTo>
                  <a:pt x="2475" y="7654"/>
                </a:moveTo>
                <a:lnTo>
                  <a:pt x="2502" y="7632"/>
                </a:lnTo>
                <a:lnTo>
                  <a:pt x="2531" y="7604"/>
                </a:lnTo>
                <a:lnTo>
                  <a:pt x="2544" y="7589"/>
                </a:lnTo>
                <a:lnTo>
                  <a:pt x="2551" y="7575"/>
                </a:lnTo>
                <a:lnTo>
                  <a:pt x="2551" y="7560"/>
                </a:lnTo>
                <a:lnTo>
                  <a:pt x="2542" y="7547"/>
                </a:lnTo>
                <a:lnTo>
                  <a:pt x="2533" y="7560"/>
                </a:lnTo>
                <a:lnTo>
                  <a:pt x="2520" y="7573"/>
                </a:lnTo>
                <a:lnTo>
                  <a:pt x="2505" y="7585"/>
                </a:lnTo>
                <a:lnTo>
                  <a:pt x="2491" y="7599"/>
                </a:lnTo>
                <a:lnTo>
                  <a:pt x="2479" y="7612"/>
                </a:lnTo>
                <a:lnTo>
                  <a:pt x="2470" y="7626"/>
                </a:lnTo>
                <a:lnTo>
                  <a:pt x="2469" y="7640"/>
                </a:lnTo>
                <a:lnTo>
                  <a:pt x="2475" y="7654"/>
                </a:lnTo>
                <a:close/>
                <a:moveTo>
                  <a:pt x="2060" y="7956"/>
                </a:moveTo>
                <a:lnTo>
                  <a:pt x="2081" y="7944"/>
                </a:lnTo>
                <a:lnTo>
                  <a:pt x="2098" y="7935"/>
                </a:lnTo>
                <a:lnTo>
                  <a:pt x="2114" y="7925"/>
                </a:lnTo>
                <a:lnTo>
                  <a:pt x="2126" y="7915"/>
                </a:lnTo>
                <a:lnTo>
                  <a:pt x="2139" y="7904"/>
                </a:lnTo>
                <a:lnTo>
                  <a:pt x="2151" y="7891"/>
                </a:lnTo>
                <a:lnTo>
                  <a:pt x="2161" y="7876"/>
                </a:lnTo>
                <a:lnTo>
                  <a:pt x="2172" y="7856"/>
                </a:lnTo>
                <a:lnTo>
                  <a:pt x="2170" y="7831"/>
                </a:lnTo>
                <a:lnTo>
                  <a:pt x="2151" y="7830"/>
                </a:lnTo>
                <a:lnTo>
                  <a:pt x="2123" y="7845"/>
                </a:lnTo>
                <a:lnTo>
                  <a:pt x="2091" y="7870"/>
                </a:lnTo>
                <a:lnTo>
                  <a:pt x="2063" y="7900"/>
                </a:lnTo>
                <a:lnTo>
                  <a:pt x="2044" y="7929"/>
                </a:lnTo>
                <a:lnTo>
                  <a:pt x="2041" y="7949"/>
                </a:lnTo>
                <a:lnTo>
                  <a:pt x="2060" y="7956"/>
                </a:lnTo>
                <a:close/>
                <a:moveTo>
                  <a:pt x="2552" y="7828"/>
                </a:moveTo>
                <a:lnTo>
                  <a:pt x="2571" y="7823"/>
                </a:lnTo>
                <a:lnTo>
                  <a:pt x="2590" y="7814"/>
                </a:lnTo>
                <a:lnTo>
                  <a:pt x="2609" y="7804"/>
                </a:lnTo>
                <a:lnTo>
                  <a:pt x="2627" y="7792"/>
                </a:lnTo>
                <a:lnTo>
                  <a:pt x="2642" y="7776"/>
                </a:lnTo>
                <a:lnTo>
                  <a:pt x="2655" y="7760"/>
                </a:lnTo>
                <a:lnTo>
                  <a:pt x="2664" y="7742"/>
                </a:lnTo>
                <a:lnTo>
                  <a:pt x="2666" y="7724"/>
                </a:lnTo>
                <a:lnTo>
                  <a:pt x="2647" y="7713"/>
                </a:lnTo>
                <a:lnTo>
                  <a:pt x="2624" y="7714"/>
                </a:lnTo>
                <a:lnTo>
                  <a:pt x="2600" y="7725"/>
                </a:lnTo>
                <a:lnTo>
                  <a:pt x="2579" y="7743"/>
                </a:lnTo>
                <a:lnTo>
                  <a:pt x="2559" y="7766"/>
                </a:lnTo>
                <a:lnTo>
                  <a:pt x="2547" y="7789"/>
                </a:lnTo>
                <a:lnTo>
                  <a:pt x="2544" y="7811"/>
                </a:lnTo>
                <a:lnTo>
                  <a:pt x="2552" y="7828"/>
                </a:lnTo>
                <a:close/>
                <a:moveTo>
                  <a:pt x="2116" y="8096"/>
                </a:moveTo>
                <a:lnTo>
                  <a:pt x="2138" y="8133"/>
                </a:lnTo>
                <a:lnTo>
                  <a:pt x="2163" y="8149"/>
                </a:lnTo>
                <a:lnTo>
                  <a:pt x="2189" y="8150"/>
                </a:lnTo>
                <a:lnTo>
                  <a:pt x="2217" y="8139"/>
                </a:lnTo>
                <a:lnTo>
                  <a:pt x="2242" y="8117"/>
                </a:lnTo>
                <a:lnTo>
                  <a:pt x="2267" y="8089"/>
                </a:lnTo>
                <a:lnTo>
                  <a:pt x="2286" y="8058"/>
                </a:lnTo>
                <a:lnTo>
                  <a:pt x="2301" y="8026"/>
                </a:lnTo>
                <a:lnTo>
                  <a:pt x="2273" y="8016"/>
                </a:lnTo>
                <a:lnTo>
                  <a:pt x="2245" y="8010"/>
                </a:lnTo>
                <a:lnTo>
                  <a:pt x="2217" y="8010"/>
                </a:lnTo>
                <a:lnTo>
                  <a:pt x="2191" y="8016"/>
                </a:lnTo>
                <a:lnTo>
                  <a:pt x="2168" y="8026"/>
                </a:lnTo>
                <a:lnTo>
                  <a:pt x="2148" y="8042"/>
                </a:lnTo>
                <a:lnTo>
                  <a:pt x="2130" y="8065"/>
                </a:lnTo>
                <a:lnTo>
                  <a:pt x="2116" y="8096"/>
                </a:lnTo>
                <a:close/>
                <a:moveTo>
                  <a:pt x="1642" y="4272"/>
                </a:moveTo>
                <a:lnTo>
                  <a:pt x="1641" y="4280"/>
                </a:lnTo>
                <a:lnTo>
                  <a:pt x="1644" y="4285"/>
                </a:lnTo>
                <a:lnTo>
                  <a:pt x="1648" y="4290"/>
                </a:lnTo>
                <a:lnTo>
                  <a:pt x="1653" y="4295"/>
                </a:lnTo>
                <a:lnTo>
                  <a:pt x="1655" y="4292"/>
                </a:lnTo>
                <a:lnTo>
                  <a:pt x="1657" y="4288"/>
                </a:lnTo>
                <a:lnTo>
                  <a:pt x="1655" y="4285"/>
                </a:lnTo>
                <a:lnTo>
                  <a:pt x="1654" y="4280"/>
                </a:lnTo>
                <a:lnTo>
                  <a:pt x="1651" y="4276"/>
                </a:lnTo>
                <a:lnTo>
                  <a:pt x="1648" y="4273"/>
                </a:lnTo>
                <a:lnTo>
                  <a:pt x="1645" y="4271"/>
                </a:lnTo>
                <a:lnTo>
                  <a:pt x="1642" y="4272"/>
                </a:lnTo>
                <a:close/>
                <a:moveTo>
                  <a:pt x="1828" y="4432"/>
                </a:moveTo>
                <a:lnTo>
                  <a:pt x="1826" y="4430"/>
                </a:lnTo>
                <a:lnTo>
                  <a:pt x="1823" y="4428"/>
                </a:lnTo>
                <a:lnTo>
                  <a:pt x="1821" y="4428"/>
                </a:lnTo>
                <a:lnTo>
                  <a:pt x="1820" y="4430"/>
                </a:lnTo>
                <a:lnTo>
                  <a:pt x="1817" y="4434"/>
                </a:lnTo>
                <a:lnTo>
                  <a:pt x="1816" y="4440"/>
                </a:lnTo>
                <a:lnTo>
                  <a:pt x="1818" y="4442"/>
                </a:lnTo>
                <a:lnTo>
                  <a:pt x="1821" y="4442"/>
                </a:lnTo>
                <a:lnTo>
                  <a:pt x="1823" y="4442"/>
                </a:lnTo>
                <a:lnTo>
                  <a:pt x="1826" y="4441"/>
                </a:lnTo>
                <a:lnTo>
                  <a:pt x="1828" y="4440"/>
                </a:lnTo>
                <a:lnTo>
                  <a:pt x="1830" y="4437"/>
                </a:lnTo>
                <a:lnTo>
                  <a:pt x="1830" y="4435"/>
                </a:lnTo>
                <a:lnTo>
                  <a:pt x="1828" y="4432"/>
                </a:lnTo>
                <a:close/>
                <a:moveTo>
                  <a:pt x="1883" y="4907"/>
                </a:moveTo>
                <a:lnTo>
                  <a:pt x="1873" y="4908"/>
                </a:lnTo>
                <a:lnTo>
                  <a:pt x="1862" y="4910"/>
                </a:lnTo>
                <a:lnTo>
                  <a:pt x="1858" y="4911"/>
                </a:lnTo>
                <a:lnTo>
                  <a:pt x="1854" y="4913"/>
                </a:lnTo>
                <a:lnTo>
                  <a:pt x="1851" y="4917"/>
                </a:lnTo>
                <a:lnTo>
                  <a:pt x="1853" y="4922"/>
                </a:lnTo>
                <a:lnTo>
                  <a:pt x="1856" y="4924"/>
                </a:lnTo>
                <a:lnTo>
                  <a:pt x="1862" y="4925"/>
                </a:lnTo>
                <a:lnTo>
                  <a:pt x="1865" y="4925"/>
                </a:lnTo>
                <a:lnTo>
                  <a:pt x="1869" y="4924"/>
                </a:lnTo>
                <a:lnTo>
                  <a:pt x="1873" y="4921"/>
                </a:lnTo>
                <a:lnTo>
                  <a:pt x="1877" y="4917"/>
                </a:lnTo>
                <a:lnTo>
                  <a:pt x="1881" y="4912"/>
                </a:lnTo>
                <a:lnTo>
                  <a:pt x="1883" y="4907"/>
                </a:lnTo>
                <a:close/>
                <a:moveTo>
                  <a:pt x="3419" y="3469"/>
                </a:moveTo>
                <a:lnTo>
                  <a:pt x="3414" y="3464"/>
                </a:lnTo>
                <a:lnTo>
                  <a:pt x="3409" y="3460"/>
                </a:lnTo>
                <a:lnTo>
                  <a:pt x="3404" y="3457"/>
                </a:lnTo>
                <a:lnTo>
                  <a:pt x="3397" y="3456"/>
                </a:lnTo>
                <a:lnTo>
                  <a:pt x="3390" y="3456"/>
                </a:lnTo>
                <a:lnTo>
                  <a:pt x="3383" y="3456"/>
                </a:lnTo>
                <a:lnTo>
                  <a:pt x="3374" y="3457"/>
                </a:lnTo>
                <a:lnTo>
                  <a:pt x="3366" y="3460"/>
                </a:lnTo>
                <a:lnTo>
                  <a:pt x="3373" y="3470"/>
                </a:lnTo>
                <a:lnTo>
                  <a:pt x="3378" y="3478"/>
                </a:lnTo>
                <a:lnTo>
                  <a:pt x="3385" y="3483"/>
                </a:lnTo>
                <a:lnTo>
                  <a:pt x="3391" y="3485"/>
                </a:lnTo>
                <a:lnTo>
                  <a:pt x="3397" y="3485"/>
                </a:lnTo>
                <a:lnTo>
                  <a:pt x="3404" y="3483"/>
                </a:lnTo>
                <a:lnTo>
                  <a:pt x="3411" y="3476"/>
                </a:lnTo>
                <a:lnTo>
                  <a:pt x="3419" y="3469"/>
                </a:lnTo>
                <a:close/>
                <a:moveTo>
                  <a:pt x="13187" y="6069"/>
                </a:moveTo>
                <a:lnTo>
                  <a:pt x="13177" y="6067"/>
                </a:lnTo>
                <a:lnTo>
                  <a:pt x="13168" y="6065"/>
                </a:lnTo>
                <a:lnTo>
                  <a:pt x="13160" y="6065"/>
                </a:lnTo>
                <a:lnTo>
                  <a:pt x="13152" y="6067"/>
                </a:lnTo>
                <a:lnTo>
                  <a:pt x="13140" y="6072"/>
                </a:lnTo>
                <a:lnTo>
                  <a:pt x="13126" y="6078"/>
                </a:lnTo>
                <a:lnTo>
                  <a:pt x="13124" y="6078"/>
                </a:lnTo>
                <a:lnTo>
                  <a:pt x="13126" y="6078"/>
                </a:lnTo>
                <a:lnTo>
                  <a:pt x="13126" y="6078"/>
                </a:lnTo>
                <a:lnTo>
                  <a:pt x="13126" y="6078"/>
                </a:lnTo>
                <a:lnTo>
                  <a:pt x="13141" y="6079"/>
                </a:lnTo>
                <a:lnTo>
                  <a:pt x="13155" y="6079"/>
                </a:lnTo>
                <a:lnTo>
                  <a:pt x="13163" y="6078"/>
                </a:lnTo>
                <a:lnTo>
                  <a:pt x="13170" y="6077"/>
                </a:lnTo>
                <a:lnTo>
                  <a:pt x="13178" y="6073"/>
                </a:lnTo>
                <a:lnTo>
                  <a:pt x="13187" y="6069"/>
                </a:lnTo>
                <a:close/>
                <a:moveTo>
                  <a:pt x="4279" y="9595"/>
                </a:moveTo>
                <a:lnTo>
                  <a:pt x="4281" y="9593"/>
                </a:lnTo>
                <a:lnTo>
                  <a:pt x="4279" y="9595"/>
                </a:lnTo>
                <a:lnTo>
                  <a:pt x="4281" y="9594"/>
                </a:lnTo>
                <a:lnTo>
                  <a:pt x="4279" y="9595"/>
                </a:lnTo>
                <a:close/>
                <a:moveTo>
                  <a:pt x="12945" y="6208"/>
                </a:moveTo>
                <a:lnTo>
                  <a:pt x="12949" y="6205"/>
                </a:lnTo>
                <a:lnTo>
                  <a:pt x="12949" y="6205"/>
                </a:lnTo>
                <a:lnTo>
                  <a:pt x="12946" y="6207"/>
                </a:lnTo>
                <a:lnTo>
                  <a:pt x="12945" y="6208"/>
                </a:lnTo>
                <a:close/>
                <a:moveTo>
                  <a:pt x="13784" y="5577"/>
                </a:moveTo>
                <a:lnTo>
                  <a:pt x="13787" y="5574"/>
                </a:lnTo>
                <a:lnTo>
                  <a:pt x="13785" y="5574"/>
                </a:lnTo>
                <a:lnTo>
                  <a:pt x="13784" y="5574"/>
                </a:lnTo>
                <a:lnTo>
                  <a:pt x="13783" y="5574"/>
                </a:lnTo>
                <a:lnTo>
                  <a:pt x="13784" y="5577"/>
                </a:lnTo>
                <a:close/>
                <a:moveTo>
                  <a:pt x="13590" y="5892"/>
                </a:moveTo>
                <a:lnTo>
                  <a:pt x="13592" y="5894"/>
                </a:lnTo>
                <a:lnTo>
                  <a:pt x="13590" y="5892"/>
                </a:lnTo>
                <a:lnTo>
                  <a:pt x="13588" y="5896"/>
                </a:lnTo>
                <a:lnTo>
                  <a:pt x="13590" y="5892"/>
                </a:lnTo>
                <a:close/>
                <a:moveTo>
                  <a:pt x="13191" y="5484"/>
                </a:moveTo>
                <a:lnTo>
                  <a:pt x="13193" y="5485"/>
                </a:lnTo>
                <a:lnTo>
                  <a:pt x="13194" y="5485"/>
                </a:lnTo>
                <a:lnTo>
                  <a:pt x="13196" y="5484"/>
                </a:lnTo>
                <a:lnTo>
                  <a:pt x="13194" y="5481"/>
                </a:lnTo>
                <a:lnTo>
                  <a:pt x="13191" y="5484"/>
                </a:lnTo>
                <a:close/>
                <a:moveTo>
                  <a:pt x="12709" y="5668"/>
                </a:moveTo>
                <a:lnTo>
                  <a:pt x="12709" y="5667"/>
                </a:lnTo>
                <a:lnTo>
                  <a:pt x="12709" y="5667"/>
                </a:lnTo>
                <a:lnTo>
                  <a:pt x="12708" y="5667"/>
                </a:lnTo>
                <a:lnTo>
                  <a:pt x="12707" y="5667"/>
                </a:lnTo>
                <a:lnTo>
                  <a:pt x="12707" y="5667"/>
                </a:lnTo>
                <a:lnTo>
                  <a:pt x="12709" y="5668"/>
                </a:lnTo>
                <a:close/>
                <a:moveTo>
                  <a:pt x="12699" y="5670"/>
                </a:moveTo>
                <a:lnTo>
                  <a:pt x="12703" y="5668"/>
                </a:lnTo>
                <a:lnTo>
                  <a:pt x="12707" y="5667"/>
                </a:lnTo>
                <a:lnTo>
                  <a:pt x="12703" y="5667"/>
                </a:lnTo>
                <a:lnTo>
                  <a:pt x="12699" y="5670"/>
                </a:lnTo>
                <a:close/>
                <a:moveTo>
                  <a:pt x="13700" y="5860"/>
                </a:moveTo>
                <a:lnTo>
                  <a:pt x="13699" y="5862"/>
                </a:lnTo>
                <a:lnTo>
                  <a:pt x="13699" y="5863"/>
                </a:lnTo>
                <a:lnTo>
                  <a:pt x="13699" y="5866"/>
                </a:lnTo>
                <a:lnTo>
                  <a:pt x="13701" y="5867"/>
                </a:lnTo>
                <a:lnTo>
                  <a:pt x="13703" y="5864"/>
                </a:lnTo>
                <a:lnTo>
                  <a:pt x="13704" y="5862"/>
                </a:lnTo>
                <a:lnTo>
                  <a:pt x="13704" y="5860"/>
                </a:lnTo>
                <a:lnTo>
                  <a:pt x="13700" y="5860"/>
                </a:lnTo>
                <a:close/>
                <a:moveTo>
                  <a:pt x="13536" y="5443"/>
                </a:moveTo>
                <a:lnTo>
                  <a:pt x="13533" y="5444"/>
                </a:lnTo>
                <a:lnTo>
                  <a:pt x="13536" y="5443"/>
                </a:lnTo>
                <a:lnTo>
                  <a:pt x="13532" y="5444"/>
                </a:lnTo>
                <a:lnTo>
                  <a:pt x="13536" y="5443"/>
                </a:lnTo>
                <a:close/>
                <a:moveTo>
                  <a:pt x="12945" y="5629"/>
                </a:moveTo>
                <a:lnTo>
                  <a:pt x="12946" y="5629"/>
                </a:lnTo>
                <a:lnTo>
                  <a:pt x="12945" y="5629"/>
                </a:lnTo>
                <a:lnTo>
                  <a:pt x="12947" y="5633"/>
                </a:lnTo>
                <a:lnTo>
                  <a:pt x="12945" y="5629"/>
                </a:lnTo>
                <a:close/>
                <a:moveTo>
                  <a:pt x="13587" y="6086"/>
                </a:moveTo>
                <a:lnTo>
                  <a:pt x="13584" y="6086"/>
                </a:lnTo>
                <a:lnTo>
                  <a:pt x="13583" y="6086"/>
                </a:lnTo>
                <a:lnTo>
                  <a:pt x="13583" y="6086"/>
                </a:lnTo>
                <a:lnTo>
                  <a:pt x="13583" y="6088"/>
                </a:lnTo>
                <a:lnTo>
                  <a:pt x="13587" y="6086"/>
                </a:lnTo>
                <a:close/>
                <a:moveTo>
                  <a:pt x="13766" y="5821"/>
                </a:moveTo>
                <a:lnTo>
                  <a:pt x="13769" y="5818"/>
                </a:lnTo>
                <a:lnTo>
                  <a:pt x="13766" y="5818"/>
                </a:lnTo>
                <a:lnTo>
                  <a:pt x="13765" y="5818"/>
                </a:lnTo>
                <a:lnTo>
                  <a:pt x="13765" y="5820"/>
                </a:lnTo>
                <a:lnTo>
                  <a:pt x="13766" y="5821"/>
                </a:lnTo>
                <a:close/>
                <a:moveTo>
                  <a:pt x="13077" y="6259"/>
                </a:moveTo>
                <a:lnTo>
                  <a:pt x="13072" y="6259"/>
                </a:lnTo>
                <a:lnTo>
                  <a:pt x="13073" y="6261"/>
                </a:lnTo>
                <a:lnTo>
                  <a:pt x="13075" y="6263"/>
                </a:lnTo>
                <a:lnTo>
                  <a:pt x="13076" y="6261"/>
                </a:lnTo>
                <a:lnTo>
                  <a:pt x="13077" y="6259"/>
                </a:lnTo>
                <a:close/>
                <a:moveTo>
                  <a:pt x="12550" y="6002"/>
                </a:moveTo>
                <a:lnTo>
                  <a:pt x="12546" y="6001"/>
                </a:lnTo>
                <a:lnTo>
                  <a:pt x="12544" y="5999"/>
                </a:lnTo>
                <a:lnTo>
                  <a:pt x="12544" y="6003"/>
                </a:lnTo>
                <a:lnTo>
                  <a:pt x="12545" y="6003"/>
                </a:lnTo>
                <a:lnTo>
                  <a:pt x="12547" y="6003"/>
                </a:lnTo>
                <a:lnTo>
                  <a:pt x="12550" y="6002"/>
                </a:lnTo>
                <a:close/>
                <a:moveTo>
                  <a:pt x="13135" y="4959"/>
                </a:moveTo>
                <a:lnTo>
                  <a:pt x="13129" y="4959"/>
                </a:lnTo>
                <a:lnTo>
                  <a:pt x="13126" y="4962"/>
                </a:lnTo>
                <a:lnTo>
                  <a:pt x="13122" y="4966"/>
                </a:lnTo>
                <a:lnTo>
                  <a:pt x="13118" y="4969"/>
                </a:lnTo>
                <a:lnTo>
                  <a:pt x="13135" y="4959"/>
                </a:lnTo>
                <a:close/>
                <a:moveTo>
                  <a:pt x="13118" y="4969"/>
                </a:moveTo>
                <a:lnTo>
                  <a:pt x="13123" y="4968"/>
                </a:lnTo>
                <a:lnTo>
                  <a:pt x="13128" y="4967"/>
                </a:lnTo>
                <a:lnTo>
                  <a:pt x="13131" y="4966"/>
                </a:lnTo>
                <a:lnTo>
                  <a:pt x="13132" y="4964"/>
                </a:lnTo>
                <a:lnTo>
                  <a:pt x="13133" y="4962"/>
                </a:lnTo>
                <a:lnTo>
                  <a:pt x="13135" y="4959"/>
                </a:lnTo>
                <a:lnTo>
                  <a:pt x="13118" y="4969"/>
                </a:lnTo>
                <a:close/>
                <a:moveTo>
                  <a:pt x="13118" y="4969"/>
                </a:moveTo>
                <a:lnTo>
                  <a:pt x="13117" y="4969"/>
                </a:lnTo>
                <a:lnTo>
                  <a:pt x="13115" y="4969"/>
                </a:lnTo>
                <a:lnTo>
                  <a:pt x="13115" y="4971"/>
                </a:lnTo>
                <a:lnTo>
                  <a:pt x="13118" y="4969"/>
                </a:lnTo>
                <a:close/>
                <a:moveTo>
                  <a:pt x="13566" y="6044"/>
                </a:moveTo>
                <a:lnTo>
                  <a:pt x="13564" y="6044"/>
                </a:lnTo>
                <a:lnTo>
                  <a:pt x="13566" y="6044"/>
                </a:lnTo>
                <a:lnTo>
                  <a:pt x="13562" y="6041"/>
                </a:lnTo>
                <a:lnTo>
                  <a:pt x="13566" y="6044"/>
                </a:lnTo>
                <a:close/>
                <a:moveTo>
                  <a:pt x="13647" y="4901"/>
                </a:moveTo>
                <a:lnTo>
                  <a:pt x="13647" y="4899"/>
                </a:lnTo>
                <a:lnTo>
                  <a:pt x="13645" y="4898"/>
                </a:lnTo>
                <a:lnTo>
                  <a:pt x="13644" y="4897"/>
                </a:lnTo>
                <a:lnTo>
                  <a:pt x="13641" y="4898"/>
                </a:lnTo>
                <a:lnTo>
                  <a:pt x="13641" y="4901"/>
                </a:lnTo>
                <a:lnTo>
                  <a:pt x="13643" y="4902"/>
                </a:lnTo>
                <a:lnTo>
                  <a:pt x="13644" y="4902"/>
                </a:lnTo>
                <a:lnTo>
                  <a:pt x="13647" y="4901"/>
                </a:lnTo>
                <a:close/>
                <a:moveTo>
                  <a:pt x="12988" y="5307"/>
                </a:moveTo>
                <a:lnTo>
                  <a:pt x="12986" y="5304"/>
                </a:lnTo>
                <a:lnTo>
                  <a:pt x="12983" y="5304"/>
                </a:lnTo>
                <a:lnTo>
                  <a:pt x="12982" y="5306"/>
                </a:lnTo>
                <a:lnTo>
                  <a:pt x="12979" y="5308"/>
                </a:lnTo>
                <a:lnTo>
                  <a:pt x="12982" y="5309"/>
                </a:lnTo>
                <a:lnTo>
                  <a:pt x="12984" y="5309"/>
                </a:lnTo>
                <a:lnTo>
                  <a:pt x="12987" y="5308"/>
                </a:lnTo>
                <a:lnTo>
                  <a:pt x="12988" y="5307"/>
                </a:lnTo>
                <a:close/>
                <a:moveTo>
                  <a:pt x="13761" y="6269"/>
                </a:moveTo>
                <a:lnTo>
                  <a:pt x="13764" y="6270"/>
                </a:lnTo>
                <a:lnTo>
                  <a:pt x="13767" y="6273"/>
                </a:lnTo>
                <a:lnTo>
                  <a:pt x="13770" y="6274"/>
                </a:lnTo>
                <a:lnTo>
                  <a:pt x="13775" y="6274"/>
                </a:lnTo>
                <a:lnTo>
                  <a:pt x="13773" y="6270"/>
                </a:lnTo>
                <a:lnTo>
                  <a:pt x="13770" y="6268"/>
                </a:lnTo>
                <a:lnTo>
                  <a:pt x="13765" y="6268"/>
                </a:lnTo>
                <a:lnTo>
                  <a:pt x="13761" y="6269"/>
                </a:lnTo>
                <a:close/>
                <a:moveTo>
                  <a:pt x="13760" y="6268"/>
                </a:moveTo>
                <a:lnTo>
                  <a:pt x="13759" y="6268"/>
                </a:lnTo>
                <a:lnTo>
                  <a:pt x="13759" y="6269"/>
                </a:lnTo>
                <a:lnTo>
                  <a:pt x="13760" y="6269"/>
                </a:lnTo>
                <a:lnTo>
                  <a:pt x="13761" y="6269"/>
                </a:lnTo>
                <a:lnTo>
                  <a:pt x="13760" y="6268"/>
                </a:lnTo>
                <a:lnTo>
                  <a:pt x="13760" y="6268"/>
                </a:lnTo>
                <a:close/>
                <a:moveTo>
                  <a:pt x="5383" y="10444"/>
                </a:moveTo>
                <a:lnTo>
                  <a:pt x="5387" y="10447"/>
                </a:lnTo>
                <a:lnTo>
                  <a:pt x="5390" y="10449"/>
                </a:lnTo>
                <a:lnTo>
                  <a:pt x="5390" y="10447"/>
                </a:lnTo>
                <a:lnTo>
                  <a:pt x="5390" y="10444"/>
                </a:lnTo>
                <a:lnTo>
                  <a:pt x="5389" y="10443"/>
                </a:lnTo>
                <a:lnTo>
                  <a:pt x="5387" y="10442"/>
                </a:lnTo>
                <a:lnTo>
                  <a:pt x="5385" y="10440"/>
                </a:lnTo>
                <a:lnTo>
                  <a:pt x="5383" y="10440"/>
                </a:lnTo>
                <a:lnTo>
                  <a:pt x="5383" y="10442"/>
                </a:lnTo>
                <a:lnTo>
                  <a:pt x="5383" y="10444"/>
                </a:lnTo>
                <a:close/>
                <a:moveTo>
                  <a:pt x="4331" y="9602"/>
                </a:moveTo>
                <a:lnTo>
                  <a:pt x="4328" y="9603"/>
                </a:lnTo>
                <a:lnTo>
                  <a:pt x="4327" y="9604"/>
                </a:lnTo>
                <a:lnTo>
                  <a:pt x="4326" y="9607"/>
                </a:lnTo>
                <a:lnTo>
                  <a:pt x="4326" y="9609"/>
                </a:lnTo>
                <a:lnTo>
                  <a:pt x="4326" y="9614"/>
                </a:lnTo>
                <a:lnTo>
                  <a:pt x="4326" y="9619"/>
                </a:lnTo>
                <a:lnTo>
                  <a:pt x="4331" y="9616"/>
                </a:lnTo>
                <a:lnTo>
                  <a:pt x="4335" y="9612"/>
                </a:lnTo>
                <a:lnTo>
                  <a:pt x="4336" y="9609"/>
                </a:lnTo>
                <a:lnTo>
                  <a:pt x="4336" y="9607"/>
                </a:lnTo>
                <a:lnTo>
                  <a:pt x="4333" y="9604"/>
                </a:lnTo>
                <a:lnTo>
                  <a:pt x="4331" y="9602"/>
                </a:lnTo>
                <a:close/>
                <a:moveTo>
                  <a:pt x="13407" y="6413"/>
                </a:moveTo>
                <a:lnTo>
                  <a:pt x="13410" y="6415"/>
                </a:lnTo>
                <a:lnTo>
                  <a:pt x="13413" y="6415"/>
                </a:lnTo>
                <a:lnTo>
                  <a:pt x="13416" y="6413"/>
                </a:lnTo>
                <a:lnTo>
                  <a:pt x="13419" y="6412"/>
                </a:lnTo>
                <a:lnTo>
                  <a:pt x="13416" y="6409"/>
                </a:lnTo>
                <a:lnTo>
                  <a:pt x="13413" y="6410"/>
                </a:lnTo>
                <a:lnTo>
                  <a:pt x="13411" y="6412"/>
                </a:lnTo>
                <a:lnTo>
                  <a:pt x="13407" y="6413"/>
                </a:lnTo>
                <a:close/>
                <a:moveTo>
                  <a:pt x="12153" y="6239"/>
                </a:moveTo>
                <a:lnTo>
                  <a:pt x="12157" y="6241"/>
                </a:lnTo>
                <a:lnTo>
                  <a:pt x="12160" y="6241"/>
                </a:lnTo>
                <a:lnTo>
                  <a:pt x="12164" y="6239"/>
                </a:lnTo>
                <a:lnTo>
                  <a:pt x="12167" y="6235"/>
                </a:lnTo>
                <a:lnTo>
                  <a:pt x="12163" y="6233"/>
                </a:lnTo>
                <a:lnTo>
                  <a:pt x="12159" y="6235"/>
                </a:lnTo>
                <a:lnTo>
                  <a:pt x="12157" y="6237"/>
                </a:lnTo>
                <a:lnTo>
                  <a:pt x="12153" y="6239"/>
                </a:lnTo>
                <a:close/>
                <a:moveTo>
                  <a:pt x="13761" y="5720"/>
                </a:moveTo>
                <a:lnTo>
                  <a:pt x="13762" y="5720"/>
                </a:lnTo>
                <a:lnTo>
                  <a:pt x="13765" y="5720"/>
                </a:lnTo>
                <a:lnTo>
                  <a:pt x="13766" y="5719"/>
                </a:lnTo>
                <a:lnTo>
                  <a:pt x="13767" y="5718"/>
                </a:lnTo>
                <a:lnTo>
                  <a:pt x="13766" y="5718"/>
                </a:lnTo>
                <a:lnTo>
                  <a:pt x="13764" y="5718"/>
                </a:lnTo>
                <a:lnTo>
                  <a:pt x="13762" y="5719"/>
                </a:lnTo>
                <a:lnTo>
                  <a:pt x="13761" y="5720"/>
                </a:lnTo>
                <a:close/>
                <a:moveTo>
                  <a:pt x="13501" y="5446"/>
                </a:moveTo>
                <a:lnTo>
                  <a:pt x="13515" y="5446"/>
                </a:lnTo>
                <a:lnTo>
                  <a:pt x="13528" y="5444"/>
                </a:lnTo>
                <a:lnTo>
                  <a:pt x="13522" y="5442"/>
                </a:lnTo>
                <a:lnTo>
                  <a:pt x="13517" y="5439"/>
                </a:lnTo>
                <a:lnTo>
                  <a:pt x="13513" y="5439"/>
                </a:lnTo>
                <a:lnTo>
                  <a:pt x="13509" y="5440"/>
                </a:lnTo>
                <a:lnTo>
                  <a:pt x="13505" y="5442"/>
                </a:lnTo>
                <a:lnTo>
                  <a:pt x="13501" y="5446"/>
                </a:lnTo>
                <a:close/>
                <a:moveTo>
                  <a:pt x="12741" y="5664"/>
                </a:moveTo>
                <a:lnTo>
                  <a:pt x="12712" y="5667"/>
                </a:lnTo>
                <a:lnTo>
                  <a:pt x="12710" y="5668"/>
                </a:lnTo>
                <a:lnTo>
                  <a:pt x="12712" y="5667"/>
                </a:lnTo>
                <a:lnTo>
                  <a:pt x="12718" y="5671"/>
                </a:lnTo>
                <a:lnTo>
                  <a:pt x="12726" y="5672"/>
                </a:lnTo>
                <a:lnTo>
                  <a:pt x="12730" y="5672"/>
                </a:lnTo>
                <a:lnTo>
                  <a:pt x="12733" y="5671"/>
                </a:lnTo>
                <a:lnTo>
                  <a:pt x="12737" y="5668"/>
                </a:lnTo>
                <a:lnTo>
                  <a:pt x="12741" y="5664"/>
                </a:lnTo>
                <a:close/>
                <a:moveTo>
                  <a:pt x="12712" y="5667"/>
                </a:moveTo>
                <a:lnTo>
                  <a:pt x="12710" y="5667"/>
                </a:lnTo>
                <a:lnTo>
                  <a:pt x="12712" y="5667"/>
                </a:lnTo>
                <a:lnTo>
                  <a:pt x="12712" y="5667"/>
                </a:lnTo>
                <a:close/>
                <a:moveTo>
                  <a:pt x="13114" y="4971"/>
                </a:moveTo>
                <a:lnTo>
                  <a:pt x="13103" y="4977"/>
                </a:lnTo>
                <a:lnTo>
                  <a:pt x="13090" y="4983"/>
                </a:lnTo>
                <a:lnTo>
                  <a:pt x="13095" y="4985"/>
                </a:lnTo>
                <a:lnTo>
                  <a:pt x="13100" y="4985"/>
                </a:lnTo>
                <a:lnTo>
                  <a:pt x="13104" y="4985"/>
                </a:lnTo>
                <a:lnTo>
                  <a:pt x="13107" y="4983"/>
                </a:lnTo>
                <a:lnTo>
                  <a:pt x="13112" y="4978"/>
                </a:lnTo>
                <a:lnTo>
                  <a:pt x="13114" y="4971"/>
                </a:lnTo>
                <a:close/>
                <a:moveTo>
                  <a:pt x="12479" y="5053"/>
                </a:moveTo>
                <a:lnTo>
                  <a:pt x="12476" y="5055"/>
                </a:lnTo>
                <a:lnTo>
                  <a:pt x="12479" y="5053"/>
                </a:lnTo>
                <a:lnTo>
                  <a:pt x="12477" y="5052"/>
                </a:lnTo>
                <a:lnTo>
                  <a:pt x="12476" y="5052"/>
                </a:lnTo>
                <a:lnTo>
                  <a:pt x="12476" y="5052"/>
                </a:lnTo>
                <a:lnTo>
                  <a:pt x="12479" y="5053"/>
                </a:lnTo>
                <a:close/>
                <a:moveTo>
                  <a:pt x="13110" y="5223"/>
                </a:moveTo>
                <a:lnTo>
                  <a:pt x="13107" y="5228"/>
                </a:lnTo>
                <a:lnTo>
                  <a:pt x="13107" y="5232"/>
                </a:lnTo>
                <a:lnTo>
                  <a:pt x="13108" y="5234"/>
                </a:lnTo>
                <a:lnTo>
                  <a:pt x="13110" y="5234"/>
                </a:lnTo>
                <a:lnTo>
                  <a:pt x="13118" y="5234"/>
                </a:lnTo>
                <a:lnTo>
                  <a:pt x="13127" y="5230"/>
                </a:lnTo>
                <a:lnTo>
                  <a:pt x="13128" y="5227"/>
                </a:lnTo>
                <a:lnTo>
                  <a:pt x="13127" y="5224"/>
                </a:lnTo>
                <a:lnTo>
                  <a:pt x="13126" y="5223"/>
                </a:lnTo>
                <a:lnTo>
                  <a:pt x="13123" y="5221"/>
                </a:lnTo>
                <a:lnTo>
                  <a:pt x="13117" y="5221"/>
                </a:lnTo>
                <a:lnTo>
                  <a:pt x="13110" y="5223"/>
                </a:lnTo>
                <a:close/>
                <a:moveTo>
                  <a:pt x="13616" y="6018"/>
                </a:moveTo>
                <a:lnTo>
                  <a:pt x="13610" y="6021"/>
                </a:lnTo>
                <a:lnTo>
                  <a:pt x="13606" y="6025"/>
                </a:lnTo>
                <a:lnTo>
                  <a:pt x="13604" y="6026"/>
                </a:lnTo>
                <a:lnTo>
                  <a:pt x="13604" y="6029"/>
                </a:lnTo>
                <a:lnTo>
                  <a:pt x="13606" y="6030"/>
                </a:lnTo>
                <a:lnTo>
                  <a:pt x="13608" y="6032"/>
                </a:lnTo>
                <a:lnTo>
                  <a:pt x="13616" y="6031"/>
                </a:lnTo>
                <a:lnTo>
                  <a:pt x="13621" y="6027"/>
                </a:lnTo>
                <a:lnTo>
                  <a:pt x="13621" y="6025"/>
                </a:lnTo>
                <a:lnTo>
                  <a:pt x="13621" y="6023"/>
                </a:lnTo>
                <a:lnTo>
                  <a:pt x="13620" y="6021"/>
                </a:lnTo>
                <a:lnTo>
                  <a:pt x="13616" y="6018"/>
                </a:lnTo>
                <a:close/>
                <a:moveTo>
                  <a:pt x="12989" y="4850"/>
                </a:moveTo>
                <a:lnTo>
                  <a:pt x="12987" y="4859"/>
                </a:lnTo>
                <a:lnTo>
                  <a:pt x="12986" y="4865"/>
                </a:lnTo>
                <a:lnTo>
                  <a:pt x="12987" y="4866"/>
                </a:lnTo>
                <a:lnTo>
                  <a:pt x="12988" y="4869"/>
                </a:lnTo>
                <a:lnTo>
                  <a:pt x="12991" y="4869"/>
                </a:lnTo>
                <a:lnTo>
                  <a:pt x="12996" y="4869"/>
                </a:lnTo>
                <a:lnTo>
                  <a:pt x="13000" y="4866"/>
                </a:lnTo>
                <a:lnTo>
                  <a:pt x="13001" y="4863"/>
                </a:lnTo>
                <a:lnTo>
                  <a:pt x="13002" y="4860"/>
                </a:lnTo>
                <a:lnTo>
                  <a:pt x="13002" y="4859"/>
                </a:lnTo>
                <a:lnTo>
                  <a:pt x="12998" y="4854"/>
                </a:lnTo>
                <a:lnTo>
                  <a:pt x="12989" y="4850"/>
                </a:lnTo>
                <a:close/>
                <a:moveTo>
                  <a:pt x="12157" y="5891"/>
                </a:moveTo>
                <a:lnTo>
                  <a:pt x="12158" y="5890"/>
                </a:lnTo>
                <a:lnTo>
                  <a:pt x="12158" y="5890"/>
                </a:lnTo>
                <a:lnTo>
                  <a:pt x="12157" y="5890"/>
                </a:lnTo>
                <a:lnTo>
                  <a:pt x="12157" y="5891"/>
                </a:lnTo>
                <a:lnTo>
                  <a:pt x="12158" y="5890"/>
                </a:lnTo>
                <a:lnTo>
                  <a:pt x="12158" y="5891"/>
                </a:lnTo>
                <a:lnTo>
                  <a:pt x="12158" y="5891"/>
                </a:lnTo>
                <a:lnTo>
                  <a:pt x="12157" y="5891"/>
                </a:lnTo>
                <a:close/>
                <a:moveTo>
                  <a:pt x="12122" y="5900"/>
                </a:moveTo>
                <a:lnTo>
                  <a:pt x="12122" y="5899"/>
                </a:lnTo>
                <a:lnTo>
                  <a:pt x="12122" y="5899"/>
                </a:lnTo>
                <a:lnTo>
                  <a:pt x="12122" y="5899"/>
                </a:lnTo>
                <a:lnTo>
                  <a:pt x="12122" y="5900"/>
                </a:lnTo>
                <a:lnTo>
                  <a:pt x="12141" y="5895"/>
                </a:lnTo>
                <a:lnTo>
                  <a:pt x="12148" y="5894"/>
                </a:lnTo>
                <a:lnTo>
                  <a:pt x="12141" y="5895"/>
                </a:lnTo>
                <a:lnTo>
                  <a:pt x="12122" y="5900"/>
                </a:lnTo>
                <a:close/>
                <a:moveTo>
                  <a:pt x="13160" y="5822"/>
                </a:moveTo>
                <a:lnTo>
                  <a:pt x="13165" y="5821"/>
                </a:lnTo>
                <a:lnTo>
                  <a:pt x="13173" y="5820"/>
                </a:lnTo>
                <a:lnTo>
                  <a:pt x="13175" y="5820"/>
                </a:lnTo>
                <a:lnTo>
                  <a:pt x="13177" y="5818"/>
                </a:lnTo>
                <a:lnTo>
                  <a:pt x="13178" y="5816"/>
                </a:lnTo>
                <a:lnTo>
                  <a:pt x="13178" y="5813"/>
                </a:lnTo>
                <a:lnTo>
                  <a:pt x="13171" y="5815"/>
                </a:lnTo>
                <a:lnTo>
                  <a:pt x="13165" y="5816"/>
                </a:lnTo>
                <a:lnTo>
                  <a:pt x="13163" y="5816"/>
                </a:lnTo>
                <a:lnTo>
                  <a:pt x="13160" y="5817"/>
                </a:lnTo>
                <a:lnTo>
                  <a:pt x="13159" y="5820"/>
                </a:lnTo>
                <a:lnTo>
                  <a:pt x="13160" y="5822"/>
                </a:lnTo>
                <a:close/>
                <a:moveTo>
                  <a:pt x="5672" y="10858"/>
                </a:moveTo>
                <a:lnTo>
                  <a:pt x="5669" y="10862"/>
                </a:lnTo>
                <a:lnTo>
                  <a:pt x="5668" y="10864"/>
                </a:lnTo>
                <a:lnTo>
                  <a:pt x="5668" y="10868"/>
                </a:lnTo>
                <a:lnTo>
                  <a:pt x="5668" y="10872"/>
                </a:lnTo>
                <a:lnTo>
                  <a:pt x="5671" y="10875"/>
                </a:lnTo>
                <a:lnTo>
                  <a:pt x="5673" y="10878"/>
                </a:lnTo>
                <a:lnTo>
                  <a:pt x="5676" y="10881"/>
                </a:lnTo>
                <a:lnTo>
                  <a:pt x="5679" y="10882"/>
                </a:lnTo>
                <a:lnTo>
                  <a:pt x="5683" y="10877"/>
                </a:lnTo>
                <a:lnTo>
                  <a:pt x="5686" y="10872"/>
                </a:lnTo>
                <a:lnTo>
                  <a:pt x="5687" y="10867"/>
                </a:lnTo>
                <a:lnTo>
                  <a:pt x="5687" y="10863"/>
                </a:lnTo>
                <a:lnTo>
                  <a:pt x="5685" y="10861"/>
                </a:lnTo>
                <a:lnTo>
                  <a:pt x="5682" y="10858"/>
                </a:lnTo>
                <a:lnTo>
                  <a:pt x="5678" y="10857"/>
                </a:lnTo>
                <a:lnTo>
                  <a:pt x="5672" y="10858"/>
                </a:lnTo>
                <a:close/>
                <a:moveTo>
                  <a:pt x="12032" y="5978"/>
                </a:moveTo>
                <a:lnTo>
                  <a:pt x="12037" y="5976"/>
                </a:lnTo>
                <a:lnTo>
                  <a:pt x="12042" y="5975"/>
                </a:lnTo>
                <a:lnTo>
                  <a:pt x="12044" y="5974"/>
                </a:lnTo>
                <a:lnTo>
                  <a:pt x="12046" y="5973"/>
                </a:lnTo>
                <a:lnTo>
                  <a:pt x="12046" y="5971"/>
                </a:lnTo>
                <a:lnTo>
                  <a:pt x="12046" y="5967"/>
                </a:lnTo>
                <a:lnTo>
                  <a:pt x="12041" y="5970"/>
                </a:lnTo>
                <a:lnTo>
                  <a:pt x="12034" y="5973"/>
                </a:lnTo>
                <a:lnTo>
                  <a:pt x="12032" y="5973"/>
                </a:lnTo>
                <a:lnTo>
                  <a:pt x="12030" y="5974"/>
                </a:lnTo>
                <a:lnTo>
                  <a:pt x="12029" y="5976"/>
                </a:lnTo>
                <a:lnTo>
                  <a:pt x="12032" y="5978"/>
                </a:lnTo>
                <a:close/>
                <a:moveTo>
                  <a:pt x="5691" y="10693"/>
                </a:moveTo>
                <a:lnTo>
                  <a:pt x="5692" y="10693"/>
                </a:lnTo>
                <a:lnTo>
                  <a:pt x="5692" y="10691"/>
                </a:lnTo>
                <a:lnTo>
                  <a:pt x="5691" y="10691"/>
                </a:lnTo>
                <a:lnTo>
                  <a:pt x="5691" y="10693"/>
                </a:lnTo>
                <a:lnTo>
                  <a:pt x="5692" y="10691"/>
                </a:lnTo>
                <a:lnTo>
                  <a:pt x="5691" y="10693"/>
                </a:lnTo>
                <a:close/>
                <a:moveTo>
                  <a:pt x="12522" y="5628"/>
                </a:moveTo>
                <a:lnTo>
                  <a:pt x="12514" y="5630"/>
                </a:lnTo>
                <a:lnTo>
                  <a:pt x="12505" y="5631"/>
                </a:lnTo>
                <a:lnTo>
                  <a:pt x="12502" y="5633"/>
                </a:lnTo>
                <a:lnTo>
                  <a:pt x="12499" y="5634"/>
                </a:lnTo>
                <a:lnTo>
                  <a:pt x="12498" y="5636"/>
                </a:lnTo>
                <a:lnTo>
                  <a:pt x="12498" y="5639"/>
                </a:lnTo>
                <a:lnTo>
                  <a:pt x="12504" y="5638"/>
                </a:lnTo>
                <a:lnTo>
                  <a:pt x="12513" y="5636"/>
                </a:lnTo>
                <a:lnTo>
                  <a:pt x="12517" y="5635"/>
                </a:lnTo>
                <a:lnTo>
                  <a:pt x="12521" y="5634"/>
                </a:lnTo>
                <a:lnTo>
                  <a:pt x="12522" y="5631"/>
                </a:lnTo>
                <a:lnTo>
                  <a:pt x="12522" y="5628"/>
                </a:lnTo>
                <a:close/>
                <a:moveTo>
                  <a:pt x="12089" y="6241"/>
                </a:moveTo>
                <a:lnTo>
                  <a:pt x="12095" y="6236"/>
                </a:lnTo>
                <a:lnTo>
                  <a:pt x="12095" y="6235"/>
                </a:lnTo>
                <a:lnTo>
                  <a:pt x="12093" y="6237"/>
                </a:lnTo>
                <a:lnTo>
                  <a:pt x="12089" y="6241"/>
                </a:lnTo>
                <a:lnTo>
                  <a:pt x="12092" y="6245"/>
                </a:lnTo>
                <a:lnTo>
                  <a:pt x="12095" y="6246"/>
                </a:lnTo>
                <a:lnTo>
                  <a:pt x="12100" y="6246"/>
                </a:lnTo>
                <a:lnTo>
                  <a:pt x="12103" y="6244"/>
                </a:lnTo>
                <a:lnTo>
                  <a:pt x="12104" y="6241"/>
                </a:lnTo>
                <a:lnTo>
                  <a:pt x="12103" y="6240"/>
                </a:lnTo>
                <a:lnTo>
                  <a:pt x="12098" y="6240"/>
                </a:lnTo>
                <a:lnTo>
                  <a:pt x="12089" y="6241"/>
                </a:lnTo>
                <a:close/>
                <a:moveTo>
                  <a:pt x="13627" y="5196"/>
                </a:moveTo>
                <a:lnTo>
                  <a:pt x="13626" y="5196"/>
                </a:lnTo>
                <a:lnTo>
                  <a:pt x="13626" y="5197"/>
                </a:lnTo>
                <a:lnTo>
                  <a:pt x="13627" y="5196"/>
                </a:lnTo>
                <a:lnTo>
                  <a:pt x="13627" y="5196"/>
                </a:lnTo>
                <a:close/>
                <a:moveTo>
                  <a:pt x="13594" y="5211"/>
                </a:moveTo>
                <a:lnTo>
                  <a:pt x="13599" y="5214"/>
                </a:lnTo>
                <a:lnTo>
                  <a:pt x="13604" y="5214"/>
                </a:lnTo>
                <a:lnTo>
                  <a:pt x="13608" y="5213"/>
                </a:lnTo>
                <a:lnTo>
                  <a:pt x="13612" y="5210"/>
                </a:lnTo>
                <a:lnTo>
                  <a:pt x="13620" y="5204"/>
                </a:lnTo>
                <a:lnTo>
                  <a:pt x="13626" y="5197"/>
                </a:lnTo>
                <a:lnTo>
                  <a:pt x="13621" y="5195"/>
                </a:lnTo>
                <a:lnTo>
                  <a:pt x="13615" y="5195"/>
                </a:lnTo>
                <a:lnTo>
                  <a:pt x="13610" y="5195"/>
                </a:lnTo>
                <a:lnTo>
                  <a:pt x="13603" y="5195"/>
                </a:lnTo>
                <a:lnTo>
                  <a:pt x="13598" y="5197"/>
                </a:lnTo>
                <a:lnTo>
                  <a:pt x="13594" y="5201"/>
                </a:lnTo>
                <a:lnTo>
                  <a:pt x="13593" y="5205"/>
                </a:lnTo>
                <a:lnTo>
                  <a:pt x="13594" y="5211"/>
                </a:lnTo>
                <a:close/>
                <a:moveTo>
                  <a:pt x="13548" y="5558"/>
                </a:moveTo>
                <a:lnTo>
                  <a:pt x="13562" y="5552"/>
                </a:lnTo>
                <a:lnTo>
                  <a:pt x="13575" y="5550"/>
                </a:lnTo>
                <a:lnTo>
                  <a:pt x="13579" y="5549"/>
                </a:lnTo>
                <a:lnTo>
                  <a:pt x="13582" y="5546"/>
                </a:lnTo>
                <a:lnTo>
                  <a:pt x="13582" y="5542"/>
                </a:lnTo>
                <a:lnTo>
                  <a:pt x="13578" y="5537"/>
                </a:lnTo>
                <a:lnTo>
                  <a:pt x="13565" y="5546"/>
                </a:lnTo>
                <a:lnTo>
                  <a:pt x="13548" y="5558"/>
                </a:lnTo>
                <a:close/>
                <a:moveTo>
                  <a:pt x="13207" y="4962"/>
                </a:moveTo>
                <a:lnTo>
                  <a:pt x="13206" y="4958"/>
                </a:lnTo>
                <a:lnTo>
                  <a:pt x="13202" y="4955"/>
                </a:lnTo>
                <a:lnTo>
                  <a:pt x="13200" y="4954"/>
                </a:lnTo>
                <a:lnTo>
                  <a:pt x="13196" y="4954"/>
                </a:lnTo>
                <a:lnTo>
                  <a:pt x="13192" y="4954"/>
                </a:lnTo>
                <a:lnTo>
                  <a:pt x="13188" y="4957"/>
                </a:lnTo>
                <a:lnTo>
                  <a:pt x="13186" y="4959"/>
                </a:lnTo>
                <a:lnTo>
                  <a:pt x="13183" y="4963"/>
                </a:lnTo>
                <a:lnTo>
                  <a:pt x="13186" y="4966"/>
                </a:lnTo>
                <a:lnTo>
                  <a:pt x="13189" y="4967"/>
                </a:lnTo>
                <a:lnTo>
                  <a:pt x="13192" y="4968"/>
                </a:lnTo>
                <a:lnTo>
                  <a:pt x="13196" y="4968"/>
                </a:lnTo>
                <a:lnTo>
                  <a:pt x="13200" y="4968"/>
                </a:lnTo>
                <a:lnTo>
                  <a:pt x="13202" y="4967"/>
                </a:lnTo>
                <a:lnTo>
                  <a:pt x="13206" y="4964"/>
                </a:lnTo>
                <a:lnTo>
                  <a:pt x="13207" y="4962"/>
                </a:lnTo>
                <a:close/>
                <a:moveTo>
                  <a:pt x="13742" y="5887"/>
                </a:moveTo>
                <a:lnTo>
                  <a:pt x="13747" y="5889"/>
                </a:lnTo>
                <a:lnTo>
                  <a:pt x="13753" y="5889"/>
                </a:lnTo>
                <a:lnTo>
                  <a:pt x="13757" y="5887"/>
                </a:lnTo>
                <a:lnTo>
                  <a:pt x="13761" y="5885"/>
                </a:lnTo>
                <a:lnTo>
                  <a:pt x="13767" y="5877"/>
                </a:lnTo>
                <a:lnTo>
                  <a:pt x="13773" y="5868"/>
                </a:lnTo>
                <a:lnTo>
                  <a:pt x="13766" y="5867"/>
                </a:lnTo>
                <a:lnTo>
                  <a:pt x="13760" y="5867"/>
                </a:lnTo>
                <a:lnTo>
                  <a:pt x="13756" y="5868"/>
                </a:lnTo>
                <a:lnTo>
                  <a:pt x="13751" y="5869"/>
                </a:lnTo>
                <a:lnTo>
                  <a:pt x="13748" y="5873"/>
                </a:lnTo>
                <a:lnTo>
                  <a:pt x="13745" y="5877"/>
                </a:lnTo>
                <a:lnTo>
                  <a:pt x="13743" y="5882"/>
                </a:lnTo>
                <a:lnTo>
                  <a:pt x="13742" y="5887"/>
                </a:lnTo>
                <a:close/>
                <a:moveTo>
                  <a:pt x="13392" y="5582"/>
                </a:moveTo>
                <a:lnTo>
                  <a:pt x="13369" y="5584"/>
                </a:lnTo>
                <a:lnTo>
                  <a:pt x="13350" y="5587"/>
                </a:lnTo>
                <a:lnTo>
                  <a:pt x="13333" y="5588"/>
                </a:lnTo>
                <a:lnTo>
                  <a:pt x="13318" y="5591"/>
                </a:lnTo>
                <a:lnTo>
                  <a:pt x="13301" y="5591"/>
                </a:lnTo>
                <a:lnTo>
                  <a:pt x="13284" y="5592"/>
                </a:lnTo>
                <a:lnTo>
                  <a:pt x="13285" y="5592"/>
                </a:lnTo>
                <a:lnTo>
                  <a:pt x="13295" y="5592"/>
                </a:lnTo>
                <a:lnTo>
                  <a:pt x="13309" y="5592"/>
                </a:lnTo>
                <a:lnTo>
                  <a:pt x="13318" y="5591"/>
                </a:lnTo>
                <a:lnTo>
                  <a:pt x="13331" y="5593"/>
                </a:lnTo>
                <a:lnTo>
                  <a:pt x="13341" y="5594"/>
                </a:lnTo>
                <a:lnTo>
                  <a:pt x="13349" y="5596"/>
                </a:lnTo>
                <a:lnTo>
                  <a:pt x="13356" y="5596"/>
                </a:lnTo>
                <a:lnTo>
                  <a:pt x="13363" y="5593"/>
                </a:lnTo>
                <a:lnTo>
                  <a:pt x="13370" y="5591"/>
                </a:lnTo>
                <a:lnTo>
                  <a:pt x="13379" y="5587"/>
                </a:lnTo>
                <a:lnTo>
                  <a:pt x="13392" y="5582"/>
                </a:lnTo>
                <a:close/>
                <a:moveTo>
                  <a:pt x="13001" y="5001"/>
                </a:moveTo>
                <a:lnTo>
                  <a:pt x="13011" y="4997"/>
                </a:lnTo>
                <a:lnTo>
                  <a:pt x="13021" y="4995"/>
                </a:lnTo>
                <a:lnTo>
                  <a:pt x="13031" y="4992"/>
                </a:lnTo>
                <a:lnTo>
                  <a:pt x="13042" y="4989"/>
                </a:lnTo>
                <a:lnTo>
                  <a:pt x="13022" y="4989"/>
                </a:lnTo>
                <a:lnTo>
                  <a:pt x="13011" y="4989"/>
                </a:lnTo>
                <a:lnTo>
                  <a:pt x="13007" y="4990"/>
                </a:lnTo>
                <a:lnTo>
                  <a:pt x="13005" y="4992"/>
                </a:lnTo>
                <a:lnTo>
                  <a:pt x="13003" y="4996"/>
                </a:lnTo>
                <a:lnTo>
                  <a:pt x="13001" y="5001"/>
                </a:lnTo>
                <a:close/>
                <a:moveTo>
                  <a:pt x="13014" y="4925"/>
                </a:moveTo>
                <a:lnTo>
                  <a:pt x="13019" y="4916"/>
                </a:lnTo>
                <a:lnTo>
                  <a:pt x="13020" y="4910"/>
                </a:lnTo>
                <a:lnTo>
                  <a:pt x="13019" y="4907"/>
                </a:lnTo>
                <a:lnTo>
                  <a:pt x="13016" y="4906"/>
                </a:lnTo>
                <a:lnTo>
                  <a:pt x="13012" y="4906"/>
                </a:lnTo>
                <a:lnTo>
                  <a:pt x="13006" y="4906"/>
                </a:lnTo>
                <a:lnTo>
                  <a:pt x="13000" y="4908"/>
                </a:lnTo>
                <a:lnTo>
                  <a:pt x="12996" y="4911"/>
                </a:lnTo>
                <a:lnTo>
                  <a:pt x="12994" y="4915"/>
                </a:lnTo>
                <a:lnTo>
                  <a:pt x="12994" y="4917"/>
                </a:lnTo>
                <a:lnTo>
                  <a:pt x="12997" y="4921"/>
                </a:lnTo>
                <a:lnTo>
                  <a:pt x="13001" y="4924"/>
                </a:lnTo>
                <a:lnTo>
                  <a:pt x="13006" y="4925"/>
                </a:lnTo>
                <a:lnTo>
                  <a:pt x="13014" y="4925"/>
                </a:lnTo>
                <a:close/>
                <a:moveTo>
                  <a:pt x="12940" y="5931"/>
                </a:moveTo>
                <a:lnTo>
                  <a:pt x="12952" y="5932"/>
                </a:lnTo>
                <a:lnTo>
                  <a:pt x="12966" y="5932"/>
                </a:lnTo>
                <a:lnTo>
                  <a:pt x="12974" y="5931"/>
                </a:lnTo>
                <a:lnTo>
                  <a:pt x="12982" y="5928"/>
                </a:lnTo>
                <a:lnTo>
                  <a:pt x="12991" y="5923"/>
                </a:lnTo>
                <a:lnTo>
                  <a:pt x="13000" y="5917"/>
                </a:lnTo>
                <a:lnTo>
                  <a:pt x="12978" y="5918"/>
                </a:lnTo>
                <a:lnTo>
                  <a:pt x="12956" y="5918"/>
                </a:lnTo>
                <a:lnTo>
                  <a:pt x="12947" y="5918"/>
                </a:lnTo>
                <a:lnTo>
                  <a:pt x="12941" y="5920"/>
                </a:lnTo>
                <a:lnTo>
                  <a:pt x="12938" y="5924"/>
                </a:lnTo>
                <a:lnTo>
                  <a:pt x="12940" y="5931"/>
                </a:lnTo>
                <a:close/>
                <a:moveTo>
                  <a:pt x="13624" y="5546"/>
                </a:moveTo>
                <a:lnTo>
                  <a:pt x="13641" y="5549"/>
                </a:lnTo>
                <a:lnTo>
                  <a:pt x="13657" y="5550"/>
                </a:lnTo>
                <a:lnTo>
                  <a:pt x="13666" y="5550"/>
                </a:lnTo>
                <a:lnTo>
                  <a:pt x="13673" y="5549"/>
                </a:lnTo>
                <a:lnTo>
                  <a:pt x="13682" y="5546"/>
                </a:lnTo>
                <a:lnTo>
                  <a:pt x="13691" y="5541"/>
                </a:lnTo>
                <a:lnTo>
                  <a:pt x="13682" y="5538"/>
                </a:lnTo>
                <a:lnTo>
                  <a:pt x="13673" y="5535"/>
                </a:lnTo>
                <a:lnTo>
                  <a:pt x="13664" y="5533"/>
                </a:lnTo>
                <a:lnTo>
                  <a:pt x="13657" y="5532"/>
                </a:lnTo>
                <a:lnTo>
                  <a:pt x="13649" y="5533"/>
                </a:lnTo>
                <a:lnTo>
                  <a:pt x="13640" y="5536"/>
                </a:lnTo>
                <a:lnTo>
                  <a:pt x="13632" y="5540"/>
                </a:lnTo>
                <a:lnTo>
                  <a:pt x="13624" y="5546"/>
                </a:lnTo>
                <a:close/>
                <a:moveTo>
                  <a:pt x="13723" y="6015"/>
                </a:moveTo>
                <a:lnTo>
                  <a:pt x="13731" y="6015"/>
                </a:lnTo>
                <a:lnTo>
                  <a:pt x="13739" y="6016"/>
                </a:lnTo>
                <a:lnTo>
                  <a:pt x="13743" y="6015"/>
                </a:lnTo>
                <a:lnTo>
                  <a:pt x="13748" y="6013"/>
                </a:lnTo>
                <a:lnTo>
                  <a:pt x="13752" y="6012"/>
                </a:lnTo>
                <a:lnTo>
                  <a:pt x="13755" y="6007"/>
                </a:lnTo>
                <a:lnTo>
                  <a:pt x="13739" y="6003"/>
                </a:lnTo>
                <a:lnTo>
                  <a:pt x="13725" y="6004"/>
                </a:lnTo>
                <a:lnTo>
                  <a:pt x="13711" y="6007"/>
                </a:lnTo>
                <a:lnTo>
                  <a:pt x="13700" y="6012"/>
                </a:lnTo>
                <a:lnTo>
                  <a:pt x="13694" y="6017"/>
                </a:lnTo>
                <a:lnTo>
                  <a:pt x="13695" y="6020"/>
                </a:lnTo>
                <a:lnTo>
                  <a:pt x="13704" y="6020"/>
                </a:lnTo>
                <a:lnTo>
                  <a:pt x="13723" y="6015"/>
                </a:lnTo>
                <a:close/>
                <a:moveTo>
                  <a:pt x="13127" y="5619"/>
                </a:moveTo>
                <a:lnTo>
                  <a:pt x="13151" y="5616"/>
                </a:lnTo>
                <a:lnTo>
                  <a:pt x="13173" y="5614"/>
                </a:lnTo>
                <a:lnTo>
                  <a:pt x="13193" y="5611"/>
                </a:lnTo>
                <a:lnTo>
                  <a:pt x="13214" y="5610"/>
                </a:lnTo>
                <a:lnTo>
                  <a:pt x="13203" y="5606"/>
                </a:lnTo>
                <a:lnTo>
                  <a:pt x="13193" y="5603"/>
                </a:lnTo>
                <a:lnTo>
                  <a:pt x="13182" y="5602"/>
                </a:lnTo>
                <a:lnTo>
                  <a:pt x="13171" y="5601"/>
                </a:lnTo>
                <a:lnTo>
                  <a:pt x="13160" y="5602"/>
                </a:lnTo>
                <a:lnTo>
                  <a:pt x="13150" y="5606"/>
                </a:lnTo>
                <a:lnTo>
                  <a:pt x="13138" y="5611"/>
                </a:lnTo>
                <a:lnTo>
                  <a:pt x="13127" y="5619"/>
                </a:lnTo>
                <a:close/>
                <a:moveTo>
                  <a:pt x="13210" y="5782"/>
                </a:moveTo>
                <a:lnTo>
                  <a:pt x="13238" y="5780"/>
                </a:lnTo>
                <a:lnTo>
                  <a:pt x="13267" y="5778"/>
                </a:lnTo>
                <a:lnTo>
                  <a:pt x="13281" y="5774"/>
                </a:lnTo>
                <a:lnTo>
                  <a:pt x="13296" y="5771"/>
                </a:lnTo>
                <a:lnTo>
                  <a:pt x="13310" y="5766"/>
                </a:lnTo>
                <a:lnTo>
                  <a:pt x="13326" y="5760"/>
                </a:lnTo>
                <a:lnTo>
                  <a:pt x="13309" y="5759"/>
                </a:lnTo>
                <a:lnTo>
                  <a:pt x="13294" y="5759"/>
                </a:lnTo>
                <a:lnTo>
                  <a:pt x="13278" y="5760"/>
                </a:lnTo>
                <a:lnTo>
                  <a:pt x="13264" y="5761"/>
                </a:lnTo>
                <a:lnTo>
                  <a:pt x="13250" y="5765"/>
                </a:lnTo>
                <a:lnTo>
                  <a:pt x="13236" y="5769"/>
                </a:lnTo>
                <a:lnTo>
                  <a:pt x="13222" y="5775"/>
                </a:lnTo>
                <a:lnTo>
                  <a:pt x="13210" y="5782"/>
                </a:lnTo>
                <a:close/>
                <a:moveTo>
                  <a:pt x="13268" y="5485"/>
                </a:moveTo>
                <a:lnTo>
                  <a:pt x="13305" y="5479"/>
                </a:lnTo>
                <a:lnTo>
                  <a:pt x="13341" y="5475"/>
                </a:lnTo>
                <a:lnTo>
                  <a:pt x="13375" y="5470"/>
                </a:lnTo>
                <a:lnTo>
                  <a:pt x="13408" y="5465"/>
                </a:lnTo>
                <a:lnTo>
                  <a:pt x="13388" y="5463"/>
                </a:lnTo>
                <a:lnTo>
                  <a:pt x="13368" y="5463"/>
                </a:lnTo>
                <a:lnTo>
                  <a:pt x="13347" y="5463"/>
                </a:lnTo>
                <a:lnTo>
                  <a:pt x="13328" y="5466"/>
                </a:lnTo>
                <a:lnTo>
                  <a:pt x="13310" y="5470"/>
                </a:lnTo>
                <a:lnTo>
                  <a:pt x="13294" y="5474"/>
                </a:lnTo>
                <a:lnTo>
                  <a:pt x="13280" y="5479"/>
                </a:lnTo>
                <a:lnTo>
                  <a:pt x="13268" y="5485"/>
                </a:lnTo>
                <a:close/>
                <a:moveTo>
                  <a:pt x="12724" y="5586"/>
                </a:moveTo>
                <a:lnTo>
                  <a:pt x="12703" y="5600"/>
                </a:lnTo>
                <a:lnTo>
                  <a:pt x="12694" y="5611"/>
                </a:lnTo>
                <a:lnTo>
                  <a:pt x="12694" y="5620"/>
                </a:lnTo>
                <a:lnTo>
                  <a:pt x="12703" y="5628"/>
                </a:lnTo>
                <a:lnTo>
                  <a:pt x="12716" y="5630"/>
                </a:lnTo>
                <a:lnTo>
                  <a:pt x="12733" y="5629"/>
                </a:lnTo>
                <a:lnTo>
                  <a:pt x="12751" y="5622"/>
                </a:lnTo>
                <a:lnTo>
                  <a:pt x="12769" y="5610"/>
                </a:lnTo>
                <a:lnTo>
                  <a:pt x="12763" y="5601"/>
                </a:lnTo>
                <a:lnTo>
                  <a:pt x="12758" y="5593"/>
                </a:lnTo>
                <a:lnTo>
                  <a:pt x="12751" y="5588"/>
                </a:lnTo>
                <a:lnTo>
                  <a:pt x="12746" y="5584"/>
                </a:lnTo>
                <a:lnTo>
                  <a:pt x="12741" y="5582"/>
                </a:lnTo>
                <a:lnTo>
                  <a:pt x="12736" y="5582"/>
                </a:lnTo>
                <a:lnTo>
                  <a:pt x="12731" y="5583"/>
                </a:lnTo>
                <a:lnTo>
                  <a:pt x="12724" y="5586"/>
                </a:lnTo>
                <a:close/>
                <a:moveTo>
                  <a:pt x="13222" y="5214"/>
                </a:moveTo>
                <a:lnTo>
                  <a:pt x="13254" y="5209"/>
                </a:lnTo>
                <a:lnTo>
                  <a:pt x="13286" y="5206"/>
                </a:lnTo>
                <a:lnTo>
                  <a:pt x="13318" y="5204"/>
                </a:lnTo>
                <a:lnTo>
                  <a:pt x="13350" y="5200"/>
                </a:lnTo>
                <a:lnTo>
                  <a:pt x="13380" y="5195"/>
                </a:lnTo>
                <a:lnTo>
                  <a:pt x="13408" y="5187"/>
                </a:lnTo>
                <a:lnTo>
                  <a:pt x="13434" y="5174"/>
                </a:lnTo>
                <a:lnTo>
                  <a:pt x="13455" y="5157"/>
                </a:lnTo>
                <a:lnTo>
                  <a:pt x="13425" y="5157"/>
                </a:lnTo>
                <a:lnTo>
                  <a:pt x="13394" y="5159"/>
                </a:lnTo>
                <a:lnTo>
                  <a:pt x="13364" y="5163"/>
                </a:lnTo>
                <a:lnTo>
                  <a:pt x="13333" y="5168"/>
                </a:lnTo>
                <a:lnTo>
                  <a:pt x="13303" y="5176"/>
                </a:lnTo>
                <a:lnTo>
                  <a:pt x="13275" y="5186"/>
                </a:lnTo>
                <a:lnTo>
                  <a:pt x="13247" y="5199"/>
                </a:lnTo>
                <a:lnTo>
                  <a:pt x="13222" y="5214"/>
                </a:lnTo>
                <a:close/>
                <a:moveTo>
                  <a:pt x="12574" y="5939"/>
                </a:moveTo>
                <a:lnTo>
                  <a:pt x="12565" y="5933"/>
                </a:lnTo>
                <a:lnTo>
                  <a:pt x="12554" y="5928"/>
                </a:lnTo>
                <a:lnTo>
                  <a:pt x="12540" y="5924"/>
                </a:lnTo>
                <a:lnTo>
                  <a:pt x="12525" y="5920"/>
                </a:lnTo>
                <a:lnTo>
                  <a:pt x="12512" y="5917"/>
                </a:lnTo>
                <a:lnTo>
                  <a:pt x="12502" y="5910"/>
                </a:lnTo>
                <a:lnTo>
                  <a:pt x="12498" y="5901"/>
                </a:lnTo>
                <a:lnTo>
                  <a:pt x="12502" y="5889"/>
                </a:lnTo>
                <a:lnTo>
                  <a:pt x="12460" y="5897"/>
                </a:lnTo>
                <a:lnTo>
                  <a:pt x="12442" y="5911"/>
                </a:lnTo>
                <a:lnTo>
                  <a:pt x="12444" y="5928"/>
                </a:lnTo>
                <a:lnTo>
                  <a:pt x="12461" y="5943"/>
                </a:lnTo>
                <a:lnTo>
                  <a:pt x="12486" y="5955"/>
                </a:lnTo>
                <a:lnTo>
                  <a:pt x="12517" y="5960"/>
                </a:lnTo>
                <a:lnTo>
                  <a:pt x="12547" y="5956"/>
                </a:lnTo>
                <a:lnTo>
                  <a:pt x="12574" y="5939"/>
                </a:lnTo>
                <a:close/>
                <a:moveTo>
                  <a:pt x="13732" y="5465"/>
                </a:moveTo>
                <a:lnTo>
                  <a:pt x="13653" y="5476"/>
                </a:lnTo>
                <a:lnTo>
                  <a:pt x="13578" y="5489"/>
                </a:lnTo>
                <a:lnTo>
                  <a:pt x="13514" y="5500"/>
                </a:lnTo>
                <a:lnTo>
                  <a:pt x="13469" y="5510"/>
                </a:lnTo>
                <a:lnTo>
                  <a:pt x="13450" y="5518"/>
                </a:lnTo>
                <a:lnTo>
                  <a:pt x="13466" y="5521"/>
                </a:lnTo>
                <a:lnTo>
                  <a:pt x="13523" y="5517"/>
                </a:lnTo>
                <a:lnTo>
                  <a:pt x="13629" y="5505"/>
                </a:lnTo>
                <a:lnTo>
                  <a:pt x="13671" y="5503"/>
                </a:lnTo>
                <a:lnTo>
                  <a:pt x="13711" y="5505"/>
                </a:lnTo>
                <a:lnTo>
                  <a:pt x="13748" y="5509"/>
                </a:lnTo>
                <a:lnTo>
                  <a:pt x="13776" y="5512"/>
                </a:lnTo>
                <a:lnTo>
                  <a:pt x="13794" y="5510"/>
                </a:lnTo>
                <a:lnTo>
                  <a:pt x="13794" y="5504"/>
                </a:lnTo>
                <a:lnTo>
                  <a:pt x="13775" y="5490"/>
                </a:lnTo>
                <a:lnTo>
                  <a:pt x="13732" y="5465"/>
                </a:lnTo>
                <a:close/>
                <a:moveTo>
                  <a:pt x="12815" y="5839"/>
                </a:moveTo>
                <a:lnTo>
                  <a:pt x="12821" y="5836"/>
                </a:lnTo>
                <a:lnTo>
                  <a:pt x="12815" y="5839"/>
                </a:lnTo>
                <a:lnTo>
                  <a:pt x="12816" y="5831"/>
                </a:lnTo>
                <a:lnTo>
                  <a:pt x="12815" y="5839"/>
                </a:lnTo>
                <a:close/>
                <a:moveTo>
                  <a:pt x="12696" y="5843"/>
                </a:moveTo>
                <a:lnTo>
                  <a:pt x="12674" y="5832"/>
                </a:lnTo>
                <a:lnTo>
                  <a:pt x="12660" y="5830"/>
                </a:lnTo>
                <a:lnTo>
                  <a:pt x="12652" y="5835"/>
                </a:lnTo>
                <a:lnTo>
                  <a:pt x="12647" y="5841"/>
                </a:lnTo>
                <a:lnTo>
                  <a:pt x="12643" y="5848"/>
                </a:lnTo>
                <a:lnTo>
                  <a:pt x="12637" y="5850"/>
                </a:lnTo>
                <a:lnTo>
                  <a:pt x="12625" y="5845"/>
                </a:lnTo>
                <a:lnTo>
                  <a:pt x="12607" y="5831"/>
                </a:lnTo>
                <a:lnTo>
                  <a:pt x="12620" y="5827"/>
                </a:lnTo>
                <a:lnTo>
                  <a:pt x="12638" y="5824"/>
                </a:lnTo>
                <a:lnTo>
                  <a:pt x="12657" y="5820"/>
                </a:lnTo>
                <a:lnTo>
                  <a:pt x="12676" y="5817"/>
                </a:lnTo>
                <a:lnTo>
                  <a:pt x="12691" y="5817"/>
                </a:lnTo>
                <a:lnTo>
                  <a:pt x="12702" y="5821"/>
                </a:lnTo>
                <a:lnTo>
                  <a:pt x="12704" y="5830"/>
                </a:lnTo>
                <a:lnTo>
                  <a:pt x="12696" y="5843"/>
                </a:lnTo>
                <a:close/>
                <a:moveTo>
                  <a:pt x="13247" y="5731"/>
                </a:moveTo>
                <a:lnTo>
                  <a:pt x="13076" y="5762"/>
                </a:lnTo>
                <a:lnTo>
                  <a:pt x="12949" y="5778"/>
                </a:lnTo>
                <a:lnTo>
                  <a:pt x="12856" y="5780"/>
                </a:lnTo>
                <a:lnTo>
                  <a:pt x="12781" y="5780"/>
                </a:lnTo>
                <a:lnTo>
                  <a:pt x="12713" y="5783"/>
                </a:lnTo>
                <a:lnTo>
                  <a:pt x="12640" y="5796"/>
                </a:lnTo>
                <a:lnTo>
                  <a:pt x="12549" y="5826"/>
                </a:lnTo>
                <a:lnTo>
                  <a:pt x="12426" y="5881"/>
                </a:lnTo>
                <a:lnTo>
                  <a:pt x="12530" y="5877"/>
                </a:lnTo>
                <a:lnTo>
                  <a:pt x="12637" y="5872"/>
                </a:lnTo>
                <a:lnTo>
                  <a:pt x="12742" y="5864"/>
                </a:lnTo>
                <a:lnTo>
                  <a:pt x="12849" y="5853"/>
                </a:lnTo>
                <a:lnTo>
                  <a:pt x="12954" y="5835"/>
                </a:lnTo>
                <a:lnTo>
                  <a:pt x="13056" y="5810"/>
                </a:lnTo>
                <a:lnTo>
                  <a:pt x="13154" y="5775"/>
                </a:lnTo>
                <a:lnTo>
                  <a:pt x="13247" y="5731"/>
                </a:lnTo>
                <a:close/>
                <a:moveTo>
                  <a:pt x="4279" y="9595"/>
                </a:moveTo>
                <a:lnTo>
                  <a:pt x="4279" y="9597"/>
                </a:lnTo>
                <a:lnTo>
                  <a:pt x="4280" y="9597"/>
                </a:lnTo>
                <a:lnTo>
                  <a:pt x="4279" y="9595"/>
                </a:lnTo>
                <a:close/>
                <a:moveTo>
                  <a:pt x="11269" y="4683"/>
                </a:moveTo>
                <a:lnTo>
                  <a:pt x="11265" y="4684"/>
                </a:lnTo>
                <a:lnTo>
                  <a:pt x="11261" y="4686"/>
                </a:lnTo>
                <a:lnTo>
                  <a:pt x="11257" y="4688"/>
                </a:lnTo>
                <a:lnTo>
                  <a:pt x="11254" y="4691"/>
                </a:lnTo>
                <a:lnTo>
                  <a:pt x="11254" y="4691"/>
                </a:lnTo>
                <a:lnTo>
                  <a:pt x="11252" y="4691"/>
                </a:lnTo>
                <a:lnTo>
                  <a:pt x="11251" y="4692"/>
                </a:lnTo>
                <a:lnTo>
                  <a:pt x="11240" y="4697"/>
                </a:lnTo>
                <a:lnTo>
                  <a:pt x="11228" y="4701"/>
                </a:lnTo>
                <a:lnTo>
                  <a:pt x="11233" y="4703"/>
                </a:lnTo>
                <a:lnTo>
                  <a:pt x="11237" y="4705"/>
                </a:lnTo>
                <a:lnTo>
                  <a:pt x="11241" y="4705"/>
                </a:lnTo>
                <a:lnTo>
                  <a:pt x="11243" y="4705"/>
                </a:lnTo>
                <a:lnTo>
                  <a:pt x="11249" y="4700"/>
                </a:lnTo>
                <a:lnTo>
                  <a:pt x="11251" y="4692"/>
                </a:lnTo>
                <a:lnTo>
                  <a:pt x="11252" y="4692"/>
                </a:lnTo>
                <a:lnTo>
                  <a:pt x="11254" y="4691"/>
                </a:lnTo>
                <a:lnTo>
                  <a:pt x="11259" y="4692"/>
                </a:lnTo>
                <a:lnTo>
                  <a:pt x="11264" y="4691"/>
                </a:lnTo>
                <a:lnTo>
                  <a:pt x="11266" y="4691"/>
                </a:lnTo>
                <a:lnTo>
                  <a:pt x="11268" y="4689"/>
                </a:lnTo>
                <a:lnTo>
                  <a:pt x="11269" y="4687"/>
                </a:lnTo>
                <a:lnTo>
                  <a:pt x="11269" y="4683"/>
                </a:lnTo>
                <a:close/>
                <a:moveTo>
                  <a:pt x="11741" y="4709"/>
                </a:moveTo>
                <a:lnTo>
                  <a:pt x="11744" y="4709"/>
                </a:lnTo>
                <a:lnTo>
                  <a:pt x="11745" y="4707"/>
                </a:lnTo>
                <a:lnTo>
                  <a:pt x="11745" y="4706"/>
                </a:lnTo>
                <a:lnTo>
                  <a:pt x="11745" y="4703"/>
                </a:lnTo>
                <a:lnTo>
                  <a:pt x="11743" y="4703"/>
                </a:lnTo>
                <a:lnTo>
                  <a:pt x="11741" y="4705"/>
                </a:lnTo>
                <a:lnTo>
                  <a:pt x="11740" y="4706"/>
                </a:lnTo>
                <a:lnTo>
                  <a:pt x="11741" y="4709"/>
                </a:lnTo>
                <a:close/>
                <a:moveTo>
                  <a:pt x="12272" y="6107"/>
                </a:moveTo>
                <a:lnTo>
                  <a:pt x="12270" y="6106"/>
                </a:lnTo>
                <a:lnTo>
                  <a:pt x="12266" y="6107"/>
                </a:lnTo>
                <a:lnTo>
                  <a:pt x="12263" y="6109"/>
                </a:lnTo>
                <a:lnTo>
                  <a:pt x="12261" y="6111"/>
                </a:lnTo>
                <a:lnTo>
                  <a:pt x="12265" y="6113"/>
                </a:lnTo>
                <a:lnTo>
                  <a:pt x="12267" y="6113"/>
                </a:lnTo>
                <a:lnTo>
                  <a:pt x="12270" y="6110"/>
                </a:lnTo>
                <a:lnTo>
                  <a:pt x="12272" y="6107"/>
                </a:lnTo>
                <a:close/>
                <a:moveTo>
                  <a:pt x="10656" y="4670"/>
                </a:moveTo>
                <a:lnTo>
                  <a:pt x="10658" y="4672"/>
                </a:lnTo>
                <a:lnTo>
                  <a:pt x="10658" y="4672"/>
                </a:lnTo>
                <a:lnTo>
                  <a:pt x="10658" y="4672"/>
                </a:lnTo>
                <a:lnTo>
                  <a:pt x="10656" y="4670"/>
                </a:lnTo>
                <a:lnTo>
                  <a:pt x="10655" y="4673"/>
                </a:lnTo>
                <a:lnTo>
                  <a:pt x="10655" y="4673"/>
                </a:lnTo>
                <a:lnTo>
                  <a:pt x="10656" y="4673"/>
                </a:lnTo>
                <a:lnTo>
                  <a:pt x="10656" y="4670"/>
                </a:lnTo>
                <a:close/>
                <a:moveTo>
                  <a:pt x="4289" y="9577"/>
                </a:moveTo>
                <a:lnTo>
                  <a:pt x="4293" y="9583"/>
                </a:lnTo>
                <a:lnTo>
                  <a:pt x="4295" y="9585"/>
                </a:lnTo>
                <a:lnTo>
                  <a:pt x="4298" y="9585"/>
                </a:lnTo>
                <a:lnTo>
                  <a:pt x="4300" y="9584"/>
                </a:lnTo>
                <a:lnTo>
                  <a:pt x="4305" y="9577"/>
                </a:lnTo>
                <a:lnTo>
                  <a:pt x="4309" y="9567"/>
                </a:lnTo>
                <a:lnTo>
                  <a:pt x="4304" y="9565"/>
                </a:lnTo>
                <a:lnTo>
                  <a:pt x="4299" y="9562"/>
                </a:lnTo>
                <a:lnTo>
                  <a:pt x="4295" y="9562"/>
                </a:lnTo>
                <a:lnTo>
                  <a:pt x="4293" y="9562"/>
                </a:lnTo>
                <a:lnTo>
                  <a:pt x="4290" y="9563"/>
                </a:lnTo>
                <a:lnTo>
                  <a:pt x="4289" y="9567"/>
                </a:lnTo>
                <a:lnTo>
                  <a:pt x="4289" y="9571"/>
                </a:lnTo>
                <a:lnTo>
                  <a:pt x="4289" y="9577"/>
                </a:lnTo>
                <a:close/>
                <a:moveTo>
                  <a:pt x="11334" y="4702"/>
                </a:moveTo>
                <a:lnTo>
                  <a:pt x="11336" y="4700"/>
                </a:lnTo>
                <a:lnTo>
                  <a:pt x="11336" y="4697"/>
                </a:lnTo>
                <a:lnTo>
                  <a:pt x="11335" y="4695"/>
                </a:lnTo>
                <a:lnTo>
                  <a:pt x="11334" y="4692"/>
                </a:lnTo>
                <a:lnTo>
                  <a:pt x="11330" y="4689"/>
                </a:lnTo>
                <a:lnTo>
                  <a:pt x="11327" y="4688"/>
                </a:lnTo>
                <a:lnTo>
                  <a:pt x="11324" y="4688"/>
                </a:lnTo>
                <a:lnTo>
                  <a:pt x="11321" y="4688"/>
                </a:lnTo>
                <a:lnTo>
                  <a:pt x="11317" y="4691"/>
                </a:lnTo>
                <a:lnTo>
                  <a:pt x="11316" y="4695"/>
                </a:lnTo>
                <a:lnTo>
                  <a:pt x="11316" y="4697"/>
                </a:lnTo>
                <a:lnTo>
                  <a:pt x="11319" y="4700"/>
                </a:lnTo>
                <a:lnTo>
                  <a:pt x="11321" y="4702"/>
                </a:lnTo>
                <a:lnTo>
                  <a:pt x="11325" y="4703"/>
                </a:lnTo>
                <a:lnTo>
                  <a:pt x="11330" y="4703"/>
                </a:lnTo>
                <a:lnTo>
                  <a:pt x="11334" y="4702"/>
                </a:lnTo>
                <a:close/>
                <a:moveTo>
                  <a:pt x="11145" y="4705"/>
                </a:moveTo>
                <a:lnTo>
                  <a:pt x="11154" y="4703"/>
                </a:lnTo>
                <a:lnTo>
                  <a:pt x="11164" y="4702"/>
                </a:lnTo>
                <a:lnTo>
                  <a:pt x="11173" y="4701"/>
                </a:lnTo>
                <a:lnTo>
                  <a:pt x="11184" y="4700"/>
                </a:lnTo>
                <a:lnTo>
                  <a:pt x="11164" y="4696"/>
                </a:lnTo>
                <a:lnTo>
                  <a:pt x="11154" y="4695"/>
                </a:lnTo>
                <a:lnTo>
                  <a:pt x="11152" y="4696"/>
                </a:lnTo>
                <a:lnTo>
                  <a:pt x="11149" y="4697"/>
                </a:lnTo>
                <a:lnTo>
                  <a:pt x="11147" y="4701"/>
                </a:lnTo>
                <a:lnTo>
                  <a:pt x="11145" y="4705"/>
                </a:lnTo>
                <a:close/>
                <a:moveTo>
                  <a:pt x="12202" y="6017"/>
                </a:moveTo>
                <a:lnTo>
                  <a:pt x="12200" y="6017"/>
                </a:lnTo>
                <a:lnTo>
                  <a:pt x="12200" y="6017"/>
                </a:lnTo>
                <a:lnTo>
                  <a:pt x="12199" y="6017"/>
                </a:lnTo>
                <a:lnTo>
                  <a:pt x="12199" y="6018"/>
                </a:lnTo>
                <a:lnTo>
                  <a:pt x="12202" y="6017"/>
                </a:lnTo>
                <a:close/>
                <a:moveTo>
                  <a:pt x="12311" y="6013"/>
                </a:moveTo>
                <a:lnTo>
                  <a:pt x="12314" y="6012"/>
                </a:lnTo>
                <a:lnTo>
                  <a:pt x="12320" y="6012"/>
                </a:lnTo>
                <a:lnTo>
                  <a:pt x="12323" y="6011"/>
                </a:lnTo>
                <a:lnTo>
                  <a:pt x="12326" y="6008"/>
                </a:lnTo>
                <a:lnTo>
                  <a:pt x="12321" y="6009"/>
                </a:lnTo>
                <a:lnTo>
                  <a:pt x="12316" y="6009"/>
                </a:lnTo>
                <a:lnTo>
                  <a:pt x="12312" y="6011"/>
                </a:lnTo>
                <a:lnTo>
                  <a:pt x="12311" y="6013"/>
                </a:lnTo>
                <a:close/>
                <a:moveTo>
                  <a:pt x="11909" y="6205"/>
                </a:moveTo>
                <a:lnTo>
                  <a:pt x="11898" y="6207"/>
                </a:lnTo>
                <a:lnTo>
                  <a:pt x="11887" y="6208"/>
                </a:lnTo>
                <a:lnTo>
                  <a:pt x="11876" y="6209"/>
                </a:lnTo>
                <a:lnTo>
                  <a:pt x="11865" y="6211"/>
                </a:lnTo>
                <a:lnTo>
                  <a:pt x="11871" y="6213"/>
                </a:lnTo>
                <a:lnTo>
                  <a:pt x="11878" y="6216"/>
                </a:lnTo>
                <a:lnTo>
                  <a:pt x="11883" y="6216"/>
                </a:lnTo>
                <a:lnTo>
                  <a:pt x="11888" y="6216"/>
                </a:lnTo>
                <a:lnTo>
                  <a:pt x="11899" y="6212"/>
                </a:lnTo>
                <a:lnTo>
                  <a:pt x="11909" y="6205"/>
                </a:lnTo>
                <a:close/>
                <a:moveTo>
                  <a:pt x="10724" y="4642"/>
                </a:moveTo>
                <a:lnTo>
                  <a:pt x="10724" y="4644"/>
                </a:lnTo>
                <a:lnTo>
                  <a:pt x="10734" y="4645"/>
                </a:lnTo>
                <a:lnTo>
                  <a:pt x="10745" y="4647"/>
                </a:lnTo>
                <a:lnTo>
                  <a:pt x="10754" y="4649"/>
                </a:lnTo>
                <a:lnTo>
                  <a:pt x="10739" y="4645"/>
                </a:lnTo>
                <a:lnTo>
                  <a:pt x="10724" y="4642"/>
                </a:lnTo>
                <a:close/>
                <a:moveTo>
                  <a:pt x="11180" y="4721"/>
                </a:moveTo>
                <a:lnTo>
                  <a:pt x="11178" y="4720"/>
                </a:lnTo>
                <a:lnTo>
                  <a:pt x="11177" y="4720"/>
                </a:lnTo>
                <a:lnTo>
                  <a:pt x="11177" y="4721"/>
                </a:lnTo>
                <a:lnTo>
                  <a:pt x="11176" y="4723"/>
                </a:lnTo>
                <a:lnTo>
                  <a:pt x="11180" y="4721"/>
                </a:lnTo>
                <a:close/>
                <a:moveTo>
                  <a:pt x="10979" y="4556"/>
                </a:moveTo>
                <a:lnTo>
                  <a:pt x="10976" y="4557"/>
                </a:lnTo>
                <a:lnTo>
                  <a:pt x="10979" y="4556"/>
                </a:lnTo>
                <a:lnTo>
                  <a:pt x="10973" y="4556"/>
                </a:lnTo>
                <a:lnTo>
                  <a:pt x="10979" y="4556"/>
                </a:lnTo>
                <a:close/>
                <a:moveTo>
                  <a:pt x="11119" y="4939"/>
                </a:moveTo>
                <a:lnTo>
                  <a:pt x="11116" y="4938"/>
                </a:lnTo>
                <a:lnTo>
                  <a:pt x="11115" y="4938"/>
                </a:lnTo>
                <a:lnTo>
                  <a:pt x="11115" y="4939"/>
                </a:lnTo>
                <a:lnTo>
                  <a:pt x="11115" y="4940"/>
                </a:lnTo>
                <a:lnTo>
                  <a:pt x="11119" y="4939"/>
                </a:lnTo>
                <a:close/>
                <a:moveTo>
                  <a:pt x="11284" y="4593"/>
                </a:moveTo>
                <a:lnTo>
                  <a:pt x="11287" y="4591"/>
                </a:lnTo>
                <a:lnTo>
                  <a:pt x="11287" y="4590"/>
                </a:lnTo>
                <a:lnTo>
                  <a:pt x="11287" y="4589"/>
                </a:lnTo>
                <a:lnTo>
                  <a:pt x="11287" y="4589"/>
                </a:lnTo>
                <a:lnTo>
                  <a:pt x="11283" y="4588"/>
                </a:lnTo>
                <a:lnTo>
                  <a:pt x="11280" y="4590"/>
                </a:lnTo>
                <a:lnTo>
                  <a:pt x="11283" y="4591"/>
                </a:lnTo>
                <a:lnTo>
                  <a:pt x="11284" y="4593"/>
                </a:lnTo>
                <a:close/>
                <a:moveTo>
                  <a:pt x="2706" y="7547"/>
                </a:moveTo>
                <a:lnTo>
                  <a:pt x="2703" y="7545"/>
                </a:lnTo>
                <a:lnTo>
                  <a:pt x="2701" y="7543"/>
                </a:lnTo>
                <a:lnTo>
                  <a:pt x="2700" y="7543"/>
                </a:lnTo>
                <a:lnTo>
                  <a:pt x="2700" y="7543"/>
                </a:lnTo>
                <a:lnTo>
                  <a:pt x="2698" y="7545"/>
                </a:lnTo>
                <a:lnTo>
                  <a:pt x="2698" y="7546"/>
                </a:lnTo>
                <a:lnTo>
                  <a:pt x="2701" y="7548"/>
                </a:lnTo>
                <a:lnTo>
                  <a:pt x="2703" y="7551"/>
                </a:lnTo>
                <a:lnTo>
                  <a:pt x="2705" y="7550"/>
                </a:lnTo>
                <a:lnTo>
                  <a:pt x="2706" y="7547"/>
                </a:lnTo>
                <a:close/>
                <a:moveTo>
                  <a:pt x="11134" y="4849"/>
                </a:moveTo>
                <a:lnTo>
                  <a:pt x="11135" y="4849"/>
                </a:lnTo>
                <a:lnTo>
                  <a:pt x="11135" y="4847"/>
                </a:lnTo>
                <a:lnTo>
                  <a:pt x="11135" y="4847"/>
                </a:lnTo>
                <a:lnTo>
                  <a:pt x="11134" y="4846"/>
                </a:lnTo>
                <a:lnTo>
                  <a:pt x="11131" y="4847"/>
                </a:lnTo>
                <a:lnTo>
                  <a:pt x="11129" y="4849"/>
                </a:lnTo>
                <a:lnTo>
                  <a:pt x="11131" y="4849"/>
                </a:lnTo>
                <a:lnTo>
                  <a:pt x="11134" y="4849"/>
                </a:lnTo>
                <a:close/>
                <a:moveTo>
                  <a:pt x="10945" y="4552"/>
                </a:moveTo>
                <a:lnTo>
                  <a:pt x="10959" y="4554"/>
                </a:lnTo>
                <a:lnTo>
                  <a:pt x="10971" y="4556"/>
                </a:lnTo>
                <a:lnTo>
                  <a:pt x="10966" y="4552"/>
                </a:lnTo>
                <a:lnTo>
                  <a:pt x="10961" y="4549"/>
                </a:lnTo>
                <a:lnTo>
                  <a:pt x="10958" y="4548"/>
                </a:lnTo>
                <a:lnTo>
                  <a:pt x="10954" y="4548"/>
                </a:lnTo>
                <a:lnTo>
                  <a:pt x="10951" y="4549"/>
                </a:lnTo>
                <a:lnTo>
                  <a:pt x="10945" y="4552"/>
                </a:lnTo>
                <a:close/>
                <a:moveTo>
                  <a:pt x="11347" y="4855"/>
                </a:moveTo>
                <a:lnTo>
                  <a:pt x="11345" y="4852"/>
                </a:lnTo>
                <a:lnTo>
                  <a:pt x="11343" y="4851"/>
                </a:lnTo>
                <a:lnTo>
                  <a:pt x="11340" y="4851"/>
                </a:lnTo>
                <a:lnTo>
                  <a:pt x="11336" y="4851"/>
                </a:lnTo>
                <a:lnTo>
                  <a:pt x="11327" y="4854"/>
                </a:lnTo>
                <a:lnTo>
                  <a:pt x="11317" y="4854"/>
                </a:lnTo>
                <a:lnTo>
                  <a:pt x="11326" y="4856"/>
                </a:lnTo>
                <a:lnTo>
                  <a:pt x="11333" y="4856"/>
                </a:lnTo>
                <a:lnTo>
                  <a:pt x="11339" y="4856"/>
                </a:lnTo>
                <a:lnTo>
                  <a:pt x="11347" y="4855"/>
                </a:lnTo>
                <a:close/>
                <a:moveTo>
                  <a:pt x="11394" y="4595"/>
                </a:moveTo>
                <a:lnTo>
                  <a:pt x="11399" y="4594"/>
                </a:lnTo>
                <a:lnTo>
                  <a:pt x="11405" y="4594"/>
                </a:lnTo>
                <a:lnTo>
                  <a:pt x="11408" y="4593"/>
                </a:lnTo>
                <a:lnTo>
                  <a:pt x="11410" y="4593"/>
                </a:lnTo>
                <a:lnTo>
                  <a:pt x="11412" y="4590"/>
                </a:lnTo>
                <a:lnTo>
                  <a:pt x="11412" y="4588"/>
                </a:lnTo>
                <a:lnTo>
                  <a:pt x="11405" y="4589"/>
                </a:lnTo>
                <a:lnTo>
                  <a:pt x="11398" y="4589"/>
                </a:lnTo>
                <a:lnTo>
                  <a:pt x="11395" y="4590"/>
                </a:lnTo>
                <a:lnTo>
                  <a:pt x="11394" y="4591"/>
                </a:lnTo>
                <a:lnTo>
                  <a:pt x="11392" y="4593"/>
                </a:lnTo>
                <a:lnTo>
                  <a:pt x="11394" y="4595"/>
                </a:lnTo>
                <a:close/>
                <a:moveTo>
                  <a:pt x="11001" y="4659"/>
                </a:moveTo>
                <a:lnTo>
                  <a:pt x="11000" y="4654"/>
                </a:lnTo>
                <a:lnTo>
                  <a:pt x="10998" y="4651"/>
                </a:lnTo>
                <a:lnTo>
                  <a:pt x="10994" y="4651"/>
                </a:lnTo>
                <a:lnTo>
                  <a:pt x="10990" y="4651"/>
                </a:lnTo>
                <a:lnTo>
                  <a:pt x="10980" y="4656"/>
                </a:lnTo>
                <a:lnTo>
                  <a:pt x="10968" y="4661"/>
                </a:lnTo>
                <a:lnTo>
                  <a:pt x="10987" y="4660"/>
                </a:lnTo>
                <a:lnTo>
                  <a:pt x="11001" y="4659"/>
                </a:lnTo>
                <a:close/>
                <a:moveTo>
                  <a:pt x="10822" y="4654"/>
                </a:moveTo>
                <a:lnTo>
                  <a:pt x="10802" y="4652"/>
                </a:lnTo>
                <a:lnTo>
                  <a:pt x="10784" y="4651"/>
                </a:lnTo>
                <a:lnTo>
                  <a:pt x="10768" y="4650"/>
                </a:lnTo>
                <a:lnTo>
                  <a:pt x="10754" y="4649"/>
                </a:lnTo>
                <a:lnTo>
                  <a:pt x="10766" y="4652"/>
                </a:lnTo>
                <a:lnTo>
                  <a:pt x="10773" y="4656"/>
                </a:lnTo>
                <a:lnTo>
                  <a:pt x="10781" y="4659"/>
                </a:lnTo>
                <a:lnTo>
                  <a:pt x="10788" y="4660"/>
                </a:lnTo>
                <a:lnTo>
                  <a:pt x="10802" y="4659"/>
                </a:lnTo>
                <a:lnTo>
                  <a:pt x="10822" y="4654"/>
                </a:lnTo>
                <a:close/>
                <a:moveTo>
                  <a:pt x="11037" y="4667"/>
                </a:moveTo>
                <a:lnTo>
                  <a:pt x="11054" y="4672"/>
                </a:lnTo>
                <a:lnTo>
                  <a:pt x="11068" y="4675"/>
                </a:lnTo>
                <a:lnTo>
                  <a:pt x="11075" y="4677"/>
                </a:lnTo>
                <a:lnTo>
                  <a:pt x="11083" y="4677"/>
                </a:lnTo>
                <a:lnTo>
                  <a:pt x="11091" y="4675"/>
                </a:lnTo>
                <a:lnTo>
                  <a:pt x="11100" y="4674"/>
                </a:lnTo>
                <a:lnTo>
                  <a:pt x="11092" y="4669"/>
                </a:lnTo>
                <a:lnTo>
                  <a:pt x="11084" y="4665"/>
                </a:lnTo>
                <a:lnTo>
                  <a:pt x="11078" y="4661"/>
                </a:lnTo>
                <a:lnTo>
                  <a:pt x="11070" y="4659"/>
                </a:lnTo>
                <a:lnTo>
                  <a:pt x="11063" y="4659"/>
                </a:lnTo>
                <a:lnTo>
                  <a:pt x="11055" y="4659"/>
                </a:lnTo>
                <a:lnTo>
                  <a:pt x="11047" y="4661"/>
                </a:lnTo>
                <a:lnTo>
                  <a:pt x="11037" y="4667"/>
                </a:lnTo>
                <a:close/>
                <a:moveTo>
                  <a:pt x="10656" y="4646"/>
                </a:moveTo>
                <a:lnTo>
                  <a:pt x="10647" y="4641"/>
                </a:lnTo>
                <a:lnTo>
                  <a:pt x="10639" y="4637"/>
                </a:lnTo>
                <a:lnTo>
                  <a:pt x="10630" y="4633"/>
                </a:lnTo>
                <a:lnTo>
                  <a:pt x="10621" y="4631"/>
                </a:lnTo>
                <a:lnTo>
                  <a:pt x="10610" y="4630"/>
                </a:lnTo>
                <a:lnTo>
                  <a:pt x="10599" y="4631"/>
                </a:lnTo>
                <a:lnTo>
                  <a:pt x="10589" y="4633"/>
                </a:lnTo>
                <a:lnTo>
                  <a:pt x="10576" y="4638"/>
                </a:lnTo>
                <a:lnTo>
                  <a:pt x="10599" y="4640"/>
                </a:lnTo>
                <a:lnTo>
                  <a:pt x="10619" y="4642"/>
                </a:lnTo>
                <a:lnTo>
                  <a:pt x="10639" y="4644"/>
                </a:lnTo>
                <a:lnTo>
                  <a:pt x="10656" y="4646"/>
                </a:lnTo>
                <a:close/>
                <a:moveTo>
                  <a:pt x="11280" y="4546"/>
                </a:moveTo>
                <a:lnTo>
                  <a:pt x="11251" y="4543"/>
                </a:lnTo>
                <a:lnTo>
                  <a:pt x="11222" y="4540"/>
                </a:lnTo>
                <a:lnTo>
                  <a:pt x="11194" y="4539"/>
                </a:lnTo>
                <a:lnTo>
                  <a:pt x="11164" y="4539"/>
                </a:lnTo>
                <a:lnTo>
                  <a:pt x="11135" y="4539"/>
                </a:lnTo>
                <a:lnTo>
                  <a:pt x="11106" y="4542"/>
                </a:lnTo>
                <a:lnTo>
                  <a:pt x="11078" y="4544"/>
                </a:lnTo>
                <a:lnTo>
                  <a:pt x="11050" y="4549"/>
                </a:lnTo>
                <a:lnTo>
                  <a:pt x="11069" y="4558"/>
                </a:lnTo>
                <a:lnTo>
                  <a:pt x="11098" y="4567"/>
                </a:lnTo>
                <a:lnTo>
                  <a:pt x="11133" y="4575"/>
                </a:lnTo>
                <a:lnTo>
                  <a:pt x="11171" y="4580"/>
                </a:lnTo>
                <a:lnTo>
                  <a:pt x="11208" y="4581"/>
                </a:lnTo>
                <a:lnTo>
                  <a:pt x="11241" y="4576"/>
                </a:lnTo>
                <a:lnTo>
                  <a:pt x="11266" y="4565"/>
                </a:lnTo>
                <a:lnTo>
                  <a:pt x="11280" y="4546"/>
                </a:lnTo>
                <a:close/>
                <a:moveTo>
                  <a:pt x="11223" y="4663"/>
                </a:moveTo>
                <a:lnTo>
                  <a:pt x="11187" y="4644"/>
                </a:lnTo>
                <a:lnTo>
                  <a:pt x="11147" y="4626"/>
                </a:lnTo>
                <a:lnTo>
                  <a:pt x="11105" y="4613"/>
                </a:lnTo>
                <a:lnTo>
                  <a:pt x="11061" y="4603"/>
                </a:lnTo>
                <a:lnTo>
                  <a:pt x="11017" y="4596"/>
                </a:lnTo>
                <a:lnTo>
                  <a:pt x="10973" y="4594"/>
                </a:lnTo>
                <a:lnTo>
                  <a:pt x="10931" y="4595"/>
                </a:lnTo>
                <a:lnTo>
                  <a:pt x="10892" y="4602"/>
                </a:lnTo>
                <a:lnTo>
                  <a:pt x="10875" y="4604"/>
                </a:lnTo>
                <a:lnTo>
                  <a:pt x="10892" y="4610"/>
                </a:lnTo>
                <a:lnTo>
                  <a:pt x="10934" y="4619"/>
                </a:lnTo>
                <a:lnTo>
                  <a:pt x="10994" y="4628"/>
                </a:lnTo>
                <a:lnTo>
                  <a:pt x="11060" y="4638"/>
                </a:lnTo>
                <a:lnTo>
                  <a:pt x="11128" y="4647"/>
                </a:lnTo>
                <a:lnTo>
                  <a:pt x="11185" y="4656"/>
                </a:lnTo>
                <a:lnTo>
                  <a:pt x="11223" y="4663"/>
                </a:lnTo>
                <a:close/>
                <a:moveTo>
                  <a:pt x="2510" y="10863"/>
                </a:moveTo>
                <a:lnTo>
                  <a:pt x="2516" y="10853"/>
                </a:lnTo>
                <a:lnTo>
                  <a:pt x="2522" y="10844"/>
                </a:lnTo>
                <a:lnTo>
                  <a:pt x="2525" y="10840"/>
                </a:lnTo>
                <a:lnTo>
                  <a:pt x="2525" y="10836"/>
                </a:lnTo>
                <a:lnTo>
                  <a:pt x="2524" y="10834"/>
                </a:lnTo>
                <a:lnTo>
                  <a:pt x="2520" y="10831"/>
                </a:lnTo>
                <a:lnTo>
                  <a:pt x="2512" y="10836"/>
                </a:lnTo>
                <a:lnTo>
                  <a:pt x="2507" y="10843"/>
                </a:lnTo>
                <a:lnTo>
                  <a:pt x="2507" y="10847"/>
                </a:lnTo>
                <a:lnTo>
                  <a:pt x="2506" y="10850"/>
                </a:lnTo>
                <a:lnTo>
                  <a:pt x="2507" y="10857"/>
                </a:lnTo>
                <a:lnTo>
                  <a:pt x="2510" y="10863"/>
                </a:lnTo>
                <a:close/>
                <a:moveTo>
                  <a:pt x="1025" y="8504"/>
                </a:moveTo>
                <a:lnTo>
                  <a:pt x="1026" y="8507"/>
                </a:lnTo>
                <a:lnTo>
                  <a:pt x="1026" y="8509"/>
                </a:lnTo>
                <a:lnTo>
                  <a:pt x="1027" y="8511"/>
                </a:lnTo>
                <a:lnTo>
                  <a:pt x="1030" y="8511"/>
                </a:lnTo>
                <a:lnTo>
                  <a:pt x="1034" y="8511"/>
                </a:lnTo>
                <a:lnTo>
                  <a:pt x="1039" y="8508"/>
                </a:lnTo>
                <a:lnTo>
                  <a:pt x="1035" y="8504"/>
                </a:lnTo>
                <a:lnTo>
                  <a:pt x="1031" y="8502"/>
                </a:lnTo>
                <a:lnTo>
                  <a:pt x="1029" y="8502"/>
                </a:lnTo>
                <a:lnTo>
                  <a:pt x="1025" y="8504"/>
                </a:lnTo>
                <a:close/>
                <a:moveTo>
                  <a:pt x="1375" y="9039"/>
                </a:moveTo>
                <a:lnTo>
                  <a:pt x="1371" y="9034"/>
                </a:lnTo>
                <a:lnTo>
                  <a:pt x="1367" y="9031"/>
                </a:lnTo>
                <a:lnTo>
                  <a:pt x="1365" y="9030"/>
                </a:lnTo>
                <a:lnTo>
                  <a:pt x="1362" y="9031"/>
                </a:lnTo>
                <a:lnTo>
                  <a:pt x="1360" y="9033"/>
                </a:lnTo>
                <a:lnTo>
                  <a:pt x="1357" y="9035"/>
                </a:lnTo>
                <a:lnTo>
                  <a:pt x="1361" y="9040"/>
                </a:lnTo>
                <a:lnTo>
                  <a:pt x="1364" y="9044"/>
                </a:lnTo>
                <a:lnTo>
                  <a:pt x="1369" y="9044"/>
                </a:lnTo>
                <a:lnTo>
                  <a:pt x="1375" y="9039"/>
                </a:lnTo>
                <a:close/>
                <a:moveTo>
                  <a:pt x="1032" y="8028"/>
                </a:moveTo>
                <a:lnTo>
                  <a:pt x="1027" y="8031"/>
                </a:lnTo>
                <a:lnTo>
                  <a:pt x="1024" y="8033"/>
                </a:lnTo>
                <a:lnTo>
                  <a:pt x="1024" y="8037"/>
                </a:lnTo>
                <a:lnTo>
                  <a:pt x="1025" y="8042"/>
                </a:lnTo>
                <a:lnTo>
                  <a:pt x="1029" y="8045"/>
                </a:lnTo>
                <a:lnTo>
                  <a:pt x="1034" y="8046"/>
                </a:lnTo>
                <a:lnTo>
                  <a:pt x="1040" y="8046"/>
                </a:lnTo>
                <a:lnTo>
                  <a:pt x="1046" y="8041"/>
                </a:lnTo>
                <a:lnTo>
                  <a:pt x="1039" y="8033"/>
                </a:lnTo>
                <a:lnTo>
                  <a:pt x="1032" y="8028"/>
                </a:lnTo>
                <a:close/>
                <a:moveTo>
                  <a:pt x="867" y="9253"/>
                </a:moveTo>
                <a:lnTo>
                  <a:pt x="867" y="9258"/>
                </a:lnTo>
                <a:lnTo>
                  <a:pt x="868" y="9263"/>
                </a:lnTo>
                <a:lnTo>
                  <a:pt x="869" y="9267"/>
                </a:lnTo>
                <a:lnTo>
                  <a:pt x="872" y="9268"/>
                </a:lnTo>
                <a:lnTo>
                  <a:pt x="876" y="9269"/>
                </a:lnTo>
                <a:lnTo>
                  <a:pt x="880" y="9269"/>
                </a:lnTo>
                <a:lnTo>
                  <a:pt x="885" y="9268"/>
                </a:lnTo>
                <a:lnTo>
                  <a:pt x="891" y="9266"/>
                </a:lnTo>
                <a:lnTo>
                  <a:pt x="886" y="9255"/>
                </a:lnTo>
                <a:lnTo>
                  <a:pt x="881" y="9249"/>
                </a:lnTo>
                <a:lnTo>
                  <a:pt x="877" y="9248"/>
                </a:lnTo>
                <a:lnTo>
                  <a:pt x="875" y="9248"/>
                </a:lnTo>
                <a:lnTo>
                  <a:pt x="871" y="9249"/>
                </a:lnTo>
                <a:lnTo>
                  <a:pt x="867" y="9253"/>
                </a:lnTo>
                <a:close/>
                <a:moveTo>
                  <a:pt x="378" y="7828"/>
                </a:moveTo>
                <a:lnTo>
                  <a:pt x="374" y="7840"/>
                </a:lnTo>
                <a:lnTo>
                  <a:pt x="368" y="7851"/>
                </a:lnTo>
                <a:lnTo>
                  <a:pt x="365" y="7856"/>
                </a:lnTo>
                <a:lnTo>
                  <a:pt x="365" y="7862"/>
                </a:lnTo>
                <a:lnTo>
                  <a:pt x="366" y="7865"/>
                </a:lnTo>
                <a:lnTo>
                  <a:pt x="370" y="7868"/>
                </a:lnTo>
                <a:lnTo>
                  <a:pt x="378" y="7863"/>
                </a:lnTo>
                <a:lnTo>
                  <a:pt x="383" y="7859"/>
                </a:lnTo>
                <a:lnTo>
                  <a:pt x="386" y="7855"/>
                </a:lnTo>
                <a:lnTo>
                  <a:pt x="387" y="7851"/>
                </a:lnTo>
                <a:lnTo>
                  <a:pt x="387" y="7848"/>
                </a:lnTo>
                <a:lnTo>
                  <a:pt x="386" y="7842"/>
                </a:lnTo>
                <a:lnTo>
                  <a:pt x="383" y="7837"/>
                </a:lnTo>
                <a:lnTo>
                  <a:pt x="378" y="7828"/>
                </a:lnTo>
                <a:close/>
                <a:moveTo>
                  <a:pt x="962" y="8532"/>
                </a:moveTo>
                <a:lnTo>
                  <a:pt x="946" y="8532"/>
                </a:lnTo>
                <a:lnTo>
                  <a:pt x="929" y="8535"/>
                </a:lnTo>
                <a:lnTo>
                  <a:pt x="923" y="8537"/>
                </a:lnTo>
                <a:lnTo>
                  <a:pt x="915" y="8541"/>
                </a:lnTo>
                <a:lnTo>
                  <a:pt x="908" y="8546"/>
                </a:lnTo>
                <a:lnTo>
                  <a:pt x="901" y="8554"/>
                </a:lnTo>
                <a:lnTo>
                  <a:pt x="912" y="8558"/>
                </a:lnTo>
                <a:lnTo>
                  <a:pt x="922" y="8560"/>
                </a:lnTo>
                <a:lnTo>
                  <a:pt x="931" y="8560"/>
                </a:lnTo>
                <a:lnTo>
                  <a:pt x="938" y="8558"/>
                </a:lnTo>
                <a:lnTo>
                  <a:pt x="946" y="8554"/>
                </a:lnTo>
                <a:lnTo>
                  <a:pt x="952" y="8549"/>
                </a:lnTo>
                <a:lnTo>
                  <a:pt x="959" y="8541"/>
                </a:lnTo>
                <a:lnTo>
                  <a:pt x="962" y="8532"/>
                </a:lnTo>
                <a:close/>
                <a:moveTo>
                  <a:pt x="304" y="8439"/>
                </a:moveTo>
                <a:lnTo>
                  <a:pt x="317" y="8429"/>
                </a:lnTo>
                <a:lnTo>
                  <a:pt x="316" y="8422"/>
                </a:lnTo>
                <a:lnTo>
                  <a:pt x="304" y="8418"/>
                </a:lnTo>
                <a:lnTo>
                  <a:pt x="289" y="8417"/>
                </a:lnTo>
                <a:lnTo>
                  <a:pt x="272" y="8419"/>
                </a:lnTo>
                <a:lnTo>
                  <a:pt x="259" y="8425"/>
                </a:lnTo>
                <a:lnTo>
                  <a:pt x="256" y="8434"/>
                </a:lnTo>
                <a:lnTo>
                  <a:pt x="265" y="8446"/>
                </a:lnTo>
                <a:lnTo>
                  <a:pt x="273" y="8457"/>
                </a:lnTo>
                <a:lnTo>
                  <a:pt x="289" y="8462"/>
                </a:lnTo>
                <a:lnTo>
                  <a:pt x="307" y="8464"/>
                </a:lnTo>
                <a:lnTo>
                  <a:pt x="322" y="8461"/>
                </a:lnTo>
                <a:lnTo>
                  <a:pt x="333" y="8457"/>
                </a:lnTo>
                <a:lnTo>
                  <a:pt x="337" y="8451"/>
                </a:lnTo>
                <a:lnTo>
                  <a:pt x="328" y="8445"/>
                </a:lnTo>
                <a:lnTo>
                  <a:pt x="304" y="8439"/>
                </a:lnTo>
                <a:close/>
                <a:moveTo>
                  <a:pt x="1080" y="8856"/>
                </a:moveTo>
                <a:lnTo>
                  <a:pt x="1066" y="8843"/>
                </a:lnTo>
                <a:lnTo>
                  <a:pt x="1049" y="8833"/>
                </a:lnTo>
                <a:lnTo>
                  <a:pt x="1041" y="8830"/>
                </a:lnTo>
                <a:lnTo>
                  <a:pt x="1034" y="8831"/>
                </a:lnTo>
                <a:lnTo>
                  <a:pt x="1026" y="8837"/>
                </a:lnTo>
                <a:lnTo>
                  <a:pt x="1021" y="8847"/>
                </a:lnTo>
                <a:lnTo>
                  <a:pt x="1024" y="8865"/>
                </a:lnTo>
                <a:lnTo>
                  <a:pt x="1034" y="8879"/>
                </a:lnTo>
                <a:lnTo>
                  <a:pt x="1050" y="8889"/>
                </a:lnTo>
                <a:lnTo>
                  <a:pt x="1068" y="8894"/>
                </a:lnTo>
                <a:lnTo>
                  <a:pt x="1083" y="8894"/>
                </a:lnTo>
                <a:lnTo>
                  <a:pt x="1092" y="8888"/>
                </a:lnTo>
                <a:lnTo>
                  <a:pt x="1092" y="8875"/>
                </a:lnTo>
                <a:lnTo>
                  <a:pt x="1080" y="8856"/>
                </a:lnTo>
                <a:close/>
                <a:moveTo>
                  <a:pt x="58" y="8140"/>
                </a:moveTo>
                <a:lnTo>
                  <a:pt x="52" y="8134"/>
                </a:lnTo>
                <a:lnTo>
                  <a:pt x="46" y="8128"/>
                </a:lnTo>
                <a:lnTo>
                  <a:pt x="37" y="8122"/>
                </a:lnTo>
                <a:lnTo>
                  <a:pt x="28" y="8119"/>
                </a:lnTo>
                <a:lnTo>
                  <a:pt x="19" y="8117"/>
                </a:lnTo>
                <a:lnTo>
                  <a:pt x="11" y="8120"/>
                </a:lnTo>
                <a:lnTo>
                  <a:pt x="5" y="8125"/>
                </a:lnTo>
                <a:lnTo>
                  <a:pt x="0" y="8136"/>
                </a:lnTo>
                <a:lnTo>
                  <a:pt x="5" y="8156"/>
                </a:lnTo>
                <a:lnTo>
                  <a:pt x="18" y="8170"/>
                </a:lnTo>
                <a:lnTo>
                  <a:pt x="34" y="8178"/>
                </a:lnTo>
                <a:lnTo>
                  <a:pt x="52" y="8181"/>
                </a:lnTo>
                <a:lnTo>
                  <a:pt x="67" y="8180"/>
                </a:lnTo>
                <a:lnTo>
                  <a:pt x="76" y="8172"/>
                </a:lnTo>
                <a:lnTo>
                  <a:pt x="74" y="8159"/>
                </a:lnTo>
                <a:lnTo>
                  <a:pt x="58" y="8140"/>
                </a:lnTo>
                <a:close/>
                <a:moveTo>
                  <a:pt x="296" y="8343"/>
                </a:moveTo>
                <a:lnTo>
                  <a:pt x="295" y="8330"/>
                </a:lnTo>
                <a:lnTo>
                  <a:pt x="290" y="8317"/>
                </a:lnTo>
                <a:lnTo>
                  <a:pt x="281" y="8305"/>
                </a:lnTo>
                <a:lnTo>
                  <a:pt x="268" y="8296"/>
                </a:lnTo>
                <a:lnTo>
                  <a:pt x="254" y="8291"/>
                </a:lnTo>
                <a:lnTo>
                  <a:pt x="242" y="8291"/>
                </a:lnTo>
                <a:lnTo>
                  <a:pt x="229" y="8297"/>
                </a:lnTo>
                <a:lnTo>
                  <a:pt x="220" y="8312"/>
                </a:lnTo>
                <a:lnTo>
                  <a:pt x="221" y="8322"/>
                </a:lnTo>
                <a:lnTo>
                  <a:pt x="228" y="8335"/>
                </a:lnTo>
                <a:lnTo>
                  <a:pt x="238" y="8345"/>
                </a:lnTo>
                <a:lnTo>
                  <a:pt x="251" y="8354"/>
                </a:lnTo>
                <a:lnTo>
                  <a:pt x="263" y="8361"/>
                </a:lnTo>
                <a:lnTo>
                  <a:pt x="276" y="8361"/>
                </a:lnTo>
                <a:lnTo>
                  <a:pt x="287" y="8355"/>
                </a:lnTo>
                <a:lnTo>
                  <a:pt x="296" y="8343"/>
                </a:lnTo>
                <a:close/>
                <a:moveTo>
                  <a:pt x="207" y="8363"/>
                </a:moveTo>
                <a:lnTo>
                  <a:pt x="198" y="8350"/>
                </a:lnTo>
                <a:lnTo>
                  <a:pt x="186" y="8343"/>
                </a:lnTo>
                <a:lnTo>
                  <a:pt x="173" y="8341"/>
                </a:lnTo>
                <a:lnTo>
                  <a:pt x="159" y="8345"/>
                </a:lnTo>
                <a:lnTo>
                  <a:pt x="149" y="8353"/>
                </a:lnTo>
                <a:lnTo>
                  <a:pt x="144" y="8363"/>
                </a:lnTo>
                <a:lnTo>
                  <a:pt x="147" y="8375"/>
                </a:lnTo>
                <a:lnTo>
                  <a:pt x="160" y="8387"/>
                </a:lnTo>
                <a:lnTo>
                  <a:pt x="169" y="8400"/>
                </a:lnTo>
                <a:lnTo>
                  <a:pt x="182" y="8408"/>
                </a:lnTo>
                <a:lnTo>
                  <a:pt x="197" y="8409"/>
                </a:lnTo>
                <a:lnTo>
                  <a:pt x="211" y="8405"/>
                </a:lnTo>
                <a:lnTo>
                  <a:pt x="221" y="8397"/>
                </a:lnTo>
                <a:lnTo>
                  <a:pt x="225" y="8389"/>
                </a:lnTo>
                <a:lnTo>
                  <a:pt x="221" y="8377"/>
                </a:lnTo>
                <a:lnTo>
                  <a:pt x="207" y="8363"/>
                </a:lnTo>
                <a:close/>
                <a:moveTo>
                  <a:pt x="1250" y="8824"/>
                </a:moveTo>
                <a:lnTo>
                  <a:pt x="1257" y="8840"/>
                </a:lnTo>
                <a:lnTo>
                  <a:pt x="1267" y="8842"/>
                </a:lnTo>
                <a:lnTo>
                  <a:pt x="1278" y="8830"/>
                </a:lnTo>
                <a:lnTo>
                  <a:pt x="1291" y="8811"/>
                </a:lnTo>
                <a:lnTo>
                  <a:pt x="1304" y="8788"/>
                </a:lnTo>
                <a:lnTo>
                  <a:pt x="1315" y="8763"/>
                </a:lnTo>
                <a:lnTo>
                  <a:pt x="1324" y="8741"/>
                </a:lnTo>
                <a:lnTo>
                  <a:pt x="1329" y="8726"/>
                </a:lnTo>
                <a:lnTo>
                  <a:pt x="1315" y="8736"/>
                </a:lnTo>
                <a:lnTo>
                  <a:pt x="1302" y="8747"/>
                </a:lnTo>
                <a:lnTo>
                  <a:pt x="1292" y="8759"/>
                </a:lnTo>
                <a:lnTo>
                  <a:pt x="1283" y="8772"/>
                </a:lnTo>
                <a:lnTo>
                  <a:pt x="1267" y="8798"/>
                </a:lnTo>
                <a:lnTo>
                  <a:pt x="1250" y="8824"/>
                </a:lnTo>
                <a:close/>
                <a:moveTo>
                  <a:pt x="1536" y="9128"/>
                </a:moveTo>
                <a:lnTo>
                  <a:pt x="1519" y="9112"/>
                </a:lnTo>
                <a:lnTo>
                  <a:pt x="1490" y="9094"/>
                </a:lnTo>
                <a:lnTo>
                  <a:pt x="1454" y="9076"/>
                </a:lnTo>
                <a:lnTo>
                  <a:pt x="1418" y="9062"/>
                </a:lnTo>
                <a:lnTo>
                  <a:pt x="1387" y="9054"/>
                </a:lnTo>
                <a:lnTo>
                  <a:pt x="1367" y="9056"/>
                </a:lnTo>
                <a:lnTo>
                  <a:pt x="1365" y="9067"/>
                </a:lnTo>
                <a:lnTo>
                  <a:pt x="1384" y="9091"/>
                </a:lnTo>
                <a:lnTo>
                  <a:pt x="1397" y="9114"/>
                </a:lnTo>
                <a:lnTo>
                  <a:pt x="1421" y="9140"/>
                </a:lnTo>
                <a:lnTo>
                  <a:pt x="1453" y="9165"/>
                </a:lnTo>
                <a:lnTo>
                  <a:pt x="1486" y="9184"/>
                </a:lnTo>
                <a:lnTo>
                  <a:pt x="1515" y="9194"/>
                </a:lnTo>
                <a:lnTo>
                  <a:pt x="1537" y="9192"/>
                </a:lnTo>
                <a:lnTo>
                  <a:pt x="1546" y="9170"/>
                </a:lnTo>
                <a:lnTo>
                  <a:pt x="1536" y="9128"/>
                </a:lnTo>
                <a:close/>
                <a:moveTo>
                  <a:pt x="522" y="8369"/>
                </a:moveTo>
                <a:lnTo>
                  <a:pt x="503" y="8348"/>
                </a:lnTo>
                <a:lnTo>
                  <a:pt x="477" y="8341"/>
                </a:lnTo>
                <a:lnTo>
                  <a:pt x="451" y="8347"/>
                </a:lnTo>
                <a:lnTo>
                  <a:pt x="425" y="8361"/>
                </a:lnTo>
                <a:lnTo>
                  <a:pt x="406" y="8381"/>
                </a:lnTo>
                <a:lnTo>
                  <a:pt x="397" y="8405"/>
                </a:lnTo>
                <a:lnTo>
                  <a:pt x="402" y="8428"/>
                </a:lnTo>
                <a:lnTo>
                  <a:pt x="425" y="8448"/>
                </a:lnTo>
                <a:lnTo>
                  <a:pt x="447" y="8470"/>
                </a:lnTo>
                <a:lnTo>
                  <a:pt x="472" y="8478"/>
                </a:lnTo>
                <a:lnTo>
                  <a:pt x="500" y="8473"/>
                </a:lnTo>
                <a:lnTo>
                  <a:pt x="524" y="8459"/>
                </a:lnTo>
                <a:lnTo>
                  <a:pt x="543" y="8438"/>
                </a:lnTo>
                <a:lnTo>
                  <a:pt x="552" y="8414"/>
                </a:lnTo>
                <a:lnTo>
                  <a:pt x="546" y="8390"/>
                </a:lnTo>
                <a:lnTo>
                  <a:pt x="522" y="8369"/>
                </a:lnTo>
                <a:close/>
                <a:moveTo>
                  <a:pt x="1781" y="9273"/>
                </a:moveTo>
                <a:lnTo>
                  <a:pt x="1718" y="9192"/>
                </a:lnTo>
                <a:lnTo>
                  <a:pt x="1651" y="9165"/>
                </a:lnTo>
                <a:lnTo>
                  <a:pt x="1592" y="9179"/>
                </a:lnTo>
                <a:lnTo>
                  <a:pt x="1544" y="9222"/>
                </a:lnTo>
                <a:lnTo>
                  <a:pt x="1516" y="9281"/>
                </a:lnTo>
                <a:lnTo>
                  <a:pt x="1515" y="9343"/>
                </a:lnTo>
                <a:lnTo>
                  <a:pt x="1547" y="9397"/>
                </a:lnTo>
                <a:lnTo>
                  <a:pt x="1620" y="9428"/>
                </a:lnTo>
                <a:lnTo>
                  <a:pt x="1649" y="9427"/>
                </a:lnTo>
                <a:lnTo>
                  <a:pt x="1681" y="9420"/>
                </a:lnTo>
                <a:lnTo>
                  <a:pt x="1711" y="9406"/>
                </a:lnTo>
                <a:lnTo>
                  <a:pt x="1739" y="9388"/>
                </a:lnTo>
                <a:lnTo>
                  <a:pt x="1762" y="9365"/>
                </a:lnTo>
                <a:lnTo>
                  <a:pt x="1777" y="9338"/>
                </a:lnTo>
                <a:lnTo>
                  <a:pt x="1785" y="9306"/>
                </a:lnTo>
                <a:lnTo>
                  <a:pt x="1781" y="9273"/>
                </a:lnTo>
                <a:close/>
                <a:moveTo>
                  <a:pt x="1039" y="8358"/>
                </a:moveTo>
                <a:lnTo>
                  <a:pt x="1059" y="8312"/>
                </a:lnTo>
                <a:lnTo>
                  <a:pt x="1057" y="8260"/>
                </a:lnTo>
                <a:lnTo>
                  <a:pt x="1035" y="8208"/>
                </a:lnTo>
                <a:lnTo>
                  <a:pt x="1001" y="8162"/>
                </a:lnTo>
                <a:lnTo>
                  <a:pt x="957" y="8128"/>
                </a:lnTo>
                <a:lnTo>
                  <a:pt x="909" y="8110"/>
                </a:lnTo>
                <a:lnTo>
                  <a:pt x="861" y="8115"/>
                </a:lnTo>
                <a:lnTo>
                  <a:pt x="817" y="8147"/>
                </a:lnTo>
                <a:lnTo>
                  <a:pt x="787" y="8206"/>
                </a:lnTo>
                <a:lnTo>
                  <a:pt x="782" y="8261"/>
                </a:lnTo>
                <a:lnTo>
                  <a:pt x="798" y="8310"/>
                </a:lnTo>
                <a:lnTo>
                  <a:pt x="830" y="8347"/>
                </a:lnTo>
                <a:lnTo>
                  <a:pt x="876" y="8373"/>
                </a:lnTo>
                <a:lnTo>
                  <a:pt x="928" y="8385"/>
                </a:lnTo>
                <a:lnTo>
                  <a:pt x="984" y="8381"/>
                </a:lnTo>
                <a:lnTo>
                  <a:pt x="1039" y="8358"/>
                </a:lnTo>
                <a:close/>
                <a:moveTo>
                  <a:pt x="2281" y="8624"/>
                </a:moveTo>
                <a:lnTo>
                  <a:pt x="2260" y="8637"/>
                </a:lnTo>
                <a:lnTo>
                  <a:pt x="2233" y="8632"/>
                </a:lnTo>
                <a:lnTo>
                  <a:pt x="2202" y="8616"/>
                </a:lnTo>
                <a:lnTo>
                  <a:pt x="2172" y="8593"/>
                </a:lnTo>
                <a:lnTo>
                  <a:pt x="2146" y="8568"/>
                </a:lnTo>
                <a:lnTo>
                  <a:pt x="2129" y="8545"/>
                </a:lnTo>
                <a:lnTo>
                  <a:pt x="2124" y="8529"/>
                </a:lnTo>
                <a:lnTo>
                  <a:pt x="2134" y="8523"/>
                </a:lnTo>
                <a:lnTo>
                  <a:pt x="2160" y="8513"/>
                </a:lnTo>
                <a:lnTo>
                  <a:pt x="2179" y="8516"/>
                </a:lnTo>
                <a:lnTo>
                  <a:pt x="2194" y="8526"/>
                </a:lnTo>
                <a:lnTo>
                  <a:pt x="2208" y="8544"/>
                </a:lnTo>
                <a:lnTo>
                  <a:pt x="2222" y="8564"/>
                </a:lnTo>
                <a:lnTo>
                  <a:pt x="2237" y="8586"/>
                </a:lnTo>
                <a:lnTo>
                  <a:pt x="2256" y="8607"/>
                </a:lnTo>
                <a:lnTo>
                  <a:pt x="2281" y="8624"/>
                </a:lnTo>
                <a:close/>
                <a:moveTo>
                  <a:pt x="2209" y="8464"/>
                </a:moveTo>
                <a:lnTo>
                  <a:pt x="2224" y="8455"/>
                </a:lnTo>
                <a:lnTo>
                  <a:pt x="2238" y="8448"/>
                </a:lnTo>
                <a:lnTo>
                  <a:pt x="2244" y="8447"/>
                </a:lnTo>
                <a:lnTo>
                  <a:pt x="2249" y="8448"/>
                </a:lnTo>
                <a:lnTo>
                  <a:pt x="2254" y="8451"/>
                </a:lnTo>
                <a:lnTo>
                  <a:pt x="2258" y="8456"/>
                </a:lnTo>
                <a:lnTo>
                  <a:pt x="2233" y="8464"/>
                </a:lnTo>
                <a:lnTo>
                  <a:pt x="2209" y="8474"/>
                </a:lnTo>
                <a:lnTo>
                  <a:pt x="2200" y="8478"/>
                </a:lnTo>
                <a:lnTo>
                  <a:pt x="2196" y="8478"/>
                </a:lnTo>
                <a:lnTo>
                  <a:pt x="2199" y="8474"/>
                </a:lnTo>
                <a:lnTo>
                  <a:pt x="2209" y="8464"/>
                </a:lnTo>
                <a:close/>
                <a:moveTo>
                  <a:pt x="1543" y="8014"/>
                </a:moveTo>
                <a:lnTo>
                  <a:pt x="1541" y="8010"/>
                </a:lnTo>
                <a:lnTo>
                  <a:pt x="1541" y="8007"/>
                </a:lnTo>
                <a:lnTo>
                  <a:pt x="1542" y="8003"/>
                </a:lnTo>
                <a:lnTo>
                  <a:pt x="1543" y="7999"/>
                </a:lnTo>
                <a:lnTo>
                  <a:pt x="1548" y="7990"/>
                </a:lnTo>
                <a:lnTo>
                  <a:pt x="1553" y="7981"/>
                </a:lnTo>
                <a:lnTo>
                  <a:pt x="1550" y="7998"/>
                </a:lnTo>
                <a:lnTo>
                  <a:pt x="1543" y="8014"/>
                </a:lnTo>
                <a:close/>
                <a:moveTo>
                  <a:pt x="1341" y="8386"/>
                </a:moveTo>
                <a:lnTo>
                  <a:pt x="1341" y="8386"/>
                </a:lnTo>
                <a:lnTo>
                  <a:pt x="1341" y="8386"/>
                </a:lnTo>
                <a:lnTo>
                  <a:pt x="1341" y="8386"/>
                </a:lnTo>
                <a:lnTo>
                  <a:pt x="1341" y="8386"/>
                </a:lnTo>
                <a:close/>
                <a:moveTo>
                  <a:pt x="1315" y="8362"/>
                </a:moveTo>
                <a:lnTo>
                  <a:pt x="1314" y="8359"/>
                </a:lnTo>
                <a:lnTo>
                  <a:pt x="1313" y="8357"/>
                </a:lnTo>
                <a:lnTo>
                  <a:pt x="1311" y="8354"/>
                </a:lnTo>
                <a:lnTo>
                  <a:pt x="1313" y="8352"/>
                </a:lnTo>
                <a:lnTo>
                  <a:pt x="1314" y="8349"/>
                </a:lnTo>
                <a:lnTo>
                  <a:pt x="1315" y="8347"/>
                </a:lnTo>
                <a:lnTo>
                  <a:pt x="1318" y="8345"/>
                </a:lnTo>
                <a:lnTo>
                  <a:pt x="1322" y="8344"/>
                </a:lnTo>
                <a:lnTo>
                  <a:pt x="1325" y="8357"/>
                </a:lnTo>
                <a:lnTo>
                  <a:pt x="1330" y="8367"/>
                </a:lnTo>
                <a:lnTo>
                  <a:pt x="1330" y="8368"/>
                </a:lnTo>
                <a:lnTo>
                  <a:pt x="1328" y="8369"/>
                </a:lnTo>
                <a:lnTo>
                  <a:pt x="1324" y="8367"/>
                </a:lnTo>
                <a:lnTo>
                  <a:pt x="1315" y="8362"/>
                </a:lnTo>
                <a:close/>
                <a:moveTo>
                  <a:pt x="2424" y="8805"/>
                </a:moveTo>
                <a:lnTo>
                  <a:pt x="2510" y="8730"/>
                </a:lnTo>
                <a:lnTo>
                  <a:pt x="2573" y="8653"/>
                </a:lnTo>
                <a:lnTo>
                  <a:pt x="2613" y="8583"/>
                </a:lnTo>
                <a:lnTo>
                  <a:pt x="2626" y="8526"/>
                </a:lnTo>
                <a:lnTo>
                  <a:pt x="2609" y="8488"/>
                </a:lnTo>
                <a:lnTo>
                  <a:pt x="2559" y="8475"/>
                </a:lnTo>
                <a:lnTo>
                  <a:pt x="2473" y="8494"/>
                </a:lnTo>
                <a:lnTo>
                  <a:pt x="2345" y="8553"/>
                </a:lnTo>
                <a:lnTo>
                  <a:pt x="2379" y="8521"/>
                </a:lnTo>
                <a:lnTo>
                  <a:pt x="2403" y="8480"/>
                </a:lnTo>
                <a:lnTo>
                  <a:pt x="2414" y="8438"/>
                </a:lnTo>
                <a:lnTo>
                  <a:pt x="2416" y="8399"/>
                </a:lnTo>
                <a:lnTo>
                  <a:pt x="2403" y="8366"/>
                </a:lnTo>
                <a:lnTo>
                  <a:pt x="2376" y="8345"/>
                </a:lnTo>
                <a:lnTo>
                  <a:pt x="2335" y="8343"/>
                </a:lnTo>
                <a:lnTo>
                  <a:pt x="2279" y="8362"/>
                </a:lnTo>
                <a:lnTo>
                  <a:pt x="2274" y="8316"/>
                </a:lnTo>
                <a:lnTo>
                  <a:pt x="2246" y="8273"/>
                </a:lnTo>
                <a:lnTo>
                  <a:pt x="2203" y="8232"/>
                </a:lnTo>
                <a:lnTo>
                  <a:pt x="2148" y="8196"/>
                </a:lnTo>
                <a:lnTo>
                  <a:pt x="2088" y="8166"/>
                </a:lnTo>
                <a:lnTo>
                  <a:pt x="2027" y="8142"/>
                </a:lnTo>
                <a:lnTo>
                  <a:pt x="1971" y="8126"/>
                </a:lnTo>
                <a:lnTo>
                  <a:pt x="1926" y="8120"/>
                </a:lnTo>
                <a:lnTo>
                  <a:pt x="1836" y="8107"/>
                </a:lnTo>
                <a:lnTo>
                  <a:pt x="1788" y="8098"/>
                </a:lnTo>
                <a:lnTo>
                  <a:pt x="1769" y="8091"/>
                </a:lnTo>
                <a:lnTo>
                  <a:pt x="1770" y="8083"/>
                </a:lnTo>
                <a:lnTo>
                  <a:pt x="1783" y="8073"/>
                </a:lnTo>
                <a:lnTo>
                  <a:pt x="1795" y="8059"/>
                </a:lnTo>
                <a:lnTo>
                  <a:pt x="1798" y="8041"/>
                </a:lnTo>
                <a:lnTo>
                  <a:pt x="1781" y="8016"/>
                </a:lnTo>
                <a:lnTo>
                  <a:pt x="1734" y="8009"/>
                </a:lnTo>
                <a:lnTo>
                  <a:pt x="1707" y="8021"/>
                </a:lnTo>
                <a:lnTo>
                  <a:pt x="1693" y="8042"/>
                </a:lnTo>
                <a:lnTo>
                  <a:pt x="1686" y="8066"/>
                </a:lnTo>
                <a:lnTo>
                  <a:pt x="1676" y="8084"/>
                </a:lnTo>
                <a:lnTo>
                  <a:pt x="1658" y="8088"/>
                </a:lnTo>
                <a:lnTo>
                  <a:pt x="1625" y="8070"/>
                </a:lnTo>
                <a:lnTo>
                  <a:pt x="1569" y="8022"/>
                </a:lnTo>
                <a:lnTo>
                  <a:pt x="1583" y="8003"/>
                </a:lnTo>
                <a:lnTo>
                  <a:pt x="1592" y="7981"/>
                </a:lnTo>
                <a:lnTo>
                  <a:pt x="1597" y="7958"/>
                </a:lnTo>
                <a:lnTo>
                  <a:pt x="1595" y="7937"/>
                </a:lnTo>
                <a:lnTo>
                  <a:pt x="1589" y="7916"/>
                </a:lnTo>
                <a:lnTo>
                  <a:pt x="1578" y="7898"/>
                </a:lnTo>
                <a:lnTo>
                  <a:pt x="1561" y="7886"/>
                </a:lnTo>
                <a:lnTo>
                  <a:pt x="1541" y="7878"/>
                </a:lnTo>
                <a:lnTo>
                  <a:pt x="1534" y="7906"/>
                </a:lnTo>
                <a:lnTo>
                  <a:pt x="1530" y="7934"/>
                </a:lnTo>
                <a:lnTo>
                  <a:pt x="1525" y="7958"/>
                </a:lnTo>
                <a:lnTo>
                  <a:pt x="1519" y="7977"/>
                </a:lnTo>
                <a:lnTo>
                  <a:pt x="1508" y="7990"/>
                </a:lnTo>
                <a:lnTo>
                  <a:pt x="1491" y="7993"/>
                </a:lnTo>
                <a:lnTo>
                  <a:pt x="1467" y="7984"/>
                </a:lnTo>
                <a:lnTo>
                  <a:pt x="1431" y="7961"/>
                </a:lnTo>
                <a:lnTo>
                  <a:pt x="1409" y="7958"/>
                </a:lnTo>
                <a:lnTo>
                  <a:pt x="1401" y="7963"/>
                </a:lnTo>
                <a:lnTo>
                  <a:pt x="1403" y="7976"/>
                </a:lnTo>
                <a:lnTo>
                  <a:pt x="1411" y="7991"/>
                </a:lnTo>
                <a:lnTo>
                  <a:pt x="1420" y="8009"/>
                </a:lnTo>
                <a:lnTo>
                  <a:pt x="1425" y="8026"/>
                </a:lnTo>
                <a:lnTo>
                  <a:pt x="1421" y="8040"/>
                </a:lnTo>
                <a:lnTo>
                  <a:pt x="1404" y="8047"/>
                </a:lnTo>
                <a:lnTo>
                  <a:pt x="1367" y="8037"/>
                </a:lnTo>
                <a:lnTo>
                  <a:pt x="1339" y="8035"/>
                </a:lnTo>
                <a:lnTo>
                  <a:pt x="1318" y="8038"/>
                </a:lnTo>
                <a:lnTo>
                  <a:pt x="1301" y="8049"/>
                </a:lnTo>
                <a:lnTo>
                  <a:pt x="1290" y="8065"/>
                </a:lnTo>
                <a:lnTo>
                  <a:pt x="1280" y="8087"/>
                </a:lnTo>
                <a:lnTo>
                  <a:pt x="1271" y="8115"/>
                </a:lnTo>
                <a:lnTo>
                  <a:pt x="1262" y="8148"/>
                </a:lnTo>
                <a:lnTo>
                  <a:pt x="1155" y="8196"/>
                </a:lnTo>
                <a:lnTo>
                  <a:pt x="1104" y="8245"/>
                </a:lnTo>
                <a:lnTo>
                  <a:pt x="1097" y="8291"/>
                </a:lnTo>
                <a:lnTo>
                  <a:pt x="1123" y="8336"/>
                </a:lnTo>
                <a:lnTo>
                  <a:pt x="1171" y="8380"/>
                </a:lnTo>
                <a:lnTo>
                  <a:pt x="1230" y="8422"/>
                </a:lnTo>
                <a:lnTo>
                  <a:pt x="1287" y="8460"/>
                </a:lnTo>
                <a:lnTo>
                  <a:pt x="1333" y="8494"/>
                </a:lnTo>
                <a:lnTo>
                  <a:pt x="1373" y="8571"/>
                </a:lnTo>
                <a:lnTo>
                  <a:pt x="1420" y="8611"/>
                </a:lnTo>
                <a:lnTo>
                  <a:pt x="1473" y="8628"/>
                </a:lnTo>
                <a:lnTo>
                  <a:pt x="1530" y="8629"/>
                </a:lnTo>
                <a:lnTo>
                  <a:pt x="1586" y="8624"/>
                </a:lnTo>
                <a:lnTo>
                  <a:pt x="1641" y="8623"/>
                </a:lnTo>
                <a:lnTo>
                  <a:pt x="1690" y="8635"/>
                </a:lnTo>
                <a:lnTo>
                  <a:pt x="1729" y="8671"/>
                </a:lnTo>
                <a:lnTo>
                  <a:pt x="1701" y="8689"/>
                </a:lnTo>
                <a:lnTo>
                  <a:pt x="1699" y="8705"/>
                </a:lnTo>
                <a:lnTo>
                  <a:pt x="1716" y="8721"/>
                </a:lnTo>
                <a:lnTo>
                  <a:pt x="1747" y="8737"/>
                </a:lnTo>
                <a:lnTo>
                  <a:pt x="1784" y="8755"/>
                </a:lnTo>
                <a:lnTo>
                  <a:pt x="1820" y="8777"/>
                </a:lnTo>
                <a:lnTo>
                  <a:pt x="1848" y="8805"/>
                </a:lnTo>
                <a:lnTo>
                  <a:pt x="1863" y="8839"/>
                </a:lnTo>
                <a:lnTo>
                  <a:pt x="1907" y="8861"/>
                </a:lnTo>
                <a:lnTo>
                  <a:pt x="1961" y="8868"/>
                </a:lnTo>
                <a:lnTo>
                  <a:pt x="2019" y="8865"/>
                </a:lnTo>
                <a:lnTo>
                  <a:pt x="2078" y="8849"/>
                </a:lnTo>
                <a:lnTo>
                  <a:pt x="2134" y="8825"/>
                </a:lnTo>
                <a:lnTo>
                  <a:pt x="2181" y="8792"/>
                </a:lnTo>
                <a:lnTo>
                  <a:pt x="2217" y="8753"/>
                </a:lnTo>
                <a:lnTo>
                  <a:pt x="2236" y="8708"/>
                </a:lnTo>
                <a:lnTo>
                  <a:pt x="2261" y="8704"/>
                </a:lnTo>
                <a:lnTo>
                  <a:pt x="2287" y="8716"/>
                </a:lnTo>
                <a:lnTo>
                  <a:pt x="2310" y="8736"/>
                </a:lnTo>
                <a:lnTo>
                  <a:pt x="2333" y="8760"/>
                </a:lnTo>
                <a:lnTo>
                  <a:pt x="2356" y="8784"/>
                </a:lnTo>
                <a:lnTo>
                  <a:pt x="2377" y="8802"/>
                </a:lnTo>
                <a:lnTo>
                  <a:pt x="2400" y="8811"/>
                </a:lnTo>
                <a:lnTo>
                  <a:pt x="2424" y="8805"/>
                </a:lnTo>
                <a:close/>
                <a:moveTo>
                  <a:pt x="2149" y="7682"/>
                </a:moveTo>
                <a:lnTo>
                  <a:pt x="2153" y="7685"/>
                </a:lnTo>
                <a:lnTo>
                  <a:pt x="2158" y="7685"/>
                </a:lnTo>
                <a:lnTo>
                  <a:pt x="2162" y="7685"/>
                </a:lnTo>
                <a:lnTo>
                  <a:pt x="2166" y="7683"/>
                </a:lnTo>
                <a:lnTo>
                  <a:pt x="2170" y="7681"/>
                </a:lnTo>
                <a:lnTo>
                  <a:pt x="2174" y="7677"/>
                </a:lnTo>
                <a:lnTo>
                  <a:pt x="2177" y="7673"/>
                </a:lnTo>
                <a:lnTo>
                  <a:pt x="2181" y="7667"/>
                </a:lnTo>
                <a:lnTo>
                  <a:pt x="2171" y="7668"/>
                </a:lnTo>
                <a:lnTo>
                  <a:pt x="2160" y="7669"/>
                </a:lnTo>
                <a:lnTo>
                  <a:pt x="2154" y="7671"/>
                </a:lnTo>
                <a:lnTo>
                  <a:pt x="2151" y="7673"/>
                </a:lnTo>
                <a:lnTo>
                  <a:pt x="2148" y="7677"/>
                </a:lnTo>
                <a:lnTo>
                  <a:pt x="2149" y="7682"/>
                </a:lnTo>
                <a:close/>
                <a:moveTo>
                  <a:pt x="3877" y="10690"/>
                </a:moveTo>
                <a:lnTo>
                  <a:pt x="3875" y="10704"/>
                </a:lnTo>
                <a:lnTo>
                  <a:pt x="3876" y="10713"/>
                </a:lnTo>
                <a:lnTo>
                  <a:pt x="3877" y="10717"/>
                </a:lnTo>
                <a:lnTo>
                  <a:pt x="3880" y="10719"/>
                </a:lnTo>
                <a:lnTo>
                  <a:pt x="3885" y="10719"/>
                </a:lnTo>
                <a:lnTo>
                  <a:pt x="3893" y="10718"/>
                </a:lnTo>
                <a:lnTo>
                  <a:pt x="3898" y="10713"/>
                </a:lnTo>
                <a:lnTo>
                  <a:pt x="3900" y="10708"/>
                </a:lnTo>
                <a:lnTo>
                  <a:pt x="3900" y="10704"/>
                </a:lnTo>
                <a:lnTo>
                  <a:pt x="3899" y="10700"/>
                </a:lnTo>
                <a:lnTo>
                  <a:pt x="3895" y="10698"/>
                </a:lnTo>
                <a:lnTo>
                  <a:pt x="3890" y="10695"/>
                </a:lnTo>
                <a:lnTo>
                  <a:pt x="3885" y="10693"/>
                </a:lnTo>
                <a:lnTo>
                  <a:pt x="3877" y="10690"/>
                </a:lnTo>
                <a:close/>
                <a:moveTo>
                  <a:pt x="5252" y="10638"/>
                </a:moveTo>
                <a:lnTo>
                  <a:pt x="5255" y="10624"/>
                </a:lnTo>
                <a:lnTo>
                  <a:pt x="5255" y="10621"/>
                </a:lnTo>
                <a:lnTo>
                  <a:pt x="5254" y="10628"/>
                </a:lnTo>
                <a:lnTo>
                  <a:pt x="5252" y="10638"/>
                </a:lnTo>
                <a:lnTo>
                  <a:pt x="5259" y="10639"/>
                </a:lnTo>
                <a:lnTo>
                  <a:pt x="5264" y="10636"/>
                </a:lnTo>
                <a:lnTo>
                  <a:pt x="5269" y="10633"/>
                </a:lnTo>
                <a:lnTo>
                  <a:pt x="5271" y="10630"/>
                </a:lnTo>
                <a:lnTo>
                  <a:pt x="5271" y="10628"/>
                </a:lnTo>
                <a:lnTo>
                  <a:pt x="5267" y="10626"/>
                </a:lnTo>
                <a:lnTo>
                  <a:pt x="5261" y="10630"/>
                </a:lnTo>
                <a:lnTo>
                  <a:pt x="5252" y="10638"/>
                </a:lnTo>
                <a:close/>
                <a:moveTo>
                  <a:pt x="4519" y="10210"/>
                </a:moveTo>
                <a:lnTo>
                  <a:pt x="4526" y="10201"/>
                </a:lnTo>
                <a:lnTo>
                  <a:pt x="4530" y="10194"/>
                </a:lnTo>
                <a:lnTo>
                  <a:pt x="4531" y="10187"/>
                </a:lnTo>
                <a:lnTo>
                  <a:pt x="4528" y="10181"/>
                </a:lnTo>
                <a:lnTo>
                  <a:pt x="4526" y="10177"/>
                </a:lnTo>
                <a:lnTo>
                  <a:pt x="4519" y="10174"/>
                </a:lnTo>
                <a:lnTo>
                  <a:pt x="4512" y="10176"/>
                </a:lnTo>
                <a:lnTo>
                  <a:pt x="4503" y="10180"/>
                </a:lnTo>
                <a:lnTo>
                  <a:pt x="4496" y="10186"/>
                </a:lnTo>
                <a:lnTo>
                  <a:pt x="4493" y="10194"/>
                </a:lnTo>
                <a:lnTo>
                  <a:pt x="4491" y="10202"/>
                </a:lnTo>
                <a:lnTo>
                  <a:pt x="4494" y="10209"/>
                </a:lnTo>
                <a:lnTo>
                  <a:pt x="4496" y="10214"/>
                </a:lnTo>
                <a:lnTo>
                  <a:pt x="4503" y="10216"/>
                </a:lnTo>
                <a:lnTo>
                  <a:pt x="4510" y="10215"/>
                </a:lnTo>
                <a:lnTo>
                  <a:pt x="4519" y="10210"/>
                </a:lnTo>
                <a:close/>
                <a:moveTo>
                  <a:pt x="4551" y="10694"/>
                </a:moveTo>
                <a:lnTo>
                  <a:pt x="4549" y="10712"/>
                </a:lnTo>
                <a:lnTo>
                  <a:pt x="4549" y="10729"/>
                </a:lnTo>
                <a:lnTo>
                  <a:pt x="4559" y="10729"/>
                </a:lnTo>
                <a:lnTo>
                  <a:pt x="4566" y="10722"/>
                </a:lnTo>
                <a:lnTo>
                  <a:pt x="4572" y="10712"/>
                </a:lnTo>
                <a:lnTo>
                  <a:pt x="4574" y="10699"/>
                </a:lnTo>
                <a:lnTo>
                  <a:pt x="4574" y="10687"/>
                </a:lnTo>
                <a:lnTo>
                  <a:pt x="4570" y="10681"/>
                </a:lnTo>
                <a:lnTo>
                  <a:pt x="4563" y="10682"/>
                </a:lnTo>
                <a:lnTo>
                  <a:pt x="4551" y="10694"/>
                </a:lnTo>
                <a:close/>
                <a:moveTo>
                  <a:pt x="5168" y="10854"/>
                </a:moveTo>
                <a:lnTo>
                  <a:pt x="5173" y="10840"/>
                </a:lnTo>
                <a:lnTo>
                  <a:pt x="5169" y="10833"/>
                </a:lnTo>
                <a:lnTo>
                  <a:pt x="5159" y="10829"/>
                </a:lnTo>
                <a:lnTo>
                  <a:pt x="5146" y="10830"/>
                </a:lnTo>
                <a:lnTo>
                  <a:pt x="5133" y="10835"/>
                </a:lnTo>
                <a:lnTo>
                  <a:pt x="5123" y="10844"/>
                </a:lnTo>
                <a:lnTo>
                  <a:pt x="5120" y="10855"/>
                </a:lnTo>
                <a:lnTo>
                  <a:pt x="5126" y="10869"/>
                </a:lnTo>
                <a:lnTo>
                  <a:pt x="5140" y="10886"/>
                </a:lnTo>
                <a:lnTo>
                  <a:pt x="5156" y="10894"/>
                </a:lnTo>
                <a:lnTo>
                  <a:pt x="5173" y="10892"/>
                </a:lnTo>
                <a:lnTo>
                  <a:pt x="5187" y="10885"/>
                </a:lnTo>
                <a:lnTo>
                  <a:pt x="5196" y="10876"/>
                </a:lnTo>
                <a:lnTo>
                  <a:pt x="5197" y="10866"/>
                </a:lnTo>
                <a:lnTo>
                  <a:pt x="5188" y="10857"/>
                </a:lnTo>
                <a:lnTo>
                  <a:pt x="5168" y="10854"/>
                </a:lnTo>
                <a:close/>
                <a:moveTo>
                  <a:pt x="5225" y="10647"/>
                </a:moveTo>
                <a:lnTo>
                  <a:pt x="5187" y="10633"/>
                </a:lnTo>
                <a:lnTo>
                  <a:pt x="5168" y="10639"/>
                </a:lnTo>
                <a:lnTo>
                  <a:pt x="5165" y="10657"/>
                </a:lnTo>
                <a:lnTo>
                  <a:pt x="5173" y="10680"/>
                </a:lnTo>
                <a:lnTo>
                  <a:pt x="5189" y="10700"/>
                </a:lnTo>
                <a:lnTo>
                  <a:pt x="5210" y="10709"/>
                </a:lnTo>
                <a:lnTo>
                  <a:pt x="5231" y="10701"/>
                </a:lnTo>
                <a:lnTo>
                  <a:pt x="5249" y="10668"/>
                </a:lnTo>
                <a:lnTo>
                  <a:pt x="5247" y="10664"/>
                </a:lnTo>
                <a:lnTo>
                  <a:pt x="5241" y="10661"/>
                </a:lnTo>
                <a:lnTo>
                  <a:pt x="5236" y="10659"/>
                </a:lnTo>
                <a:lnTo>
                  <a:pt x="5231" y="10657"/>
                </a:lnTo>
                <a:lnTo>
                  <a:pt x="5226" y="10656"/>
                </a:lnTo>
                <a:lnTo>
                  <a:pt x="5224" y="10654"/>
                </a:lnTo>
                <a:lnTo>
                  <a:pt x="5222" y="10650"/>
                </a:lnTo>
                <a:lnTo>
                  <a:pt x="5225" y="10647"/>
                </a:lnTo>
                <a:close/>
                <a:moveTo>
                  <a:pt x="3760" y="10293"/>
                </a:moveTo>
                <a:lnTo>
                  <a:pt x="3749" y="10276"/>
                </a:lnTo>
                <a:lnTo>
                  <a:pt x="3734" y="10270"/>
                </a:lnTo>
                <a:lnTo>
                  <a:pt x="3714" y="10271"/>
                </a:lnTo>
                <a:lnTo>
                  <a:pt x="3695" y="10280"/>
                </a:lnTo>
                <a:lnTo>
                  <a:pt x="3678" y="10293"/>
                </a:lnTo>
                <a:lnTo>
                  <a:pt x="3665" y="10309"/>
                </a:lnTo>
                <a:lnTo>
                  <a:pt x="3660" y="10327"/>
                </a:lnTo>
                <a:lnTo>
                  <a:pt x="3664" y="10344"/>
                </a:lnTo>
                <a:lnTo>
                  <a:pt x="3683" y="10368"/>
                </a:lnTo>
                <a:lnTo>
                  <a:pt x="3708" y="10381"/>
                </a:lnTo>
                <a:lnTo>
                  <a:pt x="3735" y="10381"/>
                </a:lnTo>
                <a:lnTo>
                  <a:pt x="3759" y="10373"/>
                </a:lnTo>
                <a:lnTo>
                  <a:pt x="3778" y="10358"/>
                </a:lnTo>
                <a:lnTo>
                  <a:pt x="3787" y="10337"/>
                </a:lnTo>
                <a:lnTo>
                  <a:pt x="3782" y="10316"/>
                </a:lnTo>
                <a:lnTo>
                  <a:pt x="3760" y="10293"/>
                </a:lnTo>
                <a:close/>
                <a:moveTo>
                  <a:pt x="4336" y="10575"/>
                </a:moveTo>
                <a:lnTo>
                  <a:pt x="4324" y="10558"/>
                </a:lnTo>
                <a:lnTo>
                  <a:pt x="4313" y="10551"/>
                </a:lnTo>
                <a:lnTo>
                  <a:pt x="4300" y="10552"/>
                </a:lnTo>
                <a:lnTo>
                  <a:pt x="4288" y="10558"/>
                </a:lnTo>
                <a:lnTo>
                  <a:pt x="4274" y="10568"/>
                </a:lnTo>
                <a:lnTo>
                  <a:pt x="4260" y="10578"/>
                </a:lnTo>
                <a:lnTo>
                  <a:pt x="4246" y="10587"/>
                </a:lnTo>
                <a:lnTo>
                  <a:pt x="4232" y="10592"/>
                </a:lnTo>
                <a:lnTo>
                  <a:pt x="4210" y="10631"/>
                </a:lnTo>
                <a:lnTo>
                  <a:pt x="4220" y="10656"/>
                </a:lnTo>
                <a:lnTo>
                  <a:pt x="4251" y="10667"/>
                </a:lnTo>
                <a:lnTo>
                  <a:pt x="4291" y="10666"/>
                </a:lnTo>
                <a:lnTo>
                  <a:pt x="4331" y="10656"/>
                </a:lnTo>
                <a:lnTo>
                  <a:pt x="4359" y="10636"/>
                </a:lnTo>
                <a:lnTo>
                  <a:pt x="4364" y="10608"/>
                </a:lnTo>
                <a:lnTo>
                  <a:pt x="4336" y="10575"/>
                </a:lnTo>
                <a:close/>
                <a:moveTo>
                  <a:pt x="2730" y="4259"/>
                </a:moveTo>
                <a:lnTo>
                  <a:pt x="2733" y="4260"/>
                </a:lnTo>
                <a:lnTo>
                  <a:pt x="2734" y="4260"/>
                </a:lnTo>
                <a:lnTo>
                  <a:pt x="2735" y="4259"/>
                </a:lnTo>
                <a:lnTo>
                  <a:pt x="2735" y="4255"/>
                </a:lnTo>
                <a:lnTo>
                  <a:pt x="2730" y="4259"/>
                </a:lnTo>
                <a:close/>
                <a:moveTo>
                  <a:pt x="2643" y="4365"/>
                </a:moveTo>
                <a:lnTo>
                  <a:pt x="2638" y="4365"/>
                </a:lnTo>
                <a:lnTo>
                  <a:pt x="2633" y="4365"/>
                </a:lnTo>
                <a:lnTo>
                  <a:pt x="2635" y="4367"/>
                </a:lnTo>
                <a:lnTo>
                  <a:pt x="2636" y="4369"/>
                </a:lnTo>
                <a:lnTo>
                  <a:pt x="2637" y="4370"/>
                </a:lnTo>
                <a:lnTo>
                  <a:pt x="2638" y="4369"/>
                </a:lnTo>
                <a:lnTo>
                  <a:pt x="2641" y="4367"/>
                </a:lnTo>
                <a:lnTo>
                  <a:pt x="2643" y="4365"/>
                </a:lnTo>
                <a:close/>
                <a:moveTo>
                  <a:pt x="2645" y="4364"/>
                </a:moveTo>
                <a:lnTo>
                  <a:pt x="2643" y="4364"/>
                </a:lnTo>
                <a:lnTo>
                  <a:pt x="2643" y="4365"/>
                </a:lnTo>
                <a:lnTo>
                  <a:pt x="2643" y="4365"/>
                </a:lnTo>
                <a:lnTo>
                  <a:pt x="2645" y="4365"/>
                </a:lnTo>
                <a:lnTo>
                  <a:pt x="2651" y="4362"/>
                </a:lnTo>
                <a:lnTo>
                  <a:pt x="2654" y="4361"/>
                </a:lnTo>
                <a:lnTo>
                  <a:pt x="2651" y="4361"/>
                </a:lnTo>
                <a:lnTo>
                  <a:pt x="2645" y="4364"/>
                </a:lnTo>
                <a:close/>
                <a:moveTo>
                  <a:pt x="2581" y="4300"/>
                </a:moveTo>
                <a:lnTo>
                  <a:pt x="2584" y="4301"/>
                </a:lnTo>
                <a:lnTo>
                  <a:pt x="2585" y="4301"/>
                </a:lnTo>
                <a:lnTo>
                  <a:pt x="2585" y="4299"/>
                </a:lnTo>
                <a:lnTo>
                  <a:pt x="2585" y="4296"/>
                </a:lnTo>
                <a:lnTo>
                  <a:pt x="2581" y="4300"/>
                </a:lnTo>
                <a:close/>
                <a:moveTo>
                  <a:pt x="2460" y="4254"/>
                </a:moveTo>
                <a:lnTo>
                  <a:pt x="2459" y="4259"/>
                </a:lnTo>
                <a:lnTo>
                  <a:pt x="2456" y="4263"/>
                </a:lnTo>
                <a:lnTo>
                  <a:pt x="2460" y="4258"/>
                </a:lnTo>
                <a:lnTo>
                  <a:pt x="2460" y="4254"/>
                </a:lnTo>
                <a:close/>
                <a:moveTo>
                  <a:pt x="2194" y="4582"/>
                </a:moveTo>
                <a:lnTo>
                  <a:pt x="2195" y="4580"/>
                </a:lnTo>
                <a:lnTo>
                  <a:pt x="2194" y="4582"/>
                </a:lnTo>
                <a:lnTo>
                  <a:pt x="2200" y="4581"/>
                </a:lnTo>
                <a:lnTo>
                  <a:pt x="2203" y="4581"/>
                </a:lnTo>
                <a:lnTo>
                  <a:pt x="2202" y="4581"/>
                </a:lnTo>
                <a:lnTo>
                  <a:pt x="2194" y="4582"/>
                </a:lnTo>
                <a:close/>
                <a:moveTo>
                  <a:pt x="2195" y="4574"/>
                </a:moveTo>
                <a:lnTo>
                  <a:pt x="2196" y="4574"/>
                </a:lnTo>
                <a:lnTo>
                  <a:pt x="2198" y="4572"/>
                </a:lnTo>
                <a:lnTo>
                  <a:pt x="2196" y="4574"/>
                </a:lnTo>
                <a:lnTo>
                  <a:pt x="2198" y="4572"/>
                </a:lnTo>
                <a:lnTo>
                  <a:pt x="2196" y="4571"/>
                </a:lnTo>
                <a:lnTo>
                  <a:pt x="2204" y="4562"/>
                </a:lnTo>
                <a:lnTo>
                  <a:pt x="2212" y="4552"/>
                </a:lnTo>
                <a:lnTo>
                  <a:pt x="2204" y="4554"/>
                </a:lnTo>
                <a:lnTo>
                  <a:pt x="2199" y="4558"/>
                </a:lnTo>
                <a:lnTo>
                  <a:pt x="2196" y="4561"/>
                </a:lnTo>
                <a:lnTo>
                  <a:pt x="2195" y="4563"/>
                </a:lnTo>
                <a:lnTo>
                  <a:pt x="2195" y="4567"/>
                </a:lnTo>
                <a:lnTo>
                  <a:pt x="2196" y="4571"/>
                </a:lnTo>
                <a:lnTo>
                  <a:pt x="2196" y="4572"/>
                </a:lnTo>
                <a:lnTo>
                  <a:pt x="2195" y="4574"/>
                </a:lnTo>
                <a:close/>
                <a:moveTo>
                  <a:pt x="2154" y="4616"/>
                </a:moveTo>
                <a:lnTo>
                  <a:pt x="2160" y="4613"/>
                </a:lnTo>
                <a:lnTo>
                  <a:pt x="2157" y="4612"/>
                </a:lnTo>
                <a:lnTo>
                  <a:pt x="2156" y="4612"/>
                </a:lnTo>
                <a:lnTo>
                  <a:pt x="2156" y="4613"/>
                </a:lnTo>
                <a:lnTo>
                  <a:pt x="2154" y="4616"/>
                </a:lnTo>
                <a:close/>
                <a:moveTo>
                  <a:pt x="2110" y="4645"/>
                </a:moveTo>
                <a:lnTo>
                  <a:pt x="2110" y="4646"/>
                </a:lnTo>
                <a:lnTo>
                  <a:pt x="2116" y="4642"/>
                </a:lnTo>
                <a:lnTo>
                  <a:pt x="2112" y="4644"/>
                </a:lnTo>
                <a:lnTo>
                  <a:pt x="2110" y="4645"/>
                </a:lnTo>
                <a:close/>
                <a:moveTo>
                  <a:pt x="2109" y="4647"/>
                </a:moveTo>
                <a:lnTo>
                  <a:pt x="2107" y="4649"/>
                </a:lnTo>
                <a:lnTo>
                  <a:pt x="2109" y="4647"/>
                </a:lnTo>
                <a:lnTo>
                  <a:pt x="2107" y="4647"/>
                </a:lnTo>
                <a:lnTo>
                  <a:pt x="2109" y="4647"/>
                </a:lnTo>
                <a:close/>
                <a:moveTo>
                  <a:pt x="2236" y="4468"/>
                </a:moveTo>
                <a:lnTo>
                  <a:pt x="2236" y="4464"/>
                </a:lnTo>
                <a:lnTo>
                  <a:pt x="2236" y="4468"/>
                </a:lnTo>
                <a:lnTo>
                  <a:pt x="2244" y="4464"/>
                </a:lnTo>
                <a:lnTo>
                  <a:pt x="2236" y="4468"/>
                </a:lnTo>
                <a:close/>
                <a:moveTo>
                  <a:pt x="2254" y="4435"/>
                </a:moveTo>
                <a:lnTo>
                  <a:pt x="2249" y="4439"/>
                </a:lnTo>
                <a:lnTo>
                  <a:pt x="2242" y="4445"/>
                </a:lnTo>
                <a:lnTo>
                  <a:pt x="2238" y="4451"/>
                </a:lnTo>
                <a:lnTo>
                  <a:pt x="2237" y="4458"/>
                </a:lnTo>
                <a:lnTo>
                  <a:pt x="2245" y="4445"/>
                </a:lnTo>
                <a:lnTo>
                  <a:pt x="2254" y="4435"/>
                </a:lnTo>
                <a:close/>
                <a:moveTo>
                  <a:pt x="2039" y="4551"/>
                </a:moveTo>
                <a:lnTo>
                  <a:pt x="2044" y="4547"/>
                </a:lnTo>
                <a:lnTo>
                  <a:pt x="2041" y="4546"/>
                </a:lnTo>
                <a:lnTo>
                  <a:pt x="2040" y="4546"/>
                </a:lnTo>
                <a:lnTo>
                  <a:pt x="2039" y="4547"/>
                </a:lnTo>
                <a:lnTo>
                  <a:pt x="2039" y="4551"/>
                </a:lnTo>
                <a:close/>
                <a:moveTo>
                  <a:pt x="2235" y="4599"/>
                </a:moveTo>
                <a:lnTo>
                  <a:pt x="2233" y="4600"/>
                </a:lnTo>
                <a:lnTo>
                  <a:pt x="2231" y="4602"/>
                </a:lnTo>
                <a:lnTo>
                  <a:pt x="2231" y="4602"/>
                </a:lnTo>
                <a:lnTo>
                  <a:pt x="2233" y="4604"/>
                </a:lnTo>
                <a:lnTo>
                  <a:pt x="2235" y="4599"/>
                </a:lnTo>
                <a:close/>
                <a:moveTo>
                  <a:pt x="2559" y="4406"/>
                </a:moveTo>
                <a:lnTo>
                  <a:pt x="2559" y="4406"/>
                </a:lnTo>
                <a:lnTo>
                  <a:pt x="2559" y="4407"/>
                </a:lnTo>
                <a:lnTo>
                  <a:pt x="2559" y="4407"/>
                </a:lnTo>
                <a:lnTo>
                  <a:pt x="2561" y="4407"/>
                </a:lnTo>
                <a:lnTo>
                  <a:pt x="2561" y="4407"/>
                </a:lnTo>
                <a:lnTo>
                  <a:pt x="2561" y="4406"/>
                </a:lnTo>
                <a:lnTo>
                  <a:pt x="2559" y="4406"/>
                </a:lnTo>
                <a:lnTo>
                  <a:pt x="2561" y="4406"/>
                </a:lnTo>
                <a:lnTo>
                  <a:pt x="2559" y="4406"/>
                </a:lnTo>
                <a:lnTo>
                  <a:pt x="2559" y="4406"/>
                </a:lnTo>
                <a:close/>
                <a:moveTo>
                  <a:pt x="2542" y="4411"/>
                </a:moveTo>
                <a:lnTo>
                  <a:pt x="2547" y="4413"/>
                </a:lnTo>
                <a:lnTo>
                  <a:pt x="2552" y="4413"/>
                </a:lnTo>
                <a:lnTo>
                  <a:pt x="2556" y="4411"/>
                </a:lnTo>
                <a:lnTo>
                  <a:pt x="2558" y="4407"/>
                </a:lnTo>
                <a:lnTo>
                  <a:pt x="2554" y="4407"/>
                </a:lnTo>
                <a:lnTo>
                  <a:pt x="2549" y="4407"/>
                </a:lnTo>
                <a:lnTo>
                  <a:pt x="2545" y="4408"/>
                </a:lnTo>
                <a:lnTo>
                  <a:pt x="2542" y="4411"/>
                </a:lnTo>
                <a:close/>
                <a:moveTo>
                  <a:pt x="2576" y="4399"/>
                </a:moveTo>
                <a:lnTo>
                  <a:pt x="2572" y="4399"/>
                </a:lnTo>
                <a:lnTo>
                  <a:pt x="2568" y="4400"/>
                </a:lnTo>
                <a:lnTo>
                  <a:pt x="2566" y="4403"/>
                </a:lnTo>
                <a:lnTo>
                  <a:pt x="2562" y="4406"/>
                </a:lnTo>
                <a:lnTo>
                  <a:pt x="2567" y="4407"/>
                </a:lnTo>
                <a:lnTo>
                  <a:pt x="2571" y="4406"/>
                </a:lnTo>
                <a:lnTo>
                  <a:pt x="2575" y="4403"/>
                </a:lnTo>
                <a:lnTo>
                  <a:pt x="2576" y="4399"/>
                </a:lnTo>
                <a:close/>
                <a:moveTo>
                  <a:pt x="2486" y="4395"/>
                </a:moveTo>
                <a:lnTo>
                  <a:pt x="2482" y="4393"/>
                </a:lnTo>
                <a:lnTo>
                  <a:pt x="2478" y="4393"/>
                </a:lnTo>
                <a:lnTo>
                  <a:pt x="2474" y="4394"/>
                </a:lnTo>
                <a:lnTo>
                  <a:pt x="2470" y="4397"/>
                </a:lnTo>
                <a:lnTo>
                  <a:pt x="2463" y="4403"/>
                </a:lnTo>
                <a:lnTo>
                  <a:pt x="2458" y="4411"/>
                </a:lnTo>
                <a:lnTo>
                  <a:pt x="2458" y="4412"/>
                </a:lnTo>
                <a:lnTo>
                  <a:pt x="2458" y="4411"/>
                </a:lnTo>
                <a:lnTo>
                  <a:pt x="2468" y="4411"/>
                </a:lnTo>
                <a:lnTo>
                  <a:pt x="2475" y="4408"/>
                </a:lnTo>
                <a:lnTo>
                  <a:pt x="2478" y="4407"/>
                </a:lnTo>
                <a:lnTo>
                  <a:pt x="2482" y="4403"/>
                </a:lnTo>
                <a:lnTo>
                  <a:pt x="2484" y="4399"/>
                </a:lnTo>
                <a:lnTo>
                  <a:pt x="2486" y="4395"/>
                </a:lnTo>
                <a:close/>
                <a:moveTo>
                  <a:pt x="2458" y="4411"/>
                </a:moveTo>
                <a:lnTo>
                  <a:pt x="2456" y="4411"/>
                </a:lnTo>
                <a:lnTo>
                  <a:pt x="2458" y="4411"/>
                </a:lnTo>
                <a:close/>
                <a:moveTo>
                  <a:pt x="2436" y="4352"/>
                </a:moveTo>
                <a:lnTo>
                  <a:pt x="2444" y="4352"/>
                </a:lnTo>
                <a:lnTo>
                  <a:pt x="2451" y="4352"/>
                </a:lnTo>
                <a:lnTo>
                  <a:pt x="2459" y="4351"/>
                </a:lnTo>
                <a:lnTo>
                  <a:pt x="2466" y="4350"/>
                </a:lnTo>
                <a:lnTo>
                  <a:pt x="2480" y="4344"/>
                </a:lnTo>
                <a:lnTo>
                  <a:pt x="2496" y="4337"/>
                </a:lnTo>
                <a:lnTo>
                  <a:pt x="2487" y="4332"/>
                </a:lnTo>
                <a:lnTo>
                  <a:pt x="2479" y="4329"/>
                </a:lnTo>
                <a:lnTo>
                  <a:pt x="2473" y="4328"/>
                </a:lnTo>
                <a:lnTo>
                  <a:pt x="2468" y="4329"/>
                </a:lnTo>
                <a:lnTo>
                  <a:pt x="2461" y="4332"/>
                </a:lnTo>
                <a:lnTo>
                  <a:pt x="2455" y="4336"/>
                </a:lnTo>
                <a:lnTo>
                  <a:pt x="2446" y="4343"/>
                </a:lnTo>
                <a:lnTo>
                  <a:pt x="2436" y="4352"/>
                </a:lnTo>
                <a:lnTo>
                  <a:pt x="2435" y="4352"/>
                </a:lnTo>
                <a:lnTo>
                  <a:pt x="2433" y="4353"/>
                </a:lnTo>
                <a:lnTo>
                  <a:pt x="2423" y="4351"/>
                </a:lnTo>
                <a:lnTo>
                  <a:pt x="2416" y="4352"/>
                </a:lnTo>
                <a:lnTo>
                  <a:pt x="2407" y="4353"/>
                </a:lnTo>
                <a:lnTo>
                  <a:pt x="2399" y="4356"/>
                </a:lnTo>
                <a:lnTo>
                  <a:pt x="2382" y="4364"/>
                </a:lnTo>
                <a:lnTo>
                  <a:pt x="2367" y="4370"/>
                </a:lnTo>
                <a:lnTo>
                  <a:pt x="2373" y="4380"/>
                </a:lnTo>
                <a:lnTo>
                  <a:pt x="2380" y="4385"/>
                </a:lnTo>
                <a:lnTo>
                  <a:pt x="2389" y="4385"/>
                </a:lnTo>
                <a:lnTo>
                  <a:pt x="2398" y="4381"/>
                </a:lnTo>
                <a:lnTo>
                  <a:pt x="2408" y="4375"/>
                </a:lnTo>
                <a:lnTo>
                  <a:pt x="2417" y="4367"/>
                </a:lnTo>
                <a:lnTo>
                  <a:pt x="2426" y="4360"/>
                </a:lnTo>
                <a:lnTo>
                  <a:pt x="2433" y="4353"/>
                </a:lnTo>
                <a:lnTo>
                  <a:pt x="2435" y="4353"/>
                </a:lnTo>
                <a:lnTo>
                  <a:pt x="2436" y="4352"/>
                </a:lnTo>
                <a:close/>
                <a:moveTo>
                  <a:pt x="2106" y="4650"/>
                </a:moveTo>
                <a:lnTo>
                  <a:pt x="2106" y="4649"/>
                </a:lnTo>
                <a:lnTo>
                  <a:pt x="2105" y="4649"/>
                </a:lnTo>
                <a:lnTo>
                  <a:pt x="2105" y="4650"/>
                </a:lnTo>
                <a:lnTo>
                  <a:pt x="2105" y="4650"/>
                </a:lnTo>
                <a:lnTo>
                  <a:pt x="2106" y="4650"/>
                </a:lnTo>
                <a:close/>
                <a:moveTo>
                  <a:pt x="2046" y="4686"/>
                </a:moveTo>
                <a:lnTo>
                  <a:pt x="2058" y="4684"/>
                </a:lnTo>
                <a:lnTo>
                  <a:pt x="2067" y="4682"/>
                </a:lnTo>
                <a:lnTo>
                  <a:pt x="2074" y="4678"/>
                </a:lnTo>
                <a:lnTo>
                  <a:pt x="2082" y="4673"/>
                </a:lnTo>
                <a:lnTo>
                  <a:pt x="2093" y="4661"/>
                </a:lnTo>
                <a:lnTo>
                  <a:pt x="2105" y="4650"/>
                </a:lnTo>
                <a:lnTo>
                  <a:pt x="2095" y="4651"/>
                </a:lnTo>
                <a:lnTo>
                  <a:pt x="2086" y="4652"/>
                </a:lnTo>
                <a:lnTo>
                  <a:pt x="2078" y="4655"/>
                </a:lnTo>
                <a:lnTo>
                  <a:pt x="2070" y="4659"/>
                </a:lnTo>
                <a:lnTo>
                  <a:pt x="2063" y="4663"/>
                </a:lnTo>
                <a:lnTo>
                  <a:pt x="2056" y="4669"/>
                </a:lnTo>
                <a:lnTo>
                  <a:pt x="2051" y="4677"/>
                </a:lnTo>
                <a:lnTo>
                  <a:pt x="2046" y="4686"/>
                </a:lnTo>
                <a:close/>
                <a:moveTo>
                  <a:pt x="2366" y="4370"/>
                </a:moveTo>
                <a:lnTo>
                  <a:pt x="2351" y="4381"/>
                </a:lnTo>
                <a:lnTo>
                  <a:pt x="2338" y="4393"/>
                </a:lnTo>
                <a:lnTo>
                  <a:pt x="2353" y="4381"/>
                </a:lnTo>
                <a:lnTo>
                  <a:pt x="2366" y="4370"/>
                </a:lnTo>
                <a:close/>
                <a:moveTo>
                  <a:pt x="2077" y="4519"/>
                </a:moveTo>
                <a:lnTo>
                  <a:pt x="2075" y="4525"/>
                </a:lnTo>
                <a:lnTo>
                  <a:pt x="2077" y="4529"/>
                </a:lnTo>
                <a:lnTo>
                  <a:pt x="2081" y="4530"/>
                </a:lnTo>
                <a:lnTo>
                  <a:pt x="2084" y="4530"/>
                </a:lnTo>
                <a:lnTo>
                  <a:pt x="2096" y="4530"/>
                </a:lnTo>
                <a:lnTo>
                  <a:pt x="2106" y="4530"/>
                </a:lnTo>
                <a:lnTo>
                  <a:pt x="2106" y="4523"/>
                </a:lnTo>
                <a:lnTo>
                  <a:pt x="2105" y="4518"/>
                </a:lnTo>
                <a:lnTo>
                  <a:pt x="2101" y="4512"/>
                </a:lnTo>
                <a:lnTo>
                  <a:pt x="2097" y="4511"/>
                </a:lnTo>
                <a:lnTo>
                  <a:pt x="2092" y="4510"/>
                </a:lnTo>
                <a:lnTo>
                  <a:pt x="2086" y="4511"/>
                </a:lnTo>
                <a:lnTo>
                  <a:pt x="2081" y="4514"/>
                </a:lnTo>
                <a:lnTo>
                  <a:pt x="2077" y="4519"/>
                </a:lnTo>
                <a:close/>
                <a:moveTo>
                  <a:pt x="2288" y="4404"/>
                </a:moveTo>
                <a:lnTo>
                  <a:pt x="2277" y="4414"/>
                </a:lnTo>
                <a:lnTo>
                  <a:pt x="2268" y="4427"/>
                </a:lnTo>
                <a:lnTo>
                  <a:pt x="2260" y="4440"/>
                </a:lnTo>
                <a:lnTo>
                  <a:pt x="2255" y="4451"/>
                </a:lnTo>
                <a:lnTo>
                  <a:pt x="2253" y="4458"/>
                </a:lnTo>
                <a:lnTo>
                  <a:pt x="2254" y="4460"/>
                </a:lnTo>
                <a:lnTo>
                  <a:pt x="2260" y="4455"/>
                </a:lnTo>
                <a:lnTo>
                  <a:pt x="2270" y="4442"/>
                </a:lnTo>
                <a:lnTo>
                  <a:pt x="2289" y="4437"/>
                </a:lnTo>
                <a:lnTo>
                  <a:pt x="2305" y="4427"/>
                </a:lnTo>
                <a:lnTo>
                  <a:pt x="2317" y="4416"/>
                </a:lnTo>
                <a:lnTo>
                  <a:pt x="2325" y="4403"/>
                </a:lnTo>
                <a:lnTo>
                  <a:pt x="2328" y="4394"/>
                </a:lnTo>
                <a:lnTo>
                  <a:pt x="2323" y="4389"/>
                </a:lnTo>
                <a:lnTo>
                  <a:pt x="2310" y="4392"/>
                </a:lnTo>
                <a:lnTo>
                  <a:pt x="2288" y="4404"/>
                </a:lnTo>
                <a:close/>
                <a:moveTo>
                  <a:pt x="2214" y="4552"/>
                </a:moveTo>
                <a:lnTo>
                  <a:pt x="2212" y="4557"/>
                </a:lnTo>
                <a:lnTo>
                  <a:pt x="2210" y="4566"/>
                </a:lnTo>
                <a:lnTo>
                  <a:pt x="2209" y="4576"/>
                </a:lnTo>
                <a:lnTo>
                  <a:pt x="2209" y="4581"/>
                </a:lnTo>
                <a:lnTo>
                  <a:pt x="2241" y="4567"/>
                </a:lnTo>
                <a:lnTo>
                  <a:pt x="2265" y="4552"/>
                </a:lnTo>
                <a:lnTo>
                  <a:pt x="2282" y="4535"/>
                </a:lnTo>
                <a:lnTo>
                  <a:pt x="2288" y="4523"/>
                </a:lnTo>
                <a:lnTo>
                  <a:pt x="2286" y="4515"/>
                </a:lnTo>
                <a:lnTo>
                  <a:pt x="2273" y="4516"/>
                </a:lnTo>
                <a:lnTo>
                  <a:pt x="2249" y="4528"/>
                </a:lnTo>
                <a:lnTo>
                  <a:pt x="2214" y="4552"/>
                </a:lnTo>
                <a:close/>
                <a:moveTo>
                  <a:pt x="2309" y="4515"/>
                </a:moveTo>
                <a:lnTo>
                  <a:pt x="2310" y="4514"/>
                </a:lnTo>
                <a:lnTo>
                  <a:pt x="2309" y="4515"/>
                </a:lnTo>
                <a:lnTo>
                  <a:pt x="2310" y="4515"/>
                </a:lnTo>
                <a:lnTo>
                  <a:pt x="2311" y="4515"/>
                </a:lnTo>
                <a:lnTo>
                  <a:pt x="2311" y="4514"/>
                </a:lnTo>
                <a:lnTo>
                  <a:pt x="2309" y="4515"/>
                </a:lnTo>
                <a:close/>
                <a:moveTo>
                  <a:pt x="2456" y="4412"/>
                </a:moveTo>
                <a:lnTo>
                  <a:pt x="2456" y="4411"/>
                </a:lnTo>
                <a:lnTo>
                  <a:pt x="2455" y="4412"/>
                </a:lnTo>
                <a:lnTo>
                  <a:pt x="2454" y="4413"/>
                </a:lnTo>
                <a:lnTo>
                  <a:pt x="2455" y="4413"/>
                </a:lnTo>
                <a:lnTo>
                  <a:pt x="2456" y="4412"/>
                </a:lnTo>
                <a:close/>
                <a:moveTo>
                  <a:pt x="2235" y="4338"/>
                </a:moveTo>
                <a:lnTo>
                  <a:pt x="2224" y="4318"/>
                </a:lnTo>
                <a:lnTo>
                  <a:pt x="2202" y="4322"/>
                </a:lnTo>
                <a:lnTo>
                  <a:pt x="2171" y="4341"/>
                </a:lnTo>
                <a:lnTo>
                  <a:pt x="2140" y="4367"/>
                </a:lnTo>
                <a:lnTo>
                  <a:pt x="2120" y="4392"/>
                </a:lnTo>
                <a:lnTo>
                  <a:pt x="2114" y="4407"/>
                </a:lnTo>
                <a:lnTo>
                  <a:pt x="2133" y="4403"/>
                </a:lnTo>
                <a:lnTo>
                  <a:pt x="2182" y="4372"/>
                </a:lnTo>
                <a:lnTo>
                  <a:pt x="2139" y="4409"/>
                </a:lnTo>
                <a:lnTo>
                  <a:pt x="2133" y="4425"/>
                </a:lnTo>
                <a:lnTo>
                  <a:pt x="2152" y="4422"/>
                </a:lnTo>
                <a:lnTo>
                  <a:pt x="2185" y="4409"/>
                </a:lnTo>
                <a:lnTo>
                  <a:pt x="2221" y="4389"/>
                </a:lnTo>
                <a:lnTo>
                  <a:pt x="2249" y="4366"/>
                </a:lnTo>
                <a:lnTo>
                  <a:pt x="2256" y="4348"/>
                </a:lnTo>
                <a:lnTo>
                  <a:pt x="2235" y="4338"/>
                </a:lnTo>
                <a:close/>
                <a:moveTo>
                  <a:pt x="2275" y="4337"/>
                </a:moveTo>
                <a:lnTo>
                  <a:pt x="2274" y="4338"/>
                </a:lnTo>
                <a:lnTo>
                  <a:pt x="2275" y="4338"/>
                </a:lnTo>
                <a:lnTo>
                  <a:pt x="2275" y="4337"/>
                </a:lnTo>
                <a:lnTo>
                  <a:pt x="2275" y="4337"/>
                </a:lnTo>
                <a:close/>
                <a:moveTo>
                  <a:pt x="13256" y="7131"/>
                </a:moveTo>
                <a:lnTo>
                  <a:pt x="13256" y="7128"/>
                </a:lnTo>
                <a:lnTo>
                  <a:pt x="13254" y="7128"/>
                </a:lnTo>
                <a:lnTo>
                  <a:pt x="13254" y="7130"/>
                </a:lnTo>
                <a:lnTo>
                  <a:pt x="13254" y="7131"/>
                </a:lnTo>
                <a:lnTo>
                  <a:pt x="13254" y="7131"/>
                </a:lnTo>
                <a:lnTo>
                  <a:pt x="13256" y="7131"/>
                </a:lnTo>
                <a:close/>
                <a:moveTo>
                  <a:pt x="13256" y="7126"/>
                </a:moveTo>
                <a:lnTo>
                  <a:pt x="13256" y="7126"/>
                </a:lnTo>
                <a:lnTo>
                  <a:pt x="13257" y="7123"/>
                </a:lnTo>
                <a:lnTo>
                  <a:pt x="13256" y="7125"/>
                </a:lnTo>
                <a:lnTo>
                  <a:pt x="13256" y="7126"/>
                </a:lnTo>
                <a:close/>
                <a:moveTo>
                  <a:pt x="10771" y="8022"/>
                </a:moveTo>
                <a:lnTo>
                  <a:pt x="10770" y="8024"/>
                </a:lnTo>
                <a:lnTo>
                  <a:pt x="10767" y="8028"/>
                </a:lnTo>
                <a:lnTo>
                  <a:pt x="10771" y="8023"/>
                </a:lnTo>
                <a:lnTo>
                  <a:pt x="10771" y="8022"/>
                </a:lnTo>
                <a:close/>
                <a:moveTo>
                  <a:pt x="9844" y="9519"/>
                </a:moveTo>
                <a:lnTo>
                  <a:pt x="9844" y="9514"/>
                </a:lnTo>
                <a:lnTo>
                  <a:pt x="9843" y="9515"/>
                </a:lnTo>
                <a:lnTo>
                  <a:pt x="9841" y="9516"/>
                </a:lnTo>
                <a:lnTo>
                  <a:pt x="9841" y="9518"/>
                </a:lnTo>
                <a:lnTo>
                  <a:pt x="9844" y="9519"/>
                </a:lnTo>
                <a:close/>
                <a:moveTo>
                  <a:pt x="10837" y="8004"/>
                </a:moveTo>
                <a:lnTo>
                  <a:pt x="10833" y="8008"/>
                </a:lnTo>
                <a:lnTo>
                  <a:pt x="10836" y="8009"/>
                </a:lnTo>
                <a:lnTo>
                  <a:pt x="10837" y="8008"/>
                </a:lnTo>
                <a:lnTo>
                  <a:pt x="10837" y="8007"/>
                </a:lnTo>
                <a:lnTo>
                  <a:pt x="10837" y="8004"/>
                </a:lnTo>
                <a:close/>
                <a:moveTo>
                  <a:pt x="11448" y="8802"/>
                </a:moveTo>
                <a:lnTo>
                  <a:pt x="11446" y="8801"/>
                </a:lnTo>
                <a:lnTo>
                  <a:pt x="11445" y="8802"/>
                </a:lnTo>
                <a:lnTo>
                  <a:pt x="11445" y="8802"/>
                </a:lnTo>
                <a:lnTo>
                  <a:pt x="11445" y="8805"/>
                </a:lnTo>
                <a:lnTo>
                  <a:pt x="11448" y="8802"/>
                </a:lnTo>
                <a:close/>
                <a:moveTo>
                  <a:pt x="10847" y="9171"/>
                </a:moveTo>
                <a:lnTo>
                  <a:pt x="10850" y="9168"/>
                </a:lnTo>
                <a:lnTo>
                  <a:pt x="10847" y="9168"/>
                </a:lnTo>
                <a:lnTo>
                  <a:pt x="10847" y="9168"/>
                </a:lnTo>
                <a:lnTo>
                  <a:pt x="10846" y="9169"/>
                </a:lnTo>
                <a:lnTo>
                  <a:pt x="10847" y="9171"/>
                </a:lnTo>
                <a:close/>
                <a:moveTo>
                  <a:pt x="10507" y="9250"/>
                </a:moveTo>
                <a:lnTo>
                  <a:pt x="10504" y="9249"/>
                </a:lnTo>
                <a:lnTo>
                  <a:pt x="10501" y="9248"/>
                </a:lnTo>
                <a:lnTo>
                  <a:pt x="10502" y="9250"/>
                </a:lnTo>
                <a:lnTo>
                  <a:pt x="10504" y="9252"/>
                </a:lnTo>
                <a:lnTo>
                  <a:pt x="10505" y="9252"/>
                </a:lnTo>
                <a:lnTo>
                  <a:pt x="10507" y="9250"/>
                </a:lnTo>
                <a:close/>
                <a:moveTo>
                  <a:pt x="9357" y="9593"/>
                </a:moveTo>
                <a:lnTo>
                  <a:pt x="9356" y="9591"/>
                </a:lnTo>
                <a:lnTo>
                  <a:pt x="9357" y="9593"/>
                </a:lnTo>
                <a:lnTo>
                  <a:pt x="9356" y="9591"/>
                </a:lnTo>
                <a:lnTo>
                  <a:pt x="9357" y="9593"/>
                </a:lnTo>
                <a:close/>
                <a:moveTo>
                  <a:pt x="9359" y="9593"/>
                </a:moveTo>
                <a:lnTo>
                  <a:pt x="9359" y="9593"/>
                </a:lnTo>
                <a:lnTo>
                  <a:pt x="9361" y="9595"/>
                </a:lnTo>
                <a:lnTo>
                  <a:pt x="9360" y="9594"/>
                </a:lnTo>
                <a:lnTo>
                  <a:pt x="9359" y="9593"/>
                </a:lnTo>
                <a:close/>
                <a:moveTo>
                  <a:pt x="5985" y="10759"/>
                </a:moveTo>
                <a:lnTo>
                  <a:pt x="5974" y="10770"/>
                </a:lnTo>
                <a:lnTo>
                  <a:pt x="5963" y="10780"/>
                </a:lnTo>
                <a:lnTo>
                  <a:pt x="5967" y="10775"/>
                </a:lnTo>
                <a:lnTo>
                  <a:pt x="5972" y="10771"/>
                </a:lnTo>
                <a:lnTo>
                  <a:pt x="5979" y="10766"/>
                </a:lnTo>
                <a:lnTo>
                  <a:pt x="5984" y="10763"/>
                </a:lnTo>
                <a:lnTo>
                  <a:pt x="5989" y="10760"/>
                </a:lnTo>
                <a:lnTo>
                  <a:pt x="5991" y="10759"/>
                </a:lnTo>
                <a:lnTo>
                  <a:pt x="5990" y="10757"/>
                </a:lnTo>
                <a:lnTo>
                  <a:pt x="5985" y="10759"/>
                </a:lnTo>
                <a:close/>
                <a:moveTo>
                  <a:pt x="8229" y="9803"/>
                </a:moveTo>
                <a:lnTo>
                  <a:pt x="8233" y="9801"/>
                </a:lnTo>
                <a:lnTo>
                  <a:pt x="8237" y="9799"/>
                </a:lnTo>
                <a:lnTo>
                  <a:pt x="8233" y="9799"/>
                </a:lnTo>
                <a:lnTo>
                  <a:pt x="8230" y="9799"/>
                </a:lnTo>
                <a:lnTo>
                  <a:pt x="8229" y="9800"/>
                </a:lnTo>
                <a:lnTo>
                  <a:pt x="8229" y="9803"/>
                </a:lnTo>
                <a:close/>
                <a:moveTo>
                  <a:pt x="9476" y="9590"/>
                </a:moveTo>
                <a:lnTo>
                  <a:pt x="9476" y="9593"/>
                </a:lnTo>
                <a:lnTo>
                  <a:pt x="9477" y="9595"/>
                </a:lnTo>
                <a:lnTo>
                  <a:pt x="9478" y="9595"/>
                </a:lnTo>
                <a:lnTo>
                  <a:pt x="9481" y="9593"/>
                </a:lnTo>
                <a:lnTo>
                  <a:pt x="9481" y="9590"/>
                </a:lnTo>
                <a:lnTo>
                  <a:pt x="9480" y="9590"/>
                </a:lnTo>
                <a:lnTo>
                  <a:pt x="9478" y="9589"/>
                </a:lnTo>
                <a:lnTo>
                  <a:pt x="9476" y="9590"/>
                </a:lnTo>
                <a:close/>
                <a:moveTo>
                  <a:pt x="9509" y="9548"/>
                </a:moveTo>
                <a:lnTo>
                  <a:pt x="9510" y="9549"/>
                </a:lnTo>
                <a:lnTo>
                  <a:pt x="9513" y="9549"/>
                </a:lnTo>
                <a:lnTo>
                  <a:pt x="9515" y="9548"/>
                </a:lnTo>
                <a:lnTo>
                  <a:pt x="9517" y="9547"/>
                </a:lnTo>
                <a:lnTo>
                  <a:pt x="9514" y="9544"/>
                </a:lnTo>
                <a:lnTo>
                  <a:pt x="9511" y="9544"/>
                </a:lnTo>
                <a:lnTo>
                  <a:pt x="9510" y="9544"/>
                </a:lnTo>
                <a:lnTo>
                  <a:pt x="9509" y="9544"/>
                </a:lnTo>
                <a:lnTo>
                  <a:pt x="9509" y="9546"/>
                </a:lnTo>
                <a:lnTo>
                  <a:pt x="9509" y="9548"/>
                </a:lnTo>
                <a:close/>
                <a:moveTo>
                  <a:pt x="7405" y="10033"/>
                </a:moveTo>
                <a:lnTo>
                  <a:pt x="7405" y="10033"/>
                </a:lnTo>
                <a:lnTo>
                  <a:pt x="7403" y="10034"/>
                </a:lnTo>
                <a:lnTo>
                  <a:pt x="7401" y="10037"/>
                </a:lnTo>
                <a:lnTo>
                  <a:pt x="7403" y="10034"/>
                </a:lnTo>
                <a:lnTo>
                  <a:pt x="7405" y="10033"/>
                </a:lnTo>
                <a:lnTo>
                  <a:pt x="7406" y="10033"/>
                </a:lnTo>
                <a:lnTo>
                  <a:pt x="7406" y="10033"/>
                </a:lnTo>
                <a:lnTo>
                  <a:pt x="7406" y="10033"/>
                </a:lnTo>
                <a:lnTo>
                  <a:pt x="7405" y="10033"/>
                </a:lnTo>
                <a:close/>
                <a:moveTo>
                  <a:pt x="8786" y="9580"/>
                </a:moveTo>
                <a:lnTo>
                  <a:pt x="8783" y="9584"/>
                </a:lnTo>
                <a:lnTo>
                  <a:pt x="8786" y="9580"/>
                </a:lnTo>
                <a:lnTo>
                  <a:pt x="8787" y="9580"/>
                </a:lnTo>
                <a:lnTo>
                  <a:pt x="8788" y="9580"/>
                </a:lnTo>
                <a:lnTo>
                  <a:pt x="8793" y="9584"/>
                </a:lnTo>
                <a:lnTo>
                  <a:pt x="8796" y="9586"/>
                </a:lnTo>
                <a:lnTo>
                  <a:pt x="8798" y="9588"/>
                </a:lnTo>
                <a:lnTo>
                  <a:pt x="8802" y="9588"/>
                </a:lnTo>
                <a:lnTo>
                  <a:pt x="8807" y="9584"/>
                </a:lnTo>
                <a:lnTo>
                  <a:pt x="8816" y="9572"/>
                </a:lnTo>
                <a:lnTo>
                  <a:pt x="8811" y="9570"/>
                </a:lnTo>
                <a:lnTo>
                  <a:pt x="8807" y="9569"/>
                </a:lnTo>
                <a:lnTo>
                  <a:pt x="8805" y="9570"/>
                </a:lnTo>
                <a:lnTo>
                  <a:pt x="8801" y="9571"/>
                </a:lnTo>
                <a:lnTo>
                  <a:pt x="8794" y="9575"/>
                </a:lnTo>
                <a:lnTo>
                  <a:pt x="8788" y="9580"/>
                </a:lnTo>
                <a:lnTo>
                  <a:pt x="8787" y="9579"/>
                </a:lnTo>
                <a:lnTo>
                  <a:pt x="8786" y="9580"/>
                </a:lnTo>
                <a:close/>
                <a:moveTo>
                  <a:pt x="8786" y="9580"/>
                </a:moveTo>
                <a:lnTo>
                  <a:pt x="8778" y="9580"/>
                </a:lnTo>
                <a:lnTo>
                  <a:pt x="8786" y="9580"/>
                </a:lnTo>
                <a:close/>
                <a:moveTo>
                  <a:pt x="9952" y="9525"/>
                </a:moveTo>
                <a:lnTo>
                  <a:pt x="9955" y="9523"/>
                </a:lnTo>
                <a:lnTo>
                  <a:pt x="9956" y="9521"/>
                </a:lnTo>
                <a:lnTo>
                  <a:pt x="9956" y="9520"/>
                </a:lnTo>
                <a:lnTo>
                  <a:pt x="9953" y="9519"/>
                </a:lnTo>
                <a:lnTo>
                  <a:pt x="9952" y="9521"/>
                </a:lnTo>
                <a:lnTo>
                  <a:pt x="9952" y="9525"/>
                </a:lnTo>
                <a:close/>
                <a:moveTo>
                  <a:pt x="9263" y="9626"/>
                </a:moveTo>
                <a:lnTo>
                  <a:pt x="9264" y="9627"/>
                </a:lnTo>
                <a:lnTo>
                  <a:pt x="9267" y="9627"/>
                </a:lnTo>
                <a:lnTo>
                  <a:pt x="9268" y="9627"/>
                </a:lnTo>
                <a:lnTo>
                  <a:pt x="9269" y="9626"/>
                </a:lnTo>
                <a:lnTo>
                  <a:pt x="9268" y="9623"/>
                </a:lnTo>
                <a:lnTo>
                  <a:pt x="9267" y="9623"/>
                </a:lnTo>
                <a:lnTo>
                  <a:pt x="9264" y="9625"/>
                </a:lnTo>
                <a:lnTo>
                  <a:pt x="9263" y="9626"/>
                </a:lnTo>
                <a:close/>
                <a:moveTo>
                  <a:pt x="13397" y="8234"/>
                </a:moveTo>
                <a:lnTo>
                  <a:pt x="13391" y="8232"/>
                </a:lnTo>
                <a:lnTo>
                  <a:pt x="13383" y="8232"/>
                </a:lnTo>
                <a:lnTo>
                  <a:pt x="13387" y="8234"/>
                </a:lnTo>
                <a:lnTo>
                  <a:pt x="13389" y="8236"/>
                </a:lnTo>
                <a:lnTo>
                  <a:pt x="13393" y="8236"/>
                </a:lnTo>
                <a:lnTo>
                  <a:pt x="13397" y="8234"/>
                </a:lnTo>
                <a:close/>
                <a:moveTo>
                  <a:pt x="10231" y="9358"/>
                </a:moveTo>
                <a:lnTo>
                  <a:pt x="10234" y="9356"/>
                </a:lnTo>
                <a:lnTo>
                  <a:pt x="10232" y="9356"/>
                </a:lnTo>
                <a:lnTo>
                  <a:pt x="10231" y="9356"/>
                </a:lnTo>
                <a:lnTo>
                  <a:pt x="10231" y="9357"/>
                </a:lnTo>
                <a:lnTo>
                  <a:pt x="10231" y="9358"/>
                </a:lnTo>
                <a:close/>
                <a:moveTo>
                  <a:pt x="12919" y="8655"/>
                </a:moveTo>
                <a:lnTo>
                  <a:pt x="12921" y="8652"/>
                </a:lnTo>
                <a:lnTo>
                  <a:pt x="12919" y="8652"/>
                </a:lnTo>
                <a:lnTo>
                  <a:pt x="12919" y="8652"/>
                </a:lnTo>
                <a:lnTo>
                  <a:pt x="12917" y="8653"/>
                </a:lnTo>
                <a:lnTo>
                  <a:pt x="12919" y="8655"/>
                </a:lnTo>
                <a:close/>
                <a:moveTo>
                  <a:pt x="10535" y="9240"/>
                </a:moveTo>
                <a:lnTo>
                  <a:pt x="10535" y="9243"/>
                </a:lnTo>
                <a:lnTo>
                  <a:pt x="10537" y="9244"/>
                </a:lnTo>
                <a:lnTo>
                  <a:pt x="10538" y="9245"/>
                </a:lnTo>
                <a:lnTo>
                  <a:pt x="10540" y="9245"/>
                </a:lnTo>
                <a:lnTo>
                  <a:pt x="10540" y="9243"/>
                </a:lnTo>
                <a:lnTo>
                  <a:pt x="10540" y="9239"/>
                </a:lnTo>
                <a:lnTo>
                  <a:pt x="10540" y="9239"/>
                </a:lnTo>
                <a:lnTo>
                  <a:pt x="10539" y="9239"/>
                </a:lnTo>
                <a:lnTo>
                  <a:pt x="10538" y="9239"/>
                </a:lnTo>
                <a:lnTo>
                  <a:pt x="10535" y="9240"/>
                </a:lnTo>
                <a:close/>
                <a:moveTo>
                  <a:pt x="11069" y="7914"/>
                </a:moveTo>
                <a:lnTo>
                  <a:pt x="11071" y="7916"/>
                </a:lnTo>
                <a:lnTo>
                  <a:pt x="11075" y="7916"/>
                </a:lnTo>
                <a:lnTo>
                  <a:pt x="11077" y="7915"/>
                </a:lnTo>
                <a:lnTo>
                  <a:pt x="11077" y="7915"/>
                </a:lnTo>
                <a:lnTo>
                  <a:pt x="11078" y="7912"/>
                </a:lnTo>
                <a:lnTo>
                  <a:pt x="11077" y="7911"/>
                </a:lnTo>
                <a:lnTo>
                  <a:pt x="11075" y="7909"/>
                </a:lnTo>
                <a:lnTo>
                  <a:pt x="11073" y="7907"/>
                </a:lnTo>
                <a:lnTo>
                  <a:pt x="11069" y="7907"/>
                </a:lnTo>
                <a:lnTo>
                  <a:pt x="11065" y="7909"/>
                </a:lnTo>
                <a:lnTo>
                  <a:pt x="11063" y="7910"/>
                </a:lnTo>
                <a:lnTo>
                  <a:pt x="11063" y="7911"/>
                </a:lnTo>
                <a:lnTo>
                  <a:pt x="11064" y="7914"/>
                </a:lnTo>
                <a:lnTo>
                  <a:pt x="11069" y="7914"/>
                </a:lnTo>
                <a:close/>
                <a:moveTo>
                  <a:pt x="11060" y="7911"/>
                </a:moveTo>
                <a:lnTo>
                  <a:pt x="11060" y="7911"/>
                </a:lnTo>
                <a:lnTo>
                  <a:pt x="11059" y="7910"/>
                </a:lnTo>
                <a:lnTo>
                  <a:pt x="11059" y="7911"/>
                </a:lnTo>
                <a:lnTo>
                  <a:pt x="11060" y="7911"/>
                </a:lnTo>
                <a:close/>
                <a:moveTo>
                  <a:pt x="10786" y="9154"/>
                </a:moveTo>
                <a:lnTo>
                  <a:pt x="10785" y="9157"/>
                </a:lnTo>
                <a:lnTo>
                  <a:pt x="10785" y="9161"/>
                </a:lnTo>
                <a:lnTo>
                  <a:pt x="10788" y="9162"/>
                </a:lnTo>
                <a:lnTo>
                  <a:pt x="10791" y="9165"/>
                </a:lnTo>
                <a:lnTo>
                  <a:pt x="10790" y="9162"/>
                </a:lnTo>
                <a:lnTo>
                  <a:pt x="10790" y="9159"/>
                </a:lnTo>
                <a:lnTo>
                  <a:pt x="10789" y="9156"/>
                </a:lnTo>
                <a:lnTo>
                  <a:pt x="10786" y="9154"/>
                </a:lnTo>
                <a:close/>
                <a:moveTo>
                  <a:pt x="12536" y="7710"/>
                </a:moveTo>
                <a:lnTo>
                  <a:pt x="12537" y="7708"/>
                </a:lnTo>
                <a:lnTo>
                  <a:pt x="12536" y="7706"/>
                </a:lnTo>
                <a:lnTo>
                  <a:pt x="12535" y="7706"/>
                </a:lnTo>
                <a:lnTo>
                  <a:pt x="12532" y="7706"/>
                </a:lnTo>
                <a:lnTo>
                  <a:pt x="12532" y="7709"/>
                </a:lnTo>
                <a:lnTo>
                  <a:pt x="12533" y="7710"/>
                </a:lnTo>
                <a:lnTo>
                  <a:pt x="12535" y="7710"/>
                </a:lnTo>
                <a:lnTo>
                  <a:pt x="12536" y="7710"/>
                </a:lnTo>
                <a:close/>
                <a:moveTo>
                  <a:pt x="12658" y="7657"/>
                </a:moveTo>
                <a:lnTo>
                  <a:pt x="12663" y="7655"/>
                </a:lnTo>
                <a:lnTo>
                  <a:pt x="12666" y="7654"/>
                </a:lnTo>
                <a:lnTo>
                  <a:pt x="12666" y="7653"/>
                </a:lnTo>
                <a:lnTo>
                  <a:pt x="12666" y="7651"/>
                </a:lnTo>
                <a:lnTo>
                  <a:pt x="12665" y="7649"/>
                </a:lnTo>
                <a:lnTo>
                  <a:pt x="12663" y="7648"/>
                </a:lnTo>
                <a:lnTo>
                  <a:pt x="12660" y="7648"/>
                </a:lnTo>
                <a:lnTo>
                  <a:pt x="12658" y="7650"/>
                </a:lnTo>
                <a:lnTo>
                  <a:pt x="12658" y="7653"/>
                </a:lnTo>
                <a:lnTo>
                  <a:pt x="12658" y="7657"/>
                </a:lnTo>
                <a:close/>
                <a:moveTo>
                  <a:pt x="7380" y="10048"/>
                </a:moveTo>
                <a:lnTo>
                  <a:pt x="7382" y="10048"/>
                </a:lnTo>
                <a:lnTo>
                  <a:pt x="7385" y="10048"/>
                </a:lnTo>
                <a:lnTo>
                  <a:pt x="7387" y="10047"/>
                </a:lnTo>
                <a:lnTo>
                  <a:pt x="7390" y="10046"/>
                </a:lnTo>
                <a:lnTo>
                  <a:pt x="7394" y="10041"/>
                </a:lnTo>
                <a:lnTo>
                  <a:pt x="7399" y="10037"/>
                </a:lnTo>
                <a:lnTo>
                  <a:pt x="7400" y="10037"/>
                </a:lnTo>
                <a:lnTo>
                  <a:pt x="7399" y="10037"/>
                </a:lnTo>
                <a:lnTo>
                  <a:pt x="7400" y="10037"/>
                </a:lnTo>
                <a:lnTo>
                  <a:pt x="7399" y="10037"/>
                </a:lnTo>
                <a:lnTo>
                  <a:pt x="7392" y="10038"/>
                </a:lnTo>
                <a:lnTo>
                  <a:pt x="7385" y="10038"/>
                </a:lnTo>
                <a:lnTo>
                  <a:pt x="7382" y="10039"/>
                </a:lnTo>
                <a:lnTo>
                  <a:pt x="7380" y="10041"/>
                </a:lnTo>
                <a:lnTo>
                  <a:pt x="7380" y="10043"/>
                </a:lnTo>
                <a:lnTo>
                  <a:pt x="7380" y="10048"/>
                </a:lnTo>
                <a:close/>
                <a:moveTo>
                  <a:pt x="11097" y="7939"/>
                </a:moveTo>
                <a:lnTo>
                  <a:pt x="11101" y="7938"/>
                </a:lnTo>
                <a:lnTo>
                  <a:pt x="11102" y="7937"/>
                </a:lnTo>
                <a:lnTo>
                  <a:pt x="11102" y="7933"/>
                </a:lnTo>
                <a:lnTo>
                  <a:pt x="11100" y="7932"/>
                </a:lnTo>
                <a:lnTo>
                  <a:pt x="11097" y="7930"/>
                </a:lnTo>
                <a:lnTo>
                  <a:pt x="11094" y="7932"/>
                </a:lnTo>
                <a:lnTo>
                  <a:pt x="11093" y="7933"/>
                </a:lnTo>
                <a:lnTo>
                  <a:pt x="11093" y="7935"/>
                </a:lnTo>
                <a:lnTo>
                  <a:pt x="11094" y="7938"/>
                </a:lnTo>
                <a:lnTo>
                  <a:pt x="11097" y="7939"/>
                </a:lnTo>
                <a:close/>
                <a:moveTo>
                  <a:pt x="10292" y="9380"/>
                </a:moveTo>
                <a:lnTo>
                  <a:pt x="10292" y="9383"/>
                </a:lnTo>
                <a:lnTo>
                  <a:pt x="10293" y="9384"/>
                </a:lnTo>
                <a:lnTo>
                  <a:pt x="10295" y="9384"/>
                </a:lnTo>
                <a:lnTo>
                  <a:pt x="10297" y="9383"/>
                </a:lnTo>
                <a:lnTo>
                  <a:pt x="10297" y="9379"/>
                </a:lnTo>
                <a:lnTo>
                  <a:pt x="10296" y="9378"/>
                </a:lnTo>
                <a:lnTo>
                  <a:pt x="10295" y="9378"/>
                </a:lnTo>
                <a:lnTo>
                  <a:pt x="10292" y="9380"/>
                </a:lnTo>
                <a:close/>
                <a:moveTo>
                  <a:pt x="8712" y="9682"/>
                </a:moveTo>
                <a:lnTo>
                  <a:pt x="8713" y="9682"/>
                </a:lnTo>
                <a:lnTo>
                  <a:pt x="8713" y="9681"/>
                </a:lnTo>
                <a:lnTo>
                  <a:pt x="8712" y="9681"/>
                </a:lnTo>
                <a:lnTo>
                  <a:pt x="8710" y="9681"/>
                </a:lnTo>
                <a:lnTo>
                  <a:pt x="8710" y="9681"/>
                </a:lnTo>
                <a:lnTo>
                  <a:pt x="8710" y="9682"/>
                </a:lnTo>
                <a:lnTo>
                  <a:pt x="8712" y="9682"/>
                </a:lnTo>
                <a:lnTo>
                  <a:pt x="8710" y="9682"/>
                </a:lnTo>
                <a:lnTo>
                  <a:pt x="8712" y="9682"/>
                </a:lnTo>
                <a:lnTo>
                  <a:pt x="8712" y="9682"/>
                </a:lnTo>
                <a:lnTo>
                  <a:pt x="8712" y="9682"/>
                </a:lnTo>
                <a:close/>
                <a:moveTo>
                  <a:pt x="9110" y="9701"/>
                </a:moveTo>
                <a:lnTo>
                  <a:pt x="9113" y="9706"/>
                </a:lnTo>
                <a:lnTo>
                  <a:pt x="9115" y="9709"/>
                </a:lnTo>
                <a:lnTo>
                  <a:pt x="9119" y="9709"/>
                </a:lnTo>
                <a:lnTo>
                  <a:pt x="9124" y="9705"/>
                </a:lnTo>
                <a:lnTo>
                  <a:pt x="9122" y="9700"/>
                </a:lnTo>
                <a:lnTo>
                  <a:pt x="9119" y="9698"/>
                </a:lnTo>
                <a:lnTo>
                  <a:pt x="9115" y="9698"/>
                </a:lnTo>
                <a:lnTo>
                  <a:pt x="9110" y="9701"/>
                </a:lnTo>
                <a:close/>
                <a:moveTo>
                  <a:pt x="5924" y="10793"/>
                </a:moveTo>
                <a:lnTo>
                  <a:pt x="5919" y="10797"/>
                </a:lnTo>
                <a:lnTo>
                  <a:pt x="5918" y="10798"/>
                </a:lnTo>
                <a:lnTo>
                  <a:pt x="5920" y="10797"/>
                </a:lnTo>
                <a:lnTo>
                  <a:pt x="5925" y="10793"/>
                </a:lnTo>
                <a:lnTo>
                  <a:pt x="5930" y="10793"/>
                </a:lnTo>
                <a:lnTo>
                  <a:pt x="5935" y="10793"/>
                </a:lnTo>
                <a:lnTo>
                  <a:pt x="5941" y="10792"/>
                </a:lnTo>
                <a:lnTo>
                  <a:pt x="5944" y="10791"/>
                </a:lnTo>
                <a:lnTo>
                  <a:pt x="5953" y="10785"/>
                </a:lnTo>
                <a:lnTo>
                  <a:pt x="5962" y="10780"/>
                </a:lnTo>
                <a:lnTo>
                  <a:pt x="5957" y="10779"/>
                </a:lnTo>
                <a:lnTo>
                  <a:pt x="5952" y="10779"/>
                </a:lnTo>
                <a:lnTo>
                  <a:pt x="5947" y="10780"/>
                </a:lnTo>
                <a:lnTo>
                  <a:pt x="5942" y="10782"/>
                </a:lnTo>
                <a:lnTo>
                  <a:pt x="5934" y="10787"/>
                </a:lnTo>
                <a:lnTo>
                  <a:pt x="5925" y="10793"/>
                </a:lnTo>
                <a:lnTo>
                  <a:pt x="5925" y="10793"/>
                </a:lnTo>
                <a:lnTo>
                  <a:pt x="5924" y="10793"/>
                </a:lnTo>
                <a:close/>
                <a:moveTo>
                  <a:pt x="10793" y="9166"/>
                </a:moveTo>
                <a:lnTo>
                  <a:pt x="10791" y="9165"/>
                </a:lnTo>
                <a:lnTo>
                  <a:pt x="10791" y="9166"/>
                </a:lnTo>
                <a:lnTo>
                  <a:pt x="10793" y="9168"/>
                </a:lnTo>
                <a:lnTo>
                  <a:pt x="10793" y="9166"/>
                </a:lnTo>
                <a:close/>
                <a:moveTo>
                  <a:pt x="10790" y="9180"/>
                </a:moveTo>
                <a:lnTo>
                  <a:pt x="10791" y="9183"/>
                </a:lnTo>
                <a:lnTo>
                  <a:pt x="10793" y="9184"/>
                </a:lnTo>
                <a:lnTo>
                  <a:pt x="10794" y="9185"/>
                </a:lnTo>
                <a:lnTo>
                  <a:pt x="10796" y="9184"/>
                </a:lnTo>
                <a:lnTo>
                  <a:pt x="10799" y="9183"/>
                </a:lnTo>
                <a:lnTo>
                  <a:pt x="10800" y="9178"/>
                </a:lnTo>
                <a:lnTo>
                  <a:pt x="10798" y="9174"/>
                </a:lnTo>
                <a:lnTo>
                  <a:pt x="10796" y="9171"/>
                </a:lnTo>
                <a:lnTo>
                  <a:pt x="10794" y="9170"/>
                </a:lnTo>
                <a:lnTo>
                  <a:pt x="10793" y="9170"/>
                </a:lnTo>
                <a:lnTo>
                  <a:pt x="10791" y="9174"/>
                </a:lnTo>
                <a:lnTo>
                  <a:pt x="10790" y="9180"/>
                </a:lnTo>
                <a:close/>
                <a:moveTo>
                  <a:pt x="7779" y="9934"/>
                </a:moveTo>
                <a:lnTo>
                  <a:pt x="7777" y="9933"/>
                </a:lnTo>
                <a:lnTo>
                  <a:pt x="7779" y="9934"/>
                </a:lnTo>
                <a:lnTo>
                  <a:pt x="7788" y="9925"/>
                </a:lnTo>
                <a:lnTo>
                  <a:pt x="7779" y="9934"/>
                </a:lnTo>
                <a:close/>
                <a:moveTo>
                  <a:pt x="9255" y="9692"/>
                </a:moveTo>
                <a:lnTo>
                  <a:pt x="9259" y="9695"/>
                </a:lnTo>
                <a:lnTo>
                  <a:pt x="9262" y="9695"/>
                </a:lnTo>
                <a:lnTo>
                  <a:pt x="9264" y="9695"/>
                </a:lnTo>
                <a:lnTo>
                  <a:pt x="9266" y="9692"/>
                </a:lnTo>
                <a:lnTo>
                  <a:pt x="9267" y="9689"/>
                </a:lnTo>
                <a:lnTo>
                  <a:pt x="9268" y="9686"/>
                </a:lnTo>
                <a:lnTo>
                  <a:pt x="9268" y="9682"/>
                </a:lnTo>
                <a:lnTo>
                  <a:pt x="9267" y="9677"/>
                </a:lnTo>
                <a:lnTo>
                  <a:pt x="9261" y="9686"/>
                </a:lnTo>
                <a:lnTo>
                  <a:pt x="9255" y="9692"/>
                </a:lnTo>
                <a:close/>
                <a:moveTo>
                  <a:pt x="9309" y="9688"/>
                </a:moveTo>
                <a:lnTo>
                  <a:pt x="9309" y="9692"/>
                </a:lnTo>
                <a:lnTo>
                  <a:pt x="9310" y="9695"/>
                </a:lnTo>
                <a:lnTo>
                  <a:pt x="9312" y="9696"/>
                </a:lnTo>
                <a:lnTo>
                  <a:pt x="9313" y="9695"/>
                </a:lnTo>
                <a:lnTo>
                  <a:pt x="9317" y="9692"/>
                </a:lnTo>
                <a:lnTo>
                  <a:pt x="9322" y="9688"/>
                </a:lnTo>
                <a:lnTo>
                  <a:pt x="9320" y="9686"/>
                </a:lnTo>
                <a:lnTo>
                  <a:pt x="9319" y="9684"/>
                </a:lnTo>
                <a:lnTo>
                  <a:pt x="9318" y="9684"/>
                </a:lnTo>
                <a:lnTo>
                  <a:pt x="9317" y="9683"/>
                </a:lnTo>
                <a:lnTo>
                  <a:pt x="9313" y="9684"/>
                </a:lnTo>
                <a:lnTo>
                  <a:pt x="9309" y="9688"/>
                </a:lnTo>
                <a:close/>
                <a:moveTo>
                  <a:pt x="9425" y="9572"/>
                </a:moveTo>
                <a:lnTo>
                  <a:pt x="9425" y="9574"/>
                </a:lnTo>
                <a:lnTo>
                  <a:pt x="9426" y="9574"/>
                </a:lnTo>
                <a:lnTo>
                  <a:pt x="9429" y="9574"/>
                </a:lnTo>
                <a:lnTo>
                  <a:pt x="9430" y="9572"/>
                </a:lnTo>
                <a:lnTo>
                  <a:pt x="9431" y="9570"/>
                </a:lnTo>
                <a:lnTo>
                  <a:pt x="9432" y="9569"/>
                </a:lnTo>
                <a:lnTo>
                  <a:pt x="9432" y="9566"/>
                </a:lnTo>
                <a:lnTo>
                  <a:pt x="9431" y="9565"/>
                </a:lnTo>
                <a:lnTo>
                  <a:pt x="9427" y="9569"/>
                </a:lnTo>
                <a:lnTo>
                  <a:pt x="9425" y="9572"/>
                </a:lnTo>
                <a:close/>
                <a:moveTo>
                  <a:pt x="9444" y="9627"/>
                </a:moveTo>
                <a:lnTo>
                  <a:pt x="9445" y="9630"/>
                </a:lnTo>
                <a:lnTo>
                  <a:pt x="9447" y="9631"/>
                </a:lnTo>
                <a:lnTo>
                  <a:pt x="9449" y="9631"/>
                </a:lnTo>
                <a:lnTo>
                  <a:pt x="9452" y="9628"/>
                </a:lnTo>
                <a:lnTo>
                  <a:pt x="9449" y="9626"/>
                </a:lnTo>
                <a:lnTo>
                  <a:pt x="9448" y="9625"/>
                </a:lnTo>
                <a:lnTo>
                  <a:pt x="9445" y="9625"/>
                </a:lnTo>
                <a:lnTo>
                  <a:pt x="9444" y="9627"/>
                </a:lnTo>
                <a:close/>
                <a:moveTo>
                  <a:pt x="12992" y="7570"/>
                </a:moveTo>
                <a:lnTo>
                  <a:pt x="12984" y="7584"/>
                </a:lnTo>
                <a:lnTo>
                  <a:pt x="12978" y="7595"/>
                </a:lnTo>
                <a:lnTo>
                  <a:pt x="12978" y="7597"/>
                </a:lnTo>
                <a:lnTo>
                  <a:pt x="12978" y="7595"/>
                </a:lnTo>
                <a:lnTo>
                  <a:pt x="12984" y="7592"/>
                </a:lnTo>
                <a:lnTo>
                  <a:pt x="12989" y="7588"/>
                </a:lnTo>
                <a:lnTo>
                  <a:pt x="12992" y="7584"/>
                </a:lnTo>
                <a:lnTo>
                  <a:pt x="12993" y="7580"/>
                </a:lnTo>
                <a:lnTo>
                  <a:pt x="12993" y="7576"/>
                </a:lnTo>
                <a:lnTo>
                  <a:pt x="12992" y="7570"/>
                </a:lnTo>
                <a:close/>
                <a:moveTo>
                  <a:pt x="12978" y="7595"/>
                </a:moveTo>
                <a:lnTo>
                  <a:pt x="12977" y="7597"/>
                </a:lnTo>
                <a:lnTo>
                  <a:pt x="12978" y="7595"/>
                </a:lnTo>
                <a:close/>
                <a:moveTo>
                  <a:pt x="12867" y="8438"/>
                </a:moveTo>
                <a:lnTo>
                  <a:pt x="12881" y="8433"/>
                </a:lnTo>
                <a:lnTo>
                  <a:pt x="12893" y="8429"/>
                </a:lnTo>
                <a:lnTo>
                  <a:pt x="12900" y="8427"/>
                </a:lnTo>
                <a:lnTo>
                  <a:pt x="12908" y="8424"/>
                </a:lnTo>
                <a:lnTo>
                  <a:pt x="12909" y="8423"/>
                </a:lnTo>
                <a:lnTo>
                  <a:pt x="12908" y="8424"/>
                </a:lnTo>
                <a:lnTo>
                  <a:pt x="12898" y="8423"/>
                </a:lnTo>
                <a:lnTo>
                  <a:pt x="12890" y="8424"/>
                </a:lnTo>
                <a:lnTo>
                  <a:pt x="12881" y="8428"/>
                </a:lnTo>
                <a:lnTo>
                  <a:pt x="12867" y="8438"/>
                </a:lnTo>
                <a:close/>
                <a:moveTo>
                  <a:pt x="12908" y="8424"/>
                </a:moveTo>
                <a:lnTo>
                  <a:pt x="12910" y="8424"/>
                </a:lnTo>
                <a:lnTo>
                  <a:pt x="12908" y="8424"/>
                </a:lnTo>
                <a:close/>
                <a:moveTo>
                  <a:pt x="8675" y="9691"/>
                </a:moveTo>
                <a:lnTo>
                  <a:pt x="8680" y="9692"/>
                </a:lnTo>
                <a:lnTo>
                  <a:pt x="8685" y="9692"/>
                </a:lnTo>
                <a:lnTo>
                  <a:pt x="8689" y="9692"/>
                </a:lnTo>
                <a:lnTo>
                  <a:pt x="8693" y="9691"/>
                </a:lnTo>
                <a:lnTo>
                  <a:pt x="8702" y="9686"/>
                </a:lnTo>
                <a:lnTo>
                  <a:pt x="8708" y="9682"/>
                </a:lnTo>
                <a:lnTo>
                  <a:pt x="8700" y="9681"/>
                </a:lnTo>
                <a:lnTo>
                  <a:pt x="8691" y="9681"/>
                </a:lnTo>
                <a:lnTo>
                  <a:pt x="8687" y="9681"/>
                </a:lnTo>
                <a:lnTo>
                  <a:pt x="8682" y="9683"/>
                </a:lnTo>
                <a:lnTo>
                  <a:pt x="8679" y="9686"/>
                </a:lnTo>
                <a:lnTo>
                  <a:pt x="8675" y="9691"/>
                </a:lnTo>
                <a:close/>
                <a:moveTo>
                  <a:pt x="12991" y="6861"/>
                </a:moveTo>
                <a:lnTo>
                  <a:pt x="12989" y="6865"/>
                </a:lnTo>
                <a:lnTo>
                  <a:pt x="12989" y="6867"/>
                </a:lnTo>
                <a:lnTo>
                  <a:pt x="12992" y="6869"/>
                </a:lnTo>
                <a:lnTo>
                  <a:pt x="12993" y="6867"/>
                </a:lnTo>
                <a:lnTo>
                  <a:pt x="12996" y="6866"/>
                </a:lnTo>
                <a:lnTo>
                  <a:pt x="12997" y="6865"/>
                </a:lnTo>
                <a:lnTo>
                  <a:pt x="12997" y="6862"/>
                </a:lnTo>
                <a:lnTo>
                  <a:pt x="12996" y="6858"/>
                </a:lnTo>
                <a:lnTo>
                  <a:pt x="12993" y="6860"/>
                </a:lnTo>
                <a:lnTo>
                  <a:pt x="12991" y="6861"/>
                </a:lnTo>
                <a:close/>
                <a:moveTo>
                  <a:pt x="12169" y="7758"/>
                </a:moveTo>
                <a:lnTo>
                  <a:pt x="12171" y="7757"/>
                </a:lnTo>
                <a:lnTo>
                  <a:pt x="12171" y="7756"/>
                </a:lnTo>
                <a:lnTo>
                  <a:pt x="12169" y="7755"/>
                </a:lnTo>
                <a:lnTo>
                  <a:pt x="12168" y="7753"/>
                </a:lnTo>
                <a:lnTo>
                  <a:pt x="12163" y="7752"/>
                </a:lnTo>
                <a:lnTo>
                  <a:pt x="12159" y="7750"/>
                </a:lnTo>
                <a:lnTo>
                  <a:pt x="12158" y="7752"/>
                </a:lnTo>
                <a:lnTo>
                  <a:pt x="12157" y="7753"/>
                </a:lnTo>
                <a:lnTo>
                  <a:pt x="12158" y="7755"/>
                </a:lnTo>
                <a:lnTo>
                  <a:pt x="12159" y="7756"/>
                </a:lnTo>
                <a:lnTo>
                  <a:pt x="12164" y="7757"/>
                </a:lnTo>
                <a:lnTo>
                  <a:pt x="12169" y="7758"/>
                </a:lnTo>
                <a:close/>
                <a:moveTo>
                  <a:pt x="12843" y="6867"/>
                </a:moveTo>
                <a:lnTo>
                  <a:pt x="12848" y="6865"/>
                </a:lnTo>
                <a:lnTo>
                  <a:pt x="12851" y="6862"/>
                </a:lnTo>
                <a:lnTo>
                  <a:pt x="12849" y="6860"/>
                </a:lnTo>
                <a:lnTo>
                  <a:pt x="12844" y="6857"/>
                </a:lnTo>
                <a:lnTo>
                  <a:pt x="12843" y="6857"/>
                </a:lnTo>
                <a:lnTo>
                  <a:pt x="12842" y="6858"/>
                </a:lnTo>
                <a:lnTo>
                  <a:pt x="12840" y="6860"/>
                </a:lnTo>
                <a:lnTo>
                  <a:pt x="12840" y="6861"/>
                </a:lnTo>
                <a:lnTo>
                  <a:pt x="12842" y="6864"/>
                </a:lnTo>
                <a:lnTo>
                  <a:pt x="12843" y="6867"/>
                </a:lnTo>
                <a:close/>
                <a:moveTo>
                  <a:pt x="9014" y="9507"/>
                </a:moveTo>
                <a:lnTo>
                  <a:pt x="9012" y="9509"/>
                </a:lnTo>
                <a:lnTo>
                  <a:pt x="9014" y="9509"/>
                </a:lnTo>
                <a:lnTo>
                  <a:pt x="9015" y="9507"/>
                </a:lnTo>
                <a:lnTo>
                  <a:pt x="9014" y="9507"/>
                </a:lnTo>
                <a:close/>
                <a:moveTo>
                  <a:pt x="13000" y="7490"/>
                </a:moveTo>
                <a:lnTo>
                  <a:pt x="13003" y="7494"/>
                </a:lnTo>
                <a:lnTo>
                  <a:pt x="13007" y="7496"/>
                </a:lnTo>
                <a:lnTo>
                  <a:pt x="13011" y="7495"/>
                </a:lnTo>
                <a:lnTo>
                  <a:pt x="13016" y="7494"/>
                </a:lnTo>
                <a:lnTo>
                  <a:pt x="13012" y="7489"/>
                </a:lnTo>
                <a:lnTo>
                  <a:pt x="13008" y="7487"/>
                </a:lnTo>
                <a:lnTo>
                  <a:pt x="13005" y="7489"/>
                </a:lnTo>
                <a:lnTo>
                  <a:pt x="13000" y="7490"/>
                </a:lnTo>
                <a:close/>
                <a:moveTo>
                  <a:pt x="9226" y="9689"/>
                </a:moveTo>
                <a:lnTo>
                  <a:pt x="9224" y="9696"/>
                </a:lnTo>
                <a:lnTo>
                  <a:pt x="9224" y="9701"/>
                </a:lnTo>
                <a:lnTo>
                  <a:pt x="9225" y="9703"/>
                </a:lnTo>
                <a:lnTo>
                  <a:pt x="9226" y="9703"/>
                </a:lnTo>
                <a:lnTo>
                  <a:pt x="9230" y="9702"/>
                </a:lnTo>
                <a:lnTo>
                  <a:pt x="9233" y="9701"/>
                </a:lnTo>
                <a:lnTo>
                  <a:pt x="9235" y="9696"/>
                </a:lnTo>
                <a:lnTo>
                  <a:pt x="9235" y="9692"/>
                </a:lnTo>
                <a:lnTo>
                  <a:pt x="9231" y="9689"/>
                </a:lnTo>
                <a:lnTo>
                  <a:pt x="9226" y="9689"/>
                </a:lnTo>
                <a:close/>
                <a:moveTo>
                  <a:pt x="12341" y="8672"/>
                </a:moveTo>
                <a:lnTo>
                  <a:pt x="12344" y="8676"/>
                </a:lnTo>
                <a:lnTo>
                  <a:pt x="12346" y="8677"/>
                </a:lnTo>
                <a:lnTo>
                  <a:pt x="12348" y="8679"/>
                </a:lnTo>
                <a:lnTo>
                  <a:pt x="12350" y="8679"/>
                </a:lnTo>
                <a:lnTo>
                  <a:pt x="12354" y="8675"/>
                </a:lnTo>
                <a:lnTo>
                  <a:pt x="12359" y="8671"/>
                </a:lnTo>
                <a:lnTo>
                  <a:pt x="12354" y="8667"/>
                </a:lnTo>
                <a:lnTo>
                  <a:pt x="12350" y="8667"/>
                </a:lnTo>
                <a:lnTo>
                  <a:pt x="12346" y="8669"/>
                </a:lnTo>
                <a:lnTo>
                  <a:pt x="12341" y="8672"/>
                </a:lnTo>
                <a:close/>
                <a:moveTo>
                  <a:pt x="9798" y="9519"/>
                </a:moveTo>
                <a:lnTo>
                  <a:pt x="9785" y="9530"/>
                </a:lnTo>
                <a:lnTo>
                  <a:pt x="9767" y="9546"/>
                </a:lnTo>
                <a:lnTo>
                  <a:pt x="9776" y="9544"/>
                </a:lnTo>
                <a:lnTo>
                  <a:pt x="9784" y="9543"/>
                </a:lnTo>
                <a:lnTo>
                  <a:pt x="9788" y="9539"/>
                </a:lnTo>
                <a:lnTo>
                  <a:pt x="9792" y="9537"/>
                </a:lnTo>
                <a:lnTo>
                  <a:pt x="9795" y="9528"/>
                </a:lnTo>
                <a:lnTo>
                  <a:pt x="9798" y="9519"/>
                </a:lnTo>
                <a:close/>
                <a:moveTo>
                  <a:pt x="9799" y="9518"/>
                </a:moveTo>
                <a:lnTo>
                  <a:pt x="9799" y="9518"/>
                </a:lnTo>
                <a:lnTo>
                  <a:pt x="9799" y="9518"/>
                </a:lnTo>
                <a:lnTo>
                  <a:pt x="9799" y="9519"/>
                </a:lnTo>
                <a:lnTo>
                  <a:pt x="9799" y="9518"/>
                </a:lnTo>
                <a:close/>
                <a:moveTo>
                  <a:pt x="6693" y="10384"/>
                </a:moveTo>
                <a:lnTo>
                  <a:pt x="6679" y="10429"/>
                </a:lnTo>
                <a:lnTo>
                  <a:pt x="6698" y="10462"/>
                </a:lnTo>
                <a:lnTo>
                  <a:pt x="6739" y="10482"/>
                </a:lnTo>
                <a:lnTo>
                  <a:pt x="6793" y="10491"/>
                </a:lnTo>
                <a:lnTo>
                  <a:pt x="6845" y="10486"/>
                </a:lnTo>
                <a:lnTo>
                  <a:pt x="6884" y="10467"/>
                </a:lnTo>
                <a:lnTo>
                  <a:pt x="6902" y="10434"/>
                </a:lnTo>
                <a:lnTo>
                  <a:pt x="6885" y="10386"/>
                </a:lnTo>
                <a:lnTo>
                  <a:pt x="6863" y="10377"/>
                </a:lnTo>
                <a:lnTo>
                  <a:pt x="6836" y="10370"/>
                </a:lnTo>
                <a:lnTo>
                  <a:pt x="6805" y="10367"/>
                </a:lnTo>
                <a:lnTo>
                  <a:pt x="6776" y="10364"/>
                </a:lnTo>
                <a:lnTo>
                  <a:pt x="6748" y="10364"/>
                </a:lnTo>
                <a:lnTo>
                  <a:pt x="6724" y="10367"/>
                </a:lnTo>
                <a:lnTo>
                  <a:pt x="6705" y="10373"/>
                </a:lnTo>
                <a:lnTo>
                  <a:pt x="6693" y="10384"/>
                </a:lnTo>
                <a:close/>
                <a:moveTo>
                  <a:pt x="8872" y="9717"/>
                </a:moveTo>
                <a:lnTo>
                  <a:pt x="8879" y="9716"/>
                </a:lnTo>
                <a:lnTo>
                  <a:pt x="8884" y="9716"/>
                </a:lnTo>
                <a:lnTo>
                  <a:pt x="8886" y="9715"/>
                </a:lnTo>
                <a:lnTo>
                  <a:pt x="8890" y="9712"/>
                </a:lnTo>
                <a:lnTo>
                  <a:pt x="8894" y="9706"/>
                </a:lnTo>
                <a:lnTo>
                  <a:pt x="8896" y="9693"/>
                </a:lnTo>
                <a:lnTo>
                  <a:pt x="8887" y="9696"/>
                </a:lnTo>
                <a:lnTo>
                  <a:pt x="8880" y="9701"/>
                </a:lnTo>
                <a:lnTo>
                  <a:pt x="8877" y="9705"/>
                </a:lnTo>
                <a:lnTo>
                  <a:pt x="8875" y="9709"/>
                </a:lnTo>
                <a:lnTo>
                  <a:pt x="8872" y="9712"/>
                </a:lnTo>
                <a:lnTo>
                  <a:pt x="8872" y="9717"/>
                </a:lnTo>
                <a:close/>
                <a:moveTo>
                  <a:pt x="9183" y="9745"/>
                </a:moveTo>
                <a:lnTo>
                  <a:pt x="9185" y="9751"/>
                </a:lnTo>
                <a:lnTo>
                  <a:pt x="9187" y="9754"/>
                </a:lnTo>
                <a:lnTo>
                  <a:pt x="9194" y="9752"/>
                </a:lnTo>
                <a:lnTo>
                  <a:pt x="9199" y="9749"/>
                </a:lnTo>
                <a:lnTo>
                  <a:pt x="9201" y="9745"/>
                </a:lnTo>
                <a:lnTo>
                  <a:pt x="9199" y="9743"/>
                </a:lnTo>
                <a:lnTo>
                  <a:pt x="9197" y="9740"/>
                </a:lnTo>
                <a:lnTo>
                  <a:pt x="9193" y="9739"/>
                </a:lnTo>
                <a:lnTo>
                  <a:pt x="9188" y="9740"/>
                </a:lnTo>
                <a:lnTo>
                  <a:pt x="9183" y="9745"/>
                </a:lnTo>
                <a:close/>
                <a:moveTo>
                  <a:pt x="10502" y="9282"/>
                </a:moveTo>
                <a:lnTo>
                  <a:pt x="10502" y="9287"/>
                </a:lnTo>
                <a:lnTo>
                  <a:pt x="10504" y="9290"/>
                </a:lnTo>
                <a:lnTo>
                  <a:pt x="10506" y="9291"/>
                </a:lnTo>
                <a:lnTo>
                  <a:pt x="10509" y="9291"/>
                </a:lnTo>
                <a:lnTo>
                  <a:pt x="10516" y="9288"/>
                </a:lnTo>
                <a:lnTo>
                  <a:pt x="10525" y="9286"/>
                </a:lnTo>
                <a:lnTo>
                  <a:pt x="10524" y="9280"/>
                </a:lnTo>
                <a:lnTo>
                  <a:pt x="10521" y="9274"/>
                </a:lnTo>
                <a:lnTo>
                  <a:pt x="10519" y="9273"/>
                </a:lnTo>
                <a:lnTo>
                  <a:pt x="10516" y="9273"/>
                </a:lnTo>
                <a:lnTo>
                  <a:pt x="10510" y="9276"/>
                </a:lnTo>
                <a:lnTo>
                  <a:pt x="10502" y="9282"/>
                </a:lnTo>
                <a:close/>
                <a:moveTo>
                  <a:pt x="12838" y="7594"/>
                </a:moveTo>
                <a:lnTo>
                  <a:pt x="12845" y="7594"/>
                </a:lnTo>
                <a:lnTo>
                  <a:pt x="12852" y="7593"/>
                </a:lnTo>
                <a:lnTo>
                  <a:pt x="12853" y="7592"/>
                </a:lnTo>
                <a:lnTo>
                  <a:pt x="12856" y="7589"/>
                </a:lnTo>
                <a:lnTo>
                  <a:pt x="12857" y="7585"/>
                </a:lnTo>
                <a:lnTo>
                  <a:pt x="12857" y="7581"/>
                </a:lnTo>
                <a:lnTo>
                  <a:pt x="12851" y="7583"/>
                </a:lnTo>
                <a:lnTo>
                  <a:pt x="12844" y="7584"/>
                </a:lnTo>
                <a:lnTo>
                  <a:pt x="12842" y="7585"/>
                </a:lnTo>
                <a:lnTo>
                  <a:pt x="12840" y="7588"/>
                </a:lnTo>
                <a:lnTo>
                  <a:pt x="12839" y="7590"/>
                </a:lnTo>
                <a:lnTo>
                  <a:pt x="12838" y="7594"/>
                </a:lnTo>
                <a:close/>
                <a:moveTo>
                  <a:pt x="13233" y="7014"/>
                </a:moveTo>
                <a:lnTo>
                  <a:pt x="13239" y="7014"/>
                </a:lnTo>
                <a:lnTo>
                  <a:pt x="13244" y="7011"/>
                </a:lnTo>
                <a:lnTo>
                  <a:pt x="13247" y="7010"/>
                </a:lnTo>
                <a:lnTo>
                  <a:pt x="13247" y="7009"/>
                </a:lnTo>
                <a:lnTo>
                  <a:pt x="13245" y="7006"/>
                </a:lnTo>
                <a:lnTo>
                  <a:pt x="13243" y="7004"/>
                </a:lnTo>
                <a:lnTo>
                  <a:pt x="13239" y="7004"/>
                </a:lnTo>
                <a:lnTo>
                  <a:pt x="13235" y="7004"/>
                </a:lnTo>
                <a:lnTo>
                  <a:pt x="13233" y="7004"/>
                </a:lnTo>
                <a:lnTo>
                  <a:pt x="13230" y="7005"/>
                </a:lnTo>
                <a:lnTo>
                  <a:pt x="13229" y="7007"/>
                </a:lnTo>
                <a:lnTo>
                  <a:pt x="13229" y="7009"/>
                </a:lnTo>
                <a:lnTo>
                  <a:pt x="13230" y="7011"/>
                </a:lnTo>
                <a:lnTo>
                  <a:pt x="13233" y="7014"/>
                </a:lnTo>
                <a:close/>
                <a:moveTo>
                  <a:pt x="12912" y="8424"/>
                </a:moveTo>
                <a:lnTo>
                  <a:pt x="12912" y="8423"/>
                </a:lnTo>
                <a:lnTo>
                  <a:pt x="12910" y="8423"/>
                </a:lnTo>
                <a:lnTo>
                  <a:pt x="12912" y="8424"/>
                </a:lnTo>
                <a:close/>
                <a:moveTo>
                  <a:pt x="12913" y="8423"/>
                </a:moveTo>
                <a:lnTo>
                  <a:pt x="12919" y="8425"/>
                </a:lnTo>
                <a:lnTo>
                  <a:pt x="12927" y="8425"/>
                </a:lnTo>
                <a:lnTo>
                  <a:pt x="12935" y="8425"/>
                </a:lnTo>
                <a:lnTo>
                  <a:pt x="12941" y="8425"/>
                </a:lnTo>
                <a:lnTo>
                  <a:pt x="12949" y="8424"/>
                </a:lnTo>
                <a:lnTo>
                  <a:pt x="12955" y="8422"/>
                </a:lnTo>
                <a:lnTo>
                  <a:pt x="12961" y="8418"/>
                </a:lnTo>
                <a:lnTo>
                  <a:pt x="12968" y="8413"/>
                </a:lnTo>
                <a:lnTo>
                  <a:pt x="12969" y="8413"/>
                </a:lnTo>
                <a:lnTo>
                  <a:pt x="12972" y="8411"/>
                </a:lnTo>
                <a:lnTo>
                  <a:pt x="12969" y="8411"/>
                </a:lnTo>
                <a:lnTo>
                  <a:pt x="12968" y="8413"/>
                </a:lnTo>
                <a:lnTo>
                  <a:pt x="12960" y="8411"/>
                </a:lnTo>
                <a:lnTo>
                  <a:pt x="12954" y="8410"/>
                </a:lnTo>
                <a:lnTo>
                  <a:pt x="12946" y="8411"/>
                </a:lnTo>
                <a:lnTo>
                  <a:pt x="12940" y="8411"/>
                </a:lnTo>
                <a:lnTo>
                  <a:pt x="12932" y="8414"/>
                </a:lnTo>
                <a:lnTo>
                  <a:pt x="12926" y="8417"/>
                </a:lnTo>
                <a:lnTo>
                  <a:pt x="12919" y="8419"/>
                </a:lnTo>
                <a:lnTo>
                  <a:pt x="12913" y="8423"/>
                </a:lnTo>
                <a:close/>
                <a:moveTo>
                  <a:pt x="12293" y="7680"/>
                </a:moveTo>
                <a:lnTo>
                  <a:pt x="12288" y="7681"/>
                </a:lnTo>
                <a:lnTo>
                  <a:pt x="12285" y="7682"/>
                </a:lnTo>
                <a:lnTo>
                  <a:pt x="12283" y="7683"/>
                </a:lnTo>
                <a:lnTo>
                  <a:pt x="12281" y="7686"/>
                </a:lnTo>
                <a:lnTo>
                  <a:pt x="12281" y="7688"/>
                </a:lnTo>
                <a:lnTo>
                  <a:pt x="12283" y="7691"/>
                </a:lnTo>
                <a:lnTo>
                  <a:pt x="12284" y="7694"/>
                </a:lnTo>
                <a:lnTo>
                  <a:pt x="12286" y="7697"/>
                </a:lnTo>
                <a:lnTo>
                  <a:pt x="12290" y="7696"/>
                </a:lnTo>
                <a:lnTo>
                  <a:pt x="12293" y="7695"/>
                </a:lnTo>
                <a:lnTo>
                  <a:pt x="12295" y="7692"/>
                </a:lnTo>
                <a:lnTo>
                  <a:pt x="12295" y="7691"/>
                </a:lnTo>
                <a:lnTo>
                  <a:pt x="12294" y="7686"/>
                </a:lnTo>
                <a:lnTo>
                  <a:pt x="12293" y="7680"/>
                </a:lnTo>
                <a:close/>
                <a:moveTo>
                  <a:pt x="8000" y="9707"/>
                </a:moveTo>
                <a:lnTo>
                  <a:pt x="8001" y="9707"/>
                </a:lnTo>
                <a:lnTo>
                  <a:pt x="8000" y="9707"/>
                </a:lnTo>
                <a:close/>
                <a:moveTo>
                  <a:pt x="9981" y="9442"/>
                </a:moveTo>
                <a:lnTo>
                  <a:pt x="9983" y="9450"/>
                </a:lnTo>
                <a:lnTo>
                  <a:pt x="9985" y="9453"/>
                </a:lnTo>
                <a:lnTo>
                  <a:pt x="9992" y="9450"/>
                </a:lnTo>
                <a:lnTo>
                  <a:pt x="9998" y="9446"/>
                </a:lnTo>
                <a:lnTo>
                  <a:pt x="10003" y="9440"/>
                </a:lnTo>
                <a:lnTo>
                  <a:pt x="10007" y="9434"/>
                </a:lnTo>
                <a:lnTo>
                  <a:pt x="10006" y="9427"/>
                </a:lnTo>
                <a:lnTo>
                  <a:pt x="10000" y="9423"/>
                </a:lnTo>
                <a:lnTo>
                  <a:pt x="9990" y="9432"/>
                </a:lnTo>
                <a:lnTo>
                  <a:pt x="9981" y="9442"/>
                </a:lnTo>
                <a:close/>
                <a:moveTo>
                  <a:pt x="8328" y="9849"/>
                </a:moveTo>
                <a:lnTo>
                  <a:pt x="8335" y="9846"/>
                </a:lnTo>
                <a:lnTo>
                  <a:pt x="8340" y="9843"/>
                </a:lnTo>
                <a:lnTo>
                  <a:pt x="8342" y="9841"/>
                </a:lnTo>
                <a:lnTo>
                  <a:pt x="8345" y="9838"/>
                </a:lnTo>
                <a:lnTo>
                  <a:pt x="8345" y="9835"/>
                </a:lnTo>
                <a:lnTo>
                  <a:pt x="8345" y="9831"/>
                </a:lnTo>
                <a:lnTo>
                  <a:pt x="8344" y="9826"/>
                </a:lnTo>
                <a:lnTo>
                  <a:pt x="8341" y="9818"/>
                </a:lnTo>
                <a:lnTo>
                  <a:pt x="8336" y="9832"/>
                </a:lnTo>
                <a:lnTo>
                  <a:pt x="8328" y="9849"/>
                </a:lnTo>
                <a:close/>
                <a:moveTo>
                  <a:pt x="11518" y="7808"/>
                </a:moveTo>
                <a:lnTo>
                  <a:pt x="11513" y="7806"/>
                </a:lnTo>
                <a:lnTo>
                  <a:pt x="11510" y="7803"/>
                </a:lnTo>
                <a:lnTo>
                  <a:pt x="11504" y="7802"/>
                </a:lnTo>
                <a:lnTo>
                  <a:pt x="11501" y="7803"/>
                </a:lnTo>
                <a:lnTo>
                  <a:pt x="11490" y="7804"/>
                </a:lnTo>
                <a:lnTo>
                  <a:pt x="11482" y="7809"/>
                </a:lnTo>
                <a:lnTo>
                  <a:pt x="11485" y="7812"/>
                </a:lnTo>
                <a:lnTo>
                  <a:pt x="11489" y="7814"/>
                </a:lnTo>
                <a:lnTo>
                  <a:pt x="11492" y="7814"/>
                </a:lnTo>
                <a:lnTo>
                  <a:pt x="11494" y="7816"/>
                </a:lnTo>
                <a:lnTo>
                  <a:pt x="11503" y="7813"/>
                </a:lnTo>
                <a:lnTo>
                  <a:pt x="11518" y="7808"/>
                </a:lnTo>
                <a:close/>
                <a:moveTo>
                  <a:pt x="9795" y="9486"/>
                </a:moveTo>
                <a:lnTo>
                  <a:pt x="9794" y="9487"/>
                </a:lnTo>
                <a:lnTo>
                  <a:pt x="9793" y="9491"/>
                </a:lnTo>
                <a:lnTo>
                  <a:pt x="9792" y="9496"/>
                </a:lnTo>
                <a:lnTo>
                  <a:pt x="9792" y="9500"/>
                </a:lnTo>
                <a:lnTo>
                  <a:pt x="9794" y="9510"/>
                </a:lnTo>
                <a:lnTo>
                  <a:pt x="9801" y="9513"/>
                </a:lnTo>
                <a:lnTo>
                  <a:pt x="9806" y="9509"/>
                </a:lnTo>
                <a:lnTo>
                  <a:pt x="9811" y="9502"/>
                </a:lnTo>
                <a:lnTo>
                  <a:pt x="9813" y="9495"/>
                </a:lnTo>
                <a:lnTo>
                  <a:pt x="9813" y="9487"/>
                </a:lnTo>
                <a:lnTo>
                  <a:pt x="9808" y="9483"/>
                </a:lnTo>
                <a:lnTo>
                  <a:pt x="9795" y="9486"/>
                </a:lnTo>
                <a:close/>
                <a:moveTo>
                  <a:pt x="8196" y="9842"/>
                </a:moveTo>
                <a:lnTo>
                  <a:pt x="8191" y="9846"/>
                </a:lnTo>
                <a:lnTo>
                  <a:pt x="8187" y="9849"/>
                </a:lnTo>
                <a:lnTo>
                  <a:pt x="8186" y="9854"/>
                </a:lnTo>
                <a:lnTo>
                  <a:pt x="8184" y="9857"/>
                </a:lnTo>
                <a:lnTo>
                  <a:pt x="8183" y="9861"/>
                </a:lnTo>
                <a:lnTo>
                  <a:pt x="8184" y="9865"/>
                </a:lnTo>
                <a:lnTo>
                  <a:pt x="8186" y="9870"/>
                </a:lnTo>
                <a:lnTo>
                  <a:pt x="8188" y="9874"/>
                </a:lnTo>
                <a:lnTo>
                  <a:pt x="8198" y="9868"/>
                </a:lnTo>
                <a:lnTo>
                  <a:pt x="8205" y="9860"/>
                </a:lnTo>
                <a:lnTo>
                  <a:pt x="8209" y="9855"/>
                </a:lnTo>
                <a:lnTo>
                  <a:pt x="8210" y="9850"/>
                </a:lnTo>
                <a:lnTo>
                  <a:pt x="8210" y="9846"/>
                </a:lnTo>
                <a:lnTo>
                  <a:pt x="8207" y="9843"/>
                </a:lnTo>
                <a:lnTo>
                  <a:pt x="8202" y="9842"/>
                </a:lnTo>
                <a:lnTo>
                  <a:pt x="8196" y="9842"/>
                </a:lnTo>
                <a:close/>
                <a:moveTo>
                  <a:pt x="9855" y="9482"/>
                </a:moveTo>
                <a:lnTo>
                  <a:pt x="9869" y="9477"/>
                </a:lnTo>
                <a:lnTo>
                  <a:pt x="9879" y="9473"/>
                </a:lnTo>
                <a:lnTo>
                  <a:pt x="9887" y="9469"/>
                </a:lnTo>
                <a:lnTo>
                  <a:pt x="9891" y="9465"/>
                </a:lnTo>
                <a:lnTo>
                  <a:pt x="9894" y="9460"/>
                </a:lnTo>
                <a:lnTo>
                  <a:pt x="9895" y="9455"/>
                </a:lnTo>
                <a:lnTo>
                  <a:pt x="9895" y="9448"/>
                </a:lnTo>
                <a:lnTo>
                  <a:pt x="9894" y="9437"/>
                </a:lnTo>
                <a:lnTo>
                  <a:pt x="9887" y="9440"/>
                </a:lnTo>
                <a:lnTo>
                  <a:pt x="9882" y="9445"/>
                </a:lnTo>
                <a:lnTo>
                  <a:pt x="9878" y="9449"/>
                </a:lnTo>
                <a:lnTo>
                  <a:pt x="9874" y="9454"/>
                </a:lnTo>
                <a:lnTo>
                  <a:pt x="9867" y="9467"/>
                </a:lnTo>
                <a:lnTo>
                  <a:pt x="9855" y="9482"/>
                </a:lnTo>
                <a:close/>
                <a:moveTo>
                  <a:pt x="9351" y="9647"/>
                </a:moveTo>
                <a:lnTo>
                  <a:pt x="9351" y="9655"/>
                </a:lnTo>
                <a:lnTo>
                  <a:pt x="9352" y="9660"/>
                </a:lnTo>
                <a:lnTo>
                  <a:pt x="9354" y="9663"/>
                </a:lnTo>
                <a:lnTo>
                  <a:pt x="9356" y="9664"/>
                </a:lnTo>
                <a:lnTo>
                  <a:pt x="9360" y="9665"/>
                </a:lnTo>
                <a:lnTo>
                  <a:pt x="9365" y="9664"/>
                </a:lnTo>
                <a:lnTo>
                  <a:pt x="9370" y="9661"/>
                </a:lnTo>
                <a:lnTo>
                  <a:pt x="9376" y="9659"/>
                </a:lnTo>
                <a:lnTo>
                  <a:pt x="9376" y="9653"/>
                </a:lnTo>
                <a:lnTo>
                  <a:pt x="9374" y="9647"/>
                </a:lnTo>
                <a:lnTo>
                  <a:pt x="9371" y="9642"/>
                </a:lnTo>
                <a:lnTo>
                  <a:pt x="9368" y="9640"/>
                </a:lnTo>
                <a:lnTo>
                  <a:pt x="9364" y="9639"/>
                </a:lnTo>
                <a:lnTo>
                  <a:pt x="9360" y="9639"/>
                </a:lnTo>
                <a:lnTo>
                  <a:pt x="9355" y="9642"/>
                </a:lnTo>
                <a:lnTo>
                  <a:pt x="9351" y="9647"/>
                </a:lnTo>
                <a:close/>
                <a:moveTo>
                  <a:pt x="7991" y="9931"/>
                </a:moveTo>
                <a:lnTo>
                  <a:pt x="8001" y="9931"/>
                </a:lnTo>
                <a:lnTo>
                  <a:pt x="8013" y="9929"/>
                </a:lnTo>
                <a:lnTo>
                  <a:pt x="8021" y="9925"/>
                </a:lnTo>
                <a:lnTo>
                  <a:pt x="8029" y="9921"/>
                </a:lnTo>
                <a:lnTo>
                  <a:pt x="8035" y="9915"/>
                </a:lnTo>
                <a:lnTo>
                  <a:pt x="8037" y="9907"/>
                </a:lnTo>
                <a:lnTo>
                  <a:pt x="8037" y="9899"/>
                </a:lnTo>
                <a:lnTo>
                  <a:pt x="8030" y="9891"/>
                </a:lnTo>
                <a:lnTo>
                  <a:pt x="8020" y="9901"/>
                </a:lnTo>
                <a:lnTo>
                  <a:pt x="8010" y="9911"/>
                </a:lnTo>
                <a:lnTo>
                  <a:pt x="8001" y="9921"/>
                </a:lnTo>
                <a:lnTo>
                  <a:pt x="7991" y="9931"/>
                </a:lnTo>
                <a:close/>
                <a:moveTo>
                  <a:pt x="8135" y="9846"/>
                </a:moveTo>
                <a:lnTo>
                  <a:pt x="8128" y="9852"/>
                </a:lnTo>
                <a:lnTo>
                  <a:pt x="8123" y="9859"/>
                </a:lnTo>
                <a:lnTo>
                  <a:pt x="8122" y="9863"/>
                </a:lnTo>
                <a:lnTo>
                  <a:pt x="8121" y="9865"/>
                </a:lnTo>
                <a:lnTo>
                  <a:pt x="8122" y="9869"/>
                </a:lnTo>
                <a:lnTo>
                  <a:pt x="8125" y="9873"/>
                </a:lnTo>
                <a:lnTo>
                  <a:pt x="8132" y="9875"/>
                </a:lnTo>
                <a:lnTo>
                  <a:pt x="8139" y="9874"/>
                </a:lnTo>
                <a:lnTo>
                  <a:pt x="8145" y="9868"/>
                </a:lnTo>
                <a:lnTo>
                  <a:pt x="8150" y="9861"/>
                </a:lnTo>
                <a:lnTo>
                  <a:pt x="8151" y="9854"/>
                </a:lnTo>
                <a:lnTo>
                  <a:pt x="8150" y="9847"/>
                </a:lnTo>
                <a:lnTo>
                  <a:pt x="8145" y="9845"/>
                </a:lnTo>
                <a:lnTo>
                  <a:pt x="8135" y="9846"/>
                </a:lnTo>
                <a:close/>
                <a:moveTo>
                  <a:pt x="7736" y="9856"/>
                </a:moveTo>
                <a:lnTo>
                  <a:pt x="7736" y="9856"/>
                </a:lnTo>
                <a:lnTo>
                  <a:pt x="7736" y="9856"/>
                </a:lnTo>
                <a:lnTo>
                  <a:pt x="7736" y="9856"/>
                </a:lnTo>
                <a:lnTo>
                  <a:pt x="7736" y="9856"/>
                </a:lnTo>
                <a:close/>
                <a:moveTo>
                  <a:pt x="7858" y="9943"/>
                </a:moveTo>
                <a:lnTo>
                  <a:pt x="7853" y="9952"/>
                </a:lnTo>
                <a:lnTo>
                  <a:pt x="7855" y="9958"/>
                </a:lnTo>
                <a:lnTo>
                  <a:pt x="7860" y="9962"/>
                </a:lnTo>
                <a:lnTo>
                  <a:pt x="7867" y="9961"/>
                </a:lnTo>
                <a:lnTo>
                  <a:pt x="7876" y="9958"/>
                </a:lnTo>
                <a:lnTo>
                  <a:pt x="7885" y="9952"/>
                </a:lnTo>
                <a:lnTo>
                  <a:pt x="7892" y="9943"/>
                </a:lnTo>
                <a:lnTo>
                  <a:pt x="7894" y="9933"/>
                </a:lnTo>
                <a:lnTo>
                  <a:pt x="7889" y="9930"/>
                </a:lnTo>
                <a:lnTo>
                  <a:pt x="7884" y="9929"/>
                </a:lnTo>
                <a:lnTo>
                  <a:pt x="7879" y="9930"/>
                </a:lnTo>
                <a:lnTo>
                  <a:pt x="7875" y="9931"/>
                </a:lnTo>
                <a:lnTo>
                  <a:pt x="7866" y="9936"/>
                </a:lnTo>
                <a:lnTo>
                  <a:pt x="7858" y="9943"/>
                </a:lnTo>
                <a:close/>
                <a:moveTo>
                  <a:pt x="9310" y="9619"/>
                </a:moveTo>
                <a:lnTo>
                  <a:pt x="9320" y="9618"/>
                </a:lnTo>
                <a:lnTo>
                  <a:pt x="9328" y="9617"/>
                </a:lnTo>
                <a:lnTo>
                  <a:pt x="9334" y="9614"/>
                </a:lnTo>
                <a:lnTo>
                  <a:pt x="9340" y="9611"/>
                </a:lnTo>
                <a:lnTo>
                  <a:pt x="9347" y="9602"/>
                </a:lnTo>
                <a:lnTo>
                  <a:pt x="9355" y="9591"/>
                </a:lnTo>
                <a:lnTo>
                  <a:pt x="9346" y="9586"/>
                </a:lnTo>
                <a:lnTo>
                  <a:pt x="9340" y="9585"/>
                </a:lnTo>
                <a:lnTo>
                  <a:pt x="9333" y="9586"/>
                </a:lnTo>
                <a:lnTo>
                  <a:pt x="9328" y="9590"/>
                </a:lnTo>
                <a:lnTo>
                  <a:pt x="9319" y="9603"/>
                </a:lnTo>
                <a:lnTo>
                  <a:pt x="9310" y="9619"/>
                </a:lnTo>
                <a:close/>
                <a:moveTo>
                  <a:pt x="8791" y="9731"/>
                </a:moveTo>
                <a:lnTo>
                  <a:pt x="8793" y="9740"/>
                </a:lnTo>
                <a:lnTo>
                  <a:pt x="8798" y="9744"/>
                </a:lnTo>
                <a:lnTo>
                  <a:pt x="8807" y="9744"/>
                </a:lnTo>
                <a:lnTo>
                  <a:pt x="8816" y="9740"/>
                </a:lnTo>
                <a:lnTo>
                  <a:pt x="8825" y="9735"/>
                </a:lnTo>
                <a:lnTo>
                  <a:pt x="8833" y="9726"/>
                </a:lnTo>
                <a:lnTo>
                  <a:pt x="8838" y="9717"/>
                </a:lnTo>
                <a:lnTo>
                  <a:pt x="8838" y="9707"/>
                </a:lnTo>
                <a:lnTo>
                  <a:pt x="8830" y="9707"/>
                </a:lnTo>
                <a:lnTo>
                  <a:pt x="8821" y="9709"/>
                </a:lnTo>
                <a:lnTo>
                  <a:pt x="8815" y="9711"/>
                </a:lnTo>
                <a:lnTo>
                  <a:pt x="8808" y="9714"/>
                </a:lnTo>
                <a:lnTo>
                  <a:pt x="8800" y="9721"/>
                </a:lnTo>
                <a:lnTo>
                  <a:pt x="8791" y="9731"/>
                </a:lnTo>
                <a:close/>
                <a:moveTo>
                  <a:pt x="11473" y="7746"/>
                </a:moveTo>
                <a:lnTo>
                  <a:pt x="11451" y="7755"/>
                </a:lnTo>
                <a:lnTo>
                  <a:pt x="11428" y="7765"/>
                </a:lnTo>
                <a:lnTo>
                  <a:pt x="11406" y="7775"/>
                </a:lnTo>
                <a:lnTo>
                  <a:pt x="11382" y="7785"/>
                </a:lnTo>
                <a:lnTo>
                  <a:pt x="11395" y="7786"/>
                </a:lnTo>
                <a:lnTo>
                  <a:pt x="11408" y="7786"/>
                </a:lnTo>
                <a:lnTo>
                  <a:pt x="11418" y="7784"/>
                </a:lnTo>
                <a:lnTo>
                  <a:pt x="11429" y="7781"/>
                </a:lnTo>
                <a:lnTo>
                  <a:pt x="11440" y="7775"/>
                </a:lnTo>
                <a:lnTo>
                  <a:pt x="11450" y="7767"/>
                </a:lnTo>
                <a:lnTo>
                  <a:pt x="11461" y="7757"/>
                </a:lnTo>
                <a:lnTo>
                  <a:pt x="11473" y="7746"/>
                </a:lnTo>
                <a:close/>
                <a:moveTo>
                  <a:pt x="12229" y="7655"/>
                </a:moveTo>
                <a:lnTo>
                  <a:pt x="12225" y="7664"/>
                </a:lnTo>
                <a:lnTo>
                  <a:pt x="12228" y="7669"/>
                </a:lnTo>
                <a:lnTo>
                  <a:pt x="12233" y="7672"/>
                </a:lnTo>
                <a:lnTo>
                  <a:pt x="12241" y="7672"/>
                </a:lnTo>
                <a:lnTo>
                  <a:pt x="12260" y="7671"/>
                </a:lnTo>
                <a:lnTo>
                  <a:pt x="12271" y="7671"/>
                </a:lnTo>
                <a:lnTo>
                  <a:pt x="12270" y="7663"/>
                </a:lnTo>
                <a:lnTo>
                  <a:pt x="12270" y="7655"/>
                </a:lnTo>
                <a:lnTo>
                  <a:pt x="12267" y="7650"/>
                </a:lnTo>
                <a:lnTo>
                  <a:pt x="12265" y="7646"/>
                </a:lnTo>
                <a:lnTo>
                  <a:pt x="12261" y="7644"/>
                </a:lnTo>
                <a:lnTo>
                  <a:pt x="12253" y="7645"/>
                </a:lnTo>
                <a:lnTo>
                  <a:pt x="12243" y="7648"/>
                </a:lnTo>
                <a:lnTo>
                  <a:pt x="12229" y="7655"/>
                </a:lnTo>
                <a:close/>
                <a:moveTo>
                  <a:pt x="11184" y="7906"/>
                </a:moveTo>
                <a:lnTo>
                  <a:pt x="11194" y="7907"/>
                </a:lnTo>
                <a:lnTo>
                  <a:pt x="11204" y="7907"/>
                </a:lnTo>
                <a:lnTo>
                  <a:pt x="11215" y="7906"/>
                </a:lnTo>
                <a:lnTo>
                  <a:pt x="11226" y="7902"/>
                </a:lnTo>
                <a:lnTo>
                  <a:pt x="11234" y="7897"/>
                </a:lnTo>
                <a:lnTo>
                  <a:pt x="11241" y="7888"/>
                </a:lnTo>
                <a:lnTo>
                  <a:pt x="11243" y="7878"/>
                </a:lnTo>
                <a:lnTo>
                  <a:pt x="11242" y="7865"/>
                </a:lnTo>
                <a:lnTo>
                  <a:pt x="11226" y="7874"/>
                </a:lnTo>
                <a:lnTo>
                  <a:pt x="11210" y="7884"/>
                </a:lnTo>
                <a:lnTo>
                  <a:pt x="11196" y="7895"/>
                </a:lnTo>
                <a:lnTo>
                  <a:pt x="11184" y="7906"/>
                </a:lnTo>
                <a:close/>
                <a:moveTo>
                  <a:pt x="10696" y="9194"/>
                </a:moveTo>
                <a:lnTo>
                  <a:pt x="10687" y="9197"/>
                </a:lnTo>
                <a:lnTo>
                  <a:pt x="10678" y="9201"/>
                </a:lnTo>
                <a:lnTo>
                  <a:pt x="10670" y="9204"/>
                </a:lnTo>
                <a:lnTo>
                  <a:pt x="10663" y="9211"/>
                </a:lnTo>
                <a:lnTo>
                  <a:pt x="10647" y="9225"/>
                </a:lnTo>
                <a:lnTo>
                  <a:pt x="10631" y="9239"/>
                </a:lnTo>
                <a:lnTo>
                  <a:pt x="10644" y="9239"/>
                </a:lnTo>
                <a:lnTo>
                  <a:pt x="10656" y="9236"/>
                </a:lnTo>
                <a:lnTo>
                  <a:pt x="10669" y="9232"/>
                </a:lnTo>
                <a:lnTo>
                  <a:pt x="10681" y="9226"/>
                </a:lnTo>
                <a:lnTo>
                  <a:pt x="10689" y="9218"/>
                </a:lnTo>
                <a:lnTo>
                  <a:pt x="10696" y="9211"/>
                </a:lnTo>
                <a:lnTo>
                  <a:pt x="10698" y="9203"/>
                </a:lnTo>
                <a:lnTo>
                  <a:pt x="10696" y="9194"/>
                </a:lnTo>
                <a:close/>
                <a:moveTo>
                  <a:pt x="12977" y="7598"/>
                </a:moveTo>
                <a:lnTo>
                  <a:pt x="12975" y="7599"/>
                </a:lnTo>
                <a:lnTo>
                  <a:pt x="12977" y="7598"/>
                </a:lnTo>
                <a:lnTo>
                  <a:pt x="12977" y="7598"/>
                </a:lnTo>
                <a:lnTo>
                  <a:pt x="12977" y="7598"/>
                </a:lnTo>
                <a:close/>
                <a:moveTo>
                  <a:pt x="12903" y="7649"/>
                </a:moveTo>
                <a:lnTo>
                  <a:pt x="12916" y="7648"/>
                </a:lnTo>
                <a:lnTo>
                  <a:pt x="12927" y="7644"/>
                </a:lnTo>
                <a:lnTo>
                  <a:pt x="12937" y="7639"/>
                </a:lnTo>
                <a:lnTo>
                  <a:pt x="12946" y="7632"/>
                </a:lnTo>
                <a:lnTo>
                  <a:pt x="12961" y="7616"/>
                </a:lnTo>
                <a:lnTo>
                  <a:pt x="12975" y="7599"/>
                </a:lnTo>
                <a:lnTo>
                  <a:pt x="12952" y="7606"/>
                </a:lnTo>
                <a:lnTo>
                  <a:pt x="12928" y="7613"/>
                </a:lnTo>
                <a:lnTo>
                  <a:pt x="12918" y="7620"/>
                </a:lnTo>
                <a:lnTo>
                  <a:pt x="12910" y="7627"/>
                </a:lnTo>
                <a:lnTo>
                  <a:pt x="12904" y="7636"/>
                </a:lnTo>
                <a:lnTo>
                  <a:pt x="12903" y="7649"/>
                </a:lnTo>
                <a:close/>
                <a:moveTo>
                  <a:pt x="13049" y="7501"/>
                </a:moveTo>
                <a:lnTo>
                  <a:pt x="13059" y="7499"/>
                </a:lnTo>
                <a:lnTo>
                  <a:pt x="13067" y="7494"/>
                </a:lnTo>
                <a:lnTo>
                  <a:pt x="13073" y="7486"/>
                </a:lnTo>
                <a:lnTo>
                  <a:pt x="13079" y="7476"/>
                </a:lnTo>
                <a:lnTo>
                  <a:pt x="13082" y="7464"/>
                </a:lnTo>
                <a:lnTo>
                  <a:pt x="13085" y="7453"/>
                </a:lnTo>
                <a:lnTo>
                  <a:pt x="13086" y="7441"/>
                </a:lnTo>
                <a:lnTo>
                  <a:pt x="13086" y="7430"/>
                </a:lnTo>
                <a:lnTo>
                  <a:pt x="13077" y="7438"/>
                </a:lnTo>
                <a:lnTo>
                  <a:pt x="13067" y="7447"/>
                </a:lnTo>
                <a:lnTo>
                  <a:pt x="13059" y="7455"/>
                </a:lnTo>
                <a:lnTo>
                  <a:pt x="13053" y="7464"/>
                </a:lnTo>
                <a:lnTo>
                  <a:pt x="13048" y="7475"/>
                </a:lnTo>
                <a:lnTo>
                  <a:pt x="13045" y="7483"/>
                </a:lnTo>
                <a:lnTo>
                  <a:pt x="13045" y="7492"/>
                </a:lnTo>
                <a:lnTo>
                  <a:pt x="13049" y="7501"/>
                </a:lnTo>
                <a:close/>
                <a:moveTo>
                  <a:pt x="8685" y="9717"/>
                </a:moveTo>
                <a:lnTo>
                  <a:pt x="8656" y="9735"/>
                </a:lnTo>
                <a:lnTo>
                  <a:pt x="8634" y="9753"/>
                </a:lnTo>
                <a:lnTo>
                  <a:pt x="8621" y="9767"/>
                </a:lnTo>
                <a:lnTo>
                  <a:pt x="8619" y="9776"/>
                </a:lnTo>
                <a:lnTo>
                  <a:pt x="8625" y="9777"/>
                </a:lnTo>
                <a:lnTo>
                  <a:pt x="8642" y="9770"/>
                </a:lnTo>
                <a:lnTo>
                  <a:pt x="8667" y="9752"/>
                </a:lnTo>
                <a:lnTo>
                  <a:pt x="8703" y="9720"/>
                </a:lnTo>
                <a:lnTo>
                  <a:pt x="8702" y="9716"/>
                </a:lnTo>
                <a:lnTo>
                  <a:pt x="8699" y="9714"/>
                </a:lnTo>
                <a:lnTo>
                  <a:pt x="8698" y="9714"/>
                </a:lnTo>
                <a:lnTo>
                  <a:pt x="8695" y="9714"/>
                </a:lnTo>
                <a:lnTo>
                  <a:pt x="8690" y="9715"/>
                </a:lnTo>
                <a:lnTo>
                  <a:pt x="8685" y="9717"/>
                </a:lnTo>
                <a:close/>
                <a:moveTo>
                  <a:pt x="11336" y="7822"/>
                </a:moveTo>
                <a:lnTo>
                  <a:pt x="11285" y="7849"/>
                </a:lnTo>
                <a:lnTo>
                  <a:pt x="11263" y="7865"/>
                </a:lnTo>
                <a:lnTo>
                  <a:pt x="11263" y="7874"/>
                </a:lnTo>
                <a:lnTo>
                  <a:pt x="11279" y="7874"/>
                </a:lnTo>
                <a:lnTo>
                  <a:pt x="11307" y="7867"/>
                </a:lnTo>
                <a:lnTo>
                  <a:pt x="11341" y="7854"/>
                </a:lnTo>
                <a:lnTo>
                  <a:pt x="11375" y="7836"/>
                </a:lnTo>
                <a:lnTo>
                  <a:pt x="11403" y="7814"/>
                </a:lnTo>
                <a:lnTo>
                  <a:pt x="11378" y="7802"/>
                </a:lnTo>
                <a:lnTo>
                  <a:pt x="11345" y="7802"/>
                </a:lnTo>
                <a:lnTo>
                  <a:pt x="11308" y="7811"/>
                </a:lnTo>
                <a:lnTo>
                  <a:pt x="11277" y="7823"/>
                </a:lnTo>
                <a:lnTo>
                  <a:pt x="11256" y="7836"/>
                </a:lnTo>
                <a:lnTo>
                  <a:pt x="11254" y="7842"/>
                </a:lnTo>
                <a:lnTo>
                  <a:pt x="11279" y="7840"/>
                </a:lnTo>
                <a:lnTo>
                  <a:pt x="11336" y="7822"/>
                </a:lnTo>
                <a:close/>
                <a:moveTo>
                  <a:pt x="11246" y="7890"/>
                </a:moveTo>
                <a:lnTo>
                  <a:pt x="11246" y="7888"/>
                </a:lnTo>
                <a:lnTo>
                  <a:pt x="11245" y="7888"/>
                </a:lnTo>
                <a:lnTo>
                  <a:pt x="11246" y="7888"/>
                </a:lnTo>
                <a:lnTo>
                  <a:pt x="11246" y="7890"/>
                </a:lnTo>
                <a:close/>
                <a:moveTo>
                  <a:pt x="12751" y="7692"/>
                </a:moveTo>
                <a:lnTo>
                  <a:pt x="12782" y="7687"/>
                </a:lnTo>
                <a:lnTo>
                  <a:pt x="12810" y="7674"/>
                </a:lnTo>
                <a:lnTo>
                  <a:pt x="12831" y="7659"/>
                </a:lnTo>
                <a:lnTo>
                  <a:pt x="12845" y="7643"/>
                </a:lnTo>
                <a:lnTo>
                  <a:pt x="12851" y="7631"/>
                </a:lnTo>
                <a:lnTo>
                  <a:pt x="12844" y="7626"/>
                </a:lnTo>
                <a:lnTo>
                  <a:pt x="12824" y="7631"/>
                </a:lnTo>
                <a:lnTo>
                  <a:pt x="12788" y="7650"/>
                </a:lnTo>
                <a:lnTo>
                  <a:pt x="12820" y="7620"/>
                </a:lnTo>
                <a:lnTo>
                  <a:pt x="12820" y="7608"/>
                </a:lnTo>
                <a:lnTo>
                  <a:pt x="12801" y="7609"/>
                </a:lnTo>
                <a:lnTo>
                  <a:pt x="12772" y="7620"/>
                </a:lnTo>
                <a:lnTo>
                  <a:pt x="12741" y="7637"/>
                </a:lnTo>
                <a:lnTo>
                  <a:pt x="12721" y="7658"/>
                </a:lnTo>
                <a:lnTo>
                  <a:pt x="12721" y="7677"/>
                </a:lnTo>
                <a:lnTo>
                  <a:pt x="12751" y="7692"/>
                </a:lnTo>
                <a:close/>
                <a:moveTo>
                  <a:pt x="12377" y="7790"/>
                </a:moveTo>
                <a:lnTo>
                  <a:pt x="12418" y="7767"/>
                </a:lnTo>
                <a:lnTo>
                  <a:pt x="12415" y="7758"/>
                </a:lnTo>
                <a:lnTo>
                  <a:pt x="12383" y="7761"/>
                </a:lnTo>
                <a:lnTo>
                  <a:pt x="12335" y="7771"/>
                </a:lnTo>
                <a:lnTo>
                  <a:pt x="12284" y="7786"/>
                </a:lnTo>
                <a:lnTo>
                  <a:pt x="12243" y="7802"/>
                </a:lnTo>
                <a:lnTo>
                  <a:pt x="12228" y="7817"/>
                </a:lnTo>
                <a:lnTo>
                  <a:pt x="12251" y="7827"/>
                </a:lnTo>
                <a:lnTo>
                  <a:pt x="12253" y="7844"/>
                </a:lnTo>
                <a:lnTo>
                  <a:pt x="12281" y="7845"/>
                </a:lnTo>
                <a:lnTo>
                  <a:pt x="12325" y="7836"/>
                </a:lnTo>
                <a:lnTo>
                  <a:pt x="12372" y="7822"/>
                </a:lnTo>
                <a:lnTo>
                  <a:pt x="12411" y="7806"/>
                </a:lnTo>
                <a:lnTo>
                  <a:pt x="12433" y="7792"/>
                </a:lnTo>
                <a:lnTo>
                  <a:pt x="12425" y="7785"/>
                </a:lnTo>
                <a:lnTo>
                  <a:pt x="12377" y="7790"/>
                </a:lnTo>
                <a:close/>
                <a:moveTo>
                  <a:pt x="12177" y="7701"/>
                </a:moveTo>
                <a:lnTo>
                  <a:pt x="12131" y="7671"/>
                </a:lnTo>
                <a:lnTo>
                  <a:pt x="12078" y="7657"/>
                </a:lnTo>
                <a:lnTo>
                  <a:pt x="12022" y="7654"/>
                </a:lnTo>
                <a:lnTo>
                  <a:pt x="11968" y="7662"/>
                </a:lnTo>
                <a:lnTo>
                  <a:pt x="11921" y="7676"/>
                </a:lnTo>
                <a:lnTo>
                  <a:pt x="11885" y="7692"/>
                </a:lnTo>
                <a:lnTo>
                  <a:pt x="11865" y="7709"/>
                </a:lnTo>
                <a:lnTo>
                  <a:pt x="11867" y="7723"/>
                </a:lnTo>
                <a:lnTo>
                  <a:pt x="11906" y="7719"/>
                </a:lnTo>
                <a:lnTo>
                  <a:pt x="11958" y="7720"/>
                </a:lnTo>
                <a:lnTo>
                  <a:pt x="12018" y="7724"/>
                </a:lnTo>
                <a:lnTo>
                  <a:pt x="12078" y="7727"/>
                </a:lnTo>
                <a:lnTo>
                  <a:pt x="12130" y="7729"/>
                </a:lnTo>
                <a:lnTo>
                  <a:pt x="12168" y="7727"/>
                </a:lnTo>
                <a:lnTo>
                  <a:pt x="12186" y="7718"/>
                </a:lnTo>
                <a:lnTo>
                  <a:pt x="12177" y="7701"/>
                </a:lnTo>
                <a:close/>
                <a:moveTo>
                  <a:pt x="8898" y="9692"/>
                </a:moveTo>
                <a:lnTo>
                  <a:pt x="8898" y="9693"/>
                </a:lnTo>
                <a:lnTo>
                  <a:pt x="8899" y="9692"/>
                </a:lnTo>
                <a:lnTo>
                  <a:pt x="8898" y="9692"/>
                </a:lnTo>
                <a:lnTo>
                  <a:pt x="8898" y="9692"/>
                </a:lnTo>
                <a:close/>
                <a:moveTo>
                  <a:pt x="10255" y="9166"/>
                </a:moveTo>
                <a:lnTo>
                  <a:pt x="10255" y="9166"/>
                </a:lnTo>
                <a:lnTo>
                  <a:pt x="10255" y="9168"/>
                </a:lnTo>
                <a:lnTo>
                  <a:pt x="10255" y="9166"/>
                </a:lnTo>
                <a:close/>
                <a:moveTo>
                  <a:pt x="13382" y="8232"/>
                </a:moveTo>
                <a:lnTo>
                  <a:pt x="13382" y="8231"/>
                </a:lnTo>
                <a:lnTo>
                  <a:pt x="13380" y="8231"/>
                </a:lnTo>
                <a:lnTo>
                  <a:pt x="13380" y="8232"/>
                </a:lnTo>
                <a:lnTo>
                  <a:pt x="13382" y="8232"/>
                </a:lnTo>
                <a:close/>
                <a:moveTo>
                  <a:pt x="9294" y="9544"/>
                </a:moveTo>
                <a:lnTo>
                  <a:pt x="9295" y="9546"/>
                </a:lnTo>
                <a:lnTo>
                  <a:pt x="9295" y="9544"/>
                </a:lnTo>
                <a:lnTo>
                  <a:pt x="9295" y="9544"/>
                </a:lnTo>
                <a:lnTo>
                  <a:pt x="9294" y="9544"/>
                </a:lnTo>
                <a:close/>
                <a:moveTo>
                  <a:pt x="12975" y="2629"/>
                </a:moveTo>
                <a:lnTo>
                  <a:pt x="12977" y="2629"/>
                </a:lnTo>
                <a:lnTo>
                  <a:pt x="12978" y="2625"/>
                </a:lnTo>
                <a:lnTo>
                  <a:pt x="12977" y="2626"/>
                </a:lnTo>
                <a:lnTo>
                  <a:pt x="12975" y="2629"/>
                </a:lnTo>
                <a:close/>
                <a:moveTo>
                  <a:pt x="12975" y="2634"/>
                </a:moveTo>
                <a:lnTo>
                  <a:pt x="12975" y="2631"/>
                </a:lnTo>
                <a:lnTo>
                  <a:pt x="12975" y="2631"/>
                </a:lnTo>
                <a:lnTo>
                  <a:pt x="12974" y="2632"/>
                </a:lnTo>
                <a:lnTo>
                  <a:pt x="12974" y="2635"/>
                </a:lnTo>
                <a:lnTo>
                  <a:pt x="12974" y="2634"/>
                </a:lnTo>
                <a:lnTo>
                  <a:pt x="12975" y="2634"/>
                </a:lnTo>
                <a:close/>
                <a:moveTo>
                  <a:pt x="11701" y="3046"/>
                </a:moveTo>
                <a:lnTo>
                  <a:pt x="11696" y="3046"/>
                </a:lnTo>
                <a:lnTo>
                  <a:pt x="11697" y="3049"/>
                </a:lnTo>
                <a:lnTo>
                  <a:pt x="11698" y="3049"/>
                </a:lnTo>
                <a:lnTo>
                  <a:pt x="11699" y="3049"/>
                </a:lnTo>
                <a:lnTo>
                  <a:pt x="11701" y="3046"/>
                </a:lnTo>
                <a:close/>
                <a:moveTo>
                  <a:pt x="11326" y="3047"/>
                </a:moveTo>
                <a:lnTo>
                  <a:pt x="11325" y="3045"/>
                </a:lnTo>
                <a:lnTo>
                  <a:pt x="11326" y="3047"/>
                </a:lnTo>
                <a:lnTo>
                  <a:pt x="11330" y="3044"/>
                </a:lnTo>
                <a:lnTo>
                  <a:pt x="11326" y="3047"/>
                </a:lnTo>
                <a:close/>
                <a:moveTo>
                  <a:pt x="12086" y="2547"/>
                </a:moveTo>
                <a:lnTo>
                  <a:pt x="12086" y="2547"/>
                </a:lnTo>
                <a:lnTo>
                  <a:pt x="12086" y="2547"/>
                </a:lnTo>
                <a:lnTo>
                  <a:pt x="12085" y="2551"/>
                </a:lnTo>
                <a:lnTo>
                  <a:pt x="12086" y="2547"/>
                </a:lnTo>
                <a:close/>
                <a:moveTo>
                  <a:pt x="12416" y="4407"/>
                </a:moveTo>
                <a:lnTo>
                  <a:pt x="12412" y="4409"/>
                </a:lnTo>
                <a:lnTo>
                  <a:pt x="12415" y="4411"/>
                </a:lnTo>
                <a:lnTo>
                  <a:pt x="12416" y="4411"/>
                </a:lnTo>
                <a:lnTo>
                  <a:pt x="12416" y="4409"/>
                </a:lnTo>
                <a:lnTo>
                  <a:pt x="12416" y="4407"/>
                </a:lnTo>
                <a:close/>
                <a:moveTo>
                  <a:pt x="11864" y="2650"/>
                </a:moveTo>
                <a:lnTo>
                  <a:pt x="11860" y="2648"/>
                </a:lnTo>
                <a:lnTo>
                  <a:pt x="11856" y="2645"/>
                </a:lnTo>
                <a:lnTo>
                  <a:pt x="11852" y="2645"/>
                </a:lnTo>
                <a:lnTo>
                  <a:pt x="11850" y="2645"/>
                </a:lnTo>
                <a:lnTo>
                  <a:pt x="11842" y="2648"/>
                </a:lnTo>
                <a:lnTo>
                  <a:pt x="11836" y="2650"/>
                </a:lnTo>
                <a:lnTo>
                  <a:pt x="11836" y="2650"/>
                </a:lnTo>
                <a:lnTo>
                  <a:pt x="11833" y="2650"/>
                </a:lnTo>
                <a:lnTo>
                  <a:pt x="11833" y="2650"/>
                </a:lnTo>
                <a:lnTo>
                  <a:pt x="11833" y="2650"/>
                </a:lnTo>
                <a:lnTo>
                  <a:pt x="11833" y="2650"/>
                </a:lnTo>
                <a:lnTo>
                  <a:pt x="11832" y="2650"/>
                </a:lnTo>
                <a:lnTo>
                  <a:pt x="11833" y="2651"/>
                </a:lnTo>
                <a:lnTo>
                  <a:pt x="11833" y="2650"/>
                </a:lnTo>
                <a:lnTo>
                  <a:pt x="11834" y="2651"/>
                </a:lnTo>
                <a:lnTo>
                  <a:pt x="11836" y="2650"/>
                </a:lnTo>
                <a:lnTo>
                  <a:pt x="11842" y="2653"/>
                </a:lnTo>
                <a:lnTo>
                  <a:pt x="11848" y="2655"/>
                </a:lnTo>
                <a:lnTo>
                  <a:pt x="11852" y="2655"/>
                </a:lnTo>
                <a:lnTo>
                  <a:pt x="11856" y="2654"/>
                </a:lnTo>
                <a:lnTo>
                  <a:pt x="11860" y="2653"/>
                </a:lnTo>
                <a:lnTo>
                  <a:pt x="11864" y="2650"/>
                </a:lnTo>
                <a:close/>
                <a:moveTo>
                  <a:pt x="12612" y="3130"/>
                </a:moveTo>
                <a:lnTo>
                  <a:pt x="12602" y="3147"/>
                </a:lnTo>
                <a:lnTo>
                  <a:pt x="12593" y="3159"/>
                </a:lnTo>
                <a:lnTo>
                  <a:pt x="12592" y="3159"/>
                </a:lnTo>
                <a:lnTo>
                  <a:pt x="12591" y="3161"/>
                </a:lnTo>
                <a:lnTo>
                  <a:pt x="12592" y="3159"/>
                </a:lnTo>
                <a:lnTo>
                  <a:pt x="12593" y="3159"/>
                </a:lnTo>
                <a:lnTo>
                  <a:pt x="12592" y="3161"/>
                </a:lnTo>
                <a:lnTo>
                  <a:pt x="12593" y="3159"/>
                </a:lnTo>
                <a:lnTo>
                  <a:pt x="12601" y="3156"/>
                </a:lnTo>
                <a:lnTo>
                  <a:pt x="12607" y="3150"/>
                </a:lnTo>
                <a:lnTo>
                  <a:pt x="12610" y="3147"/>
                </a:lnTo>
                <a:lnTo>
                  <a:pt x="12612" y="3143"/>
                </a:lnTo>
                <a:lnTo>
                  <a:pt x="12614" y="3136"/>
                </a:lnTo>
                <a:lnTo>
                  <a:pt x="12612" y="3130"/>
                </a:lnTo>
                <a:close/>
                <a:moveTo>
                  <a:pt x="12374" y="4148"/>
                </a:moveTo>
                <a:lnTo>
                  <a:pt x="12392" y="4145"/>
                </a:lnTo>
                <a:lnTo>
                  <a:pt x="12405" y="4141"/>
                </a:lnTo>
                <a:lnTo>
                  <a:pt x="12416" y="4138"/>
                </a:lnTo>
                <a:lnTo>
                  <a:pt x="12425" y="4136"/>
                </a:lnTo>
                <a:lnTo>
                  <a:pt x="12426" y="4136"/>
                </a:lnTo>
                <a:lnTo>
                  <a:pt x="12429" y="4137"/>
                </a:lnTo>
                <a:lnTo>
                  <a:pt x="12430" y="4136"/>
                </a:lnTo>
                <a:lnTo>
                  <a:pt x="12430" y="4136"/>
                </a:lnTo>
                <a:lnTo>
                  <a:pt x="12429" y="4136"/>
                </a:lnTo>
                <a:lnTo>
                  <a:pt x="12429" y="4136"/>
                </a:lnTo>
                <a:lnTo>
                  <a:pt x="12429" y="4136"/>
                </a:lnTo>
                <a:lnTo>
                  <a:pt x="12426" y="4136"/>
                </a:lnTo>
                <a:lnTo>
                  <a:pt x="12425" y="4136"/>
                </a:lnTo>
                <a:lnTo>
                  <a:pt x="12419" y="4134"/>
                </a:lnTo>
                <a:lnTo>
                  <a:pt x="12412" y="4133"/>
                </a:lnTo>
                <a:lnTo>
                  <a:pt x="12409" y="4133"/>
                </a:lnTo>
                <a:lnTo>
                  <a:pt x="12404" y="4134"/>
                </a:lnTo>
                <a:lnTo>
                  <a:pt x="12392" y="4138"/>
                </a:lnTo>
                <a:lnTo>
                  <a:pt x="12374" y="4148"/>
                </a:lnTo>
                <a:close/>
                <a:moveTo>
                  <a:pt x="12680" y="2296"/>
                </a:moveTo>
                <a:lnTo>
                  <a:pt x="12685" y="2295"/>
                </a:lnTo>
                <a:lnTo>
                  <a:pt x="12689" y="2294"/>
                </a:lnTo>
                <a:lnTo>
                  <a:pt x="12690" y="2293"/>
                </a:lnTo>
                <a:lnTo>
                  <a:pt x="12690" y="2290"/>
                </a:lnTo>
                <a:lnTo>
                  <a:pt x="12690" y="2287"/>
                </a:lnTo>
                <a:lnTo>
                  <a:pt x="12688" y="2285"/>
                </a:lnTo>
                <a:lnTo>
                  <a:pt x="12684" y="2286"/>
                </a:lnTo>
                <a:lnTo>
                  <a:pt x="12681" y="2289"/>
                </a:lnTo>
                <a:lnTo>
                  <a:pt x="12681" y="2293"/>
                </a:lnTo>
                <a:lnTo>
                  <a:pt x="12680" y="2296"/>
                </a:lnTo>
                <a:close/>
                <a:moveTo>
                  <a:pt x="12503" y="2280"/>
                </a:moveTo>
                <a:lnTo>
                  <a:pt x="12509" y="2279"/>
                </a:lnTo>
                <a:lnTo>
                  <a:pt x="12512" y="2276"/>
                </a:lnTo>
                <a:lnTo>
                  <a:pt x="12512" y="2273"/>
                </a:lnTo>
                <a:lnTo>
                  <a:pt x="12512" y="2272"/>
                </a:lnTo>
                <a:lnTo>
                  <a:pt x="12509" y="2270"/>
                </a:lnTo>
                <a:lnTo>
                  <a:pt x="12505" y="2268"/>
                </a:lnTo>
                <a:lnTo>
                  <a:pt x="12503" y="2268"/>
                </a:lnTo>
                <a:lnTo>
                  <a:pt x="12502" y="2270"/>
                </a:lnTo>
                <a:lnTo>
                  <a:pt x="12500" y="2271"/>
                </a:lnTo>
                <a:lnTo>
                  <a:pt x="12500" y="2272"/>
                </a:lnTo>
                <a:lnTo>
                  <a:pt x="12502" y="2276"/>
                </a:lnTo>
                <a:lnTo>
                  <a:pt x="12503" y="2280"/>
                </a:lnTo>
                <a:close/>
                <a:moveTo>
                  <a:pt x="12630" y="3036"/>
                </a:moveTo>
                <a:lnTo>
                  <a:pt x="12632" y="3038"/>
                </a:lnTo>
                <a:lnTo>
                  <a:pt x="12634" y="3041"/>
                </a:lnTo>
                <a:lnTo>
                  <a:pt x="12635" y="3042"/>
                </a:lnTo>
                <a:lnTo>
                  <a:pt x="12638" y="3044"/>
                </a:lnTo>
                <a:lnTo>
                  <a:pt x="12643" y="3042"/>
                </a:lnTo>
                <a:lnTo>
                  <a:pt x="12649" y="3041"/>
                </a:lnTo>
                <a:lnTo>
                  <a:pt x="12648" y="3037"/>
                </a:lnTo>
                <a:lnTo>
                  <a:pt x="12646" y="3036"/>
                </a:lnTo>
                <a:lnTo>
                  <a:pt x="12644" y="3035"/>
                </a:lnTo>
                <a:lnTo>
                  <a:pt x="12642" y="3033"/>
                </a:lnTo>
                <a:lnTo>
                  <a:pt x="12637" y="3033"/>
                </a:lnTo>
                <a:lnTo>
                  <a:pt x="12630" y="3036"/>
                </a:lnTo>
                <a:close/>
                <a:moveTo>
                  <a:pt x="11722" y="4385"/>
                </a:moveTo>
                <a:lnTo>
                  <a:pt x="11729" y="4381"/>
                </a:lnTo>
                <a:lnTo>
                  <a:pt x="11732" y="4376"/>
                </a:lnTo>
                <a:lnTo>
                  <a:pt x="11734" y="4374"/>
                </a:lnTo>
                <a:lnTo>
                  <a:pt x="11732" y="4372"/>
                </a:lnTo>
                <a:lnTo>
                  <a:pt x="11730" y="4371"/>
                </a:lnTo>
                <a:lnTo>
                  <a:pt x="11726" y="4370"/>
                </a:lnTo>
                <a:lnTo>
                  <a:pt x="11720" y="4372"/>
                </a:lnTo>
                <a:lnTo>
                  <a:pt x="11716" y="4375"/>
                </a:lnTo>
                <a:lnTo>
                  <a:pt x="11716" y="4378"/>
                </a:lnTo>
                <a:lnTo>
                  <a:pt x="11717" y="4380"/>
                </a:lnTo>
                <a:lnTo>
                  <a:pt x="11718" y="4383"/>
                </a:lnTo>
                <a:lnTo>
                  <a:pt x="11722" y="4385"/>
                </a:lnTo>
                <a:close/>
                <a:moveTo>
                  <a:pt x="12448" y="3130"/>
                </a:moveTo>
                <a:lnTo>
                  <a:pt x="12441" y="3130"/>
                </a:lnTo>
                <a:lnTo>
                  <a:pt x="12433" y="3131"/>
                </a:lnTo>
                <a:lnTo>
                  <a:pt x="12429" y="3134"/>
                </a:lnTo>
                <a:lnTo>
                  <a:pt x="12426" y="3136"/>
                </a:lnTo>
                <a:lnTo>
                  <a:pt x="12425" y="3139"/>
                </a:lnTo>
                <a:lnTo>
                  <a:pt x="12424" y="3144"/>
                </a:lnTo>
                <a:lnTo>
                  <a:pt x="12433" y="3144"/>
                </a:lnTo>
                <a:lnTo>
                  <a:pt x="12439" y="3143"/>
                </a:lnTo>
                <a:lnTo>
                  <a:pt x="12443" y="3142"/>
                </a:lnTo>
                <a:lnTo>
                  <a:pt x="12446" y="3139"/>
                </a:lnTo>
                <a:lnTo>
                  <a:pt x="12447" y="3135"/>
                </a:lnTo>
                <a:lnTo>
                  <a:pt x="12448" y="3130"/>
                </a:lnTo>
                <a:close/>
                <a:moveTo>
                  <a:pt x="12978" y="2491"/>
                </a:moveTo>
                <a:lnTo>
                  <a:pt x="12977" y="2486"/>
                </a:lnTo>
                <a:lnTo>
                  <a:pt x="12975" y="2483"/>
                </a:lnTo>
                <a:lnTo>
                  <a:pt x="12973" y="2482"/>
                </a:lnTo>
                <a:lnTo>
                  <a:pt x="12969" y="2481"/>
                </a:lnTo>
                <a:lnTo>
                  <a:pt x="12963" y="2481"/>
                </a:lnTo>
                <a:lnTo>
                  <a:pt x="12954" y="2481"/>
                </a:lnTo>
                <a:lnTo>
                  <a:pt x="12955" y="2487"/>
                </a:lnTo>
                <a:lnTo>
                  <a:pt x="12958" y="2490"/>
                </a:lnTo>
                <a:lnTo>
                  <a:pt x="12960" y="2492"/>
                </a:lnTo>
                <a:lnTo>
                  <a:pt x="12963" y="2494"/>
                </a:lnTo>
                <a:lnTo>
                  <a:pt x="12969" y="2492"/>
                </a:lnTo>
                <a:lnTo>
                  <a:pt x="12978" y="2491"/>
                </a:lnTo>
                <a:close/>
                <a:moveTo>
                  <a:pt x="12498" y="4128"/>
                </a:moveTo>
                <a:lnTo>
                  <a:pt x="12500" y="4129"/>
                </a:lnTo>
                <a:lnTo>
                  <a:pt x="12503" y="4128"/>
                </a:lnTo>
                <a:lnTo>
                  <a:pt x="12500" y="4128"/>
                </a:lnTo>
                <a:lnTo>
                  <a:pt x="12498" y="4128"/>
                </a:lnTo>
                <a:close/>
                <a:moveTo>
                  <a:pt x="11832" y="2650"/>
                </a:moveTo>
                <a:lnTo>
                  <a:pt x="11822" y="2646"/>
                </a:lnTo>
                <a:lnTo>
                  <a:pt x="11811" y="2643"/>
                </a:lnTo>
                <a:lnTo>
                  <a:pt x="11806" y="2641"/>
                </a:lnTo>
                <a:lnTo>
                  <a:pt x="11801" y="2640"/>
                </a:lnTo>
                <a:lnTo>
                  <a:pt x="11796" y="2643"/>
                </a:lnTo>
                <a:lnTo>
                  <a:pt x="11792" y="2645"/>
                </a:lnTo>
                <a:lnTo>
                  <a:pt x="11794" y="2651"/>
                </a:lnTo>
                <a:lnTo>
                  <a:pt x="11797" y="2657"/>
                </a:lnTo>
                <a:lnTo>
                  <a:pt x="11802" y="2659"/>
                </a:lnTo>
                <a:lnTo>
                  <a:pt x="11809" y="2659"/>
                </a:lnTo>
                <a:lnTo>
                  <a:pt x="11815" y="2659"/>
                </a:lnTo>
                <a:lnTo>
                  <a:pt x="11822" y="2658"/>
                </a:lnTo>
                <a:lnTo>
                  <a:pt x="11827" y="2654"/>
                </a:lnTo>
                <a:lnTo>
                  <a:pt x="11832" y="2650"/>
                </a:lnTo>
                <a:close/>
                <a:moveTo>
                  <a:pt x="12591" y="3162"/>
                </a:moveTo>
                <a:lnTo>
                  <a:pt x="12590" y="3162"/>
                </a:lnTo>
                <a:lnTo>
                  <a:pt x="12591" y="3162"/>
                </a:lnTo>
                <a:lnTo>
                  <a:pt x="12591" y="3161"/>
                </a:lnTo>
                <a:lnTo>
                  <a:pt x="12591" y="3162"/>
                </a:lnTo>
                <a:close/>
                <a:moveTo>
                  <a:pt x="12390" y="3205"/>
                </a:moveTo>
                <a:lnTo>
                  <a:pt x="12409" y="3185"/>
                </a:lnTo>
                <a:lnTo>
                  <a:pt x="12406" y="3172"/>
                </a:lnTo>
                <a:lnTo>
                  <a:pt x="12388" y="3166"/>
                </a:lnTo>
                <a:lnTo>
                  <a:pt x="12362" y="3167"/>
                </a:lnTo>
                <a:lnTo>
                  <a:pt x="12332" y="3176"/>
                </a:lnTo>
                <a:lnTo>
                  <a:pt x="12306" y="3189"/>
                </a:lnTo>
                <a:lnTo>
                  <a:pt x="12288" y="3206"/>
                </a:lnTo>
                <a:lnTo>
                  <a:pt x="12284" y="3229"/>
                </a:lnTo>
                <a:lnTo>
                  <a:pt x="12304" y="3254"/>
                </a:lnTo>
                <a:lnTo>
                  <a:pt x="12334" y="3255"/>
                </a:lnTo>
                <a:lnTo>
                  <a:pt x="12368" y="3241"/>
                </a:lnTo>
                <a:lnTo>
                  <a:pt x="12401" y="3219"/>
                </a:lnTo>
                <a:lnTo>
                  <a:pt x="12425" y="3198"/>
                </a:lnTo>
                <a:lnTo>
                  <a:pt x="12435" y="3182"/>
                </a:lnTo>
                <a:lnTo>
                  <a:pt x="12426" y="3184"/>
                </a:lnTo>
                <a:lnTo>
                  <a:pt x="12390" y="3205"/>
                </a:lnTo>
                <a:close/>
                <a:moveTo>
                  <a:pt x="11632" y="3004"/>
                </a:moveTo>
                <a:lnTo>
                  <a:pt x="11631" y="3004"/>
                </a:lnTo>
                <a:lnTo>
                  <a:pt x="11633" y="3004"/>
                </a:lnTo>
                <a:lnTo>
                  <a:pt x="11632" y="3003"/>
                </a:lnTo>
                <a:lnTo>
                  <a:pt x="11632" y="3004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76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90600"/>
            <a:ext cx="10972801" cy="508000"/>
          </a:xfrm>
        </p:spPr>
        <p:txBody>
          <a:bodyPr>
            <a:noAutofit/>
          </a:bodyPr>
          <a:lstStyle>
            <a:lvl1pPr marL="0" indent="0">
              <a:buNone/>
              <a:defRPr sz="1866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4977963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0">
            <a:extLst>
              <a:ext uri="{FF2B5EF4-FFF2-40B4-BE49-F238E27FC236}">
                <a16:creationId xmlns:a16="http://schemas.microsoft.com/office/drawing/2014/main" id="{DD31A937-C2BF-B94C-A419-3985CC5F5F6D}"/>
              </a:ext>
            </a:extLst>
          </p:cNvPr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6096001" y="873012"/>
            <a:ext cx="5484012" cy="5479267"/>
          </a:xfrm>
          <a:custGeom>
            <a:avLst/>
            <a:gdLst>
              <a:gd name="T0" fmla="*/ 10035 w 11028"/>
              <a:gd name="T1" fmla="*/ 7730 h 11512"/>
              <a:gd name="T2" fmla="*/ 9102 w 11028"/>
              <a:gd name="T3" fmla="*/ 8812 h 11512"/>
              <a:gd name="T4" fmla="*/ 9611 w 11028"/>
              <a:gd name="T5" fmla="*/ 8823 h 11512"/>
              <a:gd name="T6" fmla="*/ 10507 w 11028"/>
              <a:gd name="T7" fmla="*/ 7395 h 11512"/>
              <a:gd name="T8" fmla="*/ 10458 w 11028"/>
              <a:gd name="T9" fmla="*/ 8039 h 11512"/>
              <a:gd name="T10" fmla="*/ 8106 w 11028"/>
              <a:gd name="T11" fmla="*/ 8258 h 11512"/>
              <a:gd name="T12" fmla="*/ 6425 w 11028"/>
              <a:gd name="T13" fmla="*/ 8804 h 11512"/>
              <a:gd name="T14" fmla="*/ 4151 w 11028"/>
              <a:gd name="T15" fmla="*/ 6471 h 11512"/>
              <a:gd name="T16" fmla="*/ 6521 w 11028"/>
              <a:gd name="T17" fmla="*/ 1874 h 11512"/>
              <a:gd name="T18" fmla="*/ 8215 w 11028"/>
              <a:gd name="T19" fmla="*/ 4246 h 11512"/>
              <a:gd name="T20" fmla="*/ 6421 w 11028"/>
              <a:gd name="T21" fmla="*/ 7918 h 11512"/>
              <a:gd name="T22" fmla="*/ 5971 w 11028"/>
              <a:gd name="T23" fmla="*/ 5055 h 11512"/>
              <a:gd name="T24" fmla="*/ 4740 w 11028"/>
              <a:gd name="T25" fmla="*/ 8808 h 11512"/>
              <a:gd name="T26" fmla="*/ 2412 w 11028"/>
              <a:gd name="T27" fmla="*/ 8931 h 11512"/>
              <a:gd name="T28" fmla="*/ 1048 w 11028"/>
              <a:gd name="T29" fmla="*/ 8874 h 11512"/>
              <a:gd name="T30" fmla="*/ 1611 w 11028"/>
              <a:gd name="T31" fmla="*/ 3039 h 11512"/>
              <a:gd name="T32" fmla="*/ 1250 w 11028"/>
              <a:gd name="T33" fmla="*/ 2014 h 11512"/>
              <a:gd name="T34" fmla="*/ 9149 w 11028"/>
              <a:gd name="T35" fmla="*/ 4676 h 11512"/>
              <a:gd name="T36" fmla="*/ 10208 w 11028"/>
              <a:gd name="T37" fmla="*/ 7096 h 11512"/>
              <a:gd name="T38" fmla="*/ 8846 w 11028"/>
              <a:gd name="T39" fmla="*/ 8731 h 11512"/>
              <a:gd name="T40" fmla="*/ 8019 w 11028"/>
              <a:gd name="T41" fmla="*/ 6909 h 11512"/>
              <a:gd name="T42" fmla="*/ 8425 w 11028"/>
              <a:gd name="T43" fmla="*/ 5650 h 11512"/>
              <a:gd name="T44" fmla="*/ 6455 w 11028"/>
              <a:gd name="T45" fmla="*/ 2112 h 11512"/>
              <a:gd name="T46" fmla="*/ 4023 w 11028"/>
              <a:gd name="T47" fmla="*/ 4024 h 11512"/>
              <a:gd name="T48" fmla="*/ 482 w 11028"/>
              <a:gd name="T49" fmla="*/ 8474 h 11512"/>
              <a:gd name="T50" fmla="*/ 1902 w 11028"/>
              <a:gd name="T51" fmla="*/ 8162 h 11512"/>
              <a:gd name="T52" fmla="*/ 4745 w 11028"/>
              <a:gd name="T53" fmla="*/ 11113 h 11512"/>
              <a:gd name="T54" fmla="*/ 5522 w 11028"/>
              <a:gd name="T55" fmla="*/ 7979 h 11512"/>
              <a:gd name="T56" fmla="*/ 5391 w 11028"/>
              <a:gd name="T57" fmla="*/ 8986 h 11512"/>
              <a:gd name="T58" fmla="*/ 10059 w 11028"/>
              <a:gd name="T59" fmla="*/ 6850 h 11512"/>
              <a:gd name="T60" fmla="*/ 1475 w 11028"/>
              <a:gd name="T61" fmla="*/ 3159 h 11512"/>
              <a:gd name="T62" fmla="*/ 1669 w 11028"/>
              <a:gd name="T63" fmla="*/ 2807 h 11512"/>
              <a:gd name="T64" fmla="*/ 1397 w 11028"/>
              <a:gd name="T65" fmla="*/ 2287 h 11512"/>
              <a:gd name="T66" fmla="*/ 9126 w 11028"/>
              <a:gd name="T67" fmla="*/ 8491 h 11512"/>
              <a:gd name="T68" fmla="*/ 8163 w 11028"/>
              <a:gd name="T69" fmla="*/ 7844 h 11512"/>
              <a:gd name="T70" fmla="*/ 2037 w 11028"/>
              <a:gd name="T71" fmla="*/ 9160 h 11512"/>
              <a:gd name="T72" fmla="*/ 1813 w 11028"/>
              <a:gd name="T73" fmla="*/ 7829 h 11512"/>
              <a:gd name="T74" fmla="*/ 1196 w 11028"/>
              <a:gd name="T75" fmla="*/ 8229 h 11512"/>
              <a:gd name="T76" fmla="*/ 1309 w 11028"/>
              <a:gd name="T77" fmla="*/ 8572 h 11512"/>
              <a:gd name="T78" fmla="*/ 10609 w 11028"/>
              <a:gd name="T79" fmla="*/ 3572 h 11512"/>
              <a:gd name="T80" fmla="*/ 9624 w 11028"/>
              <a:gd name="T81" fmla="*/ 3719 h 11512"/>
              <a:gd name="T82" fmla="*/ 9229 w 11028"/>
              <a:gd name="T83" fmla="*/ 3483 h 11512"/>
              <a:gd name="T84" fmla="*/ 1659 w 11028"/>
              <a:gd name="T85" fmla="*/ 9042 h 11512"/>
              <a:gd name="T86" fmla="*/ 5313 w 11028"/>
              <a:gd name="T87" fmla="*/ 10874 h 11512"/>
              <a:gd name="T88" fmla="*/ 4777 w 11028"/>
              <a:gd name="T89" fmla="*/ 9449 h 11512"/>
              <a:gd name="T90" fmla="*/ 5627 w 11028"/>
              <a:gd name="T91" fmla="*/ 8259 h 11512"/>
              <a:gd name="T92" fmla="*/ 5764 w 11028"/>
              <a:gd name="T93" fmla="*/ 9864 h 11512"/>
              <a:gd name="T94" fmla="*/ 5172 w 11028"/>
              <a:gd name="T95" fmla="*/ 10260 h 11512"/>
              <a:gd name="T96" fmla="*/ 6218 w 11028"/>
              <a:gd name="T97" fmla="*/ 9332 h 11512"/>
              <a:gd name="T98" fmla="*/ 5261 w 11028"/>
              <a:gd name="T99" fmla="*/ 3712 h 11512"/>
              <a:gd name="T100" fmla="*/ 4923 w 11028"/>
              <a:gd name="T101" fmla="*/ 152 h 11512"/>
              <a:gd name="T102" fmla="*/ 5224 w 11028"/>
              <a:gd name="T103" fmla="*/ 1374 h 11512"/>
              <a:gd name="T104" fmla="*/ 5114 w 11028"/>
              <a:gd name="T105" fmla="*/ 2106 h 11512"/>
              <a:gd name="T106" fmla="*/ 4993 w 11028"/>
              <a:gd name="T107" fmla="*/ 8612 h 11512"/>
              <a:gd name="T108" fmla="*/ 5694 w 11028"/>
              <a:gd name="T109" fmla="*/ 9607 h 11512"/>
              <a:gd name="T110" fmla="*/ 6104 w 11028"/>
              <a:gd name="T111" fmla="*/ 8903 h 11512"/>
              <a:gd name="T112" fmla="*/ 5920 w 11028"/>
              <a:gd name="T113" fmla="*/ 1715 h 11512"/>
              <a:gd name="T114" fmla="*/ 5337 w 11028"/>
              <a:gd name="T115" fmla="*/ 3198 h 11512"/>
              <a:gd name="T116" fmla="*/ 5788 w 11028"/>
              <a:gd name="T117" fmla="*/ 3460 h 11512"/>
              <a:gd name="T118" fmla="*/ 5846 w 11028"/>
              <a:gd name="T119" fmla="*/ 195 h 11512"/>
              <a:gd name="T120" fmla="*/ 5187 w 11028"/>
              <a:gd name="T121" fmla="*/ 3300 h 11512"/>
              <a:gd name="T122" fmla="*/ 4351 w 11028"/>
              <a:gd name="T123" fmla="*/ 1979 h 11512"/>
              <a:gd name="T124" fmla="*/ 4469 w 11028"/>
              <a:gd name="T125" fmla="*/ 1284 h 1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028" h="11512">
                <a:moveTo>
                  <a:pt x="4362" y="899"/>
                </a:moveTo>
                <a:lnTo>
                  <a:pt x="4362" y="900"/>
                </a:lnTo>
                <a:lnTo>
                  <a:pt x="4362" y="900"/>
                </a:lnTo>
                <a:lnTo>
                  <a:pt x="4363" y="899"/>
                </a:lnTo>
                <a:lnTo>
                  <a:pt x="4362" y="899"/>
                </a:lnTo>
                <a:close/>
                <a:moveTo>
                  <a:pt x="9747" y="7837"/>
                </a:moveTo>
                <a:lnTo>
                  <a:pt x="9745" y="7838"/>
                </a:lnTo>
                <a:lnTo>
                  <a:pt x="9741" y="7838"/>
                </a:lnTo>
                <a:lnTo>
                  <a:pt x="9743" y="7843"/>
                </a:lnTo>
                <a:lnTo>
                  <a:pt x="9746" y="7844"/>
                </a:lnTo>
                <a:lnTo>
                  <a:pt x="9750" y="7842"/>
                </a:lnTo>
                <a:lnTo>
                  <a:pt x="9747" y="7837"/>
                </a:lnTo>
                <a:close/>
                <a:moveTo>
                  <a:pt x="9934" y="8104"/>
                </a:moveTo>
                <a:lnTo>
                  <a:pt x="9957" y="8105"/>
                </a:lnTo>
                <a:lnTo>
                  <a:pt x="9957" y="8084"/>
                </a:lnTo>
                <a:lnTo>
                  <a:pt x="9943" y="8063"/>
                </a:lnTo>
                <a:lnTo>
                  <a:pt x="9925" y="8066"/>
                </a:lnTo>
                <a:lnTo>
                  <a:pt x="9924" y="8076"/>
                </a:lnTo>
                <a:lnTo>
                  <a:pt x="9925" y="8086"/>
                </a:lnTo>
                <a:lnTo>
                  <a:pt x="9929" y="8096"/>
                </a:lnTo>
                <a:lnTo>
                  <a:pt x="9934" y="8104"/>
                </a:lnTo>
                <a:close/>
                <a:moveTo>
                  <a:pt x="10053" y="7406"/>
                </a:moveTo>
                <a:lnTo>
                  <a:pt x="10053" y="7410"/>
                </a:lnTo>
                <a:lnTo>
                  <a:pt x="10054" y="7411"/>
                </a:lnTo>
                <a:lnTo>
                  <a:pt x="10057" y="7413"/>
                </a:lnTo>
                <a:lnTo>
                  <a:pt x="10059" y="7411"/>
                </a:lnTo>
                <a:lnTo>
                  <a:pt x="10060" y="7408"/>
                </a:lnTo>
                <a:lnTo>
                  <a:pt x="10058" y="7406"/>
                </a:lnTo>
                <a:lnTo>
                  <a:pt x="10055" y="7405"/>
                </a:lnTo>
                <a:lnTo>
                  <a:pt x="10053" y="7406"/>
                </a:lnTo>
                <a:close/>
                <a:moveTo>
                  <a:pt x="9931" y="7927"/>
                </a:moveTo>
                <a:lnTo>
                  <a:pt x="9934" y="7927"/>
                </a:lnTo>
                <a:lnTo>
                  <a:pt x="9936" y="7926"/>
                </a:lnTo>
                <a:lnTo>
                  <a:pt x="9937" y="7923"/>
                </a:lnTo>
                <a:lnTo>
                  <a:pt x="9936" y="7919"/>
                </a:lnTo>
                <a:lnTo>
                  <a:pt x="9932" y="7919"/>
                </a:lnTo>
                <a:lnTo>
                  <a:pt x="9931" y="7921"/>
                </a:lnTo>
                <a:lnTo>
                  <a:pt x="9929" y="7923"/>
                </a:lnTo>
                <a:lnTo>
                  <a:pt x="9931" y="7927"/>
                </a:lnTo>
                <a:close/>
                <a:moveTo>
                  <a:pt x="9919" y="6960"/>
                </a:moveTo>
                <a:lnTo>
                  <a:pt x="9922" y="6951"/>
                </a:lnTo>
                <a:lnTo>
                  <a:pt x="9918" y="6942"/>
                </a:lnTo>
                <a:lnTo>
                  <a:pt x="9911" y="6935"/>
                </a:lnTo>
                <a:lnTo>
                  <a:pt x="9903" y="6937"/>
                </a:lnTo>
                <a:lnTo>
                  <a:pt x="9900" y="6947"/>
                </a:lnTo>
                <a:lnTo>
                  <a:pt x="9903" y="6957"/>
                </a:lnTo>
                <a:lnTo>
                  <a:pt x="9909" y="6963"/>
                </a:lnTo>
                <a:lnTo>
                  <a:pt x="9919" y="6960"/>
                </a:lnTo>
                <a:close/>
                <a:moveTo>
                  <a:pt x="9942" y="7289"/>
                </a:moveTo>
                <a:lnTo>
                  <a:pt x="9943" y="7292"/>
                </a:lnTo>
                <a:lnTo>
                  <a:pt x="9945" y="7293"/>
                </a:lnTo>
                <a:lnTo>
                  <a:pt x="9947" y="7293"/>
                </a:lnTo>
                <a:lnTo>
                  <a:pt x="9948" y="7289"/>
                </a:lnTo>
                <a:lnTo>
                  <a:pt x="9942" y="7289"/>
                </a:lnTo>
                <a:close/>
                <a:moveTo>
                  <a:pt x="10048" y="7602"/>
                </a:moveTo>
                <a:lnTo>
                  <a:pt x="10052" y="7604"/>
                </a:lnTo>
                <a:lnTo>
                  <a:pt x="10053" y="7601"/>
                </a:lnTo>
                <a:lnTo>
                  <a:pt x="10054" y="7599"/>
                </a:lnTo>
                <a:lnTo>
                  <a:pt x="10053" y="7596"/>
                </a:lnTo>
                <a:lnTo>
                  <a:pt x="10049" y="7596"/>
                </a:lnTo>
                <a:lnTo>
                  <a:pt x="10046" y="7597"/>
                </a:lnTo>
                <a:lnTo>
                  <a:pt x="10046" y="7600"/>
                </a:lnTo>
                <a:lnTo>
                  <a:pt x="10048" y="7602"/>
                </a:lnTo>
                <a:close/>
                <a:moveTo>
                  <a:pt x="9932" y="7447"/>
                </a:moveTo>
                <a:lnTo>
                  <a:pt x="9932" y="7461"/>
                </a:lnTo>
                <a:lnTo>
                  <a:pt x="9943" y="7470"/>
                </a:lnTo>
                <a:lnTo>
                  <a:pt x="9960" y="7470"/>
                </a:lnTo>
                <a:lnTo>
                  <a:pt x="9973" y="7462"/>
                </a:lnTo>
                <a:lnTo>
                  <a:pt x="9968" y="7450"/>
                </a:lnTo>
                <a:lnTo>
                  <a:pt x="9956" y="7442"/>
                </a:lnTo>
                <a:lnTo>
                  <a:pt x="9943" y="7441"/>
                </a:lnTo>
                <a:lnTo>
                  <a:pt x="9932" y="7447"/>
                </a:lnTo>
                <a:close/>
                <a:moveTo>
                  <a:pt x="9889" y="6797"/>
                </a:moveTo>
                <a:lnTo>
                  <a:pt x="9886" y="6798"/>
                </a:lnTo>
                <a:lnTo>
                  <a:pt x="9882" y="6798"/>
                </a:lnTo>
                <a:lnTo>
                  <a:pt x="9881" y="6793"/>
                </a:lnTo>
                <a:lnTo>
                  <a:pt x="9885" y="6790"/>
                </a:lnTo>
                <a:lnTo>
                  <a:pt x="9889" y="6792"/>
                </a:lnTo>
                <a:lnTo>
                  <a:pt x="9889" y="6797"/>
                </a:lnTo>
                <a:close/>
                <a:moveTo>
                  <a:pt x="9914" y="6753"/>
                </a:moveTo>
                <a:lnTo>
                  <a:pt x="9827" y="6729"/>
                </a:lnTo>
                <a:lnTo>
                  <a:pt x="9794" y="6746"/>
                </a:lnTo>
                <a:lnTo>
                  <a:pt x="9794" y="6795"/>
                </a:lnTo>
                <a:lnTo>
                  <a:pt x="9806" y="6873"/>
                </a:lnTo>
                <a:lnTo>
                  <a:pt x="9850" y="6834"/>
                </a:lnTo>
                <a:lnTo>
                  <a:pt x="9885" y="6816"/>
                </a:lnTo>
                <a:lnTo>
                  <a:pt x="9915" y="6828"/>
                </a:lnTo>
                <a:lnTo>
                  <a:pt x="9945" y="6882"/>
                </a:lnTo>
                <a:lnTo>
                  <a:pt x="9982" y="6851"/>
                </a:lnTo>
                <a:lnTo>
                  <a:pt x="9985" y="6807"/>
                </a:lnTo>
                <a:lnTo>
                  <a:pt x="9961" y="6767"/>
                </a:lnTo>
                <a:lnTo>
                  <a:pt x="9914" y="6753"/>
                </a:lnTo>
                <a:close/>
                <a:moveTo>
                  <a:pt x="9825" y="8385"/>
                </a:moveTo>
                <a:lnTo>
                  <a:pt x="9826" y="8366"/>
                </a:lnTo>
                <a:lnTo>
                  <a:pt x="9810" y="8370"/>
                </a:lnTo>
                <a:lnTo>
                  <a:pt x="9788" y="8388"/>
                </a:lnTo>
                <a:lnTo>
                  <a:pt x="9778" y="8409"/>
                </a:lnTo>
                <a:lnTo>
                  <a:pt x="9792" y="8408"/>
                </a:lnTo>
                <a:lnTo>
                  <a:pt x="9803" y="8400"/>
                </a:lnTo>
                <a:lnTo>
                  <a:pt x="9813" y="8392"/>
                </a:lnTo>
                <a:lnTo>
                  <a:pt x="9825" y="8385"/>
                </a:lnTo>
                <a:close/>
                <a:moveTo>
                  <a:pt x="9778" y="8409"/>
                </a:moveTo>
                <a:lnTo>
                  <a:pt x="9778" y="8409"/>
                </a:lnTo>
                <a:lnTo>
                  <a:pt x="9778" y="8409"/>
                </a:lnTo>
                <a:lnTo>
                  <a:pt x="9776" y="8409"/>
                </a:lnTo>
                <a:lnTo>
                  <a:pt x="9778" y="8409"/>
                </a:lnTo>
                <a:close/>
                <a:moveTo>
                  <a:pt x="10034" y="7517"/>
                </a:moveTo>
                <a:lnTo>
                  <a:pt x="10041" y="7516"/>
                </a:lnTo>
                <a:lnTo>
                  <a:pt x="10046" y="7512"/>
                </a:lnTo>
                <a:lnTo>
                  <a:pt x="10048" y="7506"/>
                </a:lnTo>
                <a:lnTo>
                  <a:pt x="10048" y="7499"/>
                </a:lnTo>
                <a:lnTo>
                  <a:pt x="10041" y="7501"/>
                </a:lnTo>
                <a:lnTo>
                  <a:pt x="10036" y="7504"/>
                </a:lnTo>
                <a:lnTo>
                  <a:pt x="10035" y="7509"/>
                </a:lnTo>
                <a:lnTo>
                  <a:pt x="10034" y="7517"/>
                </a:lnTo>
                <a:close/>
                <a:moveTo>
                  <a:pt x="9792" y="8519"/>
                </a:moveTo>
                <a:lnTo>
                  <a:pt x="9762" y="8501"/>
                </a:lnTo>
                <a:lnTo>
                  <a:pt x="9726" y="8541"/>
                </a:lnTo>
                <a:lnTo>
                  <a:pt x="9719" y="8590"/>
                </a:lnTo>
                <a:lnTo>
                  <a:pt x="9783" y="8599"/>
                </a:lnTo>
                <a:lnTo>
                  <a:pt x="9787" y="8580"/>
                </a:lnTo>
                <a:lnTo>
                  <a:pt x="9769" y="8562"/>
                </a:lnTo>
                <a:lnTo>
                  <a:pt x="9760" y="8542"/>
                </a:lnTo>
                <a:lnTo>
                  <a:pt x="9792" y="8519"/>
                </a:lnTo>
                <a:close/>
                <a:moveTo>
                  <a:pt x="9085" y="7954"/>
                </a:moveTo>
                <a:lnTo>
                  <a:pt x="9090" y="7950"/>
                </a:lnTo>
                <a:lnTo>
                  <a:pt x="9095" y="7946"/>
                </a:lnTo>
                <a:lnTo>
                  <a:pt x="9098" y="7947"/>
                </a:lnTo>
                <a:lnTo>
                  <a:pt x="9100" y="7946"/>
                </a:lnTo>
                <a:lnTo>
                  <a:pt x="9105" y="7947"/>
                </a:lnTo>
                <a:lnTo>
                  <a:pt x="9110" y="7946"/>
                </a:lnTo>
                <a:lnTo>
                  <a:pt x="9116" y="7944"/>
                </a:lnTo>
                <a:lnTo>
                  <a:pt x="9119" y="7940"/>
                </a:lnTo>
                <a:lnTo>
                  <a:pt x="9121" y="7940"/>
                </a:lnTo>
                <a:lnTo>
                  <a:pt x="9122" y="7940"/>
                </a:lnTo>
                <a:lnTo>
                  <a:pt x="9121" y="7938"/>
                </a:lnTo>
                <a:lnTo>
                  <a:pt x="9119" y="7940"/>
                </a:lnTo>
                <a:lnTo>
                  <a:pt x="9114" y="7938"/>
                </a:lnTo>
                <a:lnTo>
                  <a:pt x="9108" y="7938"/>
                </a:lnTo>
                <a:lnTo>
                  <a:pt x="9104" y="7941"/>
                </a:lnTo>
                <a:lnTo>
                  <a:pt x="9100" y="7946"/>
                </a:lnTo>
                <a:lnTo>
                  <a:pt x="9098" y="7946"/>
                </a:lnTo>
                <a:lnTo>
                  <a:pt x="9095" y="7946"/>
                </a:lnTo>
                <a:lnTo>
                  <a:pt x="9091" y="7945"/>
                </a:lnTo>
                <a:lnTo>
                  <a:pt x="9088" y="7945"/>
                </a:lnTo>
                <a:lnTo>
                  <a:pt x="9085" y="7946"/>
                </a:lnTo>
                <a:lnTo>
                  <a:pt x="9085" y="7954"/>
                </a:lnTo>
                <a:close/>
                <a:moveTo>
                  <a:pt x="9975" y="8239"/>
                </a:moveTo>
                <a:lnTo>
                  <a:pt x="10008" y="8211"/>
                </a:lnTo>
                <a:lnTo>
                  <a:pt x="9993" y="8176"/>
                </a:lnTo>
                <a:lnTo>
                  <a:pt x="9952" y="8161"/>
                </a:lnTo>
                <a:lnTo>
                  <a:pt x="9906" y="8188"/>
                </a:lnTo>
                <a:lnTo>
                  <a:pt x="9906" y="8208"/>
                </a:lnTo>
                <a:lnTo>
                  <a:pt x="9929" y="8215"/>
                </a:lnTo>
                <a:lnTo>
                  <a:pt x="9957" y="8221"/>
                </a:lnTo>
                <a:lnTo>
                  <a:pt x="9975" y="8239"/>
                </a:lnTo>
                <a:close/>
                <a:moveTo>
                  <a:pt x="9872" y="8291"/>
                </a:moveTo>
                <a:lnTo>
                  <a:pt x="9873" y="8276"/>
                </a:lnTo>
                <a:lnTo>
                  <a:pt x="9873" y="8259"/>
                </a:lnTo>
                <a:lnTo>
                  <a:pt x="9875" y="8243"/>
                </a:lnTo>
                <a:lnTo>
                  <a:pt x="9875" y="8226"/>
                </a:lnTo>
                <a:lnTo>
                  <a:pt x="9847" y="8220"/>
                </a:lnTo>
                <a:lnTo>
                  <a:pt x="9834" y="8260"/>
                </a:lnTo>
                <a:lnTo>
                  <a:pt x="9841" y="8300"/>
                </a:lnTo>
                <a:lnTo>
                  <a:pt x="9872" y="8291"/>
                </a:lnTo>
                <a:close/>
                <a:moveTo>
                  <a:pt x="9883" y="7476"/>
                </a:moveTo>
                <a:lnTo>
                  <a:pt x="9887" y="7475"/>
                </a:lnTo>
                <a:lnTo>
                  <a:pt x="9890" y="7474"/>
                </a:lnTo>
                <a:lnTo>
                  <a:pt x="9890" y="7471"/>
                </a:lnTo>
                <a:lnTo>
                  <a:pt x="9889" y="7469"/>
                </a:lnTo>
                <a:lnTo>
                  <a:pt x="9886" y="7469"/>
                </a:lnTo>
                <a:lnTo>
                  <a:pt x="9883" y="7470"/>
                </a:lnTo>
                <a:lnTo>
                  <a:pt x="9883" y="7473"/>
                </a:lnTo>
                <a:lnTo>
                  <a:pt x="9883" y="7476"/>
                </a:lnTo>
                <a:close/>
                <a:moveTo>
                  <a:pt x="9858" y="8482"/>
                </a:moveTo>
                <a:lnTo>
                  <a:pt x="9859" y="8488"/>
                </a:lnTo>
                <a:lnTo>
                  <a:pt x="9864" y="8487"/>
                </a:lnTo>
                <a:lnTo>
                  <a:pt x="9866" y="8483"/>
                </a:lnTo>
                <a:lnTo>
                  <a:pt x="9863" y="8481"/>
                </a:lnTo>
                <a:lnTo>
                  <a:pt x="9858" y="8482"/>
                </a:lnTo>
                <a:close/>
                <a:moveTo>
                  <a:pt x="10015" y="7789"/>
                </a:moveTo>
                <a:lnTo>
                  <a:pt x="10010" y="7770"/>
                </a:lnTo>
                <a:lnTo>
                  <a:pt x="9990" y="7778"/>
                </a:lnTo>
                <a:lnTo>
                  <a:pt x="9970" y="7800"/>
                </a:lnTo>
                <a:lnTo>
                  <a:pt x="9964" y="7824"/>
                </a:lnTo>
                <a:lnTo>
                  <a:pt x="9980" y="7828"/>
                </a:lnTo>
                <a:lnTo>
                  <a:pt x="9994" y="7819"/>
                </a:lnTo>
                <a:lnTo>
                  <a:pt x="10006" y="7805"/>
                </a:lnTo>
                <a:lnTo>
                  <a:pt x="10015" y="7789"/>
                </a:lnTo>
                <a:close/>
                <a:moveTo>
                  <a:pt x="4541" y="4065"/>
                </a:moveTo>
                <a:lnTo>
                  <a:pt x="4545" y="4070"/>
                </a:lnTo>
                <a:lnTo>
                  <a:pt x="4548" y="4075"/>
                </a:lnTo>
                <a:lnTo>
                  <a:pt x="4548" y="4078"/>
                </a:lnTo>
                <a:lnTo>
                  <a:pt x="4549" y="4079"/>
                </a:lnTo>
                <a:lnTo>
                  <a:pt x="4550" y="4090"/>
                </a:lnTo>
                <a:lnTo>
                  <a:pt x="4551" y="4103"/>
                </a:lnTo>
                <a:lnTo>
                  <a:pt x="4554" y="4113"/>
                </a:lnTo>
                <a:lnTo>
                  <a:pt x="4563" y="4113"/>
                </a:lnTo>
                <a:lnTo>
                  <a:pt x="4568" y="4103"/>
                </a:lnTo>
                <a:lnTo>
                  <a:pt x="4567" y="4093"/>
                </a:lnTo>
                <a:lnTo>
                  <a:pt x="4559" y="4084"/>
                </a:lnTo>
                <a:lnTo>
                  <a:pt x="4549" y="4079"/>
                </a:lnTo>
                <a:lnTo>
                  <a:pt x="4549" y="4078"/>
                </a:lnTo>
                <a:lnTo>
                  <a:pt x="4548" y="4075"/>
                </a:lnTo>
                <a:lnTo>
                  <a:pt x="4549" y="4071"/>
                </a:lnTo>
                <a:lnTo>
                  <a:pt x="4550" y="4067"/>
                </a:lnTo>
                <a:lnTo>
                  <a:pt x="4548" y="4065"/>
                </a:lnTo>
                <a:lnTo>
                  <a:pt x="4541" y="4065"/>
                </a:lnTo>
                <a:close/>
                <a:moveTo>
                  <a:pt x="10043" y="7742"/>
                </a:moveTo>
                <a:lnTo>
                  <a:pt x="10043" y="7740"/>
                </a:lnTo>
                <a:lnTo>
                  <a:pt x="10041" y="7737"/>
                </a:lnTo>
                <a:lnTo>
                  <a:pt x="10043" y="7732"/>
                </a:lnTo>
                <a:lnTo>
                  <a:pt x="10041" y="7727"/>
                </a:lnTo>
                <a:lnTo>
                  <a:pt x="10040" y="7722"/>
                </a:lnTo>
                <a:lnTo>
                  <a:pt x="10035" y="7718"/>
                </a:lnTo>
                <a:lnTo>
                  <a:pt x="10035" y="7717"/>
                </a:lnTo>
                <a:lnTo>
                  <a:pt x="10034" y="7717"/>
                </a:lnTo>
                <a:lnTo>
                  <a:pt x="10026" y="7698"/>
                </a:lnTo>
                <a:lnTo>
                  <a:pt x="10004" y="7691"/>
                </a:lnTo>
                <a:lnTo>
                  <a:pt x="9979" y="7693"/>
                </a:lnTo>
                <a:lnTo>
                  <a:pt x="9956" y="7699"/>
                </a:lnTo>
                <a:lnTo>
                  <a:pt x="9962" y="7716"/>
                </a:lnTo>
                <a:lnTo>
                  <a:pt x="9984" y="7722"/>
                </a:lnTo>
                <a:lnTo>
                  <a:pt x="10012" y="7721"/>
                </a:lnTo>
                <a:lnTo>
                  <a:pt x="10034" y="7717"/>
                </a:lnTo>
                <a:lnTo>
                  <a:pt x="10035" y="7718"/>
                </a:lnTo>
                <a:lnTo>
                  <a:pt x="10035" y="7718"/>
                </a:lnTo>
                <a:lnTo>
                  <a:pt x="10034" y="7725"/>
                </a:lnTo>
                <a:lnTo>
                  <a:pt x="10035" y="7730"/>
                </a:lnTo>
                <a:lnTo>
                  <a:pt x="10038" y="7733"/>
                </a:lnTo>
                <a:lnTo>
                  <a:pt x="10041" y="7737"/>
                </a:lnTo>
                <a:lnTo>
                  <a:pt x="10041" y="7740"/>
                </a:lnTo>
                <a:lnTo>
                  <a:pt x="10043" y="7742"/>
                </a:lnTo>
                <a:close/>
                <a:moveTo>
                  <a:pt x="1845" y="2521"/>
                </a:moveTo>
                <a:lnTo>
                  <a:pt x="1845" y="2522"/>
                </a:lnTo>
                <a:lnTo>
                  <a:pt x="1846" y="2523"/>
                </a:lnTo>
                <a:lnTo>
                  <a:pt x="1816" y="2573"/>
                </a:lnTo>
                <a:lnTo>
                  <a:pt x="1801" y="2633"/>
                </a:lnTo>
                <a:lnTo>
                  <a:pt x="1808" y="2663"/>
                </a:lnTo>
                <a:lnTo>
                  <a:pt x="1843" y="2625"/>
                </a:lnTo>
                <a:lnTo>
                  <a:pt x="1843" y="2595"/>
                </a:lnTo>
                <a:lnTo>
                  <a:pt x="1857" y="2567"/>
                </a:lnTo>
                <a:lnTo>
                  <a:pt x="1864" y="2541"/>
                </a:lnTo>
                <a:lnTo>
                  <a:pt x="1846" y="2523"/>
                </a:lnTo>
                <a:lnTo>
                  <a:pt x="1846" y="2522"/>
                </a:lnTo>
                <a:lnTo>
                  <a:pt x="1845" y="2521"/>
                </a:lnTo>
                <a:lnTo>
                  <a:pt x="1846" y="2516"/>
                </a:lnTo>
                <a:lnTo>
                  <a:pt x="1848" y="2512"/>
                </a:lnTo>
                <a:lnTo>
                  <a:pt x="1846" y="2509"/>
                </a:lnTo>
                <a:lnTo>
                  <a:pt x="1839" y="2509"/>
                </a:lnTo>
                <a:lnTo>
                  <a:pt x="1843" y="2515"/>
                </a:lnTo>
                <a:lnTo>
                  <a:pt x="1845" y="2521"/>
                </a:lnTo>
                <a:close/>
                <a:moveTo>
                  <a:pt x="1846" y="2523"/>
                </a:moveTo>
                <a:lnTo>
                  <a:pt x="1846" y="2523"/>
                </a:lnTo>
                <a:lnTo>
                  <a:pt x="1846" y="2523"/>
                </a:lnTo>
                <a:lnTo>
                  <a:pt x="1846" y="2523"/>
                </a:lnTo>
                <a:lnTo>
                  <a:pt x="1846" y="2523"/>
                </a:lnTo>
                <a:lnTo>
                  <a:pt x="1846" y="2523"/>
                </a:lnTo>
                <a:lnTo>
                  <a:pt x="1846" y="2523"/>
                </a:lnTo>
                <a:close/>
                <a:moveTo>
                  <a:pt x="9894" y="8311"/>
                </a:moveTo>
                <a:lnTo>
                  <a:pt x="9896" y="8320"/>
                </a:lnTo>
                <a:lnTo>
                  <a:pt x="9899" y="8330"/>
                </a:lnTo>
                <a:lnTo>
                  <a:pt x="9904" y="8337"/>
                </a:lnTo>
                <a:lnTo>
                  <a:pt x="9913" y="8333"/>
                </a:lnTo>
                <a:lnTo>
                  <a:pt x="9917" y="8323"/>
                </a:lnTo>
                <a:lnTo>
                  <a:pt x="9913" y="8314"/>
                </a:lnTo>
                <a:lnTo>
                  <a:pt x="9905" y="8309"/>
                </a:lnTo>
                <a:lnTo>
                  <a:pt x="9894" y="8311"/>
                </a:lnTo>
                <a:close/>
                <a:moveTo>
                  <a:pt x="4522" y="4159"/>
                </a:moveTo>
                <a:lnTo>
                  <a:pt x="4522" y="4162"/>
                </a:lnTo>
                <a:lnTo>
                  <a:pt x="4523" y="4162"/>
                </a:lnTo>
                <a:lnTo>
                  <a:pt x="4523" y="4160"/>
                </a:lnTo>
                <a:lnTo>
                  <a:pt x="4522" y="4159"/>
                </a:lnTo>
                <a:close/>
                <a:moveTo>
                  <a:pt x="4721" y="4190"/>
                </a:moveTo>
                <a:lnTo>
                  <a:pt x="4719" y="4190"/>
                </a:lnTo>
                <a:lnTo>
                  <a:pt x="4719" y="4191"/>
                </a:lnTo>
                <a:lnTo>
                  <a:pt x="4719" y="4191"/>
                </a:lnTo>
                <a:lnTo>
                  <a:pt x="4721" y="4190"/>
                </a:lnTo>
                <a:close/>
                <a:moveTo>
                  <a:pt x="4509" y="4154"/>
                </a:moveTo>
                <a:lnTo>
                  <a:pt x="4522" y="4154"/>
                </a:lnTo>
                <a:lnTo>
                  <a:pt x="4517" y="4140"/>
                </a:lnTo>
                <a:lnTo>
                  <a:pt x="4504" y="4122"/>
                </a:lnTo>
                <a:lnTo>
                  <a:pt x="4494" y="4108"/>
                </a:lnTo>
                <a:lnTo>
                  <a:pt x="4494" y="4107"/>
                </a:lnTo>
                <a:lnTo>
                  <a:pt x="4493" y="4106"/>
                </a:lnTo>
                <a:lnTo>
                  <a:pt x="4493" y="4107"/>
                </a:lnTo>
                <a:lnTo>
                  <a:pt x="4494" y="4108"/>
                </a:lnTo>
                <a:lnTo>
                  <a:pt x="4488" y="4126"/>
                </a:lnTo>
                <a:lnTo>
                  <a:pt x="4488" y="4136"/>
                </a:lnTo>
                <a:lnTo>
                  <a:pt x="4495" y="4144"/>
                </a:lnTo>
                <a:lnTo>
                  <a:pt x="4509" y="4154"/>
                </a:lnTo>
                <a:close/>
                <a:moveTo>
                  <a:pt x="10137" y="7796"/>
                </a:moveTo>
                <a:lnTo>
                  <a:pt x="10134" y="7796"/>
                </a:lnTo>
                <a:lnTo>
                  <a:pt x="10132" y="7797"/>
                </a:lnTo>
                <a:lnTo>
                  <a:pt x="10132" y="7801"/>
                </a:lnTo>
                <a:lnTo>
                  <a:pt x="10133" y="7803"/>
                </a:lnTo>
                <a:lnTo>
                  <a:pt x="10136" y="7803"/>
                </a:lnTo>
                <a:lnTo>
                  <a:pt x="10138" y="7802"/>
                </a:lnTo>
                <a:lnTo>
                  <a:pt x="10139" y="7800"/>
                </a:lnTo>
                <a:lnTo>
                  <a:pt x="10137" y="7796"/>
                </a:lnTo>
                <a:close/>
                <a:moveTo>
                  <a:pt x="9932" y="8245"/>
                </a:moveTo>
                <a:lnTo>
                  <a:pt x="9925" y="8240"/>
                </a:lnTo>
                <a:lnTo>
                  <a:pt x="9919" y="8239"/>
                </a:lnTo>
                <a:lnTo>
                  <a:pt x="9911" y="8241"/>
                </a:lnTo>
                <a:lnTo>
                  <a:pt x="9906" y="8246"/>
                </a:lnTo>
                <a:lnTo>
                  <a:pt x="9906" y="8258"/>
                </a:lnTo>
                <a:lnTo>
                  <a:pt x="9918" y="8259"/>
                </a:lnTo>
                <a:lnTo>
                  <a:pt x="9929" y="8253"/>
                </a:lnTo>
                <a:lnTo>
                  <a:pt x="9932" y="8245"/>
                </a:lnTo>
                <a:close/>
                <a:moveTo>
                  <a:pt x="10034" y="7888"/>
                </a:moveTo>
                <a:lnTo>
                  <a:pt x="10025" y="7899"/>
                </a:lnTo>
                <a:lnTo>
                  <a:pt x="10036" y="7910"/>
                </a:lnTo>
                <a:lnTo>
                  <a:pt x="10049" y="7922"/>
                </a:lnTo>
                <a:lnTo>
                  <a:pt x="10040" y="7936"/>
                </a:lnTo>
                <a:lnTo>
                  <a:pt x="10030" y="7945"/>
                </a:lnTo>
                <a:lnTo>
                  <a:pt x="10021" y="7956"/>
                </a:lnTo>
                <a:lnTo>
                  <a:pt x="10015" y="7969"/>
                </a:lnTo>
                <a:lnTo>
                  <a:pt x="10012" y="7983"/>
                </a:lnTo>
                <a:lnTo>
                  <a:pt x="10043" y="7982"/>
                </a:lnTo>
                <a:lnTo>
                  <a:pt x="10068" y="7942"/>
                </a:lnTo>
                <a:lnTo>
                  <a:pt x="10071" y="7900"/>
                </a:lnTo>
                <a:lnTo>
                  <a:pt x="10034" y="7888"/>
                </a:lnTo>
                <a:close/>
                <a:moveTo>
                  <a:pt x="10064" y="7865"/>
                </a:moveTo>
                <a:lnTo>
                  <a:pt x="10078" y="7880"/>
                </a:lnTo>
                <a:lnTo>
                  <a:pt x="10090" y="7896"/>
                </a:lnTo>
                <a:lnTo>
                  <a:pt x="10100" y="7917"/>
                </a:lnTo>
                <a:lnTo>
                  <a:pt x="10110" y="7944"/>
                </a:lnTo>
                <a:lnTo>
                  <a:pt x="10134" y="7935"/>
                </a:lnTo>
                <a:lnTo>
                  <a:pt x="10129" y="7885"/>
                </a:lnTo>
                <a:lnTo>
                  <a:pt x="10103" y="7845"/>
                </a:lnTo>
                <a:lnTo>
                  <a:pt x="10064" y="7865"/>
                </a:lnTo>
                <a:close/>
                <a:moveTo>
                  <a:pt x="10008" y="7363"/>
                </a:moveTo>
                <a:lnTo>
                  <a:pt x="10008" y="7361"/>
                </a:lnTo>
                <a:lnTo>
                  <a:pt x="10007" y="7359"/>
                </a:lnTo>
                <a:lnTo>
                  <a:pt x="10003" y="7358"/>
                </a:lnTo>
                <a:lnTo>
                  <a:pt x="10001" y="7359"/>
                </a:lnTo>
                <a:lnTo>
                  <a:pt x="10001" y="7362"/>
                </a:lnTo>
                <a:lnTo>
                  <a:pt x="10002" y="7364"/>
                </a:lnTo>
                <a:lnTo>
                  <a:pt x="10004" y="7366"/>
                </a:lnTo>
                <a:lnTo>
                  <a:pt x="10008" y="7363"/>
                </a:lnTo>
                <a:close/>
                <a:moveTo>
                  <a:pt x="10146" y="7872"/>
                </a:moveTo>
                <a:lnTo>
                  <a:pt x="10145" y="7872"/>
                </a:lnTo>
                <a:lnTo>
                  <a:pt x="10143" y="7872"/>
                </a:lnTo>
                <a:lnTo>
                  <a:pt x="10145" y="7874"/>
                </a:lnTo>
                <a:lnTo>
                  <a:pt x="10146" y="7872"/>
                </a:lnTo>
                <a:close/>
                <a:moveTo>
                  <a:pt x="10207" y="7857"/>
                </a:moveTo>
                <a:lnTo>
                  <a:pt x="10208" y="7831"/>
                </a:lnTo>
                <a:lnTo>
                  <a:pt x="10187" y="7830"/>
                </a:lnTo>
                <a:lnTo>
                  <a:pt x="10160" y="7845"/>
                </a:lnTo>
                <a:lnTo>
                  <a:pt x="10146" y="7872"/>
                </a:lnTo>
                <a:lnTo>
                  <a:pt x="10162" y="7872"/>
                </a:lnTo>
                <a:lnTo>
                  <a:pt x="10178" y="7870"/>
                </a:lnTo>
                <a:lnTo>
                  <a:pt x="10193" y="7863"/>
                </a:lnTo>
                <a:lnTo>
                  <a:pt x="10207" y="7857"/>
                </a:lnTo>
                <a:close/>
                <a:moveTo>
                  <a:pt x="10086" y="7817"/>
                </a:moveTo>
                <a:lnTo>
                  <a:pt x="10090" y="7817"/>
                </a:lnTo>
                <a:lnTo>
                  <a:pt x="10092" y="7816"/>
                </a:lnTo>
                <a:lnTo>
                  <a:pt x="10092" y="7811"/>
                </a:lnTo>
                <a:lnTo>
                  <a:pt x="10089" y="7810"/>
                </a:lnTo>
                <a:lnTo>
                  <a:pt x="10086" y="7812"/>
                </a:lnTo>
                <a:lnTo>
                  <a:pt x="10086" y="7817"/>
                </a:lnTo>
                <a:close/>
                <a:moveTo>
                  <a:pt x="10049" y="7753"/>
                </a:moveTo>
                <a:lnTo>
                  <a:pt x="10045" y="7747"/>
                </a:lnTo>
                <a:lnTo>
                  <a:pt x="10043" y="7742"/>
                </a:lnTo>
                <a:lnTo>
                  <a:pt x="10040" y="7746"/>
                </a:lnTo>
                <a:lnTo>
                  <a:pt x="10040" y="7750"/>
                </a:lnTo>
                <a:lnTo>
                  <a:pt x="10041" y="7753"/>
                </a:lnTo>
                <a:lnTo>
                  <a:pt x="10049" y="7753"/>
                </a:lnTo>
                <a:close/>
                <a:moveTo>
                  <a:pt x="9422" y="6854"/>
                </a:moveTo>
                <a:lnTo>
                  <a:pt x="9424" y="6856"/>
                </a:lnTo>
                <a:lnTo>
                  <a:pt x="9425" y="6858"/>
                </a:lnTo>
                <a:lnTo>
                  <a:pt x="9428" y="6858"/>
                </a:lnTo>
                <a:lnTo>
                  <a:pt x="9429" y="6854"/>
                </a:lnTo>
                <a:lnTo>
                  <a:pt x="9422" y="6854"/>
                </a:lnTo>
                <a:close/>
                <a:moveTo>
                  <a:pt x="9459" y="8306"/>
                </a:moveTo>
                <a:lnTo>
                  <a:pt x="9459" y="8302"/>
                </a:lnTo>
                <a:lnTo>
                  <a:pt x="9458" y="8301"/>
                </a:lnTo>
                <a:lnTo>
                  <a:pt x="9456" y="8300"/>
                </a:lnTo>
                <a:lnTo>
                  <a:pt x="9453" y="8301"/>
                </a:lnTo>
                <a:lnTo>
                  <a:pt x="9453" y="8305"/>
                </a:lnTo>
                <a:lnTo>
                  <a:pt x="9454" y="8306"/>
                </a:lnTo>
                <a:lnTo>
                  <a:pt x="9457" y="8308"/>
                </a:lnTo>
                <a:lnTo>
                  <a:pt x="9459" y="8306"/>
                </a:lnTo>
                <a:close/>
                <a:moveTo>
                  <a:pt x="9411" y="6923"/>
                </a:moveTo>
                <a:lnTo>
                  <a:pt x="9408" y="6912"/>
                </a:lnTo>
                <a:lnTo>
                  <a:pt x="9406" y="6904"/>
                </a:lnTo>
                <a:lnTo>
                  <a:pt x="9401" y="6900"/>
                </a:lnTo>
                <a:lnTo>
                  <a:pt x="9393" y="6906"/>
                </a:lnTo>
                <a:lnTo>
                  <a:pt x="9389" y="6916"/>
                </a:lnTo>
                <a:lnTo>
                  <a:pt x="9394" y="6923"/>
                </a:lnTo>
                <a:lnTo>
                  <a:pt x="9402" y="6925"/>
                </a:lnTo>
                <a:lnTo>
                  <a:pt x="9411" y="6923"/>
                </a:lnTo>
                <a:close/>
                <a:moveTo>
                  <a:pt x="9330" y="8883"/>
                </a:moveTo>
                <a:lnTo>
                  <a:pt x="9327" y="8883"/>
                </a:lnTo>
                <a:lnTo>
                  <a:pt x="9326" y="8883"/>
                </a:lnTo>
                <a:lnTo>
                  <a:pt x="9319" y="8882"/>
                </a:lnTo>
                <a:lnTo>
                  <a:pt x="9314" y="8883"/>
                </a:lnTo>
                <a:lnTo>
                  <a:pt x="9310" y="8885"/>
                </a:lnTo>
                <a:lnTo>
                  <a:pt x="9305" y="8889"/>
                </a:lnTo>
                <a:lnTo>
                  <a:pt x="9304" y="8889"/>
                </a:lnTo>
                <a:lnTo>
                  <a:pt x="9303" y="8891"/>
                </a:lnTo>
                <a:lnTo>
                  <a:pt x="9298" y="8888"/>
                </a:lnTo>
                <a:lnTo>
                  <a:pt x="9294" y="8888"/>
                </a:lnTo>
                <a:lnTo>
                  <a:pt x="9291" y="8889"/>
                </a:lnTo>
                <a:lnTo>
                  <a:pt x="9291" y="8897"/>
                </a:lnTo>
                <a:lnTo>
                  <a:pt x="9296" y="8893"/>
                </a:lnTo>
                <a:lnTo>
                  <a:pt x="9303" y="8891"/>
                </a:lnTo>
                <a:lnTo>
                  <a:pt x="9304" y="8891"/>
                </a:lnTo>
                <a:lnTo>
                  <a:pt x="9305" y="8889"/>
                </a:lnTo>
                <a:lnTo>
                  <a:pt x="9312" y="8891"/>
                </a:lnTo>
                <a:lnTo>
                  <a:pt x="9317" y="8891"/>
                </a:lnTo>
                <a:lnTo>
                  <a:pt x="9322" y="8888"/>
                </a:lnTo>
                <a:lnTo>
                  <a:pt x="9326" y="8883"/>
                </a:lnTo>
                <a:lnTo>
                  <a:pt x="9327" y="8883"/>
                </a:lnTo>
                <a:lnTo>
                  <a:pt x="9330" y="8883"/>
                </a:lnTo>
                <a:lnTo>
                  <a:pt x="9333" y="8884"/>
                </a:lnTo>
                <a:lnTo>
                  <a:pt x="9338" y="8885"/>
                </a:lnTo>
                <a:lnTo>
                  <a:pt x="9341" y="8883"/>
                </a:lnTo>
                <a:lnTo>
                  <a:pt x="9341" y="8875"/>
                </a:lnTo>
                <a:lnTo>
                  <a:pt x="9335" y="8879"/>
                </a:lnTo>
                <a:lnTo>
                  <a:pt x="9330" y="8883"/>
                </a:lnTo>
                <a:close/>
                <a:moveTo>
                  <a:pt x="9447" y="8240"/>
                </a:moveTo>
                <a:lnTo>
                  <a:pt x="9447" y="8244"/>
                </a:lnTo>
                <a:lnTo>
                  <a:pt x="9448" y="8246"/>
                </a:lnTo>
                <a:lnTo>
                  <a:pt x="9450" y="8246"/>
                </a:lnTo>
                <a:lnTo>
                  <a:pt x="9454" y="8245"/>
                </a:lnTo>
                <a:lnTo>
                  <a:pt x="9454" y="8243"/>
                </a:lnTo>
                <a:lnTo>
                  <a:pt x="9453" y="8240"/>
                </a:lnTo>
                <a:lnTo>
                  <a:pt x="9450" y="8240"/>
                </a:lnTo>
                <a:lnTo>
                  <a:pt x="9447" y="8240"/>
                </a:lnTo>
                <a:close/>
                <a:moveTo>
                  <a:pt x="9463" y="8444"/>
                </a:moveTo>
                <a:lnTo>
                  <a:pt x="9386" y="8385"/>
                </a:lnTo>
                <a:lnTo>
                  <a:pt x="9355" y="8388"/>
                </a:lnTo>
                <a:lnTo>
                  <a:pt x="9346" y="8439"/>
                </a:lnTo>
                <a:lnTo>
                  <a:pt x="9331" y="8524"/>
                </a:lnTo>
                <a:lnTo>
                  <a:pt x="9352" y="8529"/>
                </a:lnTo>
                <a:lnTo>
                  <a:pt x="9361" y="8506"/>
                </a:lnTo>
                <a:lnTo>
                  <a:pt x="9374" y="8479"/>
                </a:lnTo>
                <a:lnTo>
                  <a:pt x="9402" y="8473"/>
                </a:lnTo>
                <a:lnTo>
                  <a:pt x="9417" y="8468"/>
                </a:lnTo>
                <a:lnTo>
                  <a:pt x="9436" y="8464"/>
                </a:lnTo>
                <a:lnTo>
                  <a:pt x="9453" y="8456"/>
                </a:lnTo>
                <a:lnTo>
                  <a:pt x="9463" y="8444"/>
                </a:lnTo>
                <a:close/>
                <a:moveTo>
                  <a:pt x="9140" y="8669"/>
                </a:moveTo>
                <a:lnTo>
                  <a:pt x="9159" y="8641"/>
                </a:lnTo>
                <a:lnTo>
                  <a:pt x="9173" y="8602"/>
                </a:lnTo>
                <a:lnTo>
                  <a:pt x="9181" y="8563"/>
                </a:lnTo>
                <a:lnTo>
                  <a:pt x="9179" y="8544"/>
                </a:lnTo>
                <a:lnTo>
                  <a:pt x="9122" y="8607"/>
                </a:lnTo>
                <a:lnTo>
                  <a:pt x="9086" y="8688"/>
                </a:lnTo>
                <a:lnTo>
                  <a:pt x="9088" y="8729"/>
                </a:lnTo>
                <a:lnTo>
                  <a:pt x="9140" y="8669"/>
                </a:lnTo>
                <a:close/>
                <a:moveTo>
                  <a:pt x="9102" y="8814"/>
                </a:moveTo>
                <a:lnTo>
                  <a:pt x="9108" y="8814"/>
                </a:lnTo>
                <a:lnTo>
                  <a:pt x="9109" y="8812"/>
                </a:lnTo>
                <a:lnTo>
                  <a:pt x="9107" y="8808"/>
                </a:lnTo>
                <a:lnTo>
                  <a:pt x="9100" y="8809"/>
                </a:lnTo>
                <a:lnTo>
                  <a:pt x="9102" y="8812"/>
                </a:lnTo>
                <a:lnTo>
                  <a:pt x="9102" y="8814"/>
                </a:lnTo>
                <a:close/>
                <a:moveTo>
                  <a:pt x="9299" y="6602"/>
                </a:moveTo>
                <a:lnTo>
                  <a:pt x="9305" y="6603"/>
                </a:lnTo>
                <a:lnTo>
                  <a:pt x="9314" y="6604"/>
                </a:lnTo>
                <a:lnTo>
                  <a:pt x="9310" y="6594"/>
                </a:lnTo>
                <a:lnTo>
                  <a:pt x="9303" y="6590"/>
                </a:lnTo>
                <a:lnTo>
                  <a:pt x="9296" y="6593"/>
                </a:lnTo>
                <a:lnTo>
                  <a:pt x="9299" y="6602"/>
                </a:lnTo>
                <a:close/>
                <a:moveTo>
                  <a:pt x="9475" y="6798"/>
                </a:moveTo>
                <a:lnTo>
                  <a:pt x="9464" y="6794"/>
                </a:lnTo>
                <a:lnTo>
                  <a:pt x="9452" y="6793"/>
                </a:lnTo>
                <a:lnTo>
                  <a:pt x="9440" y="6795"/>
                </a:lnTo>
                <a:lnTo>
                  <a:pt x="9431" y="6802"/>
                </a:lnTo>
                <a:lnTo>
                  <a:pt x="9439" y="6812"/>
                </a:lnTo>
                <a:lnTo>
                  <a:pt x="9456" y="6814"/>
                </a:lnTo>
                <a:lnTo>
                  <a:pt x="9472" y="6809"/>
                </a:lnTo>
                <a:lnTo>
                  <a:pt x="9475" y="6798"/>
                </a:lnTo>
                <a:close/>
                <a:moveTo>
                  <a:pt x="9080" y="8464"/>
                </a:moveTo>
                <a:lnTo>
                  <a:pt x="9066" y="8473"/>
                </a:lnTo>
                <a:lnTo>
                  <a:pt x="9060" y="8488"/>
                </a:lnTo>
                <a:lnTo>
                  <a:pt x="9062" y="8502"/>
                </a:lnTo>
                <a:lnTo>
                  <a:pt x="9075" y="8509"/>
                </a:lnTo>
                <a:lnTo>
                  <a:pt x="9077" y="8501"/>
                </a:lnTo>
                <a:lnTo>
                  <a:pt x="9080" y="8487"/>
                </a:lnTo>
                <a:lnTo>
                  <a:pt x="9081" y="8472"/>
                </a:lnTo>
                <a:lnTo>
                  <a:pt x="9080" y="8464"/>
                </a:lnTo>
                <a:close/>
                <a:moveTo>
                  <a:pt x="9522" y="7516"/>
                </a:moveTo>
                <a:lnTo>
                  <a:pt x="9522" y="7504"/>
                </a:lnTo>
                <a:lnTo>
                  <a:pt x="9514" y="7497"/>
                </a:lnTo>
                <a:lnTo>
                  <a:pt x="9503" y="7495"/>
                </a:lnTo>
                <a:lnTo>
                  <a:pt x="9495" y="7504"/>
                </a:lnTo>
                <a:lnTo>
                  <a:pt x="9494" y="7516"/>
                </a:lnTo>
                <a:lnTo>
                  <a:pt x="9503" y="7523"/>
                </a:lnTo>
                <a:lnTo>
                  <a:pt x="9514" y="7523"/>
                </a:lnTo>
                <a:lnTo>
                  <a:pt x="9522" y="7516"/>
                </a:lnTo>
                <a:close/>
                <a:moveTo>
                  <a:pt x="9472" y="6971"/>
                </a:moveTo>
                <a:lnTo>
                  <a:pt x="9466" y="6968"/>
                </a:lnTo>
                <a:lnTo>
                  <a:pt x="9458" y="6967"/>
                </a:lnTo>
                <a:lnTo>
                  <a:pt x="9462" y="6977"/>
                </a:lnTo>
                <a:lnTo>
                  <a:pt x="9470" y="6981"/>
                </a:lnTo>
                <a:lnTo>
                  <a:pt x="9475" y="6979"/>
                </a:lnTo>
                <a:lnTo>
                  <a:pt x="9472" y="6971"/>
                </a:lnTo>
                <a:close/>
                <a:moveTo>
                  <a:pt x="9820" y="8155"/>
                </a:moveTo>
                <a:lnTo>
                  <a:pt x="9810" y="8147"/>
                </a:lnTo>
                <a:lnTo>
                  <a:pt x="9801" y="8154"/>
                </a:lnTo>
                <a:lnTo>
                  <a:pt x="9794" y="8166"/>
                </a:lnTo>
                <a:lnTo>
                  <a:pt x="9793" y="8180"/>
                </a:lnTo>
                <a:lnTo>
                  <a:pt x="9806" y="8179"/>
                </a:lnTo>
                <a:lnTo>
                  <a:pt x="9817" y="8175"/>
                </a:lnTo>
                <a:lnTo>
                  <a:pt x="9822" y="8168"/>
                </a:lnTo>
                <a:lnTo>
                  <a:pt x="9820" y="8155"/>
                </a:lnTo>
                <a:close/>
                <a:moveTo>
                  <a:pt x="9476" y="7140"/>
                </a:moveTo>
                <a:lnTo>
                  <a:pt x="9485" y="7136"/>
                </a:lnTo>
                <a:lnTo>
                  <a:pt x="9494" y="7125"/>
                </a:lnTo>
                <a:lnTo>
                  <a:pt x="9503" y="7112"/>
                </a:lnTo>
                <a:lnTo>
                  <a:pt x="9513" y="7102"/>
                </a:lnTo>
                <a:lnTo>
                  <a:pt x="9500" y="7092"/>
                </a:lnTo>
                <a:lnTo>
                  <a:pt x="9481" y="7102"/>
                </a:lnTo>
                <a:lnTo>
                  <a:pt x="9467" y="7121"/>
                </a:lnTo>
                <a:lnTo>
                  <a:pt x="9476" y="7140"/>
                </a:lnTo>
                <a:close/>
                <a:moveTo>
                  <a:pt x="9519" y="6865"/>
                </a:moveTo>
                <a:lnTo>
                  <a:pt x="9514" y="6860"/>
                </a:lnTo>
                <a:lnTo>
                  <a:pt x="9510" y="6856"/>
                </a:lnTo>
                <a:lnTo>
                  <a:pt x="9505" y="6854"/>
                </a:lnTo>
                <a:lnTo>
                  <a:pt x="9500" y="6856"/>
                </a:lnTo>
                <a:lnTo>
                  <a:pt x="9500" y="6863"/>
                </a:lnTo>
                <a:lnTo>
                  <a:pt x="9505" y="6868"/>
                </a:lnTo>
                <a:lnTo>
                  <a:pt x="9513" y="6869"/>
                </a:lnTo>
                <a:lnTo>
                  <a:pt x="9519" y="6865"/>
                </a:lnTo>
                <a:close/>
                <a:moveTo>
                  <a:pt x="9612" y="8481"/>
                </a:moveTo>
                <a:lnTo>
                  <a:pt x="9610" y="8481"/>
                </a:lnTo>
                <a:lnTo>
                  <a:pt x="9607" y="8482"/>
                </a:lnTo>
                <a:lnTo>
                  <a:pt x="9608" y="8487"/>
                </a:lnTo>
                <a:lnTo>
                  <a:pt x="9612" y="8488"/>
                </a:lnTo>
                <a:lnTo>
                  <a:pt x="9615" y="8486"/>
                </a:lnTo>
                <a:lnTo>
                  <a:pt x="9612" y="8481"/>
                </a:lnTo>
                <a:close/>
                <a:moveTo>
                  <a:pt x="9569" y="7289"/>
                </a:moveTo>
                <a:lnTo>
                  <a:pt x="9575" y="7294"/>
                </a:lnTo>
                <a:lnTo>
                  <a:pt x="9583" y="7297"/>
                </a:lnTo>
                <a:lnTo>
                  <a:pt x="9589" y="7298"/>
                </a:lnTo>
                <a:lnTo>
                  <a:pt x="9597" y="7294"/>
                </a:lnTo>
                <a:lnTo>
                  <a:pt x="9589" y="7284"/>
                </a:lnTo>
                <a:lnTo>
                  <a:pt x="9575" y="7278"/>
                </a:lnTo>
                <a:lnTo>
                  <a:pt x="9565" y="7278"/>
                </a:lnTo>
                <a:lnTo>
                  <a:pt x="9569" y="7289"/>
                </a:lnTo>
                <a:close/>
                <a:moveTo>
                  <a:pt x="9501" y="8416"/>
                </a:moveTo>
                <a:lnTo>
                  <a:pt x="9501" y="8417"/>
                </a:lnTo>
                <a:lnTo>
                  <a:pt x="9503" y="8418"/>
                </a:lnTo>
                <a:lnTo>
                  <a:pt x="9501" y="8422"/>
                </a:lnTo>
                <a:lnTo>
                  <a:pt x="9500" y="8427"/>
                </a:lnTo>
                <a:lnTo>
                  <a:pt x="9503" y="8430"/>
                </a:lnTo>
                <a:lnTo>
                  <a:pt x="9510" y="8430"/>
                </a:lnTo>
                <a:lnTo>
                  <a:pt x="9507" y="8423"/>
                </a:lnTo>
                <a:lnTo>
                  <a:pt x="9503" y="8418"/>
                </a:lnTo>
                <a:lnTo>
                  <a:pt x="9503" y="8416"/>
                </a:lnTo>
                <a:lnTo>
                  <a:pt x="9501" y="8416"/>
                </a:lnTo>
                <a:close/>
                <a:moveTo>
                  <a:pt x="9500" y="8392"/>
                </a:moveTo>
                <a:lnTo>
                  <a:pt x="9496" y="8384"/>
                </a:lnTo>
                <a:lnTo>
                  <a:pt x="9493" y="8380"/>
                </a:lnTo>
                <a:lnTo>
                  <a:pt x="9486" y="8381"/>
                </a:lnTo>
                <a:lnTo>
                  <a:pt x="9480" y="8388"/>
                </a:lnTo>
                <a:lnTo>
                  <a:pt x="9472" y="8407"/>
                </a:lnTo>
                <a:lnTo>
                  <a:pt x="9486" y="8414"/>
                </a:lnTo>
                <a:lnTo>
                  <a:pt x="9501" y="8411"/>
                </a:lnTo>
                <a:lnTo>
                  <a:pt x="9500" y="8392"/>
                </a:lnTo>
                <a:close/>
                <a:moveTo>
                  <a:pt x="9654" y="7462"/>
                </a:moveTo>
                <a:lnTo>
                  <a:pt x="9654" y="7465"/>
                </a:lnTo>
                <a:lnTo>
                  <a:pt x="9656" y="7469"/>
                </a:lnTo>
                <a:lnTo>
                  <a:pt x="9661" y="7467"/>
                </a:lnTo>
                <a:lnTo>
                  <a:pt x="9662" y="7464"/>
                </a:lnTo>
                <a:lnTo>
                  <a:pt x="9659" y="7461"/>
                </a:lnTo>
                <a:lnTo>
                  <a:pt x="9654" y="7462"/>
                </a:lnTo>
                <a:close/>
                <a:moveTo>
                  <a:pt x="9545" y="8593"/>
                </a:moveTo>
                <a:lnTo>
                  <a:pt x="9585" y="8611"/>
                </a:lnTo>
                <a:lnTo>
                  <a:pt x="9610" y="8576"/>
                </a:lnTo>
                <a:lnTo>
                  <a:pt x="9605" y="8524"/>
                </a:lnTo>
                <a:lnTo>
                  <a:pt x="9554" y="8486"/>
                </a:lnTo>
                <a:lnTo>
                  <a:pt x="9552" y="8510"/>
                </a:lnTo>
                <a:lnTo>
                  <a:pt x="9566" y="8538"/>
                </a:lnTo>
                <a:lnTo>
                  <a:pt x="9571" y="8567"/>
                </a:lnTo>
                <a:lnTo>
                  <a:pt x="9545" y="8593"/>
                </a:lnTo>
                <a:close/>
                <a:moveTo>
                  <a:pt x="9565" y="7168"/>
                </a:moveTo>
                <a:lnTo>
                  <a:pt x="9569" y="7168"/>
                </a:lnTo>
                <a:lnTo>
                  <a:pt x="9571" y="7167"/>
                </a:lnTo>
                <a:lnTo>
                  <a:pt x="9573" y="7164"/>
                </a:lnTo>
                <a:lnTo>
                  <a:pt x="9571" y="7161"/>
                </a:lnTo>
                <a:lnTo>
                  <a:pt x="9568" y="7162"/>
                </a:lnTo>
                <a:lnTo>
                  <a:pt x="9565" y="7163"/>
                </a:lnTo>
                <a:lnTo>
                  <a:pt x="9565" y="7166"/>
                </a:lnTo>
                <a:lnTo>
                  <a:pt x="9565" y="7168"/>
                </a:lnTo>
                <a:close/>
                <a:moveTo>
                  <a:pt x="9584" y="6916"/>
                </a:moveTo>
                <a:lnTo>
                  <a:pt x="9578" y="6912"/>
                </a:lnTo>
                <a:lnTo>
                  <a:pt x="9570" y="6911"/>
                </a:lnTo>
                <a:lnTo>
                  <a:pt x="9569" y="6919"/>
                </a:lnTo>
                <a:lnTo>
                  <a:pt x="9578" y="6924"/>
                </a:lnTo>
                <a:lnTo>
                  <a:pt x="9585" y="6925"/>
                </a:lnTo>
                <a:lnTo>
                  <a:pt x="9584" y="6916"/>
                </a:lnTo>
                <a:close/>
                <a:moveTo>
                  <a:pt x="9337" y="8716"/>
                </a:moveTo>
                <a:lnTo>
                  <a:pt x="9337" y="8702"/>
                </a:lnTo>
                <a:lnTo>
                  <a:pt x="9314" y="8700"/>
                </a:lnTo>
                <a:lnTo>
                  <a:pt x="9293" y="8706"/>
                </a:lnTo>
                <a:lnTo>
                  <a:pt x="9290" y="8721"/>
                </a:lnTo>
                <a:lnTo>
                  <a:pt x="9303" y="8721"/>
                </a:lnTo>
                <a:lnTo>
                  <a:pt x="9314" y="8723"/>
                </a:lnTo>
                <a:lnTo>
                  <a:pt x="9326" y="8723"/>
                </a:lnTo>
                <a:lnTo>
                  <a:pt x="9337" y="8716"/>
                </a:lnTo>
                <a:close/>
                <a:moveTo>
                  <a:pt x="9293" y="8758"/>
                </a:moveTo>
                <a:lnTo>
                  <a:pt x="9294" y="8754"/>
                </a:lnTo>
                <a:lnTo>
                  <a:pt x="9291" y="8753"/>
                </a:lnTo>
                <a:lnTo>
                  <a:pt x="9289" y="8752"/>
                </a:lnTo>
                <a:lnTo>
                  <a:pt x="9286" y="8753"/>
                </a:lnTo>
                <a:lnTo>
                  <a:pt x="9286" y="8757"/>
                </a:lnTo>
                <a:lnTo>
                  <a:pt x="9287" y="8759"/>
                </a:lnTo>
                <a:lnTo>
                  <a:pt x="9290" y="8759"/>
                </a:lnTo>
                <a:lnTo>
                  <a:pt x="9293" y="8758"/>
                </a:lnTo>
                <a:close/>
                <a:moveTo>
                  <a:pt x="9295" y="7564"/>
                </a:moveTo>
                <a:lnTo>
                  <a:pt x="9304" y="7557"/>
                </a:lnTo>
                <a:lnTo>
                  <a:pt x="9312" y="7549"/>
                </a:lnTo>
                <a:lnTo>
                  <a:pt x="9315" y="7539"/>
                </a:lnTo>
                <a:lnTo>
                  <a:pt x="9314" y="7527"/>
                </a:lnTo>
                <a:lnTo>
                  <a:pt x="9305" y="7532"/>
                </a:lnTo>
                <a:lnTo>
                  <a:pt x="9299" y="7541"/>
                </a:lnTo>
                <a:lnTo>
                  <a:pt x="9295" y="7551"/>
                </a:lnTo>
                <a:lnTo>
                  <a:pt x="9295" y="7564"/>
                </a:lnTo>
                <a:close/>
                <a:moveTo>
                  <a:pt x="9289" y="6998"/>
                </a:moveTo>
                <a:lnTo>
                  <a:pt x="9296" y="6996"/>
                </a:lnTo>
                <a:lnTo>
                  <a:pt x="9300" y="6993"/>
                </a:lnTo>
                <a:lnTo>
                  <a:pt x="9301" y="6988"/>
                </a:lnTo>
                <a:lnTo>
                  <a:pt x="9303" y="6980"/>
                </a:lnTo>
                <a:lnTo>
                  <a:pt x="9296" y="6981"/>
                </a:lnTo>
                <a:lnTo>
                  <a:pt x="9291" y="6985"/>
                </a:lnTo>
                <a:lnTo>
                  <a:pt x="9290" y="6990"/>
                </a:lnTo>
                <a:lnTo>
                  <a:pt x="9289" y="6998"/>
                </a:lnTo>
                <a:close/>
                <a:moveTo>
                  <a:pt x="9282" y="7587"/>
                </a:moveTo>
                <a:lnTo>
                  <a:pt x="9276" y="7590"/>
                </a:lnTo>
                <a:lnTo>
                  <a:pt x="9272" y="7595"/>
                </a:lnTo>
                <a:lnTo>
                  <a:pt x="9270" y="7601"/>
                </a:lnTo>
                <a:lnTo>
                  <a:pt x="9270" y="7609"/>
                </a:lnTo>
                <a:lnTo>
                  <a:pt x="9277" y="7605"/>
                </a:lnTo>
                <a:lnTo>
                  <a:pt x="9281" y="7601"/>
                </a:lnTo>
                <a:lnTo>
                  <a:pt x="9284" y="7595"/>
                </a:lnTo>
                <a:lnTo>
                  <a:pt x="9282" y="7587"/>
                </a:lnTo>
                <a:close/>
                <a:moveTo>
                  <a:pt x="9429" y="8787"/>
                </a:moveTo>
                <a:lnTo>
                  <a:pt x="9425" y="8787"/>
                </a:lnTo>
                <a:lnTo>
                  <a:pt x="9422" y="8789"/>
                </a:lnTo>
                <a:lnTo>
                  <a:pt x="9422" y="8791"/>
                </a:lnTo>
                <a:lnTo>
                  <a:pt x="9424" y="8795"/>
                </a:lnTo>
                <a:lnTo>
                  <a:pt x="9428" y="8794"/>
                </a:lnTo>
                <a:lnTo>
                  <a:pt x="9429" y="8793"/>
                </a:lnTo>
                <a:lnTo>
                  <a:pt x="9430" y="8791"/>
                </a:lnTo>
                <a:lnTo>
                  <a:pt x="9429" y="8787"/>
                </a:lnTo>
                <a:close/>
                <a:moveTo>
                  <a:pt x="9372" y="8588"/>
                </a:moveTo>
                <a:lnTo>
                  <a:pt x="9336" y="8572"/>
                </a:lnTo>
                <a:lnTo>
                  <a:pt x="9315" y="8585"/>
                </a:lnTo>
                <a:lnTo>
                  <a:pt x="9314" y="8609"/>
                </a:lnTo>
                <a:lnTo>
                  <a:pt x="9341" y="8632"/>
                </a:lnTo>
                <a:lnTo>
                  <a:pt x="9377" y="8639"/>
                </a:lnTo>
                <a:lnTo>
                  <a:pt x="9401" y="8626"/>
                </a:lnTo>
                <a:lnTo>
                  <a:pt x="9403" y="8607"/>
                </a:lnTo>
                <a:lnTo>
                  <a:pt x="9372" y="8588"/>
                </a:lnTo>
                <a:close/>
                <a:moveTo>
                  <a:pt x="9285" y="7739"/>
                </a:moveTo>
                <a:lnTo>
                  <a:pt x="9286" y="7731"/>
                </a:lnTo>
                <a:lnTo>
                  <a:pt x="9285" y="7727"/>
                </a:lnTo>
                <a:lnTo>
                  <a:pt x="9280" y="7727"/>
                </a:lnTo>
                <a:lnTo>
                  <a:pt x="9273" y="7732"/>
                </a:lnTo>
                <a:lnTo>
                  <a:pt x="9272" y="7739"/>
                </a:lnTo>
                <a:lnTo>
                  <a:pt x="9275" y="7744"/>
                </a:lnTo>
                <a:lnTo>
                  <a:pt x="9279" y="7744"/>
                </a:lnTo>
                <a:lnTo>
                  <a:pt x="9285" y="7739"/>
                </a:lnTo>
                <a:close/>
                <a:moveTo>
                  <a:pt x="9382" y="8860"/>
                </a:moveTo>
                <a:lnTo>
                  <a:pt x="9391" y="8875"/>
                </a:lnTo>
                <a:lnTo>
                  <a:pt x="9407" y="8878"/>
                </a:lnTo>
                <a:lnTo>
                  <a:pt x="9425" y="8870"/>
                </a:lnTo>
                <a:lnTo>
                  <a:pt x="9435" y="8857"/>
                </a:lnTo>
                <a:lnTo>
                  <a:pt x="9426" y="8842"/>
                </a:lnTo>
                <a:lnTo>
                  <a:pt x="9410" y="8840"/>
                </a:lnTo>
                <a:lnTo>
                  <a:pt x="9392" y="8847"/>
                </a:lnTo>
                <a:lnTo>
                  <a:pt x="9382" y="8860"/>
                </a:lnTo>
                <a:close/>
                <a:moveTo>
                  <a:pt x="9754" y="8423"/>
                </a:moveTo>
                <a:lnTo>
                  <a:pt x="9764" y="8460"/>
                </a:lnTo>
                <a:lnTo>
                  <a:pt x="9798" y="8474"/>
                </a:lnTo>
                <a:lnTo>
                  <a:pt x="9825" y="8465"/>
                </a:lnTo>
                <a:lnTo>
                  <a:pt x="9813" y="8434"/>
                </a:lnTo>
                <a:lnTo>
                  <a:pt x="9789" y="8444"/>
                </a:lnTo>
                <a:lnTo>
                  <a:pt x="9776" y="8426"/>
                </a:lnTo>
                <a:lnTo>
                  <a:pt x="9769" y="8409"/>
                </a:lnTo>
                <a:lnTo>
                  <a:pt x="9754" y="8423"/>
                </a:lnTo>
                <a:close/>
                <a:moveTo>
                  <a:pt x="9612" y="8823"/>
                </a:moveTo>
                <a:lnTo>
                  <a:pt x="9611" y="8823"/>
                </a:lnTo>
                <a:lnTo>
                  <a:pt x="9611" y="8824"/>
                </a:lnTo>
                <a:lnTo>
                  <a:pt x="9612" y="8823"/>
                </a:lnTo>
                <a:lnTo>
                  <a:pt x="9612" y="8823"/>
                </a:lnTo>
                <a:close/>
                <a:moveTo>
                  <a:pt x="10032" y="8239"/>
                </a:moveTo>
                <a:lnTo>
                  <a:pt x="10027" y="8252"/>
                </a:lnTo>
                <a:lnTo>
                  <a:pt x="10040" y="8255"/>
                </a:lnTo>
                <a:lnTo>
                  <a:pt x="10055" y="8250"/>
                </a:lnTo>
                <a:lnTo>
                  <a:pt x="10063" y="8236"/>
                </a:lnTo>
                <a:lnTo>
                  <a:pt x="10064" y="8236"/>
                </a:lnTo>
                <a:lnTo>
                  <a:pt x="10064" y="8235"/>
                </a:lnTo>
                <a:lnTo>
                  <a:pt x="10064" y="8235"/>
                </a:lnTo>
                <a:lnTo>
                  <a:pt x="10063" y="8236"/>
                </a:lnTo>
                <a:lnTo>
                  <a:pt x="10055" y="8234"/>
                </a:lnTo>
                <a:lnTo>
                  <a:pt x="10048" y="8235"/>
                </a:lnTo>
                <a:lnTo>
                  <a:pt x="10040" y="8236"/>
                </a:lnTo>
                <a:lnTo>
                  <a:pt x="10032" y="8239"/>
                </a:lnTo>
                <a:close/>
                <a:moveTo>
                  <a:pt x="9626" y="8822"/>
                </a:moveTo>
                <a:lnTo>
                  <a:pt x="9631" y="8817"/>
                </a:lnTo>
                <a:lnTo>
                  <a:pt x="9635" y="8809"/>
                </a:lnTo>
                <a:lnTo>
                  <a:pt x="9629" y="8804"/>
                </a:lnTo>
                <a:lnTo>
                  <a:pt x="9619" y="8812"/>
                </a:lnTo>
                <a:lnTo>
                  <a:pt x="9613" y="8822"/>
                </a:lnTo>
                <a:lnTo>
                  <a:pt x="9626" y="8822"/>
                </a:lnTo>
                <a:close/>
                <a:moveTo>
                  <a:pt x="8655" y="8656"/>
                </a:moveTo>
                <a:lnTo>
                  <a:pt x="8656" y="8656"/>
                </a:lnTo>
                <a:lnTo>
                  <a:pt x="8657" y="8656"/>
                </a:lnTo>
                <a:lnTo>
                  <a:pt x="8656" y="8655"/>
                </a:lnTo>
                <a:lnTo>
                  <a:pt x="8655" y="8656"/>
                </a:lnTo>
                <a:lnTo>
                  <a:pt x="8649" y="8655"/>
                </a:lnTo>
                <a:lnTo>
                  <a:pt x="8643" y="8655"/>
                </a:lnTo>
                <a:lnTo>
                  <a:pt x="8639" y="8658"/>
                </a:lnTo>
                <a:lnTo>
                  <a:pt x="8634" y="8663"/>
                </a:lnTo>
                <a:lnTo>
                  <a:pt x="8633" y="8663"/>
                </a:lnTo>
                <a:lnTo>
                  <a:pt x="8632" y="8663"/>
                </a:lnTo>
                <a:lnTo>
                  <a:pt x="8627" y="8661"/>
                </a:lnTo>
                <a:lnTo>
                  <a:pt x="8623" y="8661"/>
                </a:lnTo>
                <a:lnTo>
                  <a:pt x="8620" y="8663"/>
                </a:lnTo>
                <a:lnTo>
                  <a:pt x="8620" y="8670"/>
                </a:lnTo>
                <a:lnTo>
                  <a:pt x="8625" y="8667"/>
                </a:lnTo>
                <a:lnTo>
                  <a:pt x="8632" y="8663"/>
                </a:lnTo>
                <a:lnTo>
                  <a:pt x="8633" y="8664"/>
                </a:lnTo>
                <a:lnTo>
                  <a:pt x="8634" y="8663"/>
                </a:lnTo>
                <a:lnTo>
                  <a:pt x="8641" y="8664"/>
                </a:lnTo>
                <a:lnTo>
                  <a:pt x="8646" y="8664"/>
                </a:lnTo>
                <a:lnTo>
                  <a:pt x="8651" y="8661"/>
                </a:lnTo>
                <a:lnTo>
                  <a:pt x="8655" y="8656"/>
                </a:lnTo>
                <a:close/>
                <a:moveTo>
                  <a:pt x="8754" y="8636"/>
                </a:moveTo>
                <a:lnTo>
                  <a:pt x="8748" y="8640"/>
                </a:lnTo>
                <a:lnTo>
                  <a:pt x="8742" y="8644"/>
                </a:lnTo>
                <a:lnTo>
                  <a:pt x="8741" y="8642"/>
                </a:lnTo>
                <a:lnTo>
                  <a:pt x="8740" y="8644"/>
                </a:lnTo>
                <a:lnTo>
                  <a:pt x="8741" y="8644"/>
                </a:lnTo>
                <a:lnTo>
                  <a:pt x="8742" y="8644"/>
                </a:lnTo>
                <a:lnTo>
                  <a:pt x="8746" y="8645"/>
                </a:lnTo>
                <a:lnTo>
                  <a:pt x="8751" y="8645"/>
                </a:lnTo>
                <a:lnTo>
                  <a:pt x="8754" y="8644"/>
                </a:lnTo>
                <a:lnTo>
                  <a:pt x="8754" y="8636"/>
                </a:lnTo>
                <a:close/>
                <a:moveTo>
                  <a:pt x="10017" y="8030"/>
                </a:moveTo>
                <a:lnTo>
                  <a:pt x="10011" y="8017"/>
                </a:lnTo>
                <a:lnTo>
                  <a:pt x="9999" y="8014"/>
                </a:lnTo>
                <a:lnTo>
                  <a:pt x="9987" y="8016"/>
                </a:lnTo>
                <a:lnTo>
                  <a:pt x="9974" y="8021"/>
                </a:lnTo>
                <a:lnTo>
                  <a:pt x="9985" y="8043"/>
                </a:lnTo>
                <a:lnTo>
                  <a:pt x="9997" y="8057"/>
                </a:lnTo>
                <a:lnTo>
                  <a:pt x="10008" y="8054"/>
                </a:lnTo>
                <a:lnTo>
                  <a:pt x="10017" y="8030"/>
                </a:lnTo>
                <a:close/>
                <a:moveTo>
                  <a:pt x="10122" y="8131"/>
                </a:moveTo>
                <a:lnTo>
                  <a:pt x="10120" y="8131"/>
                </a:lnTo>
                <a:lnTo>
                  <a:pt x="10120" y="8131"/>
                </a:lnTo>
                <a:lnTo>
                  <a:pt x="10122" y="8132"/>
                </a:lnTo>
                <a:lnTo>
                  <a:pt x="10122" y="8131"/>
                </a:lnTo>
                <a:close/>
                <a:moveTo>
                  <a:pt x="10166" y="8157"/>
                </a:moveTo>
                <a:lnTo>
                  <a:pt x="10166" y="8155"/>
                </a:lnTo>
                <a:lnTo>
                  <a:pt x="10166" y="8155"/>
                </a:lnTo>
                <a:lnTo>
                  <a:pt x="10165" y="8156"/>
                </a:lnTo>
                <a:lnTo>
                  <a:pt x="10166" y="8157"/>
                </a:lnTo>
                <a:lnTo>
                  <a:pt x="10165" y="8161"/>
                </a:lnTo>
                <a:lnTo>
                  <a:pt x="10164" y="8166"/>
                </a:lnTo>
                <a:lnTo>
                  <a:pt x="10166" y="8169"/>
                </a:lnTo>
                <a:lnTo>
                  <a:pt x="10174" y="8169"/>
                </a:lnTo>
                <a:lnTo>
                  <a:pt x="10170" y="8162"/>
                </a:lnTo>
                <a:lnTo>
                  <a:pt x="10166" y="8157"/>
                </a:lnTo>
                <a:close/>
                <a:moveTo>
                  <a:pt x="10159" y="8123"/>
                </a:moveTo>
                <a:lnTo>
                  <a:pt x="10157" y="8124"/>
                </a:lnTo>
                <a:lnTo>
                  <a:pt x="10153" y="8124"/>
                </a:lnTo>
                <a:lnTo>
                  <a:pt x="10152" y="8119"/>
                </a:lnTo>
                <a:lnTo>
                  <a:pt x="10155" y="8117"/>
                </a:lnTo>
                <a:lnTo>
                  <a:pt x="10159" y="8118"/>
                </a:lnTo>
                <a:lnTo>
                  <a:pt x="10159" y="8123"/>
                </a:lnTo>
                <a:close/>
                <a:moveTo>
                  <a:pt x="10188" y="8127"/>
                </a:moveTo>
                <a:lnTo>
                  <a:pt x="10179" y="8078"/>
                </a:lnTo>
                <a:lnTo>
                  <a:pt x="10164" y="8029"/>
                </a:lnTo>
                <a:lnTo>
                  <a:pt x="10150" y="8012"/>
                </a:lnTo>
                <a:lnTo>
                  <a:pt x="10138" y="8063"/>
                </a:lnTo>
                <a:lnTo>
                  <a:pt x="10138" y="8062"/>
                </a:lnTo>
                <a:lnTo>
                  <a:pt x="10137" y="8063"/>
                </a:lnTo>
                <a:lnTo>
                  <a:pt x="10138" y="8063"/>
                </a:lnTo>
                <a:lnTo>
                  <a:pt x="10137" y="8066"/>
                </a:lnTo>
                <a:lnTo>
                  <a:pt x="10136" y="8067"/>
                </a:lnTo>
                <a:lnTo>
                  <a:pt x="10136" y="8064"/>
                </a:lnTo>
                <a:lnTo>
                  <a:pt x="10134" y="8062"/>
                </a:lnTo>
                <a:lnTo>
                  <a:pt x="10131" y="8062"/>
                </a:lnTo>
                <a:lnTo>
                  <a:pt x="10125" y="8063"/>
                </a:lnTo>
                <a:lnTo>
                  <a:pt x="10123" y="8067"/>
                </a:lnTo>
                <a:lnTo>
                  <a:pt x="10124" y="8071"/>
                </a:lnTo>
                <a:lnTo>
                  <a:pt x="10127" y="8073"/>
                </a:lnTo>
                <a:lnTo>
                  <a:pt x="10129" y="8077"/>
                </a:lnTo>
                <a:lnTo>
                  <a:pt x="10129" y="8077"/>
                </a:lnTo>
                <a:lnTo>
                  <a:pt x="10129" y="8078"/>
                </a:lnTo>
                <a:lnTo>
                  <a:pt x="10129" y="8078"/>
                </a:lnTo>
                <a:lnTo>
                  <a:pt x="10127" y="8112"/>
                </a:lnTo>
                <a:lnTo>
                  <a:pt x="10139" y="8141"/>
                </a:lnTo>
                <a:lnTo>
                  <a:pt x="10161" y="8151"/>
                </a:lnTo>
                <a:lnTo>
                  <a:pt x="10188" y="8127"/>
                </a:lnTo>
                <a:close/>
                <a:moveTo>
                  <a:pt x="10001" y="8064"/>
                </a:moveTo>
                <a:lnTo>
                  <a:pt x="10001" y="8066"/>
                </a:lnTo>
                <a:lnTo>
                  <a:pt x="10002" y="8067"/>
                </a:lnTo>
                <a:lnTo>
                  <a:pt x="10002" y="8066"/>
                </a:lnTo>
                <a:lnTo>
                  <a:pt x="10001" y="8064"/>
                </a:lnTo>
                <a:close/>
                <a:moveTo>
                  <a:pt x="8499" y="8057"/>
                </a:moveTo>
                <a:lnTo>
                  <a:pt x="8508" y="8064"/>
                </a:lnTo>
                <a:lnTo>
                  <a:pt x="8502" y="8080"/>
                </a:lnTo>
                <a:lnTo>
                  <a:pt x="8489" y="8091"/>
                </a:lnTo>
                <a:lnTo>
                  <a:pt x="8476" y="8091"/>
                </a:lnTo>
                <a:lnTo>
                  <a:pt x="8469" y="8078"/>
                </a:lnTo>
                <a:lnTo>
                  <a:pt x="8474" y="8068"/>
                </a:lnTo>
                <a:lnTo>
                  <a:pt x="8485" y="8061"/>
                </a:lnTo>
                <a:lnTo>
                  <a:pt x="8499" y="8057"/>
                </a:lnTo>
                <a:close/>
                <a:moveTo>
                  <a:pt x="8387" y="8193"/>
                </a:moveTo>
                <a:lnTo>
                  <a:pt x="8441" y="8211"/>
                </a:lnTo>
                <a:lnTo>
                  <a:pt x="8469" y="8220"/>
                </a:lnTo>
                <a:lnTo>
                  <a:pt x="8493" y="8211"/>
                </a:lnTo>
                <a:lnTo>
                  <a:pt x="8534" y="8179"/>
                </a:lnTo>
                <a:lnTo>
                  <a:pt x="8556" y="8164"/>
                </a:lnTo>
                <a:lnTo>
                  <a:pt x="8546" y="8140"/>
                </a:lnTo>
                <a:lnTo>
                  <a:pt x="8532" y="8113"/>
                </a:lnTo>
                <a:lnTo>
                  <a:pt x="8542" y="8094"/>
                </a:lnTo>
                <a:lnTo>
                  <a:pt x="8546" y="8056"/>
                </a:lnTo>
                <a:lnTo>
                  <a:pt x="8489" y="8003"/>
                </a:lnTo>
                <a:lnTo>
                  <a:pt x="8410" y="7968"/>
                </a:lnTo>
                <a:lnTo>
                  <a:pt x="8351" y="7977"/>
                </a:lnTo>
                <a:lnTo>
                  <a:pt x="8335" y="8035"/>
                </a:lnTo>
                <a:lnTo>
                  <a:pt x="8331" y="8117"/>
                </a:lnTo>
                <a:lnTo>
                  <a:pt x="8348" y="8183"/>
                </a:lnTo>
                <a:lnTo>
                  <a:pt x="8387" y="8193"/>
                </a:lnTo>
                <a:close/>
                <a:moveTo>
                  <a:pt x="9342" y="6797"/>
                </a:moveTo>
                <a:lnTo>
                  <a:pt x="9347" y="6793"/>
                </a:lnTo>
                <a:lnTo>
                  <a:pt x="9354" y="6789"/>
                </a:lnTo>
                <a:lnTo>
                  <a:pt x="9349" y="6788"/>
                </a:lnTo>
                <a:lnTo>
                  <a:pt x="9345" y="6786"/>
                </a:lnTo>
                <a:lnTo>
                  <a:pt x="9342" y="6789"/>
                </a:lnTo>
                <a:lnTo>
                  <a:pt x="9342" y="6797"/>
                </a:lnTo>
                <a:close/>
                <a:moveTo>
                  <a:pt x="9402" y="6738"/>
                </a:moveTo>
                <a:lnTo>
                  <a:pt x="9403" y="6737"/>
                </a:lnTo>
                <a:lnTo>
                  <a:pt x="9403" y="6737"/>
                </a:lnTo>
                <a:lnTo>
                  <a:pt x="9402" y="6737"/>
                </a:lnTo>
                <a:lnTo>
                  <a:pt x="9402" y="6738"/>
                </a:lnTo>
                <a:close/>
                <a:moveTo>
                  <a:pt x="9333" y="6651"/>
                </a:moveTo>
                <a:lnTo>
                  <a:pt x="9375" y="6723"/>
                </a:lnTo>
                <a:lnTo>
                  <a:pt x="9452" y="6723"/>
                </a:lnTo>
                <a:lnTo>
                  <a:pt x="9485" y="6694"/>
                </a:lnTo>
                <a:lnTo>
                  <a:pt x="9396" y="6682"/>
                </a:lnTo>
                <a:lnTo>
                  <a:pt x="9389" y="6662"/>
                </a:lnTo>
                <a:lnTo>
                  <a:pt x="9387" y="6636"/>
                </a:lnTo>
                <a:lnTo>
                  <a:pt x="9374" y="6627"/>
                </a:lnTo>
                <a:lnTo>
                  <a:pt x="9333" y="6651"/>
                </a:lnTo>
                <a:close/>
                <a:moveTo>
                  <a:pt x="9356" y="6789"/>
                </a:moveTo>
                <a:lnTo>
                  <a:pt x="9379" y="6795"/>
                </a:lnTo>
                <a:lnTo>
                  <a:pt x="9398" y="6783"/>
                </a:lnTo>
                <a:lnTo>
                  <a:pt x="9408" y="6760"/>
                </a:lnTo>
                <a:lnTo>
                  <a:pt x="9402" y="6738"/>
                </a:lnTo>
                <a:lnTo>
                  <a:pt x="9387" y="6747"/>
                </a:lnTo>
                <a:lnTo>
                  <a:pt x="9374" y="6758"/>
                </a:lnTo>
                <a:lnTo>
                  <a:pt x="9364" y="6772"/>
                </a:lnTo>
                <a:lnTo>
                  <a:pt x="9356" y="6789"/>
                </a:lnTo>
                <a:lnTo>
                  <a:pt x="9355" y="6789"/>
                </a:lnTo>
                <a:lnTo>
                  <a:pt x="9354" y="6789"/>
                </a:lnTo>
                <a:lnTo>
                  <a:pt x="9355" y="6789"/>
                </a:lnTo>
                <a:lnTo>
                  <a:pt x="9356" y="6789"/>
                </a:lnTo>
                <a:close/>
                <a:moveTo>
                  <a:pt x="4009" y="4199"/>
                </a:moveTo>
                <a:lnTo>
                  <a:pt x="3997" y="4206"/>
                </a:lnTo>
                <a:lnTo>
                  <a:pt x="3990" y="4216"/>
                </a:lnTo>
                <a:lnTo>
                  <a:pt x="3987" y="4229"/>
                </a:lnTo>
                <a:lnTo>
                  <a:pt x="3994" y="4242"/>
                </a:lnTo>
                <a:lnTo>
                  <a:pt x="3999" y="4230"/>
                </a:lnTo>
                <a:lnTo>
                  <a:pt x="4005" y="4220"/>
                </a:lnTo>
                <a:lnTo>
                  <a:pt x="4009" y="4210"/>
                </a:lnTo>
                <a:lnTo>
                  <a:pt x="4009" y="4199"/>
                </a:lnTo>
                <a:close/>
                <a:moveTo>
                  <a:pt x="3994" y="4242"/>
                </a:moveTo>
                <a:lnTo>
                  <a:pt x="3994" y="4243"/>
                </a:lnTo>
                <a:lnTo>
                  <a:pt x="3994" y="4243"/>
                </a:lnTo>
                <a:lnTo>
                  <a:pt x="3995" y="4244"/>
                </a:lnTo>
                <a:lnTo>
                  <a:pt x="3995" y="4243"/>
                </a:lnTo>
                <a:lnTo>
                  <a:pt x="3995" y="4242"/>
                </a:lnTo>
                <a:lnTo>
                  <a:pt x="3994" y="4242"/>
                </a:lnTo>
                <a:close/>
                <a:moveTo>
                  <a:pt x="4148" y="4248"/>
                </a:moveTo>
                <a:lnTo>
                  <a:pt x="4146" y="4247"/>
                </a:lnTo>
                <a:lnTo>
                  <a:pt x="4145" y="4248"/>
                </a:lnTo>
                <a:lnTo>
                  <a:pt x="4146" y="4248"/>
                </a:lnTo>
                <a:lnTo>
                  <a:pt x="4148" y="4248"/>
                </a:lnTo>
                <a:close/>
                <a:moveTo>
                  <a:pt x="4176" y="4256"/>
                </a:moveTo>
                <a:lnTo>
                  <a:pt x="4174" y="4246"/>
                </a:lnTo>
                <a:lnTo>
                  <a:pt x="4172" y="4234"/>
                </a:lnTo>
                <a:lnTo>
                  <a:pt x="4168" y="4227"/>
                </a:lnTo>
                <a:lnTo>
                  <a:pt x="4159" y="4229"/>
                </a:lnTo>
                <a:lnTo>
                  <a:pt x="4150" y="4241"/>
                </a:lnTo>
                <a:lnTo>
                  <a:pt x="4151" y="4249"/>
                </a:lnTo>
                <a:lnTo>
                  <a:pt x="4160" y="4253"/>
                </a:lnTo>
                <a:lnTo>
                  <a:pt x="4176" y="4256"/>
                </a:lnTo>
                <a:close/>
                <a:moveTo>
                  <a:pt x="8815" y="6825"/>
                </a:moveTo>
                <a:lnTo>
                  <a:pt x="8814" y="6825"/>
                </a:lnTo>
                <a:lnTo>
                  <a:pt x="8812" y="6826"/>
                </a:lnTo>
                <a:lnTo>
                  <a:pt x="8814" y="6826"/>
                </a:lnTo>
                <a:lnTo>
                  <a:pt x="8815" y="6825"/>
                </a:lnTo>
                <a:lnTo>
                  <a:pt x="8819" y="6826"/>
                </a:lnTo>
                <a:lnTo>
                  <a:pt x="8823" y="6827"/>
                </a:lnTo>
                <a:lnTo>
                  <a:pt x="8825" y="6825"/>
                </a:lnTo>
                <a:lnTo>
                  <a:pt x="8825" y="6818"/>
                </a:lnTo>
                <a:lnTo>
                  <a:pt x="8820" y="6821"/>
                </a:lnTo>
                <a:lnTo>
                  <a:pt x="8815" y="6825"/>
                </a:lnTo>
                <a:close/>
                <a:moveTo>
                  <a:pt x="10505" y="7404"/>
                </a:moveTo>
                <a:lnTo>
                  <a:pt x="10510" y="7401"/>
                </a:lnTo>
                <a:lnTo>
                  <a:pt x="10515" y="7397"/>
                </a:lnTo>
                <a:lnTo>
                  <a:pt x="10518" y="7397"/>
                </a:lnTo>
                <a:lnTo>
                  <a:pt x="10519" y="7396"/>
                </a:lnTo>
                <a:lnTo>
                  <a:pt x="10516" y="7396"/>
                </a:lnTo>
                <a:lnTo>
                  <a:pt x="10515" y="7397"/>
                </a:lnTo>
                <a:lnTo>
                  <a:pt x="10511" y="7396"/>
                </a:lnTo>
                <a:lnTo>
                  <a:pt x="10507" y="7395"/>
                </a:lnTo>
                <a:lnTo>
                  <a:pt x="10505" y="7397"/>
                </a:lnTo>
                <a:lnTo>
                  <a:pt x="10505" y="7404"/>
                </a:lnTo>
                <a:close/>
                <a:moveTo>
                  <a:pt x="8373" y="8212"/>
                </a:moveTo>
                <a:lnTo>
                  <a:pt x="8372" y="8213"/>
                </a:lnTo>
                <a:lnTo>
                  <a:pt x="8373" y="8215"/>
                </a:lnTo>
                <a:lnTo>
                  <a:pt x="8374" y="8213"/>
                </a:lnTo>
                <a:lnTo>
                  <a:pt x="8373" y="8212"/>
                </a:lnTo>
                <a:close/>
                <a:moveTo>
                  <a:pt x="9358" y="6849"/>
                </a:moveTo>
                <a:lnTo>
                  <a:pt x="9355" y="6830"/>
                </a:lnTo>
                <a:lnTo>
                  <a:pt x="9341" y="6821"/>
                </a:lnTo>
                <a:lnTo>
                  <a:pt x="9321" y="6822"/>
                </a:lnTo>
                <a:lnTo>
                  <a:pt x="9295" y="6832"/>
                </a:lnTo>
                <a:lnTo>
                  <a:pt x="9293" y="6832"/>
                </a:lnTo>
                <a:lnTo>
                  <a:pt x="9291" y="6834"/>
                </a:lnTo>
                <a:lnTo>
                  <a:pt x="9294" y="6834"/>
                </a:lnTo>
                <a:lnTo>
                  <a:pt x="9295" y="6832"/>
                </a:lnTo>
                <a:lnTo>
                  <a:pt x="9310" y="6840"/>
                </a:lnTo>
                <a:lnTo>
                  <a:pt x="9327" y="6850"/>
                </a:lnTo>
                <a:lnTo>
                  <a:pt x="9344" y="6855"/>
                </a:lnTo>
                <a:lnTo>
                  <a:pt x="9358" y="6849"/>
                </a:lnTo>
                <a:close/>
                <a:moveTo>
                  <a:pt x="9412" y="6646"/>
                </a:moveTo>
                <a:lnTo>
                  <a:pt x="9412" y="6646"/>
                </a:lnTo>
                <a:lnTo>
                  <a:pt x="9414" y="6646"/>
                </a:lnTo>
                <a:lnTo>
                  <a:pt x="9414" y="6646"/>
                </a:lnTo>
                <a:lnTo>
                  <a:pt x="9414" y="6645"/>
                </a:lnTo>
                <a:lnTo>
                  <a:pt x="9412" y="6646"/>
                </a:lnTo>
                <a:close/>
                <a:moveTo>
                  <a:pt x="8895" y="6639"/>
                </a:moveTo>
                <a:lnTo>
                  <a:pt x="8895" y="6637"/>
                </a:lnTo>
                <a:lnTo>
                  <a:pt x="8895" y="6636"/>
                </a:lnTo>
                <a:lnTo>
                  <a:pt x="8895" y="6637"/>
                </a:lnTo>
                <a:lnTo>
                  <a:pt x="8895" y="6639"/>
                </a:lnTo>
                <a:close/>
                <a:moveTo>
                  <a:pt x="8909" y="6660"/>
                </a:moveTo>
                <a:lnTo>
                  <a:pt x="8917" y="6657"/>
                </a:lnTo>
                <a:lnTo>
                  <a:pt x="8913" y="6650"/>
                </a:lnTo>
                <a:lnTo>
                  <a:pt x="8904" y="6644"/>
                </a:lnTo>
                <a:lnTo>
                  <a:pt x="8895" y="6639"/>
                </a:lnTo>
                <a:lnTo>
                  <a:pt x="8895" y="6646"/>
                </a:lnTo>
                <a:lnTo>
                  <a:pt x="8897" y="6653"/>
                </a:lnTo>
                <a:lnTo>
                  <a:pt x="8902" y="6658"/>
                </a:lnTo>
                <a:lnTo>
                  <a:pt x="8909" y="6660"/>
                </a:lnTo>
                <a:close/>
                <a:moveTo>
                  <a:pt x="3803" y="4328"/>
                </a:moveTo>
                <a:lnTo>
                  <a:pt x="3805" y="4328"/>
                </a:lnTo>
                <a:lnTo>
                  <a:pt x="3808" y="4327"/>
                </a:lnTo>
                <a:lnTo>
                  <a:pt x="3808" y="4325"/>
                </a:lnTo>
                <a:lnTo>
                  <a:pt x="3808" y="4321"/>
                </a:lnTo>
                <a:lnTo>
                  <a:pt x="3804" y="4322"/>
                </a:lnTo>
                <a:lnTo>
                  <a:pt x="3801" y="4323"/>
                </a:lnTo>
                <a:lnTo>
                  <a:pt x="3801" y="4325"/>
                </a:lnTo>
                <a:lnTo>
                  <a:pt x="3803" y="4328"/>
                </a:lnTo>
                <a:close/>
                <a:moveTo>
                  <a:pt x="3716" y="4373"/>
                </a:moveTo>
                <a:lnTo>
                  <a:pt x="3725" y="4381"/>
                </a:lnTo>
                <a:lnTo>
                  <a:pt x="3738" y="4377"/>
                </a:lnTo>
                <a:lnTo>
                  <a:pt x="3749" y="4367"/>
                </a:lnTo>
                <a:lnTo>
                  <a:pt x="3754" y="4355"/>
                </a:lnTo>
                <a:lnTo>
                  <a:pt x="3744" y="4344"/>
                </a:lnTo>
                <a:lnTo>
                  <a:pt x="3731" y="4346"/>
                </a:lnTo>
                <a:lnTo>
                  <a:pt x="3720" y="4358"/>
                </a:lnTo>
                <a:lnTo>
                  <a:pt x="3716" y="4373"/>
                </a:lnTo>
                <a:close/>
                <a:moveTo>
                  <a:pt x="3692" y="4211"/>
                </a:moveTo>
                <a:lnTo>
                  <a:pt x="3696" y="4210"/>
                </a:lnTo>
                <a:lnTo>
                  <a:pt x="3698" y="4209"/>
                </a:lnTo>
                <a:lnTo>
                  <a:pt x="3698" y="4206"/>
                </a:lnTo>
                <a:lnTo>
                  <a:pt x="3697" y="4202"/>
                </a:lnTo>
                <a:lnTo>
                  <a:pt x="3693" y="4204"/>
                </a:lnTo>
                <a:lnTo>
                  <a:pt x="3692" y="4205"/>
                </a:lnTo>
                <a:lnTo>
                  <a:pt x="3690" y="4207"/>
                </a:lnTo>
                <a:lnTo>
                  <a:pt x="3692" y="4211"/>
                </a:lnTo>
                <a:close/>
                <a:moveTo>
                  <a:pt x="3811" y="4514"/>
                </a:moveTo>
                <a:lnTo>
                  <a:pt x="3814" y="4523"/>
                </a:lnTo>
                <a:lnTo>
                  <a:pt x="3819" y="4523"/>
                </a:lnTo>
                <a:lnTo>
                  <a:pt x="3824" y="4516"/>
                </a:lnTo>
                <a:lnTo>
                  <a:pt x="3822" y="4505"/>
                </a:lnTo>
                <a:lnTo>
                  <a:pt x="3815" y="4510"/>
                </a:lnTo>
                <a:lnTo>
                  <a:pt x="3811" y="4514"/>
                </a:lnTo>
                <a:close/>
                <a:moveTo>
                  <a:pt x="4006" y="3955"/>
                </a:moveTo>
                <a:lnTo>
                  <a:pt x="4014" y="3961"/>
                </a:lnTo>
                <a:lnTo>
                  <a:pt x="4022" y="3959"/>
                </a:lnTo>
                <a:lnTo>
                  <a:pt x="4028" y="3954"/>
                </a:lnTo>
                <a:lnTo>
                  <a:pt x="4034" y="3947"/>
                </a:lnTo>
                <a:lnTo>
                  <a:pt x="4030" y="3940"/>
                </a:lnTo>
                <a:lnTo>
                  <a:pt x="4018" y="3941"/>
                </a:lnTo>
                <a:lnTo>
                  <a:pt x="4006" y="3948"/>
                </a:lnTo>
                <a:lnTo>
                  <a:pt x="4006" y="3955"/>
                </a:lnTo>
                <a:close/>
                <a:moveTo>
                  <a:pt x="3838" y="4149"/>
                </a:moveTo>
                <a:lnTo>
                  <a:pt x="3839" y="4155"/>
                </a:lnTo>
                <a:lnTo>
                  <a:pt x="3843" y="4159"/>
                </a:lnTo>
                <a:lnTo>
                  <a:pt x="3848" y="4160"/>
                </a:lnTo>
                <a:lnTo>
                  <a:pt x="3855" y="4162"/>
                </a:lnTo>
                <a:lnTo>
                  <a:pt x="3859" y="4157"/>
                </a:lnTo>
                <a:lnTo>
                  <a:pt x="3855" y="4153"/>
                </a:lnTo>
                <a:lnTo>
                  <a:pt x="3847" y="4149"/>
                </a:lnTo>
                <a:lnTo>
                  <a:pt x="3838" y="4149"/>
                </a:lnTo>
                <a:close/>
                <a:moveTo>
                  <a:pt x="3839" y="4537"/>
                </a:moveTo>
                <a:lnTo>
                  <a:pt x="3839" y="4540"/>
                </a:lnTo>
                <a:lnTo>
                  <a:pt x="3841" y="4544"/>
                </a:lnTo>
                <a:lnTo>
                  <a:pt x="3847" y="4542"/>
                </a:lnTo>
                <a:lnTo>
                  <a:pt x="3847" y="4538"/>
                </a:lnTo>
                <a:lnTo>
                  <a:pt x="3846" y="4535"/>
                </a:lnTo>
                <a:lnTo>
                  <a:pt x="3839" y="4537"/>
                </a:lnTo>
                <a:close/>
                <a:moveTo>
                  <a:pt x="3963" y="3877"/>
                </a:moveTo>
                <a:lnTo>
                  <a:pt x="3959" y="3887"/>
                </a:lnTo>
                <a:lnTo>
                  <a:pt x="3966" y="3896"/>
                </a:lnTo>
                <a:lnTo>
                  <a:pt x="3977" y="3899"/>
                </a:lnTo>
                <a:lnTo>
                  <a:pt x="3986" y="3893"/>
                </a:lnTo>
                <a:lnTo>
                  <a:pt x="3990" y="3882"/>
                </a:lnTo>
                <a:lnTo>
                  <a:pt x="3983" y="3874"/>
                </a:lnTo>
                <a:lnTo>
                  <a:pt x="3972" y="3870"/>
                </a:lnTo>
                <a:lnTo>
                  <a:pt x="3963" y="3877"/>
                </a:lnTo>
                <a:close/>
                <a:moveTo>
                  <a:pt x="4044" y="3584"/>
                </a:moveTo>
                <a:lnTo>
                  <a:pt x="4046" y="3586"/>
                </a:lnTo>
                <a:lnTo>
                  <a:pt x="4046" y="3590"/>
                </a:lnTo>
                <a:lnTo>
                  <a:pt x="4052" y="3589"/>
                </a:lnTo>
                <a:lnTo>
                  <a:pt x="4053" y="3585"/>
                </a:lnTo>
                <a:lnTo>
                  <a:pt x="4051" y="3582"/>
                </a:lnTo>
                <a:lnTo>
                  <a:pt x="4044" y="3584"/>
                </a:lnTo>
                <a:close/>
                <a:moveTo>
                  <a:pt x="4002" y="4350"/>
                </a:moveTo>
                <a:lnTo>
                  <a:pt x="4000" y="4354"/>
                </a:lnTo>
                <a:lnTo>
                  <a:pt x="4000" y="4355"/>
                </a:lnTo>
                <a:lnTo>
                  <a:pt x="4001" y="4356"/>
                </a:lnTo>
                <a:lnTo>
                  <a:pt x="4006" y="4356"/>
                </a:lnTo>
                <a:lnTo>
                  <a:pt x="4002" y="4350"/>
                </a:lnTo>
                <a:close/>
                <a:moveTo>
                  <a:pt x="4358" y="4232"/>
                </a:moveTo>
                <a:lnTo>
                  <a:pt x="4355" y="4232"/>
                </a:lnTo>
                <a:lnTo>
                  <a:pt x="4353" y="4233"/>
                </a:lnTo>
                <a:lnTo>
                  <a:pt x="4354" y="4238"/>
                </a:lnTo>
                <a:lnTo>
                  <a:pt x="4358" y="4239"/>
                </a:lnTo>
                <a:lnTo>
                  <a:pt x="4360" y="4237"/>
                </a:lnTo>
                <a:lnTo>
                  <a:pt x="4358" y="4232"/>
                </a:lnTo>
                <a:close/>
                <a:moveTo>
                  <a:pt x="4402" y="4144"/>
                </a:moveTo>
                <a:lnTo>
                  <a:pt x="4405" y="4150"/>
                </a:lnTo>
                <a:lnTo>
                  <a:pt x="4410" y="4154"/>
                </a:lnTo>
                <a:lnTo>
                  <a:pt x="4416" y="4157"/>
                </a:lnTo>
                <a:lnTo>
                  <a:pt x="4424" y="4155"/>
                </a:lnTo>
                <a:lnTo>
                  <a:pt x="4420" y="4149"/>
                </a:lnTo>
                <a:lnTo>
                  <a:pt x="4415" y="4145"/>
                </a:lnTo>
                <a:lnTo>
                  <a:pt x="4409" y="4144"/>
                </a:lnTo>
                <a:lnTo>
                  <a:pt x="4402" y="4144"/>
                </a:lnTo>
                <a:close/>
                <a:moveTo>
                  <a:pt x="10786" y="7419"/>
                </a:moveTo>
                <a:lnTo>
                  <a:pt x="10785" y="7408"/>
                </a:lnTo>
                <a:lnTo>
                  <a:pt x="10794" y="7400"/>
                </a:lnTo>
                <a:lnTo>
                  <a:pt x="10807" y="7400"/>
                </a:lnTo>
                <a:lnTo>
                  <a:pt x="10814" y="7410"/>
                </a:lnTo>
                <a:lnTo>
                  <a:pt x="10809" y="7415"/>
                </a:lnTo>
                <a:lnTo>
                  <a:pt x="10802" y="7419"/>
                </a:lnTo>
                <a:lnTo>
                  <a:pt x="10794" y="7420"/>
                </a:lnTo>
                <a:lnTo>
                  <a:pt x="10786" y="7419"/>
                </a:lnTo>
                <a:close/>
                <a:moveTo>
                  <a:pt x="10780" y="7259"/>
                </a:moveTo>
                <a:lnTo>
                  <a:pt x="10779" y="7260"/>
                </a:lnTo>
                <a:lnTo>
                  <a:pt x="10775" y="7260"/>
                </a:lnTo>
                <a:lnTo>
                  <a:pt x="10774" y="7255"/>
                </a:lnTo>
                <a:lnTo>
                  <a:pt x="10777" y="7252"/>
                </a:lnTo>
                <a:lnTo>
                  <a:pt x="10780" y="7254"/>
                </a:lnTo>
                <a:lnTo>
                  <a:pt x="10780" y="7259"/>
                </a:lnTo>
                <a:close/>
                <a:moveTo>
                  <a:pt x="10752" y="7530"/>
                </a:moveTo>
                <a:lnTo>
                  <a:pt x="10732" y="7509"/>
                </a:lnTo>
                <a:lnTo>
                  <a:pt x="10725" y="7470"/>
                </a:lnTo>
                <a:lnTo>
                  <a:pt x="10719" y="7423"/>
                </a:lnTo>
                <a:lnTo>
                  <a:pt x="10704" y="7382"/>
                </a:lnTo>
                <a:lnTo>
                  <a:pt x="10735" y="7387"/>
                </a:lnTo>
                <a:lnTo>
                  <a:pt x="10753" y="7432"/>
                </a:lnTo>
                <a:lnTo>
                  <a:pt x="10758" y="7490"/>
                </a:lnTo>
                <a:lnTo>
                  <a:pt x="10752" y="7530"/>
                </a:lnTo>
                <a:close/>
                <a:moveTo>
                  <a:pt x="10673" y="7772"/>
                </a:moveTo>
                <a:lnTo>
                  <a:pt x="10640" y="7778"/>
                </a:lnTo>
                <a:lnTo>
                  <a:pt x="10621" y="7800"/>
                </a:lnTo>
                <a:lnTo>
                  <a:pt x="10604" y="7819"/>
                </a:lnTo>
                <a:lnTo>
                  <a:pt x="10583" y="7819"/>
                </a:lnTo>
                <a:lnTo>
                  <a:pt x="10565" y="7782"/>
                </a:lnTo>
                <a:lnTo>
                  <a:pt x="10604" y="7749"/>
                </a:lnTo>
                <a:lnTo>
                  <a:pt x="10655" y="7739"/>
                </a:lnTo>
                <a:lnTo>
                  <a:pt x="10673" y="7772"/>
                </a:lnTo>
                <a:close/>
                <a:moveTo>
                  <a:pt x="10589" y="8007"/>
                </a:moveTo>
                <a:lnTo>
                  <a:pt x="10588" y="8008"/>
                </a:lnTo>
                <a:lnTo>
                  <a:pt x="10584" y="8008"/>
                </a:lnTo>
                <a:lnTo>
                  <a:pt x="10583" y="8003"/>
                </a:lnTo>
                <a:lnTo>
                  <a:pt x="10585" y="8001"/>
                </a:lnTo>
                <a:lnTo>
                  <a:pt x="10589" y="8002"/>
                </a:lnTo>
                <a:lnTo>
                  <a:pt x="10589" y="8007"/>
                </a:lnTo>
                <a:close/>
                <a:moveTo>
                  <a:pt x="10604" y="7531"/>
                </a:moveTo>
                <a:lnTo>
                  <a:pt x="10634" y="7526"/>
                </a:lnTo>
                <a:lnTo>
                  <a:pt x="10642" y="7548"/>
                </a:lnTo>
                <a:lnTo>
                  <a:pt x="10634" y="7573"/>
                </a:lnTo>
                <a:lnTo>
                  <a:pt x="10609" y="7578"/>
                </a:lnTo>
                <a:lnTo>
                  <a:pt x="10604" y="7567"/>
                </a:lnTo>
                <a:lnTo>
                  <a:pt x="10604" y="7555"/>
                </a:lnTo>
                <a:lnTo>
                  <a:pt x="10606" y="7543"/>
                </a:lnTo>
                <a:lnTo>
                  <a:pt x="10604" y="7531"/>
                </a:lnTo>
                <a:close/>
                <a:moveTo>
                  <a:pt x="10651" y="7455"/>
                </a:moveTo>
                <a:lnTo>
                  <a:pt x="10653" y="7460"/>
                </a:lnTo>
                <a:lnTo>
                  <a:pt x="10650" y="7462"/>
                </a:lnTo>
                <a:lnTo>
                  <a:pt x="10646" y="7461"/>
                </a:lnTo>
                <a:lnTo>
                  <a:pt x="10645" y="7456"/>
                </a:lnTo>
                <a:lnTo>
                  <a:pt x="10649" y="7455"/>
                </a:lnTo>
                <a:lnTo>
                  <a:pt x="10651" y="7455"/>
                </a:lnTo>
                <a:close/>
                <a:moveTo>
                  <a:pt x="10525" y="7592"/>
                </a:moveTo>
                <a:lnTo>
                  <a:pt x="10516" y="7601"/>
                </a:lnTo>
                <a:lnTo>
                  <a:pt x="10506" y="7600"/>
                </a:lnTo>
                <a:lnTo>
                  <a:pt x="10497" y="7593"/>
                </a:lnTo>
                <a:lnTo>
                  <a:pt x="10497" y="7582"/>
                </a:lnTo>
                <a:lnTo>
                  <a:pt x="10505" y="7573"/>
                </a:lnTo>
                <a:lnTo>
                  <a:pt x="10516" y="7573"/>
                </a:lnTo>
                <a:lnTo>
                  <a:pt x="10525" y="7581"/>
                </a:lnTo>
                <a:lnTo>
                  <a:pt x="10525" y="7592"/>
                </a:lnTo>
                <a:close/>
                <a:moveTo>
                  <a:pt x="10481" y="7751"/>
                </a:moveTo>
                <a:lnTo>
                  <a:pt x="10439" y="7797"/>
                </a:lnTo>
                <a:lnTo>
                  <a:pt x="10404" y="7812"/>
                </a:lnTo>
                <a:lnTo>
                  <a:pt x="10378" y="7792"/>
                </a:lnTo>
                <a:lnTo>
                  <a:pt x="10361" y="7737"/>
                </a:lnTo>
                <a:lnTo>
                  <a:pt x="10336" y="7728"/>
                </a:lnTo>
                <a:lnTo>
                  <a:pt x="10308" y="7722"/>
                </a:lnTo>
                <a:lnTo>
                  <a:pt x="10294" y="7711"/>
                </a:lnTo>
                <a:lnTo>
                  <a:pt x="10315" y="7690"/>
                </a:lnTo>
                <a:lnTo>
                  <a:pt x="10341" y="7702"/>
                </a:lnTo>
                <a:lnTo>
                  <a:pt x="10372" y="7713"/>
                </a:lnTo>
                <a:lnTo>
                  <a:pt x="10398" y="7730"/>
                </a:lnTo>
                <a:lnTo>
                  <a:pt x="10407" y="7754"/>
                </a:lnTo>
                <a:lnTo>
                  <a:pt x="10426" y="7745"/>
                </a:lnTo>
                <a:lnTo>
                  <a:pt x="10451" y="7727"/>
                </a:lnTo>
                <a:lnTo>
                  <a:pt x="10474" y="7722"/>
                </a:lnTo>
                <a:lnTo>
                  <a:pt x="10481" y="7751"/>
                </a:lnTo>
                <a:close/>
                <a:moveTo>
                  <a:pt x="10458" y="8039"/>
                </a:moveTo>
                <a:lnTo>
                  <a:pt x="10450" y="8048"/>
                </a:lnTo>
                <a:lnTo>
                  <a:pt x="10439" y="8048"/>
                </a:lnTo>
                <a:lnTo>
                  <a:pt x="10430" y="8040"/>
                </a:lnTo>
                <a:lnTo>
                  <a:pt x="10430" y="8029"/>
                </a:lnTo>
                <a:lnTo>
                  <a:pt x="10439" y="8020"/>
                </a:lnTo>
                <a:lnTo>
                  <a:pt x="10449" y="8020"/>
                </a:lnTo>
                <a:lnTo>
                  <a:pt x="10458" y="8028"/>
                </a:lnTo>
                <a:lnTo>
                  <a:pt x="10458" y="8039"/>
                </a:lnTo>
                <a:close/>
                <a:moveTo>
                  <a:pt x="10329" y="8221"/>
                </a:moveTo>
                <a:lnTo>
                  <a:pt x="10320" y="8212"/>
                </a:lnTo>
                <a:lnTo>
                  <a:pt x="10328" y="8198"/>
                </a:lnTo>
                <a:lnTo>
                  <a:pt x="10344" y="8188"/>
                </a:lnTo>
                <a:lnTo>
                  <a:pt x="10361" y="8185"/>
                </a:lnTo>
                <a:lnTo>
                  <a:pt x="10369" y="8196"/>
                </a:lnTo>
                <a:lnTo>
                  <a:pt x="10360" y="8204"/>
                </a:lnTo>
                <a:lnTo>
                  <a:pt x="10343" y="8213"/>
                </a:lnTo>
                <a:lnTo>
                  <a:pt x="10329" y="8221"/>
                </a:lnTo>
                <a:close/>
                <a:moveTo>
                  <a:pt x="10339" y="8367"/>
                </a:moveTo>
                <a:lnTo>
                  <a:pt x="10329" y="8374"/>
                </a:lnTo>
                <a:lnTo>
                  <a:pt x="10319" y="8370"/>
                </a:lnTo>
                <a:lnTo>
                  <a:pt x="10313" y="8361"/>
                </a:lnTo>
                <a:lnTo>
                  <a:pt x="10315" y="8350"/>
                </a:lnTo>
                <a:lnTo>
                  <a:pt x="10325" y="8343"/>
                </a:lnTo>
                <a:lnTo>
                  <a:pt x="10336" y="8346"/>
                </a:lnTo>
                <a:lnTo>
                  <a:pt x="10342" y="8356"/>
                </a:lnTo>
                <a:lnTo>
                  <a:pt x="10339" y="8367"/>
                </a:lnTo>
                <a:close/>
                <a:moveTo>
                  <a:pt x="10287" y="8514"/>
                </a:moveTo>
                <a:lnTo>
                  <a:pt x="10274" y="8516"/>
                </a:lnTo>
                <a:lnTo>
                  <a:pt x="10263" y="8514"/>
                </a:lnTo>
                <a:lnTo>
                  <a:pt x="10255" y="8507"/>
                </a:lnTo>
                <a:lnTo>
                  <a:pt x="10255" y="8496"/>
                </a:lnTo>
                <a:lnTo>
                  <a:pt x="10271" y="8487"/>
                </a:lnTo>
                <a:lnTo>
                  <a:pt x="10288" y="8493"/>
                </a:lnTo>
                <a:lnTo>
                  <a:pt x="10297" y="8505"/>
                </a:lnTo>
                <a:lnTo>
                  <a:pt x="10287" y="8514"/>
                </a:lnTo>
                <a:close/>
                <a:moveTo>
                  <a:pt x="10245" y="8346"/>
                </a:moveTo>
                <a:lnTo>
                  <a:pt x="10238" y="8332"/>
                </a:lnTo>
                <a:lnTo>
                  <a:pt x="10240" y="8319"/>
                </a:lnTo>
                <a:lnTo>
                  <a:pt x="10250" y="8313"/>
                </a:lnTo>
                <a:lnTo>
                  <a:pt x="10268" y="8311"/>
                </a:lnTo>
                <a:lnTo>
                  <a:pt x="10272" y="8327"/>
                </a:lnTo>
                <a:lnTo>
                  <a:pt x="10271" y="8339"/>
                </a:lnTo>
                <a:lnTo>
                  <a:pt x="10260" y="8347"/>
                </a:lnTo>
                <a:lnTo>
                  <a:pt x="10245" y="8346"/>
                </a:lnTo>
                <a:close/>
                <a:moveTo>
                  <a:pt x="10253" y="8204"/>
                </a:moveTo>
                <a:lnTo>
                  <a:pt x="10245" y="8210"/>
                </a:lnTo>
                <a:lnTo>
                  <a:pt x="10241" y="8207"/>
                </a:lnTo>
                <a:lnTo>
                  <a:pt x="10241" y="8202"/>
                </a:lnTo>
                <a:lnTo>
                  <a:pt x="10244" y="8194"/>
                </a:lnTo>
                <a:lnTo>
                  <a:pt x="10250" y="8192"/>
                </a:lnTo>
                <a:lnTo>
                  <a:pt x="10254" y="8193"/>
                </a:lnTo>
                <a:lnTo>
                  <a:pt x="10254" y="8198"/>
                </a:lnTo>
                <a:lnTo>
                  <a:pt x="10253" y="8204"/>
                </a:lnTo>
                <a:close/>
                <a:moveTo>
                  <a:pt x="10263" y="8012"/>
                </a:moveTo>
                <a:lnTo>
                  <a:pt x="10277" y="7996"/>
                </a:lnTo>
                <a:lnTo>
                  <a:pt x="10297" y="7991"/>
                </a:lnTo>
                <a:lnTo>
                  <a:pt x="10322" y="7989"/>
                </a:lnTo>
                <a:lnTo>
                  <a:pt x="10343" y="7984"/>
                </a:lnTo>
                <a:lnTo>
                  <a:pt x="10358" y="8020"/>
                </a:lnTo>
                <a:lnTo>
                  <a:pt x="10315" y="8048"/>
                </a:lnTo>
                <a:lnTo>
                  <a:pt x="10266" y="8050"/>
                </a:lnTo>
                <a:lnTo>
                  <a:pt x="10263" y="8012"/>
                </a:lnTo>
                <a:close/>
                <a:moveTo>
                  <a:pt x="10100" y="8737"/>
                </a:moveTo>
                <a:lnTo>
                  <a:pt x="10092" y="8745"/>
                </a:lnTo>
                <a:lnTo>
                  <a:pt x="10081" y="8745"/>
                </a:lnTo>
                <a:lnTo>
                  <a:pt x="10072" y="8738"/>
                </a:lnTo>
                <a:lnTo>
                  <a:pt x="10073" y="8725"/>
                </a:lnTo>
                <a:lnTo>
                  <a:pt x="10081" y="8717"/>
                </a:lnTo>
                <a:lnTo>
                  <a:pt x="10092" y="8717"/>
                </a:lnTo>
                <a:lnTo>
                  <a:pt x="10101" y="8725"/>
                </a:lnTo>
                <a:lnTo>
                  <a:pt x="10100" y="8737"/>
                </a:lnTo>
                <a:close/>
                <a:moveTo>
                  <a:pt x="10046" y="8730"/>
                </a:moveTo>
                <a:lnTo>
                  <a:pt x="10041" y="8735"/>
                </a:lnTo>
                <a:lnTo>
                  <a:pt x="10036" y="8735"/>
                </a:lnTo>
                <a:lnTo>
                  <a:pt x="10034" y="8730"/>
                </a:lnTo>
                <a:lnTo>
                  <a:pt x="10036" y="8723"/>
                </a:lnTo>
                <a:lnTo>
                  <a:pt x="10041" y="8719"/>
                </a:lnTo>
                <a:lnTo>
                  <a:pt x="10046" y="8719"/>
                </a:lnTo>
                <a:lnTo>
                  <a:pt x="10048" y="8723"/>
                </a:lnTo>
                <a:lnTo>
                  <a:pt x="10046" y="8730"/>
                </a:lnTo>
                <a:close/>
                <a:moveTo>
                  <a:pt x="9917" y="8710"/>
                </a:moveTo>
                <a:lnTo>
                  <a:pt x="9914" y="8703"/>
                </a:lnTo>
                <a:lnTo>
                  <a:pt x="9915" y="8697"/>
                </a:lnTo>
                <a:lnTo>
                  <a:pt x="9919" y="8693"/>
                </a:lnTo>
                <a:lnTo>
                  <a:pt x="9924" y="8689"/>
                </a:lnTo>
                <a:lnTo>
                  <a:pt x="9927" y="8696"/>
                </a:lnTo>
                <a:lnTo>
                  <a:pt x="9925" y="8701"/>
                </a:lnTo>
                <a:lnTo>
                  <a:pt x="9923" y="8706"/>
                </a:lnTo>
                <a:lnTo>
                  <a:pt x="9917" y="8710"/>
                </a:lnTo>
                <a:close/>
                <a:moveTo>
                  <a:pt x="9864" y="8800"/>
                </a:moveTo>
                <a:lnTo>
                  <a:pt x="9864" y="8798"/>
                </a:lnTo>
                <a:lnTo>
                  <a:pt x="9863" y="8794"/>
                </a:lnTo>
                <a:lnTo>
                  <a:pt x="9868" y="8794"/>
                </a:lnTo>
                <a:lnTo>
                  <a:pt x="9872" y="8796"/>
                </a:lnTo>
                <a:lnTo>
                  <a:pt x="9871" y="8800"/>
                </a:lnTo>
                <a:lnTo>
                  <a:pt x="9864" y="8800"/>
                </a:lnTo>
                <a:close/>
                <a:moveTo>
                  <a:pt x="9611" y="9064"/>
                </a:moveTo>
                <a:lnTo>
                  <a:pt x="9593" y="9074"/>
                </a:lnTo>
                <a:lnTo>
                  <a:pt x="9568" y="9079"/>
                </a:lnTo>
                <a:lnTo>
                  <a:pt x="9542" y="9075"/>
                </a:lnTo>
                <a:lnTo>
                  <a:pt x="9528" y="9056"/>
                </a:lnTo>
                <a:lnTo>
                  <a:pt x="9547" y="9037"/>
                </a:lnTo>
                <a:lnTo>
                  <a:pt x="9577" y="9029"/>
                </a:lnTo>
                <a:lnTo>
                  <a:pt x="9602" y="9036"/>
                </a:lnTo>
                <a:lnTo>
                  <a:pt x="9611" y="9064"/>
                </a:lnTo>
                <a:close/>
                <a:moveTo>
                  <a:pt x="9503" y="8972"/>
                </a:moveTo>
                <a:lnTo>
                  <a:pt x="9505" y="8955"/>
                </a:lnTo>
                <a:lnTo>
                  <a:pt x="9519" y="8950"/>
                </a:lnTo>
                <a:lnTo>
                  <a:pt x="9536" y="8955"/>
                </a:lnTo>
                <a:lnTo>
                  <a:pt x="9545" y="8972"/>
                </a:lnTo>
                <a:lnTo>
                  <a:pt x="9537" y="8978"/>
                </a:lnTo>
                <a:lnTo>
                  <a:pt x="9524" y="8981"/>
                </a:lnTo>
                <a:lnTo>
                  <a:pt x="9510" y="8978"/>
                </a:lnTo>
                <a:lnTo>
                  <a:pt x="9503" y="8972"/>
                </a:lnTo>
                <a:close/>
                <a:moveTo>
                  <a:pt x="9503" y="9090"/>
                </a:moveTo>
                <a:lnTo>
                  <a:pt x="9499" y="9084"/>
                </a:lnTo>
                <a:lnTo>
                  <a:pt x="9501" y="9080"/>
                </a:lnTo>
                <a:lnTo>
                  <a:pt x="9507" y="9080"/>
                </a:lnTo>
                <a:lnTo>
                  <a:pt x="9513" y="9082"/>
                </a:lnTo>
                <a:lnTo>
                  <a:pt x="9515" y="9088"/>
                </a:lnTo>
                <a:lnTo>
                  <a:pt x="9514" y="9092"/>
                </a:lnTo>
                <a:lnTo>
                  <a:pt x="9509" y="9093"/>
                </a:lnTo>
                <a:lnTo>
                  <a:pt x="9503" y="9090"/>
                </a:lnTo>
                <a:close/>
                <a:moveTo>
                  <a:pt x="9504" y="9164"/>
                </a:moveTo>
                <a:lnTo>
                  <a:pt x="9478" y="9176"/>
                </a:lnTo>
                <a:lnTo>
                  <a:pt x="9467" y="9164"/>
                </a:lnTo>
                <a:lnTo>
                  <a:pt x="9466" y="9140"/>
                </a:lnTo>
                <a:lnTo>
                  <a:pt x="9475" y="9117"/>
                </a:lnTo>
                <a:lnTo>
                  <a:pt x="9493" y="9110"/>
                </a:lnTo>
                <a:lnTo>
                  <a:pt x="9505" y="9124"/>
                </a:lnTo>
                <a:lnTo>
                  <a:pt x="9510" y="9145"/>
                </a:lnTo>
                <a:lnTo>
                  <a:pt x="9504" y="9164"/>
                </a:lnTo>
                <a:close/>
                <a:moveTo>
                  <a:pt x="9431" y="9220"/>
                </a:moveTo>
                <a:lnTo>
                  <a:pt x="9429" y="9220"/>
                </a:lnTo>
                <a:lnTo>
                  <a:pt x="9425" y="9222"/>
                </a:lnTo>
                <a:lnTo>
                  <a:pt x="9424" y="9216"/>
                </a:lnTo>
                <a:lnTo>
                  <a:pt x="9428" y="9214"/>
                </a:lnTo>
                <a:lnTo>
                  <a:pt x="9430" y="9214"/>
                </a:lnTo>
                <a:lnTo>
                  <a:pt x="9431" y="9220"/>
                </a:lnTo>
                <a:close/>
                <a:moveTo>
                  <a:pt x="9263" y="9097"/>
                </a:moveTo>
                <a:lnTo>
                  <a:pt x="9263" y="9085"/>
                </a:lnTo>
                <a:lnTo>
                  <a:pt x="9279" y="9080"/>
                </a:lnTo>
                <a:lnTo>
                  <a:pt x="9296" y="9082"/>
                </a:lnTo>
                <a:lnTo>
                  <a:pt x="9305" y="9092"/>
                </a:lnTo>
                <a:lnTo>
                  <a:pt x="9298" y="9098"/>
                </a:lnTo>
                <a:lnTo>
                  <a:pt x="9287" y="9102"/>
                </a:lnTo>
                <a:lnTo>
                  <a:pt x="9275" y="9102"/>
                </a:lnTo>
                <a:lnTo>
                  <a:pt x="9263" y="9097"/>
                </a:lnTo>
                <a:close/>
                <a:moveTo>
                  <a:pt x="9201" y="8935"/>
                </a:moveTo>
                <a:lnTo>
                  <a:pt x="9182" y="8945"/>
                </a:lnTo>
                <a:lnTo>
                  <a:pt x="9159" y="8945"/>
                </a:lnTo>
                <a:lnTo>
                  <a:pt x="9142" y="8935"/>
                </a:lnTo>
                <a:lnTo>
                  <a:pt x="9138" y="8915"/>
                </a:lnTo>
                <a:lnTo>
                  <a:pt x="9158" y="8908"/>
                </a:lnTo>
                <a:lnTo>
                  <a:pt x="9182" y="8908"/>
                </a:lnTo>
                <a:lnTo>
                  <a:pt x="9201" y="8916"/>
                </a:lnTo>
                <a:lnTo>
                  <a:pt x="9201" y="8935"/>
                </a:lnTo>
                <a:close/>
                <a:moveTo>
                  <a:pt x="8964" y="8856"/>
                </a:moveTo>
                <a:lnTo>
                  <a:pt x="8963" y="8852"/>
                </a:lnTo>
                <a:lnTo>
                  <a:pt x="8964" y="8851"/>
                </a:lnTo>
                <a:lnTo>
                  <a:pt x="8965" y="8849"/>
                </a:lnTo>
                <a:lnTo>
                  <a:pt x="8969" y="8849"/>
                </a:lnTo>
                <a:lnTo>
                  <a:pt x="8970" y="8852"/>
                </a:lnTo>
                <a:lnTo>
                  <a:pt x="8969" y="8855"/>
                </a:lnTo>
                <a:lnTo>
                  <a:pt x="8968" y="8856"/>
                </a:lnTo>
                <a:lnTo>
                  <a:pt x="8964" y="8856"/>
                </a:lnTo>
                <a:close/>
                <a:moveTo>
                  <a:pt x="8868" y="8903"/>
                </a:moveTo>
                <a:lnTo>
                  <a:pt x="8865" y="8897"/>
                </a:lnTo>
                <a:lnTo>
                  <a:pt x="8867" y="8893"/>
                </a:lnTo>
                <a:lnTo>
                  <a:pt x="8872" y="8892"/>
                </a:lnTo>
                <a:lnTo>
                  <a:pt x="8879" y="8894"/>
                </a:lnTo>
                <a:lnTo>
                  <a:pt x="8881" y="8901"/>
                </a:lnTo>
                <a:lnTo>
                  <a:pt x="8880" y="8905"/>
                </a:lnTo>
                <a:lnTo>
                  <a:pt x="8875" y="8906"/>
                </a:lnTo>
                <a:lnTo>
                  <a:pt x="8868" y="8903"/>
                </a:lnTo>
                <a:close/>
                <a:moveTo>
                  <a:pt x="8523" y="8576"/>
                </a:moveTo>
                <a:lnTo>
                  <a:pt x="8495" y="8579"/>
                </a:lnTo>
                <a:lnTo>
                  <a:pt x="8497" y="8557"/>
                </a:lnTo>
                <a:lnTo>
                  <a:pt x="8516" y="8532"/>
                </a:lnTo>
                <a:lnTo>
                  <a:pt x="8545" y="8525"/>
                </a:lnTo>
                <a:lnTo>
                  <a:pt x="8545" y="8543"/>
                </a:lnTo>
                <a:lnTo>
                  <a:pt x="8544" y="8560"/>
                </a:lnTo>
                <a:lnTo>
                  <a:pt x="8537" y="8571"/>
                </a:lnTo>
                <a:lnTo>
                  <a:pt x="8523" y="8576"/>
                </a:lnTo>
                <a:close/>
                <a:moveTo>
                  <a:pt x="8411" y="8632"/>
                </a:moveTo>
                <a:lnTo>
                  <a:pt x="8396" y="8630"/>
                </a:lnTo>
                <a:lnTo>
                  <a:pt x="8387" y="8616"/>
                </a:lnTo>
                <a:lnTo>
                  <a:pt x="8378" y="8600"/>
                </a:lnTo>
                <a:lnTo>
                  <a:pt x="8367" y="8590"/>
                </a:lnTo>
                <a:lnTo>
                  <a:pt x="8387" y="8590"/>
                </a:lnTo>
                <a:lnTo>
                  <a:pt x="8402" y="8599"/>
                </a:lnTo>
                <a:lnTo>
                  <a:pt x="8411" y="8613"/>
                </a:lnTo>
                <a:lnTo>
                  <a:pt x="8411" y="8632"/>
                </a:lnTo>
                <a:close/>
                <a:moveTo>
                  <a:pt x="8349" y="8395"/>
                </a:moveTo>
                <a:lnTo>
                  <a:pt x="8341" y="8403"/>
                </a:lnTo>
                <a:lnTo>
                  <a:pt x="8332" y="8407"/>
                </a:lnTo>
                <a:lnTo>
                  <a:pt x="8323" y="8409"/>
                </a:lnTo>
                <a:lnTo>
                  <a:pt x="8313" y="8409"/>
                </a:lnTo>
                <a:lnTo>
                  <a:pt x="8299" y="8390"/>
                </a:lnTo>
                <a:lnTo>
                  <a:pt x="8318" y="8374"/>
                </a:lnTo>
                <a:lnTo>
                  <a:pt x="8344" y="8372"/>
                </a:lnTo>
                <a:lnTo>
                  <a:pt x="8349" y="8395"/>
                </a:lnTo>
                <a:close/>
                <a:moveTo>
                  <a:pt x="8308" y="8543"/>
                </a:moveTo>
                <a:lnTo>
                  <a:pt x="8304" y="8537"/>
                </a:lnTo>
                <a:lnTo>
                  <a:pt x="8307" y="8533"/>
                </a:lnTo>
                <a:lnTo>
                  <a:pt x="8312" y="8532"/>
                </a:lnTo>
                <a:lnTo>
                  <a:pt x="8318" y="8534"/>
                </a:lnTo>
                <a:lnTo>
                  <a:pt x="8321" y="8541"/>
                </a:lnTo>
                <a:lnTo>
                  <a:pt x="8320" y="8544"/>
                </a:lnTo>
                <a:lnTo>
                  <a:pt x="8315" y="8546"/>
                </a:lnTo>
                <a:lnTo>
                  <a:pt x="8308" y="8543"/>
                </a:lnTo>
                <a:close/>
                <a:moveTo>
                  <a:pt x="8250" y="8473"/>
                </a:moveTo>
                <a:lnTo>
                  <a:pt x="8247" y="8464"/>
                </a:lnTo>
                <a:lnTo>
                  <a:pt x="8253" y="8462"/>
                </a:lnTo>
                <a:lnTo>
                  <a:pt x="8261" y="8465"/>
                </a:lnTo>
                <a:lnTo>
                  <a:pt x="8265" y="8476"/>
                </a:lnTo>
                <a:lnTo>
                  <a:pt x="8256" y="8474"/>
                </a:lnTo>
                <a:lnTo>
                  <a:pt x="8250" y="8473"/>
                </a:lnTo>
                <a:close/>
                <a:moveTo>
                  <a:pt x="8209" y="8431"/>
                </a:moveTo>
                <a:lnTo>
                  <a:pt x="8210" y="8420"/>
                </a:lnTo>
                <a:lnTo>
                  <a:pt x="8222" y="8414"/>
                </a:lnTo>
                <a:lnTo>
                  <a:pt x="8238" y="8414"/>
                </a:lnTo>
                <a:lnTo>
                  <a:pt x="8250" y="8420"/>
                </a:lnTo>
                <a:lnTo>
                  <a:pt x="8250" y="8431"/>
                </a:lnTo>
                <a:lnTo>
                  <a:pt x="8237" y="8436"/>
                </a:lnTo>
                <a:lnTo>
                  <a:pt x="8220" y="8436"/>
                </a:lnTo>
                <a:lnTo>
                  <a:pt x="8209" y="8431"/>
                </a:lnTo>
                <a:close/>
                <a:moveTo>
                  <a:pt x="8117" y="8090"/>
                </a:moveTo>
                <a:lnTo>
                  <a:pt x="8094" y="8100"/>
                </a:lnTo>
                <a:lnTo>
                  <a:pt x="8085" y="8127"/>
                </a:lnTo>
                <a:lnTo>
                  <a:pt x="8083" y="8141"/>
                </a:lnTo>
                <a:lnTo>
                  <a:pt x="8079" y="8112"/>
                </a:lnTo>
                <a:lnTo>
                  <a:pt x="8066" y="8066"/>
                </a:lnTo>
                <a:lnTo>
                  <a:pt x="8107" y="8035"/>
                </a:lnTo>
                <a:lnTo>
                  <a:pt x="8144" y="8038"/>
                </a:lnTo>
                <a:lnTo>
                  <a:pt x="8117" y="8090"/>
                </a:lnTo>
                <a:close/>
                <a:moveTo>
                  <a:pt x="8106" y="8258"/>
                </a:moveTo>
                <a:lnTo>
                  <a:pt x="8106" y="8254"/>
                </a:lnTo>
                <a:lnTo>
                  <a:pt x="8106" y="8252"/>
                </a:lnTo>
                <a:lnTo>
                  <a:pt x="8108" y="8250"/>
                </a:lnTo>
                <a:lnTo>
                  <a:pt x="8111" y="8250"/>
                </a:lnTo>
                <a:lnTo>
                  <a:pt x="8112" y="8253"/>
                </a:lnTo>
                <a:lnTo>
                  <a:pt x="8112" y="8255"/>
                </a:lnTo>
                <a:lnTo>
                  <a:pt x="8109" y="8257"/>
                </a:lnTo>
                <a:lnTo>
                  <a:pt x="8106" y="8258"/>
                </a:lnTo>
                <a:close/>
                <a:moveTo>
                  <a:pt x="8034" y="7931"/>
                </a:moveTo>
                <a:lnTo>
                  <a:pt x="8025" y="7913"/>
                </a:lnTo>
                <a:lnTo>
                  <a:pt x="8025" y="7893"/>
                </a:lnTo>
                <a:lnTo>
                  <a:pt x="8033" y="7876"/>
                </a:lnTo>
                <a:lnTo>
                  <a:pt x="8052" y="7868"/>
                </a:lnTo>
                <a:lnTo>
                  <a:pt x="8062" y="7885"/>
                </a:lnTo>
                <a:lnTo>
                  <a:pt x="8064" y="7912"/>
                </a:lnTo>
                <a:lnTo>
                  <a:pt x="8053" y="7932"/>
                </a:lnTo>
                <a:lnTo>
                  <a:pt x="8034" y="7931"/>
                </a:lnTo>
                <a:close/>
                <a:moveTo>
                  <a:pt x="8083" y="7963"/>
                </a:moveTo>
                <a:lnTo>
                  <a:pt x="8088" y="7968"/>
                </a:lnTo>
                <a:lnTo>
                  <a:pt x="8088" y="7973"/>
                </a:lnTo>
                <a:lnTo>
                  <a:pt x="8084" y="7974"/>
                </a:lnTo>
                <a:lnTo>
                  <a:pt x="8076" y="7973"/>
                </a:lnTo>
                <a:lnTo>
                  <a:pt x="8071" y="7966"/>
                </a:lnTo>
                <a:lnTo>
                  <a:pt x="8071" y="7963"/>
                </a:lnTo>
                <a:lnTo>
                  <a:pt x="8076" y="7960"/>
                </a:lnTo>
                <a:lnTo>
                  <a:pt x="8083" y="7963"/>
                </a:lnTo>
                <a:close/>
                <a:moveTo>
                  <a:pt x="7999" y="8150"/>
                </a:moveTo>
                <a:lnTo>
                  <a:pt x="7964" y="8156"/>
                </a:lnTo>
                <a:lnTo>
                  <a:pt x="7938" y="8147"/>
                </a:lnTo>
                <a:lnTo>
                  <a:pt x="7916" y="8126"/>
                </a:lnTo>
                <a:lnTo>
                  <a:pt x="7898" y="8100"/>
                </a:lnTo>
                <a:lnTo>
                  <a:pt x="7834" y="8098"/>
                </a:lnTo>
                <a:lnTo>
                  <a:pt x="7851" y="8080"/>
                </a:lnTo>
                <a:lnTo>
                  <a:pt x="7896" y="8049"/>
                </a:lnTo>
                <a:lnTo>
                  <a:pt x="7912" y="8006"/>
                </a:lnTo>
                <a:lnTo>
                  <a:pt x="7901" y="8005"/>
                </a:lnTo>
                <a:lnTo>
                  <a:pt x="7884" y="8002"/>
                </a:lnTo>
                <a:lnTo>
                  <a:pt x="7878" y="7998"/>
                </a:lnTo>
                <a:lnTo>
                  <a:pt x="7893" y="7993"/>
                </a:lnTo>
                <a:lnTo>
                  <a:pt x="7906" y="7997"/>
                </a:lnTo>
                <a:lnTo>
                  <a:pt x="7922" y="7994"/>
                </a:lnTo>
                <a:lnTo>
                  <a:pt x="7935" y="7998"/>
                </a:lnTo>
                <a:lnTo>
                  <a:pt x="7936" y="8015"/>
                </a:lnTo>
                <a:lnTo>
                  <a:pt x="7922" y="8086"/>
                </a:lnTo>
                <a:lnTo>
                  <a:pt x="7967" y="8095"/>
                </a:lnTo>
                <a:lnTo>
                  <a:pt x="8011" y="8098"/>
                </a:lnTo>
                <a:lnTo>
                  <a:pt x="7999" y="8150"/>
                </a:lnTo>
                <a:close/>
                <a:moveTo>
                  <a:pt x="7800" y="7616"/>
                </a:moveTo>
                <a:lnTo>
                  <a:pt x="7804" y="7604"/>
                </a:lnTo>
                <a:lnTo>
                  <a:pt x="7824" y="7600"/>
                </a:lnTo>
                <a:lnTo>
                  <a:pt x="7846" y="7604"/>
                </a:lnTo>
                <a:lnTo>
                  <a:pt x="7859" y="7614"/>
                </a:lnTo>
                <a:lnTo>
                  <a:pt x="7843" y="7623"/>
                </a:lnTo>
                <a:lnTo>
                  <a:pt x="7824" y="7630"/>
                </a:lnTo>
                <a:lnTo>
                  <a:pt x="7808" y="7629"/>
                </a:lnTo>
                <a:lnTo>
                  <a:pt x="7800" y="7616"/>
                </a:lnTo>
                <a:close/>
                <a:moveTo>
                  <a:pt x="7840" y="7559"/>
                </a:moveTo>
                <a:lnTo>
                  <a:pt x="7854" y="7549"/>
                </a:lnTo>
                <a:lnTo>
                  <a:pt x="7865" y="7558"/>
                </a:lnTo>
                <a:lnTo>
                  <a:pt x="7866" y="7573"/>
                </a:lnTo>
                <a:lnTo>
                  <a:pt x="7851" y="7579"/>
                </a:lnTo>
                <a:lnTo>
                  <a:pt x="7843" y="7576"/>
                </a:lnTo>
                <a:lnTo>
                  <a:pt x="7840" y="7571"/>
                </a:lnTo>
                <a:lnTo>
                  <a:pt x="7838" y="7565"/>
                </a:lnTo>
                <a:lnTo>
                  <a:pt x="7840" y="7559"/>
                </a:lnTo>
                <a:close/>
                <a:moveTo>
                  <a:pt x="7885" y="7960"/>
                </a:moveTo>
                <a:lnTo>
                  <a:pt x="7878" y="7960"/>
                </a:lnTo>
                <a:lnTo>
                  <a:pt x="7871" y="7959"/>
                </a:lnTo>
                <a:lnTo>
                  <a:pt x="7868" y="7954"/>
                </a:lnTo>
                <a:lnTo>
                  <a:pt x="7864" y="7947"/>
                </a:lnTo>
                <a:lnTo>
                  <a:pt x="7871" y="7947"/>
                </a:lnTo>
                <a:lnTo>
                  <a:pt x="7878" y="7949"/>
                </a:lnTo>
                <a:lnTo>
                  <a:pt x="7882" y="7952"/>
                </a:lnTo>
                <a:lnTo>
                  <a:pt x="7885" y="7960"/>
                </a:lnTo>
                <a:close/>
                <a:moveTo>
                  <a:pt x="7920" y="7824"/>
                </a:moveTo>
                <a:lnTo>
                  <a:pt x="7917" y="7825"/>
                </a:lnTo>
                <a:lnTo>
                  <a:pt x="7915" y="7825"/>
                </a:lnTo>
                <a:lnTo>
                  <a:pt x="7913" y="7820"/>
                </a:lnTo>
                <a:lnTo>
                  <a:pt x="7916" y="7817"/>
                </a:lnTo>
                <a:lnTo>
                  <a:pt x="7920" y="7819"/>
                </a:lnTo>
                <a:lnTo>
                  <a:pt x="7920" y="7824"/>
                </a:lnTo>
                <a:close/>
                <a:moveTo>
                  <a:pt x="7893" y="7755"/>
                </a:moveTo>
                <a:lnTo>
                  <a:pt x="7896" y="7741"/>
                </a:lnTo>
                <a:lnTo>
                  <a:pt x="7906" y="7735"/>
                </a:lnTo>
                <a:lnTo>
                  <a:pt x="7916" y="7736"/>
                </a:lnTo>
                <a:lnTo>
                  <a:pt x="7922" y="7747"/>
                </a:lnTo>
                <a:lnTo>
                  <a:pt x="7908" y="7751"/>
                </a:lnTo>
                <a:lnTo>
                  <a:pt x="7893" y="7755"/>
                </a:lnTo>
                <a:close/>
                <a:moveTo>
                  <a:pt x="7934" y="7870"/>
                </a:moveTo>
                <a:lnTo>
                  <a:pt x="7931" y="7871"/>
                </a:lnTo>
                <a:lnTo>
                  <a:pt x="7929" y="7871"/>
                </a:lnTo>
                <a:lnTo>
                  <a:pt x="7927" y="7868"/>
                </a:lnTo>
                <a:lnTo>
                  <a:pt x="7927" y="7865"/>
                </a:lnTo>
                <a:lnTo>
                  <a:pt x="7930" y="7863"/>
                </a:lnTo>
                <a:lnTo>
                  <a:pt x="7932" y="7865"/>
                </a:lnTo>
                <a:lnTo>
                  <a:pt x="7934" y="7866"/>
                </a:lnTo>
                <a:lnTo>
                  <a:pt x="7934" y="7870"/>
                </a:lnTo>
                <a:close/>
                <a:moveTo>
                  <a:pt x="7883" y="7661"/>
                </a:moveTo>
                <a:lnTo>
                  <a:pt x="7916" y="7672"/>
                </a:lnTo>
                <a:lnTo>
                  <a:pt x="7927" y="7661"/>
                </a:lnTo>
                <a:lnTo>
                  <a:pt x="7946" y="7662"/>
                </a:lnTo>
                <a:lnTo>
                  <a:pt x="8000" y="7713"/>
                </a:lnTo>
                <a:lnTo>
                  <a:pt x="7989" y="7728"/>
                </a:lnTo>
                <a:lnTo>
                  <a:pt x="7981" y="7747"/>
                </a:lnTo>
                <a:lnTo>
                  <a:pt x="7972" y="7764"/>
                </a:lnTo>
                <a:lnTo>
                  <a:pt x="7958" y="7773"/>
                </a:lnTo>
                <a:lnTo>
                  <a:pt x="7938" y="7739"/>
                </a:lnTo>
                <a:lnTo>
                  <a:pt x="7893" y="7703"/>
                </a:lnTo>
                <a:lnTo>
                  <a:pt x="7862" y="7675"/>
                </a:lnTo>
                <a:lnTo>
                  <a:pt x="7883" y="7661"/>
                </a:lnTo>
                <a:close/>
                <a:moveTo>
                  <a:pt x="7740" y="7749"/>
                </a:moveTo>
                <a:lnTo>
                  <a:pt x="7734" y="7736"/>
                </a:lnTo>
                <a:lnTo>
                  <a:pt x="7736" y="7723"/>
                </a:lnTo>
                <a:lnTo>
                  <a:pt x="7747" y="7716"/>
                </a:lnTo>
                <a:lnTo>
                  <a:pt x="7764" y="7716"/>
                </a:lnTo>
                <a:lnTo>
                  <a:pt x="7768" y="7730"/>
                </a:lnTo>
                <a:lnTo>
                  <a:pt x="7766" y="7741"/>
                </a:lnTo>
                <a:lnTo>
                  <a:pt x="7757" y="7747"/>
                </a:lnTo>
                <a:lnTo>
                  <a:pt x="7740" y="7749"/>
                </a:lnTo>
                <a:close/>
                <a:moveTo>
                  <a:pt x="7753" y="7810"/>
                </a:moveTo>
                <a:lnTo>
                  <a:pt x="7736" y="7811"/>
                </a:lnTo>
                <a:lnTo>
                  <a:pt x="7717" y="7812"/>
                </a:lnTo>
                <a:lnTo>
                  <a:pt x="7701" y="7809"/>
                </a:lnTo>
                <a:lnTo>
                  <a:pt x="7693" y="7793"/>
                </a:lnTo>
                <a:lnTo>
                  <a:pt x="7708" y="7783"/>
                </a:lnTo>
                <a:lnTo>
                  <a:pt x="7736" y="7784"/>
                </a:lnTo>
                <a:lnTo>
                  <a:pt x="7758" y="7795"/>
                </a:lnTo>
                <a:lnTo>
                  <a:pt x="7753" y="7810"/>
                </a:lnTo>
                <a:close/>
                <a:moveTo>
                  <a:pt x="7727" y="7890"/>
                </a:moveTo>
                <a:lnTo>
                  <a:pt x="7716" y="7894"/>
                </a:lnTo>
                <a:lnTo>
                  <a:pt x="7703" y="7890"/>
                </a:lnTo>
                <a:lnTo>
                  <a:pt x="7692" y="7882"/>
                </a:lnTo>
                <a:lnTo>
                  <a:pt x="7680" y="7876"/>
                </a:lnTo>
                <a:lnTo>
                  <a:pt x="7691" y="7857"/>
                </a:lnTo>
                <a:lnTo>
                  <a:pt x="7712" y="7852"/>
                </a:lnTo>
                <a:lnTo>
                  <a:pt x="7729" y="7861"/>
                </a:lnTo>
                <a:lnTo>
                  <a:pt x="7727" y="7890"/>
                </a:lnTo>
                <a:close/>
                <a:moveTo>
                  <a:pt x="7646" y="7681"/>
                </a:moveTo>
                <a:lnTo>
                  <a:pt x="7647" y="7658"/>
                </a:lnTo>
                <a:lnTo>
                  <a:pt x="7662" y="7642"/>
                </a:lnTo>
                <a:lnTo>
                  <a:pt x="7684" y="7634"/>
                </a:lnTo>
                <a:lnTo>
                  <a:pt x="7703" y="7643"/>
                </a:lnTo>
                <a:lnTo>
                  <a:pt x="7698" y="7660"/>
                </a:lnTo>
                <a:lnTo>
                  <a:pt x="7683" y="7676"/>
                </a:lnTo>
                <a:lnTo>
                  <a:pt x="7662" y="7686"/>
                </a:lnTo>
                <a:lnTo>
                  <a:pt x="7646" y="7681"/>
                </a:lnTo>
                <a:close/>
                <a:moveTo>
                  <a:pt x="7638" y="7630"/>
                </a:moveTo>
                <a:lnTo>
                  <a:pt x="7631" y="7633"/>
                </a:lnTo>
                <a:lnTo>
                  <a:pt x="7626" y="7624"/>
                </a:lnTo>
                <a:lnTo>
                  <a:pt x="7623" y="7613"/>
                </a:lnTo>
                <a:lnTo>
                  <a:pt x="7620" y="7601"/>
                </a:lnTo>
                <a:lnTo>
                  <a:pt x="7641" y="7597"/>
                </a:lnTo>
                <a:lnTo>
                  <a:pt x="7651" y="7602"/>
                </a:lnTo>
                <a:lnTo>
                  <a:pt x="7650" y="7615"/>
                </a:lnTo>
                <a:lnTo>
                  <a:pt x="7638" y="7630"/>
                </a:lnTo>
                <a:close/>
                <a:moveTo>
                  <a:pt x="6775" y="9446"/>
                </a:moveTo>
                <a:lnTo>
                  <a:pt x="6774" y="9454"/>
                </a:lnTo>
                <a:lnTo>
                  <a:pt x="6757" y="9466"/>
                </a:lnTo>
                <a:lnTo>
                  <a:pt x="6737" y="9475"/>
                </a:lnTo>
                <a:lnTo>
                  <a:pt x="6723" y="9471"/>
                </a:lnTo>
                <a:lnTo>
                  <a:pt x="6737" y="9465"/>
                </a:lnTo>
                <a:lnTo>
                  <a:pt x="6749" y="9457"/>
                </a:lnTo>
                <a:lnTo>
                  <a:pt x="6761" y="9449"/>
                </a:lnTo>
                <a:lnTo>
                  <a:pt x="6775" y="9446"/>
                </a:lnTo>
                <a:close/>
                <a:moveTo>
                  <a:pt x="6756" y="9626"/>
                </a:moveTo>
                <a:lnTo>
                  <a:pt x="6751" y="9622"/>
                </a:lnTo>
                <a:lnTo>
                  <a:pt x="6748" y="9617"/>
                </a:lnTo>
                <a:lnTo>
                  <a:pt x="6748" y="9612"/>
                </a:lnTo>
                <a:lnTo>
                  <a:pt x="6751" y="9606"/>
                </a:lnTo>
                <a:lnTo>
                  <a:pt x="6757" y="9610"/>
                </a:lnTo>
                <a:lnTo>
                  <a:pt x="6760" y="9615"/>
                </a:lnTo>
                <a:lnTo>
                  <a:pt x="6758" y="9620"/>
                </a:lnTo>
                <a:lnTo>
                  <a:pt x="6756" y="9626"/>
                </a:lnTo>
                <a:close/>
                <a:moveTo>
                  <a:pt x="6583" y="8243"/>
                </a:moveTo>
                <a:lnTo>
                  <a:pt x="6577" y="8229"/>
                </a:lnTo>
                <a:lnTo>
                  <a:pt x="6589" y="8211"/>
                </a:lnTo>
                <a:lnTo>
                  <a:pt x="6608" y="8196"/>
                </a:lnTo>
                <a:lnTo>
                  <a:pt x="6626" y="8194"/>
                </a:lnTo>
                <a:lnTo>
                  <a:pt x="6632" y="8213"/>
                </a:lnTo>
                <a:lnTo>
                  <a:pt x="6622" y="8231"/>
                </a:lnTo>
                <a:lnTo>
                  <a:pt x="6604" y="8241"/>
                </a:lnTo>
                <a:lnTo>
                  <a:pt x="6583" y="8243"/>
                </a:lnTo>
                <a:close/>
                <a:moveTo>
                  <a:pt x="6561" y="8558"/>
                </a:moveTo>
                <a:lnTo>
                  <a:pt x="6518" y="8589"/>
                </a:lnTo>
                <a:lnTo>
                  <a:pt x="6495" y="8607"/>
                </a:lnTo>
                <a:lnTo>
                  <a:pt x="6485" y="8631"/>
                </a:lnTo>
                <a:lnTo>
                  <a:pt x="6479" y="8679"/>
                </a:lnTo>
                <a:lnTo>
                  <a:pt x="6445" y="8636"/>
                </a:lnTo>
                <a:lnTo>
                  <a:pt x="6397" y="8604"/>
                </a:lnTo>
                <a:lnTo>
                  <a:pt x="6357" y="8609"/>
                </a:lnTo>
                <a:lnTo>
                  <a:pt x="6352" y="8674"/>
                </a:lnTo>
                <a:lnTo>
                  <a:pt x="6338" y="8693"/>
                </a:lnTo>
                <a:lnTo>
                  <a:pt x="6314" y="8681"/>
                </a:lnTo>
                <a:lnTo>
                  <a:pt x="6279" y="8658"/>
                </a:lnTo>
                <a:lnTo>
                  <a:pt x="6239" y="8644"/>
                </a:lnTo>
                <a:lnTo>
                  <a:pt x="6240" y="8613"/>
                </a:lnTo>
                <a:lnTo>
                  <a:pt x="6243" y="8562"/>
                </a:lnTo>
                <a:lnTo>
                  <a:pt x="6254" y="8524"/>
                </a:lnTo>
                <a:lnTo>
                  <a:pt x="6277" y="8525"/>
                </a:lnTo>
                <a:lnTo>
                  <a:pt x="6302" y="8533"/>
                </a:lnTo>
                <a:lnTo>
                  <a:pt x="6329" y="8546"/>
                </a:lnTo>
                <a:lnTo>
                  <a:pt x="6357" y="8555"/>
                </a:lnTo>
                <a:lnTo>
                  <a:pt x="6385" y="8557"/>
                </a:lnTo>
                <a:lnTo>
                  <a:pt x="6425" y="8527"/>
                </a:lnTo>
                <a:lnTo>
                  <a:pt x="6478" y="8520"/>
                </a:lnTo>
                <a:lnTo>
                  <a:pt x="6529" y="8532"/>
                </a:lnTo>
                <a:lnTo>
                  <a:pt x="6561" y="8558"/>
                </a:lnTo>
                <a:close/>
                <a:moveTo>
                  <a:pt x="6538" y="9033"/>
                </a:moveTo>
                <a:lnTo>
                  <a:pt x="6539" y="9031"/>
                </a:lnTo>
                <a:lnTo>
                  <a:pt x="6542" y="9028"/>
                </a:lnTo>
                <a:lnTo>
                  <a:pt x="6546" y="9033"/>
                </a:lnTo>
                <a:lnTo>
                  <a:pt x="6544" y="9037"/>
                </a:lnTo>
                <a:lnTo>
                  <a:pt x="6542" y="9038"/>
                </a:lnTo>
                <a:lnTo>
                  <a:pt x="6538" y="9033"/>
                </a:lnTo>
                <a:close/>
                <a:moveTo>
                  <a:pt x="6504" y="8712"/>
                </a:moveTo>
                <a:lnTo>
                  <a:pt x="6506" y="8702"/>
                </a:lnTo>
                <a:lnTo>
                  <a:pt x="6521" y="8698"/>
                </a:lnTo>
                <a:lnTo>
                  <a:pt x="6538" y="8703"/>
                </a:lnTo>
                <a:lnTo>
                  <a:pt x="6544" y="8715"/>
                </a:lnTo>
                <a:lnTo>
                  <a:pt x="6539" y="8728"/>
                </a:lnTo>
                <a:lnTo>
                  <a:pt x="6527" y="8729"/>
                </a:lnTo>
                <a:lnTo>
                  <a:pt x="6513" y="8724"/>
                </a:lnTo>
                <a:lnTo>
                  <a:pt x="6504" y="8712"/>
                </a:lnTo>
                <a:close/>
                <a:moveTo>
                  <a:pt x="6521" y="8789"/>
                </a:moveTo>
                <a:lnTo>
                  <a:pt x="6495" y="8810"/>
                </a:lnTo>
                <a:lnTo>
                  <a:pt x="6472" y="8841"/>
                </a:lnTo>
                <a:lnTo>
                  <a:pt x="6448" y="8856"/>
                </a:lnTo>
                <a:lnTo>
                  <a:pt x="6418" y="8828"/>
                </a:lnTo>
                <a:lnTo>
                  <a:pt x="6425" y="8804"/>
                </a:lnTo>
                <a:lnTo>
                  <a:pt x="6441" y="8794"/>
                </a:lnTo>
                <a:lnTo>
                  <a:pt x="6463" y="8794"/>
                </a:lnTo>
                <a:lnTo>
                  <a:pt x="6485" y="8804"/>
                </a:lnTo>
                <a:lnTo>
                  <a:pt x="6482" y="8771"/>
                </a:lnTo>
                <a:lnTo>
                  <a:pt x="6501" y="8756"/>
                </a:lnTo>
                <a:lnTo>
                  <a:pt x="6521" y="8761"/>
                </a:lnTo>
                <a:lnTo>
                  <a:pt x="6521" y="8789"/>
                </a:lnTo>
                <a:close/>
                <a:moveTo>
                  <a:pt x="6250" y="8465"/>
                </a:moveTo>
                <a:lnTo>
                  <a:pt x="6248" y="8468"/>
                </a:lnTo>
                <a:lnTo>
                  <a:pt x="6245" y="8469"/>
                </a:lnTo>
                <a:lnTo>
                  <a:pt x="6244" y="8468"/>
                </a:lnTo>
                <a:lnTo>
                  <a:pt x="6241" y="8465"/>
                </a:lnTo>
                <a:lnTo>
                  <a:pt x="6244" y="8462"/>
                </a:lnTo>
                <a:lnTo>
                  <a:pt x="6246" y="8462"/>
                </a:lnTo>
                <a:lnTo>
                  <a:pt x="6249" y="8463"/>
                </a:lnTo>
                <a:lnTo>
                  <a:pt x="6250" y="8465"/>
                </a:lnTo>
                <a:close/>
                <a:moveTo>
                  <a:pt x="6209" y="8375"/>
                </a:moveTo>
                <a:lnTo>
                  <a:pt x="6166" y="8299"/>
                </a:lnTo>
                <a:lnTo>
                  <a:pt x="6082" y="8282"/>
                </a:lnTo>
                <a:lnTo>
                  <a:pt x="6035" y="8236"/>
                </a:lnTo>
                <a:lnTo>
                  <a:pt x="6097" y="8071"/>
                </a:lnTo>
                <a:lnTo>
                  <a:pt x="6091" y="8015"/>
                </a:lnTo>
                <a:lnTo>
                  <a:pt x="6110" y="7994"/>
                </a:lnTo>
                <a:lnTo>
                  <a:pt x="6133" y="8008"/>
                </a:lnTo>
                <a:lnTo>
                  <a:pt x="6136" y="8062"/>
                </a:lnTo>
                <a:lnTo>
                  <a:pt x="6213" y="8024"/>
                </a:lnTo>
                <a:lnTo>
                  <a:pt x="6288" y="8007"/>
                </a:lnTo>
                <a:lnTo>
                  <a:pt x="6358" y="7993"/>
                </a:lnTo>
                <a:lnTo>
                  <a:pt x="6421" y="7965"/>
                </a:lnTo>
                <a:lnTo>
                  <a:pt x="6411" y="7994"/>
                </a:lnTo>
                <a:lnTo>
                  <a:pt x="6389" y="8012"/>
                </a:lnTo>
                <a:lnTo>
                  <a:pt x="6371" y="8028"/>
                </a:lnTo>
                <a:lnTo>
                  <a:pt x="6374" y="8048"/>
                </a:lnTo>
                <a:lnTo>
                  <a:pt x="6353" y="8075"/>
                </a:lnTo>
                <a:lnTo>
                  <a:pt x="6348" y="8080"/>
                </a:lnTo>
                <a:lnTo>
                  <a:pt x="6361" y="8084"/>
                </a:lnTo>
                <a:lnTo>
                  <a:pt x="6398" y="8105"/>
                </a:lnTo>
                <a:lnTo>
                  <a:pt x="6366" y="8154"/>
                </a:lnTo>
                <a:lnTo>
                  <a:pt x="6376" y="8193"/>
                </a:lnTo>
                <a:lnTo>
                  <a:pt x="6394" y="8232"/>
                </a:lnTo>
                <a:lnTo>
                  <a:pt x="6383" y="8277"/>
                </a:lnTo>
                <a:lnTo>
                  <a:pt x="6361" y="8311"/>
                </a:lnTo>
                <a:lnTo>
                  <a:pt x="6325" y="8310"/>
                </a:lnTo>
                <a:lnTo>
                  <a:pt x="6286" y="8302"/>
                </a:lnTo>
                <a:lnTo>
                  <a:pt x="6254" y="8318"/>
                </a:lnTo>
                <a:lnTo>
                  <a:pt x="6292" y="8358"/>
                </a:lnTo>
                <a:lnTo>
                  <a:pt x="6296" y="8404"/>
                </a:lnTo>
                <a:lnTo>
                  <a:pt x="6267" y="8422"/>
                </a:lnTo>
                <a:lnTo>
                  <a:pt x="6209" y="8375"/>
                </a:lnTo>
                <a:close/>
                <a:moveTo>
                  <a:pt x="6025" y="7571"/>
                </a:moveTo>
                <a:lnTo>
                  <a:pt x="6007" y="7557"/>
                </a:lnTo>
                <a:lnTo>
                  <a:pt x="6018" y="7541"/>
                </a:lnTo>
                <a:lnTo>
                  <a:pt x="6040" y="7536"/>
                </a:lnTo>
                <a:lnTo>
                  <a:pt x="6054" y="7551"/>
                </a:lnTo>
                <a:lnTo>
                  <a:pt x="6053" y="7563"/>
                </a:lnTo>
                <a:lnTo>
                  <a:pt x="6045" y="7568"/>
                </a:lnTo>
                <a:lnTo>
                  <a:pt x="6035" y="7571"/>
                </a:lnTo>
                <a:lnTo>
                  <a:pt x="6025" y="7571"/>
                </a:lnTo>
                <a:close/>
                <a:moveTo>
                  <a:pt x="5927" y="7474"/>
                </a:moveTo>
                <a:lnTo>
                  <a:pt x="5889" y="7484"/>
                </a:lnTo>
                <a:lnTo>
                  <a:pt x="5857" y="7483"/>
                </a:lnTo>
                <a:lnTo>
                  <a:pt x="5827" y="7470"/>
                </a:lnTo>
                <a:lnTo>
                  <a:pt x="5796" y="7445"/>
                </a:lnTo>
                <a:lnTo>
                  <a:pt x="5804" y="7389"/>
                </a:lnTo>
                <a:lnTo>
                  <a:pt x="5869" y="7410"/>
                </a:lnTo>
                <a:lnTo>
                  <a:pt x="5931" y="7456"/>
                </a:lnTo>
                <a:lnTo>
                  <a:pt x="5927" y="7474"/>
                </a:lnTo>
                <a:close/>
                <a:moveTo>
                  <a:pt x="5678" y="7744"/>
                </a:moveTo>
                <a:lnTo>
                  <a:pt x="5673" y="7733"/>
                </a:lnTo>
                <a:lnTo>
                  <a:pt x="5677" y="7719"/>
                </a:lnTo>
                <a:lnTo>
                  <a:pt x="5686" y="7707"/>
                </a:lnTo>
                <a:lnTo>
                  <a:pt x="5696" y="7702"/>
                </a:lnTo>
                <a:lnTo>
                  <a:pt x="5703" y="7712"/>
                </a:lnTo>
                <a:lnTo>
                  <a:pt x="5699" y="7727"/>
                </a:lnTo>
                <a:lnTo>
                  <a:pt x="5689" y="7739"/>
                </a:lnTo>
                <a:lnTo>
                  <a:pt x="5678" y="7744"/>
                </a:lnTo>
                <a:close/>
                <a:moveTo>
                  <a:pt x="5635" y="7796"/>
                </a:moveTo>
                <a:lnTo>
                  <a:pt x="5611" y="7795"/>
                </a:lnTo>
                <a:lnTo>
                  <a:pt x="5598" y="7765"/>
                </a:lnTo>
                <a:lnTo>
                  <a:pt x="5592" y="7728"/>
                </a:lnTo>
                <a:lnTo>
                  <a:pt x="5584" y="7703"/>
                </a:lnTo>
                <a:lnTo>
                  <a:pt x="5608" y="7689"/>
                </a:lnTo>
                <a:lnTo>
                  <a:pt x="5627" y="7717"/>
                </a:lnTo>
                <a:lnTo>
                  <a:pt x="5638" y="7761"/>
                </a:lnTo>
                <a:lnTo>
                  <a:pt x="5635" y="7796"/>
                </a:lnTo>
                <a:close/>
                <a:moveTo>
                  <a:pt x="5605" y="7849"/>
                </a:moveTo>
                <a:lnTo>
                  <a:pt x="5598" y="7853"/>
                </a:lnTo>
                <a:lnTo>
                  <a:pt x="5591" y="7848"/>
                </a:lnTo>
                <a:lnTo>
                  <a:pt x="5583" y="7839"/>
                </a:lnTo>
                <a:lnTo>
                  <a:pt x="5579" y="7831"/>
                </a:lnTo>
                <a:lnTo>
                  <a:pt x="5591" y="7828"/>
                </a:lnTo>
                <a:lnTo>
                  <a:pt x="5601" y="7829"/>
                </a:lnTo>
                <a:lnTo>
                  <a:pt x="5606" y="7837"/>
                </a:lnTo>
                <a:lnTo>
                  <a:pt x="5605" y="7849"/>
                </a:lnTo>
                <a:close/>
                <a:moveTo>
                  <a:pt x="5552" y="7672"/>
                </a:moveTo>
                <a:lnTo>
                  <a:pt x="5513" y="7667"/>
                </a:lnTo>
                <a:lnTo>
                  <a:pt x="5519" y="7619"/>
                </a:lnTo>
                <a:lnTo>
                  <a:pt x="5554" y="7578"/>
                </a:lnTo>
                <a:lnTo>
                  <a:pt x="5597" y="7595"/>
                </a:lnTo>
                <a:lnTo>
                  <a:pt x="5598" y="7611"/>
                </a:lnTo>
                <a:lnTo>
                  <a:pt x="5582" y="7629"/>
                </a:lnTo>
                <a:lnTo>
                  <a:pt x="5561" y="7648"/>
                </a:lnTo>
                <a:lnTo>
                  <a:pt x="5552" y="7672"/>
                </a:lnTo>
                <a:close/>
                <a:moveTo>
                  <a:pt x="5489" y="7467"/>
                </a:moveTo>
                <a:lnTo>
                  <a:pt x="5415" y="7422"/>
                </a:lnTo>
                <a:lnTo>
                  <a:pt x="5435" y="7414"/>
                </a:lnTo>
                <a:lnTo>
                  <a:pt x="5506" y="7429"/>
                </a:lnTo>
                <a:lnTo>
                  <a:pt x="5582" y="7452"/>
                </a:lnTo>
                <a:lnTo>
                  <a:pt x="5598" y="7492"/>
                </a:lnTo>
                <a:lnTo>
                  <a:pt x="5570" y="7502"/>
                </a:lnTo>
                <a:lnTo>
                  <a:pt x="5524" y="7490"/>
                </a:lnTo>
                <a:lnTo>
                  <a:pt x="5489" y="7467"/>
                </a:lnTo>
                <a:close/>
                <a:moveTo>
                  <a:pt x="5448" y="7639"/>
                </a:moveTo>
                <a:lnTo>
                  <a:pt x="5438" y="7629"/>
                </a:lnTo>
                <a:lnTo>
                  <a:pt x="5430" y="7620"/>
                </a:lnTo>
                <a:lnTo>
                  <a:pt x="5430" y="7610"/>
                </a:lnTo>
                <a:lnTo>
                  <a:pt x="5443" y="7599"/>
                </a:lnTo>
                <a:lnTo>
                  <a:pt x="5457" y="7602"/>
                </a:lnTo>
                <a:lnTo>
                  <a:pt x="5464" y="7613"/>
                </a:lnTo>
                <a:lnTo>
                  <a:pt x="5462" y="7627"/>
                </a:lnTo>
                <a:lnTo>
                  <a:pt x="5448" y="7639"/>
                </a:lnTo>
                <a:close/>
                <a:moveTo>
                  <a:pt x="5368" y="7638"/>
                </a:moveTo>
                <a:lnTo>
                  <a:pt x="5359" y="7643"/>
                </a:lnTo>
                <a:lnTo>
                  <a:pt x="5349" y="7637"/>
                </a:lnTo>
                <a:lnTo>
                  <a:pt x="5340" y="7625"/>
                </a:lnTo>
                <a:lnTo>
                  <a:pt x="5333" y="7616"/>
                </a:lnTo>
                <a:lnTo>
                  <a:pt x="5294" y="7657"/>
                </a:lnTo>
                <a:lnTo>
                  <a:pt x="5242" y="7669"/>
                </a:lnTo>
                <a:lnTo>
                  <a:pt x="5187" y="7674"/>
                </a:lnTo>
                <a:lnTo>
                  <a:pt x="5142" y="7694"/>
                </a:lnTo>
                <a:lnTo>
                  <a:pt x="5067" y="7647"/>
                </a:lnTo>
                <a:lnTo>
                  <a:pt x="5073" y="7619"/>
                </a:lnTo>
                <a:lnTo>
                  <a:pt x="5137" y="7595"/>
                </a:lnTo>
                <a:lnTo>
                  <a:pt x="5229" y="7560"/>
                </a:lnTo>
                <a:lnTo>
                  <a:pt x="5253" y="7520"/>
                </a:lnTo>
                <a:lnTo>
                  <a:pt x="5272" y="7529"/>
                </a:lnTo>
                <a:lnTo>
                  <a:pt x="5280" y="7567"/>
                </a:lnTo>
                <a:lnTo>
                  <a:pt x="5272" y="7613"/>
                </a:lnTo>
                <a:lnTo>
                  <a:pt x="5299" y="7611"/>
                </a:lnTo>
                <a:lnTo>
                  <a:pt x="5328" y="7609"/>
                </a:lnTo>
                <a:lnTo>
                  <a:pt x="5354" y="7615"/>
                </a:lnTo>
                <a:lnTo>
                  <a:pt x="5368" y="7638"/>
                </a:lnTo>
                <a:close/>
                <a:moveTo>
                  <a:pt x="5284" y="7735"/>
                </a:moveTo>
                <a:lnTo>
                  <a:pt x="5273" y="7727"/>
                </a:lnTo>
                <a:lnTo>
                  <a:pt x="5271" y="7713"/>
                </a:lnTo>
                <a:lnTo>
                  <a:pt x="5276" y="7699"/>
                </a:lnTo>
                <a:lnTo>
                  <a:pt x="5285" y="7691"/>
                </a:lnTo>
                <a:lnTo>
                  <a:pt x="5299" y="7697"/>
                </a:lnTo>
                <a:lnTo>
                  <a:pt x="5303" y="7709"/>
                </a:lnTo>
                <a:lnTo>
                  <a:pt x="5296" y="7725"/>
                </a:lnTo>
                <a:lnTo>
                  <a:pt x="5284" y="7735"/>
                </a:lnTo>
                <a:close/>
                <a:moveTo>
                  <a:pt x="4987" y="7695"/>
                </a:moveTo>
                <a:lnTo>
                  <a:pt x="4986" y="7690"/>
                </a:lnTo>
                <a:lnTo>
                  <a:pt x="4995" y="7681"/>
                </a:lnTo>
                <a:lnTo>
                  <a:pt x="5007" y="7671"/>
                </a:lnTo>
                <a:lnTo>
                  <a:pt x="5015" y="7660"/>
                </a:lnTo>
                <a:lnTo>
                  <a:pt x="5011" y="7676"/>
                </a:lnTo>
                <a:lnTo>
                  <a:pt x="5007" y="7691"/>
                </a:lnTo>
                <a:lnTo>
                  <a:pt x="5001" y="7700"/>
                </a:lnTo>
                <a:lnTo>
                  <a:pt x="4987" y="7695"/>
                </a:lnTo>
                <a:close/>
                <a:moveTo>
                  <a:pt x="4970" y="7721"/>
                </a:moveTo>
                <a:lnTo>
                  <a:pt x="4958" y="7723"/>
                </a:lnTo>
                <a:lnTo>
                  <a:pt x="4947" y="7716"/>
                </a:lnTo>
                <a:lnTo>
                  <a:pt x="4944" y="7705"/>
                </a:lnTo>
                <a:lnTo>
                  <a:pt x="4950" y="7698"/>
                </a:lnTo>
                <a:lnTo>
                  <a:pt x="4960" y="7699"/>
                </a:lnTo>
                <a:lnTo>
                  <a:pt x="4966" y="7703"/>
                </a:lnTo>
                <a:lnTo>
                  <a:pt x="4969" y="7711"/>
                </a:lnTo>
                <a:lnTo>
                  <a:pt x="4970" y="7721"/>
                </a:lnTo>
                <a:close/>
                <a:moveTo>
                  <a:pt x="4919" y="8182"/>
                </a:moveTo>
                <a:lnTo>
                  <a:pt x="4930" y="8182"/>
                </a:lnTo>
                <a:lnTo>
                  <a:pt x="4935" y="8188"/>
                </a:lnTo>
                <a:lnTo>
                  <a:pt x="4936" y="8197"/>
                </a:lnTo>
                <a:lnTo>
                  <a:pt x="4933" y="8207"/>
                </a:lnTo>
                <a:lnTo>
                  <a:pt x="4921" y="8203"/>
                </a:lnTo>
                <a:lnTo>
                  <a:pt x="4912" y="8197"/>
                </a:lnTo>
                <a:lnTo>
                  <a:pt x="4910" y="8188"/>
                </a:lnTo>
                <a:lnTo>
                  <a:pt x="4919" y="8182"/>
                </a:lnTo>
                <a:close/>
                <a:moveTo>
                  <a:pt x="4826" y="8026"/>
                </a:moveTo>
                <a:lnTo>
                  <a:pt x="4814" y="8025"/>
                </a:lnTo>
                <a:lnTo>
                  <a:pt x="4809" y="8015"/>
                </a:lnTo>
                <a:lnTo>
                  <a:pt x="4811" y="8003"/>
                </a:lnTo>
                <a:lnTo>
                  <a:pt x="4821" y="7998"/>
                </a:lnTo>
                <a:lnTo>
                  <a:pt x="4833" y="8001"/>
                </a:lnTo>
                <a:lnTo>
                  <a:pt x="4838" y="8010"/>
                </a:lnTo>
                <a:lnTo>
                  <a:pt x="4837" y="8021"/>
                </a:lnTo>
                <a:lnTo>
                  <a:pt x="4826" y="8026"/>
                </a:lnTo>
                <a:close/>
                <a:moveTo>
                  <a:pt x="4768" y="8481"/>
                </a:moveTo>
                <a:lnTo>
                  <a:pt x="4758" y="8476"/>
                </a:lnTo>
                <a:lnTo>
                  <a:pt x="4760" y="8471"/>
                </a:lnTo>
                <a:lnTo>
                  <a:pt x="4769" y="8469"/>
                </a:lnTo>
                <a:lnTo>
                  <a:pt x="4779" y="8474"/>
                </a:lnTo>
                <a:lnTo>
                  <a:pt x="4773" y="8478"/>
                </a:lnTo>
                <a:lnTo>
                  <a:pt x="4768" y="8481"/>
                </a:lnTo>
                <a:close/>
                <a:moveTo>
                  <a:pt x="4740" y="7877"/>
                </a:moveTo>
                <a:lnTo>
                  <a:pt x="4704" y="7865"/>
                </a:lnTo>
                <a:lnTo>
                  <a:pt x="4668" y="7907"/>
                </a:lnTo>
                <a:lnTo>
                  <a:pt x="4653" y="7955"/>
                </a:lnTo>
                <a:lnTo>
                  <a:pt x="4680" y="7963"/>
                </a:lnTo>
                <a:lnTo>
                  <a:pt x="4712" y="7997"/>
                </a:lnTo>
                <a:lnTo>
                  <a:pt x="4705" y="8068"/>
                </a:lnTo>
                <a:lnTo>
                  <a:pt x="4681" y="8145"/>
                </a:lnTo>
                <a:lnTo>
                  <a:pt x="4658" y="8196"/>
                </a:lnTo>
                <a:lnTo>
                  <a:pt x="4582" y="8178"/>
                </a:lnTo>
                <a:lnTo>
                  <a:pt x="4519" y="8143"/>
                </a:lnTo>
                <a:lnTo>
                  <a:pt x="4469" y="8095"/>
                </a:lnTo>
                <a:lnTo>
                  <a:pt x="4428" y="8031"/>
                </a:lnTo>
                <a:lnTo>
                  <a:pt x="4499" y="7973"/>
                </a:lnTo>
                <a:lnTo>
                  <a:pt x="4611" y="7893"/>
                </a:lnTo>
                <a:lnTo>
                  <a:pt x="4709" y="7844"/>
                </a:lnTo>
                <a:lnTo>
                  <a:pt x="4740" y="7877"/>
                </a:lnTo>
                <a:close/>
                <a:moveTo>
                  <a:pt x="4639" y="8661"/>
                </a:moveTo>
                <a:lnTo>
                  <a:pt x="4632" y="8656"/>
                </a:lnTo>
                <a:lnTo>
                  <a:pt x="4635" y="8651"/>
                </a:lnTo>
                <a:lnTo>
                  <a:pt x="4644" y="8650"/>
                </a:lnTo>
                <a:lnTo>
                  <a:pt x="4652" y="8656"/>
                </a:lnTo>
                <a:lnTo>
                  <a:pt x="4646" y="8660"/>
                </a:lnTo>
                <a:lnTo>
                  <a:pt x="4639" y="8661"/>
                </a:lnTo>
                <a:close/>
                <a:moveTo>
                  <a:pt x="4455" y="8190"/>
                </a:moveTo>
                <a:lnTo>
                  <a:pt x="4446" y="8193"/>
                </a:lnTo>
                <a:lnTo>
                  <a:pt x="4435" y="8193"/>
                </a:lnTo>
                <a:lnTo>
                  <a:pt x="4425" y="8193"/>
                </a:lnTo>
                <a:lnTo>
                  <a:pt x="4414" y="8192"/>
                </a:lnTo>
                <a:lnTo>
                  <a:pt x="4415" y="8169"/>
                </a:lnTo>
                <a:lnTo>
                  <a:pt x="4444" y="8160"/>
                </a:lnTo>
                <a:lnTo>
                  <a:pt x="4469" y="8168"/>
                </a:lnTo>
                <a:lnTo>
                  <a:pt x="4455" y="8190"/>
                </a:lnTo>
                <a:close/>
                <a:moveTo>
                  <a:pt x="4167" y="6472"/>
                </a:moveTo>
                <a:lnTo>
                  <a:pt x="4151" y="6471"/>
                </a:lnTo>
                <a:lnTo>
                  <a:pt x="4145" y="6463"/>
                </a:lnTo>
                <a:lnTo>
                  <a:pt x="4145" y="6453"/>
                </a:lnTo>
                <a:lnTo>
                  <a:pt x="4151" y="6443"/>
                </a:lnTo>
                <a:lnTo>
                  <a:pt x="4183" y="6434"/>
                </a:lnTo>
                <a:lnTo>
                  <a:pt x="4204" y="6447"/>
                </a:lnTo>
                <a:lnTo>
                  <a:pt x="4201" y="6466"/>
                </a:lnTo>
                <a:lnTo>
                  <a:pt x="4167" y="6472"/>
                </a:lnTo>
                <a:close/>
                <a:moveTo>
                  <a:pt x="4043" y="6567"/>
                </a:moveTo>
                <a:lnTo>
                  <a:pt x="4033" y="6602"/>
                </a:lnTo>
                <a:lnTo>
                  <a:pt x="4013" y="6615"/>
                </a:lnTo>
                <a:lnTo>
                  <a:pt x="3986" y="6609"/>
                </a:lnTo>
                <a:lnTo>
                  <a:pt x="3958" y="6588"/>
                </a:lnTo>
                <a:lnTo>
                  <a:pt x="3973" y="6552"/>
                </a:lnTo>
                <a:lnTo>
                  <a:pt x="4006" y="6528"/>
                </a:lnTo>
                <a:lnTo>
                  <a:pt x="4036" y="6528"/>
                </a:lnTo>
                <a:lnTo>
                  <a:pt x="4043" y="6567"/>
                </a:lnTo>
                <a:close/>
                <a:moveTo>
                  <a:pt x="3948" y="6506"/>
                </a:moveTo>
                <a:lnTo>
                  <a:pt x="3936" y="6495"/>
                </a:lnTo>
                <a:lnTo>
                  <a:pt x="3936" y="6478"/>
                </a:lnTo>
                <a:lnTo>
                  <a:pt x="3943" y="6462"/>
                </a:lnTo>
                <a:lnTo>
                  <a:pt x="3954" y="6453"/>
                </a:lnTo>
                <a:lnTo>
                  <a:pt x="3976" y="6464"/>
                </a:lnTo>
                <a:lnTo>
                  <a:pt x="3980" y="6485"/>
                </a:lnTo>
                <a:lnTo>
                  <a:pt x="3969" y="6501"/>
                </a:lnTo>
                <a:lnTo>
                  <a:pt x="3948" y="6506"/>
                </a:lnTo>
                <a:close/>
                <a:moveTo>
                  <a:pt x="3077" y="4939"/>
                </a:moveTo>
                <a:lnTo>
                  <a:pt x="3098" y="4927"/>
                </a:lnTo>
                <a:lnTo>
                  <a:pt x="3116" y="4943"/>
                </a:lnTo>
                <a:lnTo>
                  <a:pt x="3135" y="4966"/>
                </a:lnTo>
                <a:lnTo>
                  <a:pt x="3158" y="4971"/>
                </a:lnTo>
                <a:lnTo>
                  <a:pt x="3199" y="5008"/>
                </a:lnTo>
                <a:lnTo>
                  <a:pt x="3162" y="5023"/>
                </a:lnTo>
                <a:lnTo>
                  <a:pt x="3102" y="5004"/>
                </a:lnTo>
                <a:lnTo>
                  <a:pt x="3077" y="4939"/>
                </a:lnTo>
                <a:close/>
                <a:moveTo>
                  <a:pt x="3138" y="4584"/>
                </a:moveTo>
                <a:lnTo>
                  <a:pt x="3184" y="4584"/>
                </a:lnTo>
                <a:lnTo>
                  <a:pt x="3207" y="4602"/>
                </a:lnTo>
                <a:lnTo>
                  <a:pt x="3203" y="4629"/>
                </a:lnTo>
                <a:lnTo>
                  <a:pt x="3166" y="4657"/>
                </a:lnTo>
                <a:lnTo>
                  <a:pt x="3152" y="4645"/>
                </a:lnTo>
                <a:lnTo>
                  <a:pt x="3139" y="4624"/>
                </a:lnTo>
                <a:lnTo>
                  <a:pt x="3131" y="4601"/>
                </a:lnTo>
                <a:lnTo>
                  <a:pt x="3138" y="4584"/>
                </a:lnTo>
                <a:close/>
                <a:moveTo>
                  <a:pt x="3173" y="4931"/>
                </a:moveTo>
                <a:lnTo>
                  <a:pt x="3167" y="4931"/>
                </a:lnTo>
                <a:lnTo>
                  <a:pt x="3163" y="4923"/>
                </a:lnTo>
                <a:lnTo>
                  <a:pt x="3161" y="4913"/>
                </a:lnTo>
                <a:lnTo>
                  <a:pt x="3158" y="4904"/>
                </a:lnTo>
                <a:lnTo>
                  <a:pt x="3170" y="4905"/>
                </a:lnTo>
                <a:lnTo>
                  <a:pt x="3177" y="4913"/>
                </a:lnTo>
                <a:lnTo>
                  <a:pt x="3180" y="4922"/>
                </a:lnTo>
                <a:lnTo>
                  <a:pt x="3173" y="4931"/>
                </a:lnTo>
                <a:close/>
                <a:moveTo>
                  <a:pt x="3217" y="4746"/>
                </a:moveTo>
                <a:lnTo>
                  <a:pt x="3251" y="4824"/>
                </a:lnTo>
                <a:lnTo>
                  <a:pt x="3242" y="4889"/>
                </a:lnTo>
                <a:lnTo>
                  <a:pt x="3209" y="4899"/>
                </a:lnTo>
                <a:lnTo>
                  <a:pt x="3172" y="4812"/>
                </a:lnTo>
                <a:lnTo>
                  <a:pt x="3212" y="4826"/>
                </a:lnTo>
                <a:lnTo>
                  <a:pt x="3205" y="4782"/>
                </a:lnTo>
                <a:lnTo>
                  <a:pt x="3193" y="4736"/>
                </a:lnTo>
                <a:lnTo>
                  <a:pt x="3217" y="4746"/>
                </a:lnTo>
                <a:close/>
                <a:moveTo>
                  <a:pt x="3266" y="4552"/>
                </a:moveTo>
                <a:lnTo>
                  <a:pt x="3350" y="4466"/>
                </a:lnTo>
                <a:lnTo>
                  <a:pt x="3400" y="4512"/>
                </a:lnTo>
                <a:lnTo>
                  <a:pt x="3406" y="4566"/>
                </a:lnTo>
                <a:lnTo>
                  <a:pt x="3361" y="4505"/>
                </a:lnTo>
                <a:lnTo>
                  <a:pt x="3327" y="4536"/>
                </a:lnTo>
                <a:lnTo>
                  <a:pt x="3330" y="4560"/>
                </a:lnTo>
                <a:lnTo>
                  <a:pt x="3348" y="4584"/>
                </a:lnTo>
                <a:lnTo>
                  <a:pt x="3364" y="4611"/>
                </a:lnTo>
                <a:lnTo>
                  <a:pt x="3335" y="4610"/>
                </a:lnTo>
                <a:lnTo>
                  <a:pt x="3296" y="4600"/>
                </a:lnTo>
                <a:lnTo>
                  <a:pt x="3266" y="4579"/>
                </a:lnTo>
                <a:lnTo>
                  <a:pt x="3266" y="4552"/>
                </a:lnTo>
                <a:close/>
                <a:moveTo>
                  <a:pt x="3448" y="4648"/>
                </a:moveTo>
                <a:lnTo>
                  <a:pt x="3433" y="4671"/>
                </a:lnTo>
                <a:lnTo>
                  <a:pt x="3398" y="4654"/>
                </a:lnTo>
                <a:lnTo>
                  <a:pt x="3378" y="4631"/>
                </a:lnTo>
                <a:lnTo>
                  <a:pt x="3409" y="4629"/>
                </a:lnTo>
                <a:lnTo>
                  <a:pt x="3415" y="4642"/>
                </a:lnTo>
                <a:lnTo>
                  <a:pt x="3427" y="4644"/>
                </a:lnTo>
                <a:lnTo>
                  <a:pt x="3438" y="4644"/>
                </a:lnTo>
                <a:lnTo>
                  <a:pt x="3448" y="4648"/>
                </a:lnTo>
                <a:close/>
                <a:moveTo>
                  <a:pt x="3426" y="4476"/>
                </a:moveTo>
                <a:lnTo>
                  <a:pt x="3432" y="4472"/>
                </a:lnTo>
                <a:lnTo>
                  <a:pt x="3436" y="4475"/>
                </a:lnTo>
                <a:lnTo>
                  <a:pt x="3437" y="4480"/>
                </a:lnTo>
                <a:lnTo>
                  <a:pt x="3434" y="4486"/>
                </a:lnTo>
                <a:lnTo>
                  <a:pt x="3428" y="4489"/>
                </a:lnTo>
                <a:lnTo>
                  <a:pt x="3424" y="4488"/>
                </a:lnTo>
                <a:lnTo>
                  <a:pt x="3423" y="4482"/>
                </a:lnTo>
                <a:lnTo>
                  <a:pt x="3426" y="4476"/>
                </a:lnTo>
                <a:close/>
                <a:moveTo>
                  <a:pt x="3284" y="4741"/>
                </a:moveTo>
                <a:lnTo>
                  <a:pt x="3288" y="4740"/>
                </a:lnTo>
                <a:lnTo>
                  <a:pt x="3291" y="4740"/>
                </a:lnTo>
                <a:lnTo>
                  <a:pt x="3292" y="4742"/>
                </a:lnTo>
                <a:lnTo>
                  <a:pt x="3292" y="4745"/>
                </a:lnTo>
                <a:lnTo>
                  <a:pt x="3289" y="4747"/>
                </a:lnTo>
                <a:lnTo>
                  <a:pt x="3287" y="4746"/>
                </a:lnTo>
                <a:lnTo>
                  <a:pt x="3285" y="4743"/>
                </a:lnTo>
                <a:lnTo>
                  <a:pt x="3284" y="4741"/>
                </a:lnTo>
                <a:close/>
                <a:moveTo>
                  <a:pt x="3317" y="4918"/>
                </a:moveTo>
                <a:lnTo>
                  <a:pt x="3312" y="4934"/>
                </a:lnTo>
                <a:lnTo>
                  <a:pt x="3298" y="4943"/>
                </a:lnTo>
                <a:lnTo>
                  <a:pt x="3283" y="4943"/>
                </a:lnTo>
                <a:lnTo>
                  <a:pt x="3269" y="4933"/>
                </a:lnTo>
                <a:lnTo>
                  <a:pt x="3268" y="4903"/>
                </a:lnTo>
                <a:lnTo>
                  <a:pt x="3287" y="4882"/>
                </a:lnTo>
                <a:lnTo>
                  <a:pt x="3310" y="4885"/>
                </a:lnTo>
                <a:lnTo>
                  <a:pt x="3317" y="4918"/>
                </a:lnTo>
                <a:close/>
                <a:moveTo>
                  <a:pt x="3259" y="5106"/>
                </a:moveTo>
                <a:lnTo>
                  <a:pt x="3264" y="5101"/>
                </a:lnTo>
                <a:lnTo>
                  <a:pt x="3269" y="5100"/>
                </a:lnTo>
                <a:lnTo>
                  <a:pt x="3271" y="5101"/>
                </a:lnTo>
                <a:lnTo>
                  <a:pt x="3273" y="5109"/>
                </a:lnTo>
                <a:lnTo>
                  <a:pt x="3268" y="5114"/>
                </a:lnTo>
                <a:lnTo>
                  <a:pt x="3264" y="5115"/>
                </a:lnTo>
                <a:lnTo>
                  <a:pt x="3260" y="5113"/>
                </a:lnTo>
                <a:lnTo>
                  <a:pt x="3259" y="5106"/>
                </a:lnTo>
                <a:close/>
                <a:moveTo>
                  <a:pt x="3320" y="5340"/>
                </a:moveTo>
                <a:lnTo>
                  <a:pt x="3301" y="5356"/>
                </a:lnTo>
                <a:lnTo>
                  <a:pt x="3274" y="5340"/>
                </a:lnTo>
                <a:lnTo>
                  <a:pt x="3256" y="5311"/>
                </a:lnTo>
                <a:lnTo>
                  <a:pt x="3261" y="5289"/>
                </a:lnTo>
                <a:lnTo>
                  <a:pt x="3284" y="5292"/>
                </a:lnTo>
                <a:lnTo>
                  <a:pt x="3303" y="5303"/>
                </a:lnTo>
                <a:lnTo>
                  <a:pt x="3316" y="5321"/>
                </a:lnTo>
                <a:lnTo>
                  <a:pt x="3320" y="5340"/>
                </a:lnTo>
                <a:close/>
                <a:moveTo>
                  <a:pt x="3207" y="5027"/>
                </a:moveTo>
                <a:lnTo>
                  <a:pt x="3210" y="5026"/>
                </a:lnTo>
                <a:lnTo>
                  <a:pt x="3213" y="5027"/>
                </a:lnTo>
                <a:lnTo>
                  <a:pt x="3214" y="5029"/>
                </a:lnTo>
                <a:lnTo>
                  <a:pt x="3215" y="5032"/>
                </a:lnTo>
                <a:lnTo>
                  <a:pt x="3212" y="5034"/>
                </a:lnTo>
                <a:lnTo>
                  <a:pt x="3209" y="5034"/>
                </a:lnTo>
                <a:lnTo>
                  <a:pt x="3208" y="5031"/>
                </a:lnTo>
                <a:lnTo>
                  <a:pt x="3207" y="5027"/>
                </a:lnTo>
                <a:close/>
                <a:moveTo>
                  <a:pt x="3409" y="5344"/>
                </a:moveTo>
                <a:lnTo>
                  <a:pt x="3412" y="5349"/>
                </a:lnTo>
                <a:lnTo>
                  <a:pt x="3408" y="5352"/>
                </a:lnTo>
                <a:lnTo>
                  <a:pt x="3404" y="5351"/>
                </a:lnTo>
                <a:lnTo>
                  <a:pt x="3403" y="5345"/>
                </a:lnTo>
                <a:lnTo>
                  <a:pt x="3406" y="5344"/>
                </a:lnTo>
                <a:lnTo>
                  <a:pt x="3409" y="5344"/>
                </a:lnTo>
                <a:close/>
                <a:moveTo>
                  <a:pt x="3434" y="5399"/>
                </a:moveTo>
                <a:lnTo>
                  <a:pt x="3438" y="5410"/>
                </a:lnTo>
                <a:lnTo>
                  <a:pt x="3434" y="5421"/>
                </a:lnTo>
                <a:lnTo>
                  <a:pt x="3427" y="5429"/>
                </a:lnTo>
                <a:lnTo>
                  <a:pt x="3418" y="5436"/>
                </a:lnTo>
                <a:lnTo>
                  <a:pt x="3412" y="5422"/>
                </a:lnTo>
                <a:lnTo>
                  <a:pt x="3412" y="5409"/>
                </a:lnTo>
                <a:lnTo>
                  <a:pt x="3419" y="5401"/>
                </a:lnTo>
                <a:lnTo>
                  <a:pt x="3434" y="5399"/>
                </a:lnTo>
                <a:close/>
                <a:moveTo>
                  <a:pt x="3964" y="6405"/>
                </a:moveTo>
                <a:lnTo>
                  <a:pt x="3967" y="6389"/>
                </a:lnTo>
                <a:lnTo>
                  <a:pt x="3976" y="6377"/>
                </a:lnTo>
                <a:lnTo>
                  <a:pt x="3988" y="6373"/>
                </a:lnTo>
                <a:lnTo>
                  <a:pt x="4002" y="6379"/>
                </a:lnTo>
                <a:lnTo>
                  <a:pt x="4010" y="6403"/>
                </a:lnTo>
                <a:lnTo>
                  <a:pt x="3995" y="6421"/>
                </a:lnTo>
                <a:lnTo>
                  <a:pt x="3974" y="6424"/>
                </a:lnTo>
                <a:lnTo>
                  <a:pt x="3964" y="6405"/>
                </a:lnTo>
                <a:close/>
                <a:moveTo>
                  <a:pt x="6426" y="2914"/>
                </a:moveTo>
                <a:lnTo>
                  <a:pt x="6418" y="2885"/>
                </a:lnTo>
                <a:lnTo>
                  <a:pt x="6451" y="2867"/>
                </a:lnTo>
                <a:lnTo>
                  <a:pt x="6486" y="2868"/>
                </a:lnTo>
                <a:lnTo>
                  <a:pt x="6483" y="2896"/>
                </a:lnTo>
                <a:lnTo>
                  <a:pt x="6469" y="2904"/>
                </a:lnTo>
                <a:lnTo>
                  <a:pt x="6454" y="2915"/>
                </a:lnTo>
                <a:lnTo>
                  <a:pt x="6439" y="2921"/>
                </a:lnTo>
                <a:lnTo>
                  <a:pt x="6426" y="2914"/>
                </a:lnTo>
                <a:close/>
                <a:moveTo>
                  <a:pt x="6402" y="2795"/>
                </a:moveTo>
                <a:lnTo>
                  <a:pt x="6336" y="2694"/>
                </a:lnTo>
                <a:lnTo>
                  <a:pt x="6358" y="2663"/>
                </a:lnTo>
                <a:lnTo>
                  <a:pt x="6435" y="2656"/>
                </a:lnTo>
                <a:lnTo>
                  <a:pt x="6530" y="2624"/>
                </a:lnTo>
                <a:lnTo>
                  <a:pt x="6527" y="2658"/>
                </a:lnTo>
                <a:lnTo>
                  <a:pt x="6507" y="2684"/>
                </a:lnTo>
                <a:lnTo>
                  <a:pt x="6481" y="2695"/>
                </a:lnTo>
                <a:lnTo>
                  <a:pt x="6450" y="2684"/>
                </a:lnTo>
                <a:lnTo>
                  <a:pt x="6451" y="2700"/>
                </a:lnTo>
                <a:lnTo>
                  <a:pt x="6453" y="2717"/>
                </a:lnTo>
                <a:lnTo>
                  <a:pt x="6448" y="2728"/>
                </a:lnTo>
                <a:lnTo>
                  <a:pt x="6428" y="2726"/>
                </a:lnTo>
                <a:lnTo>
                  <a:pt x="6422" y="2747"/>
                </a:lnTo>
                <a:lnTo>
                  <a:pt x="6427" y="2777"/>
                </a:lnTo>
                <a:lnTo>
                  <a:pt x="6426" y="2798"/>
                </a:lnTo>
                <a:lnTo>
                  <a:pt x="6402" y="2795"/>
                </a:lnTo>
                <a:close/>
                <a:moveTo>
                  <a:pt x="6453" y="2474"/>
                </a:moveTo>
                <a:lnTo>
                  <a:pt x="6441" y="2470"/>
                </a:lnTo>
                <a:lnTo>
                  <a:pt x="6437" y="2459"/>
                </a:lnTo>
                <a:lnTo>
                  <a:pt x="6442" y="2448"/>
                </a:lnTo>
                <a:lnTo>
                  <a:pt x="6454" y="2444"/>
                </a:lnTo>
                <a:lnTo>
                  <a:pt x="6464" y="2448"/>
                </a:lnTo>
                <a:lnTo>
                  <a:pt x="6468" y="2460"/>
                </a:lnTo>
                <a:lnTo>
                  <a:pt x="6464" y="2471"/>
                </a:lnTo>
                <a:lnTo>
                  <a:pt x="6453" y="2474"/>
                </a:lnTo>
                <a:close/>
                <a:moveTo>
                  <a:pt x="6506" y="2103"/>
                </a:moveTo>
                <a:lnTo>
                  <a:pt x="6510" y="2097"/>
                </a:lnTo>
                <a:lnTo>
                  <a:pt x="6515" y="2096"/>
                </a:lnTo>
                <a:lnTo>
                  <a:pt x="6521" y="2096"/>
                </a:lnTo>
                <a:lnTo>
                  <a:pt x="6528" y="2098"/>
                </a:lnTo>
                <a:lnTo>
                  <a:pt x="6523" y="2105"/>
                </a:lnTo>
                <a:lnTo>
                  <a:pt x="6518" y="2106"/>
                </a:lnTo>
                <a:lnTo>
                  <a:pt x="6513" y="2106"/>
                </a:lnTo>
                <a:lnTo>
                  <a:pt x="6506" y="2103"/>
                </a:lnTo>
                <a:close/>
                <a:moveTo>
                  <a:pt x="6455" y="1948"/>
                </a:moveTo>
                <a:lnTo>
                  <a:pt x="6422" y="1958"/>
                </a:lnTo>
                <a:lnTo>
                  <a:pt x="6414" y="1976"/>
                </a:lnTo>
                <a:lnTo>
                  <a:pt x="6416" y="1999"/>
                </a:lnTo>
                <a:lnTo>
                  <a:pt x="6413" y="2026"/>
                </a:lnTo>
                <a:lnTo>
                  <a:pt x="6365" y="2033"/>
                </a:lnTo>
                <a:lnTo>
                  <a:pt x="6358" y="2022"/>
                </a:lnTo>
                <a:lnTo>
                  <a:pt x="6370" y="1998"/>
                </a:lnTo>
                <a:lnTo>
                  <a:pt x="6376" y="1962"/>
                </a:lnTo>
                <a:lnTo>
                  <a:pt x="6365" y="1929"/>
                </a:lnTo>
                <a:lnTo>
                  <a:pt x="6353" y="1911"/>
                </a:lnTo>
                <a:lnTo>
                  <a:pt x="6337" y="1910"/>
                </a:lnTo>
                <a:lnTo>
                  <a:pt x="6311" y="1929"/>
                </a:lnTo>
                <a:lnTo>
                  <a:pt x="6282" y="1910"/>
                </a:lnTo>
                <a:lnTo>
                  <a:pt x="6269" y="1869"/>
                </a:lnTo>
                <a:lnTo>
                  <a:pt x="6274" y="1832"/>
                </a:lnTo>
                <a:lnTo>
                  <a:pt x="6301" y="1826"/>
                </a:lnTo>
                <a:lnTo>
                  <a:pt x="6351" y="1817"/>
                </a:lnTo>
                <a:lnTo>
                  <a:pt x="6374" y="1848"/>
                </a:lnTo>
                <a:lnTo>
                  <a:pt x="6394" y="1890"/>
                </a:lnTo>
                <a:lnTo>
                  <a:pt x="6440" y="1916"/>
                </a:lnTo>
                <a:lnTo>
                  <a:pt x="6492" y="1890"/>
                </a:lnTo>
                <a:lnTo>
                  <a:pt x="6521" y="1874"/>
                </a:lnTo>
                <a:lnTo>
                  <a:pt x="6541" y="1846"/>
                </a:lnTo>
                <a:lnTo>
                  <a:pt x="6557" y="1781"/>
                </a:lnTo>
                <a:lnTo>
                  <a:pt x="6607" y="1802"/>
                </a:lnTo>
                <a:lnTo>
                  <a:pt x="6625" y="1827"/>
                </a:lnTo>
                <a:lnTo>
                  <a:pt x="6612" y="1856"/>
                </a:lnTo>
                <a:lnTo>
                  <a:pt x="6572" y="1884"/>
                </a:lnTo>
                <a:lnTo>
                  <a:pt x="6572" y="1932"/>
                </a:lnTo>
                <a:lnTo>
                  <a:pt x="6543" y="1942"/>
                </a:lnTo>
                <a:lnTo>
                  <a:pt x="6500" y="1939"/>
                </a:lnTo>
                <a:lnTo>
                  <a:pt x="6455" y="1948"/>
                </a:lnTo>
                <a:close/>
                <a:moveTo>
                  <a:pt x="6449" y="1715"/>
                </a:moveTo>
                <a:lnTo>
                  <a:pt x="6463" y="1719"/>
                </a:lnTo>
                <a:lnTo>
                  <a:pt x="6467" y="1728"/>
                </a:lnTo>
                <a:lnTo>
                  <a:pt x="6462" y="1738"/>
                </a:lnTo>
                <a:lnTo>
                  <a:pt x="6449" y="1744"/>
                </a:lnTo>
                <a:lnTo>
                  <a:pt x="6436" y="1737"/>
                </a:lnTo>
                <a:lnTo>
                  <a:pt x="6431" y="1728"/>
                </a:lnTo>
                <a:lnTo>
                  <a:pt x="6434" y="1719"/>
                </a:lnTo>
                <a:lnTo>
                  <a:pt x="6449" y="1715"/>
                </a:lnTo>
                <a:close/>
                <a:moveTo>
                  <a:pt x="6672" y="2287"/>
                </a:moveTo>
                <a:lnTo>
                  <a:pt x="6679" y="2325"/>
                </a:lnTo>
                <a:lnTo>
                  <a:pt x="6642" y="2339"/>
                </a:lnTo>
                <a:lnTo>
                  <a:pt x="6594" y="2332"/>
                </a:lnTo>
                <a:lnTo>
                  <a:pt x="6566" y="2307"/>
                </a:lnTo>
                <a:lnTo>
                  <a:pt x="6590" y="2264"/>
                </a:lnTo>
                <a:lnTo>
                  <a:pt x="6609" y="2245"/>
                </a:lnTo>
                <a:lnTo>
                  <a:pt x="6634" y="2250"/>
                </a:lnTo>
                <a:lnTo>
                  <a:pt x="6672" y="2287"/>
                </a:lnTo>
                <a:close/>
                <a:moveTo>
                  <a:pt x="6672" y="1789"/>
                </a:moveTo>
                <a:lnTo>
                  <a:pt x="6677" y="1794"/>
                </a:lnTo>
                <a:lnTo>
                  <a:pt x="6678" y="1798"/>
                </a:lnTo>
                <a:lnTo>
                  <a:pt x="6674" y="1802"/>
                </a:lnTo>
                <a:lnTo>
                  <a:pt x="6668" y="1803"/>
                </a:lnTo>
                <a:lnTo>
                  <a:pt x="6662" y="1799"/>
                </a:lnTo>
                <a:lnTo>
                  <a:pt x="6662" y="1795"/>
                </a:lnTo>
                <a:lnTo>
                  <a:pt x="6665" y="1791"/>
                </a:lnTo>
                <a:lnTo>
                  <a:pt x="6672" y="1789"/>
                </a:lnTo>
                <a:close/>
                <a:moveTo>
                  <a:pt x="6693" y="1892"/>
                </a:moveTo>
                <a:lnTo>
                  <a:pt x="6701" y="1895"/>
                </a:lnTo>
                <a:lnTo>
                  <a:pt x="6704" y="1898"/>
                </a:lnTo>
                <a:lnTo>
                  <a:pt x="6701" y="1902"/>
                </a:lnTo>
                <a:lnTo>
                  <a:pt x="6693" y="1905"/>
                </a:lnTo>
                <a:lnTo>
                  <a:pt x="6686" y="1902"/>
                </a:lnTo>
                <a:lnTo>
                  <a:pt x="6683" y="1898"/>
                </a:lnTo>
                <a:lnTo>
                  <a:pt x="6686" y="1895"/>
                </a:lnTo>
                <a:lnTo>
                  <a:pt x="6693" y="1892"/>
                </a:lnTo>
                <a:close/>
                <a:moveTo>
                  <a:pt x="6831" y="4918"/>
                </a:moveTo>
                <a:lnTo>
                  <a:pt x="6827" y="4929"/>
                </a:lnTo>
                <a:lnTo>
                  <a:pt x="6814" y="4933"/>
                </a:lnTo>
                <a:lnTo>
                  <a:pt x="6798" y="4932"/>
                </a:lnTo>
                <a:lnTo>
                  <a:pt x="6788" y="4925"/>
                </a:lnTo>
                <a:lnTo>
                  <a:pt x="6789" y="4910"/>
                </a:lnTo>
                <a:lnTo>
                  <a:pt x="6802" y="4904"/>
                </a:lnTo>
                <a:lnTo>
                  <a:pt x="6818" y="4906"/>
                </a:lnTo>
                <a:lnTo>
                  <a:pt x="6831" y="4918"/>
                </a:lnTo>
                <a:close/>
                <a:moveTo>
                  <a:pt x="6870" y="4952"/>
                </a:moveTo>
                <a:lnTo>
                  <a:pt x="6886" y="4929"/>
                </a:lnTo>
                <a:lnTo>
                  <a:pt x="6903" y="4932"/>
                </a:lnTo>
                <a:lnTo>
                  <a:pt x="6914" y="4950"/>
                </a:lnTo>
                <a:lnTo>
                  <a:pt x="6910" y="4976"/>
                </a:lnTo>
                <a:lnTo>
                  <a:pt x="6898" y="4974"/>
                </a:lnTo>
                <a:lnTo>
                  <a:pt x="6883" y="4969"/>
                </a:lnTo>
                <a:lnTo>
                  <a:pt x="6872" y="4962"/>
                </a:lnTo>
                <a:lnTo>
                  <a:pt x="6870" y="4952"/>
                </a:lnTo>
                <a:close/>
                <a:moveTo>
                  <a:pt x="7175" y="4420"/>
                </a:moveTo>
                <a:lnTo>
                  <a:pt x="7195" y="4350"/>
                </a:lnTo>
                <a:lnTo>
                  <a:pt x="7215" y="4336"/>
                </a:lnTo>
                <a:lnTo>
                  <a:pt x="7237" y="4369"/>
                </a:lnTo>
                <a:lnTo>
                  <a:pt x="7260" y="4442"/>
                </a:lnTo>
                <a:lnTo>
                  <a:pt x="7240" y="4471"/>
                </a:lnTo>
                <a:lnTo>
                  <a:pt x="7199" y="4475"/>
                </a:lnTo>
                <a:lnTo>
                  <a:pt x="7167" y="4456"/>
                </a:lnTo>
                <a:lnTo>
                  <a:pt x="7175" y="4420"/>
                </a:lnTo>
                <a:close/>
                <a:moveTo>
                  <a:pt x="7284" y="5073"/>
                </a:moveTo>
                <a:lnTo>
                  <a:pt x="7301" y="5008"/>
                </a:lnTo>
                <a:lnTo>
                  <a:pt x="7333" y="4990"/>
                </a:lnTo>
                <a:lnTo>
                  <a:pt x="7370" y="5013"/>
                </a:lnTo>
                <a:lnTo>
                  <a:pt x="7404" y="5064"/>
                </a:lnTo>
                <a:lnTo>
                  <a:pt x="7391" y="5092"/>
                </a:lnTo>
                <a:lnTo>
                  <a:pt x="7366" y="5079"/>
                </a:lnTo>
                <a:lnTo>
                  <a:pt x="7339" y="5063"/>
                </a:lnTo>
                <a:lnTo>
                  <a:pt x="7319" y="5078"/>
                </a:lnTo>
                <a:lnTo>
                  <a:pt x="7321" y="5095"/>
                </a:lnTo>
                <a:lnTo>
                  <a:pt x="7306" y="5097"/>
                </a:lnTo>
                <a:lnTo>
                  <a:pt x="7289" y="5088"/>
                </a:lnTo>
                <a:lnTo>
                  <a:pt x="7284" y="5073"/>
                </a:lnTo>
                <a:close/>
                <a:moveTo>
                  <a:pt x="7414" y="4130"/>
                </a:moveTo>
                <a:lnTo>
                  <a:pt x="7422" y="4131"/>
                </a:lnTo>
                <a:lnTo>
                  <a:pt x="7424" y="4139"/>
                </a:lnTo>
                <a:lnTo>
                  <a:pt x="7423" y="4150"/>
                </a:lnTo>
                <a:lnTo>
                  <a:pt x="7422" y="4159"/>
                </a:lnTo>
                <a:lnTo>
                  <a:pt x="7409" y="4157"/>
                </a:lnTo>
                <a:lnTo>
                  <a:pt x="7403" y="4148"/>
                </a:lnTo>
                <a:lnTo>
                  <a:pt x="7404" y="4137"/>
                </a:lnTo>
                <a:lnTo>
                  <a:pt x="7414" y="4130"/>
                </a:lnTo>
                <a:close/>
                <a:moveTo>
                  <a:pt x="7515" y="5213"/>
                </a:moveTo>
                <a:lnTo>
                  <a:pt x="7538" y="5222"/>
                </a:lnTo>
                <a:lnTo>
                  <a:pt x="7547" y="5249"/>
                </a:lnTo>
                <a:lnTo>
                  <a:pt x="7548" y="5283"/>
                </a:lnTo>
                <a:lnTo>
                  <a:pt x="7544" y="5309"/>
                </a:lnTo>
                <a:lnTo>
                  <a:pt x="7521" y="5295"/>
                </a:lnTo>
                <a:lnTo>
                  <a:pt x="7508" y="5270"/>
                </a:lnTo>
                <a:lnTo>
                  <a:pt x="7507" y="5241"/>
                </a:lnTo>
                <a:lnTo>
                  <a:pt x="7515" y="5213"/>
                </a:lnTo>
                <a:close/>
                <a:moveTo>
                  <a:pt x="7557" y="3745"/>
                </a:moveTo>
                <a:lnTo>
                  <a:pt x="7638" y="3756"/>
                </a:lnTo>
                <a:lnTo>
                  <a:pt x="7670" y="3693"/>
                </a:lnTo>
                <a:lnTo>
                  <a:pt x="7699" y="3675"/>
                </a:lnTo>
                <a:lnTo>
                  <a:pt x="7768" y="3818"/>
                </a:lnTo>
                <a:lnTo>
                  <a:pt x="7820" y="3860"/>
                </a:lnTo>
                <a:lnTo>
                  <a:pt x="7791" y="3887"/>
                </a:lnTo>
                <a:lnTo>
                  <a:pt x="7731" y="3905"/>
                </a:lnTo>
                <a:lnTo>
                  <a:pt x="7691" y="3915"/>
                </a:lnTo>
                <a:lnTo>
                  <a:pt x="7674" y="3883"/>
                </a:lnTo>
                <a:lnTo>
                  <a:pt x="7702" y="3864"/>
                </a:lnTo>
                <a:lnTo>
                  <a:pt x="7722" y="3849"/>
                </a:lnTo>
                <a:lnTo>
                  <a:pt x="7683" y="3823"/>
                </a:lnTo>
                <a:lnTo>
                  <a:pt x="7632" y="3818"/>
                </a:lnTo>
                <a:lnTo>
                  <a:pt x="7577" y="3804"/>
                </a:lnTo>
                <a:lnTo>
                  <a:pt x="7545" y="3780"/>
                </a:lnTo>
                <a:lnTo>
                  <a:pt x="7557" y="3745"/>
                </a:lnTo>
                <a:close/>
                <a:moveTo>
                  <a:pt x="7764" y="4023"/>
                </a:moveTo>
                <a:lnTo>
                  <a:pt x="7771" y="4027"/>
                </a:lnTo>
                <a:lnTo>
                  <a:pt x="7775" y="4031"/>
                </a:lnTo>
                <a:lnTo>
                  <a:pt x="7777" y="4037"/>
                </a:lnTo>
                <a:lnTo>
                  <a:pt x="7777" y="4043"/>
                </a:lnTo>
                <a:lnTo>
                  <a:pt x="7769" y="4041"/>
                </a:lnTo>
                <a:lnTo>
                  <a:pt x="7766" y="4037"/>
                </a:lnTo>
                <a:lnTo>
                  <a:pt x="7763" y="4031"/>
                </a:lnTo>
                <a:lnTo>
                  <a:pt x="7764" y="4023"/>
                </a:lnTo>
                <a:close/>
                <a:moveTo>
                  <a:pt x="7846" y="4284"/>
                </a:moveTo>
                <a:lnTo>
                  <a:pt x="7871" y="4339"/>
                </a:lnTo>
                <a:lnTo>
                  <a:pt x="7908" y="4405"/>
                </a:lnTo>
                <a:lnTo>
                  <a:pt x="7920" y="4443"/>
                </a:lnTo>
                <a:lnTo>
                  <a:pt x="7865" y="4407"/>
                </a:lnTo>
                <a:lnTo>
                  <a:pt x="7838" y="4384"/>
                </a:lnTo>
                <a:lnTo>
                  <a:pt x="7813" y="4387"/>
                </a:lnTo>
                <a:lnTo>
                  <a:pt x="7785" y="4402"/>
                </a:lnTo>
                <a:lnTo>
                  <a:pt x="7758" y="4414"/>
                </a:lnTo>
                <a:lnTo>
                  <a:pt x="7739" y="4402"/>
                </a:lnTo>
                <a:lnTo>
                  <a:pt x="7745" y="4388"/>
                </a:lnTo>
                <a:lnTo>
                  <a:pt x="7762" y="4383"/>
                </a:lnTo>
                <a:lnTo>
                  <a:pt x="7778" y="4402"/>
                </a:lnTo>
                <a:lnTo>
                  <a:pt x="7794" y="4327"/>
                </a:lnTo>
                <a:lnTo>
                  <a:pt x="7755" y="4262"/>
                </a:lnTo>
                <a:lnTo>
                  <a:pt x="7707" y="4200"/>
                </a:lnTo>
                <a:lnTo>
                  <a:pt x="7689" y="4132"/>
                </a:lnTo>
                <a:lnTo>
                  <a:pt x="7722" y="4089"/>
                </a:lnTo>
                <a:lnTo>
                  <a:pt x="7776" y="4135"/>
                </a:lnTo>
                <a:lnTo>
                  <a:pt x="7824" y="4218"/>
                </a:lnTo>
                <a:lnTo>
                  <a:pt x="7846" y="4284"/>
                </a:lnTo>
                <a:close/>
                <a:moveTo>
                  <a:pt x="7879" y="4190"/>
                </a:moveTo>
                <a:lnTo>
                  <a:pt x="7931" y="4188"/>
                </a:lnTo>
                <a:lnTo>
                  <a:pt x="7959" y="4211"/>
                </a:lnTo>
                <a:lnTo>
                  <a:pt x="7958" y="4246"/>
                </a:lnTo>
                <a:lnTo>
                  <a:pt x="7921" y="4278"/>
                </a:lnTo>
                <a:lnTo>
                  <a:pt x="7901" y="4274"/>
                </a:lnTo>
                <a:lnTo>
                  <a:pt x="7878" y="4246"/>
                </a:lnTo>
                <a:lnTo>
                  <a:pt x="7866" y="4213"/>
                </a:lnTo>
                <a:lnTo>
                  <a:pt x="7879" y="4190"/>
                </a:lnTo>
                <a:close/>
                <a:moveTo>
                  <a:pt x="7983" y="4332"/>
                </a:moveTo>
                <a:lnTo>
                  <a:pt x="8038" y="4365"/>
                </a:lnTo>
                <a:lnTo>
                  <a:pt x="8059" y="4346"/>
                </a:lnTo>
                <a:lnTo>
                  <a:pt x="8069" y="4312"/>
                </a:lnTo>
                <a:lnTo>
                  <a:pt x="8101" y="4303"/>
                </a:lnTo>
                <a:lnTo>
                  <a:pt x="8118" y="4334"/>
                </a:lnTo>
                <a:lnTo>
                  <a:pt x="8154" y="4355"/>
                </a:lnTo>
                <a:lnTo>
                  <a:pt x="8185" y="4379"/>
                </a:lnTo>
                <a:lnTo>
                  <a:pt x="8187" y="4419"/>
                </a:lnTo>
                <a:lnTo>
                  <a:pt x="8205" y="4465"/>
                </a:lnTo>
                <a:lnTo>
                  <a:pt x="8205" y="4493"/>
                </a:lnTo>
                <a:lnTo>
                  <a:pt x="8182" y="4510"/>
                </a:lnTo>
                <a:lnTo>
                  <a:pt x="8131" y="4522"/>
                </a:lnTo>
                <a:lnTo>
                  <a:pt x="8149" y="4541"/>
                </a:lnTo>
                <a:lnTo>
                  <a:pt x="8166" y="4560"/>
                </a:lnTo>
                <a:lnTo>
                  <a:pt x="8163" y="4583"/>
                </a:lnTo>
                <a:lnTo>
                  <a:pt x="8121" y="4608"/>
                </a:lnTo>
                <a:lnTo>
                  <a:pt x="8098" y="4587"/>
                </a:lnTo>
                <a:lnTo>
                  <a:pt x="8084" y="4550"/>
                </a:lnTo>
                <a:lnTo>
                  <a:pt x="8065" y="4530"/>
                </a:lnTo>
                <a:lnTo>
                  <a:pt x="8032" y="4558"/>
                </a:lnTo>
                <a:lnTo>
                  <a:pt x="8001" y="4519"/>
                </a:lnTo>
                <a:lnTo>
                  <a:pt x="7997" y="4456"/>
                </a:lnTo>
                <a:lnTo>
                  <a:pt x="7999" y="4387"/>
                </a:lnTo>
                <a:lnTo>
                  <a:pt x="7983" y="4332"/>
                </a:lnTo>
                <a:close/>
                <a:moveTo>
                  <a:pt x="8005" y="3901"/>
                </a:moveTo>
                <a:lnTo>
                  <a:pt x="8023" y="3902"/>
                </a:lnTo>
                <a:lnTo>
                  <a:pt x="8038" y="3917"/>
                </a:lnTo>
                <a:lnTo>
                  <a:pt x="8045" y="3938"/>
                </a:lnTo>
                <a:lnTo>
                  <a:pt x="8038" y="3954"/>
                </a:lnTo>
                <a:lnTo>
                  <a:pt x="8020" y="3952"/>
                </a:lnTo>
                <a:lnTo>
                  <a:pt x="8005" y="3936"/>
                </a:lnTo>
                <a:lnTo>
                  <a:pt x="7997" y="3916"/>
                </a:lnTo>
                <a:lnTo>
                  <a:pt x="8005" y="3901"/>
                </a:lnTo>
                <a:close/>
                <a:moveTo>
                  <a:pt x="8065" y="3507"/>
                </a:moveTo>
                <a:lnTo>
                  <a:pt x="8088" y="3487"/>
                </a:lnTo>
                <a:lnTo>
                  <a:pt x="8117" y="3479"/>
                </a:lnTo>
                <a:lnTo>
                  <a:pt x="8140" y="3487"/>
                </a:lnTo>
                <a:lnTo>
                  <a:pt x="8141" y="3512"/>
                </a:lnTo>
                <a:lnTo>
                  <a:pt x="8120" y="3524"/>
                </a:lnTo>
                <a:lnTo>
                  <a:pt x="8092" y="3530"/>
                </a:lnTo>
                <a:lnTo>
                  <a:pt x="8070" y="3525"/>
                </a:lnTo>
                <a:lnTo>
                  <a:pt x="8065" y="3507"/>
                </a:lnTo>
                <a:close/>
                <a:moveTo>
                  <a:pt x="8162" y="3528"/>
                </a:moveTo>
                <a:lnTo>
                  <a:pt x="8164" y="3549"/>
                </a:lnTo>
                <a:lnTo>
                  <a:pt x="8158" y="3563"/>
                </a:lnTo>
                <a:lnTo>
                  <a:pt x="8141" y="3575"/>
                </a:lnTo>
                <a:lnTo>
                  <a:pt x="8111" y="3588"/>
                </a:lnTo>
                <a:lnTo>
                  <a:pt x="8120" y="3568"/>
                </a:lnTo>
                <a:lnTo>
                  <a:pt x="8130" y="3548"/>
                </a:lnTo>
                <a:lnTo>
                  <a:pt x="8143" y="3533"/>
                </a:lnTo>
                <a:lnTo>
                  <a:pt x="8162" y="3528"/>
                </a:lnTo>
                <a:close/>
                <a:moveTo>
                  <a:pt x="8177" y="3487"/>
                </a:moveTo>
                <a:lnTo>
                  <a:pt x="8181" y="3465"/>
                </a:lnTo>
                <a:lnTo>
                  <a:pt x="8188" y="3446"/>
                </a:lnTo>
                <a:lnTo>
                  <a:pt x="8202" y="3435"/>
                </a:lnTo>
                <a:lnTo>
                  <a:pt x="8225" y="3439"/>
                </a:lnTo>
                <a:lnTo>
                  <a:pt x="8234" y="3465"/>
                </a:lnTo>
                <a:lnTo>
                  <a:pt x="8219" y="3495"/>
                </a:lnTo>
                <a:lnTo>
                  <a:pt x="8195" y="3509"/>
                </a:lnTo>
                <a:lnTo>
                  <a:pt x="8177" y="3487"/>
                </a:lnTo>
                <a:close/>
                <a:moveTo>
                  <a:pt x="8255" y="4271"/>
                </a:moveTo>
                <a:lnTo>
                  <a:pt x="8279" y="4308"/>
                </a:lnTo>
                <a:lnTo>
                  <a:pt x="8295" y="4342"/>
                </a:lnTo>
                <a:lnTo>
                  <a:pt x="8289" y="4360"/>
                </a:lnTo>
                <a:lnTo>
                  <a:pt x="8246" y="4348"/>
                </a:lnTo>
                <a:lnTo>
                  <a:pt x="8214" y="4312"/>
                </a:lnTo>
                <a:lnTo>
                  <a:pt x="8202" y="4270"/>
                </a:lnTo>
                <a:lnTo>
                  <a:pt x="8215" y="4246"/>
                </a:lnTo>
                <a:lnTo>
                  <a:pt x="8255" y="4271"/>
                </a:lnTo>
                <a:close/>
                <a:moveTo>
                  <a:pt x="8297" y="3140"/>
                </a:moveTo>
                <a:lnTo>
                  <a:pt x="8353" y="3157"/>
                </a:lnTo>
                <a:lnTo>
                  <a:pt x="8363" y="3211"/>
                </a:lnTo>
                <a:lnTo>
                  <a:pt x="8343" y="3267"/>
                </a:lnTo>
                <a:lnTo>
                  <a:pt x="8309" y="3296"/>
                </a:lnTo>
                <a:lnTo>
                  <a:pt x="8302" y="3257"/>
                </a:lnTo>
                <a:lnTo>
                  <a:pt x="8293" y="3218"/>
                </a:lnTo>
                <a:lnTo>
                  <a:pt x="8289" y="3180"/>
                </a:lnTo>
                <a:lnTo>
                  <a:pt x="8297" y="3140"/>
                </a:lnTo>
                <a:close/>
                <a:moveTo>
                  <a:pt x="8312" y="2935"/>
                </a:moveTo>
                <a:lnTo>
                  <a:pt x="8353" y="2971"/>
                </a:lnTo>
                <a:lnTo>
                  <a:pt x="8409" y="2998"/>
                </a:lnTo>
                <a:lnTo>
                  <a:pt x="8437" y="3029"/>
                </a:lnTo>
                <a:lnTo>
                  <a:pt x="8396" y="3076"/>
                </a:lnTo>
                <a:lnTo>
                  <a:pt x="8424" y="3081"/>
                </a:lnTo>
                <a:lnTo>
                  <a:pt x="8447" y="3085"/>
                </a:lnTo>
                <a:lnTo>
                  <a:pt x="8460" y="3098"/>
                </a:lnTo>
                <a:lnTo>
                  <a:pt x="8455" y="3134"/>
                </a:lnTo>
                <a:lnTo>
                  <a:pt x="8374" y="3122"/>
                </a:lnTo>
                <a:lnTo>
                  <a:pt x="8350" y="3094"/>
                </a:lnTo>
                <a:lnTo>
                  <a:pt x="8350" y="3053"/>
                </a:lnTo>
                <a:lnTo>
                  <a:pt x="8344" y="3001"/>
                </a:lnTo>
                <a:lnTo>
                  <a:pt x="8323" y="2993"/>
                </a:lnTo>
                <a:lnTo>
                  <a:pt x="8308" y="2969"/>
                </a:lnTo>
                <a:lnTo>
                  <a:pt x="8303" y="2943"/>
                </a:lnTo>
                <a:lnTo>
                  <a:pt x="8312" y="2935"/>
                </a:lnTo>
                <a:close/>
                <a:moveTo>
                  <a:pt x="8358" y="4490"/>
                </a:moveTo>
                <a:lnTo>
                  <a:pt x="8387" y="4460"/>
                </a:lnTo>
                <a:lnTo>
                  <a:pt x="8407" y="4484"/>
                </a:lnTo>
                <a:lnTo>
                  <a:pt x="8409" y="4527"/>
                </a:lnTo>
                <a:lnTo>
                  <a:pt x="8381" y="4552"/>
                </a:lnTo>
                <a:lnTo>
                  <a:pt x="8349" y="4555"/>
                </a:lnTo>
                <a:lnTo>
                  <a:pt x="8335" y="4537"/>
                </a:lnTo>
                <a:lnTo>
                  <a:pt x="8339" y="4512"/>
                </a:lnTo>
                <a:lnTo>
                  <a:pt x="8358" y="4490"/>
                </a:lnTo>
                <a:close/>
                <a:moveTo>
                  <a:pt x="8281" y="6441"/>
                </a:moveTo>
                <a:lnTo>
                  <a:pt x="8276" y="6448"/>
                </a:lnTo>
                <a:lnTo>
                  <a:pt x="8271" y="6448"/>
                </a:lnTo>
                <a:lnTo>
                  <a:pt x="8270" y="6443"/>
                </a:lnTo>
                <a:lnTo>
                  <a:pt x="8270" y="6435"/>
                </a:lnTo>
                <a:lnTo>
                  <a:pt x="8278" y="6431"/>
                </a:lnTo>
                <a:lnTo>
                  <a:pt x="8281" y="6430"/>
                </a:lnTo>
                <a:lnTo>
                  <a:pt x="8283" y="6434"/>
                </a:lnTo>
                <a:lnTo>
                  <a:pt x="8281" y="6441"/>
                </a:lnTo>
                <a:close/>
                <a:moveTo>
                  <a:pt x="8315" y="6520"/>
                </a:moveTo>
                <a:lnTo>
                  <a:pt x="8349" y="6538"/>
                </a:lnTo>
                <a:lnTo>
                  <a:pt x="8340" y="6562"/>
                </a:lnTo>
                <a:lnTo>
                  <a:pt x="8315" y="6570"/>
                </a:lnTo>
                <a:lnTo>
                  <a:pt x="8295" y="6541"/>
                </a:lnTo>
                <a:lnTo>
                  <a:pt x="8297" y="6532"/>
                </a:lnTo>
                <a:lnTo>
                  <a:pt x="8302" y="6524"/>
                </a:lnTo>
                <a:lnTo>
                  <a:pt x="8308" y="6520"/>
                </a:lnTo>
                <a:lnTo>
                  <a:pt x="8315" y="6520"/>
                </a:lnTo>
                <a:close/>
                <a:moveTo>
                  <a:pt x="8360" y="6464"/>
                </a:moveTo>
                <a:lnTo>
                  <a:pt x="8367" y="6463"/>
                </a:lnTo>
                <a:lnTo>
                  <a:pt x="8376" y="6462"/>
                </a:lnTo>
                <a:lnTo>
                  <a:pt x="8382" y="6463"/>
                </a:lnTo>
                <a:lnTo>
                  <a:pt x="8383" y="6471"/>
                </a:lnTo>
                <a:lnTo>
                  <a:pt x="8376" y="6481"/>
                </a:lnTo>
                <a:lnTo>
                  <a:pt x="8363" y="6482"/>
                </a:lnTo>
                <a:lnTo>
                  <a:pt x="8355" y="6476"/>
                </a:lnTo>
                <a:lnTo>
                  <a:pt x="8360" y="6464"/>
                </a:lnTo>
                <a:close/>
                <a:moveTo>
                  <a:pt x="8391" y="6215"/>
                </a:moveTo>
                <a:lnTo>
                  <a:pt x="8428" y="6214"/>
                </a:lnTo>
                <a:lnTo>
                  <a:pt x="8466" y="6238"/>
                </a:lnTo>
                <a:lnTo>
                  <a:pt x="8502" y="6275"/>
                </a:lnTo>
                <a:lnTo>
                  <a:pt x="8532" y="6307"/>
                </a:lnTo>
                <a:lnTo>
                  <a:pt x="8545" y="6233"/>
                </a:lnTo>
                <a:lnTo>
                  <a:pt x="8560" y="6224"/>
                </a:lnTo>
                <a:lnTo>
                  <a:pt x="8591" y="6249"/>
                </a:lnTo>
                <a:lnTo>
                  <a:pt x="8647" y="6280"/>
                </a:lnTo>
                <a:lnTo>
                  <a:pt x="8663" y="6303"/>
                </a:lnTo>
                <a:lnTo>
                  <a:pt x="8651" y="6322"/>
                </a:lnTo>
                <a:lnTo>
                  <a:pt x="8624" y="6332"/>
                </a:lnTo>
                <a:lnTo>
                  <a:pt x="8595" y="6323"/>
                </a:lnTo>
                <a:lnTo>
                  <a:pt x="8595" y="6357"/>
                </a:lnTo>
                <a:lnTo>
                  <a:pt x="8628" y="6398"/>
                </a:lnTo>
                <a:lnTo>
                  <a:pt x="8658" y="6439"/>
                </a:lnTo>
                <a:lnTo>
                  <a:pt x="8649" y="6473"/>
                </a:lnTo>
                <a:lnTo>
                  <a:pt x="8601" y="6490"/>
                </a:lnTo>
                <a:lnTo>
                  <a:pt x="8568" y="6499"/>
                </a:lnTo>
                <a:lnTo>
                  <a:pt x="8560" y="6489"/>
                </a:lnTo>
                <a:lnTo>
                  <a:pt x="8587" y="6444"/>
                </a:lnTo>
                <a:lnTo>
                  <a:pt x="8534" y="6455"/>
                </a:lnTo>
                <a:lnTo>
                  <a:pt x="8530" y="6429"/>
                </a:lnTo>
                <a:lnTo>
                  <a:pt x="8546" y="6380"/>
                </a:lnTo>
                <a:lnTo>
                  <a:pt x="8554" y="6328"/>
                </a:lnTo>
                <a:lnTo>
                  <a:pt x="8539" y="6312"/>
                </a:lnTo>
                <a:lnTo>
                  <a:pt x="8528" y="6333"/>
                </a:lnTo>
                <a:lnTo>
                  <a:pt x="8511" y="6361"/>
                </a:lnTo>
                <a:lnTo>
                  <a:pt x="8476" y="6366"/>
                </a:lnTo>
                <a:lnTo>
                  <a:pt x="8452" y="6321"/>
                </a:lnTo>
                <a:lnTo>
                  <a:pt x="8428" y="6285"/>
                </a:lnTo>
                <a:lnTo>
                  <a:pt x="8405" y="6253"/>
                </a:lnTo>
                <a:lnTo>
                  <a:pt x="8391" y="6215"/>
                </a:lnTo>
                <a:close/>
                <a:moveTo>
                  <a:pt x="8512" y="6388"/>
                </a:moveTo>
                <a:lnTo>
                  <a:pt x="8499" y="6379"/>
                </a:lnTo>
                <a:lnTo>
                  <a:pt x="8500" y="6373"/>
                </a:lnTo>
                <a:lnTo>
                  <a:pt x="8511" y="6365"/>
                </a:lnTo>
                <a:lnTo>
                  <a:pt x="8522" y="6360"/>
                </a:lnTo>
                <a:lnTo>
                  <a:pt x="8530" y="6369"/>
                </a:lnTo>
                <a:lnTo>
                  <a:pt x="8530" y="6378"/>
                </a:lnTo>
                <a:lnTo>
                  <a:pt x="8523" y="6387"/>
                </a:lnTo>
                <a:lnTo>
                  <a:pt x="8512" y="6388"/>
                </a:lnTo>
                <a:close/>
                <a:moveTo>
                  <a:pt x="8410" y="6490"/>
                </a:moveTo>
                <a:lnTo>
                  <a:pt x="8407" y="6483"/>
                </a:lnTo>
                <a:lnTo>
                  <a:pt x="8409" y="6478"/>
                </a:lnTo>
                <a:lnTo>
                  <a:pt x="8414" y="6478"/>
                </a:lnTo>
                <a:lnTo>
                  <a:pt x="8421" y="6480"/>
                </a:lnTo>
                <a:lnTo>
                  <a:pt x="8424" y="6486"/>
                </a:lnTo>
                <a:lnTo>
                  <a:pt x="8423" y="6490"/>
                </a:lnTo>
                <a:lnTo>
                  <a:pt x="8418" y="6491"/>
                </a:lnTo>
                <a:lnTo>
                  <a:pt x="8410" y="6490"/>
                </a:lnTo>
                <a:close/>
                <a:moveTo>
                  <a:pt x="8331" y="6634"/>
                </a:moveTo>
                <a:lnTo>
                  <a:pt x="8327" y="6635"/>
                </a:lnTo>
                <a:lnTo>
                  <a:pt x="8325" y="6632"/>
                </a:lnTo>
                <a:lnTo>
                  <a:pt x="8326" y="6629"/>
                </a:lnTo>
                <a:lnTo>
                  <a:pt x="8331" y="6627"/>
                </a:lnTo>
                <a:lnTo>
                  <a:pt x="8331" y="6631"/>
                </a:lnTo>
                <a:lnTo>
                  <a:pt x="8331" y="6634"/>
                </a:lnTo>
                <a:close/>
                <a:moveTo>
                  <a:pt x="8237" y="6159"/>
                </a:moveTo>
                <a:lnTo>
                  <a:pt x="8225" y="6158"/>
                </a:lnTo>
                <a:lnTo>
                  <a:pt x="8213" y="6153"/>
                </a:lnTo>
                <a:lnTo>
                  <a:pt x="8204" y="6145"/>
                </a:lnTo>
                <a:lnTo>
                  <a:pt x="8208" y="6135"/>
                </a:lnTo>
                <a:lnTo>
                  <a:pt x="8223" y="6128"/>
                </a:lnTo>
                <a:lnTo>
                  <a:pt x="8233" y="6132"/>
                </a:lnTo>
                <a:lnTo>
                  <a:pt x="8238" y="6144"/>
                </a:lnTo>
                <a:lnTo>
                  <a:pt x="8237" y="6159"/>
                </a:lnTo>
                <a:close/>
                <a:moveTo>
                  <a:pt x="7939" y="6963"/>
                </a:moveTo>
                <a:lnTo>
                  <a:pt x="7938" y="6965"/>
                </a:lnTo>
                <a:lnTo>
                  <a:pt x="7934" y="6965"/>
                </a:lnTo>
                <a:lnTo>
                  <a:pt x="7932" y="6960"/>
                </a:lnTo>
                <a:lnTo>
                  <a:pt x="7936" y="6957"/>
                </a:lnTo>
                <a:lnTo>
                  <a:pt x="7939" y="6958"/>
                </a:lnTo>
                <a:lnTo>
                  <a:pt x="7939" y="6963"/>
                </a:lnTo>
                <a:close/>
                <a:moveTo>
                  <a:pt x="8227" y="4556"/>
                </a:moveTo>
                <a:lnTo>
                  <a:pt x="8222" y="4549"/>
                </a:lnTo>
                <a:lnTo>
                  <a:pt x="8223" y="4536"/>
                </a:lnTo>
                <a:lnTo>
                  <a:pt x="8229" y="4527"/>
                </a:lnTo>
                <a:lnTo>
                  <a:pt x="8238" y="4533"/>
                </a:lnTo>
                <a:lnTo>
                  <a:pt x="8239" y="4541"/>
                </a:lnTo>
                <a:lnTo>
                  <a:pt x="8238" y="4549"/>
                </a:lnTo>
                <a:lnTo>
                  <a:pt x="8233" y="4554"/>
                </a:lnTo>
                <a:lnTo>
                  <a:pt x="8227" y="4556"/>
                </a:lnTo>
                <a:close/>
                <a:moveTo>
                  <a:pt x="8258" y="4620"/>
                </a:moveTo>
                <a:lnTo>
                  <a:pt x="8247" y="4622"/>
                </a:lnTo>
                <a:lnTo>
                  <a:pt x="8238" y="4616"/>
                </a:lnTo>
                <a:lnTo>
                  <a:pt x="8234" y="4606"/>
                </a:lnTo>
                <a:lnTo>
                  <a:pt x="8241" y="4596"/>
                </a:lnTo>
                <a:lnTo>
                  <a:pt x="8252" y="4592"/>
                </a:lnTo>
                <a:lnTo>
                  <a:pt x="8261" y="4598"/>
                </a:lnTo>
                <a:lnTo>
                  <a:pt x="8265" y="4608"/>
                </a:lnTo>
                <a:lnTo>
                  <a:pt x="8258" y="4620"/>
                </a:lnTo>
                <a:close/>
                <a:moveTo>
                  <a:pt x="7652" y="3997"/>
                </a:moveTo>
                <a:lnTo>
                  <a:pt x="7626" y="4005"/>
                </a:lnTo>
                <a:lnTo>
                  <a:pt x="7613" y="3976"/>
                </a:lnTo>
                <a:lnTo>
                  <a:pt x="7615" y="3939"/>
                </a:lnTo>
                <a:lnTo>
                  <a:pt x="7637" y="3924"/>
                </a:lnTo>
                <a:lnTo>
                  <a:pt x="7652" y="3936"/>
                </a:lnTo>
                <a:lnTo>
                  <a:pt x="7659" y="3955"/>
                </a:lnTo>
                <a:lnTo>
                  <a:pt x="7657" y="3977"/>
                </a:lnTo>
                <a:lnTo>
                  <a:pt x="7652" y="3997"/>
                </a:lnTo>
                <a:close/>
                <a:moveTo>
                  <a:pt x="7646" y="4280"/>
                </a:moveTo>
                <a:lnTo>
                  <a:pt x="7628" y="4269"/>
                </a:lnTo>
                <a:lnTo>
                  <a:pt x="7634" y="4251"/>
                </a:lnTo>
                <a:lnTo>
                  <a:pt x="7651" y="4239"/>
                </a:lnTo>
                <a:lnTo>
                  <a:pt x="7670" y="4246"/>
                </a:lnTo>
                <a:lnTo>
                  <a:pt x="7671" y="4258"/>
                </a:lnTo>
                <a:lnTo>
                  <a:pt x="7668" y="4269"/>
                </a:lnTo>
                <a:lnTo>
                  <a:pt x="7659" y="4276"/>
                </a:lnTo>
                <a:lnTo>
                  <a:pt x="7646" y="4280"/>
                </a:lnTo>
                <a:close/>
                <a:moveTo>
                  <a:pt x="7679" y="5259"/>
                </a:moveTo>
                <a:lnTo>
                  <a:pt x="7655" y="5263"/>
                </a:lnTo>
                <a:lnTo>
                  <a:pt x="7637" y="5256"/>
                </a:lnTo>
                <a:lnTo>
                  <a:pt x="7632" y="5242"/>
                </a:lnTo>
                <a:lnTo>
                  <a:pt x="7647" y="5221"/>
                </a:lnTo>
                <a:lnTo>
                  <a:pt x="7666" y="5213"/>
                </a:lnTo>
                <a:lnTo>
                  <a:pt x="7684" y="5225"/>
                </a:lnTo>
                <a:lnTo>
                  <a:pt x="7691" y="5242"/>
                </a:lnTo>
                <a:lnTo>
                  <a:pt x="7679" y="5259"/>
                </a:lnTo>
                <a:close/>
                <a:moveTo>
                  <a:pt x="6538" y="8319"/>
                </a:moveTo>
                <a:lnTo>
                  <a:pt x="6549" y="8320"/>
                </a:lnTo>
                <a:lnTo>
                  <a:pt x="6555" y="8330"/>
                </a:lnTo>
                <a:lnTo>
                  <a:pt x="6553" y="8342"/>
                </a:lnTo>
                <a:lnTo>
                  <a:pt x="6543" y="8347"/>
                </a:lnTo>
                <a:lnTo>
                  <a:pt x="6530" y="8346"/>
                </a:lnTo>
                <a:lnTo>
                  <a:pt x="6525" y="8336"/>
                </a:lnTo>
                <a:lnTo>
                  <a:pt x="6528" y="8324"/>
                </a:lnTo>
                <a:lnTo>
                  <a:pt x="6538" y="8319"/>
                </a:lnTo>
                <a:close/>
                <a:moveTo>
                  <a:pt x="6492" y="7986"/>
                </a:moveTo>
                <a:lnTo>
                  <a:pt x="6488" y="7968"/>
                </a:lnTo>
                <a:lnTo>
                  <a:pt x="6504" y="7951"/>
                </a:lnTo>
                <a:lnTo>
                  <a:pt x="6525" y="7945"/>
                </a:lnTo>
                <a:lnTo>
                  <a:pt x="6542" y="7954"/>
                </a:lnTo>
                <a:lnTo>
                  <a:pt x="6542" y="7972"/>
                </a:lnTo>
                <a:lnTo>
                  <a:pt x="6528" y="7983"/>
                </a:lnTo>
                <a:lnTo>
                  <a:pt x="6509" y="7989"/>
                </a:lnTo>
                <a:lnTo>
                  <a:pt x="6492" y="7986"/>
                </a:lnTo>
                <a:close/>
                <a:moveTo>
                  <a:pt x="6427" y="8441"/>
                </a:moveTo>
                <a:lnTo>
                  <a:pt x="6474" y="8435"/>
                </a:lnTo>
                <a:lnTo>
                  <a:pt x="6459" y="8398"/>
                </a:lnTo>
                <a:lnTo>
                  <a:pt x="6445" y="8358"/>
                </a:lnTo>
                <a:lnTo>
                  <a:pt x="6490" y="8346"/>
                </a:lnTo>
                <a:lnTo>
                  <a:pt x="6511" y="8389"/>
                </a:lnTo>
                <a:lnTo>
                  <a:pt x="6486" y="8440"/>
                </a:lnTo>
                <a:lnTo>
                  <a:pt x="6446" y="8468"/>
                </a:lnTo>
                <a:lnTo>
                  <a:pt x="6427" y="8441"/>
                </a:lnTo>
                <a:close/>
                <a:moveTo>
                  <a:pt x="6428" y="8067"/>
                </a:moveTo>
                <a:lnTo>
                  <a:pt x="6432" y="8072"/>
                </a:lnTo>
                <a:lnTo>
                  <a:pt x="6431" y="8076"/>
                </a:lnTo>
                <a:lnTo>
                  <a:pt x="6427" y="8077"/>
                </a:lnTo>
                <a:lnTo>
                  <a:pt x="6423" y="8072"/>
                </a:lnTo>
                <a:lnTo>
                  <a:pt x="6425" y="8070"/>
                </a:lnTo>
                <a:lnTo>
                  <a:pt x="6428" y="8067"/>
                </a:lnTo>
                <a:close/>
                <a:moveTo>
                  <a:pt x="6470" y="7831"/>
                </a:moveTo>
                <a:lnTo>
                  <a:pt x="6468" y="7848"/>
                </a:lnTo>
                <a:lnTo>
                  <a:pt x="6458" y="7863"/>
                </a:lnTo>
                <a:lnTo>
                  <a:pt x="6444" y="7871"/>
                </a:lnTo>
                <a:lnTo>
                  <a:pt x="6430" y="7866"/>
                </a:lnTo>
                <a:lnTo>
                  <a:pt x="6436" y="7853"/>
                </a:lnTo>
                <a:lnTo>
                  <a:pt x="6448" y="7838"/>
                </a:lnTo>
                <a:lnTo>
                  <a:pt x="6460" y="7828"/>
                </a:lnTo>
                <a:lnTo>
                  <a:pt x="6470" y="7831"/>
                </a:lnTo>
                <a:close/>
                <a:moveTo>
                  <a:pt x="6400" y="7881"/>
                </a:moveTo>
                <a:lnTo>
                  <a:pt x="6413" y="7889"/>
                </a:lnTo>
                <a:lnTo>
                  <a:pt x="6422" y="7904"/>
                </a:lnTo>
                <a:lnTo>
                  <a:pt x="6421" y="7918"/>
                </a:lnTo>
                <a:lnTo>
                  <a:pt x="6407" y="7924"/>
                </a:lnTo>
                <a:lnTo>
                  <a:pt x="6397" y="7918"/>
                </a:lnTo>
                <a:lnTo>
                  <a:pt x="6390" y="7904"/>
                </a:lnTo>
                <a:lnTo>
                  <a:pt x="6392" y="7890"/>
                </a:lnTo>
                <a:lnTo>
                  <a:pt x="6400" y="7881"/>
                </a:lnTo>
                <a:close/>
                <a:moveTo>
                  <a:pt x="6132" y="7572"/>
                </a:moveTo>
                <a:lnTo>
                  <a:pt x="6147" y="7562"/>
                </a:lnTo>
                <a:lnTo>
                  <a:pt x="6165" y="7568"/>
                </a:lnTo>
                <a:lnTo>
                  <a:pt x="6183" y="7583"/>
                </a:lnTo>
                <a:lnTo>
                  <a:pt x="6197" y="7597"/>
                </a:lnTo>
                <a:lnTo>
                  <a:pt x="6180" y="7613"/>
                </a:lnTo>
                <a:lnTo>
                  <a:pt x="6155" y="7610"/>
                </a:lnTo>
                <a:lnTo>
                  <a:pt x="6134" y="7595"/>
                </a:lnTo>
                <a:lnTo>
                  <a:pt x="6132" y="7572"/>
                </a:lnTo>
                <a:close/>
                <a:moveTo>
                  <a:pt x="6101" y="7541"/>
                </a:moveTo>
                <a:lnTo>
                  <a:pt x="6096" y="7543"/>
                </a:lnTo>
                <a:lnTo>
                  <a:pt x="6090" y="7540"/>
                </a:lnTo>
                <a:lnTo>
                  <a:pt x="6083" y="7535"/>
                </a:lnTo>
                <a:lnTo>
                  <a:pt x="6080" y="7530"/>
                </a:lnTo>
                <a:lnTo>
                  <a:pt x="6091" y="7535"/>
                </a:lnTo>
                <a:lnTo>
                  <a:pt x="6101" y="7541"/>
                </a:lnTo>
                <a:close/>
                <a:moveTo>
                  <a:pt x="5354" y="7446"/>
                </a:moveTo>
                <a:lnTo>
                  <a:pt x="5351" y="7452"/>
                </a:lnTo>
                <a:lnTo>
                  <a:pt x="5346" y="7457"/>
                </a:lnTo>
                <a:lnTo>
                  <a:pt x="5338" y="7461"/>
                </a:lnTo>
                <a:lnTo>
                  <a:pt x="5331" y="7461"/>
                </a:lnTo>
                <a:lnTo>
                  <a:pt x="5342" y="7453"/>
                </a:lnTo>
                <a:lnTo>
                  <a:pt x="5354" y="7446"/>
                </a:lnTo>
                <a:close/>
                <a:moveTo>
                  <a:pt x="5310" y="7475"/>
                </a:moveTo>
                <a:lnTo>
                  <a:pt x="5307" y="7485"/>
                </a:lnTo>
                <a:lnTo>
                  <a:pt x="5300" y="7493"/>
                </a:lnTo>
                <a:lnTo>
                  <a:pt x="5293" y="7495"/>
                </a:lnTo>
                <a:lnTo>
                  <a:pt x="5281" y="7494"/>
                </a:lnTo>
                <a:lnTo>
                  <a:pt x="5296" y="7485"/>
                </a:lnTo>
                <a:lnTo>
                  <a:pt x="5310" y="7475"/>
                </a:lnTo>
                <a:close/>
                <a:moveTo>
                  <a:pt x="4289" y="4367"/>
                </a:moveTo>
                <a:lnTo>
                  <a:pt x="4306" y="4200"/>
                </a:lnTo>
                <a:lnTo>
                  <a:pt x="4365" y="4202"/>
                </a:lnTo>
                <a:lnTo>
                  <a:pt x="4424" y="4237"/>
                </a:lnTo>
                <a:lnTo>
                  <a:pt x="4438" y="4165"/>
                </a:lnTo>
                <a:lnTo>
                  <a:pt x="4413" y="4181"/>
                </a:lnTo>
                <a:lnTo>
                  <a:pt x="4401" y="4188"/>
                </a:lnTo>
                <a:lnTo>
                  <a:pt x="4384" y="4185"/>
                </a:lnTo>
                <a:lnTo>
                  <a:pt x="4339" y="4169"/>
                </a:lnTo>
                <a:lnTo>
                  <a:pt x="4322" y="4127"/>
                </a:lnTo>
                <a:lnTo>
                  <a:pt x="4350" y="4109"/>
                </a:lnTo>
                <a:lnTo>
                  <a:pt x="4392" y="4099"/>
                </a:lnTo>
                <a:lnTo>
                  <a:pt x="4418" y="4079"/>
                </a:lnTo>
                <a:lnTo>
                  <a:pt x="4434" y="4059"/>
                </a:lnTo>
                <a:lnTo>
                  <a:pt x="4453" y="4067"/>
                </a:lnTo>
                <a:lnTo>
                  <a:pt x="4474" y="4089"/>
                </a:lnTo>
                <a:lnTo>
                  <a:pt x="4493" y="4106"/>
                </a:lnTo>
                <a:lnTo>
                  <a:pt x="4497" y="4078"/>
                </a:lnTo>
                <a:lnTo>
                  <a:pt x="4475" y="4055"/>
                </a:lnTo>
                <a:lnTo>
                  <a:pt x="4452" y="4032"/>
                </a:lnTo>
                <a:lnTo>
                  <a:pt x="4455" y="4000"/>
                </a:lnTo>
                <a:lnTo>
                  <a:pt x="4458" y="3980"/>
                </a:lnTo>
                <a:lnTo>
                  <a:pt x="4447" y="3982"/>
                </a:lnTo>
                <a:lnTo>
                  <a:pt x="4429" y="3990"/>
                </a:lnTo>
                <a:lnTo>
                  <a:pt x="4416" y="3982"/>
                </a:lnTo>
                <a:lnTo>
                  <a:pt x="4384" y="3959"/>
                </a:lnTo>
                <a:lnTo>
                  <a:pt x="4356" y="3980"/>
                </a:lnTo>
                <a:lnTo>
                  <a:pt x="4334" y="3995"/>
                </a:lnTo>
                <a:lnTo>
                  <a:pt x="4314" y="3953"/>
                </a:lnTo>
                <a:lnTo>
                  <a:pt x="4359" y="3948"/>
                </a:lnTo>
                <a:lnTo>
                  <a:pt x="4367" y="3924"/>
                </a:lnTo>
                <a:lnTo>
                  <a:pt x="4360" y="3889"/>
                </a:lnTo>
                <a:lnTo>
                  <a:pt x="4367" y="3851"/>
                </a:lnTo>
                <a:lnTo>
                  <a:pt x="4390" y="3847"/>
                </a:lnTo>
                <a:lnTo>
                  <a:pt x="4407" y="3851"/>
                </a:lnTo>
                <a:lnTo>
                  <a:pt x="4419" y="3846"/>
                </a:lnTo>
                <a:lnTo>
                  <a:pt x="4421" y="3814"/>
                </a:lnTo>
                <a:lnTo>
                  <a:pt x="4432" y="3787"/>
                </a:lnTo>
                <a:lnTo>
                  <a:pt x="4425" y="3787"/>
                </a:lnTo>
                <a:lnTo>
                  <a:pt x="4407" y="3795"/>
                </a:lnTo>
                <a:lnTo>
                  <a:pt x="4386" y="3794"/>
                </a:lnTo>
                <a:lnTo>
                  <a:pt x="4421" y="3782"/>
                </a:lnTo>
                <a:lnTo>
                  <a:pt x="4480" y="3823"/>
                </a:lnTo>
                <a:lnTo>
                  <a:pt x="4518" y="3885"/>
                </a:lnTo>
                <a:lnTo>
                  <a:pt x="4491" y="3945"/>
                </a:lnTo>
                <a:lnTo>
                  <a:pt x="4489" y="4010"/>
                </a:lnTo>
                <a:lnTo>
                  <a:pt x="4559" y="4037"/>
                </a:lnTo>
                <a:lnTo>
                  <a:pt x="4634" y="4047"/>
                </a:lnTo>
                <a:lnTo>
                  <a:pt x="4640" y="4062"/>
                </a:lnTo>
                <a:lnTo>
                  <a:pt x="4643" y="4143"/>
                </a:lnTo>
                <a:lnTo>
                  <a:pt x="4614" y="4167"/>
                </a:lnTo>
                <a:lnTo>
                  <a:pt x="4569" y="4169"/>
                </a:lnTo>
                <a:lnTo>
                  <a:pt x="4525" y="4185"/>
                </a:lnTo>
                <a:lnTo>
                  <a:pt x="4516" y="4214"/>
                </a:lnTo>
                <a:lnTo>
                  <a:pt x="4503" y="4232"/>
                </a:lnTo>
                <a:lnTo>
                  <a:pt x="4504" y="4248"/>
                </a:lnTo>
                <a:lnTo>
                  <a:pt x="4540" y="4269"/>
                </a:lnTo>
                <a:lnTo>
                  <a:pt x="4551" y="4316"/>
                </a:lnTo>
                <a:lnTo>
                  <a:pt x="4539" y="4340"/>
                </a:lnTo>
                <a:lnTo>
                  <a:pt x="4508" y="4351"/>
                </a:lnTo>
                <a:lnTo>
                  <a:pt x="4470" y="4356"/>
                </a:lnTo>
                <a:lnTo>
                  <a:pt x="4438" y="4405"/>
                </a:lnTo>
                <a:lnTo>
                  <a:pt x="4420" y="4456"/>
                </a:lnTo>
                <a:lnTo>
                  <a:pt x="4401" y="4463"/>
                </a:lnTo>
                <a:lnTo>
                  <a:pt x="4368" y="4384"/>
                </a:lnTo>
                <a:lnTo>
                  <a:pt x="4421" y="4377"/>
                </a:lnTo>
                <a:lnTo>
                  <a:pt x="4441" y="4340"/>
                </a:lnTo>
                <a:lnTo>
                  <a:pt x="4434" y="4295"/>
                </a:lnTo>
                <a:lnTo>
                  <a:pt x="4406" y="4262"/>
                </a:lnTo>
                <a:lnTo>
                  <a:pt x="4384" y="4261"/>
                </a:lnTo>
                <a:lnTo>
                  <a:pt x="4364" y="4286"/>
                </a:lnTo>
                <a:lnTo>
                  <a:pt x="4344" y="4326"/>
                </a:lnTo>
                <a:lnTo>
                  <a:pt x="4325" y="4370"/>
                </a:lnTo>
                <a:lnTo>
                  <a:pt x="4322" y="4368"/>
                </a:lnTo>
                <a:lnTo>
                  <a:pt x="4318" y="4369"/>
                </a:lnTo>
                <a:lnTo>
                  <a:pt x="4318" y="4372"/>
                </a:lnTo>
                <a:lnTo>
                  <a:pt x="4320" y="4374"/>
                </a:lnTo>
                <a:lnTo>
                  <a:pt x="4321" y="4376"/>
                </a:lnTo>
                <a:lnTo>
                  <a:pt x="4323" y="4376"/>
                </a:lnTo>
                <a:lnTo>
                  <a:pt x="4307" y="4414"/>
                </a:lnTo>
                <a:lnTo>
                  <a:pt x="4295" y="4434"/>
                </a:lnTo>
                <a:lnTo>
                  <a:pt x="4289" y="4421"/>
                </a:lnTo>
                <a:lnTo>
                  <a:pt x="4289" y="4367"/>
                </a:lnTo>
                <a:close/>
                <a:moveTo>
                  <a:pt x="4286" y="4159"/>
                </a:moveTo>
                <a:lnTo>
                  <a:pt x="4286" y="4159"/>
                </a:lnTo>
                <a:lnTo>
                  <a:pt x="4286" y="4158"/>
                </a:lnTo>
                <a:lnTo>
                  <a:pt x="4286" y="4159"/>
                </a:lnTo>
                <a:lnTo>
                  <a:pt x="4286" y="4159"/>
                </a:lnTo>
                <a:close/>
                <a:moveTo>
                  <a:pt x="4610" y="4321"/>
                </a:moveTo>
                <a:lnTo>
                  <a:pt x="4605" y="4316"/>
                </a:lnTo>
                <a:lnTo>
                  <a:pt x="4605" y="4312"/>
                </a:lnTo>
                <a:lnTo>
                  <a:pt x="4609" y="4309"/>
                </a:lnTo>
                <a:lnTo>
                  <a:pt x="4616" y="4311"/>
                </a:lnTo>
                <a:lnTo>
                  <a:pt x="4621" y="4317"/>
                </a:lnTo>
                <a:lnTo>
                  <a:pt x="4621" y="4321"/>
                </a:lnTo>
                <a:lnTo>
                  <a:pt x="4618" y="4323"/>
                </a:lnTo>
                <a:lnTo>
                  <a:pt x="4610" y="4321"/>
                </a:lnTo>
                <a:close/>
                <a:moveTo>
                  <a:pt x="4922" y="4239"/>
                </a:moveTo>
                <a:lnTo>
                  <a:pt x="4916" y="4238"/>
                </a:lnTo>
                <a:lnTo>
                  <a:pt x="4914" y="4234"/>
                </a:lnTo>
                <a:lnTo>
                  <a:pt x="4916" y="4232"/>
                </a:lnTo>
                <a:lnTo>
                  <a:pt x="4921" y="4228"/>
                </a:lnTo>
                <a:lnTo>
                  <a:pt x="4922" y="4230"/>
                </a:lnTo>
                <a:lnTo>
                  <a:pt x="4923" y="4234"/>
                </a:lnTo>
                <a:lnTo>
                  <a:pt x="4923" y="4238"/>
                </a:lnTo>
                <a:lnTo>
                  <a:pt x="4922" y="4239"/>
                </a:lnTo>
                <a:close/>
                <a:moveTo>
                  <a:pt x="5001" y="4397"/>
                </a:moveTo>
                <a:lnTo>
                  <a:pt x="4972" y="4407"/>
                </a:lnTo>
                <a:lnTo>
                  <a:pt x="4950" y="4391"/>
                </a:lnTo>
                <a:lnTo>
                  <a:pt x="4938" y="4358"/>
                </a:lnTo>
                <a:lnTo>
                  <a:pt x="4945" y="4320"/>
                </a:lnTo>
                <a:lnTo>
                  <a:pt x="4968" y="4356"/>
                </a:lnTo>
                <a:lnTo>
                  <a:pt x="5001" y="4376"/>
                </a:lnTo>
                <a:lnTo>
                  <a:pt x="5021" y="4386"/>
                </a:lnTo>
                <a:lnTo>
                  <a:pt x="5001" y="4397"/>
                </a:lnTo>
                <a:close/>
                <a:moveTo>
                  <a:pt x="4526" y="4536"/>
                </a:moveTo>
                <a:lnTo>
                  <a:pt x="4522" y="4551"/>
                </a:lnTo>
                <a:lnTo>
                  <a:pt x="4511" y="4554"/>
                </a:lnTo>
                <a:lnTo>
                  <a:pt x="4494" y="4550"/>
                </a:lnTo>
                <a:lnTo>
                  <a:pt x="4480" y="4544"/>
                </a:lnTo>
                <a:lnTo>
                  <a:pt x="4491" y="4533"/>
                </a:lnTo>
                <a:lnTo>
                  <a:pt x="4504" y="4524"/>
                </a:lnTo>
                <a:lnTo>
                  <a:pt x="4516" y="4523"/>
                </a:lnTo>
                <a:lnTo>
                  <a:pt x="4526" y="4536"/>
                </a:lnTo>
                <a:close/>
                <a:moveTo>
                  <a:pt x="4803" y="4680"/>
                </a:moveTo>
                <a:lnTo>
                  <a:pt x="4796" y="4668"/>
                </a:lnTo>
                <a:lnTo>
                  <a:pt x="4798" y="4654"/>
                </a:lnTo>
                <a:lnTo>
                  <a:pt x="4806" y="4642"/>
                </a:lnTo>
                <a:lnTo>
                  <a:pt x="4816" y="4635"/>
                </a:lnTo>
                <a:lnTo>
                  <a:pt x="4815" y="4650"/>
                </a:lnTo>
                <a:lnTo>
                  <a:pt x="4817" y="4670"/>
                </a:lnTo>
                <a:lnTo>
                  <a:pt x="4816" y="4682"/>
                </a:lnTo>
                <a:lnTo>
                  <a:pt x="4803" y="4680"/>
                </a:lnTo>
                <a:close/>
                <a:moveTo>
                  <a:pt x="4881" y="4340"/>
                </a:moveTo>
                <a:lnTo>
                  <a:pt x="4895" y="4367"/>
                </a:lnTo>
                <a:lnTo>
                  <a:pt x="4867" y="4388"/>
                </a:lnTo>
                <a:lnTo>
                  <a:pt x="4824" y="4393"/>
                </a:lnTo>
                <a:lnTo>
                  <a:pt x="4797" y="4373"/>
                </a:lnTo>
                <a:lnTo>
                  <a:pt x="4814" y="4359"/>
                </a:lnTo>
                <a:lnTo>
                  <a:pt x="4835" y="4350"/>
                </a:lnTo>
                <a:lnTo>
                  <a:pt x="4858" y="4345"/>
                </a:lnTo>
                <a:lnTo>
                  <a:pt x="4881" y="4340"/>
                </a:lnTo>
                <a:close/>
                <a:moveTo>
                  <a:pt x="6561" y="4463"/>
                </a:moveTo>
                <a:lnTo>
                  <a:pt x="6558" y="4461"/>
                </a:lnTo>
                <a:lnTo>
                  <a:pt x="6557" y="4458"/>
                </a:lnTo>
                <a:lnTo>
                  <a:pt x="6560" y="4458"/>
                </a:lnTo>
                <a:lnTo>
                  <a:pt x="6561" y="4460"/>
                </a:lnTo>
                <a:lnTo>
                  <a:pt x="6562" y="4461"/>
                </a:lnTo>
                <a:lnTo>
                  <a:pt x="6561" y="4463"/>
                </a:lnTo>
                <a:close/>
                <a:moveTo>
                  <a:pt x="5547" y="5086"/>
                </a:moveTo>
                <a:lnTo>
                  <a:pt x="5547" y="5101"/>
                </a:lnTo>
                <a:lnTo>
                  <a:pt x="5537" y="5111"/>
                </a:lnTo>
                <a:lnTo>
                  <a:pt x="5524" y="5123"/>
                </a:lnTo>
                <a:lnTo>
                  <a:pt x="5518" y="5137"/>
                </a:lnTo>
                <a:lnTo>
                  <a:pt x="5512" y="5119"/>
                </a:lnTo>
                <a:lnTo>
                  <a:pt x="5514" y="5101"/>
                </a:lnTo>
                <a:lnTo>
                  <a:pt x="5526" y="5088"/>
                </a:lnTo>
                <a:lnTo>
                  <a:pt x="5547" y="5086"/>
                </a:lnTo>
                <a:close/>
                <a:moveTo>
                  <a:pt x="5450" y="5139"/>
                </a:moveTo>
                <a:lnTo>
                  <a:pt x="5463" y="5155"/>
                </a:lnTo>
                <a:lnTo>
                  <a:pt x="5473" y="5177"/>
                </a:lnTo>
                <a:lnTo>
                  <a:pt x="5481" y="5188"/>
                </a:lnTo>
                <a:lnTo>
                  <a:pt x="5490" y="5163"/>
                </a:lnTo>
                <a:lnTo>
                  <a:pt x="5509" y="5208"/>
                </a:lnTo>
                <a:lnTo>
                  <a:pt x="5481" y="5208"/>
                </a:lnTo>
                <a:lnTo>
                  <a:pt x="5448" y="5180"/>
                </a:lnTo>
                <a:lnTo>
                  <a:pt x="5450" y="5139"/>
                </a:lnTo>
                <a:close/>
                <a:moveTo>
                  <a:pt x="4978" y="6890"/>
                </a:moveTo>
                <a:lnTo>
                  <a:pt x="4992" y="6897"/>
                </a:lnTo>
                <a:lnTo>
                  <a:pt x="5003" y="6907"/>
                </a:lnTo>
                <a:lnTo>
                  <a:pt x="5011" y="6919"/>
                </a:lnTo>
                <a:lnTo>
                  <a:pt x="5014" y="6928"/>
                </a:lnTo>
                <a:lnTo>
                  <a:pt x="4996" y="6928"/>
                </a:lnTo>
                <a:lnTo>
                  <a:pt x="4987" y="6919"/>
                </a:lnTo>
                <a:lnTo>
                  <a:pt x="4982" y="6905"/>
                </a:lnTo>
                <a:lnTo>
                  <a:pt x="4978" y="6890"/>
                </a:lnTo>
                <a:close/>
                <a:moveTo>
                  <a:pt x="6374" y="4533"/>
                </a:moveTo>
                <a:lnTo>
                  <a:pt x="6406" y="4586"/>
                </a:lnTo>
                <a:lnTo>
                  <a:pt x="6428" y="4657"/>
                </a:lnTo>
                <a:lnTo>
                  <a:pt x="6422" y="4701"/>
                </a:lnTo>
                <a:lnTo>
                  <a:pt x="6371" y="4678"/>
                </a:lnTo>
                <a:lnTo>
                  <a:pt x="6392" y="4638"/>
                </a:lnTo>
                <a:lnTo>
                  <a:pt x="6389" y="4601"/>
                </a:lnTo>
                <a:lnTo>
                  <a:pt x="6380" y="4565"/>
                </a:lnTo>
                <a:lnTo>
                  <a:pt x="6374" y="4533"/>
                </a:lnTo>
                <a:close/>
                <a:moveTo>
                  <a:pt x="5971" y="5055"/>
                </a:moveTo>
                <a:lnTo>
                  <a:pt x="5993" y="5051"/>
                </a:lnTo>
                <a:lnTo>
                  <a:pt x="6011" y="5051"/>
                </a:lnTo>
                <a:lnTo>
                  <a:pt x="6022" y="5059"/>
                </a:lnTo>
                <a:lnTo>
                  <a:pt x="6025" y="5079"/>
                </a:lnTo>
                <a:lnTo>
                  <a:pt x="6001" y="5090"/>
                </a:lnTo>
                <a:lnTo>
                  <a:pt x="5970" y="5083"/>
                </a:lnTo>
                <a:lnTo>
                  <a:pt x="5953" y="5069"/>
                </a:lnTo>
                <a:lnTo>
                  <a:pt x="5971" y="5055"/>
                </a:lnTo>
                <a:close/>
                <a:moveTo>
                  <a:pt x="5001" y="4448"/>
                </a:moveTo>
                <a:lnTo>
                  <a:pt x="5000" y="4456"/>
                </a:lnTo>
                <a:lnTo>
                  <a:pt x="4995" y="4463"/>
                </a:lnTo>
                <a:lnTo>
                  <a:pt x="4988" y="4465"/>
                </a:lnTo>
                <a:lnTo>
                  <a:pt x="4983" y="4458"/>
                </a:lnTo>
                <a:lnTo>
                  <a:pt x="4980" y="4447"/>
                </a:lnTo>
                <a:lnTo>
                  <a:pt x="4987" y="4439"/>
                </a:lnTo>
                <a:lnTo>
                  <a:pt x="4996" y="4438"/>
                </a:lnTo>
                <a:lnTo>
                  <a:pt x="5001" y="4448"/>
                </a:lnTo>
                <a:close/>
                <a:moveTo>
                  <a:pt x="4891" y="4491"/>
                </a:moveTo>
                <a:lnTo>
                  <a:pt x="4894" y="4448"/>
                </a:lnTo>
                <a:lnTo>
                  <a:pt x="4909" y="4480"/>
                </a:lnTo>
                <a:lnTo>
                  <a:pt x="4902" y="4533"/>
                </a:lnTo>
                <a:lnTo>
                  <a:pt x="4834" y="4554"/>
                </a:lnTo>
                <a:lnTo>
                  <a:pt x="4849" y="4523"/>
                </a:lnTo>
                <a:lnTo>
                  <a:pt x="4876" y="4522"/>
                </a:lnTo>
                <a:lnTo>
                  <a:pt x="4895" y="4522"/>
                </a:lnTo>
                <a:lnTo>
                  <a:pt x="4891" y="4491"/>
                </a:lnTo>
                <a:close/>
                <a:moveTo>
                  <a:pt x="4905" y="6881"/>
                </a:moveTo>
                <a:lnTo>
                  <a:pt x="4905" y="6881"/>
                </a:lnTo>
                <a:lnTo>
                  <a:pt x="4905" y="6881"/>
                </a:lnTo>
                <a:lnTo>
                  <a:pt x="4905" y="6881"/>
                </a:lnTo>
                <a:lnTo>
                  <a:pt x="4905" y="6881"/>
                </a:lnTo>
                <a:close/>
                <a:moveTo>
                  <a:pt x="4484" y="4625"/>
                </a:moveTo>
                <a:lnTo>
                  <a:pt x="4507" y="4594"/>
                </a:lnTo>
                <a:lnTo>
                  <a:pt x="4526" y="4605"/>
                </a:lnTo>
                <a:lnTo>
                  <a:pt x="4546" y="4631"/>
                </a:lnTo>
                <a:lnTo>
                  <a:pt x="4573" y="4649"/>
                </a:lnTo>
                <a:lnTo>
                  <a:pt x="4562" y="4647"/>
                </a:lnTo>
                <a:lnTo>
                  <a:pt x="4545" y="4636"/>
                </a:lnTo>
                <a:lnTo>
                  <a:pt x="4526" y="4628"/>
                </a:lnTo>
                <a:lnTo>
                  <a:pt x="4505" y="4629"/>
                </a:lnTo>
                <a:lnTo>
                  <a:pt x="4545" y="4682"/>
                </a:lnTo>
                <a:lnTo>
                  <a:pt x="4576" y="4729"/>
                </a:lnTo>
                <a:lnTo>
                  <a:pt x="4581" y="4776"/>
                </a:lnTo>
                <a:lnTo>
                  <a:pt x="4539" y="4826"/>
                </a:lnTo>
                <a:lnTo>
                  <a:pt x="4517" y="4827"/>
                </a:lnTo>
                <a:lnTo>
                  <a:pt x="4493" y="4830"/>
                </a:lnTo>
                <a:lnTo>
                  <a:pt x="4470" y="4832"/>
                </a:lnTo>
                <a:lnTo>
                  <a:pt x="4447" y="4834"/>
                </a:lnTo>
                <a:lnTo>
                  <a:pt x="4469" y="4821"/>
                </a:lnTo>
                <a:lnTo>
                  <a:pt x="4471" y="4803"/>
                </a:lnTo>
                <a:lnTo>
                  <a:pt x="4458" y="4785"/>
                </a:lnTo>
                <a:lnTo>
                  <a:pt x="4434" y="4771"/>
                </a:lnTo>
                <a:lnTo>
                  <a:pt x="4428" y="4785"/>
                </a:lnTo>
                <a:lnTo>
                  <a:pt x="4425" y="4803"/>
                </a:lnTo>
                <a:lnTo>
                  <a:pt x="4428" y="4821"/>
                </a:lnTo>
                <a:lnTo>
                  <a:pt x="4437" y="4834"/>
                </a:lnTo>
                <a:lnTo>
                  <a:pt x="4381" y="4826"/>
                </a:lnTo>
                <a:lnTo>
                  <a:pt x="4358" y="4797"/>
                </a:lnTo>
                <a:lnTo>
                  <a:pt x="4386" y="4733"/>
                </a:lnTo>
                <a:lnTo>
                  <a:pt x="4484" y="4625"/>
                </a:lnTo>
                <a:close/>
                <a:moveTo>
                  <a:pt x="4620" y="4232"/>
                </a:moveTo>
                <a:lnTo>
                  <a:pt x="4656" y="4219"/>
                </a:lnTo>
                <a:lnTo>
                  <a:pt x="4686" y="4210"/>
                </a:lnTo>
                <a:lnTo>
                  <a:pt x="4711" y="4193"/>
                </a:lnTo>
                <a:lnTo>
                  <a:pt x="4727" y="4159"/>
                </a:lnTo>
                <a:lnTo>
                  <a:pt x="4754" y="4205"/>
                </a:lnTo>
                <a:lnTo>
                  <a:pt x="4814" y="4265"/>
                </a:lnTo>
                <a:lnTo>
                  <a:pt x="4846" y="4308"/>
                </a:lnTo>
                <a:lnTo>
                  <a:pt x="4786" y="4307"/>
                </a:lnTo>
                <a:lnTo>
                  <a:pt x="4759" y="4256"/>
                </a:lnTo>
                <a:lnTo>
                  <a:pt x="4721" y="4262"/>
                </a:lnTo>
                <a:lnTo>
                  <a:pt x="4679" y="4285"/>
                </a:lnTo>
                <a:lnTo>
                  <a:pt x="4643" y="4292"/>
                </a:lnTo>
                <a:lnTo>
                  <a:pt x="4626" y="4264"/>
                </a:lnTo>
                <a:lnTo>
                  <a:pt x="4614" y="4246"/>
                </a:lnTo>
                <a:lnTo>
                  <a:pt x="4596" y="4233"/>
                </a:lnTo>
                <a:lnTo>
                  <a:pt x="4565" y="4221"/>
                </a:lnTo>
                <a:lnTo>
                  <a:pt x="4563" y="4199"/>
                </a:lnTo>
                <a:lnTo>
                  <a:pt x="4586" y="4196"/>
                </a:lnTo>
                <a:lnTo>
                  <a:pt x="4611" y="4209"/>
                </a:lnTo>
                <a:lnTo>
                  <a:pt x="4620" y="4232"/>
                </a:lnTo>
                <a:close/>
                <a:moveTo>
                  <a:pt x="4550" y="4401"/>
                </a:moveTo>
                <a:lnTo>
                  <a:pt x="4578" y="4383"/>
                </a:lnTo>
                <a:lnTo>
                  <a:pt x="4598" y="4382"/>
                </a:lnTo>
                <a:lnTo>
                  <a:pt x="4612" y="4398"/>
                </a:lnTo>
                <a:lnTo>
                  <a:pt x="4621" y="4429"/>
                </a:lnTo>
                <a:lnTo>
                  <a:pt x="4637" y="4456"/>
                </a:lnTo>
                <a:lnTo>
                  <a:pt x="4672" y="4474"/>
                </a:lnTo>
                <a:lnTo>
                  <a:pt x="4705" y="4491"/>
                </a:lnTo>
                <a:lnTo>
                  <a:pt x="4714" y="4523"/>
                </a:lnTo>
                <a:lnTo>
                  <a:pt x="4682" y="4579"/>
                </a:lnTo>
                <a:lnTo>
                  <a:pt x="4640" y="4538"/>
                </a:lnTo>
                <a:lnTo>
                  <a:pt x="4595" y="4460"/>
                </a:lnTo>
                <a:lnTo>
                  <a:pt x="4550" y="4401"/>
                </a:lnTo>
                <a:close/>
                <a:moveTo>
                  <a:pt x="6565" y="2900"/>
                </a:moveTo>
                <a:lnTo>
                  <a:pt x="6551" y="2915"/>
                </a:lnTo>
                <a:lnTo>
                  <a:pt x="6528" y="2896"/>
                </a:lnTo>
                <a:lnTo>
                  <a:pt x="6514" y="2863"/>
                </a:lnTo>
                <a:lnTo>
                  <a:pt x="6524" y="2839"/>
                </a:lnTo>
                <a:lnTo>
                  <a:pt x="6532" y="2857"/>
                </a:lnTo>
                <a:lnTo>
                  <a:pt x="6543" y="2871"/>
                </a:lnTo>
                <a:lnTo>
                  <a:pt x="6556" y="2884"/>
                </a:lnTo>
                <a:lnTo>
                  <a:pt x="6565" y="2900"/>
                </a:lnTo>
                <a:close/>
                <a:moveTo>
                  <a:pt x="6548" y="2018"/>
                </a:moveTo>
                <a:lnTo>
                  <a:pt x="6552" y="2009"/>
                </a:lnTo>
                <a:lnTo>
                  <a:pt x="6561" y="2005"/>
                </a:lnTo>
                <a:lnTo>
                  <a:pt x="6570" y="2007"/>
                </a:lnTo>
                <a:lnTo>
                  <a:pt x="6577" y="2013"/>
                </a:lnTo>
                <a:lnTo>
                  <a:pt x="6588" y="2051"/>
                </a:lnTo>
                <a:lnTo>
                  <a:pt x="6581" y="2063"/>
                </a:lnTo>
                <a:lnTo>
                  <a:pt x="6566" y="2051"/>
                </a:lnTo>
                <a:lnTo>
                  <a:pt x="6548" y="2018"/>
                </a:lnTo>
                <a:close/>
                <a:moveTo>
                  <a:pt x="6530" y="2353"/>
                </a:moveTo>
                <a:lnTo>
                  <a:pt x="6527" y="2359"/>
                </a:lnTo>
                <a:lnTo>
                  <a:pt x="6523" y="2359"/>
                </a:lnTo>
                <a:lnTo>
                  <a:pt x="6519" y="2355"/>
                </a:lnTo>
                <a:lnTo>
                  <a:pt x="6518" y="2349"/>
                </a:lnTo>
                <a:lnTo>
                  <a:pt x="6521" y="2343"/>
                </a:lnTo>
                <a:lnTo>
                  <a:pt x="6525" y="2343"/>
                </a:lnTo>
                <a:lnTo>
                  <a:pt x="6529" y="2346"/>
                </a:lnTo>
                <a:lnTo>
                  <a:pt x="6530" y="2353"/>
                </a:lnTo>
                <a:close/>
                <a:moveTo>
                  <a:pt x="6528" y="2248"/>
                </a:moveTo>
                <a:lnTo>
                  <a:pt x="6534" y="2226"/>
                </a:lnTo>
                <a:lnTo>
                  <a:pt x="6552" y="2219"/>
                </a:lnTo>
                <a:lnTo>
                  <a:pt x="6569" y="2229"/>
                </a:lnTo>
                <a:lnTo>
                  <a:pt x="6575" y="2250"/>
                </a:lnTo>
                <a:lnTo>
                  <a:pt x="6566" y="2259"/>
                </a:lnTo>
                <a:lnTo>
                  <a:pt x="6552" y="2262"/>
                </a:lnTo>
                <a:lnTo>
                  <a:pt x="6537" y="2260"/>
                </a:lnTo>
                <a:lnTo>
                  <a:pt x="6528" y="2248"/>
                </a:lnTo>
                <a:close/>
                <a:moveTo>
                  <a:pt x="6479" y="3543"/>
                </a:moveTo>
                <a:lnTo>
                  <a:pt x="6477" y="3542"/>
                </a:lnTo>
                <a:lnTo>
                  <a:pt x="6474" y="3538"/>
                </a:lnTo>
                <a:lnTo>
                  <a:pt x="6479" y="3534"/>
                </a:lnTo>
                <a:lnTo>
                  <a:pt x="6483" y="3535"/>
                </a:lnTo>
                <a:lnTo>
                  <a:pt x="6485" y="3539"/>
                </a:lnTo>
                <a:lnTo>
                  <a:pt x="6479" y="3543"/>
                </a:lnTo>
                <a:close/>
                <a:moveTo>
                  <a:pt x="6473" y="3003"/>
                </a:moveTo>
                <a:lnTo>
                  <a:pt x="6462" y="2994"/>
                </a:lnTo>
                <a:lnTo>
                  <a:pt x="6455" y="2984"/>
                </a:lnTo>
                <a:lnTo>
                  <a:pt x="6454" y="2968"/>
                </a:lnTo>
                <a:lnTo>
                  <a:pt x="6459" y="2943"/>
                </a:lnTo>
                <a:lnTo>
                  <a:pt x="6478" y="2959"/>
                </a:lnTo>
                <a:lnTo>
                  <a:pt x="6493" y="2979"/>
                </a:lnTo>
                <a:lnTo>
                  <a:pt x="6495" y="2996"/>
                </a:lnTo>
                <a:lnTo>
                  <a:pt x="6473" y="3003"/>
                </a:lnTo>
                <a:close/>
                <a:moveTo>
                  <a:pt x="6588" y="10036"/>
                </a:moveTo>
                <a:lnTo>
                  <a:pt x="6585" y="10030"/>
                </a:lnTo>
                <a:lnTo>
                  <a:pt x="6584" y="10025"/>
                </a:lnTo>
                <a:lnTo>
                  <a:pt x="6585" y="10018"/>
                </a:lnTo>
                <a:lnTo>
                  <a:pt x="6590" y="10015"/>
                </a:lnTo>
                <a:lnTo>
                  <a:pt x="6594" y="10021"/>
                </a:lnTo>
                <a:lnTo>
                  <a:pt x="6595" y="10026"/>
                </a:lnTo>
                <a:lnTo>
                  <a:pt x="6594" y="10031"/>
                </a:lnTo>
                <a:lnTo>
                  <a:pt x="6588" y="10036"/>
                </a:lnTo>
                <a:close/>
                <a:moveTo>
                  <a:pt x="5852" y="8546"/>
                </a:moveTo>
                <a:lnTo>
                  <a:pt x="5846" y="8534"/>
                </a:lnTo>
                <a:lnTo>
                  <a:pt x="5850" y="8520"/>
                </a:lnTo>
                <a:lnTo>
                  <a:pt x="5859" y="8509"/>
                </a:lnTo>
                <a:lnTo>
                  <a:pt x="5869" y="8504"/>
                </a:lnTo>
                <a:lnTo>
                  <a:pt x="5876" y="8514"/>
                </a:lnTo>
                <a:lnTo>
                  <a:pt x="5872" y="8528"/>
                </a:lnTo>
                <a:lnTo>
                  <a:pt x="5862" y="8541"/>
                </a:lnTo>
                <a:lnTo>
                  <a:pt x="5852" y="8546"/>
                </a:lnTo>
                <a:close/>
                <a:moveTo>
                  <a:pt x="5789" y="8509"/>
                </a:moveTo>
                <a:lnTo>
                  <a:pt x="5774" y="8511"/>
                </a:lnTo>
                <a:lnTo>
                  <a:pt x="5761" y="8513"/>
                </a:lnTo>
                <a:lnTo>
                  <a:pt x="5748" y="8514"/>
                </a:lnTo>
                <a:lnTo>
                  <a:pt x="5733" y="8521"/>
                </a:lnTo>
                <a:lnTo>
                  <a:pt x="5736" y="8510"/>
                </a:lnTo>
                <a:lnTo>
                  <a:pt x="5757" y="8496"/>
                </a:lnTo>
                <a:lnTo>
                  <a:pt x="5780" y="8491"/>
                </a:lnTo>
                <a:lnTo>
                  <a:pt x="5789" y="8509"/>
                </a:lnTo>
                <a:close/>
                <a:moveTo>
                  <a:pt x="5611" y="8586"/>
                </a:moveTo>
                <a:lnTo>
                  <a:pt x="5596" y="8599"/>
                </a:lnTo>
                <a:lnTo>
                  <a:pt x="5578" y="8604"/>
                </a:lnTo>
                <a:lnTo>
                  <a:pt x="5559" y="8603"/>
                </a:lnTo>
                <a:lnTo>
                  <a:pt x="5537" y="8599"/>
                </a:lnTo>
                <a:lnTo>
                  <a:pt x="5556" y="8574"/>
                </a:lnTo>
                <a:lnTo>
                  <a:pt x="5583" y="8557"/>
                </a:lnTo>
                <a:lnTo>
                  <a:pt x="5606" y="8558"/>
                </a:lnTo>
                <a:lnTo>
                  <a:pt x="5611" y="8586"/>
                </a:lnTo>
                <a:close/>
                <a:moveTo>
                  <a:pt x="5500" y="8711"/>
                </a:moveTo>
                <a:lnTo>
                  <a:pt x="5443" y="8721"/>
                </a:lnTo>
                <a:lnTo>
                  <a:pt x="5393" y="8674"/>
                </a:lnTo>
                <a:lnTo>
                  <a:pt x="5384" y="8637"/>
                </a:lnTo>
                <a:lnTo>
                  <a:pt x="5449" y="8681"/>
                </a:lnTo>
                <a:lnTo>
                  <a:pt x="5470" y="8678"/>
                </a:lnTo>
                <a:lnTo>
                  <a:pt x="5491" y="8681"/>
                </a:lnTo>
                <a:lnTo>
                  <a:pt x="5505" y="8691"/>
                </a:lnTo>
                <a:lnTo>
                  <a:pt x="5500" y="8711"/>
                </a:lnTo>
                <a:close/>
                <a:moveTo>
                  <a:pt x="5378" y="8530"/>
                </a:moveTo>
                <a:lnTo>
                  <a:pt x="5374" y="8497"/>
                </a:lnTo>
                <a:lnTo>
                  <a:pt x="5394" y="8487"/>
                </a:lnTo>
                <a:lnTo>
                  <a:pt x="5419" y="8499"/>
                </a:lnTo>
                <a:lnTo>
                  <a:pt x="5427" y="8528"/>
                </a:lnTo>
                <a:lnTo>
                  <a:pt x="5419" y="8542"/>
                </a:lnTo>
                <a:lnTo>
                  <a:pt x="5403" y="8547"/>
                </a:lnTo>
                <a:lnTo>
                  <a:pt x="5388" y="8543"/>
                </a:lnTo>
                <a:lnTo>
                  <a:pt x="5378" y="8530"/>
                </a:lnTo>
                <a:close/>
                <a:moveTo>
                  <a:pt x="5422" y="9102"/>
                </a:moveTo>
                <a:lnTo>
                  <a:pt x="5427" y="9106"/>
                </a:lnTo>
                <a:lnTo>
                  <a:pt x="5426" y="9108"/>
                </a:lnTo>
                <a:lnTo>
                  <a:pt x="5422" y="9110"/>
                </a:lnTo>
                <a:lnTo>
                  <a:pt x="5417" y="9106"/>
                </a:lnTo>
                <a:lnTo>
                  <a:pt x="5420" y="9103"/>
                </a:lnTo>
                <a:lnTo>
                  <a:pt x="5422" y="9102"/>
                </a:lnTo>
                <a:close/>
                <a:moveTo>
                  <a:pt x="5327" y="9200"/>
                </a:moveTo>
                <a:lnTo>
                  <a:pt x="5318" y="9195"/>
                </a:lnTo>
                <a:lnTo>
                  <a:pt x="5315" y="9185"/>
                </a:lnTo>
                <a:lnTo>
                  <a:pt x="5317" y="9173"/>
                </a:lnTo>
                <a:lnTo>
                  <a:pt x="5321" y="9164"/>
                </a:lnTo>
                <a:lnTo>
                  <a:pt x="5329" y="9168"/>
                </a:lnTo>
                <a:lnTo>
                  <a:pt x="5332" y="9180"/>
                </a:lnTo>
                <a:lnTo>
                  <a:pt x="5332" y="9192"/>
                </a:lnTo>
                <a:lnTo>
                  <a:pt x="5327" y="9200"/>
                </a:lnTo>
                <a:close/>
                <a:moveTo>
                  <a:pt x="5352" y="8598"/>
                </a:moveTo>
                <a:lnTo>
                  <a:pt x="5326" y="8594"/>
                </a:lnTo>
                <a:lnTo>
                  <a:pt x="5303" y="8577"/>
                </a:lnTo>
                <a:lnTo>
                  <a:pt x="5293" y="8556"/>
                </a:lnTo>
                <a:lnTo>
                  <a:pt x="5305" y="8537"/>
                </a:lnTo>
                <a:lnTo>
                  <a:pt x="5328" y="8537"/>
                </a:lnTo>
                <a:lnTo>
                  <a:pt x="5349" y="8553"/>
                </a:lnTo>
                <a:lnTo>
                  <a:pt x="5357" y="8576"/>
                </a:lnTo>
                <a:lnTo>
                  <a:pt x="5352" y="8598"/>
                </a:lnTo>
                <a:close/>
                <a:moveTo>
                  <a:pt x="5245" y="8599"/>
                </a:moveTo>
                <a:lnTo>
                  <a:pt x="5217" y="8616"/>
                </a:lnTo>
                <a:lnTo>
                  <a:pt x="5170" y="8599"/>
                </a:lnTo>
                <a:lnTo>
                  <a:pt x="5141" y="8567"/>
                </a:lnTo>
                <a:lnTo>
                  <a:pt x="5165" y="8538"/>
                </a:lnTo>
                <a:lnTo>
                  <a:pt x="5200" y="8551"/>
                </a:lnTo>
                <a:lnTo>
                  <a:pt x="5244" y="8558"/>
                </a:lnTo>
                <a:lnTo>
                  <a:pt x="5270" y="8572"/>
                </a:lnTo>
                <a:lnTo>
                  <a:pt x="5245" y="8599"/>
                </a:lnTo>
                <a:close/>
                <a:moveTo>
                  <a:pt x="4725" y="8805"/>
                </a:moveTo>
                <a:lnTo>
                  <a:pt x="4733" y="8804"/>
                </a:lnTo>
                <a:lnTo>
                  <a:pt x="4740" y="8808"/>
                </a:lnTo>
                <a:lnTo>
                  <a:pt x="4746" y="8815"/>
                </a:lnTo>
                <a:lnTo>
                  <a:pt x="4751" y="8822"/>
                </a:lnTo>
                <a:lnTo>
                  <a:pt x="4741" y="8827"/>
                </a:lnTo>
                <a:lnTo>
                  <a:pt x="4731" y="8824"/>
                </a:lnTo>
                <a:lnTo>
                  <a:pt x="4723" y="8817"/>
                </a:lnTo>
                <a:lnTo>
                  <a:pt x="4725" y="8805"/>
                </a:lnTo>
                <a:close/>
                <a:moveTo>
                  <a:pt x="4537" y="10230"/>
                </a:moveTo>
                <a:lnTo>
                  <a:pt x="4548" y="10212"/>
                </a:lnTo>
                <a:lnTo>
                  <a:pt x="4567" y="10216"/>
                </a:lnTo>
                <a:lnTo>
                  <a:pt x="4587" y="10232"/>
                </a:lnTo>
                <a:lnTo>
                  <a:pt x="4601" y="10247"/>
                </a:lnTo>
                <a:lnTo>
                  <a:pt x="4583" y="10258"/>
                </a:lnTo>
                <a:lnTo>
                  <a:pt x="4564" y="10256"/>
                </a:lnTo>
                <a:lnTo>
                  <a:pt x="4548" y="10246"/>
                </a:lnTo>
                <a:lnTo>
                  <a:pt x="4537" y="10230"/>
                </a:lnTo>
                <a:close/>
                <a:moveTo>
                  <a:pt x="4764" y="11220"/>
                </a:moveTo>
                <a:lnTo>
                  <a:pt x="4769" y="11223"/>
                </a:lnTo>
                <a:lnTo>
                  <a:pt x="4768" y="11226"/>
                </a:lnTo>
                <a:lnTo>
                  <a:pt x="4764" y="11228"/>
                </a:lnTo>
                <a:lnTo>
                  <a:pt x="4759" y="11224"/>
                </a:lnTo>
                <a:lnTo>
                  <a:pt x="4761" y="11221"/>
                </a:lnTo>
                <a:lnTo>
                  <a:pt x="4764" y="11220"/>
                </a:lnTo>
                <a:close/>
                <a:moveTo>
                  <a:pt x="4877" y="11211"/>
                </a:moveTo>
                <a:lnTo>
                  <a:pt x="4888" y="11215"/>
                </a:lnTo>
                <a:lnTo>
                  <a:pt x="4891" y="11226"/>
                </a:lnTo>
                <a:lnTo>
                  <a:pt x="4888" y="11237"/>
                </a:lnTo>
                <a:lnTo>
                  <a:pt x="4876" y="11240"/>
                </a:lnTo>
                <a:lnTo>
                  <a:pt x="4866" y="11235"/>
                </a:lnTo>
                <a:lnTo>
                  <a:pt x="4862" y="11225"/>
                </a:lnTo>
                <a:lnTo>
                  <a:pt x="4866" y="11214"/>
                </a:lnTo>
                <a:lnTo>
                  <a:pt x="4877" y="11211"/>
                </a:lnTo>
                <a:close/>
                <a:moveTo>
                  <a:pt x="4880" y="11111"/>
                </a:moveTo>
                <a:lnTo>
                  <a:pt x="4884" y="11117"/>
                </a:lnTo>
                <a:lnTo>
                  <a:pt x="4885" y="11123"/>
                </a:lnTo>
                <a:lnTo>
                  <a:pt x="4882" y="11128"/>
                </a:lnTo>
                <a:lnTo>
                  <a:pt x="4877" y="11133"/>
                </a:lnTo>
                <a:lnTo>
                  <a:pt x="4874" y="11127"/>
                </a:lnTo>
                <a:lnTo>
                  <a:pt x="4872" y="11121"/>
                </a:lnTo>
                <a:lnTo>
                  <a:pt x="4875" y="11116"/>
                </a:lnTo>
                <a:lnTo>
                  <a:pt x="4880" y="11111"/>
                </a:lnTo>
                <a:close/>
                <a:moveTo>
                  <a:pt x="4912" y="11089"/>
                </a:moveTo>
                <a:lnTo>
                  <a:pt x="4916" y="11093"/>
                </a:lnTo>
                <a:lnTo>
                  <a:pt x="4916" y="11097"/>
                </a:lnTo>
                <a:lnTo>
                  <a:pt x="4910" y="11098"/>
                </a:lnTo>
                <a:lnTo>
                  <a:pt x="4907" y="11094"/>
                </a:lnTo>
                <a:lnTo>
                  <a:pt x="4909" y="11090"/>
                </a:lnTo>
                <a:lnTo>
                  <a:pt x="4912" y="11089"/>
                </a:lnTo>
                <a:close/>
                <a:moveTo>
                  <a:pt x="4928" y="11189"/>
                </a:moveTo>
                <a:lnTo>
                  <a:pt x="4936" y="11192"/>
                </a:lnTo>
                <a:lnTo>
                  <a:pt x="4941" y="11197"/>
                </a:lnTo>
                <a:lnTo>
                  <a:pt x="4944" y="11205"/>
                </a:lnTo>
                <a:lnTo>
                  <a:pt x="4942" y="11211"/>
                </a:lnTo>
                <a:lnTo>
                  <a:pt x="4932" y="11212"/>
                </a:lnTo>
                <a:lnTo>
                  <a:pt x="4922" y="11205"/>
                </a:lnTo>
                <a:lnTo>
                  <a:pt x="4918" y="11195"/>
                </a:lnTo>
                <a:lnTo>
                  <a:pt x="4928" y="11189"/>
                </a:lnTo>
                <a:close/>
                <a:moveTo>
                  <a:pt x="4980" y="11097"/>
                </a:moveTo>
                <a:lnTo>
                  <a:pt x="4995" y="11111"/>
                </a:lnTo>
                <a:lnTo>
                  <a:pt x="5001" y="11125"/>
                </a:lnTo>
                <a:lnTo>
                  <a:pt x="4997" y="11136"/>
                </a:lnTo>
                <a:lnTo>
                  <a:pt x="4980" y="11144"/>
                </a:lnTo>
                <a:lnTo>
                  <a:pt x="4966" y="11133"/>
                </a:lnTo>
                <a:lnTo>
                  <a:pt x="4965" y="11122"/>
                </a:lnTo>
                <a:lnTo>
                  <a:pt x="4970" y="11111"/>
                </a:lnTo>
                <a:lnTo>
                  <a:pt x="4980" y="11097"/>
                </a:lnTo>
                <a:close/>
                <a:moveTo>
                  <a:pt x="5086" y="10954"/>
                </a:moveTo>
                <a:lnTo>
                  <a:pt x="5093" y="10958"/>
                </a:lnTo>
                <a:lnTo>
                  <a:pt x="5093" y="10963"/>
                </a:lnTo>
                <a:lnTo>
                  <a:pt x="5089" y="10967"/>
                </a:lnTo>
                <a:lnTo>
                  <a:pt x="5082" y="10968"/>
                </a:lnTo>
                <a:lnTo>
                  <a:pt x="5076" y="10964"/>
                </a:lnTo>
                <a:lnTo>
                  <a:pt x="5076" y="10960"/>
                </a:lnTo>
                <a:lnTo>
                  <a:pt x="5080" y="10957"/>
                </a:lnTo>
                <a:lnTo>
                  <a:pt x="5086" y="10954"/>
                </a:lnTo>
                <a:close/>
                <a:moveTo>
                  <a:pt x="5105" y="11145"/>
                </a:moveTo>
                <a:lnTo>
                  <a:pt x="5109" y="11150"/>
                </a:lnTo>
                <a:lnTo>
                  <a:pt x="5108" y="11154"/>
                </a:lnTo>
                <a:lnTo>
                  <a:pt x="5104" y="11154"/>
                </a:lnTo>
                <a:lnTo>
                  <a:pt x="5101" y="11150"/>
                </a:lnTo>
                <a:lnTo>
                  <a:pt x="5103" y="11147"/>
                </a:lnTo>
                <a:lnTo>
                  <a:pt x="5105" y="11145"/>
                </a:lnTo>
                <a:close/>
                <a:moveTo>
                  <a:pt x="5342" y="11435"/>
                </a:moveTo>
                <a:lnTo>
                  <a:pt x="5347" y="11427"/>
                </a:lnTo>
                <a:lnTo>
                  <a:pt x="5355" y="11429"/>
                </a:lnTo>
                <a:lnTo>
                  <a:pt x="5363" y="11434"/>
                </a:lnTo>
                <a:lnTo>
                  <a:pt x="5369" y="11441"/>
                </a:lnTo>
                <a:lnTo>
                  <a:pt x="5364" y="11458"/>
                </a:lnTo>
                <a:lnTo>
                  <a:pt x="5352" y="11462"/>
                </a:lnTo>
                <a:lnTo>
                  <a:pt x="5342" y="11454"/>
                </a:lnTo>
                <a:lnTo>
                  <a:pt x="5342" y="11435"/>
                </a:lnTo>
                <a:close/>
                <a:moveTo>
                  <a:pt x="5371" y="11160"/>
                </a:moveTo>
                <a:lnTo>
                  <a:pt x="5389" y="11158"/>
                </a:lnTo>
                <a:lnTo>
                  <a:pt x="5403" y="11158"/>
                </a:lnTo>
                <a:lnTo>
                  <a:pt x="5426" y="11177"/>
                </a:lnTo>
                <a:lnTo>
                  <a:pt x="5405" y="11187"/>
                </a:lnTo>
                <a:lnTo>
                  <a:pt x="5374" y="11184"/>
                </a:lnTo>
                <a:lnTo>
                  <a:pt x="5371" y="11160"/>
                </a:lnTo>
                <a:close/>
                <a:moveTo>
                  <a:pt x="5427" y="10915"/>
                </a:moveTo>
                <a:lnTo>
                  <a:pt x="5435" y="10918"/>
                </a:lnTo>
                <a:lnTo>
                  <a:pt x="5438" y="10922"/>
                </a:lnTo>
                <a:lnTo>
                  <a:pt x="5435" y="10926"/>
                </a:lnTo>
                <a:lnTo>
                  <a:pt x="5427" y="10929"/>
                </a:lnTo>
                <a:lnTo>
                  <a:pt x="5420" y="10926"/>
                </a:lnTo>
                <a:lnTo>
                  <a:pt x="5419" y="10922"/>
                </a:lnTo>
                <a:lnTo>
                  <a:pt x="5421" y="10918"/>
                </a:lnTo>
                <a:lnTo>
                  <a:pt x="5427" y="10915"/>
                </a:lnTo>
                <a:close/>
                <a:moveTo>
                  <a:pt x="5481" y="10929"/>
                </a:moveTo>
                <a:lnTo>
                  <a:pt x="5489" y="10931"/>
                </a:lnTo>
                <a:lnTo>
                  <a:pt x="5495" y="10936"/>
                </a:lnTo>
                <a:lnTo>
                  <a:pt x="5498" y="10944"/>
                </a:lnTo>
                <a:lnTo>
                  <a:pt x="5496" y="10950"/>
                </a:lnTo>
                <a:lnTo>
                  <a:pt x="5487" y="10953"/>
                </a:lnTo>
                <a:lnTo>
                  <a:pt x="5476" y="10944"/>
                </a:lnTo>
                <a:lnTo>
                  <a:pt x="5472" y="10934"/>
                </a:lnTo>
                <a:lnTo>
                  <a:pt x="5481" y="10929"/>
                </a:lnTo>
                <a:close/>
                <a:moveTo>
                  <a:pt x="5496" y="10794"/>
                </a:moveTo>
                <a:lnTo>
                  <a:pt x="5501" y="10799"/>
                </a:lnTo>
                <a:lnTo>
                  <a:pt x="5504" y="10804"/>
                </a:lnTo>
                <a:lnTo>
                  <a:pt x="5504" y="10809"/>
                </a:lnTo>
                <a:lnTo>
                  <a:pt x="5500" y="10816"/>
                </a:lnTo>
                <a:lnTo>
                  <a:pt x="5495" y="10811"/>
                </a:lnTo>
                <a:lnTo>
                  <a:pt x="5492" y="10806"/>
                </a:lnTo>
                <a:lnTo>
                  <a:pt x="5492" y="10800"/>
                </a:lnTo>
                <a:lnTo>
                  <a:pt x="5496" y="10794"/>
                </a:lnTo>
                <a:close/>
                <a:moveTo>
                  <a:pt x="2730" y="8299"/>
                </a:moveTo>
                <a:lnTo>
                  <a:pt x="2720" y="8322"/>
                </a:lnTo>
                <a:lnTo>
                  <a:pt x="2706" y="8343"/>
                </a:lnTo>
                <a:lnTo>
                  <a:pt x="2689" y="8353"/>
                </a:lnTo>
                <a:lnTo>
                  <a:pt x="2670" y="8336"/>
                </a:lnTo>
                <a:lnTo>
                  <a:pt x="2665" y="8295"/>
                </a:lnTo>
                <a:lnTo>
                  <a:pt x="2687" y="8269"/>
                </a:lnTo>
                <a:lnTo>
                  <a:pt x="2715" y="8268"/>
                </a:lnTo>
                <a:lnTo>
                  <a:pt x="2730" y="8299"/>
                </a:lnTo>
                <a:close/>
                <a:moveTo>
                  <a:pt x="2581" y="8826"/>
                </a:moveTo>
                <a:lnTo>
                  <a:pt x="2574" y="8827"/>
                </a:lnTo>
                <a:lnTo>
                  <a:pt x="2570" y="8824"/>
                </a:lnTo>
                <a:lnTo>
                  <a:pt x="2570" y="8821"/>
                </a:lnTo>
                <a:lnTo>
                  <a:pt x="2575" y="8814"/>
                </a:lnTo>
                <a:lnTo>
                  <a:pt x="2582" y="8813"/>
                </a:lnTo>
                <a:lnTo>
                  <a:pt x="2586" y="8815"/>
                </a:lnTo>
                <a:lnTo>
                  <a:pt x="2586" y="8819"/>
                </a:lnTo>
                <a:lnTo>
                  <a:pt x="2581" y="8826"/>
                </a:lnTo>
                <a:close/>
                <a:moveTo>
                  <a:pt x="2543" y="8260"/>
                </a:moveTo>
                <a:lnTo>
                  <a:pt x="2553" y="8248"/>
                </a:lnTo>
                <a:lnTo>
                  <a:pt x="2570" y="8252"/>
                </a:lnTo>
                <a:lnTo>
                  <a:pt x="2581" y="8266"/>
                </a:lnTo>
                <a:lnTo>
                  <a:pt x="2579" y="8282"/>
                </a:lnTo>
                <a:lnTo>
                  <a:pt x="2568" y="8283"/>
                </a:lnTo>
                <a:lnTo>
                  <a:pt x="2556" y="8278"/>
                </a:lnTo>
                <a:lnTo>
                  <a:pt x="2546" y="8271"/>
                </a:lnTo>
                <a:lnTo>
                  <a:pt x="2543" y="8260"/>
                </a:lnTo>
                <a:close/>
                <a:moveTo>
                  <a:pt x="2500" y="8193"/>
                </a:moveTo>
                <a:lnTo>
                  <a:pt x="2478" y="8154"/>
                </a:lnTo>
                <a:lnTo>
                  <a:pt x="2435" y="8148"/>
                </a:lnTo>
                <a:lnTo>
                  <a:pt x="2393" y="8143"/>
                </a:lnTo>
                <a:lnTo>
                  <a:pt x="2370" y="8106"/>
                </a:lnTo>
                <a:lnTo>
                  <a:pt x="2397" y="8104"/>
                </a:lnTo>
                <a:lnTo>
                  <a:pt x="2413" y="8095"/>
                </a:lnTo>
                <a:lnTo>
                  <a:pt x="2418" y="8077"/>
                </a:lnTo>
                <a:lnTo>
                  <a:pt x="2409" y="8043"/>
                </a:lnTo>
                <a:lnTo>
                  <a:pt x="2405" y="7980"/>
                </a:lnTo>
                <a:lnTo>
                  <a:pt x="2459" y="7958"/>
                </a:lnTo>
                <a:lnTo>
                  <a:pt x="2512" y="7966"/>
                </a:lnTo>
                <a:lnTo>
                  <a:pt x="2507" y="8003"/>
                </a:lnTo>
                <a:lnTo>
                  <a:pt x="2474" y="8049"/>
                </a:lnTo>
                <a:lnTo>
                  <a:pt x="2524" y="8105"/>
                </a:lnTo>
                <a:lnTo>
                  <a:pt x="2563" y="8159"/>
                </a:lnTo>
                <a:lnTo>
                  <a:pt x="2500" y="8193"/>
                </a:lnTo>
                <a:close/>
                <a:moveTo>
                  <a:pt x="2511" y="8957"/>
                </a:moveTo>
                <a:lnTo>
                  <a:pt x="2500" y="8963"/>
                </a:lnTo>
                <a:lnTo>
                  <a:pt x="2484" y="8964"/>
                </a:lnTo>
                <a:lnTo>
                  <a:pt x="2470" y="8959"/>
                </a:lnTo>
                <a:lnTo>
                  <a:pt x="2460" y="8949"/>
                </a:lnTo>
                <a:lnTo>
                  <a:pt x="2470" y="8921"/>
                </a:lnTo>
                <a:lnTo>
                  <a:pt x="2497" y="8912"/>
                </a:lnTo>
                <a:lnTo>
                  <a:pt x="2519" y="8924"/>
                </a:lnTo>
                <a:lnTo>
                  <a:pt x="2511" y="8957"/>
                </a:lnTo>
                <a:close/>
                <a:moveTo>
                  <a:pt x="2464" y="8681"/>
                </a:moveTo>
                <a:lnTo>
                  <a:pt x="2472" y="8679"/>
                </a:lnTo>
                <a:lnTo>
                  <a:pt x="2476" y="8681"/>
                </a:lnTo>
                <a:lnTo>
                  <a:pt x="2476" y="8686"/>
                </a:lnTo>
                <a:lnTo>
                  <a:pt x="2470" y="8692"/>
                </a:lnTo>
                <a:lnTo>
                  <a:pt x="2463" y="8693"/>
                </a:lnTo>
                <a:lnTo>
                  <a:pt x="2459" y="8691"/>
                </a:lnTo>
                <a:lnTo>
                  <a:pt x="2459" y="8687"/>
                </a:lnTo>
                <a:lnTo>
                  <a:pt x="2464" y="8681"/>
                </a:lnTo>
                <a:close/>
                <a:moveTo>
                  <a:pt x="2451" y="8280"/>
                </a:moveTo>
                <a:lnTo>
                  <a:pt x="2462" y="8274"/>
                </a:lnTo>
                <a:lnTo>
                  <a:pt x="2477" y="8278"/>
                </a:lnTo>
                <a:lnTo>
                  <a:pt x="2488" y="8290"/>
                </a:lnTo>
                <a:lnTo>
                  <a:pt x="2487" y="8304"/>
                </a:lnTo>
                <a:lnTo>
                  <a:pt x="2476" y="8310"/>
                </a:lnTo>
                <a:lnTo>
                  <a:pt x="2463" y="8304"/>
                </a:lnTo>
                <a:lnTo>
                  <a:pt x="2454" y="8292"/>
                </a:lnTo>
                <a:lnTo>
                  <a:pt x="2451" y="8280"/>
                </a:lnTo>
                <a:close/>
                <a:moveTo>
                  <a:pt x="2388" y="8245"/>
                </a:moveTo>
                <a:lnTo>
                  <a:pt x="2330" y="8245"/>
                </a:lnTo>
                <a:lnTo>
                  <a:pt x="2305" y="8217"/>
                </a:lnTo>
                <a:lnTo>
                  <a:pt x="2284" y="8179"/>
                </a:lnTo>
                <a:lnTo>
                  <a:pt x="2239" y="8151"/>
                </a:lnTo>
                <a:lnTo>
                  <a:pt x="2290" y="8129"/>
                </a:lnTo>
                <a:lnTo>
                  <a:pt x="2344" y="8159"/>
                </a:lnTo>
                <a:lnTo>
                  <a:pt x="2383" y="8208"/>
                </a:lnTo>
                <a:lnTo>
                  <a:pt x="2388" y="8245"/>
                </a:lnTo>
                <a:close/>
                <a:moveTo>
                  <a:pt x="2264" y="7921"/>
                </a:moveTo>
                <a:lnTo>
                  <a:pt x="2218" y="7865"/>
                </a:lnTo>
                <a:lnTo>
                  <a:pt x="2194" y="7778"/>
                </a:lnTo>
                <a:lnTo>
                  <a:pt x="2198" y="7719"/>
                </a:lnTo>
                <a:lnTo>
                  <a:pt x="2236" y="7750"/>
                </a:lnTo>
                <a:lnTo>
                  <a:pt x="2240" y="7777"/>
                </a:lnTo>
                <a:lnTo>
                  <a:pt x="2223" y="7800"/>
                </a:lnTo>
                <a:lnTo>
                  <a:pt x="2214" y="7816"/>
                </a:lnTo>
                <a:lnTo>
                  <a:pt x="2244" y="7826"/>
                </a:lnTo>
                <a:lnTo>
                  <a:pt x="2330" y="7853"/>
                </a:lnTo>
                <a:lnTo>
                  <a:pt x="2370" y="7937"/>
                </a:lnTo>
                <a:lnTo>
                  <a:pt x="2352" y="7991"/>
                </a:lnTo>
                <a:lnTo>
                  <a:pt x="2264" y="7921"/>
                </a:lnTo>
                <a:close/>
                <a:moveTo>
                  <a:pt x="2209" y="7623"/>
                </a:moveTo>
                <a:lnTo>
                  <a:pt x="2225" y="7624"/>
                </a:lnTo>
                <a:lnTo>
                  <a:pt x="2223" y="7652"/>
                </a:lnTo>
                <a:lnTo>
                  <a:pt x="2211" y="7677"/>
                </a:lnTo>
                <a:lnTo>
                  <a:pt x="2194" y="7679"/>
                </a:lnTo>
                <a:lnTo>
                  <a:pt x="2195" y="7663"/>
                </a:lnTo>
                <a:lnTo>
                  <a:pt x="2197" y="7649"/>
                </a:lnTo>
                <a:lnTo>
                  <a:pt x="2200" y="7635"/>
                </a:lnTo>
                <a:lnTo>
                  <a:pt x="2209" y="7623"/>
                </a:lnTo>
                <a:close/>
                <a:moveTo>
                  <a:pt x="2425" y="8933"/>
                </a:moveTo>
                <a:lnTo>
                  <a:pt x="2416" y="8933"/>
                </a:lnTo>
                <a:lnTo>
                  <a:pt x="2412" y="8931"/>
                </a:lnTo>
                <a:lnTo>
                  <a:pt x="2412" y="8927"/>
                </a:lnTo>
                <a:lnTo>
                  <a:pt x="2417" y="8921"/>
                </a:lnTo>
                <a:lnTo>
                  <a:pt x="2425" y="8919"/>
                </a:lnTo>
                <a:lnTo>
                  <a:pt x="2428" y="8921"/>
                </a:lnTo>
                <a:lnTo>
                  <a:pt x="2428" y="8925"/>
                </a:lnTo>
                <a:lnTo>
                  <a:pt x="2425" y="8933"/>
                </a:lnTo>
                <a:close/>
                <a:moveTo>
                  <a:pt x="2408" y="8674"/>
                </a:moveTo>
                <a:lnTo>
                  <a:pt x="2411" y="8664"/>
                </a:lnTo>
                <a:lnTo>
                  <a:pt x="2414" y="8658"/>
                </a:lnTo>
                <a:lnTo>
                  <a:pt x="2421" y="8656"/>
                </a:lnTo>
                <a:lnTo>
                  <a:pt x="2428" y="8663"/>
                </a:lnTo>
                <a:lnTo>
                  <a:pt x="2430" y="8675"/>
                </a:lnTo>
                <a:lnTo>
                  <a:pt x="2422" y="8683"/>
                </a:lnTo>
                <a:lnTo>
                  <a:pt x="2412" y="8684"/>
                </a:lnTo>
                <a:lnTo>
                  <a:pt x="2408" y="8674"/>
                </a:lnTo>
                <a:close/>
                <a:moveTo>
                  <a:pt x="2372" y="8627"/>
                </a:moveTo>
                <a:lnTo>
                  <a:pt x="2376" y="8614"/>
                </a:lnTo>
                <a:lnTo>
                  <a:pt x="2388" y="8611"/>
                </a:lnTo>
                <a:lnTo>
                  <a:pt x="2402" y="8611"/>
                </a:lnTo>
                <a:lnTo>
                  <a:pt x="2413" y="8616"/>
                </a:lnTo>
                <a:lnTo>
                  <a:pt x="2409" y="8628"/>
                </a:lnTo>
                <a:lnTo>
                  <a:pt x="2398" y="8633"/>
                </a:lnTo>
                <a:lnTo>
                  <a:pt x="2385" y="8632"/>
                </a:lnTo>
                <a:lnTo>
                  <a:pt x="2372" y="8627"/>
                </a:lnTo>
                <a:close/>
                <a:moveTo>
                  <a:pt x="2162" y="7751"/>
                </a:moveTo>
                <a:lnTo>
                  <a:pt x="2155" y="7747"/>
                </a:lnTo>
                <a:lnTo>
                  <a:pt x="2150" y="7744"/>
                </a:lnTo>
                <a:lnTo>
                  <a:pt x="2148" y="7737"/>
                </a:lnTo>
                <a:lnTo>
                  <a:pt x="2148" y="7730"/>
                </a:lnTo>
                <a:lnTo>
                  <a:pt x="2156" y="7732"/>
                </a:lnTo>
                <a:lnTo>
                  <a:pt x="2161" y="7737"/>
                </a:lnTo>
                <a:lnTo>
                  <a:pt x="2162" y="7744"/>
                </a:lnTo>
                <a:lnTo>
                  <a:pt x="2162" y="7751"/>
                </a:lnTo>
                <a:close/>
                <a:moveTo>
                  <a:pt x="2071" y="7877"/>
                </a:moveTo>
                <a:lnTo>
                  <a:pt x="2053" y="7877"/>
                </a:lnTo>
                <a:lnTo>
                  <a:pt x="2046" y="7857"/>
                </a:lnTo>
                <a:lnTo>
                  <a:pt x="2051" y="7839"/>
                </a:lnTo>
                <a:lnTo>
                  <a:pt x="2067" y="7843"/>
                </a:lnTo>
                <a:lnTo>
                  <a:pt x="2073" y="7851"/>
                </a:lnTo>
                <a:lnTo>
                  <a:pt x="2077" y="7859"/>
                </a:lnTo>
                <a:lnTo>
                  <a:pt x="2076" y="7870"/>
                </a:lnTo>
                <a:lnTo>
                  <a:pt x="2071" y="7877"/>
                </a:lnTo>
                <a:close/>
                <a:moveTo>
                  <a:pt x="2065" y="7984"/>
                </a:moveTo>
                <a:lnTo>
                  <a:pt x="2036" y="8020"/>
                </a:lnTo>
                <a:lnTo>
                  <a:pt x="2040" y="8081"/>
                </a:lnTo>
                <a:lnTo>
                  <a:pt x="2039" y="8110"/>
                </a:lnTo>
                <a:lnTo>
                  <a:pt x="1994" y="8045"/>
                </a:lnTo>
                <a:lnTo>
                  <a:pt x="1969" y="8029"/>
                </a:lnTo>
                <a:lnTo>
                  <a:pt x="1944" y="8011"/>
                </a:lnTo>
                <a:lnTo>
                  <a:pt x="1930" y="7988"/>
                </a:lnTo>
                <a:lnTo>
                  <a:pt x="1933" y="7961"/>
                </a:lnTo>
                <a:lnTo>
                  <a:pt x="1965" y="7982"/>
                </a:lnTo>
                <a:lnTo>
                  <a:pt x="2008" y="7972"/>
                </a:lnTo>
                <a:lnTo>
                  <a:pt x="2046" y="7963"/>
                </a:lnTo>
                <a:lnTo>
                  <a:pt x="2065" y="7984"/>
                </a:lnTo>
                <a:close/>
                <a:moveTo>
                  <a:pt x="2002" y="7826"/>
                </a:moveTo>
                <a:lnTo>
                  <a:pt x="2017" y="7839"/>
                </a:lnTo>
                <a:lnTo>
                  <a:pt x="2025" y="7863"/>
                </a:lnTo>
                <a:lnTo>
                  <a:pt x="2025" y="7890"/>
                </a:lnTo>
                <a:lnTo>
                  <a:pt x="2016" y="7910"/>
                </a:lnTo>
                <a:lnTo>
                  <a:pt x="1992" y="7899"/>
                </a:lnTo>
                <a:lnTo>
                  <a:pt x="1978" y="7871"/>
                </a:lnTo>
                <a:lnTo>
                  <a:pt x="1979" y="7842"/>
                </a:lnTo>
                <a:lnTo>
                  <a:pt x="2002" y="7826"/>
                </a:lnTo>
                <a:close/>
                <a:moveTo>
                  <a:pt x="1877" y="8081"/>
                </a:moveTo>
                <a:lnTo>
                  <a:pt x="1871" y="8071"/>
                </a:lnTo>
                <a:lnTo>
                  <a:pt x="1872" y="8059"/>
                </a:lnTo>
                <a:lnTo>
                  <a:pt x="1876" y="8049"/>
                </a:lnTo>
                <a:lnTo>
                  <a:pt x="1874" y="8038"/>
                </a:lnTo>
                <a:lnTo>
                  <a:pt x="1878" y="8045"/>
                </a:lnTo>
                <a:lnTo>
                  <a:pt x="1883" y="8062"/>
                </a:lnTo>
                <a:lnTo>
                  <a:pt x="1883" y="8077"/>
                </a:lnTo>
                <a:lnTo>
                  <a:pt x="1877" y="8081"/>
                </a:lnTo>
                <a:close/>
                <a:moveTo>
                  <a:pt x="1439" y="7507"/>
                </a:moveTo>
                <a:lnTo>
                  <a:pt x="1427" y="7504"/>
                </a:lnTo>
                <a:lnTo>
                  <a:pt x="1422" y="7495"/>
                </a:lnTo>
                <a:lnTo>
                  <a:pt x="1424" y="7485"/>
                </a:lnTo>
                <a:lnTo>
                  <a:pt x="1433" y="7478"/>
                </a:lnTo>
                <a:lnTo>
                  <a:pt x="1441" y="7479"/>
                </a:lnTo>
                <a:lnTo>
                  <a:pt x="1443" y="7487"/>
                </a:lnTo>
                <a:lnTo>
                  <a:pt x="1440" y="7498"/>
                </a:lnTo>
                <a:lnTo>
                  <a:pt x="1439" y="7507"/>
                </a:lnTo>
                <a:close/>
                <a:moveTo>
                  <a:pt x="1375" y="7507"/>
                </a:moveTo>
                <a:lnTo>
                  <a:pt x="1364" y="7509"/>
                </a:lnTo>
                <a:lnTo>
                  <a:pt x="1352" y="7507"/>
                </a:lnTo>
                <a:lnTo>
                  <a:pt x="1346" y="7501"/>
                </a:lnTo>
                <a:lnTo>
                  <a:pt x="1351" y="7492"/>
                </a:lnTo>
                <a:lnTo>
                  <a:pt x="1360" y="7488"/>
                </a:lnTo>
                <a:lnTo>
                  <a:pt x="1369" y="7490"/>
                </a:lnTo>
                <a:lnTo>
                  <a:pt x="1375" y="7498"/>
                </a:lnTo>
                <a:lnTo>
                  <a:pt x="1375" y="7507"/>
                </a:lnTo>
                <a:close/>
                <a:moveTo>
                  <a:pt x="1327" y="7572"/>
                </a:moveTo>
                <a:lnTo>
                  <a:pt x="1323" y="7553"/>
                </a:lnTo>
                <a:lnTo>
                  <a:pt x="1338" y="7540"/>
                </a:lnTo>
                <a:lnTo>
                  <a:pt x="1359" y="7539"/>
                </a:lnTo>
                <a:lnTo>
                  <a:pt x="1373" y="7554"/>
                </a:lnTo>
                <a:lnTo>
                  <a:pt x="1373" y="7568"/>
                </a:lnTo>
                <a:lnTo>
                  <a:pt x="1360" y="7574"/>
                </a:lnTo>
                <a:lnTo>
                  <a:pt x="1342" y="7574"/>
                </a:lnTo>
                <a:lnTo>
                  <a:pt x="1327" y="7572"/>
                </a:lnTo>
                <a:close/>
                <a:moveTo>
                  <a:pt x="1329" y="7406"/>
                </a:moveTo>
                <a:lnTo>
                  <a:pt x="1340" y="7414"/>
                </a:lnTo>
                <a:lnTo>
                  <a:pt x="1341" y="7427"/>
                </a:lnTo>
                <a:lnTo>
                  <a:pt x="1334" y="7436"/>
                </a:lnTo>
                <a:lnTo>
                  <a:pt x="1320" y="7434"/>
                </a:lnTo>
                <a:lnTo>
                  <a:pt x="1319" y="7427"/>
                </a:lnTo>
                <a:lnTo>
                  <a:pt x="1320" y="7418"/>
                </a:lnTo>
                <a:lnTo>
                  <a:pt x="1324" y="7410"/>
                </a:lnTo>
                <a:lnTo>
                  <a:pt x="1329" y="7406"/>
                </a:lnTo>
                <a:close/>
                <a:moveTo>
                  <a:pt x="1273" y="7389"/>
                </a:moveTo>
                <a:lnTo>
                  <a:pt x="1250" y="7387"/>
                </a:lnTo>
                <a:lnTo>
                  <a:pt x="1244" y="7369"/>
                </a:lnTo>
                <a:lnTo>
                  <a:pt x="1250" y="7352"/>
                </a:lnTo>
                <a:lnTo>
                  <a:pt x="1272" y="7347"/>
                </a:lnTo>
                <a:lnTo>
                  <a:pt x="1278" y="7355"/>
                </a:lnTo>
                <a:lnTo>
                  <a:pt x="1281" y="7368"/>
                </a:lnTo>
                <a:lnTo>
                  <a:pt x="1280" y="7382"/>
                </a:lnTo>
                <a:lnTo>
                  <a:pt x="1273" y="7389"/>
                </a:lnTo>
                <a:close/>
                <a:moveTo>
                  <a:pt x="1222" y="7427"/>
                </a:moveTo>
                <a:lnTo>
                  <a:pt x="1216" y="7425"/>
                </a:lnTo>
                <a:lnTo>
                  <a:pt x="1213" y="7423"/>
                </a:lnTo>
                <a:lnTo>
                  <a:pt x="1215" y="7418"/>
                </a:lnTo>
                <a:lnTo>
                  <a:pt x="1220" y="7413"/>
                </a:lnTo>
                <a:lnTo>
                  <a:pt x="1226" y="7413"/>
                </a:lnTo>
                <a:lnTo>
                  <a:pt x="1229" y="7417"/>
                </a:lnTo>
                <a:lnTo>
                  <a:pt x="1227" y="7422"/>
                </a:lnTo>
                <a:lnTo>
                  <a:pt x="1222" y="7427"/>
                </a:lnTo>
                <a:close/>
                <a:moveTo>
                  <a:pt x="1188" y="7396"/>
                </a:moveTo>
                <a:lnTo>
                  <a:pt x="1182" y="7408"/>
                </a:lnTo>
                <a:lnTo>
                  <a:pt x="1168" y="7410"/>
                </a:lnTo>
                <a:lnTo>
                  <a:pt x="1154" y="7405"/>
                </a:lnTo>
                <a:lnTo>
                  <a:pt x="1145" y="7395"/>
                </a:lnTo>
                <a:lnTo>
                  <a:pt x="1155" y="7368"/>
                </a:lnTo>
                <a:lnTo>
                  <a:pt x="1177" y="7357"/>
                </a:lnTo>
                <a:lnTo>
                  <a:pt x="1193" y="7366"/>
                </a:lnTo>
                <a:lnTo>
                  <a:pt x="1188" y="7396"/>
                </a:lnTo>
                <a:close/>
                <a:moveTo>
                  <a:pt x="1161" y="7583"/>
                </a:moveTo>
                <a:lnTo>
                  <a:pt x="1108" y="7642"/>
                </a:lnTo>
                <a:lnTo>
                  <a:pt x="1066" y="7669"/>
                </a:lnTo>
                <a:lnTo>
                  <a:pt x="1029" y="7651"/>
                </a:lnTo>
                <a:lnTo>
                  <a:pt x="994" y="7578"/>
                </a:lnTo>
                <a:lnTo>
                  <a:pt x="840" y="7593"/>
                </a:lnTo>
                <a:lnTo>
                  <a:pt x="821" y="7555"/>
                </a:lnTo>
                <a:lnTo>
                  <a:pt x="881" y="7513"/>
                </a:lnTo>
                <a:lnTo>
                  <a:pt x="969" y="7512"/>
                </a:lnTo>
                <a:lnTo>
                  <a:pt x="1017" y="7527"/>
                </a:lnTo>
                <a:lnTo>
                  <a:pt x="1034" y="7567"/>
                </a:lnTo>
                <a:lnTo>
                  <a:pt x="1039" y="7619"/>
                </a:lnTo>
                <a:lnTo>
                  <a:pt x="1054" y="7666"/>
                </a:lnTo>
                <a:lnTo>
                  <a:pt x="1075" y="7624"/>
                </a:lnTo>
                <a:lnTo>
                  <a:pt x="1073" y="7593"/>
                </a:lnTo>
                <a:lnTo>
                  <a:pt x="1059" y="7560"/>
                </a:lnTo>
                <a:lnTo>
                  <a:pt x="1043" y="7515"/>
                </a:lnTo>
                <a:lnTo>
                  <a:pt x="1100" y="7503"/>
                </a:lnTo>
                <a:lnTo>
                  <a:pt x="1147" y="7494"/>
                </a:lnTo>
                <a:lnTo>
                  <a:pt x="1171" y="7513"/>
                </a:lnTo>
                <a:lnTo>
                  <a:pt x="1161" y="7583"/>
                </a:lnTo>
                <a:close/>
                <a:moveTo>
                  <a:pt x="959" y="7702"/>
                </a:moveTo>
                <a:lnTo>
                  <a:pt x="960" y="7694"/>
                </a:lnTo>
                <a:lnTo>
                  <a:pt x="963" y="7689"/>
                </a:lnTo>
                <a:lnTo>
                  <a:pt x="969" y="7688"/>
                </a:lnTo>
                <a:lnTo>
                  <a:pt x="975" y="7686"/>
                </a:lnTo>
                <a:lnTo>
                  <a:pt x="974" y="7694"/>
                </a:lnTo>
                <a:lnTo>
                  <a:pt x="972" y="7698"/>
                </a:lnTo>
                <a:lnTo>
                  <a:pt x="966" y="7700"/>
                </a:lnTo>
                <a:lnTo>
                  <a:pt x="959" y="7702"/>
                </a:lnTo>
                <a:close/>
                <a:moveTo>
                  <a:pt x="1036" y="7714"/>
                </a:moveTo>
                <a:lnTo>
                  <a:pt x="1034" y="7742"/>
                </a:lnTo>
                <a:lnTo>
                  <a:pt x="1035" y="7775"/>
                </a:lnTo>
                <a:lnTo>
                  <a:pt x="1029" y="7800"/>
                </a:lnTo>
                <a:lnTo>
                  <a:pt x="1002" y="7797"/>
                </a:lnTo>
                <a:lnTo>
                  <a:pt x="974" y="7764"/>
                </a:lnTo>
                <a:lnTo>
                  <a:pt x="982" y="7722"/>
                </a:lnTo>
                <a:lnTo>
                  <a:pt x="1007" y="7698"/>
                </a:lnTo>
                <a:lnTo>
                  <a:pt x="1036" y="7714"/>
                </a:lnTo>
                <a:close/>
                <a:moveTo>
                  <a:pt x="991" y="7886"/>
                </a:moveTo>
                <a:lnTo>
                  <a:pt x="956" y="7916"/>
                </a:lnTo>
                <a:lnTo>
                  <a:pt x="924" y="7899"/>
                </a:lnTo>
                <a:lnTo>
                  <a:pt x="891" y="7871"/>
                </a:lnTo>
                <a:lnTo>
                  <a:pt x="853" y="7863"/>
                </a:lnTo>
                <a:lnTo>
                  <a:pt x="867" y="7890"/>
                </a:lnTo>
                <a:lnTo>
                  <a:pt x="863" y="7912"/>
                </a:lnTo>
                <a:lnTo>
                  <a:pt x="849" y="7916"/>
                </a:lnTo>
                <a:lnTo>
                  <a:pt x="833" y="7889"/>
                </a:lnTo>
                <a:lnTo>
                  <a:pt x="834" y="7853"/>
                </a:lnTo>
                <a:lnTo>
                  <a:pt x="826" y="7826"/>
                </a:lnTo>
                <a:lnTo>
                  <a:pt x="844" y="7809"/>
                </a:lnTo>
                <a:lnTo>
                  <a:pt x="914" y="7802"/>
                </a:lnTo>
                <a:lnTo>
                  <a:pt x="926" y="7844"/>
                </a:lnTo>
                <a:lnTo>
                  <a:pt x="950" y="7861"/>
                </a:lnTo>
                <a:lnTo>
                  <a:pt x="974" y="7870"/>
                </a:lnTo>
                <a:lnTo>
                  <a:pt x="991" y="7886"/>
                </a:lnTo>
                <a:close/>
                <a:moveTo>
                  <a:pt x="895" y="8175"/>
                </a:moveTo>
                <a:lnTo>
                  <a:pt x="947" y="8210"/>
                </a:lnTo>
                <a:lnTo>
                  <a:pt x="954" y="8246"/>
                </a:lnTo>
                <a:lnTo>
                  <a:pt x="922" y="8266"/>
                </a:lnTo>
                <a:lnTo>
                  <a:pt x="862" y="8248"/>
                </a:lnTo>
                <a:lnTo>
                  <a:pt x="849" y="8260"/>
                </a:lnTo>
                <a:lnTo>
                  <a:pt x="848" y="8285"/>
                </a:lnTo>
                <a:lnTo>
                  <a:pt x="843" y="8300"/>
                </a:lnTo>
                <a:lnTo>
                  <a:pt x="815" y="8287"/>
                </a:lnTo>
                <a:lnTo>
                  <a:pt x="764" y="8232"/>
                </a:lnTo>
                <a:lnTo>
                  <a:pt x="775" y="8165"/>
                </a:lnTo>
                <a:lnTo>
                  <a:pt x="826" y="8132"/>
                </a:lnTo>
                <a:lnTo>
                  <a:pt x="895" y="8175"/>
                </a:lnTo>
                <a:close/>
                <a:moveTo>
                  <a:pt x="1015" y="8530"/>
                </a:moveTo>
                <a:lnTo>
                  <a:pt x="1031" y="8541"/>
                </a:lnTo>
                <a:lnTo>
                  <a:pt x="1034" y="8565"/>
                </a:lnTo>
                <a:lnTo>
                  <a:pt x="1026" y="8591"/>
                </a:lnTo>
                <a:lnTo>
                  <a:pt x="1011" y="8609"/>
                </a:lnTo>
                <a:lnTo>
                  <a:pt x="978" y="8603"/>
                </a:lnTo>
                <a:lnTo>
                  <a:pt x="977" y="8583"/>
                </a:lnTo>
                <a:lnTo>
                  <a:pt x="993" y="8555"/>
                </a:lnTo>
                <a:lnTo>
                  <a:pt x="1015" y="8530"/>
                </a:lnTo>
                <a:close/>
                <a:moveTo>
                  <a:pt x="1044" y="8789"/>
                </a:moveTo>
                <a:lnTo>
                  <a:pt x="1062" y="8808"/>
                </a:lnTo>
                <a:lnTo>
                  <a:pt x="1043" y="8833"/>
                </a:lnTo>
                <a:lnTo>
                  <a:pt x="1007" y="8852"/>
                </a:lnTo>
                <a:lnTo>
                  <a:pt x="978" y="8851"/>
                </a:lnTo>
                <a:lnTo>
                  <a:pt x="979" y="8827"/>
                </a:lnTo>
                <a:lnTo>
                  <a:pt x="1000" y="8796"/>
                </a:lnTo>
                <a:lnTo>
                  <a:pt x="1025" y="8777"/>
                </a:lnTo>
                <a:lnTo>
                  <a:pt x="1044" y="8789"/>
                </a:lnTo>
                <a:close/>
                <a:moveTo>
                  <a:pt x="1076" y="8899"/>
                </a:moveTo>
                <a:lnTo>
                  <a:pt x="1062" y="8905"/>
                </a:lnTo>
                <a:lnTo>
                  <a:pt x="1049" y="8899"/>
                </a:lnTo>
                <a:lnTo>
                  <a:pt x="1040" y="8887"/>
                </a:lnTo>
                <a:lnTo>
                  <a:pt x="1038" y="8874"/>
                </a:lnTo>
                <a:lnTo>
                  <a:pt x="1048" y="8874"/>
                </a:lnTo>
                <a:lnTo>
                  <a:pt x="1063" y="8880"/>
                </a:lnTo>
                <a:lnTo>
                  <a:pt x="1073" y="8889"/>
                </a:lnTo>
                <a:lnTo>
                  <a:pt x="1076" y="8899"/>
                </a:lnTo>
                <a:close/>
                <a:moveTo>
                  <a:pt x="1099" y="9141"/>
                </a:moveTo>
                <a:lnTo>
                  <a:pt x="1114" y="9153"/>
                </a:lnTo>
                <a:lnTo>
                  <a:pt x="1121" y="9169"/>
                </a:lnTo>
                <a:lnTo>
                  <a:pt x="1117" y="9183"/>
                </a:lnTo>
                <a:lnTo>
                  <a:pt x="1098" y="9188"/>
                </a:lnTo>
                <a:lnTo>
                  <a:pt x="1073" y="9181"/>
                </a:lnTo>
                <a:lnTo>
                  <a:pt x="1066" y="9158"/>
                </a:lnTo>
                <a:lnTo>
                  <a:pt x="1076" y="9140"/>
                </a:lnTo>
                <a:lnTo>
                  <a:pt x="1099" y="9141"/>
                </a:lnTo>
                <a:close/>
                <a:moveTo>
                  <a:pt x="1107" y="8969"/>
                </a:moveTo>
                <a:lnTo>
                  <a:pt x="1113" y="8973"/>
                </a:lnTo>
                <a:lnTo>
                  <a:pt x="1118" y="8978"/>
                </a:lnTo>
                <a:lnTo>
                  <a:pt x="1121" y="8983"/>
                </a:lnTo>
                <a:lnTo>
                  <a:pt x="1121" y="8991"/>
                </a:lnTo>
                <a:lnTo>
                  <a:pt x="1113" y="8989"/>
                </a:lnTo>
                <a:lnTo>
                  <a:pt x="1108" y="8983"/>
                </a:lnTo>
                <a:lnTo>
                  <a:pt x="1107" y="8978"/>
                </a:lnTo>
                <a:lnTo>
                  <a:pt x="1107" y="8969"/>
                </a:lnTo>
                <a:close/>
                <a:moveTo>
                  <a:pt x="1050" y="9094"/>
                </a:moveTo>
                <a:lnTo>
                  <a:pt x="1043" y="9112"/>
                </a:lnTo>
                <a:lnTo>
                  <a:pt x="1042" y="9131"/>
                </a:lnTo>
                <a:lnTo>
                  <a:pt x="1038" y="9148"/>
                </a:lnTo>
                <a:lnTo>
                  <a:pt x="1026" y="9159"/>
                </a:lnTo>
                <a:lnTo>
                  <a:pt x="997" y="9131"/>
                </a:lnTo>
                <a:lnTo>
                  <a:pt x="1001" y="9089"/>
                </a:lnTo>
                <a:lnTo>
                  <a:pt x="1022" y="9065"/>
                </a:lnTo>
                <a:lnTo>
                  <a:pt x="1050" y="9094"/>
                </a:lnTo>
                <a:close/>
                <a:moveTo>
                  <a:pt x="952" y="8959"/>
                </a:moveTo>
                <a:lnTo>
                  <a:pt x="949" y="8959"/>
                </a:lnTo>
                <a:lnTo>
                  <a:pt x="946" y="8957"/>
                </a:lnTo>
                <a:lnTo>
                  <a:pt x="946" y="8954"/>
                </a:lnTo>
                <a:lnTo>
                  <a:pt x="947" y="8950"/>
                </a:lnTo>
                <a:lnTo>
                  <a:pt x="951" y="8952"/>
                </a:lnTo>
                <a:lnTo>
                  <a:pt x="954" y="8954"/>
                </a:lnTo>
                <a:lnTo>
                  <a:pt x="954" y="8955"/>
                </a:lnTo>
                <a:lnTo>
                  <a:pt x="952" y="8959"/>
                </a:lnTo>
                <a:close/>
                <a:moveTo>
                  <a:pt x="914" y="8332"/>
                </a:moveTo>
                <a:lnTo>
                  <a:pt x="896" y="8336"/>
                </a:lnTo>
                <a:lnTo>
                  <a:pt x="894" y="8351"/>
                </a:lnTo>
                <a:lnTo>
                  <a:pt x="894" y="8366"/>
                </a:lnTo>
                <a:lnTo>
                  <a:pt x="884" y="8375"/>
                </a:lnTo>
                <a:lnTo>
                  <a:pt x="862" y="8348"/>
                </a:lnTo>
                <a:lnTo>
                  <a:pt x="887" y="8315"/>
                </a:lnTo>
                <a:lnTo>
                  <a:pt x="919" y="8300"/>
                </a:lnTo>
                <a:lnTo>
                  <a:pt x="914" y="8332"/>
                </a:lnTo>
                <a:close/>
                <a:moveTo>
                  <a:pt x="893" y="8499"/>
                </a:moveTo>
                <a:lnTo>
                  <a:pt x="873" y="8479"/>
                </a:lnTo>
                <a:lnTo>
                  <a:pt x="868" y="8465"/>
                </a:lnTo>
                <a:lnTo>
                  <a:pt x="879" y="8454"/>
                </a:lnTo>
                <a:lnTo>
                  <a:pt x="903" y="8444"/>
                </a:lnTo>
                <a:lnTo>
                  <a:pt x="904" y="8459"/>
                </a:lnTo>
                <a:lnTo>
                  <a:pt x="903" y="8473"/>
                </a:lnTo>
                <a:lnTo>
                  <a:pt x="899" y="8486"/>
                </a:lnTo>
                <a:lnTo>
                  <a:pt x="893" y="8499"/>
                </a:lnTo>
                <a:close/>
                <a:moveTo>
                  <a:pt x="847" y="8402"/>
                </a:moveTo>
                <a:lnTo>
                  <a:pt x="840" y="8398"/>
                </a:lnTo>
                <a:lnTo>
                  <a:pt x="837" y="8394"/>
                </a:lnTo>
                <a:lnTo>
                  <a:pt x="835" y="8389"/>
                </a:lnTo>
                <a:lnTo>
                  <a:pt x="838" y="8381"/>
                </a:lnTo>
                <a:lnTo>
                  <a:pt x="844" y="8385"/>
                </a:lnTo>
                <a:lnTo>
                  <a:pt x="848" y="8390"/>
                </a:lnTo>
                <a:lnTo>
                  <a:pt x="849" y="8395"/>
                </a:lnTo>
                <a:lnTo>
                  <a:pt x="847" y="8402"/>
                </a:lnTo>
                <a:close/>
                <a:moveTo>
                  <a:pt x="826" y="8753"/>
                </a:moveTo>
                <a:lnTo>
                  <a:pt x="815" y="8758"/>
                </a:lnTo>
                <a:lnTo>
                  <a:pt x="806" y="8752"/>
                </a:lnTo>
                <a:lnTo>
                  <a:pt x="802" y="8740"/>
                </a:lnTo>
                <a:lnTo>
                  <a:pt x="807" y="8730"/>
                </a:lnTo>
                <a:lnTo>
                  <a:pt x="819" y="8726"/>
                </a:lnTo>
                <a:lnTo>
                  <a:pt x="829" y="8733"/>
                </a:lnTo>
                <a:lnTo>
                  <a:pt x="833" y="8744"/>
                </a:lnTo>
                <a:lnTo>
                  <a:pt x="826" y="8753"/>
                </a:lnTo>
                <a:close/>
                <a:moveTo>
                  <a:pt x="791" y="8341"/>
                </a:moveTo>
                <a:lnTo>
                  <a:pt x="783" y="8338"/>
                </a:lnTo>
                <a:lnTo>
                  <a:pt x="780" y="8329"/>
                </a:lnTo>
                <a:lnTo>
                  <a:pt x="782" y="8319"/>
                </a:lnTo>
                <a:lnTo>
                  <a:pt x="787" y="8311"/>
                </a:lnTo>
                <a:lnTo>
                  <a:pt x="797" y="8314"/>
                </a:lnTo>
                <a:lnTo>
                  <a:pt x="802" y="8323"/>
                </a:lnTo>
                <a:lnTo>
                  <a:pt x="800" y="8334"/>
                </a:lnTo>
                <a:lnTo>
                  <a:pt x="791" y="8341"/>
                </a:lnTo>
                <a:close/>
                <a:moveTo>
                  <a:pt x="736" y="7761"/>
                </a:moveTo>
                <a:lnTo>
                  <a:pt x="671" y="7815"/>
                </a:lnTo>
                <a:lnTo>
                  <a:pt x="661" y="7806"/>
                </a:lnTo>
                <a:lnTo>
                  <a:pt x="677" y="7751"/>
                </a:lnTo>
                <a:lnTo>
                  <a:pt x="688" y="7672"/>
                </a:lnTo>
                <a:lnTo>
                  <a:pt x="750" y="7656"/>
                </a:lnTo>
                <a:lnTo>
                  <a:pt x="793" y="7681"/>
                </a:lnTo>
                <a:lnTo>
                  <a:pt x="797" y="7725"/>
                </a:lnTo>
                <a:lnTo>
                  <a:pt x="736" y="7761"/>
                </a:lnTo>
                <a:close/>
                <a:moveTo>
                  <a:pt x="635" y="7777"/>
                </a:moveTo>
                <a:lnTo>
                  <a:pt x="621" y="7783"/>
                </a:lnTo>
                <a:lnTo>
                  <a:pt x="605" y="7778"/>
                </a:lnTo>
                <a:lnTo>
                  <a:pt x="593" y="7777"/>
                </a:lnTo>
                <a:lnTo>
                  <a:pt x="595" y="7793"/>
                </a:lnTo>
                <a:lnTo>
                  <a:pt x="568" y="7786"/>
                </a:lnTo>
                <a:lnTo>
                  <a:pt x="583" y="7759"/>
                </a:lnTo>
                <a:lnTo>
                  <a:pt x="614" y="7745"/>
                </a:lnTo>
                <a:lnTo>
                  <a:pt x="635" y="7777"/>
                </a:lnTo>
                <a:close/>
                <a:moveTo>
                  <a:pt x="620" y="7679"/>
                </a:moveTo>
                <a:lnTo>
                  <a:pt x="615" y="7686"/>
                </a:lnTo>
                <a:lnTo>
                  <a:pt x="610" y="7690"/>
                </a:lnTo>
                <a:lnTo>
                  <a:pt x="605" y="7693"/>
                </a:lnTo>
                <a:lnTo>
                  <a:pt x="597" y="7690"/>
                </a:lnTo>
                <a:lnTo>
                  <a:pt x="601" y="7684"/>
                </a:lnTo>
                <a:lnTo>
                  <a:pt x="606" y="7679"/>
                </a:lnTo>
                <a:lnTo>
                  <a:pt x="611" y="7677"/>
                </a:lnTo>
                <a:lnTo>
                  <a:pt x="620" y="7679"/>
                </a:lnTo>
                <a:close/>
                <a:moveTo>
                  <a:pt x="716" y="7466"/>
                </a:moveTo>
                <a:lnTo>
                  <a:pt x="716" y="7464"/>
                </a:lnTo>
                <a:lnTo>
                  <a:pt x="717" y="7460"/>
                </a:lnTo>
                <a:lnTo>
                  <a:pt x="722" y="7462"/>
                </a:lnTo>
                <a:lnTo>
                  <a:pt x="723" y="7466"/>
                </a:lnTo>
                <a:lnTo>
                  <a:pt x="721" y="7469"/>
                </a:lnTo>
                <a:lnTo>
                  <a:pt x="716" y="7466"/>
                </a:lnTo>
                <a:close/>
                <a:moveTo>
                  <a:pt x="601" y="7405"/>
                </a:moveTo>
                <a:lnTo>
                  <a:pt x="644" y="7366"/>
                </a:lnTo>
                <a:lnTo>
                  <a:pt x="680" y="7315"/>
                </a:lnTo>
                <a:lnTo>
                  <a:pt x="713" y="7292"/>
                </a:lnTo>
                <a:lnTo>
                  <a:pt x="747" y="7339"/>
                </a:lnTo>
                <a:lnTo>
                  <a:pt x="705" y="7361"/>
                </a:lnTo>
                <a:lnTo>
                  <a:pt x="685" y="7406"/>
                </a:lnTo>
                <a:lnTo>
                  <a:pt x="667" y="7448"/>
                </a:lnTo>
                <a:lnTo>
                  <a:pt x="634" y="7466"/>
                </a:lnTo>
                <a:lnTo>
                  <a:pt x="597" y="7476"/>
                </a:lnTo>
                <a:lnTo>
                  <a:pt x="572" y="7456"/>
                </a:lnTo>
                <a:lnTo>
                  <a:pt x="569" y="7425"/>
                </a:lnTo>
                <a:lnTo>
                  <a:pt x="601" y="7405"/>
                </a:lnTo>
                <a:close/>
                <a:moveTo>
                  <a:pt x="782" y="7315"/>
                </a:moveTo>
                <a:lnTo>
                  <a:pt x="817" y="7294"/>
                </a:lnTo>
                <a:lnTo>
                  <a:pt x="845" y="7331"/>
                </a:lnTo>
                <a:lnTo>
                  <a:pt x="854" y="7380"/>
                </a:lnTo>
                <a:lnTo>
                  <a:pt x="834" y="7397"/>
                </a:lnTo>
                <a:lnTo>
                  <a:pt x="829" y="7371"/>
                </a:lnTo>
                <a:lnTo>
                  <a:pt x="809" y="7350"/>
                </a:lnTo>
                <a:lnTo>
                  <a:pt x="787" y="7334"/>
                </a:lnTo>
                <a:lnTo>
                  <a:pt x="782" y="7315"/>
                </a:lnTo>
                <a:close/>
                <a:moveTo>
                  <a:pt x="1062" y="8456"/>
                </a:moveTo>
                <a:lnTo>
                  <a:pt x="1077" y="8455"/>
                </a:lnTo>
                <a:lnTo>
                  <a:pt x="1095" y="8469"/>
                </a:lnTo>
                <a:lnTo>
                  <a:pt x="1104" y="8491"/>
                </a:lnTo>
                <a:lnTo>
                  <a:pt x="1099" y="8507"/>
                </a:lnTo>
                <a:lnTo>
                  <a:pt x="1081" y="8509"/>
                </a:lnTo>
                <a:lnTo>
                  <a:pt x="1066" y="8495"/>
                </a:lnTo>
                <a:lnTo>
                  <a:pt x="1057" y="8474"/>
                </a:lnTo>
                <a:lnTo>
                  <a:pt x="1062" y="8456"/>
                </a:lnTo>
                <a:close/>
                <a:moveTo>
                  <a:pt x="522" y="8101"/>
                </a:moveTo>
                <a:lnTo>
                  <a:pt x="519" y="8101"/>
                </a:lnTo>
                <a:lnTo>
                  <a:pt x="517" y="8100"/>
                </a:lnTo>
                <a:lnTo>
                  <a:pt x="517" y="8098"/>
                </a:lnTo>
                <a:lnTo>
                  <a:pt x="518" y="8094"/>
                </a:lnTo>
                <a:lnTo>
                  <a:pt x="522" y="8095"/>
                </a:lnTo>
                <a:lnTo>
                  <a:pt x="523" y="8096"/>
                </a:lnTo>
                <a:lnTo>
                  <a:pt x="525" y="8099"/>
                </a:lnTo>
                <a:lnTo>
                  <a:pt x="522" y="8101"/>
                </a:lnTo>
                <a:close/>
                <a:moveTo>
                  <a:pt x="328" y="8126"/>
                </a:moveTo>
                <a:lnTo>
                  <a:pt x="322" y="8122"/>
                </a:lnTo>
                <a:lnTo>
                  <a:pt x="318" y="8118"/>
                </a:lnTo>
                <a:lnTo>
                  <a:pt x="317" y="8112"/>
                </a:lnTo>
                <a:lnTo>
                  <a:pt x="319" y="8105"/>
                </a:lnTo>
                <a:lnTo>
                  <a:pt x="325" y="8109"/>
                </a:lnTo>
                <a:lnTo>
                  <a:pt x="330" y="8113"/>
                </a:lnTo>
                <a:lnTo>
                  <a:pt x="331" y="8118"/>
                </a:lnTo>
                <a:lnTo>
                  <a:pt x="328" y="8126"/>
                </a:lnTo>
                <a:close/>
                <a:moveTo>
                  <a:pt x="2855" y="3192"/>
                </a:moveTo>
                <a:lnTo>
                  <a:pt x="2803" y="3196"/>
                </a:lnTo>
                <a:lnTo>
                  <a:pt x="2775" y="3184"/>
                </a:lnTo>
                <a:lnTo>
                  <a:pt x="2782" y="3169"/>
                </a:lnTo>
                <a:lnTo>
                  <a:pt x="2836" y="3164"/>
                </a:lnTo>
                <a:lnTo>
                  <a:pt x="2849" y="3164"/>
                </a:lnTo>
                <a:lnTo>
                  <a:pt x="2858" y="3171"/>
                </a:lnTo>
                <a:lnTo>
                  <a:pt x="2860" y="3182"/>
                </a:lnTo>
                <a:lnTo>
                  <a:pt x="2855" y="3192"/>
                </a:lnTo>
                <a:close/>
                <a:moveTo>
                  <a:pt x="2814" y="4006"/>
                </a:moveTo>
                <a:lnTo>
                  <a:pt x="2807" y="3987"/>
                </a:lnTo>
                <a:lnTo>
                  <a:pt x="2816" y="3980"/>
                </a:lnTo>
                <a:lnTo>
                  <a:pt x="2831" y="3982"/>
                </a:lnTo>
                <a:lnTo>
                  <a:pt x="2842" y="3999"/>
                </a:lnTo>
                <a:lnTo>
                  <a:pt x="2840" y="4003"/>
                </a:lnTo>
                <a:lnTo>
                  <a:pt x="2830" y="4006"/>
                </a:lnTo>
                <a:lnTo>
                  <a:pt x="2821" y="4008"/>
                </a:lnTo>
                <a:lnTo>
                  <a:pt x="2814" y="4006"/>
                </a:lnTo>
                <a:close/>
                <a:moveTo>
                  <a:pt x="2779" y="3352"/>
                </a:moveTo>
                <a:lnTo>
                  <a:pt x="2751" y="3327"/>
                </a:lnTo>
                <a:lnTo>
                  <a:pt x="2730" y="3285"/>
                </a:lnTo>
                <a:lnTo>
                  <a:pt x="2728" y="3254"/>
                </a:lnTo>
                <a:lnTo>
                  <a:pt x="2752" y="3260"/>
                </a:lnTo>
                <a:lnTo>
                  <a:pt x="2777" y="3282"/>
                </a:lnTo>
                <a:lnTo>
                  <a:pt x="2805" y="3309"/>
                </a:lnTo>
                <a:lnTo>
                  <a:pt x="2813" y="3334"/>
                </a:lnTo>
                <a:lnTo>
                  <a:pt x="2779" y="3352"/>
                </a:lnTo>
                <a:close/>
                <a:moveTo>
                  <a:pt x="2716" y="3165"/>
                </a:moveTo>
                <a:lnTo>
                  <a:pt x="2709" y="3173"/>
                </a:lnTo>
                <a:lnTo>
                  <a:pt x="2697" y="3173"/>
                </a:lnTo>
                <a:lnTo>
                  <a:pt x="2688" y="3166"/>
                </a:lnTo>
                <a:lnTo>
                  <a:pt x="2687" y="3156"/>
                </a:lnTo>
                <a:lnTo>
                  <a:pt x="2696" y="3146"/>
                </a:lnTo>
                <a:lnTo>
                  <a:pt x="2707" y="3146"/>
                </a:lnTo>
                <a:lnTo>
                  <a:pt x="2716" y="3152"/>
                </a:lnTo>
                <a:lnTo>
                  <a:pt x="2716" y="3165"/>
                </a:lnTo>
                <a:close/>
                <a:moveTo>
                  <a:pt x="1933" y="2537"/>
                </a:moveTo>
                <a:lnTo>
                  <a:pt x="1925" y="2586"/>
                </a:lnTo>
                <a:lnTo>
                  <a:pt x="1915" y="2630"/>
                </a:lnTo>
                <a:lnTo>
                  <a:pt x="1900" y="2672"/>
                </a:lnTo>
                <a:lnTo>
                  <a:pt x="1874" y="2709"/>
                </a:lnTo>
                <a:lnTo>
                  <a:pt x="1895" y="2749"/>
                </a:lnTo>
                <a:lnTo>
                  <a:pt x="1883" y="2778"/>
                </a:lnTo>
                <a:lnTo>
                  <a:pt x="1855" y="2805"/>
                </a:lnTo>
                <a:lnTo>
                  <a:pt x="1829" y="2833"/>
                </a:lnTo>
                <a:lnTo>
                  <a:pt x="1803" y="2798"/>
                </a:lnTo>
                <a:lnTo>
                  <a:pt x="1799" y="2760"/>
                </a:lnTo>
                <a:lnTo>
                  <a:pt x="1781" y="2731"/>
                </a:lnTo>
                <a:lnTo>
                  <a:pt x="1714" y="2725"/>
                </a:lnTo>
                <a:lnTo>
                  <a:pt x="1703" y="2798"/>
                </a:lnTo>
                <a:lnTo>
                  <a:pt x="1672" y="2880"/>
                </a:lnTo>
                <a:lnTo>
                  <a:pt x="1645" y="2909"/>
                </a:lnTo>
                <a:lnTo>
                  <a:pt x="1645" y="2821"/>
                </a:lnTo>
                <a:lnTo>
                  <a:pt x="1602" y="2845"/>
                </a:lnTo>
                <a:lnTo>
                  <a:pt x="1561" y="2877"/>
                </a:lnTo>
                <a:lnTo>
                  <a:pt x="1520" y="2910"/>
                </a:lnTo>
                <a:lnTo>
                  <a:pt x="1475" y="2932"/>
                </a:lnTo>
                <a:lnTo>
                  <a:pt x="1475" y="3001"/>
                </a:lnTo>
                <a:lnTo>
                  <a:pt x="1490" y="3059"/>
                </a:lnTo>
                <a:lnTo>
                  <a:pt x="1520" y="3080"/>
                </a:lnTo>
                <a:lnTo>
                  <a:pt x="1568" y="3033"/>
                </a:lnTo>
                <a:lnTo>
                  <a:pt x="1611" y="3039"/>
                </a:lnTo>
                <a:lnTo>
                  <a:pt x="1624" y="3019"/>
                </a:lnTo>
                <a:lnTo>
                  <a:pt x="1621" y="2983"/>
                </a:lnTo>
                <a:lnTo>
                  <a:pt x="1620" y="2946"/>
                </a:lnTo>
                <a:lnTo>
                  <a:pt x="1673" y="2946"/>
                </a:lnTo>
                <a:lnTo>
                  <a:pt x="1710" y="2984"/>
                </a:lnTo>
                <a:lnTo>
                  <a:pt x="1711" y="3031"/>
                </a:lnTo>
                <a:lnTo>
                  <a:pt x="1655" y="3064"/>
                </a:lnTo>
                <a:lnTo>
                  <a:pt x="1462" y="3212"/>
                </a:lnTo>
                <a:lnTo>
                  <a:pt x="1370" y="3210"/>
                </a:lnTo>
                <a:lnTo>
                  <a:pt x="1286" y="3156"/>
                </a:lnTo>
                <a:lnTo>
                  <a:pt x="1114" y="3157"/>
                </a:lnTo>
                <a:lnTo>
                  <a:pt x="1087" y="3110"/>
                </a:lnTo>
                <a:lnTo>
                  <a:pt x="1076" y="3082"/>
                </a:lnTo>
                <a:lnTo>
                  <a:pt x="1052" y="3092"/>
                </a:lnTo>
                <a:lnTo>
                  <a:pt x="986" y="3157"/>
                </a:lnTo>
                <a:lnTo>
                  <a:pt x="960" y="3131"/>
                </a:lnTo>
                <a:lnTo>
                  <a:pt x="938" y="3147"/>
                </a:lnTo>
                <a:lnTo>
                  <a:pt x="912" y="3169"/>
                </a:lnTo>
                <a:lnTo>
                  <a:pt x="872" y="3157"/>
                </a:lnTo>
                <a:lnTo>
                  <a:pt x="872" y="3114"/>
                </a:lnTo>
                <a:lnTo>
                  <a:pt x="894" y="3076"/>
                </a:lnTo>
                <a:lnTo>
                  <a:pt x="893" y="3062"/>
                </a:lnTo>
                <a:lnTo>
                  <a:pt x="823" y="3092"/>
                </a:lnTo>
                <a:lnTo>
                  <a:pt x="823" y="3091"/>
                </a:lnTo>
                <a:lnTo>
                  <a:pt x="821" y="3091"/>
                </a:lnTo>
                <a:lnTo>
                  <a:pt x="821" y="3092"/>
                </a:lnTo>
                <a:lnTo>
                  <a:pt x="823" y="3092"/>
                </a:lnTo>
                <a:lnTo>
                  <a:pt x="797" y="3119"/>
                </a:lnTo>
                <a:lnTo>
                  <a:pt x="759" y="3122"/>
                </a:lnTo>
                <a:lnTo>
                  <a:pt x="733" y="3123"/>
                </a:lnTo>
                <a:lnTo>
                  <a:pt x="745" y="3147"/>
                </a:lnTo>
                <a:lnTo>
                  <a:pt x="766" y="3189"/>
                </a:lnTo>
                <a:lnTo>
                  <a:pt x="793" y="3231"/>
                </a:lnTo>
                <a:lnTo>
                  <a:pt x="815" y="3273"/>
                </a:lnTo>
                <a:lnTo>
                  <a:pt x="823" y="3320"/>
                </a:lnTo>
                <a:lnTo>
                  <a:pt x="779" y="3366"/>
                </a:lnTo>
                <a:lnTo>
                  <a:pt x="754" y="3434"/>
                </a:lnTo>
                <a:lnTo>
                  <a:pt x="758" y="3479"/>
                </a:lnTo>
                <a:lnTo>
                  <a:pt x="801" y="3460"/>
                </a:lnTo>
                <a:lnTo>
                  <a:pt x="825" y="3479"/>
                </a:lnTo>
                <a:lnTo>
                  <a:pt x="796" y="3500"/>
                </a:lnTo>
                <a:lnTo>
                  <a:pt x="760" y="3521"/>
                </a:lnTo>
                <a:lnTo>
                  <a:pt x="768" y="3548"/>
                </a:lnTo>
                <a:lnTo>
                  <a:pt x="755" y="3553"/>
                </a:lnTo>
                <a:lnTo>
                  <a:pt x="718" y="3520"/>
                </a:lnTo>
                <a:lnTo>
                  <a:pt x="675" y="3473"/>
                </a:lnTo>
                <a:lnTo>
                  <a:pt x="643" y="3437"/>
                </a:lnTo>
                <a:lnTo>
                  <a:pt x="615" y="3412"/>
                </a:lnTo>
                <a:lnTo>
                  <a:pt x="561" y="3375"/>
                </a:lnTo>
                <a:lnTo>
                  <a:pt x="537" y="3341"/>
                </a:lnTo>
                <a:lnTo>
                  <a:pt x="595" y="3316"/>
                </a:lnTo>
                <a:lnTo>
                  <a:pt x="646" y="3324"/>
                </a:lnTo>
                <a:lnTo>
                  <a:pt x="709" y="3314"/>
                </a:lnTo>
                <a:lnTo>
                  <a:pt x="752" y="3287"/>
                </a:lnTo>
                <a:lnTo>
                  <a:pt x="741" y="3245"/>
                </a:lnTo>
                <a:lnTo>
                  <a:pt x="712" y="3260"/>
                </a:lnTo>
                <a:lnTo>
                  <a:pt x="667" y="3278"/>
                </a:lnTo>
                <a:lnTo>
                  <a:pt x="637" y="3276"/>
                </a:lnTo>
                <a:lnTo>
                  <a:pt x="649" y="3231"/>
                </a:lnTo>
                <a:lnTo>
                  <a:pt x="693" y="3178"/>
                </a:lnTo>
                <a:lnTo>
                  <a:pt x="694" y="3147"/>
                </a:lnTo>
                <a:lnTo>
                  <a:pt x="694" y="3106"/>
                </a:lnTo>
                <a:lnTo>
                  <a:pt x="731" y="3026"/>
                </a:lnTo>
                <a:lnTo>
                  <a:pt x="756" y="2969"/>
                </a:lnTo>
                <a:lnTo>
                  <a:pt x="755" y="2941"/>
                </a:lnTo>
                <a:lnTo>
                  <a:pt x="770" y="2915"/>
                </a:lnTo>
                <a:lnTo>
                  <a:pt x="848" y="2871"/>
                </a:lnTo>
                <a:lnTo>
                  <a:pt x="868" y="2807"/>
                </a:lnTo>
                <a:lnTo>
                  <a:pt x="898" y="2737"/>
                </a:lnTo>
                <a:lnTo>
                  <a:pt x="931" y="2663"/>
                </a:lnTo>
                <a:lnTo>
                  <a:pt x="958" y="2588"/>
                </a:lnTo>
                <a:lnTo>
                  <a:pt x="979" y="2563"/>
                </a:lnTo>
                <a:lnTo>
                  <a:pt x="1012" y="2562"/>
                </a:lnTo>
                <a:lnTo>
                  <a:pt x="1042" y="2562"/>
                </a:lnTo>
                <a:lnTo>
                  <a:pt x="1053" y="2534"/>
                </a:lnTo>
                <a:lnTo>
                  <a:pt x="1085" y="2540"/>
                </a:lnTo>
                <a:lnTo>
                  <a:pt x="1105" y="2529"/>
                </a:lnTo>
                <a:lnTo>
                  <a:pt x="1122" y="2503"/>
                </a:lnTo>
                <a:lnTo>
                  <a:pt x="1141" y="2466"/>
                </a:lnTo>
                <a:lnTo>
                  <a:pt x="1189" y="2429"/>
                </a:lnTo>
                <a:lnTo>
                  <a:pt x="1203" y="2377"/>
                </a:lnTo>
                <a:lnTo>
                  <a:pt x="1193" y="2355"/>
                </a:lnTo>
                <a:lnTo>
                  <a:pt x="1171" y="2405"/>
                </a:lnTo>
                <a:lnTo>
                  <a:pt x="1138" y="2400"/>
                </a:lnTo>
                <a:lnTo>
                  <a:pt x="1119" y="2346"/>
                </a:lnTo>
                <a:lnTo>
                  <a:pt x="1127" y="2288"/>
                </a:lnTo>
                <a:lnTo>
                  <a:pt x="1170" y="2266"/>
                </a:lnTo>
                <a:lnTo>
                  <a:pt x="1231" y="2282"/>
                </a:lnTo>
                <a:lnTo>
                  <a:pt x="1275" y="2247"/>
                </a:lnTo>
                <a:lnTo>
                  <a:pt x="1304" y="2185"/>
                </a:lnTo>
                <a:lnTo>
                  <a:pt x="1323" y="2117"/>
                </a:lnTo>
                <a:lnTo>
                  <a:pt x="1385" y="2009"/>
                </a:lnTo>
                <a:lnTo>
                  <a:pt x="1425" y="2012"/>
                </a:lnTo>
                <a:lnTo>
                  <a:pt x="1461" y="2061"/>
                </a:lnTo>
                <a:lnTo>
                  <a:pt x="1506" y="2093"/>
                </a:lnTo>
                <a:lnTo>
                  <a:pt x="1545" y="2114"/>
                </a:lnTo>
                <a:lnTo>
                  <a:pt x="1560" y="2103"/>
                </a:lnTo>
                <a:lnTo>
                  <a:pt x="1574" y="2083"/>
                </a:lnTo>
                <a:lnTo>
                  <a:pt x="1606" y="2073"/>
                </a:lnTo>
                <a:lnTo>
                  <a:pt x="1648" y="2101"/>
                </a:lnTo>
                <a:lnTo>
                  <a:pt x="1646" y="2150"/>
                </a:lnTo>
                <a:lnTo>
                  <a:pt x="1634" y="2206"/>
                </a:lnTo>
                <a:lnTo>
                  <a:pt x="1640" y="2256"/>
                </a:lnTo>
                <a:lnTo>
                  <a:pt x="1739" y="2213"/>
                </a:lnTo>
                <a:lnTo>
                  <a:pt x="1820" y="2265"/>
                </a:lnTo>
                <a:lnTo>
                  <a:pt x="1840" y="2344"/>
                </a:lnTo>
                <a:lnTo>
                  <a:pt x="1760" y="2380"/>
                </a:lnTo>
                <a:lnTo>
                  <a:pt x="1799" y="2446"/>
                </a:lnTo>
                <a:lnTo>
                  <a:pt x="1866" y="2469"/>
                </a:lnTo>
                <a:lnTo>
                  <a:pt x="1922" y="2487"/>
                </a:lnTo>
                <a:lnTo>
                  <a:pt x="1933" y="2537"/>
                </a:lnTo>
                <a:close/>
                <a:moveTo>
                  <a:pt x="1748" y="2914"/>
                </a:moveTo>
                <a:lnTo>
                  <a:pt x="1723" y="2900"/>
                </a:lnTo>
                <a:lnTo>
                  <a:pt x="1706" y="2873"/>
                </a:lnTo>
                <a:lnTo>
                  <a:pt x="1709" y="2852"/>
                </a:lnTo>
                <a:lnTo>
                  <a:pt x="1737" y="2851"/>
                </a:lnTo>
                <a:lnTo>
                  <a:pt x="1747" y="2866"/>
                </a:lnTo>
                <a:lnTo>
                  <a:pt x="1757" y="2890"/>
                </a:lnTo>
                <a:lnTo>
                  <a:pt x="1759" y="2909"/>
                </a:lnTo>
                <a:lnTo>
                  <a:pt x="1748" y="2914"/>
                </a:lnTo>
                <a:close/>
                <a:moveTo>
                  <a:pt x="789" y="3645"/>
                </a:moveTo>
                <a:lnTo>
                  <a:pt x="786" y="3647"/>
                </a:lnTo>
                <a:lnTo>
                  <a:pt x="784" y="3646"/>
                </a:lnTo>
                <a:lnTo>
                  <a:pt x="782" y="3644"/>
                </a:lnTo>
                <a:lnTo>
                  <a:pt x="782" y="3640"/>
                </a:lnTo>
                <a:lnTo>
                  <a:pt x="786" y="3640"/>
                </a:lnTo>
                <a:lnTo>
                  <a:pt x="788" y="3640"/>
                </a:lnTo>
                <a:lnTo>
                  <a:pt x="789" y="3642"/>
                </a:lnTo>
                <a:lnTo>
                  <a:pt x="789" y="3645"/>
                </a:lnTo>
                <a:close/>
                <a:moveTo>
                  <a:pt x="778" y="3949"/>
                </a:moveTo>
                <a:lnTo>
                  <a:pt x="746" y="3962"/>
                </a:lnTo>
                <a:lnTo>
                  <a:pt x="719" y="3985"/>
                </a:lnTo>
                <a:lnTo>
                  <a:pt x="694" y="3992"/>
                </a:lnTo>
                <a:lnTo>
                  <a:pt x="665" y="3963"/>
                </a:lnTo>
                <a:lnTo>
                  <a:pt x="695" y="3947"/>
                </a:lnTo>
                <a:lnTo>
                  <a:pt x="741" y="3925"/>
                </a:lnTo>
                <a:lnTo>
                  <a:pt x="777" y="3920"/>
                </a:lnTo>
                <a:lnTo>
                  <a:pt x="778" y="3949"/>
                </a:lnTo>
                <a:close/>
                <a:moveTo>
                  <a:pt x="654" y="3688"/>
                </a:moveTo>
                <a:lnTo>
                  <a:pt x="635" y="3632"/>
                </a:lnTo>
                <a:lnTo>
                  <a:pt x="581" y="3621"/>
                </a:lnTo>
                <a:lnTo>
                  <a:pt x="539" y="3607"/>
                </a:lnTo>
                <a:lnTo>
                  <a:pt x="555" y="3546"/>
                </a:lnTo>
                <a:lnTo>
                  <a:pt x="539" y="3529"/>
                </a:lnTo>
                <a:lnTo>
                  <a:pt x="505" y="3521"/>
                </a:lnTo>
                <a:lnTo>
                  <a:pt x="474" y="3509"/>
                </a:lnTo>
                <a:lnTo>
                  <a:pt x="463" y="3477"/>
                </a:lnTo>
                <a:lnTo>
                  <a:pt x="481" y="3470"/>
                </a:lnTo>
                <a:lnTo>
                  <a:pt x="500" y="3479"/>
                </a:lnTo>
                <a:lnTo>
                  <a:pt x="516" y="3483"/>
                </a:lnTo>
                <a:lnTo>
                  <a:pt x="527" y="3463"/>
                </a:lnTo>
                <a:lnTo>
                  <a:pt x="559" y="3458"/>
                </a:lnTo>
                <a:lnTo>
                  <a:pt x="586" y="3478"/>
                </a:lnTo>
                <a:lnTo>
                  <a:pt x="616" y="3498"/>
                </a:lnTo>
                <a:lnTo>
                  <a:pt x="660" y="3497"/>
                </a:lnTo>
                <a:lnTo>
                  <a:pt x="695" y="3519"/>
                </a:lnTo>
                <a:lnTo>
                  <a:pt x="710" y="3544"/>
                </a:lnTo>
                <a:lnTo>
                  <a:pt x="717" y="3579"/>
                </a:lnTo>
                <a:lnTo>
                  <a:pt x="728" y="3622"/>
                </a:lnTo>
                <a:lnTo>
                  <a:pt x="766" y="3674"/>
                </a:lnTo>
                <a:lnTo>
                  <a:pt x="727" y="3716"/>
                </a:lnTo>
                <a:lnTo>
                  <a:pt x="671" y="3728"/>
                </a:lnTo>
                <a:lnTo>
                  <a:pt x="654" y="3688"/>
                </a:lnTo>
                <a:close/>
                <a:moveTo>
                  <a:pt x="621" y="3874"/>
                </a:moveTo>
                <a:lnTo>
                  <a:pt x="589" y="3878"/>
                </a:lnTo>
                <a:lnTo>
                  <a:pt x="586" y="3887"/>
                </a:lnTo>
                <a:lnTo>
                  <a:pt x="600" y="3901"/>
                </a:lnTo>
                <a:lnTo>
                  <a:pt x="620" y="3920"/>
                </a:lnTo>
                <a:lnTo>
                  <a:pt x="609" y="3941"/>
                </a:lnTo>
                <a:lnTo>
                  <a:pt x="592" y="3964"/>
                </a:lnTo>
                <a:lnTo>
                  <a:pt x="572" y="3976"/>
                </a:lnTo>
                <a:lnTo>
                  <a:pt x="553" y="3966"/>
                </a:lnTo>
                <a:lnTo>
                  <a:pt x="527" y="3913"/>
                </a:lnTo>
                <a:lnTo>
                  <a:pt x="499" y="3891"/>
                </a:lnTo>
                <a:lnTo>
                  <a:pt x="488" y="3864"/>
                </a:lnTo>
                <a:lnTo>
                  <a:pt x="511" y="3800"/>
                </a:lnTo>
                <a:lnTo>
                  <a:pt x="527" y="3756"/>
                </a:lnTo>
                <a:lnTo>
                  <a:pt x="551" y="3714"/>
                </a:lnTo>
                <a:lnTo>
                  <a:pt x="584" y="3682"/>
                </a:lnTo>
                <a:lnTo>
                  <a:pt x="630" y="3669"/>
                </a:lnTo>
                <a:lnTo>
                  <a:pt x="612" y="3724"/>
                </a:lnTo>
                <a:lnTo>
                  <a:pt x="614" y="3777"/>
                </a:lnTo>
                <a:lnTo>
                  <a:pt x="621" y="3827"/>
                </a:lnTo>
                <a:lnTo>
                  <a:pt x="621" y="3874"/>
                </a:lnTo>
                <a:close/>
                <a:moveTo>
                  <a:pt x="457" y="3804"/>
                </a:moveTo>
                <a:lnTo>
                  <a:pt x="440" y="3855"/>
                </a:lnTo>
                <a:lnTo>
                  <a:pt x="392" y="3883"/>
                </a:lnTo>
                <a:lnTo>
                  <a:pt x="336" y="3884"/>
                </a:lnTo>
                <a:lnTo>
                  <a:pt x="297" y="3856"/>
                </a:lnTo>
                <a:lnTo>
                  <a:pt x="319" y="3836"/>
                </a:lnTo>
                <a:lnTo>
                  <a:pt x="346" y="3835"/>
                </a:lnTo>
                <a:lnTo>
                  <a:pt x="370" y="3842"/>
                </a:lnTo>
                <a:lnTo>
                  <a:pt x="393" y="3849"/>
                </a:lnTo>
                <a:lnTo>
                  <a:pt x="416" y="3827"/>
                </a:lnTo>
                <a:lnTo>
                  <a:pt x="435" y="3810"/>
                </a:lnTo>
                <a:lnTo>
                  <a:pt x="449" y="3794"/>
                </a:lnTo>
                <a:lnTo>
                  <a:pt x="457" y="3773"/>
                </a:lnTo>
                <a:lnTo>
                  <a:pt x="477" y="3761"/>
                </a:lnTo>
                <a:lnTo>
                  <a:pt x="486" y="3776"/>
                </a:lnTo>
                <a:lnTo>
                  <a:pt x="481" y="3798"/>
                </a:lnTo>
                <a:lnTo>
                  <a:pt x="457" y="3804"/>
                </a:lnTo>
                <a:close/>
                <a:moveTo>
                  <a:pt x="419" y="3756"/>
                </a:moveTo>
                <a:lnTo>
                  <a:pt x="411" y="3756"/>
                </a:lnTo>
                <a:lnTo>
                  <a:pt x="406" y="3754"/>
                </a:lnTo>
                <a:lnTo>
                  <a:pt x="401" y="3751"/>
                </a:lnTo>
                <a:lnTo>
                  <a:pt x="398" y="3743"/>
                </a:lnTo>
                <a:lnTo>
                  <a:pt x="405" y="3743"/>
                </a:lnTo>
                <a:lnTo>
                  <a:pt x="411" y="3744"/>
                </a:lnTo>
                <a:lnTo>
                  <a:pt x="416" y="3749"/>
                </a:lnTo>
                <a:lnTo>
                  <a:pt x="419" y="3756"/>
                </a:lnTo>
                <a:close/>
                <a:moveTo>
                  <a:pt x="316" y="3579"/>
                </a:moveTo>
                <a:lnTo>
                  <a:pt x="369" y="3563"/>
                </a:lnTo>
                <a:lnTo>
                  <a:pt x="420" y="3567"/>
                </a:lnTo>
                <a:lnTo>
                  <a:pt x="462" y="3590"/>
                </a:lnTo>
                <a:lnTo>
                  <a:pt x="485" y="3633"/>
                </a:lnTo>
                <a:lnTo>
                  <a:pt x="449" y="3669"/>
                </a:lnTo>
                <a:lnTo>
                  <a:pt x="392" y="3658"/>
                </a:lnTo>
                <a:lnTo>
                  <a:pt x="339" y="3619"/>
                </a:lnTo>
                <a:lnTo>
                  <a:pt x="316" y="3579"/>
                </a:lnTo>
                <a:close/>
                <a:moveTo>
                  <a:pt x="593" y="3283"/>
                </a:moveTo>
                <a:lnTo>
                  <a:pt x="595" y="3288"/>
                </a:lnTo>
                <a:lnTo>
                  <a:pt x="592" y="3291"/>
                </a:lnTo>
                <a:lnTo>
                  <a:pt x="588" y="3290"/>
                </a:lnTo>
                <a:lnTo>
                  <a:pt x="587" y="3285"/>
                </a:lnTo>
                <a:lnTo>
                  <a:pt x="591" y="3283"/>
                </a:lnTo>
                <a:lnTo>
                  <a:pt x="593" y="3283"/>
                </a:lnTo>
                <a:close/>
                <a:moveTo>
                  <a:pt x="1210" y="2021"/>
                </a:moveTo>
                <a:lnTo>
                  <a:pt x="1227" y="2016"/>
                </a:lnTo>
                <a:lnTo>
                  <a:pt x="1250" y="2014"/>
                </a:lnTo>
                <a:lnTo>
                  <a:pt x="1268" y="2021"/>
                </a:lnTo>
                <a:lnTo>
                  <a:pt x="1272" y="2037"/>
                </a:lnTo>
                <a:lnTo>
                  <a:pt x="1257" y="2046"/>
                </a:lnTo>
                <a:lnTo>
                  <a:pt x="1231" y="2044"/>
                </a:lnTo>
                <a:lnTo>
                  <a:pt x="1211" y="2035"/>
                </a:lnTo>
                <a:lnTo>
                  <a:pt x="1210" y="2021"/>
                </a:lnTo>
                <a:close/>
                <a:moveTo>
                  <a:pt x="237" y="3948"/>
                </a:moveTo>
                <a:lnTo>
                  <a:pt x="228" y="3949"/>
                </a:lnTo>
                <a:lnTo>
                  <a:pt x="218" y="3945"/>
                </a:lnTo>
                <a:lnTo>
                  <a:pt x="209" y="3940"/>
                </a:lnTo>
                <a:lnTo>
                  <a:pt x="202" y="3933"/>
                </a:lnTo>
                <a:lnTo>
                  <a:pt x="213" y="3920"/>
                </a:lnTo>
                <a:lnTo>
                  <a:pt x="232" y="3921"/>
                </a:lnTo>
                <a:lnTo>
                  <a:pt x="246" y="3931"/>
                </a:lnTo>
                <a:lnTo>
                  <a:pt x="237" y="3948"/>
                </a:lnTo>
                <a:close/>
                <a:moveTo>
                  <a:pt x="234" y="4034"/>
                </a:moveTo>
                <a:lnTo>
                  <a:pt x="199" y="4053"/>
                </a:lnTo>
                <a:lnTo>
                  <a:pt x="162" y="4015"/>
                </a:lnTo>
                <a:lnTo>
                  <a:pt x="146" y="3963"/>
                </a:lnTo>
                <a:lnTo>
                  <a:pt x="173" y="3944"/>
                </a:lnTo>
                <a:lnTo>
                  <a:pt x="182" y="3975"/>
                </a:lnTo>
                <a:lnTo>
                  <a:pt x="200" y="3999"/>
                </a:lnTo>
                <a:lnTo>
                  <a:pt x="220" y="4017"/>
                </a:lnTo>
                <a:lnTo>
                  <a:pt x="234" y="4034"/>
                </a:lnTo>
                <a:close/>
                <a:moveTo>
                  <a:pt x="237" y="3823"/>
                </a:moveTo>
                <a:lnTo>
                  <a:pt x="239" y="3829"/>
                </a:lnTo>
                <a:lnTo>
                  <a:pt x="238" y="3833"/>
                </a:lnTo>
                <a:lnTo>
                  <a:pt x="233" y="3835"/>
                </a:lnTo>
                <a:lnTo>
                  <a:pt x="225" y="3832"/>
                </a:lnTo>
                <a:lnTo>
                  <a:pt x="223" y="3826"/>
                </a:lnTo>
                <a:lnTo>
                  <a:pt x="224" y="3822"/>
                </a:lnTo>
                <a:lnTo>
                  <a:pt x="229" y="3821"/>
                </a:lnTo>
                <a:lnTo>
                  <a:pt x="237" y="3823"/>
                </a:lnTo>
                <a:close/>
                <a:moveTo>
                  <a:pt x="3424" y="3295"/>
                </a:moveTo>
                <a:lnTo>
                  <a:pt x="3436" y="3294"/>
                </a:lnTo>
                <a:lnTo>
                  <a:pt x="3448" y="3306"/>
                </a:lnTo>
                <a:lnTo>
                  <a:pt x="3456" y="3324"/>
                </a:lnTo>
                <a:lnTo>
                  <a:pt x="3455" y="3339"/>
                </a:lnTo>
                <a:lnTo>
                  <a:pt x="3443" y="3337"/>
                </a:lnTo>
                <a:lnTo>
                  <a:pt x="3433" y="3324"/>
                </a:lnTo>
                <a:lnTo>
                  <a:pt x="3426" y="3308"/>
                </a:lnTo>
                <a:lnTo>
                  <a:pt x="3424" y="3295"/>
                </a:lnTo>
                <a:close/>
                <a:moveTo>
                  <a:pt x="3465" y="4062"/>
                </a:moveTo>
                <a:lnTo>
                  <a:pt x="3459" y="4065"/>
                </a:lnTo>
                <a:lnTo>
                  <a:pt x="3454" y="4064"/>
                </a:lnTo>
                <a:lnTo>
                  <a:pt x="3448" y="4060"/>
                </a:lnTo>
                <a:lnTo>
                  <a:pt x="3445" y="4055"/>
                </a:lnTo>
                <a:lnTo>
                  <a:pt x="3451" y="4052"/>
                </a:lnTo>
                <a:lnTo>
                  <a:pt x="3456" y="4053"/>
                </a:lnTo>
                <a:lnTo>
                  <a:pt x="3461" y="4056"/>
                </a:lnTo>
                <a:lnTo>
                  <a:pt x="3465" y="4062"/>
                </a:lnTo>
                <a:close/>
                <a:moveTo>
                  <a:pt x="3480" y="4111"/>
                </a:moveTo>
                <a:lnTo>
                  <a:pt x="3470" y="4117"/>
                </a:lnTo>
                <a:lnTo>
                  <a:pt x="3456" y="4116"/>
                </a:lnTo>
                <a:lnTo>
                  <a:pt x="3445" y="4109"/>
                </a:lnTo>
                <a:lnTo>
                  <a:pt x="3445" y="4094"/>
                </a:lnTo>
                <a:lnTo>
                  <a:pt x="3454" y="4088"/>
                </a:lnTo>
                <a:lnTo>
                  <a:pt x="3464" y="4092"/>
                </a:lnTo>
                <a:lnTo>
                  <a:pt x="3474" y="4102"/>
                </a:lnTo>
                <a:lnTo>
                  <a:pt x="3480" y="4111"/>
                </a:lnTo>
                <a:close/>
                <a:moveTo>
                  <a:pt x="3508" y="4162"/>
                </a:moveTo>
                <a:lnTo>
                  <a:pt x="3502" y="4190"/>
                </a:lnTo>
                <a:lnTo>
                  <a:pt x="3505" y="4221"/>
                </a:lnTo>
                <a:lnTo>
                  <a:pt x="3505" y="4251"/>
                </a:lnTo>
                <a:lnTo>
                  <a:pt x="3485" y="4272"/>
                </a:lnTo>
                <a:lnTo>
                  <a:pt x="3464" y="4251"/>
                </a:lnTo>
                <a:lnTo>
                  <a:pt x="3460" y="4209"/>
                </a:lnTo>
                <a:lnTo>
                  <a:pt x="3475" y="4172"/>
                </a:lnTo>
                <a:lnTo>
                  <a:pt x="3508" y="4162"/>
                </a:lnTo>
                <a:close/>
                <a:moveTo>
                  <a:pt x="3503" y="4116"/>
                </a:moveTo>
                <a:lnTo>
                  <a:pt x="3512" y="4107"/>
                </a:lnTo>
                <a:lnTo>
                  <a:pt x="3524" y="4108"/>
                </a:lnTo>
                <a:lnTo>
                  <a:pt x="3533" y="4116"/>
                </a:lnTo>
                <a:lnTo>
                  <a:pt x="3531" y="4127"/>
                </a:lnTo>
                <a:lnTo>
                  <a:pt x="3524" y="4137"/>
                </a:lnTo>
                <a:lnTo>
                  <a:pt x="3512" y="4136"/>
                </a:lnTo>
                <a:lnTo>
                  <a:pt x="3503" y="4127"/>
                </a:lnTo>
                <a:lnTo>
                  <a:pt x="3503" y="4116"/>
                </a:lnTo>
                <a:close/>
                <a:moveTo>
                  <a:pt x="3510" y="3350"/>
                </a:moveTo>
                <a:lnTo>
                  <a:pt x="3557" y="3325"/>
                </a:lnTo>
                <a:lnTo>
                  <a:pt x="3603" y="3355"/>
                </a:lnTo>
                <a:lnTo>
                  <a:pt x="3622" y="3406"/>
                </a:lnTo>
                <a:lnTo>
                  <a:pt x="3589" y="3439"/>
                </a:lnTo>
                <a:lnTo>
                  <a:pt x="3567" y="3414"/>
                </a:lnTo>
                <a:lnTo>
                  <a:pt x="3535" y="3398"/>
                </a:lnTo>
                <a:lnTo>
                  <a:pt x="3510" y="3380"/>
                </a:lnTo>
                <a:lnTo>
                  <a:pt x="3510" y="3350"/>
                </a:lnTo>
                <a:close/>
                <a:moveTo>
                  <a:pt x="3571" y="3678"/>
                </a:moveTo>
                <a:lnTo>
                  <a:pt x="3577" y="3675"/>
                </a:lnTo>
                <a:lnTo>
                  <a:pt x="3582" y="3675"/>
                </a:lnTo>
                <a:lnTo>
                  <a:pt x="3587" y="3679"/>
                </a:lnTo>
                <a:lnTo>
                  <a:pt x="3591" y="3686"/>
                </a:lnTo>
                <a:lnTo>
                  <a:pt x="3585" y="3688"/>
                </a:lnTo>
                <a:lnTo>
                  <a:pt x="3580" y="3687"/>
                </a:lnTo>
                <a:lnTo>
                  <a:pt x="3575" y="3684"/>
                </a:lnTo>
                <a:lnTo>
                  <a:pt x="3571" y="3678"/>
                </a:lnTo>
                <a:close/>
                <a:moveTo>
                  <a:pt x="3682" y="3711"/>
                </a:moveTo>
                <a:lnTo>
                  <a:pt x="3706" y="3683"/>
                </a:lnTo>
                <a:lnTo>
                  <a:pt x="3745" y="3665"/>
                </a:lnTo>
                <a:lnTo>
                  <a:pt x="3769" y="3653"/>
                </a:lnTo>
                <a:lnTo>
                  <a:pt x="3744" y="3635"/>
                </a:lnTo>
                <a:lnTo>
                  <a:pt x="3717" y="3567"/>
                </a:lnTo>
                <a:lnTo>
                  <a:pt x="3744" y="3474"/>
                </a:lnTo>
                <a:lnTo>
                  <a:pt x="3790" y="3432"/>
                </a:lnTo>
                <a:lnTo>
                  <a:pt x="3823" y="3518"/>
                </a:lnTo>
                <a:lnTo>
                  <a:pt x="3879" y="3509"/>
                </a:lnTo>
                <a:lnTo>
                  <a:pt x="3932" y="3515"/>
                </a:lnTo>
                <a:lnTo>
                  <a:pt x="3945" y="3532"/>
                </a:lnTo>
                <a:lnTo>
                  <a:pt x="3876" y="3557"/>
                </a:lnTo>
                <a:lnTo>
                  <a:pt x="3818" y="3582"/>
                </a:lnTo>
                <a:lnTo>
                  <a:pt x="3791" y="3630"/>
                </a:lnTo>
                <a:lnTo>
                  <a:pt x="3769" y="3681"/>
                </a:lnTo>
                <a:lnTo>
                  <a:pt x="3721" y="3721"/>
                </a:lnTo>
                <a:lnTo>
                  <a:pt x="3692" y="3780"/>
                </a:lnTo>
                <a:lnTo>
                  <a:pt x="3679" y="3857"/>
                </a:lnTo>
                <a:lnTo>
                  <a:pt x="3657" y="3925"/>
                </a:lnTo>
                <a:lnTo>
                  <a:pt x="3601" y="3954"/>
                </a:lnTo>
                <a:lnTo>
                  <a:pt x="3561" y="3784"/>
                </a:lnTo>
                <a:lnTo>
                  <a:pt x="3561" y="3761"/>
                </a:lnTo>
                <a:lnTo>
                  <a:pt x="3601" y="3775"/>
                </a:lnTo>
                <a:lnTo>
                  <a:pt x="3682" y="3711"/>
                </a:lnTo>
                <a:close/>
                <a:moveTo>
                  <a:pt x="3648" y="3669"/>
                </a:moveTo>
                <a:lnTo>
                  <a:pt x="3655" y="3665"/>
                </a:lnTo>
                <a:lnTo>
                  <a:pt x="3659" y="3665"/>
                </a:lnTo>
                <a:lnTo>
                  <a:pt x="3661" y="3668"/>
                </a:lnTo>
                <a:lnTo>
                  <a:pt x="3659" y="3675"/>
                </a:lnTo>
                <a:lnTo>
                  <a:pt x="3654" y="3681"/>
                </a:lnTo>
                <a:lnTo>
                  <a:pt x="3650" y="3681"/>
                </a:lnTo>
                <a:lnTo>
                  <a:pt x="3647" y="3677"/>
                </a:lnTo>
                <a:lnTo>
                  <a:pt x="3648" y="3669"/>
                </a:lnTo>
                <a:close/>
                <a:moveTo>
                  <a:pt x="3796" y="3990"/>
                </a:moveTo>
                <a:lnTo>
                  <a:pt x="3795" y="4003"/>
                </a:lnTo>
                <a:lnTo>
                  <a:pt x="3790" y="4014"/>
                </a:lnTo>
                <a:lnTo>
                  <a:pt x="3780" y="4020"/>
                </a:lnTo>
                <a:lnTo>
                  <a:pt x="3768" y="4022"/>
                </a:lnTo>
                <a:lnTo>
                  <a:pt x="3757" y="4006"/>
                </a:lnTo>
                <a:lnTo>
                  <a:pt x="3764" y="3987"/>
                </a:lnTo>
                <a:lnTo>
                  <a:pt x="3781" y="3978"/>
                </a:lnTo>
                <a:lnTo>
                  <a:pt x="3796" y="3990"/>
                </a:lnTo>
                <a:close/>
                <a:moveTo>
                  <a:pt x="3590" y="4071"/>
                </a:moveTo>
                <a:lnTo>
                  <a:pt x="3597" y="4071"/>
                </a:lnTo>
                <a:lnTo>
                  <a:pt x="3603" y="4074"/>
                </a:lnTo>
                <a:lnTo>
                  <a:pt x="3606" y="4078"/>
                </a:lnTo>
                <a:lnTo>
                  <a:pt x="3608" y="4085"/>
                </a:lnTo>
                <a:lnTo>
                  <a:pt x="3600" y="4084"/>
                </a:lnTo>
                <a:lnTo>
                  <a:pt x="3595" y="4083"/>
                </a:lnTo>
                <a:lnTo>
                  <a:pt x="3591" y="4079"/>
                </a:lnTo>
                <a:lnTo>
                  <a:pt x="3590" y="4071"/>
                </a:lnTo>
                <a:close/>
                <a:moveTo>
                  <a:pt x="3643" y="4249"/>
                </a:moveTo>
                <a:lnTo>
                  <a:pt x="3652" y="4257"/>
                </a:lnTo>
                <a:lnTo>
                  <a:pt x="3619" y="4262"/>
                </a:lnTo>
                <a:lnTo>
                  <a:pt x="3572" y="4257"/>
                </a:lnTo>
                <a:lnTo>
                  <a:pt x="3545" y="4234"/>
                </a:lnTo>
                <a:lnTo>
                  <a:pt x="3568" y="4210"/>
                </a:lnTo>
                <a:lnTo>
                  <a:pt x="3596" y="4228"/>
                </a:lnTo>
                <a:lnTo>
                  <a:pt x="3624" y="4253"/>
                </a:lnTo>
                <a:lnTo>
                  <a:pt x="3643" y="4249"/>
                </a:lnTo>
                <a:close/>
                <a:moveTo>
                  <a:pt x="6085" y="2495"/>
                </a:moveTo>
                <a:lnTo>
                  <a:pt x="6095" y="2409"/>
                </a:lnTo>
                <a:lnTo>
                  <a:pt x="6069" y="2400"/>
                </a:lnTo>
                <a:lnTo>
                  <a:pt x="6035" y="2395"/>
                </a:lnTo>
                <a:lnTo>
                  <a:pt x="6021" y="2318"/>
                </a:lnTo>
                <a:lnTo>
                  <a:pt x="6097" y="2357"/>
                </a:lnTo>
                <a:lnTo>
                  <a:pt x="6158" y="2451"/>
                </a:lnTo>
                <a:lnTo>
                  <a:pt x="6166" y="2522"/>
                </a:lnTo>
                <a:lnTo>
                  <a:pt x="6085" y="2495"/>
                </a:lnTo>
                <a:close/>
                <a:moveTo>
                  <a:pt x="6198" y="2394"/>
                </a:moveTo>
                <a:lnTo>
                  <a:pt x="6203" y="2397"/>
                </a:lnTo>
                <a:lnTo>
                  <a:pt x="6202" y="2400"/>
                </a:lnTo>
                <a:lnTo>
                  <a:pt x="6198" y="2401"/>
                </a:lnTo>
                <a:lnTo>
                  <a:pt x="6193" y="2397"/>
                </a:lnTo>
                <a:lnTo>
                  <a:pt x="6195" y="2395"/>
                </a:lnTo>
                <a:lnTo>
                  <a:pt x="6198" y="2394"/>
                </a:lnTo>
                <a:close/>
                <a:moveTo>
                  <a:pt x="8974" y="2392"/>
                </a:moveTo>
                <a:lnTo>
                  <a:pt x="9007" y="2386"/>
                </a:lnTo>
                <a:lnTo>
                  <a:pt x="9017" y="2411"/>
                </a:lnTo>
                <a:lnTo>
                  <a:pt x="9006" y="2436"/>
                </a:lnTo>
                <a:lnTo>
                  <a:pt x="8975" y="2429"/>
                </a:lnTo>
                <a:lnTo>
                  <a:pt x="8968" y="2419"/>
                </a:lnTo>
                <a:lnTo>
                  <a:pt x="8965" y="2409"/>
                </a:lnTo>
                <a:lnTo>
                  <a:pt x="8968" y="2401"/>
                </a:lnTo>
                <a:lnTo>
                  <a:pt x="8974" y="2392"/>
                </a:lnTo>
                <a:close/>
                <a:moveTo>
                  <a:pt x="9085" y="2513"/>
                </a:moveTo>
                <a:lnTo>
                  <a:pt x="9095" y="2520"/>
                </a:lnTo>
                <a:lnTo>
                  <a:pt x="9096" y="2531"/>
                </a:lnTo>
                <a:lnTo>
                  <a:pt x="9089" y="2541"/>
                </a:lnTo>
                <a:lnTo>
                  <a:pt x="9076" y="2541"/>
                </a:lnTo>
                <a:lnTo>
                  <a:pt x="9075" y="2535"/>
                </a:lnTo>
                <a:lnTo>
                  <a:pt x="9076" y="2526"/>
                </a:lnTo>
                <a:lnTo>
                  <a:pt x="9080" y="2517"/>
                </a:lnTo>
                <a:lnTo>
                  <a:pt x="9085" y="2513"/>
                </a:lnTo>
                <a:close/>
                <a:moveTo>
                  <a:pt x="8695" y="4621"/>
                </a:moveTo>
                <a:lnTo>
                  <a:pt x="8697" y="4597"/>
                </a:lnTo>
                <a:lnTo>
                  <a:pt x="8707" y="4582"/>
                </a:lnTo>
                <a:lnTo>
                  <a:pt x="8723" y="4577"/>
                </a:lnTo>
                <a:lnTo>
                  <a:pt x="8745" y="4580"/>
                </a:lnTo>
                <a:lnTo>
                  <a:pt x="8728" y="4597"/>
                </a:lnTo>
                <a:lnTo>
                  <a:pt x="8707" y="4617"/>
                </a:lnTo>
                <a:lnTo>
                  <a:pt x="8691" y="4629"/>
                </a:lnTo>
                <a:lnTo>
                  <a:pt x="8695" y="4621"/>
                </a:lnTo>
                <a:close/>
                <a:moveTo>
                  <a:pt x="8723" y="4653"/>
                </a:moveTo>
                <a:lnTo>
                  <a:pt x="8723" y="4650"/>
                </a:lnTo>
                <a:lnTo>
                  <a:pt x="8725" y="4647"/>
                </a:lnTo>
                <a:lnTo>
                  <a:pt x="8730" y="4649"/>
                </a:lnTo>
                <a:lnTo>
                  <a:pt x="8731" y="4653"/>
                </a:lnTo>
                <a:lnTo>
                  <a:pt x="8728" y="4656"/>
                </a:lnTo>
                <a:lnTo>
                  <a:pt x="8723" y="4653"/>
                </a:lnTo>
                <a:close/>
                <a:moveTo>
                  <a:pt x="8755" y="4689"/>
                </a:moveTo>
                <a:lnTo>
                  <a:pt x="8837" y="4636"/>
                </a:lnTo>
                <a:lnTo>
                  <a:pt x="8933" y="4570"/>
                </a:lnTo>
                <a:lnTo>
                  <a:pt x="9032" y="4524"/>
                </a:lnTo>
                <a:lnTo>
                  <a:pt x="9118" y="4532"/>
                </a:lnTo>
                <a:lnTo>
                  <a:pt x="9127" y="4554"/>
                </a:lnTo>
                <a:lnTo>
                  <a:pt x="9156" y="4559"/>
                </a:lnTo>
                <a:lnTo>
                  <a:pt x="9184" y="4570"/>
                </a:lnTo>
                <a:lnTo>
                  <a:pt x="9193" y="4607"/>
                </a:lnTo>
                <a:lnTo>
                  <a:pt x="9205" y="4633"/>
                </a:lnTo>
                <a:lnTo>
                  <a:pt x="9229" y="4631"/>
                </a:lnTo>
                <a:lnTo>
                  <a:pt x="9256" y="4629"/>
                </a:lnTo>
                <a:lnTo>
                  <a:pt x="9270" y="4647"/>
                </a:lnTo>
                <a:lnTo>
                  <a:pt x="9266" y="4667"/>
                </a:lnTo>
                <a:lnTo>
                  <a:pt x="9270" y="4681"/>
                </a:lnTo>
                <a:lnTo>
                  <a:pt x="9281" y="4686"/>
                </a:lnTo>
                <a:lnTo>
                  <a:pt x="9303" y="4684"/>
                </a:lnTo>
                <a:lnTo>
                  <a:pt x="9333" y="4709"/>
                </a:lnTo>
                <a:lnTo>
                  <a:pt x="9315" y="4742"/>
                </a:lnTo>
                <a:lnTo>
                  <a:pt x="9280" y="4756"/>
                </a:lnTo>
                <a:lnTo>
                  <a:pt x="9254" y="4720"/>
                </a:lnTo>
                <a:lnTo>
                  <a:pt x="9149" y="4676"/>
                </a:lnTo>
                <a:lnTo>
                  <a:pt x="9112" y="4695"/>
                </a:lnTo>
                <a:lnTo>
                  <a:pt x="9104" y="4740"/>
                </a:lnTo>
                <a:lnTo>
                  <a:pt x="9090" y="4771"/>
                </a:lnTo>
                <a:lnTo>
                  <a:pt x="9067" y="4706"/>
                </a:lnTo>
                <a:lnTo>
                  <a:pt x="9026" y="4642"/>
                </a:lnTo>
                <a:lnTo>
                  <a:pt x="8978" y="4598"/>
                </a:lnTo>
                <a:lnTo>
                  <a:pt x="8936" y="4603"/>
                </a:lnTo>
                <a:lnTo>
                  <a:pt x="8914" y="4635"/>
                </a:lnTo>
                <a:lnTo>
                  <a:pt x="8872" y="4658"/>
                </a:lnTo>
                <a:lnTo>
                  <a:pt x="8839" y="4685"/>
                </a:lnTo>
                <a:lnTo>
                  <a:pt x="8851" y="4728"/>
                </a:lnTo>
                <a:lnTo>
                  <a:pt x="8830" y="4726"/>
                </a:lnTo>
                <a:lnTo>
                  <a:pt x="8802" y="4710"/>
                </a:lnTo>
                <a:lnTo>
                  <a:pt x="8773" y="4695"/>
                </a:lnTo>
                <a:lnTo>
                  <a:pt x="8755" y="4689"/>
                </a:lnTo>
                <a:close/>
                <a:moveTo>
                  <a:pt x="8815" y="4503"/>
                </a:moveTo>
                <a:lnTo>
                  <a:pt x="8819" y="4504"/>
                </a:lnTo>
                <a:lnTo>
                  <a:pt x="8820" y="4505"/>
                </a:lnTo>
                <a:lnTo>
                  <a:pt x="8821" y="4508"/>
                </a:lnTo>
                <a:lnTo>
                  <a:pt x="8820" y="4512"/>
                </a:lnTo>
                <a:lnTo>
                  <a:pt x="8816" y="4510"/>
                </a:lnTo>
                <a:lnTo>
                  <a:pt x="8814" y="4509"/>
                </a:lnTo>
                <a:lnTo>
                  <a:pt x="8814" y="4507"/>
                </a:lnTo>
                <a:lnTo>
                  <a:pt x="8815" y="4503"/>
                </a:lnTo>
                <a:close/>
                <a:moveTo>
                  <a:pt x="8862" y="3888"/>
                </a:moveTo>
                <a:lnTo>
                  <a:pt x="8875" y="3875"/>
                </a:lnTo>
                <a:lnTo>
                  <a:pt x="8889" y="3870"/>
                </a:lnTo>
                <a:lnTo>
                  <a:pt x="8905" y="3870"/>
                </a:lnTo>
                <a:lnTo>
                  <a:pt x="8921" y="3878"/>
                </a:lnTo>
                <a:lnTo>
                  <a:pt x="8909" y="3894"/>
                </a:lnTo>
                <a:lnTo>
                  <a:pt x="8888" y="3907"/>
                </a:lnTo>
                <a:lnTo>
                  <a:pt x="8868" y="3907"/>
                </a:lnTo>
                <a:lnTo>
                  <a:pt x="8862" y="3888"/>
                </a:lnTo>
                <a:close/>
                <a:moveTo>
                  <a:pt x="9226" y="4801"/>
                </a:moveTo>
                <a:lnTo>
                  <a:pt x="9215" y="4797"/>
                </a:lnTo>
                <a:lnTo>
                  <a:pt x="9209" y="4789"/>
                </a:lnTo>
                <a:lnTo>
                  <a:pt x="9211" y="4779"/>
                </a:lnTo>
                <a:lnTo>
                  <a:pt x="9220" y="4771"/>
                </a:lnTo>
                <a:lnTo>
                  <a:pt x="9229" y="4771"/>
                </a:lnTo>
                <a:lnTo>
                  <a:pt x="9230" y="4780"/>
                </a:lnTo>
                <a:lnTo>
                  <a:pt x="9229" y="4790"/>
                </a:lnTo>
                <a:lnTo>
                  <a:pt x="9226" y="4801"/>
                </a:lnTo>
                <a:close/>
                <a:moveTo>
                  <a:pt x="9183" y="4827"/>
                </a:moveTo>
                <a:lnTo>
                  <a:pt x="9165" y="4839"/>
                </a:lnTo>
                <a:lnTo>
                  <a:pt x="9147" y="4827"/>
                </a:lnTo>
                <a:lnTo>
                  <a:pt x="9142" y="4806"/>
                </a:lnTo>
                <a:lnTo>
                  <a:pt x="9159" y="4788"/>
                </a:lnTo>
                <a:lnTo>
                  <a:pt x="9174" y="4787"/>
                </a:lnTo>
                <a:lnTo>
                  <a:pt x="9184" y="4797"/>
                </a:lnTo>
                <a:lnTo>
                  <a:pt x="9188" y="4811"/>
                </a:lnTo>
                <a:lnTo>
                  <a:pt x="9183" y="4827"/>
                </a:lnTo>
                <a:close/>
                <a:moveTo>
                  <a:pt x="9382" y="4587"/>
                </a:moveTo>
                <a:lnTo>
                  <a:pt x="9431" y="4561"/>
                </a:lnTo>
                <a:lnTo>
                  <a:pt x="9456" y="4588"/>
                </a:lnTo>
                <a:lnTo>
                  <a:pt x="9472" y="4624"/>
                </a:lnTo>
                <a:lnTo>
                  <a:pt x="9499" y="4625"/>
                </a:lnTo>
                <a:lnTo>
                  <a:pt x="9515" y="4624"/>
                </a:lnTo>
                <a:lnTo>
                  <a:pt x="9521" y="4615"/>
                </a:lnTo>
                <a:lnTo>
                  <a:pt x="9519" y="4602"/>
                </a:lnTo>
                <a:lnTo>
                  <a:pt x="9519" y="4586"/>
                </a:lnTo>
                <a:lnTo>
                  <a:pt x="9545" y="4558"/>
                </a:lnTo>
                <a:lnTo>
                  <a:pt x="9565" y="4564"/>
                </a:lnTo>
                <a:lnTo>
                  <a:pt x="9571" y="4591"/>
                </a:lnTo>
                <a:lnTo>
                  <a:pt x="9555" y="4626"/>
                </a:lnTo>
                <a:lnTo>
                  <a:pt x="9550" y="4657"/>
                </a:lnTo>
                <a:lnTo>
                  <a:pt x="9556" y="4698"/>
                </a:lnTo>
                <a:lnTo>
                  <a:pt x="9559" y="4729"/>
                </a:lnTo>
                <a:lnTo>
                  <a:pt x="9541" y="4734"/>
                </a:lnTo>
                <a:lnTo>
                  <a:pt x="9485" y="4729"/>
                </a:lnTo>
                <a:lnTo>
                  <a:pt x="9464" y="4771"/>
                </a:lnTo>
                <a:lnTo>
                  <a:pt x="9452" y="4815"/>
                </a:lnTo>
                <a:lnTo>
                  <a:pt x="9415" y="4817"/>
                </a:lnTo>
                <a:lnTo>
                  <a:pt x="9414" y="4780"/>
                </a:lnTo>
                <a:lnTo>
                  <a:pt x="9416" y="4743"/>
                </a:lnTo>
                <a:lnTo>
                  <a:pt x="9419" y="4708"/>
                </a:lnTo>
                <a:lnTo>
                  <a:pt x="9416" y="4672"/>
                </a:lnTo>
                <a:lnTo>
                  <a:pt x="9387" y="4700"/>
                </a:lnTo>
                <a:lnTo>
                  <a:pt x="9375" y="4680"/>
                </a:lnTo>
                <a:lnTo>
                  <a:pt x="9377" y="4635"/>
                </a:lnTo>
                <a:lnTo>
                  <a:pt x="9382" y="4587"/>
                </a:lnTo>
                <a:close/>
                <a:moveTo>
                  <a:pt x="8718" y="6602"/>
                </a:moveTo>
                <a:lnTo>
                  <a:pt x="8723" y="6607"/>
                </a:lnTo>
                <a:lnTo>
                  <a:pt x="8726" y="6612"/>
                </a:lnTo>
                <a:lnTo>
                  <a:pt x="8723" y="6615"/>
                </a:lnTo>
                <a:lnTo>
                  <a:pt x="8716" y="6616"/>
                </a:lnTo>
                <a:lnTo>
                  <a:pt x="8711" y="6611"/>
                </a:lnTo>
                <a:lnTo>
                  <a:pt x="8709" y="6606"/>
                </a:lnTo>
                <a:lnTo>
                  <a:pt x="8712" y="6603"/>
                </a:lnTo>
                <a:lnTo>
                  <a:pt x="8718" y="6602"/>
                </a:lnTo>
                <a:close/>
                <a:moveTo>
                  <a:pt x="8774" y="6536"/>
                </a:moveTo>
                <a:lnTo>
                  <a:pt x="8778" y="6539"/>
                </a:lnTo>
                <a:lnTo>
                  <a:pt x="8782" y="6546"/>
                </a:lnTo>
                <a:lnTo>
                  <a:pt x="8773" y="6547"/>
                </a:lnTo>
                <a:lnTo>
                  <a:pt x="8765" y="6543"/>
                </a:lnTo>
                <a:lnTo>
                  <a:pt x="8765" y="6537"/>
                </a:lnTo>
                <a:lnTo>
                  <a:pt x="8774" y="6536"/>
                </a:lnTo>
                <a:close/>
                <a:moveTo>
                  <a:pt x="8811" y="6476"/>
                </a:moveTo>
                <a:lnTo>
                  <a:pt x="8816" y="6471"/>
                </a:lnTo>
                <a:lnTo>
                  <a:pt x="8821" y="6469"/>
                </a:lnTo>
                <a:lnTo>
                  <a:pt x="8824" y="6475"/>
                </a:lnTo>
                <a:lnTo>
                  <a:pt x="8823" y="6482"/>
                </a:lnTo>
                <a:lnTo>
                  <a:pt x="8816" y="6487"/>
                </a:lnTo>
                <a:lnTo>
                  <a:pt x="8811" y="6487"/>
                </a:lnTo>
                <a:lnTo>
                  <a:pt x="8810" y="6483"/>
                </a:lnTo>
                <a:lnTo>
                  <a:pt x="8811" y="6476"/>
                </a:lnTo>
                <a:close/>
                <a:moveTo>
                  <a:pt x="8847" y="6401"/>
                </a:moveTo>
                <a:lnTo>
                  <a:pt x="8852" y="6406"/>
                </a:lnTo>
                <a:lnTo>
                  <a:pt x="8853" y="6410"/>
                </a:lnTo>
                <a:lnTo>
                  <a:pt x="8851" y="6413"/>
                </a:lnTo>
                <a:lnTo>
                  <a:pt x="8844" y="6413"/>
                </a:lnTo>
                <a:lnTo>
                  <a:pt x="8839" y="6410"/>
                </a:lnTo>
                <a:lnTo>
                  <a:pt x="8838" y="6405"/>
                </a:lnTo>
                <a:lnTo>
                  <a:pt x="8840" y="6401"/>
                </a:lnTo>
                <a:lnTo>
                  <a:pt x="8847" y="6401"/>
                </a:lnTo>
                <a:close/>
                <a:moveTo>
                  <a:pt x="9037" y="6789"/>
                </a:moveTo>
                <a:lnTo>
                  <a:pt x="9017" y="6792"/>
                </a:lnTo>
                <a:lnTo>
                  <a:pt x="9016" y="6781"/>
                </a:lnTo>
                <a:lnTo>
                  <a:pt x="9019" y="6766"/>
                </a:lnTo>
                <a:lnTo>
                  <a:pt x="9014" y="6750"/>
                </a:lnTo>
                <a:lnTo>
                  <a:pt x="9020" y="6756"/>
                </a:lnTo>
                <a:lnTo>
                  <a:pt x="9033" y="6767"/>
                </a:lnTo>
                <a:lnTo>
                  <a:pt x="9040" y="6780"/>
                </a:lnTo>
                <a:lnTo>
                  <a:pt x="9037" y="6789"/>
                </a:lnTo>
                <a:close/>
                <a:moveTo>
                  <a:pt x="9065" y="6686"/>
                </a:moveTo>
                <a:lnTo>
                  <a:pt x="9077" y="6681"/>
                </a:lnTo>
                <a:lnTo>
                  <a:pt x="9091" y="6685"/>
                </a:lnTo>
                <a:lnTo>
                  <a:pt x="9104" y="6692"/>
                </a:lnTo>
                <a:lnTo>
                  <a:pt x="9116" y="6699"/>
                </a:lnTo>
                <a:lnTo>
                  <a:pt x="9108" y="6720"/>
                </a:lnTo>
                <a:lnTo>
                  <a:pt x="9082" y="6725"/>
                </a:lnTo>
                <a:lnTo>
                  <a:pt x="9061" y="6714"/>
                </a:lnTo>
                <a:lnTo>
                  <a:pt x="9065" y="6686"/>
                </a:lnTo>
                <a:close/>
                <a:moveTo>
                  <a:pt x="9072" y="6599"/>
                </a:moveTo>
                <a:lnTo>
                  <a:pt x="9094" y="6541"/>
                </a:lnTo>
                <a:lnTo>
                  <a:pt x="9138" y="6562"/>
                </a:lnTo>
                <a:lnTo>
                  <a:pt x="9166" y="6615"/>
                </a:lnTo>
                <a:lnTo>
                  <a:pt x="9144" y="6646"/>
                </a:lnTo>
                <a:lnTo>
                  <a:pt x="9132" y="6618"/>
                </a:lnTo>
                <a:lnTo>
                  <a:pt x="9108" y="6616"/>
                </a:lnTo>
                <a:lnTo>
                  <a:pt x="9084" y="6617"/>
                </a:lnTo>
                <a:lnTo>
                  <a:pt x="9072" y="6599"/>
                </a:lnTo>
                <a:close/>
                <a:moveTo>
                  <a:pt x="9158" y="6492"/>
                </a:moveTo>
                <a:lnTo>
                  <a:pt x="9159" y="6496"/>
                </a:lnTo>
                <a:lnTo>
                  <a:pt x="9159" y="6499"/>
                </a:lnTo>
                <a:lnTo>
                  <a:pt x="9156" y="6501"/>
                </a:lnTo>
                <a:lnTo>
                  <a:pt x="9152" y="6500"/>
                </a:lnTo>
                <a:lnTo>
                  <a:pt x="9151" y="6497"/>
                </a:lnTo>
                <a:lnTo>
                  <a:pt x="9151" y="6495"/>
                </a:lnTo>
                <a:lnTo>
                  <a:pt x="9154" y="6494"/>
                </a:lnTo>
                <a:lnTo>
                  <a:pt x="9158" y="6492"/>
                </a:lnTo>
                <a:close/>
                <a:moveTo>
                  <a:pt x="9468" y="6570"/>
                </a:moveTo>
                <a:lnTo>
                  <a:pt x="9466" y="6571"/>
                </a:lnTo>
                <a:lnTo>
                  <a:pt x="9463" y="6571"/>
                </a:lnTo>
                <a:lnTo>
                  <a:pt x="9462" y="6566"/>
                </a:lnTo>
                <a:lnTo>
                  <a:pt x="9464" y="6564"/>
                </a:lnTo>
                <a:lnTo>
                  <a:pt x="9468" y="6565"/>
                </a:lnTo>
                <a:lnTo>
                  <a:pt x="9468" y="6570"/>
                </a:lnTo>
                <a:close/>
                <a:moveTo>
                  <a:pt x="8537" y="6732"/>
                </a:moveTo>
                <a:lnTo>
                  <a:pt x="8577" y="6730"/>
                </a:lnTo>
                <a:lnTo>
                  <a:pt x="8616" y="6756"/>
                </a:lnTo>
                <a:lnTo>
                  <a:pt x="8633" y="6788"/>
                </a:lnTo>
                <a:lnTo>
                  <a:pt x="8607" y="6808"/>
                </a:lnTo>
                <a:lnTo>
                  <a:pt x="8574" y="6803"/>
                </a:lnTo>
                <a:lnTo>
                  <a:pt x="8548" y="6806"/>
                </a:lnTo>
                <a:lnTo>
                  <a:pt x="8532" y="6790"/>
                </a:lnTo>
                <a:lnTo>
                  <a:pt x="8537" y="6732"/>
                </a:lnTo>
                <a:close/>
                <a:moveTo>
                  <a:pt x="8506" y="7178"/>
                </a:moveTo>
                <a:lnTo>
                  <a:pt x="8500" y="7173"/>
                </a:lnTo>
                <a:lnTo>
                  <a:pt x="8500" y="7168"/>
                </a:lnTo>
                <a:lnTo>
                  <a:pt x="8504" y="7167"/>
                </a:lnTo>
                <a:lnTo>
                  <a:pt x="8512" y="7168"/>
                </a:lnTo>
                <a:lnTo>
                  <a:pt x="8517" y="7175"/>
                </a:lnTo>
                <a:lnTo>
                  <a:pt x="8517" y="7178"/>
                </a:lnTo>
                <a:lnTo>
                  <a:pt x="8513" y="7181"/>
                </a:lnTo>
                <a:lnTo>
                  <a:pt x="8506" y="7178"/>
                </a:lnTo>
                <a:close/>
                <a:moveTo>
                  <a:pt x="8479" y="7088"/>
                </a:moveTo>
                <a:lnTo>
                  <a:pt x="8485" y="7074"/>
                </a:lnTo>
                <a:lnTo>
                  <a:pt x="8493" y="7060"/>
                </a:lnTo>
                <a:lnTo>
                  <a:pt x="8499" y="7073"/>
                </a:lnTo>
                <a:lnTo>
                  <a:pt x="8499" y="7082"/>
                </a:lnTo>
                <a:lnTo>
                  <a:pt x="8493" y="7087"/>
                </a:lnTo>
                <a:lnTo>
                  <a:pt x="8479" y="7088"/>
                </a:lnTo>
                <a:close/>
                <a:moveTo>
                  <a:pt x="8406" y="7324"/>
                </a:moveTo>
                <a:lnTo>
                  <a:pt x="8396" y="7330"/>
                </a:lnTo>
                <a:lnTo>
                  <a:pt x="8386" y="7327"/>
                </a:lnTo>
                <a:lnTo>
                  <a:pt x="8378" y="7317"/>
                </a:lnTo>
                <a:lnTo>
                  <a:pt x="8381" y="7306"/>
                </a:lnTo>
                <a:lnTo>
                  <a:pt x="8391" y="7299"/>
                </a:lnTo>
                <a:lnTo>
                  <a:pt x="8402" y="7302"/>
                </a:lnTo>
                <a:lnTo>
                  <a:pt x="8409" y="7312"/>
                </a:lnTo>
                <a:lnTo>
                  <a:pt x="8406" y="7324"/>
                </a:lnTo>
                <a:close/>
                <a:moveTo>
                  <a:pt x="8102" y="7178"/>
                </a:moveTo>
                <a:lnTo>
                  <a:pt x="8106" y="7185"/>
                </a:lnTo>
                <a:lnTo>
                  <a:pt x="8103" y="7190"/>
                </a:lnTo>
                <a:lnTo>
                  <a:pt x="8098" y="7190"/>
                </a:lnTo>
                <a:lnTo>
                  <a:pt x="8092" y="7187"/>
                </a:lnTo>
                <a:lnTo>
                  <a:pt x="8088" y="7181"/>
                </a:lnTo>
                <a:lnTo>
                  <a:pt x="8090" y="7177"/>
                </a:lnTo>
                <a:lnTo>
                  <a:pt x="8095" y="7177"/>
                </a:lnTo>
                <a:lnTo>
                  <a:pt x="8102" y="7178"/>
                </a:lnTo>
                <a:close/>
                <a:moveTo>
                  <a:pt x="8227" y="7089"/>
                </a:moveTo>
                <a:lnTo>
                  <a:pt x="8253" y="7074"/>
                </a:lnTo>
                <a:lnTo>
                  <a:pt x="8270" y="7091"/>
                </a:lnTo>
                <a:lnTo>
                  <a:pt x="8267" y="7114"/>
                </a:lnTo>
                <a:lnTo>
                  <a:pt x="8241" y="7115"/>
                </a:lnTo>
                <a:lnTo>
                  <a:pt x="8232" y="7110"/>
                </a:lnTo>
                <a:lnTo>
                  <a:pt x="8227" y="7103"/>
                </a:lnTo>
                <a:lnTo>
                  <a:pt x="8225" y="7097"/>
                </a:lnTo>
                <a:lnTo>
                  <a:pt x="8227" y="7089"/>
                </a:lnTo>
                <a:close/>
                <a:moveTo>
                  <a:pt x="10035" y="8449"/>
                </a:moveTo>
                <a:lnTo>
                  <a:pt x="10021" y="8440"/>
                </a:lnTo>
                <a:lnTo>
                  <a:pt x="10013" y="8425"/>
                </a:lnTo>
                <a:lnTo>
                  <a:pt x="10013" y="8408"/>
                </a:lnTo>
                <a:lnTo>
                  <a:pt x="10022" y="8395"/>
                </a:lnTo>
                <a:lnTo>
                  <a:pt x="10031" y="8406"/>
                </a:lnTo>
                <a:lnTo>
                  <a:pt x="10039" y="8422"/>
                </a:lnTo>
                <a:lnTo>
                  <a:pt x="10041" y="8440"/>
                </a:lnTo>
                <a:lnTo>
                  <a:pt x="10035" y="8449"/>
                </a:lnTo>
                <a:close/>
                <a:moveTo>
                  <a:pt x="10980" y="7317"/>
                </a:moveTo>
                <a:lnTo>
                  <a:pt x="10800" y="7237"/>
                </a:lnTo>
                <a:lnTo>
                  <a:pt x="10630" y="7147"/>
                </a:lnTo>
                <a:lnTo>
                  <a:pt x="10468" y="7052"/>
                </a:lnTo>
                <a:lnTo>
                  <a:pt x="10315" y="6962"/>
                </a:lnTo>
                <a:lnTo>
                  <a:pt x="10234" y="7004"/>
                </a:lnTo>
                <a:lnTo>
                  <a:pt x="10122" y="6999"/>
                </a:lnTo>
                <a:lnTo>
                  <a:pt x="10064" y="7005"/>
                </a:lnTo>
                <a:lnTo>
                  <a:pt x="10145" y="7080"/>
                </a:lnTo>
                <a:lnTo>
                  <a:pt x="10179" y="7096"/>
                </a:lnTo>
                <a:lnTo>
                  <a:pt x="10208" y="7096"/>
                </a:lnTo>
                <a:lnTo>
                  <a:pt x="10231" y="7079"/>
                </a:lnTo>
                <a:lnTo>
                  <a:pt x="10244" y="7045"/>
                </a:lnTo>
                <a:lnTo>
                  <a:pt x="10274" y="7028"/>
                </a:lnTo>
                <a:lnTo>
                  <a:pt x="10313" y="7027"/>
                </a:lnTo>
                <a:lnTo>
                  <a:pt x="10336" y="7042"/>
                </a:lnTo>
                <a:lnTo>
                  <a:pt x="10320" y="7075"/>
                </a:lnTo>
                <a:lnTo>
                  <a:pt x="10290" y="7149"/>
                </a:lnTo>
                <a:lnTo>
                  <a:pt x="10320" y="7170"/>
                </a:lnTo>
                <a:lnTo>
                  <a:pt x="10370" y="7140"/>
                </a:lnTo>
                <a:lnTo>
                  <a:pt x="10395" y="7065"/>
                </a:lnTo>
                <a:lnTo>
                  <a:pt x="10416" y="7078"/>
                </a:lnTo>
                <a:lnTo>
                  <a:pt x="10432" y="7096"/>
                </a:lnTo>
                <a:lnTo>
                  <a:pt x="10450" y="7111"/>
                </a:lnTo>
                <a:lnTo>
                  <a:pt x="10477" y="7114"/>
                </a:lnTo>
                <a:lnTo>
                  <a:pt x="10507" y="7119"/>
                </a:lnTo>
                <a:lnTo>
                  <a:pt x="10527" y="7142"/>
                </a:lnTo>
                <a:lnTo>
                  <a:pt x="10524" y="7162"/>
                </a:lnTo>
                <a:lnTo>
                  <a:pt x="10492" y="7161"/>
                </a:lnTo>
                <a:lnTo>
                  <a:pt x="10472" y="7140"/>
                </a:lnTo>
                <a:lnTo>
                  <a:pt x="10436" y="7133"/>
                </a:lnTo>
                <a:lnTo>
                  <a:pt x="10408" y="7142"/>
                </a:lnTo>
                <a:lnTo>
                  <a:pt x="10411" y="7164"/>
                </a:lnTo>
                <a:lnTo>
                  <a:pt x="10409" y="7166"/>
                </a:lnTo>
                <a:lnTo>
                  <a:pt x="10411" y="7167"/>
                </a:lnTo>
                <a:lnTo>
                  <a:pt x="10411" y="7166"/>
                </a:lnTo>
                <a:lnTo>
                  <a:pt x="10411" y="7164"/>
                </a:lnTo>
                <a:lnTo>
                  <a:pt x="10485" y="7204"/>
                </a:lnTo>
                <a:lnTo>
                  <a:pt x="10485" y="7263"/>
                </a:lnTo>
                <a:lnTo>
                  <a:pt x="10462" y="7320"/>
                </a:lnTo>
                <a:lnTo>
                  <a:pt x="10465" y="7361"/>
                </a:lnTo>
                <a:lnTo>
                  <a:pt x="10504" y="7361"/>
                </a:lnTo>
                <a:lnTo>
                  <a:pt x="10546" y="7339"/>
                </a:lnTo>
                <a:lnTo>
                  <a:pt x="10581" y="7324"/>
                </a:lnTo>
                <a:lnTo>
                  <a:pt x="10600" y="7347"/>
                </a:lnTo>
                <a:lnTo>
                  <a:pt x="10572" y="7367"/>
                </a:lnTo>
                <a:lnTo>
                  <a:pt x="10536" y="7377"/>
                </a:lnTo>
                <a:lnTo>
                  <a:pt x="10521" y="7387"/>
                </a:lnTo>
                <a:lnTo>
                  <a:pt x="10561" y="7408"/>
                </a:lnTo>
                <a:lnTo>
                  <a:pt x="10555" y="7433"/>
                </a:lnTo>
                <a:lnTo>
                  <a:pt x="10566" y="7457"/>
                </a:lnTo>
                <a:lnTo>
                  <a:pt x="10564" y="7475"/>
                </a:lnTo>
                <a:lnTo>
                  <a:pt x="10511" y="7484"/>
                </a:lnTo>
                <a:lnTo>
                  <a:pt x="10576" y="7548"/>
                </a:lnTo>
                <a:lnTo>
                  <a:pt x="10553" y="7548"/>
                </a:lnTo>
                <a:lnTo>
                  <a:pt x="10497" y="7534"/>
                </a:lnTo>
                <a:lnTo>
                  <a:pt x="10467" y="7550"/>
                </a:lnTo>
                <a:lnTo>
                  <a:pt x="10444" y="7558"/>
                </a:lnTo>
                <a:lnTo>
                  <a:pt x="10441" y="7539"/>
                </a:lnTo>
                <a:lnTo>
                  <a:pt x="10436" y="7518"/>
                </a:lnTo>
                <a:lnTo>
                  <a:pt x="10408" y="7522"/>
                </a:lnTo>
                <a:lnTo>
                  <a:pt x="10364" y="7549"/>
                </a:lnTo>
                <a:lnTo>
                  <a:pt x="10362" y="7597"/>
                </a:lnTo>
                <a:lnTo>
                  <a:pt x="10334" y="7649"/>
                </a:lnTo>
                <a:lnTo>
                  <a:pt x="10209" y="7686"/>
                </a:lnTo>
                <a:lnTo>
                  <a:pt x="10240" y="7620"/>
                </a:lnTo>
                <a:lnTo>
                  <a:pt x="10239" y="7576"/>
                </a:lnTo>
                <a:lnTo>
                  <a:pt x="10207" y="7573"/>
                </a:lnTo>
                <a:lnTo>
                  <a:pt x="10151" y="7635"/>
                </a:lnTo>
                <a:lnTo>
                  <a:pt x="10105" y="7705"/>
                </a:lnTo>
                <a:lnTo>
                  <a:pt x="10110" y="7750"/>
                </a:lnTo>
                <a:lnTo>
                  <a:pt x="10141" y="7753"/>
                </a:lnTo>
                <a:lnTo>
                  <a:pt x="10170" y="7698"/>
                </a:lnTo>
                <a:lnTo>
                  <a:pt x="10202" y="7711"/>
                </a:lnTo>
                <a:lnTo>
                  <a:pt x="10209" y="7736"/>
                </a:lnTo>
                <a:lnTo>
                  <a:pt x="10207" y="7763"/>
                </a:lnTo>
                <a:lnTo>
                  <a:pt x="10211" y="7781"/>
                </a:lnTo>
                <a:lnTo>
                  <a:pt x="10262" y="7769"/>
                </a:lnTo>
                <a:lnTo>
                  <a:pt x="10287" y="7796"/>
                </a:lnTo>
                <a:lnTo>
                  <a:pt x="10287" y="7844"/>
                </a:lnTo>
                <a:lnTo>
                  <a:pt x="10269" y="7895"/>
                </a:lnTo>
                <a:lnTo>
                  <a:pt x="10308" y="7936"/>
                </a:lnTo>
                <a:lnTo>
                  <a:pt x="10310" y="7947"/>
                </a:lnTo>
                <a:lnTo>
                  <a:pt x="10277" y="7955"/>
                </a:lnTo>
                <a:lnTo>
                  <a:pt x="10206" y="7980"/>
                </a:lnTo>
                <a:lnTo>
                  <a:pt x="10190" y="7991"/>
                </a:lnTo>
                <a:lnTo>
                  <a:pt x="10204" y="8012"/>
                </a:lnTo>
                <a:lnTo>
                  <a:pt x="10220" y="8035"/>
                </a:lnTo>
                <a:lnTo>
                  <a:pt x="10206" y="8052"/>
                </a:lnTo>
                <a:lnTo>
                  <a:pt x="10209" y="8113"/>
                </a:lnTo>
                <a:lnTo>
                  <a:pt x="10195" y="8180"/>
                </a:lnTo>
                <a:lnTo>
                  <a:pt x="10160" y="8221"/>
                </a:lnTo>
                <a:lnTo>
                  <a:pt x="10104" y="8202"/>
                </a:lnTo>
                <a:lnTo>
                  <a:pt x="10109" y="8148"/>
                </a:lnTo>
                <a:lnTo>
                  <a:pt x="10091" y="8108"/>
                </a:lnTo>
                <a:lnTo>
                  <a:pt x="10053" y="8080"/>
                </a:lnTo>
                <a:lnTo>
                  <a:pt x="10002" y="8067"/>
                </a:lnTo>
                <a:lnTo>
                  <a:pt x="10002" y="8096"/>
                </a:lnTo>
                <a:lnTo>
                  <a:pt x="10024" y="8115"/>
                </a:lnTo>
                <a:lnTo>
                  <a:pt x="10045" y="8132"/>
                </a:lnTo>
                <a:lnTo>
                  <a:pt x="10048" y="8159"/>
                </a:lnTo>
                <a:lnTo>
                  <a:pt x="10045" y="8171"/>
                </a:lnTo>
                <a:lnTo>
                  <a:pt x="10062" y="8180"/>
                </a:lnTo>
                <a:lnTo>
                  <a:pt x="10078" y="8188"/>
                </a:lnTo>
                <a:lnTo>
                  <a:pt x="10074" y="8199"/>
                </a:lnTo>
                <a:lnTo>
                  <a:pt x="10080" y="8252"/>
                </a:lnTo>
                <a:lnTo>
                  <a:pt x="10145" y="8258"/>
                </a:lnTo>
                <a:lnTo>
                  <a:pt x="10217" y="8253"/>
                </a:lnTo>
                <a:lnTo>
                  <a:pt x="10249" y="8273"/>
                </a:lnTo>
                <a:lnTo>
                  <a:pt x="10217" y="8299"/>
                </a:lnTo>
                <a:lnTo>
                  <a:pt x="10184" y="8329"/>
                </a:lnTo>
                <a:lnTo>
                  <a:pt x="10155" y="8338"/>
                </a:lnTo>
                <a:lnTo>
                  <a:pt x="10131" y="8300"/>
                </a:lnTo>
                <a:lnTo>
                  <a:pt x="10066" y="8324"/>
                </a:lnTo>
                <a:lnTo>
                  <a:pt x="10016" y="8356"/>
                </a:lnTo>
                <a:lnTo>
                  <a:pt x="9966" y="8383"/>
                </a:lnTo>
                <a:lnTo>
                  <a:pt x="9904" y="8394"/>
                </a:lnTo>
                <a:lnTo>
                  <a:pt x="9900" y="8417"/>
                </a:lnTo>
                <a:lnTo>
                  <a:pt x="9919" y="8426"/>
                </a:lnTo>
                <a:lnTo>
                  <a:pt x="9946" y="8430"/>
                </a:lnTo>
                <a:lnTo>
                  <a:pt x="9965" y="8437"/>
                </a:lnTo>
                <a:lnTo>
                  <a:pt x="9971" y="8460"/>
                </a:lnTo>
                <a:lnTo>
                  <a:pt x="9983" y="8478"/>
                </a:lnTo>
                <a:lnTo>
                  <a:pt x="9999" y="8493"/>
                </a:lnTo>
                <a:lnTo>
                  <a:pt x="10024" y="8504"/>
                </a:lnTo>
                <a:lnTo>
                  <a:pt x="10055" y="8501"/>
                </a:lnTo>
                <a:lnTo>
                  <a:pt x="10071" y="8467"/>
                </a:lnTo>
                <a:lnTo>
                  <a:pt x="10085" y="8434"/>
                </a:lnTo>
                <a:lnTo>
                  <a:pt x="10111" y="8436"/>
                </a:lnTo>
                <a:lnTo>
                  <a:pt x="10120" y="8435"/>
                </a:lnTo>
                <a:lnTo>
                  <a:pt x="10122" y="8453"/>
                </a:lnTo>
                <a:lnTo>
                  <a:pt x="10128" y="8478"/>
                </a:lnTo>
                <a:lnTo>
                  <a:pt x="10155" y="8497"/>
                </a:lnTo>
                <a:lnTo>
                  <a:pt x="10174" y="8492"/>
                </a:lnTo>
                <a:lnTo>
                  <a:pt x="10199" y="8491"/>
                </a:lnTo>
                <a:lnTo>
                  <a:pt x="10217" y="8496"/>
                </a:lnTo>
                <a:lnTo>
                  <a:pt x="10215" y="8511"/>
                </a:lnTo>
                <a:lnTo>
                  <a:pt x="10141" y="8516"/>
                </a:lnTo>
                <a:lnTo>
                  <a:pt x="10063" y="8543"/>
                </a:lnTo>
                <a:lnTo>
                  <a:pt x="10001" y="8547"/>
                </a:lnTo>
                <a:lnTo>
                  <a:pt x="9973" y="8477"/>
                </a:lnTo>
                <a:lnTo>
                  <a:pt x="9919" y="8500"/>
                </a:lnTo>
                <a:lnTo>
                  <a:pt x="9929" y="8535"/>
                </a:lnTo>
                <a:lnTo>
                  <a:pt x="9945" y="8575"/>
                </a:lnTo>
                <a:lnTo>
                  <a:pt x="9908" y="8611"/>
                </a:lnTo>
                <a:lnTo>
                  <a:pt x="9905" y="8667"/>
                </a:lnTo>
                <a:lnTo>
                  <a:pt x="9880" y="8688"/>
                </a:lnTo>
                <a:lnTo>
                  <a:pt x="9853" y="8698"/>
                </a:lnTo>
                <a:lnTo>
                  <a:pt x="9847" y="8719"/>
                </a:lnTo>
                <a:lnTo>
                  <a:pt x="9833" y="8747"/>
                </a:lnTo>
                <a:lnTo>
                  <a:pt x="9801" y="8729"/>
                </a:lnTo>
                <a:lnTo>
                  <a:pt x="9765" y="8706"/>
                </a:lnTo>
                <a:lnTo>
                  <a:pt x="9745" y="8721"/>
                </a:lnTo>
                <a:lnTo>
                  <a:pt x="9807" y="8770"/>
                </a:lnTo>
                <a:lnTo>
                  <a:pt x="9789" y="8799"/>
                </a:lnTo>
                <a:lnTo>
                  <a:pt x="9750" y="8791"/>
                </a:lnTo>
                <a:lnTo>
                  <a:pt x="9745" y="8721"/>
                </a:lnTo>
                <a:lnTo>
                  <a:pt x="9695" y="8691"/>
                </a:lnTo>
                <a:lnTo>
                  <a:pt x="9633" y="8665"/>
                </a:lnTo>
                <a:lnTo>
                  <a:pt x="9568" y="8668"/>
                </a:lnTo>
                <a:lnTo>
                  <a:pt x="9515" y="8717"/>
                </a:lnTo>
                <a:lnTo>
                  <a:pt x="9554" y="8734"/>
                </a:lnTo>
                <a:lnTo>
                  <a:pt x="9550" y="8770"/>
                </a:lnTo>
                <a:lnTo>
                  <a:pt x="9522" y="8790"/>
                </a:lnTo>
                <a:lnTo>
                  <a:pt x="9485" y="8757"/>
                </a:lnTo>
                <a:lnTo>
                  <a:pt x="9425" y="8697"/>
                </a:lnTo>
                <a:lnTo>
                  <a:pt x="9433" y="8761"/>
                </a:lnTo>
                <a:lnTo>
                  <a:pt x="9512" y="8813"/>
                </a:lnTo>
                <a:lnTo>
                  <a:pt x="9670" y="8726"/>
                </a:lnTo>
                <a:lnTo>
                  <a:pt x="9699" y="8734"/>
                </a:lnTo>
                <a:lnTo>
                  <a:pt x="9698" y="8762"/>
                </a:lnTo>
                <a:lnTo>
                  <a:pt x="9692" y="8791"/>
                </a:lnTo>
                <a:lnTo>
                  <a:pt x="9712" y="8805"/>
                </a:lnTo>
                <a:lnTo>
                  <a:pt x="9722" y="8846"/>
                </a:lnTo>
                <a:lnTo>
                  <a:pt x="9727" y="8874"/>
                </a:lnTo>
                <a:lnTo>
                  <a:pt x="9713" y="8891"/>
                </a:lnTo>
                <a:lnTo>
                  <a:pt x="9671" y="8896"/>
                </a:lnTo>
                <a:lnTo>
                  <a:pt x="9666" y="8919"/>
                </a:lnTo>
                <a:lnTo>
                  <a:pt x="9698" y="8917"/>
                </a:lnTo>
                <a:lnTo>
                  <a:pt x="9731" y="8922"/>
                </a:lnTo>
                <a:lnTo>
                  <a:pt x="9729" y="8963"/>
                </a:lnTo>
                <a:lnTo>
                  <a:pt x="9710" y="8983"/>
                </a:lnTo>
                <a:lnTo>
                  <a:pt x="9695" y="8968"/>
                </a:lnTo>
                <a:lnTo>
                  <a:pt x="9680" y="8944"/>
                </a:lnTo>
                <a:lnTo>
                  <a:pt x="9664" y="8939"/>
                </a:lnTo>
                <a:lnTo>
                  <a:pt x="9642" y="8953"/>
                </a:lnTo>
                <a:lnTo>
                  <a:pt x="9634" y="8941"/>
                </a:lnTo>
                <a:lnTo>
                  <a:pt x="9629" y="8920"/>
                </a:lnTo>
                <a:lnTo>
                  <a:pt x="9613" y="8906"/>
                </a:lnTo>
                <a:lnTo>
                  <a:pt x="9589" y="8885"/>
                </a:lnTo>
                <a:lnTo>
                  <a:pt x="9599" y="8849"/>
                </a:lnTo>
                <a:lnTo>
                  <a:pt x="9608" y="8826"/>
                </a:lnTo>
                <a:lnTo>
                  <a:pt x="9580" y="8845"/>
                </a:lnTo>
                <a:lnTo>
                  <a:pt x="9471" y="8915"/>
                </a:lnTo>
                <a:lnTo>
                  <a:pt x="9456" y="8978"/>
                </a:lnTo>
                <a:lnTo>
                  <a:pt x="9445" y="9038"/>
                </a:lnTo>
                <a:lnTo>
                  <a:pt x="9356" y="9096"/>
                </a:lnTo>
                <a:lnTo>
                  <a:pt x="9355" y="9115"/>
                </a:lnTo>
                <a:lnTo>
                  <a:pt x="9352" y="9126"/>
                </a:lnTo>
                <a:lnTo>
                  <a:pt x="9345" y="9125"/>
                </a:lnTo>
                <a:lnTo>
                  <a:pt x="9330" y="9106"/>
                </a:lnTo>
                <a:lnTo>
                  <a:pt x="9335" y="9065"/>
                </a:lnTo>
                <a:lnTo>
                  <a:pt x="9351" y="9025"/>
                </a:lnTo>
                <a:lnTo>
                  <a:pt x="9375" y="8987"/>
                </a:lnTo>
                <a:lnTo>
                  <a:pt x="9402" y="8953"/>
                </a:lnTo>
                <a:lnTo>
                  <a:pt x="9287" y="8963"/>
                </a:lnTo>
                <a:lnTo>
                  <a:pt x="9257" y="8935"/>
                </a:lnTo>
                <a:lnTo>
                  <a:pt x="9254" y="8892"/>
                </a:lnTo>
                <a:lnTo>
                  <a:pt x="9223" y="8856"/>
                </a:lnTo>
                <a:lnTo>
                  <a:pt x="9230" y="8815"/>
                </a:lnTo>
                <a:lnTo>
                  <a:pt x="9281" y="8822"/>
                </a:lnTo>
                <a:lnTo>
                  <a:pt x="9315" y="8826"/>
                </a:lnTo>
                <a:lnTo>
                  <a:pt x="9282" y="8782"/>
                </a:lnTo>
                <a:lnTo>
                  <a:pt x="9205" y="8800"/>
                </a:lnTo>
                <a:lnTo>
                  <a:pt x="9118" y="8865"/>
                </a:lnTo>
                <a:lnTo>
                  <a:pt x="9042" y="8910"/>
                </a:lnTo>
                <a:lnTo>
                  <a:pt x="8993" y="8865"/>
                </a:lnTo>
                <a:lnTo>
                  <a:pt x="9033" y="8843"/>
                </a:lnTo>
                <a:lnTo>
                  <a:pt x="9063" y="8808"/>
                </a:lnTo>
                <a:lnTo>
                  <a:pt x="9068" y="8786"/>
                </a:lnTo>
                <a:lnTo>
                  <a:pt x="9029" y="8804"/>
                </a:lnTo>
                <a:lnTo>
                  <a:pt x="8978" y="8824"/>
                </a:lnTo>
                <a:lnTo>
                  <a:pt x="8958" y="8789"/>
                </a:lnTo>
                <a:lnTo>
                  <a:pt x="8939" y="8737"/>
                </a:lnTo>
                <a:lnTo>
                  <a:pt x="8894" y="8705"/>
                </a:lnTo>
                <a:lnTo>
                  <a:pt x="8935" y="8663"/>
                </a:lnTo>
                <a:lnTo>
                  <a:pt x="8991" y="8627"/>
                </a:lnTo>
                <a:lnTo>
                  <a:pt x="9032" y="8585"/>
                </a:lnTo>
                <a:lnTo>
                  <a:pt x="9028" y="8516"/>
                </a:lnTo>
                <a:lnTo>
                  <a:pt x="8982" y="8549"/>
                </a:lnTo>
                <a:lnTo>
                  <a:pt x="8951" y="8603"/>
                </a:lnTo>
                <a:lnTo>
                  <a:pt x="8917" y="8642"/>
                </a:lnTo>
                <a:lnTo>
                  <a:pt x="8861" y="8631"/>
                </a:lnTo>
                <a:lnTo>
                  <a:pt x="8829" y="8630"/>
                </a:lnTo>
                <a:lnTo>
                  <a:pt x="8829" y="8641"/>
                </a:lnTo>
                <a:lnTo>
                  <a:pt x="8849" y="8655"/>
                </a:lnTo>
                <a:lnTo>
                  <a:pt x="8875" y="8663"/>
                </a:lnTo>
                <a:lnTo>
                  <a:pt x="8861" y="8681"/>
                </a:lnTo>
                <a:lnTo>
                  <a:pt x="8853" y="8707"/>
                </a:lnTo>
                <a:lnTo>
                  <a:pt x="8846" y="8731"/>
                </a:lnTo>
                <a:lnTo>
                  <a:pt x="8826" y="8744"/>
                </a:lnTo>
                <a:lnTo>
                  <a:pt x="8792" y="8688"/>
                </a:lnTo>
                <a:lnTo>
                  <a:pt x="8768" y="8693"/>
                </a:lnTo>
                <a:lnTo>
                  <a:pt x="8745" y="8692"/>
                </a:lnTo>
                <a:lnTo>
                  <a:pt x="8717" y="8614"/>
                </a:lnTo>
                <a:lnTo>
                  <a:pt x="8679" y="8650"/>
                </a:lnTo>
                <a:lnTo>
                  <a:pt x="8658" y="8701"/>
                </a:lnTo>
                <a:lnTo>
                  <a:pt x="8627" y="8721"/>
                </a:lnTo>
                <a:lnTo>
                  <a:pt x="8555" y="8664"/>
                </a:lnTo>
                <a:lnTo>
                  <a:pt x="8540" y="8628"/>
                </a:lnTo>
                <a:lnTo>
                  <a:pt x="8544" y="8603"/>
                </a:lnTo>
                <a:lnTo>
                  <a:pt x="8565" y="8584"/>
                </a:lnTo>
                <a:lnTo>
                  <a:pt x="8605" y="8571"/>
                </a:lnTo>
                <a:lnTo>
                  <a:pt x="8581" y="8527"/>
                </a:lnTo>
                <a:lnTo>
                  <a:pt x="8623" y="8497"/>
                </a:lnTo>
                <a:lnTo>
                  <a:pt x="8658" y="8504"/>
                </a:lnTo>
                <a:lnTo>
                  <a:pt x="8618" y="8561"/>
                </a:lnTo>
                <a:lnTo>
                  <a:pt x="8621" y="8586"/>
                </a:lnTo>
                <a:lnTo>
                  <a:pt x="8652" y="8574"/>
                </a:lnTo>
                <a:lnTo>
                  <a:pt x="8693" y="8561"/>
                </a:lnTo>
                <a:lnTo>
                  <a:pt x="8730" y="8588"/>
                </a:lnTo>
                <a:lnTo>
                  <a:pt x="8755" y="8585"/>
                </a:lnTo>
                <a:lnTo>
                  <a:pt x="8722" y="8535"/>
                </a:lnTo>
                <a:lnTo>
                  <a:pt x="8667" y="8481"/>
                </a:lnTo>
                <a:lnTo>
                  <a:pt x="8629" y="8462"/>
                </a:lnTo>
                <a:lnTo>
                  <a:pt x="8599" y="8467"/>
                </a:lnTo>
                <a:lnTo>
                  <a:pt x="8576" y="8476"/>
                </a:lnTo>
                <a:lnTo>
                  <a:pt x="8559" y="8481"/>
                </a:lnTo>
                <a:lnTo>
                  <a:pt x="8548" y="8474"/>
                </a:lnTo>
                <a:lnTo>
                  <a:pt x="8535" y="8463"/>
                </a:lnTo>
                <a:lnTo>
                  <a:pt x="8525" y="8472"/>
                </a:lnTo>
                <a:lnTo>
                  <a:pt x="8514" y="8487"/>
                </a:lnTo>
                <a:lnTo>
                  <a:pt x="8500" y="8492"/>
                </a:lnTo>
                <a:lnTo>
                  <a:pt x="8480" y="8485"/>
                </a:lnTo>
                <a:lnTo>
                  <a:pt x="8462" y="8474"/>
                </a:lnTo>
                <a:lnTo>
                  <a:pt x="8443" y="8467"/>
                </a:lnTo>
                <a:lnTo>
                  <a:pt x="8421" y="8467"/>
                </a:lnTo>
                <a:lnTo>
                  <a:pt x="8391" y="8406"/>
                </a:lnTo>
                <a:lnTo>
                  <a:pt x="8359" y="8343"/>
                </a:lnTo>
                <a:lnTo>
                  <a:pt x="8357" y="8304"/>
                </a:lnTo>
                <a:lnTo>
                  <a:pt x="8419" y="8314"/>
                </a:lnTo>
                <a:lnTo>
                  <a:pt x="8451" y="8311"/>
                </a:lnTo>
                <a:lnTo>
                  <a:pt x="8429" y="8287"/>
                </a:lnTo>
                <a:lnTo>
                  <a:pt x="8393" y="8255"/>
                </a:lnTo>
                <a:lnTo>
                  <a:pt x="8379" y="8227"/>
                </a:lnTo>
                <a:lnTo>
                  <a:pt x="8331" y="8239"/>
                </a:lnTo>
                <a:lnTo>
                  <a:pt x="8306" y="8292"/>
                </a:lnTo>
                <a:lnTo>
                  <a:pt x="8287" y="8356"/>
                </a:lnTo>
                <a:lnTo>
                  <a:pt x="8252" y="8398"/>
                </a:lnTo>
                <a:lnTo>
                  <a:pt x="8219" y="8277"/>
                </a:lnTo>
                <a:lnTo>
                  <a:pt x="8256" y="8249"/>
                </a:lnTo>
                <a:lnTo>
                  <a:pt x="8293" y="8216"/>
                </a:lnTo>
                <a:lnTo>
                  <a:pt x="8261" y="8081"/>
                </a:lnTo>
                <a:lnTo>
                  <a:pt x="8196" y="8187"/>
                </a:lnTo>
                <a:lnTo>
                  <a:pt x="8159" y="8206"/>
                </a:lnTo>
                <a:lnTo>
                  <a:pt x="8153" y="8155"/>
                </a:lnTo>
                <a:lnTo>
                  <a:pt x="8181" y="8049"/>
                </a:lnTo>
                <a:lnTo>
                  <a:pt x="8169" y="7997"/>
                </a:lnTo>
                <a:lnTo>
                  <a:pt x="8121" y="7936"/>
                </a:lnTo>
                <a:lnTo>
                  <a:pt x="8081" y="7872"/>
                </a:lnTo>
                <a:lnTo>
                  <a:pt x="8097" y="7814"/>
                </a:lnTo>
                <a:lnTo>
                  <a:pt x="8112" y="7744"/>
                </a:lnTo>
                <a:lnTo>
                  <a:pt x="8136" y="7760"/>
                </a:lnTo>
                <a:lnTo>
                  <a:pt x="8183" y="7797"/>
                </a:lnTo>
                <a:lnTo>
                  <a:pt x="8270" y="7791"/>
                </a:lnTo>
                <a:lnTo>
                  <a:pt x="8281" y="7770"/>
                </a:lnTo>
                <a:lnTo>
                  <a:pt x="8293" y="7753"/>
                </a:lnTo>
                <a:lnTo>
                  <a:pt x="8308" y="7742"/>
                </a:lnTo>
                <a:lnTo>
                  <a:pt x="8334" y="7745"/>
                </a:lnTo>
                <a:lnTo>
                  <a:pt x="8357" y="7728"/>
                </a:lnTo>
                <a:lnTo>
                  <a:pt x="8323" y="7707"/>
                </a:lnTo>
                <a:lnTo>
                  <a:pt x="8287" y="7685"/>
                </a:lnTo>
                <a:lnTo>
                  <a:pt x="8299" y="7671"/>
                </a:lnTo>
                <a:lnTo>
                  <a:pt x="8334" y="7677"/>
                </a:lnTo>
                <a:lnTo>
                  <a:pt x="8357" y="7656"/>
                </a:lnTo>
                <a:lnTo>
                  <a:pt x="8357" y="7630"/>
                </a:lnTo>
                <a:lnTo>
                  <a:pt x="8327" y="7621"/>
                </a:lnTo>
                <a:lnTo>
                  <a:pt x="8302" y="7637"/>
                </a:lnTo>
                <a:lnTo>
                  <a:pt x="8289" y="7634"/>
                </a:lnTo>
                <a:lnTo>
                  <a:pt x="8289" y="7619"/>
                </a:lnTo>
                <a:lnTo>
                  <a:pt x="8299" y="7596"/>
                </a:lnTo>
                <a:lnTo>
                  <a:pt x="8307" y="7553"/>
                </a:lnTo>
                <a:lnTo>
                  <a:pt x="8322" y="7513"/>
                </a:lnTo>
                <a:lnTo>
                  <a:pt x="8322" y="7487"/>
                </a:lnTo>
                <a:lnTo>
                  <a:pt x="8279" y="7481"/>
                </a:lnTo>
                <a:lnTo>
                  <a:pt x="8287" y="7451"/>
                </a:lnTo>
                <a:lnTo>
                  <a:pt x="8307" y="7422"/>
                </a:lnTo>
                <a:lnTo>
                  <a:pt x="8312" y="7409"/>
                </a:lnTo>
                <a:lnTo>
                  <a:pt x="8274" y="7432"/>
                </a:lnTo>
                <a:lnTo>
                  <a:pt x="8251" y="7466"/>
                </a:lnTo>
                <a:lnTo>
                  <a:pt x="8256" y="7495"/>
                </a:lnTo>
                <a:lnTo>
                  <a:pt x="8271" y="7520"/>
                </a:lnTo>
                <a:lnTo>
                  <a:pt x="8281" y="7543"/>
                </a:lnTo>
                <a:lnTo>
                  <a:pt x="8250" y="7541"/>
                </a:lnTo>
                <a:lnTo>
                  <a:pt x="8243" y="7526"/>
                </a:lnTo>
                <a:lnTo>
                  <a:pt x="8236" y="7513"/>
                </a:lnTo>
                <a:lnTo>
                  <a:pt x="8197" y="7518"/>
                </a:lnTo>
                <a:lnTo>
                  <a:pt x="8168" y="7512"/>
                </a:lnTo>
                <a:lnTo>
                  <a:pt x="8169" y="7539"/>
                </a:lnTo>
                <a:lnTo>
                  <a:pt x="8168" y="7574"/>
                </a:lnTo>
                <a:lnTo>
                  <a:pt x="8127" y="7595"/>
                </a:lnTo>
                <a:lnTo>
                  <a:pt x="8140" y="7647"/>
                </a:lnTo>
                <a:lnTo>
                  <a:pt x="8171" y="7646"/>
                </a:lnTo>
                <a:lnTo>
                  <a:pt x="8204" y="7610"/>
                </a:lnTo>
                <a:lnTo>
                  <a:pt x="8223" y="7560"/>
                </a:lnTo>
                <a:lnTo>
                  <a:pt x="8246" y="7625"/>
                </a:lnTo>
                <a:lnTo>
                  <a:pt x="8169" y="7690"/>
                </a:lnTo>
                <a:lnTo>
                  <a:pt x="8067" y="7714"/>
                </a:lnTo>
                <a:lnTo>
                  <a:pt x="8018" y="7663"/>
                </a:lnTo>
                <a:lnTo>
                  <a:pt x="7987" y="7665"/>
                </a:lnTo>
                <a:lnTo>
                  <a:pt x="7966" y="7646"/>
                </a:lnTo>
                <a:lnTo>
                  <a:pt x="7964" y="7621"/>
                </a:lnTo>
                <a:lnTo>
                  <a:pt x="7992" y="7606"/>
                </a:lnTo>
                <a:lnTo>
                  <a:pt x="7978" y="7571"/>
                </a:lnTo>
                <a:lnTo>
                  <a:pt x="7989" y="7549"/>
                </a:lnTo>
                <a:lnTo>
                  <a:pt x="8010" y="7531"/>
                </a:lnTo>
                <a:lnTo>
                  <a:pt x="8029" y="7511"/>
                </a:lnTo>
                <a:lnTo>
                  <a:pt x="8027" y="7418"/>
                </a:lnTo>
                <a:lnTo>
                  <a:pt x="8076" y="7395"/>
                </a:lnTo>
                <a:lnTo>
                  <a:pt x="8149" y="7413"/>
                </a:lnTo>
                <a:lnTo>
                  <a:pt x="8220" y="7446"/>
                </a:lnTo>
                <a:lnTo>
                  <a:pt x="8244" y="7371"/>
                </a:lnTo>
                <a:lnTo>
                  <a:pt x="8239" y="7354"/>
                </a:lnTo>
                <a:lnTo>
                  <a:pt x="8199" y="7354"/>
                </a:lnTo>
                <a:lnTo>
                  <a:pt x="8120" y="7333"/>
                </a:lnTo>
                <a:lnTo>
                  <a:pt x="8150" y="7285"/>
                </a:lnTo>
                <a:lnTo>
                  <a:pt x="8182" y="7273"/>
                </a:lnTo>
                <a:lnTo>
                  <a:pt x="8195" y="7256"/>
                </a:lnTo>
                <a:lnTo>
                  <a:pt x="8169" y="7194"/>
                </a:lnTo>
                <a:lnTo>
                  <a:pt x="8168" y="7184"/>
                </a:lnTo>
                <a:lnTo>
                  <a:pt x="8190" y="7196"/>
                </a:lnTo>
                <a:lnTo>
                  <a:pt x="8220" y="7208"/>
                </a:lnTo>
                <a:lnTo>
                  <a:pt x="8244" y="7195"/>
                </a:lnTo>
                <a:lnTo>
                  <a:pt x="8224" y="7181"/>
                </a:lnTo>
                <a:lnTo>
                  <a:pt x="8230" y="7173"/>
                </a:lnTo>
                <a:lnTo>
                  <a:pt x="8243" y="7177"/>
                </a:lnTo>
                <a:lnTo>
                  <a:pt x="8244" y="7196"/>
                </a:lnTo>
                <a:lnTo>
                  <a:pt x="8234" y="7248"/>
                </a:lnTo>
                <a:lnTo>
                  <a:pt x="8246" y="7277"/>
                </a:lnTo>
                <a:lnTo>
                  <a:pt x="8279" y="7277"/>
                </a:lnTo>
                <a:lnTo>
                  <a:pt x="8335" y="7245"/>
                </a:lnTo>
                <a:lnTo>
                  <a:pt x="8288" y="7189"/>
                </a:lnTo>
                <a:lnTo>
                  <a:pt x="8284" y="7119"/>
                </a:lnTo>
                <a:lnTo>
                  <a:pt x="8321" y="7061"/>
                </a:lnTo>
                <a:lnTo>
                  <a:pt x="8397" y="7042"/>
                </a:lnTo>
                <a:lnTo>
                  <a:pt x="8409" y="7002"/>
                </a:lnTo>
                <a:lnTo>
                  <a:pt x="8392" y="6981"/>
                </a:lnTo>
                <a:lnTo>
                  <a:pt x="8362" y="6988"/>
                </a:lnTo>
                <a:lnTo>
                  <a:pt x="8331" y="7023"/>
                </a:lnTo>
                <a:lnTo>
                  <a:pt x="8303" y="6938"/>
                </a:lnTo>
                <a:lnTo>
                  <a:pt x="8340" y="6864"/>
                </a:lnTo>
                <a:lnTo>
                  <a:pt x="8357" y="6814"/>
                </a:lnTo>
                <a:lnTo>
                  <a:pt x="8265" y="6800"/>
                </a:lnTo>
                <a:lnTo>
                  <a:pt x="8272" y="6837"/>
                </a:lnTo>
                <a:lnTo>
                  <a:pt x="8262" y="6870"/>
                </a:lnTo>
                <a:lnTo>
                  <a:pt x="8238" y="6898"/>
                </a:lnTo>
                <a:lnTo>
                  <a:pt x="8204" y="6919"/>
                </a:lnTo>
                <a:lnTo>
                  <a:pt x="8204" y="6935"/>
                </a:lnTo>
                <a:lnTo>
                  <a:pt x="8222" y="6943"/>
                </a:lnTo>
                <a:lnTo>
                  <a:pt x="8242" y="6952"/>
                </a:lnTo>
                <a:lnTo>
                  <a:pt x="8244" y="6971"/>
                </a:lnTo>
                <a:lnTo>
                  <a:pt x="8229" y="6990"/>
                </a:lnTo>
                <a:lnTo>
                  <a:pt x="8237" y="7010"/>
                </a:lnTo>
                <a:lnTo>
                  <a:pt x="8247" y="7027"/>
                </a:lnTo>
                <a:lnTo>
                  <a:pt x="8236" y="7035"/>
                </a:lnTo>
                <a:lnTo>
                  <a:pt x="8183" y="7038"/>
                </a:lnTo>
                <a:lnTo>
                  <a:pt x="8149" y="7084"/>
                </a:lnTo>
                <a:lnTo>
                  <a:pt x="8121" y="7130"/>
                </a:lnTo>
                <a:lnTo>
                  <a:pt x="8088" y="7131"/>
                </a:lnTo>
                <a:lnTo>
                  <a:pt x="8093" y="7105"/>
                </a:lnTo>
                <a:lnTo>
                  <a:pt x="8074" y="7078"/>
                </a:lnTo>
                <a:lnTo>
                  <a:pt x="8047" y="7063"/>
                </a:lnTo>
                <a:lnTo>
                  <a:pt x="8028" y="7075"/>
                </a:lnTo>
                <a:lnTo>
                  <a:pt x="8031" y="7107"/>
                </a:lnTo>
                <a:lnTo>
                  <a:pt x="8033" y="7135"/>
                </a:lnTo>
                <a:lnTo>
                  <a:pt x="8039" y="7161"/>
                </a:lnTo>
                <a:lnTo>
                  <a:pt x="8053" y="7186"/>
                </a:lnTo>
                <a:lnTo>
                  <a:pt x="8011" y="7209"/>
                </a:lnTo>
                <a:lnTo>
                  <a:pt x="7990" y="7247"/>
                </a:lnTo>
                <a:lnTo>
                  <a:pt x="7994" y="7265"/>
                </a:lnTo>
                <a:lnTo>
                  <a:pt x="8027" y="7229"/>
                </a:lnTo>
                <a:lnTo>
                  <a:pt x="8073" y="7251"/>
                </a:lnTo>
                <a:lnTo>
                  <a:pt x="8064" y="7311"/>
                </a:lnTo>
                <a:lnTo>
                  <a:pt x="8023" y="7363"/>
                </a:lnTo>
                <a:lnTo>
                  <a:pt x="7971" y="7363"/>
                </a:lnTo>
                <a:lnTo>
                  <a:pt x="7960" y="7405"/>
                </a:lnTo>
                <a:lnTo>
                  <a:pt x="7964" y="7460"/>
                </a:lnTo>
                <a:lnTo>
                  <a:pt x="7964" y="7512"/>
                </a:lnTo>
                <a:lnTo>
                  <a:pt x="7943" y="7551"/>
                </a:lnTo>
                <a:lnTo>
                  <a:pt x="7908" y="7521"/>
                </a:lnTo>
                <a:lnTo>
                  <a:pt x="7906" y="7497"/>
                </a:lnTo>
                <a:lnTo>
                  <a:pt x="7888" y="7490"/>
                </a:lnTo>
                <a:lnTo>
                  <a:pt x="7806" y="7517"/>
                </a:lnTo>
                <a:lnTo>
                  <a:pt x="7811" y="7485"/>
                </a:lnTo>
                <a:lnTo>
                  <a:pt x="7852" y="7450"/>
                </a:lnTo>
                <a:lnTo>
                  <a:pt x="7890" y="7410"/>
                </a:lnTo>
                <a:lnTo>
                  <a:pt x="7888" y="7371"/>
                </a:lnTo>
                <a:lnTo>
                  <a:pt x="7864" y="7383"/>
                </a:lnTo>
                <a:lnTo>
                  <a:pt x="7848" y="7381"/>
                </a:lnTo>
                <a:lnTo>
                  <a:pt x="7852" y="7373"/>
                </a:lnTo>
                <a:lnTo>
                  <a:pt x="7882" y="7367"/>
                </a:lnTo>
                <a:lnTo>
                  <a:pt x="7897" y="7326"/>
                </a:lnTo>
                <a:lnTo>
                  <a:pt x="7917" y="7284"/>
                </a:lnTo>
                <a:lnTo>
                  <a:pt x="7932" y="7238"/>
                </a:lnTo>
                <a:lnTo>
                  <a:pt x="7934" y="7187"/>
                </a:lnTo>
                <a:lnTo>
                  <a:pt x="7916" y="7140"/>
                </a:lnTo>
                <a:lnTo>
                  <a:pt x="7930" y="7098"/>
                </a:lnTo>
                <a:lnTo>
                  <a:pt x="7949" y="7058"/>
                </a:lnTo>
                <a:lnTo>
                  <a:pt x="7950" y="7014"/>
                </a:lnTo>
                <a:lnTo>
                  <a:pt x="7950" y="6996"/>
                </a:lnTo>
                <a:lnTo>
                  <a:pt x="7967" y="6979"/>
                </a:lnTo>
                <a:lnTo>
                  <a:pt x="7990" y="6968"/>
                </a:lnTo>
                <a:lnTo>
                  <a:pt x="8006" y="6976"/>
                </a:lnTo>
                <a:lnTo>
                  <a:pt x="7997" y="6986"/>
                </a:lnTo>
                <a:lnTo>
                  <a:pt x="7994" y="6995"/>
                </a:lnTo>
                <a:lnTo>
                  <a:pt x="7997" y="7002"/>
                </a:lnTo>
                <a:lnTo>
                  <a:pt x="8010" y="7004"/>
                </a:lnTo>
                <a:lnTo>
                  <a:pt x="8045" y="6981"/>
                </a:lnTo>
                <a:lnTo>
                  <a:pt x="8073" y="7004"/>
                </a:lnTo>
                <a:lnTo>
                  <a:pt x="8102" y="7041"/>
                </a:lnTo>
                <a:lnTo>
                  <a:pt x="8143" y="7063"/>
                </a:lnTo>
                <a:lnTo>
                  <a:pt x="8158" y="7027"/>
                </a:lnTo>
                <a:lnTo>
                  <a:pt x="8159" y="7003"/>
                </a:lnTo>
                <a:lnTo>
                  <a:pt x="8145" y="6989"/>
                </a:lnTo>
                <a:lnTo>
                  <a:pt x="8112" y="6985"/>
                </a:lnTo>
                <a:lnTo>
                  <a:pt x="8153" y="6930"/>
                </a:lnTo>
                <a:lnTo>
                  <a:pt x="8127" y="6915"/>
                </a:lnTo>
                <a:lnTo>
                  <a:pt x="8070" y="6916"/>
                </a:lnTo>
                <a:lnTo>
                  <a:pt x="8019" y="6909"/>
                </a:lnTo>
                <a:lnTo>
                  <a:pt x="8074" y="6878"/>
                </a:lnTo>
                <a:lnTo>
                  <a:pt x="8102" y="6867"/>
                </a:lnTo>
                <a:lnTo>
                  <a:pt x="8112" y="6842"/>
                </a:lnTo>
                <a:lnTo>
                  <a:pt x="8111" y="6779"/>
                </a:lnTo>
                <a:lnTo>
                  <a:pt x="8143" y="6776"/>
                </a:lnTo>
                <a:lnTo>
                  <a:pt x="8168" y="6800"/>
                </a:lnTo>
                <a:lnTo>
                  <a:pt x="8195" y="6820"/>
                </a:lnTo>
                <a:lnTo>
                  <a:pt x="8227" y="6808"/>
                </a:lnTo>
                <a:lnTo>
                  <a:pt x="8264" y="6781"/>
                </a:lnTo>
                <a:lnTo>
                  <a:pt x="8228" y="6774"/>
                </a:lnTo>
                <a:lnTo>
                  <a:pt x="8177" y="6765"/>
                </a:lnTo>
                <a:lnTo>
                  <a:pt x="8164" y="6737"/>
                </a:lnTo>
                <a:lnTo>
                  <a:pt x="8225" y="6699"/>
                </a:lnTo>
                <a:lnTo>
                  <a:pt x="8299" y="6681"/>
                </a:lnTo>
                <a:lnTo>
                  <a:pt x="8350" y="6695"/>
                </a:lnTo>
                <a:lnTo>
                  <a:pt x="8336" y="6755"/>
                </a:lnTo>
                <a:lnTo>
                  <a:pt x="8365" y="6748"/>
                </a:lnTo>
                <a:lnTo>
                  <a:pt x="8391" y="6741"/>
                </a:lnTo>
                <a:lnTo>
                  <a:pt x="8415" y="6739"/>
                </a:lnTo>
                <a:lnTo>
                  <a:pt x="8442" y="6752"/>
                </a:lnTo>
                <a:lnTo>
                  <a:pt x="8471" y="6732"/>
                </a:lnTo>
                <a:lnTo>
                  <a:pt x="8499" y="6713"/>
                </a:lnTo>
                <a:lnTo>
                  <a:pt x="8512" y="6715"/>
                </a:lnTo>
                <a:lnTo>
                  <a:pt x="8500" y="6756"/>
                </a:lnTo>
                <a:lnTo>
                  <a:pt x="8442" y="6816"/>
                </a:lnTo>
                <a:lnTo>
                  <a:pt x="8469" y="6828"/>
                </a:lnTo>
                <a:lnTo>
                  <a:pt x="8521" y="6864"/>
                </a:lnTo>
                <a:lnTo>
                  <a:pt x="8535" y="6993"/>
                </a:lnTo>
                <a:lnTo>
                  <a:pt x="8521" y="7035"/>
                </a:lnTo>
                <a:lnTo>
                  <a:pt x="8495" y="7064"/>
                </a:lnTo>
                <a:lnTo>
                  <a:pt x="8475" y="7098"/>
                </a:lnTo>
                <a:lnTo>
                  <a:pt x="8479" y="7152"/>
                </a:lnTo>
                <a:lnTo>
                  <a:pt x="8424" y="7138"/>
                </a:lnTo>
                <a:lnTo>
                  <a:pt x="8371" y="7131"/>
                </a:lnTo>
                <a:lnTo>
                  <a:pt x="8345" y="7149"/>
                </a:lnTo>
                <a:lnTo>
                  <a:pt x="8373" y="7208"/>
                </a:lnTo>
                <a:lnTo>
                  <a:pt x="8392" y="7164"/>
                </a:lnTo>
                <a:lnTo>
                  <a:pt x="8437" y="7173"/>
                </a:lnTo>
                <a:lnTo>
                  <a:pt x="8469" y="7204"/>
                </a:lnTo>
                <a:lnTo>
                  <a:pt x="8446" y="7223"/>
                </a:lnTo>
                <a:lnTo>
                  <a:pt x="8419" y="7241"/>
                </a:lnTo>
                <a:lnTo>
                  <a:pt x="8393" y="7228"/>
                </a:lnTo>
                <a:lnTo>
                  <a:pt x="8367" y="7218"/>
                </a:lnTo>
                <a:lnTo>
                  <a:pt x="8335" y="7243"/>
                </a:lnTo>
                <a:lnTo>
                  <a:pt x="8348" y="7279"/>
                </a:lnTo>
                <a:lnTo>
                  <a:pt x="8326" y="7349"/>
                </a:lnTo>
                <a:lnTo>
                  <a:pt x="8321" y="7409"/>
                </a:lnTo>
                <a:lnTo>
                  <a:pt x="8382" y="7417"/>
                </a:lnTo>
                <a:lnTo>
                  <a:pt x="8392" y="7425"/>
                </a:lnTo>
                <a:lnTo>
                  <a:pt x="8393" y="7450"/>
                </a:lnTo>
                <a:lnTo>
                  <a:pt x="8395" y="7475"/>
                </a:lnTo>
                <a:lnTo>
                  <a:pt x="8410" y="7489"/>
                </a:lnTo>
                <a:lnTo>
                  <a:pt x="8419" y="7462"/>
                </a:lnTo>
                <a:lnTo>
                  <a:pt x="8432" y="7429"/>
                </a:lnTo>
                <a:lnTo>
                  <a:pt x="8443" y="7411"/>
                </a:lnTo>
                <a:lnTo>
                  <a:pt x="8446" y="7434"/>
                </a:lnTo>
                <a:lnTo>
                  <a:pt x="8447" y="7451"/>
                </a:lnTo>
                <a:lnTo>
                  <a:pt x="8461" y="7450"/>
                </a:lnTo>
                <a:lnTo>
                  <a:pt x="8480" y="7441"/>
                </a:lnTo>
                <a:lnTo>
                  <a:pt x="8495" y="7432"/>
                </a:lnTo>
                <a:lnTo>
                  <a:pt x="8494" y="7450"/>
                </a:lnTo>
                <a:lnTo>
                  <a:pt x="8502" y="7465"/>
                </a:lnTo>
                <a:lnTo>
                  <a:pt x="8513" y="7470"/>
                </a:lnTo>
                <a:lnTo>
                  <a:pt x="8526" y="7459"/>
                </a:lnTo>
                <a:lnTo>
                  <a:pt x="8518" y="7403"/>
                </a:lnTo>
                <a:lnTo>
                  <a:pt x="8537" y="7354"/>
                </a:lnTo>
                <a:lnTo>
                  <a:pt x="8556" y="7311"/>
                </a:lnTo>
                <a:lnTo>
                  <a:pt x="8554" y="7266"/>
                </a:lnTo>
                <a:lnTo>
                  <a:pt x="8530" y="7260"/>
                </a:lnTo>
                <a:lnTo>
                  <a:pt x="8520" y="7280"/>
                </a:lnTo>
                <a:lnTo>
                  <a:pt x="8512" y="7311"/>
                </a:lnTo>
                <a:lnTo>
                  <a:pt x="8495" y="7336"/>
                </a:lnTo>
                <a:lnTo>
                  <a:pt x="8469" y="7330"/>
                </a:lnTo>
                <a:lnTo>
                  <a:pt x="8476" y="7310"/>
                </a:lnTo>
                <a:lnTo>
                  <a:pt x="8499" y="7285"/>
                </a:lnTo>
                <a:lnTo>
                  <a:pt x="8517" y="7266"/>
                </a:lnTo>
                <a:lnTo>
                  <a:pt x="8498" y="7220"/>
                </a:lnTo>
                <a:lnTo>
                  <a:pt x="8525" y="7219"/>
                </a:lnTo>
                <a:lnTo>
                  <a:pt x="8563" y="7226"/>
                </a:lnTo>
                <a:lnTo>
                  <a:pt x="8579" y="7204"/>
                </a:lnTo>
                <a:lnTo>
                  <a:pt x="8599" y="7171"/>
                </a:lnTo>
                <a:lnTo>
                  <a:pt x="8637" y="7152"/>
                </a:lnTo>
                <a:lnTo>
                  <a:pt x="8674" y="7131"/>
                </a:lnTo>
                <a:lnTo>
                  <a:pt x="8686" y="7096"/>
                </a:lnTo>
                <a:lnTo>
                  <a:pt x="8655" y="7072"/>
                </a:lnTo>
                <a:lnTo>
                  <a:pt x="8619" y="7074"/>
                </a:lnTo>
                <a:lnTo>
                  <a:pt x="8604" y="7093"/>
                </a:lnTo>
                <a:lnTo>
                  <a:pt x="8635" y="7116"/>
                </a:lnTo>
                <a:lnTo>
                  <a:pt x="8644" y="7112"/>
                </a:lnTo>
                <a:lnTo>
                  <a:pt x="8649" y="7115"/>
                </a:lnTo>
                <a:lnTo>
                  <a:pt x="8647" y="7117"/>
                </a:lnTo>
                <a:lnTo>
                  <a:pt x="8635" y="7116"/>
                </a:lnTo>
                <a:lnTo>
                  <a:pt x="8600" y="7136"/>
                </a:lnTo>
                <a:lnTo>
                  <a:pt x="8582" y="7126"/>
                </a:lnTo>
                <a:lnTo>
                  <a:pt x="8567" y="7107"/>
                </a:lnTo>
                <a:lnTo>
                  <a:pt x="8539" y="7100"/>
                </a:lnTo>
                <a:lnTo>
                  <a:pt x="8523" y="7075"/>
                </a:lnTo>
                <a:lnTo>
                  <a:pt x="8540" y="7050"/>
                </a:lnTo>
                <a:lnTo>
                  <a:pt x="8565" y="7022"/>
                </a:lnTo>
                <a:lnTo>
                  <a:pt x="8572" y="6993"/>
                </a:lnTo>
                <a:lnTo>
                  <a:pt x="8596" y="6963"/>
                </a:lnTo>
                <a:lnTo>
                  <a:pt x="8630" y="6977"/>
                </a:lnTo>
                <a:lnTo>
                  <a:pt x="8680" y="6999"/>
                </a:lnTo>
                <a:lnTo>
                  <a:pt x="8754" y="6991"/>
                </a:lnTo>
                <a:lnTo>
                  <a:pt x="8695" y="6943"/>
                </a:lnTo>
                <a:lnTo>
                  <a:pt x="8697" y="6890"/>
                </a:lnTo>
                <a:lnTo>
                  <a:pt x="8702" y="6856"/>
                </a:lnTo>
                <a:lnTo>
                  <a:pt x="8655" y="6873"/>
                </a:lnTo>
                <a:lnTo>
                  <a:pt x="8652" y="6855"/>
                </a:lnTo>
                <a:lnTo>
                  <a:pt x="8671" y="6834"/>
                </a:lnTo>
                <a:lnTo>
                  <a:pt x="8697" y="6826"/>
                </a:lnTo>
                <a:lnTo>
                  <a:pt x="8712" y="6849"/>
                </a:lnTo>
                <a:lnTo>
                  <a:pt x="8769" y="6879"/>
                </a:lnTo>
                <a:lnTo>
                  <a:pt x="8797" y="6864"/>
                </a:lnTo>
                <a:lnTo>
                  <a:pt x="8797" y="6823"/>
                </a:lnTo>
                <a:lnTo>
                  <a:pt x="8765" y="6772"/>
                </a:lnTo>
                <a:lnTo>
                  <a:pt x="8713" y="6780"/>
                </a:lnTo>
                <a:lnTo>
                  <a:pt x="8671" y="6753"/>
                </a:lnTo>
                <a:lnTo>
                  <a:pt x="8627" y="6715"/>
                </a:lnTo>
                <a:lnTo>
                  <a:pt x="8573" y="6687"/>
                </a:lnTo>
                <a:lnTo>
                  <a:pt x="8520" y="6663"/>
                </a:lnTo>
                <a:lnTo>
                  <a:pt x="8486" y="6683"/>
                </a:lnTo>
                <a:lnTo>
                  <a:pt x="8458" y="6709"/>
                </a:lnTo>
                <a:lnTo>
                  <a:pt x="8420" y="6697"/>
                </a:lnTo>
                <a:lnTo>
                  <a:pt x="8371" y="6616"/>
                </a:lnTo>
                <a:lnTo>
                  <a:pt x="8386" y="6603"/>
                </a:lnTo>
                <a:lnTo>
                  <a:pt x="8439" y="6594"/>
                </a:lnTo>
                <a:lnTo>
                  <a:pt x="8502" y="6523"/>
                </a:lnTo>
                <a:lnTo>
                  <a:pt x="8555" y="6561"/>
                </a:lnTo>
                <a:lnTo>
                  <a:pt x="8523" y="6567"/>
                </a:lnTo>
                <a:lnTo>
                  <a:pt x="8485" y="6573"/>
                </a:lnTo>
                <a:lnTo>
                  <a:pt x="8517" y="6608"/>
                </a:lnTo>
                <a:lnTo>
                  <a:pt x="8563" y="6635"/>
                </a:lnTo>
                <a:lnTo>
                  <a:pt x="8590" y="6635"/>
                </a:lnTo>
                <a:lnTo>
                  <a:pt x="8599" y="6609"/>
                </a:lnTo>
                <a:lnTo>
                  <a:pt x="8596" y="6561"/>
                </a:lnTo>
                <a:lnTo>
                  <a:pt x="8615" y="6571"/>
                </a:lnTo>
                <a:lnTo>
                  <a:pt x="8634" y="6583"/>
                </a:lnTo>
                <a:lnTo>
                  <a:pt x="8655" y="6593"/>
                </a:lnTo>
                <a:lnTo>
                  <a:pt x="8675" y="6603"/>
                </a:lnTo>
                <a:lnTo>
                  <a:pt x="8647" y="6636"/>
                </a:lnTo>
                <a:lnTo>
                  <a:pt x="8641" y="6673"/>
                </a:lnTo>
                <a:lnTo>
                  <a:pt x="8653" y="6688"/>
                </a:lnTo>
                <a:lnTo>
                  <a:pt x="8681" y="6660"/>
                </a:lnTo>
                <a:lnTo>
                  <a:pt x="8702" y="6639"/>
                </a:lnTo>
                <a:lnTo>
                  <a:pt x="8719" y="6660"/>
                </a:lnTo>
                <a:lnTo>
                  <a:pt x="8739" y="6682"/>
                </a:lnTo>
                <a:lnTo>
                  <a:pt x="8762" y="6662"/>
                </a:lnTo>
                <a:lnTo>
                  <a:pt x="8826" y="6604"/>
                </a:lnTo>
                <a:lnTo>
                  <a:pt x="8880" y="6612"/>
                </a:lnTo>
                <a:lnTo>
                  <a:pt x="8909" y="6615"/>
                </a:lnTo>
                <a:lnTo>
                  <a:pt x="8904" y="6543"/>
                </a:lnTo>
                <a:lnTo>
                  <a:pt x="8898" y="6500"/>
                </a:lnTo>
                <a:lnTo>
                  <a:pt x="8908" y="6500"/>
                </a:lnTo>
                <a:lnTo>
                  <a:pt x="8925" y="6517"/>
                </a:lnTo>
                <a:lnTo>
                  <a:pt x="8939" y="6520"/>
                </a:lnTo>
                <a:lnTo>
                  <a:pt x="8936" y="6459"/>
                </a:lnTo>
                <a:lnTo>
                  <a:pt x="8937" y="6434"/>
                </a:lnTo>
                <a:lnTo>
                  <a:pt x="8959" y="6421"/>
                </a:lnTo>
                <a:lnTo>
                  <a:pt x="9020" y="6398"/>
                </a:lnTo>
                <a:lnTo>
                  <a:pt x="9032" y="6458"/>
                </a:lnTo>
                <a:lnTo>
                  <a:pt x="9011" y="6520"/>
                </a:lnTo>
                <a:lnTo>
                  <a:pt x="8993" y="6578"/>
                </a:lnTo>
                <a:lnTo>
                  <a:pt x="9010" y="6622"/>
                </a:lnTo>
                <a:lnTo>
                  <a:pt x="8967" y="6667"/>
                </a:lnTo>
                <a:lnTo>
                  <a:pt x="8945" y="6727"/>
                </a:lnTo>
                <a:lnTo>
                  <a:pt x="8928" y="6792"/>
                </a:lnTo>
                <a:lnTo>
                  <a:pt x="8899" y="6854"/>
                </a:lnTo>
                <a:lnTo>
                  <a:pt x="8928" y="6897"/>
                </a:lnTo>
                <a:lnTo>
                  <a:pt x="8997" y="6874"/>
                </a:lnTo>
                <a:lnTo>
                  <a:pt x="9068" y="6820"/>
                </a:lnTo>
                <a:lnTo>
                  <a:pt x="9104" y="6767"/>
                </a:lnTo>
                <a:lnTo>
                  <a:pt x="9170" y="6705"/>
                </a:lnTo>
                <a:lnTo>
                  <a:pt x="9196" y="6705"/>
                </a:lnTo>
                <a:lnTo>
                  <a:pt x="9206" y="6755"/>
                </a:lnTo>
                <a:lnTo>
                  <a:pt x="9228" y="6842"/>
                </a:lnTo>
                <a:lnTo>
                  <a:pt x="9285" y="6855"/>
                </a:lnTo>
                <a:lnTo>
                  <a:pt x="9266" y="6832"/>
                </a:lnTo>
                <a:lnTo>
                  <a:pt x="9234" y="6792"/>
                </a:lnTo>
                <a:lnTo>
                  <a:pt x="9251" y="6751"/>
                </a:lnTo>
                <a:lnTo>
                  <a:pt x="9271" y="6748"/>
                </a:lnTo>
                <a:lnTo>
                  <a:pt x="9293" y="6753"/>
                </a:lnTo>
                <a:lnTo>
                  <a:pt x="9305" y="6753"/>
                </a:lnTo>
                <a:lnTo>
                  <a:pt x="9299" y="6738"/>
                </a:lnTo>
                <a:lnTo>
                  <a:pt x="9271" y="6708"/>
                </a:lnTo>
                <a:lnTo>
                  <a:pt x="9272" y="6692"/>
                </a:lnTo>
                <a:lnTo>
                  <a:pt x="9284" y="6676"/>
                </a:lnTo>
                <a:lnTo>
                  <a:pt x="9282" y="6636"/>
                </a:lnTo>
                <a:lnTo>
                  <a:pt x="9245" y="6644"/>
                </a:lnTo>
                <a:lnTo>
                  <a:pt x="9243" y="6621"/>
                </a:lnTo>
                <a:lnTo>
                  <a:pt x="9261" y="6587"/>
                </a:lnTo>
                <a:lnTo>
                  <a:pt x="9282" y="6557"/>
                </a:lnTo>
                <a:lnTo>
                  <a:pt x="9368" y="6543"/>
                </a:lnTo>
                <a:lnTo>
                  <a:pt x="9410" y="6593"/>
                </a:lnTo>
                <a:lnTo>
                  <a:pt x="9438" y="6640"/>
                </a:lnTo>
                <a:lnTo>
                  <a:pt x="9480" y="6617"/>
                </a:lnTo>
                <a:lnTo>
                  <a:pt x="9509" y="6571"/>
                </a:lnTo>
                <a:lnTo>
                  <a:pt x="9540" y="6606"/>
                </a:lnTo>
                <a:lnTo>
                  <a:pt x="9569" y="6674"/>
                </a:lnTo>
                <a:lnTo>
                  <a:pt x="9594" y="6736"/>
                </a:lnTo>
                <a:lnTo>
                  <a:pt x="9543" y="6718"/>
                </a:lnTo>
                <a:lnTo>
                  <a:pt x="9509" y="6729"/>
                </a:lnTo>
                <a:lnTo>
                  <a:pt x="9501" y="6757"/>
                </a:lnTo>
                <a:lnTo>
                  <a:pt x="9528" y="6786"/>
                </a:lnTo>
                <a:lnTo>
                  <a:pt x="9570" y="6770"/>
                </a:lnTo>
                <a:lnTo>
                  <a:pt x="9611" y="6795"/>
                </a:lnTo>
                <a:lnTo>
                  <a:pt x="9652" y="6814"/>
                </a:lnTo>
                <a:lnTo>
                  <a:pt x="9691" y="6776"/>
                </a:lnTo>
                <a:lnTo>
                  <a:pt x="9704" y="6752"/>
                </a:lnTo>
                <a:lnTo>
                  <a:pt x="9720" y="6744"/>
                </a:lnTo>
                <a:lnTo>
                  <a:pt x="9740" y="6752"/>
                </a:lnTo>
                <a:lnTo>
                  <a:pt x="9757" y="6771"/>
                </a:lnTo>
                <a:lnTo>
                  <a:pt x="9779" y="6715"/>
                </a:lnTo>
                <a:lnTo>
                  <a:pt x="9764" y="6692"/>
                </a:lnTo>
                <a:lnTo>
                  <a:pt x="9723" y="6695"/>
                </a:lnTo>
                <a:lnTo>
                  <a:pt x="9663" y="6715"/>
                </a:lnTo>
                <a:lnTo>
                  <a:pt x="9633" y="6695"/>
                </a:lnTo>
                <a:lnTo>
                  <a:pt x="9635" y="6669"/>
                </a:lnTo>
                <a:lnTo>
                  <a:pt x="9661" y="6650"/>
                </a:lnTo>
                <a:lnTo>
                  <a:pt x="9694" y="6649"/>
                </a:lnTo>
                <a:lnTo>
                  <a:pt x="9650" y="6584"/>
                </a:lnTo>
                <a:lnTo>
                  <a:pt x="9577" y="6547"/>
                </a:lnTo>
                <a:lnTo>
                  <a:pt x="9499" y="6525"/>
                </a:lnTo>
                <a:lnTo>
                  <a:pt x="9442" y="6500"/>
                </a:lnTo>
                <a:lnTo>
                  <a:pt x="9189" y="6268"/>
                </a:lnTo>
                <a:lnTo>
                  <a:pt x="8889" y="6088"/>
                </a:lnTo>
                <a:lnTo>
                  <a:pt x="8574" y="5922"/>
                </a:lnTo>
                <a:lnTo>
                  <a:pt x="8281" y="5730"/>
                </a:lnTo>
                <a:lnTo>
                  <a:pt x="8425" y="5650"/>
                </a:lnTo>
                <a:lnTo>
                  <a:pt x="8568" y="5570"/>
                </a:lnTo>
                <a:lnTo>
                  <a:pt x="8709" y="5486"/>
                </a:lnTo>
                <a:lnTo>
                  <a:pt x="8847" y="5394"/>
                </a:lnTo>
                <a:lnTo>
                  <a:pt x="9072" y="5269"/>
                </a:lnTo>
                <a:lnTo>
                  <a:pt x="9272" y="5118"/>
                </a:lnTo>
                <a:lnTo>
                  <a:pt x="9466" y="4966"/>
                </a:lnTo>
                <a:lnTo>
                  <a:pt x="9667" y="4841"/>
                </a:lnTo>
                <a:lnTo>
                  <a:pt x="9755" y="4803"/>
                </a:lnTo>
                <a:lnTo>
                  <a:pt x="9840" y="4761"/>
                </a:lnTo>
                <a:lnTo>
                  <a:pt x="9923" y="4717"/>
                </a:lnTo>
                <a:lnTo>
                  <a:pt x="10010" y="4672"/>
                </a:lnTo>
                <a:lnTo>
                  <a:pt x="9989" y="4645"/>
                </a:lnTo>
                <a:lnTo>
                  <a:pt x="9962" y="4624"/>
                </a:lnTo>
                <a:lnTo>
                  <a:pt x="9945" y="4594"/>
                </a:lnTo>
                <a:lnTo>
                  <a:pt x="9950" y="4549"/>
                </a:lnTo>
                <a:lnTo>
                  <a:pt x="9920" y="4531"/>
                </a:lnTo>
                <a:lnTo>
                  <a:pt x="9940" y="4516"/>
                </a:lnTo>
                <a:lnTo>
                  <a:pt x="9974" y="4516"/>
                </a:lnTo>
                <a:lnTo>
                  <a:pt x="9988" y="4546"/>
                </a:lnTo>
                <a:lnTo>
                  <a:pt x="9988" y="4587"/>
                </a:lnTo>
                <a:lnTo>
                  <a:pt x="10017" y="4591"/>
                </a:lnTo>
                <a:lnTo>
                  <a:pt x="10058" y="4582"/>
                </a:lnTo>
                <a:lnTo>
                  <a:pt x="10094" y="4584"/>
                </a:lnTo>
                <a:lnTo>
                  <a:pt x="10162" y="4551"/>
                </a:lnTo>
                <a:lnTo>
                  <a:pt x="10277" y="4513"/>
                </a:lnTo>
                <a:lnTo>
                  <a:pt x="10360" y="4456"/>
                </a:lnTo>
                <a:lnTo>
                  <a:pt x="10334" y="4364"/>
                </a:lnTo>
                <a:lnTo>
                  <a:pt x="10280" y="4355"/>
                </a:lnTo>
                <a:lnTo>
                  <a:pt x="10248" y="4373"/>
                </a:lnTo>
                <a:lnTo>
                  <a:pt x="10225" y="4411"/>
                </a:lnTo>
                <a:lnTo>
                  <a:pt x="10195" y="4465"/>
                </a:lnTo>
                <a:lnTo>
                  <a:pt x="10166" y="4458"/>
                </a:lnTo>
                <a:lnTo>
                  <a:pt x="10156" y="4434"/>
                </a:lnTo>
                <a:lnTo>
                  <a:pt x="10162" y="4406"/>
                </a:lnTo>
                <a:lnTo>
                  <a:pt x="10187" y="4388"/>
                </a:lnTo>
                <a:lnTo>
                  <a:pt x="10171" y="4359"/>
                </a:lnTo>
                <a:lnTo>
                  <a:pt x="10136" y="4323"/>
                </a:lnTo>
                <a:lnTo>
                  <a:pt x="10092" y="4295"/>
                </a:lnTo>
                <a:lnTo>
                  <a:pt x="10058" y="4290"/>
                </a:lnTo>
                <a:lnTo>
                  <a:pt x="10111" y="4370"/>
                </a:lnTo>
                <a:lnTo>
                  <a:pt x="10060" y="4449"/>
                </a:lnTo>
                <a:lnTo>
                  <a:pt x="9989" y="4485"/>
                </a:lnTo>
                <a:lnTo>
                  <a:pt x="9983" y="4437"/>
                </a:lnTo>
                <a:lnTo>
                  <a:pt x="9976" y="4409"/>
                </a:lnTo>
                <a:lnTo>
                  <a:pt x="9954" y="4428"/>
                </a:lnTo>
                <a:lnTo>
                  <a:pt x="9923" y="4456"/>
                </a:lnTo>
                <a:lnTo>
                  <a:pt x="9895" y="4457"/>
                </a:lnTo>
                <a:lnTo>
                  <a:pt x="9849" y="4472"/>
                </a:lnTo>
                <a:lnTo>
                  <a:pt x="9862" y="4518"/>
                </a:lnTo>
                <a:lnTo>
                  <a:pt x="9886" y="4565"/>
                </a:lnTo>
                <a:lnTo>
                  <a:pt x="9869" y="4592"/>
                </a:lnTo>
                <a:lnTo>
                  <a:pt x="9789" y="4568"/>
                </a:lnTo>
                <a:lnTo>
                  <a:pt x="9791" y="4607"/>
                </a:lnTo>
                <a:lnTo>
                  <a:pt x="9783" y="4653"/>
                </a:lnTo>
                <a:lnTo>
                  <a:pt x="9671" y="4644"/>
                </a:lnTo>
                <a:lnTo>
                  <a:pt x="9699" y="4705"/>
                </a:lnTo>
                <a:lnTo>
                  <a:pt x="9698" y="4729"/>
                </a:lnTo>
                <a:lnTo>
                  <a:pt x="9666" y="4731"/>
                </a:lnTo>
                <a:lnTo>
                  <a:pt x="9602" y="4724"/>
                </a:lnTo>
                <a:lnTo>
                  <a:pt x="9611" y="4671"/>
                </a:lnTo>
                <a:lnTo>
                  <a:pt x="9621" y="4620"/>
                </a:lnTo>
                <a:lnTo>
                  <a:pt x="9626" y="4568"/>
                </a:lnTo>
                <a:lnTo>
                  <a:pt x="9621" y="4512"/>
                </a:lnTo>
                <a:lnTo>
                  <a:pt x="9658" y="4474"/>
                </a:lnTo>
                <a:lnTo>
                  <a:pt x="9678" y="4433"/>
                </a:lnTo>
                <a:lnTo>
                  <a:pt x="9684" y="4387"/>
                </a:lnTo>
                <a:lnTo>
                  <a:pt x="9668" y="4335"/>
                </a:lnTo>
                <a:lnTo>
                  <a:pt x="9638" y="4271"/>
                </a:lnTo>
                <a:lnTo>
                  <a:pt x="9563" y="4256"/>
                </a:lnTo>
                <a:lnTo>
                  <a:pt x="9471" y="4267"/>
                </a:lnTo>
                <a:lnTo>
                  <a:pt x="9391" y="4286"/>
                </a:lnTo>
                <a:lnTo>
                  <a:pt x="9313" y="4153"/>
                </a:lnTo>
                <a:lnTo>
                  <a:pt x="9235" y="4070"/>
                </a:lnTo>
                <a:lnTo>
                  <a:pt x="9141" y="4013"/>
                </a:lnTo>
                <a:lnTo>
                  <a:pt x="9016" y="3957"/>
                </a:lnTo>
                <a:lnTo>
                  <a:pt x="8969" y="3856"/>
                </a:lnTo>
                <a:lnTo>
                  <a:pt x="8897" y="3729"/>
                </a:lnTo>
                <a:lnTo>
                  <a:pt x="8824" y="3649"/>
                </a:lnTo>
                <a:lnTo>
                  <a:pt x="8786" y="3691"/>
                </a:lnTo>
                <a:lnTo>
                  <a:pt x="8835" y="3726"/>
                </a:lnTo>
                <a:lnTo>
                  <a:pt x="8868" y="3771"/>
                </a:lnTo>
                <a:lnTo>
                  <a:pt x="8867" y="3814"/>
                </a:lnTo>
                <a:lnTo>
                  <a:pt x="8814" y="3849"/>
                </a:lnTo>
                <a:lnTo>
                  <a:pt x="8758" y="3815"/>
                </a:lnTo>
                <a:lnTo>
                  <a:pt x="8716" y="3819"/>
                </a:lnTo>
                <a:lnTo>
                  <a:pt x="8688" y="3810"/>
                </a:lnTo>
                <a:lnTo>
                  <a:pt x="8670" y="3740"/>
                </a:lnTo>
                <a:lnTo>
                  <a:pt x="8651" y="3710"/>
                </a:lnTo>
                <a:lnTo>
                  <a:pt x="8600" y="3710"/>
                </a:lnTo>
                <a:lnTo>
                  <a:pt x="8545" y="3705"/>
                </a:lnTo>
                <a:lnTo>
                  <a:pt x="8509" y="3663"/>
                </a:lnTo>
                <a:lnTo>
                  <a:pt x="8511" y="3661"/>
                </a:lnTo>
                <a:lnTo>
                  <a:pt x="8511" y="3660"/>
                </a:lnTo>
                <a:lnTo>
                  <a:pt x="8509" y="3661"/>
                </a:lnTo>
                <a:lnTo>
                  <a:pt x="8509" y="3663"/>
                </a:lnTo>
                <a:lnTo>
                  <a:pt x="8467" y="3653"/>
                </a:lnTo>
                <a:lnTo>
                  <a:pt x="8418" y="3653"/>
                </a:lnTo>
                <a:lnTo>
                  <a:pt x="8374" y="3649"/>
                </a:lnTo>
                <a:lnTo>
                  <a:pt x="8353" y="3626"/>
                </a:lnTo>
                <a:lnTo>
                  <a:pt x="8437" y="3526"/>
                </a:lnTo>
                <a:lnTo>
                  <a:pt x="8472" y="3434"/>
                </a:lnTo>
                <a:lnTo>
                  <a:pt x="8511" y="3350"/>
                </a:lnTo>
                <a:lnTo>
                  <a:pt x="8601" y="3277"/>
                </a:lnTo>
                <a:lnTo>
                  <a:pt x="8591" y="3207"/>
                </a:lnTo>
                <a:lnTo>
                  <a:pt x="8555" y="3141"/>
                </a:lnTo>
                <a:lnTo>
                  <a:pt x="8532" y="3081"/>
                </a:lnTo>
                <a:lnTo>
                  <a:pt x="8564" y="3030"/>
                </a:lnTo>
                <a:lnTo>
                  <a:pt x="8570" y="3011"/>
                </a:lnTo>
                <a:lnTo>
                  <a:pt x="8544" y="2994"/>
                </a:lnTo>
                <a:lnTo>
                  <a:pt x="8511" y="2978"/>
                </a:lnTo>
                <a:lnTo>
                  <a:pt x="8498" y="2954"/>
                </a:lnTo>
                <a:lnTo>
                  <a:pt x="8553" y="2895"/>
                </a:lnTo>
                <a:lnTo>
                  <a:pt x="8604" y="2890"/>
                </a:lnTo>
                <a:lnTo>
                  <a:pt x="8644" y="2875"/>
                </a:lnTo>
                <a:lnTo>
                  <a:pt x="8670" y="2792"/>
                </a:lnTo>
                <a:lnTo>
                  <a:pt x="8716" y="2829"/>
                </a:lnTo>
                <a:lnTo>
                  <a:pt x="8764" y="2851"/>
                </a:lnTo>
                <a:lnTo>
                  <a:pt x="8796" y="2837"/>
                </a:lnTo>
                <a:lnTo>
                  <a:pt x="8787" y="2767"/>
                </a:lnTo>
                <a:lnTo>
                  <a:pt x="8833" y="2698"/>
                </a:lnTo>
                <a:lnTo>
                  <a:pt x="8824" y="2684"/>
                </a:lnTo>
                <a:lnTo>
                  <a:pt x="8784" y="2695"/>
                </a:lnTo>
                <a:lnTo>
                  <a:pt x="8736" y="2697"/>
                </a:lnTo>
                <a:lnTo>
                  <a:pt x="8741" y="2651"/>
                </a:lnTo>
                <a:lnTo>
                  <a:pt x="8759" y="2616"/>
                </a:lnTo>
                <a:lnTo>
                  <a:pt x="8768" y="2585"/>
                </a:lnTo>
                <a:lnTo>
                  <a:pt x="8748" y="2548"/>
                </a:lnTo>
                <a:lnTo>
                  <a:pt x="8837" y="2597"/>
                </a:lnTo>
                <a:lnTo>
                  <a:pt x="8879" y="2593"/>
                </a:lnTo>
                <a:lnTo>
                  <a:pt x="8908" y="2558"/>
                </a:lnTo>
                <a:lnTo>
                  <a:pt x="8959" y="2509"/>
                </a:lnTo>
                <a:lnTo>
                  <a:pt x="8987" y="2511"/>
                </a:lnTo>
                <a:lnTo>
                  <a:pt x="9009" y="2522"/>
                </a:lnTo>
                <a:lnTo>
                  <a:pt x="9030" y="2539"/>
                </a:lnTo>
                <a:lnTo>
                  <a:pt x="9056" y="2555"/>
                </a:lnTo>
                <a:lnTo>
                  <a:pt x="9090" y="2588"/>
                </a:lnTo>
                <a:lnTo>
                  <a:pt x="9110" y="2535"/>
                </a:lnTo>
                <a:lnTo>
                  <a:pt x="9131" y="2456"/>
                </a:lnTo>
                <a:lnTo>
                  <a:pt x="9163" y="2410"/>
                </a:lnTo>
                <a:lnTo>
                  <a:pt x="9189" y="2401"/>
                </a:lnTo>
                <a:lnTo>
                  <a:pt x="9210" y="2420"/>
                </a:lnTo>
                <a:lnTo>
                  <a:pt x="9230" y="2448"/>
                </a:lnTo>
                <a:lnTo>
                  <a:pt x="9259" y="2465"/>
                </a:lnTo>
                <a:lnTo>
                  <a:pt x="9286" y="2456"/>
                </a:lnTo>
                <a:lnTo>
                  <a:pt x="9303" y="2438"/>
                </a:lnTo>
                <a:lnTo>
                  <a:pt x="9307" y="2414"/>
                </a:lnTo>
                <a:lnTo>
                  <a:pt x="9296" y="2383"/>
                </a:lnTo>
                <a:lnTo>
                  <a:pt x="9287" y="2344"/>
                </a:lnTo>
                <a:lnTo>
                  <a:pt x="9275" y="2310"/>
                </a:lnTo>
                <a:lnTo>
                  <a:pt x="9263" y="2273"/>
                </a:lnTo>
                <a:lnTo>
                  <a:pt x="9257" y="2228"/>
                </a:lnTo>
                <a:lnTo>
                  <a:pt x="9301" y="2180"/>
                </a:lnTo>
                <a:lnTo>
                  <a:pt x="9382" y="2139"/>
                </a:lnTo>
                <a:lnTo>
                  <a:pt x="9426" y="2110"/>
                </a:lnTo>
                <a:lnTo>
                  <a:pt x="9361" y="2096"/>
                </a:lnTo>
                <a:lnTo>
                  <a:pt x="9186" y="2178"/>
                </a:lnTo>
                <a:lnTo>
                  <a:pt x="9012" y="2269"/>
                </a:lnTo>
                <a:lnTo>
                  <a:pt x="8846" y="2367"/>
                </a:lnTo>
                <a:lnTo>
                  <a:pt x="8694" y="2476"/>
                </a:lnTo>
                <a:lnTo>
                  <a:pt x="8555" y="2515"/>
                </a:lnTo>
                <a:lnTo>
                  <a:pt x="8433" y="2586"/>
                </a:lnTo>
                <a:lnTo>
                  <a:pt x="8326" y="2669"/>
                </a:lnTo>
                <a:lnTo>
                  <a:pt x="8229" y="2741"/>
                </a:lnTo>
                <a:lnTo>
                  <a:pt x="8213" y="2746"/>
                </a:lnTo>
                <a:lnTo>
                  <a:pt x="8219" y="2761"/>
                </a:lnTo>
                <a:lnTo>
                  <a:pt x="8225" y="2778"/>
                </a:lnTo>
                <a:lnTo>
                  <a:pt x="8210" y="2788"/>
                </a:lnTo>
                <a:lnTo>
                  <a:pt x="8180" y="2800"/>
                </a:lnTo>
                <a:lnTo>
                  <a:pt x="8149" y="2815"/>
                </a:lnTo>
                <a:lnTo>
                  <a:pt x="8120" y="2828"/>
                </a:lnTo>
                <a:lnTo>
                  <a:pt x="8097" y="2829"/>
                </a:lnTo>
                <a:lnTo>
                  <a:pt x="7759" y="2943"/>
                </a:lnTo>
                <a:lnTo>
                  <a:pt x="7436" y="3118"/>
                </a:lnTo>
                <a:lnTo>
                  <a:pt x="7116" y="3313"/>
                </a:lnTo>
                <a:lnTo>
                  <a:pt x="6790" y="3487"/>
                </a:lnTo>
                <a:lnTo>
                  <a:pt x="6795" y="3280"/>
                </a:lnTo>
                <a:lnTo>
                  <a:pt x="6809" y="3041"/>
                </a:lnTo>
                <a:lnTo>
                  <a:pt x="6797" y="2833"/>
                </a:lnTo>
                <a:lnTo>
                  <a:pt x="6720" y="2714"/>
                </a:lnTo>
                <a:lnTo>
                  <a:pt x="6688" y="2719"/>
                </a:lnTo>
                <a:lnTo>
                  <a:pt x="6683" y="2703"/>
                </a:lnTo>
                <a:lnTo>
                  <a:pt x="6698" y="2686"/>
                </a:lnTo>
                <a:lnTo>
                  <a:pt x="6728" y="2684"/>
                </a:lnTo>
                <a:lnTo>
                  <a:pt x="6730" y="2646"/>
                </a:lnTo>
                <a:lnTo>
                  <a:pt x="6746" y="2604"/>
                </a:lnTo>
                <a:lnTo>
                  <a:pt x="6753" y="2574"/>
                </a:lnTo>
                <a:lnTo>
                  <a:pt x="6729" y="2576"/>
                </a:lnTo>
                <a:lnTo>
                  <a:pt x="6725" y="2568"/>
                </a:lnTo>
                <a:lnTo>
                  <a:pt x="6728" y="2565"/>
                </a:lnTo>
                <a:lnTo>
                  <a:pt x="6733" y="2563"/>
                </a:lnTo>
                <a:lnTo>
                  <a:pt x="6737" y="2562"/>
                </a:lnTo>
                <a:lnTo>
                  <a:pt x="6772" y="2404"/>
                </a:lnTo>
                <a:lnTo>
                  <a:pt x="6793" y="2242"/>
                </a:lnTo>
                <a:lnTo>
                  <a:pt x="6783" y="2086"/>
                </a:lnTo>
                <a:lnTo>
                  <a:pt x="6730" y="1939"/>
                </a:lnTo>
                <a:lnTo>
                  <a:pt x="6767" y="1784"/>
                </a:lnTo>
                <a:lnTo>
                  <a:pt x="6763" y="1603"/>
                </a:lnTo>
                <a:lnTo>
                  <a:pt x="6714" y="1491"/>
                </a:lnTo>
                <a:lnTo>
                  <a:pt x="6613" y="1538"/>
                </a:lnTo>
                <a:lnTo>
                  <a:pt x="6619" y="1573"/>
                </a:lnTo>
                <a:lnTo>
                  <a:pt x="6614" y="1597"/>
                </a:lnTo>
                <a:lnTo>
                  <a:pt x="6598" y="1612"/>
                </a:lnTo>
                <a:lnTo>
                  <a:pt x="6572" y="1618"/>
                </a:lnTo>
                <a:lnTo>
                  <a:pt x="6570" y="1658"/>
                </a:lnTo>
                <a:lnTo>
                  <a:pt x="6591" y="1699"/>
                </a:lnTo>
                <a:lnTo>
                  <a:pt x="6600" y="1730"/>
                </a:lnTo>
                <a:lnTo>
                  <a:pt x="6560" y="1742"/>
                </a:lnTo>
                <a:lnTo>
                  <a:pt x="6506" y="1710"/>
                </a:lnTo>
                <a:lnTo>
                  <a:pt x="6458" y="1702"/>
                </a:lnTo>
                <a:lnTo>
                  <a:pt x="6411" y="1709"/>
                </a:lnTo>
                <a:lnTo>
                  <a:pt x="6360" y="1720"/>
                </a:lnTo>
                <a:lnTo>
                  <a:pt x="6301" y="1702"/>
                </a:lnTo>
                <a:lnTo>
                  <a:pt x="6220" y="1699"/>
                </a:lnTo>
                <a:lnTo>
                  <a:pt x="6166" y="1711"/>
                </a:lnTo>
                <a:lnTo>
                  <a:pt x="6193" y="1747"/>
                </a:lnTo>
                <a:lnTo>
                  <a:pt x="6234" y="1767"/>
                </a:lnTo>
                <a:lnTo>
                  <a:pt x="6244" y="1823"/>
                </a:lnTo>
                <a:lnTo>
                  <a:pt x="6223" y="1876"/>
                </a:lnTo>
                <a:lnTo>
                  <a:pt x="6175" y="1890"/>
                </a:lnTo>
                <a:lnTo>
                  <a:pt x="6226" y="1933"/>
                </a:lnTo>
                <a:lnTo>
                  <a:pt x="6232" y="1989"/>
                </a:lnTo>
                <a:lnTo>
                  <a:pt x="6237" y="2038"/>
                </a:lnTo>
                <a:lnTo>
                  <a:pt x="6285" y="2065"/>
                </a:lnTo>
                <a:lnTo>
                  <a:pt x="6350" y="2052"/>
                </a:lnTo>
                <a:lnTo>
                  <a:pt x="6369" y="2088"/>
                </a:lnTo>
                <a:lnTo>
                  <a:pt x="6375" y="2129"/>
                </a:lnTo>
                <a:lnTo>
                  <a:pt x="6398" y="2133"/>
                </a:lnTo>
                <a:lnTo>
                  <a:pt x="6428" y="2105"/>
                </a:lnTo>
                <a:lnTo>
                  <a:pt x="6455" y="2112"/>
                </a:lnTo>
                <a:lnTo>
                  <a:pt x="6481" y="2134"/>
                </a:lnTo>
                <a:lnTo>
                  <a:pt x="6514" y="2153"/>
                </a:lnTo>
                <a:lnTo>
                  <a:pt x="6458" y="2195"/>
                </a:lnTo>
                <a:lnTo>
                  <a:pt x="6414" y="2198"/>
                </a:lnTo>
                <a:lnTo>
                  <a:pt x="6369" y="2173"/>
                </a:lnTo>
                <a:lnTo>
                  <a:pt x="6311" y="2140"/>
                </a:lnTo>
                <a:lnTo>
                  <a:pt x="6311" y="2139"/>
                </a:lnTo>
                <a:lnTo>
                  <a:pt x="6310" y="2138"/>
                </a:lnTo>
                <a:lnTo>
                  <a:pt x="6307" y="2133"/>
                </a:lnTo>
                <a:lnTo>
                  <a:pt x="6304" y="2129"/>
                </a:lnTo>
                <a:lnTo>
                  <a:pt x="6300" y="2126"/>
                </a:lnTo>
                <a:lnTo>
                  <a:pt x="6295" y="2125"/>
                </a:lnTo>
                <a:lnTo>
                  <a:pt x="6296" y="2130"/>
                </a:lnTo>
                <a:lnTo>
                  <a:pt x="6300" y="2134"/>
                </a:lnTo>
                <a:lnTo>
                  <a:pt x="6304" y="2136"/>
                </a:lnTo>
                <a:lnTo>
                  <a:pt x="6310" y="2138"/>
                </a:lnTo>
                <a:lnTo>
                  <a:pt x="6310" y="2140"/>
                </a:lnTo>
                <a:lnTo>
                  <a:pt x="6311" y="2140"/>
                </a:lnTo>
                <a:lnTo>
                  <a:pt x="6311" y="2140"/>
                </a:lnTo>
                <a:lnTo>
                  <a:pt x="6329" y="2204"/>
                </a:lnTo>
                <a:lnTo>
                  <a:pt x="6319" y="2236"/>
                </a:lnTo>
                <a:lnTo>
                  <a:pt x="6287" y="2254"/>
                </a:lnTo>
                <a:lnTo>
                  <a:pt x="6235" y="2279"/>
                </a:lnTo>
                <a:lnTo>
                  <a:pt x="6235" y="2296"/>
                </a:lnTo>
                <a:lnTo>
                  <a:pt x="6241" y="2306"/>
                </a:lnTo>
                <a:lnTo>
                  <a:pt x="6249" y="2307"/>
                </a:lnTo>
                <a:lnTo>
                  <a:pt x="6254" y="2293"/>
                </a:lnTo>
                <a:lnTo>
                  <a:pt x="6414" y="2341"/>
                </a:lnTo>
                <a:lnTo>
                  <a:pt x="6421" y="2374"/>
                </a:lnTo>
                <a:lnTo>
                  <a:pt x="6393" y="2433"/>
                </a:lnTo>
                <a:lnTo>
                  <a:pt x="6451" y="2558"/>
                </a:lnTo>
                <a:lnTo>
                  <a:pt x="6398" y="2548"/>
                </a:lnTo>
                <a:lnTo>
                  <a:pt x="6360" y="2571"/>
                </a:lnTo>
                <a:lnTo>
                  <a:pt x="6319" y="2599"/>
                </a:lnTo>
                <a:lnTo>
                  <a:pt x="6262" y="2599"/>
                </a:lnTo>
                <a:lnTo>
                  <a:pt x="6299" y="2655"/>
                </a:lnTo>
                <a:lnTo>
                  <a:pt x="6244" y="2653"/>
                </a:lnTo>
                <a:lnTo>
                  <a:pt x="6169" y="2616"/>
                </a:lnTo>
                <a:lnTo>
                  <a:pt x="6142" y="2564"/>
                </a:lnTo>
                <a:lnTo>
                  <a:pt x="6178" y="2551"/>
                </a:lnTo>
                <a:lnTo>
                  <a:pt x="6207" y="2577"/>
                </a:lnTo>
                <a:lnTo>
                  <a:pt x="6225" y="2585"/>
                </a:lnTo>
                <a:lnTo>
                  <a:pt x="6223" y="2521"/>
                </a:lnTo>
                <a:lnTo>
                  <a:pt x="6197" y="2476"/>
                </a:lnTo>
                <a:lnTo>
                  <a:pt x="6187" y="2450"/>
                </a:lnTo>
                <a:lnTo>
                  <a:pt x="6198" y="2427"/>
                </a:lnTo>
                <a:lnTo>
                  <a:pt x="6241" y="2395"/>
                </a:lnTo>
                <a:lnTo>
                  <a:pt x="6197" y="2324"/>
                </a:lnTo>
                <a:lnTo>
                  <a:pt x="6139" y="2296"/>
                </a:lnTo>
                <a:lnTo>
                  <a:pt x="6086" y="2262"/>
                </a:lnTo>
                <a:lnTo>
                  <a:pt x="6050" y="2175"/>
                </a:lnTo>
                <a:lnTo>
                  <a:pt x="5961" y="2130"/>
                </a:lnTo>
                <a:lnTo>
                  <a:pt x="5919" y="2133"/>
                </a:lnTo>
                <a:lnTo>
                  <a:pt x="5887" y="2159"/>
                </a:lnTo>
                <a:lnTo>
                  <a:pt x="5829" y="2187"/>
                </a:lnTo>
                <a:lnTo>
                  <a:pt x="5774" y="2152"/>
                </a:lnTo>
                <a:lnTo>
                  <a:pt x="5734" y="2171"/>
                </a:lnTo>
                <a:lnTo>
                  <a:pt x="5724" y="2217"/>
                </a:lnTo>
                <a:lnTo>
                  <a:pt x="5759" y="2260"/>
                </a:lnTo>
                <a:lnTo>
                  <a:pt x="5784" y="2261"/>
                </a:lnTo>
                <a:lnTo>
                  <a:pt x="5807" y="2276"/>
                </a:lnTo>
                <a:lnTo>
                  <a:pt x="5817" y="2296"/>
                </a:lnTo>
                <a:lnTo>
                  <a:pt x="5799" y="2311"/>
                </a:lnTo>
                <a:lnTo>
                  <a:pt x="5761" y="2352"/>
                </a:lnTo>
                <a:lnTo>
                  <a:pt x="5784" y="2373"/>
                </a:lnTo>
                <a:lnTo>
                  <a:pt x="5820" y="2396"/>
                </a:lnTo>
                <a:lnTo>
                  <a:pt x="5816" y="2439"/>
                </a:lnTo>
                <a:lnTo>
                  <a:pt x="5841" y="2546"/>
                </a:lnTo>
                <a:lnTo>
                  <a:pt x="5878" y="2647"/>
                </a:lnTo>
                <a:lnTo>
                  <a:pt x="5943" y="2694"/>
                </a:lnTo>
                <a:lnTo>
                  <a:pt x="6050" y="2642"/>
                </a:lnTo>
                <a:lnTo>
                  <a:pt x="6080" y="2683"/>
                </a:lnTo>
                <a:lnTo>
                  <a:pt x="6078" y="2725"/>
                </a:lnTo>
                <a:lnTo>
                  <a:pt x="6081" y="2744"/>
                </a:lnTo>
                <a:lnTo>
                  <a:pt x="6125" y="2713"/>
                </a:lnTo>
                <a:lnTo>
                  <a:pt x="6180" y="2747"/>
                </a:lnTo>
                <a:lnTo>
                  <a:pt x="6187" y="2842"/>
                </a:lnTo>
                <a:lnTo>
                  <a:pt x="6185" y="2937"/>
                </a:lnTo>
                <a:lnTo>
                  <a:pt x="6209" y="2979"/>
                </a:lnTo>
                <a:lnTo>
                  <a:pt x="6236" y="2984"/>
                </a:lnTo>
                <a:lnTo>
                  <a:pt x="6244" y="3033"/>
                </a:lnTo>
                <a:lnTo>
                  <a:pt x="6250" y="3091"/>
                </a:lnTo>
                <a:lnTo>
                  <a:pt x="6272" y="3124"/>
                </a:lnTo>
                <a:lnTo>
                  <a:pt x="6288" y="3100"/>
                </a:lnTo>
                <a:lnTo>
                  <a:pt x="6279" y="3068"/>
                </a:lnTo>
                <a:lnTo>
                  <a:pt x="6271" y="3035"/>
                </a:lnTo>
                <a:lnTo>
                  <a:pt x="6286" y="3007"/>
                </a:lnTo>
                <a:lnTo>
                  <a:pt x="6304" y="2977"/>
                </a:lnTo>
                <a:lnTo>
                  <a:pt x="6288" y="2955"/>
                </a:lnTo>
                <a:lnTo>
                  <a:pt x="6267" y="2933"/>
                </a:lnTo>
                <a:lnTo>
                  <a:pt x="6268" y="2907"/>
                </a:lnTo>
                <a:lnTo>
                  <a:pt x="6357" y="2895"/>
                </a:lnTo>
                <a:lnTo>
                  <a:pt x="6392" y="2912"/>
                </a:lnTo>
                <a:lnTo>
                  <a:pt x="6395" y="2957"/>
                </a:lnTo>
                <a:lnTo>
                  <a:pt x="6388" y="3027"/>
                </a:lnTo>
                <a:lnTo>
                  <a:pt x="6398" y="3067"/>
                </a:lnTo>
                <a:lnTo>
                  <a:pt x="6364" y="3094"/>
                </a:lnTo>
                <a:lnTo>
                  <a:pt x="6336" y="3115"/>
                </a:lnTo>
                <a:lnTo>
                  <a:pt x="6367" y="3140"/>
                </a:lnTo>
                <a:lnTo>
                  <a:pt x="6374" y="3161"/>
                </a:lnTo>
                <a:lnTo>
                  <a:pt x="6356" y="3174"/>
                </a:lnTo>
                <a:lnTo>
                  <a:pt x="6333" y="3187"/>
                </a:lnTo>
                <a:lnTo>
                  <a:pt x="6328" y="3211"/>
                </a:lnTo>
                <a:lnTo>
                  <a:pt x="6339" y="3218"/>
                </a:lnTo>
                <a:lnTo>
                  <a:pt x="6337" y="3224"/>
                </a:lnTo>
                <a:lnTo>
                  <a:pt x="6329" y="3230"/>
                </a:lnTo>
                <a:lnTo>
                  <a:pt x="6323" y="3241"/>
                </a:lnTo>
                <a:lnTo>
                  <a:pt x="6325" y="3227"/>
                </a:lnTo>
                <a:lnTo>
                  <a:pt x="6328" y="3216"/>
                </a:lnTo>
                <a:lnTo>
                  <a:pt x="6324" y="3212"/>
                </a:lnTo>
                <a:lnTo>
                  <a:pt x="6305" y="3216"/>
                </a:lnTo>
                <a:lnTo>
                  <a:pt x="6300" y="3264"/>
                </a:lnTo>
                <a:lnTo>
                  <a:pt x="6334" y="3302"/>
                </a:lnTo>
                <a:lnTo>
                  <a:pt x="6366" y="3339"/>
                </a:lnTo>
                <a:lnTo>
                  <a:pt x="6357" y="3381"/>
                </a:lnTo>
                <a:lnTo>
                  <a:pt x="6343" y="3420"/>
                </a:lnTo>
                <a:lnTo>
                  <a:pt x="6369" y="3442"/>
                </a:lnTo>
                <a:lnTo>
                  <a:pt x="6406" y="3464"/>
                </a:lnTo>
                <a:lnTo>
                  <a:pt x="6426" y="3493"/>
                </a:lnTo>
                <a:lnTo>
                  <a:pt x="6384" y="3678"/>
                </a:lnTo>
                <a:lnTo>
                  <a:pt x="6234" y="3855"/>
                </a:lnTo>
                <a:lnTo>
                  <a:pt x="6059" y="3936"/>
                </a:lnTo>
                <a:lnTo>
                  <a:pt x="5942" y="3833"/>
                </a:lnTo>
                <a:lnTo>
                  <a:pt x="5868" y="3765"/>
                </a:lnTo>
                <a:lnTo>
                  <a:pt x="5818" y="3831"/>
                </a:lnTo>
                <a:lnTo>
                  <a:pt x="5810" y="3952"/>
                </a:lnTo>
                <a:lnTo>
                  <a:pt x="5860" y="4046"/>
                </a:lnTo>
                <a:lnTo>
                  <a:pt x="5752" y="4123"/>
                </a:lnTo>
                <a:lnTo>
                  <a:pt x="5647" y="4177"/>
                </a:lnTo>
                <a:lnTo>
                  <a:pt x="5565" y="4167"/>
                </a:lnTo>
                <a:lnTo>
                  <a:pt x="5527" y="4057"/>
                </a:lnTo>
                <a:lnTo>
                  <a:pt x="5515" y="4017"/>
                </a:lnTo>
                <a:lnTo>
                  <a:pt x="5482" y="4020"/>
                </a:lnTo>
                <a:lnTo>
                  <a:pt x="5444" y="4050"/>
                </a:lnTo>
                <a:lnTo>
                  <a:pt x="5416" y="4085"/>
                </a:lnTo>
                <a:lnTo>
                  <a:pt x="5331" y="4041"/>
                </a:lnTo>
                <a:lnTo>
                  <a:pt x="5257" y="4003"/>
                </a:lnTo>
                <a:lnTo>
                  <a:pt x="5174" y="3957"/>
                </a:lnTo>
                <a:lnTo>
                  <a:pt x="5066" y="3893"/>
                </a:lnTo>
                <a:lnTo>
                  <a:pt x="5061" y="3840"/>
                </a:lnTo>
                <a:lnTo>
                  <a:pt x="5009" y="3833"/>
                </a:lnTo>
                <a:lnTo>
                  <a:pt x="4937" y="3837"/>
                </a:lnTo>
                <a:lnTo>
                  <a:pt x="4880" y="3808"/>
                </a:lnTo>
                <a:lnTo>
                  <a:pt x="4942" y="3782"/>
                </a:lnTo>
                <a:lnTo>
                  <a:pt x="4930" y="3739"/>
                </a:lnTo>
                <a:lnTo>
                  <a:pt x="4880" y="3686"/>
                </a:lnTo>
                <a:lnTo>
                  <a:pt x="4835" y="3633"/>
                </a:lnTo>
                <a:lnTo>
                  <a:pt x="4824" y="3683"/>
                </a:lnTo>
                <a:lnTo>
                  <a:pt x="4814" y="3728"/>
                </a:lnTo>
                <a:lnTo>
                  <a:pt x="4824" y="3757"/>
                </a:lnTo>
                <a:lnTo>
                  <a:pt x="4871" y="3762"/>
                </a:lnTo>
                <a:lnTo>
                  <a:pt x="4837" y="3781"/>
                </a:lnTo>
                <a:lnTo>
                  <a:pt x="4775" y="3751"/>
                </a:lnTo>
                <a:lnTo>
                  <a:pt x="4703" y="3706"/>
                </a:lnTo>
                <a:lnTo>
                  <a:pt x="4639" y="3683"/>
                </a:lnTo>
                <a:lnTo>
                  <a:pt x="4564" y="3649"/>
                </a:lnTo>
                <a:lnTo>
                  <a:pt x="4480" y="3600"/>
                </a:lnTo>
                <a:lnTo>
                  <a:pt x="4441" y="3560"/>
                </a:lnTo>
                <a:lnTo>
                  <a:pt x="4499" y="3553"/>
                </a:lnTo>
                <a:lnTo>
                  <a:pt x="4507" y="3563"/>
                </a:lnTo>
                <a:lnTo>
                  <a:pt x="4518" y="3567"/>
                </a:lnTo>
                <a:lnTo>
                  <a:pt x="4527" y="3565"/>
                </a:lnTo>
                <a:lnTo>
                  <a:pt x="4526" y="3553"/>
                </a:lnTo>
                <a:lnTo>
                  <a:pt x="4511" y="3533"/>
                </a:lnTo>
                <a:lnTo>
                  <a:pt x="4509" y="3515"/>
                </a:lnTo>
                <a:lnTo>
                  <a:pt x="4517" y="3497"/>
                </a:lnTo>
                <a:lnTo>
                  <a:pt x="4526" y="3479"/>
                </a:lnTo>
                <a:lnTo>
                  <a:pt x="4495" y="3458"/>
                </a:lnTo>
                <a:lnTo>
                  <a:pt x="4476" y="3487"/>
                </a:lnTo>
                <a:lnTo>
                  <a:pt x="4452" y="3523"/>
                </a:lnTo>
                <a:lnTo>
                  <a:pt x="4404" y="3521"/>
                </a:lnTo>
                <a:lnTo>
                  <a:pt x="4438" y="3462"/>
                </a:lnTo>
                <a:lnTo>
                  <a:pt x="4441" y="3394"/>
                </a:lnTo>
                <a:lnTo>
                  <a:pt x="4438" y="3330"/>
                </a:lnTo>
                <a:lnTo>
                  <a:pt x="4458" y="3280"/>
                </a:lnTo>
                <a:lnTo>
                  <a:pt x="4474" y="3240"/>
                </a:lnTo>
                <a:lnTo>
                  <a:pt x="4471" y="3189"/>
                </a:lnTo>
                <a:lnTo>
                  <a:pt x="4461" y="3137"/>
                </a:lnTo>
                <a:lnTo>
                  <a:pt x="4447" y="3095"/>
                </a:lnTo>
                <a:lnTo>
                  <a:pt x="4446" y="3063"/>
                </a:lnTo>
                <a:lnTo>
                  <a:pt x="4452" y="3027"/>
                </a:lnTo>
                <a:lnTo>
                  <a:pt x="4455" y="2994"/>
                </a:lnTo>
                <a:lnTo>
                  <a:pt x="4441" y="2970"/>
                </a:lnTo>
                <a:lnTo>
                  <a:pt x="4373" y="2909"/>
                </a:lnTo>
                <a:lnTo>
                  <a:pt x="4322" y="2803"/>
                </a:lnTo>
                <a:lnTo>
                  <a:pt x="4269" y="2719"/>
                </a:lnTo>
                <a:lnTo>
                  <a:pt x="4188" y="2723"/>
                </a:lnTo>
                <a:lnTo>
                  <a:pt x="4153" y="2914"/>
                </a:lnTo>
                <a:lnTo>
                  <a:pt x="4160" y="3123"/>
                </a:lnTo>
                <a:lnTo>
                  <a:pt x="4165" y="3318"/>
                </a:lnTo>
                <a:lnTo>
                  <a:pt x="4122" y="3470"/>
                </a:lnTo>
                <a:lnTo>
                  <a:pt x="4099" y="3509"/>
                </a:lnTo>
                <a:lnTo>
                  <a:pt x="4117" y="3584"/>
                </a:lnTo>
                <a:lnTo>
                  <a:pt x="4125" y="3655"/>
                </a:lnTo>
                <a:lnTo>
                  <a:pt x="4072" y="3687"/>
                </a:lnTo>
                <a:lnTo>
                  <a:pt x="4116" y="3730"/>
                </a:lnTo>
                <a:lnTo>
                  <a:pt x="4130" y="3756"/>
                </a:lnTo>
                <a:lnTo>
                  <a:pt x="4130" y="3785"/>
                </a:lnTo>
                <a:lnTo>
                  <a:pt x="4131" y="3841"/>
                </a:lnTo>
                <a:lnTo>
                  <a:pt x="4192" y="3829"/>
                </a:lnTo>
                <a:lnTo>
                  <a:pt x="4202" y="3823"/>
                </a:lnTo>
                <a:lnTo>
                  <a:pt x="4197" y="3847"/>
                </a:lnTo>
                <a:lnTo>
                  <a:pt x="4214" y="3930"/>
                </a:lnTo>
                <a:lnTo>
                  <a:pt x="4173" y="3926"/>
                </a:lnTo>
                <a:lnTo>
                  <a:pt x="4137" y="3910"/>
                </a:lnTo>
                <a:lnTo>
                  <a:pt x="4112" y="3912"/>
                </a:lnTo>
                <a:lnTo>
                  <a:pt x="4107" y="3964"/>
                </a:lnTo>
                <a:lnTo>
                  <a:pt x="4174" y="3955"/>
                </a:lnTo>
                <a:lnTo>
                  <a:pt x="4209" y="3986"/>
                </a:lnTo>
                <a:lnTo>
                  <a:pt x="4225" y="4041"/>
                </a:lnTo>
                <a:lnTo>
                  <a:pt x="4239" y="4109"/>
                </a:lnTo>
                <a:lnTo>
                  <a:pt x="4232" y="4160"/>
                </a:lnTo>
                <a:lnTo>
                  <a:pt x="4247" y="4211"/>
                </a:lnTo>
                <a:lnTo>
                  <a:pt x="4258" y="4261"/>
                </a:lnTo>
                <a:lnTo>
                  <a:pt x="4238" y="4311"/>
                </a:lnTo>
                <a:lnTo>
                  <a:pt x="4256" y="4391"/>
                </a:lnTo>
                <a:lnTo>
                  <a:pt x="4234" y="4448"/>
                </a:lnTo>
                <a:lnTo>
                  <a:pt x="4216" y="4456"/>
                </a:lnTo>
                <a:lnTo>
                  <a:pt x="4241" y="4384"/>
                </a:lnTo>
                <a:lnTo>
                  <a:pt x="4167" y="4364"/>
                </a:lnTo>
                <a:lnTo>
                  <a:pt x="4160" y="4342"/>
                </a:lnTo>
                <a:lnTo>
                  <a:pt x="4162" y="4299"/>
                </a:lnTo>
                <a:lnTo>
                  <a:pt x="4116" y="4211"/>
                </a:lnTo>
                <a:lnTo>
                  <a:pt x="4202" y="4116"/>
                </a:lnTo>
                <a:lnTo>
                  <a:pt x="4200" y="4085"/>
                </a:lnTo>
                <a:lnTo>
                  <a:pt x="4139" y="4078"/>
                </a:lnTo>
                <a:lnTo>
                  <a:pt x="4047" y="4051"/>
                </a:lnTo>
                <a:lnTo>
                  <a:pt x="4051" y="4011"/>
                </a:lnTo>
                <a:lnTo>
                  <a:pt x="4023" y="4024"/>
                </a:lnTo>
                <a:lnTo>
                  <a:pt x="3997" y="4071"/>
                </a:lnTo>
                <a:lnTo>
                  <a:pt x="4006" y="4135"/>
                </a:lnTo>
                <a:lnTo>
                  <a:pt x="4029" y="4148"/>
                </a:lnTo>
                <a:lnTo>
                  <a:pt x="4056" y="4153"/>
                </a:lnTo>
                <a:lnTo>
                  <a:pt x="4076" y="4168"/>
                </a:lnTo>
                <a:lnTo>
                  <a:pt x="4078" y="4207"/>
                </a:lnTo>
                <a:lnTo>
                  <a:pt x="3994" y="4267"/>
                </a:lnTo>
                <a:lnTo>
                  <a:pt x="3895" y="4372"/>
                </a:lnTo>
                <a:lnTo>
                  <a:pt x="3837" y="4456"/>
                </a:lnTo>
                <a:lnTo>
                  <a:pt x="3874" y="4453"/>
                </a:lnTo>
                <a:lnTo>
                  <a:pt x="3931" y="4351"/>
                </a:lnTo>
                <a:lnTo>
                  <a:pt x="4047" y="4303"/>
                </a:lnTo>
                <a:lnTo>
                  <a:pt x="4121" y="4313"/>
                </a:lnTo>
                <a:lnTo>
                  <a:pt x="4056" y="4390"/>
                </a:lnTo>
                <a:lnTo>
                  <a:pt x="3948" y="4383"/>
                </a:lnTo>
                <a:lnTo>
                  <a:pt x="3921" y="4409"/>
                </a:lnTo>
                <a:lnTo>
                  <a:pt x="3930" y="4457"/>
                </a:lnTo>
                <a:lnTo>
                  <a:pt x="3926" y="4514"/>
                </a:lnTo>
                <a:lnTo>
                  <a:pt x="3880" y="4504"/>
                </a:lnTo>
                <a:lnTo>
                  <a:pt x="3892" y="4527"/>
                </a:lnTo>
                <a:lnTo>
                  <a:pt x="3912" y="4565"/>
                </a:lnTo>
                <a:lnTo>
                  <a:pt x="3890" y="4594"/>
                </a:lnTo>
                <a:lnTo>
                  <a:pt x="3864" y="4642"/>
                </a:lnTo>
                <a:lnTo>
                  <a:pt x="3899" y="4642"/>
                </a:lnTo>
                <a:lnTo>
                  <a:pt x="3952" y="4611"/>
                </a:lnTo>
                <a:lnTo>
                  <a:pt x="3972" y="4563"/>
                </a:lnTo>
                <a:lnTo>
                  <a:pt x="4057" y="4484"/>
                </a:lnTo>
                <a:lnTo>
                  <a:pt x="4153" y="4554"/>
                </a:lnTo>
                <a:lnTo>
                  <a:pt x="4224" y="4694"/>
                </a:lnTo>
                <a:lnTo>
                  <a:pt x="4242" y="4822"/>
                </a:lnTo>
                <a:lnTo>
                  <a:pt x="4190" y="4844"/>
                </a:lnTo>
                <a:lnTo>
                  <a:pt x="4162" y="4806"/>
                </a:lnTo>
                <a:lnTo>
                  <a:pt x="4139" y="4754"/>
                </a:lnTo>
                <a:lnTo>
                  <a:pt x="4101" y="4741"/>
                </a:lnTo>
                <a:lnTo>
                  <a:pt x="4030" y="4790"/>
                </a:lnTo>
                <a:lnTo>
                  <a:pt x="4029" y="4723"/>
                </a:lnTo>
                <a:lnTo>
                  <a:pt x="4048" y="4622"/>
                </a:lnTo>
                <a:lnTo>
                  <a:pt x="4037" y="4568"/>
                </a:lnTo>
                <a:lnTo>
                  <a:pt x="4018" y="4606"/>
                </a:lnTo>
                <a:lnTo>
                  <a:pt x="4004" y="4633"/>
                </a:lnTo>
                <a:lnTo>
                  <a:pt x="3982" y="4644"/>
                </a:lnTo>
                <a:lnTo>
                  <a:pt x="3936" y="4638"/>
                </a:lnTo>
                <a:lnTo>
                  <a:pt x="3936" y="4638"/>
                </a:lnTo>
                <a:lnTo>
                  <a:pt x="3936" y="4636"/>
                </a:lnTo>
                <a:lnTo>
                  <a:pt x="3935" y="4638"/>
                </a:lnTo>
                <a:lnTo>
                  <a:pt x="3936" y="4638"/>
                </a:lnTo>
                <a:lnTo>
                  <a:pt x="3936" y="4638"/>
                </a:lnTo>
                <a:lnTo>
                  <a:pt x="3945" y="4691"/>
                </a:lnTo>
                <a:lnTo>
                  <a:pt x="3936" y="4734"/>
                </a:lnTo>
                <a:lnTo>
                  <a:pt x="3908" y="4757"/>
                </a:lnTo>
                <a:lnTo>
                  <a:pt x="3856" y="4747"/>
                </a:lnTo>
                <a:lnTo>
                  <a:pt x="3792" y="4694"/>
                </a:lnTo>
                <a:lnTo>
                  <a:pt x="3725" y="4717"/>
                </a:lnTo>
                <a:lnTo>
                  <a:pt x="3655" y="4757"/>
                </a:lnTo>
                <a:lnTo>
                  <a:pt x="3580" y="4756"/>
                </a:lnTo>
                <a:lnTo>
                  <a:pt x="3561" y="4797"/>
                </a:lnTo>
                <a:lnTo>
                  <a:pt x="3536" y="4801"/>
                </a:lnTo>
                <a:lnTo>
                  <a:pt x="3519" y="4811"/>
                </a:lnTo>
                <a:lnTo>
                  <a:pt x="3524" y="4868"/>
                </a:lnTo>
                <a:lnTo>
                  <a:pt x="3530" y="4914"/>
                </a:lnTo>
                <a:lnTo>
                  <a:pt x="3543" y="4959"/>
                </a:lnTo>
                <a:lnTo>
                  <a:pt x="3539" y="4994"/>
                </a:lnTo>
                <a:lnTo>
                  <a:pt x="3499" y="5012"/>
                </a:lnTo>
                <a:lnTo>
                  <a:pt x="3476" y="5051"/>
                </a:lnTo>
                <a:lnTo>
                  <a:pt x="3456" y="5060"/>
                </a:lnTo>
                <a:lnTo>
                  <a:pt x="3433" y="5055"/>
                </a:lnTo>
                <a:lnTo>
                  <a:pt x="3405" y="5050"/>
                </a:lnTo>
                <a:lnTo>
                  <a:pt x="3442" y="5100"/>
                </a:lnTo>
                <a:lnTo>
                  <a:pt x="3433" y="5121"/>
                </a:lnTo>
                <a:lnTo>
                  <a:pt x="3404" y="5141"/>
                </a:lnTo>
                <a:lnTo>
                  <a:pt x="3386" y="5181"/>
                </a:lnTo>
                <a:lnTo>
                  <a:pt x="3371" y="5163"/>
                </a:lnTo>
                <a:lnTo>
                  <a:pt x="3349" y="5156"/>
                </a:lnTo>
                <a:lnTo>
                  <a:pt x="3327" y="5155"/>
                </a:lnTo>
                <a:lnTo>
                  <a:pt x="3310" y="5158"/>
                </a:lnTo>
                <a:lnTo>
                  <a:pt x="3338" y="5118"/>
                </a:lnTo>
                <a:lnTo>
                  <a:pt x="3324" y="5046"/>
                </a:lnTo>
                <a:lnTo>
                  <a:pt x="3311" y="4989"/>
                </a:lnTo>
                <a:lnTo>
                  <a:pt x="3343" y="4987"/>
                </a:lnTo>
                <a:lnTo>
                  <a:pt x="3380" y="4997"/>
                </a:lnTo>
                <a:lnTo>
                  <a:pt x="3436" y="4994"/>
                </a:lnTo>
                <a:lnTo>
                  <a:pt x="3480" y="4974"/>
                </a:lnTo>
                <a:lnTo>
                  <a:pt x="3485" y="4936"/>
                </a:lnTo>
                <a:lnTo>
                  <a:pt x="3459" y="4966"/>
                </a:lnTo>
                <a:lnTo>
                  <a:pt x="3432" y="4955"/>
                </a:lnTo>
                <a:lnTo>
                  <a:pt x="3426" y="4932"/>
                </a:lnTo>
                <a:lnTo>
                  <a:pt x="3462" y="4924"/>
                </a:lnTo>
                <a:lnTo>
                  <a:pt x="3478" y="4899"/>
                </a:lnTo>
                <a:lnTo>
                  <a:pt x="3456" y="4843"/>
                </a:lnTo>
                <a:lnTo>
                  <a:pt x="3409" y="4794"/>
                </a:lnTo>
                <a:lnTo>
                  <a:pt x="3352" y="4787"/>
                </a:lnTo>
                <a:lnTo>
                  <a:pt x="3358" y="4825"/>
                </a:lnTo>
                <a:lnTo>
                  <a:pt x="3344" y="4836"/>
                </a:lnTo>
                <a:lnTo>
                  <a:pt x="3324" y="4826"/>
                </a:lnTo>
                <a:lnTo>
                  <a:pt x="3312" y="4794"/>
                </a:lnTo>
                <a:lnTo>
                  <a:pt x="3342" y="4780"/>
                </a:lnTo>
                <a:lnTo>
                  <a:pt x="3357" y="4760"/>
                </a:lnTo>
                <a:lnTo>
                  <a:pt x="3371" y="4734"/>
                </a:lnTo>
                <a:lnTo>
                  <a:pt x="3398" y="4708"/>
                </a:lnTo>
                <a:lnTo>
                  <a:pt x="3423" y="4713"/>
                </a:lnTo>
                <a:lnTo>
                  <a:pt x="3428" y="4742"/>
                </a:lnTo>
                <a:lnTo>
                  <a:pt x="3433" y="4769"/>
                </a:lnTo>
                <a:lnTo>
                  <a:pt x="3457" y="4768"/>
                </a:lnTo>
                <a:lnTo>
                  <a:pt x="3480" y="4765"/>
                </a:lnTo>
                <a:lnTo>
                  <a:pt x="3522" y="4770"/>
                </a:lnTo>
                <a:lnTo>
                  <a:pt x="3552" y="4769"/>
                </a:lnTo>
                <a:lnTo>
                  <a:pt x="3538" y="4750"/>
                </a:lnTo>
                <a:lnTo>
                  <a:pt x="3525" y="4727"/>
                </a:lnTo>
                <a:lnTo>
                  <a:pt x="3506" y="4729"/>
                </a:lnTo>
                <a:lnTo>
                  <a:pt x="3485" y="4736"/>
                </a:lnTo>
                <a:lnTo>
                  <a:pt x="3469" y="4727"/>
                </a:lnTo>
                <a:lnTo>
                  <a:pt x="3489" y="4678"/>
                </a:lnTo>
                <a:lnTo>
                  <a:pt x="3520" y="4640"/>
                </a:lnTo>
                <a:lnTo>
                  <a:pt x="3544" y="4636"/>
                </a:lnTo>
                <a:lnTo>
                  <a:pt x="3548" y="4694"/>
                </a:lnTo>
                <a:lnTo>
                  <a:pt x="3587" y="4686"/>
                </a:lnTo>
                <a:lnTo>
                  <a:pt x="3581" y="4649"/>
                </a:lnTo>
                <a:lnTo>
                  <a:pt x="3558" y="4600"/>
                </a:lnTo>
                <a:lnTo>
                  <a:pt x="3553" y="4560"/>
                </a:lnTo>
                <a:lnTo>
                  <a:pt x="3564" y="4512"/>
                </a:lnTo>
                <a:lnTo>
                  <a:pt x="3575" y="4457"/>
                </a:lnTo>
                <a:lnTo>
                  <a:pt x="3566" y="4415"/>
                </a:lnTo>
                <a:lnTo>
                  <a:pt x="3522" y="4406"/>
                </a:lnTo>
                <a:lnTo>
                  <a:pt x="3527" y="4462"/>
                </a:lnTo>
                <a:lnTo>
                  <a:pt x="3521" y="4522"/>
                </a:lnTo>
                <a:lnTo>
                  <a:pt x="3494" y="4577"/>
                </a:lnTo>
                <a:lnTo>
                  <a:pt x="3442" y="4619"/>
                </a:lnTo>
                <a:lnTo>
                  <a:pt x="3491" y="4426"/>
                </a:lnTo>
                <a:lnTo>
                  <a:pt x="3447" y="4386"/>
                </a:lnTo>
                <a:lnTo>
                  <a:pt x="3424" y="4374"/>
                </a:lnTo>
                <a:lnTo>
                  <a:pt x="3533" y="4267"/>
                </a:lnTo>
                <a:lnTo>
                  <a:pt x="3660" y="4311"/>
                </a:lnTo>
                <a:lnTo>
                  <a:pt x="3674" y="4216"/>
                </a:lnTo>
                <a:lnTo>
                  <a:pt x="3654" y="4081"/>
                </a:lnTo>
                <a:lnTo>
                  <a:pt x="3675" y="4003"/>
                </a:lnTo>
                <a:lnTo>
                  <a:pt x="3692" y="4047"/>
                </a:lnTo>
                <a:lnTo>
                  <a:pt x="3713" y="4081"/>
                </a:lnTo>
                <a:lnTo>
                  <a:pt x="3729" y="4120"/>
                </a:lnTo>
                <a:lnTo>
                  <a:pt x="3727" y="4171"/>
                </a:lnTo>
                <a:lnTo>
                  <a:pt x="3732" y="4199"/>
                </a:lnTo>
                <a:lnTo>
                  <a:pt x="3721" y="4229"/>
                </a:lnTo>
                <a:lnTo>
                  <a:pt x="3711" y="4258"/>
                </a:lnTo>
                <a:lnTo>
                  <a:pt x="3721" y="4288"/>
                </a:lnTo>
                <a:lnTo>
                  <a:pt x="3743" y="4302"/>
                </a:lnTo>
                <a:lnTo>
                  <a:pt x="3757" y="4300"/>
                </a:lnTo>
                <a:lnTo>
                  <a:pt x="3762" y="4288"/>
                </a:lnTo>
                <a:lnTo>
                  <a:pt x="3752" y="4269"/>
                </a:lnTo>
                <a:lnTo>
                  <a:pt x="3744" y="4238"/>
                </a:lnTo>
                <a:lnTo>
                  <a:pt x="3763" y="4210"/>
                </a:lnTo>
                <a:lnTo>
                  <a:pt x="3782" y="4183"/>
                </a:lnTo>
                <a:lnTo>
                  <a:pt x="3773" y="4160"/>
                </a:lnTo>
                <a:lnTo>
                  <a:pt x="3768" y="4102"/>
                </a:lnTo>
                <a:lnTo>
                  <a:pt x="3831" y="4048"/>
                </a:lnTo>
                <a:lnTo>
                  <a:pt x="3893" y="3991"/>
                </a:lnTo>
                <a:lnTo>
                  <a:pt x="3890" y="3919"/>
                </a:lnTo>
                <a:lnTo>
                  <a:pt x="3834" y="3841"/>
                </a:lnTo>
                <a:lnTo>
                  <a:pt x="3839" y="3826"/>
                </a:lnTo>
                <a:lnTo>
                  <a:pt x="3869" y="3827"/>
                </a:lnTo>
                <a:lnTo>
                  <a:pt x="3884" y="3799"/>
                </a:lnTo>
                <a:lnTo>
                  <a:pt x="3795" y="3714"/>
                </a:lnTo>
                <a:lnTo>
                  <a:pt x="3857" y="3633"/>
                </a:lnTo>
                <a:lnTo>
                  <a:pt x="3940" y="3604"/>
                </a:lnTo>
                <a:lnTo>
                  <a:pt x="3909" y="3670"/>
                </a:lnTo>
                <a:lnTo>
                  <a:pt x="3889" y="3674"/>
                </a:lnTo>
                <a:lnTo>
                  <a:pt x="3890" y="3726"/>
                </a:lnTo>
                <a:lnTo>
                  <a:pt x="3903" y="3781"/>
                </a:lnTo>
                <a:lnTo>
                  <a:pt x="3920" y="3791"/>
                </a:lnTo>
                <a:lnTo>
                  <a:pt x="3962" y="3784"/>
                </a:lnTo>
                <a:lnTo>
                  <a:pt x="3959" y="3768"/>
                </a:lnTo>
                <a:lnTo>
                  <a:pt x="3940" y="3749"/>
                </a:lnTo>
                <a:lnTo>
                  <a:pt x="3934" y="3728"/>
                </a:lnTo>
                <a:lnTo>
                  <a:pt x="3986" y="3714"/>
                </a:lnTo>
                <a:lnTo>
                  <a:pt x="4001" y="3714"/>
                </a:lnTo>
                <a:lnTo>
                  <a:pt x="3990" y="3705"/>
                </a:lnTo>
                <a:lnTo>
                  <a:pt x="3960" y="3663"/>
                </a:lnTo>
                <a:lnTo>
                  <a:pt x="4050" y="3482"/>
                </a:lnTo>
                <a:lnTo>
                  <a:pt x="3962" y="3328"/>
                </a:lnTo>
                <a:lnTo>
                  <a:pt x="3780" y="3201"/>
                </a:lnTo>
                <a:lnTo>
                  <a:pt x="3589" y="3098"/>
                </a:lnTo>
                <a:lnTo>
                  <a:pt x="3045" y="2751"/>
                </a:lnTo>
                <a:lnTo>
                  <a:pt x="2492" y="2429"/>
                </a:lnTo>
                <a:lnTo>
                  <a:pt x="1928" y="2130"/>
                </a:lnTo>
                <a:lnTo>
                  <a:pt x="1351" y="1854"/>
                </a:lnTo>
                <a:lnTo>
                  <a:pt x="1231" y="1836"/>
                </a:lnTo>
                <a:lnTo>
                  <a:pt x="1150" y="1911"/>
                </a:lnTo>
                <a:lnTo>
                  <a:pt x="1085" y="2037"/>
                </a:lnTo>
                <a:lnTo>
                  <a:pt x="1010" y="2171"/>
                </a:lnTo>
                <a:lnTo>
                  <a:pt x="982" y="2208"/>
                </a:lnTo>
                <a:lnTo>
                  <a:pt x="961" y="2246"/>
                </a:lnTo>
                <a:lnTo>
                  <a:pt x="936" y="2275"/>
                </a:lnTo>
                <a:lnTo>
                  <a:pt x="895" y="2285"/>
                </a:lnTo>
                <a:lnTo>
                  <a:pt x="861" y="2330"/>
                </a:lnTo>
                <a:lnTo>
                  <a:pt x="833" y="2385"/>
                </a:lnTo>
                <a:lnTo>
                  <a:pt x="806" y="2443"/>
                </a:lnTo>
                <a:lnTo>
                  <a:pt x="772" y="2495"/>
                </a:lnTo>
                <a:lnTo>
                  <a:pt x="733" y="2618"/>
                </a:lnTo>
                <a:lnTo>
                  <a:pt x="704" y="2750"/>
                </a:lnTo>
                <a:lnTo>
                  <a:pt x="661" y="2871"/>
                </a:lnTo>
                <a:lnTo>
                  <a:pt x="584" y="2959"/>
                </a:lnTo>
                <a:lnTo>
                  <a:pt x="537" y="3003"/>
                </a:lnTo>
                <a:lnTo>
                  <a:pt x="491" y="3035"/>
                </a:lnTo>
                <a:lnTo>
                  <a:pt x="457" y="3076"/>
                </a:lnTo>
                <a:lnTo>
                  <a:pt x="444" y="3145"/>
                </a:lnTo>
                <a:lnTo>
                  <a:pt x="392" y="3185"/>
                </a:lnTo>
                <a:lnTo>
                  <a:pt x="346" y="3240"/>
                </a:lnTo>
                <a:lnTo>
                  <a:pt x="309" y="3301"/>
                </a:lnTo>
                <a:lnTo>
                  <a:pt x="283" y="3365"/>
                </a:lnTo>
                <a:lnTo>
                  <a:pt x="39" y="3809"/>
                </a:lnTo>
                <a:lnTo>
                  <a:pt x="0" y="3996"/>
                </a:lnTo>
                <a:lnTo>
                  <a:pt x="211" y="4140"/>
                </a:lnTo>
                <a:lnTo>
                  <a:pt x="727" y="4453"/>
                </a:lnTo>
                <a:lnTo>
                  <a:pt x="1291" y="4775"/>
                </a:lnTo>
                <a:lnTo>
                  <a:pt x="1872" y="5097"/>
                </a:lnTo>
                <a:lnTo>
                  <a:pt x="2442" y="5421"/>
                </a:lnTo>
                <a:lnTo>
                  <a:pt x="2976" y="5750"/>
                </a:lnTo>
                <a:lnTo>
                  <a:pt x="2356" y="6085"/>
                </a:lnTo>
                <a:lnTo>
                  <a:pt x="1753" y="6443"/>
                </a:lnTo>
                <a:lnTo>
                  <a:pt x="1160" y="6818"/>
                </a:lnTo>
                <a:lnTo>
                  <a:pt x="569" y="7208"/>
                </a:lnTo>
                <a:lnTo>
                  <a:pt x="159" y="7428"/>
                </a:lnTo>
                <a:lnTo>
                  <a:pt x="5" y="7646"/>
                </a:lnTo>
                <a:lnTo>
                  <a:pt x="69" y="7921"/>
                </a:lnTo>
                <a:lnTo>
                  <a:pt x="312" y="8314"/>
                </a:lnTo>
                <a:lnTo>
                  <a:pt x="336" y="8364"/>
                </a:lnTo>
                <a:lnTo>
                  <a:pt x="365" y="8431"/>
                </a:lnTo>
                <a:lnTo>
                  <a:pt x="402" y="8482"/>
                </a:lnTo>
                <a:lnTo>
                  <a:pt x="451" y="8481"/>
                </a:lnTo>
                <a:lnTo>
                  <a:pt x="470" y="8468"/>
                </a:lnTo>
                <a:lnTo>
                  <a:pt x="482" y="8474"/>
                </a:lnTo>
                <a:lnTo>
                  <a:pt x="493" y="8490"/>
                </a:lnTo>
                <a:lnTo>
                  <a:pt x="507" y="8504"/>
                </a:lnTo>
                <a:lnTo>
                  <a:pt x="494" y="8581"/>
                </a:lnTo>
                <a:lnTo>
                  <a:pt x="511" y="8667"/>
                </a:lnTo>
                <a:lnTo>
                  <a:pt x="553" y="8706"/>
                </a:lnTo>
                <a:lnTo>
                  <a:pt x="620" y="8650"/>
                </a:lnTo>
                <a:lnTo>
                  <a:pt x="630" y="8669"/>
                </a:lnTo>
                <a:lnTo>
                  <a:pt x="651" y="8687"/>
                </a:lnTo>
                <a:lnTo>
                  <a:pt x="676" y="8701"/>
                </a:lnTo>
                <a:lnTo>
                  <a:pt x="704" y="8709"/>
                </a:lnTo>
                <a:lnTo>
                  <a:pt x="718" y="8738"/>
                </a:lnTo>
                <a:lnTo>
                  <a:pt x="733" y="8767"/>
                </a:lnTo>
                <a:lnTo>
                  <a:pt x="732" y="8791"/>
                </a:lnTo>
                <a:lnTo>
                  <a:pt x="698" y="8808"/>
                </a:lnTo>
                <a:lnTo>
                  <a:pt x="684" y="8779"/>
                </a:lnTo>
                <a:lnTo>
                  <a:pt x="672" y="8751"/>
                </a:lnTo>
                <a:lnTo>
                  <a:pt x="656" y="8728"/>
                </a:lnTo>
                <a:lnTo>
                  <a:pt x="625" y="8715"/>
                </a:lnTo>
                <a:lnTo>
                  <a:pt x="593" y="8763"/>
                </a:lnTo>
                <a:lnTo>
                  <a:pt x="625" y="8846"/>
                </a:lnTo>
                <a:lnTo>
                  <a:pt x="686" y="8927"/>
                </a:lnTo>
                <a:lnTo>
                  <a:pt x="740" y="8969"/>
                </a:lnTo>
                <a:lnTo>
                  <a:pt x="752" y="9032"/>
                </a:lnTo>
                <a:lnTo>
                  <a:pt x="786" y="9112"/>
                </a:lnTo>
                <a:lnTo>
                  <a:pt x="823" y="9159"/>
                </a:lnTo>
                <a:lnTo>
                  <a:pt x="842" y="9124"/>
                </a:lnTo>
                <a:lnTo>
                  <a:pt x="820" y="9053"/>
                </a:lnTo>
                <a:lnTo>
                  <a:pt x="814" y="9028"/>
                </a:lnTo>
                <a:lnTo>
                  <a:pt x="821" y="9009"/>
                </a:lnTo>
                <a:lnTo>
                  <a:pt x="838" y="8958"/>
                </a:lnTo>
                <a:lnTo>
                  <a:pt x="786" y="8957"/>
                </a:lnTo>
                <a:lnTo>
                  <a:pt x="750" y="8921"/>
                </a:lnTo>
                <a:lnTo>
                  <a:pt x="741" y="8882"/>
                </a:lnTo>
                <a:lnTo>
                  <a:pt x="772" y="8869"/>
                </a:lnTo>
                <a:lnTo>
                  <a:pt x="786" y="8893"/>
                </a:lnTo>
                <a:lnTo>
                  <a:pt x="812" y="8888"/>
                </a:lnTo>
                <a:lnTo>
                  <a:pt x="842" y="8883"/>
                </a:lnTo>
                <a:lnTo>
                  <a:pt x="862" y="8901"/>
                </a:lnTo>
                <a:lnTo>
                  <a:pt x="876" y="8863"/>
                </a:lnTo>
                <a:lnTo>
                  <a:pt x="886" y="8822"/>
                </a:lnTo>
                <a:lnTo>
                  <a:pt x="905" y="8805"/>
                </a:lnTo>
                <a:lnTo>
                  <a:pt x="941" y="8837"/>
                </a:lnTo>
                <a:lnTo>
                  <a:pt x="903" y="8922"/>
                </a:lnTo>
                <a:lnTo>
                  <a:pt x="873" y="8921"/>
                </a:lnTo>
                <a:lnTo>
                  <a:pt x="852" y="8907"/>
                </a:lnTo>
                <a:lnTo>
                  <a:pt x="837" y="8957"/>
                </a:lnTo>
                <a:lnTo>
                  <a:pt x="853" y="8958"/>
                </a:lnTo>
                <a:lnTo>
                  <a:pt x="865" y="8968"/>
                </a:lnTo>
                <a:lnTo>
                  <a:pt x="872" y="8983"/>
                </a:lnTo>
                <a:lnTo>
                  <a:pt x="873" y="9001"/>
                </a:lnTo>
                <a:lnTo>
                  <a:pt x="882" y="9019"/>
                </a:lnTo>
                <a:lnTo>
                  <a:pt x="904" y="9023"/>
                </a:lnTo>
                <a:lnTo>
                  <a:pt x="918" y="9029"/>
                </a:lnTo>
                <a:lnTo>
                  <a:pt x="907" y="9057"/>
                </a:lnTo>
                <a:lnTo>
                  <a:pt x="921" y="9088"/>
                </a:lnTo>
                <a:lnTo>
                  <a:pt x="952" y="9117"/>
                </a:lnTo>
                <a:lnTo>
                  <a:pt x="982" y="9150"/>
                </a:lnTo>
                <a:lnTo>
                  <a:pt x="992" y="9194"/>
                </a:lnTo>
                <a:lnTo>
                  <a:pt x="979" y="9209"/>
                </a:lnTo>
                <a:lnTo>
                  <a:pt x="960" y="9224"/>
                </a:lnTo>
                <a:lnTo>
                  <a:pt x="940" y="9229"/>
                </a:lnTo>
                <a:lnTo>
                  <a:pt x="923" y="9211"/>
                </a:lnTo>
                <a:lnTo>
                  <a:pt x="868" y="9247"/>
                </a:lnTo>
                <a:lnTo>
                  <a:pt x="932" y="9355"/>
                </a:lnTo>
                <a:lnTo>
                  <a:pt x="1031" y="9488"/>
                </a:lnTo>
                <a:lnTo>
                  <a:pt x="1080" y="9596"/>
                </a:lnTo>
                <a:lnTo>
                  <a:pt x="1173" y="9731"/>
                </a:lnTo>
                <a:lnTo>
                  <a:pt x="1263" y="9773"/>
                </a:lnTo>
                <a:lnTo>
                  <a:pt x="1298" y="9727"/>
                </a:lnTo>
                <a:lnTo>
                  <a:pt x="1224" y="9596"/>
                </a:lnTo>
                <a:lnTo>
                  <a:pt x="1224" y="9594"/>
                </a:lnTo>
                <a:lnTo>
                  <a:pt x="1224" y="9593"/>
                </a:lnTo>
                <a:lnTo>
                  <a:pt x="1224" y="9593"/>
                </a:lnTo>
                <a:lnTo>
                  <a:pt x="1222" y="9594"/>
                </a:lnTo>
                <a:lnTo>
                  <a:pt x="1222" y="9594"/>
                </a:lnTo>
                <a:lnTo>
                  <a:pt x="1224" y="9596"/>
                </a:lnTo>
                <a:lnTo>
                  <a:pt x="1171" y="9643"/>
                </a:lnTo>
                <a:lnTo>
                  <a:pt x="1133" y="9607"/>
                </a:lnTo>
                <a:lnTo>
                  <a:pt x="1113" y="9533"/>
                </a:lnTo>
                <a:lnTo>
                  <a:pt x="1114" y="9465"/>
                </a:lnTo>
                <a:lnTo>
                  <a:pt x="1043" y="9415"/>
                </a:lnTo>
                <a:lnTo>
                  <a:pt x="1000" y="9364"/>
                </a:lnTo>
                <a:lnTo>
                  <a:pt x="986" y="9303"/>
                </a:lnTo>
                <a:lnTo>
                  <a:pt x="1002" y="9222"/>
                </a:lnTo>
                <a:lnTo>
                  <a:pt x="1066" y="9209"/>
                </a:lnTo>
                <a:lnTo>
                  <a:pt x="1132" y="9225"/>
                </a:lnTo>
                <a:lnTo>
                  <a:pt x="1198" y="9255"/>
                </a:lnTo>
                <a:lnTo>
                  <a:pt x="1259" y="9275"/>
                </a:lnTo>
                <a:lnTo>
                  <a:pt x="1261" y="9209"/>
                </a:lnTo>
                <a:lnTo>
                  <a:pt x="1299" y="9148"/>
                </a:lnTo>
                <a:lnTo>
                  <a:pt x="1317" y="9096"/>
                </a:lnTo>
                <a:lnTo>
                  <a:pt x="1259" y="9053"/>
                </a:lnTo>
                <a:lnTo>
                  <a:pt x="1258" y="9093"/>
                </a:lnTo>
                <a:lnTo>
                  <a:pt x="1248" y="9097"/>
                </a:lnTo>
                <a:lnTo>
                  <a:pt x="1227" y="9092"/>
                </a:lnTo>
                <a:lnTo>
                  <a:pt x="1198" y="9108"/>
                </a:lnTo>
                <a:lnTo>
                  <a:pt x="1189" y="9126"/>
                </a:lnTo>
                <a:lnTo>
                  <a:pt x="1202" y="9125"/>
                </a:lnTo>
                <a:lnTo>
                  <a:pt x="1221" y="9121"/>
                </a:lnTo>
                <a:lnTo>
                  <a:pt x="1233" y="9132"/>
                </a:lnTo>
                <a:lnTo>
                  <a:pt x="1166" y="9148"/>
                </a:lnTo>
                <a:lnTo>
                  <a:pt x="1147" y="9115"/>
                </a:lnTo>
                <a:lnTo>
                  <a:pt x="1169" y="9060"/>
                </a:lnTo>
                <a:lnTo>
                  <a:pt x="1226" y="9009"/>
                </a:lnTo>
                <a:lnTo>
                  <a:pt x="1208" y="9009"/>
                </a:lnTo>
                <a:lnTo>
                  <a:pt x="1187" y="9004"/>
                </a:lnTo>
                <a:lnTo>
                  <a:pt x="1175" y="8994"/>
                </a:lnTo>
                <a:lnTo>
                  <a:pt x="1187" y="8976"/>
                </a:lnTo>
                <a:lnTo>
                  <a:pt x="1208" y="8986"/>
                </a:lnTo>
                <a:lnTo>
                  <a:pt x="1227" y="9000"/>
                </a:lnTo>
                <a:lnTo>
                  <a:pt x="1242" y="9000"/>
                </a:lnTo>
                <a:lnTo>
                  <a:pt x="1252" y="8969"/>
                </a:lnTo>
                <a:lnTo>
                  <a:pt x="1229" y="8948"/>
                </a:lnTo>
                <a:lnTo>
                  <a:pt x="1191" y="8941"/>
                </a:lnTo>
                <a:lnTo>
                  <a:pt x="1154" y="8936"/>
                </a:lnTo>
                <a:lnTo>
                  <a:pt x="1138" y="8919"/>
                </a:lnTo>
                <a:lnTo>
                  <a:pt x="1149" y="8897"/>
                </a:lnTo>
                <a:lnTo>
                  <a:pt x="1165" y="8893"/>
                </a:lnTo>
                <a:lnTo>
                  <a:pt x="1184" y="8896"/>
                </a:lnTo>
                <a:lnTo>
                  <a:pt x="1202" y="8891"/>
                </a:lnTo>
                <a:lnTo>
                  <a:pt x="1170" y="8851"/>
                </a:lnTo>
                <a:lnTo>
                  <a:pt x="1142" y="8809"/>
                </a:lnTo>
                <a:lnTo>
                  <a:pt x="1113" y="8768"/>
                </a:lnTo>
                <a:lnTo>
                  <a:pt x="1080" y="8731"/>
                </a:lnTo>
                <a:lnTo>
                  <a:pt x="1054" y="8737"/>
                </a:lnTo>
                <a:lnTo>
                  <a:pt x="1078" y="8728"/>
                </a:lnTo>
                <a:lnTo>
                  <a:pt x="1095" y="8706"/>
                </a:lnTo>
                <a:lnTo>
                  <a:pt x="1044" y="8670"/>
                </a:lnTo>
                <a:lnTo>
                  <a:pt x="1062" y="8595"/>
                </a:lnTo>
                <a:lnTo>
                  <a:pt x="1108" y="8528"/>
                </a:lnTo>
                <a:lnTo>
                  <a:pt x="1163" y="8464"/>
                </a:lnTo>
                <a:lnTo>
                  <a:pt x="1208" y="8406"/>
                </a:lnTo>
                <a:lnTo>
                  <a:pt x="1156" y="8356"/>
                </a:lnTo>
                <a:lnTo>
                  <a:pt x="1152" y="8305"/>
                </a:lnTo>
                <a:lnTo>
                  <a:pt x="1156" y="8272"/>
                </a:lnTo>
                <a:lnTo>
                  <a:pt x="1121" y="8273"/>
                </a:lnTo>
                <a:lnTo>
                  <a:pt x="1098" y="8291"/>
                </a:lnTo>
                <a:lnTo>
                  <a:pt x="1085" y="8322"/>
                </a:lnTo>
                <a:lnTo>
                  <a:pt x="1078" y="8343"/>
                </a:lnTo>
                <a:lnTo>
                  <a:pt x="1070" y="8333"/>
                </a:lnTo>
                <a:lnTo>
                  <a:pt x="1050" y="8281"/>
                </a:lnTo>
                <a:lnTo>
                  <a:pt x="1040" y="8249"/>
                </a:lnTo>
                <a:lnTo>
                  <a:pt x="1056" y="8229"/>
                </a:lnTo>
                <a:lnTo>
                  <a:pt x="1115" y="8212"/>
                </a:lnTo>
                <a:lnTo>
                  <a:pt x="1124" y="8168"/>
                </a:lnTo>
                <a:lnTo>
                  <a:pt x="1087" y="8179"/>
                </a:lnTo>
                <a:lnTo>
                  <a:pt x="1034" y="8201"/>
                </a:lnTo>
                <a:lnTo>
                  <a:pt x="989" y="8188"/>
                </a:lnTo>
                <a:lnTo>
                  <a:pt x="1005" y="8156"/>
                </a:lnTo>
                <a:lnTo>
                  <a:pt x="1038" y="8132"/>
                </a:lnTo>
                <a:lnTo>
                  <a:pt x="1078" y="8119"/>
                </a:lnTo>
                <a:lnTo>
                  <a:pt x="1117" y="8120"/>
                </a:lnTo>
                <a:lnTo>
                  <a:pt x="1123" y="8072"/>
                </a:lnTo>
                <a:lnTo>
                  <a:pt x="1114" y="8030"/>
                </a:lnTo>
                <a:lnTo>
                  <a:pt x="1094" y="8017"/>
                </a:lnTo>
                <a:lnTo>
                  <a:pt x="1064" y="8056"/>
                </a:lnTo>
                <a:lnTo>
                  <a:pt x="1067" y="8076"/>
                </a:lnTo>
                <a:lnTo>
                  <a:pt x="1061" y="8091"/>
                </a:lnTo>
                <a:lnTo>
                  <a:pt x="1045" y="8096"/>
                </a:lnTo>
                <a:lnTo>
                  <a:pt x="1026" y="8089"/>
                </a:lnTo>
                <a:lnTo>
                  <a:pt x="997" y="8089"/>
                </a:lnTo>
                <a:lnTo>
                  <a:pt x="984" y="8115"/>
                </a:lnTo>
                <a:lnTo>
                  <a:pt x="970" y="8145"/>
                </a:lnTo>
                <a:lnTo>
                  <a:pt x="935" y="8156"/>
                </a:lnTo>
                <a:lnTo>
                  <a:pt x="880" y="7998"/>
                </a:lnTo>
                <a:lnTo>
                  <a:pt x="908" y="7945"/>
                </a:lnTo>
                <a:lnTo>
                  <a:pt x="997" y="7935"/>
                </a:lnTo>
                <a:lnTo>
                  <a:pt x="1126" y="7908"/>
                </a:lnTo>
                <a:lnTo>
                  <a:pt x="1143" y="7894"/>
                </a:lnTo>
                <a:lnTo>
                  <a:pt x="1152" y="7871"/>
                </a:lnTo>
                <a:lnTo>
                  <a:pt x="1157" y="7845"/>
                </a:lnTo>
                <a:lnTo>
                  <a:pt x="1166" y="7823"/>
                </a:lnTo>
                <a:lnTo>
                  <a:pt x="1183" y="7787"/>
                </a:lnTo>
                <a:lnTo>
                  <a:pt x="1216" y="7773"/>
                </a:lnTo>
                <a:lnTo>
                  <a:pt x="1249" y="7759"/>
                </a:lnTo>
                <a:lnTo>
                  <a:pt x="1263" y="7722"/>
                </a:lnTo>
                <a:lnTo>
                  <a:pt x="1278" y="7705"/>
                </a:lnTo>
                <a:lnTo>
                  <a:pt x="1295" y="7685"/>
                </a:lnTo>
                <a:lnTo>
                  <a:pt x="1313" y="7666"/>
                </a:lnTo>
                <a:lnTo>
                  <a:pt x="1332" y="7656"/>
                </a:lnTo>
                <a:lnTo>
                  <a:pt x="1338" y="7672"/>
                </a:lnTo>
                <a:lnTo>
                  <a:pt x="1334" y="7690"/>
                </a:lnTo>
                <a:lnTo>
                  <a:pt x="1338" y="7703"/>
                </a:lnTo>
                <a:lnTo>
                  <a:pt x="1361" y="7703"/>
                </a:lnTo>
                <a:lnTo>
                  <a:pt x="1426" y="7593"/>
                </a:lnTo>
                <a:lnTo>
                  <a:pt x="1471" y="7553"/>
                </a:lnTo>
                <a:lnTo>
                  <a:pt x="1475" y="7588"/>
                </a:lnTo>
                <a:lnTo>
                  <a:pt x="1415" y="7708"/>
                </a:lnTo>
                <a:lnTo>
                  <a:pt x="1472" y="7737"/>
                </a:lnTo>
                <a:lnTo>
                  <a:pt x="1548" y="7708"/>
                </a:lnTo>
                <a:lnTo>
                  <a:pt x="1608" y="7694"/>
                </a:lnTo>
                <a:lnTo>
                  <a:pt x="1617" y="7767"/>
                </a:lnTo>
                <a:lnTo>
                  <a:pt x="1573" y="7779"/>
                </a:lnTo>
                <a:lnTo>
                  <a:pt x="1537" y="7788"/>
                </a:lnTo>
                <a:lnTo>
                  <a:pt x="1508" y="7809"/>
                </a:lnTo>
                <a:lnTo>
                  <a:pt x="1483" y="7854"/>
                </a:lnTo>
                <a:lnTo>
                  <a:pt x="1481" y="7817"/>
                </a:lnTo>
                <a:lnTo>
                  <a:pt x="1461" y="7829"/>
                </a:lnTo>
                <a:lnTo>
                  <a:pt x="1438" y="7868"/>
                </a:lnTo>
                <a:lnTo>
                  <a:pt x="1430" y="7914"/>
                </a:lnTo>
                <a:lnTo>
                  <a:pt x="1468" y="7912"/>
                </a:lnTo>
                <a:lnTo>
                  <a:pt x="1503" y="7937"/>
                </a:lnTo>
                <a:lnTo>
                  <a:pt x="1520" y="7978"/>
                </a:lnTo>
                <a:lnTo>
                  <a:pt x="1505" y="8017"/>
                </a:lnTo>
                <a:lnTo>
                  <a:pt x="1531" y="8031"/>
                </a:lnTo>
                <a:lnTo>
                  <a:pt x="1541" y="8000"/>
                </a:lnTo>
                <a:lnTo>
                  <a:pt x="1542" y="7949"/>
                </a:lnTo>
                <a:lnTo>
                  <a:pt x="1540" y="7912"/>
                </a:lnTo>
                <a:lnTo>
                  <a:pt x="1557" y="7862"/>
                </a:lnTo>
                <a:lnTo>
                  <a:pt x="1589" y="7823"/>
                </a:lnTo>
                <a:lnTo>
                  <a:pt x="1631" y="7796"/>
                </a:lnTo>
                <a:lnTo>
                  <a:pt x="1681" y="7784"/>
                </a:lnTo>
                <a:lnTo>
                  <a:pt x="1649" y="7726"/>
                </a:lnTo>
                <a:lnTo>
                  <a:pt x="1666" y="7680"/>
                </a:lnTo>
                <a:lnTo>
                  <a:pt x="1713" y="7641"/>
                </a:lnTo>
                <a:lnTo>
                  <a:pt x="1771" y="7606"/>
                </a:lnTo>
                <a:lnTo>
                  <a:pt x="1802" y="7670"/>
                </a:lnTo>
                <a:lnTo>
                  <a:pt x="1818" y="7722"/>
                </a:lnTo>
                <a:lnTo>
                  <a:pt x="1835" y="7727"/>
                </a:lnTo>
                <a:lnTo>
                  <a:pt x="1868" y="7649"/>
                </a:lnTo>
                <a:lnTo>
                  <a:pt x="1948" y="7807"/>
                </a:lnTo>
                <a:lnTo>
                  <a:pt x="1919" y="7834"/>
                </a:lnTo>
                <a:lnTo>
                  <a:pt x="1854" y="7889"/>
                </a:lnTo>
                <a:lnTo>
                  <a:pt x="1830" y="8126"/>
                </a:lnTo>
                <a:lnTo>
                  <a:pt x="1770" y="8117"/>
                </a:lnTo>
                <a:lnTo>
                  <a:pt x="1806" y="8170"/>
                </a:lnTo>
                <a:lnTo>
                  <a:pt x="1867" y="8208"/>
                </a:lnTo>
                <a:lnTo>
                  <a:pt x="1888" y="8156"/>
                </a:lnTo>
                <a:lnTo>
                  <a:pt x="1902" y="8162"/>
                </a:lnTo>
                <a:lnTo>
                  <a:pt x="1909" y="8183"/>
                </a:lnTo>
                <a:lnTo>
                  <a:pt x="1916" y="8207"/>
                </a:lnTo>
                <a:lnTo>
                  <a:pt x="1936" y="8221"/>
                </a:lnTo>
                <a:lnTo>
                  <a:pt x="1948" y="8250"/>
                </a:lnTo>
                <a:lnTo>
                  <a:pt x="1930" y="8297"/>
                </a:lnTo>
                <a:lnTo>
                  <a:pt x="1919" y="8332"/>
                </a:lnTo>
                <a:lnTo>
                  <a:pt x="1950" y="8324"/>
                </a:lnTo>
                <a:lnTo>
                  <a:pt x="1962" y="8292"/>
                </a:lnTo>
                <a:lnTo>
                  <a:pt x="1986" y="8294"/>
                </a:lnTo>
                <a:lnTo>
                  <a:pt x="1999" y="8313"/>
                </a:lnTo>
                <a:lnTo>
                  <a:pt x="1981" y="8338"/>
                </a:lnTo>
                <a:lnTo>
                  <a:pt x="2009" y="8375"/>
                </a:lnTo>
                <a:lnTo>
                  <a:pt x="2034" y="8353"/>
                </a:lnTo>
                <a:lnTo>
                  <a:pt x="2039" y="8301"/>
                </a:lnTo>
                <a:lnTo>
                  <a:pt x="2008" y="8250"/>
                </a:lnTo>
                <a:lnTo>
                  <a:pt x="1967" y="8183"/>
                </a:lnTo>
                <a:lnTo>
                  <a:pt x="1923" y="8127"/>
                </a:lnTo>
                <a:lnTo>
                  <a:pt x="1920" y="8104"/>
                </a:lnTo>
                <a:lnTo>
                  <a:pt x="2008" y="8137"/>
                </a:lnTo>
                <a:lnTo>
                  <a:pt x="2060" y="8119"/>
                </a:lnTo>
                <a:lnTo>
                  <a:pt x="2097" y="8112"/>
                </a:lnTo>
                <a:lnTo>
                  <a:pt x="2129" y="8109"/>
                </a:lnTo>
                <a:lnTo>
                  <a:pt x="2164" y="8108"/>
                </a:lnTo>
                <a:lnTo>
                  <a:pt x="2197" y="8109"/>
                </a:lnTo>
                <a:lnTo>
                  <a:pt x="2222" y="8075"/>
                </a:lnTo>
                <a:lnTo>
                  <a:pt x="2228" y="8035"/>
                </a:lnTo>
                <a:lnTo>
                  <a:pt x="2207" y="8021"/>
                </a:lnTo>
                <a:lnTo>
                  <a:pt x="2179" y="8040"/>
                </a:lnTo>
                <a:lnTo>
                  <a:pt x="2138" y="8044"/>
                </a:lnTo>
                <a:lnTo>
                  <a:pt x="2116" y="8029"/>
                </a:lnTo>
                <a:lnTo>
                  <a:pt x="2142" y="7998"/>
                </a:lnTo>
                <a:lnTo>
                  <a:pt x="2142" y="7974"/>
                </a:lnTo>
                <a:lnTo>
                  <a:pt x="2119" y="7947"/>
                </a:lnTo>
                <a:lnTo>
                  <a:pt x="2099" y="7916"/>
                </a:lnTo>
                <a:lnTo>
                  <a:pt x="2105" y="7881"/>
                </a:lnTo>
                <a:lnTo>
                  <a:pt x="2121" y="7876"/>
                </a:lnTo>
                <a:lnTo>
                  <a:pt x="2144" y="7882"/>
                </a:lnTo>
                <a:lnTo>
                  <a:pt x="2164" y="7898"/>
                </a:lnTo>
                <a:lnTo>
                  <a:pt x="2171" y="7919"/>
                </a:lnTo>
                <a:lnTo>
                  <a:pt x="2185" y="7950"/>
                </a:lnTo>
                <a:lnTo>
                  <a:pt x="2203" y="7958"/>
                </a:lnTo>
                <a:lnTo>
                  <a:pt x="2225" y="7950"/>
                </a:lnTo>
                <a:lnTo>
                  <a:pt x="2250" y="7936"/>
                </a:lnTo>
                <a:lnTo>
                  <a:pt x="2267" y="7973"/>
                </a:lnTo>
                <a:lnTo>
                  <a:pt x="2281" y="8014"/>
                </a:lnTo>
                <a:lnTo>
                  <a:pt x="2281" y="8054"/>
                </a:lnTo>
                <a:lnTo>
                  <a:pt x="2256" y="8086"/>
                </a:lnTo>
                <a:lnTo>
                  <a:pt x="2217" y="8132"/>
                </a:lnTo>
                <a:lnTo>
                  <a:pt x="2218" y="8175"/>
                </a:lnTo>
                <a:lnTo>
                  <a:pt x="2226" y="8220"/>
                </a:lnTo>
                <a:lnTo>
                  <a:pt x="2208" y="8267"/>
                </a:lnTo>
                <a:lnTo>
                  <a:pt x="2223" y="8273"/>
                </a:lnTo>
                <a:lnTo>
                  <a:pt x="2240" y="8268"/>
                </a:lnTo>
                <a:lnTo>
                  <a:pt x="2256" y="8263"/>
                </a:lnTo>
                <a:lnTo>
                  <a:pt x="2274" y="8271"/>
                </a:lnTo>
                <a:lnTo>
                  <a:pt x="2292" y="8282"/>
                </a:lnTo>
                <a:lnTo>
                  <a:pt x="2305" y="8301"/>
                </a:lnTo>
                <a:lnTo>
                  <a:pt x="2316" y="8314"/>
                </a:lnTo>
                <a:lnTo>
                  <a:pt x="2330" y="8302"/>
                </a:lnTo>
                <a:lnTo>
                  <a:pt x="2346" y="8290"/>
                </a:lnTo>
                <a:lnTo>
                  <a:pt x="2386" y="8291"/>
                </a:lnTo>
                <a:lnTo>
                  <a:pt x="2426" y="8305"/>
                </a:lnTo>
                <a:lnTo>
                  <a:pt x="2439" y="8325"/>
                </a:lnTo>
                <a:lnTo>
                  <a:pt x="2409" y="8337"/>
                </a:lnTo>
                <a:lnTo>
                  <a:pt x="2381" y="8319"/>
                </a:lnTo>
                <a:lnTo>
                  <a:pt x="2355" y="8309"/>
                </a:lnTo>
                <a:lnTo>
                  <a:pt x="2328" y="8343"/>
                </a:lnTo>
                <a:lnTo>
                  <a:pt x="2357" y="8344"/>
                </a:lnTo>
                <a:lnTo>
                  <a:pt x="2363" y="8360"/>
                </a:lnTo>
                <a:lnTo>
                  <a:pt x="2358" y="8384"/>
                </a:lnTo>
                <a:lnTo>
                  <a:pt x="2356" y="8407"/>
                </a:lnTo>
                <a:lnTo>
                  <a:pt x="2311" y="8388"/>
                </a:lnTo>
                <a:lnTo>
                  <a:pt x="2269" y="8337"/>
                </a:lnTo>
                <a:lnTo>
                  <a:pt x="2232" y="8306"/>
                </a:lnTo>
                <a:lnTo>
                  <a:pt x="2202" y="8344"/>
                </a:lnTo>
                <a:lnTo>
                  <a:pt x="2362" y="8527"/>
                </a:lnTo>
                <a:lnTo>
                  <a:pt x="2333" y="8619"/>
                </a:lnTo>
                <a:lnTo>
                  <a:pt x="2263" y="8663"/>
                </a:lnTo>
                <a:lnTo>
                  <a:pt x="2300" y="8700"/>
                </a:lnTo>
                <a:lnTo>
                  <a:pt x="2341" y="8663"/>
                </a:lnTo>
                <a:lnTo>
                  <a:pt x="2380" y="8679"/>
                </a:lnTo>
                <a:lnTo>
                  <a:pt x="2390" y="8709"/>
                </a:lnTo>
                <a:lnTo>
                  <a:pt x="2342" y="8711"/>
                </a:lnTo>
                <a:lnTo>
                  <a:pt x="2309" y="8761"/>
                </a:lnTo>
                <a:lnTo>
                  <a:pt x="2284" y="8786"/>
                </a:lnTo>
                <a:lnTo>
                  <a:pt x="2284" y="8819"/>
                </a:lnTo>
                <a:lnTo>
                  <a:pt x="2321" y="8892"/>
                </a:lnTo>
                <a:lnTo>
                  <a:pt x="2253" y="8907"/>
                </a:lnTo>
                <a:lnTo>
                  <a:pt x="2251" y="8962"/>
                </a:lnTo>
                <a:lnTo>
                  <a:pt x="2268" y="9028"/>
                </a:lnTo>
                <a:lnTo>
                  <a:pt x="2254" y="9076"/>
                </a:lnTo>
                <a:lnTo>
                  <a:pt x="2245" y="9028"/>
                </a:lnTo>
                <a:lnTo>
                  <a:pt x="2222" y="9001"/>
                </a:lnTo>
                <a:lnTo>
                  <a:pt x="2188" y="8991"/>
                </a:lnTo>
                <a:lnTo>
                  <a:pt x="2142" y="8995"/>
                </a:lnTo>
                <a:lnTo>
                  <a:pt x="2109" y="8962"/>
                </a:lnTo>
                <a:lnTo>
                  <a:pt x="2058" y="8954"/>
                </a:lnTo>
                <a:lnTo>
                  <a:pt x="2035" y="8969"/>
                </a:lnTo>
                <a:lnTo>
                  <a:pt x="2091" y="9003"/>
                </a:lnTo>
                <a:lnTo>
                  <a:pt x="2153" y="9197"/>
                </a:lnTo>
                <a:lnTo>
                  <a:pt x="2325" y="9180"/>
                </a:lnTo>
                <a:lnTo>
                  <a:pt x="2540" y="9053"/>
                </a:lnTo>
                <a:lnTo>
                  <a:pt x="2730" y="8926"/>
                </a:lnTo>
                <a:lnTo>
                  <a:pt x="3086" y="8775"/>
                </a:lnTo>
                <a:lnTo>
                  <a:pt x="3427" y="8583"/>
                </a:lnTo>
                <a:lnTo>
                  <a:pt x="3763" y="8376"/>
                </a:lnTo>
                <a:lnTo>
                  <a:pt x="4106" y="8188"/>
                </a:lnTo>
                <a:lnTo>
                  <a:pt x="4228" y="8185"/>
                </a:lnTo>
                <a:lnTo>
                  <a:pt x="4236" y="8378"/>
                </a:lnTo>
                <a:lnTo>
                  <a:pt x="4202" y="8641"/>
                </a:lnTo>
                <a:lnTo>
                  <a:pt x="4204" y="8852"/>
                </a:lnTo>
                <a:lnTo>
                  <a:pt x="4227" y="9210"/>
                </a:lnTo>
                <a:lnTo>
                  <a:pt x="4241" y="9569"/>
                </a:lnTo>
                <a:lnTo>
                  <a:pt x="4255" y="9929"/>
                </a:lnTo>
                <a:lnTo>
                  <a:pt x="4278" y="10287"/>
                </a:lnTo>
                <a:lnTo>
                  <a:pt x="4250" y="10441"/>
                </a:lnTo>
                <a:lnTo>
                  <a:pt x="4250" y="10599"/>
                </a:lnTo>
                <a:lnTo>
                  <a:pt x="4260" y="10758"/>
                </a:lnTo>
                <a:lnTo>
                  <a:pt x="4264" y="10913"/>
                </a:lnTo>
                <a:lnTo>
                  <a:pt x="4234" y="11112"/>
                </a:lnTo>
                <a:lnTo>
                  <a:pt x="4234" y="11301"/>
                </a:lnTo>
                <a:lnTo>
                  <a:pt x="4308" y="11444"/>
                </a:lnTo>
                <a:lnTo>
                  <a:pt x="4497" y="11501"/>
                </a:lnTo>
                <a:lnTo>
                  <a:pt x="4856" y="11506"/>
                </a:lnTo>
                <a:lnTo>
                  <a:pt x="5217" y="11512"/>
                </a:lnTo>
                <a:lnTo>
                  <a:pt x="5564" y="11485"/>
                </a:lnTo>
                <a:lnTo>
                  <a:pt x="5873" y="11393"/>
                </a:lnTo>
                <a:lnTo>
                  <a:pt x="5959" y="11384"/>
                </a:lnTo>
                <a:lnTo>
                  <a:pt x="6029" y="11355"/>
                </a:lnTo>
                <a:lnTo>
                  <a:pt x="6097" y="11336"/>
                </a:lnTo>
                <a:lnTo>
                  <a:pt x="6178" y="11357"/>
                </a:lnTo>
                <a:lnTo>
                  <a:pt x="6162" y="11300"/>
                </a:lnTo>
                <a:lnTo>
                  <a:pt x="6180" y="11253"/>
                </a:lnTo>
                <a:lnTo>
                  <a:pt x="6218" y="11239"/>
                </a:lnTo>
                <a:lnTo>
                  <a:pt x="6267" y="11279"/>
                </a:lnTo>
                <a:lnTo>
                  <a:pt x="6292" y="11304"/>
                </a:lnTo>
                <a:lnTo>
                  <a:pt x="6329" y="11313"/>
                </a:lnTo>
                <a:lnTo>
                  <a:pt x="6350" y="11305"/>
                </a:lnTo>
                <a:lnTo>
                  <a:pt x="6321" y="11282"/>
                </a:lnTo>
                <a:lnTo>
                  <a:pt x="6297" y="11252"/>
                </a:lnTo>
                <a:lnTo>
                  <a:pt x="6301" y="11220"/>
                </a:lnTo>
                <a:lnTo>
                  <a:pt x="6319" y="11187"/>
                </a:lnTo>
                <a:lnTo>
                  <a:pt x="6334" y="11154"/>
                </a:lnTo>
                <a:lnTo>
                  <a:pt x="6329" y="11057"/>
                </a:lnTo>
                <a:lnTo>
                  <a:pt x="6255" y="11025"/>
                </a:lnTo>
                <a:lnTo>
                  <a:pt x="6152" y="11029"/>
                </a:lnTo>
                <a:lnTo>
                  <a:pt x="6064" y="11039"/>
                </a:lnTo>
                <a:lnTo>
                  <a:pt x="6015" y="11019"/>
                </a:lnTo>
                <a:lnTo>
                  <a:pt x="5973" y="11006"/>
                </a:lnTo>
                <a:lnTo>
                  <a:pt x="5937" y="11010"/>
                </a:lnTo>
                <a:lnTo>
                  <a:pt x="5903" y="11037"/>
                </a:lnTo>
                <a:lnTo>
                  <a:pt x="5848" y="11035"/>
                </a:lnTo>
                <a:lnTo>
                  <a:pt x="5794" y="11025"/>
                </a:lnTo>
                <a:lnTo>
                  <a:pt x="5743" y="11024"/>
                </a:lnTo>
                <a:lnTo>
                  <a:pt x="5697" y="11049"/>
                </a:lnTo>
                <a:lnTo>
                  <a:pt x="5667" y="11046"/>
                </a:lnTo>
                <a:lnTo>
                  <a:pt x="5669" y="11030"/>
                </a:lnTo>
                <a:lnTo>
                  <a:pt x="5686" y="11010"/>
                </a:lnTo>
                <a:lnTo>
                  <a:pt x="5703" y="10988"/>
                </a:lnTo>
                <a:lnTo>
                  <a:pt x="5653" y="10964"/>
                </a:lnTo>
                <a:lnTo>
                  <a:pt x="5687" y="10936"/>
                </a:lnTo>
                <a:lnTo>
                  <a:pt x="5759" y="10927"/>
                </a:lnTo>
                <a:lnTo>
                  <a:pt x="5824" y="10955"/>
                </a:lnTo>
                <a:lnTo>
                  <a:pt x="5886" y="10869"/>
                </a:lnTo>
                <a:lnTo>
                  <a:pt x="5816" y="10818"/>
                </a:lnTo>
                <a:lnTo>
                  <a:pt x="5687" y="10810"/>
                </a:lnTo>
                <a:lnTo>
                  <a:pt x="5574" y="10850"/>
                </a:lnTo>
                <a:lnTo>
                  <a:pt x="5589" y="10780"/>
                </a:lnTo>
                <a:lnTo>
                  <a:pt x="5652" y="10755"/>
                </a:lnTo>
                <a:lnTo>
                  <a:pt x="5731" y="10753"/>
                </a:lnTo>
                <a:lnTo>
                  <a:pt x="5794" y="10748"/>
                </a:lnTo>
                <a:lnTo>
                  <a:pt x="5807" y="10704"/>
                </a:lnTo>
                <a:lnTo>
                  <a:pt x="5759" y="10676"/>
                </a:lnTo>
                <a:lnTo>
                  <a:pt x="5691" y="10669"/>
                </a:lnTo>
                <a:lnTo>
                  <a:pt x="5644" y="10687"/>
                </a:lnTo>
                <a:lnTo>
                  <a:pt x="5606" y="10656"/>
                </a:lnTo>
                <a:lnTo>
                  <a:pt x="5583" y="10666"/>
                </a:lnTo>
                <a:lnTo>
                  <a:pt x="5571" y="10702"/>
                </a:lnTo>
                <a:lnTo>
                  <a:pt x="5571" y="10748"/>
                </a:lnTo>
                <a:lnTo>
                  <a:pt x="5529" y="10759"/>
                </a:lnTo>
                <a:lnTo>
                  <a:pt x="5481" y="10754"/>
                </a:lnTo>
                <a:lnTo>
                  <a:pt x="5448" y="10767"/>
                </a:lnTo>
                <a:lnTo>
                  <a:pt x="5454" y="10828"/>
                </a:lnTo>
                <a:lnTo>
                  <a:pt x="5415" y="10844"/>
                </a:lnTo>
                <a:lnTo>
                  <a:pt x="5398" y="10873"/>
                </a:lnTo>
                <a:lnTo>
                  <a:pt x="5380" y="10895"/>
                </a:lnTo>
                <a:lnTo>
                  <a:pt x="5341" y="10899"/>
                </a:lnTo>
                <a:lnTo>
                  <a:pt x="5375" y="10991"/>
                </a:lnTo>
                <a:lnTo>
                  <a:pt x="5393" y="11071"/>
                </a:lnTo>
                <a:lnTo>
                  <a:pt x="5375" y="11130"/>
                </a:lnTo>
                <a:lnTo>
                  <a:pt x="5304" y="11153"/>
                </a:lnTo>
                <a:lnTo>
                  <a:pt x="5258" y="11119"/>
                </a:lnTo>
                <a:lnTo>
                  <a:pt x="5231" y="11122"/>
                </a:lnTo>
                <a:lnTo>
                  <a:pt x="5214" y="11153"/>
                </a:lnTo>
                <a:lnTo>
                  <a:pt x="5197" y="11203"/>
                </a:lnTo>
                <a:lnTo>
                  <a:pt x="5166" y="11221"/>
                </a:lnTo>
                <a:lnTo>
                  <a:pt x="5141" y="11198"/>
                </a:lnTo>
                <a:lnTo>
                  <a:pt x="5135" y="11169"/>
                </a:lnTo>
                <a:lnTo>
                  <a:pt x="5168" y="11163"/>
                </a:lnTo>
                <a:lnTo>
                  <a:pt x="5177" y="11168"/>
                </a:lnTo>
                <a:lnTo>
                  <a:pt x="5182" y="11154"/>
                </a:lnTo>
                <a:lnTo>
                  <a:pt x="5186" y="11133"/>
                </a:lnTo>
                <a:lnTo>
                  <a:pt x="5189" y="11119"/>
                </a:lnTo>
                <a:lnTo>
                  <a:pt x="5179" y="11108"/>
                </a:lnTo>
                <a:lnTo>
                  <a:pt x="5160" y="11126"/>
                </a:lnTo>
                <a:lnTo>
                  <a:pt x="5140" y="11136"/>
                </a:lnTo>
                <a:lnTo>
                  <a:pt x="5128" y="11104"/>
                </a:lnTo>
                <a:lnTo>
                  <a:pt x="5114" y="11052"/>
                </a:lnTo>
                <a:lnTo>
                  <a:pt x="5094" y="11083"/>
                </a:lnTo>
                <a:lnTo>
                  <a:pt x="5073" y="11114"/>
                </a:lnTo>
                <a:lnTo>
                  <a:pt x="5062" y="11067"/>
                </a:lnTo>
                <a:lnTo>
                  <a:pt x="5128" y="10999"/>
                </a:lnTo>
                <a:lnTo>
                  <a:pt x="5115" y="10943"/>
                </a:lnTo>
                <a:lnTo>
                  <a:pt x="5089" y="10911"/>
                </a:lnTo>
                <a:lnTo>
                  <a:pt x="5115" y="10917"/>
                </a:lnTo>
                <a:lnTo>
                  <a:pt x="5161" y="10885"/>
                </a:lnTo>
                <a:lnTo>
                  <a:pt x="5117" y="10880"/>
                </a:lnTo>
                <a:lnTo>
                  <a:pt x="5031" y="10921"/>
                </a:lnTo>
                <a:lnTo>
                  <a:pt x="4951" y="11028"/>
                </a:lnTo>
                <a:lnTo>
                  <a:pt x="4917" y="10973"/>
                </a:lnTo>
                <a:lnTo>
                  <a:pt x="4907" y="10971"/>
                </a:lnTo>
                <a:lnTo>
                  <a:pt x="4903" y="11001"/>
                </a:lnTo>
                <a:lnTo>
                  <a:pt x="4893" y="11047"/>
                </a:lnTo>
                <a:lnTo>
                  <a:pt x="4840" y="11018"/>
                </a:lnTo>
                <a:lnTo>
                  <a:pt x="4796" y="11009"/>
                </a:lnTo>
                <a:lnTo>
                  <a:pt x="4782" y="11025"/>
                </a:lnTo>
                <a:lnTo>
                  <a:pt x="4821" y="11074"/>
                </a:lnTo>
                <a:lnTo>
                  <a:pt x="4814" y="11135"/>
                </a:lnTo>
                <a:lnTo>
                  <a:pt x="4745" y="11113"/>
                </a:lnTo>
                <a:lnTo>
                  <a:pt x="4691" y="11113"/>
                </a:lnTo>
                <a:lnTo>
                  <a:pt x="4725" y="11240"/>
                </a:lnTo>
                <a:lnTo>
                  <a:pt x="4739" y="11261"/>
                </a:lnTo>
                <a:lnTo>
                  <a:pt x="4733" y="11277"/>
                </a:lnTo>
                <a:lnTo>
                  <a:pt x="4719" y="11295"/>
                </a:lnTo>
                <a:lnTo>
                  <a:pt x="4709" y="11315"/>
                </a:lnTo>
                <a:lnTo>
                  <a:pt x="4698" y="11356"/>
                </a:lnTo>
                <a:lnTo>
                  <a:pt x="4685" y="11374"/>
                </a:lnTo>
                <a:lnTo>
                  <a:pt x="4663" y="11371"/>
                </a:lnTo>
                <a:lnTo>
                  <a:pt x="4625" y="11347"/>
                </a:lnTo>
                <a:lnTo>
                  <a:pt x="4572" y="11391"/>
                </a:lnTo>
                <a:lnTo>
                  <a:pt x="4531" y="11424"/>
                </a:lnTo>
                <a:lnTo>
                  <a:pt x="4499" y="11417"/>
                </a:lnTo>
                <a:lnTo>
                  <a:pt x="4471" y="11337"/>
                </a:lnTo>
                <a:lnTo>
                  <a:pt x="4466" y="11277"/>
                </a:lnTo>
                <a:lnTo>
                  <a:pt x="4499" y="11265"/>
                </a:lnTo>
                <a:lnTo>
                  <a:pt x="4542" y="11261"/>
                </a:lnTo>
                <a:lnTo>
                  <a:pt x="4565" y="11231"/>
                </a:lnTo>
                <a:lnTo>
                  <a:pt x="4551" y="11203"/>
                </a:lnTo>
                <a:lnTo>
                  <a:pt x="4531" y="11202"/>
                </a:lnTo>
                <a:lnTo>
                  <a:pt x="4512" y="11202"/>
                </a:lnTo>
                <a:lnTo>
                  <a:pt x="4504" y="11175"/>
                </a:lnTo>
                <a:lnTo>
                  <a:pt x="4500" y="11168"/>
                </a:lnTo>
                <a:lnTo>
                  <a:pt x="4494" y="11167"/>
                </a:lnTo>
                <a:lnTo>
                  <a:pt x="4485" y="11168"/>
                </a:lnTo>
                <a:lnTo>
                  <a:pt x="4479" y="11172"/>
                </a:lnTo>
                <a:lnTo>
                  <a:pt x="4439" y="11206"/>
                </a:lnTo>
                <a:lnTo>
                  <a:pt x="4432" y="11188"/>
                </a:lnTo>
                <a:lnTo>
                  <a:pt x="4435" y="11142"/>
                </a:lnTo>
                <a:lnTo>
                  <a:pt x="4433" y="11094"/>
                </a:lnTo>
                <a:lnTo>
                  <a:pt x="4405" y="11049"/>
                </a:lnTo>
                <a:lnTo>
                  <a:pt x="4392" y="11007"/>
                </a:lnTo>
                <a:lnTo>
                  <a:pt x="4388" y="10962"/>
                </a:lnTo>
                <a:lnTo>
                  <a:pt x="4386" y="10908"/>
                </a:lnTo>
                <a:lnTo>
                  <a:pt x="4383" y="10795"/>
                </a:lnTo>
                <a:lnTo>
                  <a:pt x="4400" y="10629"/>
                </a:lnTo>
                <a:lnTo>
                  <a:pt x="4449" y="10524"/>
                </a:lnTo>
                <a:lnTo>
                  <a:pt x="4549" y="10589"/>
                </a:lnTo>
                <a:lnTo>
                  <a:pt x="4573" y="10640"/>
                </a:lnTo>
                <a:lnTo>
                  <a:pt x="4615" y="10594"/>
                </a:lnTo>
                <a:lnTo>
                  <a:pt x="4638" y="10508"/>
                </a:lnTo>
                <a:lnTo>
                  <a:pt x="4607" y="10444"/>
                </a:lnTo>
                <a:lnTo>
                  <a:pt x="4618" y="10422"/>
                </a:lnTo>
                <a:lnTo>
                  <a:pt x="4647" y="10422"/>
                </a:lnTo>
                <a:lnTo>
                  <a:pt x="4675" y="10422"/>
                </a:lnTo>
                <a:lnTo>
                  <a:pt x="4680" y="10398"/>
                </a:lnTo>
                <a:lnTo>
                  <a:pt x="4646" y="10351"/>
                </a:lnTo>
                <a:lnTo>
                  <a:pt x="4640" y="10290"/>
                </a:lnTo>
                <a:lnTo>
                  <a:pt x="4652" y="10235"/>
                </a:lnTo>
                <a:lnTo>
                  <a:pt x="4668" y="10203"/>
                </a:lnTo>
                <a:lnTo>
                  <a:pt x="4646" y="10162"/>
                </a:lnTo>
                <a:lnTo>
                  <a:pt x="4616" y="10137"/>
                </a:lnTo>
                <a:lnTo>
                  <a:pt x="4592" y="10137"/>
                </a:lnTo>
                <a:lnTo>
                  <a:pt x="4582" y="10171"/>
                </a:lnTo>
                <a:lnTo>
                  <a:pt x="4490" y="10167"/>
                </a:lnTo>
                <a:lnTo>
                  <a:pt x="4416" y="10204"/>
                </a:lnTo>
                <a:lnTo>
                  <a:pt x="4399" y="10259"/>
                </a:lnTo>
                <a:lnTo>
                  <a:pt x="4475" y="10311"/>
                </a:lnTo>
                <a:lnTo>
                  <a:pt x="4499" y="10300"/>
                </a:lnTo>
                <a:lnTo>
                  <a:pt x="4525" y="10276"/>
                </a:lnTo>
                <a:lnTo>
                  <a:pt x="4545" y="10270"/>
                </a:lnTo>
                <a:lnTo>
                  <a:pt x="4556" y="10318"/>
                </a:lnTo>
                <a:lnTo>
                  <a:pt x="4546" y="10352"/>
                </a:lnTo>
                <a:lnTo>
                  <a:pt x="4535" y="10361"/>
                </a:lnTo>
                <a:lnTo>
                  <a:pt x="4517" y="10360"/>
                </a:lnTo>
                <a:lnTo>
                  <a:pt x="4490" y="10362"/>
                </a:lnTo>
                <a:lnTo>
                  <a:pt x="4481" y="10416"/>
                </a:lnTo>
                <a:lnTo>
                  <a:pt x="4465" y="10459"/>
                </a:lnTo>
                <a:lnTo>
                  <a:pt x="4451" y="10460"/>
                </a:lnTo>
                <a:lnTo>
                  <a:pt x="4453" y="10395"/>
                </a:lnTo>
                <a:lnTo>
                  <a:pt x="4395" y="10320"/>
                </a:lnTo>
                <a:lnTo>
                  <a:pt x="4351" y="10261"/>
                </a:lnTo>
                <a:lnTo>
                  <a:pt x="4328" y="10195"/>
                </a:lnTo>
                <a:lnTo>
                  <a:pt x="4328" y="10104"/>
                </a:lnTo>
                <a:lnTo>
                  <a:pt x="4327" y="10037"/>
                </a:lnTo>
                <a:lnTo>
                  <a:pt x="4355" y="9974"/>
                </a:lnTo>
                <a:lnTo>
                  <a:pt x="4379" y="9913"/>
                </a:lnTo>
                <a:lnTo>
                  <a:pt x="4362" y="9854"/>
                </a:lnTo>
                <a:lnTo>
                  <a:pt x="4388" y="9817"/>
                </a:lnTo>
                <a:lnTo>
                  <a:pt x="4439" y="9813"/>
                </a:lnTo>
                <a:lnTo>
                  <a:pt x="4486" y="9798"/>
                </a:lnTo>
                <a:lnTo>
                  <a:pt x="4500" y="9729"/>
                </a:lnTo>
                <a:lnTo>
                  <a:pt x="4474" y="9659"/>
                </a:lnTo>
                <a:lnTo>
                  <a:pt x="4455" y="9693"/>
                </a:lnTo>
                <a:lnTo>
                  <a:pt x="4433" y="9726"/>
                </a:lnTo>
                <a:lnTo>
                  <a:pt x="4393" y="9656"/>
                </a:lnTo>
                <a:lnTo>
                  <a:pt x="4390" y="9572"/>
                </a:lnTo>
                <a:lnTo>
                  <a:pt x="4382" y="9496"/>
                </a:lnTo>
                <a:lnTo>
                  <a:pt x="4387" y="9425"/>
                </a:lnTo>
                <a:lnTo>
                  <a:pt x="4418" y="9354"/>
                </a:lnTo>
                <a:lnTo>
                  <a:pt x="4393" y="9274"/>
                </a:lnTo>
                <a:lnTo>
                  <a:pt x="4393" y="9188"/>
                </a:lnTo>
                <a:lnTo>
                  <a:pt x="4405" y="9104"/>
                </a:lnTo>
                <a:lnTo>
                  <a:pt x="4416" y="9027"/>
                </a:lnTo>
                <a:lnTo>
                  <a:pt x="4427" y="8990"/>
                </a:lnTo>
                <a:lnTo>
                  <a:pt x="4453" y="8953"/>
                </a:lnTo>
                <a:lnTo>
                  <a:pt x="4488" y="8922"/>
                </a:lnTo>
                <a:lnTo>
                  <a:pt x="4521" y="8902"/>
                </a:lnTo>
                <a:lnTo>
                  <a:pt x="4530" y="8865"/>
                </a:lnTo>
                <a:lnTo>
                  <a:pt x="4544" y="8815"/>
                </a:lnTo>
                <a:lnTo>
                  <a:pt x="4564" y="8775"/>
                </a:lnTo>
                <a:lnTo>
                  <a:pt x="4595" y="8763"/>
                </a:lnTo>
                <a:lnTo>
                  <a:pt x="4656" y="8837"/>
                </a:lnTo>
                <a:lnTo>
                  <a:pt x="4671" y="8921"/>
                </a:lnTo>
                <a:lnTo>
                  <a:pt x="4685" y="8983"/>
                </a:lnTo>
                <a:lnTo>
                  <a:pt x="4740" y="8991"/>
                </a:lnTo>
                <a:lnTo>
                  <a:pt x="4735" y="9048"/>
                </a:lnTo>
                <a:lnTo>
                  <a:pt x="4714" y="9053"/>
                </a:lnTo>
                <a:lnTo>
                  <a:pt x="4689" y="9041"/>
                </a:lnTo>
                <a:lnTo>
                  <a:pt x="4671" y="9048"/>
                </a:lnTo>
                <a:lnTo>
                  <a:pt x="4642" y="9098"/>
                </a:lnTo>
                <a:lnTo>
                  <a:pt x="4657" y="9129"/>
                </a:lnTo>
                <a:lnTo>
                  <a:pt x="4691" y="9155"/>
                </a:lnTo>
                <a:lnTo>
                  <a:pt x="4725" y="9192"/>
                </a:lnTo>
                <a:lnTo>
                  <a:pt x="4745" y="9206"/>
                </a:lnTo>
                <a:lnTo>
                  <a:pt x="4744" y="9229"/>
                </a:lnTo>
                <a:lnTo>
                  <a:pt x="4740" y="9251"/>
                </a:lnTo>
                <a:lnTo>
                  <a:pt x="4753" y="9261"/>
                </a:lnTo>
                <a:lnTo>
                  <a:pt x="4775" y="9266"/>
                </a:lnTo>
                <a:lnTo>
                  <a:pt x="4801" y="9266"/>
                </a:lnTo>
                <a:lnTo>
                  <a:pt x="4823" y="9257"/>
                </a:lnTo>
                <a:lnTo>
                  <a:pt x="4830" y="9234"/>
                </a:lnTo>
                <a:lnTo>
                  <a:pt x="4807" y="9223"/>
                </a:lnTo>
                <a:lnTo>
                  <a:pt x="4782" y="9223"/>
                </a:lnTo>
                <a:lnTo>
                  <a:pt x="4770" y="9218"/>
                </a:lnTo>
                <a:lnTo>
                  <a:pt x="4793" y="9197"/>
                </a:lnTo>
                <a:lnTo>
                  <a:pt x="4820" y="9177"/>
                </a:lnTo>
                <a:lnTo>
                  <a:pt x="4860" y="9188"/>
                </a:lnTo>
                <a:lnTo>
                  <a:pt x="4904" y="9202"/>
                </a:lnTo>
                <a:lnTo>
                  <a:pt x="4945" y="9192"/>
                </a:lnTo>
                <a:lnTo>
                  <a:pt x="4917" y="9173"/>
                </a:lnTo>
                <a:lnTo>
                  <a:pt x="4891" y="9149"/>
                </a:lnTo>
                <a:lnTo>
                  <a:pt x="4865" y="9127"/>
                </a:lnTo>
                <a:lnTo>
                  <a:pt x="4834" y="9118"/>
                </a:lnTo>
                <a:lnTo>
                  <a:pt x="4810" y="9120"/>
                </a:lnTo>
                <a:lnTo>
                  <a:pt x="4789" y="9121"/>
                </a:lnTo>
                <a:lnTo>
                  <a:pt x="4779" y="9129"/>
                </a:lnTo>
                <a:lnTo>
                  <a:pt x="4787" y="9150"/>
                </a:lnTo>
                <a:lnTo>
                  <a:pt x="4760" y="9174"/>
                </a:lnTo>
                <a:lnTo>
                  <a:pt x="4742" y="9168"/>
                </a:lnTo>
                <a:lnTo>
                  <a:pt x="4744" y="9145"/>
                </a:lnTo>
                <a:lnTo>
                  <a:pt x="4774" y="9121"/>
                </a:lnTo>
                <a:lnTo>
                  <a:pt x="4777" y="9097"/>
                </a:lnTo>
                <a:lnTo>
                  <a:pt x="4769" y="9093"/>
                </a:lnTo>
                <a:lnTo>
                  <a:pt x="4755" y="9098"/>
                </a:lnTo>
                <a:lnTo>
                  <a:pt x="4740" y="9096"/>
                </a:lnTo>
                <a:lnTo>
                  <a:pt x="4745" y="9076"/>
                </a:lnTo>
                <a:lnTo>
                  <a:pt x="4756" y="9075"/>
                </a:lnTo>
                <a:lnTo>
                  <a:pt x="4769" y="9083"/>
                </a:lnTo>
                <a:lnTo>
                  <a:pt x="4781" y="9088"/>
                </a:lnTo>
                <a:lnTo>
                  <a:pt x="4823" y="9036"/>
                </a:lnTo>
                <a:lnTo>
                  <a:pt x="4826" y="8953"/>
                </a:lnTo>
                <a:lnTo>
                  <a:pt x="4847" y="8883"/>
                </a:lnTo>
                <a:lnTo>
                  <a:pt x="4933" y="8868"/>
                </a:lnTo>
                <a:lnTo>
                  <a:pt x="4937" y="8829"/>
                </a:lnTo>
                <a:lnTo>
                  <a:pt x="4900" y="8812"/>
                </a:lnTo>
                <a:lnTo>
                  <a:pt x="4852" y="8815"/>
                </a:lnTo>
                <a:lnTo>
                  <a:pt x="4817" y="8838"/>
                </a:lnTo>
                <a:lnTo>
                  <a:pt x="4819" y="8810"/>
                </a:lnTo>
                <a:lnTo>
                  <a:pt x="4795" y="8794"/>
                </a:lnTo>
                <a:lnTo>
                  <a:pt x="4759" y="8777"/>
                </a:lnTo>
                <a:lnTo>
                  <a:pt x="4732" y="8743"/>
                </a:lnTo>
                <a:lnTo>
                  <a:pt x="4707" y="8672"/>
                </a:lnTo>
                <a:lnTo>
                  <a:pt x="4728" y="8608"/>
                </a:lnTo>
                <a:lnTo>
                  <a:pt x="4774" y="8581"/>
                </a:lnTo>
                <a:lnTo>
                  <a:pt x="4826" y="8625"/>
                </a:lnTo>
                <a:lnTo>
                  <a:pt x="4789" y="8644"/>
                </a:lnTo>
                <a:lnTo>
                  <a:pt x="4810" y="8684"/>
                </a:lnTo>
                <a:lnTo>
                  <a:pt x="4856" y="8731"/>
                </a:lnTo>
                <a:lnTo>
                  <a:pt x="4896" y="8765"/>
                </a:lnTo>
                <a:lnTo>
                  <a:pt x="4902" y="8725"/>
                </a:lnTo>
                <a:lnTo>
                  <a:pt x="4888" y="8683"/>
                </a:lnTo>
                <a:lnTo>
                  <a:pt x="4866" y="8642"/>
                </a:lnTo>
                <a:lnTo>
                  <a:pt x="4848" y="8603"/>
                </a:lnTo>
                <a:lnTo>
                  <a:pt x="4903" y="8581"/>
                </a:lnTo>
                <a:lnTo>
                  <a:pt x="4956" y="8539"/>
                </a:lnTo>
                <a:lnTo>
                  <a:pt x="4982" y="8487"/>
                </a:lnTo>
                <a:lnTo>
                  <a:pt x="4949" y="8434"/>
                </a:lnTo>
                <a:lnTo>
                  <a:pt x="4944" y="8406"/>
                </a:lnTo>
                <a:lnTo>
                  <a:pt x="4958" y="8412"/>
                </a:lnTo>
                <a:lnTo>
                  <a:pt x="4982" y="8431"/>
                </a:lnTo>
                <a:lnTo>
                  <a:pt x="5005" y="8440"/>
                </a:lnTo>
                <a:lnTo>
                  <a:pt x="5037" y="8425"/>
                </a:lnTo>
                <a:lnTo>
                  <a:pt x="5073" y="8418"/>
                </a:lnTo>
                <a:lnTo>
                  <a:pt x="5105" y="8413"/>
                </a:lnTo>
                <a:lnTo>
                  <a:pt x="5126" y="8399"/>
                </a:lnTo>
                <a:lnTo>
                  <a:pt x="5058" y="8364"/>
                </a:lnTo>
                <a:lnTo>
                  <a:pt x="4937" y="8376"/>
                </a:lnTo>
                <a:lnTo>
                  <a:pt x="4830" y="8380"/>
                </a:lnTo>
                <a:lnTo>
                  <a:pt x="4809" y="8316"/>
                </a:lnTo>
                <a:lnTo>
                  <a:pt x="4888" y="8290"/>
                </a:lnTo>
                <a:lnTo>
                  <a:pt x="4969" y="8285"/>
                </a:lnTo>
                <a:lnTo>
                  <a:pt x="5044" y="8268"/>
                </a:lnTo>
                <a:lnTo>
                  <a:pt x="5105" y="8206"/>
                </a:lnTo>
                <a:lnTo>
                  <a:pt x="5052" y="8212"/>
                </a:lnTo>
                <a:lnTo>
                  <a:pt x="4996" y="8192"/>
                </a:lnTo>
                <a:lnTo>
                  <a:pt x="4949" y="8152"/>
                </a:lnTo>
                <a:lnTo>
                  <a:pt x="4919" y="8104"/>
                </a:lnTo>
                <a:lnTo>
                  <a:pt x="4958" y="8067"/>
                </a:lnTo>
                <a:lnTo>
                  <a:pt x="5007" y="8050"/>
                </a:lnTo>
                <a:lnTo>
                  <a:pt x="5054" y="8030"/>
                </a:lnTo>
                <a:lnTo>
                  <a:pt x="5086" y="7987"/>
                </a:lnTo>
                <a:lnTo>
                  <a:pt x="5100" y="7978"/>
                </a:lnTo>
                <a:lnTo>
                  <a:pt x="5112" y="7987"/>
                </a:lnTo>
                <a:lnTo>
                  <a:pt x="5122" y="8001"/>
                </a:lnTo>
                <a:lnTo>
                  <a:pt x="5135" y="8008"/>
                </a:lnTo>
                <a:lnTo>
                  <a:pt x="5135" y="8010"/>
                </a:lnTo>
                <a:lnTo>
                  <a:pt x="5136" y="8011"/>
                </a:lnTo>
                <a:lnTo>
                  <a:pt x="5136" y="8010"/>
                </a:lnTo>
                <a:lnTo>
                  <a:pt x="5135" y="8008"/>
                </a:lnTo>
                <a:lnTo>
                  <a:pt x="5155" y="7987"/>
                </a:lnTo>
                <a:lnTo>
                  <a:pt x="5160" y="7979"/>
                </a:lnTo>
                <a:lnTo>
                  <a:pt x="5152" y="7974"/>
                </a:lnTo>
                <a:lnTo>
                  <a:pt x="5135" y="7958"/>
                </a:lnTo>
                <a:lnTo>
                  <a:pt x="5155" y="7952"/>
                </a:lnTo>
                <a:lnTo>
                  <a:pt x="5197" y="7986"/>
                </a:lnTo>
                <a:lnTo>
                  <a:pt x="5236" y="8006"/>
                </a:lnTo>
                <a:lnTo>
                  <a:pt x="5250" y="7961"/>
                </a:lnTo>
                <a:lnTo>
                  <a:pt x="5230" y="7932"/>
                </a:lnTo>
                <a:lnTo>
                  <a:pt x="5193" y="7917"/>
                </a:lnTo>
                <a:lnTo>
                  <a:pt x="5173" y="7905"/>
                </a:lnTo>
                <a:lnTo>
                  <a:pt x="5201" y="7885"/>
                </a:lnTo>
                <a:lnTo>
                  <a:pt x="5231" y="7859"/>
                </a:lnTo>
                <a:lnTo>
                  <a:pt x="5210" y="7830"/>
                </a:lnTo>
                <a:lnTo>
                  <a:pt x="5177" y="7796"/>
                </a:lnTo>
                <a:lnTo>
                  <a:pt x="5174" y="7758"/>
                </a:lnTo>
                <a:lnTo>
                  <a:pt x="5318" y="7793"/>
                </a:lnTo>
                <a:lnTo>
                  <a:pt x="5412" y="7908"/>
                </a:lnTo>
                <a:lnTo>
                  <a:pt x="5522" y="7979"/>
                </a:lnTo>
                <a:lnTo>
                  <a:pt x="5715" y="7888"/>
                </a:lnTo>
                <a:lnTo>
                  <a:pt x="5776" y="7853"/>
                </a:lnTo>
                <a:lnTo>
                  <a:pt x="5840" y="7820"/>
                </a:lnTo>
                <a:lnTo>
                  <a:pt x="5872" y="7774"/>
                </a:lnTo>
                <a:lnTo>
                  <a:pt x="5836" y="7703"/>
                </a:lnTo>
                <a:lnTo>
                  <a:pt x="5866" y="7652"/>
                </a:lnTo>
                <a:lnTo>
                  <a:pt x="5864" y="7639"/>
                </a:lnTo>
                <a:lnTo>
                  <a:pt x="5834" y="7644"/>
                </a:lnTo>
                <a:lnTo>
                  <a:pt x="5776" y="7649"/>
                </a:lnTo>
                <a:lnTo>
                  <a:pt x="5783" y="7601"/>
                </a:lnTo>
                <a:lnTo>
                  <a:pt x="5846" y="7563"/>
                </a:lnTo>
                <a:lnTo>
                  <a:pt x="5919" y="7558"/>
                </a:lnTo>
                <a:lnTo>
                  <a:pt x="5951" y="7604"/>
                </a:lnTo>
                <a:lnTo>
                  <a:pt x="5891" y="7649"/>
                </a:lnTo>
                <a:lnTo>
                  <a:pt x="5885" y="7688"/>
                </a:lnTo>
                <a:lnTo>
                  <a:pt x="5917" y="7723"/>
                </a:lnTo>
                <a:lnTo>
                  <a:pt x="5966" y="7768"/>
                </a:lnTo>
                <a:lnTo>
                  <a:pt x="5953" y="7810"/>
                </a:lnTo>
                <a:lnTo>
                  <a:pt x="5957" y="7840"/>
                </a:lnTo>
                <a:lnTo>
                  <a:pt x="5979" y="7867"/>
                </a:lnTo>
                <a:lnTo>
                  <a:pt x="6016" y="7898"/>
                </a:lnTo>
                <a:lnTo>
                  <a:pt x="6022" y="7940"/>
                </a:lnTo>
                <a:lnTo>
                  <a:pt x="5980" y="7935"/>
                </a:lnTo>
                <a:lnTo>
                  <a:pt x="5922" y="7928"/>
                </a:lnTo>
                <a:lnTo>
                  <a:pt x="5874" y="7966"/>
                </a:lnTo>
                <a:lnTo>
                  <a:pt x="5840" y="8014"/>
                </a:lnTo>
                <a:lnTo>
                  <a:pt x="5844" y="8078"/>
                </a:lnTo>
                <a:lnTo>
                  <a:pt x="5868" y="8150"/>
                </a:lnTo>
                <a:lnTo>
                  <a:pt x="5892" y="8210"/>
                </a:lnTo>
                <a:lnTo>
                  <a:pt x="5918" y="8220"/>
                </a:lnTo>
                <a:lnTo>
                  <a:pt x="5923" y="8236"/>
                </a:lnTo>
                <a:lnTo>
                  <a:pt x="5919" y="8258"/>
                </a:lnTo>
                <a:lnTo>
                  <a:pt x="5919" y="8280"/>
                </a:lnTo>
                <a:lnTo>
                  <a:pt x="5969" y="8263"/>
                </a:lnTo>
                <a:lnTo>
                  <a:pt x="5987" y="8287"/>
                </a:lnTo>
                <a:lnTo>
                  <a:pt x="5973" y="8323"/>
                </a:lnTo>
                <a:lnTo>
                  <a:pt x="5925" y="8339"/>
                </a:lnTo>
                <a:lnTo>
                  <a:pt x="5876" y="8392"/>
                </a:lnTo>
                <a:lnTo>
                  <a:pt x="5849" y="8439"/>
                </a:lnTo>
                <a:lnTo>
                  <a:pt x="5811" y="8469"/>
                </a:lnTo>
                <a:lnTo>
                  <a:pt x="5732" y="8468"/>
                </a:lnTo>
                <a:lnTo>
                  <a:pt x="5669" y="8462"/>
                </a:lnTo>
                <a:lnTo>
                  <a:pt x="5683" y="8404"/>
                </a:lnTo>
                <a:lnTo>
                  <a:pt x="5663" y="8360"/>
                </a:lnTo>
                <a:lnTo>
                  <a:pt x="5494" y="8393"/>
                </a:lnTo>
                <a:lnTo>
                  <a:pt x="5503" y="8325"/>
                </a:lnTo>
                <a:lnTo>
                  <a:pt x="5498" y="8231"/>
                </a:lnTo>
                <a:lnTo>
                  <a:pt x="5482" y="8160"/>
                </a:lnTo>
                <a:lnTo>
                  <a:pt x="5458" y="8156"/>
                </a:lnTo>
                <a:lnTo>
                  <a:pt x="5439" y="8170"/>
                </a:lnTo>
                <a:lnTo>
                  <a:pt x="5419" y="8154"/>
                </a:lnTo>
                <a:lnTo>
                  <a:pt x="5394" y="8138"/>
                </a:lnTo>
                <a:lnTo>
                  <a:pt x="5369" y="8151"/>
                </a:lnTo>
                <a:lnTo>
                  <a:pt x="5319" y="8151"/>
                </a:lnTo>
                <a:lnTo>
                  <a:pt x="5263" y="8143"/>
                </a:lnTo>
                <a:lnTo>
                  <a:pt x="5214" y="8122"/>
                </a:lnTo>
                <a:lnTo>
                  <a:pt x="5182" y="8082"/>
                </a:lnTo>
                <a:lnTo>
                  <a:pt x="5179" y="8118"/>
                </a:lnTo>
                <a:lnTo>
                  <a:pt x="5164" y="8137"/>
                </a:lnTo>
                <a:lnTo>
                  <a:pt x="5141" y="8148"/>
                </a:lnTo>
                <a:lnTo>
                  <a:pt x="5114" y="8164"/>
                </a:lnTo>
                <a:lnTo>
                  <a:pt x="5136" y="8197"/>
                </a:lnTo>
                <a:lnTo>
                  <a:pt x="5169" y="8224"/>
                </a:lnTo>
                <a:lnTo>
                  <a:pt x="5188" y="8226"/>
                </a:lnTo>
                <a:lnTo>
                  <a:pt x="5169" y="8190"/>
                </a:lnTo>
                <a:lnTo>
                  <a:pt x="5250" y="8188"/>
                </a:lnTo>
                <a:lnTo>
                  <a:pt x="5266" y="8274"/>
                </a:lnTo>
                <a:lnTo>
                  <a:pt x="5230" y="8358"/>
                </a:lnTo>
                <a:lnTo>
                  <a:pt x="5154" y="8348"/>
                </a:lnTo>
                <a:lnTo>
                  <a:pt x="5138" y="8380"/>
                </a:lnTo>
                <a:lnTo>
                  <a:pt x="5178" y="8414"/>
                </a:lnTo>
                <a:lnTo>
                  <a:pt x="5220" y="8450"/>
                </a:lnTo>
                <a:lnTo>
                  <a:pt x="5216" y="8488"/>
                </a:lnTo>
                <a:lnTo>
                  <a:pt x="5109" y="8527"/>
                </a:lnTo>
                <a:lnTo>
                  <a:pt x="5070" y="8583"/>
                </a:lnTo>
                <a:lnTo>
                  <a:pt x="5051" y="8630"/>
                </a:lnTo>
                <a:lnTo>
                  <a:pt x="5003" y="8641"/>
                </a:lnTo>
                <a:lnTo>
                  <a:pt x="5033" y="8672"/>
                </a:lnTo>
                <a:lnTo>
                  <a:pt x="5105" y="8697"/>
                </a:lnTo>
                <a:lnTo>
                  <a:pt x="5173" y="8706"/>
                </a:lnTo>
                <a:lnTo>
                  <a:pt x="5191" y="8688"/>
                </a:lnTo>
                <a:lnTo>
                  <a:pt x="5169" y="8673"/>
                </a:lnTo>
                <a:lnTo>
                  <a:pt x="5166" y="8659"/>
                </a:lnTo>
                <a:lnTo>
                  <a:pt x="5180" y="8647"/>
                </a:lnTo>
                <a:lnTo>
                  <a:pt x="5206" y="8645"/>
                </a:lnTo>
                <a:lnTo>
                  <a:pt x="5240" y="8650"/>
                </a:lnTo>
                <a:lnTo>
                  <a:pt x="5262" y="8677"/>
                </a:lnTo>
                <a:lnTo>
                  <a:pt x="5284" y="8706"/>
                </a:lnTo>
                <a:lnTo>
                  <a:pt x="5319" y="8723"/>
                </a:lnTo>
                <a:lnTo>
                  <a:pt x="5319" y="8724"/>
                </a:lnTo>
                <a:lnTo>
                  <a:pt x="5322" y="8724"/>
                </a:lnTo>
                <a:lnTo>
                  <a:pt x="5321" y="8723"/>
                </a:lnTo>
                <a:lnTo>
                  <a:pt x="5319" y="8723"/>
                </a:lnTo>
                <a:lnTo>
                  <a:pt x="5343" y="8700"/>
                </a:lnTo>
                <a:lnTo>
                  <a:pt x="5399" y="8721"/>
                </a:lnTo>
                <a:lnTo>
                  <a:pt x="5411" y="8761"/>
                </a:lnTo>
                <a:lnTo>
                  <a:pt x="5300" y="8789"/>
                </a:lnTo>
                <a:lnTo>
                  <a:pt x="5245" y="8767"/>
                </a:lnTo>
                <a:lnTo>
                  <a:pt x="5192" y="8754"/>
                </a:lnTo>
                <a:lnTo>
                  <a:pt x="5144" y="8765"/>
                </a:lnTo>
                <a:lnTo>
                  <a:pt x="5101" y="8812"/>
                </a:lnTo>
                <a:lnTo>
                  <a:pt x="5076" y="8791"/>
                </a:lnTo>
                <a:lnTo>
                  <a:pt x="5039" y="8794"/>
                </a:lnTo>
                <a:lnTo>
                  <a:pt x="5002" y="8796"/>
                </a:lnTo>
                <a:lnTo>
                  <a:pt x="4975" y="8776"/>
                </a:lnTo>
                <a:lnTo>
                  <a:pt x="4955" y="8754"/>
                </a:lnTo>
                <a:lnTo>
                  <a:pt x="4949" y="8763"/>
                </a:lnTo>
                <a:lnTo>
                  <a:pt x="4952" y="8787"/>
                </a:lnTo>
                <a:lnTo>
                  <a:pt x="4961" y="8812"/>
                </a:lnTo>
                <a:lnTo>
                  <a:pt x="4968" y="8842"/>
                </a:lnTo>
                <a:lnTo>
                  <a:pt x="4958" y="8869"/>
                </a:lnTo>
                <a:lnTo>
                  <a:pt x="4945" y="8893"/>
                </a:lnTo>
                <a:lnTo>
                  <a:pt x="4941" y="8915"/>
                </a:lnTo>
                <a:lnTo>
                  <a:pt x="4984" y="8905"/>
                </a:lnTo>
                <a:lnTo>
                  <a:pt x="5020" y="8891"/>
                </a:lnTo>
                <a:lnTo>
                  <a:pt x="5049" y="8874"/>
                </a:lnTo>
                <a:lnTo>
                  <a:pt x="5071" y="8855"/>
                </a:lnTo>
                <a:lnTo>
                  <a:pt x="5123" y="8874"/>
                </a:lnTo>
                <a:lnTo>
                  <a:pt x="5161" y="8889"/>
                </a:lnTo>
                <a:lnTo>
                  <a:pt x="5197" y="8897"/>
                </a:lnTo>
                <a:lnTo>
                  <a:pt x="5239" y="8889"/>
                </a:lnTo>
                <a:lnTo>
                  <a:pt x="5253" y="8940"/>
                </a:lnTo>
                <a:lnTo>
                  <a:pt x="5210" y="9008"/>
                </a:lnTo>
                <a:lnTo>
                  <a:pt x="5160" y="9047"/>
                </a:lnTo>
                <a:lnTo>
                  <a:pt x="5156" y="9011"/>
                </a:lnTo>
                <a:lnTo>
                  <a:pt x="5135" y="9005"/>
                </a:lnTo>
                <a:lnTo>
                  <a:pt x="5108" y="9041"/>
                </a:lnTo>
                <a:lnTo>
                  <a:pt x="5080" y="9090"/>
                </a:lnTo>
                <a:lnTo>
                  <a:pt x="5052" y="9121"/>
                </a:lnTo>
                <a:lnTo>
                  <a:pt x="5026" y="9162"/>
                </a:lnTo>
                <a:lnTo>
                  <a:pt x="5020" y="9188"/>
                </a:lnTo>
                <a:lnTo>
                  <a:pt x="5035" y="9211"/>
                </a:lnTo>
                <a:lnTo>
                  <a:pt x="5071" y="9238"/>
                </a:lnTo>
                <a:lnTo>
                  <a:pt x="5091" y="9227"/>
                </a:lnTo>
                <a:lnTo>
                  <a:pt x="5080" y="9208"/>
                </a:lnTo>
                <a:lnTo>
                  <a:pt x="5063" y="9186"/>
                </a:lnTo>
                <a:lnTo>
                  <a:pt x="5070" y="9167"/>
                </a:lnTo>
                <a:lnTo>
                  <a:pt x="5103" y="9168"/>
                </a:lnTo>
                <a:lnTo>
                  <a:pt x="5149" y="9168"/>
                </a:lnTo>
                <a:lnTo>
                  <a:pt x="5186" y="9157"/>
                </a:lnTo>
                <a:lnTo>
                  <a:pt x="5192" y="9122"/>
                </a:lnTo>
                <a:lnTo>
                  <a:pt x="5149" y="9126"/>
                </a:lnTo>
                <a:lnTo>
                  <a:pt x="5123" y="9110"/>
                </a:lnTo>
                <a:lnTo>
                  <a:pt x="5119" y="9097"/>
                </a:lnTo>
                <a:lnTo>
                  <a:pt x="5138" y="9116"/>
                </a:lnTo>
                <a:lnTo>
                  <a:pt x="5205" y="9083"/>
                </a:lnTo>
                <a:lnTo>
                  <a:pt x="5234" y="9094"/>
                </a:lnTo>
                <a:lnTo>
                  <a:pt x="5249" y="9111"/>
                </a:lnTo>
                <a:lnTo>
                  <a:pt x="5275" y="9092"/>
                </a:lnTo>
                <a:lnTo>
                  <a:pt x="5285" y="9115"/>
                </a:lnTo>
                <a:lnTo>
                  <a:pt x="5268" y="9143"/>
                </a:lnTo>
                <a:lnTo>
                  <a:pt x="5247" y="9177"/>
                </a:lnTo>
                <a:lnTo>
                  <a:pt x="5239" y="9218"/>
                </a:lnTo>
                <a:lnTo>
                  <a:pt x="5262" y="9253"/>
                </a:lnTo>
                <a:lnTo>
                  <a:pt x="5305" y="9261"/>
                </a:lnTo>
                <a:lnTo>
                  <a:pt x="5351" y="9269"/>
                </a:lnTo>
                <a:lnTo>
                  <a:pt x="5384" y="9303"/>
                </a:lnTo>
                <a:lnTo>
                  <a:pt x="5426" y="9332"/>
                </a:lnTo>
                <a:lnTo>
                  <a:pt x="5408" y="9342"/>
                </a:lnTo>
                <a:lnTo>
                  <a:pt x="5373" y="9353"/>
                </a:lnTo>
                <a:lnTo>
                  <a:pt x="5363" y="9378"/>
                </a:lnTo>
                <a:lnTo>
                  <a:pt x="5333" y="9421"/>
                </a:lnTo>
                <a:lnTo>
                  <a:pt x="5310" y="9410"/>
                </a:lnTo>
                <a:lnTo>
                  <a:pt x="5286" y="9407"/>
                </a:lnTo>
                <a:lnTo>
                  <a:pt x="5254" y="9484"/>
                </a:lnTo>
                <a:lnTo>
                  <a:pt x="5298" y="9491"/>
                </a:lnTo>
                <a:lnTo>
                  <a:pt x="5345" y="9463"/>
                </a:lnTo>
                <a:lnTo>
                  <a:pt x="5394" y="9425"/>
                </a:lnTo>
                <a:lnTo>
                  <a:pt x="5445" y="9401"/>
                </a:lnTo>
                <a:lnTo>
                  <a:pt x="5482" y="9397"/>
                </a:lnTo>
                <a:lnTo>
                  <a:pt x="5503" y="9423"/>
                </a:lnTo>
                <a:lnTo>
                  <a:pt x="5515" y="9442"/>
                </a:lnTo>
                <a:lnTo>
                  <a:pt x="5531" y="9415"/>
                </a:lnTo>
                <a:lnTo>
                  <a:pt x="5564" y="9379"/>
                </a:lnTo>
                <a:lnTo>
                  <a:pt x="5575" y="9423"/>
                </a:lnTo>
                <a:lnTo>
                  <a:pt x="5580" y="9488"/>
                </a:lnTo>
                <a:lnTo>
                  <a:pt x="5597" y="9518"/>
                </a:lnTo>
                <a:lnTo>
                  <a:pt x="5602" y="9489"/>
                </a:lnTo>
                <a:lnTo>
                  <a:pt x="5616" y="9488"/>
                </a:lnTo>
                <a:lnTo>
                  <a:pt x="5620" y="9502"/>
                </a:lnTo>
                <a:lnTo>
                  <a:pt x="5597" y="9519"/>
                </a:lnTo>
                <a:lnTo>
                  <a:pt x="5611" y="9532"/>
                </a:lnTo>
                <a:lnTo>
                  <a:pt x="5625" y="9545"/>
                </a:lnTo>
                <a:lnTo>
                  <a:pt x="5630" y="9560"/>
                </a:lnTo>
                <a:lnTo>
                  <a:pt x="5620" y="9577"/>
                </a:lnTo>
                <a:lnTo>
                  <a:pt x="5591" y="9594"/>
                </a:lnTo>
                <a:lnTo>
                  <a:pt x="5602" y="9614"/>
                </a:lnTo>
                <a:lnTo>
                  <a:pt x="5631" y="9620"/>
                </a:lnTo>
                <a:lnTo>
                  <a:pt x="5652" y="9600"/>
                </a:lnTo>
                <a:lnTo>
                  <a:pt x="5664" y="9552"/>
                </a:lnTo>
                <a:lnTo>
                  <a:pt x="5666" y="9510"/>
                </a:lnTo>
                <a:lnTo>
                  <a:pt x="5671" y="9470"/>
                </a:lnTo>
                <a:lnTo>
                  <a:pt x="5694" y="9426"/>
                </a:lnTo>
                <a:lnTo>
                  <a:pt x="5701" y="9415"/>
                </a:lnTo>
                <a:lnTo>
                  <a:pt x="5689" y="9411"/>
                </a:lnTo>
                <a:lnTo>
                  <a:pt x="5668" y="9416"/>
                </a:lnTo>
                <a:lnTo>
                  <a:pt x="5652" y="9424"/>
                </a:lnTo>
                <a:lnTo>
                  <a:pt x="5622" y="9407"/>
                </a:lnTo>
                <a:lnTo>
                  <a:pt x="5594" y="9378"/>
                </a:lnTo>
                <a:lnTo>
                  <a:pt x="5562" y="9350"/>
                </a:lnTo>
                <a:lnTo>
                  <a:pt x="5520" y="9336"/>
                </a:lnTo>
                <a:lnTo>
                  <a:pt x="5462" y="9346"/>
                </a:lnTo>
                <a:lnTo>
                  <a:pt x="5458" y="9326"/>
                </a:lnTo>
                <a:lnTo>
                  <a:pt x="5476" y="9292"/>
                </a:lnTo>
                <a:lnTo>
                  <a:pt x="5480" y="9258"/>
                </a:lnTo>
                <a:lnTo>
                  <a:pt x="5458" y="9208"/>
                </a:lnTo>
                <a:lnTo>
                  <a:pt x="5407" y="9190"/>
                </a:lnTo>
                <a:lnTo>
                  <a:pt x="5365" y="9173"/>
                </a:lnTo>
                <a:lnTo>
                  <a:pt x="5366" y="9129"/>
                </a:lnTo>
                <a:lnTo>
                  <a:pt x="5403" y="9129"/>
                </a:lnTo>
                <a:lnTo>
                  <a:pt x="5426" y="9129"/>
                </a:lnTo>
                <a:lnTo>
                  <a:pt x="5444" y="9117"/>
                </a:lnTo>
                <a:lnTo>
                  <a:pt x="5464" y="9080"/>
                </a:lnTo>
                <a:lnTo>
                  <a:pt x="5500" y="9129"/>
                </a:lnTo>
                <a:lnTo>
                  <a:pt x="5532" y="9174"/>
                </a:lnTo>
                <a:lnTo>
                  <a:pt x="5565" y="9215"/>
                </a:lnTo>
                <a:lnTo>
                  <a:pt x="5605" y="9252"/>
                </a:lnTo>
                <a:lnTo>
                  <a:pt x="5673" y="9233"/>
                </a:lnTo>
                <a:lnTo>
                  <a:pt x="5697" y="9183"/>
                </a:lnTo>
                <a:lnTo>
                  <a:pt x="5711" y="9141"/>
                </a:lnTo>
                <a:lnTo>
                  <a:pt x="5747" y="9153"/>
                </a:lnTo>
                <a:lnTo>
                  <a:pt x="5816" y="9098"/>
                </a:lnTo>
                <a:lnTo>
                  <a:pt x="5733" y="9071"/>
                </a:lnTo>
                <a:lnTo>
                  <a:pt x="5597" y="9052"/>
                </a:lnTo>
                <a:lnTo>
                  <a:pt x="5503" y="9019"/>
                </a:lnTo>
                <a:lnTo>
                  <a:pt x="5459" y="9029"/>
                </a:lnTo>
                <a:lnTo>
                  <a:pt x="5410" y="9052"/>
                </a:lnTo>
                <a:lnTo>
                  <a:pt x="5379" y="9050"/>
                </a:lnTo>
                <a:lnTo>
                  <a:pt x="5391" y="8986"/>
                </a:lnTo>
                <a:lnTo>
                  <a:pt x="5403" y="8987"/>
                </a:lnTo>
                <a:lnTo>
                  <a:pt x="5421" y="8991"/>
                </a:lnTo>
                <a:lnTo>
                  <a:pt x="5434" y="8990"/>
                </a:lnTo>
                <a:lnTo>
                  <a:pt x="5431" y="8977"/>
                </a:lnTo>
                <a:lnTo>
                  <a:pt x="5366" y="8898"/>
                </a:lnTo>
                <a:lnTo>
                  <a:pt x="5412" y="8894"/>
                </a:lnTo>
                <a:lnTo>
                  <a:pt x="5504" y="8930"/>
                </a:lnTo>
                <a:lnTo>
                  <a:pt x="5576" y="8969"/>
                </a:lnTo>
                <a:lnTo>
                  <a:pt x="5545" y="8919"/>
                </a:lnTo>
                <a:lnTo>
                  <a:pt x="5515" y="8889"/>
                </a:lnTo>
                <a:lnTo>
                  <a:pt x="5523" y="8874"/>
                </a:lnTo>
                <a:lnTo>
                  <a:pt x="5605" y="8860"/>
                </a:lnTo>
                <a:lnTo>
                  <a:pt x="5610" y="8812"/>
                </a:lnTo>
                <a:lnTo>
                  <a:pt x="5591" y="8786"/>
                </a:lnTo>
                <a:lnTo>
                  <a:pt x="5578" y="8770"/>
                </a:lnTo>
                <a:lnTo>
                  <a:pt x="5599" y="8748"/>
                </a:lnTo>
                <a:lnTo>
                  <a:pt x="5641" y="8758"/>
                </a:lnTo>
                <a:lnTo>
                  <a:pt x="5686" y="8809"/>
                </a:lnTo>
                <a:lnTo>
                  <a:pt x="5718" y="8847"/>
                </a:lnTo>
                <a:lnTo>
                  <a:pt x="5725" y="8819"/>
                </a:lnTo>
                <a:lnTo>
                  <a:pt x="5706" y="8771"/>
                </a:lnTo>
                <a:lnTo>
                  <a:pt x="5732" y="8702"/>
                </a:lnTo>
                <a:lnTo>
                  <a:pt x="5774" y="8665"/>
                </a:lnTo>
                <a:lnTo>
                  <a:pt x="5804" y="8710"/>
                </a:lnTo>
                <a:lnTo>
                  <a:pt x="5830" y="8674"/>
                </a:lnTo>
                <a:lnTo>
                  <a:pt x="5849" y="8641"/>
                </a:lnTo>
                <a:lnTo>
                  <a:pt x="5874" y="8612"/>
                </a:lnTo>
                <a:lnTo>
                  <a:pt x="5913" y="8589"/>
                </a:lnTo>
                <a:lnTo>
                  <a:pt x="6035" y="8661"/>
                </a:lnTo>
                <a:lnTo>
                  <a:pt x="6120" y="8667"/>
                </a:lnTo>
                <a:lnTo>
                  <a:pt x="6166" y="8656"/>
                </a:lnTo>
                <a:lnTo>
                  <a:pt x="6172" y="8682"/>
                </a:lnTo>
                <a:lnTo>
                  <a:pt x="6128" y="8748"/>
                </a:lnTo>
                <a:lnTo>
                  <a:pt x="6102" y="8775"/>
                </a:lnTo>
                <a:lnTo>
                  <a:pt x="6076" y="8754"/>
                </a:lnTo>
                <a:lnTo>
                  <a:pt x="6027" y="8678"/>
                </a:lnTo>
                <a:lnTo>
                  <a:pt x="5983" y="8709"/>
                </a:lnTo>
                <a:lnTo>
                  <a:pt x="5929" y="8716"/>
                </a:lnTo>
                <a:lnTo>
                  <a:pt x="5876" y="8724"/>
                </a:lnTo>
                <a:lnTo>
                  <a:pt x="5836" y="8752"/>
                </a:lnTo>
                <a:lnTo>
                  <a:pt x="5817" y="8757"/>
                </a:lnTo>
                <a:lnTo>
                  <a:pt x="5808" y="8745"/>
                </a:lnTo>
                <a:lnTo>
                  <a:pt x="5804" y="8726"/>
                </a:lnTo>
                <a:lnTo>
                  <a:pt x="5803" y="8710"/>
                </a:lnTo>
                <a:lnTo>
                  <a:pt x="5780" y="8719"/>
                </a:lnTo>
                <a:lnTo>
                  <a:pt x="5762" y="8725"/>
                </a:lnTo>
                <a:lnTo>
                  <a:pt x="5757" y="8737"/>
                </a:lnTo>
                <a:lnTo>
                  <a:pt x="5776" y="8759"/>
                </a:lnTo>
                <a:lnTo>
                  <a:pt x="5793" y="8793"/>
                </a:lnTo>
                <a:lnTo>
                  <a:pt x="5771" y="8821"/>
                </a:lnTo>
                <a:lnTo>
                  <a:pt x="5751" y="8840"/>
                </a:lnTo>
                <a:lnTo>
                  <a:pt x="5768" y="8850"/>
                </a:lnTo>
                <a:lnTo>
                  <a:pt x="5942" y="8878"/>
                </a:lnTo>
                <a:lnTo>
                  <a:pt x="5966" y="8905"/>
                </a:lnTo>
                <a:lnTo>
                  <a:pt x="5946" y="8935"/>
                </a:lnTo>
                <a:lnTo>
                  <a:pt x="5987" y="8978"/>
                </a:lnTo>
                <a:lnTo>
                  <a:pt x="6077" y="8913"/>
                </a:lnTo>
                <a:lnTo>
                  <a:pt x="6162" y="8780"/>
                </a:lnTo>
                <a:lnTo>
                  <a:pt x="6234" y="8687"/>
                </a:lnTo>
                <a:lnTo>
                  <a:pt x="6286" y="8745"/>
                </a:lnTo>
                <a:lnTo>
                  <a:pt x="6311" y="8758"/>
                </a:lnTo>
                <a:lnTo>
                  <a:pt x="6329" y="8771"/>
                </a:lnTo>
                <a:lnTo>
                  <a:pt x="6351" y="8780"/>
                </a:lnTo>
                <a:lnTo>
                  <a:pt x="6394" y="8780"/>
                </a:lnTo>
                <a:lnTo>
                  <a:pt x="6348" y="8826"/>
                </a:lnTo>
                <a:lnTo>
                  <a:pt x="6287" y="8827"/>
                </a:lnTo>
                <a:lnTo>
                  <a:pt x="6250" y="8835"/>
                </a:lnTo>
                <a:lnTo>
                  <a:pt x="6279" y="8896"/>
                </a:lnTo>
                <a:lnTo>
                  <a:pt x="6302" y="8948"/>
                </a:lnTo>
                <a:lnTo>
                  <a:pt x="6369" y="8945"/>
                </a:lnTo>
                <a:lnTo>
                  <a:pt x="6446" y="8927"/>
                </a:lnTo>
                <a:lnTo>
                  <a:pt x="6506" y="8936"/>
                </a:lnTo>
                <a:lnTo>
                  <a:pt x="6497" y="8955"/>
                </a:lnTo>
                <a:lnTo>
                  <a:pt x="6476" y="8966"/>
                </a:lnTo>
                <a:lnTo>
                  <a:pt x="6449" y="8968"/>
                </a:lnTo>
                <a:lnTo>
                  <a:pt x="6427" y="8966"/>
                </a:lnTo>
                <a:lnTo>
                  <a:pt x="6398" y="8985"/>
                </a:lnTo>
                <a:lnTo>
                  <a:pt x="6407" y="8997"/>
                </a:lnTo>
                <a:lnTo>
                  <a:pt x="6432" y="9004"/>
                </a:lnTo>
                <a:lnTo>
                  <a:pt x="6459" y="9005"/>
                </a:lnTo>
                <a:lnTo>
                  <a:pt x="6445" y="9083"/>
                </a:lnTo>
                <a:lnTo>
                  <a:pt x="6428" y="9106"/>
                </a:lnTo>
                <a:lnTo>
                  <a:pt x="6406" y="9083"/>
                </a:lnTo>
                <a:lnTo>
                  <a:pt x="6378" y="9027"/>
                </a:lnTo>
                <a:lnTo>
                  <a:pt x="6375" y="9096"/>
                </a:lnTo>
                <a:lnTo>
                  <a:pt x="6432" y="9155"/>
                </a:lnTo>
                <a:lnTo>
                  <a:pt x="6473" y="9224"/>
                </a:lnTo>
                <a:lnTo>
                  <a:pt x="6425" y="9320"/>
                </a:lnTo>
                <a:lnTo>
                  <a:pt x="6323" y="9336"/>
                </a:lnTo>
                <a:lnTo>
                  <a:pt x="6302" y="9395"/>
                </a:lnTo>
                <a:lnTo>
                  <a:pt x="6334" y="9429"/>
                </a:lnTo>
                <a:lnTo>
                  <a:pt x="6390" y="9367"/>
                </a:lnTo>
                <a:lnTo>
                  <a:pt x="6468" y="9420"/>
                </a:lnTo>
                <a:lnTo>
                  <a:pt x="6488" y="9451"/>
                </a:lnTo>
                <a:lnTo>
                  <a:pt x="6455" y="9456"/>
                </a:lnTo>
                <a:lnTo>
                  <a:pt x="6370" y="9434"/>
                </a:lnTo>
                <a:lnTo>
                  <a:pt x="6384" y="9486"/>
                </a:lnTo>
                <a:lnTo>
                  <a:pt x="6411" y="9540"/>
                </a:lnTo>
                <a:lnTo>
                  <a:pt x="6449" y="9579"/>
                </a:lnTo>
                <a:lnTo>
                  <a:pt x="6499" y="9586"/>
                </a:lnTo>
                <a:lnTo>
                  <a:pt x="6511" y="9528"/>
                </a:lnTo>
                <a:lnTo>
                  <a:pt x="6563" y="9517"/>
                </a:lnTo>
                <a:lnTo>
                  <a:pt x="6611" y="9541"/>
                </a:lnTo>
                <a:lnTo>
                  <a:pt x="6607" y="9589"/>
                </a:lnTo>
                <a:lnTo>
                  <a:pt x="6513" y="9699"/>
                </a:lnTo>
                <a:lnTo>
                  <a:pt x="6473" y="9705"/>
                </a:lnTo>
                <a:lnTo>
                  <a:pt x="6445" y="9673"/>
                </a:lnTo>
                <a:lnTo>
                  <a:pt x="6389" y="9673"/>
                </a:lnTo>
                <a:lnTo>
                  <a:pt x="6372" y="9693"/>
                </a:lnTo>
                <a:lnTo>
                  <a:pt x="6366" y="9712"/>
                </a:lnTo>
                <a:lnTo>
                  <a:pt x="6356" y="9719"/>
                </a:lnTo>
                <a:lnTo>
                  <a:pt x="6329" y="9701"/>
                </a:lnTo>
                <a:lnTo>
                  <a:pt x="6309" y="9707"/>
                </a:lnTo>
                <a:lnTo>
                  <a:pt x="6291" y="9718"/>
                </a:lnTo>
                <a:lnTo>
                  <a:pt x="6277" y="9719"/>
                </a:lnTo>
                <a:lnTo>
                  <a:pt x="6265" y="9693"/>
                </a:lnTo>
                <a:lnTo>
                  <a:pt x="6243" y="9668"/>
                </a:lnTo>
                <a:lnTo>
                  <a:pt x="6218" y="9673"/>
                </a:lnTo>
                <a:lnTo>
                  <a:pt x="6206" y="9696"/>
                </a:lnTo>
                <a:lnTo>
                  <a:pt x="6216" y="9728"/>
                </a:lnTo>
                <a:lnTo>
                  <a:pt x="6230" y="9750"/>
                </a:lnTo>
                <a:lnTo>
                  <a:pt x="6255" y="9754"/>
                </a:lnTo>
                <a:lnTo>
                  <a:pt x="6279" y="9759"/>
                </a:lnTo>
                <a:lnTo>
                  <a:pt x="6291" y="9785"/>
                </a:lnTo>
                <a:lnTo>
                  <a:pt x="6324" y="9797"/>
                </a:lnTo>
                <a:lnTo>
                  <a:pt x="6380" y="9797"/>
                </a:lnTo>
                <a:lnTo>
                  <a:pt x="6425" y="9784"/>
                </a:lnTo>
                <a:lnTo>
                  <a:pt x="6425" y="9760"/>
                </a:lnTo>
                <a:lnTo>
                  <a:pt x="6426" y="9756"/>
                </a:lnTo>
                <a:lnTo>
                  <a:pt x="6462" y="9756"/>
                </a:lnTo>
                <a:lnTo>
                  <a:pt x="6502" y="9769"/>
                </a:lnTo>
                <a:lnTo>
                  <a:pt x="6515" y="9805"/>
                </a:lnTo>
                <a:lnTo>
                  <a:pt x="6495" y="9867"/>
                </a:lnTo>
                <a:lnTo>
                  <a:pt x="6495" y="9929"/>
                </a:lnTo>
                <a:lnTo>
                  <a:pt x="6499" y="9990"/>
                </a:lnTo>
                <a:lnTo>
                  <a:pt x="6490" y="10046"/>
                </a:lnTo>
                <a:lnTo>
                  <a:pt x="6532" y="10043"/>
                </a:lnTo>
                <a:lnTo>
                  <a:pt x="6567" y="10069"/>
                </a:lnTo>
                <a:lnTo>
                  <a:pt x="6598" y="10113"/>
                </a:lnTo>
                <a:lnTo>
                  <a:pt x="6622" y="10157"/>
                </a:lnTo>
                <a:lnTo>
                  <a:pt x="6586" y="10218"/>
                </a:lnTo>
                <a:lnTo>
                  <a:pt x="6535" y="10227"/>
                </a:lnTo>
                <a:lnTo>
                  <a:pt x="6478" y="10226"/>
                </a:lnTo>
                <a:lnTo>
                  <a:pt x="6428" y="10254"/>
                </a:lnTo>
                <a:lnTo>
                  <a:pt x="6468" y="10259"/>
                </a:lnTo>
                <a:lnTo>
                  <a:pt x="6493" y="10287"/>
                </a:lnTo>
                <a:lnTo>
                  <a:pt x="6516" y="10314"/>
                </a:lnTo>
                <a:lnTo>
                  <a:pt x="6551" y="10311"/>
                </a:lnTo>
                <a:lnTo>
                  <a:pt x="6614" y="10310"/>
                </a:lnTo>
                <a:lnTo>
                  <a:pt x="6600" y="10367"/>
                </a:lnTo>
                <a:lnTo>
                  <a:pt x="6570" y="10445"/>
                </a:lnTo>
                <a:lnTo>
                  <a:pt x="6581" y="10505"/>
                </a:lnTo>
                <a:lnTo>
                  <a:pt x="6618" y="10553"/>
                </a:lnTo>
                <a:lnTo>
                  <a:pt x="6609" y="10572"/>
                </a:lnTo>
                <a:lnTo>
                  <a:pt x="6583" y="10582"/>
                </a:lnTo>
                <a:lnTo>
                  <a:pt x="6570" y="10605"/>
                </a:lnTo>
                <a:lnTo>
                  <a:pt x="6618" y="10638"/>
                </a:lnTo>
                <a:lnTo>
                  <a:pt x="6691" y="10538"/>
                </a:lnTo>
                <a:lnTo>
                  <a:pt x="6758" y="10395"/>
                </a:lnTo>
                <a:lnTo>
                  <a:pt x="6789" y="10298"/>
                </a:lnTo>
                <a:lnTo>
                  <a:pt x="6771" y="10186"/>
                </a:lnTo>
                <a:lnTo>
                  <a:pt x="6767" y="10097"/>
                </a:lnTo>
                <a:lnTo>
                  <a:pt x="6743" y="10018"/>
                </a:lnTo>
                <a:lnTo>
                  <a:pt x="6667" y="9941"/>
                </a:lnTo>
                <a:lnTo>
                  <a:pt x="6740" y="9880"/>
                </a:lnTo>
                <a:lnTo>
                  <a:pt x="6738" y="9873"/>
                </a:lnTo>
                <a:lnTo>
                  <a:pt x="6712" y="9869"/>
                </a:lnTo>
                <a:lnTo>
                  <a:pt x="6714" y="9816"/>
                </a:lnTo>
                <a:lnTo>
                  <a:pt x="6828" y="9592"/>
                </a:lnTo>
                <a:lnTo>
                  <a:pt x="6823" y="9446"/>
                </a:lnTo>
                <a:lnTo>
                  <a:pt x="6790" y="9303"/>
                </a:lnTo>
                <a:lnTo>
                  <a:pt x="6825" y="9094"/>
                </a:lnTo>
                <a:lnTo>
                  <a:pt x="6791" y="8819"/>
                </a:lnTo>
                <a:lnTo>
                  <a:pt x="6789" y="8399"/>
                </a:lnTo>
                <a:lnTo>
                  <a:pt x="6844" y="8066"/>
                </a:lnTo>
                <a:lnTo>
                  <a:pt x="6980" y="8054"/>
                </a:lnTo>
                <a:lnTo>
                  <a:pt x="7634" y="8374"/>
                </a:lnTo>
                <a:lnTo>
                  <a:pt x="8267" y="8698"/>
                </a:lnTo>
                <a:lnTo>
                  <a:pt x="8885" y="9037"/>
                </a:lnTo>
                <a:lnTo>
                  <a:pt x="9494" y="9398"/>
                </a:lnTo>
                <a:lnTo>
                  <a:pt x="9791" y="9500"/>
                </a:lnTo>
                <a:lnTo>
                  <a:pt x="10008" y="9316"/>
                </a:lnTo>
                <a:lnTo>
                  <a:pt x="10181" y="8999"/>
                </a:lnTo>
                <a:lnTo>
                  <a:pt x="10339" y="8711"/>
                </a:lnTo>
                <a:lnTo>
                  <a:pt x="10478" y="8445"/>
                </a:lnTo>
                <a:lnTo>
                  <a:pt x="10623" y="8182"/>
                </a:lnTo>
                <a:lnTo>
                  <a:pt x="10766" y="7921"/>
                </a:lnTo>
                <a:lnTo>
                  <a:pt x="10896" y="7660"/>
                </a:lnTo>
                <a:lnTo>
                  <a:pt x="10938" y="7574"/>
                </a:lnTo>
                <a:lnTo>
                  <a:pt x="10999" y="7480"/>
                </a:lnTo>
                <a:lnTo>
                  <a:pt x="11028" y="7390"/>
                </a:lnTo>
                <a:lnTo>
                  <a:pt x="10980" y="7317"/>
                </a:lnTo>
                <a:close/>
                <a:moveTo>
                  <a:pt x="3375" y="5040"/>
                </a:moveTo>
                <a:lnTo>
                  <a:pt x="3375" y="5044"/>
                </a:lnTo>
                <a:lnTo>
                  <a:pt x="3376" y="5045"/>
                </a:lnTo>
                <a:lnTo>
                  <a:pt x="3378" y="5046"/>
                </a:lnTo>
                <a:lnTo>
                  <a:pt x="3382" y="5045"/>
                </a:lnTo>
                <a:lnTo>
                  <a:pt x="3382" y="5041"/>
                </a:lnTo>
                <a:lnTo>
                  <a:pt x="3381" y="5039"/>
                </a:lnTo>
                <a:lnTo>
                  <a:pt x="3378" y="5039"/>
                </a:lnTo>
                <a:lnTo>
                  <a:pt x="3375" y="5040"/>
                </a:lnTo>
                <a:close/>
                <a:moveTo>
                  <a:pt x="3466" y="4799"/>
                </a:moveTo>
                <a:lnTo>
                  <a:pt x="3466" y="4803"/>
                </a:lnTo>
                <a:lnTo>
                  <a:pt x="3466" y="4804"/>
                </a:lnTo>
                <a:lnTo>
                  <a:pt x="3473" y="4804"/>
                </a:lnTo>
                <a:lnTo>
                  <a:pt x="3474" y="4802"/>
                </a:lnTo>
                <a:lnTo>
                  <a:pt x="3471" y="4798"/>
                </a:lnTo>
                <a:lnTo>
                  <a:pt x="3466" y="4799"/>
                </a:lnTo>
                <a:close/>
                <a:moveTo>
                  <a:pt x="10248" y="6999"/>
                </a:moveTo>
                <a:lnTo>
                  <a:pt x="10248" y="7000"/>
                </a:lnTo>
                <a:lnTo>
                  <a:pt x="10249" y="6999"/>
                </a:lnTo>
                <a:lnTo>
                  <a:pt x="10248" y="6999"/>
                </a:lnTo>
                <a:lnTo>
                  <a:pt x="10248" y="6999"/>
                </a:lnTo>
                <a:close/>
                <a:moveTo>
                  <a:pt x="10342" y="7613"/>
                </a:moveTo>
                <a:lnTo>
                  <a:pt x="10343" y="7613"/>
                </a:lnTo>
                <a:lnTo>
                  <a:pt x="10344" y="7613"/>
                </a:lnTo>
                <a:lnTo>
                  <a:pt x="10343" y="7611"/>
                </a:lnTo>
                <a:lnTo>
                  <a:pt x="10342" y="7613"/>
                </a:lnTo>
                <a:lnTo>
                  <a:pt x="10336" y="7595"/>
                </a:lnTo>
                <a:lnTo>
                  <a:pt x="10343" y="7574"/>
                </a:lnTo>
                <a:lnTo>
                  <a:pt x="10348" y="7559"/>
                </a:lnTo>
                <a:lnTo>
                  <a:pt x="10330" y="7551"/>
                </a:lnTo>
                <a:lnTo>
                  <a:pt x="10294" y="7571"/>
                </a:lnTo>
                <a:lnTo>
                  <a:pt x="10287" y="7596"/>
                </a:lnTo>
                <a:lnTo>
                  <a:pt x="10305" y="7614"/>
                </a:lnTo>
                <a:lnTo>
                  <a:pt x="10342" y="7613"/>
                </a:lnTo>
                <a:close/>
                <a:moveTo>
                  <a:pt x="10212" y="6910"/>
                </a:moveTo>
                <a:lnTo>
                  <a:pt x="10150" y="6869"/>
                </a:lnTo>
                <a:lnTo>
                  <a:pt x="10059" y="6850"/>
                </a:lnTo>
                <a:lnTo>
                  <a:pt x="10002" y="6859"/>
                </a:lnTo>
                <a:lnTo>
                  <a:pt x="10040" y="6907"/>
                </a:lnTo>
                <a:lnTo>
                  <a:pt x="10052" y="6947"/>
                </a:lnTo>
                <a:lnTo>
                  <a:pt x="10074" y="6957"/>
                </a:lnTo>
                <a:lnTo>
                  <a:pt x="10109" y="6954"/>
                </a:lnTo>
                <a:lnTo>
                  <a:pt x="10155" y="6953"/>
                </a:lnTo>
                <a:lnTo>
                  <a:pt x="10206" y="6961"/>
                </a:lnTo>
                <a:lnTo>
                  <a:pt x="10241" y="6977"/>
                </a:lnTo>
                <a:lnTo>
                  <a:pt x="10248" y="6971"/>
                </a:lnTo>
                <a:lnTo>
                  <a:pt x="10212" y="6910"/>
                </a:lnTo>
                <a:close/>
                <a:moveTo>
                  <a:pt x="10353" y="7559"/>
                </a:moveTo>
                <a:lnTo>
                  <a:pt x="10352" y="7558"/>
                </a:lnTo>
                <a:lnTo>
                  <a:pt x="10351" y="7559"/>
                </a:lnTo>
                <a:lnTo>
                  <a:pt x="10352" y="7560"/>
                </a:lnTo>
                <a:lnTo>
                  <a:pt x="10353" y="7559"/>
                </a:lnTo>
                <a:close/>
                <a:moveTo>
                  <a:pt x="10444" y="7291"/>
                </a:moveTo>
                <a:lnTo>
                  <a:pt x="10448" y="7296"/>
                </a:lnTo>
                <a:lnTo>
                  <a:pt x="10451" y="7302"/>
                </a:lnTo>
                <a:lnTo>
                  <a:pt x="10451" y="7303"/>
                </a:lnTo>
                <a:lnTo>
                  <a:pt x="10453" y="7305"/>
                </a:lnTo>
                <a:lnTo>
                  <a:pt x="10453" y="7303"/>
                </a:lnTo>
                <a:lnTo>
                  <a:pt x="10451" y="7302"/>
                </a:lnTo>
                <a:lnTo>
                  <a:pt x="10453" y="7297"/>
                </a:lnTo>
                <a:lnTo>
                  <a:pt x="10454" y="7293"/>
                </a:lnTo>
                <a:lnTo>
                  <a:pt x="10451" y="7291"/>
                </a:lnTo>
                <a:lnTo>
                  <a:pt x="10444" y="7291"/>
                </a:lnTo>
                <a:close/>
                <a:moveTo>
                  <a:pt x="10418" y="7177"/>
                </a:moveTo>
                <a:lnTo>
                  <a:pt x="10415" y="7172"/>
                </a:lnTo>
                <a:lnTo>
                  <a:pt x="10411" y="7167"/>
                </a:lnTo>
                <a:lnTo>
                  <a:pt x="10409" y="7172"/>
                </a:lnTo>
                <a:lnTo>
                  <a:pt x="10408" y="7176"/>
                </a:lnTo>
                <a:lnTo>
                  <a:pt x="10411" y="7177"/>
                </a:lnTo>
                <a:lnTo>
                  <a:pt x="10418" y="7177"/>
                </a:lnTo>
                <a:close/>
                <a:moveTo>
                  <a:pt x="8140" y="6835"/>
                </a:moveTo>
                <a:lnTo>
                  <a:pt x="8134" y="6837"/>
                </a:lnTo>
                <a:lnTo>
                  <a:pt x="8129" y="6841"/>
                </a:lnTo>
                <a:lnTo>
                  <a:pt x="8127" y="6841"/>
                </a:lnTo>
                <a:lnTo>
                  <a:pt x="8126" y="6841"/>
                </a:lnTo>
                <a:lnTo>
                  <a:pt x="8127" y="6842"/>
                </a:lnTo>
                <a:lnTo>
                  <a:pt x="8129" y="6841"/>
                </a:lnTo>
                <a:lnTo>
                  <a:pt x="8132" y="6842"/>
                </a:lnTo>
                <a:lnTo>
                  <a:pt x="8138" y="6844"/>
                </a:lnTo>
                <a:lnTo>
                  <a:pt x="8140" y="6841"/>
                </a:lnTo>
                <a:lnTo>
                  <a:pt x="8140" y="6835"/>
                </a:lnTo>
                <a:close/>
                <a:moveTo>
                  <a:pt x="8039" y="7433"/>
                </a:moveTo>
                <a:lnTo>
                  <a:pt x="8039" y="7433"/>
                </a:lnTo>
                <a:lnTo>
                  <a:pt x="8039" y="7433"/>
                </a:lnTo>
                <a:lnTo>
                  <a:pt x="8039" y="7433"/>
                </a:lnTo>
                <a:lnTo>
                  <a:pt x="8039" y="7433"/>
                </a:lnTo>
                <a:close/>
                <a:moveTo>
                  <a:pt x="8108" y="7452"/>
                </a:moveTo>
                <a:lnTo>
                  <a:pt x="8111" y="7464"/>
                </a:lnTo>
                <a:lnTo>
                  <a:pt x="8123" y="7467"/>
                </a:lnTo>
                <a:lnTo>
                  <a:pt x="8140" y="7467"/>
                </a:lnTo>
                <a:lnTo>
                  <a:pt x="8153" y="7465"/>
                </a:lnTo>
                <a:lnTo>
                  <a:pt x="8144" y="7452"/>
                </a:lnTo>
                <a:lnTo>
                  <a:pt x="8130" y="7445"/>
                </a:lnTo>
                <a:lnTo>
                  <a:pt x="8117" y="7445"/>
                </a:lnTo>
                <a:lnTo>
                  <a:pt x="8108" y="7452"/>
                </a:lnTo>
                <a:close/>
                <a:moveTo>
                  <a:pt x="8046" y="7453"/>
                </a:moveTo>
                <a:lnTo>
                  <a:pt x="8055" y="7457"/>
                </a:lnTo>
                <a:lnTo>
                  <a:pt x="8065" y="7457"/>
                </a:lnTo>
                <a:lnTo>
                  <a:pt x="8074" y="7453"/>
                </a:lnTo>
                <a:lnTo>
                  <a:pt x="8083" y="7448"/>
                </a:lnTo>
                <a:lnTo>
                  <a:pt x="8073" y="7436"/>
                </a:lnTo>
                <a:lnTo>
                  <a:pt x="8053" y="7433"/>
                </a:lnTo>
                <a:lnTo>
                  <a:pt x="8038" y="7439"/>
                </a:lnTo>
                <a:lnTo>
                  <a:pt x="8046" y="7453"/>
                </a:lnTo>
                <a:close/>
                <a:moveTo>
                  <a:pt x="8177" y="6851"/>
                </a:moveTo>
                <a:lnTo>
                  <a:pt x="8168" y="6854"/>
                </a:lnTo>
                <a:lnTo>
                  <a:pt x="8169" y="6859"/>
                </a:lnTo>
                <a:lnTo>
                  <a:pt x="8176" y="6864"/>
                </a:lnTo>
                <a:lnTo>
                  <a:pt x="8185" y="6862"/>
                </a:lnTo>
                <a:lnTo>
                  <a:pt x="8181" y="6856"/>
                </a:lnTo>
                <a:lnTo>
                  <a:pt x="8177" y="6851"/>
                </a:lnTo>
                <a:close/>
                <a:moveTo>
                  <a:pt x="8413" y="7111"/>
                </a:moveTo>
                <a:lnTo>
                  <a:pt x="8427" y="7117"/>
                </a:lnTo>
                <a:lnTo>
                  <a:pt x="8439" y="7114"/>
                </a:lnTo>
                <a:lnTo>
                  <a:pt x="8446" y="7103"/>
                </a:lnTo>
                <a:lnTo>
                  <a:pt x="8441" y="7091"/>
                </a:lnTo>
                <a:lnTo>
                  <a:pt x="8414" y="7074"/>
                </a:lnTo>
                <a:lnTo>
                  <a:pt x="8392" y="7075"/>
                </a:lnTo>
                <a:lnTo>
                  <a:pt x="8387" y="7089"/>
                </a:lnTo>
                <a:lnTo>
                  <a:pt x="8413" y="7111"/>
                </a:lnTo>
                <a:close/>
                <a:moveTo>
                  <a:pt x="4168" y="4705"/>
                </a:moveTo>
                <a:lnTo>
                  <a:pt x="4169" y="4698"/>
                </a:lnTo>
                <a:lnTo>
                  <a:pt x="4168" y="4694"/>
                </a:lnTo>
                <a:lnTo>
                  <a:pt x="4163" y="4694"/>
                </a:lnTo>
                <a:lnTo>
                  <a:pt x="4158" y="4699"/>
                </a:lnTo>
                <a:lnTo>
                  <a:pt x="4155" y="4706"/>
                </a:lnTo>
                <a:lnTo>
                  <a:pt x="4158" y="4710"/>
                </a:lnTo>
                <a:lnTo>
                  <a:pt x="4162" y="4710"/>
                </a:lnTo>
                <a:lnTo>
                  <a:pt x="4168" y="4705"/>
                </a:lnTo>
                <a:close/>
                <a:moveTo>
                  <a:pt x="10276" y="7595"/>
                </a:moveTo>
                <a:lnTo>
                  <a:pt x="10274" y="7595"/>
                </a:lnTo>
                <a:lnTo>
                  <a:pt x="10274" y="7595"/>
                </a:lnTo>
                <a:lnTo>
                  <a:pt x="10274" y="7596"/>
                </a:lnTo>
                <a:lnTo>
                  <a:pt x="10276" y="7595"/>
                </a:lnTo>
                <a:close/>
                <a:moveTo>
                  <a:pt x="10086" y="7522"/>
                </a:moveTo>
                <a:lnTo>
                  <a:pt x="10087" y="7525"/>
                </a:lnTo>
                <a:lnTo>
                  <a:pt x="10087" y="7529"/>
                </a:lnTo>
                <a:lnTo>
                  <a:pt x="10094" y="7527"/>
                </a:lnTo>
                <a:lnTo>
                  <a:pt x="10095" y="7522"/>
                </a:lnTo>
                <a:lnTo>
                  <a:pt x="10092" y="7520"/>
                </a:lnTo>
                <a:lnTo>
                  <a:pt x="10086" y="7522"/>
                </a:lnTo>
                <a:close/>
                <a:moveTo>
                  <a:pt x="1686" y="2404"/>
                </a:moveTo>
                <a:lnTo>
                  <a:pt x="1676" y="2411"/>
                </a:lnTo>
                <a:lnTo>
                  <a:pt x="1668" y="2423"/>
                </a:lnTo>
                <a:lnTo>
                  <a:pt x="1667" y="2436"/>
                </a:lnTo>
                <a:lnTo>
                  <a:pt x="1674" y="2447"/>
                </a:lnTo>
                <a:lnTo>
                  <a:pt x="1690" y="2446"/>
                </a:lnTo>
                <a:lnTo>
                  <a:pt x="1695" y="2433"/>
                </a:lnTo>
                <a:lnTo>
                  <a:pt x="1694" y="2416"/>
                </a:lnTo>
                <a:lnTo>
                  <a:pt x="1686" y="2404"/>
                </a:lnTo>
                <a:close/>
                <a:moveTo>
                  <a:pt x="1658" y="2481"/>
                </a:moveTo>
                <a:lnTo>
                  <a:pt x="1652" y="2480"/>
                </a:lnTo>
                <a:lnTo>
                  <a:pt x="1645" y="2480"/>
                </a:lnTo>
                <a:lnTo>
                  <a:pt x="1643" y="2481"/>
                </a:lnTo>
                <a:lnTo>
                  <a:pt x="1644" y="2488"/>
                </a:lnTo>
                <a:lnTo>
                  <a:pt x="1652" y="2492"/>
                </a:lnTo>
                <a:lnTo>
                  <a:pt x="1659" y="2492"/>
                </a:lnTo>
                <a:lnTo>
                  <a:pt x="1662" y="2489"/>
                </a:lnTo>
                <a:lnTo>
                  <a:pt x="1658" y="2481"/>
                </a:lnTo>
                <a:close/>
                <a:moveTo>
                  <a:pt x="1657" y="2739"/>
                </a:moveTo>
                <a:lnTo>
                  <a:pt x="1657" y="2742"/>
                </a:lnTo>
                <a:lnTo>
                  <a:pt x="1658" y="2745"/>
                </a:lnTo>
                <a:lnTo>
                  <a:pt x="1663" y="2745"/>
                </a:lnTo>
                <a:lnTo>
                  <a:pt x="1664" y="2741"/>
                </a:lnTo>
                <a:lnTo>
                  <a:pt x="1662" y="2739"/>
                </a:lnTo>
                <a:lnTo>
                  <a:pt x="1657" y="2739"/>
                </a:lnTo>
                <a:close/>
                <a:moveTo>
                  <a:pt x="10280" y="7451"/>
                </a:moveTo>
                <a:lnTo>
                  <a:pt x="10280" y="7455"/>
                </a:lnTo>
                <a:lnTo>
                  <a:pt x="10281" y="7457"/>
                </a:lnTo>
                <a:lnTo>
                  <a:pt x="10283" y="7457"/>
                </a:lnTo>
                <a:lnTo>
                  <a:pt x="10287" y="7456"/>
                </a:lnTo>
                <a:lnTo>
                  <a:pt x="10287" y="7453"/>
                </a:lnTo>
                <a:lnTo>
                  <a:pt x="10286" y="7451"/>
                </a:lnTo>
                <a:lnTo>
                  <a:pt x="10283" y="7450"/>
                </a:lnTo>
                <a:lnTo>
                  <a:pt x="10280" y="7451"/>
                </a:lnTo>
                <a:close/>
                <a:moveTo>
                  <a:pt x="1598" y="2406"/>
                </a:moveTo>
                <a:lnTo>
                  <a:pt x="1597" y="2409"/>
                </a:lnTo>
                <a:lnTo>
                  <a:pt x="1598" y="2410"/>
                </a:lnTo>
                <a:lnTo>
                  <a:pt x="1597" y="2414"/>
                </a:lnTo>
                <a:lnTo>
                  <a:pt x="1596" y="2419"/>
                </a:lnTo>
                <a:lnTo>
                  <a:pt x="1598" y="2422"/>
                </a:lnTo>
                <a:lnTo>
                  <a:pt x="1606" y="2420"/>
                </a:lnTo>
                <a:lnTo>
                  <a:pt x="1602" y="2415"/>
                </a:lnTo>
                <a:lnTo>
                  <a:pt x="1598" y="2410"/>
                </a:lnTo>
                <a:lnTo>
                  <a:pt x="1598" y="2408"/>
                </a:lnTo>
                <a:lnTo>
                  <a:pt x="1598" y="2406"/>
                </a:lnTo>
                <a:lnTo>
                  <a:pt x="1599" y="2401"/>
                </a:lnTo>
                <a:lnTo>
                  <a:pt x="1599" y="2397"/>
                </a:lnTo>
                <a:lnTo>
                  <a:pt x="1598" y="2395"/>
                </a:lnTo>
                <a:lnTo>
                  <a:pt x="1590" y="2395"/>
                </a:lnTo>
                <a:lnTo>
                  <a:pt x="1594" y="2400"/>
                </a:lnTo>
                <a:lnTo>
                  <a:pt x="1598" y="2406"/>
                </a:lnTo>
                <a:close/>
                <a:moveTo>
                  <a:pt x="10388" y="7335"/>
                </a:moveTo>
                <a:lnTo>
                  <a:pt x="10381" y="7336"/>
                </a:lnTo>
                <a:lnTo>
                  <a:pt x="10378" y="7340"/>
                </a:lnTo>
                <a:lnTo>
                  <a:pt x="10375" y="7345"/>
                </a:lnTo>
                <a:lnTo>
                  <a:pt x="10375" y="7353"/>
                </a:lnTo>
                <a:lnTo>
                  <a:pt x="10381" y="7350"/>
                </a:lnTo>
                <a:lnTo>
                  <a:pt x="10387" y="7348"/>
                </a:lnTo>
                <a:lnTo>
                  <a:pt x="10388" y="7341"/>
                </a:lnTo>
                <a:lnTo>
                  <a:pt x="10388" y="7335"/>
                </a:lnTo>
                <a:close/>
                <a:moveTo>
                  <a:pt x="10388" y="7461"/>
                </a:moveTo>
                <a:lnTo>
                  <a:pt x="10385" y="7461"/>
                </a:lnTo>
                <a:lnTo>
                  <a:pt x="10384" y="7461"/>
                </a:lnTo>
                <a:lnTo>
                  <a:pt x="10380" y="7460"/>
                </a:lnTo>
                <a:lnTo>
                  <a:pt x="10375" y="7460"/>
                </a:lnTo>
                <a:lnTo>
                  <a:pt x="10372" y="7461"/>
                </a:lnTo>
                <a:lnTo>
                  <a:pt x="10372" y="7469"/>
                </a:lnTo>
                <a:lnTo>
                  <a:pt x="10379" y="7465"/>
                </a:lnTo>
                <a:lnTo>
                  <a:pt x="10384" y="7461"/>
                </a:lnTo>
                <a:lnTo>
                  <a:pt x="10385" y="7462"/>
                </a:lnTo>
                <a:lnTo>
                  <a:pt x="10388" y="7461"/>
                </a:lnTo>
                <a:lnTo>
                  <a:pt x="10407" y="7473"/>
                </a:lnTo>
                <a:lnTo>
                  <a:pt x="10427" y="7481"/>
                </a:lnTo>
                <a:lnTo>
                  <a:pt x="10448" y="7485"/>
                </a:lnTo>
                <a:lnTo>
                  <a:pt x="10469" y="7478"/>
                </a:lnTo>
                <a:lnTo>
                  <a:pt x="10487" y="7432"/>
                </a:lnTo>
                <a:lnTo>
                  <a:pt x="10467" y="7420"/>
                </a:lnTo>
                <a:lnTo>
                  <a:pt x="10427" y="7433"/>
                </a:lnTo>
                <a:lnTo>
                  <a:pt x="10388" y="7461"/>
                </a:lnTo>
                <a:close/>
                <a:moveTo>
                  <a:pt x="1429" y="2443"/>
                </a:moveTo>
                <a:lnTo>
                  <a:pt x="1430" y="2446"/>
                </a:lnTo>
                <a:lnTo>
                  <a:pt x="1430" y="2448"/>
                </a:lnTo>
                <a:lnTo>
                  <a:pt x="1435" y="2447"/>
                </a:lnTo>
                <a:lnTo>
                  <a:pt x="1436" y="2443"/>
                </a:lnTo>
                <a:lnTo>
                  <a:pt x="1435" y="2441"/>
                </a:lnTo>
                <a:lnTo>
                  <a:pt x="1429" y="2443"/>
                </a:lnTo>
                <a:close/>
                <a:moveTo>
                  <a:pt x="1515" y="2372"/>
                </a:moveTo>
                <a:lnTo>
                  <a:pt x="1511" y="2367"/>
                </a:lnTo>
                <a:lnTo>
                  <a:pt x="1509" y="2362"/>
                </a:lnTo>
                <a:lnTo>
                  <a:pt x="1509" y="2360"/>
                </a:lnTo>
                <a:lnTo>
                  <a:pt x="1509" y="2359"/>
                </a:lnTo>
                <a:lnTo>
                  <a:pt x="1508" y="2359"/>
                </a:lnTo>
                <a:lnTo>
                  <a:pt x="1508" y="2359"/>
                </a:lnTo>
                <a:lnTo>
                  <a:pt x="1509" y="2362"/>
                </a:lnTo>
                <a:lnTo>
                  <a:pt x="1506" y="2366"/>
                </a:lnTo>
                <a:lnTo>
                  <a:pt x="1506" y="2369"/>
                </a:lnTo>
                <a:lnTo>
                  <a:pt x="1508" y="2372"/>
                </a:lnTo>
                <a:lnTo>
                  <a:pt x="1515" y="2372"/>
                </a:lnTo>
                <a:close/>
                <a:moveTo>
                  <a:pt x="1523" y="2316"/>
                </a:moveTo>
                <a:lnTo>
                  <a:pt x="1509" y="2307"/>
                </a:lnTo>
                <a:lnTo>
                  <a:pt x="1501" y="2320"/>
                </a:lnTo>
                <a:lnTo>
                  <a:pt x="1500" y="2341"/>
                </a:lnTo>
                <a:lnTo>
                  <a:pt x="1508" y="2358"/>
                </a:lnTo>
                <a:lnTo>
                  <a:pt x="1514" y="2349"/>
                </a:lnTo>
                <a:lnTo>
                  <a:pt x="1520" y="2339"/>
                </a:lnTo>
                <a:lnTo>
                  <a:pt x="1524" y="2327"/>
                </a:lnTo>
                <a:lnTo>
                  <a:pt x="1523" y="2316"/>
                </a:lnTo>
                <a:close/>
                <a:moveTo>
                  <a:pt x="1443" y="2237"/>
                </a:moveTo>
                <a:lnTo>
                  <a:pt x="1443" y="2241"/>
                </a:lnTo>
                <a:lnTo>
                  <a:pt x="1444" y="2243"/>
                </a:lnTo>
                <a:lnTo>
                  <a:pt x="1450" y="2243"/>
                </a:lnTo>
                <a:lnTo>
                  <a:pt x="1450" y="2240"/>
                </a:lnTo>
                <a:lnTo>
                  <a:pt x="1448" y="2236"/>
                </a:lnTo>
                <a:lnTo>
                  <a:pt x="1443" y="2237"/>
                </a:lnTo>
                <a:close/>
                <a:moveTo>
                  <a:pt x="1580" y="2178"/>
                </a:moveTo>
                <a:lnTo>
                  <a:pt x="1580" y="2172"/>
                </a:lnTo>
                <a:lnTo>
                  <a:pt x="1578" y="2173"/>
                </a:lnTo>
                <a:lnTo>
                  <a:pt x="1576" y="2175"/>
                </a:lnTo>
                <a:lnTo>
                  <a:pt x="1576" y="2177"/>
                </a:lnTo>
                <a:lnTo>
                  <a:pt x="1580" y="2178"/>
                </a:lnTo>
                <a:close/>
                <a:moveTo>
                  <a:pt x="1469" y="3166"/>
                </a:moveTo>
                <a:lnTo>
                  <a:pt x="1472" y="3166"/>
                </a:lnTo>
                <a:lnTo>
                  <a:pt x="1475" y="3164"/>
                </a:lnTo>
                <a:lnTo>
                  <a:pt x="1475" y="3162"/>
                </a:lnTo>
                <a:lnTo>
                  <a:pt x="1475" y="3159"/>
                </a:lnTo>
                <a:lnTo>
                  <a:pt x="1471" y="3159"/>
                </a:lnTo>
                <a:lnTo>
                  <a:pt x="1468" y="3160"/>
                </a:lnTo>
                <a:lnTo>
                  <a:pt x="1468" y="3162"/>
                </a:lnTo>
                <a:lnTo>
                  <a:pt x="1469" y="3166"/>
                </a:lnTo>
                <a:close/>
                <a:moveTo>
                  <a:pt x="1534" y="2787"/>
                </a:moveTo>
                <a:lnTo>
                  <a:pt x="1505" y="2779"/>
                </a:lnTo>
                <a:lnTo>
                  <a:pt x="1476" y="2789"/>
                </a:lnTo>
                <a:lnTo>
                  <a:pt x="1463" y="2803"/>
                </a:lnTo>
                <a:lnTo>
                  <a:pt x="1483" y="2812"/>
                </a:lnTo>
                <a:lnTo>
                  <a:pt x="1513" y="2815"/>
                </a:lnTo>
                <a:lnTo>
                  <a:pt x="1543" y="2817"/>
                </a:lnTo>
                <a:lnTo>
                  <a:pt x="1556" y="2811"/>
                </a:lnTo>
                <a:lnTo>
                  <a:pt x="1534" y="2787"/>
                </a:lnTo>
                <a:close/>
                <a:moveTo>
                  <a:pt x="10250" y="7851"/>
                </a:moveTo>
                <a:lnTo>
                  <a:pt x="10250" y="7843"/>
                </a:lnTo>
                <a:lnTo>
                  <a:pt x="10246" y="7840"/>
                </a:lnTo>
                <a:lnTo>
                  <a:pt x="10241" y="7843"/>
                </a:lnTo>
                <a:lnTo>
                  <a:pt x="10238" y="7848"/>
                </a:lnTo>
                <a:lnTo>
                  <a:pt x="10238" y="7854"/>
                </a:lnTo>
                <a:lnTo>
                  <a:pt x="10241" y="7857"/>
                </a:lnTo>
                <a:lnTo>
                  <a:pt x="10245" y="7856"/>
                </a:lnTo>
                <a:lnTo>
                  <a:pt x="10250" y="7851"/>
                </a:lnTo>
                <a:close/>
                <a:moveTo>
                  <a:pt x="8875" y="6691"/>
                </a:moveTo>
                <a:lnTo>
                  <a:pt x="8866" y="6697"/>
                </a:lnTo>
                <a:lnTo>
                  <a:pt x="8861" y="6702"/>
                </a:lnTo>
                <a:lnTo>
                  <a:pt x="8858" y="6727"/>
                </a:lnTo>
                <a:lnTo>
                  <a:pt x="8877" y="6722"/>
                </a:lnTo>
                <a:lnTo>
                  <a:pt x="8893" y="6704"/>
                </a:lnTo>
                <a:lnTo>
                  <a:pt x="8875" y="6691"/>
                </a:lnTo>
                <a:close/>
                <a:moveTo>
                  <a:pt x="10315" y="7487"/>
                </a:moveTo>
                <a:lnTo>
                  <a:pt x="10319" y="7495"/>
                </a:lnTo>
                <a:lnTo>
                  <a:pt x="10327" y="7497"/>
                </a:lnTo>
                <a:lnTo>
                  <a:pt x="10337" y="7494"/>
                </a:lnTo>
                <a:lnTo>
                  <a:pt x="10344" y="7489"/>
                </a:lnTo>
                <a:lnTo>
                  <a:pt x="10341" y="7479"/>
                </a:lnTo>
                <a:lnTo>
                  <a:pt x="10332" y="7476"/>
                </a:lnTo>
                <a:lnTo>
                  <a:pt x="10322" y="7479"/>
                </a:lnTo>
                <a:lnTo>
                  <a:pt x="10315" y="7487"/>
                </a:lnTo>
                <a:close/>
                <a:moveTo>
                  <a:pt x="9656" y="8845"/>
                </a:moveTo>
                <a:lnTo>
                  <a:pt x="9654" y="8838"/>
                </a:lnTo>
                <a:lnTo>
                  <a:pt x="9652" y="8836"/>
                </a:lnTo>
                <a:lnTo>
                  <a:pt x="9647" y="8837"/>
                </a:lnTo>
                <a:lnTo>
                  <a:pt x="9642" y="8842"/>
                </a:lnTo>
                <a:lnTo>
                  <a:pt x="9643" y="8850"/>
                </a:lnTo>
                <a:lnTo>
                  <a:pt x="9645" y="8852"/>
                </a:lnTo>
                <a:lnTo>
                  <a:pt x="9650" y="8850"/>
                </a:lnTo>
                <a:lnTo>
                  <a:pt x="9656" y="8845"/>
                </a:lnTo>
                <a:close/>
                <a:moveTo>
                  <a:pt x="8671" y="7033"/>
                </a:moveTo>
                <a:lnTo>
                  <a:pt x="8675" y="7035"/>
                </a:lnTo>
                <a:lnTo>
                  <a:pt x="8676" y="7032"/>
                </a:lnTo>
                <a:lnTo>
                  <a:pt x="8677" y="7030"/>
                </a:lnTo>
                <a:lnTo>
                  <a:pt x="8676" y="7027"/>
                </a:lnTo>
                <a:lnTo>
                  <a:pt x="8672" y="7027"/>
                </a:lnTo>
                <a:lnTo>
                  <a:pt x="8670" y="7028"/>
                </a:lnTo>
                <a:lnTo>
                  <a:pt x="8670" y="7031"/>
                </a:lnTo>
                <a:lnTo>
                  <a:pt x="8671" y="7033"/>
                </a:lnTo>
                <a:close/>
                <a:moveTo>
                  <a:pt x="8804" y="6706"/>
                </a:moveTo>
                <a:lnTo>
                  <a:pt x="8802" y="6716"/>
                </a:lnTo>
                <a:lnTo>
                  <a:pt x="8811" y="6724"/>
                </a:lnTo>
                <a:lnTo>
                  <a:pt x="8821" y="6725"/>
                </a:lnTo>
                <a:lnTo>
                  <a:pt x="8830" y="6716"/>
                </a:lnTo>
                <a:lnTo>
                  <a:pt x="8830" y="6705"/>
                </a:lnTo>
                <a:lnTo>
                  <a:pt x="8823" y="6697"/>
                </a:lnTo>
                <a:lnTo>
                  <a:pt x="8811" y="6697"/>
                </a:lnTo>
                <a:lnTo>
                  <a:pt x="8804" y="6706"/>
                </a:lnTo>
                <a:close/>
                <a:moveTo>
                  <a:pt x="8881" y="7009"/>
                </a:moveTo>
                <a:lnTo>
                  <a:pt x="8883" y="6999"/>
                </a:lnTo>
                <a:lnTo>
                  <a:pt x="8880" y="6989"/>
                </a:lnTo>
                <a:lnTo>
                  <a:pt x="8874" y="6982"/>
                </a:lnTo>
                <a:lnTo>
                  <a:pt x="8865" y="6986"/>
                </a:lnTo>
                <a:lnTo>
                  <a:pt x="8862" y="6995"/>
                </a:lnTo>
                <a:lnTo>
                  <a:pt x="8865" y="7004"/>
                </a:lnTo>
                <a:lnTo>
                  <a:pt x="8872" y="7010"/>
                </a:lnTo>
                <a:lnTo>
                  <a:pt x="8881" y="7009"/>
                </a:lnTo>
                <a:close/>
                <a:moveTo>
                  <a:pt x="8885" y="8151"/>
                </a:moveTo>
                <a:lnTo>
                  <a:pt x="8886" y="8148"/>
                </a:lnTo>
                <a:lnTo>
                  <a:pt x="8884" y="8146"/>
                </a:lnTo>
                <a:lnTo>
                  <a:pt x="8881" y="8146"/>
                </a:lnTo>
                <a:lnTo>
                  <a:pt x="8879" y="8146"/>
                </a:lnTo>
                <a:lnTo>
                  <a:pt x="8879" y="8150"/>
                </a:lnTo>
                <a:lnTo>
                  <a:pt x="8880" y="8152"/>
                </a:lnTo>
                <a:lnTo>
                  <a:pt x="8883" y="8152"/>
                </a:lnTo>
                <a:lnTo>
                  <a:pt x="8885" y="8151"/>
                </a:lnTo>
                <a:close/>
                <a:moveTo>
                  <a:pt x="8840" y="6653"/>
                </a:moveTo>
                <a:lnTo>
                  <a:pt x="8833" y="6654"/>
                </a:lnTo>
                <a:lnTo>
                  <a:pt x="8829" y="6658"/>
                </a:lnTo>
                <a:lnTo>
                  <a:pt x="8826" y="6664"/>
                </a:lnTo>
                <a:lnTo>
                  <a:pt x="8826" y="6671"/>
                </a:lnTo>
                <a:lnTo>
                  <a:pt x="8834" y="6669"/>
                </a:lnTo>
                <a:lnTo>
                  <a:pt x="8838" y="6667"/>
                </a:lnTo>
                <a:lnTo>
                  <a:pt x="8839" y="6660"/>
                </a:lnTo>
                <a:lnTo>
                  <a:pt x="8840" y="6653"/>
                </a:lnTo>
                <a:close/>
                <a:moveTo>
                  <a:pt x="8472" y="8347"/>
                </a:moveTo>
                <a:lnTo>
                  <a:pt x="8461" y="8347"/>
                </a:lnTo>
                <a:lnTo>
                  <a:pt x="8455" y="8355"/>
                </a:lnTo>
                <a:lnTo>
                  <a:pt x="8453" y="8366"/>
                </a:lnTo>
                <a:lnTo>
                  <a:pt x="8462" y="8374"/>
                </a:lnTo>
                <a:lnTo>
                  <a:pt x="8474" y="8375"/>
                </a:lnTo>
                <a:lnTo>
                  <a:pt x="8481" y="8366"/>
                </a:lnTo>
                <a:lnTo>
                  <a:pt x="8481" y="8355"/>
                </a:lnTo>
                <a:lnTo>
                  <a:pt x="8472" y="8347"/>
                </a:lnTo>
                <a:close/>
                <a:moveTo>
                  <a:pt x="10280" y="7315"/>
                </a:moveTo>
                <a:lnTo>
                  <a:pt x="10236" y="7383"/>
                </a:lnTo>
                <a:lnTo>
                  <a:pt x="10230" y="7419"/>
                </a:lnTo>
                <a:lnTo>
                  <a:pt x="10260" y="7418"/>
                </a:lnTo>
                <a:lnTo>
                  <a:pt x="10330" y="7380"/>
                </a:lnTo>
                <a:lnTo>
                  <a:pt x="10327" y="7363"/>
                </a:lnTo>
                <a:lnTo>
                  <a:pt x="10306" y="7355"/>
                </a:lnTo>
                <a:lnTo>
                  <a:pt x="10285" y="7344"/>
                </a:lnTo>
                <a:lnTo>
                  <a:pt x="10280" y="7315"/>
                </a:lnTo>
                <a:close/>
                <a:moveTo>
                  <a:pt x="10294" y="7222"/>
                </a:moveTo>
                <a:lnTo>
                  <a:pt x="10290" y="7222"/>
                </a:lnTo>
                <a:lnTo>
                  <a:pt x="10287" y="7223"/>
                </a:lnTo>
                <a:lnTo>
                  <a:pt x="10287" y="7226"/>
                </a:lnTo>
                <a:lnTo>
                  <a:pt x="10288" y="7229"/>
                </a:lnTo>
                <a:lnTo>
                  <a:pt x="10291" y="7229"/>
                </a:lnTo>
                <a:lnTo>
                  <a:pt x="10294" y="7228"/>
                </a:lnTo>
                <a:lnTo>
                  <a:pt x="10295" y="7226"/>
                </a:lnTo>
                <a:lnTo>
                  <a:pt x="10294" y="7222"/>
                </a:lnTo>
                <a:close/>
                <a:moveTo>
                  <a:pt x="10328" y="7299"/>
                </a:moveTo>
                <a:lnTo>
                  <a:pt x="10325" y="7299"/>
                </a:lnTo>
                <a:lnTo>
                  <a:pt x="10322" y="7301"/>
                </a:lnTo>
                <a:lnTo>
                  <a:pt x="10323" y="7306"/>
                </a:lnTo>
                <a:lnTo>
                  <a:pt x="10327" y="7307"/>
                </a:lnTo>
                <a:lnTo>
                  <a:pt x="10329" y="7305"/>
                </a:lnTo>
                <a:lnTo>
                  <a:pt x="10328" y="7299"/>
                </a:lnTo>
                <a:close/>
                <a:moveTo>
                  <a:pt x="10167" y="7310"/>
                </a:moveTo>
                <a:lnTo>
                  <a:pt x="10162" y="7312"/>
                </a:lnTo>
                <a:lnTo>
                  <a:pt x="10156" y="7316"/>
                </a:lnTo>
                <a:lnTo>
                  <a:pt x="10153" y="7316"/>
                </a:lnTo>
                <a:lnTo>
                  <a:pt x="10152" y="7317"/>
                </a:lnTo>
                <a:lnTo>
                  <a:pt x="10147" y="7316"/>
                </a:lnTo>
                <a:lnTo>
                  <a:pt x="10143" y="7315"/>
                </a:lnTo>
                <a:lnTo>
                  <a:pt x="10141" y="7317"/>
                </a:lnTo>
                <a:lnTo>
                  <a:pt x="10141" y="7324"/>
                </a:lnTo>
                <a:lnTo>
                  <a:pt x="10152" y="7317"/>
                </a:lnTo>
                <a:lnTo>
                  <a:pt x="10155" y="7317"/>
                </a:lnTo>
                <a:lnTo>
                  <a:pt x="10156" y="7316"/>
                </a:lnTo>
                <a:lnTo>
                  <a:pt x="10161" y="7319"/>
                </a:lnTo>
                <a:lnTo>
                  <a:pt x="10165" y="7319"/>
                </a:lnTo>
                <a:lnTo>
                  <a:pt x="10167" y="7317"/>
                </a:lnTo>
                <a:lnTo>
                  <a:pt x="10167" y="7310"/>
                </a:lnTo>
                <a:close/>
                <a:moveTo>
                  <a:pt x="10211" y="7254"/>
                </a:moveTo>
                <a:lnTo>
                  <a:pt x="10204" y="7251"/>
                </a:lnTo>
                <a:lnTo>
                  <a:pt x="10199" y="7252"/>
                </a:lnTo>
                <a:lnTo>
                  <a:pt x="10198" y="7256"/>
                </a:lnTo>
                <a:lnTo>
                  <a:pt x="10201" y="7261"/>
                </a:lnTo>
                <a:lnTo>
                  <a:pt x="10207" y="7264"/>
                </a:lnTo>
                <a:lnTo>
                  <a:pt x="10212" y="7263"/>
                </a:lnTo>
                <a:lnTo>
                  <a:pt x="10213" y="7259"/>
                </a:lnTo>
                <a:lnTo>
                  <a:pt x="10211" y="7254"/>
                </a:lnTo>
                <a:close/>
                <a:moveTo>
                  <a:pt x="10111" y="7478"/>
                </a:moveTo>
                <a:lnTo>
                  <a:pt x="10128" y="7480"/>
                </a:lnTo>
                <a:lnTo>
                  <a:pt x="10147" y="7471"/>
                </a:lnTo>
                <a:lnTo>
                  <a:pt x="10164" y="7457"/>
                </a:lnTo>
                <a:lnTo>
                  <a:pt x="10170" y="7446"/>
                </a:lnTo>
                <a:lnTo>
                  <a:pt x="10156" y="7442"/>
                </a:lnTo>
                <a:lnTo>
                  <a:pt x="10137" y="7450"/>
                </a:lnTo>
                <a:lnTo>
                  <a:pt x="10120" y="7465"/>
                </a:lnTo>
                <a:lnTo>
                  <a:pt x="10111" y="7478"/>
                </a:lnTo>
                <a:close/>
                <a:moveTo>
                  <a:pt x="10183" y="7143"/>
                </a:moveTo>
                <a:lnTo>
                  <a:pt x="10180" y="7135"/>
                </a:lnTo>
                <a:lnTo>
                  <a:pt x="10179" y="7126"/>
                </a:lnTo>
                <a:lnTo>
                  <a:pt x="10175" y="7121"/>
                </a:lnTo>
                <a:lnTo>
                  <a:pt x="10169" y="7121"/>
                </a:lnTo>
                <a:lnTo>
                  <a:pt x="10161" y="7133"/>
                </a:lnTo>
                <a:lnTo>
                  <a:pt x="10165" y="7145"/>
                </a:lnTo>
                <a:lnTo>
                  <a:pt x="10175" y="7152"/>
                </a:lnTo>
                <a:lnTo>
                  <a:pt x="10183" y="7143"/>
                </a:lnTo>
                <a:close/>
                <a:moveTo>
                  <a:pt x="1641" y="2259"/>
                </a:moveTo>
                <a:lnTo>
                  <a:pt x="1641" y="2257"/>
                </a:lnTo>
                <a:lnTo>
                  <a:pt x="1640" y="2256"/>
                </a:lnTo>
                <a:lnTo>
                  <a:pt x="1640" y="2257"/>
                </a:lnTo>
                <a:lnTo>
                  <a:pt x="1641" y="2259"/>
                </a:lnTo>
                <a:lnTo>
                  <a:pt x="1640" y="2264"/>
                </a:lnTo>
                <a:lnTo>
                  <a:pt x="1639" y="2268"/>
                </a:lnTo>
                <a:lnTo>
                  <a:pt x="1641" y="2270"/>
                </a:lnTo>
                <a:lnTo>
                  <a:pt x="1649" y="2270"/>
                </a:lnTo>
                <a:lnTo>
                  <a:pt x="1645" y="2265"/>
                </a:lnTo>
                <a:lnTo>
                  <a:pt x="1641" y="2259"/>
                </a:lnTo>
                <a:close/>
                <a:moveTo>
                  <a:pt x="719" y="3201"/>
                </a:moveTo>
                <a:lnTo>
                  <a:pt x="716" y="3196"/>
                </a:lnTo>
                <a:lnTo>
                  <a:pt x="713" y="3189"/>
                </a:lnTo>
                <a:lnTo>
                  <a:pt x="713" y="3188"/>
                </a:lnTo>
                <a:lnTo>
                  <a:pt x="712" y="3187"/>
                </a:lnTo>
                <a:lnTo>
                  <a:pt x="712" y="3188"/>
                </a:lnTo>
                <a:lnTo>
                  <a:pt x="713" y="3189"/>
                </a:lnTo>
                <a:lnTo>
                  <a:pt x="710" y="3194"/>
                </a:lnTo>
                <a:lnTo>
                  <a:pt x="710" y="3198"/>
                </a:lnTo>
                <a:lnTo>
                  <a:pt x="712" y="3201"/>
                </a:lnTo>
                <a:lnTo>
                  <a:pt x="719" y="3201"/>
                </a:lnTo>
                <a:close/>
                <a:moveTo>
                  <a:pt x="809" y="3068"/>
                </a:moveTo>
                <a:lnTo>
                  <a:pt x="801" y="3072"/>
                </a:lnTo>
                <a:lnTo>
                  <a:pt x="805" y="3078"/>
                </a:lnTo>
                <a:lnTo>
                  <a:pt x="814" y="3086"/>
                </a:lnTo>
                <a:lnTo>
                  <a:pt x="821" y="3091"/>
                </a:lnTo>
                <a:lnTo>
                  <a:pt x="823" y="3082"/>
                </a:lnTo>
                <a:lnTo>
                  <a:pt x="820" y="3076"/>
                </a:lnTo>
                <a:lnTo>
                  <a:pt x="816" y="3072"/>
                </a:lnTo>
                <a:lnTo>
                  <a:pt x="809" y="3068"/>
                </a:lnTo>
                <a:close/>
                <a:moveTo>
                  <a:pt x="1127" y="3081"/>
                </a:moveTo>
                <a:lnTo>
                  <a:pt x="1132" y="3070"/>
                </a:lnTo>
                <a:lnTo>
                  <a:pt x="1122" y="3066"/>
                </a:lnTo>
                <a:lnTo>
                  <a:pt x="1105" y="3071"/>
                </a:lnTo>
                <a:lnTo>
                  <a:pt x="1098" y="3085"/>
                </a:lnTo>
                <a:lnTo>
                  <a:pt x="1096" y="3085"/>
                </a:lnTo>
                <a:lnTo>
                  <a:pt x="1096" y="3086"/>
                </a:lnTo>
                <a:lnTo>
                  <a:pt x="1096" y="3086"/>
                </a:lnTo>
                <a:lnTo>
                  <a:pt x="1098" y="3085"/>
                </a:lnTo>
                <a:lnTo>
                  <a:pt x="1105" y="3087"/>
                </a:lnTo>
                <a:lnTo>
                  <a:pt x="1113" y="3086"/>
                </a:lnTo>
                <a:lnTo>
                  <a:pt x="1121" y="3084"/>
                </a:lnTo>
                <a:lnTo>
                  <a:pt x="1127" y="3081"/>
                </a:lnTo>
                <a:close/>
                <a:moveTo>
                  <a:pt x="712" y="3386"/>
                </a:moveTo>
                <a:lnTo>
                  <a:pt x="690" y="3399"/>
                </a:lnTo>
                <a:lnTo>
                  <a:pt x="679" y="3421"/>
                </a:lnTo>
                <a:lnTo>
                  <a:pt x="682" y="3439"/>
                </a:lnTo>
                <a:lnTo>
                  <a:pt x="705" y="3444"/>
                </a:lnTo>
                <a:lnTo>
                  <a:pt x="717" y="3430"/>
                </a:lnTo>
                <a:lnTo>
                  <a:pt x="726" y="3412"/>
                </a:lnTo>
                <a:lnTo>
                  <a:pt x="726" y="3394"/>
                </a:lnTo>
                <a:lnTo>
                  <a:pt x="712" y="3386"/>
                </a:lnTo>
                <a:close/>
                <a:moveTo>
                  <a:pt x="1646" y="2820"/>
                </a:moveTo>
                <a:lnTo>
                  <a:pt x="1646" y="2821"/>
                </a:lnTo>
                <a:lnTo>
                  <a:pt x="1646" y="2820"/>
                </a:lnTo>
                <a:lnTo>
                  <a:pt x="1655" y="2821"/>
                </a:lnTo>
                <a:lnTo>
                  <a:pt x="1662" y="2820"/>
                </a:lnTo>
                <a:lnTo>
                  <a:pt x="1667" y="2815"/>
                </a:lnTo>
                <a:lnTo>
                  <a:pt x="1669" y="2807"/>
                </a:lnTo>
                <a:lnTo>
                  <a:pt x="1666" y="2800"/>
                </a:lnTo>
                <a:lnTo>
                  <a:pt x="1659" y="2803"/>
                </a:lnTo>
                <a:lnTo>
                  <a:pt x="1652" y="2812"/>
                </a:lnTo>
                <a:lnTo>
                  <a:pt x="1646" y="2820"/>
                </a:lnTo>
                <a:close/>
                <a:moveTo>
                  <a:pt x="1646" y="2820"/>
                </a:moveTo>
                <a:lnTo>
                  <a:pt x="1645" y="2821"/>
                </a:lnTo>
                <a:lnTo>
                  <a:pt x="1646" y="2820"/>
                </a:lnTo>
                <a:close/>
                <a:moveTo>
                  <a:pt x="1514" y="2147"/>
                </a:moveTo>
                <a:lnTo>
                  <a:pt x="1520" y="2140"/>
                </a:lnTo>
                <a:lnTo>
                  <a:pt x="1511" y="2133"/>
                </a:lnTo>
                <a:lnTo>
                  <a:pt x="1497" y="2124"/>
                </a:lnTo>
                <a:lnTo>
                  <a:pt x="1486" y="2116"/>
                </a:lnTo>
                <a:lnTo>
                  <a:pt x="1486" y="2130"/>
                </a:lnTo>
                <a:lnTo>
                  <a:pt x="1492" y="2138"/>
                </a:lnTo>
                <a:lnTo>
                  <a:pt x="1503" y="2143"/>
                </a:lnTo>
                <a:lnTo>
                  <a:pt x="1514" y="2147"/>
                </a:lnTo>
                <a:close/>
                <a:moveTo>
                  <a:pt x="660" y="3633"/>
                </a:moveTo>
                <a:lnTo>
                  <a:pt x="665" y="3628"/>
                </a:lnTo>
                <a:lnTo>
                  <a:pt x="668" y="3621"/>
                </a:lnTo>
                <a:lnTo>
                  <a:pt x="662" y="3616"/>
                </a:lnTo>
                <a:lnTo>
                  <a:pt x="652" y="3623"/>
                </a:lnTo>
                <a:lnTo>
                  <a:pt x="647" y="3633"/>
                </a:lnTo>
                <a:lnTo>
                  <a:pt x="660" y="3633"/>
                </a:lnTo>
                <a:close/>
                <a:moveTo>
                  <a:pt x="644" y="3635"/>
                </a:moveTo>
                <a:lnTo>
                  <a:pt x="644" y="3635"/>
                </a:lnTo>
                <a:lnTo>
                  <a:pt x="646" y="3636"/>
                </a:lnTo>
                <a:lnTo>
                  <a:pt x="646" y="3635"/>
                </a:lnTo>
                <a:lnTo>
                  <a:pt x="644" y="3635"/>
                </a:lnTo>
                <a:lnTo>
                  <a:pt x="644" y="3635"/>
                </a:lnTo>
                <a:lnTo>
                  <a:pt x="646" y="3636"/>
                </a:lnTo>
                <a:lnTo>
                  <a:pt x="644" y="3635"/>
                </a:lnTo>
                <a:close/>
                <a:moveTo>
                  <a:pt x="1486" y="2116"/>
                </a:moveTo>
                <a:lnTo>
                  <a:pt x="1486" y="2115"/>
                </a:lnTo>
                <a:lnTo>
                  <a:pt x="1485" y="2114"/>
                </a:lnTo>
                <a:lnTo>
                  <a:pt x="1485" y="2115"/>
                </a:lnTo>
                <a:lnTo>
                  <a:pt x="1486" y="2116"/>
                </a:lnTo>
                <a:close/>
                <a:moveTo>
                  <a:pt x="1221" y="2335"/>
                </a:moveTo>
                <a:lnTo>
                  <a:pt x="1230" y="2331"/>
                </a:lnTo>
                <a:lnTo>
                  <a:pt x="1234" y="2324"/>
                </a:lnTo>
                <a:lnTo>
                  <a:pt x="1234" y="2315"/>
                </a:lnTo>
                <a:lnTo>
                  <a:pt x="1227" y="2306"/>
                </a:lnTo>
                <a:lnTo>
                  <a:pt x="1229" y="2304"/>
                </a:lnTo>
                <a:lnTo>
                  <a:pt x="1227" y="2303"/>
                </a:lnTo>
                <a:lnTo>
                  <a:pt x="1227" y="2304"/>
                </a:lnTo>
                <a:lnTo>
                  <a:pt x="1227" y="2306"/>
                </a:lnTo>
                <a:lnTo>
                  <a:pt x="1224" y="2313"/>
                </a:lnTo>
                <a:lnTo>
                  <a:pt x="1221" y="2320"/>
                </a:lnTo>
                <a:lnTo>
                  <a:pt x="1221" y="2327"/>
                </a:lnTo>
                <a:lnTo>
                  <a:pt x="1221" y="2335"/>
                </a:lnTo>
                <a:close/>
                <a:moveTo>
                  <a:pt x="8874" y="7064"/>
                </a:moveTo>
                <a:lnTo>
                  <a:pt x="8857" y="7050"/>
                </a:lnTo>
                <a:lnTo>
                  <a:pt x="8838" y="7066"/>
                </a:lnTo>
                <a:lnTo>
                  <a:pt x="8824" y="7093"/>
                </a:lnTo>
                <a:lnTo>
                  <a:pt x="8821" y="7115"/>
                </a:lnTo>
                <a:lnTo>
                  <a:pt x="8840" y="7110"/>
                </a:lnTo>
                <a:lnTo>
                  <a:pt x="8852" y="7097"/>
                </a:lnTo>
                <a:lnTo>
                  <a:pt x="8862" y="7079"/>
                </a:lnTo>
                <a:lnTo>
                  <a:pt x="8874" y="7064"/>
                </a:lnTo>
                <a:close/>
                <a:moveTo>
                  <a:pt x="854" y="2999"/>
                </a:moveTo>
                <a:lnTo>
                  <a:pt x="862" y="3013"/>
                </a:lnTo>
                <a:lnTo>
                  <a:pt x="872" y="3017"/>
                </a:lnTo>
                <a:lnTo>
                  <a:pt x="881" y="3011"/>
                </a:lnTo>
                <a:lnTo>
                  <a:pt x="885" y="2997"/>
                </a:lnTo>
                <a:lnTo>
                  <a:pt x="877" y="2996"/>
                </a:lnTo>
                <a:lnTo>
                  <a:pt x="870" y="2996"/>
                </a:lnTo>
                <a:lnTo>
                  <a:pt x="862" y="2998"/>
                </a:lnTo>
                <a:lnTo>
                  <a:pt x="854" y="2999"/>
                </a:lnTo>
                <a:close/>
                <a:moveTo>
                  <a:pt x="1285" y="2670"/>
                </a:moveTo>
                <a:lnTo>
                  <a:pt x="1369" y="2604"/>
                </a:lnTo>
                <a:lnTo>
                  <a:pt x="1350" y="2541"/>
                </a:lnTo>
                <a:lnTo>
                  <a:pt x="1298" y="2531"/>
                </a:lnTo>
                <a:lnTo>
                  <a:pt x="1282" y="2621"/>
                </a:lnTo>
                <a:lnTo>
                  <a:pt x="1257" y="2630"/>
                </a:lnTo>
                <a:lnTo>
                  <a:pt x="1250" y="2651"/>
                </a:lnTo>
                <a:lnTo>
                  <a:pt x="1261" y="2669"/>
                </a:lnTo>
                <a:lnTo>
                  <a:pt x="1285" y="2670"/>
                </a:lnTo>
                <a:close/>
                <a:moveTo>
                  <a:pt x="1229" y="2545"/>
                </a:moveTo>
                <a:lnTo>
                  <a:pt x="1215" y="2534"/>
                </a:lnTo>
                <a:lnTo>
                  <a:pt x="1207" y="2541"/>
                </a:lnTo>
                <a:lnTo>
                  <a:pt x="1208" y="2558"/>
                </a:lnTo>
                <a:lnTo>
                  <a:pt x="1222" y="2572"/>
                </a:lnTo>
                <a:lnTo>
                  <a:pt x="1244" y="2579"/>
                </a:lnTo>
                <a:lnTo>
                  <a:pt x="1249" y="2576"/>
                </a:lnTo>
                <a:lnTo>
                  <a:pt x="1243" y="2562"/>
                </a:lnTo>
                <a:lnTo>
                  <a:pt x="1229" y="2545"/>
                </a:lnTo>
                <a:close/>
                <a:moveTo>
                  <a:pt x="1257" y="2573"/>
                </a:moveTo>
                <a:lnTo>
                  <a:pt x="1258" y="2573"/>
                </a:lnTo>
                <a:lnTo>
                  <a:pt x="1258" y="2573"/>
                </a:lnTo>
                <a:lnTo>
                  <a:pt x="1257" y="2572"/>
                </a:lnTo>
                <a:lnTo>
                  <a:pt x="1257" y="2573"/>
                </a:lnTo>
                <a:close/>
                <a:moveTo>
                  <a:pt x="1194" y="2866"/>
                </a:moveTo>
                <a:lnTo>
                  <a:pt x="1194" y="2867"/>
                </a:lnTo>
                <a:lnTo>
                  <a:pt x="1196" y="2870"/>
                </a:lnTo>
                <a:lnTo>
                  <a:pt x="1193" y="2873"/>
                </a:lnTo>
                <a:lnTo>
                  <a:pt x="1193" y="2879"/>
                </a:lnTo>
                <a:lnTo>
                  <a:pt x="1194" y="2880"/>
                </a:lnTo>
                <a:lnTo>
                  <a:pt x="1202" y="2880"/>
                </a:lnTo>
                <a:lnTo>
                  <a:pt x="1198" y="2875"/>
                </a:lnTo>
                <a:lnTo>
                  <a:pt x="1196" y="2870"/>
                </a:lnTo>
                <a:lnTo>
                  <a:pt x="1196" y="2867"/>
                </a:lnTo>
                <a:lnTo>
                  <a:pt x="1194" y="2866"/>
                </a:lnTo>
                <a:lnTo>
                  <a:pt x="1196" y="2861"/>
                </a:lnTo>
                <a:lnTo>
                  <a:pt x="1197" y="2857"/>
                </a:lnTo>
                <a:lnTo>
                  <a:pt x="1194" y="2854"/>
                </a:lnTo>
                <a:lnTo>
                  <a:pt x="1187" y="2854"/>
                </a:lnTo>
                <a:lnTo>
                  <a:pt x="1191" y="2859"/>
                </a:lnTo>
                <a:lnTo>
                  <a:pt x="1194" y="2866"/>
                </a:lnTo>
                <a:close/>
                <a:moveTo>
                  <a:pt x="1197" y="2801"/>
                </a:moveTo>
                <a:lnTo>
                  <a:pt x="1197" y="2803"/>
                </a:lnTo>
                <a:lnTo>
                  <a:pt x="1198" y="2807"/>
                </a:lnTo>
                <a:lnTo>
                  <a:pt x="1203" y="2806"/>
                </a:lnTo>
                <a:lnTo>
                  <a:pt x="1205" y="2802"/>
                </a:lnTo>
                <a:lnTo>
                  <a:pt x="1202" y="2800"/>
                </a:lnTo>
                <a:lnTo>
                  <a:pt x="1197" y="2801"/>
                </a:lnTo>
                <a:close/>
                <a:moveTo>
                  <a:pt x="1362" y="3095"/>
                </a:moveTo>
                <a:lnTo>
                  <a:pt x="1356" y="3110"/>
                </a:lnTo>
                <a:lnTo>
                  <a:pt x="1346" y="3127"/>
                </a:lnTo>
                <a:lnTo>
                  <a:pt x="1341" y="3143"/>
                </a:lnTo>
                <a:lnTo>
                  <a:pt x="1346" y="3157"/>
                </a:lnTo>
                <a:lnTo>
                  <a:pt x="1375" y="3154"/>
                </a:lnTo>
                <a:lnTo>
                  <a:pt x="1393" y="3134"/>
                </a:lnTo>
                <a:lnTo>
                  <a:pt x="1392" y="3112"/>
                </a:lnTo>
                <a:lnTo>
                  <a:pt x="1362" y="3095"/>
                </a:lnTo>
                <a:lnTo>
                  <a:pt x="1364" y="3094"/>
                </a:lnTo>
                <a:lnTo>
                  <a:pt x="1362" y="3092"/>
                </a:lnTo>
                <a:lnTo>
                  <a:pt x="1362" y="3094"/>
                </a:lnTo>
                <a:lnTo>
                  <a:pt x="1362" y="3095"/>
                </a:lnTo>
                <a:close/>
                <a:moveTo>
                  <a:pt x="1411" y="2882"/>
                </a:moveTo>
                <a:lnTo>
                  <a:pt x="1413" y="2879"/>
                </a:lnTo>
                <a:lnTo>
                  <a:pt x="1413" y="2877"/>
                </a:lnTo>
                <a:lnTo>
                  <a:pt x="1412" y="2876"/>
                </a:lnTo>
                <a:lnTo>
                  <a:pt x="1407" y="2876"/>
                </a:lnTo>
                <a:lnTo>
                  <a:pt x="1411" y="2882"/>
                </a:lnTo>
                <a:close/>
                <a:moveTo>
                  <a:pt x="1323" y="3017"/>
                </a:moveTo>
                <a:lnTo>
                  <a:pt x="1312" y="3033"/>
                </a:lnTo>
                <a:lnTo>
                  <a:pt x="1295" y="3049"/>
                </a:lnTo>
                <a:lnTo>
                  <a:pt x="1280" y="3064"/>
                </a:lnTo>
                <a:lnTo>
                  <a:pt x="1268" y="3078"/>
                </a:lnTo>
                <a:lnTo>
                  <a:pt x="1319" y="3082"/>
                </a:lnTo>
                <a:lnTo>
                  <a:pt x="1352" y="3078"/>
                </a:lnTo>
                <a:lnTo>
                  <a:pt x="1359" y="3058"/>
                </a:lnTo>
                <a:lnTo>
                  <a:pt x="1323" y="3017"/>
                </a:lnTo>
                <a:close/>
                <a:moveTo>
                  <a:pt x="1290" y="2304"/>
                </a:moveTo>
                <a:lnTo>
                  <a:pt x="1301" y="2290"/>
                </a:lnTo>
                <a:lnTo>
                  <a:pt x="1284" y="2279"/>
                </a:lnTo>
                <a:lnTo>
                  <a:pt x="1262" y="2280"/>
                </a:lnTo>
                <a:lnTo>
                  <a:pt x="1264" y="2302"/>
                </a:lnTo>
                <a:lnTo>
                  <a:pt x="1272" y="2306"/>
                </a:lnTo>
                <a:lnTo>
                  <a:pt x="1278" y="2307"/>
                </a:lnTo>
                <a:lnTo>
                  <a:pt x="1284" y="2307"/>
                </a:lnTo>
                <a:lnTo>
                  <a:pt x="1290" y="2304"/>
                </a:lnTo>
                <a:close/>
                <a:moveTo>
                  <a:pt x="1016" y="2807"/>
                </a:moveTo>
                <a:lnTo>
                  <a:pt x="1011" y="2802"/>
                </a:lnTo>
                <a:lnTo>
                  <a:pt x="1010" y="2798"/>
                </a:lnTo>
                <a:lnTo>
                  <a:pt x="1012" y="2795"/>
                </a:lnTo>
                <a:lnTo>
                  <a:pt x="1019" y="2795"/>
                </a:lnTo>
                <a:lnTo>
                  <a:pt x="1024" y="2798"/>
                </a:lnTo>
                <a:lnTo>
                  <a:pt x="1025" y="2803"/>
                </a:lnTo>
                <a:lnTo>
                  <a:pt x="1024" y="2806"/>
                </a:lnTo>
                <a:lnTo>
                  <a:pt x="1016" y="2807"/>
                </a:lnTo>
                <a:close/>
                <a:moveTo>
                  <a:pt x="1062" y="2717"/>
                </a:moveTo>
                <a:lnTo>
                  <a:pt x="1048" y="2657"/>
                </a:lnTo>
                <a:lnTo>
                  <a:pt x="1020" y="2697"/>
                </a:lnTo>
                <a:lnTo>
                  <a:pt x="974" y="2765"/>
                </a:lnTo>
                <a:lnTo>
                  <a:pt x="908" y="2793"/>
                </a:lnTo>
                <a:lnTo>
                  <a:pt x="952" y="2820"/>
                </a:lnTo>
                <a:lnTo>
                  <a:pt x="941" y="2849"/>
                </a:lnTo>
                <a:lnTo>
                  <a:pt x="913" y="2886"/>
                </a:lnTo>
                <a:lnTo>
                  <a:pt x="908" y="2936"/>
                </a:lnTo>
                <a:lnTo>
                  <a:pt x="945" y="2899"/>
                </a:lnTo>
                <a:lnTo>
                  <a:pt x="974" y="2886"/>
                </a:lnTo>
                <a:lnTo>
                  <a:pt x="1000" y="2875"/>
                </a:lnTo>
                <a:lnTo>
                  <a:pt x="1019" y="2843"/>
                </a:lnTo>
                <a:lnTo>
                  <a:pt x="1048" y="2852"/>
                </a:lnTo>
                <a:lnTo>
                  <a:pt x="1068" y="2812"/>
                </a:lnTo>
                <a:lnTo>
                  <a:pt x="1075" y="2755"/>
                </a:lnTo>
                <a:lnTo>
                  <a:pt x="1062" y="2717"/>
                </a:lnTo>
                <a:close/>
                <a:moveTo>
                  <a:pt x="1081" y="2583"/>
                </a:moveTo>
                <a:lnTo>
                  <a:pt x="1082" y="2587"/>
                </a:lnTo>
                <a:lnTo>
                  <a:pt x="1084" y="2590"/>
                </a:lnTo>
                <a:lnTo>
                  <a:pt x="1086" y="2590"/>
                </a:lnTo>
                <a:lnTo>
                  <a:pt x="1089" y="2588"/>
                </a:lnTo>
                <a:lnTo>
                  <a:pt x="1089" y="2586"/>
                </a:lnTo>
                <a:lnTo>
                  <a:pt x="1087" y="2583"/>
                </a:lnTo>
                <a:lnTo>
                  <a:pt x="1085" y="2583"/>
                </a:lnTo>
                <a:lnTo>
                  <a:pt x="1081" y="2583"/>
                </a:lnTo>
                <a:close/>
                <a:moveTo>
                  <a:pt x="935" y="3011"/>
                </a:moveTo>
                <a:lnTo>
                  <a:pt x="937" y="3008"/>
                </a:lnTo>
                <a:lnTo>
                  <a:pt x="937" y="3007"/>
                </a:lnTo>
                <a:lnTo>
                  <a:pt x="936" y="3006"/>
                </a:lnTo>
                <a:lnTo>
                  <a:pt x="932" y="3006"/>
                </a:lnTo>
                <a:lnTo>
                  <a:pt x="935" y="3011"/>
                </a:lnTo>
                <a:close/>
                <a:moveTo>
                  <a:pt x="1000" y="3022"/>
                </a:moveTo>
                <a:lnTo>
                  <a:pt x="1001" y="3029"/>
                </a:lnTo>
                <a:lnTo>
                  <a:pt x="1006" y="3027"/>
                </a:lnTo>
                <a:lnTo>
                  <a:pt x="1007" y="3025"/>
                </a:lnTo>
                <a:lnTo>
                  <a:pt x="1005" y="3022"/>
                </a:lnTo>
                <a:lnTo>
                  <a:pt x="1000" y="3022"/>
                </a:lnTo>
                <a:close/>
                <a:moveTo>
                  <a:pt x="994" y="2693"/>
                </a:moveTo>
                <a:lnTo>
                  <a:pt x="991" y="2685"/>
                </a:lnTo>
                <a:lnTo>
                  <a:pt x="987" y="2681"/>
                </a:lnTo>
                <a:lnTo>
                  <a:pt x="980" y="2679"/>
                </a:lnTo>
                <a:lnTo>
                  <a:pt x="973" y="2680"/>
                </a:lnTo>
                <a:lnTo>
                  <a:pt x="977" y="2686"/>
                </a:lnTo>
                <a:lnTo>
                  <a:pt x="980" y="2691"/>
                </a:lnTo>
                <a:lnTo>
                  <a:pt x="987" y="2693"/>
                </a:lnTo>
                <a:lnTo>
                  <a:pt x="994" y="2693"/>
                </a:lnTo>
                <a:close/>
                <a:moveTo>
                  <a:pt x="1277" y="2442"/>
                </a:moveTo>
                <a:lnTo>
                  <a:pt x="1281" y="2457"/>
                </a:lnTo>
                <a:lnTo>
                  <a:pt x="1285" y="2475"/>
                </a:lnTo>
                <a:lnTo>
                  <a:pt x="1291" y="2487"/>
                </a:lnTo>
                <a:lnTo>
                  <a:pt x="1304" y="2484"/>
                </a:lnTo>
                <a:lnTo>
                  <a:pt x="1313" y="2466"/>
                </a:lnTo>
                <a:lnTo>
                  <a:pt x="1309" y="2448"/>
                </a:lnTo>
                <a:lnTo>
                  <a:pt x="1295" y="2438"/>
                </a:lnTo>
                <a:lnTo>
                  <a:pt x="1277" y="2442"/>
                </a:lnTo>
                <a:close/>
                <a:moveTo>
                  <a:pt x="1145" y="2786"/>
                </a:moveTo>
                <a:lnTo>
                  <a:pt x="1137" y="2783"/>
                </a:lnTo>
                <a:lnTo>
                  <a:pt x="1129" y="2784"/>
                </a:lnTo>
                <a:lnTo>
                  <a:pt x="1123" y="2788"/>
                </a:lnTo>
                <a:lnTo>
                  <a:pt x="1121" y="2795"/>
                </a:lnTo>
                <a:lnTo>
                  <a:pt x="1126" y="2803"/>
                </a:lnTo>
                <a:lnTo>
                  <a:pt x="1140" y="2802"/>
                </a:lnTo>
                <a:lnTo>
                  <a:pt x="1150" y="2796"/>
                </a:lnTo>
                <a:lnTo>
                  <a:pt x="1145" y="2786"/>
                </a:lnTo>
                <a:close/>
                <a:moveTo>
                  <a:pt x="1411" y="2275"/>
                </a:moveTo>
                <a:lnTo>
                  <a:pt x="1403" y="2276"/>
                </a:lnTo>
                <a:lnTo>
                  <a:pt x="1399" y="2280"/>
                </a:lnTo>
                <a:lnTo>
                  <a:pt x="1397" y="2287"/>
                </a:lnTo>
                <a:lnTo>
                  <a:pt x="1397" y="2293"/>
                </a:lnTo>
                <a:lnTo>
                  <a:pt x="1403" y="2292"/>
                </a:lnTo>
                <a:lnTo>
                  <a:pt x="1408" y="2288"/>
                </a:lnTo>
                <a:lnTo>
                  <a:pt x="1410" y="2283"/>
                </a:lnTo>
                <a:lnTo>
                  <a:pt x="1411" y="2275"/>
                </a:lnTo>
                <a:close/>
                <a:moveTo>
                  <a:pt x="8500" y="7891"/>
                </a:moveTo>
                <a:lnTo>
                  <a:pt x="8555" y="7868"/>
                </a:lnTo>
                <a:lnTo>
                  <a:pt x="8563" y="7840"/>
                </a:lnTo>
                <a:lnTo>
                  <a:pt x="8549" y="7809"/>
                </a:lnTo>
                <a:lnTo>
                  <a:pt x="8541" y="7769"/>
                </a:lnTo>
                <a:lnTo>
                  <a:pt x="8592" y="7723"/>
                </a:lnTo>
                <a:lnTo>
                  <a:pt x="8624" y="7660"/>
                </a:lnTo>
                <a:lnTo>
                  <a:pt x="8623" y="7604"/>
                </a:lnTo>
                <a:lnTo>
                  <a:pt x="8572" y="7579"/>
                </a:lnTo>
                <a:lnTo>
                  <a:pt x="8521" y="7604"/>
                </a:lnTo>
                <a:lnTo>
                  <a:pt x="8513" y="7663"/>
                </a:lnTo>
                <a:lnTo>
                  <a:pt x="8512" y="7718"/>
                </a:lnTo>
                <a:lnTo>
                  <a:pt x="8481" y="7728"/>
                </a:lnTo>
                <a:lnTo>
                  <a:pt x="8452" y="7727"/>
                </a:lnTo>
                <a:lnTo>
                  <a:pt x="8441" y="7749"/>
                </a:lnTo>
                <a:lnTo>
                  <a:pt x="8427" y="7770"/>
                </a:lnTo>
                <a:lnTo>
                  <a:pt x="8388" y="7765"/>
                </a:lnTo>
                <a:lnTo>
                  <a:pt x="8396" y="7803"/>
                </a:lnTo>
                <a:lnTo>
                  <a:pt x="8371" y="7815"/>
                </a:lnTo>
                <a:lnTo>
                  <a:pt x="8336" y="7823"/>
                </a:lnTo>
                <a:lnTo>
                  <a:pt x="8317" y="7853"/>
                </a:lnTo>
                <a:lnTo>
                  <a:pt x="8316" y="7852"/>
                </a:lnTo>
                <a:lnTo>
                  <a:pt x="8315" y="7853"/>
                </a:lnTo>
                <a:lnTo>
                  <a:pt x="8316" y="7854"/>
                </a:lnTo>
                <a:lnTo>
                  <a:pt x="8317" y="7853"/>
                </a:lnTo>
                <a:lnTo>
                  <a:pt x="8334" y="7849"/>
                </a:lnTo>
                <a:lnTo>
                  <a:pt x="8351" y="7842"/>
                </a:lnTo>
                <a:lnTo>
                  <a:pt x="8364" y="7842"/>
                </a:lnTo>
                <a:lnTo>
                  <a:pt x="8367" y="7861"/>
                </a:lnTo>
                <a:lnTo>
                  <a:pt x="8350" y="7882"/>
                </a:lnTo>
                <a:lnTo>
                  <a:pt x="8367" y="7902"/>
                </a:lnTo>
                <a:lnTo>
                  <a:pt x="8392" y="7908"/>
                </a:lnTo>
                <a:lnTo>
                  <a:pt x="8406" y="7885"/>
                </a:lnTo>
                <a:lnTo>
                  <a:pt x="8424" y="7870"/>
                </a:lnTo>
                <a:lnTo>
                  <a:pt x="8450" y="7877"/>
                </a:lnTo>
                <a:lnTo>
                  <a:pt x="8478" y="7891"/>
                </a:lnTo>
                <a:lnTo>
                  <a:pt x="8500" y="7891"/>
                </a:lnTo>
                <a:close/>
                <a:moveTo>
                  <a:pt x="8979" y="8255"/>
                </a:moveTo>
                <a:lnTo>
                  <a:pt x="8974" y="8250"/>
                </a:lnTo>
                <a:lnTo>
                  <a:pt x="8967" y="8246"/>
                </a:lnTo>
                <a:lnTo>
                  <a:pt x="8961" y="8253"/>
                </a:lnTo>
                <a:lnTo>
                  <a:pt x="8969" y="8263"/>
                </a:lnTo>
                <a:lnTo>
                  <a:pt x="8979" y="8268"/>
                </a:lnTo>
                <a:lnTo>
                  <a:pt x="8979" y="8255"/>
                </a:lnTo>
                <a:close/>
                <a:moveTo>
                  <a:pt x="8981" y="8269"/>
                </a:moveTo>
                <a:lnTo>
                  <a:pt x="8981" y="8271"/>
                </a:lnTo>
                <a:lnTo>
                  <a:pt x="8982" y="8271"/>
                </a:lnTo>
                <a:lnTo>
                  <a:pt x="8982" y="8269"/>
                </a:lnTo>
                <a:lnTo>
                  <a:pt x="8981" y="8269"/>
                </a:lnTo>
                <a:close/>
                <a:moveTo>
                  <a:pt x="8951" y="8367"/>
                </a:moveTo>
                <a:lnTo>
                  <a:pt x="8947" y="8379"/>
                </a:lnTo>
                <a:lnTo>
                  <a:pt x="8954" y="8388"/>
                </a:lnTo>
                <a:lnTo>
                  <a:pt x="8964" y="8392"/>
                </a:lnTo>
                <a:lnTo>
                  <a:pt x="8974" y="8384"/>
                </a:lnTo>
                <a:lnTo>
                  <a:pt x="8977" y="8374"/>
                </a:lnTo>
                <a:lnTo>
                  <a:pt x="8970" y="8365"/>
                </a:lnTo>
                <a:lnTo>
                  <a:pt x="8960" y="8361"/>
                </a:lnTo>
                <a:lnTo>
                  <a:pt x="8951" y="8367"/>
                </a:lnTo>
                <a:close/>
                <a:moveTo>
                  <a:pt x="8983" y="8322"/>
                </a:moveTo>
                <a:lnTo>
                  <a:pt x="8996" y="8311"/>
                </a:lnTo>
                <a:lnTo>
                  <a:pt x="9001" y="8296"/>
                </a:lnTo>
                <a:lnTo>
                  <a:pt x="8997" y="8280"/>
                </a:lnTo>
                <a:lnTo>
                  <a:pt x="8982" y="8271"/>
                </a:lnTo>
                <a:lnTo>
                  <a:pt x="8982" y="8285"/>
                </a:lnTo>
                <a:lnTo>
                  <a:pt x="8979" y="8297"/>
                </a:lnTo>
                <a:lnTo>
                  <a:pt x="8979" y="8311"/>
                </a:lnTo>
                <a:lnTo>
                  <a:pt x="8983" y="8322"/>
                </a:lnTo>
                <a:close/>
                <a:moveTo>
                  <a:pt x="9243" y="6907"/>
                </a:moveTo>
                <a:lnTo>
                  <a:pt x="9237" y="6910"/>
                </a:lnTo>
                <a:lnTo>
                  <a:pt x="9231" y="6914"/>
                </a:lnTo>
                <a:lnTo>
                  <a:pt x="9230" y="6914"/>
                </a:lnTo>
                <a:lnTo>
                  <a:pt x="9229" y="6915"/>
                </a:lnTo>
                <a:lnTo>
                  <a:pt x="9230" y="6915"/>
                </a:lnTo>
                <a:lnTo>
                  <a:pt x="9231" y="6914"/>
                </a:lnTo>
                <a:lnTo>
                  <a:pt x="9237" y="6915"/>
                </a:lnTo>
                <a:lnTo>
                  <a:pt x="9240" y="6916"/>
                </a:lnTo>
                <a:lnTo>
                  <a:pt x="9243" y="6915"/>
                </a:lnTo>
                <a:lnTo>
                  <a:pt x="9243" y="6907"/>
                </a:lnTo>
                <a:close/>
                <a:moveTo>
                  <a:pt x="9029" y="7758"/>
                </a:moveTo>
                <a:lnTo>
                  <a:pt x="9030" y="7764"/>
                </a:lnTo>
                <a:lnTo>
                  <a:pt x="9039" y="7765"/>
                </a:lnTo>
                <a:lnTo>
                  <a:pt x="9049" y="7764"/>
                </a:lnTo>
                <a:lnTo>
                  <a:pt x="9058" y="7760"/>
                </a:lnTo>
                <a:lnTo>
                  <a:pt x="9052" y="7751"/>
                </a:lnTo>
                <a:lnTo>
                  <a:pt x="9043" y="7747"/>
                </a:lnTo>
                <a:lnTo>
                  <a:pt x="9035" y="7749"/>
                </a:lnTo>
                <a:lnTo>
                  <a:pt x="9029" y="7758"/>
                </a:lnTo>
                <a:close/>
                <a:moveTo>
                  <a:pt x="9042" y="7534"/>
                </a:moveTo>
                <a:lnTo>
                  <a:pt x="9038" y="7534"/>
                </a:lnTo>
                <a:lnTo>
                  <a:pt x="9035" y="7535"/>
                </a:lnTo>
                <a:lnTo>
                  <a:pt x="9035" y="7537"/>
                </a:lnTo>
                <a:lnTo>
                  <a:pt x="9035" y="7541"/>
                </a:lnTo>
                <a:lnTo>
                  <a:pt x="9039" y="7540"/>
                </a:lnTo>
                <a:lnTo>
                  <a:pt x="9042" y="7539"/>
                </a:lnTo>
                <a:lnTo>
                  <a:pt x="9042" y="7536"/>
                </a:lnTo>
                <a:lnTo>
                  <a:pt x="9042" y="7534"/>
                </a:lnTo>
                <a:close/>
                <a:moveTo>
                  <a:pt x="9016" y="7585"/>
                </a:moveTo>
                <a:lnTo>
                  <a:pt x="9017" y="7578"/>
                </a:lnTo>
                <a:lnTo>
                  <a:pt x="9017" y="7569"/>
                </a:lnTo>
                <a:lnTo>
                  <a:pt x="9014" y="7562"/>
                </a:lnTo>
                <a:lnTo>
                  <a:pt x="9010" y="7557"/>
                </a:lnTo>
                <a:lnTo>
                  <a:pt x="8998" y="7562"/>
                </a:lnTo>
                <a:lnTo>
                  <a:pt x="8997" y="7574"/>
                </a:lnTo>
                <a:lnTo>
                  <a:pt x="9003" y="7585"/>
                </a:lnTo>
                <a:lnTo>
                  <a:pt x="9016" y="7585"/>
                </a:lnTo>
                <a:close/>
                <a:moveTo>
                  <a:pt x="8750" y="7349"/>
                </a:moveTo>
                <a:lnTo>
                  <a:pt x="8722" y="7324"/>
                </a:lnTo>
                <a:lnTo>
                  <a:pt x="8695" y="7344"/>
                </a:lnTo>
                <a:lnTo>
                  <a:pt x="8674" y="7382"/>
                </a:lnTo>
                <a:lnTo>
                  <a:pt x="8658" y="7413"/>
                </a:lnTo>
                <a:lnTo>
                  <a:pt x="8684" y="7404"/>
                </a:lnTo>
                <a:lnTo>
                  <a:pt x="8711" y="7387"/>
                </a:lnTo>
                <a:lnTo>
                  <a:pt x="8735" y="7368"/>
                </a:lnTo>
                <a:lnTo>
                  <a:pt x="8750" y="7349"/>
                </a:lnTo>
                <a:close/>
                <a:moveTo>
                  <a:pt x="8280" y="7867"/>
                </a:moveTo>
                <a:lnTo>
                  <a:pt x="8285" y="7863"/>
                </a:lnTo>
                <a:lnTo>
                  <a:pt x="8290" y="7861"/>
                </a:lnTo>
                <a:lnTo>
                  <a:pt x="8293" y="7861"/>
                </a:lnTo>
                <a:lnTo>
                  <a:pt x="8294" y="7859"/>
                </a:lnTo>
                <a:lnTo>
                  <a:pt x="8293" y="7859"/>
                </a:lnTo>
                <a:lnTo>
                  <a:pt x="8290" y="7861"/>
                </a:lnTo>
                <a:lnTo>
                  <a:pt x="8287" y="7858"/>
                </a:lnTo>
                <a:lnTo>
                  <a:pt x="8283" y="7858"/>
                </a:lnTo>
                <a:lnTo>
                  <a:pt x="8280" y="7861"/>
                </a:lnTo>
                <a:lnTo>
                  <a:pt x="8280" y="7867"/>
                </a:lnTo>
                <a:close/>
                <a:moveTo>
                  <a:pt x="8718" y="7655"/>
                </a:moveTo>
                <a:lnTo>
                  <a:pt x="8718" y="7657"/>
                </a:lnTo>
                <a:lnTo>
                  <a:pt x="8719" y="7661"/>
                </a:lnTo>
                <a:lnTo>
                  <a:pt x="8725" y="7658"/>
                </a:lnTo>
                <a:lnTo>
                  <a:pt x="8726" y="7655"/>
                </a:lnTo>
                <a:lnTo>
                  <a:pt x="8723" y="7652"/>
                </a:lnTo>
                <a:lnTo>
                  <a:pt x="8718" y="7655"/>
                </a:lnTo>
                <a:close/>
                <a:moveTo>
                  <a:pt x="8294" y="7859"/>
                </a:moveTo>
                <a:lnTo>
                  <a:pt x="8301" y="7861"/>
                </a:lnTo>
                <a:lnTo>
                  <a:pt x="8306" y="7861"/>
                </a:lnTo>
                <a:lnTo>
                  <a:pt x="8311" y="7858"/>
                </a:lnTo>
                <a:lnTo>
                  <a:pt x="8315" y="7853"/>
                </a:lnTo>
                <a:lnTo>
                  <a:pt x="8308" y="7852"/>
                </a:lnTo>
                <a:lnTo>
                  <a:pt x="8303" y="7853"/>
                </a:lnTo>
                <a:lnTo>
                  <a:pt x="8299" y="7856"/>
                </a:lnTo>
                <a:lnTo>
                  <a:pt x="8294" y="7859"/>
                </a:lnTo>
                <a:close/>
                <a:moveTo>
                  <a:pt x="8919" y="7111"/>
                </a:moveTo>
                <a:lnTo>
                  <a:pt x="8923" y="7110"/>
                </a:lnTo>
                <a:lnTo>
                  <a:pt x="8926" y="7108"/>
                </a:lnTo>
                <a:lnTo>
                  <a:pt x="8926" y="7106"/>
                </a:lnTo>
                <a:lnTo>
                  <a:pt x="8926" y="7103"/>
                </a:lnTo>
                <a:lnTo>
                  <a:pt x="8922" y="7103"/>
                </a:lnTo>
                <a:lnTo>
                  <a:pt x="8919" y="7105"/>
                </a:lnTo>
                <a:lnTo>
                  <a:pt x="8919" y="7107"/>
                </a:lnTo>
                <a:lnTo>
                  <a:pt x="8919" y="7111"/>
                </a:lnTo>
                <a:close/>
                <a:moveTo>
                  <a:pt x="8921" y="6944"/>
                </a:moveTo>
                <a:lnTo>
                  <a:pt x="8911" y="6947"/>
                </a:lnTo>
                <a:lnTo>
                  <a:pt x="8911" y="6960"/>
                </a:lnTo>
                <a:lnTo>
                  <a:pt x="8916" y="6970"/>
                </a:lnTo>
                <a:lnTo>
                  <a:pt x="8927" y="6968"/>
                </a:lnTo>
                <a:lnTo>
                  <a:pt x="8930" y="6962"/>
                </a:lnTo>
                <a:lnTo>
                  <a:pt x="8930" y="6954"/>
                </a:lnTo>
                <a:lnTo>
                  <a:pt x="8927" y="6948"/>
                </a:lnTo>
                <a:lnTo>
                  <a:pt x="8921" y="6944"/>
                </a:lnTo>
                <a:close/>
                <a:moveTo>
                  <a:pt x="8898" y="8505"/>
                </a:moveTo>
                <a:lnTo>
                  <a:pt x="8898" y="8507"/>
                </a:lnTo>
                <a:lnTo>
                  <a:pt x="8899" y="8511"/>
                </a:lnTo>
                <a:lnTo>
                  <a:pt x="8904" y="8510"/>
                </a:lnTo>
                <a:lnTo>
                  <a:pt x="8905" y="8506"/>
                </a:lnTo>
                <a:lnTo>
                  <a:pt x="8903" y="8504"/>
                </a:lnTo>
                <a:lnTo>
                  <a:pt x="8898" y="8505"/>
                </a:lnTo>
                <a:close/>
                <a:moveTo>
                  <a:pt x="8911" y="7481"/>
                </a:moveTo>
                <a:lnTo>
                  <a:pt x="8904" y="7478"/>
                </a:lnTo>
                <a:lnTo>
                  <a:pt x="8897" y="7476"/>
                </a:lnTo>
                <a:lnTo>
                  <a:pt x="8895" y="7484"/>
                </a:lnTo>
                <a:lnTo>
                  <a:pt x="8904" y="7489"/>
                </a:lnTo>
                <a:lnTo>
                  <a:pt x="8913" y="7490"/>
                </a:lnTo>
                <a:lnTo>
                  <a:pt x="8911" y="7481"/>
                </a:lnTo>
                <a:close/>
                <a:moveTo>
                  <a:pt x="9214" y="6905"/>
                </a:moveTo>
                <a:lnTo>
                  <a:pt x="9214" y="6906"/>
                </a:lnTo>
                <a:lnTo>
                  <a:pt x="9215" y="6907"/>
                </a:lnTo>
                <a:lnTo>
                  <a:pt x="9214" y="6911"/>
                </a:lnTo>
                <a:lnTo>
                  <a:pt x="9214" y="6915"/>
                </a:lnTo>
                <a:lnTo>
                  <a:pt x="9215" y="6919"/>
                </a:lnTo>
                <a:lnTo>
                  <a:pt x="9219" y="6921"/>
                </a:lnTo>
                <a:lnTo>
                  <a:pt x="9225" y="6918"/>
                </a:lnTo>
                <a:lnTo>
                  <a:pt x="9225" y="6914"/>
                </a:lnTo>
                <a:lnTo>
                  <a:pt x="9221" y="6910"/>
                </a:lnTo>
                <a:lnTo>
                  <a:pt x="9215" y="6907"/>
                </a:lnTo>
                <a:lnTo>
                  <a:pt x="9215" y="6906"/>
                </a:lnTo>
                <a:lnTo>
                  <a:pt x="9214" y="6905"/>
                </a:lnTo>
                <a:close/>
                <a:moveTo>
                  <a:pt x="9173" y="8740"/>
                </a:moveTo>
                <a:lnTo>
                  <a:pt x="9172" y="8740"/>
                </a:lnTo>
                <a:lnTo>
                  <a:pt x="9169" y="8742"/>
                </a:lnTo>
                <a:lnTo>
                  <a:pt x="9165" y="8739"/>
                </a:lnTo>
                <a:lnTo>
                  <a:pt x="9161" y="8739"/>
                </a:lnTo>
                <a:lnTo>
                  <a:pt x="9159" y="8740"/>
                </a:lnTo>
                <a:lnTo>
                  <a:pt x="9159" y="8748"/>
                </a:lnTo>
                <a:lnTo>
                  <a:pt x="9164" y="8744"/>
                </a:lnTo>
                <a:lnTo>
                  <a:pt x="9169" y="8742"/>
                </a:lnTo>
                <a:lnTo>
                  <a:pt x="9172" y="8742"/>
                </a:lnTo>
                <a:lnTo>
                  <a:pt x="9173" y="8740"/>
                </a:lnTo>
                <a:lnTo>
                  <a:pt x="9186" y="8747"/>
                </a:lnTo>
                <a:lnTo>
                  <a:pt x="9200" y="8749"/>
                </a:lnTo>
                <a:lnTo>
                  <a:pt x="9212" y="8748"/>
                </a:lnTo>
                <a:lnTo>
                  <a:pt x="9225" y="8742"/>
                </a:lnTo>
                <a:lnTo>
                  <a:pt x="9231" y="8719"/>
                </a:lnTo>
                <a:lnTo>
                  <a:pt x="9216" y="8716"/>
                </a:lnTo>
                <a:lnTo>
                  <a:pt x="9192" y="8725"/>
                </a:lnTo>
                <a:lnTo>
                  <a:pt x="9173" y="8740"/>
                </a:lnTo>
                <a:close/>
                <a:moveTo>
                  <a:pt x="9196" y="8246"/>
                </a:moveTo>
                <a:lnTo>
                  <a:pt x="9200" y="8244"/>
                </a:lnTo>
                <a:lnTo>
                  <a:pt x="9201" y="8243"/>
                </a:lnTo>
                <a:lnTo>
                  <a:pt x="9201" y="8241"/>
                </a:lnTo>
                <a:lnTo>
                  <a:pt x="9197" y="8239"/>
                </a:lnTo>
                <a:lnTo>
                  <a:pt x="9196" y="8246"/>
                </a:lnTo>
                <a:close/>
                <a:moveTo>
                  <a:pt x="9229" y="7116"/>
                </a:moveTo>
                <a:lnTo>
                  <a:pt x="9223" y="7117"/>
                </a:lnTo>
                <a:lnTo>
                  <a:pt x="9219" y="7121"/>
                </a:lnTo>
                <a:lnTo>
                  <a:pt x="9217" y="7128"/>
                </a:lnTo>
                <a:lnTo>
                  <a:pt x="9219" y="7134"/>
                </a:lnTo>
                <a:lnTo>
                  <a:pt x="9225" y="7133"/>
                </a:lnTo>
                <a:lnTo>
                  <a:pt x="9228" y="7128"/>
                </a:lnTo>
                <a:lnTo>
                  <a:pt x="9229" y="7122"/>
                </a:lnTo>
                <a:lnTo>
                  <a:pt x="9229" y="7116"/>
                </a:lnTo>
                <a:close/>
                <a:moveTo>
                  <a:pt x="9121" y="8458"/>
                </a:moveTo>
                <a:lnTo>
                  <a:pt x="9119" y="8472"/>
                </a:lnTo>
                <a:lnTo>
                  <a:pt x="9121" y="8486"/>
                </a:lnTo>
                <a:lnTo>
                  <a:pt x="9126" y="8491"/>
                </a:lnTo>
                <a:lnTo>
                  <a:pt x="9137" y="8482"/>
                </a:lnTo>
                <a:lnTo>
                  <a:pt x="9141" y="8469"/>
                </a:lnTo>
                <a:lnTo>
                  <a:pt x="9136" y="8455"/>
                </a:lnTo>
                <a:lnTo>
                  <a:pt x="9128" y="8449"/>
                </a:lnTo>
                <a:lnTo>
                  <a:pt x="9121" y="8458"/>
                </a:lnTo>
                <a:close/>
                <a:moveTo>
                  <a:pt x="9193" y="7164"/>
                </a:moveTo>
                <a:lnTo>
                  <a:pt x="9193" y="7176"/>
                </a:lnTo>
                <a:lnTo>
                  <a:pt x="9203" y="7177"/>
                </a:lnTo>
                <a:lnTo>
                  <a:pt x="9215" y="7172"/>
                </a:lnTo>
                <a:lnTo>
                  <a:pt x="9219" y="7164"/>
                </a:lnTo>
                <a:lnTo>
                  <a:pt x="9214" y="7159"/>
                </a:lnTo>
                <a:lnTo>
                  <a:pt x="9207" y="7158"/>
                </a:lnTo>
                <a:lnTo>
                  <a:pt x="9200" y="7159"/>
                </a:lnTo>
                <a:lnTo>
                  <a:pt x="9193" y="7164"/>
                </a:lnTo>
                <a:close/>
                <a:moveTo>
                  <a:pt x="9112" y="8548"/>
                </a:moveTo>
                <a:lnTo>
                  <a:pt x="9114" y="8548"/>
                </a:lnTo>
                <a:lnTo>
                  <a:pt x="9117" y="8547"/>
                </a:lnTo>
                <a:lnTo>
                  <a:pt x="9117" y="8544"/>
                </a:lnTo>
                <a:lnTo>
                  <a:pt x="9116" y="8542"/>
                </a:lnTo>
                <a:lnTo>
                  <a:pt x="9113" y="8542"/>
                </a:lnTo>
                <a:lnTo>
                  <a:pt x="9110" y="8543"/>
                </a:lnTo>
                <a:lnTo>
                  <a:pt x="9110" y="8546"/>
                </a:lnTo>
                <a:lnTo>
                  <a:pt x="9112" y="8548"/>
                </a:lnTo>
                <a:close/>
                <a:moveTo>
                  <a:pt x="9156" y="6789"/>
                </a:moveTo>
                <a:lnTo>
                  <a:pt x="9156" y="6784"/>
                </a:lnTo>
                <a:lnTo>
                  <a:pt x="9154" y="6783"/>
                </a:lnTo>
                <a:lnTo>
                  <a:pt x="9150" y="6785"/>
                </a:lnTo>
                <a:lnTo>
                  <a:pt x="9151" y="6790"/>
                </a:lnTo>
                <a:lnTo>
                  <a:pt x="9155" y="6789"/>
                </a:lnTo>
                <a:lnTo>
                  <a:pt x="9156" y="6789"/>
                </a:lnTo>
                <a:close/>
                <a:moveTo>
                  <a:pt x="9210" y="6876"/>
                </a:moveTo>
                <a:lnTo>
                  <a:pt x="9198" y="6870"/>
                </a:lnTo>
                <a:lnTo>
                  <a:pt x="9195" y="6882"/>
                </a:lnTo>
                <a:lnTo>
                  <a:pt x="9200" y="6897"/>
                </a:lnTo>
                <a:lnTo>
                  <a:pt x="9214" y="6905"/>
                </a:lnTo>
                <a:lnTo>
                  <a:pt x="9216" y="6897"/>
                </a:lnTo>
                <a:lnTo>
                  <a:pt x="9215" y="6890"/>
                </a:lnTo>
                <a:lnTo>
                  <a:pt x="9212" y="6882"/>
                </a:lnTo>
                <a:lnTo>
                  <a:pt x="9210" y="6876"/>
                </a:lnTo>
                <a:close/>
                <a:moveTo>
                  <a:pt x="9135" y="7932"/>
                </a:moveTo>
                <a:lnTo>
                  <a:pt x="9124" y="7940"/>
                </a:lnTo>
                <a:lnTo>
                  <a:pt x="9133" y="7945"/>
                </a:lnTo>
                <a:lnTo>
                  <a:pt x="9146" y="7946"/>
                </a:lnTo>
                <a:lnTo>
                  <a:pt x="9149" y="7938"/>
                </a:lnTo>
                <a:lnTo>
                  <a:pt x="9141" y="7933"/>
                </a:lnTo>
                <a:lnTo>
                  <a:pt x="9135" y="7932"/>
                </a:lnTo>
                <a:close/>
                <a:moveTo>
                  <a:pt x="9224" y="7319"/>
                </a:moveTo>
                <a:lnTo>
                  <a:pt x="9225" y="7319"/>
                </a:lnTo>
                <a:lnTo>
                  <a:pt x="9226" y="7317"/>
                </a:lnTo>
                <a:lnTo>
                  <a:pt x="9231" y="7320"/>
                </a:lnTo>
                <a:lnTo>
                  <a:pt x="9235" y="7320"/>
                </a:lnTo>
                <a:lnTo>
                  <a:pt x="9238" y="7319"/>
                </a:lnTo>
                <a:lnTo>
                  <a:pt x="9238" y="7311"/>
                </a:lnTo>
                <a:lnTo>
                  <a:pt x="9231" y="7313"/>
                </a:lnTo>
                <a:lnTo>
                  <a:pt x="9226" y="7317"/>
                </a:lnTo>
                <a:lnTo>
                  <a:pt x="9225" y="7317"/>
                </a:lnTo>
                <a:lnTo>
                  <a:pt x="9224" y="7319"/>
                </a:lnTo>
                <a:close/>
                <a:moveTo>
                  <a:pt x="9209" y="7320"/>
                </a:moveTo>
                <a:lnTo>
                  <a:pt x="9205" y="7325"/>
                </a:lnTo>
                <a:lnTo>
                  <a:pt x="9201" y="7333"/>
                </a:lnTo>
                <a:lnTo>
                  <a:pt x="9207" y="7338"/>
                </a:lnTo>
                <a:lnTo>
                  <a:pt x="9217" y="7330"/>
                </a:lnTo>
                <a:lnTo>
                  <a:pt x="9221" y="7320"/>
                </a:lnTo>
                <a:lnTo>
                  <a:pt x="9209" y="7320"/>
                </a:lnTo>
                <a:close/>
                <a:moveTo>
                  <a:pt x="9200" y="8636"/>
                </a:moveTo>
                <a:lnTo>
                  <a:pt x="9203" y="8635"/>
                </a:lnTo>
                <a:lnTo>
                  <a:pt x="9205" y="8633"/>
                </a:lnTo>
                <a:lnTo>
                  <a:pt x="9205" y="8628"/>
                </a:lnTo>
                <a:lnTo>
                  <a:pt x="9202" y="8627"/>
                </a:lnTo>
                <a:lnTo>
                  <a:pt x="9198" y="8630"/>
                </a:lnTo>
                <a:lnTo>
                  <a:pt x="9200" y="8636"/>
                </a:lnTo>
                <a:close/>
                <a:moveTo>
                  <a:pt x="9235" y="8605"/>
                </a:moveTo>
                <a:lnTo>
                  <a:pt x="9233" y="8605"/>
                </a:lnTo>
                <a:lnTo>
                  <a:pt x="9229" y="8607"/>
                </a:lnTo>
                <a:lnTo>
                  <a:pt x="9230" y="8612"/>
                </a:lnTo>
                <a:lnTo>
                  <a:pt x="9235" y="8613"/>
                </a:lnTo>
                <a:lnTo>
                  <a:pt x="9238" y="8611"/>
                </a:lnTo>
                <a:lnTo>
                  <a:pt x="9235" y="8605"/>
                </a:lnTo>
                <a:close/>
                <a:moveTo>
                  <a:pt x="8686" y="7698"/>
                </a:moveTo>
                <a:lnTo>
                  <a:pt x="8681" y="7689"/>
                </a:lnTo>
                <a:lnTo>
                  <a:pt x="8674" y="7681"/>
                </a:lnTo>
                <a:lnTo>
                  <a:pt x="8665" y="7688"/>
                </a:lnTo>
                <a:lnTo>
                  <a:pt x="8667" y="7702"/>
                </a:lnTo>
                <a:lnTo>
                  <a:pt x="8677" y="7709"/>
                </a:lnTo>
                <a:lnTo>
                  <a:pt x="8686" y="7698"/>
                </a:lnTo>
                <a:close/>
                <a:moveTo>
                  <a:pt x="8760" y="7291"/>
                </a:moveTo>
                <a:lnTo>
                  <a:pt x="8760" y="7293"/>
                </a:lnTo>
                <a:lnTo>
                  <a:pt x="8762" y="7296"/>
                </a:lnTo>
                <a:lnTo>
                  <a:pt x="8767" y="7294"/>
                </a:lnTo>
                <a:lnTo>
                  <a:pt x="8768" y="7291"/>
                </a:lnTo>
                <a:lnTo>
                  <a:pt x="8765" y="7288"/>
                </a:lnTo>
                <a:lnTo>
                  <a:pt x="8760" y="7291"/>
                </a:lnTo>
                <a:close/>
                <a:moveTo>
                  <a:pt x="8737" y="7760"/>
                </a:moveTo>
                <a:lnTo>
                  <a:pt x="8751" y="7773"/>
                </a:lnTo>
                <a:lnTo>
                  <a:pt x="8772" y="7767"/>
                </a:lnTo>
                <a:lnTo>
                  <a:pt x="8791" y="7751"/>
                </a:lnTo>
                <a:lnTo>
                  <a:pt x="8798" y="7733"/>
                </a:lnTo>
                <a:lnTo>
                  <a:pt x="8782" y="7735"/>
                </a:lnTo>
                <a:lnTo>
                  <a:pt x="8763" y="7739"/>
                </a:lnTo>
                <a:lnTo>
                  <a:pt x="8748" y="7747"/>
                </a:lnTo>
                <a:lnTo>
                  <a:pt x="8737" y="7760"/>
                </a:lnTo>
                <a:close/>
                <a:moveTo>
                  <a:pt x="8751" y="8397"/>
                </a:moveTo>
                <a:lnTo>
                  <a:pt x="8790" y="8380"/>
                </a:lnTo>
                <a:lnTo>
                  <a:pt x="8818" y="8344"/>
                </a:lnTo>
                <a:lnTo>
                  <a:pt x="8829" y="8302"/>
                </a:lnTo>
                <a:lnTo>
                  <a:pt x="8812" y="8267"/>
                </a:lnTo>
                <a:lnTo>
                  <a:pt x="8788" y="8294"/>
                </a:lnTo>
                <a:lnTo>
                  <a:pt x="8756" y="8330"/>
                </a:lnTo>
                <a:lnTo>
                  <a:pt x="8737" y="8367"/>
                </a:lnTo>
                <a:lnTo>
                  <a:pt x="8751" y="8397"/>
                </a:lnTo>
                <a:close/>
                <a:moveTo>
                  <a:pt x="8848" y="8574"/>
                </a:moveTo>
                <a:lnTo>
                  <a:pt x="8844" y="8569"/>
                </a:lnTo>
                <a:lnTo>
                  <a:pt x="8839" y="8565"/>
                </a:lnTo>
                <a:lnTo>
                  <a:pt x="8834" y="8563"/>
                </a:lnTo>
                <a:lnTo>
                  <a:pt x="8828" y="8566"/>
                </a:lnTo>
                <a:lnTo>
                  <a:pt x="8832" y="8571"/>
                </a:lnTo>
                <a:lnTo>
                  <a:pt x="8837" y="8575"/>
                </a:lnTo>
                <a:lnTo>
                  <a:pt x="8842" y="8576"/>
                </a:lnTo>
                <a:lnTo>
                  <a:pt x="8848" y="8574"/>
                </a:lnTo>
                <a:close/>
                <a:moveTo>
                  <a:pt x="8753" y="7504"/>
                </a:moveTo>
                <a:lnTo>
                  <a:pt x="8760" y="7508"/>
                </a:lnTo>
                <a:lnTo>
                  <a:pt x="8768" y="7507"/>
                </a:lnTo>
                <a:lnTo>
                  <a:pt x="8774" y="7502"/>
                </a:lnTo>
                <a:lnTo>
                  <a:pt x="8777" y="7494"/>
                </a:lnTo>
                <a:lnTo>
                  <a:pt x="8772" y="7487"/>
                </a:lnTo>
                <a:lnTo>
                  <a:pt x="8759" y="7488"/>
                </a:lnTo>
                <a:lnTo>
                  <a:pt x="8750" y="7495"/>
                </a:lnTo>
                <a:lnTo>
                  <a:pt x="8753" y="7504"/>
                </a:lnTo>
                <a:close/>
                <a:moveTo>
                  <a:pt x="8662" y="7972"/>
                </a:moveTo>
                <a:lnTo>
                  <a:pt x="8662" y="7975"/>
                </a:lnTo>
                <a:lnTo>
                  <a:pt x="8663" y="7978"/>
                </a:lnTo>
                <a:lnTo>
                  <a:pt x="8670" y="7978"/>
                </a:lnTo>
                <a:lnTo>
                  <a:pt x="8670" y="7974"/>
                </a:lnTo>
                <a:lnTo>
                  <a:pt x="8667" y="7972"/>
                </a:lnTo>
                <a:lnTo>
                  <a:pt x="8662" y="7972"/>
                </a:lnTo>
                <a:close/>
                <a:moveTo>
                  <a:pt x="8702" y="8124"/>
                </a:moveTo>
                <a:lnTo>
                  <a:pt x="8699" y="8124"/>
                </a:lnTo>
                <a:lnTo>
                  <a:pt x="8697" y="8126"/>
                </a:lnTo>
                <a:lnTo>
                  <a:pt x="8697" y="8128"/>
                </a:lnTo>
                <a:lnTo>
                  <a:pt x="8697" y="8132"/>
                </a:lnTo>
                <a:lnTo>
                  <a:pt x="8700" y="8131"/>
                </a:lnTo>
                <a:lnTo>
                  <a:pt x="8703" y="8129"/>
                </a:lnTo>
                <a:lnTo>
                  <a:pt x="8703" y="8127"/>
                </a:lnTo>
                <a:lnTo>
                  <a:pt x="8702" y="8124"/>
                </a:lnTo>
                <a:close/>
                <a:moveTo>
                  <a:pt x="8690" y="8337"/>
                </a:moveTo>
                <a:lnTo>
                  <a:pt x="8709" y="8329"/>
                </a:lnTo>
                <a:lnTo>
                  <a:pt x="8709" y="8309"/>
                </a:lnTo>
                <a:lnTo>
                  <a:pt x="8698" y="8294"/>
                </a:lnTo>
                <a:lnTo>
                  <a:pt x="8677" y="8300"/>
                </a:lnTo>
                <a:lnTo>
                  <a:pt x="8676" y="8310"/>
                </a:lnTo>
                <a:lnTo>
                  <a:pt x="8676" y="8322"/>
                </a:lnTo>
                <a:lnTo>
                  <a:pt x="8680" y="8333"/>
                </a:lnTo>
                <a:lnTo>
                  <a:pt x="8690" y="8337"/>
                </a:lnTo>
                <a:close/>
                <a:moveTo>
                  <a:pt x="8848" y="8118"/>
                </a:moveTo>
                <a:lnTo>
                  <a:pt x="8846" y="8109"/>
                </a:lnTo>
                <a:lnTo>
                  <a:pt x="8839" y="8110"/>
                </a:lnTo>
                <a:lnTo>
                  <a:pt x="8835" y="8118"/>
                </a:lnTo>
                <a:lnTo>
                  <a:pt x="8838" y="8127"/>
                </a:lnTo>
                <a:lnTo>
                  <a:pt x="8843" y="8123"/>
                </a:lnTo>
                <a:lnTo>
                  <a:pt x="8848" y="8118"/>
                </a:lnTo>
                <a:close/>
                <a:moveTo>
                  <a:pt x="8784" y="7236"/>
                </a:moveTo>
                <a:lnTo>
                  <a:pt x="8786" y="7236"/>
                </a:lnTo>
                <a:lnTo>
                  <a:pt x="8786" y="7236"/>
                </a:lnTo>
                <a:lnTo>
                  <a:pt x="8784" y="7234"/>
                </a:lnTo>
                <a:lnTo>
                  <a:pt x="8784" y="7236"/>
                </a:lnTo>
                <a:close/>
                <a:moveTo>
                  <a:pt x="8858" y="7186"/>
                </a:moveTo>
                <a:lnTo>
                  <a:pt x="8829" y="7182"/>
                </a:lnTo>
                <a:lnTo>
                  <a:pt x="8814" y="7196"/>
                </a:lnTo>
                <a:lnTo>
                  <a:pt x="8802" y="7217"/>
                </a:lnTo>
                <a:lnTo>
                  <a:pt x="8786" y="7236"/>
                </a:lnTo>
                <a:lnTo>
                  <a:pt x="8814" y="7248"/>
                </a:lnTo>
                <a:lnTo>
                  <a:pt x="8835" y="7237"/>
                </a:lnTo>
                <a:lnTo>
                  <a:pt x="8851" y="7213"/>
                </a:lnTo>
                <a:lnTo>
                  <a:pt x="8858" y="7186"/>
                </a:lnTo>
                <a:close/>
                <a:moveTo>
                  <a:pt x="8339" y="7793"/>
                </a:moveTo>
                <a:lnTo>
                  <a:pt x="8334" y="7788"/>
                </a:lnTo>
                <a:lnTo>
                  <a:pt x="8326" y="7784"/>
                </a:lnTo>
                <a:lnTo>
                  <a:pt x="8320" y="7791"/>
                </a:lnTo>
                <a:lnTo>
                  <a:pt x="8329" y="7801"/>
                </a:lnTo>
                <a:lnTo>
                  <a:pt x="8339" y="7806"/>
                </a:lnTo>
                <a:lnTo>
                  <a:pt x="8339" y="7793"/>
                </a:lnTo>
                <a:close/>
                <a:moveTo>
                  <a:pt x="8769" y="7226"/>
                </a:moveTo>
                <a:lnTo>
                  <a:pt x="8769" y="7227"/>
                </a:lnTo>
                <a:lnTo>
                  <a:pt x="8770" y="7228"/>
                </a:lnTo>
                <a:lnTo>
                  <a:pt x="8767" y="7234"/>
                </a:lnTo>
                <a:lnTo>
                  <a:pt x="8764" y="7242"/>
                </a:lnTo>
                <a:lnTo>
                  <a:pt x="8765" y="7255"/>
                </a:lnTo>
                <a:lnTo>
                  <a:pt x="8776" y="7250"/>
                </a:lnTo>
                <a:lnTo>
                  <a:pt x="8782" y="7237"/>
                </a:lnTo>
                <a:lnTo>
                  <a:pt x="8770" y="7228"/>
                </a:lnTo>
                <a:lnTo>
                  <a:pt x="8770" y="7227"/>
                </a:lnTo>
                <a:lnTo>
                  <a:pt x="8769" y="7226"/>
                </a:lnTo>
                <a:lnTo>
                  <a:pt x="8772" y="7220"/>
                </a:lnTo>
                <a:lnTo>
                  <a:pt x="8772" y="7217"/>
                </a:lnTo>
                <a:lnTo>
                  <a:pt x="8770" y="7214"/>
                </a:lnTo>
                <a:lnTo>
                  <a:pt x="8763" y="7214"/>
                </a:lnTo>
                <a:lnTo>
                  <a:pt x="8767" y="7219"/>
                </a:lnTo>
                <a:lnTo>
                  <a:pt x="8769" y="7226"/>
                </a:lnTo>
                <a:close/>
                <a:moveTo>
                  <a:pt x="8666" y="7588"/>
                </a:moveTo>
                <a:lnTo>
                  <a:pt x="8663" y="7582"/>
                </a:lnTo>
                <a:lnTo>
                  <a:pt x="8658" y="7577"/>
                </a:lnTo>
                <a:lnTo>
                  <a:pt x="8653" y="7576"/>
                </a:lnTo>
                <a:lnTo>
                  <a:pt x="8646" y="7576"/>
                </a:lnTo>
                <a:lnTo>
                  <a:pt x="8648" y="7582"/>
                </a:lnTo>
                <a:lnTo>
                  <a:pt x="8653" y="7587"/>
                </a:lnTo>
                <a:lnTo>
                  <a:pt x="8660" y="7588"/>
                </a:lnTo>
                <a:lnTo>
                  <a:pt x="8666" y="7588"/>
                </a:lnTo>
                <a:close/>
                <a:moveTo>
                  <a:pt x="8851" y="7490"/>
                </a:moveTo>
                <a:lnTo>
                  <a:pt x="8844" y="7493"/>
                </a:lnTo>
                <a:lnTo>
                  <a:pt x="8840" y="7498"/>
                </a:lnTo>
                <a:lnTo>
                  <a:pt x="8839" y="7503"/>
                </a:lnTo>
                <a:lnTo>
                  <a:pt x="8839" y="7511"/>
                </a:lnTo>
                <a:lnTo>
                  <a:pt x="8846" y="7508"/>
                </a:lnTo>
                <a:lnTo>
                  <a:pt x="8849" y="7503"/>
                </a:lnTo>
                <a:lnTo>
                  <a:pt x="8852" y="7498"/>
                </a:lnTo>
                <a:lnTo>
                  <a:pt x="8851" y="7490"/>
                </a:lnTo>
                <a:close/>
                <a:moveTo>
                  <a:pt x="8289" y="7965"/>
                </a:moveTo>
                <a:lnTo>
                  <a:pt x="8285" y="7958"/>
                </a:lnTo>
                <a:lnTo>
                  <a:pt x="8281" y="7954"/>
                </a:lnTo>
                <a:lnTo>
                  <a:pt x="8275" y="7952"/>
                </a:lnTo>
                <a:lnTo>
                  <a:pt x="8267" y="7952"/>
                </a:lnTo>
                <a:lnTo>
                  <a:pt x="8271" y="7959"/>
                </a:lnTo>
                <a:lnTo>
                  <a:pt x="8275" y="7964"/>
                </a:lnTo>
                <a:lnTo>
                  <a:pt x="8281" y="7965"/>
                </a:lnTo>
                <a:lnTo>
                  <a:pt x="8289" y="7965"/>
                </a:lnTo>
                <a:close/>
                <a:moveTo>
                  <a:pt x="8250" y="7912"/>
                </a:moveTo>
                <a:lnTo>
                  <a:pt x="8264" y="7884"/>
                </a:lnTo>
                <a:lnTo>
                  <a:pt x="8220" y="7857"/>
                </a:lnTo>
                <a:lnTo>
                  <a:pt x="8163" y="7844"/>
                </a:lnTo>
                <a:lnTo>
                  <a:pt x="8134" y="7854"/>
                </a:lnTo>
                <a:lnTo>
                  <a:pt x="8148" y="7894"/>
                </a:lnTo>
                <a:lnTo>
                  <a:pt x="8172" y="7910"/>
                </a:lnTo>
                <a:lnTo>
                  <a:pt x="8202" y="7926"/>
                </a:lnTo>
                <a:lnTo>
                  <a:pt x="8236" y="7960"/>
                </a:lnTo>
                <a:lnTo>
                  <a:pt x="8243" y="7945"/>
                </a:lnTo>
                <a:lnTo>
                  <a:pt x="8237" y="7928"/>
                </a:lnTo>
                <a:lnTo>
                  <a:pt x="8233" y="7916"/>
                </a:lnTo>
                <a:lnTo>
                  <a:pt x="8250" y="7912"/>
                </a:lnTo>
                <a:close/>
                <a:moveTo>
                  <a:pt x="8588" y="7831"/>
                </a:moveTo>
                <a:lnTo>
                  <a:pt x="8583" y="7834"/>
                </a:lnTo>
                <a:lnTo>
                  <a:pt x="8578" y="7838"/>
                </a:lnTo>
                <a:lnTo>
                  <a:pt x="8576" y="7838"/>
                </a:lnTo>
                <a:lnTo>
                  <a:pt x="8574" y="7838"/>
                </a:lnTo>
                <a:lnTo>
                  <a:pt x="8576" y="7839"/>
                </a:lnTo>
                <a:lnTo>
                  <a:pt x="8578" y="7838"/>
                </a:lnTo>
                <a:lnTo>
                  <a:pt x="8582" y="7839"/>
                </a:lnTo>
                <a:lnTo>
                  <a:pt x="8586" y="7840"/>
                </a:lnTo>
                <a:lnTo>
                  <a:pt x="8588" y="7838"/>
                </a:lnTo>
                <a:lnTo>
                  <a:pt x="8588" y="7831"/>
                </a:lnTo>
                <a:close/>
                <a:moveTo>
                  <a:pt x="8387" y="7515"/>
                </a:moveTo>
                <a:lnTo>
                  <a:pt x="8388" y="7517"/>
                </a:lnTo>
                <a:lnTo>
                  <a:pt x="8390" y="7520"/>
                </a:lnTo>
                <a:lnTo>
                  <a:pt x="8392" y="7521"/>
                </a:lnTo>
                <a:lnTo>
                  <a:pt x="8395" y="7518"/>
                </a:lnTo>
                <a:lnTo>
                  <a:pt x="8395" y="7516"/>
                </a:lnTo>
                <a:lnTo>
                  <a:pt x="8393" y="7513"/>
                </a:lnTo>
                <a:lnTo>
                  <a:pt x="8391" y="7513"/>
                </a:lnTo>
                <a:lnTo>
                  <a:pt x="8387" y="7515"/>
                </a:lnTo>
                <a:close/>
                <a:moveTo>
                  <a:pt x="8345" y="7923"/>
                </a:moveTo>
                <a:lnTo>
                  <a:pt x="8349" y="7922"/>
                </a:lnTo>
                <a:lnTo>
                  <a:pt x="8351" y="7921"/>
                </a:lnTo>
                <a:lnTo>
                  <a:pt x="8351" y="7918"/>
                </a:lnTo>
                <a:lnTo>
                  <a:pt x="8350" y="7914"/>
                </a:lnTo>
                <a:lnTo>
                  <a:pt x="8348" y="7916"/>
                </a:lnTo>
                <a:lnTo>
                  <a:pt x="8345" y="7917"/>
                </a:lnTo>
                <a:lnTo>
                  <a:pt x="8345" y="7919"/>
                </a:lnTo>
                <a:lnTo>
                  <a:pt x="8345" y="7923"/>
                </a:lnTo>
                <a:close/>
                <a:moveTo>
                  <a:pt x="8393" y="7619"/>
                </a:moveTo>
                <a:lnTo>
                  <a:pt x="8400" y="7618"/>
                </a:lnTo>
                <a:lnTo>
                  <a:pt x="8399" y="7613"/>
                </a:lnTo>
                <a:lnTo>
                  <a:pt x="8395" y="7611"/>
                </a:lnTo>
                <a:lnTo>
                  <a:pt x="8392" y="7614"/>
                </a:lnTo>
                <a:lnTo>
                  <a:pt x="8393" y="7619"/>
                </a:lnTo>
                <a:close/>
                <a:moveTo>
                  <a:pt x="8466" y="7944"/>
                </a:moveTo>
                <a:lnTo>
                  <a:pt x="8466" y="7946"/>
                </a:lnTo>
                <a:lnTo>
                  <a:pt x="8467" y="7950"/>
                </a:lnTo>
                <a:lnTo>
                  <a:pt x="8472" y="7947"/>
                </a:lnTo>
                <a:lnTo>
                  <a:pt x="8472" y="7945"/>
                </a:lnTo>
                <a:lnTo>
                  <a:pt x="8471" y="7942"/>
                </a:lnTo>
                <a:lnTo>
                  <a:pt x="8466" y="7944"/>
                </a:lnTo>
                <a:close/>
                <a:moveTo>
                  <a:pt x="8618" y="7420"/>
                </a:moveTo>
                <a:lnTo>
                  <a:pt x="8615" y="7420"/>
                </a:lnTo>
                <a:lnTo>
                  <a:pt x="8611" y="7422"/>
                </a:lnTo>
                <a:lnTo>
                  <a:pt x="8613" y="7427"/>
                </a:lnTo>
                <a:lnTo>
                  <a:pt x="8616" y="7428"/>
                </a:lnTo>
                <a:lnTo>
                  <a:pt x="8619" y="7425"/>
                </a:lnTo>
                <a:lnTo>
                  <a:pt x="8618" y="7420"/>
                </a:lnTo>
                <a:close/>
                <a:moveTo>
                  <a:pt x="8616" y="7513"/>
                </a:moveTo>
                <a:lnTo>
                  <a:pt x="8616" y="7512"/>
                </a:lnTo>
                <a:lnTo>
                  <a:pt x="8616" y="7512"/>
                </a:lnTo>
                <a:lnTo>
                  <a:pt x="8615" y="7512"/>
                </a:lnTo>
                <a:lnTo>
                  <a:pt x="8616" y="7513"/>
                </a:lnTo>
                <a:close/>
                <a:moveTo>
                  <a:pt x="8646" y="7464"/>
                </a:moveTo>
                <a:lnTo>
                  <a:pt x="8634" y="7453"/>
                </a:lnTo>
                <a:lnTo>
                  <a:pt x="8624" y="7465"/>
                </a:lnTo>
                <a:lnTo>
                  <a:pt x="8615" y="7483"/>
                </a:lnTo>
                <a:lnTo>
                  <a:pt x="8609" y="7499"/>
                </a:lnTo>
                <a:lnTo>
                  <a:pt x="8620" y="7507"/>
                </a:lnTo>
                <a:lnTo>
                  <a:pt x="8635" y="7499"/>
                </a:lnTo>
                <a:lnTo>
                  <a:pt x="8647" y="7481"/>
                </a:lnTo>
                <a:lnTo>
                  <a:pt x="8646" y="7464"/>
                </a:lnTo>
                <a:close/>
                <a:moveTo>
                  <a:pt x="8618" y="7527"/>
                </a:moveTo>
                <a:lnTo>
                  <a:pt x="8621" y="7531"/>
                </a:lnTo>
                <a:lnTo>
                  <a:pt x="8627" y="7535"/>
                </a:lnTo>
                <a:lnTo>
                  <a:pt x="8632" y="7535"/>
                </a:lnTo>
                <a:lnTo>
                  <a:pt x="8638" y="7534"/>
                </a:lnTo>
                <a:lnTo>
                  <a:pt x="8632" y="7523"/>
                </a:lnTo>
                <a:lnTo>
                  <a:pt x="8623" y="7516"/>
                </a:lnTo>
                <a:lnTo>
                  <a:pt x="8616" y="7516"/>
                </a:lnTo>
                <a:lnTo>
                  <a:pt x="8618" y="7527"/>
                </a:lnTo>
                <a:close/>
                <a:moveTo>
                  <a:pt x="8639" y="7200"/>
                </a:moveTo>
                <a:lnTo>
                  <a:pt x="8637" y="7203"/>
                </a:lnTo>
                <a:lnTo>
                  <a:pt x="8635" y="7204"/>
                </a:lnTo>
                <a:lnTo>
                  <a:pt x="8635" y="7205"/>
                </a:lnTo>
                <a:lnTo>
                  <a:pt x="8639" y="7208"/>
                </a:lnTo>
                <a:lnTo>
                  <a:pt x="8639" y="7200"/>
                </a:lnTo>
                <a:close/>
                <a:moveTo>
                  <a:pt x="8619" y="8077"/>
                </a:moveTo>
                <a:lnTo>
                  <a:pt x="8620" y="8070"/>
                </a:lnTo>
                <a:lnTo>
                  <a:pt x="8620" y="8066"/>
                </a:lnTo>
                <a:lnTo>
                  <a:pt x="8616" y="8064"/>
                </a:lnTo>
                <a:lnTo>
                  <a:pt x="8609" y="8067"/>
                </a:lnTo>
                <a:lnTo>
                  <a:pt x="8607" y="8073"/>
                </a:lnTo>
                <a:lnTo>
                  <a:pt x="8609" y="8078"/>
                </a:lnTo>
                <a:lnTo>
                  <a:pt x="8613" y="8080"/>
                </a:lnTo>
                <a:lnTo>
                  <a:pt x="8619" y="8077"/>
                </a:lnTo>
                <a:close/>
                <a:moveTo>
                  <a:pt x="8340" y="7807"/>
                </a:moveTo>
                <a:lnTo>
                  <a:pt x="8340" y="7809"/>
                </a:lnTo>
                <a:lnTo>
                  <a:pt x="8340" y="7809"/>
                </a:lnTo>
                <a:lnTo>
                  <a:pt x="8340" y="7807"/>
                </a:lnTo>
                <a:lnTo>
                  <a:pt x="8340" y="7807"/>
                </a:lnTo>
                <a:close/>
                <a:moveTo>
                  <a:pt x="8541" y="7933"/>
                </a:moveTo>
                <a:lnTo>
                  <a:pt x="8553" y="7936"/>
                </a:lnTo>
                <a:lnTo>
                  <a:pt x="8562" y="7930"/>
                </a:lnTo>
                <a:lnTo>
                  <a:pt x="8565" y="7919"/>
                </a:lnTo>
                <a:lnTo>
                  <a:pt x="8558" y="7909"/>
                </a:lnTo>
                <a:lnTo>
                  <a:pt x="8548" y="7907"/>
                </a:lnTo>
                <a:lnTo>
                  <a:pt x="8537" y="7913"/>
                </a:lnTo>
                <a:lnTo>
                  <a:pt x="8535" y="7924"/>
                </a:lnTo>
                <a:lnTo>
                  <a:pt x="8541" y="7933"/>
                </a:lnTo>
                <a:close/>
                <a:moveTo>
                  <a:pt x="8601" y="8376"/>
                </a:moveTo>
                <a:lnTo>
                  <a:pt x="8635" y="8351"/>
                </a:lnTo>
                <a:lnTo>
                  <a:pt x="8634" y="8308"/>
                </a:lnTo>
                <a:lnTo>
                  <a:pt x="8609" y="8274"/>
                </a:lnTo>
                <a:lnTo>
                  <a:pt x="8570" y="8280"/>
                </a:lnTo>
                <a:lnTo>
                  <a:pt x="8555" y="8311"/>
                </a:lnTo>
                <a:lnTo>
                  <a:pt x="8554" y="8348"/>
                </a:lnTo>
                <a:lnTo>
                  <a:pt x="8568" y="8376"/>
                </a:lnTo>
                <a:lnTo>
                  <a:pt x="8601" y="8376"/>
                </a:lnTo>
                <a:close/>
                <a:moveTo>
                  <a:pt x="1886" y="9188"/>
                </a:moveTo>
                <a:lnTo>
                  <a:pt x="1862" y="9191"/>
                </a:lnTo>
                <a:lnTo>
                  <a:pt x="1846" y="9215"/>
                </a:lnTo>
                <a:lnTo>
                  <a:pt x="1841" y="9246"/>
                </a:lnTo>
                <a:lnTo>
                  <a:pt x="1848" y="9271"/>
                </a:lnTo>
                <a:lnTo>
                  <a:pt x="1864" y="9258"/>
                </a:lnTo>
                <a:lnTo>
                  <a:pt x="1877" y="9236"/>
                </a:lnTo>
                <a:lnTo>
                  <a:pt x="1885" y="9210"/>
                </a:lnTo>
                <a:lnTo>
                  <a:pt x="1886" y="9188"/>
                </a:lnTo>
                <a:close/>
                <a:moveTo>
                  <a:pt x="1743" y="9076"/>
                </a:moveTo>
                <a:lnTo>
                  <a:pt x="1775" y="9078"/>
                </a:lnTo>
                <a:lnTo>
                  <a:pt x="1761" y="9050"/>
                </a:lnTo>
                <a:lnTo>
                  <a:pt x="1723" y="9019"/>
                </a:lnTo>
                <a:lnTo>
                  <a:pt x="1685" y="9018"/>
                </a:lnTo>
                <a:lnTo>
                  <a:pt x="1686" y="9045"/>
                </a:lnTo>
                <a:lnTo>
                  <a:pt x="1706" y="9052"/>
                </a:lnTo>
                <a:lnTo>
                  <a:pt x="1731" y="9057"/>
                </a:lnTo>
                <a:lnTo>
                  <a:pt x="1743" y="9076"/>
                </a:lnTo>
                <a:close/>
                <a:moveTo>
                  <a:pt x="1815" y="9308"/>
                </a:moveTo>
                <a:lnTo>
                  <a:pt x="1775" y="9267"/>
                </a:lnTo>
                <a:lnTo>
                  <a:pt x="1746" y="9298"/>
                </a:lnTo>
                <a:lnTo>
                  <a:pt x="1734" y="9360"/>
                </a:lnTo>
                <a:lnTo>
                  <a:pt x="1742" y="9410"/>
                </a:lnTo>
                <a:lnTo>
                  <a:pt x="1774" y="9384"/>
                </a:lnTo>
                <a:lnTo>
                  <a:pt x="1812" y="9360"/>
                </a:lnTo>
                <a:lnTo>
                  <a:pt x="1834" y="9335"/>
                </a:lnTo>
                <a:lnTo>
                  <a:pt x="1815" y="9308"/>
                </a:lnTo>
                <a:close/>
                <a:moveTo>
                  <a:pt x="1205" y="8039"/>
                </a:moveTo>
                <a:lnTo>
                  <a:pt x="1259" y="8063"/>
                </a:lnTo>
                <a:lnTo>
                  <a:pt x="1275" y="8048"/>
                </a:lnTo>
                <a:lnTo>
                  <a:pt x="1254" y="8016"/>
                </a:lnTo>
                <a:lnTo>
                  <a:pt x="1201" y="7991"/>
                </a:lnTo>
                <a:lnTo>
                  <a:pt x="1157" y="7994"/>
                </a:lnTo>
                <a:lnTo>
                  <a:pt x="1142" y="8015"/>
                </a:lnTo>
                <a:lnTo>
                  <a:pt x="1157" y="8035"/>
                </a:lnTo>
                <a:lnTo>
                  <a:pt x="1205" y="8039"/>
                </a:lnTo>
                <a:close/>
                <a:moveTo>
                  <a:pt x="996" y="7956"/>
                </a:moveTo>
                <a:lnTo>
                  <a:pt x="997" y="7955"/>
                </a:lnTo>
                <a:lnTo>
                  <a:pt x="998" y="7955"/>
                </a:lnTo>
                <a:lnTo>
                  <a:pt x="997" y="7955"/>
                </a:lnTo>
                <a:lnTo>
                  <a:pt x="996" y="7956"/>
                </a:lnTo>
                <a:close/>
                <a:moveTo>
                  <a:pt x="1430" y="7944"/>
                </a:moveTo>
                <a:lnTo>
                  <a:pt x="1439" y="7941"/>
                </a:lnTo>
                <a:lnTo>
                  <a:pt x="1436" y="7927"/>
                </a:lnTo>
                <a:lnTo>
                  <a:pt x="1429" y="7918"/>
                </a:lnTo>
                <a:lnTo>
                  <a:pt x="1422" y="7930"/>
                </a:lnTo>
                <a:lnTo>
                  <a:pt x="1425" y="7936"/>
                </a:lnTo>
                <a:lnTo>
                  <a:pt x="1430" y="7944"/>
                </a:lnTo>
                <a:close/>
                <a:moveTo>
                  <a:pt x="1784" y="8073"/>
                </a:moveTo>
                <a:lnTo>
                  <a:pt x="1738" y="8025"/>
                </a:lnTo>
                <a:lnTo>
                  <a:pt x="1757" y="7991"/>
                </a:lnTo>
                <a:lnTo>
                  <a:pt x="1792" y="7958"/>
                </a:lnTo>
                <a:lnTo>
                  <a:pt x="1793" y="7909"/>
                </a:lnTo>
                <a:lnTo>
                  <a:pt x="1722" y="7853"/>
                </a:lnTo>
                <a:lnTo>
                  <a:pt x="1650" y="7868"/>
                </a:lnTo>
                <a:lnTo>
                  <a:pt x="1603" y="7928"/>
                </a:lnTo>
                <a:lnTo>
                  <a:pt x="1603" y="8007"/>
                </a:lnTo>
                <a:lnTo>
                  <a:pt x="1606" y="8081"/>
                </a:lnTo>
                <a:lnTo>
                  <a:pt x="1618" y="8076"/>
                </a:lnTo>
                <a:lnTo>
                  <a:pt x="1632" y="8025"/>
                </a:lnTo>
                <a:lnTo>
                  <a:pt x="1638" y="7963"/>
                </a:lnTo>
                <a:lnTo>
                  <a:pt x="1681" y="7973"/>
                </a:lnTo>
                <a:lnTo>
                  <a:pt x="1706" y="8003"/>
                </a:lnTo>
                <a:lnTo>
                  <a:pt x="1708" y="8045"/>
                </a:lnTo>
                <a:lnTo>
                  <a:pt x="1678" y="8091"/>
                </a:lnTo>
                <a:lnTo>
                  <a:pt x="1711" y="8077"/>
                </a:lnTo>
                <a:lnTo>
                  <a:pt x="1746" y="8080"/>
                </a:lnTo>
                <a:lnTo>
                  <a:pt x="1773" y="8084"/>
                </a:lnTo>
                <a:lnTo>
                  <a:pt x="1784" y="8073"/>
                </a:lnTo>
                <a:close/>
                <a:moveTo>
                  <a:pt x="947" y="8005"/>
                </a:moveTo>
                <a:lnTo>
                  <a:pt x="975" y="8038"/>
                </a:lnTo>
                <a:lnTo>
                  <a:pt x="996" y="8010"/>
                </a:lnTo>
                <a:lnTo>
                  <a:pt x="997" y="7970"/>
                </a:lnTo>
                <a:lnTo>
                  <a:pt x="966" y="7966"/>
                </a:lnTo>
                <a:lnTo>
                  <a:pt x="949" y="7973"/>
                </a:lnTo>
                <a:lnTo>
                  <a:pt x="940" y="7979"/>
                </a:lnTo>
                <a:lnTo>
                  <a:pt x="940" y="7989"/>
                </a:lnTo>
                <a:lnTo>
                  <a:pt x="947" y="8005"/>
                </a:lnTo>
                <a:close/>
                <a:moveTo>
                  <a:pt x="1429" y="7917"/>
                </a:moveTo>
                <a:lnTo>
                  <a:pt x="1430" y="7916"/>
                </a:lnTo>
                <a:lnTo>
                  <a:pt x="1430" y="7914"/>
                </a:lnTo>
                <a:lnTo>
                  <a:pt x="1427" y="7916"/>
                </a:lnTo>
                <a:lnTo>
                  <a:pt x="1429" y="7917"/>
                </a:lnTo>
                <a:close/>
                <a:moveTo>
                  <a:pt x="1779" y="8095"/>
                </a:moveTo>
                <a:lnTo>
                  <a:pt x="1779" y="8096"/>
                </a:lnTo>
                <a:lnTo>
                  <a:pt x="1780" y="8098"/>
                </a:lnTo>
                <a:lnTo>
                  <a:pt x="1780" y="8096"/>
                </a:lnTo>
                <a:lnTo>
                  <a:pt x="1779" y="8095"/>
                </a:lnTo>
                <a:close/>
                <a:moveTo>
                  <a:pt x="2148" y="8962"/>
                </a:moveTo>
                <a:lnTo>
                  <a:pt x="2142" y="8963"/>
                </a:lnTo>
                <a:lnTo>
                  <a:pt x="2134" y="8963"/>
                </a:lnTo>
                <a:lnTo>
                  <a:pt x="2138" y="8967"/>
                </a:lnTo>
                <a:lnTo>
                  <a:pt x="2142" y="8969"/>
                </a:lnTo>
                <a:lnTo>
                  <a:pt x="2144" y="8969"/>
                </a:lnTo>
                <a:lnTo>
                  <a:pt x="2148" y="8962"/>
                </a:lnTo>
                <a:close/>
                <a:moveTo>
                  <a:pt x="1964" y="9257"/>
                </a:moveTo>
                <a:lnTo>
                  <a:pt x="1967" y="9252"/>
                </a:lnTo>
                <a:lnTo>
                  <a:pt x="1964" y="9252"/>
                </a:lnTo>
                <a:lnTo>
                  <a:pt x="1961" y="9252"/>
                </a:lnTo>
                <a:lnTo>
                  <a:pt x="1961" y="9255"/>
                </a:lnTo>
                <a:lnTo>
                  <a:pt x="1964" y="9257"/>
                </a:lnTo>
                <a:close/>
                <a:moveTo>
                  <a:pt x="2067" y="9074"/>
                </a:moveTo>
                <a:lnTo>
                  <a:pt x="2029" y="9050"/>
                </a:lnTo>
                <a:lnTo>
                  <a:pt x="2027" y="9094"/>
                </a:lnTo>
                <a:lnTo>
                  <a:pt x="2009" y="9125"/>
                </a:lnTo>
                <a:lnTo>
                  <a:pt x="1918" y="9055"/>
                </a:lnTo>
                <a:lnTo>
                  <a:pt x="1929" y="9110"/>
                </a:lnTo>
                <a:lnTo>
                  <a:pt x="1952" y="9153"/>
                </a:lnTo>
                <a:lnTo>
                  <a:pt x="1986" y="9173"/>
                </a:lnTo>
                <a:lnTo>
                  <a:pt x="2037" y="9160"/>
                </a:lnTo>
                <a:lnTo>
                  <a:pt x="2044" y="9188"/>
                </a:lnTo>
                <a:lnTo>
                  <a:pt x="2036" y="9216"/>
                </a:lnTo>
                <a:lnTo>
                  <a:pt x="2034" y="9239"/>
                </a:lnTo>
                <a:lnTo>
                  <a:pt x="2059" y="9253"/>
                </a:lnTo>
                <a:lnTo>
                  <a:pt x="2113" y="9258"/>
                </a:lnTo>
                <a:lnTo>
                  <a:pt x="2105" y="9206"/>
                </a:lnTo>
                <a:lnTo>
                  <a:pt x="2077" y="9132"/>
                </a:lnTo>
                <a:lnTo>
                  <a:pt x="2067" y="9074"/>
                </a:lnTo>
                <a:close/>
                <a:moveTo>
                  <a:pt x="1955" y="9334"/>
                </a:moveTo>
                <a:lnTo>
                  <a:pt x="1936" y="9337"/>
                </a:lnTo>
                <a:lnTo>
                  <a:pt x="1915" y="9344"/>
                </a:lnTo>
                <a:lnTo>
                  <a:pt x="1896" y="9349"/>
                </a:lnTo>
                <a:lnTo>
                  <a:pt x="1878" y="9353"/>
                </a:lnTo>
                <a:lnTo>
                  <a:pt x="1902" y="9377"/>
                </a:lnTo>
                <a:lnTo>
                  <a:pt x="1933" y="9378"/>
                </a:lnTo>
                <a:lnTo>
                  <a:pt x="1956" y="9362"/>
                </a:lnTo>
                <a:lnTo>
                  <a:pt x="1955" y="9334"/>
                </a:lnTo>
                <a:close/>
                <a:moveTo>
                  <a:pt x="1132" y="8030"/>
                </a:moveTo>
                <a:lnTo>
                  <a:pt x="1132" y="8031"/>
                </a:lnTo>
                <a:lnTo>
                  <a:pt x="1131" y="8031"/>
                </a:lnTo>
                <a:lnTo>
                  <a:pt x="1132" y="8031"/>
                </a:lnTo>
                <a:lnTo>
                  <a:pt x="1132" y="8030"/>
                </a:lnTo>
                <a:close/>
                <a:moveTo>
                  <a:pt x="2153" y="8282"/>
                </a:moveTo>
                <a:lnTo>
                  <a:pt x="2155" y="8282"/>
                </a:lnTo>
                <a:lnTo>
                  <a:pt x="2155" y="8281"/>
                </a:lnTo>
                <a:lnTo>
                  <a:pt x="2155" y="8282"/>
                </a:lnTo>
                <a:lnTo>
                  <a:pt x="2153" y="8282"/>
                </a:lnTo>
                <a:close/>
                <a:moveTo>
                  <a:pt x="2134" y="8963"/>
                </a:moveTo>
                <a:lnTo>
                  <a:pt x="2133" y="8962"/>
                </a:lnTo>
                <a:lnTo>
                  <a:pt x="2133" y="8963"/>
                </a:lnTo>
                <a:lnTo>
                  <a:pt x="2133" y="8963"/>
                </a:lnTo>
                <a:lnTo>
                  <a:pt x="2134" y="8963"/>
                </a:lnTo>
                <a:close/>
                <a:moveTo>
                  <a:pt x="1687" y="7993"/>
                </a:moveTo>
                <a:lnTo>
                  <a:pt x="1689" y="7992"/>
                </a:lnTo>
                <a:lnTo>
                  <a:pt x="1689" y="7991"/>
                </a:lnTo>
                <a:lnTo>
                  <a:pt x="1687" y="7991"/>
                </a:lnTo>
                <a:lnTo>
                  <a:pt x="1687" y="7993"/>
                </a:lnTo>
                <a:lnTo>
                  <a:pt x="1683" y="7996"/>
                </a:lnTo>
                <a:lnTo>
                  <a:pt x="1681" y="8000"/>
                </a:lnTo>
                <a:lnTo>
                  <a:pt x="1682" y="8003"/>
                </a:lnTo>
                <a:lnTo>
                  <a:pt x="1689" y="8006"/>
                </a:lnTo>
                <a:lnTo>
                  <a:pt x="1689" y="8000"/>
                </a:lnTo>
                <a:lnTo>
                  <a:pt x="1687" y="7993"/>
                </a:lnTo>
                <a:close/>
                <a:moveTo>
                  <a:pt x="2302" y="8701"/>
                </a:moveTo>
                <a:lnTo>
                  <a:pt x="2304" y="8701"/>
                </a:lnTo>
                <a:lnTo>
                  <a:pt x="2302" y="8701"/>
                </a:lnTo>
                <a:close/>
                <a:moveTo>
                  <a:pt x="2109" y="8246"/>
                </a:moveTo>
                <a:lnTo>
                  <a:pt x="2099" y="8254"/>
                </a:lnTo>
                <a:lnTo>
                  <a:pt x="2102" y="8276"/>
                </a:lnTo>
                <a:lnTo>
                  <a:pt x="2114" y="8299"/>
                </a:lnTo>
                <a:lnTo>
                  <a:pt x="2128" y="8308"/>
                </a:lnTo>
                <a:lnTo>
                  <a:pt x="2150" y="8295"/>
                </a:lnTo>
                <a:lnTo>
                  <a:pt x="2147" y="8276"/>
                </a:lnTo>
                <a:lnTo>
                  <a:pt x="2130" y="8259"/>
                </a:lnTo>
                <a:lnTo>
                  <a:pt x="2109" y="8246"/>
                </a:lnTo>
                <a:close/>
                <a:moveTo>
                  <a:pt x="1296" y="9592"/>
                </a:moveTo>
                <a:lnTo>
                  <a:pt x="1309" y="9642"/>
                </a:lnTo>
                <a:lnTo>
                  <a:pt x="1333" y="9622"/>
                </a:lnTo>
                <a:lnTo>
                  <a:pt x="1366" y="9593"/>
                </a:lnTo>
                <a:lnTo>
                  <a:pt x="1411" y="9608"/>
                </a:lnTo>
                <a:lnTo>
                  <a:pt x="1380" y="9622"/>
                </a:lnTo>
                <a:lnTo>
                  <a:pt x="1356" y="9650"/>
                </a:lnTo>
                <a:lnTo>
                  <a:pt x="1348" y="9680"/>
                </a:lnTo>
                <a:lnTo>
                  <a:pt x="1374" y="9698"/>
                </a:lnTo>
                <a:lnTo>
                  <a:pt x="1434" y="9658"/>
                </a:lnTo>
                <a:lnTo>
                  <a:pt x="1478" y="9629"/>
                </a:lnTo>
                <a:lnTo>
                  <a:pt x="1496" y="9593"/>
                </a:lnTo>
                <a:lnTo>
                  <a:pt x="1472" y="9535"/>
                </a:lnTo>
                <a:lnTo>
                  <a:pt x="1536" y="9559"/>
                </a:lnTo>
                <a:lnTo>
                  <a:pt x="1566" y="9572"/>
                </a:lnTo>
                <a:lnTo>
                  <a:pt x="1585" y="9547"/>
                </a:lnTo>
                <a:lnTo>
                  <a:pt x="1615" y="9458"/>
                </a:lnTo>
                <a:lnTo>
                  <a:pt x="1564" y="9466"/>
                </a:lnTo>
                <a:lnTo>
                  <a:pt x="1545" y="9429"/>
                </a:lnTo>
                <a:lnTo>
                  <a:pt x="1517" y="9428"/>
                </a:lnTo>
                <a:lnTo>
                  <a:pt x="1443" y="9538"/>
                </a:lnTo>
                <a:lnTo>
                  <a:pt x="1425" y="9572"/>
                </a:lnTo>
                <a:lnTo>
                  <a:pt x="1408" y="9554"/>
                </a:lnTo>
                <a:lnTo>
                  <a:pt x="1391" y="9528"/>
                </a:lnTo>
                <a:lnTo>
                  <a:pt x="1373" y="9536"/>
                </a:lnTo>
                <a:lnTo>
                  <a:pt x="1306" y="9528"/>
                </a:lnTo>
                <a:lnTo>
                  <a:pt x="1247" y="9544"/>
                </a:lnTo>
                <a:lnTo>
                  <a:pt x="1231" y="9569"/>
                </a:lnTo>
                <a:lnTo>
                  <a:pt x="1296" y="9592"/>
                </a:lnTo>
                <a:close/>
                <a:moveTo>
                  <a:pt x="8632" y="2915"/>
                </a:moveTo>
                <a:lnTo>
                  <a:pt x="8633" y="2914"/>
                </a:lnTo>
                <a:lnTo>
                  <a:pt x="8633" y="2913"/>
                </a:lnTo>
                <a:lnTo>
                  <a:pt x="8632" y="2914"/>
                </a:lnTo>
                <a:lnTo>
                  <a:pt x="8632" y="2915"/>
                </a:lnTo>
                <a:lnTo>
                  <a:pt x="8628" y="2918"/>
                </a:lnTo>
                <a:lnTo>
                  <a:pt x="8625" y="2922"/>
                </a:lnTo>
                <a:lnTo>
                  <a:pt x="8627" y="2926"/>
                </a:lnTo>
                <a:lnTo>
                  <a:pt x="8633" y="2928"/>
                </a:lnTo>
                <a:lnTo>
                  <a:pt x="8633" y="2922"/>
                </a:lnTo>
                <a:lnTo>
                  <a:pt x="8632" y="2915"/>
                </a:lnTo>
                <a:close/>
                <a:moveTo>
                  <a:pt x="8530" y="3638"/>
                </a:moveTo>
                <a:lnTo>
                  <a:pt x="8521" y="3638"/>
                </a:lnTo>
                <a:lnTo>
                  <a:pt x="8513" y="3642"/>
                </a:lnTo>
                <a:lnTo>
                  <a:pt x="8509" y="3651"/>
                </a:lnTo>
                <a:lnTo>
                  <a:pt x="8511" y="3660"/>
                </a:lnTo>
                <a:lnTo>
                  <a:pt x="8517" y="3656"/>
                </a:lnTo>
                <a:lnTo>
                  <a:pt x="8523" y="3651"/>
                </a:lnTo>
                <a:lnTo>
                  <a:pt x="8527" y="3645"/>
                </a:lnTo>
                <a:lnTo>
                  <a:pt x="8530" y="3638"/>
                </a:lnTo>
                <a:close/>
                <a:moveTo>
                  <a:pt x="10057" y="4289"/>
                </a:moveTo>
                <a:lnTo>
                  <a:pt x="10057" y="4290"/>
                </a:lnTo>
                <a:lnTo>
                  <a:pt x="10058" y="4290"/>
                </a:lnTo>
                <a:lnTo>
                  <a:pt x="10058" y="4289"/>
                </a:lnTo>
                <a:lnTo>
                  <a:pt x="10057" y="4289"/>
                </a:lnTo>
                <a:close/>
                <a:moveTo>
                  <a:pt x="10025" y="4232"/>
                </a:moveTo>
                <a:lnTo>
                  <a:pt x="10006" y="4228"/>
                </a:lnTo>
                <a:lnTo>
                  <a:pt x="9997" y="4209"/>
                </a:lnTo>
                <a:lnTo>
                  <a:pt x="9987" y="4196"/>
                </a:lnTo>
                <a:lnTo>
                  <a:pt x="9968" y="4215"/>
                </a:lnTo>
                <a:lnTo>
                  <a:pt x="9989" y="4253"/>
                </a:lnTo>
                <a:lnTo>
                  <a:pt x="10029" y="4278"/>
                </a:lnTo>
                <a:lnTo>
                  <a:pt x="10053" y="4274"/>
                </a:lnTo>
                <a:lnTo>
                  <a:pt x="10025" y="4232"/>
                </a:lnTo>
                <a:close/>
                <a:moveTo>
                  <a:pt x="9091" y="4596"/>
                </a:moveTo>
                <a:lnTo>
                  <a:pt x="9088" y="4594"/>
                </a:lnTo>
                <a:lnTo>
                  <a:pt x="9085" y="4594"/>
                </a:lnTo>
                <a:lnTo>
                  <a:pt x="9084" y="4596"/>
                </a:lnTo>
                <a:lnTo>
                  <a:pt x="9084" y="4600"/>
                </a:lnTo>
                <a:lnTo>
                  <a:pt x="9086" y="4601"/>
                </a:lnTo>
                <a:lnTo>
                  <a:pt x="9089" y="4601"/>
                </a:lnTo>
                <a:lnTo>
                  <a:pt x="9090" y="4598"/>
                </a:lnTo>
                <a:lnTo>
                  <a:pt x="9091" y="4596"/>
                </a:lnTo>
                <a:close/>
                <a:moveTo>
                  <a:pt x="8098" y="4493"/>
                </a:moveTo>
                <a:lnTo>
                  <a:pt x="8109" y="4490"/>
                </a:lnTo>
                <a:lnTo>
                  <a:pt x="8113" y="4484"/>
                </a:lnTo>
                <a:lnTo>
                  <a:pt x="8111" y="4477"/>
                </a:lnTo>
                <a:lnTo>
                  <a:pt x="8101" y="4474"/>
                </a:lnTo>
                <a:lnTo>
                  <a:pt x="8089" y="4474"/>
                </a:lnTo>
                <a:lnTo>
                  <a:pt x="8085" y="4480"/>
                </a:lnTo>
                <a:lnTo>
                  <a:pt x="8088" y="4488"/>
                </a:lnTo>
                <a:lnTo>
                  <a:pt x="8098" y="4493"/>
                </a:lnTo>
                <a:close/>
                <a:moveTo>
                  <a:pt x="2207" y="8267"/>
                </a:moveTo>
                <a:lnTo>
                  <a:pt x="2207" y="8268"/>
                </a:lnTo>
                <a:lnTo>
                  <a:pt x="2208" y="8267"/>
                </a:lnTo>
                <a:lnTo>
                  <a:pt x="2207" y="8267"/>
                </a:lnTo>
                <a:lnTo>
                  <a:pt x="2207" y="8267"/>
                </a:lnTo>
                <a:close/>
                <a:moveTo>
                  <a:pt x="2120" y="8137"/>
                </a:moveTo>
                <a:lnTo>
                  <a:pt x="2120" y="8138"/>
                </a:lnTo>
                <a:lnTo>
                  <a:pt x="2120" y="8140"/>
                </a:lnTo>
                <a:lnTo>
                  <a:pt x="2121" y="8138"/>
                </a:lnTo>
                <a:lnTo>
                  <a:pt x="2120" y="8137"/>
                </a:lnTo>
                <a:close/>
                <a:moveTo>
                  <a:pt x="2157" y="8211"/>
                </a:moveTo>
                <a:lnTo>
                  <a:pt x="2157" y="8169"/>
                </a:lnTo>
                <a:lnTo>
                  <a:pt x="2129" y="8152"/>
                </a:lnTo>
                <a:lnTo>
                  <a:pt x="2102" y="8162"/>
                </a:lnTo>
                <a:lnTo>
                  <a:pt x="2105" y="8201"/>
                </a:lnTo>
                <a:lnTo>
                  <a:pt x="2147" y="8249"/>
                </a:lnTo>
                <a:lnTo>
                  <a:pt x="2185" y="8273"/>
                </a:lnTo>
                <a:lnTo>
                  <a:pt x="2197" y="8263"/>
                </a:lnTo>
                <a:lnTo>
                  <a:pt x="2157" y="8211"/>
                </a:lnTo>
                <a:close/>
                <a:moveTo>
                  <a:pt x="1668" y="8906"/>
                </a:moveTo>
                <a:lnTo>
                  <a:pt x="1667" y="8913"/>
                </a:lnTo>
                <a:lnTo>
                  <a:pt x="1669" y="8920"/>
                </a:lnTo>
                <a:lnTo>
                  <a:pt x="1673" y="8924"/>
                </a:lnTo>
                <a:lnTo>
                  <a:pt x="1681" y="8927"/>
                </a:lnTo>
                <a:lnTo>
                  <a:pt x="1681" y="8920"/>
                </a:lnTo>
                <a:lnTo>
                  <a:pt x="1680" y="8913"/>
                </a:lnTo>
                <a:lnTo>
                  <a:pt x="1674" y="8910"/>
                </a:lnTo>
                <a:lnTo>
                  <a:pt x="1668" y="8906"/>
                </a:lnTo>
                <a:close/>
                <a:moveTo>
                  <a:pt x="1492" y="9433"/>
                </a:moveTo>
                <a:lnTo>
                  <a:pt x="1491" y="9434"/>
                </a:lnTo>
                <a:lnTo>
                  <a:pt x="1491" y="9435"/>
                </a:lnTo>
                <a:lnTo>
                  <a:pt x="1491" y="9435"/>
                </a:lnTo>
                <a:lnTo>
                  <a:pt x="1492" y="9435"/>
                </a:lnTo>
                <a:lnTo>
                  <a:pt x="1492" y="9433"/>
                </a:lnTo>
                <a:lnTo>
                  <a:pt x="1496" y="9430"/>
                </a:lnTo>
                <a:lnTo>
                  <a:pt x="1497" y="9426"/>
                </a:lnTo>
                <a:lnTo>
                  <a:pt x="1497" y="9423"/>
                </a:lnTo>
                <a:lnTo>
                  <a:pt x="1491" y="9420"/>
                </a:lnTo>
                <a:lnTo>
                  <a:pt x="1491" y="9426"/>
                </a:lnTo>
                <a:lnTo>
                  <a:pt x="1492" y="9433"/>
                </a:lnTo>
                <a:close/>
                <a:moveTo>
                  <a:pt x="1419" y="9502"/>
                </a:moveTo>
                <a:lnTo>
                  <a:pt x="1408" y="9479"/>
                </a:lnTo>
                <a:lnTo>
                  <a:pt x="1388" y="9461"/>
                </a:lnTo>
                <a:lnTo>
                  <a:pt x="1364" y="9458"/>
                </a:lnTo>
                <a:lnTo>
                  <a:pt x="1343" y="9479"/>
                </a:lnTo>
                <a:lnTo>
                  <a:pt x="1362" y="9490"/>
                </a:lnTo>
                <a:lnTo>
                  <a:pt x="1384" y="9503"/>
                </a:lnTo>
                <a:lnTo>
                  <a:pt x="1403" y="9510"/>
                </a:lnTo>
                <a:lnTo>
                  <a:pt x="1419" y="9502"/>
                </a:lnTo>
                <a:close/>
                <a:moveTo>
                  <a:pt x="1401" y="9516"/>
                </a:moveTo>
                <a:lnTo>
                  <a:pt x="1399" y="9517"/>
                </a:lnTo>
                <a:lnTo>
                  <a:pt x="1399" y="9518"/>
                </a:lnTo>
                <a:lnTo>
                  <a:pt x="1401" y="9517"/>
                </a:lnTo>
                <a:lnTo>
                  <a:pt x="1401" y="9516"/>
                </a:lnTo>
                <a:close/>
                <a:moveTo>
                  <a:pt x="8921" y="2629"/>
                </a:moveTo>
                <a:lnTo>
                  <a:pt x="8927" y="2649"/>
                </a:lnTo>
                <a:lnTo>
                  <a:pt x="8946" y="2675"/>
                </a:lnTo>
                <a:lnTo>
                  <a:pt x="8972" y="2693"/>
                </a:lnTo>
                <a:lnTo>
                  <a:pt x="8992" y="2689"/>
                </a:lnTo>
                <a:lnTo>
                  <a:pt x="8981" y="2641"/>
                </a:lnTo>
                <a:lnTo>
                  <a:pt x="8950" y="2591"/>
                </a:lnTo>
                <a:lnTo>
                  <a:pt x="8923" y="2576"/>
                </a:lnTo>
                <a:lnTo>
                  <a:pt x="8921" y="2629"/>
                </a:lnTo>
                <a:close/>
                <a:moveTo>
                  <a:pt x="8829" y="2676"/>
                </a:moveTo>
                <a:lnTo>
                  <a:pt x="8828" y="2677"/>
                </a:lnTo>
                <a:lnTo>
                  <a:pt x="8828" y="2679"/>
                </a:lnTo>
                <a:lnTo>
                  <a:pt x="8829" y="2677"/>
                </a:lnTo>
                <a:lnTo>
                  <a:pt x="8829" y="2676"/>
                </a:lnTo>
                <a:close/>
                <a:moveTo>
                  <a:pt x="8848" y="2653"/>
                </a:moveTo>
                <a:lnTo>
                  <a:pt x="8840" y="2639"/>
                </a:lnTo>
                <a:lnTo>
                  <a:pt x="8830" y="2644"/>
                </a:lnTo>
                <a:lnTo>
                  <a:pt x="8825" y="2660"/>
                </a:lnTo>
                <a:lnTo>
                  <a:pt x="8829" y="2676"/>
                </a:lnTo>
                <a:lnTo>
                  <a:pt x="8835" y="2672"/>
                </a:lnTo>
                <a:lnTo>
                  <a:pt x="8842" y="2667"/>
                </a:lnTo>
                <a:lnTo>
                  <a:pt x="8847" y="2662"/>
                </a:lnTo>
                <a:lnTo>
                  <a:pt x="8848" y="2653"/>
                </a:lnTo>
                <a:close/>
                <a:moveTo>
                  <a:pt x="8911" y="2582"/>
                </a:moveTo>
                <a:lnTo>
                  <a:pt x="8909" y="2581"/>
                </a:lnTo>
                <a:lnTo>
                  <a:pt x="8909" y="2581"/>
                </a:lnTo>
                <a:lnTo>
                  <a:pt x="8909" y="2582"/>
                </a:lnTo>
                <a:lnTo>
                  <a:pt x="8911" y="2582"/>
                </a:lnTo>
                <a:close/>
                <a:moveTo>
                  <a:pt x="1206" y="7834"/>
                </a:moveTo>
                <a:lnTo>
                  <a:pt x="1199" y="7824"/>
                </a:lnTo>
                <a:lnTo>
                  <a:pt x="1194" y="7828"/>
                </a:lnTo>
                <a:lnTo>
                  <a:pt x="1193" y="7837"/>
                </a:lnTo>
                <a:lnTo>
                  <a:pt x="1199" y="7848"/>
                </a:lnTo>
                <a:lnTo>
                  <a:pt x="1205" y="7849"/>
                </a:lnTo>
                <a:lnTo>
                  <a:pt x="1207" y="7845"/>
                </a:lnTo>
                <a:lnTo>
                  <a:pt x="1207" y="7840"/>
                </a:lnTo>
                <a:lnTo>
                  <a:pt x="1206" y="7834"/>
                </a:lnTo>
                <a:close/>
                <a:moveTo>
                  <a:pt x="1803" y="7842"/>
                </a:moveTo>
                <a:lnTo>
                  <a:pt x="1813" y="7829"/>
                </a:lnTo>
                <a:lnTo>
                  <a:pt x="1813" y="7811"/>
                </a:lnTo>
                <a:lnTo>
                  <a:pt x="1806" y="7795"/>
                </a:lnTo>
                <a:lnTo>
                  <a:pt x="1790" y="7784"/>
                </a:lnTo>
                <a:lnTo>
                  <a:pt x="1788" y="7800"/>
                </a:lnTo>
                <a:lnTo>
                  <a:pt x="1788" y="7816"/>
                </a:lnTo>
                <a:lnTo>
                  <a:pt x="1792" y="7831"/>
                </a:lnTo>
                <a:lnTo>
                  <a:pt x="1803" y="7842"/>
                </a:lnTo>
                <a:close/>
                <a:moveTo>
                  <a:pt x="1289" y="8360"/>
                </a:moveTo>
                <a:lnTo>
                  <a:pt x="1272" y="8341"/>
                </a:lnTo>
                <a:lnTo>
                  <a:pt x="1253" y="8329"/>
                </a:lnTo>
                <a:lnTo>
                  <a:pt x="1234" y="8329"/>
                </a:lnTo>
                <a:lnTo>
                  <a:pt x="1212" y="8342"/>
                </a:lnTo>
                <a:lnTo>
                  <a:pt x="1211" y="8369"/>
                </a:lnTo>
                <a:lnTo>
                  <a:pt x="1247" y="8395"/>
                </a:lnTo>
                <a:lnTo>
                  <a:pt x="1284" y="8400"/>
                </a:lnTo>
                <a:lnTo>
                  <a:pt x="1289" y="8360"/>
                </a:lnTo>
                <a:close/>
                <a:moveTo>
                  <a:pt x="1779" y="7705"/>
                </a:moveTo>
                <a:lnTo>
                  <a:pt x="1778" y="7709"/>
                </a:lnTo>
                <a:lnTo>
                  <a:pt x="1778" y="7712"/>
                </a:lnTo>
                <a:lnTo>
                  <a:pt x="1779" y="7714"/>
                </a:lnTo>
                <a:lnTo>
                  <a:pt x="1783" y="7714"/>
                </a:lnTo>
                <a:lnTo>
                  <a:pt x="1784" y="7711"/>
                </a:lnTo>
                <a:lnTo>
                  <a:pt x="1784" y="7709"/>
                </a:lnTo>
                <a:lnTo>
                  <a:pt x="1781" y="7707"/>
                </a:lnTo>
                <a:lnTo>
                  <a:pt x="1779" y="7705"/>
                </a:lnTo>
                <a:close/>
                <a:moveTo>
                  <a:pt x="1272" y="8660"/>
                </a:moveTo>
                <a:lnTo>
                  <a:pt x="1273" y="8658"/>
                </a:lnTo>
                <a:lnTo>
                  <a:pt x="1273" y="8655"/>
                </a:lnTo>
                <a:lnTo>
                  <a:pt x="1271" y="8654"/>
                </a:lnTo>
                <a:lnTo>
                  <a:pt x="1268" y="8653"/>
                </a:lnTo>
                <a:lnTo>
                  <a:pt x="1267" y="8656"/>
                </a:lnTo>
                <a:lnTo>
                  <a:pt x="1267" y="8659"/>
                </a:lnTo>
                <a:lnTo>
                  <a:pt x="1268" y="8660"/>
                </a:lnTo>
                <a:lnTo>
                  <a:pt x="1272" y="8660"/>
                </a:lnTo>
                <a:close/>
                <a:moveTo>
                  <a:pt x="1244" y="8804"/>
                </a:moveTo>
                <a:lnTo>
                  <a:pt x="1244" y="8800"/>
                </a:lnTo>
                <a:lnTo>
                  <a:pt x="1244" y="8799"/>
                </a:lnTo>
                <a:lnTo>
                  <a:pt x="1242" y="8799"/>
                </a:lnTo>
                <a:lnTo>
                  <a:pt x="1239" y="8800"/>
                </a:lnTo>
                <a:lnTo>
                  <a:pt x="1244" y="8804"/>
                </a:lnTo>
                <a:close/>
                <a:moveTo>
                  <a:pt x="1280" y="8208"/>
                </a:moveTo>
                <a:lnTo>
                  <a:pt x="1282" y="8212"/>
                </a:lnTo>
                <a:lnTo>
                  <a:pt x="1284" y="8213"/>
                </a:lnTo>
                <a:lnTo>
                  <a:pt x="1285" y="8211"/>
                </a:lnTo>
                <a:lnTo>
                  <a:pt x="1287" y="8208"/>
                </a:lnTo>
                <a:lnTo>
                  <a:pt x="1280" y="8208"/>
                </a:lnTo>
                <a:close/>
                <a:moveTo>
                  <a:pt x="1583" y="9328"/>
                </a:moveTo>
                <a:lnTo>
                  <a:pt x="1592" y="9325"/>
                </a:lnTo>
                <a:lnTo>
                  <a:pt x="1601" y="9318"/>
                </a:lnTo>
                <a:lnTo>
                  <a:pt x="1606" y="9311"/>
                </a:lnTo>
                <a:lnTo>
                  <a:pt x="1606" y="9299"/>
                </a:lnTo>
                <a:lnTo>
                  <a:pt x="1587" y="9290"/>
                </a:lnTo>
                <a:lnTo>
                  <a:pt x="1569" y="9303"/>
                </a:lnTo>
                <a:lnTo>
                  <a:pt x="1564" y="9322"/>
                </a:lnTo>
                <a:lnTo>
                  <a:pt x="1583" y="9328"/>
                </a:lnTo>
                <a:close/>
                <a:moveTo>
                  <a:pt x="1280" y="8524"/>
                </a:moveTo>
                <a:lnTo>
                  <a:pt x="1286" y="8527"/>
                </a:lnTo>
                <a:lnTo>
                  <a:pt x="1287" y="8524"/>
                </a:lnTo>
                <a:lnTo>
                  <a:pt x="1287" y="8520"/>
                </a:lnTo>
                <a:lnTo>
                  <a:pt x="1282" y="8518"/>
                </a:lnTo>
                <a:lnTo>
                  <a:pt x="1281" y="8521"/>
                </a:lnTo>
                <a:lnTo>
                  <a:pt x="1280" y="8524"/>
                </a:lnTo>
                <a:close/>
                <a:moveTo>
                  <a:pt x="1481" y="9312"/>
                </a:moveTo>
                <a:lnTo>
                  <a:pt x="1482" y="9309"/>
                </a:lnTo>
                <a:lnTo>
                  <a:pt x="1483" y="9306"/>
                </a:lnTo>
                <a:lnTo>
                  <a:pt x="1478" y="9304"/>
                </a:lnTo>
                <a:lnTo>
                  <a:pt x="1475" y="9308"/>
                </a:lnTo>
                <a:lnTo>
                  <a:pt x="1476" y="9311"/>
                </a:lnTo>
                <a:lnTo>
                  <a:pt x="1481" y="9312"/>
                </a:lnTo>
                <a:close/>
                <a:moveTo>
                  <a:pt x="8727" y="3544"/>
                </a:moveTo>
                <a:lnTo>
                  <a:pt x="8735" y="3542"/>
                </a:lnTo>
                <a:lnTo>
                  <a:pt x="8732" y="3529"/>
                </a:lnTo>
                <a:lnTo>
                  <a:pt x="8726" y="3520"/>
                </a:lnTo>
                <a:lnTo>
                  <a:pt x="8719" y="3532"/>
                </a:lnTo>
                <a:lnTo>
                  <a:pt x="8722" y="3538"/>
                </a:lnTo>
                <a:lnTo>
                  <a:pt x="8727" y="3544"/>
                </a:lnTo>
                <a:close/>
                <a:moveTo>
                  <a:pt x="1531" y="8238"/>
                </a:moveTo>
                <a:lnTo>
                  <a:pt x="1532" y="8235"/>
                </a:lnTo>
                <a:lnTo>
                  <a:pt x="1533" y="8231"/>
                </a:lnTo>
                <a:lnTo>
                  <a:pt x="1527" y="8230"/>
                </a:lnTo>
                <a:lnTo>
                  <a:pt x="1524" y="8232"/>
                </a:lnTo>
                <a:lnTo>
                  <a:pt x="1524" y="8238"/>
                </a:lnTo>
                <a:lnTo>
                  <a:pt x="1531" y="8238"/>
                </a:lnTo>
                <a:close/>
                <a:moveTo>
                  <a:pt x="1536" y="8076"/>
                </a:moveTo>
                <a:lnTo>
                  <a:pt x="1529" y="8086"/>
                </a:lnTo>
                <a:lnTo>
                  <a:pt x="1533" y="8096"/>
                </a:lnTo>
                <a:lnTo>
                  <a:pt x="1542" y="8103"/>
                </a:lnTo>
                <a:lnTo>
                  <a:pt x="1554" y="8099"/>
                </a:lnTo>
                <a:lnTo>
                  <a:pt x="1560" y="8089"/>
                </a:lnTo>
                <a:lnTo>
                  <a:pt x="1556" y="8078"/>
                </a:lnTo>
                <a:lnTo>
                  <a:pt x="1547" y="8072"/>
                </a:lnTo>
                <a:lnTo>
                  <a:pt x="1536" y="8076"/>
                </a:lnTo>
                <a:close/>
                <a:moveTo>
                  <a:pt x="1499" y="8184"/>
                </a:moveTo>
                <a:lnTo>
                  <a:pt x="1500" y="8192"/>
                </a:lnTo>
                <a:lnTo>
                  <a:pt x="1513" y="8197"/>
                </a:lnTo>
                <a:lnTo>
                  <a:pt x="1524" y="8196"/>
                </a:lnTo>
                <a:lnTo>
                  <a:pt x="1524" y="8185"/>
                </a:lnTo>
                <a:lnTo>
                  <a:pt x="1518" y="8180"/>
                </a:lnTo>
                <a:lnTo>
                  <a:pt x="1510" y="8178"/>
                </a:lnTo>
                <a:lnTo>
                  <a:pt x="1504" y="8179"/>
                </a:lnTo>
                <a:lnTo>
                  <a:pt x="1499" y="8184"/>
                </a:lnTo>
                <a:close/>
                <a:moveTo>
                  <a:pt x="1576" y="9082"/>
                </a:moveTo>
                <a:lnTo>
                  <a:pt x="1578" y="9079"/>
                </a:lnTo>
                <a:lnTo>
                  <a:pt x="1578" y="9075"/>
                </a:lnTo>
                <a:lnTo>
                  <a:pt x="1573" y="9074"/>
                </a:lnTo>
                <a:lnTo>
                  <a:pt x="1570" y="9076"/>
                </a:lnTo>
                <a:lnTo>
                  <a:pt x="1571" y="9080"/>
                </a:lnTo>
                <a:lnTo>
                  <a:pt x="1576" y="9082"/>
                </a:lnTo>
                <a:close/>
                <a:moveTo>
                  <a:pt x="1579" y="8919"/>
                </a:moveTo>
                <a:lnTo>
                  <a:pt x="1573" y="8913"/>
                </a:lnTo>
                <a:lnTo>
                  <a:pt x="1569" y="8913"/>
                </a:lnTo>
                <a:lnTo>
                  <a:pt x="1566" y="8917"/>
                </a:lnTo>
                <a:lnTo>
                  <a:pt x="1568" y="8925"/>
                </a:lnTo>
                <a:lnTo>
                  <a:pt x="1574" y="8930"/>
                </a:lnTo>
                <a:lnTo>
                  <a:pt x="1579" y="8930"/>
                </a:lnTo>
                <a:lnTo>
                  <a:pt x="1580" y="8926"/>
                </a:lnTo>
                <a:lnTo>
                  <a:pt x="1579" y="8919"/>
                </a:lnTo>
                <a:close/>
                <a:moveTo>
                  <a:pt x="1193" y="8688"/>
                </a:moveTo>
                <a:lnTo>
                  <a:pt x="1185" y="8688"/>
                </a:lnTo>
                <a:lnTo>
                  <a:pt x="1179" y="8689"/>
                </a:lnTo>
                <a:lnTo>
                  <a:pt x="1174" y="8695"/>
                </a:lnTo>
                <a:lnTo>
                  <a:pt x="1171" y="8701"/>
                </a:lnTo>
                <a:lnTo>
                  <a:pt x="1179" y="8701"/>
                </a:lnTo>
                <a:lnTo>
                  <a:pt x="1184" y="8700"/>
                </a:lnTo>
                <a:lnTo>
                  <a:pt x="1189" y="8695"/>
                </a:lnTo>
                <a:lnTo>
                  <a:pt x="1193" y="8688"/>
                </a:lnTo>
                <a:close/>
                <a:moveTo>
                  <a:pt x="938" y="9155"/>
                </a:moveTo>
                <a:lnTo>
                  <a:pt x="940" y="9153"/>
                </a:lnTo>
                <a:lnTo>
                  <a:pt x="941" y="9149"/>
                </a:lnTo>
                <a:lnTo>
                  <a:pt x="935" y="9148"/>
                </a:lnTo>
                <a:lnTo>
                  <a:pt x="932" y="9152"/>
                </a:lnTo>
                <a:lnTo>
                  <a:pt x="933" y="9154"/>
                </a:lnTo>
                <a:lnTo>
                  <a:pt x="938" y="9155"/>
                </a:lnTo>
                <a:close/>
                <a:moveTo>
                  <a:pt x="1519" y="8342"/>
                </a:moveTo>
                <a:lnTo>
                  <a:pt x="1503" y="8351"/>
                </a:lnTo>
                <a:lnTo>
                  <a:pt x="1506" y="8369"/>
                </a:lnTo>
                <a:lnTo>
                  <a:pt x="1518" y="8389"/>
                </a:lnTo>
                <a:lnTo>
                  <a:pt x="1531" y="8406"/>
                </a:lnTo>
                <a:lnTo>
                  <a:pt x="1565" y="8408"/>
                </a:lnTo>
                <a:lnTo>
                  <a:pt x="1570" y="8386"/>
                </a:lnTo>
                <a:lnTo>
                  <a:pt x="1551" y="8358"/>
                </a:lnTo>
                <a:lnTo>
                  <a:pt x="1519" y="8342"/>
                </a:lnTo>
                <a:close/>
                <a:moveTo>
                  <a:pt x="8893" y="3311"/>
                </a:moveTo>
                <a:lnTo>
                  <a:pt x="8883" y="3323"/>
                </a:lnTo>
                <a:lnTo>
                  <a:pt x="8883" y="3341"/>
                </a:lnTo>
                <a:lnTo>
                  <a:pt x="8890" y="3358"/>
                </a:lnTo>
                <a:lnTo>
                  <a:pt x="8903" y="3367"/>
                </a:lnTo>
                <a:lnTo>
                  <a:pt x="8913" y="3355"/>
                </a:lnTo>
                <a:lnTo>
                  <a:pt x="8914" y="3338"/>
                </a:lnTo>
                <a:lnTo>
                  <a:pt x="8905" y="3322"/>
                </a:lnTo>
                <a:lnTo>
                  <a:pt x="8893" y="3311"/>
                </a:lnTo>
                <a:close/>
                <a:moveTo>
                  <a:pt x="1164" y="8549"/>
                </a:moveTo>
                <a:lnTo>
                  <a:pt x="1154" y="8543"/>
                </a:lnTo>
                <a:lnTo>
                  <a:pt x="1143" y="8547"/>
                </a:lnTo>
                <a:lnTo>
                  <a:pt x="1137" y="8557"/>
                </a:lnTo>
                <a:lnTo>
                  <a:pt x="1142" y="8569"/>
                </a:lnTo>
                <a:lnTo>
                  <a:pt x="1152" y="8574"/>
                </a:lnTo>
                <a:lnTo>
                  <a:pt x="1163" y="8570"/>
                </a:lnTo>
                <a:lnTo>
                  <a:pt x="1168" y="8561"/>
                </a:lnTo>
                <a:lnTo>
                  <a:pt x="1164" y="8549"/>
                </a:lnTo>
                <a:close/>
                <a:moveTo>
                  <a:pt x="8874" y="3288"/>
                </a:moveTo>
                <a:lnTo>
                  <a:pt x="8875" y="3285"/>
                </a:lnTo>
                <a:lnTo>
                  <a:pt x="8874" y="3282"/>
                </a:lnTo>
                <a:lnTo>
                  <a:pt x="8872" y="3281"/>
                </a:lnTo>
                <a:lnTo>
                  <a:pt x="8868" y="3280"/>
                </a:lnTo>
                <a:lnTo>
                  <a:pt x="8867" y="3283"/>
                </a:lnTo>
                <a:lnTo>
                  <a:pt x="8868" y="3286"/>
                </a:lnTo>
                <a:lnTo>
                  <a:pt x="8870" y="3287"/>
                </a:lnTo>
                <a:lnTo>
                  <a:pt x="8874" y="3288"/>
                </a:lnTo>
                <a:close/>
                <a:moveTo>
                  <a:pt x="8848" y="2877"/>
                </a:moveTo>
                <a:lnTo>
                  <a:pt x="8847" y="2881"/>
                </a:lnTo>
                <a:lnTo>
                  <a:pt x="8847" y="2884"/>
                </a:lnTo>
                <a:lnTo>
                  <a:pt x="8849" y="2885"/>
                </a:lnTo>
                <a:lnTo>
                  <a:pt x="8853" y="2886"/>
                </a:lnTo>
                <a:lnTo>
                  <a:pt x="8854" y="2882"/>
                </a:lnTo>
                <a:lnTo>
                  <a:pt x="8854" y="2880"/>
                </a:lnTo>
                <a:lnTo>
                  <a:pt x="8852" y="2879"/>
                </a:lnTo>
                <a:lnTo>
                  <a:pt x="8848" y="2877"/>
                </a:lnTo>
                <a:close/>
                <a:moveTo>
                  <a:pt x="8839" y="3238"/>
                </a:moveTo>
                <a:lnTo>
                  <a:pt x="8840" y="3243"/>
                </a:lnTo>
                <a:lnTo>
                  <a:pt x="8846" y="3244"/>
                </a:lnTo>
                <a:lnTo>
                  <a:pt x="8851" y="3243"/>
                </a:lnTo>
                <a:lnTo>
                  <a:pt x="8856" y="3240"/>
                </a:lnTo>
                <a:lnTo>
                  <a:pt x="8860" y="3225"/>
                </a:lnTo>
                <a:lnTo>
                  <a:pt x="8851" y="3216"/>
                </a:lnTo>
                <a:lnTo>
                  <a:pt x="8840" y="3220"/>
                </a:lnTo>
                <a:lnTo>
                  <a:pt x="8839" y="3238"/>
                </a:lnTo>
                <a:close/>
                <a:moveTo>
                  <a:pt x="1197" y="7805"/>
                </a:moveTo>
                <a:lnTo>
                  <a:pt x="1198" y="7811"/>
                </a:lnTo>
                <a:lnTo>
                  <a:pt x="1198" y="7817"/>
                </a:lnTo>
                <a:lnTo>
                  <a:pt x="1197" y="7820"/>
                </a:lnTo>
                <a:lnTo>
                  <a:pt x="1198" y="7821"/>
                </a:lnTo>
                <a:lnTo>
                  <a:pt x="1198" y="7820"/>
                </a:lnTo>
                <a:lnTo>
                  <a:pt x="1198" y="7817"/>
                </a:lnTo>
                <a:lnTo>
                  <a:pt x="1202" y="7815"/>
                </a:lnTo>
                <a:lnTo>
                  <a:pt x="1205" y="7811"/>
                </a:lnTo>
                <a:lnTo>
                  <a:pt x="1205" y="7809"/>
                </a:lnTo>
                <a:lnTo>
                  <a:pt x="1197" y="7805"/>
                </a:lnTo>
                <a:close/>
                <a:moveTo>
                  <a:pt x="9159" y="4652"/>
                </a:moveTo>
                <a:lnTo>
                  <a:pt x="9166" y="4648"/>
                </a:lnTo>
                <a:lnTo>
                  <a:pt x="9168" y="4633"/>
                </a:lnTo>
                <a:lnTo>
                  <a:pt x="9163" y="4617"/>
                </a:lnTo>
                <a:lnTo>
                  <a:pt x="9156" y="4608"/>
                </a:lnTo>
                <a:lnTo>
                  <a:pt x="9145" y="4616"/>
                </a:lnTo>
                <a:lnTo>
                  <a:pt x="9142" y="4629"/>
                </a:lnTo>
                <a:lnTo>
                  <a:pt x="9147" y="4642"/>
                </a:lnTo>
                <a:lnTo>
                  <a:pt x="9159" y="4652"/>
                </a:lnTo>
                <a:close/>
                <a:moveTo>
                  <a:pt x="1197" y="7935"/>
                </a:moveTo>
                <a:lnTo>
                  <a:pt x="1202" y="7937"/>
                </a:lnTo>
                <a:lnTo>
                  <a:pt x="1205" y="7935"/>
                </a:lnTo>
                <a:lnTo>
                  <a:pt x="1203" y="7931"/>
                </a:lnTo>
                <a:lnTo>
                  <a:pt x="1198" y="7928"/>
                </a:lnTo>
                <a:lnTo>
                  <a:pt x="1197" y="7932"/>
                </a:lnTo>
                <a:lnTo>
                  <a:pt x="1197" y="7935"/>
                </a:lnTo>
                <a:close/>
                <a:moveTo>
                  <a:pt x="1164" y="8650"/>
                </a:moveTo>
                <a:lnTo>
                  <a:pt x="1179" y="8645"/>
                </a:lnTo>
                <a:lnTo>
                  <a:pt x="1189" y="8632"/>
                </a:lnTo>
                <a:lnTo>
                  <a:pt x="1189" y="8619"/>
                </a:lnTo>
                <a:lnTo>
                  <a:pt x="1178" y="8611"/>
                </a:lnTo>
                <a:lnTo>
                  <a:pt x="1166" y="8617"/>
                </a:lnTo>
                <a:lnTo>
                  <a:pt x="1157" y="8630"/>
                </a:lnTo>
                <a:lnTo>
                  <a:pt x="1155" y="8644"/>
                </a:lnTo>
                <a:lnTo>
                  <a:pt x="1164" y="8650"/>
                </a:lnTo>
                <a:close/>
                <a:moveTo>
                  <a:pt x="1185" y="8213"/>
                </a:moveTo>
                <a:lnTo>
                  <a:pt x="1182" y="8216"/>
                </a:lnTo>
                <a:lnTo>
                  <a:pt x="1182" y="8224"/>
                </a:lnTo>
                <a:lnTo>
                  <a:pt x="1187" y="8231"/>
                </a:lnTo>
                <a:lnTo>
                  <a:pt x="1193" y="8232"/>
                </a:lnTo>
                <a:lnTo>
                  <a:pt x="1196" y="8229"/>
                </a:lnTo>
                <a:lnTo>
                  <a:pt x="1194" y="8222"/>
                </a:lnTo>
                <a:lnTo>
                  <a:pt x="1192" y="8217"/>
                </a:lnTo>
                <a:lnTo>
                  <a:pt x="1185" y="8213"/>
                </a:lnTo>
                <a:close/>
                <a:moveTo>
                  <a:pt x="1105" y="7942"/>
                </a:moveTo>
                <a:lnTo>
                  <a:pt x="1098" y="7952"/>
                </a:lnTo>
                <a:lnTo>
                  <a:pt x="1094" y="7964"/>
                </a:lnTo>
                <a:lnTo>
                  <a:pt x="1095" y="7974"/>
                </a:lnTo>
                <a:lnTo>
                  <a:pt x="1107" y="7979"/>
                </a:lnTo>
                <a:lnTo>
                  <a:pt x="1122" y="7969"/>
                </a:lnTo>
                <a:lnTo>
                  <a:pt x="1129" y="7952"/>
                </a:lnTo>
                <a:lnTo>
                  <a:pt x="1124" y="7941"/>
                </a:lnTo>
                <a:lnTo>
                  <a:pt x="1105" y="7942"/>
                </a:lnTo>
                <a:close/>
                <a:moveTo>
                  <a:pt x="1205" y="8118"/>
                </a:moveTo>
                <a:lnTo>
                  <a:pt x="1192" y="8118"/>
                </a:lnTo>
                <a:lnTo>
                  <a:pt x="1183" y="8122"/>
                </a:lnTo>
                <a:lnTo>
                  <a:pt x="1175" y="8129"/>
                </a:lnTo>
                <a:lnTo>
                  <a:pt x="1169" y="8141"/>
                </a:lnTo>
                <a:lnTo>
                  <a:pt x="1182" y="8140"/>
                </a:lnTo>
                <a:lnTo>
                  <a:pt x="1192" y="8136"/>
                </a:lnTo>
                <a:lnTo>
                  <a:pt x="1199" y="8129"/>
                </a:lnTo>
                <a:lnTo>
                  <a:pt x="1205" y="8118"/>
                </a:lnTo>
                <a:close/>
                <a:moveTo>
                  <a:pt x="1496" y="8319"/>
                </a:moveTo>
                <a:lnTo>
                  <a:pt x="1515" y="8311"/>
                </a:lnTo>
                <a:lnTo>
                  <a:pt x="1537" y="8304"/>
                </a:lnTo>
                <a:lnTo>
                  <a:pt x="1556" y="8295"/>
                </a:lnTo>
                <a:lnTo>
                  <a:pt x="1569" y="8282"/>
                </a:lnTo>
                <a:lnTo>
                  <a:pt x="1546" y="8274"/>
                </a:lnTo>
                <a:lnTo>
                  <a:pt x="1520" y="8276"/>
                </a:lnTo>
                <a:lnTo>
                  <a:pt x="1503" y="8290"/>
                </a:lnTo>
                <a:lnTo>
                  <a:pt x="1496" y="8319"/>
                </a:lnTo>
                <a:close/>
                <a:moveTo>
                  <a:pt x="1340" y="9393"/>
                </a:moveTo>
                <a:lnTo>
                  <a:pt x="1338" y="9392"/>
                </a:lnTo>
                <a:lnTo>
                  <a:pt x="1337" y="9392"/>
                </a:lnTo>
                <a:lnTo>
                  <a:pt x="1338" y="9393"/>
                </a:lnTo>
                <a:lnTo>
                  <a:pt x="1340" y="9393"/>
                </a:lnTo>
                <a:lnTo>
                  <a:pt x="1346" y="9402"/>
                </a:lnTo>
                <a:lnTo>
                  <a:pt x="1354" y="9412"/>
                </a:lnTo>
                <a:lnTo>
                  <a:pt x="1361" y="9421"/>
                </a:lnTo>
                <a:lnTo>
                  <a:pt x="1371" y="9426"/>
                </a:lnTo>
                <a:lnTo>
                  <a:pt x="1370" y="9414"/>
                </a:lnTo>
                <a:lnTo>
                  <a:pt x="1365" y="9401"/>
                </a:lnTo>
                <a:lnTo>
                  <a:pt x="1354" y="9393"/>
                </a:lnTo>
                <a:lnTo>
                  <a:pt x="1340" y="9393"/>
                </a:lnTo>
                <a:close/>
                <a:moveTo>
                  <a:pt x="1193" y="9491"/>
                </a:moveTo>
                <a:lnTo>
                  <a:pt x="1194" y="9489"/>
                </a:lnTo>
                <a:lnTo>
                  <a:pt x="1193" y="9488"/>
                </a:lnTo>
                <a:lnTo>
                  <a:pt x="1193" y="9489"/>
                </a:lnTo>
                <a:lnTo>
                  <a:pt x="1193" y="9491"/>
                </a:lnTo>
                <a:lnTo>
                  <a:pt x="1189" y="9494"/>
                </a:lnTo>
                <a:lnTo>
                  <a:pt x="1187" y="9498"/>
                </a:lnTo>
                <a:lnTo>
                  <a:pt x="1188" y="9500"/>
                </a:lnTo>
                <a:lnTo>
                  <a:pt x="1194" y="9504"/>
                </a:lnTo>
                <a:lnTo>
                  <a:pt x="1194" y="9498"/>
                </a:lnTo>
                <a:lnTo>
                  <a:pt x="1193" y="9491"/>
                </a:lnTo>
                <a:close/>
                <a:moveTo>
                  <a:pt x="1095" y="9391"/>
                </a:moveTo>
                <a:lnTo>
                  <a:pt x="1095" y="9410"/>
                </a:lnTo>
                <a:lnTo>
                  <a:pt x="1136" y="9396"/>
                </a:lnTo>
                <a:lnTo>
                  <a:pt x="1173" y="9365"/>
                </a:lnTo>
                <a:lnTo>
                  <a:pt x="1169" y="9331"/>
                </a:lnTo>
                <a:lnTo>
                  <a:pt x="1129" y="9312"/>
                </a:lnTo>
                <a:lnTo>
                  <a:pt x="1117" y="9327"/>
                </a:lnTo>
                <a:lnTo>
                  <a:pt x="1112" y="9359"/>
                </a:lnTo>
                <a:lnTo>
                  <a:pt x="1095" y="9391"/>
                </a:lnTo>
                <a:close/>
                <a:moveTo>
                  <a:pt x="1240" y="9435"/>
                </a:moveTo>
                <a:lnTo>
                  <a:pt x="1318" y="9423"/>
                </a:lnTo>
                <a:lnTo>
                  <a:pt x="1301" y="9392"/>
                </a:lnTo>
                <a:lnTo>
                  <a:pt x="1235" y="9381"/>
                </a:lnTo>
                <a:lnTo>
                  <a:pt x="1164" y="9433"/>
                </a:lnTo>
                <a:lnTo>
                  <a:pt x="1173" y="9484"/>
                </a:lnTo>
                <a:lnTo>
                  <a:pt x="1188" y="9472"/>
                </a:lnTo>
                <a:lnTo>
                  <a:pt x="1211" y="9443"/>
                </a:lnTo>
                <a:lnTo>
                  <a:pt x="1240" y="9435"/>
                </a:lnTo>
                <a:close/>
                <a:moveTo>
                  <a:pt x="1118" y="9258"/>
                </a:moveTo>
                <a:lnTo>
                  <a:pt x="1115" y="9258"/>
                </a:lnTo>
                <a:lnTo>
                  <a:pt x="1112" y="9257"/>
                </a:lnTo>
                <a:lnTo>
                  <a:pt x="1110" y="9262"/>
                </a:lnTo>
                <a:lnTo>
                  <a:pt x="1114" y="9266"/>
                </a:lnTo>
                <a:lnTo>
                  <a:pt x="1117" y="9265"/>
                </a:lnTo>
                <a:lnTo>
                  <a:pt x="1118" y="9258"/>
                </a:lnTo>
                <a:close/>
                <a:moveTo>
                  <a:pt x="2264" y="8468"/>
                </a:moveTo>
                <a:lnTo>
                  <a:pt x="2269" y="8471"/>
                </a:lnTo>
                <a:lnTo>
                  <a:pt x="2272" y="8468"/>
                </a:lnTo>
                <a:lnTo>
                  <a:pt x="2270" y="8464"/>
                </a:lnTo>
                <a:lnTo>
                  <a:pt x="2265" y="8462"/>
                </a:lnTo>
                <a:lnTo>
                  <a:pt x="2264" y="8465"/>
                </a:lnTo>
                <a:lnTo>
                  <a:pt x="2264" y="8468"/>
                </a:lnTo>
                <a:close/>
                <a:moveTo>
                  <a:pt x="1569" y="8170"/>
                </a:moveTo>
                <a:lnTo>
                  <a:pt x="1569" y="8162"/>
                </a:lnTo>
                <a:lnTo>
                  <a:pt x="1568" y="8156"/>
                </a:lnTo>
                <a:lnTo>
                  <a:pt x="1569" y="8155"/>
                </a:lnTo>
                <a:lnTo>
                  <a:pt x="1569" y="8154"/>
                </a:lnTo>
                <a:lnTo>
                  <a:pt x="1575" y="8148"/>
                </a:lnTo>
                <a:lnTo>
                  <a:pt x="1582" y="8143"/>
                </a:lnTo>
                <a:lnTo>
                  <a:pt x="1587" y="8138"/>
                </a:lnTo>
                <a:lnTo>
                  <a:pt x="1588" y="8131"/>
                </a:lnTo>
                <a:lnTo>
                  <a:pt x="1579" y="8129"/>
                </a:lnTo>
                <a:lnTo>
                  <a:pt x="1571" y="8134"/>
                </a:lnTo>
                <a:lnTo>
                  <a:pt x="1568" y="8143"/>
                </a:lnTo>
                <a:lnTo>
                  <a:pt x="1569" y="8154"/>
                </a:lnTo>
                <a:lnTo>
                  <a:pt x="1568" y="8155"/>
                </a:lnTo>
                <a:lnTo>
                  <a:pt x="1568" y="8156"/>
                </a:lnTo>
                <a:lnTo>
                  <a:pt x="1565" y="8160"/>
                </a:lnTo>
                <a:lnTo>
                  <a:pt x="1561" y="8162"/>
                </a:lnTo>
                <a:lnTo>
                  <a:pt x="1562" y="8166"/>
                </a:lnTo>
                <a:lnTo>
                  <a:pt x="1569" y="8170"/>
                </a:lnTo>
                <a:close/>
                <a:moveTo>
                  <a:pt x="2253" y="8815"/>
                </a:moveTo>
                <a:lnTo>
                  <a:pt x="2253" y="8813"/>
                </a:lnTo>
                <a:lnTo>
                  <a:pt x="2254" y="8809"/>
                </a:lnTo>
                <a:lnTo>
                  <a:pt x="2249" y="8808"/>
                </a:lnTo>
                <a:lnTo>
                  <a:pt x="2245" y="8810"/>
                </a:lnTo>
                <a:lnTo>
                  <a:pt x="2246" y="8814"/>
                </a:lnTo>
                <a:lnTo>
                  <a:pt x="2253" y="8815"/>
                </a:lnTo>
                <a:close/>
                <a:moveTo>
                  <a:pt x="1208" y="9339"/>
                </a:moveTo>
                <a:lnTo>
                  <a:pt x="1207" y="9344"/>
                </a:lnTo>
                <a:lnTo>
                  <a:pt x="1210" y="9346"/>
                </a:lnTo>
                <a:lnTo>
                  <a:pt x="1212" y="9345"/>
                </a:lnTo>
                <a:lnTo>
                  <a:pt x="1215" y="9340"/>
                </a:lnTo>
                <a:lnTo>
                  <a:pt x="1208" y="9339"/>
                </a:lnTo>
                <a:close/>
                <a:moveTo>
                  <a:pt x="1571" y="8980"/>
                </a:moveTo>
                <a:lnTo>
                  <a:pt x="1556" y="8957"/>
                </a:lnTo>
                <a:lnTo>
                  <a:pt x="1522" y="8949"/>
                </a:lnTo>
                <a:lnTo>
                  <a:pt x="1490" y="8958"/>
                </a:lnTo>
                <a:lnTo>
                  <a:pt x="1482" y="8985"/>
                </a:lnTo>
                <a:lnTo>
                  <a:pt x="1503" y="9005"/>
                </a:lnTo>
                <a:lnTo>
                  <a:pt x="1525" y="9003"/>
                </a:lnTo>
                <a:lnTo>
                  <a:pt x="1548" y="8990"/>
                </a:lnTo>
                <a:lnTo>
                  <a:pt x="1571" y="8980"/>
                </a:lnTo>
                <a:close/>
                <a:moveTo>
                  <a:pt x="1431" y="9330"/>
                </a:moveTo>
                <a:lnTo>
                  <a:pt x="1406" y="9318"/>
                </a:lnTo>
                <a:lnTo>
                  <a:pt x="1403" y="9332"/>
                </a:lnTo>
                <a:lnTo>
                  <a:pt x="1406" y="9359"/>
                </a:lnTo>
                <a:lnTo>
                  <a:pt x="1399" y="9384"/>
                </a:lnTo>
                <a:lnTo>
                  <a:pt x="1422" y="9396"/>
                </a:lnTo>
                <a:lnTo>
                  <a:pt x="1443" y="9378"/>
                </a:lnTo>
                <a:lnTo>
                  <a:pt x="1449" y="9350"/>
                </a:lnTo>
                <a:lnTo>
                  <a:pt x="1431" y="9330"/>
                </a:lnTo>
                <a:close/>
                <a:moveTo>
                  <a:pt x="1427" y="9438"/>
                </a:moveTo>
                <a:lnTo>
                  <a:pt x="1425" y="9444"/>
                </a:lnTo>
                <a:lnTo>
                  <a:pt x="1422" y="9449"/>
                </a:lnTo>
                <a:lnTo>
                  <a:pt x="1424" y="9454"/>
                </a:lnTo>
                <a:lnTo>
                  <a:pt x="1427" y="9460"/>
                </a:lnTo>
                <a:lnTo>
                  <a:pt x="1440" y="9462"/>
                </a:lnTo>
                <a:lnTo>
                  <a:pt x="1445" y="9448"/>
                </a:lnTo>
                <a:lnTo>
                  <a:pt x="1440" y="9434"/>
                </a:lnTo>
                <a:lnTo>
                  <a:pt x="1427" y="9438"/>
                </a:lnTo>
                <a:close/>
                <a:moveTo>
                  <a:pt x="1509" y="9391"/>
                </a:moveTo>
                <a:lnTo>
                  <a:pt x="1514" y="9393"/>
                </a:lnTo>
                <a:lnTo>
                  <a:pt x="1517" y="9391"/>
                </a:lnTo>
                <a:lnTo>
                  <a:pt x="1515" y="9387"/>
                </a:lnTo>
                <a:lnTo>
                  <a:pt x="1510" y="9386"/>
                </a:lnTo>
                <a:lnTo>
                  <a:pt x="1509" y="9388"/>
                </a:lnTo>
                <a:lnTo>
                  <a:pt x="1509" y="9391"/>
                </a:lnTo>
                <a:close/>
                <a:moveTo>
                  <a:pt x="2293" y="8583"/>
                </a:moveTo>
                <a:lnTo>
                  <a:pt x="2319" y="8566"/>
                </a:lnTo>
                <a:lnTo>
                  <a:pt x="2318" y="8541"/>
                </a:lnTo>
                <a:lnTo>
                  <a:pt x="2300" y="8516"/>
                </a:lnTo>
                <a:lnTo>
                  <a:pt x="2276" y="8500"/>
                </a:lnTo>
                <a:lnTo>
                  <a:pt x="2269" y="8520"/>
                </a:lnTo>
                <a:lnTo>
                  <a:pt x="2267" y="8551"/>
                </a:lnTo>
                <a:lnTo>
                  <a:pt x="2273" y="8577"/>
                </a:lnTo>
                <a:lnTo>
                  <a:pt x="2293" y="8583"/>
                </a:lnTo>
                <a:close/>
                <a:moveTo>
                  <a:pt x="1556" y="8828"/>
                </a:moveTo>
                <a:lnTo>
                  <a:pt x="1570" y="8815"/>
                </a:lnTo>
                <a:lnTo>
                  <a:pt x="1557" y="8812"/>
                </a:lnTo>
                <a:lnTo>
                  <a:pt x="1534" y="8813"/>
                </a:lnTo>
                <a:lnTo>
                  <a:pt x="1515" y="8817"/>
                </a:lnTo>
                <a:lnTo>
                  <a:pt x="1527" y="8829"/>
                </a:lnTo>
                <a:lnTo>
                  <a:pt x="1536" y="8836"/>
                </a:lnTo>
                <a:lnTo>
                  <a:pt x="1543" y="8835"/>
                </a:lnTo>
                <a:lnTo>
                  <a:pt x="1556" y="8828"/>
                </a:lnTo>
                <a:close/>
                <a:moveTo>
                  <a:pt x="1576" y="8815"/>
                </a:moveTo>
                <a:lnTo>
                  <a:pt x="1575" y="8815"/>
                </a:lnTo>
                <a:lnTo>
                  <a:pt x="1574" y="8817"/>
                </a:lnTo>
                <a:lnTo>
                  <a:pt x="1575" y="8817"/>
                </a:lnTo>
                <a:lnTo>
                  <a:pt x="1576" y="8815"/>
                </a:lnTo>
                <a:close/>
                <a:moveTo>
                  <a:pt x="1515" y="8817"/>
                </a:moveTo>
                <a:lnTo>
                  <a:pt x="1514" y="8815"/>
                </a:lnTo>
                <a:lnTo>
                  <a:pt x="1513" y="8815"/>
                </a:lnTo>
                <a:lnTo>
                  <a:pt x="1513" y="8817"/>
                </a:lnTo>
                <a:lnTo>
                  <a:pt x="1515" y="8817"/>
                </a:lnTo>
                <a:close/>
                <a:moveTo>
                  <a:pt x="1499" y="8824"/>
                </a:moveTo>
                <a:lnTo>
                  <a:pt x="1511" y="8814"/>
                </a:lnTo>
                <a:lnTo>
                  <a:pt x="1515" y="8796"/>
                </a:lnTo>
                <a:lnTo>
                  <a:pt x="1514" y="8779"/>
                </a:lnTo>
                <a:lnTo>
                  <a:pt x="1509" y="8763"/>
                </a:lnTo>
                <a:lnTo>
                  <a:pt x="1486" y="8773"/>
                </a:lnTo>
                <a:lnTo>
                  <a:pt x="1473" y="8796"/>
                </a:lnTo>
                <a:lnTo>
                  <a:pt x="1476" y="8818"/>
                </a:lnTo>
                <a:lnTo>
                  <a:pt x="1499" y="8824"/>
                </a:lnTo>
                <a:close/>
                <a:moveTo>
                  <a:pt x="1603" y="8814"/>
                </a:moveTo>
                <a:lnTo>
                  <a:pt x="1601" y="8807"/>
                </a:lnTo>
                <a:lnTo>
                  <a:pt x="1588" y="8809"/>
                </a:lnTo>
                <a:lnTo>
                  <a:pt x="1579" y="8815"/>
                </a:lnTo>
                <a:lnTo>
                  <a:pt x="1589" y="8822"/>
                </a:lnTo>
                <a:lnTo>
                  <a:pt x="1597" y="8819"/>
                </a:lnTo>
                <a:lnTo>
                  <a:pt x="1603" y="8814"/>
                </a:lnTo>
                <a:close/>
                <a:moveTo>
                  <a:pt x="1312" y="8459"/>
                </a:moveTo>
                <a:lnTo>
                  <a:pt x="1322" y="8458"/>
                </a:lnTo>
                <a:lnTo>
                  <a:pt x="1326" y="8451"/>
                </a:lnTo>
                <a:lnTo>
                  <a:pt x="1324" y="8444"/>
                </a:lnTo>
                <a:lnTo>
                  <a:pt x="1315" y="8439"/>
                </a:lnTo>
                <a:lnTo>
                  <a:pt x="1304" y="8440"/>
                </a:lnTo>
                <a:lnTo>
                  <a:pt x="1299" y="8448"/>
                </a:lnTo>
                <a:lnTo>
                  <a:pt x="1300" y="8455"/>
                </a:lnTo>
                <a:lnTo>
                  <a:pt x="1312" y="8459"/>
                </a:lnTo>
                <a:close/>
                <a:moveTo>
                  <a:pt x="1329" y="8011"/>
                </a:moveTo>
                <a:lnTo>
                  <a:pt x="1296" y="8020"/>
                </a:lnTo>
                <a:lnTo>
                  <a:pt x="1309" y="8059"/>
                </a:lnTo>
                <a:lnTo>
                  <a:pt x="1348" y="8091"/>
                </a:lnTo>
                <a:lnTo>
                  <a:pt x="1393" y="8076"/>
                </a:lnTo>
                <a:lnTo>
                  <a:pt x="1417" y="8039"/>
                </a:lnTo>
                <a:lnTo>
                  <a:pt x="1405" y="7970"/>
                </a:lnTo>
                <a:lnTo>
                  <a:pt x="1370" y="7938"/>
                </a:lnTo>
                <a:lnTo>
                  <a:pt x="1329" y="8011"/>
                </a:lnTo>
                <a:close/>
                <a:moveTo>
                  <a:pt x="1429" y="7787"/>
                </a:moveTo>
                <a:lnTo>
                  <a:pt x="1431" y="7769"/>
                </a:lnTo>
                <a:lnTo>
                  <a:pt x="1422" y="7747"/>
                </a:lnTo>
                <a:lnTo>
                  <a:pt x="1406" y="7735"/>
                </a:lnTo>
                <a:lnTo>
                  <a:pt x="1389" y="7736"/>
                </a:lnTo>
                <a:lnTo>
                  <a:pt x="1387" y="7754"/>
                </a:lnTo>
                <a:lnTo>
                  <a:pt x="1397" y="7774"/>
                </a:lnTo>
                <a:lnTo>
                  <a:pt x="1412" y="7789"/>
                </a:lnTo>
                <a:lnTo>
                  <a:pt x="1429" y="7787"/>
                </a:lnTo>
                <a:close/>
                <a:moveTo>
                  <a:pt x="1425" y="8633"/>
                </a:moveTo>
                <a:lnTo>
                  <a:pt x="1439" y="8703"/>
                </a:lnTo>
                <a:lnTo>
                  <a:pt x="1447" y="8640"/>
                </a:lnTo>
                <a:lnTo>
                  <a:pt x="1422" y="8544"/>
                </a:lnTo>
                <a:lnTo>
                  <a:pt x="1337" y="8518"/>
                </a:lnTo>
                <a:lnTo>
                  <a:pt x="1309" y="8572"/>
                </a:lnTo>
                <a:lnTo>
                  <a:pt x="1331" y="8632"/>
                </a:lnTo>
                <a:lnTo>
                  <a:pt x="1376" y="8663"/>
                </a:lnTo>
                <a:lnTo>
                  <a:pt x="1425" y="8633"/>
                </a:lnTo>
                <a:close/>
                <a:moveTo>
                  <a:pt x="1387" y="9252"/>
                </a:moveTo>
                <a:lnTo>
                  <a:pt x="1396" y="9238"/>
                </a:lnTo>
                <a:lnTo>
                  <a:pt x="1384" y="9224"/>
                </a:lnTo>
                <a:lnTo>
                  <a:pt x="1368" y="9218"/>
                </a:lnTo>
                <a:lnTo>
                  <a:pt x="1356" y="9224"/>
                </a:lnTo>
                <a:lnTo>
                  <a:pt x="1361" y="9236"/>
                </a:lnTo>
                <a:lnTo>
                  <a:pt x="1366" y="9246"/>
                </a:lnTo>
                <a:lnTo>
                  <a:pt x="1374" y="9252"/>
                </a:lnTo>
                <a:lnTo>
                  <a:pt x="1387" y="9252"/>
                </a:lnTo>
                <a:close/>
                <a:moveTo>
                  <a:pt x="1457" y="9134"/>
                </a:moveTo>
                <a:lnTo>
                  <a:pt x="1459" y="9121"/>
                </a:lnTo>
                <a:lnTo>
                  <a:pt x="1462" y="9106"/>
                </a:lnTo>
                <a:lnTo>
                  <a:pt x="1461" y="9093"/>
                </a:lnTo>
                <a:lnTo>
                  <a:pt x="1450" y="9088"/>
                </a:lnTo>
                <a:lnTo>
                  <a:pt x="1431" y="9101"/>
                </a:lnTo>
                <a:lnTo>
                  <a:pt x="1430" y="9122"/>
                </a:lnTo>
                <a:lnTo>
                  <a:pt x="1439" y="9138"/>
                </a:lnTo>
                <a:lnTo>
                  <a:pt x="1457" y="9134"/>
                </a:lnTo>
                <a:close/>
                <a:moveTo>
                  <a:pt x="1463" y="8436"/>
                </a:moveTo>
                <a:lnTo>
                  <a:pt x="1444" y="8422"/>
                </a:lnTo>
                <a:lnTo>
                  <a:pt x="1415" y="8417"/>
                </a:lnTo>
                <a:lnTo>
                  <a:pt x="1387" y="8423"/>
                </a:lnTo>
                <a:lnTo>
                  <a:pt x="1373" y="8444"/>
                </a:lnTo>
                <a:lnTo>
                  <a:pt x="1412" y="8474"/>
                </a:lnTo>
                <a:lnTo>
                  <a:pt x="1454" y="8496"/>
                </a:lnTo>
                <a:lnTo>
                  <a:pt x="1477" y="8490"/>
                </a:lnTo>
                <a:lnTo>
                  <a:pt x="1463" y="8436"/>
                </a:lnTo>
                <a:close/>
                <a:moveTo>
                  <a:pt x="1378" y="8319"/>
                </a:moveTo>
                <a:lnTo>
                  <a:pt x="1378" y="8316"/>
                </a:lnTo>
                <a:lnTo>
                  <a:pt x="1379" y="8313"/>
                </a:lnTo>
                <a:lnTo>
                  <a:pt x="1374" y="8313"/>
                </a:lnTo>
                <a:lnTo>
                  <a:pt x="1370" y="8315"/>
                </a:lnTo>
                <a:lnTo>
                  <a:pt x="1371" y="8319"/>
                </a:lnTo>
                <a:lnTo>
                  <a:pt x="1378" y="8319"/>
                </a:lnTo>
                <a:close/>
                <a:moveTo>
                  <a:pt x="9410" y="2184"/>
                </a:moveTo>
                <a:lnTo>
                  <a:pt x="9391" y="2196"/>
                </a:lnTo>
                <a:lnTo>
                  <a:pt x="9372" y="2212"/>
                </a:lnTo>
                <a:lnTo>
                  <a:pt x="9364" y="2227"/>
                </a:lnTo>
                <a:lnTo>
                  <a:pt x="9382" y="2240"/>
                </a:lnTo>
                <a:lnTo>
                  <a:pt x="9416" y="2237"/>
                </a:lnTo>
                <a:lnTo>
                  <a:pt x="9440" y="2217"/>
                </a:lnTo>
                <a:lnTo>
                  <a:pt x="9442" y="2194"/>
                </a:lnTo>
                <a:lnTo>
                  <a:pt x="9410" y="2184"/>
                </a:lnTo>
                <a:close/>
                <a:moveTo>
                  <a:pt x="9878" y="3692"/>
                </a:moveTo>
                <a:lnTo>
                  <a:pt x="9871" y="3691"/>
                </a:lnTo>
                <a:lnTo>
                  <a:pt x="9866" y="3693"/>
                </a:lnTo>
                <a:lnTo>
                  <a:pt x="9861" y="3697"/>
                </a:lnTo>
                <a:lnTo>
                  <a:pt x="9858" y="3705"/>
                </a:lnTo>
                <a:lnTo>
                  <a:pt x="9866" y="3705"/>
                </a:lnTo>
                <a:lnTo>
                  <a:pt x="9871" y="3702"/>
                </a:lnTo>
                <a:lnTo>
                  <a:pt x="9876" y="3698"/>
                </a:lnTo>
                <a:lnTo>
                  <a:pt x="9878" y="3692"/>
                </a:lnTo>
                <a:close/>
                <a:moveTo>
                  <a:pt x="9805" y="4376"/>
                </a:moveTo>
                <a:lnTo>
                  <a:pt x="9820" y="4374"/>
                </a:lnTo>
                <a:lnTo>
                  <a:pt x="9843" y="4362"/>
                </a:lnTo>
                <a:lnTo>
                  <a:pt x="9861" y="4345"/>
                </a:lnTo>
                <a:lnTo>
                  <a:pt x="9867" y="4328"/>
                </a:lnTo>
                <a:lnTo>
                  <a:pt x="9850" y="4298"/>
                </a:lnTo>
                <a:lnTo>
                  <a:pt x="9820" y="4311"/>
                </a:lnTo>
                <a:lnTo>
                  <a:pt x="9797" y="4344"/>
                </a:lnTo>
                <a:lnTo>
                  <a:pt x="9805" y="4376"/>
                </a:lnTo>
                <a:close/>
                <a:moveTo>
                  <a:pt x="9733" y="4526"/>
                </a:moveTo>
                <a:lnTo>
                  <a:pt x="9737" y="4519"/>
                </a:lnTo>
                <a:lnTo>
                  <a:pt x="9742" y="4512"/>
                </a:lnTo>
                <a:lnTo>
                  <a:pt x="9732" y="4510"/>
                </a:lnTo>
                <a:lnTo>
                  <a:pt x="9724" y="4518"/>
                </a:lnTo>
                <a:lnTo>
                  <a:pt x="9723" y="4524"/>
                </a:lnTo>
                <a:lnTo>
                  <a:pt x="9733" y="4526"/>
                </a:lnTo>
                <a:close/>
                <a:moveTo>
                  <a:pt x="9727" y="3916"/>
                </a:moveTo>
                <a:lnTo>
                  <a:pt x="9736" y="3915"/>
                </a:lnTo>
                <a:lnTo>
                  <a:pt x="9740" y="3908"/>
                </a:lnTo>
                <a:lnTo>
                  <a:pt x="9741" y="3899"/>
                </a:lnTo>
                <a:lnTo>
                  <a:pt x="9741" y="3892"/>
                </a:lnTo>
                <a:lnTo>
                  <a:pt x="9728" y="3889"/>
                </a:lnTo>
                <a:lnTo>
                  <a:pt x="9720" y="3896"/>
                </a:lnTo>
                <a:lnTo>
                  <a:pt x="9720" y="3906"/>
                </a:lnTo>
                <a:lnTo>
                  <a:pt x="9727" y="3916"/>
                </a:lnTo>
                <a:close/>
                <a:moveTo>
                  <a:pt x="9923" y="2567"/>
                </a:moveTo>
                <a:lnTo>
                  <a:pt x="9922" y="2568"/>
                </a:lnTo>
                <a:lnTo>
                  <a:pt x="9922" y="2569"/>
                </a:lnTo>
                <a:lnTo>
                  <a:pt x="9923" y="2568"/>
                </a:lnTo>
                <a:lnTo>
                  <a:pt x="9923" y="2567"/>
                </a:lnTo>
                <a:lnTo>
                  <a:pt x="9925" y="2563"/>
                </a:lnTo>
                <a:lnTo>
                  <a:pt x="9928" y="2560"/>
                </a:lnTo>
                <a:lnTo>
                  <a:pt x="9928" y="2557"/>
                </a:lnTo>
                <a:lnTo>
                  <a:pt x="9922" y="2554"/>
                </a:lnTo>
                <a:lnTo>
                  <a:pt x="9922" y="2560"/>
                </a:lnTo>
                <a:lnTo>
                  <a:pt x="9923" y="2567"/>
                </a:lnTo>
                <a:close/>
                <a:moveTo>
                  <a:pt x="9899" y="2624"/>
                </a:moveTo>
                <a:lnTo>
                  <a:pt x="9920" y="2629"/>
                </a:lnTo>
                <a:lnTo>
                  <a:pt x="9932" y="2613"/>
                </a:lnTo>
                <a:lnTo>
                  <a:pt x="9932" y="2590"/>
                </a:lnTo>
                <a:lnTo>
                  <a:pt x="9922" y="2569"/>
                </a:lnTo>
                <a:lnTo>
                  <a:pt x="9905" y="2579"/>
                </a:lnTo>
                <a:lnTo>
                  <a:pt x="9892" y="2592"/>
                </a:lnTo>
                <a:lnTo>
                  <a:pt x="9889" y="2607"/>
                </a:lnTo>
                <a:lnTo>
                  <a:pt x="9899" y="2624"/>
                </a:lnTo>
                <a:close/>
                <a:moveTo>
                  <a:pt x="9091" y="3213"/>
                </a:moveTo>
                <a:lnTo>
                  <a:pt x="9076" y="3216"/>
                </a:lnTo>
                <a:lnTo>
                  <a:pt x="9063" y="3211"/>
                </a:lnTo>
                <a:lnTo>
                  <a:pt x="9051" y="3203"/>
                </a:lnTo>
                <a:lnTo>
                  <a:pt x="9037" y="3199"/>
                </a:lnTo>
                <a:lnTo>
                  <a:pt x="9001" y="3229"/>
                </a:lnTo>
                <a:lnTo>
                  <a:pt x="9033" y="3254"/>
                </a:lnTo>
                <a:lnTo>
                  <a:pt x="9080" y="3255"/>
                </a:lnTo>
                <a:lnTo>
                  <a:pt x="9091" y="3213"/>
                </a:lnTo>
                <a:close/>
                <a:moveTo>
                  <a:pt x="9836" y="2448"/>
                </a:moveTo>
                <a:lnTo>
                  <a:pt x="9834" y="2448"/>
                </a:lnTo>
                <a:lnTo>
                  <a:pt x="9830" y="2447"/>
                </a:lnTo>
                <a:lnTo>
                  <a:pt x="9829" y="2452"/>
                </a:lnTo>
                <a:lnTo>
                  <a:pt x="9833" y="2456"/>
                </a:lnTo>
                <a:lnTo>
                  <a:pt x="9836" y="2455"/>
                </a:lnTo>
                <a:lnTo>
                  <a:pt x="9836" y="2448"/>
                </a:lnTo>
                <a:close/>
                <a:moveTo>
                  <a:pt x="9482" y="3936"/>
                </a:moveTo>
                <a:lnTo>
                  <a:pt x="9477" y="3935"/>
                </a:lnTo>
                <a:lnTo>
                  <a:pt x="9475" y="3938"/>
                </a:lnTo>
                <a:lnTo>
                  <a:pt x="9475" y="3941"/>
                </a:lnTo>
                <a:lnTo>
                  <a:pt x="9481" y="3943"/>
                </a:lnTo>
                <a:lnTo>
                  <a:pt x="9481" y="3940"/>
                </a:lnTo>
                <a:lnTo>
                  <a:pt x="9482" y="3936"/>
                </a:lnTo>
                <a:close/>
                <a:moveTo>
                  <a:pt x="9091" y="3661"/>
                </a:moveTo>
                <a:lnTo>
                  <a:pt x="9130" y="3651"/>
                </a:lnTo>
                <a:lnTo>
                  <a:pt x="9108" y="3593"/>
                </a:lnTo>
                <a:lnTo>
                  <a:pt x="9057" y="3526"/>
                </a:lnTo>
                <a:lnTo>
                  <a:pt x="9014" y="3495"/>
                </a:lnTo>
                <a:lnTo>
                  <a:pt x="9009" y="3515"/>
                </a:lnTo>
                <a:lnTo>
                  <a:pt x="9034" y="3575"/>
                </a:lnTo>
                <a:lnTo>
                  <a:pt x="9068" y="3636"/>
                </a:lnTo>
                <a:lnTo>
                  <a:pt x="9091" y="3661"/>
                </a:lnTo>
                <a:close/>
                <a:moveTo>
                  <a:pt x="8917" y="2797"/>
                </a:moveTo>
                <a:lnTo>
                  <a:pt x="8951" y="2788"/>
                </a:lnTo>
                <a:lnTo>
                  <a:pt x="8992" y="2779"/>
                </a:lnTo>
                <a:lnTo>
                  <a:pt x="9024" y="2764"/>
                </a:lnTo>
                <a:lnTo>
                  <a:pt x="9028" y="2732"/>
                </a:lnTo>
                <a:lnTo>
                  <a:pt x="9002" y="2730"/>
                </a:lnTo>
                <a:lnTo>
                  <a:pt x="8968" y="2747"/>
                </a:lnTo>
                <a:lnTo>
                  <a:pt x="8937" y="2774"/>
                </a:lnTo>
                <a:lnTo>
                  <a:pt x="8917" y="2797"/>
                </a:lnTo>
                <a:close/>
                <a:moveTo>
                  <a:pt x="9755" y="4257"/>
                </a:moveTo>
                <a:lnTo>
                  <a:pt x="9760" y="4247"/>
                </a:lnTo>
                <a:lnTo>
                  <a:pt x="9761" y="4233"/>
                </a:lnTo>
                <a:lnTo>
                  <a:pt x="9757" y="4220"/>
                </a:lnTo>
                <a:lnTo>
                  <a:pt x="9748" y="4214"/>
                </a:lnTo>
                <a:lnTo>
                  <a:pt x="9740" y="4224"/>
                </a:lnTo>
                <a:lnTo>
                  <a:pt x="9738" y="4238"/>
                </a:lnTo>
                <a:lnTo>
                  <a:pt x="9743" y="4251"/>
                </a:lnTo>
                <a:lnTo>
                  <a:pt x="9755" y="4257"/>
                </a:lnTo>
                <a:close/>
                <a:moveTo>
                  <a:pt x="9692" y="3969"/>
                </a:moveTo>
                <a:lnTo>
                  <a:pt x="9611" y="3874"/>
                </a:lnTo>
                <a:lnTo>
                  <a:pt x="9601" y="3814"/>
                </a:lnTo>
                <a:lnTo>
                  <a:pt x="9585" y="3784"/>
                </a:lnTo>
                <a:lnTo>
                  <a:pt x="9486" y="3777"/>
                </a:lnTo>
                <a:lnTo>
                  <a:pt x="9450" y="3766"/>
                </a:lnTo>
                <a:lnTo>
                  <a:pt x="9406" y="3775"/>
                </a:lnTo>
                <a:lnTo>
                  <a:pt x="9369" y="3798"/>
                </a:lnTo>
                <a:lnTo>
                  <a:pt x="9359" y="3831"/>
                </a:lnTo>
                <a:lnTo>
                  <a:pt x="9386" y="3870"/>
                </a:lnTo>
                <a:lnTo>
                  <a:pt x="9396" y="3899"/>
                </a:lnTo>
                <a:lnTo>
                  <a:pt x="9416" y="3901"/>
                </a:lnTo>
                <a:lnTo>
                  <a:pt x="9473" y="3849"/>
                </a:lnTo>
                <a:lnTo>
                  <a:pt x="9564" y="3852"/>
                </a:lnTo>
                <a:lnTo>
                  <a:pt x="9536" y="3920"/>
                </a:lnTo>
                <a:lnTo>
                  <a:pt x="9495" y="3996"/>
                </a:lnTo>
                <a:lnTo>
                  <a:pt x="9549" y="4025"/>
                </a:lnTo>
                <a:lnTo>
                  <a:pt x="9583" y="4000"/>
                </a:lnTo>
                <a:lnTo>
                  <a:pt x="9613" y="3976"/>
                </a:lnTo>
                <a:lnTo>
                  <a:pt x="9647" y="3963"/>
                </a:lnTo>
                <a:lnTo>
                  <a:pt x="9692" y="3969"/>
                </a:lnTo>
                <a:close/>
                <a:moveTo>
                  <a:pt x="9447" y="4205"/>
                </a:moveTo>
                <a:lnTo>
                  <a:pt x="9449" y="4218"/>
                </a:lnTo>
                <a:lnTo>
                  <a:pt x="9461" y="4227"/>
                </a:lnTo>
                <a:lnTo>
                  <a:pt x="9475" y="4230"/>
                </a:lnTo>
                <a:lnTo>
                  <a:pt x="9486" y="4228"/>
                </a:lnTo>
                <a:lnTo>
                  <a:pt x="9485" y="4216"/>
                </a:lnTo>
                <a:lnTo>
                  <a:pt x="9473" y="4207"/>
                </a:lnTo>
                <a:lnTo>
                  <a:pt x="9458" y="4204"/>
                </a:lnTo>
                <a:lnTo>
                  <a:pt x="9447" y="4205"/>
                </a:lnTo>
                <a:close/>
                <a:moveTo>
                  <a:pt x="9603" y="4085"/>
                </a:moveTo>
                <a:lnTo>
                  <a:pt x="9588" y="4097"/>
                </a:lnTo>
                <a:lnTo>
                  <a:pt x="9594" y="4112"/>
                </a:lnTo>
                <a:lnTo>
                  <a:pt x="9613" y="4127"/>
                </a:lnTo>
                <a:lnTo>
                  <a:pt x="9634" y="4137"/>
                </a:lnTo>
                <a:lnTo>
                  <a:pt x="9629" y="4121"/>
                </a:lnTo>
                <a:lnTo>
                  <a:pt x="9622" y="4107"/>
                </a:lnTo>
                <a:lnTo>
                  <a:pt x="9613" y="4095"/>
                </a:lnTo>
                <a:lnTo>
                  <a:pt x="9603" y="4085"/>
                </a:lnTo>
                <a:close/>
                <a:moveTo>
                  <a:pt x="9817" y="4172"/>
                </a:moveTo>
                <a:lnTo>
                  <a:pt x="9819" y="4178"/>
                </a:lnTo>
                <a:lnTo>
                  <a:pt x="9824" y="4185"/>
                </a:lnTo>
                <a:lnTo>
                  <a:pt x="9831" y="4188"/>
                </a:lnTo>
                <a:lnTo>
                  <a:pt x="9839" y="4190"/>
                </a:lnTo>
                <a:lnTo>
                  <a:pt x="9855" y="4183"/>
                </a:lnTo>
                <a:lnTo>
                  <a:pt x="9848" y="4165"/>
                </a:lnTo>
                <a:lnTo>
                  <a:pt x="9830" y="4155"/>
                </a:lnTo>
                <a:lnTo>
                  <a:pt x="9817" y="4172"/>
                </a:lnTo>
                <a:close/>
                <a:moveTo>
                  <a:pt x="10306" y="4278"/>
                </a:moveTo>
                <a:lnTo>
                  <a:pt x="10320" y="4302"/>
                </a:lnTo>
                <a:lnTo>
                  <a:pt x="10339" y="4295"/>
                </a:lnTo>
                <a:lnTo>
                  <a:pt x="10361" y="4272"/>
                </a:lnTo>
                <a:lnTo>
                  <a:pt x="10381" y="4249"/>
                </a:lnTo>
                <a:lnTo>
                  <a:pt x="10360" y="4255"/>
                </a:lnTo>
                <a:lnTo>
                  <a:pt x="10337" y="4257"/>
                </a:lnTo>
                <a:lnTo>
                  <a:pt x="10318" y="4264"/>
                </a:lnTo>
                <a:lnTo>
                  <a:pt x="10306" y="4278"/>
                </a:lnTo>
                <a:close/>
                <a:moveTo>
                  <a:pt x="10406" y="4274"/>
                </a:moveTo>
                <a:lnTo>
                  <a:pt x="10402" y="4284"/>
                </a:lnTo>
                <a:lnTo>
                  <a:pt x="10401" y="4293"/>
                </a:lnTo>
                <a:lnTo>
                  <a:pt x="10404" y="4299"/>
                </a:lnTo>
                <a:lnTo>
                  <a:pt x="10415" y="4297"/>
                </a:lnTo>
                <a:lnTo>
                  <a:pt x="10422" y="4288"/>
                </a:lnTo>
                <a:lnTo>
                  <a:pt x="10420" y="4275"/>
                </a:lnTo>
                <a:lnTo>
                  <a:pt x="10413" y="4269"/>
                </a:lnTo>
                <a:lnTo>
                  <a:pt x="10406" y="4274"/>
                </a:lnTo>
                <a:close/>
                <a:moveTo>
                  <a:pt x="10323" y="3717"/>
                </a:moveTo>
                <a:lnTo>
                  <a:pt x="10332" y="3724"/>
                </a:lnTo>
                <a:lnTo>
                  <a:pt x="10342" y="3719"/>
                </a:lnTo>
                <a:lnTo>
                  <a:pt x="10348" y="3710"/>
                </a:lnTo>
                <a:lnTo>
                  <a:pt x="10346" y="3700"/>
                </a:lnTo>
                <a:lnTo>
                  <a:pt x="10334" y="3693"/>
                </a:lnTo>
                <a:lnTo>
                  <a:pt x="10324" y="3697"/>
                </a:lnTo>
                <a:lnTo>
                  <a:pt x="10318" y="3706"/>
                </a:lnTo>
                <a:lnTo>
                  <a:pt x="10323" y="3717"/>
                </a:lnTo>
                <a:close/>
                <a:moveTo>
                  <a:pt x="10439" y="3524"/>
                </a:moveTo>
                <a:lnTo>
                  <a:pt x="10530" y="3678"/>
                </a:lnTo>
                <a:lnTo>
                  <a:pt x="10574" y="3661"/>
                </a:lnTo>
                <a:lnTo>
                  <a:pt x="10609" y="3572"/>
                </a:lnTo>
                <a:lnTo>
                  <a:pt x="10678" y="3504"/>
                </a:lnTo>
                <a:lnTo>
                  <a:pt x="10704" y="3418"/>
                </a:lnTo>
                <a:lnTo>
                  <a:pt x="10687" y="3413"/>
                </a:lnTo>
                <a:lnTo>
                  <a:pt x="10641" y="3403"/>
                </a:lnTo>
                <a:lnTo>
                  <a:pt x="10576" y="3304"/>
                </a:lnTo>
                <a:lnTo>
                  <a:pt x="10551" y="3310"/>
                </a:lnTo>
                <a:lnTo>
                  <a:pt x="10529" y="3343"/>
                </a:lnTo>
                <a:lnTo>
                  <a:pt x="10510" y="3381"/>
                </a:lnTo>
                <a:lnTo>
                  <a:pt x="10496" y="3408"/>
                </a:lnTo>
                <a:lnTo>
                  <a:pt x="10521" y="3404"/>
                </a:lnTo>
                <a:lnTo>
                  <a:pt x="10548" y="3398"/>
                </a:lnTo>
                <a:lnTo>
                  <a:pt x="10569" y="3404"/>
                </a:lnTo>
                <a:lnTo>
                  <a:pt x="10580" y="3436"/>
                </a:lnTo>
                <a:lnTo>
                  <a:pt x="10511" y="3478"/>
                </a:lnTo>
                <a:lnTo>
                  <a:pt x="10422" y="3437"/>
                </a:lnTo>
                <a:lnTo>
                  <a:pt x="10378" y="3418"/>
                </a:lnTo>
                <a:lnTo>
                  <a:pt x="10439" y="3524"/>
                </a:lnTo>
                <a:close/>
                <a:moveTo>
                  <a:pt x="10552" y="3962"/>
                </a:moveTo>
                <a:lnTo>
                  <a:pt x="10538" y="3980"/>
                </a:lnTo>
                <a:lnTo>
                  <a:pt x="10536" y="4003"/>
                </a:lnTo>
                <a:lnTo>
                  <a:pt x="10544" y="4022"/>
                </a:lnTo>
                <a:lnTo>
                  <a:pt x="10566" y="4028"/>
                </a:lnTo>
                <a:lnTo>
                  <a:pt x="10575" y="4011"/>
                </a:lnTo>
                <a:lnTo>
                  <a:pt x="10574" y="3989"/>
                </a:lnTo>
                <a:lnTo>
                  <a:pt x="10566" y="3968"/>
                </a:lnTo>
                <a:lnTo>
                  <a:pt x="10552" y="3962"/>
                </a:lnTo>
                <a:close/>
                <a:moveTo>
                  <a:pt x="10319" y="3351"/>
                </a:moveTo>
                <a:lnTo>
                  <a:pt x="10316" y="3344"/>
                </a:lnTo>
                <a:lnTo>
                  <a:pt x="10311" y="3341"/>
                </a:lnTo>
                <a:lnTo>
                  <a:pt x="10304" y="3339"/>
                </a:lnTo>
                <a:lnTo>
                  <a:pt x="10296" y="3341"/>
                </a:lnTo>
                <a:lnTo>
                  <a:pt x="10291" y="3351"/>
                </a:lnTo>
                <a:lnTo>
                  <a:pt x="10300" y="3357"/>
                </a:lnTo>
                <a:lnTo>
                  <a:pt x="10314" y="3357"/>
                </a:lnTo>
                <a:lnTo>
                  <a:pt x="10319" y="3351"/>
                </a:lnTo>
                <a:close/>
                <a:moveTo>
                  <a:pt x="10479" y="3266"/>
                </a:moveTo>
                <a:lnTo>
                  <a:pt x="10493" y="3249"/>
                </a:lnTo>
                <a:lnTo>
                  <a:pt x="10497" y="3224"/>
                </a:lnTo>
                <a:lnTo>
                  <a:pt x="10490" y="3202"/>
                </a:lnTo>
                <a:lnTo>
                  <a:pt x="10465" y="3193"/>
                </a:lnTo>
                <a:lnTo>
                  <a:pt x="10450" y="3206"/>
                </a:lnTo>
                <a:lnTo>
                  <a:pt x="10451" y="3229"/>
                </a:lnTo>
                <a:lnTo>
                  <a:pt x="10464" y="3252"/>
                </a:lnTo>
                <a:lnTo>
                  <a:pt x="10479" y="3266"/>
                </a:lnTo>
                <a:close/>
                <a:moveTo>
                  <a:pt x="9718" y="2129"/>
                </a:moveTo>
                <a:lnTo>
                  <a:pt x="9743" y="2129"/>
                </a:lnTo>
                <a:lnTo>
                  <a:pt x="9748" y="2149"/>
                </a:lnTo>
                <a:lnTo>
                  <a:pt x="9738" y="2168"/>
                </a:lnTo>
                <a:lnTo>
                  <a:pt x="9718" y="2167"/>
                </a:lnTo>
                <a:lnTo>
                  <a:pt x="9713" y="2158"/>
                </a:lnTo>
                <a:lnTo>
                  <a:pt x="9712" y="2145"/>
                </a:lnTo>
                <a:lnTo>
                  <a:pt x="9713" y="2135"/>
                </a:lnTo>
                <a:lnTo>
                  <a:pt x="9718" y="2129"/>
                </a:lnTo>
                <a:close/>
                <a:moveTo>
                  <a:pt x="9551" y="2129"/>
                </a:moveTo>
                <a:lnTo>
                  <a:pt x="9603" y="2143"/>
                </a:lnTo>
                <a:lnTo>
                  <a:pt x="9627" y="2187"/>
                </a:lnTo>
                <a:lnTo>
                  <a:pt x="9648" y="2224"/>
                </a:lnTo>
                <a:lnTo>
                  <a:pt x="9691" y="2215"/>
                </a:lnTo>
                <a:lnTo>
                  <a:pt x="9747" y="2241"/>
                </a:lnTo>
                <a:lnTo>
                  <a:pt x="9785" y="2282"/>
                </a:lnTo>
                <a:lnTo>
                  <a:pt x="9833" y="2316"/>
                </a:lnTo>
                <a:lnTo>
                  <a:pt x="9910" y="2324"/>
                </a:lnTo>
                <a:lnTo>
                  <a:pt x="9964" y="2383"/>
                </a:lnTo>
                <a:lnTo>
                  <a:pt x="9997" y="2363"/>
                </a:lnTo>
                <a:lnTo>
                  <a:pt x="10025" y="2307"/>
                </a:lnTo>
                <a:lnTo>
                  <a:pt x="10066" y="2261"/>
                </a:lnTo>
                <a:lnTo>
                  <a:pt x="9976" y="2237"/>
                </a:lnTo>
                <a:lnTo>
                  <a:pt x="9894" y="2234"/>
                </a:lnTo>
                <a:lnTo>
                  <a:pt x="9873" y="2185"/>
                </a:lnTo>
                <a:lnTo>
                  <a:pt x="9966" y="2022"/>
                </a:lnTo>
                <a:lnTo>
                  <a:pt x="9900" y="1911"/>
                </a:lnTo>
                <a:lnTo>
                  <a:pt x="9807" y="1869"/>
                </a:lnTo>
                <a:lnTo>
                  <a:pt x="9706" y="1896"/>
                </a:lnTo>
                <a:lnTo>
                  <a:pt x="9619" y="1991"/>
                </a:lnTo>
                <a:lnTo>
                  <a:pt x="9587" y="2008"/>
                </a:lnTo>
                <a:lnTo>
                  <a:pt x="9545" y="2008"/>
                </a:lnTo>
                <a:lnTo>
                  <a:pt x="9504" y="2012"/>
                </a:lnTo>
                <a:lnTo>
                  <a:pt x="9473" y="2046"/>
                </a:lnTo>
                <a:lnTo>
                  <a:pt x="9510" y="2033"/>
                </a:lnTo>
                <a:lnTo>
                  <a:pt x="9543" y="2032"/>
                </a:lnTo>
                <a:lnTo>
                  <a:pt x="9561" y="2047"/>
                </a:lnTo>
                <a:lnTo>
                  <a:pt x="9550" y="2089"/>
                </a:lnTo>
                <a:lnTo>
                  <a:pt x="9484" y="2093"/>
                </a:lnTo>
                <a:lnTo>
                  <a:pt x="9459" y="2110"/>
                </a:lnTo>
                <a:lnTo>
                  <a:pt x="9481" y="2126"/>
                </a:lnTo>
                <a:lnTo>
                  <a:pt x="9551" y="2129"/>
                </a:lnTo>
                <a:close/>
                <a:moveTo>
                  <a:pt x="10245" y="3934"/>
                </a:moveTo>
                <a:lnTo>
                  <a:pt x="10253" y="3926"/>
                </a:lnTo>
                <a:lnTo>
                  <a:pt x="10255" y="3920"/>
                </a:lnTo>
                <a:lnTo>
                  <a:pt x="10252" y="3915"/>
                </a:lnTo>
                <a:lnTo>
                  <a:pt x="10240" y="3917"/>
                </a:lnTo>
                <a:lnTo>
                  <a:pt x="10230" y="3926"/>
                </a:lnTo>
                <a:lnTo>
                  <a:pt x="10227" y="3935"/>
                </a:lnTo>
                <a:lnTo>
                  <a:pt x="10232" y="3939"/>
                </a:lnTo>
                <a:lnTo>
                  <a:pt x="10245" y="3934"/>
                </a:lnTo>
                <a:close/>
                <a:moveTo>
                  <a:pt x="10052" y="3955"/>
                </a:moveTo>
                <a:lnTo>
                  <a:pt x="10053" y="3953"/>
                </a:lnTo>
                <a:lnTo>
                  <a:pt x="10052" y="3950"/>
                </a:lnTo>
                <a:lnTo>
                  <a:pt x="10050" y="3949"/>
                </a:lnTo>
                <a:lnTo>
                  <a:pt x="10046" y="3948"/>
                </a:lnTo>
                <a:lnTo>
                  <a:pt x="10045" y="3952"/>
                </a:lnTo>
                <a:lnTo>
                  <a:pt x="10045" y="3954"/>
                </a:lnTo>
                <a:lnTo>
                  <a:pt x="10048" y="3955"/>
                </a:lnTo>
                <a:lnTo>
                  <a:pt x="10052" y="3955"/>
                </a:lnTo>
                <a:close/>
                <a:moveTo>
                  <a:pt x="11016" y="3888"/>
                </a:moveTo>
                <a:lnTo>
                  <a:pt x="10940" y="3826"/>
                </a:lnTo>
                <a:lnTo>
                  <a:pt x="10883" y="3706"/>
                </a:lnTo>
                <a:lnTo>
                  <a:pt x="10834" y="3600"/>
                </a:lnTo>
                <a:lnTo>
                  <a:pt x="10779" y="3581"/>
                </a:lnTo>
                <a:lnTo>
                  <a:pt x="10747" y="3605"/>
                </a:lnTo>
                <a:lnTo>
                  <a:pt x="10710" y="3593"/>
                </a:lnTo>
                <a:lnTo>
                  <a:pt x="10677" y="3571"/>
                </a:lnTo>
                <a:lnTo>
                  <a:pt x="10654" y="3571"/>
                </a:lnTo>
                <a:lnTo>
                  <a:pt x="10668" y="3675"/>
                </a:lnTo>
                <a:lnTo>
                  <a:pt x="10692" y="3762"/>
                </a:lnTo>
                <a:lnTo>
                  <a:pt x="10729" y="3835"/>
                </a:lnTo>
                <a:lnTo>
                  <a:pt x="10779" y="3898"/>
                </a:lnTo>
                <a:lnTo>
                  <a:pt x="10809" y="3910"/>
                </a:lnTo>
                <a:lnTo>
                  <a:pt x="10823" y="3873"/>
                </a:lnTo>
                <a:lnTo>
                  <a:pt x="10837" y="3822"/>
                </a:lnTo>
                <a:lnTo>
                  <a:pt x="10865" y="3791"/>
                </a:lnTo>
                <a:lnTo>
                  <a:pt x="10901" y="3836"/>
                </a:lnTo>
                <a:lnTo>
                  <a:pt x="10887" y="3896"/>
                </a:lnTo>
                <a:lnTo>
                  <a:pt x="10856" y="3959"/>
                </a:lnTo>
                <a:lnTo>
                  <a:pt x="10837" y="4011"/>
                </a:lnTo>
                <a:lnTo>
                  <a:pt x="10850" y="4037"/>
                </a:lnTo>
                <a:lnTo>
                  <a:pt x="10819" y="4047"/>
                </a:lnTo>
                <a:lnTo>
                  <a:pt x="10781" y="4064"/>
                </a:lnTo>
                <a:lnTo>
                  <a:pt x="10771" y="4109"/>
                </a:lnTo>
                <a:lnTo>
                  <a:pt x="10744" y="4106"/>
                </a:lnTo>
                <a:lnTo>
                  <a:pt x="10711" y="4076"/>
                </a:lnTo>
                <a:lnTo>
                  <a:pt x="10673" y="4048"/>
                </a:lnTo>
                <a:lnTo>
                  <a:pt x="10635" y="4048"/>
                </a:lnTo>
                <a:lnTo>
                  <a:pt x="10634" y="4092"/>
                </a:lnTo>
                <a:lnTo>
                  <a:pt x="10622" y="4106"/>
                </a:lnTo>
                <a:lnTo>
                  <a:pt x="10611" y="4125"/>
                </a:lnTo>
                <a:lnTo>
                  <a:pt x="10607" y="4181"/>
                </a:lnTo>
                <a:lnTo>
                  <a:pt x="10570" y="4192"/>
                </a:lnTo>
                <a:lnTo>
                  <a:pt x="10553" y="4202"/>
                </a:lnTo>
                <a:lnTo>
                  <a:pt x="10546" y="4221"/>
                </a:lnTo>
                <a:lnTo>
                  <a:pt x="10537" y="4260"/>
                </a:lnTo>
                <a:lnTo>
                  <a:pt x="10562" y="4280"/>
                </a:lnTo>
                <a:lnTo>
                  <a:pt x="10602" y="4257"/>
                </a:lnTo>
                <a:lnTo>
                  <a:pt x="10639" y="4213"/>
                </a:lnTo>
                <a:lnTo>
                  <a:pt x="10653" y="4167"/>
                </a:lnTo>
                <a:lnTo>
                  <a:pt x="10683" y="4187"/>
                </a:lnTo>
                <a:lnTo>
                  <a:pt x="10715" y="4210"/>
                </a:lnTo>
                <a:lnTo>
                  <a:pt x="10746" y="4216"/>
                </a:lnTo>
                <a:lnTo>
                  <a:pt x="10769" y="4190"/>
                </a:lnTo>
                <a:lnTo>
                  <a:pt x="10825" y="4111"/>
                </a:lnTo>
                <a:lnTo>
                  <a:pt x="10929" y="4053"/>
                </a:lnTo>
                <a:lnTo>
                  <a:pt x="11016" y="3989"/>
                </a:lnTo>
                <a:lnTo>
                  <a:pt x="11016" y="3888"/>
                </a:lnTo>
                <a:close/>
                <a:moveTo>
                  <a:pt x="9638" y="2241"/>
                </a:moveTo>
                <a:lnTo>
                  <a:pt x="9639" y="2240"/>
                </a:lnTo>
                <a:lnTo>
                  <a:pt x="9639" y="2237"/>
                </a:lnTo>
                <a:lnTo>
                  <a:pt x="9636" y="2238"/>
                </a:lnTo>
                <a:lnTo>
                  <a:pt x="9638" y="2241"/>
                </a:lnTo>
                <a:lnTo>
                  <a:pt x="9634" y="2245"/>
                </a:lnTo>
                <a:lnTo>
                  <a:pt x="9631" y="2247"/>
                </a:lnTo>
                <a:lnTo>
                  <a:pt x="9633" y="2250"/>
                </a:lnTo>
                <a:lnTo>
                  <a:pt x="9639" y="2254"/>
                </a:lnTo>
                <a:lnTo>
                  <a:pt x="9638" y="2247"/>
                </a:lnTo>
                <a:lnTo>
                  <a:pt x="9638" y="2241"/>
                </a:lnTo>
                <a:close/>
                <a:moveTo>
                  <a:pt x="10160" y="2511"/>
                </a:moveTo>
                <a:lnTo>
                  <a:pt x="10161" y="2503"/>
                </a:lnTo>
                <a:lnTo>
                  <a:pt x="10155" y="2497"/>
                </a:lnTo>
                <a:lnTo>
                  <a:pt x="10145" y="2494"/>
                </a:lnTo>
                <a:lnTo>
                  <a:pt x="10136" y="2495"/>
                </a:lnTo>
                <a:lnTo>
                  <a:pt x="10133" y="2506"/>
                </a:lnTo>
                <a:lnTo>
                  <a:pt x="10139" y="2513"/>
                </a:lnTo>
                <a:lnTo>
                  <a:pt x="10150" y="2516"/>
                </a:lnTo>
                <a:lnTo>
                  <a:pt x="10160" y="2511"/>
                </a:lnTo>
                <a:close/>
                <a:moveTo>
                  <a:pt x="9215" y="3375"/>
                </a:moveTo>
                <a:lnTo>
                  <a:pt x="9214" y="3376"/>
                </a:lnTo>
                <a:lnTo>
                  <a:pt x="9215" y="3378"/>
                </a:lnTo>
                <a:lnTo>
                  <a:pt x="9215" y="3376"/>
                </a:lnTo>
                <a:lnTo>
                  <a:pt x="9215" y="3375"/>
                </a:lnTo>
                <a:close/>
                <a:moveTo>
                  <a:pt x="10485" y="4275"/>
                </a:moveTo>
                <a:lnTo>
                  <a:pt x="10485" y="4274"/>
                </a:lnTo>
                <a:lnTo>
                  <a:pt x="10485" y="4272"/>
                </a:lnTo>
                <a:lnTo>
                  <a:pt x="10483" y="4274"/>
                </a:lnTo>
                <a:lnTo>
                  <a:pt x="10485" y="4275"/>
                </a:lnTo>
                <a:close/>
                <a:moveTo>
                  <a:pt x="10570" y="4145"/>
                </a:moveTo>
                <a:lnTo>
                  <a:pt x="10583" y="4125"/>
                </a:lnTo>
                <a:lnTo>
                  <a:pt x="10572" y="4093"/>
                </a:lnTo>
                <a:lnTo>
                  <a:pt x="10553" y="4067"/>
                </a:lnTo>
                <a:lnTo>
                  <a:pt x="10537" y="4064"/>
                </a:lnTo>
                <a:lnTo>
                  <a:pt x="10544" y="4111"/>
                </a:lnTo>
                <a:lnTo>
                  <a:pt x="10523" y="4154"/>
                </a:lnTo>
                <a:lnTo>
                  <a:pt x="10492" y="4196"/>
                </a:lnTo>
                <a:lnTo>
                  <a:pt x="10473" y="4243"/>
                </a:lnTo>
                <a:lnTo>
                  <a:pt x="10499" y="4264"/>
                </a:lnTo>
                <a:lnTo>
                  <a:pt x="10516" y="4224"/>
                </a:lnTo>
                <a:lnTo>
                  <a:pt x="10537" y="4168"/>
                </a:lnTo>
                <a:lnTo>
                  <a:pt x="10570" y="4145"/>
                </a:lnTo>
                <a:close/>
                <a:moveTo>
                  <a:pt x="10455" y="4323"/>
                </a:moveTo>
                <a:lnTo>
                  <a:pt x="10481" y="4349"/>
                </a:lnTo>
                <a:lnTo>
                  <a:pt x="10500" y="4336"/>
                </a:lnTo>
                <a:lnTo>
                  <a:pt x="10504" y="4304"/>
                </a:lnTo>
                <a:lnTo>
                  <a:pt x="10485" y="4275"/>
                </a:lnTo>
                <a:lnTo>
                  <a:pt x="10469" y="4284"/>
                </a:lnTo>
                <a:lnTo>
                  <a:pt x="10457" y="4295"/>
                </a:lnTo>
                <a:lnTo>
                  <a:pt x="10450" y="4308"/>
                </a:lnTo>
                <a:lnTo>
                  <a:pt x="10455" y="4323"/>
                </a:lnTo>
                <a:close/>
                <a:moveTo>
                  <a:pt x="9715" y="4075"/>
                </a:moveTo>
                <a:lnTo>
                  <a:pt x="9717" y="4064"/>
                </a:lnTo>
                <a:lnTo>
                  <a:pt x="9715" y="4050"/>
                </a:lnTo>
                <a:lnTo>
                  <a:pt x="9712" y="4038"/>
                </a:lnTo>
                <a:lnTo>
                  <a:pt x="9705" y="4031"/>
                </a:lnTo>
                <a:lnTo>
                  <a:pt x="9692" y="4039"/>
                </a:lnTo>
                <a:lnTo>
                  <a:pt x="9692" y="4055"/>
                </a:lnTo>
                <a:lnTo>
                  <a:pt x="9701" y="4067"/>
                </a:lnTo>
                <a:lnTo>
                  <a:pt x="9715" y="4075"/>
                </a:lnTo>
                <a:close/>
                <a:moveTo>
                  <a:pt x="2254" y="8622"/>
                </a:moveTo>
                <a:lnTo>
                  <a:pt x="2250" y="8621"/>
                </a:lnTo>
                <a:lnTo>
                  <a:pt x="2248" y="8622"/>
                </a:lnTo>
                <a:lnTo>
                  <a:pt x="2245" y="8623"/>
                </a:lnTo>
                <a:lnTo>
                  <a:pt x="2245" y="8627"/>
                </a:lnTo>
                <a:lnTo>
                  <a:pt x="2249" y="8628"/>
                </a:lnTo>
                <a:lnTo>
                  <a:pt x="2251" y="8628"/>
                </a:lnTo>
                <a:lnTo>
                  <a:pt x="2253" y="8626"/>
                </a:lnTo>
                <a:lnTo>
                  <a:pt x="2254" y="8622"/>
                </a:lnTo>
                <a:close/>
                <a:moveTo>
                  <a:pt x="9619" y="3714"/>
                </a:moveTo>
                <a:lnTo>
                  <a:pt x="9617" y="3717"/>
                </a:lnTo>
                <a:lnTo>
                  <a:pt x="9617" y="3720"/>
                </a:lnTo>
                <a:lnTo>
                  <a:pt x="9620" y="3721"/>
                </a:lnTo>
                <a:lnTo>
                  <a:pt x="9622" y="3723"/>
                </a:lnTo>
                <a:lnTo>
                  <a:pt x="9624" y="3719"/>
                </a:lnTo>
                <a:lnTo>
                  <a:pt x="9624" y="3716"/>
                </a:lnTo>
                <a:lnTo>
                  <a:pt x="9622" y="3715"/>
                </a:lnTo>
                <a:lnTo>
                  <a:pt x="9619" y="3714"/>
                </a:lnTo>
                <a:close/>
                <a:moveTo>
                  <a:pt x="9464" y="3614"/>
                </a:moveTo>
                <a:lnTo>
                  <a:pt x="9528" y="3614"/>
                </a:lnTo>
                <a:lnTo>
                  <a:pt x="9549" y="3576"/>
                </a:lnTo>
                <a:lnTo>
                  <a:pt x="9527" y="3539"/>
                </a:lnTo>
                <a:lnTo>
                  <a:pt x="9467" y="3543"/>
                </a:lnTo>
                <a:lnTo>
                  <a:pt x="9472" y="3560"/>
                </a:lnTo>
                <a:lnTo>
                  <a:pt x="9477" y="3575"/>
                </a:lnTo>
                <a:lnTo>
                  <a:pt x="9476" y="3593"/>
                </a:lnTo>
                <a:lnTo>
                  <a:pt x="9464" y="3614"/>
                </a:lnTo>
                <a:close/>
                <a:moveTo>
                  <a:pt x="8689" y="3001"/>
                </a:moveTo>
                <a:lnTo>
                  <a:pt x="8683" y="2996"/>
                </a:lnTo>
                <a:lnTo>
                  <a:pt x="8679" y="2996"/>
                </a:lnTo>
                <a:lnTo>
                  <a:pt x="8676" y="2999"/>
                </a:lnTo>
                <a:lnTo>
                  <a:pt x="8677" y="3007"/>
                </a:lnTo>
                <a:lnTo>
                  <a:pt x="8684" y="3012"/>
                </a:lnTo>
                <a:lnTo>
                  <a:pt x="8688" y="3012"/>
                </a:lnTo>
                <a:lnTo>
                  <a:pt x="8690" y="3008"/>
                </a:lnTo>
                <a:lnTo>
                  <a:pt x="8689" y="3001"/>
                </a:lnTo>
                <a:close/>
                <a:moveTo>
                  <a:pt x="8717" y="3739"/>
                </a:moveTo>
                <a:lnTo>
                  <a:pt x="8723" y="3742"/>
                </a:lnTo>
                <a:lnTo>
                  <a:pt x="8728" y="3740"/>
                </a:lnTo>
                <a:lnTo>
                  <a:pt x="8732" y="3735"/>
                </a:lnTo>
                <a:lnTo>
                  <a:pt x="8736" y="3729"/>
                </a:lnTo>
                <a:lnTo>
                  <a:pt x="8730" y="3730"/>
                </a:lnTo>
                <a:lnTo>
                  <a:pt x="8723" y="3731"/>
                </a:lnTo>
                <a:lnTo>
                  <a:pt x="8719" y="3734"/>
                </a:lnTo>
                <a:lnTo>
                  <a:pt x="8717" y="3739"/>
                </a:lnTo>
                <a:close/>
                <a:moveTo>
                  <a:pt x="8742" y="3486"/>
                </a:moveTo>
                <a:lnTo>
                  <a:pt x="8723" y="3478"/>
                </a:lnTo>
                <a:lnTo>
                  <a:pt x="8717" y="3495"/>
                </a:lnTo>
                <a:lnTo>
                  <a:pt x="8722" y="3512"/>
                </a:lnTo>
                <a:lnTo>
                  <a:pt x="8739" y="3507"/>
                </a:lnTo>
                <a:lnTo>
                  <a:pt x="8742" y="3502"/>
                </a:lnTo>
                <a:lnTo>
                  <a:pt x="8745" y="3497"/>
                </a:lnTo>
                <a:lnTo>
                  <a:pt x="8745" y="3492"/>
                </a:lnTo>
                <a:lnTo>
                  <a:pt x="8742" y="3486"/>
                </a:lnTo>
                <a:close/>
                <a:moveTo>
                  <a:pt x="8805" y="3202"/>
                </a:moveTo>
                <a:lnTo>
                  <a:pt x="8816" y="3169"/>
                </a:lnTo>
                <a:lnTo>
                  <a:pt x="8793" y="3133"/>
                </a:lnTo>
                <a:lnTo>
                  <a:pt x="8756" y="3101"/>
                </a:lnTo>
                <a:lnTo>
                  <a:pt x="8727" y="3082"/>
                </a:lnTo>
                <a:lnTo>
                  <a:pt x="8722" y="3114"/>
                </a:lnTo>
                <a:lnTo>
                  <a:pt x="8744" y="3157"/>
                </a:lnTo>
                <a:lnTo>
                  <a:pt x="8777" y="3193"/>
                </a:lnTo>
                <a:lnTo>
                  <a:pt x="8805" y="3202"/>
                </a:lnTo>
                <a:close/>
                <a:moveTo>
                  <a:pt x="8647" y="3208"/>
                </a:moveTo>
                <a:lnTo>
                  <a:pt x="8680" y="3227"/>
                </a:lnTo>
                <a:lnTo>
                  <a:pt x="8695" y="3208"/>
                </a:lnTo>
                <a:lnTo>
                  <a:pt x="8693" y="3173"/>
                </a:lnTo>
                <a:lnTo>
                  <a:pt x="8674" y="3142"/>
                </a:lnTo>
                <a:lnTo>
                  <a:pt x="8663" y="3157"/>
                </a:lnTo>
                <a:lnTo>
                  <a:pt x="8653" y="3173"/>
                </a:lnTo>
                <a:lnTo>
                  <a:pt x="8647" y="3189"/>
                </a:lnTo>
                <a:lnTo>
                  <a:pt x="8647" y="3208"/>
                </a:lnTo>
                <a:close/>
                <a:moveTo>
                  <a:pt x="8675" y="2950"/>
                </a:moveTo>
                <a:lnTo>
                  <a:pt x="8670" y="2945"/>
                </a:lnTo>
                <a:lnTo>
                  <a:pt x="8663" y="2940"/>
                </a:lnTo>
                <a:lnTo>
                  <a:pt x="8662" y="2951"/>
                </a:lnTo>
                <a:lnTo>
                  <a:pt x="8667" y="2957"/>
                </a:lnTo>
                <a:lnTo>
                  <a:pt x="8674" y="2959"/>
                </a:lnTo>
                <a:lnTo>
                  <a:pt x="8675" y="2950"/>
                </a:lnTo>
                <a:close/>
                <a:moveTo>
                  <a:pt x="8605" y="3599"/>
                </a:moveTo>
                <a:lnTo>
                  <a:pt x="8573" y="3636"/>
                </a:lnTo>
                <a:lnTo>
                  <a:pt x="8587" y="3638"/>
                </a:lnTo>
                <a:lnTo>
                  <a:pt x="8624" y="3624"/>
                </a:lnTo>
                <a:lnTo>
                  <a:pt x="8665" y="3610"/>
                </a:lnTo>
                <a:lnTo>
                  <a:pt x="8672" y="3596"/>
                </a:lnTo>
                <a:lnTo>
                  <a:pt x="8656" y="3586"/>
                </a:lnTo>
                <a:lnTo>
                  <a:pt x="8629" y="3585"/>
                </a:lnTo>
                <a:lnTo>
                  <a:pt x="8605" y="3599"/>
                </a:lnTo>
                <a:close/>
                <a:moveTo>
                  <a:pt x="8709" y="3440"/>
                </a:moveTo>
                <a:lnTo>
                  <a:pt x="8690" y="3402"/>
                </a:lnTo>
                <a:lnTo>
                  <a:pt x="8672" y="3362"/>
                </a:lnTo>
                <a:lnTo>
                  <a:pt x="8649" y="3330"/>
                </a:lnTo>
                <a:lnTo>
                  <a:pt x="8615" y="3309"/>
                </a:lnTo>
                <a:lnTo>
                  <a:pt x="8623" y="3353"/>
                </a:lnTo>
                <a:lnTo>
                  <a:pt x="8635" y="3395"/>
                </a:lnTo>
                <a:lnTo>
                  <a:pt x="8662" y="3427"/>
                </a:lnTo>
                <a:lnTo>
                  <a:pt x="8709" y="3440"/>
                </a:lnTo>
                <a:close/>
                <a:moveTo>
                  <a:pt x="9184" y="3812"/>
                </a:moveTo>
                <a:lnTo>
                  <a:pt x="9211" y="3800"/>
                </a:lnTo>
                <a:lnTo>
                  <a:pt x="9203" y="3763"/>
                </a:lnTo>
                <a:lnTo>
                  <a:pt x="9174" y="3729"/>
                </a:lnTo>
                <a:lnTo>
                  <a:pt x="9141" y="3721"/>
                </a:lnTo>
                <a:lnTo>
                  <a:pt x="9131" y="3744"/>
                </a:lnTo>
                <a:lnTo>
                  <a:pt x="9142" y="3771"/>
                </a:lnTo>
                <a:lnTo>
                  <a:pt x="9164" y="3795"/>
                </a:lnTo>
                <a:lnTo>
                  <a:pt x="9184" y="3812"/>
                </a:lnTo>
                <a:close/>
                <a:moveTo>
                  <a:pt x="9217" y="3338"/>
                </a:moveTo>
                <a:lnTo>
                  <a:pt x="9215" y="3324"/>
                </a:lnTo>
                <a:lnTo>
                  <a:pt x="9203" y="3324"/>
                </a:lnTo>
                <a:lnTo>
                  <a:pt x="9195" y="3334"/>
                </a:lnTo>
                <a:lnTo>
                  <a:pt x="9197" y="3348"/>
                </a:lnTo>
                <a:lnTo>
                  <a:pt x="9209" y="3367"/>
                </a:lnTo>
                <a:lnTo>
                  <a:pt x="9217" y="3370"/>
                </a:lnTo>
                <a:lnTo>
                  <a:pt x="9220" y="3358"/>
                </a:lnTo>
                <a:lnTo>
                  <a:pt x="9217" y="3338"/>
                </a:lnTo>
                <a:close/>
                <a:moveTo>
                  <a:pt x="9408" y="2639"/>
                </a:moveTo>
                <a:lnTo>
                  <a:pt x="9415" y="2629"/>
                </a:lnTo>
                <a:lnTo>
                  <a:pt x="9410" y="2618"/>
                </a:lnTo>
                <a:lnTo>
                  <a:pt x="9401" y="2613"/>
                </a:lnTo>
                <a:lnTo>
                  <a:pt x="9391" y="2616"/>
                </a:lnTo>
                <a:lnTo>
                  <a:pt x="9384" y="2627"/>
                </a:lnTo>
                <a:lnTo>
                  <a:pt x="9388" y="2637"/>
                </a:lnTo>
                <a:lnTo>
                  <a:pt x="9397" y="2643"/>
                </a:lnTo>
                <a:lnTo>
                  <a:pt x="9408" y="2639"/>
                </a:lnTo>
                <a:close/>
                <a:moveTo>
                  <a:pt x="8726" y="3519"/>
                </a:moveTo>
                <a:lnTo>
                  <a:pt x="8726" y="3518"/>
                </a:lnTo>
                <a:lnTo>
                  <a:pt x="8726" y="3516"/>
                </a:lnTo>
                <a:lnTo>
                  <a:pt x="8725" y="3518"/>
                </a:lnTo>
                <a:lnTo>
                  <a:pt x="8726" y="3519"/>
                </a:lnTo>
                <a:close/>
                <a:moveTo>
                  <a:pt x="9080" y="3441"/>
                </a:moveTo>
                <a:lnTo>
                  <a:pt x="9081" y="3437"/>
                </a:lnTo>
                <a:lnTo>
                  <a:pt x="9081" y="3435"/>
                </a:lnTo>
                <a:lnTo>
                  <a:pt x="9080" y="3434"/>
                </a:lnTo>
                <a:lnTo>
                  <a:pt x="9076" y="3432"/>
                </a:lnTo>
                <a:lnTo>
                  <a:pt x="9075" y="3436"/>
                </a:lnTo>
                <a:lnTo>
                  <a:pt x="9075" y="3439"/>
                </a:lnTo>
                <a:lnTo>
                  <a:pt x="9076" y="3440"/>
                </a:lnTo>
                <a:lnTo>
                  <a:pt x="9080" y="3441"/>
                </a:lnTo>
                <a:close/>
                <a:moveTo>
                  <a:pt x="9033" y="3026"/>
                </a:moveTo>
                <a:lnTo>
                  <a:pt x="9028" y="3035"/>
                </a:lnTo>
                <a:lnTo>
                  <a:pt x="9025" y="3048"/>
                </a:lnTo>
                <a:lnTo>
                  <a:pt x="9028" y="3057"/>
                </a:lnTo>
                <a:lnTo>
                  <a:pt x="9037" y="3056"/>
                </a:lnTo>
                <a:lnTo>
                  <a:pt x="9044" y="3049"/>
                </a:lnTo>
                <a:lnTo>
                  <a:pt x="9046" y="3039"/>
                </a:lnTo>
                <a:lnTo>
                  <a:pt x="9042" y="3030"/>
                </a:lnTo>
                <a:lnTo>
                  <a:pt x="9033" y="3026"/>
                </a:lnTo>
                <a:close/>
                <a:moveTo>
                  <a:pt x="9009" y="2859"/>
                </a:moveTo>
                <a:lnTo>
                  <a:pt x="8989" y="2823"/>
                </a:lnTo>
                <a:lnTo>
                  <a:pt x="8973" y="2837"/>
                </a:lnTo>
                <a:lnTo>
                  <a:pt x="8964" y="2871"/>
                </a:lnTo>
                <a:lnTo>
                  <a:pt x="8972" y="2898"/>
                </a:lnTo>
                <a:lnTo>
                  <a:pt x="8989" y="2898"/>
                </a:lnTo>
                <a:lnTo>
                  <a:pt x="9002" y="2890"/>
                </a:lnTo>
                <a:lnTo>
                  <a:pt x="9009" y="2876"/>
                </a:lnTo>
                <a:lnTo>
                  <a:pt x="9009" y="2859"/>
                </a:lnTo>
                <a:close/>
                <a:moveTo>
                  <a:pt x="8963" y="3437"/>
                </a:moveTo>
                <a:lnTo>
                  <a:pt x="8978" y="3453"/>
                </a:lnTo>
                <a:lnTo>
                  <a:pt x="8987" y="3453"/>
                </a:lnTo>
                <a:lnTo>
                  <a:pt x="8988" y="3439"/>
                </a:lnTo>
                <a:lnTo>
                  <a:pt x="8984" y="3417"/>
                </a:lnTo>
                <a:lnTo>
                  <a:pt x="8970" y="3411"/>
                </a:lnTo>
                <a:lnTo>
                  <a:pt x="8959" y="3411"/>
                </a:lnTo>
                <a:lnTo>
                  <a:pt x="8955" y="3420"/>
                </a:lnTo>
                <a:lnTo>
                  <a:pt x="8963" y="3437"/>
                </a:lnTo>
                <a:close/>
                <a:moveTo>
                  <a:pt x="10537" y="4196"/>
                </a:moveTo>
                <a:lnTo>
                  <a:pt x="10537" y="4197"/>
                </a:lnTo>
                <a:lnTo>
                  <a:pt x="10538" y="4197"/>
                </a:lnTo>
                <a:lnTo>
                  <a:pt x="10537" y="4196"/>
                </a:lnTo>
                <a:lnTo>
                  <a:pt x="10537" y="4196"/>
                </a:lnTo>
                <a:close/>
                <a:moveTo>
                  <a:pt x="1649" y="9503"/>
                </a:moveTo>
                <a:lnTo>
                  <a:pt x="1654" y="9516"/>
                </a:lnTo>
                <a:lnTo>
                  <a:pt x="1663" y="9522"/>
                </a:lnTo>
                <a:lnTo>
                  <a:pt x="1673" y="9518"/>
                </a:lnTo>
                <a:lnTo>
                  <a:pt x="1677" y="9505"/>
                </a:lnTo>
                <a:lnTo>
                  <a:pt x="1671" y="9503"/>
                </a:lnTo>
                <a:lnTo>
                  <a:pt x="1664" y="9502"/>
                </a:lnTo>
                <a:lnTo>
                  <a:pt x="1657" y="9503"/>
                </a:lnTo>
                <a:lnTo>
                  <a:pt x="1649" y="9503"/>
                </a:lnTo>
                <a:close/>
                <a:moveTo>
                  <a:pt x="9355" y="2535"/>
                </a:moveTo>
                <a:lnTo>
                  <a:pt x="9345" y="2527"/>
                </a:lnTo>
                <a:lnTo>
                  <a:pt x="9331" y="2530"/>
                </a:lnTo>
                <a:lnTo>
                  <a:pt x="9319" y="2539"/>
                </a:lnTo>
                <a:lnTo>
                  <a:pt x="9312" y="2550"/>
                </a:lnTo>
                <a:lnTo>
                  <a:pt x="9324" y="2551"/>
                </a:lnTo>
                <a:lnTo>
                  <a:pt x="9340" y="2551"/>
                </a:lnTo>
                <a:lnTo>
                  <a:pt x="9351" y="2546"/>
                </a:lnTo>
                <a:lnTo>
                  <a:pt x="9355" y="2535"/>
                </a:lnTo>
                <a:close/>
                <a:moveTo>
                  <a:pt x="9366" y="3297"/>
                </a:moveTo>
                <a:lnTo>
                  <a:pt x="9359" y="3291"/>
                </a:lnTo>
                <a:lnTo>
                  <a:pt x="9350" y="3290"/>
                </a:lnTo>
                <a:lnTo>
                  <a:pt x="9341" y="3294"/>
                </a:lnTo>
                <a:lnTo>
                  <a:pt x="9338" y="3301"/>
                </a:lnTo>
                <a:lnTo>
                  <a:pt x="9349" y="3305"/>
                </a:lnTo>
                <a:lnTo>
                  <a:pt x="9359" y="3309"/>
                </a:lnTo>
                <a:lnTo>
                  <a:pt x="9366" y="3308"/>
                </a:lnTo>
                <a:lnTo>
                  <a:pt x="9366" y="3297"/>
                </a:lnTo>
                <a:close/>
                <a:moveTo>
                  <a:pt x="9342" y="2268"/>
                </a:moveTo>
                <a:lnTo>
                  <a:pt x="9333" y="2265"/>
                </a:lnTo>
                <a:lnTo>
                  <a:pt x="9331" y="2271"/>
                </a:lnTo>
                <a:lnTo>
                  <a:pt x="9336" y="2279"/>
                </a:lnTo>
                <a:lnTo>
                  <a:pt x="9345" y="2282"/>
                </a:lnTo>
                <a:lnTo>
                  <a:pt x="9345" y="2274"/>
                </a:lnTo>
                <a:lnTo>
                  <a:pt x="9342" y="2268"/>
                </a:lnTo>
                <a:close/>
                <a:moveTo>
                  <a:pt x="9219" y="3231"/>
                </a:moveTo>
                <a:lnTo>
                  <a:pt x="9214" y="3226"/>
                </a:lnTo>
                <a:lnTo>
                  <a:pt x="9209" y="3225"/>
                </a:lnTo>
                <a:lnTo>
                  <a:pt x="9206" y="3227"/>
                </a:lnTo>
                <a:lnTo>
                  <a:pt x="9205" y="3234"/>
                </a:lnTo>
                <a:lnTo>
                  <a:pt x="9210" y="3239"/>
                </a:lnTo>
                <a:lnTo>
                  <a:pt x="9215" y="3240"/>
                </a:lnTo>
                <a:lnTo>
                  <a:pt x="9219" y="3238"/>
                </a:lnTo>
                <a:lnTo>
                  <a:pt x="9219" y="3231"/>
                </a:lnTo>
                <a:close/>
                <a:moveTo>
                  <a:pt x="9231" y="2642"/>
                </a:moveTo>
                <a:lnTo>
                  <a:pt x="9230" y="2644"/>
                </a:lnTo>
                <a:lnTo>
                  <a:pt x="9230" y="2647"/>
                </a:lnTo>
                <a:lnTo>
                  <a:pt x="9231" y="2648"/>
                </a:lnTo>
                <a:lnTo>
                  <a:pt x="9235" y="2649"/>
                </a:lnTo>
                <a:lnTo>
                  <a:pt x="9237" y="2646"/>
                </a:lnTo>
                <a:lnTo>
                  <a:pt x="9237" y="2643"/>
                </a:lnTo>
                <a:lnTo>
                  <a:pt x="9235" y="2642"/>
                </a:lnTo>
                <a:lnTo>
                  <a:pt x="9231" y="2642"/>
                </a:lnTo>
                <a:close/>
                <a:moveTo>
                  <a:pt x="9298" y="3670"/>
                </a:moveTo>
                <a:lnTo>
                  <a:pt x="9299" y="3668"/>
                </a:lnTo>
                <a:lnTo>
                  <a:pt x="9299" y="3664"/>
                </a:lnTo>
                <a:lnTo>
                  <a:pt x="9294" y="3663"/>
                </a:lnTo>
                <a:lnTo>
                  <a:pt x="9291" y="3665"/>
                </a:lnTo>
                <a:lnTo>
                  <a:pt x="9291" y="3669"/>
                </a:lnTo>
                <a:lnTo>
                  <a:pt x="9298" y="3670"/>
                </a:lnTo>
                <a:close/>
                <a:moveTo>
                  <a:pt x="9276" y="3980"/>
                </a:moveTo>
                <a:lnTo>
                  <a:pt x="9294" y="3983"/>
                </a:lnTo>
                <a:lnTo>
                  <a:pt x="9307" y="3994"/>
                </a:lnTo>
                <a:lnTo>
                  <a:pt x="9318" y="4004"/>
                </a:lnTo>
                <a:lnTo>
                  <a:pt x="9332" y="4006"/>
                </a:lnTo>
                <a:lnTo>
                  <a:pt x="9324" y="3959"/>
                </a:lnTo>
                <a:lnTo>
                  <a:pt x="9324" y="3911"/>
                </a:lnTo>
                <a:lnTo>
                  <a:pt x="9310" y="3878"/>
                </a:lnTo>
                <a:lnTo>
                  <a:pt x="9263" y="3871"/>
                </a:lnTo>
                <a:lnTo>
                  <a:pt x="9259" y="3899"/>
                </a:lnTo>
                <a:lnTo>
                  <a:pt x="9257" y="3931"/>
                </a:lnTo>
                <a:lnTo>
                  <a:pt x="9259" y="3961"/>
                </a:lnTo>
                <a:lnTo>
                  <a:pt x="9276" y="3980"/>
                </a:lnTo>
                <a:close/>
                <a:moveTo>
                  <a:pt x="9234" y="3483"/>
                </a:moveTo>
                <a:lnTo>
                  <a:pt x="9229" y="3483"/>
                </a:lnTo>
                <a:lnTo>
                  <a:pt x="9228" y="3479"/>
                </a:lnTo>
                <a:lnTo>
                  <a:pt x="9230" y="3476"/>
                </a:lnTo>
                <a:lnTo>
                  <a:pt x="9237" y="3477"/>
                </a:lnTo>
                <a:lnTo>
                  <a:pt x="9235" y="3481"/>
                </a:lnTo>
                <a:lnTo>
                  <a:pt x="9234" y="3483"/>
                </a:lnTo>
                <a:close/>
                <a:moveTo>
                  <a:pt x="9258" y="3519"/>
                </a:moveTo>
                <a:lnTo>
                  <a:pt x="9280" y="3524"/>
                </a:lnTo>
                <a:lnTo>
                  <a:pt x="9294" y="3546"/>
                </a:lnTo>
                <a:lnTo>
                  <a:pt x="9304" y="3557"/>
                </a:lnTo>
                <a:lnTo>
                  <a:pt x="9318" y="3537"/>
                </a:lnTo>
                <a:lnTo>
                  <a:pt x="9321" y="3511"/>
                </a:lnTo>
                <a:lnTo>
                  <a:pt x="9295" y="3496"/>
                </a:lnTo>
                <a:lnTo>
                  <a:pt x="9265" y="3482"/>
                </a:lnTo>
                <a:lnTo>
                  <a:pt x="9248" y="3455"/>
                </a:lnTo>
                <a:lnTo>
                  <a:pt x="9251" y="3440"/>
                </a:lnTo>
                <a:lnTo>
                  <a:pt x="9261" y="3434"/>
                </a:lnTo>
                <a:lnTo>
                  <a:pt x="9275" y="3437"/>
                </a:lnTo>
                <a:lnTo>
                  <a:pt x="9285" y="3449"/>
                </a:lnTo>
                <a:lnTo>
                  <a:pt x="9308" y="3444"/>
                </a:lnTo>
                <a:lnTo>
                  <a:pt x="9289" y="3417"/>
                </a:lnTo>
                <a:lnTo>
                  <a:pt x="9251" y="3389"/>
                </a:lnTo>
                <a:lnTo>
                  <a:pt x="9215" y="3378"/>
                </a:lnTo>
                <a:lnTo>
                  <a:pt x="9209" y="3388"/>
                </a:lnTo>
                <a:lnTo>
                  <a:pt x="9201" y="3397"/>
                </a:lnTo>
                <a:lnTo>
                  <a:pt x="9192" y="3399"/>
                </a:lnTo>
                <a:lnTo>
                  <a:pt x="9182" y="3393"/>
                </a:lnTo>
                <a:lnTo>
                  <a:pt x="9150" y="3389"/>
                </a:lnTo>
                <a:lnTo>
                  <a:pt x="9159" y="3414"/>
                </a:lnTo>
                <a:lnTo>
                  <a:pt x="9169" y="3449"/>
                </a:lnTo>
                <a:lnTo>
                  <a:pt x="9145" y="3470"/>
                </a:lnTo>
                <a:lnTo>
                  <a:pt x="9103" y="3519"/>
                </a:lnTo>
                <a:lnTo>
                  <a:pt x="9140" y="3556"/>
                </a:lnTo>
                <a:lnTo>
                  <a:pt x="9209" y="3563"/>
                </a:lnTo>
                <a:lnTo>
                  <a:pt x="9258" y="3519"/>
                </a:lnTo>
                <a:close/>
                <a:moveTo>
                  <a:pt x="1976" y="8412"/>
                </a:moveTo>
                <a:lnTo>
                  <a:pt x="1980" y="8411"/>
                </a:lnTo>
                <a:lnTo>
                  <a:pt x="1981" y="8411"/>
                </a:lnTo>
                <a:lnTo>
                  <a:pt x="1981" y="8409"/>
                </a:lnTo>
                <a:lnTo>
                  <a:pt x="1980" y="8406"/>
                </a:lnTo>
                <a:lnTo>
                  <a:pt x="1976" y="8412"/>
                </a:lnTo>
                <a:close/>
                <a:moveTo>
                  <a:pt x="1837" y="8805"/>
                </a:moveTo>
                <a:lnTo>
                  <a:pt x="1839" y="8807"/>
                </a:lnTo>
                <a:lnTo>
                  <a:pt x="1840" y="8807"/>
                </a:lnTo>
                <a:lnTo>
                  <a:pt x="1839" y="8805"/>
                </a:lnTo>
                <a:lnTo>
                  <a:pt x="1837" y="8805"/>
                </a:lnTo>
                <a:lnTo>
                  <a:pt x="1834" y="8801"/>
                </a:lnTo>
                <a:lnTo>
                  <a:pt x="1831" y="8799"/>
                </a:lnTo>
                <a:lnTo>
                  <a:pt x="1827" y="8799"/>
                </a:lnTo>
                <a:lnTo>
                  <a:pt x="1825" y="8805"/>
                </a:lnTo>
                <a:lnTo>
                  <a:pt x="1831" y="8805"/>
                </a:lnTo>
                <a:lnTo>
                  <a:pt x="1837" y="8805"/>
                </a:lnTo>
                <a:close/>
                <a:moveTo>
                  <a:pt x="1957" y="8737"/>
                </a:moveTo>
                <a:lnTo>
                  <a:pt x="1890" y="8770"/>
                </a:lnTo>
                <a:lnTo>
                  <a:pt x="1937" y="8791"/>
                </a:lnTo>
                <a:lnTo>
                  <a:pt x="2008" y="8822"/>
                </a:lnTo>
                <a:lnTo>
                  <a:pt x="2013" y="8877"/>
                </a:lnTo>
                <a:lnTo>
                  <a:pt x="2012" y="8877"/>
                </a:lnTo>
                <a:lnTo>
                  <a:pt x="2011" y="8877"/>
                </a:lnTo>
                <a:lnTo>
                  <a:pt x="1999" y="8870"/>
                </a:lnTo>
                <a:lnTo>
                  <a:pt x="1989" y="8873"/>
                </a:lnTo>
                <a:lnTo>
                  <a:pt x="1979" y="8879"/>
                </a:lnTo>
                <a:lnTo>
                  <a:pt x="1971" y="8888"/>
                </a:lnTo>
                <a:lnTo>
                  <a:pt x="1974" y="8897"/>
                </a:lnTo>
                <a:lnTo>
                  <a:pt x="1985" y="8893"/>
                </a:lnTo>
                <a:lnTo>
                  <a:pt x="1999" y="8884"/>
                </a:lnTo>
                <a:lnTo>
                  <a:pt x="2011" y="8877"/>
                </a:lnTo>
                <a:lnTo>
                  <a:pt x="2012" y="8878"/>
                </a:lnTo>
                <a:lnTo>
                  <a:pt x="2013" y="8877"/>
                </a:lnTo>
                <a:lnTo>
                  <a:pt x="2091" y="8882"/>
                </a:lnTo>
                <a:lnTo>
                  <a:pt x="2071" y="8842"/>
                </a:lnTo>
                <a:lnTo>
                  <a:pt x="2008" y="8785"/>
                </a:lnTo>
                <a:lnTo>
                  <a:pt x="1957" y="8737"/>
                </a:lnTo>
                <a:close/>
                <a:moveTo>
                  <a:pt x="1840" y="8603"/>
                </a:moveTo>
                <a:lnTo>
                  <a:pt x="1862" y="8579"/>
                </a:lnTo>
                <a:lnTo>
                  <a:pt x="1821" y="8563"/>
                </a:lnTo>
                <a:lnTo>
                  <a:pt x="1766" y="8566"/>
                </a:lnTo>
                <a:lnTo>
                  <a:pt x="1743" y="8598"/>
                </a:lnTo>
                <a:lnTo>
                  <a:pt x="1771" y="8636"/>
                </a:lnTo>
                <a:lnTo>
                  <a:pt x="1806" y="8682"/>
                </a:lnTo>
                <a:lnTo>
                  <a:pt x="1840" y="8717"/>
                </a:lnTo>
                <a:lnTo>
                  <a:pt x="1873" y="8729"/>
                </a:lnTo>
                <a:lnTo>
                  <a:pt x="1864" y="8693"/>
                </a:lnTo>
                <a:lnTo>
                  <a:pt x="1834" y="8663"/>
                </a:lnTo>
                <a:lnTo>
                  <a:pt x="1815" y="8635"/>
                </a:lnTo>
                <a:lnTo>
                  <a:pt x="1840" y="8603"/>
                </a:lnTo>
                <a:close/>
                <a:moveTo>
                  <a:pt x="1863" y="8804"/>
                </a:moveTo>
                <a:lnTo>
                  <a:pt x="1843" y="8818"/>
                </a:lnTo>
                <a:lnTo>
                  <a:pt x="1859" y="8845"/>
                </a:lnTo>
                <a:lnTo>
                  <a:pt x="1883" y="8857"/>
                </a:lnTo>
                <a:lnTo>
                  <a:pt x="1881" y="8824"/>
                </a:lnTo>
                <a:lnTo>
                  <a:pt x="1880" y="8817"/>
                </a:lnTo>
                <a:lnTo>
                  <a:pt x="1876" y="8810"/>
                </a:lnTo>
                <a:lnTo>
                  <a:pt x="1871" y="8807"/>
                </a:lnTo>
                <a:lnTo>
                  <a:pt x="1863" y="8804"/>
                </a:lnTo>
                <a:close/>
                <a:moveTo>
                  <a:pt x="2133" y="8421"/>
                </a:moveTo>
                <a:lnTo>
                  <a:pt x="2102" y="8392"/>
                </a:lnTo>
                <a:lnTo>
                  <a:pt x="2076" y="8385"/>
                </a:lnTo>
                <a:lnTo>
                  <a:pt x="2051" y="8397"/>
                </a:lnTo>
                <a:lnTo>
                  <a:pt x="2025" y="8422"/>
                </a:lnTo>
                <a:lnTo>
                  <a:pt x="2051" y="8473"/>
                </a:lnTo>
                <a:lnTo>
                  <a:pt x="2091" y="8486"/>
                </a:lnTo>
                <a:lnTo>
                  <a:pt x="2124" y="8467"/>
                </a:lnTo>
                <a:lnTo>
                  <a:pt x="2133" y="8421"/>
                </a:lnTo>
                <a:close/>
                <a:moveTo>
                  <a:pt x="2030" y="8535"/>
                </a:moveTo>
                <a:lnTo>
                  <a:pt x="2027" y="8555"/>
                </a:lnTo>
                <a:lnTo>
                  <a:pt x="2044" y="8560"/>
                </a:lnTo>
                <a:lnTo>
                  <a:pt x="2062" y="8552"/>
                </a:lnTo>
                <a:lnTo>
                  <a:pt x="2068" y="8535"/>
                </a:lnTo>
                <a:lnTo>
                  <a:pt x="2060" y="8532"/>
                </a:lnTo>
                <a:lnTo>
                  <a:pt x="2050" y="8530"/>
                </a:lnTo>
                <a:lnTo>
                  <a:pt x="2040" y="8532"/>
                </a:lnTo>
                <a:lnTo>
                  <a:pt x="2030" y="8535"/>
                </a:lnTo>
                <a:close/>
                <a:moveTo>
                  <a:pt x="1957" y="8977"/>
                </a:moveTo>
                <a:lnTo>
                  <a:pt x="1983" y="8977"/>
                </a:lnTo>
                <a:lnTo>
                  <a:pt x="1979" y="8962"/>
                </a:lnTo>
                <a:lnTo>
                  <a:pt x="1958" y="8943"/>
                </a:lnTo>
                <a:lnTo>
                  <a:pt x="1933" y="8930"/>
                </a:lnTo>
                <a:lnTo>
                  <a:pt x="1936" y="8945"/>
                </a:lnTo>
                <a:lnTo>
                  <a:pt x="1942" y="8958"/>
                </a:lnTo>
                <a:lnTo>
                  <a:pt x="1950" y="8968"/>
                </a:lnTo>
                <a:lnTo>
                  <a:pt x="1957" y="8977"/>
                </a:lnTo>
                <a:close/>
                <a:moveTo>
                  <a:pt x="2175" y="8478"/>
                </a:moveTo>
                <a:lnTo>
                  <a:pt x="2175" y="8487"/>
                </a:lnTo>
                <a:lnTo>
                  <a:pt x="2185" y="8493"/>
                </a:lnTo>
                <a:lnTo>
                  <a:pt x="2198" y="8495"/>
                </a:lnTo>
                <a:lnTo>
                  <a:pt x="2204" y="8488"/>
                </a:lnTo>
                <a:lnTo>
                  <a:pt x="2200" y="8478"/>
                </a:lnTo>
                <a:lnTo>
                  <a:pt x="2193" y="8473"/>
                </a:lnTo>
                <a:lnTo>
                  <a:pt x="2184" y="8473"/>
                </a:lnTo>
                <a:lnTo>
                  <a:pt x="2175" y="8478"/>
                </a:lnTo>
                <a:close/>
                <a:moveTo>
                  <a:pt x="1941" y="8903"/>
                </a:moveTo>
                <a:lnTo>
                  <a:pt x="1933" y="8885"/>
                </a:lnTo>
                <a:lnTo>
                  <a:pt x="1923" y="8868"/>
                </a:lnTo>
                <a:lnTo>
                  <a:pt x="1910" y="8855"/>
                </a:lnTo>
                <a:lnTo>
                  <a:pt x="1892" y="8854"/>
                </a:lnTo>
                <a:lnTo>
                  <a:pt x="1892" y="8852"/>
                </a:lnTo>
                <a:lnTo>
                  <a:pt x="1891" y="8852"/>
                </a:lnTo>
                <a:lnTo>
                  <a:pt x="1892" y="8854"/>
                </a:lnTo>
                <a:lnTo>
                  <a:pt x="1892" y="8854"/>
                </a:lnTo>
                <a:lnTo>
                  <a:pt x="1896" y="8873"/>
                </a:lnTo>
                <a:lnTo>
                  <a:pt x="1905" y="8887"/>
                </a:lnTo>
                <a:lnTo>
                  <a:pt x="1922" y="8896"/>
                </a:lnTo>
                <a:lnTo>
                  <a:pt x="1941" y="8903"/>
                </a:lnTo>
                <a:close/>
                <a:moveTo>
                  <a:pt x="1669" y="8266"/>
                </a:moveTo>
                <a:lnTo>
                  <a:pt x="1624" y="8232"/>
                </a:lnTo>
                <a:lnTo>
                  <a:pt x="1624" y="8268"/>
                </a:lnTo>
                <a:lnTo>
                  <a:pt x="1659" y="8313"/>
                </a:lnTo>
                <a:lnTo>
                  <a:pt x="1715" y="8306"/>
                </a:lnTo>
                <a:lnTo>
                  <a:pt x="1746" y="8254"/>
                </a:lnTo>
                <a:lnTo>
                  <a:pt x="1761" y="8212"/>
                </a:lnTo>
                <a:lnTo>
                  <a:pt x="1743" y="8183"/>
                </a:lnTo>
                <a:lnTo>
                  <a:pt x="1682" y="8170"/>
                </a:lnTo>
                <a:lnTo>
                  <a:pt x="1632" y="8141"/>
                </a:lnTo>
                <a:lnTo>
                  <a:pt x="1660" y="8193"/>
                </a:lnTo>
                <a:lnTo>
                  <a:pt x="1695" y="8258"/>
                </a:lnTo>
                <a:lnTo>
                  <a:pt x="1669" y="8266"/>
                </a:lnTo>
                <a:close/>
                <a:moveTo>
                  <a:pt x="2199" y="8561"/>
                </a:moveTo>
                <a:lnTo>
                  <a:pt x="2204" y="8566"/>
                </a:lnTo>
                <a:lnTo>
                  <a:pt x="2209" y="8567"/>
                </a:lnTo>
                <a:lnTo>
                  <a:pt x="2212" y="8565"/>
                </a:lnTo>
                <a:lnTo>
                  <a:pt x="2212" y="8558"/>
                </a:lnTo>
                <a:lnTo>
                  <a:pt x="2207" y="8553"/>
                </a:lnTo>
                <a:lnTo>
                  <a:pt x="2202" y="8551"/>
                </a:lnTo>
                <a:lnTo>
                  <a:pt x="2199" y="8553"/>
                </a:lnTo>
                <a:lnTo>
                  <a:pt x="2199" y="8561"/>
                </a:lnTo>
                <a:close/>
                <a:moveTo>
                  <a:pt x="2147" y="8383"/>
                </a:moveTo>
                <a:lnTo>
                  <a:pt x="2153" y="8381"/>
                </a:lnTo>
                <a:lnTo>
                  <a:pt x="2158" y="8380"/>
                </a:lnTo>
                <a:lnTo>
                  <a:pt x="2162" y="8375"/>
                </a:lnTo>
                <a:lnTo>
                  <a:pt x="2164" y="8367"/>
                </a:lnTo>
                <a:lnTo>
                  <a:pt x="2156" y="8369"/>
                </a:lnTo>
                <a:lnTo>
                  <a:pt x="2151" y="8371"/>
                </a:lnTo>
                <a:lnTo>
                  <a:pt x="2148" y="8376"/>
                </a:lnTo>
                <a:lnTo>
                  <a:pt x="2147" y="8383"/>
                </a:lnTo>
                <a:close/>
                <a:moveTo>
                  <a:pt x="2120" y="8537"/>
                </a:moveTo>
                <a:lnTo>
                  <a:pt x="2111" y="8558"/>
                </a:lnTo>
                <a:lnTo>
                  <a:pt x="2105" y="8586"/>
                </a:lnTo>
                <a:lnTo>
                  <a:pt x="2107" y="8609"/>
                </a:lnTo>
                <a:lnTo>
                  <a:pt x="2130" y="8619"/>
                </a:lnTo>
                <a:lnTo>
                  <a:pt x="2147" y="8605"/>
                </a:lnTo>
                <a:lnTo>
                  <a:pt x="2144" y="8577"/>
                </a:lnTo>
                <a:lnTo>
                  <a:pt x="2133" y="8549"/>
                </a:lnTo>
                <a:lnTo>
                  <a:pt x="2120" y="8537"/>
                </a:lnTo>
                <a:close/>
                <a:moveTo>
                  <a:pt x="2125" y="8730"/>
                </a:moveTo>
                <a:lnTo>
                  <a:pt x="2138" y="8775"/>
                </a:lnTo>
                <a:lnTo>
                  <a:pt x="2164" y="8819"/>
                </a:lnTo>
                <a:lnTo>
                  <a:pt x="2199" y="8854"/>
                </a:lnTo>
                <a:lnTo>
                  <a:pt x="2237" y="8869"/>
                </a:lnTo>
                <a:lnTo>
                  <a:pt x="2212" y="8805"/>
                </a:lnTo>
                <a:lnTo>
                  <a:pt x="2213" y="8737"/>
                </a:lnTo>
                <a:lnTo>
                  <a:pt x="2198" y="8700"/>
                </a:lnTo>
                <a:lnTo>
                  <a:pt x="2125" y="8730"/>
                </a:lnTo>
                <a:close/>
                <a:moveTo>
                  <a:pt x="1638" y="9158"/>
                </a:moveTo>
                <a:lnTo>
                  <a:pt x="1630" y="9145"/>
                </a:lnTo>
                <a:lnTo>
                  <a:pt x="1620" y="9136"/>
                </a:lnTo>
                <a:lnTo>
                  <a:pt x="1612" y="9135"/>
                </a:lnTo>
                <a:lnTo>
                  <a:pt x="1612" y="9148"/>
                </a:lnTo>
                <a:lnTo>
                  <a:pt x="1621" y="9164"/>
                </a:lnTo>
                <a:lnTo>
                  <a:pt x="1635" y="9174"/>
                </a:lnTo>
                <a:lnTo>
                  <a:pt x="1643" y="9174"/>
                </a:lnTo>
                <a:lnTo>
                  <a:pt x="1638" y="9158"/>
                </a:lnTo>
                <a:close/>
                <a:moveTo>
                  <a:pt x="1678" y="8590"/>
                </a:moveTo>
                <a:lnTo>
                  <a:pt x="1683" y="8593"/>
                </a:lnTo>
                <a:lnTo>
                  <a:pt x="1687" y="8590"/>
                </a:lnTo>
                <a:lnTo>
                  <a:pt x="1686" y="8586"/>
                </a:lnTo>
                <a:lnTo>
                  <a:pt x="1681" y="8584"/>
                </a:lnTo>
                <a:lnTo>
                  <a:pt x="1680" y="8588"/>
                </a:lnTo>
                <a:lnTo>
                  <a:pt x="1678" y="8590"/>
                </a:lnTo>
                <a:close/>
                <a:moveTo>
                  <a:pt x="1823" y="9205"/>
                </a:moveTo>
                <a:lnTo>
                  <a:pt x="1835" y="9191"/>
                </a:lnTo>
                <a:lnTo>
                  <a:pt x="1849" y="9177"/>
                </a:lnTo>
                <a:lnTo>
                  <a:pt x="1857" y="9163"/>
                </a:lnTo>
                <a:lnTo>
                  <a:pt x="1850" y="9152"/>
                </a:lnTo>
                <a:lnTo>
                  <a:pt x="1827" y="9150"/>
                </a:lnTo>
                <a:lnTo>
                  <a:pt x="1813" y="9166"/>
                </a:lnTo>
                <a:lnTo>
                  <a:pt x="1811" y="9187"/>
                </a:lnTo>
                <a:lnTo>
                  <a:pt x="1823" y="9205"/>
                </a:lnTo>
                <a:close/>
                <a:moveTo>
                  <a:pt x="1615" y="9014"/>
                </a:moveTo>
                <a:lnTo>
                  <a:pt x="1616" y="9011"/>
                </a:lnTo>
                <a:lnTo>
                  <a:pt x="1616" y="9008"/>
                </a:lnTo>
                <a:lnTo>
                  <a:pt x="1613" y="9006"/>
                </a:lnTo>
                <a:lnTo>
                  <a:pt x="1610" y="9006"/>
                </a:lnTo>
                <a:lnTo>
                  <a:pt x="1608" y="9009"/>
                </a:lnTo>
                <a:lnTo>
                  <a:pt x="1608" y="9011"/>
                </a:lnTo>
                <a:lnTo>
                  <a:pt x="1611" y="9014"/>
                </a:lnTo>
                <a:lnTo>
                  <a:pt x="1615" y="9014"/>
                </a:lnTo>
                <a:close/>
                <a:moveTo>
                  <a:pt x="1658" y="9048"/>
                </a:moveTo>
                <a:lnTo>
                  <a:pt x="1659" y="9045"/>
                </a:lnTo>
                <a:lnTo>
                  <a:pt x="1659" y="9042"/>
                </a:lnTo>
                <a:lnTo>
                  <a:pt x="1657" y="9041"/>
                </a:lnTo>
                <a:lnTo>
                  <a:pt x="1653" y="9039"/>
                </a:lnTo>
                <a:lnTo>
                  <a:pt x="1652" y="9043"/>
                </a:lnTo>
                <a:lnTo>
                  <a:pt x="1653" y="9046"/>
                </a:lnTo>
                <a:lnTo>
                  <a:pt x="1654" y="9047"/>
                </a:lnTo>
                <a:lnTo>
                  <a:pt x="1658" y="9048"/>
                </a:lnTo>
                <a:close/>
                <a:moveTo>
                  <a:pt x="1666" y="8682"/>
                </a:moveTo>
                <a:lnTo>
                  <a:pt x="1650" y="8675"/>
                </a:lnTo>
                <a:lnTo>
                  <a:pt x="1639" y="8678"/>
                </a:lnTo>
                <a:lnTo>
                  <a:pt x="1631" y="8688"/>
                </a:lnTo>
                <a:lnTo>
                  <a:pt x="1632" y="8703"/>
                </a:lnTo>
                <a:lnTo>
                  <a:pt x="1643" y="8705"/>
                </a:lnTo>
                <a:lnTo>
                  <a:pt x="1654" y="8700"/>
                </a:lnTo>
                <a:lnTo>
                  <a:pt x="1663" y="8691"/>
                </a:lnTo>
                <a:lnTo>
                  <a:pt x="1666" y="8682"/>
                </a:lnTo>
                <a:close/>
                <a:moveTo>
                  <a:pt x="1666" y="8420"/>
                </a:moveTo>
                <a:lnTo>
                  <a:pt x="1668" y="8411"/>
                </a:lnTo>
                <a:lnTo>
                  <a:pt x="1663" y="8408"/>
                </a:lnTo>
                <a:lnTo>
                  <a:pt x="1655" y="8413"/>
                </a:lnTo>
                <a:lnTo>
                  <a:pt x="1653" y="8422"/>
                </a:lnTo>
                <a:lnTo>
                  <a:pt x="1660" y="8422"/>
                </a:lnTo>
                <a:lnTo>
                  <a:pt x="1666" y="8420"/>
                </a:lnTo>
                <a:close/>
                <a:moveTo>
                  <a:pt x="1715" y="8913"/>
                </a:moveTo>
                <a:lnTo>
                  <a:pt x="1757" y="8990"/>
                </a:lnTo>
                <a:lnTo>
                  <a:pt x="1813" y="8997"/>
                </a:lnTo>
                <a:lnTo>
                  <a:pt x="1850" y="8953"/>
                </a:lnTo>
                <a:lnTo>
                  <a:pt x="1839" y="8869"/>
                </a:lnTo>
                <a:lnTo>
                  <a:pt x="1803" y="8856"/>
                </a:lnTo>
                <a:lnTo>
                  <a:pt x="1756" y="8864"/>
                </a:lnTo>
                <a:lnTo>
                  <a:pt x="1719" y="8885"/>
                </a:lnTo>
                <a:lnTo>
                  <a:pt x="1715" y="8913"/>
                </a:lnTo>
                <a:close/>
                <a:moveTo>
                  <a:pt x="1711" y="8743"/>
                </a:moveTo>
                <a:lnTo>
                  <a:pt x="1705" y="8742"/>
                </a:lnTo>
                <a:lnTo>
                  <a:pt x="1701" y="8743"/>
                </a:lnTo>
                <a:lnTo>
                  <a:pt x="1701" y="8748"/>
                </a:lnTo>
                <a:lnTo>
                  <a:pt x="1704" y="8754"/>
                </a:lnTo>
                <a:lnTo>
                  <a:pt x="1710" y="8757"/>
                </a:lnTo>
                <a:lnTo>
                  <a:pt x="1713" y="8754"/>
                </a:lnTo>
                <a:lnTo>
                  <a:pt x="1714" y="8749"/>
                </a:lnTo>
                <a:lnTo>
                  <a:pt x="1711" y="8743"/>
                </a:lnTo>
                <a:close/>
                <a:moveTo>
                  <a:pt x="1885" y="8975"/>
                </a:moveTo>
                <a:lnTo>
                  <a:pt x="1881" y="8972"/>
                </a:lnTo>
                <a:lnTo>
                  <a:pt x="1878" y="8973"/>
                </a:lnTo>
                <a:lnTo>
                  <a:pt x="1877" y="8975"/>
                </a:lnTo>
                <a:lnTo>
                  <a:pt x="1877" y="8978"/>
                </a:lnTo>
                <a:lnTo>
                  <a:pt x="1880" y="8980"/>
                </a:lnTo>
                <a:lnTo>
                  <a:pt x="1882" y="8980"/>
                </a:lnTo>
                <a:lnTo>
                  <a:pt x="1885" y="8977"/>
                </a:lnTo>
                <a:lnTo>
                  <a:pt x="1885" y="8975"/>
                </a:lnTo>
                <a:close/>
                <a:moveTo>
                  <a:pt x="1897" y="9094"/>
                </a:moveTo>
                <a:lnTo>
                  <a:pt x="1895" y="9089"/>
                </a:lnTo>
                <a:lnTo>
                  <a:pt x="1887" y="9090"/>
                </a:lnTo>
                <a:lnTo>
                  <a:pt x="1881" y="9094"/>
                </a:lnTo>
                <a:lnTo>
                  <a:pt x="1880" y="9101"/>
                </a:lnTo>
                <a:lnTo>
                  <a:pt x="1882" y="9103"/>
                </a:lnTo>
                <a:lnTo>
                  <a:pt x="1888" y="9103"/>
                </a:lnTo>
                <a:lnTo>
                  <a:pt x="1895" y="9099"/>
                </a:lnTo>
                <a:lnTo>
                  <a:pt x="1897" y="9094"/>
                </a:lnTo>
                <a:close/>
                <a:moveTo>
                  <a:pt x="5308" y="11091"/>
                </a:moveTo>
                <a:lnTo>
                  <a:pt x="5322" y="11080"/>
                </a:lnTo>
                <a:lnTo>
                  <a:pt x="5324" y="11069"/>
                </a:lnTo>
                <a:lnTo>
                  <a:pt x="5317" y="11061"/>
                </a:lnTo>
                <a:lnTo>
                  <a:pt x="5299" y="11061"/>
                </a:lnTo>
                <a:lnTo>
                  <a:pt x="5287" y="11069"/>
                </a:lnTo>
                <a:lnTo>
                  <a:pt x="5286" y="11081"/>
                </a:lnTo>
                <a:lnTo>
                  <a:pt x="5294" y="11091"/>
                </a:lnTo>
                <a:lnTo>
                  <a:pt x="5308" y="11091"/>
                </a:lnTo>
                <a:close/>
                <a:moveTo>
                  <a:pt x="5234" y="10906"/>
                </a:moveTo>
                <a:lnTo>
                  <a:pt x="5244" y="10903"/>
                </a:lnTo>
                <a:lnTo>
                  <a:pt x="5254" y="10897"/>
                </a:lnTo>
                <a:lnTo>
                  <a:pt x="5261" y="10889"/>
                </a:lnTo>
                <a:lnTo>
                  <a:pt x="5264" y="10881"/>
                </a:lnTo>
                <a:lnTo>
                  <a:pt x="5248" y="10873"/>
                </a:lnTo>
                <a:lnTo>
                  <a:pt x="5230" y="10879"/>
                </a:lnTo>
                <a:lnTo>
                  <a:pt x="5221" y="10893"/>
                </a:lnTo>
                <a:lnTo>
                  <a:pt x="5234" y="10906"/>
                </a:lnTo>
                <a:close/>
                <a:moveTo>
                  <a:pt x="5291" y="10850"/>
                </a:moveTo>
                <a:lnTo>
                  <a:pt x="5295" y="10841"/>
                </a:lnTo>
                <a:lnTo>
                  <a:pt x="5299" y="10830"/>
                </a:lnTo>
                <a:lnTo>
                  <a:pt x="5289" y="10825"/>
                </a:lnTo>
                <a:lnTo>
                  <a:pt x="5278" y="10836"/>
                </a:lnTo>
                <a:lnTo>
                  <a:pt x="5276" y="10848"/>
                </a:lnTo>
                <a:lnTo>
                  <a:pt x="5291" y="10850"/>
                </a:lnTo>
                <a:close/>
                <a:moveTo>
                  <a:pt x="5215" y="10455"/>
                </a:moveTo>
                <a:lnTo>
                  <a:pt x="5228" y="10446"/>
                </a:lnTo>
                <a:lnTo>
                  <a:pt x="5236" y="10432"/>
                </a:lnTo>
                <a:lnTo>
                  <a:pt x="5236" y="10418"/>
                </a:lnTo>
                <a:lnTo>
                  <a:pt x="5224" y="10410"/>
                </a:lnTo>
                <a:lnTo>
                  <a:pt x="5211" y="10416"/>
                </a:lnTo>
                <a:lnTo>
                  <a:pt x="5207" y="10427"/>
                </a:lnTo>
                <a:lnTo>
                  <a:pt x="5208" y="10442"/>
                </a:lnTo>
                <a:lnTo>
                  <a:pt x="5215" y="10455"/>
                </a:lnTo>
                <a:close/>
                <a:moveTo>
                  <a:pt x="4430" y="3889"/>
                </a:moveTo>
                <a:lnTo>
                  <a:pt x="4420" y="3897"/>
                </a:lnTo>
                <a:lnTo>
                  <a:pt x="4410" y="3907"/>
                </a:lnTo>
                <a:lnTo>
                  <a:pt x="4404" y="3919"/>
                </a:lnTo>
                <a:lnTo>
                  <a:pt x="4407" y="3931"/>
                </a:lnTo>
                <a:lnTo>
                  <a:pt x="4435" y="3939"/>
                </a:lnTo>
                <a:lnTo>
                  <a:pt x="4457" y="3922"/>
                </a:lnTo>
                <a:lnTo>
                  <a:pt x="4460" y="3901"/>
                </a:lnTo>
                <a:lnTo>
                  <a:pt x="4430" y="3889"/>
                </a:lnTo>
                <a:close/>
                <a:moveTo>
                  <a:pt x="5286" y="9558"/>
                </a:moveTo>
                <a:lnTo>
                  <a:pt x="5271" y="9564"/>
                </a:lnTo>
                <a:lnTo>
                  <a:pt x="5277" y="9579"/>
                </a:lnTo>
                <a:lnTo>
                  <a:pt x="5293" y="9588"/>
                </a:lnTo>
                <a:lnTo>
                  <a:pt x="5303" y="9572"/>
                </a:lnTo>
                <a:lnTo>
                  <a:pt x="5301" y="9565"/>
                </a:lnTo>
                <a:lnTo>
                  <a:pt x="5298" y="9560"/>
                </a:lnTo>
                <a:lnTo>
                  <a:pt x="5293" y="9558"/>
                </a:lnTo>
                <a:lnTo>
                  <a:pt x="5286" y="9558"/>
                </a:lnTo>
                <a:close/>
                <a:moveTo>
                  <a:pt x="5268" y="9556"/>
                </a:moveTo>
                <a:lnTo>
                  <a:pt x="5270" y="9556"/>
                </a:lnTo>
                <a:lnTo>
                  <a:pt x="5268" y="9556"/>
                </a:lnTo>
                <a:lnTo>
                  <a:pt x="5261" y="9542"/>
                </a:lnTo>
                <a:lnTo>
                  <a:pt x="5249" y="9533"/>
                </a:lnTo>
                <a:lnTo>
                  <a:pt x="5238" y="9532"/>
                </a:lnTo>
                <a:lnTo>
                  <a:pt x="5225" y="9545"/>
                </a:lnTo>
                <a:lnTo>
                  <a:pt x="5226" y="9555"/>
                </a:lnTo>
                <a:lnTo>
                  <a:pt x="5239" y="9558"/>
                </a:lnTo>
                <a:lnTo>
                  <a:pt x="5256" y="9556"/>
                </a:lnTo>
                <a:lnTo>
                  <a:pt x="5268" y="9556"/>
                </a:lnTo>
                <a:lnTo>
                  <a:pt x="5270" y="9558"/>
                </a:lnTo>
                <a:lnTo>
                  <a:pt x="5270" y="9558"/>
                </a:lnTo>
                <a:lnTo>
                  <a:pt x="5270" y="9558"/>
                </a:lnTo>
                <a:lnTo>
                  <a:pt x="5268" y="9556"/>
                </a:lnTo>
                <a:close/>
                <a:moveTo>
                  <a:pt x="4572" y="4766"/>
                </a:moveTo>
                <a:lnTo>
                  <a:pt x="4565" y="4769"/>
                </a:lnTo>
                <a:lnTo>
                  <a:pt x="4569" y="4770"/>
                </a:lnTo>
                <a:lnTo>
                  <a:pt x="4570" y="4771"/>
                </a:lnTo>
                <a:lnTo>
                  <a:pt x="4572" y="4770"/>
                </a:lnTo>
                <a:lnTo>
                  <a:pt x="4572" y="4766"/>
                </a:lnTo>
                <a:close/>
                <a:moveTo>
                  <a:pt x="5743" y="10558"/>
                </a:moveTo>
                <a:lnTo>
                  <a:pt x="5751" y="10553"/>
                </a:lnTo>
                <a:lnTo>
                  <a:pt x="5757" y="10545"/>
                </a:lnTo>
                <a:lnTo>
                  <a:pt x="5760" y="10538"/>
                </a:lnTo>
                <a:lnTo>
                  <a:pt x="5755" y="10531"/>
                </a:lnTo>
                <a:lnTo>
                  <a:pt x="5743" y="10533"/>
                </a:lnTo>
                <a:lnTo>
                  <a:pt x="5737" y="10540"/>
                </a:lnTo>
                <a:lnTo>
                  <a:pt x="5736" y="10550"/>
                </a:lnTo>
                <a:lnTo>
                  <a:pt x="5743" y="10558"/>
                </a:lnTo>
                <a:close/>
                <a:moveTo>
                  <a:pt x="5592" y="9689"/>
                </a:moveTo>
                <a:lnTo>
                  <a:pt x="5602" y="9684"/>
                </a:lnTo>
                <a:lnTo>
                  <a:pt x="5605" y="9672"/>
                </a:lnTo>
                <a:lnTo>
                  <a:pt x="5598" y="9662"/>
                </a:lnTo>
                <a:lnTo>
                  <a:pt x="5587" y="9661"/>
                </a:lnTo>
                <a:lnTo>
                  <a:pt x="5576" y="9666"/>
                </a:lnTo>
                <a:lnTo>
                  <a:pt x="5575" y="9677"/>
                </a:lnTo>
                <a:lnTo>
                  <a:pt x="5580" y="9687"/>
                </a:lnTo>
                <a:lnTo>
                  <a:pt x="5592" y="9689"/>
                </a:lnTo>
                <a:close/>
                <a:moveTo>
                  <a:pt x="4956" y="10796"/>
                </a:moveTo>
                <a:lnTo>
                  <a:pt x="4959" y="10799"/>
                </a:lnTo>
                <a:lnTo>
                  <a:pt x="4961" y="10800"/>
                </a:lnTo>
                <a:lnTo>
                  <a:pt x="4965" y="10797"/>
                </a:lnTo>
                <a:lnTo>
                  <a:pt x="4965" y="10794"/>
                </a:lnTo>
                <a:lnTo>
                  <a:pt x="4961" y="10792"/>
                </a:lnTo>
                <a:lnTo>
                  <a:pt x="4956" y="10796"/>
                </a:lnTo>
                <a:close/>
                <a:moveTo>
                  <a:pt x="5782" y="10265"/>
                </a:moveTo>
                <a:lnTo>
                  <a:pt x="5770" y="10258"/>
                </a:lnTo>
                <a:lnTo>
                  <a:pt x="5759" y="10268"/>
                </a:lnTo>
                <a:lnTo>
                  <a:pt x="5752" y="10286"/>
                </a:lnTo>
                <a:lnTo>
                  <a:pt x="5761" y="10297"/>
                </a:lnTo>
                <a:lnTo>
                  <a:pt x="5770" y="10292"/>
                </a:lnTo>
                <a:lnTo>
                  <a:pt x="5776" y="10284"/>
                </a:lnTo>
                <a:lnTo>
                  <a:pt x="5780" y="10277"/>
                </a:lnTo>
                <a:lnTo>
                  <a:pt x="5782" y="10265"/>
                </a:lnTo>
                <a:close/>
                <a:moveTo>
                  <a:pt x="5536" y="9693"/>
                </a:moveTo>
                <a:lnTo>
                  <a:pt x="5543" y="9691"/>
                </a:lnTo>
                <a:lnTo>
                  <a:pt x="5546" y="9687"/>
                </a:lnTo>
                <a:lnTo>
                  <a:pt x="5546" y="9684"/>
                </a:lnTo>
                <a:lnTo>
                  <a:pt x="5541" y="9680"/>
                </a:lnTo>
                <a:lnTo>
                  <a:pt x="5533" y="9682"/>
                </a:lnTo>
                <a:lnTo>
                  <a:pt x="5529" y="9685"/>
                </a:lnTo>
                <a:lnTo>
                  <a:pt x="5531" y="9690"/>
                </a:lnTo>
                <a:lnTo>
                  <a:pt x="5536" y="9693"/>
                </a:lnTo>
                <a:close/>
                <a:moveTo>
                  <a:pt x="4973" y="9382"/>
                </a:moveTo>
                <a:lnTo>
                  <a:pt x="4977" y="9379"/>
                </a:lnTo>
                <a:lnTo>
                  <a:pt x="4977" y="9378"/>
                </a:lnTo>
                <a:lnTo>
                  <a:pt x="4977" y="9376"/>
                </a:lnTo>
                <a:lnTo>
                  <a:pt x="4974" y="9373"/>
                </a:lnTo>
                <a:lnTo>
                  <a:pt x="4970" y="9376"/>
                </a:lnTo>
                <a:lnTo>
                  <a:pt x="4969" y="9378"/>
                </a:lnTo>
                <a:lnTo>
                  <a:pt x="4970" y="9379"/>
                </a:lnTo>
                <a:lnTo>
                  <a:pt x="4973" y="9382"/>
                </a:lnTo>
                <a:close/>
                <a:moveTo>
                  <a:pt x="4640" y="4267"/>
                </a:moveTo>
                <a:lnTo>
                  <a:pt x="4646" y="4264"/>
                </a:lnTo>
                <a:lnTo>
                  <a:pt x="4644" y="4261"/>
                </a:lnTo>
                <a:lnTo>
                  <a:pt x="4640" y="4260"/>
                </a:lnTo>
                <a:lnTo>
                  <a:pt x="4637" y="4262"/>
                </a:lnTo>
                <a:lnTo>
                  <a:pt x="4638" y="4266"/>
                </a:lnTo>
                <a:lnTo>
                  <a:pt x="4640" y="4267"/>
                </a:lnTo>
                <a:close/>
                <a:moveTo>
                  <a:pt x="5347" y="10240"/>
                </a:moveTo>
                <a:lnTo>
                  <a:pt x="5340" y="10233"/>
                </a:lnTo>
                <a:lnTo>
                  <a:pt x="5332" y="10237"/>
                </a:lnTo>
                <a:lnTo>
                  <a:pt x="5324" y="10246"/>
                </a:lnTo>
                <a:lnTo>
                  <a:pt x="5322" y="10255"/>
                </a:lnTo>
                <a:lnTo>
                  <a:pt x="5329" y="10260"/>
                </a:lnTo>
                <a:lnTo>
                  <a:pt x="5340" y="10258"/>
                </a:lnTo>
                <a:lnTo>
                  <a:pt x="5346" y="10250"/>
                </a:lnTo>
                <a:lnTo>
                  <a:pt x="5347" y="10240"/>
                </a:lnTo>
                <a:close/>
                <a:moveTo>
                  <a:pt x="4908" y="9313"/>
                </a:moveTo>
                <a:lnTo>
                  <a:pt x="4896" y="9318"/>
                </a:lnTo>
                <a:lnTo>
                  <a:pt x="4890" y="9336"/>
                </a:lnTo>
                <a:lnTo>
                  <a:pt x="4882" y="9356"/>
                </a:lnTo>
                <a:lnTo>
                  <a:pt x="4865" y="9368"/>
                </a:lnTo>
                <a:lnTo>
                  <a:pt x="4875" y="9384"/>
                </a:lnTo>
                <a:lnTo>
                  <a:pt x="4904" y="9369"/>
                </a:lnTo>
                <a:lnTo>
                  <a:pt x="4924" y="9340"/>
                </a:lnTo>
                <a:lnTo>
                  <a:pt x="4908" y="9313"/>
                </a:lnTo>
                <a:close/>
                <a:moveTo>
                  <a:pt x="5349" y="10402"/>
                </a:moveTo>
                <a:lnTo>
                  <a:pt x="5350" y="10389"/>
                </a:lnTo>
                <a:lnTo>
                  <a:pt x="5340" y="10381"/>
                </a:lnTo>
                <a:lnTo>
                  <a:pt x="5327" y="10374"/>
                </a:lnTo>
                <a:lnTo>
                  <a:pt x="5321" y="10361"/>
                </a:lnTo>
                <a:lnTo>
                  <a:pt x="5307" y="10367"/>
                </a:lnTo>
                <a:lnTo>
                  <a:pt x="5312" y="10391"/>
                </a:lnTo>
                <a:lnTo>
                  <a:pt x="5328" y="10412"/>
                </a:lnTo>
                <a:lnTo>
                  <a:pt x="5349" y="10402"/>
                </a:lnTo>
                <a:close/>
                <a:moveTo>
                  <a:pt x="4518" y="4794"/>
                </a:moveTo>
                <a:lnTo>
                  <a:pt x="4526" y="4785"/>
                </a:lnTo>
                <a:lnTo>
                  <a:pt x="4533" y="4778"/>
                </a:lnTo>
                <a:lnTo>
                  <a:pt x="4536" y="4770"/>
                </a:lnTo>
                <a:lnTo>
                  <a:pt x="4527" y="4765"/>
                </a:lnTo>
                <a:lnTo>
                  <a:pt x="4517" y="4769"/>
                </a:lnTo>
                <a:lnTo>
                  <a:pt x="4513" y="4776"/>
                </a:lnTo>
                <a:lnTo>
                  <a:pt x="4513" y="4785"/>
                </a:lnTo>
                <a:lnTo>
                  <a:pt x="4518" y="4794"/>
                </a:lnTo>
                <a:close/>
                <a:moveTo>
                  <a:pt x="5318" y="10878"/>
                </a:moveTo>
                <a:lnTo>
                  <a:pt x="5315" y="10875"/>
                </a:lnTo>
                <a:lnTo>
                  <a:pt x="5313" y="10874"/>
                </a:lnTo>
                <a:lnTo>
                  <a:pt x="5310" y="10875"/>
                </a:lnTo>
                <a:lnTo>
                  <a:pt x="5308" y="10878"/>
                </a:lnTo>
                <a:lnTo>
                  <a:pt x="5310" y="10880"/>
                </a:lnTo>
                <a:lnTo>
                  <a:pt x="5313" y="10881"/>
                </a:lnTo>
                <a:lnTo>
                  <a:pt x="5315" y="10880"/>
                </a:lnTo>
                <a:lnTo>
                  <a:pt x="5318" y="10878"/>
                </a:lnTo>
                <a:close/>
                <a:moveTo>
                  <a:pt x="5476" y="9677"/>
                </a:moveTo>
                <a:lnTo>
                  <a:pt x="5481" y="9675"/>
                </a:lnTo>
                <a:lnTo>
                  <a:pt x="5480" y="9671"/>
                </a:lnTo>
                <a:lnTo>
                  <a:pt x="5476" y="9670"/>
                </a:lnTo>
                <a:lnTo>
                  <a:pt x="5472" y="9673"/>
                </a:lnTo>
                <a:lnTo>
                  <a:pt x="5475" y="9676"/>
                </a:lnTo>
                <a:lnTo>
                  <a:pt x="5476" y="9677"/>
                </a:lnTo>
                <a:close/>
                <a:moveTo>
                  <a:pt x="6260" y="8619"/>
                </a:moveTo>
                <a:lnTo>
                  <a:pt x="6249" y="8613"/>
                </a:lnTo>
                <a:lnTo>
                  <a:pt x="6248" y="8612"/>
                </a:lnTo>
                <a:lnTo>
                  <a:pt x="6248" y="8612"/>
                </a:lnTo>
                <a:lnTo>
                  <a:pt x="6248" y="8612"/>
                </a:lnTo>
                <a:lnTo>
                  <a:pt x="6246" y="8612"/>
                </a:lnTo>
                <a:lnTo>
                  <a:pt x="6248" y="8613"/>
                </a:lnTo>
                <a:lnTo>
                  <a:pt x="6249" y="8613"/>
                </a:lnTo>
                <a:lnTo>
                  <a:pt x="6249" y="8618"/>
                </a:lnTo>
                <a:lnTo>
                  <a:pt x="6250" y="8622"/>
                </a:lnTo>
                <a:lnTo>
                  <a:pt x="6254" y="8623"/>
                </a:lnTo>
                <a:lnTo>
                  <a:pt x="6260" y="8619"/>
                </a:lnTo>
                <a:close/>
                <a:moveTo>
                  <a:pt x="6064" y="8192"/>
                </a:moveTo>
                <a:lnTo>
                  <a:pt x="6064" y="8190"/>
                </a:lnTo>
                <a:lnTo>
                  <a:pt x="6063" y="8190"/>
                </a:lnTo>
                <a:lnTo>
                  <a:pt x="6063" y="8192"/>
                </a:lnTo>
                <a:lnTo>
                  <a:pt x="6064" y="8192"/>
                </a:lnTo>
                <a:close/>
                <a:moveTo>
                  <a:pt x="6299" y="8224"/>
                </a:moveTo>
                <a:lnTo>
                  <a:pt x="6330" y="8221"/>
                </a:lnTo>
                <a:lnTo>
                  <a:pt x="6327" y="8212"/>
                </a:lnTo>
                <a:lnTo>
                  <a:pt x="6316" y="8190"/>
                </a:lnTo>
                <a:lnTo>
                  <a:pt x="6333" y="8147"/>
                </a:lnTo>
                <a:lnTo>
                  <a:pt x="6278" y="8155"/>
                </a:lnTo>
                <a:lnTo>
                  <a:pt x="6239" y="8179"/>
                </a:lnTo>
                <a:lnTo>
                  <a:pt x="6237" y="8206"/>
                </a:lnTo>
                <a:lnTo>
                  <a:pt x="6299" y="8224"/>
                </a:lnTo>
                <a:close/>
                <a:moveTo>
                  <a:pt x="6348" y="2965"/>
                </a:moveTo>
                <a:lnTo>
                  <a:pt x="6358" y="2959"/>
                </a:lnTo>
                <a:lnTo>
                  <a:pt x="6361" y="2947"/>
                </a:lnTo>
                <a:lnTo>
                  <a:pt x="6356" y="2937"/>
                </a:lnTo>
                <a:lnTo>
                  <a:pt x="6344" y="2936"/>
                </a:lnTo>
                <a:lnTo>
                  <a:pt x="6334" y="2941"/>
                </a:lnTo>
                <a:lnTo>
                  <a:pt x="6332" y="2952"/>
                </a:lnTo>
                <a:lnTo>
                  <a:pt x="6337" y="2963"/>
                </a:lnTo>
                <a:lnTo>
                  <a:pt x="6348" y="2965"/>
                </a:lnTo>
                <a:close/>
                <a:moveTo>
                  <a:pt x="5973" y="9477"/>
                </a:moveTo>
                <a:lnTo>
                  <a:pt x="5974" y="9477"/>
                </a:lnTo>
                <a:lnTo>
                  <a:pt x="5975" y="9477"/>
                </a:lnTo>
                <a:lnTo>
                  <a:pt x="6015" y="9495"/>
                </a:lnTo>
                <a:lnTo>
                  <a:pt x="6043" y="9454"/>
                </a:lnTo>
                <a:lnTo>
                  <a:pt x="6050" y="9414"/>
                </a:lnTo>
                <a:lnTo>
                  <a:pt x="6025" y="9429"/>
                </a:lnTo>
                <a:lnTo>
                  <a:pt x="5980" y="9419"/>
                </a:lnTo>
                <a:lnTo>
                  <a:pt x="5939" y="9420"/>
                </a:lnTo>
                <a:lnTo>
                  <a:pt x="5929" y="9438"/>
                </a:lnTo>
                <a:lnTo>
                  <a:pt x="5974" y="9476"/>
                </a:lnTo>
                <a:lnTo>
                  <a:pt x="5974" y="9477"/>
                </a:lnTo>
                <a:lnTo>
                  <a:pt x="5973" y="9477"/>
                </a:lnTo>
                <a:close/>
                <a:moveTo>
                  <a:pt x="5967" y="9490"/>
                </a:moveTo>
                <a:lnTo>
                  <a:pt x="5970" y="9484"/>
                </a:lnTo>
                <a:lnTo>
                  <a:pt x="5973" y="9477"/>
                </a:lnTo>
                <a:lnTo>
                  <a:pt x="5967" y="9479"/>
                </a:lnTo>
                <a:lnTo>
                  <a:pt x="5964" y="9481"/>
                </a:lnTo>
                <a:lnTo>
                  <a:pt x="5962" y="9484"/>
                </a:lnTo>
                <a:lnTo>
                  <a:pt x="5967" y="9490"/>
                </a:lnTo>
                <a:close/>
                <a:moveTo>
                  <a:pt x="6207" y="10703"/>
                </a:moveTo>
                <a:lnTo>
                  <a:pt x="6197" y="10682"/>
                </a:lnTo>
                <a:lnTo>
                  <a:pt x="6187" y="10654"/>
                </a:lnTo>
                <a:lnTo>
                  <a:pt x="6174" y="10634"/>
                </a:lnTo>
                <a:lnTo>
                  <a:pt x="6155" y="10637"/>
                </a:lnTo>
                <a:lnTo>
                  <a:pt x="6158" y="10661"/>
                </a:lnTo>
                <a:lnTo>
                  <a:pt x="6169" y="10684"/>
                </a:lnTo>
                <a:lnTo>
                  <a:pt x="6187" y="10701"/>
                </a:lnTo>
                <a:lnTo>
                  <a:pt x="6207" y="10703"/>
                </a:lnTo>
                <a:close/>
                <a:moveTo>
                  <a:pt x="6307" y="2425"/>
                </a:moveTo>
                <a:lnTo>
                  <a:pt x="6302" y="2422"/>
                </a:lnTo>
                <a:lnTo>
                  <a:pt x="6296" y="2419"/>
                </a:lnTo>
                <a:lnTo>
                  <a:pt x="6295" y="2416"/>
                </a:lnTo>
                <a:lnTo>
                  <a:pt x="6292" y="2415"/>
                </a:lnTo>
                <a:lnTo>
                  <a:pt x="6293" y="2418"/>
                </a:lnTo>
                <a:lnTo>
                  <a:pt x="6296" y="2419"/>
                </a:lnTo>
                <a:lnTo>
                  <a:pt x="6297" y="2424"/>
                </a:lnTo>
                <a:lnTo>
                  <a:pt x="6299" y="2428"/>
                </a:lnTo>
                <a:lnTo>
                  <a:pt x="6302" y="2429"/>
                </a:lnTo>
                <a:lnTo>
                  <a:pt x="6307" y="2425"/>
                </a:lnTo>
                <a:close/>
                <a:moveTo>
                  <a:pt x="6187" y="10820"/>
                </a:moveTo>
                <a:lnTo>
                  <a:pt x="6189" y="10823"/>
                </a:lnTo>
                <a:lnTo>
                  <a:pt x="6190" y="10824"/>
                </a:lnTo>
                <a:lnTo>
                  <a:pt x="6193" y="10824"/>
                </a:lnTo>
                <a:lnTo>
                  <a:pt x="6195" y="10820"/>
                </a:lnTo>
                <a:lnTo>
                  <a:pt x="6194" y="10818"/>
                </a:lnTo>
                <a:lnTo>
                  <a:pt x="6192" y="10816"/>
                </a:lnTo>
                <a:lnTo>
                  <a:pt x="6189" y="10818"/>
                </a:lnTo>
                <a:lnTo>
                  <a:pt x="6187" y="10820"/>
                </a:lnTo>
                <a:close/>
                <a:moveTo>
                  <a:pt x="4640" y="7986"/>
                </a:moveTo>
                <a:lnTo>
                  <a:pt x="4644" y="7979"/>
                </a:lnTo>
                <a:lnTo>
                  <a:pt x="4647" y="7973"/>
                </a:lnTo>
                <a:lnTo>
                  <a:pt x="4648" y="7973"/>
                </a:lnTo>
                <a:lnTo>
                  <a:pt x="4649" y="7970"/>
                </a:lnTo>
                <a:lnTo>
                  <a:pt x="4647" y="7972"/>
                </a:lnTo>
                <a:lnTo>
                  <a:pt x="4647" y="7973"/>
                </a:lnTo>
                <a:lnTo>
                  <a:pt x="4642" y="7974"/>
                </a:lnTo>
                <a:lnTo>
                  <a:pt x="4638" y="7975"/>
                </a:lnTo>
                <a:lnTo>
                  <a:pt x="4637" y="7979"/>
                </a:lnTo>
                <a:lnTo>
                  <a:pt x="4640" y="7986"/>
                </a:lnTo>
                <a:close/>
                <a:moveTo>
                  <a:pt x="4540" y="8133"/>
                </a:moveTo>
                <a:lnTo>
                  <a:pt x="4537" y="8134"/>
                </a:lnTo>
                <a:lnTo>
                  <a:pt x="4537" y="8136"/>
                </a:lnTo>
                <a:lnTo>
                  <a:pt x="4539" y="8134"/>
                </a:lnTo>
                <a:lnTo>
                  <a:pt x="4540" y="8133"/>
                </a:lnTo>
                <a:lnTo>
                  <a:pt x="4544" y="8132"/>
                </a:lnTo>
                <a:lnTo>
                  <a:pt x="4548" y="8131"/>
                </a:lnTo>
                <a:lnTo>
                  <a:pt x="4549" y="8127"/>
                </a:lnTo>
                <a:lnTo>
                  <a:pt x="4545" y="8122"/>
                </a:lnTo>
                <a:lnTo>
                  <a:pt x="4542" y="8127"/>
                </a:lnTo>
                <a:lnTo>
                  <a:pt x="4540" y="8133"/>
                </a:lnTo>
                <a:close/>
                <a:moveTo>
                  <a:pt x="6302" y="2489"/>
                </a:moveTo>
                <a:lnTo>
                  <a:pt x="6313" y="2499"/>
                </a:lnTo>
                <a:lnTo>
                  <a:pt x="6327" y="2497"/>
                </a:lnTo>
                <a:lnTo>
                  <a:pt x="6339" y="2487"/>
                </a:lnTo>
                <a:lnTo>
                  <a:pt x="6343" y="2473"/>
                </a:lnTo>
                <a:lnTo>
                  <a:pt x="6332" y="2469"/>
                </a:lnTo>
                <a:lnTo>
                  <a:pt x="6316" y="2470"/>
                </a:lnTo>
                <a:lnTo>
                  <a:pt x="6305" y="2478"/>
                </a:lnTo>
                <a:lnTo>
                  <a:pt x="6302" y="2489"/>
                </a:lnTo>
                <a:close/>
                <a:moveTo>
                  <a:pt x="6281" y="2410"/>
                </a:moveTo>
                <a:lnTo>
                  <a:pt x="6287" y="2413"/>
                </a:lnTo>
                <a:lnTo>
                  <a:pt x="6292" y="2415"/>
                </a:lnTo>
                <a:lnTo>
                  <a:pt x="6292" y="2411"/>
                </a:lnTo>
                <a:lnTo>
                  <a:pt x="6290" y="2408"/>
                </a:lnTo>
                <a:lnTo>
                  <a:pt x="6287" y="2406"/>
                </a:lnTo>
                <a:lnTo>
                  <a:pt x="6281" y="2410"/>
                </a:lnTo>
                <a:close/>
                <a:moveTo>
                  <a:pt x="6167" y="8166"/>
                </a:moveTo>
                <a:lnTo>
                  <a:pt x="6165" y="8166"/>
                </a:lnTo>
                <a:lnTo>
                  <a:pt x="6165" y="8168"/>
                </a:lnTo>
                <a:lnTo>
                  <a:pt x="6133" y="8173"/>
                </a:lnTo>
                <a:lnTo>
                  <a:pt x="6096" y="8183"/>
                </a:lnTo>
                <a:lnTo>
                  <a:pt x="6069" y="8198"/>
                </a:lnTo>
                <a:lnTo>
                  <a:pt x="6074" y="8220"/>
                </a:lnTo>
                <a:lnTo>
                  <a:pt x="6097" y="8208"/>
                </a:lnTo>
                <a:lnTo>
                  <a:pt x="6123" y="8201"/>
                </a:lnTo>
                <a:lnTo>
                  <a:pt x="6147" y="8189"/>
                </a:lnTo>
                <a:lnTo>
                  <a:pt x="6165" y="8168"/>
                </a:lnTo>
                <a:lnTo>
                  <a:pt x="6166" y="8168"/>
                </a:lnTo>
                <a:lnTo>
                  <a:pt x="6167" y="8166"/>
                </a:lnTo>
                <a:close/>
                <a:moveTo>
                  <a:pt x="4601" y="7983"/>
                </a:moveTo>
                <a:lnTo>
                  <a:pt x="4602" y="7987"/>
                </a:lnTo>
                <a:lnTo>
                  <a:pt x="4605" y="7988"/>
                </a:lnTo>
                <a:lnTo>
                  <a:pt x="4607" y="7987"/>
                </a:lnTo>
                <a:lnTo>
                  <a:pt x="4610" y="7984"/>
                </a:lnTo>
                <a:lnTo>
                  <a:pt x="4609" y="7980"/>
                </a:lnTo>
                <a:lnTo>
                  <a:pt x="4606" y="7979"/>
                </a:lnTo>
                <a:lnTo>
                  <a:pt x="4604" y="7980"/>
                </a:lnTo>
                <a:lnTo>
                  <a:pt x="4601" y="7983"/>
                </a:lnTo>
                <a:close/>
                <a:moveTo>
                  <a:pt x="6195" y="8157"/>
                </a:moveTo>
                <a:lnTo>
                  <a:pt x="6189" y="8150"/>
                </a:lnTo>
                <a:lnTo>
                  <a:pt x="6180" y="8141"/>
                </a:lnTo>
                <a:lnTo>
                  <a:pt x="6172" y="8137"/>
                </a:lnTo>
                <a:lnTo>
                  <a:pt x="6166" y="8143"/>
                </a:lnTo>
                <a:lnTo>
                  <a:pt x="6166" y="8159"/>
                </a:lnTo>
                <a:lnTo>
                  <a:pt x="6171" y="8165"/>
                </a:lnTo>
                <a:lnTo>
                  <a:pt x="6181" y="8164"/>
                </a:lnTo>
                <a:lnTo>
                  <a:pt x="6195" y="8157"/>
                </a:lnTo>
                <a:close/>
                <a:moveTo>
                  <a:pt x="4665" y="8015"/>
                </a:moveTo>
                <a:lnTo>
                  <a:pt x="4662" y="8011"/>
                </a:lnTo>
                <a:lnTo>
                  <a:pt x="4660" y="8011"/>
                </a:lnTo>
                <a:lnTo>
                  <a:pt x="4657" y="8011"/>
                </a:lnTo>
                <a:lnTo>
                  <a:pt x="4654" y="8014"/>
                </a:lnTo>
                <a:lnTo>
                  <a:pt x="4657" y="8017"/>
                </a:lnTo>
                <a:lnTo>
                  <a:pt x="4660" y="8019"/>
                </a:lnTo>
                <a:lnTo>
                  <a:pt x="4662" y="8017"/>
                </a:lnTo>
                <a:lnTo>
                  <a:pt x="4665" y="8015"/>
                </a:lnTo>
                <a:close/>
                <a:moveTo>
                  <a:pt x="5333" y="7912"/>
                </a:moveTo>
                <a:lnTo>
                  <a:pt x="5331" y="7904"/>
                </a:lnTo>
                <a:lnTo>
                  <a:pt x="5324" y="7902"/>
                </a:lnTo>
                <a:lnTo>
                  <a:pt x="5321" y="7905"/>
                </a:lnTo>
                <a:lnTo>
                  <a:pt x="5322" y="7914"/>
                </a:lnTo>
                <a:lnTo>
                  <a:pt x="5324" y="7919"/>
                </a:lnTo>
                <a:lnTo>
                  <a:pt x="5328" y="7918"/>
                </a:lnTo>
                <a:lnTo>
                  <a:pt x="5332" y="7916"/>
                </a:lnTo>
                <a:lnTo>
                  <a:pt x="5333" y="7912"/>
                </a:lnTo>
                <a:close/>
                <a:moveTo>
                  <a:pt x="4699" y="9265"/>
                </a:moveTo>
                <a:lnTo>
                  <a:pt x="4698" y="9265"/>
                </a:lnTo>
                <a:lnTo>
                  <a:pt x="4698" y="9266"/>
                </a:lnTo>
                <a:lnTo>
                  <a:pt x="4619" y="9219"/>
                </a:lnTo>
                <a:lnTo>
                  <a:pt x="4539" y="9200"/>
                </a:lnTo>
                <a:lnTo>
                  <a:pt x="4483" y="9229"/>
                </a:lnTo>
                <a:lnTo>
                  <a:pt x="4471" y="9326"/>
                </a:lnTo>
                <a:lnTo>
                  <a:pt x="4466" y="9388"/>
                </a:lnTo>
                <a:lnTo>
                  <a:pt x="4507" y="9423"/>
                </a:lnTo>
                <a:lnTo>
                  <a:pt x="4577" y="9434"/>
                </a:lnTo>
                <a:lnTo>
                  <a:pt x="4657" y="9429"/>
                </a:lnTo>
                <a:lnTo>
                  <a:pt x="4657" y="9435"/>
                </a:lnTo>
                <a:lnTo>
                  <a:pt x="4660" y="9442"/>
                </a:lnTo>
                <a:lnTo>
                  <a:pt x="4662" y="9448"/>
                </a:lnTo>
                <a:lnTo>
                  <a:pt x="4667" y="9453"/>
                </a:lnTo>
                <a:lnTo>
                  <a:pt x="4672" y="9447"/>
                </a:lnTo>
                <a:lnTo>
                  <a:pt x="4672" y="9440"/>
                </a:lnTo>
                <a:lnTo>
                  <a:pt x="4670" y="9433"/>
                </a:lnTo>
                <a:lnTo>
                  <a:pt x="4665" y="9428"/>
                </a:lnTo>
                <a:lnTo>
                  <a:pt x="4723" y="9415"/>
                </a:lnTo>
                <a:lnTo>
                  <a:pt x="4767" y="9398"/>
                </a:lnTo>
                <a:lnTo>
                  <a:pt x="4787" y="9382"/>
                </a:lnTo>
                <a:lnTo>
                  <a:pt x="4773" y="9367"/>
                </a:lnTo>
                <a:lnTo>
                  <a:pt x="4727" y="9367"/>
                </a:lnTo>
                <a:lnTo>
                  <a:pt x="4712" y="9345"/>
                </a:lnTo>
                <a:lnTo>
                  <a:pt x="4708" y="9308"/>
                </a:lnTo>
                <a:lnTo>
                  <a:pt x="4698" y="9266"/>
                </a:lnTo>
                <a:lnTo>
                  <a:pt x="4698" y="9266"/>
                </a:lnTo>
                <a:lnTo>
                  <a:pt x="4699" y="9265"/>
                </a:lnTo>
                <a:lnTo>
                  <a:pt x="4704" y="9264"/>
                </a:lnTo>
                <a:lnTo>
                  <a:pt x="4708" y="9262"/>
                </a:lnTo>
                <a:lnTo>
                  <a:pt x="4709" y="9258"/>
                </a:lnTo>
                <a:lnTo>
                  <a:pt x="4705" y="9252"/>
                </a:lnTo>
                <a:lnTo>
                  <a:pt x="4702" y="9258"/>
                </a:lnTo>
                <a:lnTo>
                  <a:pt x="4699" y="9265"/>
                </a:lnTo>
                <a:close/>
                <a:moveTo>
                  <a:pt x="4792" y="9397"/>
                </a:moveTo>
                <a:lnTo>
                  <a:pt x="4792" y="9398"/>
                </a:lnTo>
                <a:lnTo>
                  <a:pt x="4793" y="9398"/>
                </a:lnTo>
                <a:lnTo>
                  <a:pt x="4793" y="9397"/>
                </a:lnTo>
                <a:lnTo>
                  <a:pt x="4792" y="9397"/>
                </a:lnTo>
                <a:close/>
                <a:moveTo>
                  <a:pt x="4842" y="9411"/>
                </a:moveTo>
                <a:lnTo>
                  <a:pt x="4821" y="9393"/>
                </a:lnTo>
                <a:lnTo>
                  <a:pt x="4793" y="9404"/>
                </a:lnTo>
                <a:lnTo>
                  <a:pt x="4773" y="9426"/>
                </a:lnTo>
                <a:lnTo>
                  <a:pt x="4777" y="9449"/>
                </a:lnTo>
                <a:lnTo>
                  <a:pt x="4796" y="9446"/>
                </a:lnTo>
                <a:lnTo>
                  <a:pt x="4817" y="9439"/>
                </a:lnTo>
                <a:lnTo>
                  <a:pt x="4835" y="9428"/>
                </a:lnTo>
                <a:lnTo>
                  <a:pt x="4842" y="9411"/>
                </a:lnTo>
                <a:close/>
                <a:moveTo>
                  <a:pt x="5075" y="8297"/>
                </a:moveTo>
                <a:lnTo>
                  <a:pt x="5079" y="8302"/>
                </a:lnTo>
                <a:lnTo>
                  <a:pt x="5084" y="8304"/>
                </a:lnTo>
                <a:lnTo>
                  <a:pt x="5090" y="8302"/>
                </a:lnTo>
                <a:lnTo>
                  <a:pt x="5096" y="8300"/>
                </a:lnTo>
                <a:lnTo>
                  <a:pt x="5091" y="8295"/>
                </a:lnTo>
                <a:lnTo>
                  <a:pt x="5086" y="8292"/>
                </a:lnTo>
                <a:lnTo>
                  <a:pt x="5080" y="8294"/>
                </a:lnTo>
                <a:lnTo>
                  <a:pt x="5075" y="8297"/>
                </a:lnTo>
                <a:close/>
                <a:moveTo>
                  <a:pt x="4921" y="8636"/>
                </a:moveTo>
                <a:lnTo>
                  <a:pt x="4923" y="8641"/>
                </a:lnTo>
                <a:lnTo>
                  <a:pt x="4927" y="8640"/>
                </a:lnTo>
                <a:lnTo>
                  <a:pt x="4928" y="8636"/>
                </a:lnTo>
                <a:lnTo>
                  <a:pt x="4924" y="8632"/>
                </a:lnTo>
                <a:lnTo>
                  <a:pt x="4922" y="8635"/>
                </a:lnTo>
                <a:lnTo>
                  <a:pt x="4921" y="8636"/>
                </a:lnTo>
                <a:close/>
                <a:moveTo>
                  <a:pt x="4797" y="9836"/>
                </a:moveTo>
                <a:lnTo>
                  <a:pt x="4783" y="9843"/>
                </a:lnTo>
                <a:lnTo>
                  <a:pt x="4774" y="9858"/>
                </a:lnTo>
                <a:lnTo>
                  <a:pt x="4775" y="9872"/>
                </a:lnTo>
                <a:lnTo>
                  <a:pt x="4788" y="9878"/>
                </a:lnTo>
                <a:lnTo>
                  <a:pt x="4798" y="9873"/>
                </a:lnTo>
                <a:lnTo>
                  <a:pt x="4803" y="9861"/>
                </a:lnTo>
                <a:lnTo>
                  <a:pt x="4802" y="9847"/>
                </a:lnTo>
                <a:lnTo>
                  <a:pt x="4797" y="9836"/>
                </a:lnTo>
                <a:close/>
                <a:moveTo>
                  <a:pt x="4704" y="10893"/>
                </a:moveTo>
                <a:lnTo>
                  <a:pt x="4689" y="10899"/>
                </a:lnTo>
                <a:lnTo>
                  <a:pt x="4684" y="10916"/>
                </a:lnTo>
                <a:lnTo>
                  <a:pt x="4688" y="10934"/>
                </a:lnTo>
                <a:lnTo>
                  <a:pt x="4703" y="10943"/>
                </a:lnTo>
                <a:lnTo>
                  <a:pt x="4703" y="10944"/>
                </a:lnTo>
                <a:lnTo>
                  <a:pt x="4704" y="10944"/>
                </a:lnTo>
                <a:lnTo>
                  <a:pt x="4705" y="10949"/>
                </a:lnTo>
                <a:lnTo>
                  <a:pt x="4707" y="10953"/>
                </a:lnTo>
                <a:lnTo>
                  <a:pt x="4711" y="10954"/>
                </a:lnTo>
                <a:lnTo>
                  <a:pt x="4717" y="10950"/>
                </a:lnTo>
                <a:lnTo>
                  <a:pt x="4711" y="10948"/>
                </a:lnTo>
                <a:lnTo>
                  <a:pt x="4704" y="10944"/>
                </a:lnTo>
                <a:lnTo>
                  <a:pt x="4704" y="10943"/>
                </a:lnTo>
                <a:lnTo>
                  <a:pt x="4703" y="10943"/>
                </a:lnTo>
                <a:lnTo>
                  <a:pt x="4704" y="10929"/>
                </a:lnTo>
                <a:lnTo>
                  <a:pt x="4709" y="10915"/>
                </a:lnTo>
                <a:lnTo>
                  <a:pt x="4711" y="10902"/>
                </a:lnTo>
                <a:lnTo>
                  <a:pt x="4704" y="10893"/>
                </a:lnTo>
                <a:close/>
                <a:moveTo>
                  <a:pt x="4507" y="9135"/>
                </a:moveTo>
                <a:lnTo>
                  <a:pt x="4512" y="9132"/>
                </a:lnTo>
                <a:lnTo>
                  <a:pt x="4511" y="9129"/>
                </a:lnTo>
                <a:lnTo>
                  <a:pt x="4507" y="9127"/>
                </a:lnTo>
                <a:lnTo>
                  <a:pt x="4503" y="9131"/>
                </a:lnTo>
                <a:lnTo>
                  <a:pt x="4504" y="9134"/>
                </a:lnTo>
                <a:lnTo>
                  <a:pt x="4507" y="9135"/>
                </a:lnTo>
                <a:close/>
                <a:moveTo>
                  <a:pt x="4531" y="9838"/>
                </a:moveTo>
                <a:lnTo>
                  <a:pt x="4535" y="9843"/>
                </a:lnTo>
                <a:lnTo>
                  <a:pt x="4539" y="9841"/>
                </a:lnTo>
                <a:lnTo>
                  <a:pt x="4540" y="9838"/>
                </a:lnTo>
                <a:lnTo>
                  <a:pt x="4536" y="9833"/>
                </a:lnTo>
                <a:lnTo>
                  <a:pt x="4533" y="9835"/>
                </a:lnTo>
                <a:lnTo>
                  <a:pt x="4531" y="9838"/>
                </a:lnTo>
                <a:close/>
                <a:moveTo>
                  <a:pt x="4559" y="9124"/>
                </a:moveTo>
                <a:lnTo>
                  <a:pt x="4556" y="9125"/>
                </a:lnTo>
                <a:lnTo>
                  <a:pt x="4554" y="9127"/>
                </a:lnTo>
                <a:lnTo>
                  <a:pt x="4558" y="9131"/>
                </a:lnTo>
                <a:lnTo>
                  <a:pt x="4563" y="9130"/>
                </a:lnTo>
                <a:lnTo>
                  <a:pt x="4563" y="9126"/>
                </a:lnTo>
                <a:lnTo>
                  <a:pt x="4559" y="9124"/>
                </a:lnTo>
                <a:close/>
                <a:moveTo>
                  <a:pt x="4658" y="11265"/>
                </a:moveTo>
                <a:lnTo>
                  <a:pt x="4661" y="11267"/>
                </a:lnTo>
                <a:lnTo>
                  <a:pt x="4663" y="11268"/>
                </a:lnTo>
                <a:lnTo>
                  <a:pt x="4666" y="11268"/>
                </a:lnTo>
                <a:lnTo>
                  <a:pt x="4667" y="11265"/>
                </a:lnTo>
                <a:lnTo>
                  <a:pt x="4666" y="11262"/>
                </a:lnTo>
                <a:lnTo>
                  <a:pt x="4663" y="11262"/>
                </a:lnTo>
                <a:lnTo>
                  <a:pt x="4661" y="11262"/>
                </a:lnTo>
                <a:lnTo>
                  <a:pt x="4658" y="11265"/>
                </a:lnTo>
                <a:close/>
                <a:moveTo>
                  <a:pt x="4628" y="10996"/>
                </a:moveTo>
                <a:lnTo>
                  <a:pt x="4630" y="10993"/>
                </a:lnTo>
                <a:lnTo>
                  <a:pt x="4632" y="10991"/>
                </a:lnTo>
                <a:lnTo>
                  <a:pt x="4630" y="10988"/>
                </a:lnTo>
                <a:lnTo>
                  <a:pt x="4628" y="10986"/>
                </a:lnTo>
                <a:lnTo>
                  <a:pt x="4625" y="10988"/>
                </a:lnTo>
                <a:lnTo>
                  <a:pt x="4624" y="10991"/>
                </a:lnTo>
                <a:lnTo>
                  <a:pt x="4625" y="10993"/>
                </a:lnTo>
                <a:lnTo>
                  <a:pt x="4628" y="10996"/>
                </a:lnTo>
                <a:close/>
                <a:moveTo>
                  <a:pt x="4576" y="9714"/>
                </a:moveTo>
                <a:lnTo>
                  <a:pt x="4577" y="9718"/>
                </a:lnTo>
                <a:lnTo>
                  <a:pt x="4579" y="9718"/>
                </a:lnTo>
                <a:lnTo>
                  <a:pt x="4582" y="9718"/>
                </a:lnTo>
                <a:lnTo>
                  <a:pt x="4584" y="9714"/>
                </a:lnTo>
                <a:lnTo>
                  <a:pt x="4582" y="9712"/>
                </a:lnTo>
                <a:lnTo>
                  <a:pt x="4579" y="9710"/>
                </a:lnTo>
                <a:lnTo>
                  <a:pt x="4577" y="9712"/>
                </a:lnTo>
                <a:lnTo>
                  <a:pt x="4576" y="9714"/>
                </a:lnTo>
                <a:close/>
                <a:moveTo>
                  <a:pt x="4898" y="9428"/>
                </a:moveTo>
                <a:lnTo>
                  <a:pt x="4889" y="9435"/>
                </a:lnTo>
                <a:lnTo>
                  <a:pt x="4894" y="9447"/>
                </a:lnTo>
                <a:lnTo>
                  <a:pt x="4905" y="9453"/>
                </a:lnTo>
                <a:lnTo>
                  <a:pt x="4916" y="9448"/>
                </a:lnTo>
                <a:lnTo>
                  <a:pt x="4914" y="9439"/>
                </a:lnTo>
                <a:lnTo>
                  <a:pt x="4910" y="9433"/>
                </a:lnTo>
                <a:lnTo>
                  <a:pt x="4905" y="9429"/>
                </a:lnTo>
                <a:lnTo>
                  <a:pt x="4898" y="9428"/>
                </a:lnTo>
                <a:close/>
                <a:moveTo>
                  <a:pt x="4745" y="9531"/>
                </a:moveTo>
                <a:lnTo>
                  <a:pt x="4730" y="9524"/>
                </a:lnTo>
                <a:lnTo>
                  <a:pt x="4713" y="9526"/>
                </a:lnTo>
                <a:lnTo>
                  <a:pt x="4702" y="9535"/>
                </a:lnTo>
                <a:lnTo>
                  <a:pt x="4703" y="9550"/>
                </a:lnTo>
                <a:lnTo>
                  <a:pt x="4714" y="9555"/>
                </a:lnTo>
                <a:lnTo>
                  <a:pt x="4727" y="9551"/>
                </a:lnTo>
                <a:lnTo>
                  <a:pt x="4737" y="9542"/>
                </a:lnTo>
                <a:lnTo>
                  <a:pt x="4745" y="9531"/>
                </a:lnTo>
                <a:close/>
                <a:moveTo>
                  <a:pt x="5059" y="8152"/>
                </a:moveTo>
                <a:lnTo>
                  <a:pt x="5057" y="8152"/>
                </a:lnTo>
                <a:lnTo>
                  <a:pt x="5057" y="8154"/>
                </a:lnTo>
                <a:lnTo>
                  <a:pt x="5058" y="8154"/>
                </a:lnTo>
                <a:lnTo>
                  <a:pt x="5059" y="8152"/>
                </a:lnTo>
                <a:lnTo>
                  <a:pt x="5067" y="8152"/>
                </a:lnTo>
                <a:lnTo>
                  <a:pt x="5075" y="8150"/>
                </a:lnTo>
                <a:lnTo>
                  <a:pt x="5081" y="8147"/>
                </a:lnTo>
                <a:lnTo>
                  <a:pt x="5087" y="8142"/>
                </a:lnTo>
                <a:lnTo>
                  <a:pt x="5079" y="8137"/>
                </a:lnTo>
                <a:lnTo>
                  <a:pt x="5070" y="8137"/>
                </a:lnTo>
                <a:lnTo>
                  <a:pt x="5063" y="8143"/>
                </a:lnTo>
                <a:lnTo>
                  <a:pt x="5059" y="8152"/>
                </a:lnTo>
                <a:close/>
                <a:moveTo>
                  <a:pt x="4719" y="11002"/>
                </a:moveTo>
                <a:lnTo>
                  <a:pt x="4718" y="11000"/>
                </a:lnTo>
                <a:lnTo>
                  <a:pt x="4716" y="10997"/>
                </a:lnTo>
                <a:lnTo>
                  <a:pt x="4712" y="11002"/>
                </a:lnTo>
                <a:lnTo>
                  <a:pt x="4713" y="11006"/>
                </a:lnTo>
                <a:lnTo>
                  <a:pt x="4716" y="11007"/>
                </a:lnTo>
                <a:lnTo>
                  <a:pt x="4719" y="11002"/>
                </a:lnTo>
                <a:close/>
                <a:moveTo>
                  <a:pt x="5079" y="8929"/>
                </a:moveTo>
                <a:lnTo>
                  <a:pt x="5100" y="8933"/>
                </a:lnTo>
                <a:lnTo>
                  <a:pt x="5123" y="8947"/>
                </a:lnTo>
                <a:lnTo>
                  <a:pt x="5138" y="8954"/>
                </a:lnTo>
                <a:lnTo>
                  <a:pt x="5140" y="8934"/>
                </a:lnTo>
                <a:lnTo>
                  <a:pt x="5117" y="8910"/>
                </a:lnTo>
                <a:lnTo>
                  <a:pt x="5085" y="8902"/>
                </a:lnTo>
                <a:lnTo>
                  <a:pt x="5065" y="8910"/>
                </a:lnTo>
                <a:lnTo>
                  <a:pt x="5079" y="8929"/>
                </a:lnTo>
                <a:close/>
                <a:moveTo>
                  <a:pt x="5006" y="8742"/>
                </a:moveTo>
                <a:lnTo>
                  <a:pt x="5047" y="8731"/>
                </a:lnTo>
                <a:lnTo>
                  <a:pt x="5038" y="8712"/>
                </a:lnTo>
                <a:lnTo>
                  <a:pt x="5003" y="8697"/>
                </a:lnTo>
                <a:lnTo>
                  <a:pt x="4964" y="8700"/>
                </a:lnTo>
                <a:lnTo>
                  <a:pt x="4960" y="8716"/>
                </a:lnTo>
                <a:lnTo>
                  <a:pt x="4972" y="8728"/>
                </a:lnTo>
                <a:lnTo>
                  <a:pt x="4989" y="8735"/>
                </a:lnTo>
                <a:lnTo>
                  <a:pt x="5006" y="8742"/>
                </a:lnTo>
                <a:close/>
                <a:moveTo>
                  <a:pt x="5006" y="8985"/>
                </a:moveTo>
                <a:lnTo>
                  <a:pt x="4998" y="8976"/>
                </a:lnTo>
                <a:lnTo>
                  <a:pt x="4991" y="8977"/>
                </a:lnTo>
                <a:lnTo>
                  <a:pt x="4984" y="8986"/>
                </a:lnTo>
                <a:lnTo>
                  <a:pt x="4980" y="8997"/>
                </a:lnTo>
                <a:lnTo>
                  <a:pt x="4989" y="9001"/>
                </a:lnTo>
                <a:lnTo>
                  <a:pt x="4998" y="9000"/>
                </a:lnTo>
                <a:lnTo>
                  <a:pt x="5005" y="8995"/>
                </a:lnTo>
                <a:lnTo>
                  <a:pt x="5006" y="8985"/>
                </a:lnTo>
                <a:close/>
                <a:moveTo>
                  <a:pt x="4871" y="8927"/>
                </a:moveTo>
                <a:lnTo>
                  <a:pt x="4856" y="8934"/>
                </a:lnTo>
                <a:lnTo>
                  <a:pt x="4849" y="8950"/>
                </a:lnTo>
                <a:lnTo>
                  <a:pt x="4854" y="8968"/>
                </a:lnTo>
                <a:lnTo>
                  <a:pt x="4868" y="8977"/>
                </a:lnTo>
                <a:lnTo>
                  <a:pt x="4868" y="8978"/>
                </a:lnTo>
                <a:lnTo>
                  <a:pt x="4870" y="8980"/>
                </a:lnTo>
                <a:lnTo>
                  <a:pt x="4870" y="8977"/>
                </a:lnTo>
                <a:lnTo>
                  <a:pt x="4868" y="8977"/>
                </a:lnTo>
                <a:lnTo>
                  <a:pt x="4868" y="8963"/>
                </a:lnTo>
                <a:lnTo>
                  <a:pt x="4874" y="8949"/>
                </a:lnTo>
                <a:lnTo>
                  <a:pt x="4877" y="8936"/>
                </a:lnTo>
                <a:lnTo>
                  <a:pt x="4871" y="8927"/>
                </a:lnTo>
                <a:close/>
                <a:moveTo>
                  <a:pt x="5193" y="8278"/>
                </a:moveTo>
                <a:lnTo>
                  <a:pt x="5196" y="8269"/>
                </a:lnTo>
                <a:lnTo>
                  <a:pt x="5184" y="8267"/>
                </a:lnTo>
                <a:lnTo>
                  <a:pt x="5169" y="8269"/>
                </a:lnTo>
                <a:lnTo>
                  <a:pt x="5158" y="8276"/>
                </a:lnTo>
                <a:lnTo>
                  <a:pt x="5166" y="8280"/>
                </a:lnTo>
                <a:lnTo>
                  <a:pt x="5175" y="8282"/>
                </a:lnTo>
                <a:lnTo>
                  <a:pt x="5186" y="8282"/>
                </a:lnTo>
                <a:lnTo>
                  <a:pt x="5193" y="8278"/>
                </a:lnTo>
                <a:close/>
                <a:moveTo>
                  <a:pt x="4885" y="9279"/>
                </a:moveTo>
                <a:lnTo>
                  <a:pt x="4888" y="9271"/>
                </a:lnTo>
                <a:lnTo>
                  <a:pt x="4884" y="9264"/>
                </a:lnTo>
                <a:lnTo>
                  <a:pt x="4877" y="9258"/>
                </a:lnTo>
                <a:lnTo>
                  <a:pt x="4870" y="9257"/>
                </a:lnTo>
                <a:lnTo>
                  <a:pt x="4854" y="9272"/>
                </a:lnTo>
                <a:lnTo>
                  <a:pt x="4858" y="9290"/>
                </a:lnTo>
                <a:lnTo>
                  <a:pt x="4871" y="9297"/>
                </a:lnTo>
                <a:lnTo>
                  <a:pt x="4885" y="9279"/>
                </a:lnTo>
                <a:close/>
                <a:moveTo>
                  <a:pt x="4946" y="9281"/>
                </a:moveTo>
                <a:lnTo>
                  <a:pt x="4955" y="9269"/>
                </a:lnTo>
                <a:lnTo>
                  <a:pt x="4951" y="9255"/>
                </a:lnTo>
                <a:lnTo>
                  <a:pt x="4938" y="9242"/>
                </a:lnTo>
                <a:lnTo>
                  <a:pt x="4924" y="9236"/>
                </a:lnTo>
                <a:lnTo>
                  <a:pt x="4908" y="9250"/>
                </a:lnTo>
                <a:lnTo>
                  <a:pt x="4908" y="9269"/>
                </a:lnTo>
                <a:lnTo>
                  <a:pt x="4921" y="9284"/>
                </a:lnTo>
                <a:lnTo>
                  <a:pt x="4946" y="9281"/>
                </a:lnTo>
                <a:close/>
                <a:moveTo>
                  <a:pt x="4890" y="9009"/>
                </a:moveTo>
                <a:lnTo>
                  <a:pt x="4905" y="9008"/>
                </a:lnTo>
                <a:lnTo>
                  <a:pt x="4923" y="9009"/>
                </a:lnTo>
                <a:lnTo>
                  <a:pt x="4938" y="9006"/>
                </a:lnTo>
                <a:lnTo>
                  <a:pt x="4950" y="8996"/>
                </a:lnTo>
                <a:lnTo>
                  <a:pt x="4921" y="8990"/>
                </a:lnTo>
                <a:lnTo>
                  <a:pt x="4888" y="8987"/>
                </a:lnTo>
                <a:lnTo>
                  <a:pt x="4870" y="8991"/>
                </a:lnTo>
                <a:lnTo>
                  <a:pt x="4890" y="9009"/>
                </a:lnTo>
                <a:close/>
                <a:moveTo>
                  <a:pt x="4991" y="8585"/>
                </a:moveTo>
                <a:lnTo>
                  <a:pt x="4993" y="8584"/>
                </a:lnTo>
                <a:lnTo>
                  <a:pt x="4995" y="8581"/>
                </a:lnTo>
                <a:lnTo>
                  <a:pt x="4993" y="8579"/>
                </a:lnTo>
                <a:lnTo>
                  <a:pt x="4991" y="8576"/>
                </a:lnTo>
                <a:lnTo>
                  <a:pt x="4988" y="8579"/>
                </a:lnTo>
                <a:lnTo>
                  <a:pt x="4987" y="8581"/>
                </a:lnTo>
                <a:lnTo>
                  <a:pt x="4987" y="8584"/>
                </a:lnTo>
                <a:lnTo>
                  <a:pt x="4991" y="8585"/>
                </a:lnTo>
                <a:close/>
                <a:moveTo>
                  <a:pt x="5621" y="8131"/>
                </a:moveTo>
                <a:lnTo>
                  <a:pt x="5582" y="8112"/>
                </a:lnTo>
                <a:lnTo>
                  <a:pt x="5550" y="8131"/>
                </a:lnTo>
                <a:lnTo>
                  <a:pt x="5534" y="8169"/>
                </a:lnTo>
                <a:lnTo>
                  <a:pt x="5546" y="8212"/>
                </a:lnTo>
                <a:lnTo>
                  <a:pt x="5566" y="8227"/>
                </a:lnTo>
                <a:lnTo>
                  <a:pt x="5588" y="8235"/>
                </a:lnTo>
                <a:lnTo>
                  <a:pt x="5601" y="8250"/>
                </a:lnTo>
                <a:lnTo>
                  <a:pt x="5596" y="8288"/>
                </a:lnTo>
                <a:lnTo>
                  <a:pt x="5627" y="8259"/>
                </a:lnTo>
                <a:lnTo>
                  <a:pt x="5662" y="8252"/>
                </a:lnTo>
                <a:lnTo>
                  <a:pt x="5695" y="8244"/>
                </a:lnTo>
                <a:lnTo>
                  <a:pt x="5720" y="8212"/>
                </a:lnTo>
                <a:lnTo>
                  <a:pt x="5761" y="8244"/>
                </a:lnTo>
                <a:lnTo>
                  <a:pt x="5818" y="8252"/>
                </a:lnTo>
                <a:lnTo>
                  <a:pt x="5846" y="8236"/>
                </a:lnTo>
                <a:lnTo>
                  <a:pt x="5801" y="8194"/>
                </a:lnTo>
                <a:lnTo>
                  <a:pt x="5804" y="8134"/>
                </a:lnTo>
                <a:lnTo>
                  <a:pt x="5756" y="8108"/>
                </a:lnTo>
                <a:lnTo>
                  <a:pt x="5686" y="8109"/>
                </a:lnTo>
                <a:lnTo>
                  <a:pt x="5621" y="8131"/>
                </a:lnTo>
                <a:close/>
                <a:moveTo>
                  <a:pt x="5860" y="8240"/>
                </a:moveTo>
                <a:lnTo>
                  <a:pt x="5860" y="8239"/>
                </a:lnTo>
                <a:lnTo>
                  <a:pt x="5858" y="8239"/>
                </a:lnTo>
                <a:lnTo>
                  <a:pt x="5859" y="8240"/>
                </a:lnTo>
                <a:lnTo>
                  <a:pt x="5860" y="8240"/>
                </a:lnTo>
                <a:close/>
                <a:moveTo>
                  <a:pt x="5270" y="7926"/>
                </a:moveTo>
                <a:lnTo>
                  <a:pt x="5272" y="7933"/>
                </a:lnTo>
                <a:lnTo>
                  <a:pt x="5275" y="7938"/>
                </a:lnTo>
                <a:lnTo>
                  <a:pt x="5278" y="7938"/>
                </a:lnTo>
                <a:lnTo>
                  <a:pt x="5284" y="7932"/>
                </a:lnTo>
                <a:lnTo>
                  <a:pt x="5281" y="7927"/>
                </a:lnTo>
                <a:lnTo>
                  <a:pt x="5277" y="7923"/>
                </a:lnTo>
                <a:lnTo>
                  <a:pt x="5273" y="7922"/>
                </a:lnTo>
                <a:lnTo>
                  <a:pt x="5270" y="7926"/>
                </a:lnTo>
                <a:close/>
                <a:moveTo>
                  <a:pt x="5045" y="8178"/>
                </a:moveTo>
                <a:lnTo>
                  <a:pt x="5053" y="8179"/>
                </a:lnTo>
                <a:lnTo>
                  <a:pt x="5058" y="8166"/>
                </a:lnTo>
                <a:lnTo>
                  <a:pt x="5057" y="8155"/>
                </a:lnTo>
                <a:lnTo>
                  <a:pt x="5045" y="8161"/>
                </a:lnTo>
                <a:lnTo>
                  <a:pt x="5044" y="8169"/>
                </a:lnTo>
                <a:lnTo>
                  <a:pt x="5045" y="8178"/>
                </a:lnTo>
                <a:close/>
                <a:moveTo>
                  <a:pt x="5742" y="8370"/>
                </a:moveTo>
                <a:lnTo>
                  <a:pt x="5738" y="8385"/>
                </a:lnTo>
                <a:lnTo>
                  <a:pt x="5755" y="8397"/>
                </a:lnTo>
                <a:lnTo>
                  <a:pt x="5778" y="8400"/>
                </a:lnTo>
                <a:lnTo>
                  <a:pt x="5794" y="8392"/>
                </a:lnTo>
                <a:lnTo>
                  <a:pt x="5785" y="8378"/>
                </a:lnTo>
                <a:lnTo>
                  <a:pt x="5773" y="8370"/>
                </a:lnTo>
                <a:lnTo>
                  <a:pt x="5757" y="8367"/>
                </a:lnTo>
                <a:lnTo>
                  <a:pt x="5742" y="8370"/>
                </a:lnTo>
                <a:close/>
                <a:moveTo>
                  <a:pt x="5667" y="8001"/>
                </a:moveTo>
                <a:lnTo>
                  <a:pt x="5692" y="8024"/>
                </a:lnTo>
                <a:lnTo>
                  <a:pt x="5738" y="8020"/>
                </a:lnTo>
                <a:lnTo>
                  <a:pt x="5774" y="8003"/>
                </a:lnTo>
                <a:lnTo>
                  <a:pt x="5769" y="7987"/>
                </a:lnTo>
                <a:lnTo>
                  <a:pt x="5745" y="7988"/>
                </a:lnTo>
                <a:lnTo>
                  <a:pt x="5729" y="7979"/>
                </a:lnTo>
                <a:lnTo>
                  <a:pt x="5719" y="7963"/>
                </a:lnTo>
                <a:lnTo>
                  <a:pt x="5708" y="7945"/>
                </a:lnTo>
                <a:lnTo>
                  <a:pt x="5677" y="7956"/>
                </a:lnTo>
                <a:lnTo>
                  <a:pt x="5653" y="7963"/>
                </a:lnTo>
                <a:lnTo>
                  <a:pt x="5645" y="7973"/>
                </a:lnTo>
                <a:lnTo>
                  <a:pt x="5667" y="8001"/>
                </a:lnTo>
                <a:close/>
                <a:moveTo>
                  <a:pt x="5278" y="8026"/>
                </a:moveTo>
                <a:lnTo>
                  <a:pt x="5289" y="8028"/>
                </a:lnTo>
                <a:lnTo>
                  <a:pt x="5298" y="8019"/>
                </a:lnTo>
                <a:lnTo>
                  <a:pt x="5301" y="8008"/>
                </a:lnTo>
                <a:lnTo>
                  <a:pt x="5296" y="8001"/>
                </a:lnTo>
                <a:lnTo>
                  <a:pt x="5287" y="8005"/>
                </a:lnTo>
                <a:lnTo>
                  <a:pt x="5280" y="8010"/>
                </a:lnTo>
                <a:lnTo>
                  <a:pt x="5276" y="8016"/>
                </a:lnTo>
                <a:lnTo>
                  <a:pt x="5278" y="8026"/>
                </a:lnTo>
                <a:close/>
                <a:moveTo>
                  <a:pt x="5308" y="7865"/>
                </a:moveTo>
                <a:lnTo>
                  <a:pt x="5305" y="7866"/>
                </a:lnTo>
                <a:lnTo>
                  <a:pt x="5303" y="7868"/>
                </a:lnTo>
                <a:lnTo>
                  <a:pt x="5307" y="7872"/>
                </a:lnTo>
                <a:lnTo>
                  <a:pt x="5310" y="7871"/>
                </a:lnTo>
                <a:lnTo>
                  <a:pt x="5312" y="7867"/>
                </a:lnTo>
                <a:lnTo>
                  <a:pt x="5308" y="7865"/>
                </a:lnTo>
                <a:close/>
                <a:moveTo>
                  <a:pt x="5478" y="8078"/>
                </a:moveTo>
                <a:lnTo>
                  <a:pt x="5467" y="8066"/>
                </a:lnTo>
                <a:lnTo>
                  <a:pt x="5457" y="8066"/>
                </a:lnTo>
                <a:lnTo>
                  <a:pt x="5445" y="8073"/>
                </a:lnTo>
                <a:lnTo>
                  <a:pt x="5433" y="8085"/>
                </a:lnTo>
                <a:lnTo>
                  <a:pt x="5449" y="8096"/>
                </a:lnTo>
                <a:lnTo>
                  <a:pt x="5463" y="8101"/>
                </a:lnTo>
                <a:lnTo>
                  <a:pt x="5475" y="8096"/>
                </a:lnTo>
                <a:lnTo>
                  <a:pt x="5478" y="8078"/>
                </a:lnTo>
                <a:close/>
                <a:moveTo>
                  <a:pt x="5873" y="8246"/>
                </a:moveTo>
                <a:lnTo>
                  <a:pt x="5867" y="8244"/>
                </a:lnTo>
                <a:lnTo>
                  <a:pt x="5860" y="8240"/>
                </a:lnTo>
                <a:lnTo>
                  <a:pt x="5862" y="8245"/>
                </a:lnTo>
                <a:lnTo>
                  <a:pt x="5863" y="8249"/>
                </a:lnTo>
                <a:lnTo>
                  <a:pt x="5867" y="8250"/>
                </a:lnTo>
                <a:lnTo>
                  <a:pt x="5873" y="8246"/>
                </a:lnTo>
                <a:close/>
                <a:moveTo>
                  <a:pt x="5247" y="10265"/>
                </a:moveTo>
                <a:lnTo>
                  <a:pt x="5254" y="10263"/>
                </a:lnTo>
                <a:lnTo>
                  <a:pt x="5257" y="10259"/>
                </a:lnTo>
                <a:lnTo>
                  <a:pt x="5254" y="10255"/>
                </a:lnTo>
                <a:lnTo>
                  <a:pt x="5247" y="10253"/>
                </a:lnTo>
                <a:lnTo>
                  <a:pt x="5239" y="10255"/>
                </a:lnTo>
                <a:lnTo>
                  <a:pt x="5236" y="10259"/>
                </a:lnTo>
                <a:lnTo>
                  <a:pt x="5239" y="10263"/>
                </a:lnTo>
                <a:lnTo>
                  <a:pt x="5247" y="10265"/>
                </a:lnTo>
                <a:close/>
                <a:moveTo>
                  <a:pt x="5193" y="10622"/>
                </a:moveTo>
                <a:lnTo>
                  <a:pt x="5179" y="10612"/>
                </a:lnTo>
                <a:lnTo>
                  <a:pt x="5158" y="10610"/>
                </a:lnTo>
                <a:lnTo>
                  <a:pt x="5135" y="10614"/>
                </a:lnTo>
                <a:lnTo>
                  <a:pt x="5117" y="10615"/>
                </a:lnTo>
                <a:lnTo>
                  <a:pt x="5128" y="10633"/>
                </a:lnTo>
                <a:lnTo>
                  <a:pt x="5154" y="10638"/>
                </a:lnTo>
                <a:lnTo>
                  <a:pt x="5180" y="10633"/>
                </a:lnTo>
                <a:lnTo>
                  <a:pt x="5193" y="10622"/>
                </a:lnTo>
                <a:close/>
                <a:moveTo>
                  <a:pt x="5266" y="11019"/>
                </a:moveTo>
                <a:lnTo>
                  <a:pt x="5270" y="11023"/>
                </a:lnTo>
                <a:lnTo>
                  <a:pt x="5272" y="11021"/>
                </a:lnTo>
                <a:lnTo>
                  <a:pt x="5273" y="11018"/>
                </a:lnTo>
                <a:lnTo>
                  <a:pt x="5271" y="11014"/>
                </a:lnTo>
                <a:lnTo>
                  <a:pt x="5266" y="11019"/>
                </a:lnTo>
                <a:close/>
                <a:moveTo>
                  <a:pt x="5025" y="10615"/>
                </a:moveTo>
                <a:lnTo>
                  <a:pt x="5024" y="10608"/>
                </a:lnTo>
                <a:lnTo>
                  <a:pt x="5021" y="10604"/>
                </a:lnTo>
                <a:lnTo>
                  <a:pt x="5017" y="10604"/>
                </a:lnTo>
                <a:lnTo>
                  <a:pt x="5012" y="10610"/>
                </a:lnTo>
                <a:lnTo>
                  <a:pt x="5015" y="10615"/>
                </a:lnTo>
                <a:lnTo>
                  <a:pt x="5019" y="10619"/>
                </a:lnTo>
                <a:lnTo>
                  <a:pt x="5023" y="10620"/>
                </a:lnTo>
                <a:lnTo>
                  <a:pt x="5025" y="10615"/>
                </a:lnTo>
                <a:close/>
                <a:moveTo>
                  <a:pt x="5058" y="9350"/>
                </a:moveTo>
                <a:lnTo>
                  <a:pt x="5056" y="9351"/>
                </a:lnTo>
                <a:lnTo>
                  <a:pt x="5053" y="9355"/>
                </a:lnTo>
                <a:lnTo>
                  <a:pt x="5058" y="9358"/>
                </a:lnTo>
                <a:lnTo>
                  <a:pt x="5062" y="9358"/>
                </a:lnTo>
                <a:lnTo>
                  <a:pt x="5062" y="9354"/>
                </a:lnTo>
                <a:lnTo>
                  <a:pt x="5058" y="9350"/>
                </a:lnTo>
                <a:close/>
                <a:moveTo>
                  <a:pt x="5100" y="9359"/>
                </a:moveTo>
                <a:lnTo>
                  <a:pt x="5100" y="9360"/>
                </a:lnTo>
                <a:lnTo>
                  <a:pt x="5103" y="9362"/>
                </a:lnTo>
                <a:lnTo>
                  <a:pt x="5101" y="9359"/>
                </a:lnTo>
                <a:lnTo>
                  <a:pt x="5100" y="9359"/>
                </a:lnTo>
                <a:close/>
                <a:moveTo>
                  <a:pt x="5089" y="9353"/>
                </a:moveTo>
                <a:lnTo>
                  <a:pt x="5094" y="9356"/>
                </a:lnTo>
                <a:lnTo>
                  <a:pt x="5100" y="9359"/>
                </a:lnTo>
                <a:lnTo>
                  <a:pt x="5099" y="9354"/>
                </a:lnTo>
                <a:lnTo>
                  <a:pt x="5098" y="9350"/>
                </a:lnTo>
                <a:lnTo>
                  <a:pt x="5094" y="9350"/>
                </a:lnTo>
                <a:lnTo>
                  <a:pt x="5089" y="9353"/>
                </a:lnTo>
                <a:close/>
                <a:moveTo>
                  <a:pt x="5096" y="10696"/>
                </a:moveTo>
                <a:lnTo>
                  <a:pt x="5094" y="10704"/>
                </a:lnTo>
                <a:lnTo>
                  <a:pt x="5105" y="10707"/>
                </a:lnTo>
                <a:lnTo>
                  <a:pt x="5123" y="10707"/>
                </a:lnTo>
                <a:lnTo>
                  <a:pt x="5136" y="10706"/>
                </a:lnTo>
                <a:lnTo>
                  <a:pt x="5137" y="10707"/>
                </a:lnTo>
                <a:lnTo>
                  <a:pt x="5138" y="10708"/>
                </a:lnTo>
                <a:lnTo>
                  <a:pt x="5137" y="10707"/>
                </a:lnTo>
                <a:lnTo>
                  <a:pt x="5136" y="10706"/>
                </a:lnTo>
                <a:lnTo>
                  <a:pt x="5128" y="10696"/>
                </a:lnTo>
                <a:lnTo>
                  <a:pt x="5118" y="10692"/>
                </a:lnTo>
                <a:lnTo>
                  <a:pt x="5108" y="10693"/>
                </a:lnTo>
                <a:lnTo>
                  <a:pt x="5096" y="10696"/>
                </a:lnTo>
                <a:close/>
                <a:moveTo>
                  <a:pt x="5002" y="10707"/>
                </a:moveTo>
                <a:lnTo>
                  <a:pt x="5005" y="10710"/>
                </a:lnTo>
                <a:lnTo>
                  <a:pt x="5007" y="10711"/>
                </a:lnTo>
                <a:lnTo>
                  <a:pt x="5011" y="10708"/>
                </a:lnTo>
                <a:lnTo>
                  <a:pt x="5011" y="10704"/>
                </a:lnTo>
                <a:lnTo>
                  <a:pt x="5007" y="10703"/>
                </a:lnTo>
                <a:lnTo>
                  <a:pt x="5002" y="10707"/>
                </a:lnTo>
                <a:close/>
                <a:moveTo>
                  <a:pt x="5010" y="9397"/>
                </a:moveTo>
                <a:lnTo>
                  <a:pt x="5012" y="9391"/>
                </a:lnTo>
                <a:lnTo>
                  <a:pt x="5015" y="9384"/>
                </a:lnTo>
                <a:lnTo>
                  <a:pt x="5017" y="9383"/>
                </a:lnTo>
                <a:lnTo>
                  <a:pt x="5019" y="9382"/>
                </a:lnTo>
                <a:lnTo>
                  <a:pt x="5023" y="9381"/>
                </a:lnTo>
                <a:lnTo>
                  <a:pt x="5026" y="9379"/>
                </a:lnTo>
                <a:lnTo>
                  <a:pt x="5028" y="9376"/>
                </a:lnTo>
                <a:lnTo>
                  <a:pt x="5024" y="9370"/>
                </a:lnTo>
                <a:lnTo>
                  <a:pt x="5021" y="9376"/>
                </a:lnTo>
                <a:lnTo>
                  <a:pt x="5019" y="9382"/>
                </a:lnTo>
                <a:lnTo>
                  <a:pt x="5016" y="9383"/>
                </a:lnTo>
                <a:lnTo>
                  <a:pt x="5015" y="9384"/>
                </a:lnTo>
                <a:lnTo>
                  <a:pt x="5010" y="9386"/>
                </a:lnTo>
                <a:lnTo>
                  <a:pt x="5006" y="9387"/>
                </a:lnTo>
                <a:lnTo>
                  <a:pt x="5006" y="9391"/>
                </a:lnTo>
                <a:lnTo>
                  <a:pt x="5010" y="9397"/>
                </a:lnTo>
                <a:close/>
                <a:moveTo>
                  <a:pt x="5029" y="9770"/>
                </a:moveTo>
                <a:lnTo>
                  <a:pt x="5033" y="9775"/>
                </a:lnTo>
                <a:lnTo>
                  <a:pt x="5035" y="9775"/>
                </a:lnTo>
                <a:lnTo>
                  <a:pt x="5037" y="9770"/>
                </a:lnTo>
                <a:lnTo>
                  <a:pt x="5034" y="9766"/>
                </a:lnTo>
                <a:lnTo>
                  <a:pt x="5030" y="9769"/>
                </a:lnTo>
                <a:lnTo>
                  <a:pt x="5029" y="9770"/>
                </a:lnTo>
                <a:close/>
                <a:moveTo>
                  <a:pt x="5065" y="9648"/>
                </a:moveTo>
                <a:lnTo>
                  <a:pt x="5053" y="9644"/>
                </a:lnTo>
                <a:lnTo>
                  <a:pt x="5042" y="9643"/>
                </a:lnTo>
                <a:lnTo>
                  <a:pt x="5031" y="9644"/>
                </a:lnTo>
                <a:lnTo>
                  <a:pt x="5020" y="9649"/>
                </a:lnTo>
                <a:lnTo>
                  <a:pt x="5030" y="9656"/>
                </a:lnTo>
                <a:lnTo>
                  <a:pt x="5042" y="9657"/>
                </a:lnTo>
                <a:lnTo>
                  <a:pt x="5054" y="9654"/>
                </a:lnTo>
                <a:lnTo>
                  <a:pt x="5065" y="9648"/>
                </a:lnTo>
                <a:close/>
                <a:moveTo>
                  <a:pt x="5547" y="10217"/>
                </a:moveTo>
                <a:lnTo>
                  <a:pt x="5524" y="10200"/>
                </a:lnTo>
                <a:lnTo>
                  <a:pt x="5490" y="10190"/>
                </a:lnTo>
                <a:lnTo>
                  <a:pt x="5454" y="10189"/>
                </a:lnTo>
                <a:lnTo>
                  <a:pt x="5426" y="10203"/>
                </a:lnTo>
                <a:lnTo>
                  <a:pt x="5440" y="10230"/>
                </a:lnTo>
                <a:lnTo>
                  <a:pt x="5485" y="10242"/>
                </a:lnTo>
                <a:lnTo>
                  <a:pt x="5529" y="10239"/>
                </a:lnTo>
                <a:lnTo>
                  <a:pt x="5547" y="10217"/>
                </a:lnTo>
                <a:close/>
                <a:moveTo>
                  <a:pt x="5578" y="10188"/>
                </a:moveTo>
                <a:lnTo>
                  <a:pt x="5583" y="10183"/>
                </a:lnTo>
                <a:lnTo>
                  <a:pt x="5584" y="10177"/>
                </a:lnTo>
                <a:lnTo>
                  <a:pt x="5583" y="10171"/>
                </a:lnTo>
                <a:lnTo>
                  <a:pt x="5579" y="10165"/>
                </a:lnTo>
                <a:lnTo>
                  <a:pt x="5574" y="10170"/>
                </a:lnTo>
                <a:lnTo>
                  <a:pt x="5573" y="10175"/>
                </a:lnTo>
                <a:lnTo>
                  <a:pt x="5574" y="10181"/>
                </a:lnTo>
                <a:lnTo>
                  <a:pt x="5578" y="10188"/>
                </a:lnTo>
                <a:close/>
                <a:moveTo>
                  <a:pt x="5691" y="9785"/>
                </a:moveTo>
                <a:lnTo>
                  <a:pt x="5689" y="9783"/>
                </a:lnTo>
                <a:lnTo>
                  <a:pt x="5686" y="9780"/>
                </a:lnTo>
                <a:lnTo>
                  <a:pt x="5691" y="9777"/>
                </a:lnTo>
                <a:lnTo>
                  <a:pt x="5695" y="9778"/>
                </a:lnTo>
                <a:lnTo>
                  <a:pt x="5695" y="9782"/>
                </a:lnTo>
                <a:lnTo>
                  <a:pt x="5691" y="9785"/>
                </a:lnTo>
                <a:close/>
                <a:moveTo>
                  <a:pt x="5764" y="9864"/>
                </a:moveTo>
                <a:lnTo>
                  <a:pt x="5754" y="9780"/>
                </a:lnTo>
                <a:lnTo>
                  <a:pt x="5692" y="9732"/>
                </a:lnTo>
                <a:lnTo>
                  <a:pt x="5626" y="9733"/>
                </a:lnTo>
                <a:lnTo>
                  <a:pt x="5601" y="9794"/>
                </a:lnTo>
                <a:lnTo>
                  <a:pt x="5636" y="9796"/>
                </a:lnTo>
                <a:lnTo>
                  <a:pt x="5663" y="9811"/>
                </a:lnTo>
                <a:lnTo>
                  <a:pt x="5676" y="9838"/>
                </a:lnTo>
                <a:lnTo>
                  <a:pt x="5671" y="9871"/>
                </a:lnTo>
                <a:lnTo>
                  <a:pt x="5687" y="9881"/>
                </a:lnTo>
                <a:lnTo>
                  <a:pt x="5709" y="9867"/>
                </a:lnTo>
                <a:lnTo>
                  <a:pt x="5736" y="9854"/>
                </a:lnTo>
                <a:lnTo>
                  <a:pt x="5764" y="9864"/>
                </a:lnTo>
                <a:close/>
                <a:moveTo>
                  <a:pt x="5547" y="10263"/>
                </a:moveTo>
                <a:lnTo>
                  <a:pt x="5550" y="10254"/>
                </a:lnTo>
                <a:lnTo>
                  <a:pt x="5537" y="10250"/>
                </a:lnTo>
                <a:lnTo>
                  <a:pt x="5526" y="10251"/>
                </a:lnTo>
                <a:lnTo>
                  <a:pt x="5532" y="10261"/>
                </a:lnTo>
                <a:lnTo>
                  <a:pt x="5540" y="10263"/>
                </a:lnTo>
                <a:lnTo>
                  <a:pt x="5547" y="10263"/>
                </a:lnTo>
                <a:close/>
                <a:moveTo>
                  <a:pt x="5589" y="9862"/>
                </a:moveTo>
                <a:lnTo>
                  <a:pt x="5556" y="9841"/>
                </a:lnTo>
                <a:lnTo>
                  <a:pt x="5557" y="9873"/>
                </a:lnTo>
                <a:lnTo>
                  <a:pt x="5575" y="9905"/>
                </a:lnTo>
                <a:lnTo>
                  <a:pt x="5594" y="9883"/>
                </a:lnTo>
                <a:lnTo>
                  <a:pt x="5597" y="9877"/>
                </a:lnTo>
                <a:lnTo>
                  <a:pt x="5596" y="9871"/>
                </a:lnTo>
                <a:lnTo>
                  <a:pt x="5593" y="9866"/>
                </a:lnTo>
                <a:lnTo>
                  <a:pt x="5589" y="9862"/>
                </a:lnTo>
                <a:close/>
                <a:moveTo>
                  <a:pt x="5399" y="10267"/>
                </a:moveTo>
                <a:lnTo>
                  <a:pt x="5397" y="10264"/>
                </a:lnTo>
                <a:lnTo>
                  <a:pt x="5394" y="10263"/>
                </a:lnTo>
                <a:lnTo>
                  <a:pt x="5392" y="10264"/>
                </a:lnTo>
                <a:lnTo>
                  <a:pt x="5389" y="10267"/>
                </a:lnTo>
                <a:lnTo>
                  <a:pt x="5392" y="10269"/>
                </a:lnTo>
                <a:lnTo>
                  <a:pt x="5394" y="10270"/>
                </a:lnTo>
                <a:lnTo>
                  <a:pt x="5397" y="10270"/>
                </a:lnTo>
                <a:lnTo>
                  <a:pt x="5399" y="10267"/>
                </a:lnTo>
                <a:close/>
                <a:moveTo>
                  <a:pt x="5452" y="9821"/>
                </a:moveTo>
                <a:lnTo>
                  <a:pt x="5473" y="9810"/>
                </a:lnTo>
                <a:lnTo>
                  <a:pt x="5487" y="9824"/>
                </a:lnTo>
                <a:lnTo>
                  <a:pt x="5501" y="9843"/>
                </a:lnTo>
                <a:lnTo>
                  <a:pt x="5520" y="9849"/>
                </a:lnTo>
                <a:lnTo>
                  <a:pt x="5518" y="9825"/>
                </a:lnTo>
                <a:lnTo>
                  <a:pt x="5510" y="9782"/>
                </a:lnTo>
                <a:lnTo>
                  <a:pt x="5495" y="9747"/>
                </a:lnTo>
                <a:lnTo>
                  <a:pt x="5475" y="9752"/>
                </a:lnTo>
                <a:lnTo>
                  <a:pt x="5476" y="9765"/>
                </a:lnTo>
                <a:lnTo>
                  <a:pt x="5480" y="9777"/>
                </a:lnTo>
                <a:lnTo>
                  <a:pt x="5481" y="9779"/>
                </a:lnTo>
                <a:lnTo>
                  <a:pt x="5473" y="9768"/>
                </a:lnTo>
                <a:lnTo>
                  <a:pt x="5435" y="9754"/>
                </a:lnTo>
                <a:lnTo>
                  <a:pt x="5402" y="9765"/>
                </a:lnTo>
                <a:lnTo>
                  <a:pt x="5370" y="9783"/>
                </a:lnTo>
                <a:lnTo>
                  <a:pt x="5337" y="9787"/>
                </a:lnTo>
                <a:lnTo>
                  <a:pt x="5310" y="9794"/>
                </a:lnTo>
                <a:lnTo>
                  <a:pt x="5349" y="9819"/>
                </a:lnTo>
                <a:lnTo>
                  <a:pt x="5410" y="9836"/>
                </a:lnTo>
                <a:lnTo>
                  <a:pt x="5452" y="9821"/>
                </a:lnTo>
                <a:close/>
                <a:moveTo>
                  <a:pt x="5524" y="10250"/>
                </a:moveTo>
                <a:lnTo>
                  <a:pt x="5523" y="10250"/>
                </a:lnTo>
                <a:lnTo>
                  <a:pt x="5523" y="10249"/>
                </a:lnTo>
                <a:lnTo>
                  <a:pt x="5523" y="10250"/>
                </a:lnTo>
                <a:lnTo>
                  <a:pt x="5523" y="10250"/>
                </a:lnTo>
                <a:lnTo>
                  <a:pt x="5523" y="10250"/>
                </a:lnTo>
                <a:lnTo>
                  <a:pt x="5524" y="10250"/>
                </a:lnTo>
                <a:close/>
                <a:moveTo>
                  <a:pt x="5289" y="10384"/>
                </a:moveTo>
                <a:lnTo>
                  <a:pt x="5286" y="10365"/>
                </a:lnTo>
                <a:lnTo>
                  <a:pt x="5276" y="10349"/>
                </a:lnTo>
                <a:lnTo>
                  <a:pt x="5261" y="10339"/>
                </a:lnTo>
                <a:lnTo>
                  <a:pt x="5244" y="10342"/>
                </a:lnTo>
                <a:lnTo>
                  <a:pt x="5242" y="10363"/>
                </a:lnTo>
                <a:lnTo>
                  <a:pt x="5256" y="10389"/>
                </a:lnTo>
                <a:lnTo>
                  <a:pt x="5276" y="10402"/>
                </a:lnTo>
                <a:lnTo>
                  <a:pt x="5289" y="10384"/>
                </a:lnTo>
                <a:close/>
                <a:moveTo>
                  <a:pt x="5380" y="10388"/>
                </a:moveTo>
                <a:lnTo>
                  <a:pt x="5389" y="10393"/>
                </a:lnTo>
                <a:lnTo>
                  <a:pt x="5399" y="10393"/>
                </a:lnTo>
                <a:lnTo>
                  <a:pt x="5407" y="10386"/>
                </a:lnTo>
                <a:lnTo>
                  <a:pt x="5407" y="10376"/>
                </a:lnTo>
                <a:lnTo>
                  <a:pt x="5392" y="10347"/>
                </a:lnTo>
                <a:lnTo>
                  <a:pt x="5379" y="10340"/>
                </a:lnTo>
                <a:lnTo>
                  <a:pt x="5374" y="10356"/>
                </a:lnTo>
                <a:lnTo>
                  <a:pt x="5380" y="10388"/>
                </a:lnTo>
                <a:close/>
                <a:moveTo>
                  <a:pt x="5383" y="10116"/>
                </a:moveTo>
                <a:lnTo>
                  <a:pt x="5388" y="10113"/>
                </a:lnTo>
                <a:lnTo>
                  <a:pt x="5388" y="10110"/>
                </a:lnTo>
                <a:lnTo>
                  <a:pt x="5383" y="10109"/>
                </a:lnTo>
                <a:lnTo>
                  <a:pt x="5379" y="10113"/>
                </a:lnTo>
                <a:lnTo>
                  <a:pt x="5382" y="10115"/>
                </a:lnTo>
                <a:lnTo>
                  <a:pt x="5383" y="10116"/>
                </a:lnTo>
                <a:close/>
                <a:moveTo>
                  <a:pt x="4481" y="10774"/>
                </a:moveTo>
                <a:lnTo>
                  <a:pt x="4481" y="10767"/>
                </a:lnTo>
                <a:lnTo>
                  <a:pt x="4479" y="10760"/>
                </a:lnTo>
                <a:lnTo>
                  <a:pt x="4474" y="10755"/>
                </a:lnTo>
                <a:lnTo>
                  <a:pt x="4466" y="10754"/>
                </a:lnTo>
                <a:lnTo>
                  <a:pt x="4457" y="10759"/>
                </a:lnTo>
                <a:lnTo>
                  <a:pt x="4462" y="10769"/>
                </a:lnTo>
                <a:lnTo>
                  <a:pt x="4474" y="10777"/>
                </a:lnTo>
                <a:lnTo>
                  <a:pt x="4481" y="10774"/>
                </a:lnTo>
                <a:close/>
                <a:moveTo>
                  <a:pt x="5010" y="10851"/>
                </a:moveTo>
                <a:lnTo>
                  <a:pt x="5012" y="10857"/>
                </a:lnTo>
                <a:lnTo>
                  <a:pt x="5016" y="10861"/>
                </a:lnTo>
                <a:lnTo>
                  <a:pt x="5020" y="10861"/>
                </a:lnTo>
                <a:lnTo>
                  <a:pt x="5024" y="10855"/>
                </a:lnTo>
                <a:lnTo>
                  <a:pt x="5021" y="10848"/>
                </a:lnTo>
                <a:lnTo>
                  <a:pt x="5017" y="10843"/>
                </a:lnTo>
                <a:lnTo>
                  <a:pt x="5014" y="10844"/>
                </a:lnTo>
                <a:lnTo>
                  <a:pt x="5010" y="10851"/>
                </a:lnTo>
                <a:close/>
                <a:moveTo>
                  <a:pt x="5016" y="9250"/>
                </a:moveTo>
                <a:lnTo>
                  <a:pt x="5014" y="9256"/>
                </a:lnTo>
                <a:lnTo>
                  <a:pt x="5011" y="9261"/>
                </a:lnTo>
                <a:lnTo>
                  <a:pt x="5009" y="9262"/>
                </a:lnTo>
                <a:lnTo>
                  <a:pt x="5009" y="9264"/>
                </a:lnTo>
                <a:lnTo>
                  <a:pt x="5010" y="9264"/>
                </a:lnTo>
                <a:lnTo>
                  <a:pt x="5011" y="9261"/>
                </a:lnTo>
                <a:lnTo>
                  <a:pt x="5015" y="9260"/>
                </a:lnTo>
                <a:lnTo>
                  <a:pt x="5019" y="9258"/>
                </a:lnTo>
                <a:lnTo>
                  <a:pt x="5020" y="9256"/>
                </a:lnTo>
                <a:lnTo>
                  <a:pt x="5016" y="9250"/>
                </a:lnTo>
                <a:close/>
                <a:moveTo>
                  <a:pt x="5287" y="10059"/>
                </a:moveTo>
                <a:lnTo>
                  <a:pt x="5295" y="10065"/>
                </a:lnTo>
                <a:lnTo>
                  <a:pt x="5299" y="10062"/>
                </a:lnTo>
                <a:lnTo>
                  <a:pt x="5299" y="10053"/>
                </a:lnTo>
                <a:lnTo>
                  <a:pt x="5291" y="10046"/>
                </a:lnTo>
                <a:lnTo>
                  <a:pt x="5287" y="10059"/>
                </a:lnTo>
                <a:close/>
                <a:moveTo>
                  <a:pt x="4998" y="10771"/>
                </a:moveTo>
                <a:lnTo>
                  <a:pt x="4996" y="10786"/>
                </a:lnTo>
                <a:lnTo>
                  <a:pt x="5011" y="10796"/>
                </a:lnTo>
                <a:lnTo>
                  <a:pt x="5034" y="10800"/>
                </a:lnTo>
                <a:lnTo>
                  <a:pt x="5053" y="10791"/>
                </a:lnTo>
                <a:lnTo>
                  <a:pt x="5039" y="10785"/>
                </a:lnTo>
                <a:lnTo>
                  <a:pt x="5026" y="10777"/>
                </a:lnTo>
                <a:lnTo>
                  <a:pt x="5012" y="10772"/>
                </a:lnTo>
                <a:lnTo>
                  <a:pt x="4998" y="10771"/>
                </a:lnTo>
                <a:close/>
                <a:moveTo>
                  <a:pt x="4448" y="10978"/>
                </a:moveTo>
                <a:lnTo>
                  <a:pt x="4441" y="10981"/>
                </a:lnTo>
                <a:lnTo>
                  <a:pt x="4437" y="10985"/>
                </a:lnTo>
                <a:lnTo>
                  <a:pt x="4438" y="10988"/>
                </a:lnTo>
                <a:lnTo>
                  <a:pt x="4444" y="10992"/>
                </a:lnTo>
                <a:lnTo>
                  <a:pt x="4451" y="10990"/>
                </a:lnTo>
                <a:lnTo>
                  <a:pt x="4455" y="10987"/>
                </a:lnTo>
                <a:lnTo>
                  <a:pt x="4455" y="10982"/>
                </a:lnTo>
                <a:lnTo>
                  <a:pt x="4448" y="10978"/>
                </a:lnTo>
                <a:close/>
                <a:moveTo>
                  <a:pt x="4488" y="11034"/>
                </a:moveTo>
                <a:lnTo>
                  <a:pt x="4490" y="11037"/>
                </a:lnTo>
                <a:lnTo>
                  <a:pt x="4491" y="11038"/>
                </a:lnTo>
                <a:lnTo>
                  <a:pt x="4497" y="11035"/>
                </a:lnTo>
                <a:lnTo>
                  <a:pt x="4495" y="11032"/>
                </a:lnTo>
                <a:lnTo>
                  <a:pt x="4491" y="11030"/>
                </a:lnTo>
                <a:lnTo>
                  <a:pt x="4488" y="11034"/>
                </a:lnTo>
                <a:close/>
                <a:moveTo>
                  <a:pt x="4654" y="10754"/>
                </a:moveTo>
                <a:lnTo>
                  <a:pt x="4640" y="10741"/>
                </a:lnTo>
                <a:lnTo>
                  <a:pt x="4621" y="10749"/>
                </a:lnTo>
                <a:lnTo>
                  <a:pt x="4609" y="10766"/>
                </a:lnTo>
                <a:lnTo>
                  <a:pt x="4611" y="10785"/>
                </a:lnTo>
                <a:lnTo>
                  <a:pt x="4625" y="10790"/>
                </a:lnTo>
                <a:lnTo>
                  <a:pt x="4639" y="10782"/>
                </a:lnTo>
                <a:lnTo>
                  <a:pt x="4651" y="10769"/>
                </a:lnTo>
                <a:lnTo>
                  <a:pt x="4654" y="10754"/>
                </a:lnTo>
                <a:close/>
                <a:moveTo>
                  <a:pt x="5205" y="9219"/>
                </a:moveTo>
                <a:lnTo>
                  <a:pt x="5203" y="9222"/>
                </a:lnTo>
                <a:lnTo>
                  <a:pt x="5201" y="9224"/>
                </a:lnTo>
                <a:lnTo>
                  <a:pt x="5205" y="9228"/>
                </a:lnTo>
                <a:lnTo>
                  <a:pt x="5208" y="9227"/>
                </a:lnTo>
                <a:lnTo>
                  <a:pt x="5210" y="9223"/>
                </a:lnTo>
                <a:lnTo>
                  <a:pt x="5205" y="9219"/>
                </a:lnTo>
                <a:close/>
                <a:moveTo>
                  <a:pt x="5357" y="11049"/>
                </a:moveTo>
                <a:lnTo>
                  <a:pt x="5365" y="11039"/>
                </a:lnTo>
                <a:lnTo>
                  <a:pt x="5360" y="11029"/>
                </a:lnTo>
                <a:lnTo>
                  <a:pt x="5350" y="11024"/>
                </a:lnTo>
                <a:lnTo>
                  <a:pt x="5338" y="11029"/>
                </a:lnTo>
                <a:lnTo>
                  <a:pt x="5338" y="11035"/>
                </a:lnTo>
                <a:lnTo>
                  <a:pt x="5343" y="11042"/>
                </a:lnTo>
                <a:lnTo>
                  <a:pt x="5350" y="11048"/>
                </a:lnTo>
                <a:lnTo>
                  <a:pt x="5357" y="11049"/>
                </a:lnTo>
                <a:close/>
                <a:moveTo>
                  <a:pt x="5634" y="10025"/>
                </a:moveTo>
                <a:lnTo>
                  <a:pt x="5627" y="10030"/>
                </a:lnTo>
                <a:lnTo>
                  <a:pt x="5624" y="10035"/>
                </a:lnTo>
                <a:lnTo>
                  <a:pt x="5621" y="10041"/>
                </a:lnTo>
                <a:lnTo>
                  <a:pt x="5622" y="10049"/>
                </a:lnTo>
                <a:lnTo>
                  <a:pt x="5635" y="10049"/>
                </a:lnTo>
                <a:lnTo>
                  <a:pt x="5644" y="10039"/>
                </a:lnTo>
                <a:lnTo>
                  <a:pt x="5644" y="10027"/>
                </a:lnTo>
                <a:lnTo>
                  <a:pt x="5634" y="10025"/>
                </a:lnTo>
                <a:close/>
                <a:moveTo>
                  <a:pt x="5178" y="9862"/>
                </a:moveTo>
                <a:lnTo>
                  <a:pt x="5165" y="9869"/>
                </a:lnTo>
                <a:lnTo>
                  <a:pt x="5160" y="9882"/>
                </a:lnTo>
                <a:lnTo>
                  <a:pt x="5163" y="9894"/>
                </a:lnTo>
                <a:lnTo>
                  <a:pt x="5177" y="9903"/>
                </a:lnTo>
                <a:lnTo>
                  <a:pt x="5184" y="9900"/>
                </a:lnTo>
                <a:lnTo>
                  <a:pt x="5187" y="9887"/>
                </a:lnTo>
                <a:lnTo>
                  <a:pt x="5184" y="9873"/>
                </a:lnTo>
                <a:lnTo>
                  <a:pt x="5178" y="9862"/>
                </a:lnTo>
                <a:close/>
                <a:moveTo>
                  <a:pt x="5063" y="9696"/>
                </a:moveTo>
                <a:lnTo>
                  <a:pt x="5057" y="9704"/>
                </a:lnTo>
                <a:lnTo>
                  <a:pt x="5058" y="9713"/>
                </a:lnTo>
                <a:lnTo>
                  <a:pt x="5063" y="9722"/>
                </a:lnTo>
                <a:lnTo>
                  <a:pt x="5072" y="9724"/>
                </a:lnTo>
                <a:lnTo>
                  <a:pt x="5071" y="9717"/>
                </a:lnTo>
                <a:lnTo>
                  <a:pt x="5071" y="9708"/>
                </a:lnTo>
                <a:lnTo>
                  <a:pt x="5068" y="9701"/>
                </a:lnTo>
                <a:lnTo>
                  <a:pt x="5063" y="9696"/>
                </a:lnTo>
                <a:close/>
                <a:moveTo>
                  <a:pt x="5124" y="10741"/>
                </a:moveTo>
                <a:lnTo>
                  <a:pt x="5099" y="10777"/>
                </a:lnTo>
                <a:lnTo>
                  <a:pt x="5104" y="10792"/>
                </a:lnTo>
                <a:lnTo>
                  <a:pt x="5128" y="10790"/>
                </a:lnTo>
                <a:lnTo>
                  <a:pt x="5163" y="10772"/>
                </a:lnTo>
                <a:lnTo>
                  <a:pt x="5164" y="10745"/>
                </a:lnTo>
                <a:lnTo>
                  <a:pt x="5156" y="10722"/>
                </a:lnTo>
                <a:lnTo>
                  <a:pt x="5141" y="10717"/>
                </a:lnTo>
                <a:lnTo>
                  <a:pt x="5124" y="10741"/>
                </a:lnTo>
                <a:close/>
                <a:moveTo>
                  <a:pt x="5072" y="9724"/>
                </a:moveTo>
                <a:lnTo>
                  <a:pt x="5073" y="9726"/>
                </a:lnTo>
                <a:lnTo>
                  <a:pt x="5075" y="9727"/>
                </a:lnTo>
                <a:lnTo>
                  <a:pt x="5067" y="9761"/>
                </a:lnTo>
                <a:lnTo>
                  <a:pt x="5073" y="9788"/>
                </a:lnTo>
                <a:lnTo>
                  <a:pt x="5089" y="9811"/>
                </a:lnTo>
                <a:lnTo>
                  <a:pt x="5110" y="9836"/>
                </a:lnTo>
                <a:lnTo>
                  <a:pt x="5123" y="9805"/>
                </a:lnTo>
                <a:lnTo>
                  <a:pt x="5114" y="9777"/>
                </a:lnTo>
                <a:lnTo>
                  <a:pt x="5095" y="9751"/>
                </a:lnTo>
                <a:lnTo>
                  <a:pt x="5075" y="9727"/>
                </a:lnTo>
                <a:lnTo>
                  <a:pt x="5073" y="9724"/>
                </a:lnTo>
                <a:lnTo>
                  <a:pt x="5072" y="9724"/>
                </a:lnTo>
                <a:close/>
                <a:moveTo>
                  <a:pt x="5090" y="10484"/>
                </a:moveTo>
                <a:lnTo>
                  <a:pt x="5093" y="10472"/>
                </a:lnTo>
                <a:lnTo>
                  <a:pt x="5073" y="10472"/>
                </a:lnTo>
                <a:lnTo>
                  <a:pt x="5056" y="10482"/>
                </a:lnTo>
                <a:lnTo>
                  <a:pt x="5061" y="10498"/>
                </a:lnTo>
                <a:lnTo>
                  <a:pt x="5068" y="10497"/>
                </a:lnTo>
                <a:lnTo>
                  <a:pt x="5076" y="10493"/>
                </a:lnTo>
                <a:lnTo>
                  <a:pt x="5084" y="10489"/>
                </a:lnTo>
                <a:lnTo>
                  <a:pt x="5090" y="10484"/>
                </a:lnTo>
                <a:close/>
                <a:moveTo>
                  <a:pt x="5166" y="10265"/>
                </a:moveTo>
                <a:lnTo>
                  <a:pt x="5173" y="10268"/>
                </a:lnTo>
                <a:lnTo>
                  <a:pt x="5179" y="10269"/>
                </a:lnTo>
                <a:lnTo>
                  <a:pt x="5184" y="10267"/>
                </a:lnTo>
                <a:lnTo>
                  <a:pt x="5188" y="10261"/>
                </a:lnTo>
                <a:lnTo>
                  <a:pt x="5182" y="10259"/>
                </a:lnTo>
                <a:lnTo>
                  <a:pt x="5177" y="10258"/>
                </a:lnTo>
                <a:lnTo>
                  <a:pt x="5172" y="10260"/>
                </a:lnTo>
                <a:lnTo>
                  <a:pt x="5166" y="10265"/>
                </a:lnTo>
                <a:close/>
                <a:moveTo>
                  <a:pt x="5154" y="9953"/>
                </a:moveTo>
                <a:lnTo>
                  <a:pt x="5151" y="9952"/>
                </a:lnTo>
                <a:lnTo>
                  <a:pt x="5149" y="9950"/>
                </a:lnTo>
                <a:lnTo>
                  <a:pt x="5145" y="9953"/>
                </a:lnTo>
                <a:lnTo>
                  <a:pt x="5146" y="9957"/>
                </a:lnTo>
                <a:lnTo>
                  <a:pt x="5150" y="9959"/>
                </a:lnTo>
                <a:lnTo>
                  <a:pt x="5154" y="9953"/>
                </a:lnTo>
                <a:close/>
                <a:moveTo>
                  <a:pt x="5149" y="9673"/>
                </a:moveTo>
                <a:lnTo>
                  <a:pt x="5146" y="9675"/>
                </a:lnTo>
                <a:lnTo>
                  <a:pt x="5144" y="9677"/>
                </a:lnTo>
                <a:lnTo>
                  <a:pt x="5147" y="9681"/>
                </a:lnTo>
                <a:lnTo>
                  <a:pt x="5151" y="9680"/>
                </a:lnTo>
                <a:lnTo>
                  <a:pt x="5152" y="9677"/>
                </a:lnTo>
                <a:lnTo>
                  <a:pt x="5149" y="9673"/>
                </a:lnTo>
                <a:close/>
                <a:moveTo>
                  <a:pt x="4624" y="10935"/>
                </a:moveTo>
                <a:lnTo>
                  <a:pt x="4623" y="10936"/>
                </a:lnTo>
                <a:lnTo>
                  <a:pt x="4620" y="10939"/>
                </a:lnTo>
                <a:lnTo>
                  <a:pt x="4624" y="10943"/>
                </a:lnTo>
                <a:lnTo>
                  <a:pt x="4628" y="10941"/>
                </a:lnTo>
                <a:lnTo>
                  <a:pt x="4629" y="10939"/>
                </a:lnTo>
                <a:lnTo>
                  <a:pt x="4624" y="10935"/>
                </a:lnTo>
                <a:close/>
                <a:moveTo>
                  <a:pt x="5084" y="10356"/>
                </a:moveTo>
                <a:lnTo>
                  <a:pt x="5087" y="10360"/>
                </a:lnTo>
                <a:lnTo>
                  <a:pt x="5091" y="10360"/>
                </a:lnTo>
                <a:lnTo>
                  <a:pt x="5093" y="10356"/>
                </a:lnTo>
                <a:lnTo>
                  <a:pt x="5089" y="10351"/>
                </a:lnTo>
                <a:lnTo>
                  <a:pt x="5086" y="10353"/>
                </a:lnTo>
                <a:lnTo>
                  <a:pt x="5084" y="10356"/>
                </a:lnTo>
                <a:close/>
                <a:moveTo>
                  <a:pt x="5158" y="9519"/>
                </a:moveTo>
                <a:lnTo>
                  <a:pt x="5133" y="9489"/>
                </a:lnTo>
                <a:lnTo>
                  <a:pt x="5086" y="9470"/>
                </a:lnTo>
                <a:lnTo>
                  <a:pt x="5043" y="9468"/>
                </a:lnTo>
                <a:lnTo>
                  <a:pt x="5030" y="9499"/>
                </a:lnTo>
                <a:lnTo>
                  <a:pt x="5058" y="9522"/>
                </a:lnTo>
                <a:lnTo>
                  <a:pt x="5091" y="9527"/>
                </a:lnTo>
                <a:lnTo>
                  <a:pt x="5127" y="9524"/>
                </a:lnTo>
                <a:lnTo>
                  <a:pt x="5158" y="9519"/>
                </a:lnTo>
                <a:close/>
                <a:moveTo>
                  <a:pt x="4996" y="9297"/>
                </a:moveTo>
                <a:lnTo>
                  <a:pt x="5071" y="9309"/>
                </a:lnTo>
                <a:lnTo>
                  <a:pt x="5155" y="9303"/>
                </a:lnTo>
                <a:lnTo>
                  <a:pt x="5198" y="9274"/>
                </a:lnTo>
                <a:lnTo>
                  <a:pt x="5149" y="9223"/>
                </a:lnTo>
                <a:lnTo>
                  <a:pt x="5126" y="9256"/>
                </a:lnTo>
                <a:lnTo>
                  <a:pt x="5098" y="9265"/>
                </a:lnTo>
                <a:lnTo>
                  <a:pt x="5068" y="9269"/>
                </a:lnTo>
                <a:lnTo>
                  <a:pt x="5042" y="9285"/>
                </a:lnTo>
                <a:lnTo>
                  <a:pt x="5024" y="9292"/>
                </a:lnTo>
                <a:lnTo>
                  <a:pt x="5009" y="9276"/>
                </a:lnTo>
                <a:lnTo>
                  <a:pt x="4998" y="9267"/>
                </a:lnTo>
                <a:lnTo>
                  <a:pt x="4996" y="9297"/>
                </a:lnTo>
                <a:close/>
                <a:moveTo>
                  <a:pt x="5995" y="9266"/>
                </a:moveTo>
                <a:lnTo>
                  <a:pt x="6001" y="9256"/>
                </a:lnTo>
                <a:lnTo>
                  <a:pt x="5987" y="9247"/>
                </a:lnTo>
                <a:lnTo>
                  <a:pt x="5966" y="9234"/>
                </a:lnTo>
                <a:lnTo>
                  <a:pt x="5957" y="9216"/>
                </a:lnTo>
                <a:lnTo>
                  <a:pt x="5914" y="9215"/>
                </a:lnTo>
                <a:lnTo>
                  <a:pt x="5914" y="9239"/>
                </a:lnTo>
                <a:lnTo>
                  <a:pt x="5946" y="9266"/>
                </a:lnTo>
                <a:lnTo>
                  <a:pt x="5995" y="9266"/>
                </a:lnTo>
                <a:close/>
                <a:moveTo>
                  <a:pt x="6185" y="9056"/>
                </a:moveTo>
                <a:lnTo>
                  <a:pt x="6161" y="9020"/>
                </a:lnTo>
                <a:lnTo>
                  <a:pt x="6111" y="9011"/>
                </a:lnTo>
                <a:lnTo>
                  <a:pt x="6055" y="9017"/>
                </a:lnTo>
                <a:lnTo>
                  <a:pt x="6017" y="9024"/>
                </a:lnTo>
                <a:lnTo>
                  <a:pt x="6026" y="9078"/>
                </a:lnTo>
                <a:lnTo>
                  <a:pt x="6054" y="9136"/>
                </a:lnTo>
                <a:lnTo>
                  <a:pt x="6083" y="9167"/>
                </a:lnTo>
                <a:lnTo>
                  <a:pt x="6094" y="9135"/>
                </a:lnTo>
                <a:lnTo>
                  <a:pt x="6127" y="9146"/>
                </a:lnTo>
                <a:lnTo>
                  <a:pt x="6120" y="9167"/>
                </a:lnTo>
                <a:lnTo>
                  <a:pt x="6102" y="9186"/>
                </a:lnTo>
                <a:lnTo>
                  <a:pt x="6099" y="9199"/>
                </a:lnTo>
                <a:lnTo>
                  <a:pt x="6148" y="9202"/>
                </a:lnTo>
                <a:lnTo>
                  <a:pt x="6162" y="9162"/>
                </a:lnTo>
                <a:lnTo>
                  <a:pt x="6166" y="9104"/>
                </a:lnTo>
                <a:lnTo>
                  <a:pt x="6185" y="9056"/>
                </a:lnTo>
                <a:close/>
                <a:moveTo>
                  <a:pt x="5987" y="9191"/>
                </a:moveTo>
                <a:lnTo>
                  <a:pt x="5984" y="9188"/>
                </a:lnTo>
                <a:lnTo>
                  <a:pt x="5983" y="9187"/>
                </a:lnTo>
                <a:lnTo>
                  <a:pt x="5980" y="9188"/>
                </a:lnTo>
                <a:lnTo>
                  <a:pt x="5978" y="9191"/>
                </a:lnTo>
                <a:lnTo>
                  <a:pt x="5979" y="9194"/>
                </a:lnTo>
                <a:lnTo>
                  <a:pt x="5981" y="9195"/>
                </a:lnTo>
                <a:lnTo>
                  <a:pt x="5984" y="9194"/>
                </a:lnTo>
                <a:lnTo>
                  <a:pt x="5987" y="9191"/>
                </a:lnTo>
                <a:close/>
                <a:moveTo>
                  <a:pt x="6204" y="9565"/>
                </a:moveTo>
                <a:lnTo>
                  <a:pt x="6197" y="9591"/>
                </a:lnTo>
                <a:lnTo>
                  <a:pt x="6209" y="9617"/>
                </a:lnTo>
                <a:lnTo>
                  <a:pt x="6227" y="9630"/>
                </a:lnTo>
                <a:lnTo>
                  <a:pt x="6241" y="9612"/>
                </a:lnTo>
                <a:lnTo>
                  <a:pt x="6235" y="9586"/>
                </a:lnTo>
                <a:lnTo>
                  <a:pt x="6222" y="9555"/>
                </a:lnTo>
                <a:lnTo>
                  <a:pt x="6211" y="9542"/>
                </a:lnTo>
                <a:lnTo>
                  <a:pt x="6204" y="9565"/>
                </a:lnTo>
                <a:close/>
                <a:moveTo>
                  <a:pt x="5883" y="8957"/>
                </a:moveTo>
                <a:lnTo>
                  <a:pt x="5869" y="8939"/>
                </a:lnTo>
                <a:lnTo>
                  <a:pt x="5852" y="8934"/>
                </a:lnTo>
                <a:lnTo>
                  <a:pt x="5836" y="8940"/>
                </a:lnTo>
                <a:lnTo>
                  <a:pt x="5827" y="8961"/>
                </a:lnTo>
                <a:lnTo>
                  <a:pt x="5840" y="8966"/>
                </a:lnTo>
                <a:lnTo>
                  <a:pt x="5855" y="8966"/>
                </a:lnTo>
                <a:lnTo>
                  <a:pt x="5871" y="8962"/>
                </a:lnTo>
                <a:lnTo>
                  <a:pt x="5883" y="8957"/>
                </a:lnTo>
                <a:close/>
                <a:moveTo>
                  <a:pt x="5322" y="9652"/>
                </a:moveTo>
                <a:lnTo>
                  <a:pt x="5309" y="9635"/>
                </a:lnTo>
                <a:lnTo>
                  <a:pt x="5284" y="9622"/>
                </a:lnTo>
                <a:lnTo>
                  <a:pt x="5257" y="9617"/>
                </a:lnTo>
                <a:lnTo>
                  <a:pt x="5243" y="9622"/>
                </a:lnTo>
                <a:lnTo>
                  <a:pt x="5253" y="9640"/>
                </a:lnTo>
                <a:lnTo>
                  <a:pt x="5275" y="9653"/>
                </a:lnTo>
                <a:lnTo>
                  <a:pt x="5300" y="9658"/>
                </a:lnTo>
                <a:lnTo>
                  <a:pt x="5322" y="9652"/>
                </a:lnTo>
                <a:close/>
                <a:moveTo>
                  <a:pt x="5057" y="10738"/>
                </a:moveTo>
                <a:lnTo>
                  <a:pt x="5059" y="10740"/>
                </a:lnTo>
                <a:lnTo>
                  <a:pt x="5061" y="10743"/>
                </a:lnTo>
                <a:lnTo>
                  <a:pt x="5066" y="10739"/>
                </a:lnTo>
                <a:lnTo>
                  <a:pt x="5065" y="10736"/>
                </a:lnTo>
                <a:lnTo>
                  <a:pt x="5061" y="10735"/>
                </a:lnTo>
                <a:lnTo>
                  <a:pt x="5057" y="10738"/>
                </a:lnTo>
                <a:close/>
                <a:moveTo>
                  <a:pt x="5226" y="9756"/>
                </a:moveTo>
                <a:lnTo>
                  <a:pt x="5215" y="9743"/>
                </a:lnTo>
                <a:lnTo>
                  <a:pt x="5197" y="9738"/>
                </a:lnTo>
                <a:lnTo>
                  <a:pt x="5183" y="9745"/>
                </a:lnTo>
                <a:lnTo>
                  <a:pt x="5180" y="9764"/>
                </a:lnTo>
                <a:lnTo>
                  <a:pt x="5189" y="9782"/>
                </a:lnTo>
                <a:lnTo>
                  <a:pt x="5205" y="9782"/>
                </a:lnTo>
                <a:lnTo>
                  <a:pt x="5220" y="9771"/>
                </a:lnTo>
                <a:lnTo>
                  <a:pt x="5226" y="9756"/>
                </a:lnTo>
                <a:close/>
                <a:moveTo>
                  <a:pt x="6248" y="8763"/>
                </a:moveTo>
                <a:lnTo>
                  <a:pt x="6251" y="8759"/>
                </a:lnTo>
                <a:lnTo>
                  <a:pt x="6251" y="8756"/>
                </a:lnTo>
                <a:lnTo>
                  <a:pt x="6248" y="8754"/>
                </a:lnTo>
                <a:lnTo>
                  <a:pt x="6243" y="8758"/>
                </a:lnTo>
                <a:lnTo>
                  <a:pt x="6245" y="8762"/>
                </a:lnTo>
                <a:lnTo>
                  <a:pt x="6248" y="8763"/>
                </a:lnTo>
                <a:close/>
                <a:moveTo>
                  <a:pt x="5849" y="9096"/>
                </a:moveTo>
                <a:lnTo>
                  <a:pt x="5876" y="9108"/>
                </a:lnTo>
                <a:lnTo>
                  <a:pt x="5909" y="9099"/>
                </a:lnTo>
                <a:lnTo>
                  <a:pt x="5938" y="9076"/>
                </a:lnTo>
                <a:lnTo>
                  <a:pt x="5952" y="9050"/>
                </a:lnTo>
                <a:lnTo>
                  <a:pt x="5955" y="9033"/>
                </a:lnTo>
                <a:lnTo>
                  <a:pt x="5943" y="9033"/>
                </a:lnTo>
                <a:lnTo>
                  <a:pt x="5925" y="9039"/>
                </a:lnTo>
                <a:lnTo>
                  <a:pt x="5911" y="9039"/>
                </a:lnTo>
                <a:lnTo>
                  <a:pt x="5883" y="9020"/>
                </a:lnTo>
                <a:lnTo>
                  <a:pt x="5860" y="9033"/>
                </a:lnTo>
                <a:lnTo>
                  <a:pt x="5846" y="9062"/>
                </a:lnTo>
                <a:lnTo>
                  <a:pt x="5849" y="9096"/>
                </a:lnTo>
                <a:close/>
                <a:moveTo>
                  <a:pt x="6086" y="9270"/>
                </a:moveTo>
                <a:lnTo>
                  <a:pt x="6088" y="9274"/>
                </a:lnTo>
                <a:lnTo>
                  <a:pt x="6090" y="9275"/>
                </a:lnTo>
                <a:lnTo>
                  <a:pt x="6095" y="9271"/>
                </a:lnTo>
                <a:lnTo>
                  <a:pt x="6094" y="9269"/>
                </a:lnTo>
                <a:lnTo>
                  <a:pt x="6090" y="9267"/>
                </a:lnTo>
                <a:lnTo>
                  <a:pt x="6086" y="9270"/>
                </a:lnTo>
                <a:close/>
                <a:moveTo>
                  <a:pt x="5903" y="9580"/>
                </a:moveTo>
                <a:lnTo>
                  <a:pt x="5906" y="9578"/>
                </a:lnTo>
                <a:lnTo>
                  <a:pt x="5906" y="9574"/>
                </a:lnTo>
                <a:lnTo>
                  <a:pt x="5903" y="9573"/>
                </a:lnTo>
                <a:lnTo>
                  <a:pt x="5899" y="9577"/>
                </a:lnTo>
                <a:lnTo>
                  <a:pt x="5900" y="9579"/>
                </a:lnTo>
                <a:lnTo>
                  <a:pt x="5903" y="9580"/>
                </a:lnTo>
                <a:close/>
                <a:moveTo>
                  <a:pt x="5937" y="9368"/>
                </a:moveTo>
                <a:lnTo>
                  <a:pt x="5943" y="9370"/>
                </a:lnTo>
                <a:lnTo>
                  <a:pt x="5950" y="9373"/>
                </a:lnTo>
                <a:lnTo>
                  <a:pt x="5950" y="9374"/>
                </a:lnTo>
                <a:lnTo>
                  <a:pt x="5951" y="9374"/>
                </a:lnTo>
                <a:lnTo>
                  <a:pt x="5951" y="9374"/>
                </a:lnTo>
                <a:lnTo>
                  <a:pt x="5950" y="9373"/>
                </a:lnTo>
                <a:lnTo>
                  <a:pt x="5948" y="9368"/>
                </a:lnTo>
                <a:lnTo>
                  <a:pt x="5946" y="9364"/>
                </a:lnTo>
                <a:lnTo>
                  <a:pt x="5943" y="9363"/>
                </a:lnTo>
                <a:lnTo>
                  <a:pt x="5937" y="9368"/>
                </a:lnTo>
                <a:close/>
                <a:moveTo>
                  <a:pt x="6055" y="9404"/>
                </a:moveTo>
                <a:lnTo>
                  <a:pt x="6057" y="9402"/>
                </a:lnTo>
                <a:lnTo>
                  <a:pt x="6057" y="9402"/>
                </a:lnTo>
                <a:lnTo>
                  <a:pt x="6055" y="9402"/>
                </a:lnTo>
                <a:lnTo>
                  <a:pt x="6055" y="9404"/>
                </a:lnTo>
                <a:close/>
                <a:moveTo>
                  <a:pt x="6006" y="9331"/>
                </a:moveTo>
                <a:lnTo>
                  <a:pt x="5985" y="9328"/>
                </a:lnTo>
                <a:lnTo>
                  <a:pt x="5974" y="9342"/>
                </a:lnTo>
                <a:lnTo>
                  <a:pt x="5965" y="9362"/>
                </a:lnTo>
                <a:lnTo>
                  <a:pt x="5951" y="9374"/>
                </a:lnTo>
                <a:lnTo>
                  <a:pt x="5992" y="9387"/>
                </a:lnTo>
                <a:lnTo>
                  <a:pt x="6032" y="9383"/>
                </a:lnTo>
                <a:lnTo>
                  <a:pt x="6046" y="9364"/>
                </a:lnTo>
                <a:lnTo>
                  <a:pt x="6006" y="9331"/>
                </a:lnTo>
                <a:close/>
                <a:moveTo>
                  <a:pt x="6262" y="9336"/>
                </a:moveTo>
                <a:lnTo>
                  <a:pt x="6259" y="9336"/>
                </a:lnTo>
                <a:lnTo>
                  <a:pt x="6258" y="9339"/>
                </a:lnTo>
                <a:lnTo>
                  <a:pt x="6253" y="9341"/>
                </a:lnTo>
                <a:lnTo>
                  <a:pt x="6249" y="9344"/>
                </a:lnTo>
                <a:lnTo>
                  <a:pt x="6245" y="9349"/>
                </a:lnTo>
                <a:lnTo>
                  <a:pt x="6245" y="9354"/>
                </a:lnTo>
                <a:lnTo>
                  <a:pt x="6244" y="9355"/>
                </a:lnTo>
                <a:lnTo>
                  <a:pt x="6243" y="9356"/>
                </a:lnTo>
                <a:lnTo>
                  <a:pt x="6244" y="9355"/>
                </a:lnTo>
                <a:lnTo>
                  <a:pt x="6245" y="9354"/>
                </a:lnTo>
                <a:lnTo>
                  <a:pt x="6250" y="9353"/>
                </a:lnTo>
                <a:lnTo>
                  <a:pt x="6254" y="9349"/>
                </a:lnTo>
                <a:lnTo>
                  <a:pt x="6257" y="9345"/>
                </a:lnTo>
                <a:lnTo>
                  <a:pt x="6258" y="9339"/>
                </a:lnTo>
                <a:lnTo>
                  <a:pt x="6260" y="9337"/>
                </a:lnTo>
                <a:lnTo>
                  <a:pt x="6262" y="9336"/>
                </a:lnTo>
                <a:lnTo>
                  <a:pt x="6265" y="9335"/>
                </a:lnTo>
                <a:lnTo>
                  <a:pt x="6269" y="9334"/>
                </a:lnTo>
                <a:lnTo>
                  <a:pt x="6271" y="9330"/>
                </a:lnTo>
                <a:lnTo>
                  <a:pt x="6267" y="9325"/>
                </a:lnTo>
                <a:lnTo>
                  <a:pt x="6264" y="9330"/>
                </a:lnTo>
                <a:lnTo>
                  <a:pt x="6262" y="9336"/>
                </a:lnTo>
                <a:close/>
                <a:moveTo>
                  <a:pt x="6134" y="9435"/>
                </a:moveTo>
                <a:lnTo>
                  <a:pt x="6147" y="9420"/>
                </a:lnTo>
                <a:lnTo>
                  <a:pt x="6164" y="9416"/>
                </a:lnTo>
                <a:lnTo>
                  <a:pt x="6175" y="9424"/>
                </a:lnTo>
                <a:lnTo>
                  <a:pt x="6171" y="9440"/>
                </a:lnTo>
                <a:lnTo>
                  <a:pt x="6160" y="9444"/>
                </a:lnTo>
                <a:lnTo>
                  <a:pt x="6146" y="9447"/>
                </a:lnTo>
                <a:lnTo>
                  <a:pt x="6136" y="9446"/>
                </a:lnTo>
                <a:lnTo>
                  <a:pt x="6134" y="9435"/>
                </a:lnTo>
                <a:close/>
                <a:moveTo>
                  <a:pt x="6062" y="9463"/>
                </a:moveTo>
                <a:lnTo>
                  <a:pt x="6146" y="9482"/>
                </a:lnTo>
                <a:lnTo>
                  <a:pt x="6189" y="9488"/>
                </a:lnTo>
                <a:lnTo>
                  <a:pt x="6206" y="9462"/>
                </a:lnTo>
                <a:lnTo>
                  <a:pt x="6211" y="9391"/>
                </a:lnTo>
                <a:lnTo>
                  <a:pt x="6237" y="9368"/>
                </a:lnTo>
                <a:lnTo>
                  <a:pt x="6235" y="9362"/>
                </a:lnTo>
                <a:lnTo>
                  <a:pt x="6222" y="9354"/>
                </a:lnTo>
                <a:lnTo>
                  <a:pt x="6218" y="9332"/>
                </a:lnTo>
                <a:lnTo>
                  <a:pt x="6113" y="9339"/>
                </a:lnTo>
                <a:lnTo>
                  <a:pt x="6078" y="9355"/>
                </a:lnTo>
                <a:lnTo>
                  <a:pt x="6074" y="9393"/>
                </a:lnTo>
                <a:lnTo>
                  <a:pt x="6062" y="9463"/>
                </a:lnTo>
                <a:close/>
                <a:moveTo>
                  <a:pt x="6054" y="9384"/>
                </a:moveTo>
                <a:lnTo>
                  <a:pt x="6054" y="9384"/>
                </a:lnTo>
                <a:lnTo>
                  <a:pt x="6054" y="9384"/>
                </a:lnTo>
                <a:lnTo>
                  <a:pt x="6054" y="9386"/>
                </a:lnTo>
                <a:lnTo>
                  <a:pt x="6054" y="9384"/>
                </a:lnTo>
                <a:close/>
                <a:moveTo>
                  <a:pt x="5937" y="9643"/>
                </a:moveTo>
                <a:lnTo>
                  <a:pt x="5941" y="9647"/>
                </a:lnTo>
                <a:lnTo>
                  <a:pt x="5945" y="9647"/>
                </a:lnTo>
                <a:lnTo>
                  <a:pt x="5946" y="9643"/>
                </a:lnTo>
                <a:lnTo>
                  <a:pt x="5942" y="9638"/>
                </a:lnTo>
                <a:lnTo>
                  <a:pt x="5939" y="9640"/>
                </a:lnTo>
                <a:lnTo>
                  <a:pt x="5937" y="9643"/>
                </a:lnTo>
                <a:close/>
                <a:moveTo>
                  <a:pt x="6049" y="10710"/>
                </a:moveTo>
                <a:lnTo>
                  <a:pt x="6073" y="10703"/>
                </a:lnTo>
                <a:lnTo>
                  <a:pt x="6095" y="10718"/>
                </a:lnTo>
                <a:lnTo>
                  <a:pt x="6114" y="10727"/>
                </a:lnTo>
                <a:lnTo>
                  <a:pt x="6124" y="10701"/>
                </a:lnTo>
                <a:lnTo>
                  <a:pt x="6114" y="10651"/>
                </a:lnTo>
                <a:lnTo>
                  <a:pt x="6074" y="10643"/>
                </a:lnTo>
                <a:lnTo>
                  <a:pt x="6041" y="10666"/>
                </a:lnTo>
                <a:lnTo>
                  <a:pt x="6049" y="10710"/>
                </a:lnTo>
                <a:close/>
                <a:moveTo>
                  <a:pt x="5937" y="9980"/>
                </a:moveTo>
                <a:lnTo>
                  <a:pt x="5937" y="9981"/>
                </a:lnTo>
                <a:lnTo>
                  <a:pt x="5938" y="9981"/>
                </a:lnTo>
                <a:lnTo>
                  <a:pt x="5938" y="9980"/>
                </a:lnTo>
                <a:lnTo>
                  <a:pt x="5937" y="9980"/>
                </a:lnTo>
                <a:close/>
                <a:moveTo>
                  <a:pt x="5913" y="9967"/>
                </a:moveTo>
                <a:lnTo>
                  <a:pt x="5911" y="9976"/>
                </a:lnTo>
                <a:lnTo>
                  <a:pt x="5924" y="9981"/>
                </a:lnTo>
                <a:lnTo>
                  <a:pt x="5936" y="9979"/>
                </a:lnTo>
                <a:lnTo>
                  <a:pt x="5929" y="9969"/>
                </a:lnTo>
                <a:lnTo>
                  <a:pt x="5922" y="9966"/>
                </a:lnTo>
                <a:lnTo>
                  <a:pt x="5913" y="9967"/>
                </a:lnTo>
                <a:close/>
                <a:moveTo>
                  <a:pt x="5962" y="10711"/>
                </a:moveTo>
                <a:lnTo>
                  <a:pt x="6018" y="10656"/>
                </a:lnTo>
                <a:lnTo>
                  <a:pt x="5975" y="10596"/>
                </a:lnTo>
                <a:lnTo>
                  <a:pt x="5886" y="10559"/>
                </a:lnTo>
                <a:lnTo>
                  <a:pt x="5804" y="10577"/>
                </a:lnTo>
                <a:lnTo>
                  <a:pt x="5824" y="10608"/>
                </a:lnTo>
                <a:lnTo>
                  <a:pt x="5862" y="10633"/>
                </a:lnTo>
                <a:lnTo>
                  <a:pt x="5881" y="10676"/>
                </a:lnTo>
                <a:lnTo>
                  <a:pt x="5838" y="10758"/>
                </a:lnTo>
                <a:lnTo>
                  <a:pt x="5925" y="10771"/>
                </a:lnTo>
                <a:lnTo>
                  <a:pt x="5945" y="10759"/>
                </a:lnTo>
                <a:lnTo>
                  <a:pt x="5941" y="10734"/>
                </a:lnTo>
                <a:lnTo>
                  <a:pt x="5962" y="10711"/>
                </a:lnTo>
                <a:close/>
                <a:moveTo>
                  <a:pt x="6031" y="9978"/>
                </a:moveTo>
                <a:lnTo>
                  <a:pt x="5983" y="9989"/>
                </a:lnTo>
                <a:lnTo>
                  <a:pt x="5952" y="9993"/>
                </a:lnTo>
                <a:lnTo>
                  <a:pt x="5934" y="10007"/>
                </a:lnTo>
                <a:lnTo>
                  <a:pt x="5929" y="10055"/>
                </a:lnTo>
                <a:lnTo>
                  <a:pt x="5917" y="10085"/>
                </a:lnTo>
                <a:lnTo>
                  <a:pt x="5936" y="10109"/>
                </a:lnTo>
                <a:lnTo>
                  <a:pt x="5969" y="10125"/>
                </a:lnTo>
                <a:lnTo>
                  <a:pt x="6002" y="10129"/>
                </a:lnTo>
                <a:lnTo>
                  <a:pt x="6012" y="10095"/>
                </a:lnTo>
                <a:lnTo>
                  <a:pt x="6016" y="10053"/>
                </a:lnTo>
                <a:lnTo>
                  <a:pt x="6020" y="10011"/>
                </a:lnTo>
                <a:lnTo>
                  <a:pt x="6031" y="9978"/>
                </a:lnTo>
                <a:close/>
                <a:moveTo>
                  <a:pt x="5848" y="9924"/>
                </a:moveTo>
                <a:lnTo>
                  <a:pt x="5835" y="9918"/>
                </a:lnTo>
                <a:lnTo>
                  <a:pt x="5820" y="9955"/>
                </a:lnTo>
                <a:lnTo>
                  <a:pt x="5810" y="10003"/>
                </a:lnTo>
                <a:lnTo>
                  <a:pt x="5811" y="10035"/>
                </a:lnTo>
                <a:lnTo>
                  <a:pt x="5835" y="10029"/>
                </a:lnTo>
                <a:lnTo>
                  <a:pt x="5844" y="9997"/>
                </a:lnTo>
                <a:lnTo>
                  <a:pt x="5845" y="9956"/>
                </a:lnTo>
                <a:lnTo>
                  <a:pt x="5848" y="9924"/>
                </a:lnTo>
                <a:close/>
                <a:moveTo>
                  <a:pt x="5905" y="9819"/>
                </a:moveTo>
                <a:lnTo>
                  <a:pt x="5899" y="9815"/>
                </a:lnTo>
                <a:lnTo>
                  <a:pt x="5892" y="9813"/>
                </a:lnTo>
                <a:lnTo>
                  <a:pt x="5887" y="9816"/>
                </a:lnTo>
                <a:lnTo>
                  <a:pt x="5881" y="9820"/>
                </a:lnTo>
                <a:lnTo>
                  <a:pt x="5887" y="9824"/>
                </a:lnTo>
                <a:lnTo>
                  <a:pt x="5894" y="9825"/>
                </a:lnTo>
                <a:lnTo>
                  <a:pt x="5899" y="9824"/>
                </a:lnTo>
                <a:lnTo>
                  <a:pt x="5905" y="9819"/>
                </a:lnTo>
                <a:close/>
                <a:moveTo>
                  <a:pt x="5677" y="9945"/>
                </a:moveTo>
                <a:lnTo>
                  <a:pt x="5676" y="9945"/>
                </a:lnTo>
                <a:lnTo>
                  <a:pt x="5676" y="9946"/>
                </a:lnTo>
                <a:lnTo>
                  <a:pt x="5677" y="9946"/>
                </a:lnTo>
                <a:lnTo>
                  <a:pt x="5677" y="9945"/>
                </a:lnTo>
                <a:lnTo>
                  <a:pt x="5682" y="9943"/>
                </a:lnTo>
                <a:lnTo>
                  <a:pt x="5686" y="9942"/>
                </a:lnTo>
                <a:lnTo>
                  <a:pt x="5687" y="9938"/>
                </a:lnTo>
                <a:lnTo>
                  <a:pt x="5683" y="9932"/>
                </a:lnTo>
                <a:lnTo>
                  <a:pt x="5680" y="9938"/>
                </a:lnTo>
                <a:lnTo>
                  <a:pt x="5677" y="9945"/>
                </a:lnTo>
                <a:close/>
                <a:moveTo>
                  <a:pt x="5620" y="9939"/>
                </a:moveTo>
                <a:lnTo>
                  <a:pt x="5611" y="9948"/>
                </a:lnTo>
                <a:lnTo>
                  <a:pt x="5624" y="9967"/>
                </a:lnTo>
                <a:lnTo>
                  <a:pt x="5647" y="9987"/>
                </a:lnTo>
                <a:lnTo>
                  <a:pt x="5664" y="9995"/>
                </a:lnTo>
                <a:lnTo>
                  <a:pt x="5681" y="9970"/>
                </a:lnTo>
                <a:lnTo>
                  <a:pt x="5672" y="9955"/>
                </a:lnTo>
                <a:lnTo>
                  <a:pt x="5648" y="9946"/>
                </a:lnTo>
                <a:lnTo>
                  <a:pt x="5620" y="9939"/>
                </a:lnTo>
                <a:close/>
                <a:moveTo>
                  <a:pt x="5703" y="10043"/>
                </a:moveTo>
                <a:lnTo>
                  <a:pt x="5658" y="10088"/>
                </a:lnTo>
                <a:lnTo>
                  <a:pt x="5627" y="10118"/>
                </a:lnTo>
                <a:lnTo>
                  <a:pt x="5621" y="10161"/>
                </a:lnTo>
                <a:lnTo>
                  <a:pt x="5645" y="10250"/>
                </a:lnTo>
                <a:lnTo>
                  <a:pt x="5666" y="10207"/>
                </a:lnTo>
                <a:lnTo>
                  <a:pt x="5695" y="10153"/>
                </a:lnTo>
                <a:lnTo>
                  <a:pt x="5713" y="10096"/>
                </a:lnTo>
                <a:lnTo>
                  <a:pt x="5703" y="10043"/>
                </a:lnTo>
                <a:close/>
                <a:moveTo>
                  <a:pt x="5639" y="10389"/>
                </a:moveTo>
                <a:lnTo>
                  <a:pt x="5654" y="10396"/>
                </a:lnTo>
                <a:lnTo>
                  <a:pt x="5669" y="10405"/>
                </a:lnTo>
                <a:lnTo>
                  <a:pt x="5685" y="10409"/>
                </a:lnTo>
                <a:lnTo>
                  <a:pt x="5699" y="10405"/>
                </a:lnTo>
                <a:lnTo>
                  <a:pt x="5690" y="10389"/>
                </a:lnTo>
                <a:lnTo>
                  <a:pt x="5676" y="10381"/>
                </a:lnTo>
                <a:lnTo>
                  <a:pt x="5657" y="10381"/>
                </a:lnTo>
                <a:lnTo>
                  <a:pt x="5639" y="10389"/>
                </a:lnTo>
                <a:close/>
                <a:moveTo>
                  <a:pt x="5198" y="9481"/>
                </a:moveTo>
                <a:lnTo>
                  <a:pt x="5211" y="9468"/>
                </a:lnTo>
                <a:lnTo>
                  <a:pt x="5200" y="9443"/>
                </a:lnTo>
                <a:lnTo>
                  <a:pt x="5188" y="9410"/>
                </a:lnTo>
                <a:lnTo>
                  <a:pt x="5202" y="9378"/>
                </a:lnTo>
                <a:lnTo>
                  <a:pt x="5121" y="9365"/>
                </a:lnTo>
                <a:lnTo>
                  <a:pt x="5108" y="9392"/>
                </a:lnTo>
                <a:lnTo>
                  <a:pt x="5141" y="9438"/>
                </a:lnTo>
                <a:lnTo>
                  <a:pt x="5198" y="9481"/>
                </a:lnTo>
                <a:close/>
                <a:moveTo>
                  <a:pt x="6297" y="9093"/>
                </a:moveTo>
                <a:lnTo>
                  <a:pt x="6296" y="9101"/>
                </a:lnTo>
                <a:lnTo>
                  <a:pt x="6299" y="9110"/>
                </a:lnTo>
                <a:lnTo>
                  <a:pt x="6310" y="9116"/>
                </a:lnTo>
                <a:lnTo>
                  <a:pt x="6311" y="9099"/>
                </a:lnTo>
                <a:lnTo>
                  <a:pt x="6307" y="9084"/>
                </a:lnTo>
                <a:lnTo>
                  <a:pt x="6297" y="9093"/>
                </a:lnTo>
                <a:close/>
                <a:moveTo>
                  <a:pt x="5906" y="10553"/>
                </a:moveTo>
                <a:lnTo>
                  <a:pt x="5905" y="10553"/>
                </a:lnTo>
                <a:lnTo>
                  <a:pt x="5906" y="10554"/>
                </a:lnTo>
                <a:lnTo>
                  <a:pt x="5906" y="10553"/>
                </a:lnTo>
                <a:lnTo>
                  <a:pt x="5906" y="10553"/>
                </a:lnTo>
                <a:close/>
                <a:moveTo>
                  <a:pt x="4982" y="10422"/>
                </a:moveTo>
                <a:lnTo>
                  <a:pt x="4986" y="10427"/>
                </a:lnTo>
                <a:lnTo>
                  <a:pt x="4989" y="10431"/>
                </a:lnTo>
                <a:lnTo>
                  <a:pt x="4993" y="10432"/>
                </a:lnTo>
                <a:lnTo>
                  <a:pt x="4996" y="10427"/>
                </a:lnTo>
                <a:lnTo>
                  <a:pt x="4995" y="10419"/>
                </a:lnTo>
                <a:lnTo>
                  <a:pt x="4992" y="10416"/>
                </a:lnTo>
                <a:lnTo>
                  <a:pt x="4987" y="10416"/>
                </a:lnTo>
                <a:lnTo>
                  <a:pt x="4982" y="10422"/>
                </a:lnTo>
                <a:close/>
                <a:moveTo>
                  <a:pt x="5057" y="10431"/>
                </a:moveTo>
                <a:lnTo>
                  <a:pt x="5067" y="10426"/>
                </a:lnTo>
                <a:lnTo>
                  <a:pt x="5077" y="10413"/>
                </a:lnTo>
                <a:lnTo>
                  <a:pt x="5081" y="10399"/>
                </a:lnTo>
                <a:lnTo>
                  <a:pt x="5075" y="10388"/>
                </a:lnTo>
                <a:lnTo>
                  <a:pt x="5065" y="10393"/>
                </a:lnTo>
                <a:lnTo>
                  <a:pt x="5056" y="10405"/>
                </a:lnTo>
                <a:lnTo>
                  <a:pt x="5052" y="10419"/>
                </a:lnTo>
                <a:lnTo>
                  <a:pt x="5057" y="10431"/>
                </a:lnTo>
                <a:close/>
                <a:moveTo>
                  <a:pt x="6162" y="10181"/>
                </a:moveTo>
                <a:lnTo>
                  <a:pt x="6165" y="10185"/>
                </a:lnTo>
                <a:lnTo>
                  <a:pt x="6166" y="10186"/>
                </a:lnTo>
                <a:lnTo>
                  <a:pt x="6171" y="10183"/>
                </a:lnTo>
                <a:lnTo>
                  <a:pt x="6170" y="10180"/>
                </a:lnTo>
                <a:lnTo>
                  <a:pt x="6166" y="10179"/>
                </a:lnTo>
                <a:lnTo>
                  <a:pt x="6162" y="10181"/>
                </a:lnTo>
                <a:close/>
                <a:moveTo>
                  <a:pt x="6199" y="10502"/>
                </a:moveTo>
                <a:lnTo>
                  <a:pt x="6192" y="10503"/>
                </a:lnTo>
                <a:lnTo>
                  <a:pt x="6188" y="10507"/>
                </a:lnTo>
                <a:lnTo>
                  <a:pt x="6189" y="10511"/>
                </a:lnTo>
                <a:lnTo>
                  <a:pt x="6195" y="10515"/>
                </a:lnTo>
                <a:lnTo>
                  <a:pt x="6202" y="10514"/>
                </a:lnTo>
                <a:lnTo>
                  <a:pt x="6206" y="10510"/>
                </a:lnTo>
                <a:lnTo>
                  <a:pt x="6204" y="10506"/>
                </a:lnTo>
                <a:lnTo>
                  <a:pt x="6199" y="10502"/>
                </a:lnTo>
                <a:close/>
                <a:moveTo>
                  <a:pt x="5918" y="10544"/>
                </a:moveTo>
                <a:lnTo>
                  <a:pt x="5925" y="10514"/>
                </a:lnTo>
                <a:lnTo>
                  <a:pt x="5929" y="10488"/>
                </a:lnTo>
                <a:lnTo>
                  <a:pt x="5920" y="10468"/>
                </a:lnTo>
                <a:lnTo>
                  <a:pt x="5891" y="10456"/>
                </a:lnTo>
                <a:lnTo>
                  <a:pt x="5889" y="10479"/>
                </a:lnTo>
                <a:lnTo>
                  <a:pt x="5894" y="10514"/>
                </a:lnTo>
                <a:lnTo>
                  <a:pt x="5904" y="10542"/>
                </a:lnTo>
                <a:lnTo>
                  <a:pt x="5918" y="10544"/>
                </a:lnTo>
                <a:close/>
                <a:moveTo>
                  <a:pt x="5672" y="8990"/>
                </a:moveTo>
                <a:lnTo>
                  <a:pt x="5678" y="8986"/>
                </a:lnTo>
                <a:lnTo>
                  <a:pt x="5676" y="8985"/>
                </a:lnTo>
                <a:lnTo>
                  <a:pt x="5673" y="8985"/>
                </a:lnTo>
                <a:lnTo>
                  <a:pt x="5672" y="8986"/>
                </a:lnTo>
                <a:lnTo>
                  <a:pt x="5672" y="8990"/>
                </a:lnTo>
                <a:close/>
                <a:moveTo>
                  <a:pt x="5207" y="9673"/>
                </a:moveTo>
                <a:lnTo>
                  <a:pt x="5211" y="9667"/>
                </a:lnTo>
                <a:lnTo>
                  <a:pt x="5216" y="9659"/>
                </a:lnTo>
                <a:lnTo>
                  <a:pt x="5219" y="9653"/>
                </a:lnTo>
                <a:lnTo>
                  <a:pt x="5215" y="9647"/>
                </a:lnTo>
                <a:lnTo>
                  <a:pt x="5197" y="9621"/>
                </a:lnTo>
                <a:lnTo>
                  <a:pt x="5184" y="9639"/>
                </a:lnTo>
                <a:lnTo>
                  <a:pt x="5184" y="9666"/>
                </a:lnTo>
                <a:lnTo>
                  <a:pt x="5207" y="9673"/>
                </a:lnTo>
                <a:close/>
                <a:moveTo>
                  <a:pt x="5728" y="8873"/>
                </a:moveTo>
                <a:lnTo>
                  <a:pt x="5719" y="8878"/>
                </a:lnTo>
                <a:lnTo>
                  <a:pt x="5724" y="8889"/>
                </a:lnTo>
                <a:lnTo>
                  <a:pt x="5734" y="8896"/>
                </a:lnTo>
                <a:lnTo>
                  <a:pt x="5743" y="8893"/>
                </a:lnTo>
                <a:lnTo>
                  <a:pt x="5743" y="8885"/>
                </a:lnTo>
                <a:lnTo>
                  <a:pt x="5741" y="8879"/>
                </a:lnTo>
                <a:lnTo>
                  <a:pt x="5736" y="8875"/>
                </a:lnTo>
                <a:lnTo>
                  <a:pt x="5728" y="8873"/>
                </a:lnTo>
                <a:close/>
                <a:moveTo>
                  <a:pt x="6181" y="10096"/>
                </a:moveTo>
                <a:lnTo>
                  <a:pt x="6174" y="10090"/>
                </a:lnTo>
                <a:lnTo>
                  <a:pt x="6164" y="10091"/>
                </a:lnTo>
                <a:lnTo>
                  <a:pt x="6156" y="10099"/>
                </a:lnTo>
                <a:lnTo>
                  <a:pt x="6156" y="10110"/>
                </a:lnTo>
                <a:lnTo>
                  <a:pt x="6162" y="10116"/>
                </a:lnTo>
                <a:lnTo>
                  <a:pt x="6170" y="10113"/>
                </a:lnTo>
                <a:lnTo>
                  <a:pt x="6178" y="10105"/>
                </a:lnTo>
                <a:lnTo>
                  <a:pt x="6181" y="10096"/>
                </a:lnTo>
                <a:close/>
                <a:moveTo>
                  <a:pt x="6324" y="9013"/>
                </a:moveTo>
                <a:lnTo>
                  <a:pt x="6353" y="9001"/>
                </a:lnTo>
                <a:lnTo>
                  <a:pt x="6362" y="8994"/>
                </a:lnTo>
                <a:lnTo>
                  <a:pt x="6353" y="8986"/>
                </a:lnTo>
                <a:lnTo>
                  <a:pt x="6323" y="8980"/>
                </a:lnTo>
                <a:lnTo>
                  <a:pt x="6310" y="8981"/>
                </a:lnTo>
                <a:lnTo>
                  <a:pt x="6306" y="8996"/>
                </a:lnTo>
                <a:lnTo>
                  <a:pt x="6311" y="9011"/>
                </a:lnTo>
                <a:lnTo>
                  <a:pt x="6324" y="9013"/>
                </a:lnTo>
                <a:close/>
                <a:moveTo>
                  <a:pt x="5247" y="3743"/>
                </a:moveTo>
                <a:lnTo>
                  <a:pt x="5259" y="3734"/>
                </a:lnTo>
                <a:lnTo>
                  <a:pt x="5264" y="3724"/>
                </a:lnTo>
                <a:lnTo>
                  <a:pt x="5261" y="3712"/>
                </a:lnTo>
                <a:lnTo>
                  <a:pt x="5249" y="3701"/>
                </a:lnTo>
                <a:lnTo>
                  <a:pt x="5240" y="3710"/>
                </a:lnTo>
                <a:lnTo>
                  <a:pt x="5238" y="3721"/>
                </a:lnTo>
                <a:lnTo>
                  <a:pt x="5240" y="3733"/>
                </a:lnTo>
                <a:lnTo>
                  <a:pt x="5247" y="3743"/>
                </a:lnTo>
                <a:close/>
                <a:moveTo>
                  <a:pt x="4467" y="2895"/>
                </a:moveTo>
                <a:lnTo>
                  <a:pt x="4516" y="2881"/>
                </a:lnTo>
                <a:lnTo>
                  <a:pt x="4537" y="2844"/>
                </a:lnTo>
                <a:lnTo>
                  <a:pt x="4539" y="2796"/>
                </a:lnTo>
                <a:lnTo>
                  <a:pt x="4527" y="2746"/>
                </a:lnTo>
                <a:lnTo>
                  <a:pt x="4476" y="2774"/>
                </a:lnTo>
                <a:lnTo>
                  <a:pt x="4429" y="2805"/>
                </a:lnTo>
                <a:lnTo>
                  <a:pt x="4415" y="2843"/>
                </a:lnTo>
                <a:lnTo>
                  <a:pt x="4467" y="2895"/>
                </a:lnTo>
                <a:close/>
                <a:moveTo>
                  <a:pt x="4521" y="2022"/>
                </a:moveTo>
                <a:lnTo>
                  <a:pt x="4533" y="2013"/>
                </a:lnTo>
                <a:lnTo>
                  <a:pt x="4527" y="1989"/>
                </a:lnTo>
                <a:lnTo>
                  <a:pt x="4508" y="1965"/>
                </a:lnTo>
                <a:lnTo>
                  <a:pt x="4489" y="1952"/>
                </a:lnTo>
                <a:lnTo>
                  <a:pt x="4488" y="1970"/>
                </a:lnTo>
                <a:lnTo>
                  <a:pt x="4495" y="1989"/>
                </a:lnTo>
                <a:lnTo>
                  <a:pt x="4508" y="2007"/>
                </a:lnTo>
                <a:lnTo>
                  <a:pt x="4521" y="2022"/>
                </a:lnTo>
                <a:close/>
                <a:moveTo>
                  <a:pt x="4528" y="3299"/>
                </a:moveTo>
                <a:lnTo>
                  <a:pt x="4500" y="3347"/>
                </a:lnTo>
                <a:lnTo>
                  <a:pt x="4573" y="3325"/>
                </a:lnTo>
                <a:lnTo>
                  <a:pt x="4657" y="3255"/>
                </a:lnTo>
                <a:lnTo>
                  <a:pt x="4665" y="3156"/>
                </a:lnTo>
                <a:lnTo>
                  <a:pt x="4549" y="3136"/>
                </a:lnTo>
                <a:lnTo>
                  <a:pt x="4544" y="3201"/>
                </a:lnTo>
                <a:lnTo>
                  <a:pt x="4564" y="3280"/>
                </a:lnTo>
                <a:lnTo>
                  <a:pt x="4528" y="3299"/>
                </a:lnTo>
                <a:close/>
                <a:moveTo>
                  <a:pt x="4363" y="2595"/>
                </a:moveTo>
                <a:lnTo>
                  <a:pt x="4418" y="2625"/>
                </a:lnTo>
                <a:lnTo>
                  <a:pt x="4429" y="2590"/>
                </a:lnTo>
                <a:lnTo>
                  <a:pt x="4405" y="2543"/>
                </a:lnTo>
                <a:lnTo>
                  <a:pt x="4355" y="2544"/>
                </a:lnTo>
                <a:lnTo>
                  <a:pt x="4342" y="2560"/>
                </a:lnTo>
                <a:lnTo>
                  <a:pt x="4335" y="2574"/>
                </a:lnTo>
                <a:lnTo>
                  <a:pt x="4340" y="2586"/>
                </a:lnTo>
                <a:lnTo>
                  <a:pt x="4363" y="2595"/>
                </a:lnTo>
                <a:close/>
                <a:moveTo>
                  <a:pt x="5776" y="2604"/>
                </a:moveTo>
                <a:lnTo>
                  <a:pt x="5672" y="2619"/>
                </a:lnTo>
                <a:lnTo>
                  <a:pt x="5673" y="2700"/>
                </a:lnTo>
                <a:lnTo>
                  <a:pt x="5742" y="2793"/>
                </a:lnTo>
                <a:lnTo>
                  <a:pt x="5838" y="2844"/>
                </a:lnTo>
                <a:lnTo>
                  <a:pt x="5838" y="2774"/>
                </a:lnTo>
                <a:lnTo>
                  <a:pt x="5840" y="2714"/>
                </a:lnTo>
                <a:lnTo>
                  <a:pt x="5826" y="2658"/>
                </a:lnTo>
                <a:lnTo>
                  <a:pt x="5776" y="2604"/>
                </a:lnTo>
                <a:close/>
                <a:moveTo>
                  <a:pt x="4511" y="2117"/>
                </a:moveTo>
                <a:lnTo>
                  <a:pt x="4511" y="2119"/>
                </a:lnTo>
                <a:lnTo>
                  <a:pt x="4511" y="2117"/>
                </a:lnTo>
                <a:lnTo>
                  <a:pt x="4509" y="2117"/>
                </a:lnTo>
                <a:lnTo>
                  <a:pt x="4511" y="2117"/>
                </a:lnTo>
                <a:close/>
                <a:moveTo>
                  <a:pt x="5854" y="2904"/>
                </a:moveTo>
                <a:lnTo>
                  <a:pt x="5853" y="2903"/>
                </a:lnTo>
                <a:lnTo>
                  <a:pt x="5850" y="2900"/>
                </a:lnTo>
                <a:lnTo>
                  <a:pt x="5846" y="2904"/>
                </a:lnTo>
                <a:lnTo>
                  <a:pt x="5848" y="2908"/>
                </a:lnTo>
                <a:lnTo>
                  <a:pt x="5852" y="2908"/>
                </a:lnTo>
                <a:lnTo>
                  <a:pt x="5854" y="2904"/>
                </a:lnTo>
                <a:close/>
                <a:moveTo>
                  <a:pt x="5794" y="3030"/>
                </a:moveTo>
                <a:lnTo>
                  <a:pt x="5792" y="3027"/>
                </a:lnTo>
                <a:lnTo>
                  <a:pt x="5789" y="3026"/>
                </a:lnTo>
                <a:lnTo>
                  <a:pt x="5787" y="3027"/>
                </a:lnTo>
                <a:lnTo>
                  <a:pt x="5785" y="3030"/>
                </a:lnTo>
                <a:lnTo>
                  <a:pt x="5787" y="3033"/>
                </a:lnTo>
                <a:lnTo>
                  <a:pt x="5789" y="3034"/>
                </a:lnTo>
                <a:lnTo>
                  <a:pt x="5792" y="3033"/>
                </a:lnTo>
                <a:lnTo>
                  <a:pt x="5794" y="3030"/>
                </a:lnTo>
                <a:close/>
                <a:moveTo>
                  <a:pt x="5705" y="1989"/>
                </a:moveTo>
                <a:lnTo>
                  <a:pt x="5706" y="2002"/>
                </a:lnTo>
                <a:lnTo>
                  <a:pt x="5714" y="2003"/>
                </a:lnTo>
                <a:lnTo>
                  <a:pt x="5724" y="1995"/>
                </a:lnTo>
                <a:lnTo>
                  <a:pt x="5728" y="1982"/>
                </a:lnTo>
                <a:lnTo>
                  <a:pt x="5723" y="1977"/>
                </a:lnTo>
                <a:lnTo>
                  <a:pt x="5718" y="1979"/>
                </a:lnTo>
                <a:lnTo>
                  <a:pt x="5711" y="1984"/>
                </a:lnTo>
                <a:lnTo>
                  <a:pt x="5705" y="1989"/>
                </a:lnTo>
                <a:close/>
                <a:moveTo>
                  <a:pt x="4554" y="2932"/>
                </a:moveTo>
                <a:lnTo>
                  <a:pt x="4553" y="2933"/>
                </a:lnTo>
                <a:lnTo>
                  <a:pt x="4550" y="2937"/>
                </a:lnTo>
                <a:lnTo>
                  <a:pt x="4554" y="2941"/>
                </a:lnTo>
                <a:lnTo>
                  <a:pt x="4558" y="2940"/>
                </a:lnTo>
                <a:lnTo>
                  <a:pt x="4559" y="2936"/>
                </a:lnTo>
                <a:lnTo>
                  <a:pt x="4554" y="2932"/>
                </a:lnTo>
                <a:close/>
                <a:moveTo>
                  <a:pt x="4672" y="2881"/>
                </a:moveTo>
                <a:lnTo>
                  <a:pt x="4702" y="2875"/>
                </a:lnTo>
                <a:lnTo>
                  <a:pt x="4719" y="2877"/>
                </a:lnTo>
                <a:lnTo>
                  <a:pt x="4732" y="2889"/>
                </a:lnTo>
                <a:lnTo>
                  <a:pt x="4746" y="2907"/>
                </a:lnTo>
                <a:lnTo>
                  <a:pt x="4787" y="2826"/>
                </a:lnTo>
                <a:lnTo>
                  <a:pt x="4735" y="2779"/>
                </a:lnTo>
                <a:lnTo>
                  <a:pt x="4670" y="2789"/>
                </a:lnTo>
                <a:lnTo>
                  <a:pt x="4672" y="2881"/>
                </a:lnTo>
                <a:close/>
                <a:moveTo>
                  <a:pt x="4916" y="2212"/>
                </a:moveTo>
                <a:lnTo>
                  <a:pt x="4921" y="2210"/>
                </a:lnTo>
                <a:lnTo>
                  <a:pt x="4924" y="2209"/>
                </a:lnTo>
                <a:lnTo>
                  <a:pt x="4926" y="2206"/>
                </a:lnTo>
                <a:lnTo>
                  <a:pt x="4922" y="2200"/>
                </a:lnTo>
                <a:lnTo>
                  <a:pt x="4919" y="2205"/>
                </a:lnTo>
                <a:lnTo>
                  <a:pt x="4916" y="2212"/>
                </a:lnTo>
                <a:lnTo>
                  <a:pt x="4914" y="2213"/>
                </a:lnTo>
                <a:lnTo>
                  <a:pt x="4913" y="2214"/>
                </a:lnTo>
                <a:lnTo>
                  <a:pt x="4908" y="2215"/>
                </a:lnTo>
                <a:lnTo>
                  <a:pt x="4904" y="2217"/>
                </a:lnTo>
                <a:lnTo>
                  <a:pt x="4903" y="2220"/>
                </a:lnTo>
                <a:lnTo>
                  <a:pt x="4907" y="2227"/>
                </a:lnTo>
                <a:lnTo>
                  <a:pt x="4910" y="2220"/>
                </a:lnTo>
                <a:lnTo>
                  <a:pt x="4913" y="2214"/>
                </a:lnTo>
                <a:lnTo>
                  <a:pt x="4916" y="2213"/>
                </a:lnTo>
                <a:lnTo>
                  <a:pt x="4916" y="2212"/>
                </a:lnTo>
                <a:close/>
                <a:moveTo>
                  <a:pt x="4735" y="2238"/>
                </a:moveTo>
                <a:lnTo>
                  <a:pt x="4759" y="2241"/>
                </a:lnTo>
                <a:lnTo>
                  <a:pt x="4773" y="2251"/>
                </a:lnTo>
                <a:lnTo>
                  <a:pt x="4781" y="2268"/>
                </a:lnTo>
                <a:lnTo>
                  <a:pt x="4782" y="2290"/>
                </a:lnTo>
                <a:lnTo>
                  <a:pt x="4798" y="2298"/>
                </a:lnTo>
                <a:lnTo>
                  <a:pt x="4817" y="2288"/>
                </a:lnTo>
                <a:lnTo>
                  <a:pt x="4829" y="2269"/>
                </a:lnTo>
                <a:lnTo>
                  <a:pt x="4819" y="2250"/>
                </a:lnTo>
                <a:lnTo>
                  <a:pt x="4812" y="2226"/>
                </a:lnTo>
                <a:lnTo>
                  <a:pt x="4773" y="2213"/>
                </a:lnTo>
                <a:lnTo>
                  <a:pt x="4736" y="2215"/>
                </a:lnTo>
                <a:lnTo>
                  <a:pt x="4735" y="2238"/>
                </a:lnTo>
                <a:close/>
                <a:moveTo>
                  <a:pt x="4768" y="716"/>
                </a:moveTo>
                <a:lnTo>
                  <a:pt x="4769" y="722"/>
                </a:lnTo>
                <a:lnTo>
                  <a:pt x="4773" y="730"/>
                </a:lnTo>
                <a:lnTo>
                  <a:pt x="4779" y="721"/>
                </a:lnTo>
                <a:lnTo>
                  <a:pt x="4778" y="713"/>
                </a:lnTo>
                <a:lnTo>
                  <a:pt x="4774" y="708"/>
                </a:lnTo>
                <a:lnTo>
                  <a:pt x="4768" y="716"/>
                </a:lnTo>
                <a:close/>
                <a:moveTo>
                  <a:pt x="4616" y="2084"/>
                </a:moveTo>
                <a:lnTo>
                  <a:pt x="4619" y="2088"/>
                </a:lnTo>
                <a:lnTo>
                  <a:pt x="4621" y="2089"/>
                </a:lnTo>
                <a:lnTo>
                  <a:pt x="4624" y="2088"/>
                </a:lnTo>
                <a:lnTo>
                  <a:pt x="4625" y="2086"/>
                </a:lnTo>
                <a:lnTo>
                  <a:pt x="4624" y="2082"/>
                </a:lnTo>
                <a:lnTo>
                  <a:pt x="4621" y="2082"/>
                </a:lnTo>
                <a:lnTo>
                  <a:pt x="4619" y="2083"/>
                </a:lnTo>
                <a:lnTo>
                  <a:pt x="4616" y="2084"/>
                </a:lnTo>
                <a:close/>
                <a:moveTo>
                  <a:pt x="4497" y="2134"/>
                </a:moveTo>
                <a:lnTo>
                  <a:pt x="4497" y="2140"/>
                </a:lnTo>
                <a:lnTo>
                  <a:pt x="4499" y="2144"/>
                </a:lnTo>
                <a:lnTo>
                  <a:pt x="4503" y="2148"/>
                </a:lnTo>
                <a:lnTo>
                  <a:pt x="4509" y="2150"/>
                </a:lnTo>
                <a:lnTo>
                  <a:pt x="4522" y="2144"/>
                </a:lnTo>
                <a:lnTo>
                  <a:pt x="4517" y="2129"/>
                </a:lnTo>
                <a:lnTo>
                  <a:pt x="4505" y="2120"/>
                </a:lnTo>
                <a:lnTo>
                  <a:pt x="4497" y="2134"/>
                </a:lnTo>
                <a:close/>
                <a:moveTo>
                  <a:pt x="4540" y="2108"/>
                </a:moveTo>
                <a:lnTo>
                  <a:pt x="4533" y="2101"/>
                </a:lnTo>
                <a:lnTo>
                  <a:pt x="4525" y="2092"/>
                </a:lnTo>
                <a:lnTo>
                  <a:pt x="4517" y="2088"/>
                </a:lnTo>
                <a:lnTo>
                  <a:pt x="4512" y="2094"/>
                </a:lnTo>
                <a:lnTo>
                  <a:pt x="4511" y="2110"/>
                </a:lnTo>
                <a:lnTo>
                  <a:pt x="4516" y="2116"/>
                </a:lnTo>
                <a:lnTo>
                  <a:pt x="4526" y="2115"/>
                </a:lnTo>
                <a:lnTo>
                  <a:pt x="4540" y="2108"/>
                </a:lnTo>
                <a:close/>
                <a:moveTo>
                  <a:pt x="4703" y="1765"/>
                </a:moveTo>
                <a:lnTo>
                  <a:pt x="4698" y="1777"/>
                </a:lnTo>
                <a:lnTo>
                  <a:pt x="4704" y="1790"/>
                </a:lnTo>
                <a:lnTo>
                  <a:pt x="4714" y="1802"/>
                </a:lnTo>
                <a:lnTo>
                  <a:pt x="4725" y="1804"/>
                </a:lnTo>
                <a:lnTo>
                  <a:pt x="4730" y="1794"/>
                </a:lnTo>
                <a:lnTo>
                  <a:pt x="4723" y="1780"/>
                </a:lnTo>
                <a:lnTo>
                  <a:pt x="4713" y="1769"/>
                </a:lnTo>
                <a:lnTo>
                  <a:pt x="4703" y="1765"/>
                </a:lnTo>
                <a:close/>
                <a:moveTo>
                  <a:pt x="4640" y="2022"/>
                </a:moveTo>
                <a:lnTo>
                  <a:pt x="4634" y="2012"/>
                </a:lnTo>
                <a:lnTo>
                  <a:pt x="4623" y="2009"/>
                </a:lnTo>
                <a:lnTo>
                  <a:pt x="4612" y="2016"/>
                </a:lnTo>
                <a:lnTo>
                  <a:pt x="4611" y="2027"/>
                </a:lnTo>
                <a:lnTo>
                  <a:pt x="4616" y="2037"/>
                </a:lnTo>
                <a:lnTo>
                  <a:pt x="4628" y="2038"/>
                </a:lnTo>
                <a:lnTo>
                  <a:pt x="4638" y="2033"/>
                </a:lnTo>
                <a:lnTo>
                  <a:pt x="4640" y="2022"/>
                </a:lnTo>
                <a:close/>
                <a:moveTo>
                  <a:pt x="4160" y="892"/>
                </a:moveTo>
                <a:lnTo>
                  <a:pt x="4197" y="953"/>
                </a:lnTo>
                <a:lnTo>
                  <a:pt x="4253" y="964"/>
                </a:lnTo>
                <a:lnTo>
                  <a:pt x="4299" y="931"/>
                </a:lnTo>
                <a:lnTo>
                  <a:pt x="4304" y="862"/>
                </a:lnTo>
                <a:lnTo>
                  <a:pt x="4266" y="802"/>
                </a:lnTo>
                <a:lnTo>
                  <a:pt x="4244" y="745"/>
                </a:lnTo>
                <a:lnTo>
                  <a:pt x="4244" y="687"/>
                </a:lnTo>
                <a:lnTo>
                  <a:pt x="4274" y="623"/>
                </a:lnTo>
                <a:lnTo>
                  <a:pt x="4218" y="609"/>
                </a:lnTo>
                <a:lnTo>
                  <a:pt x="4173" y="683"/>
                </a:lnTo>
                <a:lnTo>
                  <a:pt x="4150" y="794"/>
                </a:lnTo>
                <a:lnTo>
                  <a:pt x="4160" y="892"/>
                </a:lnTo>
                <a:close/>
                <a:moveTo>
                  <a:pt x="4393" y="554"/>
                </a:moveTo>
                <a:lnTo>
                  <a:pt x="4392" y="552"/>
                </a:lnTo>
                <a:lnTo>
                  <a:pt x="4390" y="550"/>
                </a:lnTo>
                <a:lnTo>
                  <a:pt x="4391" y="553"/>
                </a:lnTo>
                <a:lnTo>
                  <a:pt x="4393" y="554"/>
                </a:lnTo>
                <a:lnTo>
                  <a:pt x="4393" y="558"/>
                </a:lnTo>
                <a:lnTo>
                  <a:pt x="4395" y="562"/>
                </a:lnTo>
                <a:lnTo>
                  <a:pt x="4399" y="563"/>
                </a:lnTo>
                <a:lnTo>
                  <a:pt x="4405" y="559"/>
                </a:lnTo>
                <a:lnTo>
                  <a:pt x="4399" y="557"/>
                </a:lnTo>
                <a:lnTo>
                  <a:pt x="4393" y="554"/>
                </a:lnTo>
                <a:close/>
                <a:moveTo>
                  <a:pt x="4441" y="68"/>
                </a:moveTo>
                <a:lnTo>
                  <a:pt x="4525" y="119"/>
                </a:lnTo>
                <a:lnTo>
                  <a:pt x="4521" y="81"/>
                </a:lnTo>
                <a:lnTo>
                  <a:pt x="4517" y="45"/>
                </a:lnTo>
                <a:lnTo>
                  <a:pt x="4605" y="106"/>
                </a:lnTo>
                <a:lnTo>
                  <a:pt x="4637" y="116"/>
                </a:lnTo>
                <a:lnTo>
                  <a:pt x="4635" y="151"/>
                </a:lnTo>
                <a:lnTo>
                  <a:pt x="4611" y="183"/>
                </a:lnTo>
                <a:lnTo>
                  <a:pt x="4579" y="188"/>
                </a:lnTo>
                <a:lnTo>
                  <a:pt x="4597" y="121"/>
                </a:lnTo>
                <a:lnTo>
                  <a:pt x="4567" y="124"/>
                </a:lnTo>
                <a:lnTo>
                  <a:pt x="4531" y="171"/>
                </a:lnTo>
                <a:lnTo>
                  <a:pt x="4528" y="244"/>
                </a:lnTo>
                <a:lnTo>
                  <a:pt x="4583" y="272"/>
                </a:lnTo>
                <a:lnTo>
                  <a:pt x="4635" y="245"/>
                </a:lnTo>
                <a:lnTo>
                  <a:pt x="4682" y="195"/>
                </a:lnTo>
                <a:lnTo>
                  <a:pt x="4721" y="155"/>
                </a:lnTo>
                <a:lnTo>
                  <a:pt x="4749" y="190"/>
                </a:lnTo>
                <a:lnTo>
                  <a:pt x="4784" y="183"/>
                </a:lnTo>
                <a:lnTo>
                  <a:pt x="4824" y="161"/>
                </a:lnTo>
                <a:lnTo>
                  <a:pt x="4861" y="156"/>
                </a:lnTo>
                <a:lnTo>
                  <a:pt x="4893" y="153"/>
                </a:lnTo>
                <a:lnTo>
                  <a:pt x="4893" y="141"/>
                </a:lnTo>
                <a:lnTo>
                  <a:pt x="4877" y="121"/>
                </a:lnTo>
                <a:lnTo>
                  <a:pt x="4866" y="100"/>
                </a:lnTo>
                <a:lnTo>
                  <a:pt x="4891" y="120"/>
                </a:lnTo>
                <a:lnTo>
                  <a:pt x="4923" y="152"/>
                </a:lnTo>
                <a:lnTo>
                  <a:pt x="4958" y="163"/>
                </a:lnTo>
                <a:lnTo>
                  <a:pt x="4987" y="124"/>
                </a:lnTo>
                <a:lnTo>
                  <a:pt x="5009" y="127"/>
                </a:lnTo>
                <a:lnTo>
                  <a:pt x="5019" y="146"/>
                </a:lnTo>
                <a:lnTo>
                  <a:pt x="5028" y="162"/>
                </a:lnTo>
                <a:lnTo>
                  <a:pt x="5044" y="151"/>
                </a:lnTo>
                <a:lnTo>
                  <a:pt x="5077" y="139"/>
                </a:lnTo>
                <a:lnTo>
                  <a:pt x="5103" y="166"/>
                </a:lnTo>
                <a:lnTo>
                  <a:pt x="5128" y="202"/>
                </a:lnTo>
                <a:lnTo>
                  <a:pt x="5160" y="217"/>
                </a:lnTo>
                <a:lnTo>
                  <a:pt x="5164" y="179"/>
                </a:lnTo>
                <a:lnTo>
                  <a:pt x="5189" y="169"/>
                </a:lnTo>
                <a:lnTo>
                  <a:pt x="5220" y="165"/>
                </a:lnTo>
                <a:lnTo>
                  <a:pt x="5240" y="146"/>
                </a:lnTo>
                <a:lnTo>
                  <a:pt x="5245" y="111"/>
                </a:lnTo>
                <a:lnTo>
                  <a:pt x="5259" y="85"/>
                </a:lnTo>
                <a:lnTo>
                  <a:pt x="5263" y="60"/>
                </a:lnTo>
                <a:lnTo>
                  <a:pt x="5239" y="30"/>
                </a:lnTo>
                <a:lnTo>
                  <a:pt x="5114" y="4"/>
                </a:lnTo>
                <a:lnTo>
                  <a:pt x="4980" y="7"/>
                </a:lnTo>
                <a:lnTo>
                  <a:pt x="4843" y="16"/>
                </a:lnTo>
                <a:lnTo>
                  <a:pt x="4707" y="13"/>
                </a:lnTo>
                <a:lnTo>
                  <a:pt x="4657" y="18"/>
                </a:lnTo>
                <a:lnTo>
                  <a:pt x="4591" y="13"/>
                </a:lnTo>
                <a:lnTo>
                  <a:pt x="4519" y="4"/>
                </a:lnTo>
                <a:lnTo>
                  <a:pt x="4458" y="0"/>
                </a:lnTo>
                <a:lnTo>
                  <a:pt x="4456" y="0"/>
                </a:lnTo>
                <a:lnTo>
                  <a:pt x="4427" y="3"/>
                </a:lnTo>
                <a:lnTo>
                  <a:pt x="4411" y="14"/>
                </a:lnTo>
                <a:lnTo>
                  <a:pt x="4414" y="35"/>
                </a:lnTo>
                <a:lnTo>
                  <a:pt x="4441" y="68"/>
                </a:lnTo>
                <a:close/>
                <a:moveTo>
                  <a:pt x="4378" y="545"/>
                </a:moveTo>
                <a:lnTo>
                  <a:pt x="4383" y="548"/>
                </a:lnTo>
                <a:lnTo>
                  <a:pt x="4390" y="550"/>
                </a:lnTo>
                <a:lnTo>
                  <a:pt x="4388" y="547"/>
                </a:lnTo>
                <a:lnTo>
                  <a:pt x="4387" y="541"/>
                </a:lnTo>
                <a:lnTo>
                  <a:pt x="4384" y="541"/>
                </a:lnTo>
                <a:lnTo>
                  <a:pt x="4378" y="545"/>
                </a:lnTo>
                <a:close/>
                <a:moveTo>
                  <a:pt x="5023" y="166"/>
                </a:moveTo>
                <a:lnTo>
                  <a:pt x="5024" y="166"/>
                </a:lnTo>
                <a:lnTo>
                  <a:pt x="5024" y="165"/>
                </a:lnTo>
                <a:lnTo>
                  <a:pt x="5023" y="165"/>
                </a:lnTo>
                <a:lnTo>
                  <a:pt x="5023" y="166"/>
                </a:lnTo>
                <a:close/>
                <a:moveTo>
                  <a:pt x="4913" y="1877"/>
                </a:moveTo>
                <a:lnTo>
                  <a:pt x="4875" y="1881"/>
                </a:lnTo>
                <a:lnTo>
                  <a:pt x="4865" y="1925"/>
                </a:lnTo>
                <a:lnTo>
                  <a:pt x="4876" y="1976"/>
                </a:lnTo>
                <a:lnTo>
                  <a:pt x="4904" y="1996"/>
                </a:lnTo>
                <a:lnTo>
                  <a:pt x="4932" y="1971"/>
                </a:lnTo>
                <a:lnTo>
                  <a:pt x="4946" y="1935"/>
                </a:lnTo>
                <a:lnTo>
                  <a:pt x="4941" y="1900"/>
                </a:lnTo>
                <a:lnTo>
                  <a:pt x="4913" y="1877"/>
                </a:lnTo>
                <a:close/>
                <a:moveTo>
                  <a:pt x="4270" y="442"/>
                </a:moveTo>
                <a:lnTo>
                  <a:pt x="4204" y="451"/>
                </a:lnTo>
                <a:lnTo>
                  <a:pt x="4223" y="499"/>
                </a:lnTo>
                <a:lnTo>
                  <a:pt x="4270" y="538"/>
                </a:lnTo>
                <a:lnTo>
                  <a:pt x="4285" y="516"/>
                </a:lnTo>
                <a:lnTo>
                  <a:pt x="4269" y="499"/>
                </a:lnTo>
                <a:lnTo>
                  <a:pt x="4267" y="479"/>
                </a:lnTo>
                <a:lnTo>
                  <a:pt x="4271" y="459"/>
                </a:lnTo>
                <a:lnTo>
                  <a:pt x="4270" y="442"/>
                </a:lnTo>
                <a:close/>
                <a:moveTo>
                  <a:pt x="4321" y="300"/>
                </a:moveTo>
                <a:lnTo>
                  <a:pt x="4311" y="330"/>
                </a:lnTo>
                <a:lnTo>
                  <a:pt x="4336" y="361"/>
                </a:lnTo>
                <a:lnTo>
                  <a:pt x="4360" y="372"/>
                </a:lnTo>
                <a:lnTo>
                  <a:pt x="4348" y="339"/>
                </a:lnTo>
                <a:lnTo>
                  <a:pt x="4382" y="344"/>
                </a:lnTo>
                <a:lnTo>
                  <a:pt x="4381" y="325"/>
                </a:lnTo>
                <a:lnTo>
                  <a:pt x="4355" y="302"/>
                </a:lnTo>
                <a:lnTo>
                  <a:pt x="4321" y="300"/>
                </a:lnTo>
                <a:close/>
                <a:moveTo>
                  <a:pt x="4173" y="142"/>
                </a:moveTo>
                <a:lnTo>
                  <a:pt x="4193" y="217"/>
                </a:lnTo>
                <a:lnTo>
                  <a:pt x="4228" y="245"/>
                </a:lnTo>
                <a:lnTo>
                  <a:pt x="4271" y="226"/>
                </a:lnTo>
                <a:lnTo>
                  <a:pt x="4318" y="157"/>
                </a:lnTo>
                <a:lnTo>
                  <a:pt x="4325" y="127"/>
                </a:lnTo>
                <a:lnTo>
                  <a:pt x="4320" y="92"/>
                </a:lnTo>
                <a:lnTo>
                  <a:pt x="4321" y="60"/>
                </a:lnTo>
                <a:lnTo>
                  <a:pt x="4349" y="36"/>
                </a:lnTo>
                <a:lnTo>
                  <a:pt x="4283" y="8"/>
                </a:lnTo>
                <a:lnTo>
                  <a:pt x="4201" y="16"/>
                </a:lnTo>
                <a:lnTo>
                  <a:pt x="4149" y="60"/>
                </a:lnTo>
                <a:lnTo>
                  <a:pt x="4173" y="142"/>
                </a:lnTo>
                <a:close/>
                <a:moveTo>
                  <a:pt x="4334" y="254"/>
                </a:moveTo>
                <a:lnTo>
                  <a:pt x="4331" y="251"/>
                </a:lnTo>
                <a:lnTo>
                  <a:pt x="4330" y="250"/>
                </a:lnTo>
                <a:lnTo>
                  <a:pt x="4327" y="251"/>
                </a:lnTo>
                <a:lnTo>
                  <a:pt x="4325" y="254"/>
                </a:lnTo>
                <a:lnTo>
                  <a:pt x="4326" y="256"/>
                </a:lnTo>
                <a:lnTo>
                  <a:pt x="4328" y="258"/>
                </a:lnTo>
                <a:lnTo>
                  <a:pt x="4331" y="256"/>
                </a:lnTo>
                <a:lnTo>
                  <a:pt x="4334" y="254"/>
                </a:lnTo>
                <a:close/>
                <a:moveTo>
                  <a:pt x="5829" y="1634"/>
                </a:moveTo>
                <a:lnTo>
                  <a:pt x="5839" y="1629"/>
                </a:lnTo>
                <a:lnTo>
                  <a:pt x="5843" y="1620"/>
                </a:lnTo>
                <a:lnTo>
                  <a:pt x="5844" y="1611"/>
                </a:lnTo>
                <a:lnTo>
                  <a:pt x="5843" y="1601"/>
                </a:lnTo>
                <a:lnTo>
                  <a:pt x="5844" y="1599"/>
                </a:lnTo>
                <a:lnTo>
                  <a:pt x="5844" y="1599"/>
                </a:lnTo>
                <a:lnTo>
                  <a:pt x="5843" y="1599"/>
                </a:lnTo>
                <a:lnTo>
                  <a:pt x="5843" y="1601"/>
                </a:lnTo>
                <a:lnTo>
                  <a:pt x="5832" y="1606"/>
                </a:lnTo>
                <a:lnTo>
                  <a:pt x="5829" y="1615"/>
                </a:lnTo>
                <a:lnTo>
                  <a:pt x="5829" y="1623"/>
                </a:lnTo>
                <a:lnTo>
                  <a:pt x="5829" y="1634"/>
                </a:lnTo>
                <a:lnTo>
                  <a:pt x="5827" y="1635"/>
                </a:lnTo>
                <a:lnTo>
                  <a:pt x="5829" y="1636"/>
                </a:lnTo>
                <a:lnTo>
                  <a:pt x="5829" y="1635"/>
                </a:lnTo>
                <a:lnTo>
                  <a:pt x="5829" y="1634"/>
                </a:lnTo>
                <a:close/>
                <a:moveTo>
                  <a:pt x="5760" y="1580"/>
                </a:moveTo>
                <a:lnTo>
                  <a:pt x="5834" y="1589"/>
                </a:lnTo>
                <a:lnTo>
                  <a:pt x="5953" y="1573"/>
                </a:lnTo>
                <a:lnTo>
                  <a:pt x="6058" y="1538"/>
                </a:lnTo>
                <a:lnTo>
                  <a:pt x="6083" y="1495"/>
                </a:lnTo>
                <a:lnTo>
                  <a:pt x="6021" y="1492"/>
                </a:lnTo>
                <a:lnTo>
                  <a:pt x="6012" y="1449"/>
                </a:lnTo>
                <a:lnTo>
                  <a:pt x="6034" y="1384"/>
                </a:lnTo>
                <a:lnTo>
                  <a:pt x="6058" y="1323"/>
                </a:lnTo>
                <a:lnTo>
                  <a:pt x="6038" y="1284"/>
                </a:lnTo>
                <a:lnTo>
                  <a:pt x="6032" y="1245"/>
                </a:lnTo>
                <a:lnTo>
                  <a:pt x="6044" y="1200"/>
                </a:lnTo>
                <a:lnTo>
                  <a:pt x="6069" y="1142"/>
                </a:lnTo>
                <a:lnTo>
                  <a:pt x="6016" y="1098"/>
                </a:lnTo>
                <a:lnTo>
                  <a:pt x="5981" y="1122"/>
                </a:lnTo>
                <a:lnTo>
                  <a:pt x="5953" y="1174"/>
                </a:lnTo>
                <a:lnTo>
                  <a:pt x="5923" y="1215"/>
                </a:lnTo>
                <a:lnTo>
                  <a:pt x="5790" y="1206"/>
                </a:lnTo>
                <a:lnTo>
                  <a:pt x="5723" y="1301"/>
                </a:lnTo>
                <a:lnTo>
                  <a:pt x="5714" y="1445"/>
                </a:lnTo>
                <a:lnTo>
                  <a:pt x="5760" y="1580"/>
                </a:lnTo>
                <a:close/>
                <a:moveTo>
                  <a:pt x="5016" y="179"/>
                </a:moveTo>
                <a:lnTo>
                  <a:pt x="5019" y="172"/>
                </a:lnTo>
                <a:lnTo>
                  <a:pt x="5023" y="166"/>
                </a:lnTo>
                <a:lnTo>
                  <a:pt x="5017" y="167"/>
                </a:lnTo>
                <a:lnTo>
                  <a:pt x="5014" y="169"/>
                </a:lnTo>
                <a:lnTo>
                  <a:pt x="5012" y="172"/>
                </a:lnTo>
                <a:lnTo>
                  <a:pt x="5016" y="179"/>
                </a:lnTo>
                <a:close/>
                <a:moveTo>
                  <a:pt x="5815" y="1651"/>
                </a:moveTo>
                <a:lnTo>
                  <a:pt x="5815" y="1658"/>
                </a:lnTo>
                <a:lnTo>
                  <a:pt x="5817" y="1662"/>
                </a:lnTo>
                <a:lnTo>
                  <a:pt x="5822" y="1665"/>
                </a:lnTo>
                <a:lnTo>
                  <a:pt x="5827" y="1667"/>
                </a:lnTo>
                <a:lnTo>
                  <a:pt x="5841" y="1662"/>
                </a:lnTo>
                <a:lnTo>
                  <a:pt x="5836" y="1646"/>
                </a:lnTo>
                <a:lnTo>
                  <a:pt x="5824" y="1637"/>
                </a:lnTo>
                <a:lnTo>
                  <a:pt x="5815" y="1651"/>
                </a:lnTo>
                <a:close/>
                <a:moveTo>
                  <a:pt x="5992" y="990"/>
                </a:moveTo>
                <a:lnTo>
                  <a:pt x="5988" y="977"/>
                </a:lnTo>
                <a:lnTo>
                  <a:pt x="5978" y="970"/>
                </a:lnTo>
                <a:lnTo>
                  <a:pt x="5966" y="974"/>
                </a:lnTo>
                <a:lnTo>
                  <a:pt x="5960" y="987"/>
                </a:lnTo>
                <a:lnTo>
                  <a:pt x="5959" y="986"/>
                </a:lnTo>
                <a:lnTo>
                  <a:pt x="5959" y="987"/>
                </a:lnTo>
                <a:lnTo>
                  <a:pt x="5951" y="987"/>
                </a:lnTo>
                <a:lnTo>
                  <a:pt x="5943" y="990"/>
                </a:lnTo>
                <a:lnTo>
                  <a:pt x="5937" y="992"/>
                </a:lnTo>
                <a:lnTo>
                  <a:pt x="5931" y="997"/>
                </a:lnTo>
                <a:lnTo>
                  <a:pt x="5938" y="1002"/>
                </a:lnTo>
                <a:lnTo>
                  <a:pt x="5947" y="1001"/>
                </a:lnTo>
                <a:lnTo>
                  <a:pt x="5955" y="996"/>
                </a:lnTo>
                <a:lnTo>
                  <a:pt x="5959" y="987"/>
                </a:lnTo>
                <a:lnTo>
                  <a:pt x="5960" y="987"/>
                </a:lnTo>
                <a:lnTo>
                  <a:pt x="5960" y="987"/>
                </a:lnTo>
                <a:lnTo>
                  <a:pt x="5969" y="990"/>
                </a:lnTo>
                <a:lnTo>
                  <a:pt x="5978" y="995"/>
                </a:lnTo>
                <a:lnTo>
                  <a:pt x="5987" y="996"/>
                </a:lnTo>
                <a:lnTo>
                  <a:pt x="5992" y="990"/>
                </a:lnTo>
                <a:close/>
                <a:moveTo>
                  <a:pt x="5775" y="2102"/>
                </a:moveTo>
                <a:lnTo>
                  <a:pt x="5853" y="2098"/>
                </a:lnTo>
                <a:lnTo>
                  <a:pt x="5901" y="2094"/>
                </a:lnTo>
                <a:lnTo>
                  <a:pt x="5910" y="2060"/>
                </a:lnTo>
                <a:lnTo>
                  <a:pt x="5868" y="1963"/>
                </a:lnTo>
                <a:lnTo>
                  <a:pt x="5832" y="1990"/>
                </a:lnTo>
                <a:lnTo>
                  <a:pt x="5792" y="2028"/>
                </a:lnTo>
                <a:lnTo>
                  <a:pt x="5766" y="2069"/>
                </a:lnTo>
                <a:lnTo>
                  <a:pt x="5775" y="2102"/>
                </a:lnTo>
                <a:close/>
                <a:moveTo>
                  <a:pt x="6114" y="1329"/>
                </a:moveTo>
                <a:lnTo>
                  <a:pt x="6108" y="1327"/>
                </a:lnTo>
                <a:lnTo>
                  <a:pt x="6101" y="1326"/>
                </a:lnTo>
                <a:lnTo>
                  <a:pt x="6096" y="1328"/>
                </a:lnTo>
                <a:lnTo>
                  <a:pt x="6092" y="1335"/>
                </a:lnTo>
                <a:lnTo>
                  <a:pt x="6099" y="1337"/>
                </a:lnTo>
                <a:lnTo>
                  <a:pt x="6104" y="1337"/>
                </a:lnTo>
                <a:lnTo>
                  <a:pt x="6109" y="1336"/>
                </a:lnTo>
                <a:lnTo>
                  <a:pt x="6114" y="1329"/>
                </a:lnTo>
                <a:close/>
                <a:moveTo>
                  <a:pt x="6043" y="319"/>
                </a:moveTo>
                <a:lnTo>
                  <a:pt x="6052" y="321"/>
                </a:lnTo>
                <a:lnTo>
                  <a:pt x="6060" y="320"/>
                </a:lnTo>
                <a:lnTo>
                  <a:pt x="6071" y="315"/>
                </a:lnTo>
                <a:lnTo>
                  <a:pt x="6080" y="305"/>
                </a:lnTo>
                <a:lnTo>
                  <a:pt x="6066" y="283"/>
                </a:lnTo>
                <a:lnTo>
                  <a:pt x="6036" y="281"/>
                </a:lnTo>
                <a:lnTo>
                  <a:pt x="6020" y="293"/>
                </a:lnTo>
                <a:lnTo>
                  <a:pt x="6043" y="319"/>
                </a:lnTo>
                <a:close/>
                <a:moveTo>
                  <a:pt x="5575" y="2334"/>
                </a:moveTo>
                <a:lnTo>
                  <a:pt x="5569" y="2331"/>
                </a:lnTo>
                <a:lnTo>
                  <a:pt x="5562" y="2330"/>
                </a:lnTo>
                <a:lnTo>
                  <a:pt x="5556" y="2331"/>
                </a:lnTo>
                <a:lnTo>
                  <a:pt x="5550" y="2335"/>
                </a:lnTo>
                <a:lnTo>
                  <a:pt x="5556" y="2339"/>
                </a:lnTo>
                <a:lnTo>
                  <a:pt x="5562" y="2340"/>
                </a:lnTo>
                <a:lnTo>
                  <a:pt x="5569" y="2339"/>
                </a:lnTo>
                <a:lnTo>
                  <a:pt x="5575" y="2334"/>
                </a:lnTo>
                <a:close/>
                <a:moveTo>
                  <a:pt x="5308" y="1020"/>
                </a:moveTo>
                <a:lnTo>
                  <a:pt x="5310" y="1023"/>
                </a:lnTo>
                <a:lnTo>
                  <a:pt x="5313" y="1024"/>
                </a:lnTo>
                <a:lnTo>
                  <a:pt x="5317" y="1021"/>
                </a:lnTo>
                <a:lnTo>
                  <a:pt x="5315" y="1018"/>
                </a:lnTo>
                <a:lnTo>
                  <a:pt x="5312" y="1016"/>
                </a:lnTo>
                <a:lnTo>
                  <a:pt x="5308" y="1020"/>
                </a:lnTo>
                <a:close/>
                <a:moveTo>
                  <a:pt x="5374" y="908"/>
                </a:moveTo>
                <a:lnTo>
                  <a:pt x="5373" y="909"/>
                </a:lnTo>
                <a:lnTo>
                  <a:pt x="5370" y="912"/>
                </a:lnTo>
                <a:lnTo>
                  <a:pt x="5374" y="916"/>
                </a:lnTo>
                <a:lnTo>
                  <a:pt x="5378" y="914"/>
                </a:lnTo>
                <a:lnTo>
                  <a:pt x="5379" y="911"/>
                </a:lnTo>
                <a:lnTo>
                  <a:pt x="5374" y="908"/>
                </a:lnTo>
                <a:close/>
                <a:moveTo>
                  <a:pt x="5356" y="1402"/>
                </a:moveTo>
                <a:lnTo>
                  <a:pt x="5391" y="1384"/>
                </a:lnTo>
                <a:lnTo>
                  <a:pt x="5383" y="1354"/>
                </a:lnTo>
                <a:lnTo>
                  <a:pt x="5361" y="1315"/>
                </a:lnTo>
                <a:lnTo>
                  <a:pt x="5356" y="1279"/>
                </a:lnTo>
                <a:lnTo>
                  <a:pt x="5360" y="1257"/>
                </a:lnTo>
                <a:lnTo>
                  <a:pt x="5366" y="1238"/>
                </a:lnTo>
                <a:lnTo>
                  <a:pt x="5364" y="1220"/>
                </a:lnTo>
                <a:lnTo>
                  <a:pt x="5346" y="1205"/>
                </a:lnTo>
                <a:lnTo>
                  <a:pt x="5243" y="1262"/>
                </a:lnTo>
                <a:lnTo>
                  <a:pt x="5194" y="1323"/>
                </a:lnTo>
                <a:lnTo>
                  <a:pt x="5224" y="1374"/>
                </a:lnTo>
                <a:lnTo>
                  <a:pt x="5356" y="1402"/>
                </a:lnTo>
                <a:close/>
                <a:moveTo>
                  <a:pt x="5238" y="1455"/>
                </a:moveTo>
                <a:lnTo>
                  <a:pt x="5233" y="1463"/>
                </a:lnTo>
                <a:lnTo>
                  <a:pt x="5231" y="1475"/>
                </a:lnTo>
                <a:lnTo>
                  <a:pt x="5234" y="1485"/>
                </a:lnTo>
                <a:lnTo>
                  <a:pt x="5242" y="1492"/>
                </a:lnTo>
                <a:lnTo>
                  <a:pt x="5245" y="1483"/>
                </a:lnTo>
                <a:lnTo>
                  <a:pt x="5247" y="1472"/>
                </a:lnTo>
                <a:lnTo>
                  <a:pt x="5244" y="1463"/>
                </a:lnTo>
                <a:lnTo>
                  <a:pt x="5238" y="1455"/>
                </a:lnTo>
                <a:close/>
                <a:moveTo>
                  <a:pt x="5037" y="498"/>
                </a:moveTo>
                <a:lnTo>
                  <a:pt x="5031" y="506"/>
                </a:lnTo>
                <a:lnTo>
                  <a:pt x="5031" y="515"/>
                </a:lnTo>
                <a:lnTo>
                  <a:pt x="5038" y="522"/>
                </a:lnTo>
                <a:lnTo>
                  <a:pt x="5047" y="526"/>
                </a:lnTo>
                <a:lnTo>
                  <a:pt x="5047" y="527"/>
                </a:lnTo>
                <a:lnTo>
                  <a:pt x="5048" y="527"/>
                </a:lnTo>
                <a:lnTo>
                  <a:pt x="5048" y="536"/>
                </a:lnTo>
                <a:lnTo>
                  <a:pt x="5049" y="543"/>
                </a:lnTo>
                <a:lnTo>
                  <a:pt x="5053" y="550"/>
                </a:lnTo>
                <a:lnTo>
                  <a:pt x="5058" y="557"/>
                </a:lnTo>
                <a:lnTo>
                  <a:pt x="5063" y="548"/>
                </a:lnTo>
                <a:lnTo>
                  <a:pt x="5063" y="539"/>
                </a:lnTo>
                <a:lnTo>
                  <a:pt x="5057" y="531"/>
                </a:lnTo>
                <a:lnTo>
                  <a:pt x="5048" y="527"/>
                </a:lnTo>
                <a:lnTo>
                  <a:pt x="5048" y="526"/>
                </a:lnTo>
                <a:lnTo>
                  <a:pt x="5047" y="526"/>
                </a:lnTo>
                <a:lnTo>
                  <a:pt x="5047" y="526"/>
                </a:lnTo>
                <a:lnTo>
                  <a:pt x="5047" y="526"/>
                </a:lnTo>
                <a:lnTo>
                  <a:pt x="5037" y="498"/>
                </a:lnTo>
                <a:close/>
                <a:moveTo>
                  <a:pt x="5047" y="526"/>
                </a:moveTo>
                <a:lnTo>
                  <a:pt x="5047" y="519"/>
                </a:lnTo>
                <a:lnTo>
                  <a:pt x="5044" y="511"/>
                </a:lnTo>
                <a:lnTo>
                  <a:pt x="5042" y="505"/>
                </a:lnTo>
                <a:lnTo>
                  <a:pt x="5037" y="498"/>
                </a:lnTo>
                <a:lnTo>
                  <a:pt x="5047" y="526"/>
                </a:lnTo>
                <a:close/>
                <a:moveTo>
                  <a:pt x="5466" y="1328"/>
                </a:moveTo>
                <a:lnTo>
                  <a:pt x="5470" y="1340"/>
                </a:lnTo>
                <a:lnTo>
                  <a:pt x="5480" y="1343"/>
                </a:lnTo>
                <a:lnTo>
                  <a:pt x="5490" y="1341"/>
                </a:lnTo>
                <a:lnTo>
                  <a:pt x="5495" y="1329"/>
                </a:lnTo>
                <a:lnTo>
                  <a:pt x="5491" y="1318"/>
                </a:lnTo>
                <a:lnTo>
                  <a:pt x="5481" y="1314"/>
                </a:lnTo>
                <a:lnTo>
                  <a:pt x="5470" y="1318"/>
                </a:lnTo>
                <a:lnTo>
                  <a:pt x="5466" y="1328"/>
                </a:lnTo>
                <a:close/>
                <a:moveTo>
                  <a:pt x="5605" y="559"/>
                </a:moveTo>
                <a:lnTo>
                  <a:pt x="5602" y="559"/>
                </a:lnTo>
                <a:lnTo>
                  <a:pt x="5602" y="561"/>
                </a:lnTo>
                <a:lnTo>
                  <a:pt x="5594" y="561"/>
                </a:lnTo>
                <a:lnTo>
                  <a:pt x="5587" y="563"/>
                </a:lnTo>
                <a:lnTo>
                  <a:pt x="5580" y="566"/>
                </a:lnTo>
                <a:lnTo>
                  <a:pt x="5574" y="571"/>
                </a:lnTo>
                <a:lnTo>
                  <a:pt x="5582" y="576"/>
                </a:lnTo>
                <a:lnTo>
                  <a:pt x="5591" y="576"/>
                </a:lnTo>
                <a:lnTo>
                  <a:pt x="5598" y="569"/>
                </a:lnTo>
                <a:lnTo>
                  <a:pt x="5602" y="561"/>
                </a:lnTo>
                <a:lnTo>
                  <a:pt x="5603" y="561"/>
                </a:lnTo>
                <a:lnTo>
                  <a:pt x="5605" y="559"/>
                </a:lnTo>
                <a:close/>
                <a:moveTo>
                  <a:pt x="5168" y="1215"/>
                </a:moveTo>
                <a:lnTo>
                  <a:pt x="5155" y="1215"/>
                </a:lnTo>
                <a:lnTo>
                  <a:pt x="5144" y="1216"/>
                </a:lnTo>
                <a:lnTo>
                  <a:pt x="5135" y="1221"/>
                </a:lnTo>
                <a:lnTo>
                  <a:pt x="5131" y="1231"/>
                </a:lnTo>
                <a:lnTo>
                  <a:pt x="5145" y="1243"/>
                </a:lnTo>
                <a:lnTo>
                  <a:pt x="5165" y="1242"/>
                </a:lnTo>
                <a:lnTo>
                  <a:pt x="5177" y="1230"/>
                </a:lnTo>
                <a:lnTo>
                  <a:pt x="5168" y="1215"/>
                </a:lnTo>
                <a:close/>
                <a:moveTo>
                  <a:pt x="5127" y="1551"/>
                </a:moveTo>
                <a:lnTo>
                  <a:pt x="5126" y="1548"/>
                </a:lnTo>
                <a:lnTo>
                  <a:pt x="5123" y="1546"/>
                </a:lnTo>
                <a:lnTo>
                  <a:pt x="5119" y="1550"/>
                </a:lnTo>
                <a:lnTo>
                  <a:pt x="5121" y="1555"/>
                </a:lnTo>
                <a:lnTo>
                  <a:pt x="5123" y="1556"/>
                </a:lnTo>
                <a:lnTo>
                  <a:pt x="5127" y="1551"/>
                </a:lnTo>
                <a:close/>
                <a:moveTo>
                  <a:pt x="5812" y="894"/>
                </a:moveTo>
                <a:lnTo>
                  <a:pt x="5663" y="925"/>
                </a:lnTo>
                <a:lnTo>
                  <a:pt x="5673" y="974"/>
                </a:lnTo>
                <a:lnTo>
                  <a:pt x="5756" y="1039"/>
                </a:lnTo>
                <a:lnTo>
                  <a:pt x="5825" y="1113"/>
                </a:lnTo>
                <a:lnTo>
                  <a:pt x="5845" y="1066"/>
                </a:lnTo>
                <a:lnTo>
                  <a:pt x="5860" y="1007"/>
                </a:lnTo>
                <a:lnTo>
                  <a:pt x="5876" y="946"/>
                </a:lnTo>
                <a:lnTo>
                  <a:pt x="5896" y="895"/>
                </a:lnTo>
                <a:lnTo>
                  <a:pt x="5872" y="909"/>
                </a:lnTo>
                <a:lnTo>
                  <a:pt x="5855" y="917"/>
                </a:lnTo>
                <a:lnTo>
                  <a:pt x="5838" y="912"/>
                </a:lnTo>
                <a:lnTo>
                  <a:pt x="5812" y="894"/>
                </a:lnTo>
                <a:close/>
                <a:moveTo>
                  <a:pt x="5641" y="428"/>
                </a:moveTo>
                <a:lnTo>
                  <a:pt x="5640" y="426"/>
                </a:lnTo>
                <a:lnTo>
                  <a:pt x="5638" y="424"/>
                </a:lnTo>
                <a:lnTo>
                  <a:pt x="5635" y="426"/>
                </a:lnTo>
                <a:lnTo>
                  <a:pt x="5633" y="428"/>
                </a:lnTo>
                <a:lnTo>
                  <a:pt x="5635" y="431"/>
                </a:lnTo>
                <a:lnTo>
                  <a:pt x="5638" y="432"/>
                </a:lnTo>
                <a:lnTo>
                  <a:pt x="5640" y="431"/>
                </a:lnTo>
                <a:lnTo>
                  <a:pt x="5641" y="428"/>
                </a:lnTo>
                <a:close/>
                <a:moveTo>
                  <a:pt x="5836" y="516"/>
                </a:moveTo>
                <a:lnTo>
                  <a:pt x="5830" y="519"/>
                </a:lnTo>
                <a:lnTo>
                  <a:pt x="5832" y="521"/>
                </a:lnTo>
                <a:lnTo>
                  <a:pt x="5835" y="521"/>
                </a:lnTo>
                <a:lnTo>
                  <a:pt x="5836" y="520"/>
                </a:lnTo>
                <a:lnTo>
                  <a:pt x="5836" y="516"/>
                </a:lnTo>
                <a:close/>
                <a:moveTo>
                  <a:pt x="5662" y="738"/>
                </a:moveTo>
                <a:lnTo>
                  <a:pt x="5661" y="736"/>
                </a:lnTo>
                <a:lnTo>
                  <a:pt x="5658" y="734"/>
                </a:lnTo>
                <a:lnTo>
                  <a:pt x="5654" y="738"/>
                </a:lnTo>
                <a:lnTo>
                  <a:pt x="5655" y="741"/>
                </a:lnTo>
                <a:lnTo>
                  <a:pt x="5658" y="743"/>
                </a:lnTo>
                <a:lnTo>
                  <a:pt x="5662" y="738"/>
                </a:lnTo>
                <a:close/>
                <a:moveTo>
                  <a:pt x="5542" y="536"/>
                </a:moveTo>
                <a:lnTo>
                  <a:pt x="5509" y="533"/>
                </a:lnTo>
                <a:lnTo>
                  <a:pt x="5476" y="531"/>
                </a:lnTo>
                <a:lnTo>
                  <a:pt x="5447" y="539"/>
                </a:lnTo>
                <a:lnTo>
                  <a:pt x="5431" y="561"/>
                </a:lnTo>
                <a:lnTo>
                  <a:pt x="5449" y="590"/>
                </a:lnTo>
                <a:lnTo>
                  <a:pt x="5496" y="590"/>
                </a:lnTo>
                <a:lnTo>
                  <a:pt x="5537" y="569"/>
                </a:lnTo>
                <a:lnTo>
                  <a:pt x="5542" y="536"/>
                </a:lnTo>
                <a:close/>
                <a:moveTo>
                  <a:pt x="5599" y="618"/>
                </a:moveTo>
                <a:lnTo>
                  <a:pt x="5593" y="627"/>
                </a:lnTo>
                <a:lnTo>
                  <a:pt x="5596" y="636"/>
                </a:lnTo>
                <a:lnTo>
                  <a:pt x="5602" y="643"/>
                </a:lnTo>
                <a:lnTo>
                  <a:pt x="5613" y="643"/>
                </a:lnTo>
                <a:lnTo>
                  <a:pt x="5619" y="637"/>
                </a:lnTo>
                <a:lnTo>
                  <a:pt x="5616" y="629"/>
                </a:lnTo>
                <a:lnTo>
                  <a:pt x="5608" y="622"/>
                </a:lnTo>
                <a:lnTo>
                  <a:pt x="5599" y="618"/>
                </a:lnTo>
                <a:close/>
                <a:moveTo>
                  <a:pt x="5517" y="808"/>
                </a:moveTo>
                <a:lnTo>
                  <a:pt x="5524" y="800"/>
                </a:lnTo>
                <a:lnTo>
                  <a:pt x="5523" y="792"/>
                </a:lnTo>
                <a:lnTo>
                  <a:pt x="5517" y="786"/>
                </a:lnTo>
                <a:lnTo>
                  <a:pt x="5508" y="780"/>
                </a:lnTo>
                <a:lnTo>
                  <a:pt x="5489" y="792"/>
                </a:lnTo>
                <a:lnTo>
                  <a:pt x="5484" y="810"/>
                </a:lnTo>
                <a:lnTo>
                  <a:pt x="5494" y="819"/>
                </a:lnTo>
                <a:lnTo>
                  <a:pt x="5517" y="808"/>
                </a:lnTo>
                <a:close/>
                <a:moveTo>
                  <a:pt x="5733" y="1122"/>
                </a:moveTo>
                <a:lnTo>
                  <a:pt x="5714" y="1124"/>
                </a:lnTo>
                <a:lnTo>
                  <a:pt x="5695" y="1133"/>
                </a:lnTo>
                <a:lnTo>
                  <a:pt x="5681" y="1149"/>
                </a:lnTo>
                <a:lnTo>
                  <a:pt x="5681" y="1168"/>
                </a:lnTo>
                <a:lnTo>
                  <a:pt x="5719" y="1172"/>
                </a:lnTo>
                <a:lnTo>
                  <a:pt x="5759" y="1152"/>
                </a:lnTo>
                <a:lnTo>
                  <a:pt x="5773" y="1130"/>
                </a:lnTo>
                <a:lnTo>
                  <a:pt x="5733" y="1122"/>
                </a:lnTo>
                <a:close/>
                <a:moveTo>
                  <a:pt x="5633" y="825"/>
                </a:moveTo>
                <a:lnTo>
                  <a:pt x="5627" y="824"/>
                </a:lnTo>
                <a:lnTo>
                  <a:pt x="5626" y="825"/>
                </a:lnTo>
                <a:lnTo>
                  <a:pt x="5627" y="828"/>
                </a:lnTo>
                <a:lnTo>
                  <a:pt x="5629" y="830"/>
                </a:lnTo>
                <a:lnTo>
                  <a:pt x="5633" y="825"/>
                </a:lnTo>
                <a:close/>
                <a:moveTo>
                  <a:pt x="5834" y="11445"/>
                </a:moveTo>
                <a:lnTo>
                  <a:pt x="5815" y="11457"/>
                </a:lnTo>
                <a:lnTo>
                  <a:pt x="5790" y="11468"/>
                </a:lnTo>
                <a:lnTo>
                  <a:pt x="5773" y="11480"/>
                </a:lnTo>
                <a:lnTo>
                  <a:pt x="5770" y="11496"/>
                </a:lnTo>
                <a:lnTo>
                  <a:pt x="5794" y="11508"/>
                </a:lnTo>
                <a:lnTo>
                  <a:pt x="5821" y="11494"/>
                </a:lnTo>
                <a:lnTo>
                  <a:pt x="5839" y="11469"/>
                </a:lnTo>
                <a:lnTo>
                  <a:pt x="5834" y="11445"/>
                </a:lnTo>
                <a:close/>
                <a:moveTo>
                  <a:pt x="5645" y="1786"/>
                </a:moveTo>
                <a:lnTo>
                  <a:pt x="5639" y="1774"/>
                </a:lnTo>
                <a:lnTo>
                  <a:pt x="5626" y="1770"/>
                </a:lnTo>
                <a:lnTo>
                  <a:pt x="5611" y="1775"/>
                </a:lnTo>
                <a:lnTo>
                  <a:pt x="5597" y="1788"/>
                </a:lnTo>
                <a:lnTo>
                  <a:pt x="5596" y="1788"/>
                </a:lnTo>
                <a:lnTo>
                  <a:pt x="5596" y="1789"/>
                </a:lnTo>
                <a:lnTo>
                  <a:pt x="5597" y="1789"/>
                </a:lnTo>
                <a:lnTo>
                  <a:pt x="5597" y="1788"/>
                </a:lnTo>
                <a:lnTo>
                  <a:pt x="5611" y="1790"/>
                </a:lnTo>
                <a:lnTo>
                  <a:pt x="5626" y="1795"/>
                </a:lnTo>
                <a:lnTo>
                  <a:pt x="5639" y="1795"/>
                </a:lnTo>
                <a:lnTo>
                  <a:pt x="5645" y="1786"/>
                </a:lnTo>
                <a:close/>
                <a:moveTo>
                  <a:pt x="4927" y="1032"/>
                </a:moveTo>
                <a:lnTo>
                  <a:pt x="4937" y="1040"/>
                </a:lnTo>
                <a:lnTo>
                  <a:pt x="4958" y="1046"/>
                </a:lnTo>
                <a:lnTo>
                  <a:pt x="4983" y="1052"/>
                </a:lnTo>
                <a:lnTo>
                  <a:pt x="5006" y="1066"/>
                </a:lnTo>
                <a:lnTo>
                  <a:pt x="5056" y="1040"/>
                </a:lnTo>
                <a:lnTo>
                  <a:pt x="5033" y="1012"/>
                </a:lnTo>
                <a:lnTo>
                  <a:pt x="4975" y="1001"/>
                </a:lnTo>
                <a:lnTo>
                  <a:pt x="4927" y="1032"/>
                </a:lnTo>
                <a:close/>
                <a:moveTo>
                  <a:pt x="5095" y="2002"/>
                </a:moveTo>
                <a:lnTo>
                  <a:pt x="5098" y="2004"/>
                </a:lnTo>
                <a:lnTo>
                  <a:pt x="5099" y="2007"/>
                </a:lnTo>
                <a:lnTo>
                  <a:pt x="5104" y="2003"/>
                </a:lnTo>
                <a:lnTo>
                  <a:pt x="5103" y="2000"/>
                </a:lnTo>
                <a:lnTo>
                  <a:pt x="5099" y="1998"/>
                </a:lnTo>
                <a:lnTo>
                  <a:pt x="5095" y="2002"/>
                </a:lnTo>
                <a:close/>
                <a:moveTo>
                  <a:pt x="5619" y="1856"/>
                </a:moveTo>
                <a:lnTo>
                  <a:pt x="5619" y="1855"/>
                </a:lnTo>
                <a:lnTo>
                  <a:pt x="5617" y="1855"/>
                </a:lnTo>
                <a:lnTo>
                  <a:pt x="5606" y="1832"/>
                </a:lnTo>
                <a:lnTo>
                  <a:pt x="5594" y="1803"/>
                </a:lnTo>
                <a:lnTo>
                  <a:pt x="5583" y="1788"/>
                </a:lnTo>
                <a:lnTo>
                  <a:pt x="5571" y="1805"/>
                </a:lnTo>
                <a:lnTo>
                  <a:pt x="5579" y="1823"/>
                </a:lnTo>
                <a:lnTo>
                  <a:pt x="5585" y="1842"/>
                </a:lnTo>
                <a:lnTo>
                  <a:pt x="5597" y="1855"/>
                </a:lnTo>
                <a:lnTo>
                  <a:pt x="5617" y="1855"/>
                </a:lnTo>
                <a:lnTo>
                  <a:pt x="5617" y="1856"/>
                </a:lnTo>
                <a:lnTo>
                  <a:pt x="5619" y="1856"/>
                </a:lnTo>
                <a:close/>
                <a:moveTo>
                  <a:pt x="5639" y="1881"/>
                </a:moveTo>
                <a:lnTo>
                  <a:pt x="5648" y="1884"/>
                </a:lnTo>
                <a:lnTo>
                  <a:pt x="5658" y="1884"/>
                </a:lnTo>
                <a:lnTo>
                  <a:pt x="5664" y="1881"/>
                </a:lnTo>
                <a:lnTo>
                  <a:pt x="5668" y="1870"/>
                </a:lnTo>
                <a:lnTo>
                  <a:pt x="5653" y="1855"/>
                </a:lnTo>
                <a:lnTo>
                  <a:pt x="5631" y="1855"/>
                </a:lnTo>
                <a:lnTo>
                  <a:pt x="5621" y="1865"/>
                </a:lnTo>
                <a:lnTo>
                  <a:pt x="5639" y="1881"/>
                </a:lnTo>
                <a:close/>
                <a:moveTo>
                  <a:pt x="5158" y="2069"/>
                </a:moveTo>
                <a:lnTo>
                  <a:pt x="5161" y="2058"/>
                </a:lnTo>
                <a:lnTo>
                  <a:pt x="5158" y="2050"/>
                </a:lnTo>
                <a:lnTo>
                  <a:pt x="5151" y="2049"/>
                </a:lnTo>
                <a:lnTo>
                  <a:pt x="5142" y="2056"/>
                </a:lnTo>
                <a:lnTo>
                  <a:pt x="5136" y="2068"/>
                </a:lnTo>
                <a:lnTo>
                  <a:pt x="5140" y="2074"/>
                </a:lnTo>
                <a:lnTo>
                  <a:pt x="5149" y="2074"/>
                </a:lnTo>
                <a:lnTo>
                  <a:pt x="5158" y="2069"/>
                </a:lnTo>
                <a:close/>
                <a:moveTo>
                  <a:pt x="5114" y="2106"/>
                </a:moveTo>
                <a:lnTo>
                  <a:pt x="5121" y="2135"/>
                </a:lnTo>
                <a:lnTo>
                  <a:pt x="5146" y="2171"/>
                </a:lnTo>
                <a:lnTo>
                  <a:pt x="5180" y="2199"/>
                </a:lnTo>
                <a:lnTo>
                  <a:pt x="5215" y="2208"/>
                </a:lnTo>
                <a:lnTo>
                  <a:pt x="5214" y="2171"/>
                </a:lnTo>
                <a:lnTo>
                  <a:pt x="5188" y="2135"/>
                </a:lnTo>
                <a:lnTo>
                  <a:pt x="5151" y="2110"/>
                </a:lnTo>
                <a:lnTo>
                  <a:pt x="5114" y="2106"/>
                </a:lnTo>
                <a:close/>
                <a:moveTo>
                  <a:pt x="5392" y="2409"/>
                </a:moveTo>
                <a:lnTo>
                  <a:pt x="5394" y="2408"/>
                </a:lnTo>
                <a:lnTo>
                  <a:pt x="5394" y="2406"/>
                </a:lnTo>
                <a:lnTo>
                  <a:pt x="5393" y="2406"/>
                </a:lnTo>
                <a:lnTo>
                  <a:pt x="5392" y="2409"/>
                </a:lnTo>
                <a:lnTo>
                  <a:pt x="5388" y="2409"/>
                </a:lnTo>
                <a:lnTo>
                  <a:pt x="5384" y="2410"/>
                </a:lnTo>
                <a:lnTo>
                  <a:pt x="5383" y="2414"/>
                </a:lnTo>
                <a:lnTo>
                  <a:pt x="5387" y="2420"/>
                </a:lnTo>
                <a:lnTo>
                  <a:pt x="5392" y="2409"/>
                </a:lnTo>
                <a:close/>
                <a:moveTo>
                  <a:pt x="5587" y="2226"/>
                </a:moveTo>
                <a:lnTo>
                  <a:pt x="5589" y="2208"/>
                </a:lnTo>
                <a:lnTo>
                  <a:pt x="5596" y="2189"/>
                </a:lnTo>
                <a:lnTo>
                  <a:pt x="5601" y="2172"/>
                </a:lnTo>
                <a:lnTo>
                  <a:pt x="5594" y="2156"/>
                </a:lnTo>
                <a:lnTo>
                  <a:pt x="5570" y="2168"/>
                </a:lnTo>
                <a:lnTo>
                  <a:pt x="5557" y="2203"/>
                </a:lnTo>
                <a:lnTo>
                  <a:pt x="5562" y="2232"/>
                </a:lnTo>
                <a:lnTo>
                  <a:pt x="5587" y="2226"/>
                </a:lnTo>
                <a:close/>
                <a:moveTo>
                  <a:pt x="4902" y="245"/>
                </a:moveTo>
                <a:lnTo>
                  <a:pt x="4896" y="251"/>
                </a:lnTo>
                <a:lnTo>
                  <a:pt x="4903" y="263"/>
                </a:lnTo>
                <a:lnTo>
                  <a:pt x="4914" y="270"/>
                </a:lnTo>
                <a:lnTo>
                  <a:pt x="4922" y="267"/>
                </a:lnTo>
                <a:lnTo>
                  <a:pt x="4923" y="258"/>
                </a:lnTo>
                <a:lnTo>
                  <a:pt x="4919" y="250"/>
                </a:lnTo>
                <a:lnTo>
                  <a:pt x="4912" y="245"/>
                </a:lnTo>
                <a:lnTo>
                  <a:pt x="4902" y="245"/>
                </a:lnTo>
                <a:close/>
                <a:moveTo>
                  <a:pt x="4907" y="650"/>
                </a:moveTo>
                <a:lnTo>
                  <a:pt x="4913" y="654"/>
                </a:lnTo>
                <a:lnTo>
                  <a:pt x="4918" y="654"/>
                </a:lnTo>
                <a:lnTo>
                  <a:pt x="4923" y="651"/>
                </a:lnTo>
                <a:lnTo>
                  <a:pt x="4927" y="646"/>
                </a:lnTo>
                <a:lnTo>
                  <a:pt x="4922" y="643"/>
                </a:lnTo>
                <a:lnTo>
                  <a:pt x="4916" y="642"/>
                </a:lnTo>
                <a:lnTo>
                  <a:pt x="4910" y="645"/>
                </a:lnTo>
                <a:lnTo>
                  <a:pt x="4907" y="650"/>
                </a:lnTo>
                <a:close/>
                <a:moveTo>
                  <a:pt x="5612" y="1967"/>
                </a:moveTo>
                <a:lnTo>
                  <a:pt x="5597" y="1989"/>
                </a:lnTo>
                <a:lnTo>
                  <a:pt x="5601" y="2014"/>
                </a:lnTo>
                <a:lnTo>
                  <a:pt x="5616" y="2036"/>
                </a:lnTo>
                <a:lnTo>
                  <a:pt x="5639" y="2041"/>
                </a:lnTo>
                <a:lnTo>
                  <a:pt x="5658" y="2013"/>
                </a:lnTo>
                <a:lnTo>
                  <a:pt x="5658" y="1979"/>
                </a:lnTo>
                <a:lnTo>
                  <a:pt x="5641" y="1958"/>
                </a:lnTo>
                <a:lnTo>
                  <a:pt x="5612" y="1967"/>
                </a:lnTo>
                <a:close/>
                <a:moveTo>
                  <a:pt x="4931" y="918"/>
                </a:moveTo>
                <a:lnTo>
                  <a:pt x="4921" y="930"/>
                </a:lnTo>
                <a:lnTo>
                  <a:pt x="4926" y="948"/>
                </a:lnTo>
                <a:lnTo>
                  <a:pt x="4940" y="959"/>
                </a:lnTo>
                <a:lnTo>
                  <a:pt x="4952" y="951"/>
                </a:lnTo>
                <a:lnTo>
                  <a:pt x="4950" y="941"/>
                </a:lnTo>
                <a:lnTo>
                  <a:pt x="4947" y="928"/>
                </a:lnTo>
                <a:lnTo>
                  <a:pt x="4942" y="921"/>
                </a:lnTo>
                <a:lnTo>
                  <a:pt x="4931" y="918"/>
                </a:lnTo>
                <a:close/>
                <a:moveTo>
                  <a:pt x="4940" y="1476"/>
                </a:moveTo>
                <a:lnTo>
                  <a:pt x="4942" y="1478"/>
                </a:lnTo>
                <a:lnTo>
                  <a:pt x="4944" y="1481"/>
                </a:lnTo>
                <a:lnTo>
                  <a:pt x="4949" y="1477"/>
                </a:lnTo>
                <a:lnTo>
                  <a:pt x="4947" y="1473"/>
                </a:lnTo>
                <a:lnTo>
                  <a:pt x="4944" y="1472"/>
                </a:lnTo>
                <a:lnTo>
                  <a:pt x="4940" y="1476"/>
                </a:lnTo>
                <a:close/>
                <a:moveTo>
                  <a:pt x="5661" y="1956"/>
                </a:moveTo>
                <a:lnTo>
                  <a:pt x="5659" y="1957"/>
                </a:lnTo>
                <a:lnTo>
                  <a:pt x="5658" y="1958"/>
                </a:lnTo>
                <a:lnTo>
                  <a:pt x="5659" y="1957"/>
                </a:lnTo>
                <a:lnTo>
                  <a:pt x="5661" y="1956"/>
                </a:lnTo>
                <a:lnTo>
                  <a:pt x="5666" y="1954"/>
                </a:lnTo>
                <a:lnTo>
                  <a:pt x="5669" y="1953"/>
                </a:lnTo>
                <a:lnTo>
                  <a:pt x="5671" y="1951"/>
                </a:lnTo>
                <a:lnTo>
                  <a:pt x="5667" y="1944"/>
                </a:lnTo>
                <a:lnTo>
                  <a:pt x="5663" y="1949"/>
                </a:lnTo>
                <a:lnTo>
                  <a:pt x="5661" y="1956"/>
                </a:lnTo>
                <a:close/>
                <a:moveTo>
                  <a:pt x="5524" y="2476"/>
                </a:moveTo>
                <a:lnTo>
                  <a:pt x="5526" y="2479"/>
                </a:lnTo>
                <a:lnTo>
                  <a:pt x="5528" y="2479"/>
                </a:lnTo>
                <a:lnTo>
                  <a:pt x="5531" y="2479"/>
                </a:lnTo>
                <a:lnTo>
                  <a:pt x="5533" y="2476"/>
                </a:lnTo>
                <a:lnTo>
                  <a:pt x="5531" y="2474"/>
                </a:lnTo>
                <a:lnTo>
                  <a:pt x="5528" y="2473"/>
                </a:lnTo>
                <a:lnTo>
                  <a:pt x="5526" y="2473"/>
                </a:lnTo>
                <a:lnTo>
                  <a:pt x="5524" y="2476"/>
                </a:lnTo>
                <a:close/>
                <a:moveTo>
                  <a:pt x="5477" y="2434"/>
                </a:moveTo>
                <a:lnTo>
                  <a:pt x="5506" y="2397"/>
                </a:lnTo>
                <a:lnTo>
                  <a:pt x="5501" y="2355"/>
                </a:lnTo>
                <a:lnTo>
                  <a:pt x="5471" y="2321"/>
                </a:lnTo>
                <a:lnTo>
                  <a:pt x="5425" y="2303"/>
                </a:lnTo>
                <a:lnTo>
                  <a:pt x="5393" y="2343"/>
                </a:lnTo>
                <a:lnTo>
                  <a:pt x="5397" y="2391"/>
                </a:lnTo>
                <a:lnTo>
                  <a:pt x="5426" y="2429"/>
                </a:lnTo>
                <a:lnTo>
                  <a:pt x="5477" y="2434"/>
                </a:lnTo>
                <a:close/>
                <a:moveTo>
                  <a:pt x="5559" y="2049"/>
                </a:moveTo>
                <a:lnTo>
                  <a:pt x="5545" y="2036"/>
                </a:lnTo>
                <a:lnTo>
                  <a:pt x="5526" y="2036"/>
                </a:lnTo>
                <a:lnTo>
                  <a:pt x="5509" y="2046"/>
                </a:lnTo>
                <a:lnTo>
                  <a:pt x="5498" y="2064"/>
                </a:lnTo>
                <a:lnTo>
                  <a:pt x="5514" y="2069"/>
                </a:lnTo>
                <a:lnTo>
                  <a:pt x="5536" y="2069"/>
                </a:lnTo>
                <a:lnTo>
                  <a:pt x="5552" y="2063"/>
                </a:lnTo>
                <a:lnTo>
                  <a:pt x="5559" y="2049"/>
                </a:lnTo>
                <a:close/>
                <a:moveTo>
                  <a:pt x="5121" y="1406"/>
                </a:moveTo>
                <a:lnTo>
                  <a:pt x="5109" y="1392"/>
                </a:lnTo>
                <a:lnTo>
                  <a:pt x="5093" y="1388"/>
                </a:lnTo>
                <a:lnTo>
                  <a:pt x="5072" y="1391"/>
                </a:lnTo>
                <a:lnTo>
                  <a:pt x="5056" y="1398"/>
                </a:lnTo>
                <a:lnTo>
                  <a:pt x="5077" y="1438"/>
                </a:lnTo>
                <a:lnTo>
                  <a:pt x="5101" y="1458"/>
                </a:lnTo>
                <a:lnTo>
                  <a:pt x="5119" y="1452"/>
                </a:lnTo>
                <a:lnTo>
                  <a:pt x="5121" y="1406"/>
                </a:lnTo>
                <a:close/>
                <a:moveTo>
                  <a:pt x="5754" y="8453"/>
                </a:moveTo>
                <a:lnTo>
                  <a:pt x="5754" y="8453"/>
                </a:lnTo>
                <a:lnTo>
                  <a:pt x="5754" y="8453"/>
                </a:lnTo>
                <a:lnTo>
                  <a:pt x="5759" y="8451"/>
                </a:lnTo>
                <a:lnTo>
                  <a:pt x="5762" y="8450"/>
                </a:lnTo>
                <a:lnTo>
                  <a:pt x="5764" y="8446"/>
                </a:lnTo>
                <a:lnTo>
                  <a:pt x="5760" y="8440"/>
                </a:lnTo>
                <a:lnTo>
                  <a:pt x="5756" y="8446"/>
                </a:lnTo>
                <a:lnTo>
                  <a:pt x="5754" y="8453"/>
                </a:lnTo>
                <a:close/>
                <a:moveTo>
                  <a:pt x="5754" y="8453"/>
                </a:moveTo>
                <a:lnTo>
                  <a:pt x="5752" y="8453"/>
                </a:lnTo>
                <a:lnTo>
                  <a:pt x="5754" y="8453"/>
                </a:lnTo>
                <a:close/>
                <a:moveTo>
                  <a:pt x="5084" y="8257"/>
                </a:moveTo>
                <a:lnTo>
                  <a:pt x="5082" y="8255"/>
                </a:lnTo>
                <a:lnTo>
                  <a:pt x="5082" y="8254"/>
                </a:lnTo>
                <a:lnTo>
                  <a:pt x="5081" y="8255"/>
                </a:lnTo>
                <a:lnTo>
                  <a:pt x="5084" y="8257"/>
                </a:lnTo>
                <a:lnTo>
                  <a:pt x="5084" y="8262"/>
                </a:lnTo>
                <a:lnTo>
                  <a:pt x="5086" y="8266"/>
                </a:lnTo>
                <a:lnTo>
                  <a:pt x="5089" y="8267"/>
                </a:lnTo>
                <a:lnTo>
                  <a:pt x="5095" y="8262"/>
                </a:lnTo>
                <a:lnTo>
                  <a:pt x="5089" y="8259"/>
                </a:lnTo>
                <a:lnTo>
                  <a:pt x="5084" y="8257"/>
                </a:lnTo>
                <a:close/>
                <a:moveTo>
                  <a:pt x="5146" y="8038"/>
                </a:moveTo>
                <a:lnTo>
                  <a:pt x="5151" y="8031"/>
                </a:lnTo>
                <a:lnTo>
                  <a:pt x="5151" y="8021"/>
                </a:lnTo>
                <a:lnTo>
                  <a:pt x="5145" y="8014"/>
                </a:lnTo>
                <a:lnTo>
                  <a:pt x="5136" y="8011"/>
                </a:lnTo>
                <a:lnTo>
                  <a:pt x="5137" y="8019"/>
                </a:lnTo>
                <a:lnTo>
                  <a:pt x="5138" y="8026"/>
                </a:lnTo>
                <a:lnTo>
                  <a:pt x="5140" y="8034"/>
                </a:lnTo>
                <a:lnTo>
                  <a:pt x="5146" y="8038"/>
                </a:lnTo>
                <a:close/>
                <a:moveTo>
                  <a:pt x="4416" y="11047"/>
                </a:moveTo>
                <a:lnTo>
                  <a:pt x="4415" y="11047"/>
                </a:lnTo>
                <a:lnTo>
                  <a:pt x="4415" y="11048"/>
                </a:lnTo>
                <a:lnTo>
                  <a:pt x="4416" y="11047"/>
                </a:lnTo>
                <a:lnTo>
                  <a:pt x="4424" y="11047"/>
                </a:lnTo>
                <a:lnTo>
                  <a:pt x="4432" y="11046"/>
                </a:lnTo>
                <a:lnTo>
                  <a:pt x="4439" y="11043"/>
                </a:lnTo>
                <a:lnTo>
                  <a:pt x="4444" y="11037"/>
                </a:lnTo>
                <a:lnTo>
                  <a:pt x="4444" y="11020"/>
                </a:lnTo>
                <a:lnTo>
                  <a:pt x="4434" y="11020"/>
                </a:lnTo>
                <a:lnTo>
                  <a:pt x="4421" y="11032"/>
                </a:lnTo>
                <a:lnTo>
                  <a:pt x="4416" y="11047"/>
                </a:lnTo>
                <a:close/>
                <a:moveTo>
                  <a:pt x="4646" y="11179"/>
                </a:moveTo>
                <a:lnTo>
                  <a:pt x="4626" y="11159"/>
                </a:lnTo>
                <a:lnTo>
                  <a:pt x="4609" y="11150"/>
                </a:lnTo>
                <a:lnTo>
                  <a:pt x="4587" y="11153"/>
                </a:lnTo>
                <a:lnTo>
                  <a:pt x="4562" y="11161"/>
                </a:lnTo>
                <a:lnTo>
                  <a:pt x="4546" y="11186"/>
                </a:lnTo>
                <a:lnTo>
                  <a:pt x="4573" y="11193"/>
                </a:lnTo>
                <a:lnTo>
                  <a:pt x="4614" y="11189"/>
                </a:lnTo>
                <a:lnTo>
                  <a:pt x="4646" y="11179"/>
                </a:lnTo>
                <a:close/>
                <a:moveTo>
                  <a:pt x="4567" y="8826"/>
                </a:moveTo>
                <a:lnTo>
                  <a:pt x="4565" y="8824"/>
                </a:lnTo>
                <a:lnTo>
                  <a:pt x="4564" y="8826"/>
                </a:lnTo>
                <a:lnTo>
                  <a:pt x="4565" y="8826"/>
                </a:lnTo>
                <a:lnTo>
                  <a:pt x="4567" y="8826"/>
                </a:lnTo>
                <a:close/>
                <a:moveTo>
                  <a:pt x="4573" y="8885"/>
                </a:moveTo>
                <a:lnTo>
                  <a:pt x="4563" y="8933"/>
                </a:lnTo>
                <a:lnTo>
                  <a:pt x="4584" y="8919"/>
                </a:lnTo>
                <a:lnTo>
                  <a:pt x="4606" y="8874"/>
                </a:lnTo>
                <a:lnTo>
                  <a:pt x="4590" y="8827"/>
                </a:lnTo>
                <a:lnTo>
                  <a:pt x="4570" y="8827"/>
                </a:lnTo>
                <a:lnTo>
                  <a:pt x="4574" y="8841"/>
                </a:lnTo>
                <a:lnTo>
                  <a:pt x="4582" y="8863"/>
                </a:lnTo>
                <a:lnTo>
                  <a:pt x="4573" y="8885"/>
                </a:lnTo>
                <a:close/>
                <a:moveTo>
                  <a:pt x="4546" y="11195"/>
                </a:moveTo>
                <a:lnTo>
                  <a:pt x="4546" y="11195"/>
                </a:lnTo>
                <a:lnTo>
                  <a:pt x="4546" y="11195"/>
                </a:lnTo>
                <a:lnTo>
                  <a:pt x="4545" y="11195"/>
                </a:lnTo>
                <a:lnTo>
                  <a:pt x="4546" y="11195"/>
                </a:lnTo>
                <a:close/>
                <a:moveTo>
                  <a:pt x="5002" y="9082"/>
                </a:moveTo>
                <a:lnTo>
                  <a:pt x="4942" y="9066"/>
                </a:lnTo>
                <a:lnTo>
                  <a:pt x="4930" y="9068"/>
                </a:lnTo>
                <a:lnTo>
                  <a:pt x="4946" y="9090"/>
                </a:lnTo>
                <a:lnTo>
                  <a:pt x="4973" y="9136"/>
                </a:lnTo>
                <a:lnTo>
                  <a:pt x="5009" y="9122"/>
                </a:lnTo>
                <a:lnTo>
                  <a:pt x="5040" y="9111"/>
                </a:lnTo>
                <a:lnTo>
                  <a:pt x="5045" y="9098"/>
                </a:lnTo>
                <a:lnTo>
                  <a:pt x="5002" y="9082"/>
                </a:lnTo>
                <a:close/>
                <a:moveTo>
                  <a:pt x="5578" y="9619"/>
                </a:moveTo>
                <a:lnTo>
                  <a:pt x="5583" y="9607"/>
                </a:lnTo>
                <a:lnTo>
                  <a:pt x="5584" y="9607"/>
                </a:lnTo>
                <a:lnTo>
                  <a:pt x="5585" y="9606"/>
                </a:lnTo>
                <a:lnTo>
                  <a:pt x="5585" y="9606"/>
                </a:lnTo>
                <a:lnTo>
                  <a:pt x="5584" y="9605"/>
                </a:lnTo>
                <a:lnTo>
                  <a:pt x="5583" y="9607"/>
                </a:lnTo>
                <a:lnTo>
                  <a:pt x="5579" y="9608"/>
                </a:lnTo>
                <a:lnTo>
                  <a:pt x="5575" y="9610"/>
                </a:lnTo>
                <a:lnTo>
                  <a:pt x="5574" y="9612"/>
                </a:lnTo>
                <a:lnTo>
                  <a:pt x="5578" y="9619"/>
                </a:lnTo>
                <a:close/>
                <a:moveTo>
                  <a:pt x="5051" y="9121"/>
                </a:moveTo>
                <a:lnTo>
                  <a:pt x="5051" y="9121"/>
                </a:lnTo>
                <a:lnTo>
                  <a:pt x="5051" y="9122"/>
                </a:lnTo>
                <a:lnTo>
                  <a:pt x="5052" y="9122"/>
                </a:lnTo>
                <a:lnTo>
                  <a:pt x="5052" y="9121"/>
                </a:lnTo>
                <a:lnTo>
                  <a:pt x="5052" y="9121"/>
                </a:lnTo>
                <a:lnTo>
                  <a:pt x="5051" y="9121"/>
                </a:lnTo>
                <a:close/>
                <a:moveTo>
                  <a:pt x="5048" y="8549"/>
                </a:moveTo>
                <a:lnTo>
                  <a:pt x="5048" y="8552"/>
                </a:lnTo>
                <a:lnTo>
                  <a:pt x="5051" y="8552"/>
                </a:lnTo>
                <a:lnTo>
                  <a:pt x="5049" y="8551"/>
                </a:lnTo>
                <a:lnTo>
                  <a:pt x="5048" y="8549"/>
                </a:lnTo>
                <a:close/>
                <a:moveTo>
                  <a:pt x="5333" y="8744"/>
                </a:moveTo>
                <a:lnTo>
                  <a:pt x="5341" y="8749"/>
                </a:lnTo>
                <a:lnTo>
                  <a:pt x="5347" y="8751"/>
                </a:lnTo>
                <a:lnTo>
                  <a:pt x="5351" y="8747"/>
                </a:lnTo>
                <a:lnTo>
                  <a:pt x="5354" y="8738"/>
                </a:lnTo>
                <a:lnTo>
                  <a:pt x="5350" y="8724"/>
                </a:lnTo>
                <a:lnTo>
                  <a:pt x="5335" y="8721"/>
                </a:lnTo>
                <a:lnTo>
                  <a:pt x="5324" y="8729"/>
                </a:lnTo>
                <a:lnTo>
                  <a:pt x="5333" y="8744"/>
                </a:lnTo>
                <a:close/>
                <a:moveTo>
                  <a:pt x="5686" y="9547"/>
                </a:moveTo>
                <a:lnTo>
                  <a:pt x="5685" y="9547"/>
                </a:lnTo>
                <a:lnTo>
                  <a:pt x="5685" y="9546"/>
                </a:lnTo>
                <a:lnTo>
                  <a:pt x="5683" y="9547"/>
                </a:lnTo>
                <a:lnTo>
                  <a:pt x="5685" y="9549"/>
                </a:lnTo>
                <a:lnTo>
                  <a:pt x="5686" y="9547"/>
                </a:lnTo>
                <a:close/>
                <a:moveTo>
                  <a:pt x="4993" y="8612"/>
                </a:moveTo>
                <a:lnTo>
                  <a:pt x="4987" y="8619"/>
                </a:lnTo>
                <a:lnTo>
                  <a:pt x="4988" y="8628"/>
                </a:lnTo>
                <a:lnTo>
                  <a:pt x="4993" y="8636"/>
                </a:lnTo>
                <a:lnTo>
                  <a:pt x="5002" y="8640"/>
                </a:lnTo>
                <a:lnTo>
                  <a:pt x="5001" y="8632"/>
                </a:lnTo>
                <a:lnTo>
                  <a:pt x="5001" y="8623"/>
                </a:lnTo>
                <a:lnTo>
                  <a:pt x="4998" y="8616"/>
                </a:lnTo>
                <a:lnTo>
                  <a:pt x="4993" y="8612"/>
                </a:lnTo>
                <a:close/>
                <a:moveTo>
                  <a:pt x="5002" y="8640"/>
                </a:moveTo>
                <a:lnTo>
                  <a:pt x="5002" y="8641"/>
                </a:lnTo>
                <a:lnTo>
                  <a:pt x="5003" y="8641"/>
                </a:lnTo>
                <a:lnTo>
                  <a:pt x="5003" y="8640"/>
                </a:lnTo>
                <a:lnTo>
                  <a:pt x="5002" y="8640"/>
                </a:lnTo>
                <a:close/>
                <a:moveTo>
                  <a:pt x="5035" y="8544"/>
                </a:moveTo>
                <a:lnTo>
                  <a:pt x="5042" y="8547"/>
                </a:lnTo>
                <a:lnTo>
                  <a:pt x="5048" y="8549"/>
                </a:lnTo>
                <a:lnTo>
                  <a:pt x="5047" y="8544"/>
                </a:lnTo>
                <a:lnTo>
                  <a:pt x="5045" y="8541"/>
                </a:lnTo>
                <a:lnTo>
                  <a:pt x="5042" y="8541"/>
                </a:lnTo>
                <a:lnTo>
                  <a:pt x="5035" y="8544"/>
                </a:lnTo>
                <a:close/>
                <a:moveTo>
                  <a:pt x="4680" y="11333"/>
                </a:moveTo>
                <a:lnTo>
                  <a:pt x="4686" y="11337"/>
                </a:lnTo>
                <a:lnTo>
                  <a:pt x="4693" y="11340"/>
                </a:lnTo>
                <a:lnTo>
                  <a:pt x="4693" y="11341"/>
                </a:lnTo>
                <a:lnTo>
                  <a:pt x="4694" y="11341"/>
                </a:lnTo>
                <a:lnTo>
                  <a:pt x="4694" y="11341"/>
                </a:lnTo>
                <a:lnTo>
                  <a:pt x="4694" y="11341"/>
                </a:lnTo>
                <a:lnTo>
                  <a:pt x="4693" y="11340"/>
                </a:lnTo>
                <a:lnTo>
                  <a:pt x="4691" y="11335"/>
                </a:lnTo>
                <a:lnTo>
                  <a:pt x="4690" y="11331"/>
                </a:lnTo>
                <a:lnTo>
                  <a:pt x="4686" y="11329"/>
                </a:lnTo>
                <a:lnTo>
                  <a:pt x="4680" y="11333"/>
                </a:lnTo>
                <a:close/>
                <a:moveTo>
                  <a:pt x="6285" y="2112"/>
                </a:moveTo>
                <a:lnTo>
                  <a:pt x="6272" y="2111"/>
                </a:lnTo>
                <a:lnTo>
                  <a:pt x="6262" y="2115"/>
                </a:lnTo>
                <a:lnTo>
                  <a:pt x="6253" y="2122"/>
                </a:lnTo>
                <a:lnTo>
                  <a:pt x="6248" y="2134"/>
                </a:lnTo>
                <a:lnTo>
                  <a:pt x="6260" y="2139"/>
                </a:lnTo>
                <a:lnTo>
                  <a:pt x="6277" y="2133"/>
                </a:lnTo>
                <a:lnTo>
                  <a:pt x="6288" y="2122"/>
                </a:lnTo>
                <a:lnTo>
                  <a:pt x="6285" y="2112"/>
                </a:lnTo>
                <a:close/>
                <a:moveTo>
                  <a:pt x="6288" y="2332"/>
                </a:moveTo>
                <a:lnTo>
                  <a:pt x="6290" y="2332"/>
                </a:lnTo>
                <a:lnTo>
                  <a:pt x="6290" y="2331"/>
                </a:lnTo>
                <a:lnTo>
                  <a:pt x="6290" y="2330"/>
                </a:lnTo>
                <a:lnTo>
                  <a:pt x="6288" y="2331"/>
                </a:lnTo>
                <a:lnTo>
                  <a:pt x="6288" y="2331"/>
                </a:lnTo>
                <a:lnTo>
                  <a:pt x="6288" y="2332"/>
                </a:lnTo>
                <a:close/>
                <a:moveTo>
                  <a:pt x="6707" y="1461"/>
                </a:moveTo>
                <a:lnTo>
                  <a:pt x="6705" y="1467"/>
                </a:lnTo>
                <a:lnTo>
                  <a:pt x="6702" y="1473"/>
                </a:lnTo>
                <a:lnTo>
                  <a:pt x="6702" y="1473"/>
                </a:lnTo>
                <a:lnTo>
                  <a:pt x="6702" y="1473"/>
                </a:lnTo>
                <a:lnTo>
                  <a:pt x="6707" y="1472"/>
                </a:lnTo>
                <a:lnTo>
                  <a:pt x="6711" y="1471"/>
                </a:lnTo>
                <a:lnTo>
                  <a:pt x="6712" y="1467"/>
                </a:lnTo>
                <a:lnTo>
                  <a:pt x="6707" y="1461"/>
                </a:lnTo>
                <a:close/>
                <a:moveTo>
                  <a:pt x="6702" y="1473"/>
                </a:moveTo>
                <a:lnTo>
                  <a:pt x="6700" y="1473"/>
                </a:lnTo>
                <a:lnTo>
                  <a:pt x="6700" y="1475"/>
                </a:lnTo>
                <a:lnTo>
                  <a:pt x="6701" y="1475"/>
                </a:lnTo>
                <a:lnTo>
                  <a:pt x="6702" y="1473"/>
                </a:lnTo>
                <a:close/>
                <a:moveTo>
                  <a:pt x="6260" y="2341"/>
                </a:moveTo>
                <a:lnTo>
                  <a:pt x="6267" y="2348"/>
                </a:lnTo>
                <a:lnTo>
                  <a:pt x="6277" y="2346"/>
                </a:lnTo>
                <a:lnTo>
                  <a:pt x="6285" y="2341"/>
                </a:lnTo>
                <a:lnTo>
                  <a:pt x="6288" y="2332"/>
                </a:lnTo>
                <a:lnTo>
                  <a:pt x="6281" y="2334"/>
                </a:lnTo>
                <a:lnTo>
                  <a:pt x="6272" y="2334"/>
                </a:lnTo>
                <a:lnTo>
                  <a:pt x="6264" y="2336"/>
                </a:lnTo>
                <a:lnTo>
                  <a:pt x="6260" y="2341"/>
                </a:lnTo>
                <a:close/>
                <a:moveTo>
                  <a:pt x="6068" y="1752"/>
                </a:moveTo>
                <a:lnTo>
                  <a:pt x="6020" y="1752"/>
                </a:lnTo>
                <a:lnTo>
                  <a:pt x="6021" y="1804"/>
                </a:lnTo>
                <a:lnTo>
                  <a:pt x="6012" y="1864"/>
                </a:lnTo>
                <a:lnTo>
                  <a:pt x="5937" y="1893"/>
                </a:lnTo>
                <a:lnTo>
                  <a:pt x="6045" y="1900"/>
                </a:lnTo>
                <a:lnTo>
                  <a:pt x="6132" y="1878"/>
                </a:lnTo>
                <a:lnTo>
                  <a:pt x="6155" y="1828"/>
                </a:lnTo>
                <a:lnTo>
                  <a:pt x="6068" y="1752"/>
                </a:lnTo>
                <a:close/>
                <a:moveTo>
                  <a:pt x="6172" y="1888"/>
                </a:moveTo>
                <a:lnTo>
                  <a:pt x="6174" y="1890"/>
                </a:lnTo>
                <a:lnTo>
                  <a:pt x="6175" y="1890"/>
                </a:lnTo>
                <a:lnTo>
                  <a:pt x="6174" y="1888"/>
                </a:lnTo>
                <a:lnTo>
                  <a:pt x="6172" y="1888"/>
                </a:lnTo>
                <a:close/>
                <a:moveTo>
                  <a:pt x="6292" y="2124"/>
                </a:moveTo>
                <a:lnTo>
                  <a:pt x="6292" y="2125"/>
                </a:lnTo>
                <a:lnTo>
                  <a:pt x="6295" y="2125"/>
                </a:lnTo>
                <a:lnTo>
                  <a:pt x="6293" y="2124"/>
                </a:lnTo>
                <a:lnTo>
                  <a:pt x="6292" y="2124"/>
                </a:lnTo>
                <a:close/>
                <a:moveTo>
                  <a:pt x="5165" y="11020"/>
                </a:moveTo>
                <a:lnTo>
                  <a:pt x="5163" y="11027"/>
                </a:lnTo>
                <a:lnTo>
                  <a:pt x="5160" y="11033"/>
                </a:lnTo>
                <a:lnTo>
                  <a:pt x="5159" y="11033"/>
                </a:lnTo>
                <a:lnTo>
                  <a:pt x="5158" y="11034"/>
                </a:lnTo>
                <a:lnTo>
                  <a:pt x="5158" y="11034"/>
                </a:lnTo>
                <a:lnTo>
                  <a:pt x="5159" y="11035"/>
                </a:lnTo>
                <a:lnTo>
                  <a:pt x="5160" y="11033"/>
                </a:lnTo>
                <a:lnTo>
                  <a:pt x="5165" y="11032"/>
                </a:lnTo>
                <a:lnTo>
                  <a:pt x="5169" y="11030"/>
                </a:lnTo>
                <a:lnTo>
                  <a:pt x="5170" y="11027"/>
                </a:lnTo>
                <a:lnTo>
                  <a:pt x="5165" y="11020"/>
                </a:lnTo>
                <a:close/>
                <a:moveTo>
                  <a:pt x="4894" y="10964"/>
                </a:moveTo>
                <a:lnTo>
                  <a:pt x="4894" y="10965"/>
                </a:lnTo>
                <a:lnTo>
                  <a:pt x="4895" y="10965"/>
                </a:lnTo>
                <a:lnTo>
                  <a:pt x="4895" y="10964"/>
                </a:lnTo>
                <a:lnTo>
                  <a:pt x="4894" y="10964"/>
                </a:lnTo>
                <a:close/>
                <a:moveTo>
                  <a:pt x="4944" y="10926"/>
                </a:moveTo>
                <a:lnTo>
                  <a:pt x="4941" y="10890"/>
                </a:lnTo>
                <a:lnTo>
                  <a:pt x="4881" y="10899"/>
                </a:lnTo>
                <a:lnTo>
                  <a:pt x="4817" y="10935"/>
                </a:lnTo>
                <a:lnTo>
                  <a:pt x="4802" y="10985"/>
                </a:lnTo>
                <a:lnTo>
                  <a:pt x="4843" y="10979"/>
                </a:lnTo>
                <a:lnTo>
                  <a:pt x="4877" y="10964"/>
                </a:lnTo>
                <a:lnTo>
                  <a:pt x="4909" y="10945"/>
                </a:lnTo>
                <a:lnTo>
                  <a:pt x="4944" y="10926"/>
                </a:lnTo>
                <a:close/>
                <a:moveTo>
                  <a:pt x="5964" y="2110"/>
                </a:moveTo>
                <a:lnTo>
                  <a:pt x="5962" y="2110"/>
                </a:lnTo>
                <a:lnTo>
                  <a:pt x="5962" y="2111"/>
                </a:lnTo>
                <a:lnTo>
                  <a:pt x="5964" y="2111"/>
                </a:lnTo>
                <a:lnTo>
                  <a:pt x="5964" y="2110"/>
                </a:lnTo>
                <a:close/>
                <a:moveTo>
                  <a:pt x="5158" y="11035"/>
                </a:moveTo>
                <a:lnTo>
                  <a:pt x="5147" y="11035"/>
                </a:lnTo>
                <a:lnTo>
                  <a:pt x="5137" y="11037"/>
                </a:lnTo>
                <a:lnTo>
                  <a:pt x="5129" y="11042"/>
                </a:lnTo>
                <a:lnTo>
                  <a:pt x="5126" y="11053"/>
                </a:lnTo>
                <a:lnTo>
                  <a:pt x="5124" y="11053"/>
                </a:lnTo>
                <a:lnTo>
                  <a:pt x="5126" y="11055"/>
                </a:lnTo>
                <a:lnTo>
                  <a:pt x="5126" y="11053"/>
                </a:lnTo>
                <a:lnTo>
                  <a:pt x="5136" y="11052"/>
                </a:lnTo>
                <a:lnTo>
                  <a:pt x="5146" y="11051"/>
                </a:lnTo>
                <a:lnTo>
                  <a:pt x="5154" y="11046"/>
                </a:lnTo>
                <a:lnTo>
                  <a:pt x="5158" y="11035"/>
                </a:lnTo>
                <a:close/>
                <a:moveTo>
                  <a:pt x="5992" y="2100"/>
                </a:moveTo>
                <a:lnTo>
                  <a:pt x="5984" y="2094"/>
                </a:lnTo>
                <a:lnTo>
                  <a:pt x="5975" y="2094"/>
                </a:lnTo>
                <a:lnTo>
                  <a:pt x="5967" y="2101"/>
                </a:lnTo>
                <a:lnTo>
                  <a:pt x="5964" y="2110"/>
                </a:lnTo>
                <a:lnTo>
                  <a:pt x="5971" y="2108"/>
                </a:lnTo>
                <a:lnTo>
                  <a:pt x="5980" y="2107"/>
                </a:lnTo>
                <a:lnTo>
                  <a:pt x="5988" y="2106"/>
                </a:lnTo>
                <a:lnTo>
                  <a:pt x="5992" y="2100"/>
                </a:lnTo>
                <a:close/>
                <a:moveTo>
                  <a:pt x="5403" y="10828"/>
                </a:moveTo>
                <a:lnTo>
                  <a:pt x="5405" y="10828"/>
                </a:lnTo>
                <a:lnTo>
                  <a:pt x="5405" y="10829"/>
                </a:lnTo>
                <a:lnTo>
                  <a:pt x="5405" y="10828"/>
                </a:lnTo>
                <a:lnTo>
                  <a:pt x="5406" y="10828"/>
                </a:lnTo>
                <a:lnTo>
                  <a:pt x="5403" y="10828"/>
                </a:lnTo>
                <a:lnTo>
                  <a:pt x="5396" y="10813"/>
                </a:lnTo>
                <a:lnTo>
                  <a:pt x="5389" y="10795"/>
                </a:lnTo>
                <a:lnTo>
                  <a:pt x="5383" y="10780"/>
                </a:lnTo>
                <a:lnTo>
                  <a:pt x="5373" y="10768"/>
                </a:lnTo>
                <a:lnTo>
                  <a:pt x="5359" y="10795"/>
                </a:lnTo>
                <a:lnTo>
                  <a:pt x="5359" y="10816"/>
                </a:lnTo>
                <a:lnTo>
                  <a:pt x="5374" y="10829"/>
                </a:lnTo>
                <a:lnTo>
                  <a:pt x="5403" y="10828"/>
                </a:lnTo>
                <a:close/>
                <a:moveTo>
                  <a:pt x="6268" y="10647"/>
                </a:moveTo>
                <a:lnTo>
                  <a:pt x="6301" y="10659"/>
                </a:lnTo>
                <a:lnTo>
                  <a:pt x="6302" y="10636"/>
                </a:lnTo>
                <a:lnTo>
                  <a:pt x="6286" y="10610"/>
                </a:lnTo>
                <a:lnTo>
                  <a:pt x="6259" y="10610"/>
                </a:lnTo>
                <a:lnTo>
                  <a:pt x="6257" y="10622"/>
                </a:lnTo>
                <a:lnTo>
                  <a:pt x="6258" y="10632"/>
                </a:lnTo>
                <a:lnTo>
                  <a:pt x="6262" y="10641"/>
                </a:lnTo>
                <a:lnTo>
                  <a:pt x="6268" y="10647"/>
                </a:lnTo>
                <a:close/>
                <a:moveTo>
                  <a:pt x="6407" y="11459"/>
                </a:moveTo>
                <a:lnTo>
                  <a:pt x="6404" y="11461"/>
                </a:lnTo>
                <a:lnTo>
                  <a:pt x="6403" y="11463"/>
                </a:lnTo>
                <a:lnTo>
                  <a:pt x="6403" y="11466"/>
                </a:lnTo>
                <a:lnTo>
                  <a:pt x="6407" y="11468"/>
                </a:lnTo>
                <a:lnTo>
                  <a:pt x="6409" y="11466"/>
                </a:lnTo>
                <a:lnTo>
                  <a:pt x="6411" y="11464"/>
                </a:lnTo>
                <a:lnTo>
                  <a:pt x="6409" y="11462"/>
                </a:lnTo>
                <a:lnTo>
                  <a:pt x="6407" y="11459"/>
                </a:lnTo>
                <a:close/>
                <a:moveTo>
                  <a:pt x="6374" y="9961"/>
                </a:moveTo>
                <a:lnTo>
                  <a:pt x="6375" y="9964"/>
                </a:lnTo>
                <a:lnTo>
                  <a:pt x="6378" y="9965"/>
                </a:lnTo>
                <a:lnTo>
                  <a:pt x="6380" y="9964"/>
                </a:lnTo>
                <a:lnTo>
                  <a:pt x="6383" y="9961"/>
                </a:lnTo>
                <a:lnTo>
                  <a:pt x="6380" y="9957"/>
                </a:lnTo>
                <a:lnTo>
                  <a:pt x="6379" y="9957"/>
                </a:lnTo>
                <a:lnTo>
                  <a:pt x="6376" y="9959"/>
                </a:lnTo>
                <a:lnTo>
                  <a:pt x="6374" y="9961"/>
                </a:lnTo>
                <a:close/>
                <a:moveTo>
                  <a:pt x="6469" y="10780"/>
                </a:moveTo>
                <a:lnTo>
                  <a:pt x="6463" y="10794"/>
                </a:lnTo>
                <a:lnTo>
                  <a:pt x="6453" y="10810"/>
                </a:lnTo>
                <a:lnTo>
                  <a:pt x="6450" y="10823"/>
                </a:lnTo>
                <a:lnTo>
                  <a:pt x="6463" y="10827"/>
                </a:lnTo>
                <a:lnTo>
                  <a:pt x="6479" y="10816"/>
                </a:lnTo>
                <a:lnTo>
                  <a:pt x="6488" y="10799"/>
                </a:lnTo>
                <a:lnTo>
                  <a:pt x="6486" y="10783"/>
                </a:lnTo>
                <a:lnTo>
                  <a:pt x="6469" y="10780"/>
                </a:lnTo>
                <a:close/>
                <a:moveTo>
                  <a:pt x="5778" y="9421"/>
                </a:moveTo>
                <a:lnTo>
                  <a:pt x="5817" y="9421"/>
                </a:lnTo>
                <a:lnTo>
                  <a:pt x="5822" y="9442"/>
                </a:lnTo>
                <a:lnTo>
                  <a:pt x="5812" y="9472"/>
                </a:lnTo>
                <a:lnTo>
                  <a:pt x="5810" y="9503"/>
                </a:lnTo>
                <a:lnTo>
                  <a:pt x="5790" y="9493"/>
                </a:lnTo>
                <a:lnTo>
                  <a:pt x="5779" y="9468"/>
                </a:lnTo>
                <a:lnTo>
                  <a:pt x="5775" y="9440"/>
                </a:lnTo>
                <a:lnTo>
                  <a:pt x="5778" y="9421"/>
                </a:lnTo>
                <a:close/>
                <a:moveTo>
                  <a:pt x="5867" y="9676"/>
                </a:moveTo>
                <a:lnTo>
                  <a:pt x="5873" y="9679"/>
                </a:lnTo>
                <a:lnTo>
                  <a:pt x="5876" y="9682"/>
                </a:lnTo>
                <a:lnTo>
                  <a:pt x="5874" y="9686"/>
                </a:lnTo>
                <a:lnTo>
                  <a:pt x="5867" y="9689"/>
                </a:lnTo>
                <a:lnTo>
                  <a:pt x="5859" y="9686"/>
                </a:lnTo>
                <a:lnTo>
                  <a:pt x="5857" y="9684"/>
                </a:lnTo>
                <a:lnTo>
                  <a:pt x="5859" y="9680"/>
                </a:lnTo>
                <a:lnTo>
                  <a:pt x="5867" y="9676"/>
                </a:lnTo>
                <a:close/>
                <a:moveTo>
                  <a:pt x="6022" y="9622"/>
                </a:moveTo>
                <a:lnTo>
                  <a:pt x="6029" y="9619"/>
                </a:lnTo>
                <a:lnTo>
                  <a:pt x="6040" y="9624"/>
                </a:lnTo>
                <a:lnTo>
                  <a:pt x="6048" y="9634"/>
                </a:lnTo>
                <a:lnTo>
                  <a:pt x="6046" y="9644"/>
                </a:lnTo>
                <a:lnTo>
                  <a:pt x="6034" y="9656"/>
                </a:lnTo>
                <a:lnTo>
                  <a:pt x="6025" y="9652"/>
                </a:lnTo>
                <a:lnTo>
                  <a:pt x="6020" y="9639"/>
                </a:lnTo>
                <a:lnTo>
                  <a:pt x="6022" y="9622"/>
                </a:lnTo>
                <a:close/>
                <a:moveTo>
                  <a:pt x="6087" y="9575"/>
                </a:moveTo>
                <a:lnTo>
                  <a:pt x="6092" y="9579"/>
                </a:lnTo>
                <a:lnTo>
                  <a:pt x="6094" y="9583"/>
                </a:lnTo>
                <a:lnTo>
                  <a:pt x="6090" y="9587"/>
                </a:lnTo>
                <a:lnTo>
                  <a:pt x="6082" y="9588"/>
                </a:lnTo>
                <a:lnTo>
                  <a:pt x="6077" y="9584"/>
                </a:lnTo>
                <a:lnTo>
                  <a:pt x="6076" y="9580"/>
                </a:lnTo>
                <a:lnTo>
                  <a:pt x="6080" y="9577"/>
                </a:lnTo>
                <a:lnTo>
                  <a:pt x="6087" y="9575"/>
                </a:lnTo>
                <a:close/>
                <a:moveTo>
                  <a:pt x="5694" y="9607"/>
                </a:moveTo>
                <a:lnTo>
                  <a:pt x="5668" y="9685"/>
                </a:lnTo>
                <a:lnTo>
                  <a:pt x="5724" y="9682"/>
                </a:lnTo>
                <a:lnTo>
                  <a:pt x="5801" y="9650"/>
                </a:lnTo>
                <a:lnTo>
                  <a:pt x="5829" y="9643"/>
                </a:lnTo>
                <a:lnTo>
                  <a:pt x="5802" y="9789"/>
                </a:lnTo>
                <a:lnTo>
                  <a:pt x="5894" y="9791"/>
                </a:lnTo>
                <a:lnTo>
                  <a:pt x="5993" y="9770"/>
                </a:lnTo>
                <a:lnTo>
                  <a:pt x="5985" y="9850"/>
                </a:lnTo>
                <a:lnTo>
                  <a:pt x="5993" y="9881"/>
                </a:lnTo>
                <a:lnTo>
                  <a:pt x="5976" y="9871"/>
                </a:lnTo>
                <a:lnTo>
                  <a:pt x="5953" y="9841"/>
                </a:lnTo>
                <a:lnTo>
                  <a:pt x="5936" y="9812"/>
                </a:lnTo>
                <a:lnTo>
                  <a:pt x="5925" y="9852"/>
                </a:lnTo>
                <a:lnTo>
                  <a:pt x="5903" y="9869"/>
                </a:lnTo>
                <a:lnTo>
                  <a:pt x="5894" y="9886"/>
                </a:lnTo>
                <a:lnTo>
                  <a:pt x="5918" y="9920"/>
                </a:lnTo>
                <a:lnTo>
                  <a:pt x="6004" y="9914"/>
                </a:lnTo>
                <a:lnTo>
                  <a:pt x="6020" y="9882"/>
                </a:lnTo>
                <a:lnTo>
                  <a:pt x="6021" y="9844"/>
                </a:lnTo>
                <a:lnTo>
                  <a:pt x="6064" y="9816"/>
                </a:lnTo>
                <a:lnTo>
                  <a:pt x="6087" y="9757"/>
                </a:lnTo>
                <a:lnTo>
                  <a:pt x="6092" y="9699"/>
                </a:lnTo>
                <a:lnTo>
                  <a:pt x="6105" y="9650"/>
                </a:lnTo>
                <a:lnTo>
                  <a:pt x="6155" y="9624"/>
                </a:lnTo>
                <a:lnTo>
                  <a:pt x="6146" y="9547"/>
                </a:lnTo>
                <a:lnTo>
                  <a:pt x="6097" y="9522"/>
                </a:lnTo>
                <a:lnTo>
                  <a:pt x="6036" y="9542"/>
                </a:lnTo>
                <a:lnTo>
                  <a:pt x="5983" y="9597"/>
                </a:lnTo>
                <a:lnTo>
                  <a:pt x="5969" y="9693"/>
                </a:lnTo>
                <a:lnTo>
                  <a:pt x="5934" y="9689"/>
                </a:lnTo>
                <a:lnTo>
                  <a:pt x="5887" y="9635"/>
                </a:lnTo>
                <a:lnTo>
                  <a:pt x="5835" y="9584"/>
                </a:lnTo>
                <a:lnTo>
                  <a:pt x="5797" y="9598"/>
                </a:lnTo>
                <a:lnTo>
                  <a:pt x="5765" y="9583"/>
                </a:lnTo>
                <a:lnTo>
                  <a:pt x="5755" y="9552"/>
                </a:lnTo>
                <a:lnTo>
                  <a:pt x="5782" y="9524"/>
                </a:lnTo>
                <a:lnTo>
                  <a:pt x="5825" y="9531"/>
                </a:lnTo>
                <a:lnTo>
                  <a:pt x="5844" y="9498"/>
                </a:lnTo>
                <a:lnTo>
                  <a:pt x="5858" y="9449"/>
                </a:lnTo>
                <a:lnTo>
                  <a:pt x="5881" y="9411"/>
                </a:lnTo>
                <a:lnTo>
                  <a:pt x="5843" y="9377"/>
                </a:lnTo>
                <a:lnTo>
                  <a:pt x="5787" y="9395"/>
                </a:lnTo>
                <a:lnTo>
                  <a:pt x="5728" y="9440"/>
                </a:lnTo>
                <a:lnTo>
                  <a:pt x="5686" y="9486"/>
                </a:lnTo>
                <a:lnTo>
                  <a:pt x="5731" y="9509"/>
                </a:lnTo>
                <a:lnTo>
                  <a:pt x="5724" y="9533"/>
                </a:lnTo>
                <a:lnTo>
                  <a:pt x="5701" y="9564"/>
                </a:lnTo>
                <a:lnTo>
                  <a:pt x="5694" y="9607"/>
                </a:lnTo>
                <a:close/>
                <a:moveTo>
                  <a:pt x="6468" y="11407"/>
                </a:moveTo>
                <a:lnTo>
                  <a:pt x="6469" y="11410"/>
                </a:lnTo>
                <a:lnTo>
                  <a:pt x="6472" y="11411"/>
                </a:lnTo>
                <a:lnTo>
                  <a:pt x="6474" y="11411"/>
                </a:lnTo>
                <a:lnTo>
                  <a:pt x="6477" y="11407"/>
                </a:lnTo>
                <a:lnTo>
                  <a:pt x="6474" y="11405"/>
                </a:lnTo>
                <a:lnTo>
                  <a:pt x="6472" y="11405"/>
                </a:lnTo>
                <a:lnTo>
                  <a:pt x="6469" y="11405"/>
                </a:lnTo>
                <a:lnTo>
                  <a:pt x="6468" y="11407"/>
                </a:lnTo>
                <a:close/>
                <a:moveTo>
                  <a:pt x="6425" y="10922"/>
                </a:moveTo>
                <a:lnTo>
                  <a:pt x="6420" y="10926"/>
                </a:lnTo>
                <a:lnTo>
                  <a:pt x="6422" y="10929"/>
                </a:lnTo>
                <a:lnTo>
                  <a:pt x="6425" y="10929"/>
                </a:lnTo>
                <a:lnTo>
                  <a:pt x="6425" y="10927"/>
                </a:lnTo>
                <a:lnTo>
                  <a:pt x="6425" y="10922"/>
                </a:lnTo>
                <a:close/>
                <a:moveTo>
                  <a:pt x="6566" y="11193"/>
                </a:moveTo>
                <a:lnTo>
                  <a:pt x="6557" y="11188"/>
                </a:lnTo>
                <a:lnTo>
                  <a:pt x="6548" y="11189"/>
                </a:lnTo>
                <a:lnTo>
                  <a:pt x="6542" y="11195"/>
                </a:lnTo>
                <a:lnTo>
                  <a:pt x="6538" y="11203"/>
                </a:lnTo>
                <a:lnTo>
                  <a:pt x="6537" y="11203"/>
                </a:lnTo>
                <a:lnTo>
                  <a:pt x="6535" y="11205"/>
                </a:lnTo>
                <a:lnTo>
                  <a:pt x="6537" y="11205"/>
                </a:lnTo>
                <a:lnTo>
                  <a:pt x="6538" y="11203"/>
                </a:lnTo>
                <a:lnTo>
                  <a:pt x="6546" y="11203"/>
                </a:lnTo>
                <a:lnTo>
                  <a:pt x="6552" y="11202"/>
                </a:lnTo>
                <a:lnTo>
                  <a:pt x="6560" y="11198"/>
                </a:lnTo>
                <a:lnTo>
                  <a:pt x="6566" y="11193"/>
                </a:lnTo>
                <a:close/>
                <a:moveTo>
                  <a:pt x="6546" y="11093"/>
                </a:moveTo>
                <a:lnTo>
                  <a:pt x="6544" y="11038"/>
                </a:lnTo>
                <a:lnTo>
                  <a:pt x="6520" y="11047"/>
                </a:lnTo>
                <a:lnTo>
                  <a:pt x="6486" y="11088"/>
                </a:lnTo>
                <a:lnTo>
                  <a:pt x="6453" y="11127"/>
                </a:lnTo>
                <a:lnTo>
                  <a:pt x="6464" y="11155"/>
                </a:lnTo>
                <a:lnTo>
                  <a:pt x="6499" y="11151"/>
                </a:lnTo>
                <a:lnTo>
                  <a:pt x="6533" y="11127"/>
                </a:lnTo>
                <a:lnTo>
                  <a:pt x="6546" y="11093"/>
                </a:lnTo>
                <a:close/>
                <a:moveTo>
                  <a:pt x="6398" y="9889"/>
                </a:moveTo>
                <a:lnTo>
                  <a:pt x="6383" y="9868"/>
                </a:lnTo>
                <a:lnTo>
                  <a:pt x="6366" y="9886"/>
                </a:lnTo>
                <a:lnTo>
                  <a:pt x="6357" y="9917"/>
                </a:lnTo>
                <a:lnTo>
                  <a:pt x="6369" y="9934"/>
                </a:lnTo>
                <a:lnTo>
                  <a:pt x="6383" y="9927"/>
                </a:lnTo>
                <a:lnTo>
                  <a:pt x="6393" y="9917"/>
                </a:lnTo>
                <a:lnTo>
                  <a:pt x="6398" y="9904"/>
                </a:lnTo>
                <a:lnTo>
                  <a:pt x="6398" y="9889"/>
                </a:lnTo>
                <a:close/>
                <a:moveTo>
                  <a:pt x="6463" y="10957"/>
                </a:moveTo>
                <a:lnTo>
                  <a:pt x="6448" y="10953"/>
                </a:lnTo>
                <a:lnTo>
                  <a:pt x="6434" y="10960"/>
                </a:lnTo>
                <a:lnTo>
                  <a:pt x="6423" y="10976"/>
                </a:lnTo>
                <a:lnTo>
                  <a:pt x="6421" y="10992"/>
                </a:lnTo>
                <a:lnTo>
                  <a:pt x="6432" y="10996"/>
                </a:lnTo>
                <a:lnTo>
                  <a:pt x="6445" y="10986"/>
                </a:lnTo>
                <a:lnTo>
                  <a:pt x="6456" y="10971"/>
                </a:lnTo>
                <a:lnTo>
                  <a:pt x="6463" y="10957"/>
                </a:lnTo>
                <a:close/>
                <a:moveTo>
                  <a:pt x="6535" y="10452"/>
                </a:moveTo>
                <a:lnTo>
                  <a:pt x="6534" y="10450"/>
                </a:lnTo>
                <a:lnTo>
                  <a:pt x="6532" y="10449"/>
                </a:lnTo>
                <a:lnTo>
                  <a:pt x="6529" y="10450"/>
                </a:lnTo>
                <a:lnTo>
                  <a:pt x="6527" y="10452"/>
                </a:lnTo>
                <a:lnTo>
                  <a:pt x="6529" y="10455"/>
                </a:lnTo>
                <a:lnTo>
                  <a:pt x="6532" y="10456"/>
                </a:lnTo>
                <a:lnTo>
                  <a:pt x="6534" y="10456"/>
                </a:lnTo>
                <a:lnTo>
                  <a:pt x="6535" y="10452"/>
                </a:lnTo>
                <a:close/>
                <a:moveTo>
                  <a:pt x="6316" y="10332"/>
                </a:moveTo>
                <a:lnTo>
                  <a:pt x="6319" y="10326"/>
                </a:lnTo>
                <a:lnTo>
                  <a:pt x="6321" y="10320"/>
                </a:lnTo>
                <a:lnTo>
                  <a:pt x="6324" y="10320"/>
                </a:lnTo>
                <a:lnTo>
                  <a:pt x="6324" y="10318"/>
                </a:lnTo>
                <a:lnTo>
                  <a:pt x="6323" y="10319"/>
                </a:lnTo>
                <a:lnTo>
                  <a:pt x="6321" y="10320"/>
                </a:lnTo>
                <a:lnTo>
                  <a:pt x="6316" y="10321"/>
                </a:lnTo>
                <a:lnTo>
                  <a:pt x="6314" y="10323"/>
                </a:lnTo>
                <a:lnTo>
                  <a:pt x="6313" y="10326"/>
                </a:lnTo>
                <a:lnTo>
                  <a:pt x="6316" y="10332"/>
                </a:lnTo>
                <a:close/>
                <a:moveTo>
                  <a:pt x="6279" y="11365"/>
                </a:moveTo>
                <a:lnTo>
                  <a:pt x="6250" y="11352"/>
                </a:lnTo>
                <a:lnTo>
                  <a:pt x="6236" y="11368"/>
                </a:lnTo>
                <a:lnTo>
                  <a:pt x="6237" y="11393"/>
                </a:lnTo>
                <a:lnTo>
                  <a:pt x="6260" y="11411"/>
                </a:lnTo>
                <a:lnTo>
                  <a:pt x="6277" y="11408"/>
                </a:lnTo>
                <a:lnTo>
                  <a:pt x="6287" y="11396"/>
                </a:lnTo>
                <a:lnTo>
                  <a:pt x="6288" y="11379"/>
                </a:lnTo>
                <a:lnTo>
                  <a:pt x="6279" y="11365"/>
                </a:lnTo>
                <a:close/>
                <a:moveTo>
                  <a:pt x="6353" y="10873"/>
                </a:moveTo>
                <a:lnTo>
                  <a:pt x="6348" y="10880"/>
                </a:lnTo>
                <a:lnTo>
                  <a:pt x="6355" y="10890"/>
                </a:lnTo>
                <a:lnTo>
                  <a:pt x="6366" y="10898"/>
                </a:lnTo>
                <a:lnTo>
                  <a:pt x="6376" y="10902"/>
                </a:lnTo>
                <a:lnTo>
                  <a:pt x="6392" y="10892"/>
                </a:lnTo>
                <a:lnTo>
                  <a:pt x="6388" y="10878"/>
                </a:lnTo>
                <a:lnTo>
                  <a:pt x="6372" y="10869"/>
                </a:lnTo>
                <a:lnTo>
                  <a:pt x="6353" y="10873"/>
                </a:lnTo>
                <a:close/>
                <a:moveTo>
                  <a:pt x="6323" y="10246"/>
                </a:moveTo>
                <a:lnTo>
                  <a:pt x="6293" y="10247"/>
                </a:lnTo>
                <a:lnTo>
                  <a:pt x="6296" y="10267"/>
                </a:lnTo>
                <a:lnTo>
                  <a:pt x="6311" y="10293"/>
                </a:lnTo>
                <a:lnTo>
                  <a:pt x="6324" y="10318"/>
                </a:lnTo>
                <a:lnTo>
                  <a:pt x="6337" y="10304"/>
                </a:lnTo>
                <a:lnTo>
                  <a:pt x="6339" y="10284"/>
                </a:lnTo>
                <a:lnTo>
                  <a:pt x="6334" y="10264"/>
                </a:lnTo>
                <a:lnTo>
                  <a:pt x="6323" y="10246"/>
                </a:lnTo>
                <a:close/>
                <a:moveTo>
                  <a:pt x="6254" y="10339"/>
                </a:moveTo>
                <a:lnTo>
                  <a:pt x="6264" y="10332"/>
                </a:lnTo>
                <a:lnTo>
                  <a:pt x="6259" y="10326"/>
                </a:lnTo>
                <a:lnTo>
                  <a:pt x="6244" y="10325"/>
                </a:lnTo>
                <a:lnTo>
                  <a:pt x="6231" y="10329"/>
                </a:lnTo>
                <a:lnTo>
                  <a:pt x="6227" y="10335"/>
                </a:lnTo>
                <a:lnTo>
                  <a:pt x="6234" y="10340"/>
                </a:lnTo>
                <a:lnTo>
                  <a:pt x="6245" y="10342"/>
                </a:lnTo>
                <a:lnTo>
                  <a:pt x="6254" y="10339"/>
                </a:lnTo>
                <a:close/>
                <a:moveTo>
                  <a:pt x="6143" y="11421"/>
                </a:moveTo>
                <a:lnTo>
                  <a:pt x="6122" y="11441"/>
                </a:lnTo>
                <a:lnTo>
                  <a:pt x="6142" y="11463"/>
                </a:lnTo>
                <a:lnTo>
                  <a:pt x="6174" y="11469"/>
                </a:lnTo>
                <a:lnTo>
                  <a:pt x="6185" y="11443"/>
                </a:lnTo>
                <a:lnTo>
                  <a:pt x="6176" y="11433"/>
                </a:lnTo>
                <a:lnTo>
                  <a:pt x="6167" y="11426"/>
                </a:lnTo>
                <a:lnTo>
                  <a:pt x="6156" y="11421"/>
                </a:lnTo>
                <a:lnTo>
                  <a:pt x="6143" y="11421"/>
                </a:lnTo>
                <a:close/>
                <a:moveTo>
                  <a:pt x="6344" y="10578"/>
                </a:moveTo>
                <a:lnTo>
                  <a:pt x="6378" y="10598"/>
                </a:lnTo>
                <a:lnTo>
                  <a:pt x="6403" y="10594"/>
                </a:lnTo>
                <a:lnTo>
                  <a:pt x="6432" y="10590"/>
                </a:lnTo>
                <a:lnTo>
                  <a:pt x="6474" y="10614"/>
                </a:lnTo>
                <a:lnTo>
                  <a:pt x="6477" y="10585"/>
                </a:lnTo>
                <a:lnTo>
                  <a:pt x="6469" y="10549"/>
                </a:lnTo>
                <a:lnTo>
                  <a:pt x="6465" y="10519"/>
                </a:lnTo>
                <a:lnTo>
                  <a:pt x="6478" y="10500"/>
                </a:lnTo>
                <a:lnTo>
                  <a:pt x="6501" y="10488"/>
                </a:lnTo>
                <a:lnTo>
                  <a:pt x="6499" y="10468"/>
                </a:lnTo>
                <a:lnTo>
                  <a:pt x="6491" y="10445"/>
                </a:lnTo>
                <a:lnTo>
                  <a:pt x="6499" y="10422"/>
                </a:lnTo>
                <a:lnTo>
                  <a:pt x="6478" y="10390"/>
                </a:lnTo>
                <a:lnTo>
                  <a:pt x="6462" y="10394"/>
                </a:lnTo>
                <a:lnTo>
                  <a:pt x="6455" y="10421"/>
                </a:lnTo>
                <a:lnTo>
                  <a:pt x="6465" y="10458"/>
                </a:lnTo>
                <a:lnTo>
                  <a:pt x="6403" y="10458"/>
                </a:lnTo>
                <a:lnTo>
                  <a:pt x="6361" y="10486"/>
                </a:lnTo>
                <a:lnTo>
                  <a:pt x="6342" y="10531"/>
                </a:lnTo>
                <a:lnTo>
                  <a:pt x="6344" y="10578"/>
                </a:lnTo>
                <a:close/>
                <a:moveTo>
                  <a:pt x="6272" y="9880"/>
                </a:moveTo>
                <a:lnTo>
                  <a:pt x="6258" y="9887"/>
                </a:lnTo>
                <a:lnTo>
                  <a:pt x="6244" y="9899"/>
                </a:lnTo>
                <a:lnTo>
                  <a:pt x="6230" y="9910"/>
                </a:lnTo>
                <a:lnTo>
                  <a:pt x="6216" y="9920"/>
                </a:lnTo>
                <a:lnTo>
                  <a:pt x="6251" y="9922"/>
                </a:lnTo>
                <a:lnTo>
                  <a:pt x="6288" y="9910"/>
                </a:lnTo>
                <a:lnTo>
                  <a:pt x="6302" y="9892"/>
                </a:lnTo>
                <a:lnTo>
                  <a:pt x="6272" y="9880"/>
                </a:lnTo>
                <a:close/>
                <a:moveTo>
                  <a:pt x="6232" y="9964"/>
                </a:moveTo>
                <a:lnTo>
                  <a:pt x="6240" y="9970"/>
                </a:lnTo>
                <a:lnTo>
                  <a:pt x="6244" y="9966"/>
                </a:lnTo>
                <a:lnTo>
                  <a:pt x="6245" y="9957"/>
                </a:lnTo>
                <a:lnTo>
                  <a:pt x="6237" y="9950"/>
                </a:lnTo>
                <a:lnTo>
                  <a:pt x="6234" y="9957"/>
                </a:lnTo>
                <a:lnTo>
                  <a:pt x="6232" y="9964"/>
                </a:lnTo>
                <a:close/>
                <a:moveTo>
                  <a:pt x="6409" y="10782"/>
                </a:moveTo>
                <a:lnTo>
                  <a:pt x="6399" y="10782"/>
                </a:lnTo>
                <a:lnTo>
                  <a:pt x="6390" y="10782"/>
                </a:lnTo>
                <a:lnTo>
                  <a:pt x="6381" y="10785"/>
                </a:lnTo>
                <a:lnTo>
                  <a:pt x="6379" y="10794"/>
                </a:lnTo>
                <a:lnTo>
                  <a:pt x="6390" y="10797"/>
                </a:lnTo>
                <a:lnTo>
                  <a:pt x="6404" y="10796"/>
                </a:lnTo>
                <a:lnTo>
                  <a:pt x="6413" y="10791"/>
                </a:lnTo>
                <a:lnTo>
                  <a:pt x="6409" y="10782"/>
                </a:lnTo>
                <a:close/>
                <a:moveTo>
                  <a:pt x="6094" y="8899"/>
                </a:moveTo>
                <a:lnTo>
                  <a:pt x="6094" y="8898"/>
                </a:lnTo>
                <a:lnTo>
                  <a:pt x="6092" y="8899"/>
                </a:lnTo>
                <a:lnTo>
                  <a:pt x="6092" y="8899"/>
                </a:lnTo>
                <a:lnTo>
                  <a:pt x="6094" y="8899"/>
                </a:lnTo>
                <a:lnTo>
                  <a:pt x="6096" y="8905"/>
                </a:lnTo>
                <a:lnTo>
                  <a:pt x="6099" y="8910"/>
                </a:lnTo>
                <a:lnTo>
                  <a:pt x="6104" y="8912"/>
                </a:lnTo>
                <a:lnTo>
                  <a:pt x="6109" y="8913"/>
                </a:lnTo>
                <a:lnTo>
                  <a:pt x="6110" y="8915"/>
                </a:lnTo>
                <a:lnTo>
                  <a:pt x="6113" y="8916"/>
                </a:lnTo>
                <a:lnTo>
                  <a:pt x="6111" y="8913"/>
                </a:lnTo>
                <a:lnTo>
                  <a:pt x="6109" y="8913"/>
                </a:lnTo>
                <a:lnTo>
                  <a:pt x="6108" y="8907"/>
                </a:lnTo>
                <a:lnTo>
                  <a:pt x="6104" y="8903"/>
                </a:lnTo>
                <a:lnTo>
                  <a:pt x="6100" y="8901"/>
                </a:lnTo>
                <a:lnTo>
                  <a:pt x="6094" y="8899"/>
                </a:lnTo>
                <a:close/>
                <a:moveTo>
                  <a:pt x="5619" y="8868"/>
                </a:moveTo>
                <a:lnTo>
                  <a:pt x="5613" y="8865"/>
                </a:lnTo>
                <a:lnTo>
                  <a:pt x="5607" y="8863"/>
                </a:lnTo>
                <a:lnTo>
                  <a:pt x="5607" y="8861"/>
                </a:lnTo>
                <a:lnTo>
                  <a:pt x="5606" y="8860"/>
                </a:lnTo>
                <a:lnTo>
                  <a:pt x="5605" y="8860"/>
                </a:lnTo>
                <a:lnTo>
                  <a:pt x="5605" y="8861"/>
                </a:lnTo>
                <a:lnTo>
                  <a:pt x="5606" y="8863"/>
                </a:lnTo>
                <a:lnTo>
                  <a:pt x="5607" y="8863"/>
                </a:lnTo>
                <a:lnTo>
                  <a:pt x="5608" y="8868"/>
                </a:lnTo>
                <a:lnTo>
                  <a:pt x="5610" y="8870"/>
                </a:lnTo>
                <a:lnTo>
                  <a:pt x="5613" y="8871"/>
                </a:lnTo>
                <a:lnTo>
                  <a:pt x="5619" y="8868"/>
                </a:lnTo>
                <a:close/>
                <a:moveTo>
                  <a:pt x="6124" y="8921"/>
                </a:moveTo>
                <a:lnTo>
                  <a:pt x="6118" y="8919"/>
                </a:lnTo>
                <a:lnTo>
                  <a:pt x="6113" y="8916"/>
                </a:lnTo>
                <a:lnTo>
                  <a:pt x="6114" y="8921"/>
                </a:lnTo>
                <a:lnTo>
                  <a:pt x="6115" y="8925"/>
                </a:lnTo>
                <a:lnTo>
                  <a:pt x="6118" y="8926"/>
                </a:lnTo>
                <a:lnTo>
                  <a:pt x="6124" y="8921"/>
                </a:lnTo>
                <a:close/>
                <a:moveTo>
                  <a:pt x="5969" y="9589"/>
                </a:moveTo>
                <a:lnTo>
                  <a:pt x="5975" y="9593"/>
                </a:lnTo>
                <a:lnTo>
                  <a:pt x="5981" y="9596"/>
                </a:lnTo>
                <a:lnTo>
                  <a:pt x="5980" y="9591"/>
                </a:lnTo>
                <a:lnTo>
                  <a:pt x="5979" y="9587"/>
                </a:lnTo>
                <a:lnTo>
                  <a:pt x="5975" y="9586"/>
                </a:lnTo>
                <a:lnTo>
                  <a:pt x="5969" y="9589"/>
                </a:lnTo>
                <a:close/>
                <a:moveTo>
                  <a:pt x="5501" y="9252"/>
                </a:moveTo>
                <a:lnTo>
                  <a:pt x="5495" y="9265"/>
                </a:lnTo>
                <a:lnTo>
                  <a:pt x="5494" y="9265"/>
                </a:lnTo>
                <a:lnTo>
                  <a:pt x="5492" y="9266"/>
                </a:lnTo>
                <a:lnTo>
                  <a:pt x="5494" y="9266"/>
                </a:lnTo>
                <a:lnTo>
                  <a:pt x="5495" y="9265"/>
                </a:lnTo>
                <a:lnTo>
                  <a:pt x="5500" y="9264"/>
                </a:lnTo>
                <a:lnTo>
                  <a:pt x="5504" y="9262"/>
                </a:lnTo>
                <a:lnTo>
                  <a:pt x="5505" y="9258"/>
                </a:lnTo>
                <a:lnTo>
                  <a:pt x="5501" y="9252"/>
                </a:lnTo>
                <a:close/>
                <a:moveTo>
                  <a:pt x="5981" y="9596"/>
                </a:moveTo>
                <a:lnTo>
                  <a:pt x="5981" y="9597"/>
                </a:lnTo>
                <a:lnTo>
                  <a:pt x="5983" y="9597"/>
                </a:lnTo>
                <a:lnTo>
                  <a:pt x="5981" y="9597"/>
                </a:lnTo>
                <a:lnTo>
                  <a:pt x="5981" y="9596"/>
                </a:lnTo>
                <a:close/>
                <a:moveTo>
                  <a:pt x="6752" y="11365"/>
                </a:moveTo>
                <a:lnTo>
                  <a:pt x="6760" y="11315"/>
                </a:lnTo>
                <a:lnTo>
                  <a:pt x="6770" y="11266"/>
                </a:lnTo>
                <a:lnTo>
                  <a:pt x="6779" y="11214"/>
                </a:lnTo>
                <a:lnTo>
                  <a:pt x="6784" y="11159"/>
                </a:lnTo>
                <a:lnTo>
                  <a:pt x="6802" y="11156"/>
                </a:lnTo>
                <a:lnTo>
                  <a:pt x="6818" y="11155"/>
                </a:lnTo>
                <a:lnTo>
                  <a:pt x="6826" y="11146"/>
                </a:lnTo>
                <a:lnTo>
                  <a:pt x="6817" y="11123"/>
                </a:lnTo>
                <a:lnTo>
                  <a:pt x="6777" y="11098"/>
                </a:lnTo>
                <a:lnTo>
                  <a:pt x="6772" y="11067"/>
                </a:lnTo>
                <a:lnTo>
                  <a:pt x="6788" y="11039"/>
                </a:lnTo>
                <a:lnTo>
                  <a:pt x="6809" y="11015"/>
                </a:lnTo>
                <a:lnTo>
                  <a:pt x="6789" y="11002"/>
                </a:lnTo>
                <a:lnTo>
                  <a:pt x="6772" y="10988"/>
                </a:lnTo>
                <a:lnTo>
                  <a:pt x="6762" y="10972"/>
                </a:lnTo>
                <a:lnTo>
                  <a:pt x="6762" y="10946"/>
                </a:lnTo>
                <a:lnTo>
                  <a:pt x="6734" y="10912"/>
                </a:lnTo>
                <a:lnTo>
                  <a:pt x="6705" y="10931"/>
                </a:lnTo>
                <a:lnTo>
                  <a:pt x="6673" y="10969"/>
                </a:lnTo>
                <a:lnTo>
                  <a:pt x="6637" y="10988"/>
                </a:lnTo>
                <a:lnTo>
                  <a:pt x="6642" y="11043"/>
                </a:lnTo>
                <a:lnTo>
                  <a:pt x="6672" y="11102"/>
                </a:lnTo>
                <a:lnTo>
                  <a:pt x="6691" y="11159"/>
                </a:lnTo>
                <a:lnTo>
                  <a:pt x="6667" y="11212"/>
                </a:lnTo>
                <a:lnTo>
                  <a:pt x="6623" y="11272"/>
                </a:lnTo>
                <a:lnTo>
                  <a:pt x="6656" y="11357"/>
                </a:lnTo>
                <a:lnTo>
                  <a:pt x="6716" y="11408"/>
                </a:lnTo>
                <a:lnTo>
                  <a:pt x="6752" y="11365"/>
                </a:lnTo>
                <a:close/>
                <a:moveTo>
                  <a:pt x="6595" y="11187"/>
                </a:moveTo>
                <a:lnTo>
                  <a:pt x="6594" y="11189"/>
                </a:lnTo>
                <a:lnTo>
                  <a:pt x="6591" y="11192"/>
                </a:lnTo>
                <a:lnTo>
                  <a:pt x="6595" y="11196"/>
                </a:lnTo>
                <a:lnTo>
                  <a:pt x="6599" y="11195"/>
                </a:lnTo>
                <a:lnTo>
                  <a:pt x="6600" y="11191"/>
                </a:lnTo>
                <a:lnTo>
                  <a:pt x="6595" y="11187"/>
                </a:lnTo>
                <a:close/>
                <a:moveTo>
                  <a:pt x="6534" y="11421"/>
                </a:moveTo>
                <a:lnTo>
                  <a:pt x="6519" y="11435"/>
                </a:lnTo>
                <a:lnTo>
                  <a:pt x="6538" y="11453"/>
                </a:lnTo>
                <a:lnTo>
                  <a:pt x="6572" y="11463"/>
                </a:lnTo>
                <a:lnTo>
                  <a:pt x="6604" y="11452"/>
                </a:lnTo>
                <a:lnTo>
                  <a:pt x="6586" y="11435"/>
                </a:lnTo>
                <a:lnTo>
                  <a:pt x="6571" y="11424"/>
                </a:lnTo>
                <a:lnTo>
                  <a:pt x="6556" y="11419"/>
                </a:lnTo>
                <a:lnTo>
                  <a:pt x="6534" y="11421"/>
                </a:lnTo>
                <a:close/>
                <a:moveTo>
                  <a:pt x="6809" y="11374"/>
                </a:moveTo>
                <a:lnTo>
                  <a:pt x="6828" y="11391"/>
                </a:lnTo>
                <a:lnTo>
                  <a:pt x="6839" y="11370"/>
                </a:lnTo>
                <a:lnTo>
                  <a:pt x="6839" y="11332"/>
                </a:lnTo>
                <a:lnTo>
                  <a:pt x="6822" y="11298"/>
                </a:lnTo>
                <a:lnTo>
                  <a:pt x="6822" y="11322"/>
                </a:lnTo>
                <a:lnTo>
                  <a:pt x="6819" y="11341"/>
                </a:lnTo>
                <a:lnTo>
                  <a:pt x="6814" y="11359"/>
                </a:lnTo>
                <a:lnTo>
                  <a:pt x="6809" y="11374"/>
                </a:lnTo>
                <a:close/>
                <a:moveTo>
                  <a:pt x="6632" y="10685"/>
                </a:moveTo>
                <a:lnTo>
                  <a:pt x="6627" y="10720"/>
                </a:lnTo>
                <a:lnTo>
                  <a:pt x="6651" y="10744"/>
                </a:lnTo>
                <a:lnTo>
                  <a:pt x="6683" y="10766"/>
                </a:lnTo>
                <a:lnTo>
                  <a:pt x="6702" y="10792"/>
                </a:lnTo>
                <a:lnTo>
                  <a:pt x="6760" y="10809"/>
                </a:lnTo>
                <a:lnTo>
                  <a:pt x="6757" y="10754"/>
                </a:lnTo>
                <a:lnTo>
                  <a:pt x="6710" y="10692"/>
                </a:lnTo>
                <a:lnTo>
                  <a:pt x="6632" y="10685"/>
                </a:lnTo>
                <a:close/>
                <a:moveTo>
                  <a:pt x="6528" y="11352"/>
                </a:moveTo>
                <a:lnTo>
                  <a:pt x="6535" y="11327"/>
                </a:lnTo>
                <a:lnTo>
                  <a:pt x="6519" y="11296"/>
                </a:lnTo>
                <a:lnTo>
                  <a:pt x="6509" y="11271"/>
                </a:lnTo>
                <a:lnTo>
                  <a:pt x="6534" y="11256"/>
                </a:lnTo>
                <a:lnTo>
                  <a:pt x="6525" y="11192"/>
                </a:lnTo>
                <a:lnTo>
                  <a:pt x="6497" y="11229"/>
                </a:lnTo>
                <a:lnTo>
                  <a:pt x="6487" y="11303"/>
                </a:lnTo>
                <a:lnTo>
                  <a:pt x="6528" y="11352"/>
                </a:lnTo>
                <a:close/>
                <a:moveTo>
                  <a:pt x="6825" y="11285"/>
                </a:moveTo>
                <a:lnTo>
                  <a:pt x="6830" y="11279"/>
                </a:lnTo>
                <a:lnTo>
                  <a:pt x="6832" y="11273"/>
                </a:lnTo>
                <a:lnTo>
                  <a:pt x="6831" y="11267"/>
                </a:lnTo>
                <a:lnTo>
                  <a:pt x="6827" y="11261"/>
                </a:lnTo>
                <a:lnTo>
                  <a:pt x="6822" y="11266"/>
                </a:lnTo>
                <a:lnTo>
                  <a:pt x="6819" y="11271"/>
                </a:lnTo>
                <a:lnTo>
                  <a:pt x="6822" y="11277"/>
                </a:lnTo>
                <a:lnTo>
                  <a:pt x="6825" y="11285"/>
                </a:lnTo>
                <a:close/>
                <a:moveTo>
                  <a:pt x="6821" y="11431"/>
                </a:moveTo>
                <a:lnTo>
                  <a:pt x="6805" y="11420"/>
                </a:lnTo>
                <a:lnTo>
                  <a:pt x="6784" y="11427"/>
                </a:lnTo>
                <a:lnTo>
                  <a:pt x="6762" y="11445"/>
                </a:lnTo>
                <a:lnTo>
                  <a:pt x="6753" y="11462"/>
                </a:lnTo>
                <a:lnTo>
                  <a:pt x="6774" y="11464"/>
                </a:lnTo>
                <a:lnTo>
                  <a:pt x="6795" y="11457"/>
                </a:lnTo>
                <a:lnTo>
                  <a:pt x="6813" y="11444"/>
                </a:lnTo>
                <a:lnTo>
                  <a:pt x="6821" y="11431"/>
                </a:lnTo>
                <a:close/>
                <a:moveTo>
                  <a:pt x="6711" y="10594"/>
                </a:moveTo>
                <a:lnTo>
                  <a:pt x="6709" y="10600"/>
                </a:lnTo>
                <a:lnTo>
                  <a:pt x="6709" y="10606"/>
                </a:lnTo>
                <a:lnTo>
                  <a:pt x="6710" y="10610"/>
                </a:lnTo>
                <a:lnTo>
                  <a:pt x="6716" y="10615"/>
                </a:lnTo>
                <a:lnTo>
                  <a:pt x="6719" y="10609"/>
                </a:lnTo>
                <a:lnTo>
                  <a:pt x="6719" y="10603"/>
                </a:lnTo>
                <a:lnTo>
                  <a:pt x="6718" y="10599"/>
                </a:lnTo>
                <a:lnTo>
                  <a:pt x="6711" y="10594"/>
                </a:lnTo>
                <a:close/>
                <a:moveTo>
                  <a:pt x="6817" y="9961"/>
                </a:moveTo>
                <a:lnTo>
                  <a:pt x="6816" y="9953"/>
                </a:lnTo>
                <a:lnTo>
                  <a:pt x="6812" y="9951"/>
                </a:lnTo>
                <a:lnTo>
                  <a:pt x="6808" y="9951"/>
                </a:lnTo>
                <a:lnTo>
                  <a:pt x="6804" y="9956"/>
                </a:lnTo>
                <a:lnTo>
                  <a:pt x="6805" y="9964"/>
                </a:lnTo>
                <a:lnTo>
                  <a:pt x="6809" y="9967"/>
                </a:lnTo>
                <a:lnTo>
                  <a:pt x="6813" y="9967"/>
                </a:lnTo>
                <a:lnTo>
                  <a:pt x="6817" y="9961"/>
                </a:lnTo>
                <a:close/>
                <a:moveTo>
                  <a:pt x="6762" y="10554"/>
                </a:moveTo>
                <a:lnTo>
                  <a:pt x="6758" y="10561"/>
                </a:lnTo>
                <a:lnTo>
                  <a:pt x="6757" y="10567"/>
                </a:lnTo>
                <a:lnTo>
                  <a:pt x="6760" y="10573"/>
                </a:lnTo>
                <a:lnTo>
                  <a:pt x="6763" y="10580"/>
                </a:lnTo>
                <a:lnTo>
                  <a:pt x="6767" y="10573"/>
                </a:lnTo>
                <a:lnTo>
                  <a:pt x="6768" y="10567"/>
                </a:lnTo>
                <a:lnTo>
                  <a:pt x="6767" y="10561"/>
                </a:lnTo>
                <a:lnTo>
                  <a:pt x="6762" y="10554"/>
                </a:lnTo>
                <a:close/>
                <a:moveTo>
                  <a:pt x="4628" y="1933"/>
                </a:moveTo>
                <a:lnTo>
                  <a:pt x="4630" y="1932"/>
                </a:lnTo>
                <a:lnTo>
                  <a:pt x="4632" y="1929"/>
                </a:lnTo>
                <a:lnTo>
                  <a:pt x="4630" y="1926"/>
                </a:lnTo>
                <a:lnTo>
                  <a:pt x="4628" y="1924"/>
                </a:lnTo>
                <a:lnTo>
                  <a:pt x="4625" y="1926"/>
                </a:lnTo>
                <a:lnTo>
                  <a:pt x="4624" y="1929"/>
                </a:lnTo>
                <a:lnTo>
                  <a:pt x="4625" y="1932"/>
                </a:lnTo>
                <a:lnTo>
                  <a:pt x="4628" y="1933"/>
                </a:lnTo>
                <a:close/>
                <a:moveTo>
                  <a:pt x="4517" y="2517"/>
                </a:moveTo>
                <a:lnTo>
                  <a:pt x="4519" y="2516"/>
                </a:lnTo>
                <a:lnTo>
                  <a:pt x="4519" y="2515"/>
                </a:lnTo>
                <a:lnTo>
                  <a:pt x="4518" y="2515"/>
                </a:lnTo>
                <a:lnTo>
                  <a:pt x="4517" y="2517"/>
                </a:lnTo>
                <a:lnTo>
                  <a:pt x="4513" y="2518"/>
                </a:lnTo>
                <a:lnTo>
                  <a:pt x="4509" y="2520"/>
                </a:lnTo>
                <a:lnTo>
                  <a:pt x="4508" y="2522"/>
                </a:lnTo>
                <a:lnTo>
                  <a:pt x="4512" y="2529"/>
                </a:lnTo>
                <a:lnTo>
                  <a:pt x="4514" y="2522"/>
                </a:lnTo>
                <a:lnTo>
                  <a:pt x="4517" y="2517"/>
                </a:lnTo>
                <a:close/>
                <a:moveTo>
                  <a:pt x="4890" y="3166"/>
                </a:moveTo>
                <a:lnTo>
                  <a:pt x="4890" y="3165"/>
                </a:lnTo>
                <a:lnTo>
                  <a:pt x="4889" y="3165"/>
                </a:lnTo>
                <a:lnTo>
                  <a:pt x="4889" y="3166"/>
                </a:lnTo>
                <a:lnTo>
                  <a:pt x="4890" y="3166"/>
                </a:lnTo>
                <a:close/>
                <a:moveTo>
                  <a:pt x="4927" y="2269"/>
                </a:moveTo>
                <a:lnTo>
                  <a:pt x="4921" y="2280"/>
                </a:lnTo>
                <a:lnTo>
                  <a:pt x="4919" y="2294"/>
                </a:lnTo>
                <a:lnTo>
                  <a:pt x="4924" y="2307"/>
                </a:lnTo>
                <a:lnTo>
                  <a:pt x="4937" y="2315"/>
                </a:lnTo>
                <a:lnTo>
                  <a:pt x="4936" y="2302"/>
                </a:lnTo>
                <a:lnTo>
                  <a:pt x="4935" y="2289"/>
                </a:lnTo>
                <a:lnTo>
                  <a:pt x="4932" y="2278"/>
                </a:lnTo>
                <a:lnTo>
                  <a:pt x="4927" y="2269"/>
                </a:lnTo>
                <a:close/>
                <a:moveTo>
                  <a:pt x="5357" y="2115"/>
                </a:moveTo>
                <a:lnTo>
                  <a:pt x="5359" y="2116"/>
                </a:lnTo>
                <a:lnTo>
                  <a:pt x="5359" y="2115"/>
                </a:lnTo>
                <a:lnTo>
                  <a:pt x="5357" y="2115"/>
                </a:lnTo>
                <a:lnTo>
                  <a:pt x="5357" y="2115"/>
                </a:lnTo>
                <a:close/>
                <a:moveTo>
                  <a:pt x="5458" y="2574"/>
                </a:moveTo>
                <a:lnTo>
                  <a:pt x="5457" y="2576"/>
                </a:lnTo>
                <a:lnTo>
                  <a:pt x="5457" y="2576"/>
                </a:lnTo>
                <a:lnTo>
                  <a:pt x="5458" y="2576"/>
                </a:lnTo>
                <a:lnTo>
                  <a:pt x="5458" y="2574"/>
                </a:lnTo>
                <a:lnTo>
                  <a:pt x="5458" y="2574"/>
                </a:lnTo>
                <a:lnTo>
                  <a:pt x="5466" y="2574"/>
                </a:lnTo>
                <a:lnTo>
                  <a:pt x="5473" y="2574"/>
                </a:lnTo>
                <a:lnTo>
                  <a:pt x="5480" y="2571"/>
                </a:lnTo>
                <a:lnTo>
                  <a:pt x="5486" y="2565"/>
                </a:lnTo>
                <a:lnTo>
                  <a:pt x="5486" y="2549"/>
                </a:lnTo>
                <a:lnTo>
                  <a:pt x="5476" y="2549"/>
                </a:lnTo>
                <a:lnTo>
                  <a:pt x="5463" y="2559"/>
                </a:lnTo>
                <a:lnTo>
                  <a:pt x="5458" y="2574"/>
                </a:lnTo>
                <a:close/>
                <a:moveTo>
                  <a:pt x="4937" y="2315"/>
                </a:moveTo>
                <a:lnTo>
                  <a:pt x="4937" y="2316"/>
                </a:lnTo>
                <a:lnTo>
                  <a:pt x="4938" y="2316"/>
                </a:lnTo>
                <a:lnTo>
                  <a:pt x="4938" y="2315"/>
                </a:lnTo>
                <a:lnTo>
                  <a:pt x="4937" y="2315"/>
                </a:lnTo>
                <a:close/>
                <a:moveTo>
                  <a:pt x="5057" y="2943"/>
                </a:moveTo>
                <a:lnTo>
                  <a:pt x="5061" y="2937"/>
                </a:lnTo>
                <a:lnTo>
                  <a:pt x="5063" y="2931"/>
                </a:lnTo>
                <a:lnTo>
                  <a:pt x="5058" y="2932"/>
                </a:lnTo>
                <a:lnTo>
                  <a:pt x="5054" y="2933"/>
                </a:lnTo>
                <a:lnTo>
                  <a:pt x="5053" y="2937"/>
                </a:lnTo>
                <a:lnTo>
                  <a:pt x="5057" y="2943"/>
                </a:lnTo>
                <a:close/>
                <a:moveTo>
                  <a:pt x="5919" y="1716"/>
                </a:moveTo>
                <a:lnTo>
                  <a:pt x="5920" y="1716"/>
                </a:lnTo>
                <a:lnTo>
                  <a:pt x="5920" y="1715"/>
                </a:lnTo>
                <a:lnTo>
                  <a:pt x="5920" y="1715"/>
                </a:lnTo>
                <a:lnTo>
                  <a:pt x="5919" y="1716"/>
                </a:lnTo>
                <a:close/>
                <a:moveTo>
                  <a:pt x="6099" y="1639"/>
                </a:moveTo>
                <a:lnTo>
                  <a:pt x="6074" y="1621"/>
                </a:lnTo>
                <a:lnTo>
                  <a:pt x="6046" y="1625"/>
                </a:lnTo>
                <a:lnTo>
                  <a:pt x="6026" y="1644"/>
                </a:lnTo>
                <a:lnTo>
                  <a:pt x="6022" y="1673"/>
                </a:lnTo>
                <a:lnTo>
                  <a:pt x="6021" y="1673"/>
                </a:lnTo>
                <a:lnTo>
                  <a:pt x="6021" y="1674"/>
                </a:lnTo>
                <a:lnTo>
                  <a:pt x="6022" y="1674"/>
                </a:lnTo>
                <a:lnTo>
                  <a:pt x="6022" y="1673"/>
                </a:lnTo>
                <a:lnTo>
                  <a:pt x="6040" y="1660"/>
                </a:lnTo>
                <a:lnTo>
                  <a:pt x="6066" y="1655"/>
                </a:lnTo>
                <a:lnTo>
                  <a:pt x="6087" y="1650"/>
                </a:lnTo>
                <a:lnTo>
                  <a:pt x="6099" y="1639"/>
                </a:lnTo>
                <a:close/>
                <a:moveTo>
                  <a:pt x="5923" y="1651"/>
                </a:moveTo>
                <a:lnTo>
                  <a:pt x="5918" y="1701"/>
                </a:lnTo>
                <a:lnTo>
                  <a:pt x="5938" y="1710"/>
                </a:lnTo>
                <a:lnTo>
                  <a:pt x="5974" y="1702"/>
                </a:lnTo>
                <a:lnTo>
                  <a:pt x="6015" y="1705"/>
                </a:lnTo>
                <a:lnTo>
                  <a:pt x="6015" y="1678"/>
                </a:lnTo>
                <a:lnTo>
                  <a:pt x="5988" y="1672"/>
                </a:lnTo>
                <a:lnTo>
                  <a:pt x="5952" y="1668"/>
                </a:lnTo>
                <a:lnTo>
                  <a:pt x="5923" y="1651"/>
                </a:lnTo>
                <a:close/>
                <a:moveTo>
                  <a:pt x="5686" y="3686"/>
                </a:moveTo>
                <a:lnTo>
                  <a:pt x="5685" y="3684"/>
                </a:lnTo>
                <a:lnTo>
                  <a:pt x="5685" y="3686"/>
                </a:lnTo>
                <a:lnTo>
                  <a:pt x="5686" y="3686"/>
                </a:lnTo>
                <a:close/>
                <a:moveTo>
                  <a:pt x="6035" y="2994"/>
                </a:moveTo>
                <a:lnTo>
                  <a:pt x="6050" y="3020"/>
                </a:lnTo>
                <a:lnTo>
                  <a:pt x="6073" y="3034"/>
                </a:lnTo>
                <a:lnTo>
                  <a:pt x="6091" y="3027"/>
                </a:lnTo>
                <a:lnTo>
                  <a:pt x="6095" y="2994"/>
                </a:lnTo>
                <a:lnTo>
                  <a:pt x="6068" y="2965"/>
                </a:lnTo>
                <a:lnTo>
                  <a:pt x="6063" y="2932"/>
                </a:lnTo>
                <a:lnTo>
                  <a:pt x="6060" y="2899"/>
                </a:lnTo>
                <a:lnTo>
                  <a:pt x="6043" y="2872"/>
                </a:lnTo>
                <a:lnTo>
                  <a:pt x="6006" y="2891"/>
                </a:lnTo>
                <a:lnTo>
                  <a:pt x="5987" y="2937"/>
                </a:lnTo>
                <a:lnTo>
                  <a:pt x="5994" y="2982"/>
                </a:lnTo>
                <a:lnTo>
                  <a:pt x="6035" y="2994"/>
                </a:lnTo>
                <a:close/>
                <a:moveTo>
                  <a:pt x="4918" y="3196"/>
                </a:moveTo>
                <a:lnTo>
                  <a:pt x="4933" y="3184"/>
                </a:lnTo>
                <a:lnTo>
                  <a:pt x="4951" y="3179"/>
                </a:lnTo>
                <a:lnTo>
                  <a:pt x="4969" y="3174"/>
                </a:lnTo>
                <a:lnTo>
                  <a:pt x="4983" y="3161"/>
                </a:lnTo>
                <a:lnTo>
                  <a:pt x="4964" y="3142"/>
                </a:lnTo>
                <a:lnTo>
                  <a:pt x="4922" y="3148"/>
                </a:lnTo>
                <a:lnTo>
                  <a:pt x="4894" y="3169"/>
                </a:lnTo>
                <a:lnTo>
                  <a:pt x="4918" y="3196"/>
                </a:lnTo>
                <a:close/>
                <a:moveTo>
                  <a:pt x="5063" y="2931"/>
                </a:moveTo>
                <a:lnTo>
                  <a:pt x="5065" y="2931"/>
                </a:lnTo>
                <a:lnTo>
                  <a:pt x="5066" y="2929"/>
                </a:lnTo>
                <a:lnTo>
                  <a:pt x="5065" y="2929"/>
                </a:lnTo>
                <a:lnTo>
                  <a:pt x="5063" y="2931"/>
                </a:lnTo>
                <a:close/>
                <a:moveTo>
                  <a:pt x="5356" y="2084"/>
                </a:moveTo>
                <a:lnTo>
                  <a:pt x="5397" y="2126"/>
                </a:lnTo>
                <a:lnTo>
                  <a:pt x="5436" y="2106"/>
                </a:lnTo>
                <a:lnTo>
                  <a:pt x="5454" y="2054"/>
                </a:lnTo>
                <a:lnTo>
                  <a:pt x="5429" y="1995"/>
                </a:lnTo>
                <a:lnTo>
                  <a:pt x="5399" y="2007"/>
                </a:lnTo>
                <a:lnTo>
                  <a:pt x="5379" y="1991"/>
                </a:lnTo>
                <a:lnTo>
                  <a:pt x="5359" y="1970"/>
                </a:lnTo>
                <a:lnTo>
                  <a:pt x="5333" y="1962"/>
                </a:lnTo>
                <a:lnTo>
                  <a:pt x="5333" y="1985"/>
                </a:lnTo>
                <a:lnTo>
                  <a:pt x="5341" y="2018"/>
                </a:lnTo>
                <a:lnTo>
                  <a:pt x="5351" y="2054"/>
                </a:lnTo>
                <a:lnTo>
                  <a:pt x="5356" y="2084"/>
                </a:lnTo>
                <a:close/>
                <a:moveTo>
                  <a:pt x="5987" y="2991"/>
                </a:moveTo>
                <a:lnTo>
                  <a:pt x="5985" y="2991"/>
                </a:lnTo>
                <a:lnTo>
                  <a:pt x="5985" y="2992"/>
                </a:lnTo>
                <a:lnTo>
                  <a:pt x="5987" y="2992"/>
                </a:lnTo>
                <a:lnTo>
                  <a:pt x="5987" y="2991"/>
                </a:lnTo>
                <a:close/>
                <a:moveTo>
                  <a:pt x="5962" y="1756"/>
                </a:moveTo>
                <a:lnTo>
                  <a:pt x="5964" y="1758"/>
                </a:lnTo>
                <a:lnTo>
                  <a:pt x="5966" y="1760"/>
                </a:lnTo>
                <a:lnTo>
                  <a:pt x="5969" y="1758"/>
                </a:lnTo>
                <a:lnTo>
                  <a:pt x="5971" y="1756"/>
                </a:lnTo>
                <a:lnTo>
                  <a:pt x="5969" y="1753"/>
                </a:lnTo>
                <a:lnTo>
                  <a:pt x="5966" y="1752"/>
                </a:lnTo>
                <a:lnTo>
                  <a:pt x="5964" y="1753"/>
                </a:lnTo>
                <a:lnTo>
                  <a:pt x="5962" y="1756"/>
                </a:lnTo>
                <a:close/>
                <a:moveTo>
                  <a:pt x="6111" y="3642"/>
                </a:moveTo>
                <a:lnTo>
                  <a:pt x="6091" y="3691"/>
                </a:lnTo>
                <a:lnTo>
                  <a:pt x="6141" y="3763"/>
                </a:lnTo>
                <a:lnTo>
                  <a:pt x="6212" y="3804"/>
                </a:lnTo>
                <a:lnTo>
                  <a:pt x="6254" y="3759"/>
                </a:lnTo>
                <a:lnTo>
                  <a:pt x="6199" y="3748"/>
                </a:lnTo>
                <a:lnTo>
                  <a:pt x="6171" y="3717"/>
                </a:lnTo>
                <a:lnTo>
                  <a:pt x="6150" y="3678"/>
                </a:lnTo>
                <a:lnTo>
                  <a:pt x="6111" y="3642"/>
                </a:lnTo>
                <a:close/>
                <a:moveTo>
                  <a:pt x="6120" y="3328"/>
                </a:moveTo>
                <a:lnTo>
                  <a:pt x="6104" y="3347"/>
                </a:lnTo>
                <a:lnTo>
                  <a:pt x="6101" y="3370"/>
                </a:lnTo>
                <a:lnTo>
                  <a:pt x="6110" y="3392"/>
                </a:lnTo>
                <a:lnTo>
                  <a:pt x="6128" y="3407"/>
                </a:lnTo>
                <a:lnTo>
                  <a:pt x="6146" y="3383"/>
                </a:lnTo>
                <a:lnTo>
                  <a:pt x="6150" y="3346"/>
                </a:lnTo>
                <a:lnTo>
                  <a:pt x="6141" y="3319"/>
                </a:lnTo>
                <a:lnTo>
                  <a:pt x="6120" y="3328"/>
                </a:lnTo>
                <a:close/>
                <a:moveTo>
                  <a:pt x="6052" y="3647"/>
                </a:moveTo>
                <a:lnTo>
                  <a:pt x="6025" y="3645"/>
                </a:lnTo>
                <a:lnTo>
                  <a:pt x="5998" y="3640"/>
                </a:lnTo>
                <a:lnTo>
                  <a:pt x="5975" y="3644"/>
                </a:lnTo>
                <a:lnTo>
                  <a:pt x="5964" y="3667"/>
                </a:lnTo>
                <a:lnTo>
                  <a:pt x="5987" y="3681"/>
                </a:lnTo>
                <a:lnTo>
                  <a:pt x="6026" y="3682"/>
                </a:lnTo>
                <a:lnTo>
                  <a:pt x="6055" y="3669"/>
                </a:lnTo>
                <a:lnTo>
                  <a:pt x="6052" y="3647"/>
                </a:lnTo>
                <a:close/>
                <a:moveTo>
                  <a:pt x="6080" y="3081"/>
                </a:moveTo>
                <a:lnTo>
                  <a:pt x="6052" y="3091"/>
                </a:lnTo>
                <a:lnTo>
                  <a:pt x="6052" y="3122"/>
                </a:lnTo>
                <a:lnTo>
                  <a:pt x="6072" y="3151"/>
                </a:lnTo>
                <a:lnTo>
                  <a:pt x="6102" y="3154"/>
                </a:lnTo>
                <a:lnTo>
                  <a:pt x="6124" y="3137"/>
                </a:lnTo>
                <a:lnTo>
                  <a:pt x="6122" y="3115"/>
                </a:lnTo>
                <a:lnTo>
                  <a:pt x="6104" y="3094"/>
                </a:lnTo>
                <a:lnTo>
                  <a:pt x="6080" y="3081"/>
                </a:lnTo>
                <a:close/>
                <a:moveTo>
                  <a:pt x="6072" y="3306"/>
                </a:moveTo>
                <a:lnTo>
                  <a:pt x="6055" y="3267"/>
                </a:lnTo>
                <a:lnTo>
                  <a:pt x="6023" y="3240"/>
                </a:lnTo>
                <a:lnTo>
                  <a:pt x="5988" y="3236"/>
                </a:lnTo>
                <a:lnTo>
                  <a:pt x="5955" y="3263"/>
                </a:lnTo>
                <a:lnTo>
                  <a:pt x="5962" y="3301"/>
                </a:lnTo>
                <a:lnTo>
                  <a:pt x="6004" y="3328"/>
                </a:lnTo>
                <a:lnTo>
                  <a:pt x="6050" y="3333"/>
                </a:lnTo>
                <a:lnTo>
                  <a:pt x="6072" y="3306"/>
                </a:lnTo>
                <a:close/>
                <a:moveTo>
                  <a:pt x="5745" y="3712"/>
                </a:moveTo>
                <a:lnTo>
                  <a:pt x="5745" y="3696"/>
                </a:lnTo>
                <a:lnTo>
                  <a:pt x="5728" y="3687"/>
                </a:lnTo>
                <a:lnTo>
                  <a:pt x="5705" y="3684"/>
                </a:lnTo>
                <a:lnTo>
                  <a:pt x="5686" y="3686"/>
                </a:lnTo>
                <a:lnTo>
                  <a:pt x="5696" y="3702"/>
                </a:lnTo>
                <a:lnTo>
                  <a:pt x="5709" y="3712"/>
                </a:lnTo>
                <a:lnTo>
                  <a:pt x="5724" y="3716"/>
                </a:lnTo>
                <a:lnTo>
                  <a:pt x="5745" y="3712"/>
                </a:lnTo>
                <a:close/>
                <a:moveTo>
                  <a:pt x="5894" y="3647"/>
                </a:moveTo>
                <a:lnTo>
                  <a:pt x="5891" y="3661"/>
                </a:lnTo>
                <a:lnTo>
                  <a:pt x="5895" y="3677"/>
                </a:lnTo>
                <a:lnTo>
                  <a:pt x="5905" y="3686"/>
                </a:lnTo>
                <a:lnTo>
                  <a:pt x="5919" y="3682"/>
                </a:lnTo>
                <a:lnTo>
                  <a:pt x="5923" y="3669"/>
                </a:lnTo>
                <a:lnTo>
                  <a:pt x="5918" y="3654"/>
                </a:lnTo>
                <a:lnTo>
                  <a:pt x="5906" y="3645"/>
                </a:lnTo>
                <a:lnTo>
                  <a:pt x="5894" y="3647"/>
                </a:lnTo>
                <a:close/>
                <a:moveTo>
                  <a:pt x="5354" y="8723"/>
                </a:moveTo>
                <a:lnTo>
                  <a:pt x="5355" y="8721"/>
                </a:lnTo>
                <a:lnTo>
                  <a:pt x="5355" y="8721"/>
                </a:lnTo>
                <a:lnTo>
                  <a:pt x="5354" y="8721"/>
                </a:lnTo>
                <a:lnTo>
                  <a:pt x="5354" y="8723"/>
                </a:lnTo>
                <a:close/>
                <a:moveTo>
                  <a:pt x="6332" y="3537"/>
                </a:moveTo>
                <a:lnTo>
                  <a:pt x="6342" y="3526"/>
                </a:lnTo>
                <a:lnTo>
                  <a:pt x="6329" y="3514"/>
                </a:lnTo>
                <a:lnTo>
                  <a:pt x="6311" y="3507"/>
                </a:lnTo>
                <a:lnTo>
                  <a:pt x="6305" y="3520"/>
                </a:lnTo>
                <a:lnTo>
                  <a:pt x="6310" y="3526"/>
                </a:lnTo>
                <a:lnTo>
                  <a:pt x="6316" y="3532"/>
                </a:lnTo>
                <a:lnTo>
                  <a:pt x="6323" y="3535"/>
                </a:lnTo>
                <a:lnTo>
                  <a:pt x="6332" y="3537"/>
                </a:lnTo>
                <a:close/>
                <a:moveTo>
                  <a:pt x="6311" y="8780"/>
                </a:moveTo>
                <a:lnTo>
                  <a:pt x="6309" y="8780"/>
                </a:lnTo>
                <a:lnTo>
                  <a:pt x="6309" y="8781"/>
                </a:lnTo>
                <a:lnTo>
                  <a:pt x="6297" y="8787"/>
                </a:lnTo>
                <a:lnTo>
                  <a:pt x="6288" y="8795"/>
                </a:lnTo>
                <a:lnTo>
                  <a:pt x="6282" y="8804"/>
                </a:lnTo>
                <a:lnTo>
                  <a:pt x="6278" y="8817"/>
                </a:lnTo>
                <a:lnTo>
                  <a:pt x="6277" y="8817"/>
                </a:lnTo>
                <a:lnTo>
                  <a:pt x="6278" y="8818"/>
                </a:lnTo>
                <a:lnTo>
                  <a:pt x="6278" y="8817"/>
                </a:lnTo>
                <a:lnTo>
                  <a:pt x="6278" y="8817"/>
                </a:lnTo>
                <a:lnTo>
                  <a:pt x="6295" y="8813"/>
                </a:lnTo>
                <a:lnTo>
                  <a:pt x="6304" y="8808"/>
                </a:lnTo>
                <a:lnTo>
                  <a:pt x="6307" y="8799"/>
                </a:lnTo>
                <a:lnTo>
                  <a:pt x="6309" y="8781"/>
                </a:lnTo>
                <a:lnTo>
                  <a:pt x="6310" y="8781"/>
                </a:lnTo>
                <a:lnTo>
                  <a:pt x="6311" y="8780"/>
                </a:lnTo>
                <a:close/>
                <a:moveTo>
                  <a:pt x="6165" y="3227"/>
                </a:moveTo>
                <a:lnTo>
                  <a:pt x="6158" y="3255"/>
                </a:lnTo>
                <a:lnTo>
                  <a:pt x="6174" y="3268"/>
                </a:lnTo>
                <a:lnTo>
                  <a:pt x="6202" y="3271"/>
                </a:lnTo>
                <a:lnTo>
                  <a:pt x="6236" y="3267"/>
                </a:lnTo>
                <a:lnTo>
                  <a:pt x="6215" y="3252"/>
                </a:lnTo>
                <a:lnTo>
                  <a:pt x="6198" y="3235"/>
                </a:lnTo>
                <a:lnTo>
                  <a:pt x="6183" y="3225"/>
                </a:lnTo>
                <a:lnTo>
                  <a:pt x="6165" y="3227"/>
                </a:lnTo>
                <a:close/>
                <a:moveTo>
                  <a:pt x="5601" y="2893"/>
                </a:moveTo>
                <a:lnTo>
                  <a:pt x="5589" y="2891"/>
                </a:lnTo>
                <a:lnTo>
                  <a:pt x="5582" y="2880"/>
                </a:lnTo>
                <a:lnTo>
                  <a:pt x="5580" y="2865"/>
                </a:lnTo>
                <a:lnTo>
                  <a:pt x="5587" y="2849"/>
                </a:lnTo>
                <a:lnTo>
                  <a:pt x="5603" y="2847"/>
                </a:lnTo>
                <a:lnTo>
                  <a:pt x="5613" y="2861"/>
                </a:lnTo>
                <a:lnTo>
                  <a:pt x="5613" y="2880"/>
                </a:lnTo>
                <a:lnTo>
                  <a:pt x="5601" y="2893"/>
                </a:lnTo>
                <a:close/>
                <a:moveTo>
                  <a:pt x="5534" y="3048"/>
                </a:moveTo>
                <a:lnTo>
                  <a:pt x="5508" y="3030"/>
                </a:lnTo>
                <a:lnTo>
                  <a:pt x="5495" y="3002"/>
                </a:lnTo>
                <a:lnTo>
                  <a:pt x="5501" y="2978"/>
                </a:lnTo>
                <a:lnTo>
                  <a:pt x="5534" y="2970"/>
                </a:lnTo>
                <a:lnTo>
                  <a:pt x="5548" y="2983"/>
                </a:lnTo>
                <a:lnTo>
                  <a:pt x="5546" y="3003"/>
                </a:lnTo>
                <a:lnTo>
                  <a:pt x="5538" y="3026"/>
                </a:lnTo>
                <a:lnTo>
                  <a:pt x="5534" y="3048"/>
                </a:lnTo>
                <a:close/>
                <a:moveTo>
                  <a:pt x="5453" y="2641"/>
                </a:moveTo>
                <a:lnTo>
                  <a:pt x="5431" y="2647"/>
                </a:lnTo>
                <a:lnTo>
                  <a:pt x="5412" y="2647"/>
                </a:lnTo>
                <a:lnTo>
                  <a:pt x="5393" y="2641"/>
                </a:lnTo>
                <a:lnTo>
                  <a:pt x="5377" y="2623"/>
                </a:lnTo>
                <a:lnTo>
                  <a:pt x="5403" y="2611"/>
                </a:lnTo>
                <a:lnTo>
                  <a:pt x="5433" y="2605"/>
                </a:lnTo>
                <a:lnTo>
                  <a:pt x="5454" y="2613"/>
                </a:lnTo>
                <a:lnTo>
                  <a:pt x="5453" y="2641"/>
                </a:lnTo>
                <a:close/>
                <a:moveTo>
                  <a:pt x="5391" y="3131"/>
                </a:moveTo>
                <a:lnTo>
                  <a:pt x="5379" y="3128"/>
                </a:lnTo>
                <a:lnTo>
                  <a:pt x="5374" y="3119"/>
                </a:lnTo>
                <a:lnTo>
                  <a:pt x="5375" y="3108"/>
                </a:lnTo>
                <a:lnTo>
                  <a:pt x="5385" y="3101"/>
                </a:lnTo>
                <a:lnTo>
                  <a:pt x="5397" y="3104"/>
                </a:lnTo>
                <a:lnTo>
                  <a:pt x="5403" y="3114"/>
                </a:lnTo>
                <a:lnTo>
                  <a:pt x="5401" y="3126"/>
                </a:lnTo>
                <a:lnTo>
                  <a:pt x="5391" y="3131"/>
                </a:lnTo>
                <a:close/>
                <a:moveTo>
                  <a:pt x="5323" y="3206"/>
                </a:moveTo>
                <a:lnTo>
                  <a:pt x="5305" y="3198"/>
                </a:lnTo>
                <a:lnTo>
                  <a:pt x="5296" y="3185"/>
                </a:lnTo>
                <a:lnTo>
                  <a:pt x="5299" y="3171"/>
                </a:lnTo>
                <a:lnTo>
                  <a:pt x="5315" y="3161"/>
                </a:lnTo>
                <a:lnTo>
                  <a:pt x="5328" y="3168"/>
                </a:lnTo>
                <a:lnTo>
                  <a:pt x="5337" y="3183"/>
                </a:lnTo>
                <a:lnTo>
                  <a:pt x="5337" y="3198"/>
                </a:lnTo>
                <a:lnTo>
                  <a:pt x="5323" y="3206"/>
                </a:lnTo>
                <a:close/>
                <a:moveTo>
                  <a:pt x="5023" y="2987"/>
                </a:moveTo>
                <a:lnTo>
                  <a:pt x="5028" y="2993"/>
                </a:lnTo>
                <a:lnTo>
                  <a:pt x="5025" y="3001"/>
                </a:lnTo>
                <a:lnTo>
                  <a:pt x="5019" y="3008"/>
                </a:lnTo>
                <a:lnTo>
                  <a:pt x="5011" y="3013"/>
                </a:lnTo>
                <a:lnTo>
                  <a:pt x="5003" y="3006"/>
                </a:lnTo>
                <a:lnTo>
                  <a:pt x="5005" y="2996"/>
                </a:lnTo>
                <a:lnTo>
                  <a:pt x="5011" y="2988"/>
                </a:lnTo>
                <a:lnTo>
                  <a:pt x="5023" y="2987"/>
                </a:lnTo>
                <a:close/>
                <a:moveTo>
                  <a:pt x="4851" y="3114"/>
                </a:moveTo>
                <a:lnTo>
                  <a:pt x="4843" y="3110"/>
                </a:lnTo>
                <a:lnTo>
                  <a:pt x="4843" y="3103"/>
                </a:lnTo>
                <a:lnTo>
                  <a:pt x="4847" y="3095"/>
                </a:lnTo>
                <a:lnTo>
                  <a:pt x="4854" y="3089"/>
                </a:lnTo>
                <a:lnTo>
                  <a:pt x="4865" y="3090"/>
                </a:lnTo>
                <a:lnTo>
                  <a:pt x="4866" y="3099"/>
                </a:lnTo>
                <a:lnTo>
                  <a:pt x="4861" y="3110"/>
                </a:lnTo>
                <a:lnTo>
                  <a:pt x="4851" y="3114"/>
                </a:lnTo>
                <a:close/>
                <a:moveTo>
                  <a:pt x="5841" y="3103"/>
                </a:moveTo>
                <a:lnTo>
                  <a:pt x="5788" y="3103"/>
                </a:lnTo>
                <a:lnTo>
                  <a:pt x="5731" y="3113"/>
                </a:lnTo>
                <a:lnTo>
                  <a:pt x="5681" y="3119"/>
                </a:lnTo>
                <a:lnTo>
                  <a:pt x="5650" y="3110"/>
                </a:lnTo>
                <a:lnTo>
                  <a:pt x="5658" y="3041"/>
                </a:lnTo>
                <a:lnTo>
                  <a:pt x="5644" y="2968"/>
                </a:lnTo>
                <a:lnTo>
                  <a:pt x="5644" y="2900"/>
                </a:lnTo>
                <a:lnTo>
                  <a:pt x="5691" y="2848"/>
                </a:lnTo>
                <a:lnTo>
                  <a:pt x="5537" y="2775"/>
                </a:lnTo>
                <a:lnTo>
                  <a:pt x="5540" y="2742"/>
                </a:lnTo>
                <a:lnTo>
                  <a:pt x="5585" y="2698"/>
                </a:lnTo>
                <a:lnTo>
                  <a:pt x="5561" y="2593"/>
                </a:lnTo>
                <a:lnTo>
                  <a:pt x="5545" y="2569"/>
                </a:lnTo>
                <a:lnTo>
                  <a:pt x="5503" y="2579"/>
                </a:lnTo>
                <a:lnTo>
                  <a:pt x="5454" y="2587"/>
                </a:lnTo>
                <a:lnTo>
                  <a:pt x="5420" y="2553"/>
                </a:lnTo>
                <a:lnTo>
                  <a:pt x="5403" y="2546"/>
                </a:lnTo>
                <a:lnTo>
                  <a:pt x="5366" y="2574"/>
                </a:lnTo>
                <a:lnTo>
                  <a:pt x="5335" y="2591"/>
                </a:lnTo>
                <a:lnTo>
                  <a:pt x="5335" y="2550"/>
                </a:lnTo>
                <a:lnTo>
                  <a:pt x="5368" y="2497"/>
                </a:lnTo>
                <a:lnTo>
                  <a:pt x="5356" y="2427"/>
                </a:lnTo>
                <a:lnTo>
                  <a:pt x="5328" y="2354"/>
                </a:lnTo>
                <a:lnTo>
                  <a:pt x="5313" y="2293"/>
                </a:lnTo>
                <a:lnTo>
                  <a:pt x="5354" y="2322"/>
                </a:lnTo>
                <a:lnTo>
                  <a:pt x="5368" y="2312"/>
                </a:lnTo>
                <a:lnTo>
                  <a:pt x="5371" y="2276"/>
                </a:lnTo>
                <a:lnTo>
                  <a:pt x="5380" y="2229"/>
                </a:lnTo>
                <a:lnTo>
                  <a:pt x="5350" y="2126"/>
                </a:lnTo>
                <a:lnTo>
                  <a:pt x="5329" y="2083"/>
                </a:lnTo>
                <a:lnTo>
                  <a:pt x="5327" y="2111"/>
                </a:lnTo>
                <a:lnTo>
                  <a:pt x="5347" y="2222"/>
                </a:lnTo>
                <a:lnTo>
                  <a:pt x="5322" y="2256"/>
                </a:lnTo>
                <a:lnTo>
                  <a:pt x="5290" y="2254"/>
                </a:lnTo>
                <a:lnTo>
                  <a:pt x="5256" y="2256"/>
                </a:lnTo>
                <a:lnTo>
                  <a:pt x="5220" y="2310"/>
                </a:lnTo>
                <a:lnTo>
                  <a:pt x="5188" y="2317"/>
                </a:lnTo>
                <a:lnTo>
                  <a:pt x="5154" y="2353"/>
                </a:lnTo>
                <a:lnTo>
                  <a:pt x="5122" y="2376"/>
                </a:lnTo>
                <a:lnTo>
                  <a:pt x="5096" y="2346"/>
                </a:lnTo>
                <a:lnTo>
                  <a:pt x="5108" y="2315"/>
                </a:lnTo>
                <a:lnTo>
                  <a:pt x="5126" y="2278"/>
                </a:lnTo>
                <a:lnTo>
                  <a:pt x="5133" y="2240"/>
                </a:lnTo>
                <a:lnTo>
                  <a:pt x="5112" y="2204"/>
                </a:lnTo>
                <a:lnTo>
                  <a:pt x="5075" y="2204"/>
                </a:lnTo>
                <a:lnTo>
                  <a:pt x="5066" y="2223"/>
                </a:lnTo>
                <a:lnTo>
                  <a:pt x="5066" y="2240"/>
                </a:lnTo>
                <a:lnTo>
                  <a:pt x="5056" y="2237"/>
                </a:lnTo>
                <a:lnTo>
                  <a:pt x="5044" y="2220"/>
                </a:lnTo>
                <a:lnTo>
                  <a:pt x="5034" y="2222"/>
                </a:lnTo>
                <a:lnTo>
                  <a:pt x="5026" y="2236"/>
                </a:lnTo>
                <a:lnTo>
                  <a:pt x="5026" y="2256"/>
                </a:lnTo>
                <a:lnTo>
                  <a:pt x="5012" y="2254"/>
                </a:lnTo>
                <a:lnTo>
                  <a:pt x="5006" y="2243"/>
                </a:lnTo>
                <a:lnTo>
                  <a:pt x="5007" y="2232"/>
                </a:lnTo>
                <a:lnTo>
                  <a:pt x="5019" y="2224"/>
                </a:lnTo>
                <a:lnTo>
                  <a:pt x="4984" y="2209"/>
                </a:lnTo>
                <a:lnTo>
                  <a:pt x="4980" y="2238"/>
                </a:lnTo>
                <a:lnTo>
                  <a:pt x="5002" y="2280"/>
                </a:lnTo>
                <a:lnTo>
                  <a:pt x="5043" y="2302"/>
                </a:lnTo>
                <a:lnTo>
                  <a:pt x="5059" y="2330"/>
                </a:lnTo>
                <a:lnTo>
                  <a:pt x="5047" y="2335"/>
                </a:lnTo>
                <a:lnTo>
                  <a:pt x="5024" y="2336"/>
                </a:lnTo>
                <a:lnTo>
                  <a:pt x="5009" y="2349"/>
                </a:lnTo>
                <a:lnTo>
                  <a:pt x="4988" y="2343"/>
                </a:lnTo>
                <a:lnTo>
                  <a:pt x="4961" y="2325"/>
                </a:lnTo>
                <a:lnTo>
                  <a:pt x="4938" y="2320"/>
                </a:lnTo>
                <a:lnTo>
                  <a:pt x="4931" y="2355"/>
                </a:lnTo>
                <a:lnTo>
                  <a:pt x="4973" y="2386"/>
                </a:lnTo>
                <a:lnTo>
                  <a:pt x="5003" y="2425"/>
                </a:lnTo>
                <a:lnTo>
                  <a:pt x="5012" y="2469"/>
                </a:lnTo>
                <a:lnTo>
                  <a:pt x="4989" y="2512"/>
                </a:lnTo>
                <a:lnTo>
                  <a:pt x="4937" y="2499"/>
                </a:lnTo>
                <a:lnTo>
                  <a:pt x="4921" y="2455"/>
                </a:lnTo>
                <a:lnTo>
                  <a:pt x="4907" y="2410"/>
                </a:lnTo>
                <a:lnTo>
                  <a:pt x="4865" y="2402"/>
                </a:lnTo>
                <a:lnTo>
                  <a:pt x="4787" y="2374"/>
                </a:lnTo>
                <a:lnTo>
                  <a:pt x="4763" y="2346"/>
                </a:lnTo>
                <a:lnTo>
                  <a:pt x="4739" y="2343"/>
                </a:lnTo>
                <a:lnTo>
                  <a:pt x="4661" y="2386"/>
                </a:lnTo>
                <a:lnTo>
                  <a:pt x="4629" y="2366"/>
                </a:lnTo>
                <a:lnTo>
                  <a:pt x="4620" y="2320"/>
                </a:lnTo>
                <a:lnTo>
                  <a:pt x="4612" y="2278"/>
                </a:lnTo>
                <a:lnTo>
                  <a:pt x="4582" y="2274"/>
                </a:lnTo>
                <a:lnTo>
                  <a:pt x="4579" y="2303"/>
                </a:lnTo>
                <a:lnTo>
                  <a:pt x="4598" y="2335"/>
                </a:lnTo>
                <a:lnTo>
                  <a:pt x="4611" y="2367"/>
                </a:lnTo>
                <a:lnTo>
                  <a:pt x="4593" y="2390"/>
                </a:lnTo>
                <a:lnTo>
                  <a:pt x="4535" y="2381"/>
                </a:lnTo>
                <a:lnTo>
                  <a:pt x="4542" y="2400"/>
                </a:lnTo>
                <a:lnTo>
                  <a:pt x="4567" y="2432"/>
                </a:lnTo>
                <a:lnTo>
                  <a:pt x="4558" y="2464"/>
                </a:lnTo>
                <a:lnTo>
                  <a:pt x="4539" y="2512"/>
                </a:lnTo>
                <a:lnTo>
                  <a:pt x="4582" y="2546"/>
                </a:lnTo>
                <a:lnTo>
                  <a:pt x="4654" y="2573"/>
                </a:lnTo>
                <a:lnTo>
                  <a:pt x="4723" y="2600"/>
                </a:lnTo>
                <a:lnTo>
                  <a:pt x="4741" y="2586"/>
                </a:lnTo>
                <a:lnTo>
                  <a:pt x="4759" y="2576"/>
                </a:lnTo>
                <a:lnTo>
                  <a:pt x="4778" y="2573"/>
                </a:lnTo>
                <a:lnTo>
                  <a:pt x="4800" y="2583"/>
                </a:lnTo>
                <a:lnTo>
                  <a:pt x="4802" y="2564"/>
                </a:lnTo>
                <a:lnTo>
                  <a:pt x="4811" y="2558"/>
                </a:lnTo>
                <a:lnTo>
                  <a:pt x="4823" y="2563"/>
                </a:lnTo>
                <a:lnTo>
                  <a:pt x="4834" y="2581"/>
                </a:lnTo>
                <a:lnTo>
                  <a:pt x="4861" y="2592"/>
                </a:lnTo>
                <a:lnTo>
                  <a:pt x="4854" y="2593"/>
                </a:lnTo>
                <a:lnTo>
                  <a:pt x="4828" y="2590"/>
                </a:lnTo>
                <a:lnTo>
                  <a:pt x="4801" y="2585"/>
                </a:lnTo>
                <a:lnTo>
                  <a:pt x="4809" y="2611"/>
                </a:lnTo>
                <a:lnTo>
                  <a:pt x="4809" y="2633"/>
                </a:lnTo>
                <a:lnTo>
                  <a:pt x="4797" y="2644"/>
                </a:lnTo>
                <a:lnTo>
                  <a:pt x="4765" y="2642"/>
                </a:lnTo>
                <a:lnTo>
                  <a:pt x="4747" y="2713"/>
                </a:lnTo>
                <a:lnTo>
                  <a:pt x="4816" y="2750"/>
                </a:lnTo>
                <a:lnTo>
                  <a:pt x="4894" y="2793"/>
                </a:lnTo>
                <a:lnTo>
                  <a:pt x="4900" y="2881"/>
                </a:lnTo>
                <a:lnTo>
                  <a:pt x="4842" y="2922"/>
                </a:lnTo>
                <a:lnTo>
                  <a:pt x="4811" y="2968"/>
                </a:lnTo>
                <a:lnTo>
                  <a:pt x="4789" y="2988"/>
                </a:lnTo>
                <a:lnTo>
                  <a:pt x="4751" y="2951"/>
                </a:lnTo>
                <a:lnTo>
                  <a:pt x="4723" y="2945"/>
                </a:lnTo>
                <a:lnTo>
                  <a:pt x="4694" y="2938"/>
                </a:lnTo>
                <a:lnTo>
                  <a:pt x="4670" y="2942"/>
                </a:lnTo>
                <a:lnTo>
                  <a:pt x="4657" y="2966"/>
                </a:lnTo>
                <a:lnTo>
                  <a:pt x="4633" y="3008"/>
                </a:lnTo>
                <a:lnTo>
                  <a:pt x="4581" y="3013"/>
                </a:lnTo>
                <a:lnTo>
                  <a:pt x="4525" y="3016"/>
                </a:lnTo>
                <a:lnTo>
                  <a:pt x="4491" y="3048"/>
                </a:lnTo>
                <a:lnTo>
                  <a:pt x="4593" y="3085"/>
                </a:lnTo>
                <a:lnTo>
                  <a:pt x="4694" y="3108"/>
                </a:lnTo>
                <a:lnTo>
                  <a:pt x="4795" y="3129"/>
                </a:lnTo>
                <a:lnTo>
                  <a:pt x="4889" y="3165"/>
                </a:lnTo>
                <a:lnTo>
                  <a:pt x="4904" y="3110"/>
                </a:lnTo>
                <a:lnTo>
                  <a:pt x="4987" y="3075"/>
                </a:lnTo>
                <a:lnTo>
                  <a:pt x="5073" y="3072"/>
                </a:lnTo>
                <a:lnTo>
                  <a:pt x="5101" y="3118"/>
                </a:lnTo>
                <a:lnTo>
                  <a:pt x="5090" y="3178"/>
                </a:lnTo>
                <a:lnTo>
                  <a:pt x="5132" y="3154"/>
                </a:lnTo>
                <a:lnTo>
                  <a:pt x="5178" y="3085"/>
                </a:lnTo>
                <a:lnTo>
                  <a:pt x="5178" y="3006"/>
                </a:lnTo>
                <a:lnTo>
                  <a:pt x="5123" y="2992"/>
                </a:lnTo>
                <a:lnTo>
                  <a:pt x="5066" y="2979"/>
                </a:lnTo>
                <a:lnTo>
                  <a:pt x="5010" y="2955"/>
                </a:lnTo>
                <a:lnTo>
                  <a:pt x="4961" y="2905"/>
                </a:lnTo>
                <a:lnTo>
                  <a:pt x="4980" y="2858"/>
                </a:lnTo>
                <a:lnTo>
                  <a:pt x="5019" y="2881"/>
                </a:lnTo>
                <a:lnTo>
                  <a:pt x="5066" y="2924"/>
                </a:lnTo>
                <a:lnTo>
                  <a:pt x="5110" y="2937"/>
                </a:lnTo>
                <a:lnTo>
                  <a:pt x="5093" y="2873"/>
                </a:lnTo>
                <a:lnTo>
                  <a:pt x="5076" y="2867"/>
                </a:lnTo>
                <a:lnTo>
                  <a:pt x="5059" y="2857"/>
                </a:lnTo>
                <a:lnTo>
                  <a:pt x="5039" y="2786"/>
                </a:lnTo>
                <a:lnTo>
                  <a:pt x="5006" y="2809"/>
                </a:lnTo>
                <a:lnTo>
                  <a:pt x="4960" y="2817"/>
                </a:lnTo>
                <a:lnTo>
                  <a:pt x="4928" y="2797"/>
                </a:lnTo>
                <a:lnTo>
                  <a:pt x="4937" y="2740"/>
                </a:lnTo>
                <a:lnTo>
                  <a:pt x="4979" y="2709"/>
                </a:lnTo>
                <a:lnTo>
                  <a:pt x="4968" y="2683"/>
                </a:lnTo>
                <a:lnTo>
                  <a:pt x="4935" y="2656"/>
                </a:lnTo>
                <a:lnTo>
                  <a:pt x="4909" y="2623"/>
                </a:lnTo>
                <a:lnTo>
                  <a:pt x="4950" y="2610"/>
                </a:lnTo>
                <a:lnTo>
                  <a:pt x="4984" y="2587"/>
                </a:lnTo>
                <a:lnTo>
                  <a:pt x="5017" y="2557"/>
                </a:lnTo>
                <a:lnTo>
                  <a:pt x="5052" y="2518"/>
                </a:lnTo>
                <a:lnTo>
                  <a:pt x="5052" y="2465"/>
                </a:lnTo>
                <a:lnTo>
                  <a:pt x="5098" y="2470"/>
                </a:lnTo>
                <a:lnTo>
                  <a:pt x="5146" y="2513"/>
                </a:lnTo>
                <a:lnTo>
                  <a:pt x="5156" y="2573"/>
                </a:lnTo>
                <a:lnTo>
                  <a:pt x="5169" y="2599"/>
                </a:lnTo>
                <a:lnTo>
                  <a:pt x="5189" y="2579"/>
                </a:lnTo>
                <a:lnTo>
                  <a:pt x="5215" y="2551"/>
                </a:lnTo>
                <a:lnTo>
                  <a:pt x="5243" y="2551"/>
                </a:lnTo>
                <a:lnTo>
                  <a:pt x="5277" y="2593"/>
                </a:lnTo>
                <a:lnTo>
                  <a:pt x="5249" y="2643"/>
                </a:lnTo>
                <a:lnTo>
                  <a:pt x="5192" y="2681"/>
                </a:lnTo>
                <a:lnTo>
                  <a:pt x="5138" y="2685"/>
                </a:lnTo>
                <a:lnTo>
                  <a:pt x="5094" y="2700"/>
                </a:lnTo>
                <a:lnTo>
                  <a:pt x="5101" y="2736"/>
                </a:lnTo>
                <a:lnTo>
                  <a:pt x="5122" y="2782"/>
                </a:lnTo>
                <a:lnTo>
                  <a:pt x="5117" y="2825"/>
                </a:lnTo>
                <a:lnTo>
                  <a:pt x="5156" y="2904"/>
                </a:lnTo>
                <a:lnTo>
                  <a:pt x="5225" y="2942"/>
                </a:lnTo>
                <a:lnTo>
                  <a:pt x="5304" y="2963"/>
                </a:lnTo>
                <a:lnTo>
                  <a:pt x="5378" y="2993"/>
                </a:lnTo>
                <a:lnTo>
                  <a:pt x="5351" y="3019"/>
                </a:lnTo>
                <a:lnTo>
                  <a:pt x="5332" y="3033"/>
                </a:lnTo>
                <a:lnTo>
                  <a:pt x="5331" y="3048"/>
                </a:lnTo>
                <a:lnTo>
                  <a:pt x="5361" y="3077"/>
                </a:lnTo>
                <a:lnTo>
                  <a:pt x="5295" y="3109"/>
                </a:lnTo>
                <a:lnTo>
                  <a:pt x="5268" y="3179"/>
                </a:lnTo>
                <a:lnTo>
                  <a:pt x="5290" y="3231"/>
                </a:lnTo>
                <a:lnTo>
                  <a:pt x="5366" y="3208"/>
                </a:lnTo>
                <a:lnTo>
                  <a:pt x="5433" y="3254"/>
                </a:lnTo>
                <a:lnTo>
                  <a:pt x="5438" y="3226"/>
                </a:lnTo>
                <a:lnTo>
                  <a:pt x="5438" y="3189"/>
                </a:lnTo>
                <a:lnTo>
                  <a:pt x="5492" y="3206"/>
                </a:lnTo>
                <a:lnTo>
                  <a:pt x="5513" y="3170"/>
                </a:lnTo>
                <a:lnTo>
                  <a:pt x="5503" y="3119"/>
                </a:lnTo>
                <a:lnTo>
                  <a:pt x="5498" y="3082"/>
                </a:lnTo>
                <a:lnTo>
                  <a:pt x="5532" y="3089"/>
                </a:lnTo>
                <a:lnTo>
                  <a:pt x="5568" y="3192"/>
                </a:lnTo>
                <a:lnTo>
                  <a:pt x="5610" y="3196"/>
                </a:lnTo>
                <a:lnTo>
                  <a:pt x="5676" y="3165"/>
                </a:lnTo>
                <a:lnTo>
                  <a:pt x="5785" y="3169"/>
                </a:lnTo>
                <a:lnTo>
                  <a:pt x="5774" y="3241"/>
                </a:lnTo>
                <a:lnTo>
                  <a:pt x="5736" y="3309"/>
                </a:lnTo>
                <a:lnTo>
                  <a:pt x="5710" y="3374"/>
                </a:lnTo>
                <a:lnTo>
                  <a:pt x="5734" y="3437"/>
                </a:lnTo>
                <a:lnTo>
                  <a:pt x="5788" y="3460"/>
                </a:lnTo>
                <a:lnTo>
                  <a:pt x="5829" y="3449"/>
                </a:lnTo>
                <a:lnTo>
                  <a:pt x="5863" y="3417"/>
                </a:lnTo>
                <a:lnTo>
                  <a:pt x="5896" y="3380"/>
                </a:lnTo>
                <a:lnTo>
                  <a:pt x="5903" y="3411"/>
                </a:lnTo>
                <a:lnTo>
                  <a:pt x="5917" y="3436"/>
                </a:lnTo>
                <a:lnTo>
                  <a:pt x="5938" y="3445"/>
                </a:lnTo>
                <a:lnTo>
                  <a:pt x="5970" y="3422"/>
                </a:lnTo>
                <a:lnTo>
                  <a:pt x="5936" y="3378"/>
                </a:lnTo>
                <a:lnTo>
                  <a:pt x="5928" y="3319"/>
                </a:lnTo>
                <a:lnTo>
                  <a:pt x="5919" y="3267"/>
                </a:lnTo>
                <a:lnTo>
                  <a:pt x="5878" y="3239"/>
                </a:lnTo>
                <a:lnTo>
                  <a:pt x="5892" y="3197"/>
                </a:lnTo>
                <a:lnTo>
                  <a:pt x="5938" y="3145"/>
                </a:lnTo>
                <a:lnTo>
                  <a:pt x="5980" y="3078"/>
                </a:lnTo>
                <a:lnTo>
                  <a:pt x="5985" y="2992"/>
                </a:lnTo>
                <a:lnTo>
                  <a:pt x="5909" y="3019"/>
                </a:lnTo>
                <a:lnTo>
                  <a:pt x="5890" y="3034"/>
                </a:lnTo>
                <a:lnTo>
                  <a:pt x="5882" y="3057"/>
                </a:lnTo>
                <a:lnTo>
                  <a:pt x="5841" y="3103"/>
                </a:lnTo>
                <a:close/>
                <a:moveTo>
                  <a:pt x="5338" y="2064"/>
                </a:moveTo>
                <a:lnTo>
                  <a:pt x="5337" y="2064"/>
                </a:lnTo>
                <a:lnTo>
                  <a:pt x="5337" y="2065"/>
                </a:lnTo>
                <a:lnTo>
                  <a:pt x="5337" y="2065"/>
                </a:lnTo>
                <a:lnTo>
                  <a:pt x="5338" y="2064"/>
                </a:lnTo>
                <a:close/>
                <a:moveTo>
                  <a:pt x="6043" y="2805"/>
                </a:moveTo>
                <a:lnTo>
                  <a:pt x="6048" y="2800"/>
                </a:lnTo>
                <a:lnTo>
                  <a:pt x="6052" y="2793"/>
                </a:lnTo>
                <a:lnTo>
                  <a:pt x="6053" y="2786"/>
                </a:lnTo>
                <a:lnTo>
                  <a:pt x="6049" y="2778"/>
                </a:lnTo>
                <a:lnTo>
                  <a:pt x="6032" y="2758"/>
                </a:lnTo>
                <a:lnTo>
                  <a:pt x="6025" y="2775"/>
                </a:lnTo>
                <a:lnTo>
                  <a:pt x="6027" y="2801"/>
                </a:lnTo>
                <a:lnTo>
                  <a:pt x="6043" y="2805"/>
                </a:lnTo>
                <a:close/>
                <a:moveTo>
                  <a:pt x="6260" y="3533"/>
                </a:moveTo>
                <a:lnTo>
                  <a:pt x="6220" y="3571"/>
                </a:lnTo>
                <a:lnTo>
                  <a:pt x="6223" y="3638"/>
                </a:lnTo>
                <a:lnTo>
                  <a:pt x="6260" y="3697"/>
                </a:lnTo>
                <a:lnTo>
                  <a:pt x="6323" y="3712"/>
                </a:lnTo>
                <a:lnTo>
                  <a:pt x="6353" y="3681"/>
                </a:lnTo>
                <a:lnTo>
                  <a:pt x="6341" y="3628"/>
                </a:lnTo>
                <a:lnTo>
                  <a:pt x="6302" y="3575"/>
                </a:lnTo>
                <a:lnTo>
                  <a:pt x="6260" y="3533"/>
                </a:lnTo>
                <a:close/>
                <a:moveTo>
                  <a:pt x="5918" y="2814"/>
                </a:moveTo>
                <a:lnTo>
                  <a:pt x="5917" y="2812"/>
                </a:lnTo>
                <a:lnTo>
                  <a:pt x="5914" y="2810"/>
                </a:lnTo>
                <a:lnTo>
                  <a:pt x="5910" y="2814"/>
                </a:lnTo>
                <a:lnTo>
                  <a:pt x="5911" y="2817"/>
                </a:lnTo>
                <a:lnTo>
                  <a:pt x="5914" y="2817"/>
                </a:lnTo>
                <a:lnTo>
                  <a:pt x="5918" y="2814"/>
                </a:lnTo>
                <a:close/>
                <a:moveTo>
                  <a:pt x="6634" y="1177"/>
                </a:moveTo>
                <a:lnTo>
                  <a:pt x="6640" y="1179"/>
                </a:lnTo>
                <a:lnTo>
                  <a:pt x="6645" y="1183"/>
                </a:lnTo>
                <a:lnTo>
                  <a:pt x="6646" y="1184"/>
                </a:lnTo>
                <a:lnTo>
                  <a:pt x="6649" y="1186"/>
                </a:lnTo>
                <a:lnTo>
                  <a:pt x="6648" y="1183"/>
                </a:lnTo>
                <a:lnTo>
                  <a:pt x="6645" y="1183"/>
                </a:lnTo>
                <a:lnTo>
                  <a:pt x="6645" y="1178"/>
                </a:lnTo>
                <a:lnTo>
                  <a:pt x="6642" y="1174"/>
                </a:lnTo>
                <a:lnTo>
                  <a:pt x="6640" y="1173"/>
                </a:lnTo>
                <a:lnTo>
                  <a:pt x="6634" y="1177"/>
                </a:lnTo>
                <a:close/>
                <a:moveTo>
                  <a:pt x="6679" y="1207"/>
                </a:moveTo>
                <a:lnTo>
                  <a:pt x="6673" y="1205"/>
                </a:lnTo>
                <a:lnTo>
                  <a:pt x="6667" y="1202"/>
                </a:lnTo>
                <a:lnTo>
                  <a:pt x="6665" y="1200"/>
                </a:lnTo>
                <a:lnTo>
                  <a:pt x="6664" y="1198"/>
                </a:lnTo>
                <a:lnTo>
                  <a:pt x="6662" y="1193"/>
                </a:lnTo>
                <a:lnTo>
                  <a:pt x="6659" y="1189"/>
                </a:lnTo>
                <a:lnTo>
                  <a:pt x="6654" y="1187"/>
                </a:lnTo>
                <a:lnTo>
                  <a:pt x="6649" y="1186"/>
                </a:lnTo>
                <a:lnTo>
                  <a:pt x="6650" y="1191"/>
                </a:lnTo>
                <a:lnTo>
                  <a:pt x="6654" y="1194"/>
                </a:lnTo>
                <a:lnTo>
                  <a:pt x="6658" y="1197"/>
                </a:lnTo>
                <a:lnTo>
                  <a:pt x="6664" y="1198"/>
                </a:lnTo>
                <a:lnTo>
                  <a:pt x="6665" y="1201"/>
                </a:lnTo>
                <a:lnTo>
                  <a:pt x="6667" y="1202"/>
                </a:lnTo>
                <a:lnTo>
                  <a:pt x="6668" y="1206"/>
                </a:lnTo>
                <a:lnTo>
                  <a:pt x="6669" y="1210"/>
                </a:lnTo>
                <a:lnTo>
                  <a:pt x="6673" y="1211"/>
                </a:lnTo>
                <a:lnTo>
                  <a:pt x="6679" y="1207"/>
                </a:lnTo>
                <a:close/>
                <a:moveTo>
                  <a:pt x="6513" y="1443"/>
                </a:moveTo>
                <a:lnTo>
                  <a:pt x="6515" y="1448"/>
                </a:lnTo>
                <a:lnTo>
                  <a:pt x="6519" y="1447"/>
                </a:lnTo>
                <a:lnTo>
                  <a:pt x="6520" y="1443"/>
                </a:lnTo>
                <a:lnTo>
                  <a:pt x="6516" y="1439"/>
                </a:lnTo>
                <a:lnTo>
                  <a:pt x="6514" y="1441"/>
                </a:lnTo>
                <a:lnTo>
                  <a:pt x="6513" y="1443"/>
                </a:lnTo>
                <a:close/>
                <a:moveTo>
                  <a:pt x="6477" y="49"/>
                </a:moveTo>
                <a:lnTo>
                  <a:pt x="6482" y="46"/>
                </a:lnTo>
                <a:lnTo>
                  <a:pt x="6481" y="43"/>
                </a:lnTo>
                <a:lnTo>
                  <a:pt x="6477" y="41"/>
                </a:lnTo>
                <a:lnTo>
                  <a:pt x="6473" y="45"/>
                </a:lnTo>
                <a:lnTo>
                  <a:pt x="6476" y="48"/>
                </a:lnTo>
                <a:lnTo>
                  <a:pt x="6477" y="49"/>
                </a:lnTo>
                <a:close/>
                <a:moveTo>
                  <a:pt x="6660" y="740"/>
                </a:moveTo>
                <a:lnTo>
                  <a:pt x="6656" y="746"/>
                </a:lnTo>
                <a:lnTo>
                  <a:pt x="6656" y="753"/>
                </a:lnTo>
                <a:lnTo>
                  <a:pt x="6659" y="757"/>
                </a:lnTo>
                <a:lnTo>
                  <a:pt x="6664" y="762"/>
                </a:lnTo>
                <a:lnTo>
                  <a:pt x="6667" y="755"/>
                </a:lnTo>
                <a:lnTo>
                  <a:pt x="6668" y="749"/>
                </a:lnTo>
                <a:lnTo>
                  <a:pt x="6665" y="745"/>
                </a:lnTo>
                <a:lnTo>
                  <a:pt x="6660" y="740"/>
                </a:lnTo>
                <a:close/>
                <a:moveTo>
                  <a:pt x="6507" y="204"/>
                </a:moveTo>
                <a:lnTo>
                  <a:pt x="6619" y="249"/>
                </a:lnTo>
                <a:lnTo>
                  <a:pt x="6632" y="317"/>
                </a:lnTo>
                <a:lnTo>
                  <a:pt x="6603" y="403"/>
                </a:lnTo>
                <a:lnTo>
                  <a:pt x="6591" y="498"/>
                </a:lnTo>
                <a:lnTo>
                  <a:pt x="6565" y="524"/>
                </a:lnTo>
                <a:lnTo>
                  <a:pt x="6590" y="531"/>
                </a:lnTo>
                <a:lnTo>
                  <a:pt x="6630" y="544"/>
                </a:lnTo>
                <a:lnTo>
                  <a:pt x="6641" y="581"/>
                </a:lnTo>
                <a:lnTo>
                  <a:pt x="6650" y="646"/>
                </a:lnTo>
                <a:lnTo>
                  <a:pt x="6682" y="654"/>
                </a:lnTo>
                <a:lnTo>
                  <a:pt x="6715" y="614"/>
                </a:lnTo>
                <a:lnTo>
                  <a:pt x="6723" y="543"/>
                </a:lnTo>
                <a:lnTo>
                  <a:pt x="6653" y="491"/>
                </a:lnTo>
                <a:lnTo>
                  <a:pt x="6672" y="450"/>
                </a:lnTo>
                <a:lnTo>
                  <a:pt x="6716" y="404"/>
                </a:lnTo>
                <a:lnTo>
                  <a:pt x="6726" y="340"/>
                </a:lnTo>
                <a:lnTo>
                  <a:pt x="6709" y="232"/>
                </a:lnTo>
                <a:lnTo>
                  <a:pt x="6714" y="111"/>
                </a:lnTo>
                <a:lnTo>
                  <a:pt x="6687" y="34"/>
                </a:lnTo>
                <a:lnTo>
                  <a:pt x="6575" y="57"/>
                </a:lnTo>
                <a:lnTo>
                  <a:pt x="6528" y="49"/>
                </a:lnTo>
                <a:lnTo>
                  <a:pt x="6524" y="95"/>
                </a:lnTo>
                <a:lnTo>
                  <a:pt x="6528" y="158"/>
                </a:lnTo>
                <a:lnTo>
                  <a:pt x="6507" y="204"/>
                </a:lnTo>
                <a:close/>
                <a:moveTo>
                  <a:pt x="6630" y="1070"/>
                </a:moveTo>
                <a:lnTo>
                  <a:pt x="6653" y="1072"/>
                </a:lnTo>
                <a:lnTo>
                  <a:pt x="6674" y="1040"/>
                </a:lnTo>
                <a:lnTo>
                  <a:pt x="6687" y="998"/>
                </a:lnTo>
                <a:lnTo>
                  <a:pt x="6687" y="976"/>
                </a:lnTo>
                <a:lnTo>
                  <a:pt x="6617" y="986"/>
                </a:lnTo>
                <a:lnTo>
                  <a:pt x="6591" y="1000"/>
                </a:lnTo>
                <a:lnTo>
                  <a:pt x="6599" y="1025"/>
                </a:lnTo>
                <a:lnTo>
                  <a:pt x="6630" y="1070"/>
                </a:lnTo>
                <a:close/>
                <a:moveTo>
                  <a:pt x="6737" y="1341"/>
                </a:moveTo>
                <a:lnTo>
                  <a:pt x="6720" y="1336"/>
                </a:lnTo>
                <a:lnTo>
                  <a:pt x="6705" y="1340"/>
                </a:lnTo>
                <a:lnTo>
                  <a:pt x="6695" y="1352"/>
                </a:lnTo>
                <a:lnTo>
                  <a:pt x="6695" y="1370"/>
                </a:lnTo>
                <a:lnTo>
                  <a:pt x="6706" y="1364"/>
                </a:lnTo>
                <a:lnTo>
                  <a:pt x="6718" y="1357"/>
                </a:lnTo>
                <a:lnTo>
                  <a:pt x="6729" y="1351"/>
                </a:lnTo>
                <a:lnTo>
                  <a:pt x="6737" y="1341"/>
                </a:lnTo>
                <a:close/>
                <a:moveTo>
                  <a:pt x="6627" y="1408"/>
                </a:moveTo>
                <a:lnTo>
                  <a:pt x="6644" y="1415"/>
                </a:lnTo>
                <a:lnTo>
                  <a:pt x="6663" y="1419"/>
                </a:lnTo>
                <a:lnTo>
                  <a:pt x="6682" y="1424"/>
                </a:lnTo>
                <a:lnTo>
                  <a:pt x="6702" y="1438"/>
                </a:lnTo>
                <a:lnTo>
                  <a:pt x="6707" y="1403"/>
                </a:lnTo>
                <a:lnTo>
                  <a:pt x="6679" y="1377"/>
                </a:lnTo>
                <a:lnTo>
                  <a:pt x="6645" y="1373"/>
                </a:lnTo>
                <a:lnTo>
                  <a:pt x="6627" y="1408"/>
                </a:lnTo>
                <a:close/>
                <a:moveTo>
                  <a:pt x="6693" y="1371"/>
                </a:moveTo>
                <a:lnTo>
                  <a:pt x="6695" y="1371"/>
                </a:lnTo>
                <a:lnTo>
                  <a:pt x="6695" y="1370"/>
                </a:lnTo>
                <a:lnTo>
                  <a:pt x="6693" y="1371"/>
                </a:lnTo>
                <a:lnTo>
                  <a:pt x="6693" y="1371"/>
                </a:lnTo>
                <a:close/>
                <a:moveTo>
                  <a:pt x="6600" y="1194"/>
                </a:moveTo>
                <a:lnTo>
                  <a:pt x="6603" y="1200"/>
                </a:lnTo>
                <a:lnTo>
                  <a:pt x="6607" y="1198"/>
                </a:lnTo>
                <a:lnTo>
                  <a:pt x="6608" y="1194"/>
                </a:lnTo>
                <a:lnTo>
                  <a:pt x="6604" y="1191"/>
                </a:lnTo>
                <a:lnTo>
                  <a:pt x="6602" y="1193"/>
                </a:lnTo>
                <a:lnTo>
                  <a:pt x="6600" y="1194"/>
                </a:lnTo>
                <a:close/>
                <a:moveTo>
                  <a:pt x="6670" y="876"/>
                </a:moveTo>
                <a:lnTo>
                  <a:pt x="6674" y="886"/>
                </a:lnTo>
                <a:lnTo>
                  <a:pt x="6686" y="900"/>
                </a:lnTo>
                <a:lnTo>
                  <a:pt x="6701" y="911"/>
                </a:lnTo>
                <a:lnTo>
                  <a:pt x="6712" y="912"/>
                </a:lnTo>
                <a:lnTo>
                  <a:pt x="6711" y="895"/>
                </a:lnTo>
                <a:lnTo>
                  <a:pt x="6701" y="881"/>
                </a:lnTo>
                <a:lnTo>
                  <a:pt x="6686" y="874"/>
                </a:lnTo>
                <a:lnTo>
                  <a:pt x="6670" y="876"/>
                </a:lnTo>
                <a:close/>
                <a:moveTo>
                  <a:pt x="6631" y="818"/>
                </a:moveTo>
                <a:lnTo>
                  <a:pt x="6632" y="806"/>
                </a:lnTo>
                <a:lnTo>
                  <a:pt x="6619" y="796"/>
                </a:lnTo>
                <a:lnTo>
                  <a:pt x="6603" y="792"/>
                </a:lnTo>
                <a:lnTo>
                  <a:pt x="6590" y="801"/>
                </a:lnTo>
                <a:lnTo>
                  <a:pt x="6593" y="814"/>
                </a:lnTo>
                <a:lnTo>
                  <a:pt x="6603" y="822"/>
                </a:lnTo>
                <a:lnTo>
                  <a:pt x="6617" y="823"/>
                </a:lnTo>
                <a:lnTo>
                  <a:pt x="6631" y="818"/>
                </a:lnTo>
                <a:close/>
                <a:moveTo>
                  <a:pt x="6705" y="809"/>
                </a:moveTo>
                <a:lnTo>
                  <a:pt x="6704" y="806"/>
                </a:lnTo>
                <a:lnTo>
                  <a:pt x="6701" y="804"/>
                </a:lnTo>
                <a:lnTo>
                  <a:pt x="6697" y="808"/>
                </a:lnTo>
                <a:lnTo>
                  <a:pt x="6697" y="813"/>
                </a:lnTo>
                <a:lnTo>
                  <a:pt x="6701" y="813"/>
                </a:lnTo>
                <a:lnTo>
                  <a:pt x="6705" y="809"/>
                </a:lnTo>
                <a:close/>
                <a:moveTo>
                  <a:pt x="6593" y="1267"/>
                </a:moveTo>
                <a:lnTo>
                  <a:pt x="6597" y="1265"/>
                </a:lnTo>
                <a:lnTo>
                  <a:pt x="6598" y="1262"/>
                </a:lnTo>
                <a:lnTo>
                  <a:pt x="6594" y="1251"/>
                </a:lnTo>
                <a:lnTo>
                  <a:pt x="6589" y="1251"/>
                </a:lnTo>
                <a:lnTo>
                  <a:pt x="6586" y="1258"/>
                </a:lnTo>
                <a:lnTo>
                  <a:pt x="6593" y="1267"/>
                </a:lnTo>
                <a:close/>
                <a:moveTo>
                  <a:pt x="6277" y="1263"/>
                </a:moveTo>
                <a:lnTo>
                  <a:pt x="6249" y="1276"/>
                </a:lnTo>
                <a:lnTo>
                  <a:pt x="6257" y="1304"/>
                </a:lnTo>
                <a:lnTo>
                  <a:pt x="6282" y="1324"/>
                </a:lnTo>
                <a:lnTo>
                  <a:pt x="6313" y="1314"/>
                </a:lnTo>
                <a:lnTo>
                  <a:pt x="6319" y="1299"/>
                </a:lnTo>
                <a:lnTo>
                  <a:pt x="6310" y="1284"/>
                </a:lnTo>
                <a:lnTo>
                  <a:pt x="6293" y="1271"/>
                </a:lnTo>
                <a:lnTo>
                  <a:pt x="6277" y="1263"/>
                </a:lnTo>
                <a:close/>
                <a:moveTo>
                  <a:pt x="5797" y="279"/>
                </a:moveTo>
                <a:lnTo>
                  <a:pt x="5803" y="283"/>
                </a:lnTo>
                <a:lnTo>
                  <a:pt x="5808" y="286"/>
                </a:lnTo>
                <a:lnTo>
                  <a:pt x="5808" y="281"/>
                </a:lnTo>
                <a:lnTo>
                  <a:pt x="5806" y="277"/>
                </a:lnTo>
                <a:lnTo>
                  <a:pt x="5803" y="275"/>
                </a:lnTo>
                <a:lnTo>
                  <a:pt x="5797" y="279"/>
                </a:lnTo>
                <a:close/>
                <a:moveTo>
                  <a:pt x="5832" y="370"/>
                </a:moveTo>
                <a:lnTo>
                  <a:pt x="5822" y="366"/>
                </a:lnTo>
                <a:lnTo>
                  <a:pt x="5825" y="361"/>
                </a:lnTo>
                <a:lnTo>
                  <a:pt x="5835" y="358"/>
                </a:lnTo>
                <a:lnTo>
                  <a:pt x="5844" y="363"/>
                </a:lnTo>
                <a:lnTo>
                  <a:pt x="5839" y="367"/>
                </a:lnTo>
                <a:lnTo>
                  <a:pt x="5832" y="370"/>
                </a:lnTo>
                <a:close/>
                <a:moveTo>
                  <a:pt x="5449" y="256"/>
                </a:moveTo>
                <a:lnTo>
                  <a:pt x="5517" y="205"/>
                </a:lnTo>
                <a:lnTo>
                  <a:pt x="5625" y="176"/>
                </a:lnTo>
                <a:lnTo>
                  <a:pt x="5725" y="181"/>
                </a:lnTo>
                <a:lnTo>
                  <a:pt x="5770" y="236"/>
                </a:lnTo>
                <a:lnTo>
                  <a:pt x="5850" y="121"/>
                </a:lnTo>
                <a:lnTo>
                  <a:pt x="5864" y="127"/>
                </a:lnTo>
                <a:lnTo>
                  <a:pt x="5846" y="195"/>
                </a:lnTo>
                <a:lnTo>
                  <a:pt x="5830" y="273"/>
                </a:lnTo>
                <a:lnTo>
                  <a:pt x="5802" y="307"/>
                </a:lnTo>
                <a:lnTo>
                  <a:pt x="5765" y="334"/>
                </a:lnTo>
                <a:lnTo>
                  <a:pt x="5722" y="352"/>
                </a:lnTo>
                <a:lnTo>
                  <a:pt x="5678" y="362"/>
                </a:lnTo>
                <a:lnTo>
                  <a:pt x="5720" y="400"/>
                </a:lnTo>
                <a:lnTo>
                  <a:pt x="5801" y="399"/>
                </a:lnTo>
                <a:lnTo>
                  <a:pt x="5901" y="417"/>
                </a:lnTo>
                <a:lnTo>
                  <a:pt x="6004" y="510"/>
                </a:lnTo>
                <a:lnTo>
                  <a:pt x="5990" y="440"/>
                </a:lnTo>
                <a:lnTo>
                  <a:pt x="5975" y="354"/>
                </a:lnTo>
                <a:lnTo>
                  <a:pt x="5960" y="281"/>
                </a:lnTo>
                <a:lnTo>
                  <a:pt x="5946" y="244"/>
                </a:lnTo>
                <a:lnTo>
                  <a:pt x="5984" y="230"/>
                </a:lnTo>
                <a:lnTo>
                  <a:pt x="6004" y="190"/>
                </a:lnTo>
                <a:lnTo>
                  <a:pt x="6021" y="163"/>
                </a:lnTo>
                <a:lnTo>
                  <a:pt x="6048" y="190"/>
                </a:lnTo>
                <a:lnTo>
                  <a:pt x="6076" y="185"/>
                </a:lnTo>
                <a:lnTo>
                  <a:pt x="6092" y="151"/>
                </a:lnTo>
                <a:lnTo>
                  <a:pt x="6116" y="115"/>
                </a:lnTo>
                <a:lnTo>
                  <a:pt x="6161" y="109"/>
                </a:lnTo>
                <a:lnTo>
                  <a:pt x="6161" y="109"/>
                </a:lnTo>
                <a:lnTo>
                  <a:pt x="6162" y="109"/>
                </a:lnTo>
                <a:lnTo>
                  <a:pt x="6162" y="107"/>
                </a:lnTo>
                <a:lnTo>
                  <a:pt x="6161" y="109"/>
                </a:lnTo>
                <a:lnTo>
                  <a:pt x="6158" y="88"/>
                </a:lnTo>
                <a:lnTo>
                  <a:pt x="6144" y="79"/>
                </a:lnTo>
                <a:lnTo>
                  <a:pt x="6127" y="76"/>
                </a:lnTo>
                <a:lnTo>
                  <a:pt x="6111" y="68"/>
                </a:lnTo>
                <a:lnTo>
                  <a:pt x="6099" y="51"/>
                </a:lnTo>
                <a:lnTo>
                  <a:pt x="6086" y="57"/>
                </a:lnTo>
                <a:lnTo>
                  <a:pt x="6072" y="71"/>
                </a:lnTo>
                <a:lnTo>
                  <a:pt x="6057" y="81"/>
                </a:lnTo>
                <a:lnTo>
                  <a:pt x="6011" y="65"/>
                </a:lnTo>
                <a:lnTo>
                  <a:pt x="5960" y="32"/>
                </a:lnTo>
                <a:lnTo>
                  <a:pt x="5911" y="13"/>
                </a:lnTo>
                <a:lnTo>
                  <a:pt x="5874" y="45"/>
                </a:lnTo>
                <a:lnTo>
                  <a:pt x="5843" y="74"/>
                </a:lnTo>
                <a:lnTo>
                  <a:pt x="5789" y="48"/>
                </a:lnTo>
                <a:lnTo>
                  <a:pt x="5727" y="25"/>
                </a:lnTo>
                <a:lnTo>
                  <a:pt x="5673" y="63"/>
                </a:lnTo>
                <a:lnTo>
                  <a:pt x="5620" y="67"/>
                </a:lnTo>
                <a:lnTo>
                  <a:pt x="5587" y="43"/>
                </a:lnTo>
                <a:lnTo>
                  <a:pt x="5565" y="44"/>
                </a:lnTo>
                <a:lnTo>
                  <a:pt x="5548" y="129"/>
                </a:lnTo>
                <a:lnTo>
                  <a:pt x="5475" y="99"/>
                </a:lnTo>
                <a:lnTo>
                  <a:pt x="5439" y="118"/>
                </a:lnTo>
                <a:lnTo>
                  <a:pt x="5433" y="174"/>
                </a:lnTo>
                <a:lnTo>
                  <a:pt x="5449" y="256"/>
                </a:lnTo>
                <a:close/>
                <a:moveTo>
                  <a:pt x="5394" y="110"/>
                </a:moveTo>
                <a:lnTo>
                  <a:pt x="5416" y="91"/>
                </a:lnTo>
                <a:lnTo>
                  <a:pt x="5393" y="79"/>
                </a:lnTo>
                <a:lnTo>
                  <a:pt x="5350" y="76"/>
                </a:lnTo>
                <a:lnTo>
                  <a:pt x="5313" y="78"/>
                </a:lnTo>
                <a:lnTo>
                  <a:pt x="5314" y="120"/>
                </a:lnTo>
                <a:lnTo>
                  <a:pt x="5335" y="144"/>
                </a:lnTo>
                <a:lnTo>
                  <a:pt x="5364" y="142"/>
                </a:lnTo>
                <a:lnTo>
                  <a:pt x="5394" y="110"/>
                </a:lnTo>
                <a:close/>
                <a:moveTo>
                  <a:pt x="5808" y="286"/>
                </a:moveTo>
                <a:lnTo>
                  <a:pt x="5810" y="287"/>
                </a:lnTo>
                <a:lnTo>
                  <a:pt x="5810" y="287"/>
                </a:lnTo>
                <a:lnTo>
                  <a:pt x="5811" y="288"/>
                </a:lnTo>
                <a:lnTo>
                  <a:pt x="5811" y="287"/>
                </a:lnTo>
                <a:lnTo>
                  <a:pt x="5810" y="286"/>
                </a:lnTo>
                <a:lnTo>
                  <a:pt x="5808" y="286"/>
                </a:lnTo>
                <a:close/>
                <a:moveTo>
                  <a:pt x="5419" y="106"/>
                </a:moveTo>
                <a:lnTo>
                  <a:pt x="5417" y="105"/>
                </a:lnTo>
                <a:lnTo>
                  <a:pt x="5417" y="106"/>
                </a:lnTo>
                <a:lnTo>
                  <a:pt x="5419" y="106"/>
                </a:lnTo>
                <a:close/>
                <a:moveTo>
                  <a:pt x="5317" y="146"/>
                </a:moveTo>
                <a:lnTo>
                  <a:pt x="5315" y="146"/>
                </a:lnTo>
                <a:lnTo>
                  <a:pt x="5315" y="147"/>
                </a:lnTo>
                <a:lnTo>
                  <a:pt x="5315" y="147"/>
                </a:lnTo>
                <a:lnTo>
                  <a:pt x="5317" y="147"/>
                </a:lnTo>
                <a:lnTo>
                  <a:pt x="5317" y="146"/>
                </a:lnTo>
                <a:close/>
                <a:moveTo>
                  <a:pt x="6209" y="1406"/>
                </a:moveTo>
                <a:lnTo>
                  <a:pt x="6199" y="1411"/>
                </a:lnTo>
                <a:lnTo>
                  <a:pt x="6198" y="1422"/>
                </a:lnTo>
                <a:lnTo>
                  <a:pt x="6203" y="1431"/>
                </a:lnTo>
                <a:lnTo>
                  <a:pt x="6215" y="1434"/>
                </a:lnTo>
                <a:lnTo>
                  <a:pt x="6225" y="1429"/>
                </a:lnTo>
                <a:lnTo>
                  <a:pt x="6226" y="1417"/>
                </a:lnTo>
                <a:lnTo>
                  <a:pt x="6221" y="1408"/>
                </a:lnTo>
                <a:lnTo>
                  <a:pt x="6209" y="1406"/>
                </a:lnTo>
                <a:close/>
                <a:moveTo>
                  <a:pt x="5277" y="163"/>
                </a:moveTo>
                <a:lnTo>
                  <a:pt x="5289" y="165"/>
                </a:lnTo>
                <a:lnTo>
                  <a:pt x="5300" y="165"/>
                </a:lnTo>
                <a:lnTo>
                  <a:pt x="5309" y="160"/>
                </a:lnTo>
                <a:lnTo>
                  <a:pt x="5315" y="147"/>
                </a:lnTo>
                <a:lnTo>
                  <a:pt x="5301" y="149"/>
                </a:lnTo>
                <a:lnTo>
                  <a:pt x="5285" y="151"/>
                </a:lnTo>
                <a:lnTo>
                  <a:pt x="5273" y="155"/>
                </a:lnTo>
                <a:lnTo>
                  <a:pt x="5277" y="163"/>
                </a:lnTo>
                <a:close/>
                <a:moveTo>
                  <a:pt x="5844" y="1758"/>
                </a:moveTo>
                <a:lnTo>
                  <a:pt x="5864" y="1785"/>
                </a:lnTo>
                <a:lnTo>
                  <a:pt x="5887" y="1776"/>
                </a:lnTo>
                <a:lnTo>
                  <a:pt x="5908" y="1748"/>
                </a:lnTo>
                <a:lnTo>
                  <a:pt x="5919" y="1716"/>
                </a:lnTo>
                <a:lnTo>
                  <a:pt x="5895" y="1716"/>
                </a:lnTo>
                <a:lnTo>
                  <a:pt x="5874" y="1725"/>
                </a:lnTo>
                <a:lnTo>
                  <a:pt x="5858" y="1739"/>
                </a:lnTo>
                <a:lnTo>
                  <a:pt x="5844" y="1758"/>
                </a:lnTo>
                <a:close/>
                <a:moveTo>
                  <a:pt x="5310" y="76"/>
                </a:moveTo>
                <a:lnTo>
                  <a:pt x="5310" y="76"/>
                </a:lnTo>
                <a:lnTo>
                  <a:pt x="5309" y="72"/>
                </a:lnTo>
                <a:lnTo>
                  <a:pt x="5308" y="68"/>
                </a:lnTo>
                <a:lnTo>
                  <a:pt x="5305" y="67"/>
                </a:lnTo>
                <a:lnTo>
                  <a:pt x="5299" y="71"/>
                </a:lnTo>
                <a:lnTo>
                  <a:pt x="5305" y="73"/>
                </a:lnTo>
                <a:lnTo>
                  <a:pt x="5310" y="76"/>
                </a:lnTo>
                <a:lnTo>
                  <a:pt x="5312" y="78"/>
                </a:lnTo>
                <a:lnTo>
                  <a:pt x="5313" y="78"/>
                </a:lnTo>
                <a:lnTo>
                  <a:pt x="5313" y="77"/>
                </a:lnTo>
                <a:lnTo>
                  <a:pt x="5310" y="76"/>
                </a:lnTo>
                <a:close/>
                <a:moveTo>
                  <a:pt x="6404" y="1463"/>
                </a:moveTo>
                <a:lnTo>
                  <a:pt x="6394" y="1468"/>
                </a:lnTo>
                <a:lnTo>
                  <a:pt x="6392" y="1480"/>
                </a:lnTo>
                <a:lnTo>
                  <a:pt x="6397" y="1489"/>
                </a:lnTo>
                <a:lnTo>
                  <a:pt x="6408" y="1490"/>
                </a:lnTo>
                <a:lnTo>
                  <a:pt x="6418" y="1485"/>
                </a:lnTo>
                <a:lnTo>
                  <a:pt x="6421" y="1475"/>
                </a:lnTo>
                <a:lnTo>
                  <a:pt x="6416" y="1464"/>
                </a:lnTo>
                <a:lnTo>
                  <a:pt x="6404" y="1463"/>
                </a:lnTo>
                <a:close/>
                <a:moveTo>
                  <a:pt x="6264" y="68"/>
                </a:moveTo>
                <a:lnTo>
                  <a:pt x="6263" y="67"/>
                </a:lnTo>
                <a:lnTo>
                  <a:pt x="6262" y="67"/>
                </a:lnTo>
                <a:lnTo>
                  <a:pt x="6263" y="68"/>
                </a:lnTo>
                <a:lnTo>
                  <a:pt x="6264" y="68"/>
                </a:lnTo>
                <a:close/>
                <a:moveTo>
                  <a:pt x="6231" y="63"/>
                </a:moveTo>
                <a:lnTo>
                  <a:pt x="6259" y="49"/>
                </a:lnTo>
                <a:lnTo>
                  <a:pt x="6232" y="27"/>
                </a:lnTo>
                <a:lnTo>
                  <a:pt x="6181" y="18"/>
                </a:lnTo>
                <a:lnTo>
                  <a:pt x="6130" y="40"/>
                </a:lnTo>
                <a:lnTo>
                  <a:pt x="6161" y="40"/>
                </a:lnTo>
                <a:lnTo>
                  <a:pt x="6188" y="45"/>
                </a:lnTo>
                <a:lnTo>
                  <a:pt x="6209" y="54"/>
                </a:lnTo>
                <a:lnTo>
                  <a:pt x="6231" y="63"/>
                </a:lnTo>
                <a:close/>
                <a:moveTo>
                  <a:pt x="6392" y="1592"/>
                </a:moveTo>
                <a:lnTo>
                  <a:pt x="6388" y="1585"/>
                </a:lnTo>
                <a:lnTo>
                  <a:pt x="6386" y="1589"/>
                </a:lnTo>
                <a:lnTo>
                  <a:pt x="6385" y="1592"/>
                </a:lnTo>
                <a:lnTo>
                  <a:pt x="6388" y="1592"/>
                </a:lnTo>
                <a:lnTo>
                  <a:pt x="6392" y="1592"/>
                </a:lnTo>
                <a:close/>
                <a:moveTo>
                  <a:pt x="6188" y="124"/>
                </a:moveTo>
                <a:lnTo>
                  <a:pt x="6213" y="134"/>
                </a:lnTo>
                <a:lnTo>
                  <a:pt x="6211" y="142"/>
                </a:lnTo>
                <a:lnTo>
                  <a:pt x="6197" y="149"/>
                </a:lnTo>
                <a:lnTo>
                  <a:pt x="6184" y="158"/>
                </a:lnTo>
                <a:lnTo>
                  <a:pt x="6211" y="180"/>
                </a:lnTo>
                <a:lnTo>
                  <a:pt x="6244" y="202"/>
                </a:lnTo>
                <a:lnTo>
                  <a:pt x="6281" y="216"/>
                </a:lnTo>
                <a:lnTo>
                  <a:pt x="6316" y="214"/>
                </a:lnTo>
                <a:lnTo>
                  <a:pt x="6295" y="169"/>
                </a:lnTo>
                <a:lnTo>
                  <a:pt x="6235" y="121"/>
                </a:lnTo>
                <a:lnTo>
                  <a:pt x="6183" y="99"/>
                </a:lnTo>
                <a:lnTo>
                  <a:pt x="6188" y="124"/>
                </a:lnTo>
                <a:close/>
                <a:moveTo>
                  <a:pt x="6330" y="147"/>
                </a:moveTo>
                <a:lnTo>
                  <a:pt x="6361" y="115"/>
                </a:lnTo>
                <a:lnTo>
                  <a:pt x="6403" y="90"/>
                </a:lnTo>
                <a:lnTo>
                  <a:pt x="6422" y="65"/>
                </a:lnTo>
                <a:lnTo>
                  <a:pt x="6388" y="39"/>
                </a:lnTo>
                <a:lnTo>
                  <a:pt x="6332" y="45"/>
                </a:lnTo>
                <a:lnTo>
                  <a:pt x="6286" y="67"/>
                </a:lnTo>
                <a:lnTo>
                  <a:pt x="6277" y="101"/>
                </a:lnTo>
                <a:lnTo>
                  <a:pt x="6330" y="147"/>
                </a:lnTo>
                <a:close/>
                <a:moveTo>
                  <a:pt x="5641" y="569"/>
                </a:moveTo>
                <a:lnTo>
                  <a:pt x="5658" y="582"/>
                </a:lnTo>
                <a:lnTo>
                  <a:pt x="5668" y="577"/>
                </a:lnTo>
                <a:lnTo>
                  <a:pt x="5671" y="563"/>
                </a:lnTo>
                <a:lnTo>
                  <a:pt x="5664" y="544"/>
                </a:lnTo>
                <a:lnTo>
                  <a:pt x="5640" y="533"/>
                </a:lnTo>
                <a:lnTo>
                  <a:pt x="5617" y="540"/>
                </a:lnTo>
                <a:lnTo>
                  <a:pt x="5612" y="557"/>
                </a:lnTo>
                <a:lnTo>
                  <a:pt x="5641" y="569"/>
                </a:lnTo>
                <a:close/>
                <a:moveTo>
                  <a:pt x="6063" y="23"/>
                </a:moveTo>
                <a:lnTo>
                  <a:pt x="6054" y="6"/>
                </a:lnTo>
                <a:lnTo>
                  <a:pt x="6034" y="0"/>
                </a:lnTo>
                <a:lnTo>
                  <a:pt x="6013" y="8"/>
                </a:lnTo>
                <a:lnTo>
                  <a:pt x="6008" y="27"/>
                </a:lnTo>
                <a:lnTo>
                  <a:pt x="6022" y="30"/>
                </a:lnTo>
                <a:lnTo>
                  <a:pt x="6038" y="31"/>
                </a:lnTo>
                <a:lnTo>
                  <a:pt x="6053" y="28"/>
                </a:lnTo>
                <a:lnTo>
                  <a:pt x="6063" y="23"/>
                </a:lnTo>
                <a:close/>
                <a:moveTo>
                  <a:pt x="5070" y="1166"/>
                </a:moveTo>
                <a:lnTo>
                  <a:pt x="5071" y="1166"/>
                </a:lnTo>
                <a:lnTo>
                  <a:pt x="5072" y="1164"/>
                </a:lnTo>
                <a:lnTo>
                  <a:pt x="5071" y="1165"/>
                </a:lnTo>
                <a:lnTo>
                  <a:pt x="5070" y="1166"/>
                </a:lnTo>
                <a:lnTo>
                  <a:pt x="5065" y="1168"/>
                </a:lnTo>
                <a:lnTo>
                  <a:pt x="5061" y="1169"/>
                </a:lnTo>
                <a:lnTo>
                  <a:pt x="5059" y="1173"/>
                </a:lnTo>
                <a:lnTo>
                  <a:pt x="5065" y="1179"/>
                </a:lnTo>
                <a:lnTo>
                  <a:pt x="5067" y="1173"/>
                </a:lnTo>
                <a:lnTo>
                  <a:pt x="5070" y="1166"/>
                </a:lnTo>
                <a:close/>
                <a:moveTo>
                  <a:pt x="5104" y="760"/>
                </a:moveTo>
                <a:lnTo>
                  <a:pt x="5110" y="752"/>
                </a:lnTo>
                <a:lnTo>
                  <a:pt x="5108" y="741"/>
                </a:lnTo>
                <a:lnTo>
                  <a:pt x="5100" y="734"/>
                </a:lnTo>
                <a:lnTo>
                  <a:pt x="5090" y="734"/>
                </a:lnTo>
                <a:lnTo>
                  <a:pt x="5085" y="740"/>
                </a:lnTo>
                <a:lnTo>
                  <a:pt x="5089" y="749"/>
                </a:lnTo>
                <a:lnTo>
                  <a:pt x="5096" y="755"/>
                </a:lnTo>
                <a:lnTo>
                  <a:pt x="5104" y="760"/>
                </a:lnTo>
                <a:close/>
                <a:moveTo>
                  <a:pt x="5080" y="973"/>
                </a:moveTo>
                <a:lnTo>
                  <a:pt x="5086" y="991"/>
                </a:lnTo>
                <a:lnTo>
                  <a:pt x="5101" y="1002"/>
                </a:lnTo>
                <a:lnTo>
                  <a:pt x="5117" y="1004"/>
                </a:lnTo>
                <a:lnTo>
                  <a:pt x="5127" y="991"/>
                </a:lnTo>
                <a:lnTo>
                  <a:pt x="5121" y="974"/>
                </a:lnTo>
                <a:lnTo>
                  <a:pt x="5105" y="962"/>
                </a:lnTo>
                <a:lnTo>
                  <a:pt x="5089" y="960"/>
                </a:lnTo>
                <a:lnTo>
                  <a:pt x="5080" y="973"/>
                </a:lnTo>
                <a:close/>
                <a:moveTo>
                  <a:pt x="5236" y="3311"/>
                </a:moveTo>
                <a:lnTo>
                  <a:pt x="5240" y="3306"/>
                </a:lnTo>
                <a:lnTo>
                  <a:pt x="5243" y="3300"/>
                </a:lnTo>
                <a:lnTo>
                  <a:pt x="5238" y="3301"/>
                </a:lnTo>
                <a:lnTo>
                  <a:pt x="5234" y="3302"/>
                </a:lnTo>
                <a:lnTo>
                  <a:pt x="5234" y="3305"/>
                </a:lnTo>
                <a:lnTo>
                  <a:pt x="5236" y="3311"/>
                </a:lnTo>
                <a:close/>
                <a:moveTo>
                  <a:pt x="4745" y="3552"/>
                </a:moveTo>
                <a:lnTo>
                  <a:pt x="4751" y="3571"/>
                </a:lnTo>
                <a:lnTo>
                  <a:pt x="4765" y="3580"/>
                </a:lnTo>
                <a:lnTo>
                  <a:pt x="4781" y="3577"/>
                </a:lnTo>
                <a:lnTo>
                  <a:pt x="4789" y="3560"/>
                </a:lnTo>
                <a:lnTo>
                  <a:pt x="4781" y="3549"/>
                </a:lnTo>
                <a:lnTo>
                  <a:pt x="4768" y="3542"/>
                </a:lnTo>
                <a:lnTo>
                  <a:pt x="4754" y="3542"/>
                </a:lnTo>
                <a:lnTo>
                  <a:pt x="4745" y="3552"/>
                </a:lnTo>
                <a:close/>
                <a:moveTo>
                  <a:pt x="5187" y="3300"/>
                </a:moveTo>
                <a:lnTo>
                  <a:pt x="5202" y="3296"/>
                </a:lnTo>
                <a:lnTo>
                  <a:pt x="5206" y="3286"/>
                </a:lnTo>
                <a:lnTo>
                  <a:pt x="5205" y="3271"/>
                </a:lnTo>
                <a:lnTo>
                  <a:pt x="5201" y="3257"/>
                </a:lnTo>
                <a:lnTo>
                  <a:pt x="5182" y="3263"/>
                </a:lnTo>
                <a:lnTo>
                  <a:pt x="5168" y="3274"/>
                </a:lnTo>
                <a:lnTo>
                  <a:pt x="5168" y="3288"/>
                </a:lnTo>
                <a:lnTo>
                  <a:pt x="5187" y="3300"/>
                </a:lnTo>
                <a:close/>
                <a:moveTo>
                  <a:pt x="4712" y="3566"/>
                </a:moveTo>
                <a:lnTo>
                  <a:pt x="4717" y="3570"/>
                </a:lnTo>
                <a:lnTo>
                  <a:pt x="4721" y="3568"/>
                </a:lnTo>
                <a:lnTo>
                  <a:pt x="4721" y="3565"/>
                </a:lnTo>
                <a:lnTo>
                  <a:pt x="4717" y="3562"/>
                </a:lnTo>
                <a:lnTo>
                  <a:pt x="4714" y="3563"/>
                </a:lnTo>
                <a:lnTo>
                  <a:pt x="4712" y="3566"/>
                </a:lnTo>
                <a:close/>
                <a:moveTo>
                  <a:pt x="4817" y="3440"/>
                </a:moveTo>
                <a:lnTo>
                  <a:pt x="4793" y="3418"/>
                </a:lnTo>
                <a:lnTo>
                  <a:pt x="4767" y="3428"/>
                </a:lnTo>
                <a:lnTo>
                  <a:pt x="4746" y="3455"/>
                </a:lnTo>
                <a:lnTo>
                  <a:pt x="4745" y="3484"/>
                </a:lnTo>
                <a:lnTo>
                  <a:pt x="4767" y="3495"/>
                </a:lnTo>
                <a:lnTo>
                  <a:pt x="4797" y="3487"/>
                </a:lnTo>
                <a:lnTo>
                  <a:pt x="4819" y="3467"/>
                </a:lnTo>
                <a:lnTo>
                  <a:pt x="4817" y="3440"/>
                </a:lnTo>
                <a:close/>
                <a:moveTo>
                  <a:pt x="5275" y="782"/>
                </a:moveTo>
                <a:lnTo>
                  <a:pt x="5291" y="852"/>
                </a:lnTo>
                <a:lnTo>
                  <a:pt x="5314" y="857"/>
                </a:lnTo>
                <a:lnTo>
                  <a:pt x="5360" y="825"/>
                </a:lnTo>
                <a:lnTo>
                  <a:pt x="5444" y="785"/>
                </a:lnTo>
                <a:lnTo>
                  <a:pt x="5412" y="749"/>
                </a:lnTo>
                <a:lnTo>
                  <a:pt x="5361" y="736"/>
                </a:lnTo>
                <a:lnTo>
                  <a:pt x="5309" y="748"/>
                </a:lnTo>
                <a:lnTo>
                  <a:pt x="5275" y="782"/>
                </a:lnTo>
                <a:close/>
                <a:moveTo>
                  <a:pt x="5597" y="3779"/>
                </a:moveTo>
                <a:lnTo>
                  <a:pt x="5603" y="3725"/>
                </a:lnTo>
                <a:lnTo>
                  <a:pt x="5654" y="3686"/>
                </a:lnTo>
                <a:lnTo>
                  <a:pt x="5685" y="3653"/>
                </a:lnTo>
                <a:lnTo>
                  <a:pt x="5627" y="3618"/>
                </a:lnTo>
                <a:lnTo>
                  <a:pt x="5566" y="3630"/>
                </a:lnTo>
                <a:lnTo>
                  <a:pt x="5514" y="3672"/>
                </a:lnTo>
                <a:lnTo>
                  <a:pt x="5457" y="3706"/>
                </a:lnTo>
                <a:lnTo>
                  <a:pt x="5379" y="3695"/>
                </a:lnTo>
                <a:lnTo>
                  <a:pt x="5387" y="3754"/>
                </a:lnTo>
                <a:lnTo>
                  <a:pt x="5397" y="3813"/>
                </a:lnTo>
                <a:lnTo>
                  <a:pt x="5389" y="3868"/>
                </a:lnTo>
                <a:lnTo>
                  <a:pt x="5346" y="3915"/>
                </a:lnTo>
                <a:lnTo>
                  <a:pt x="5357" y="3934"/>
                </a:lnTo>
                <a:lnTo>
                  <a:pt x="5369" y="3962"/>
                </a:lnTo>
                <a:lnTo>
                  <a:pt x="5384" y="3985"/>
                </a:lnTo>
                <a:lnTo>
                  <a:pt x="5402" y="3991"/>
                </a:lnTo>
                <a:lnTo>
                  <a:pt x="5425" y="3931"/>
                </a:lnTo>
                <a:lnTo>
                  <a:pt x="5430" y="3868"/>
                </a:lnTo>
                <a:lnTo>
                  <a:pt x="5452" y="3823"/>
                </a:lnTo>
                <a:lnTo>
                  <a:pt x="5529" y="3821"/>
                </a:lnTo>
                <a:lnTo>
                  <a:pt x="5484" y="3949"/>
                </a:lnTo>
                <a:lnTo>
                  <a:pt x="5519" y="3957"/>
                </a:lnTo>
                <a:lnTo>
                  <a:pt x="5576" y="3885"/>
                </a:lnTo>
                <a:lnTo>
                  <a:pt x="5597" y="3779"/>
                </a:lnTo>
                <a:close/>
                <a:moveTo>
                  <a:pt x="5295" y="228"/>
                </a:moveTo>
                <a:lnTo>
                  <a:pt x="5301" y="227"/>
                </a:lnTo>
                <a:lnTo>
                  <a:pt x="5308" y="221"/>
                </a:lnTo>
                <a:lnTo>
                  <a:pt x="5313" y="213"/>
                </a:lnTo>
                <a:lnTo>
                  <a:pt x="5315" y="207"/>
                </a:lnTo>
                <a:lnTo>
                  <a:pt x="5303" y="202"/>
                </a:lnTo>
                <a:lnTo>
                  <a:pt x="5293" y="207"/>
                </a:lnTo>
                <a:lnTo>
                  <a:pt x="5287" y="218"/>
                </a:lnTo>
                <a:lnTo>
                  <a:pt x="5295" y="228"/>
                </a:lnTo>
                <a:close/>
                <a:moveTo>
                  <a:pt x="5164" y="300"/>
                </a:moveTo>
                <a:lnTo>
                  <a:pt x="5149" y="310"/>
                </a:lnTo>
                <a:lnTo>
                  <a:pt x="5140" y="326"/>
                </a:lnTo>
                <a:lnTo>
                  <a:pt x="5140" y="344"/>
                </a:lnTo>
                <a:lnTo>
                  <a:pt x="5147" y="359"/>
                </a:lnTo>
                <a:lnTo>
                  <a:pt x="5163" y="349"/>
                </a:lnTo>
                <a:lnTo>
                  <a:pt x="5170" y="334"/>
                </a:lnTo>
                <a:lnTo>
                  <a:pt x="5172" y="316"/>
                </a:lnTo>
                <a:lnTo>
                  <a:pt x="5164" y="300"/>
                </a:lnTo>
                <a:close/>
                <a:moveTo>
                  <a:pt x="4308" y="2334"/>
                </a:moveTo>
                <a:lnTo>
                  <a:pt x="4299" y="2326"/>
                </a:lnTo>
                <a:lnTo>
                  <a:pt x="4290" y="2318"/>
                </a:lnTo>
                <a:lnTo>
                  <a:pt x="4289" y="2312"/>
                </a:lnTo>
                <a:lnTo>
                  <a:pt x="4299" y="2307"/>
                </a:lnTo>
                <a:lnTo>
                  <a:pt x="4308" y="2311"/>
                </a:lnTo>
                <a:lnTo>
                  <a:pt x="4313" y="2318"/>
                </a:lnTo>
                <a:lnTo>
                  <a:pt x="4313" y="2327"/>
                </a:lnTo>
                <a:lnTo>
                  <a:pt x="4308" y="2334"/>
                </a:lnTo>
                <a:close/>
                <a:moveTo>
                  <a:pt x="4251" y="2232"/>
                </a:moveTo>
                <a:lnTo>
                  <a:pt x="4246" y="2228"/>
                </a:lnTo>
                <a:lnTo>
                  <a:pt x="4243" y="2223"/>
                </a:lnTo>
                <a:lnTo>
                  <a:pt x="4244" y="2218"/>
                </a:lnTo>
                <a:lnTo>
                  <a:pt x="4247" y="2210"/>
                </a:lnTo>
                <a:lnTo>
                  <a:pt x="4252" y="2215"/>
                </a:lnTo>
                <a:lnTo>
                  <a:pt x="4255" y="2220"/>
                </a:lnTo>
                <a:lnTo>
                  <a:pt x="4253" y="2226"/>
                </a:lnTo>
                <a:lnTo>
                  <a:pt x="4251" y="2232"/>
                </a:lnTo>
                <a:close/>
                <a:moveTo>
                  <a:pt x="4370" y="2386"/>
                </a:moveTo>
                <a:lnTo>
                  <a:pt x="4432" y="2400"/>
                </a:lnTo>
                <a:lnTo>
                  <a:pt x="4489" y="2359"/>
                </a:lnTo>
                <a:lnTo>
                  <a:pt x="4522" y="2293"/>
                </a:lnTo>
                <a:lnTo>
                  <a:pt x="4509" y="2223"/>
                </a:lnTo>
                <a:lnTo>
                  <a:pt x="4491" y="2194"/>
                </a:lnTo>
                <a:lnTo>
                  <a:pt x="4458" y="2172"/>
                </a:lnTo>
                <a:lnTo>
                  <a:pt x="4432" y="2152"/>
                </a:lnTo>
                <a:lnTo>
                  <a:pt x="4441" y="2124"/>
                </a:lnTo>
                <a:lnTo>
                  <a:pt x="4449" y="2117"/>
                </a:lnTo>
                <a:lnTo>
                  <a:pt x="4452" y="2112"/>
                </a:lnTo>
                <a:lnTo>
                  <a:pt x="4449" y="2108"/>
                </a:lnTo>
                <a:lnTo>
                  <a:pt x="4439" y="2105"/>
                </a:lnTo>
                <a:lnTo>
                  <a:pt x="4424" y="2094"/>
                </a:lnTo>
                <a:lnTo>
                  <a:pt x="4427" y="2079"/>
                </a:lnTo>
                <a:lnTo>
                  <a:pt x="4430" y="2065"/>
                </a:lnTo>
                <a:lnTo>
                  <a:pt x="4420" y="2055"/>
                </a:lnTo>
                <a:lnTo>
                  <a:pt x="4425" y="2027"/>
                </a:lnTo>
                <a:lnTo>
                  <a:pt x="4435" y="2009"/>
                </a:lnTo>
                <a:lnTo>
                  <a:pt x="4423" y="2005"/>
                </a:lnTo>
                <a:lnTo>
                  <a:pt x="4364" y="2026"/>
                </a:lnTo>
                <a:lnTo>
                  <a:pt x="4303" y="2031"/>
                </a:lnTo>
                <a:lnTo>
                  <a:pt x="4321" y="2056"/>
                </a:lnTo>
                <a:lnTo>
                  <a:pt x="4351" y="2092"/>
                </a:lnTo>
                <a:lnTo>
                  <a:pt x="4331" y="2129"/>
                </a:lnTo>
                <a:lnTo>
                  <a:pt x="4285" y="2152"/>
                </a:lnTo>
                <a:lnTo>
                  <a:pt x="4246" y="2156"/>
                </a:lnTo>
                <a:lnTo>
                  <a:pt x="4215" y="2171"/>
                </a:lnTo>
                <a:lnTo>
                  <a:pt x="4195" y="2233"/>
                </a:lnTo>
                <a:lnTo>
                  <a:pt x="4205" y="2317"/>
                </a:lnTo>
                <a:lnTo>
                  <a:pt x="4209" y="2429"/>
                </a:lnTo>
                <a:lnTo>
                  <a:pt x="4224" y="2507"/>
                </a:lnTo>
                <a:lnTo>
                  <a:pt x="4267" y="2484"/>
                </a:lnTo>
                <a:lnTo>
                  <a:pt x="4289" y="2448"/>
                </a:lnTo>
                <a:lnTo>
                  <a:pt x="4302" y="2405"/>
                </a:lnTo>
                <a:lnTo>
                  <a:pt x="4325" y="2377"/>
                </a:lnTo>
                <a:lnTo>
                  <a:pt x="4370" y="2386"/>
                </a:lnTo>
                <a:close/>
                <a:moveTo>
                  <a:pt x="5136" y="923"/>
                </a:moveTo>
                <a:lnTo>
                  <a:pt x="5196" y="946"/>
                </a:lnTo>
                <a:lnTo>
                  <a:pt x="5207" y="890"/>
                </a:lnTo>
                <a:lnTo>
                  <a:pt x="5187" y="808"/>
                </a:lnTo>
                <a:lnTo>
                  <a:pt x="5154" y="752"/>
                </a:lnTo>
                <a:lnTo>
                  <a:pt x="5146" y="791"/>
                </a:lnTo>
                <a:lnTo>
                  <a:pt x="5133" y="836"/>
                </a:lnTo>
                <a:lnTo>
                  <a:pt x="5127" y="880"/>
                </a:lnTo>
                <a:lnTo>
                  <a:pt x="5136" y="923"/>
                </a:lnTo>
                <a:close/>
                <a:moveTo>
                  <a:pt x="5156" y="480"/>
                </a:moveTo>
                <a:lnTo>
                  <a:pt x="5170" y="494"/>
                </a:lnTo>
                <a:lnTo>
                  <a:pt x="5186" y="489"/>
                </a:lnTo>
                <a:lnTo>
                  <a:pt x="5192" y="475"/>
                </a:lnTo>
                <a:lnTo>
                  <a:pt x="5179" y="468"/>
                </a:lnTo>
                <a:lnTo>
                  <a:pt x="5165" y="469"/>
                </a:lnTo>
                <a:lnTo>
                  <a:pt x="5158" y="471"/>
                </a:lnTo>
                <a:lnTo>
                  <a:pt x="5154" y="475"/>
                </a:lnTo>
                <a:lnTo>
                  <a:pt x="5156" y="480"/>
                </a:lnTo>
                <a:close/>
                <a:moveTo>
                  <a:pt x="4256" y="2590"/>
                </a:moveTo>
                <a:lnTo>
                  <a:pt x="4234" y="2618"/>
                </a:lnTo>
                <a:lnTo>
                  <a:pt x="4241" y="2651"/>
                </a:lnTo>
                <a:lnTo>
                  <a:pt x="4265" y="2675"/>
                </a:lnTo>
                <a:lnTo>
                  <a:pt x="4297" y="2680"/>
                </a:lnTo>
                <a:lnTo>
                  <a:pt x="4284" y="2660"/>
                </a:lnTo>
                <a:lnTo>
                  <a:pt x="4272" y="2637"/>
                </a:lnTo>
                <a:lnTo>
                  <a:pt x="4264" y="2613"/>
                </a:lnTo>
                <a:lnTo>
                  <a:pt x="4256" y="2590"/>
                </a:lnTo>
                <a:close/>
                <a:moveTo>
                  <a:pt x="5247" y="3297"/>
                </a:moveTo>
                <a:lnTo>
                  <a:pt x="5244" y="3297"/>
                </a:lnTo>
                <a:lnTo>
                  <a:pt x="5243" y="3300"/>
                </a:lnTo>
                <a:lnTo>
                  <a:pt x="5245" y="3299"/>
                </a:lnTo>
                <a:lnTo>
                  <a:pt x="5247" y="3297"/>
                </a:lnTo>
                <a:lnTo>
                  <a:pt x="5250" y="3296"/>
                </a:lnTo>
                <a:lnTo>
                  <a:pt x="5254" y="3295"/>
                </a:lnTo>
                <a:lnTo>
                  <a:pt x="5256" y="3291"/>
                </a:lnTo>
                <a:lnTo>
                  <a:pt x="5252" y="3285"/>
                </a:lnTo>
                <a:lnTo>
                  <a:pt x="5249" y="3291"/>
                </a:lnTo>
                <a:lnTo>
                  <a:pt x="5247" y="3297"/>
                </a:lnTo>
                <a:close/>
                <a:moveTo>
                  <a:pt x="5009" y="538"/>
                </a:moveTo>
                <a:lnTo>
                  <a:pt x="5007" y="536"/>
                </a:lnTo>
                <a:lnTo>
                  <a:pt x="5005" y="534"/>
                </a:lnTo>
                <a:lnTo>
                  <a:pt x="5001" y="538"/>
                </a:lnTo>
                <a:lnTo>
                  <a:pt x="5002" y="541"/>
                </a:lnTo>
                <a:lnTo>
                  <a:pt x="5006" y="543"/>
                </a:lnTo>
                <a:lnTo>
                  <a:pt x="5009" y="538"/>
                </a:lnTo>
                <a:close/>
                <a:moveTo>
                  <a:pt x="4297" y="2028"/>
                </a:moveTo>
                <a:lnTo>
                  <a:pt x="4297" y="2028"/>
                </a:lnTo>
                <a:lnTo>
                  <a:pt x="4298" y="2028"/>
                </a:lnTo>
                <a:lnTo>
                  <a:pt x="4298" y="2028"/>
                </a:lnTo>
                <a:lnTo>
                  <a:pt x="4297" y="2028"/>
                </a:lnTo>
                <a:close/>
                <a:moveTo>
                  <a:pt x="4956" y="759"/>
                </a:moveTo>
                <a:lnTo>
                  <a:pt x="4959" y="758"/>
                </a:lnTo>
                <a:lnTo>
                  <a:pt x="4958" y="757"/>
                </a:lnTo>
                <a:lnTo>
                  <a:pt x="4956" y="759"/>
                </a:lnTo>
                <a:lnTo>
                  <a:pt x="4952" y="759"/>
                </a:lnTo>
                <a:lnTo>
                  <a:pt x="4949" y="762"/>
                </a:lnTo>
                <a:lnTo>
                  <a:pt x="4947" y="764"/>
                </a:lnTo>
                <a:lnTo>
                  <a:pt x="4951" y="771"/>
                </a:lnTo>
                <a:lnTo>
                  <a:pt x="4954" y="764"/>
                </a:lnTo>
                <a:lnTo>
                  <a:pt x="4956" y="759"/>
                </a:lnTo>
                <a:close/>
                <a:moveTo>
                  <a:pt x="4281" y="1515"/>
                </a:moveTo>
                <a:lnTo>
                  <a:pt x="4294" y="1503"/>
                </a:lnTo>
                <a:lnTo>
                  <a:pt x="4318" y="1515"/>
                </a:lnTo>
                <a:lnTo>
                  <a:pt x="4341" y="1541"/>
                </a:lnTo>
                <a:lnTo>
                  <a:pt x="4350" y="1565"/>
                </a:lnTo>
                <a:lnTo>
                  <a:pt x="4327" y="1567"/>
                </a:lnTo>
                <a:lnTo>
                  <a:pt x="4306" y="1556"/>
                </a:lnTo>
                <a:lnTo>
                  <a:pt x="4288" y="1536"/>
                </a:lnTo>
                <a:lnTo>
                  <a:pt x="4281" y="1515"/>
                </a:lnTo>
                <a:close/>
                <a:moveTo>
                  <a:pt x="4351" y="1979"/>
                </a:moveTo>
                <a:lnTo>
                  <a:pt x="4451" y="1952"/>
                </a:lnTo>
                <a:lnTo>
                  <a:pt x="4555" y="1868"/>
                </a:lnTo>
                <a:lnTo>
                  <a:pt x="4618" y="1769"/>
                </a:lnTo>
                <a:lnTo>
                  <a:pt x="4593" y="1691"/>
                </a:lnTo>
                <a:lnTo>
                  <a:pt x="4544" y="1598"/>
                </a:lnTo>
                <a:lnTo>
                  <a:pt x="4495" y="1584"/>
                </a:lnTo>
                <a:lnTo>
                  <a:pt x="4437" y="1580"/>
                </a:lnTo>
                <a:lnTo>
                  <a:pt x="4353" y="1515"/>
                </a:lnTo>
                <a:lnTo>
                  <a:pt x="4442" y="1500"/>
                </a:lnTo>
                <a:lnTo>
                  <a:pt x="4449" y="1478"/>
                </a:lnTo>
                <a:lnTo>
                  <a:pt x="4432" y="1445"/>
                </a:lnTo>
                <a:lnTo>
                  <a:pt x="4443" y="1398"/>
                </a:lnTo>
                <a:lnTo>
                  <a:pt x="4429" y="1373"/>
                </a:lnTo>
                <a:lnTo>
                  <a:pt x="4393" y="1357"/>
                </a:lnTo>
                <a:lnTo>
                  <a:pt x="4363" y="1342"/>
                </a:lnTo>
                <a:lnTo>
                  <a:pt x="4363" y="1314"/>
                </a:lnTo>
                <a:lnTo>
                  <a:pt x="4355" y="1300"/>
                </a:lnTo>
                <a:lnTo>
                  <a:pt x="4337" y="1309"/>
                </a:lnTo>
                <a:lnTo>
                  <a:pt x="4325" y="1329"/>
                </a:lnTo>
                <a:lnTo>
                  <a:pt x="4331" y="1352"/>
                </a:lnTo>
                <a:lnTo>
                  <a:pt x="4308" y="1435"/>
                </a:lnTo>
                <a:lnTo>
                  <a:pt x="4266" y="1444"/>
                </a:lnTo>
                <a:lnTo>
                  <a:pt x="4250" y="1399"/>
                </a:lnTo>
                <a:lnTo>
                  <a:pt x="4299" y="1327"/>
                </a:lnTo>
                <a:lnTo>
                  <a:pt x="4219" y="1359"/>
                </a:lnTo>
                <a:lnTo>
                  <a:pt x="4183" y="1671"/>
                </a:lnTo>
                <a:lnTo>
                  <a:pt x="4219" y="1972"/>
                </a:lnTo>
                <a:lnTo>
                  <a:pt x="4351" y="1979"/>
                </a:lnTo>
                <a:close/>
                <a:moveTo>
                  <a:pt x="4825" y="673"/>
                </a:moveTo>
                <a:lnTo>
                  <a:pt x="4820" y="668"/>
                </a:lnTo>
                <a:lnTo>
                  <a:pt x="4815" y="666"/>
                </a:lnTo>
                <a:lnTo>
                  <a:pt x="4810" y="668"/>
                </a:lnTo>
                <a:lnTo>
                  <a:pt x="4803" y="671"/>
                </a:lnTo>
                <a:lnTo>
                  <a:pt x="4809" y="676"/>
                </a:lnTo>
                <a:lnTo>
                  <a:pt x="4814" y="678"/>
                </a:lnTo>
                <a:lnTo>
                  <a:pt x="4819" y="676"/>
                </a:lnTo>
                <a:lnTo>
                  <a:pt x="4825" y="673"/>
                </a:lnTo>
                <a:close/>
                <a:moveTo>
                  <a:pt x="4722" y="1587"/>
                </a:moveTo>
                <a:lnTo>
                  <a:pt x="4689" y="1601"/>
                </a:lnTo>
                <a:lnTo>
                  <a:pt x="4694" y="1623"/>
                </a:lnTo>
                <a:lnTo>
                  <a:pt x="4723" y="1645"/>
                </a:lnTo>
                <a:lnTo>
                  <a:pt x="4760" y="1650"/>
                </a:lnTo>
                <a:lnTo>
                  <a:pt x="4788" y="1671"/>
                </a:lnTo>
                <a:lnTo>
                  <a:pt x="4805" y="1706"/>
                </a:lnTo>
                <a:lnTo>
                  <a:pt x="4824" y="1739"/>
                </a:lnTo>
                <a:lnTo>
                  <a:pt x="4865" y="1751"/>
                </a:lnTo>
                <a:lnTo>
                  <a:pt x="4910" y="1799"/>
                </a:lnTo>
                <a:lnTo>
                  <a:pt x="4956" y="1835"/>
                </a:lnTo>
                <a:lnTo>
                  <a:pt x="4988" y="1876"/>
                </a:lnTo>
                <a:lnTo>
                  <a:pt x="4991" y="1942"/>
                </a:lnTo>
                <a:lnTo>
                  <a:pt x="5023" y="1876"/>
                </a:lnTo>
                <a:lnTo>
                  <a:pt x="5059" y="1832"/>
                </a:lnTo>
                <a:lnTo>
                  <a:pt x="5112" y="1825"/>
                </a:lnTo>
                <a:lnTo>
                  <a:pt x="5193" y="1862"/>
                </a:lnTo>
                <a:lnTo>
                  <a:pt x="5224" y="1835"/>
                </a:lnTo>
                <a:lnTo>
                  <a:pt x="5257" y="1826"/>
                </a:lnTo>
                <a:lnTo>
                  <a:pt x="5293" y="1836"/>
                </a:lnTo>
                <a:lnTo>
                  <a:pt x="5335" y="1870"/>
                </a:lnTo>
                <a:lnTo>
                  <a:pt x="5378" y="1771"/>
                </a:lnTo>
                <a:lnTo>
                  <a:pt x="5438" y="1646"/>
                </a:lnTo>
                <a:lnTo>
                  <a:pt x="5519" y="1574"/>
                </a:lnTo>
                <a:lnTo>
                  <a:pt x="5631" y="1627"/>
                </a:lnTo>
                <a:lnTo>
                  <a:pt x="5699" y="1599"/>
                </a:lnTo>
                <a:lnTo>
                  <a:pt x="5700" y="1546"/>
                </a:lnTo>
                <a:lnTo>
                  <a:pt x="5659" y="1499"/>
                </a:lnTo>
                <a:lnTo>
                  <a:pt x="5594" y="1486"/>
                </a:lnTo>
                <a:lnTo>
                  <a:pt x="5526" y="1523"/>
                </a:lnTo>
                <a:lnTo>
                  <a:pt x="5496" y="1497"/>
                </a:lnTo>
                <a:lnTo>
                  <a:pt x="5473" y="1457"/>
                </a:lnTo>
                <a:lnTo>
                  <a:pt x="5421" y="1450"/>
                </a:lnTo>
                <a:lnTo>
                  <a:pt x="5394" y="1461"/>
                </a:lnTo>
                <a:lnTo>
                  <a:pt x="5361" y="1455"/>
                </a:lnTo>
                <a:lnTo>
                  <a:pt x="5332" y="1453"/>
                </a:lnTo>
                <a:lnTo>
                  <a:pt x="5315" y="1466"/>
                </a:lnTo>
                <a:lnTo>
                  <a:pt x="5301" y="1508"/>
                </a:lnTo>
                <a:lnTo>
                  <a:pt x="5268" y="1527"/>
                </a:lnTo>
                <a:lnTo>
                  <a:pt x="5236" y="1542"/>
                </a:lnTo>
                <a:lnTo>
                  <a:pt x="5225" y="1574"/>
                </a:lnTo>
                <a:lnTo>
                  <a:pt x="5215" y="1615"/>
                </a:lnTo>
                <a:lnTo>
                  <a:pt x="5233" y="1654"/>
                </a:lnTo>
                <a:lnTo>
                  <a:pt x="5254" y="1695"/>
                </a:lnTo>
                <a:lnTo>
                  <a:pt x="5256" y="1738"/>
                </a:lnTo>
                <a:lnTo>
                  <a:pt x="5189" y="1744"/>
                </a:lnTo>
                <a:lnTo>
                  <a:pt x="5101" y="1716"/>
                </a:lnTo>
                <a:lnTo>
                  <a:pt x="5035" y="1667"/>
                </a:lnTo>
                <a:lnTo>
                  <a:pt x="5037" y="1606"/>
                </a:lnTo>
                <a:lnTo>
                  <a:pt x="5015" y="1552"/>
                </a:lnTo>
                <a:lnTo>
                  <a:pt x="4924" y="1537"/>
                </a:lnTo>
                <a:lnTo>
                  <a:pt x="4812" y="1551"/>
                </a:lnTo>
                <a:lnTo>
                  <a:pt x="4722" y="1587"/>
                </a:lnTo>
                <a:close/>
                <a:moveTo>
                  <a:pt x="5009" y="762"/>
                </a:moveTo>
                <a:lnTo>
                  <a:pt x="5025" y="753"/>
                </a:lnTo>
                <a:lnTo>
                  <a:pt x="5023" y="731"/>
                </a:lnTo>
                <a:lnTo>
                  <a:pt x="5005" y="710"/>
                </a:lnTo>
                <a:lnTo>
                  <a:pt x="4980" y="704"/>
                </a:lnTo>
                <a:lnTo>
                  <a:pt x="4959" y="720"/>
                </a:lnTo>
                <a:lnTo>
                  <a:pt x="4959" y="740"/>
                </a:lnTo>
                <a:lnTo>
                  <a:pt x="4977" y="757"/>
                </a:lnTo>
                <a:lnTo>
                  <a:pt x="5009" y="762"/>
                </a:lnTo>
                <a:close/>
                <a:moveTo>
                  <a:pt x="5378" y="3352"/>
                </a:moveTo>
                <a:lnTo>
                  <a:pt x="5382" y="3350"/>
                </a:lnTo>
                <a:lnTo>
                  <a:pt x="5384" y="3347"/>
                </a:lnTo>
                <a:lnTo>
                  <a:pt x="5380" y="3336"/>
                </a:lnTo>
                <a:lnTo>
                  <a:pt x="5375" y="3336"/>
                </a:lnTo>
                <a:lnTo>
                  <a:pt x="5373" y="3343"/>
                </a:lnTo>
                <a:lnTo>
                  <a:pt x="5378" y="3352"/>
                </a:lnTo>
                <a:close/>
                <a:moveTo>
                  <a:pt x="5374" y="3290"/>
                </a:moveTo>
                <a:lnTo>
                  <a:pt x="5374" y="3278"/>
                </a:lnTo>
                <a:lnTo>
                  <a:pt x="5360" y="3274"/>
                </a:lnTo>
                <a:lnTo>
                  <a:pt x="5342" y="3274"/>
                </a:lnTo>
                <a:lnTo>
                  <a:pt x="5331" y="3276"/>
                </a:lnTo>
                <a:lnTo>
                  <a:pt x="5321" y="3290"/>
                </a:lnTo>
                <a:lnTo>
                  <a:pt x="5335" y="3302"/>
                </a:lnTo>
                <a:lnTo>
                  <a:pt x="5356" y="3305"/>
                </a:lnTo>
                <a:lnTo>
                  <a:pt x="5374" y="3290"/>
                </a:lnTo>
                <a:close/>
                <a:moveTo>
                  <a:pt x="5343" y="562"/>
                </a:moveTo>
                <a:lnTo>
                  <a:pt x="5337" y="564"/>
                </a:lnTo>
                <a:lnTo>
                  <a:pt x="5335" y="568"/>
                </a:lnTo>
                <a:lnTo>
                  <a:pt x="5337" y="572"/>
                </a:lnTo>
                <a:lnTo>
                  <a:pt x="5343" y="575"/>
                </a:lnTo>
                <a:lnTo>
                  <a:pt x="5351" y="572"/>
                </a:lnTo>
                <a:lnTo>
                  <a:pt x="5354" y="568"/>
                </a:lnTo>
                <a:lnTo>
                  <a:pt x="5351" y="564"/>
                </a:lnTo>
                <a:lnTo>
                  <a:pt x="5343" y="562"/>
                </a:lnTo>
                <a:close/>
                <a:moveTo>
                  <a:pt x="5127" y="1178"/>
                </a:moveTo>
                <a:lnTo>
                  <a:pt x="5182" y="1177"/>
                </a:lnTo>
                <a:lnTo>
                  <a:pt x="5252" y="1184"/>
                </a:lnTo>
                <a:lnTo>
                  <a:pt x="5308" y="1180"/>
                </a:lnTo>
                <a:lnTo>
                  <a:pt x="5324" y="1142"/>
                </a:lnTo>
                <a:lnTo>
                  <a:pt x="5245" y="1127"/>
                </a:lnTo>
                <a:lnTo>
                  <a:pt x="5137" y="1126"/>
                </a:lnTo>
                <a:lnTo>
                  <a:pt x="5073" y="1142"/>
                </a:lnTo>
                <a:lnTo>
                  <a:pt x="5127" y="1178"/>
                </a:lnTo>
                <a:close/>
                <a:moveTo>
                  <a:pt x="5075" y="2488"/>
                </a:moveTo>
                <a:lnTo>
                  <a:pt x="5079" y="2492"/>
                </a:lnTo>
                <a:lnTo>
                  <a:pt x="5081" y="2492"/>
                </a:lnTo>
                <a:lnTo>
                  <a:pt x="5082" y="2488"/>
                </a:lnTo>
                <a:lnTo>
                  <a:pt x="5079" y="2483"/>
                </a:lnTo>
                <a:lnTo>
                  <a:pt x="5076" y="2485"/>
                </a:lnTo>
                <a:lnTo>
                  <a:pt x="5075" y="2488"/>
                </a:lnTo>
                <a:close/>
                <a:moveTo>
                  <a:pt x="5442" y="3468"/>
                </a:moveTo>
                <a:lnTo>
                  <a:pt x="5435" y="3468"/>
                </a:lnTo>
                <a:lnTo>
                  <a:pt x="5433" y="3474"/>
                </a:lnTo>
                <a:lnTo>
                  <a:pt x="5433" y="3483"/>
                </a:lnTo>
                <a:lnTo>
                  <a:pt x="5438" y="3487"/>
                </a:lnTo>
                <a:lnTo>
                  <a:pt x="5442" y="3486"/>
                </a:lnTo>
                <a:lnTo>
                  <a:pt x="5444" y="3481"/>
                </a:lnTo>
                <a:lnTo>
                  <a:pt x="5444" y="3473"/>
                </a:lnTo>
                <a:lnTo>
                  <a:pt x="5442" y="3468"/>
                </a:lnTo>
                <a:close/>
                <a:moveTo>
                  <a:pt x="5462" y="3420"/>
                </a:moveTo>
                <a:lnTo>
                  <a:pt x="5471" y="3414"/>
                </a:lnTo>
                <a:lnTo>
                  <a:pt x="5473" y="3403"/>
                </a:lnTo>
                <a:lnTo>
                  <a:pt x="5468" y="3394"/>
                </a:lnTo>
                <a:lnTo>
                  <a:pt x="5457" y="3392"/>
                </a:lnTo>
                <a:lnTo>
                  <a:pt x="5447" y="3398"/>
                </a:lnTo>
                <a:lnTo>
                  <a:pt x="5445" y="3408"/>
                </a:lnTo>
                <a:lnTo>
                  <a:pt x="5450" y="3418"/>
                </a:lnTo>
                <a:lnTo>
                  <a:pt x="5462" y="3420"/>
                </a:lnTo>
                <a:close/>
                <a:moveTo>
                  <a:pt x="5538" y="3287"/>
                </a:moveTo>
                <a:lnTo>
                  <a:pt x="5556" y="3309"/>
                </a:lnTo>
                <a:lnTo>
                  <a:pt x="5568" y="3318"/>
                </a:lnTo>
                <a:lnTo>
                  <a:pt x="5573" y="3309"/>
                </a:lnTo>
                <a:lnTo>
                  <a:pt x="5570" y="3280"/>
                </a:lnTo>
                <a:lnTo>
                  <a:pt x="5552" y="3259"/>
                </a:lnTo>
                <a:lnTo>
                  <a:pt x="5531" y="3255"/>
                </a:lnTo>
                <a:lnTo>
                  <a:pt x="5520" y="3266"/>
                </a:lnTo>
                <a:lnTo>
                  <a:pt x="5538" y="3287"/>
                </a:lnTo>
                <a:close/>
                <a:moveTo>
                  <a:pt x="5149" y="3856"/>
                </a:moveTo>
                <a:lnTo>
                  <a:pt x="5129" y="3889"/>
                </a:lnTo>
                <a:lnTo>
                  <a:pt x="5146" y="3906"/>
                </a:lnTo>
                <a:lnTo>
                  <a:pt x="5182" y="3911"/>
                </a:lnTo>
                <a:lnTo>
                  <a:pt x="5216" y="3913"/>
                </a:lnTo>
                <a:lnTo>
                  <a:pt x="5226" y="3901"/>
                </a:lnTo>
                <a:lnTo>
                  <a:pt x="5206" y="3871"/>
                </a:lnTo>
                <a:lnTo>
                  <a:pt x="5174" y="3849"/>
                </a:lnTo>
                <a:lnTo>
                  <a:pt x="5149" y="3856"/>
                </a:lnTo>
                <a:close/>
                <a:moveTo>
                  <a:pt x="5751" y="3887"/>
                </a:moveTo>
                <a:lnTo>
                  <a:pt x="5750" y="3887"/>
                </a:lnTo>
                <a:lnTo>
                  <a:pt x="5750" y="3888"/>
                </a:lnTo>
                <a:lnTo>
                  <a:pt x="5751" y="3888"/>
                </a:lnTo>
                <a:lnTo>
                  <a:pt x="5751" y="3887"/>
                </a:lnTo>
                <a:lnTo>
                  <a:pt x="5756" y="3885"/>
                </a:lnTo>
                <a:lnTo>
                  <a:pt x="5760" y="3884"/>
                </a:lnTo>
                <a:lnTo>
                  <a:pt x="5761" y="3880"/>
                </a:lnTo>
                <a:lnTo>
                  <a:pt x="5757" y="3875"/>
                </a:lnTo>
                <a:lnTo>
                  <a:pt x="5751" y="3887"/>
                </a:lnTo>
                <a:close/>
                <a:moveTo>
                  <a:pt x="4418" y="138"/>
                </a:moveTo>
                <a:lnTo>
                  <a:pt x="4409" y="141"/>
                </a:lnTo>
                <a:lnTo>
                  <a:pt x="4402" y="148"/>
                </a:lnTo>
                <a:lnTo>
                  <a:pt x="4401" y="157"/>
                </a:lnTo>
                <a:lnTo>
                  <a:pt x="4407" y="165"/>
                </a:lnTo>
                <a:lnTo>
                  <a:pt x="4416" y="161"/>
                </a:lnTo>
                <a:lnTo>
                  <a:pt x="4425" y="153"/>
                </a:lnTo>
                <a:lnTo>
                  <a:pt x="4427" y="144"/>
                </a:lnTo>
                <a:lnTo>
                  <a:pt x="4418" y="138"/>
                </a:lnTo>
                <a:close/>
                <a:moveTo>
                  <a:pt x="5652" y="4014"/>
                </a:moveTo>
                <a:lnTo>
                  <a:pt x="5752" y="4041"/>
                </a:lnTo>
                <a:lnTo>
                  <a:pt x="5764" y="3958"/>
                </a:lnTo>
                <a:lnTo>
                  <a:pt x="5704" y="3865"/>
                </a:lnTo>
                <a:lnTo>
                  <a:pt x="5593" y="3864"/>
                </a:lnTo>
                <a:lnTo>
                  <a:pt x="5630" y="3889"/>
                </a:lnTo>
                <a:lnTo>
                  <a:pt x="5640" y="3926"/>
                </a:lnTo>
                <a:lnTo>
                  <a:pt x="5641" y="3969"/>
                </a:lnTo>
                <a:lnTo>
                  <a:pt x="5652" y="4014"/>
                </a:lnTo>
                <a:close/>
                <a:moveTo>
                  <a:pt x="4500" y="1489"/>
                </a:moveTo>
                <a:lnTo>
                  <a:pt x="4498" y="1485"/>
                </a:lnTo>
                <a:lnTo>
                  <a:pt x="4497" y="1485"/>
                </a:lnTo>
                <a:lnTo>
                  <a:pt x="4494" y="1485"/>
                </a:lnTo>
                <a:lnTo>
                  <a:pt x="4491" y="1487"/>
                </a:lnTo>
                <a:lnTo>
                  <a:pt x="4493" y="1491"/>
                </a:lnTo>
                <a:lnTo>
                  <a:pt x="4495" y="1492"/>
                </a:lnTo>
                <a:lnTo>
                  <a:pt x="4498" y="1491"/>
                </a:lnTo>
                <a:lnTo>
                  <a:pt x="4500" y="1489"/>
                </a:lnTo>
                <a:close/>
                <a:moveTo>
                  <a:pt x="4339" y="949"/>
                </a:moveTo>
                <a:lnTo>
                  <a:pt x="4359" y="958"/>
                </a:lnTo>
                <a:lnTo>
                  <a:pt x="4379" y="965"/>
                </a:lnTo>
                <a:lnTo>
                  <a:pt x="4400" y="968"/>
                </a:lnTo>
                <a:lnTo>
                  <a:pt x="4420" y="963"/>
                </a:lnTo>
                <a:lnTo>
                  <a:pt x="4421" y="932"/>
                </a:lnTo>
                <a:lnTo>
                  <a:pt x="4382" y="913"/>
                </a:lnTo>
                <a:lnTo>
                  <a:pt x="4342" y="916"/>
                </a:lnTo>
                <a:lnTo>
                  <a:pt x="4339" y="949"/>
                </a:lnTo>
                <a:close/>
                <a:moveTo>
                  <a:pt x="4420" y="403"/>
                </a:moveTo>
                <a:lnTo>
                  <a:pt x="4424" y="408"/>
                </a:lnTo>
                <a:lnTo>
                  <a:pt x="4427" y="407"/>
                </a:lnTo>
                <a:lnTo>
                  <a:pt x="4428" y="403"/>
                </a:lnTo>
                <a:lnTo>
                  <a:pt x="4425" y="398"/>
                </a:lnTo>
                <a:lnTo>
                  <a:pt x="4421" y="400"/>
                </a:lnTo>
                <a:lnTo>
                  <a:pt x="4420" y="403"/>
                </a:lnTo>
                <a:close/>
                <a:moveTo>
                  <a:pt x="5631" y="4112"/>
                </a:moveTo>
                <a:lnTo>
                  <a:pt x="5633" y="4115"/>
                </a:lnTo>
                <a:lnTo>
                  <a:pt x="5635" y="4116"/>
                </a:lnTo>
                <a:lnTo>
                  <a:pt x="5638" y="4115"/>
                </a:lnTo>
                <a:lnTo>
                  <a:pt x="5639" y="4112"/>
                </a:lnTo>
                <a:lnTo>
                  <a:pt x="5638" y="4109"/>
                </a:lnTo>
                <a:lnTo>
                  <a:pt x="5635" y="4108"/>
                </a:lnTo>
                <a:lnTo>
                  <a:pt x="5633" y="4109"/>
                </a:lnTo>
                <a:lnTo>
                  <a:pt x="5631" y="4112"/>
                </a:lnTo>
                <a:close/>
                <a:moveTo>
                  <a:pt x="5401" y="4041"/>
                </a:moveTo>
                <a:lnTo>
                  <a:pt x="5402" y="4043"/>
                </a:lnTo>
                <a:lnTo>
                  <a:pt x="5405" y="4045"/>
                </a:lnTo>
                <a:lnTo>
                  <a:pt x="5407" y="4043"/>
                </a:lnTo>
                <a:lnTo>
                  <a:pt x="5410" y="4041"/>
                </a:lnTo>
                <a:lnTo>
                  <a:pt x="5407" y="4038"/>
                </a:lnTo>
                <a:lnTo>
                  <a:pt x="5405" y="4037"/>
                </a:lnTo>
                <a:lnTo>
                  <a:pt x="5402" y="4037"/>
                </a:lnTo>
                <a:lnTo>
                  <a:pt x="5401" y="4041"/>
                </a:lnTo>
                <a:close/>
                <a:moveTo>
                  <a:pt x="4530" y="1524"/>
                </a:moveTo>
                <a:lnTo>
                  <a:pt x="4536" y="1520"/>
                </a:lnTo>
                <a:lnTo>
                  <a:pt x="4532" y="1519"/>
                </a:lnTo>
                <a:lnTo>
                  <a:pt x="4531" y="1518"/>
                </a:lnTo>
                <a:lnTo>
                  <a:pt x="4530" y="1520"/>
                </a:lnTo>
                <a:lnTo>
                  <a:pt x="4530" y="1524"/>
                </a:lnTo>
                <a:close/>
                <a:moveTo>
                  <a:pt x="4460" y="1282"/>
                </a:moveTo>
                <a:lnTo>
                  <a:pt x="4462" y="1285"/>
                </a:lnTo>
                <a:lnTo>
                  <a:pt x="4465" y="1287"/>
                </a:lnTo>
                <a:lnTo>
                  <a:pt x="4469" y="1284"/>
                </a:lnTo>
                <a:lnTo>
                  <a:pt x="4469" y="1280"/>
                </a:lnTo>
                <a:lnTo>
                  <a:pt x="4463" y="1279"/>
                </a:lnTo>
                <a:lnTo>
                  <a:pt x="4460" y="1282"/>
                </a:lnTo>
                <a:close/>
                <a:moveTo>
                  <a:pt x="5592" y="3864"/>
                </a:moveTo>
                <a:lnTo>
                  <a:pt x="5592" y="3864"/>
                </a:lnTo>
                <a:lnTo>
                  <a:pt x="5593" y="3864"/>
                </a:lnTo>
                <a:lnTo>
                  <a:pt x="5593" y="3864"/>
                </a:lnTo>
                <a:lnTo>
                  <a:pt x="5592" y="3864"/>
                </a:lnTo>
                <a:close/>
                <a:moveTo>
                  <a:pt x="4480" y="903"/>
                </a:moveTo>
                <a:lnTo>
                  <a:pt x="4475" y="894"/>
                </a:lnTo>
                <a:lnTo>
                  <a:pt x="4467" y="888"/>
                </a:lnTo>
                <a:lnTo>
                  <a:pt x="4460" y="881"/>
                </a:lnTo>
                <a:lnTo>
                  <a:pt x="4449" y="879"/>
                </a:lnTo>
                <a:lnTo>
                  <a:pt x="4433" y="895"/>
                </a:lnTo>
                <a:lnTo>
                  <a:pt x="4447" y="917"/>
                </a:lnTo>
                <a:lnTo>
                  <a:pt x="4471" y="925"/>
                </a:lnTo>
                <a:lnTo>
                  <a:pt x="4480" y="903"/>
                </a:lnTo>
                <a:close/>
                <a:moveTo>
                  <a:pt x="4648" y="1238"/>
                </a:moveTo>
                <a:lnTo>
                  <a:pt x="4616" y="1262"/>
                </a:lnTo>
                <a:lnTo>
                  <a:pt x="4652" y="1298"/>
                </a:lnTo>
                <a:lnTo>
                  <a:pt x="4718" y="1315"/>
                </a:lnTo>
                <a:lnTo>
                  <a:pt x="4773" y="1286"/>
                </a:lnTo>
                <a:lnTo>
                  <a:pt x="4750" y="1256"/>
                </a:lnTo>
                <a:lnTo>
                  <a:pt x="4723" y="1216"/>
                </a:lnTo>
                <a:lnTo>
                  <a:pt x="4691" y="1184"/>
                </a:lnTo>
                <a:lnTo>
                  <a:pt x="4656" y="1175"/>
                </a:lnTo>
                <a:lnTo>
                  <a:pt x="4651" y="1191"/>
                </a:lnTo>
                <a:lnTo>
                  <a:pt x="4663" y="1208"/>
                </a:lnTo>
                <a:lnTo>
                  <a:pt x="4670" y="1225"/>
                </a:lnTo>
                <a:lnTo>
                  <a:pt x="4648" y="1238"/>
                </a:lnTo>
                <a:close/>
                <a:moveTo>
                  <a:pt x="4684" y="828"/>
                </a:moveTo>
                <a:lnTo>
                  <a:pt x="4681" y="820"/>
                </a:lnTo>
                <a:lnTo>
                  <a:pt x="4677" y="818"/>
                </a:lnTo>
                <a:lnTo>
                  <a:pt x="4674" y="820"/>
                </a:lnTo>
                <a:lnTo>
                  <a:pt x="4671" y="828"/>
                </a:lnTo>
                <a:lnTo>
                  <a:pt x="4674" y="834"/>
                </a:lnTo>
                <a:lnTo>
                  <a:pt x="4677" y="837"/>
                </a:lnTo>
                <a:lnTo>
                  <a:pt x="4681" y="834"/>
                </a:lnTo>
                <a:lnTo>
                  <a:pt x="4684" y="828"/>
                </a:lnTo>
                <a:close/>
                <a:moveTo>
                  <a:pt x="4328" y="508"/>
                </a:moveTo>
                <a:lnTo>
                  <a:pt x="4326" y="510"/>
                </a:lnTo>
                <a:lnTo>
                  <a:pt x="4323" y="513"/>
                </a:lnTo>
                <a:lnTo>
                  <a:pt x="4327" y="517"/>
                </a:lnTo>
                <a:lnTo>
                  <a:pt x="4331" y="516"/>
                </a:lnTo>
                <a:lnTo>
                  <a:pt x="4332" y="512"/>
                </a:lnTo>
                <a:lnTo>
                  <a:pt x="4328" y="508"/>
                </a:lnTo>
                <a:close/>
                <a:moveTo>
                  <a:pt x="5277" y="3397"/>
                </a:moveTo>
                <a:lnTo>
                  <a:pt x="5267" y="3384"/>
                </a:lnTo>
                <a:lnTo>
                  <a:pt x="5256" y="3399"/>
                </a:lnTo>
                <a:lnTo>
                  <a:pt x="5252" y="3421"/>
                </a:lnTo>
                <a:lnTo>
                  <a:pt x="5270" y="3434"/>
                </a:lnTo>
                <a:lnTo>
                  <a:pt x="5270" y="3434"/>
                </a:lnTo>
                <a:lnTo>
                  <a:pt x="5270" y="3436"/>
                </a:lnTo>
                <a:lnTo>
                  <a:pt x="5271" y="3436"/>
                </a:lnTo>
                <a:lnTo>
                  <a:pt x="5271" y="3435"/>
                </a:lnTo>
                <a:lnTo>
                  <a:pt x="5270" y="3434"/>
                </a:lnTo>
                <a:lnTo>
                  <a:pt x="5270" y="3434"/>
                </a:lnTo>
                <a:lnTo>
                  <a:pt x="5270" y="3425"/>
                </a:lnTo>
                <a:lnTo>
                  <a:pt x="5271" y="3414"/>
                </a:lnTo>
                <a:lnTo>
                  <a:pt x="5273" y="3406"/>
                </a:lnTo>
                <a:lnTo>
                  <a:pt x="5277" y="3397"/>
                </a:lnTo>
                <a:close/>
                <a:moveTo>
                  <a:pt x="5601" y="468"/>
                </a:moveTo>
                <a:lnTo>
                  <a:pt x="5598" y="482"/>
                </a:lnTo>
                <a:lnTo>
                  <a:pt x="5599" y="501"/>
                </a:lnTo>
                <a:lnTo>
                  <a:pt x="5606" y="515"/>
                </a:lnTo>
                <a:lnTo>
                  <a:pt x="5619" y="513"/>
                </a:lnTo>
                <a:lnTo>
                  <a:pt x="5630" y="497"/>
                </a:lnTo>
                <a:lnTo>
                  <a:pt x="5626" y="478"/>
                </a:lnTo>
                <a:lnTo>
                  <a:pt x="5615" y="465"/>
                </a:lnTo>
                <a:lnTo>
                  <a:pt x="5601" y="468"/>
                </a:lnTo>
                <a:close/>
                <a:moveTo>
                  <a:pt x="4348" y="550"/>
                </a:moveTo>
                <a:lnTo>
                  <a:pt x="4351" y="549"/>
                </a:lnTo>
                <a:lnTo>
                  <a:pt x="4351" y="547"/>
                </a:lnTo>
                <a:lnTo>
                  <a:pt x="4351" y="544"/>
                </a:lnTo>
                <a:lnTo>
                  <a:pt x="4348" y="541"/>
                </a:lnTo>
                <a:lnTo>
                  <a:pt x="4345" y="544"/>
                </a:lnTo>
                <a:lnTo>
                  <a:pt x="4344" y="547"/>
                </a:lnTo>
                <a:lnTo>
                  <a:pt x="4345" y="549"/>
                </a:lnTo>
                <a:lnTo>
                  <a:pt x="4348" y="550"/>
                </a:lnTo>
                <a:close/>
                <a:moveTo>
                  <a:pt x="4767" y="3414"/>
                </a:moveTo>
                <a:lnTo>
                  <a:pt x="4767" y="3416"/>
                </a:lnTo>
                <a:lnTo>
                  <a:pt x="4768" y="3417"/>
                </a:lnTo>
                <a:lnTo>
                  <a:pt x="4768" y="3414"/>
                </a:lnTo>
                <a:lnTo>
                  <a:pt x="4767" y="3414"/>
                </a:lnTo>
                <a:close/>
                <a:moveTo>
                  <a:pt x="4746" y="3392"/>
                </a:moveTo>
                <a:lnTo>
                  <a:pt x="4726" y="3383"/>
                </a:lnTo>
                <a:lnTo>
                  <a:pt x="4716" y="3366"/>
                </a:lnTo>
                <a:lnTo>
                  <a:pt x="4708" y="3350"/>
                </a:lnTo>
                <a:lnTo>
                  <a:pt x="4694" y="3338"/>
                </a:lnTo>
                <a:lnTo>
                  <a:pt x="4675" y="3383"/>
                </a:lnTo>
                <a:lnTo>
                  <a:pt x="4709" y="3413"/>
                </a:lnTo>
                <a:lnTo>
                  <a:pt x="4749" y="3418"/>
                </a:lnTo>
                <a:lnTo>
                  <a:pt x="4746" y="3392"/>
                </a:lnTo>
                <a:close/>
                <a:moveTo>
                  <a:pt x="5571" y="935"/>
                </a:moveTo>
                <a:lnTo>
                  <a:pt x="5570" y="932"/>
                </a:lnTo>
                <a:lnTo>
                  <a:pt x="5568" y="931"/>
                </a:lnTo>
                <a:lnTo>
                  <a:pt x="5565" y="932"/>
                </a:lnTo>
                <a:lnTo>
                  <a:pt x="5562" y="935"/>
                </a:lnTo>
                <a:lnTo>
                  <a:pt x="5565" y="937"/>
                </a:lnTo>
                <a:lnTo>
                  <a:pt x="5566" y="939"/>
                </a:lnTo>
                <a:lnTo>
                  <a:pt x="5569" y="937"/>
                </a:lnTo>
                <a:lnTo>
                  <a:pt x="5571" y="935"/>
                </a:lnTo>
                <a:close/>
                <a:moveTo>
                  <a:pt x="5033" y="3700"/>
                </a:moveTo>
                <a:lnTo>
                  <a:pt x="5040" y="3707"/>
                </a:lnTo>
                <a:lnTo>
                  <a:pt x="5049" y="3716"/>
                </a:lnTo>
                <a:lnTo>
                  <a:pt x="5056" y="3717"/>
                </a:lnTo>
                <a:lnTo>
                  <a:pt x="5061" y="3709"/>
                </a:lnTo>
                <a:lnTo>
                  <a:pt x="5058" y="3698"/>
                </a:lnTo>
                <a:lnTo>
                  <a:pt x="5051" y="3695"/>
                </a:lnTo>
                <a:lnTo>
                  <a:pt x="5042" y="3696"/>
                </a:lnTo>
                <a:lnTo>
                  <a:pt x="5033" y="3700"/>
                </a:lnTo>
                <a:close/>
                <a:moveTo>
                  <a:pt x="4337" y="744"/>
                </a:moveTo>
                <a:lnTo>
                  <a:pt x="4339" y="750"/>
                </a:lnTo>
                <a:lnTo>
                  <a:pt x="4342" y="758"/>
                </a:lnTo>
                <a:lnTo>
                  <a:pt x="4349" y="749"/>
                </a:lnTo>
                <a:lnTo>
                  <a:pt x="4348" y="741"/>
                </a:lnTo>
                <a:lnTo>
                  <a:pt x="4342" y="738"/>
                </a:lnTo>
                <a:lnTo>
                  <a:pt x="4337" y="744"/>
                </a:lnTo>
                <a:close/>
                <a:moveTo>
                  <a:pt x="5543" y="1128"/>
                </a:moveTo>
                <a:lnTo>
                  <a:pt x="5560" y="1132"/>
                </a:lnTo>
                <a:lnTo>
                  <a:pt x="5578" y="1138"/>
                </a:lnTo>
                <a:lnTo>
                  <a:pt x="5597" y="1141"/>
                </a:lnTo>
                <a:lnTo>
                  <a:pt x="5612" y="1133"/>
                </a:lnTo>
                <a:lnTo>
                  <a:pt x="5607" y="1116"/>
                </a:lnTo>
                <a:lnTo>
                  <a:pt x="5583" y="1105"/>
                </a:lnTo>
                <a:lnTo>
                  <a:pt x="5555" y="1107"/>
                </a:lnTo>
                <a:lnTo>
                  <a:pt x="5543" y="1128"/>
                </a:lnTo>
                <a:close/>
                <a:moveTo>
                  <a:pt x="5598" y="376"/>
                </a:moveTo>
                <a:lnTo>
                  <a:pt x="5596" y="384"/>
                </a:lnTo>
                <a:lnTo>
                  <a:pt x="5594" y="389"/>
                </a:lnTo>
                <a:lnTo>
                  <a:pt x="5597" y="394"/>
                </a:lnTo>
                <a:lnTo>
                  <a:pt x="5603" y="398"/>
                </a:lnTo>
                <a:lnTo>
                  <a:pt x="5606" y="391"/>
                </a:lnTo>
                <a:lnTo>
                  <a:pt x="5606" y="386"/>
                </a:lnTo>
                <a:lnTo>
                  <a:pt x="5605" y="381"/>
                </a:lnTo>
                <a:lnTo>
                  <a:pt x="5598" y="376"/>
                </a:lnTo>
                <a:close/>
                <a:moveTo>
                  <a:pt x="5328" y="3695"/>
                </a:moveTo>
                <a:lnTo>
                  <a:pt x="5315" y="3696"/>
                </a:lnTo>
                <a:lnTo>
                  <a:pt x="5308" y="3706"/>
                </a:lnTo>
                <a:lnTo>
                  <a:pt x="5307" y="3720"/>
                </a:lnTo>
                <a:lnTo>
                  <a:pt x="5312" y="3734"/>
                </a:lnTo>
                <a:lnTo>
                  <a:pt x="5323" y="3735"/>
                </a:lnTo>
                <a:lnTo>
                  <a:pt x="5333" y="3723"/>
                </a:lnTo>
                <a:lnTo>
                  <a:pt x="5337" y="3706"/>
                </a:lnTo>
                <a:lnTo>
                  <a:pt x="5328" y="3695"/>
                </a:lnTo>
                <a:close/>
                <a:moveTo>
                  <a:pt x="4802" y="3337"/>
                </a:moveTo>
                <a:lnTo>
                  <a:pt x="4814" y="3342"/>
                </a:lnTo>
                <a:lnTo>
                  <a:pt x="4814" y="3344"/>
                </a:lnTo>
                <a:lnTo>
                  <a:pt x="4816" y="3344"/>
                </a:lnTo>
                <a:lnTo>
                  <a:pt x="4815" y="3343"/>
                </a:lnTo>
                <a:lnTo>
                  <a:pt x="4814" y="3342"/>
                </a:lnTo>
                <a:lnTo>
                  <a:pt x="4812" y="3337"/>
                </a:lnTo>
                <a:lnTo>
                  <a:pt x="4811" y="3334"/>
                </a:lnTo>
                <a:lnTo>
                  <a:pt x="4807" y="3333"/>
                </a:lnTo>
                <a:lnTo>
                  <a:pt x="4802" y="3337"/>
                </a:lnTo>
                <a:close/>
                <a:moveTo>
                  <a:pt x="4783" y="1468"/>
                </a:moveTo>
                <a:lnTo>
                  <a:pt x="4787" y="1471"/>
                </a:lnTo>
                <a:lnTo>
                  <a:pt x="4789" y="1471"/>
                </a:lnTo>
                <a:lnTo>
                  <a:pt x="4789" y="1469"/>
                </a:lnTo>
                <a:lnTo>
                  <a:pt x="4789" y="1466"/>
                </a:lnTo>
                <a:lnTo>
                  <a:pt x="4783" y="1468"/>
                </a:lnTo>
                <a:close/>
                <a:moveTo>
                  <a:pt x="5312" y="3434"/>
                </a:moveTo>
                <a:lnTo>
                  <a:pt x="5276" y="3439"/>
                </a:lnTo>
                <a:lnTo>
                  <a:pt x="5281" y="3460"/>
                </a:lnTo>
                <a:lnTo>
                  <a:pt x="5309" y="3478"/>
                </a:lnTo>
                <a:lnTo>
                  <a:pt x="5338" y="3470"/>
                </a:lnTo>
                <a:lnTo>
                  <a:pt x="5341" y="3455"/>
                </a:lnTo>
                <a:lnTo>
                  <a:pt x="5337" y="3444"/>
                </a:lnTo>
                <a:lnTo>
                  <a:pt x="5327" y="3436"/>
                </a:lnTo>
                <a:lnTo>
                  <a:pt x="5312" y="3434"/>
                </a:lnTo>
                <a:close/>
                <a:moveTo>
                  <a:pt x="5238" y="3464"/>
                </a:moveTo>
                <a:lnTo>
                  <a:pt x="5197" y="3420"/>
                </a:lnTo>
                <a:lnTo>
                  <a:pt x="5178" y="3372"/>
                </a:lnTo>
                <a:lnTo>
                  <a:pt x="5161" y="3333"/>
                </a:lnTo>
                <a:lnTo>
                  <a:pt x="5132" y="3313"/>
                </a:lnTo>
                <a:lnTo>
                  <a:pt x="5124" y="3342"/>
                </a:lnTo>
                <a:lnTo>
                  <a:pt x="5108" y="3350"/>
                </a:lnTo>
                <a:lnTo>
                  <a:pt x="5090" y="3352"/>
                </a:lnTo>
                <a:lnTo>
                  <a:pt x="5077" y="3365"/>
                </a:lnTo>
                <a:lnTo>
                  <a:pt x="5105" y="3394"/>
                </a:lnTo>
                <a:lnTo>
                  <a:pt x="5127" y="3426"/>
                </a:lnTo>
                <a:lnTo>
                  <a:pt x="5132" y="3439"/>
                </a:lnTo>
                <a:lnTo>
                  <a:pt x="5114" y="3412"/>
                </a:lnTo>
                <a:lnTo>
                  <a:pt x="5038" y="3432"/>
                </a:lnTo>
                <a:lnTo>
                  <a:pt x="5023" y="3388"/>
                </a:lnTo>
                <a:lnTo>
                  <a:pt x="5017" y="3325"/>
                </a:lnTo>
                <a:lnTo>
                  <a:pt x="4973" y="3287"/>
                </a:lnTo>
                <a:lnTo>
                  <a:pt x="4941" y="3304"/>
                </a:lnTo>
                <a:lnTo>
                  <a:pt x="4942" y="3324"/>
                </a:lnTo>
                <a:lnTo>
                  <a:pt x="4958" y="3347"/>
                </a:lnTo>
                <a:lnTo>
                  <a:pt x="4960" y="3371"/>
                </a:lnTo>
                <a:lnTo>
                  <a:pt x="4938" y="3375"/>
                </a:lnTo>
                <a:lnTo>
                  <a:pt x="4912" y="3360"/>
                </a:lnTo>
                <a:lnTo>
                  <a:pt x="4884" y="3337"/>
                </a:lnTo>
                <a:lnTo>
                  <a:pt x="4862" y="3318"/>
                </a:lnTo>
                <a:lnTo>
                  <a:pt x="4849" y="3322"/>
                </a:lnTo>
                <a:lnTo>
                  <a:pt x="4831" y="3336"/>
                </a:lnTo>
                <a:lnTo>
                  <a:pt x="4823" y="3352"/>
                </a:lnTo>
                <a:lnTo>
                  <a:pt x="4831" y="3360"/>
                </a:lnTo>
                <a:lnTo>
                  <a:pt x="4843" y="3380"/>
                </a:lnTo>
                <a:lnTo>
                  <a:pt x="4837" y="3400"/>
                </a:lnTo>
                <a:lnTo>
                  <a:pt x="4837" y="3421"/>
                </a:lnTo>
                <a:lnTo>
                  <a:pt x="4870" y="3441"/>
                </a:lnTo>
                <a:lnTo>
                  <a:pt x="4914" y="3395"/>
                </a:lnTo>
                <a:lnTo>
                  <a:pt x="4927" y="3407"/>
                </a:lnTo>
                <a:lnTo>
                  <a:pt x="4914" y="3450"/>
                </a:lnTo>
                <a:lnTo>
                  <a:pt x="4882" y="3501"/>
                </a:lnTo>
                <a:lnTo>
                  <a:pt x="4890" y="3533"/>
                </a:lnTo>
                <a:lnTo>
                  <a:pt x="4919" y="3542"/>
                </a:lnTo>
                <a:lnTo>
                  <a:pt x="4954" y="3548"/>
                </a:lnTo>
                <a:lnTo>
                  <a:pt x="4972" y="3574"/>
                </a:lnTo>
                <a:lnTo>
                  <a:pt x="4988" y="3604"/>
                </a:lnTo>
                <a:lnTo>
                  <a:pt x="5007" y="3637"/>
                </a:lnTo>
                <a:lnTo>
                  <a:pt x="5028" y="3653"/>
                </a:lnTo>
                <a:lnTo>
                  <a:pt x="5049" y="3628"/>
                </a:lnTo>
                <a:lnTo>
                  <a:pt x="5096" y="3580"/>
                </a:lnTo>
                <a:lnTo>
                  <a:pt x="5096" y="3540"/>
                </a:lnTo>
                <a:lnTo>
                  <a:pt x="5119" y="3504"/>
                </a:lnTo>
                <a:lnTo>
                  <a:pt x="5238" y="3464"/>
                </a:lnTo>
                <a:close/>
                <a:moveTo>
                  <a:pt x="4364" y="875"/>
                </a:moveTo>
                <a:lnTo>
                  <a:pt x="4404" y="858"/>
                </a:lnTo>
                <a:lnTo>
                  <a:pt x="4423" y="834"/>
                </a:lnTo>
                <a:lnTo>
                  <a:pt x="4418" y="806"/>
                </a:lnTo>
                <a:lnTo>
                  <a:pt x="4386" y="781"/>
                </a:lnTo>
                <a:lnTo>
                  <a:pt x="4367" y="811"/>
                </a:lnTo>
                <a:lnTo>
                  <a:pt x="4351" y="860"/>
                </a:lnTo>
                <a:lnTo>
                  <a:pt x="4349" y="892"/>
                </a:lnTo>
                <a:lnTo>
                  <a:pt x="4364" y="87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548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Freeform 16">
            <a:extLst>
              <a:ext uri="{FF2B5EF4-FFF2-40B4-BE49-F238E27FC236}">
                <a16:creationId xmlns:a16="http://schemas.microsoft.com/office/drawing/2014/main" id="{7287E43C-DDAA-EB46-A004-B1A7822F7001}"/>
              </a:ext>
            </a:extLst>
          </p:cNvPr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336110" y="1593009"/>
            <a:ext cx="6407878" cy="4194921"/>
          </a:xfrm>
          <a:custGeom>
            <a:avLst/>
            <a:gdLst>
              <a:gd name="T0" fmla="*/ 6193 w 11703"/>
              <a:gd name="T1" fmla="*/ 974 h 7076"/>
              <a:gd name="T2" fmla="*/ 10686 w 11703"/>
              <a:gd name="T3" fmla="*/ 5168 h 7076"/>
              <a:gd name="T4" fmla="*/ 1306 w 11703"/>
              <a:gd name="T5" fmla="*/ 862 h 7076"/>
              <a:gd name="T6" fmla="*/ 3641 w 11703"/>
              <a:gd name="T7" fmla="*/ 5556 h 7076"/>
              <a:gd name="T8" fmla="*/ 10550 w 11703"/>
              <a:gd name="T9" fmla="*/ 5934 h 7076"/>
              <a:gd name="T10" fmla="*/ 9110 w 11703"/>
              <a:gd name="T11" fmla="*/ 1380 h 7076"/>
              <a:gd name="T12" fmla="*/ 4514 w 11703"/>
              <a:gd name="T13" fmla="*/ 891 h 7076"/>
              <a:gd name="T14" fmla="*/ 9796 w 11703"/>
              <a:gd name="T15" fmla="*/ 1371 h 7076"/>
              <a:gd name="T16" fmla="*/ 8465 w 11703"/>
              <a:gd name="T17" fmla="*/ 1177 h 7076"/>
              <a:gd name="T18" fmla="*/ 7556 w 11703"/>
              <a:gd name="T19" fmla="*/ 1147 h 7076"/>
              <a:gd name="T20" fmla="*/ 6924 w 11703"/>
              <a:gd name="T21" fmla="*/ 737 h 7076"/>
              <a:gd name="T22" fmla="*/ 9177 w 11703"/>
              <a:gd name="T23" fmla="*/ 1279 h 7076"/>
              <a:gd name="T24" fmla="*/ 9317 w 11703"/>
              <a:gd name="T25" fmla="*/ 1377 h 7076"/>
              <a:gd name="T26" fmla="*/ 8422 w 11703"/>
              <a:gd name="T27" fmla="*/ 1167 h 7076"/>
              <a:gd name="T28" fmla="*/ 9541 w 11703"/>
              <a:gd name="T29" fmla="*/ 1244 h 7076"/>
              <a:gd name="T30" fmla="*/ 6248 w 11703"/>
              <a:gd name="T31" fmla="*/ 817 h 7076"/>
              <a:gd name="T32" fmla="*/ 9985 w 11703"/>
              <a:gd name="T33" fmla="*/ 5073 h 7076"/>
              <a:gd name="T34" fmla="*/ 8465 w 11703"/>
              <a:gd name="T35" fmla="*/ 5796 h 7076"/>
              <a:gd name="T36" fmla="*/ 5154 w 11703"/>
              <a:gd name="T37" fmla="*/ 5517 h 7076"/>
              <a:gd name="T38" fmla="*/ 10791 w 11703"/>
              <a:gd name="T39" fmla="*/ 4614 h 7076"/>
              <a:gd name="T40" fmla="*/ 9920 w 11703"/>
              <a:gd name="T41" fmla="*/ 6236 h 7076"/>
              <a:gd name="T42" fmla="*/ 8244 w 11703"/>
              <a:gd name="T43" fmla="*/ 5951 h 7076"/>
              <a:gd name="T44" fmla="*/ 6789 w 11703"/>
              <a:gd name="T45" fmla="*/ 5713 h 7076"/>
              <a:gd name="T46" fmla="*/ 5316 w 11703"/>
              <a:gd name="T47" fmla="*/ 5104 h 7076"/>
              <a:gd name="T48" fmla="*/ 4225 w 11703"/>
              <a:gd name="T49" fmla="*/ 4967 h 7076"/>
              <a:gd name="T50" fmla="*/ 3557 w 11703"/>
              <a:gd name="T51" fmla="*/ 5368 h 7076"/>
              <a:gd name="T52" fmla="*/ 3049 w 11703"/>
              <a:gd name="T53" fmla="*/ 4668 h 7076"/>
              <a:gd name="T54" fmla="*/ 1759 w 11703"/>
              <a:gd name="T55" fmla="*/ 4369 h 7076"/>
              <a:gd name="T56" fmla="*/ 2369 w 11703"/>
              <a:gd name="T57" fmla="*/ 457 h 7076"/>
              <a:gd name="T58" fmla="*/ 3706 w 11703"/>
              <a:gd name="T59" fmla="*/ 769 h 7076"/>
              <a:gd name="T60" fmla="*/ 4512 w 11703"/>
              <a:gd name="T61" fmla="*/ 961 h 7076"/>
              <a:gd name="T62" fmla="*/ 5329 w 11703"/>
              <a:gd name="T63" fmla="*/ 1083 h 7076"/>
              <a:gd name="T64" fmla="*/ 5767 w 11703"/>
              <a:gd name="T65" fmla="*/ 1102 h 7076"/>
              <a:gd name="T66" fmla="*/ 6554 w 11703"/>
              <a:gd name="T67" fmla="*/ 1214 h 7076"/>
              <a:gd name="T68" fmla="*/ 7396 w 11703"/>
              <a:gd name="T69" fmla="*/ 1305 h 7076"/>
              <a:gd name="T70" fmla="*/ 8785 w 11703"/>
              <a:gd name="T71" fmla="*/ 1449 h 7076"/>
              <a:gd name="T72" fmla="*/ 10581 w 11703"/>
              <a:gd name="T73" fmla="*/ 1603 h 7076"/>
              <a:gd name="T74" fmla="*/ 10355 w 11703"/>
              <a:gd name="T75" fmla="*/ 4656 h 7076"/>
              <a:gd name="T76" fmla="*/ 7184 w 11703"/>
              <a:gd name="T77" fmla="*/ 5182 h 7076"/>
              <a:gd name="T78" fmla="*/ 5643 w 11703"/>
              <a:gd name="T79" fmla="*/ 4602 h 7076"/>
              <a:gd name="T80" fmla="*/ 2550 w 11703"/>
              <a:gd name="T81" fmla="*/ 5234 h 7076"/>
              <a:gd name="T82" fmla="*/ 4940 w 11703"/>
              <a:gd name="T83" fmla="*/ 1723 h 7076"/>
              <a:gd name="T84" fmla="*/ 9164 w 11703"/>
              <a:gd name="T85" fmla="*/ 5361 h 7076"/>
              <a:gd name="T86" fmla="*/ 3957 w 11703"/>
              <a:gd name="T87" fmla="*/ 1940 h 7076"/>
              <a:gd name="T88" fmla="*/ 7874 w 11703"/>
              <a:gd name="T89" fmla="*/ 1543 h 7076"/>
              <a:gd name="T90" fmla="*/ 6817 w 11703"/>
              <a:gd name="T91" fmla="*/ 1681 h 7076"/>
              <a:gd name="T92" fmla="*/ 7112 w 11703"/>
              <a:gd name="T93" fmla="*/ 2006 h 7076"/>
              <a:gd name="T94" fmla="*/ 8163 w 11703"/>
              <a:gd name="T95" fmla="*/ 2023 h 7076"/>
              <a:gd name="T96" fmla="*/ 5292 w 11703"/>
              <a:gd name="T97" fmla="*/ 1870 h 7076"/>
              <a:gd name="T98" fmla="*/ 9093 w 11703"/>
              <a:gd name="T99" fmla="*/ 5141 h 7076"/>
              <a:gd name="T100" fmla="*/ 9035 w 11703"/>
              <a:gd name="T101" fmla="*/ 5467 h 7076"/>
              <a:gd name="T102" fmla="*/ 2353 w 11703"/>
              <a:gd name="T103" fmla="*/ 531 h 7076"/>
              <a:gd name="T104" fmla="*/ 6100 w 11703"/>
              <a:gd name="T105" fmla="*/ 5106 h 7076"/>
              <a:gd name="T106" fmla="*/ 10419 w 11703"/>
              <a:gd name="T107" fmla="*/ 4528 h 7076"/>
              <a:gd name="T108" fmla="*/ 1941 w 11703"/>
              <a:gd name="T109" fmla="*/ 5459 h 7076"/>
              <a:gd name="T110" fmla="*/ 6498 w 11703"/>
              <a:gd name="T111" fmla="*/ 5839 h 7076"/>
              <a:gd name="T112" fmla="*/ 1297 w 11703"/>
              <a:gd name="T113" fmla="*/ 5727 h 7076"/>
              <a:gd name="T114" fmla="*/ 5455 w 11703"/>
              <a:gd name="T115" fmla="*/ 6054 h 7076"/>
              <a:gd name="T116" fmla="*/ 7579 w 11703"/>
              <a:gd name="T117" fmla="*/ 6585 h 7076"/>
              <a:gd name="T118" fmla="*/ 7042 w 11703"/>
              <a:gd name="T119" fmla="*/ 6247 h 7076"/>
              <a:gd name="T120" fmla="*/ 6370 w 11703"/>
              <a:gd name="T121" fmla="*/ 5489 h 7076"/>
              <a:gd name="T122" fmla="*/ 6440 w 11703"/>
              <a:gd name="T123" fmla="*/ 6042 h 7076"/>
              <a:gd name="T124" fmla="*/ 6887 w 11703"/>
              <a:gd name="T125" fmla="*/ 5524 h 70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703" h="7076">
                <a:moveTo>
                  <a:pt x="6285" y="0"/>
                </a:moveTo>
                <a:lnTo>
                  <a:pt x="6283" y="1"/>
                </a:lnTo>
                <a:lnTo>
                  <a:pt x="6281" y="1"/>
                </a:lnTo>
                <a:lnTo>
                  <a:pt x="6280" y="2"/>
                </a:lnTo>
                <a:lnTo>
                  <a:pt x="6281" y="4"/>
                </a:lnTo>
                <a:lnTo>
                  <a:pt x="6285" y="0"/>
                </a:lnTo>
                <a:close/>
                <a:moveTo>
                  <a:pt x="693" y="3657"/>
                </a:moveTo>
                <a:lnTo>
                  <a:pt x="691" y="3658"/>
                </a:lnTo>
                <a:lnTo>
                  <a:pt x="689" y="3661"/>
                </a:lnTo>
                <a:lnTo>
                  <a:pt x="688" y="3665"/>
                </a:lnTo>
                <a:lnTo>
                  <a:pt x="687" y="3668"/>
                </a:lnTo>
                <a:lnTo>
                  <a:pt x="691" y="3666"/>
                </a:lnTo>
                <a:lnTo>
                  <a:pt x="694" y="3662"/>
                </a:lnTo>
                <a:lnTo>
                  <a:pt x="697" y="3658"/>
                </a:lnTo>
                <a:lnTo>
                  <a:pt x="693" y="3657"/>
                </a:lnTo>
                <a:close/>
                <a:moveTo>
                  <a:pt x="11510" y="2084"/>
                </a:moveTo>
                <a:lnTo>
                  <a:pt x="11505" y="2084"/>
                </a:lnTo>
                <a:lnTo>
                  <a:pt x="11499" y="2084"/>
                </a:lnTo>
                <a:lnTo>
                  <a:pt x="11505" y="2084"/>
                </a:lnTo>
                <a:lnTo>
                  <a:pt x="11510" y="2084"/>
                </a:lnTo>
                <a:close/>
                <a:moveTo>
                  <a:pt x="386" y="3862"/>
                </a:moveTo>
                <a:lnTo>
                  <a:pt x="384" y="3863"/>
                </a:lnTo>
                <a:lnTo>
                  <a:pt x="386" y="3862"/>
                </a:lnTo>
                <a:lnTo>
                  <a:pt x="381" y="3858"/>
                </a:lnTo>
                <a:lnTo>
                  <a:pt x="386" y="3862"/>
                </a:lnTo>
                <a:close/>
                <a:moveTo>
                  <a:pt x="380" y="3867"/>
                </a:moveTo>
                <a:lnTo>
                  <a:pt x="380" y="3867"/>
                </a:lnTo>
                <a:lnTo>
                  <a:pt x="379" y="3867"/>
                </a:lnTo>
                <a:lnTo>
                  <a:pt x="380" y="3867"/>
                </a:lnTo>
                <a:close/>
                <a:moveTo>
                  <a:pt x="11543" y="2072"/>
                </a:moveTo>
                <a:lnTo>
                  <a:pt x="11542" y="2067"/>
                </a:lnTo>
                <a:lnTo>
                  <a:pt x="11541" y="2070"/>
                </a:lnTo>
                <a:lnTo>
                  <a:pt x="11540" y="2071"/>
                </a:lnTo>
                <a:lnTo>
                  <a:pt x="11541" y="2071"/>
                </a:lnTo>
                <a:lnTo>
                  <a:pt x="11543" y="2072"/>
                </a:lnTo>
                <a:close/>
                <a:moveTo>
                  <a:pt x="7511" y="1387"/>
                </a:moveTo>
                <a:lnTo>
                  <a:pt x="7509" y="1387"/>
                </a:lnTo>
                <a:lnTo>
                  <a:pt x="7508" y="1387"/>
                </a:lnTo>
                <a:lnTo>
                  <a:pt x="7506" y="1387"/>
                </a:lnTo>
                <a:lnTo>
                  <a:pt x="7505" y="1390"/>
                </a:lnTo>
                <a:lnTo>
                  <a:pt x="7505" y="1391"/>
                </a:lnTo>
                <a:lnTo>
                  <a:pt x="7506" y="1392"/>
                </a:lnTo>
                <a:lnTo>
                  <a:pt x="7508" y="1394"/>
                </a:lnTo>
                <a:lnTo>
                  <a:pt x="7510" y="1394"/>
                </a:lnTo>
                <a:lnTo>
                  <a:pt x="7506" y="1400"/>
                </a:lnTo>
                <a:lnTo>
                  <a:pt x="7499" y="1408"/>
                </a:lnTo>
                <a:lnTo>
                  <a:pt x="7489" y="1417"/>
                </a:lnTo>
                <a:lnTo>
                  <a:pt x="7475" y="1427"/>
                </a:lnTo>
                <a:lnTo>
                  <a:pt x="7459" y="1404"/>
                </a:lnTo>
                <a:lnTo>
                  <a:pt x="7439" y="1405"/>
                </a:lnTo>
                <a:lnTo>
                  <a:pt x="7420" y="1405"/>
                </a:lnTo>
                <a:lnTo>
                  <a:pt x="7410" y="1375"/>
                </a:lnTo>
                <a:lnTo>
                  <a:pt x="7435" y="1372"/>
                </a:lnTo>
                <a:lnTo>
                  <a:pt x="7468" y="1371"/>
                </a:lnTo>
                <a:lnTo>
                  <a:pt x="7497" y="1376"/>
                </a:lnTo>
                <a:lnTo>
                  <a:pt x="7511" y="1387"/>
                </a:lnTo>
                <a:close/>
                <a:moveTo>
                  <a:pt x="390" y="3890"/>
                </a:moveTo>
                <a:lnTo>
                  <a:pt x="390" y="3891"/>
                </a:lnTo>
                <a:lnTo>
                  <a:pt x="390" y="3890"/>
                </a:lnTo>
                <a:lnTo>
                  <a:pt x="390" y="3890"/>
                </a:lnTo>
                <a:lnTo>
                  <a:pt x="390" y="3890"/>
                </a:lnTo>
                <a:lnTo>
                  <a:pt x="390" y="3890"/>
                </a:lnTo>
                <a:lnTo>
                  <a:pt x="390" y="3890"/>
                </a:lnTo>
                <a:lnTo>
                  <a:pt x="390" y="3890"/>
                </a:lnTo>
                <a:close/>
                <a:moveTo>
                  <a:pt x="382" y="3901"/>
                </a:moveTo>
                <a:lnTo>
                  <a:pt x="385" y="3900"/>
                </a:lnTo>
                <a:lnTo>
                  <a:pt x="387" y="3898"/>
                </a:lnTo>
                <a:lnTo>
                  <a:pt x="389" y="3895"/>
                </a:lnTo>
                <a:lnTo>
                  <a:pt x="389" y="3891"/>
                </a:lnTo>
                <a:lnTo>
                  <a:pt x="386" y="3894"/>
                </a:lnTo>
                <a:lnTo>
                  <a:pt x="384" y="3896"/>
                </a:lnTo>
                <a:lnTo>
                  <a:pt x="382" y="3899"/>
                </a:lnTo>
                <a:lnTo>
                  <a:pt x="382" y="3901"/>
                </a:lnTo>
                <a:close/>
                <a:moveTo>
                  <a:pt x="492" y="3839"/>
                </a:moveTo>
                <a:lnTo>
                  <a:pt x="496" y="3839"/>
                </a:lnTo>
                <a:lnTo>
                  <a:pt x="494" y="3838"/>
                </a:lnTo>
                <a:lnTo>
                  <a:pt x="494" y="3836"/>
                </a:lnTo>
                <a:lnTo>
                  <a:pt x="493" y="3836"/>
                </a:lnTo>
                <a:lnTo>
                  <a:pt x="492" y="3839"/>
                </a:lnTo>
                <a:close/>
                <a:moveTo>
                  <a:pt x="160" y="2809"/>
                </a:moveTo>
                <a:lnTo>
                  <a:pt x="162" y="2809"/>
                </a:lnTo>
                <a:lnTo>
                  <a:pt x="162" y="2809"/>
                </a:lnTo>
                <a:lnTo>
                  <a:pt x="162" y="2808"/>
                </a:lnTo>
                <a:lnTo>
                  <a:pt x="162" y="2807"/>
                </a:lnTo>
                <a:lnTo>
                  <a:pt x="160" y="2809"/>
                </a:lnTo>
                <a:close/>
                <a:moveTo>
                  <a:pt x="11448" y="2233"/>
                </a:moveTo>
                <a:lnTo>
                  <a:pt x="11452" y="2234"/>
                </a:lnTo>
                <a:lnTo>
                  <a:pt x="11454" y="2235"/>
                </a:lnTo>
                <a:lnTo>
                  <a:pt x="11457" y="2235"/>
                </a:lnTo>
                <a:lnTo>
                  <a:pt x="11458" y="2231"/>
                </a:lnTo>
                <a:lnTo>
                  <a:pt x="11455" y="2230"/>
                </a:lnTo>
                <a:lnTo>
                  <a:pt x="11452" y="2229"/>
                </a:lnTo>
                <a:lnTo>
                  <a:pt x="11450" y="2229"/>
                </a:lnTo>
                <a:lnTo>
                  <a:pt x="11448" y="2233"/>
                </a:lnTo>
                <a:close/>
                <a:moveTo>
                  <a:pt x="2000" y="4355"/>
                </a:moveTo>
                <a:lnTo>
                  <a:pt x="2001" y="4357"/>
                </a:lnTo>
                <a:lnTo>
                  <a:pt x="2002" y="4358"/>
                </a:lnTo>
                <a:lnTo>
                  <a:pt x="2004" y="4358"/>
                </a:lnTo>
                <a:lnTo>
                  <a:pt x="2006" y="4357"/>
                </a:lnTo>
                <a:lnTo>
                  <a:pt x="2006" y="4355"/>
                </a:lnTo>
                <a:lnTo>
                  <a:pt x="2005" y="4353"/>
                </a:lnTo>
                <a:lnTo>
                  <a:pt x="2002" y="4353"/>
                </a:lnTo>
                <a:lnTo>
                  <a:pt x="2000" y="4355"/>
                </a:lnTo>
                <a:close/>
                <a:moveTo>
                  <a:pt x="5396" y="1804"/>
                </a:moveTo>
                <a:lnTo>
                  <a:pt x="5396" y="1804"/>
                </a:lnTo>
                <a:lnTo>
                  <a:pt x="5396" y="1804"/>
                </a:lnTo>
                <a:lnTo>
                  <a:pt x="5396" y="1805"/>
                </a:lnTo>
                <a:lnTo>
                  <a:pt x="5396" y="1804"/>
                </a:lnTo>
                <a:lnTo>
                  <a:pt x="5403" y="1804"/>
                </a:lnTo>
                <a:lnTo>
                  <a:pt x="5409" y="1804"/>
                </a:lnTo>
                <a:lnTo>
                  <a:pt x="5414" y="1801"/>
                </a:lnTo>
                <a:lnTo>
                  <a:pt x="5417" y="1795"/>
                </a:lnTo>
                <a:lnTo>
                  <a:pt x="5410" y="1790"/>
                </a:lnTo>
                <a:lnTo>
                  <a:pt x="5405" y="1791"/>
                </a:lnTo>
                <a:lnTo>
                  <a:pt x="5400" y="1797"/>
                </a:lnTo>
                <a:lnTo>
                  <a:pt x="5396" y="1804"/>
                </a:lnTo>
                <a:close/>
                <a:moveTo>
                  <a:pt x="7035" y="1405"/>
                </a:moveTo>
                <a:lnTo>
                  <a:pt x="7033" y="1413"/>
                </a:lnTo>
                <a:lnTo>
                  <a:pt x="7036" y="1418"/>
                </a:lnTo>
                <a:lnTo>
                  <a:pt x="7043" y="1420"/>
                </a:lnTo>
                <a:lnTo>
                  <a:pt x="7049" y="1417"/>
                </a:lnTo>
                <a:lnTo>
                  <a:pt x="7052" y="1405"/>
                </a:lnTo>
                <a:lnTo>
                  <a:pt x="7050" y="1399"/>
                </a:lnTo>
                <a:lnTo>
                  <a:pt x="7045" y="1399"/>
                </a:lnTo>
                <a:lnTo>
                  <a:pt x="7035" y="1405"/>
                </a:lnTo>
                <a:close/>
                <a:moveTo>
                  <a:pt x="7053" y="1396"/>
                </a:moveTo>
                <a:lnTo>
                  <a:pt x="7053" y="1396"/>
                </a:lnTo>
                <a:lnTo>
                  <a:pt x="7053" y="1396"/>
                </a:lnTo>
                <a:lnTo>
                  <a:pt x="7053" y="1396"/>
                </a:lnTo>
                <a:lnTo>
                  <a:pt x="7053" y="1396"/>
                </a:lnTo>
                <a:close/>
                <a:moveTo>
                  <a:pt x="137" y="3821"/>
                </a:moveTo>
                <a:lnTo>
                  <a:pt x="126" y="3830"/>
                </a:lnTo>
                <a:lnTo>
                  <a:pt x="123" y="3845"/>
                </a:lnTo>
                <a:lnTo>
                  <a:pt x="126" y="3857"/>
                </a:lnTo>
                <a:lnTo>
                  <a:pt x="139" y="3858"/>
                </a:lnTo>
                <a:lnTo>
                  <a:pt x="146" y="3849"/>
                </a:lnTo>
                <a:lnTo>
                  <a:pt x="148" y="3838"/>
                </a:lnTo>
                <a:lnTo>
                  <a:pt x="146" y="3826"/>
                </a:lnTo>
                <a:lnTo>
                  <a:pt x="137" y="3821"/>
                </a:lnTo>
                <a:close/>
                <a:moveTo>
                  <a:pt x="6834" y="1396"/>
                </a:moveTo>
                <a:lnTo>
                  <a:pt x="6834" y="1396"/>
                </a:lnTo>
                <a:lnTo>
                  <a:pt x="6834" y="1396"/>
                </a:lnTo>
                <a:lnTo>
                  <a:pt x="6837" y="1396"/>
                </a:lnTo>
                <a:lnTo>
                  <a:pt x="6837" y="1398"/>
                </a:lnTo>
                <a:lnTo>
                  <a:pt x="6833" y="1403"/>
                </a:lnTo>
                <a:lnTo>
                  <a:pt x="6829" y="1413"/>
                </a:lnTo>
                <a:lnTo>
                  <a:pt x="6822" y="1418"/>
                </a:lnTo>
                <a:lnTo>
                  <a:pt x="6815" y="1412"/>
                </a:lnTo>
                <a:lnTo>
                  <a:pt x="6815" y="1405"/>
                </a:lnTo>
                <a:lnTo>
                  <a:pt x="6820" y="1400"/>
                </a:lnTo>
                <a:lnTo>
                  <a:pt x="6828" y="1398"/>
                </a:lnTo>
                <a:lnTo>
                  <a:pt x="6834" y="1396"/>
                </a:lnTo>
                <a:lnTo>
                  <a:pt x="6834" y="1396"/>
                </a:lnTo>
                <a:lnTo>
                  <a:pt x="6834" y="1396"/>
                </a:lnTo>
                <a:close/>
                <a:moveTo>
                  <a:pt x="5627" y="1851"/>
                </a:moveTo>
                <a:lnTo>
                  <a:pt x="5627" y="1851"/>
                </a:lnTo>
                <a:lnTo>
                  <a:pt x="5627" y="1851"/>
                </a:lnTo>
                <a:lnTo>
                  <a:pt x="5627" y="1851"/>
                </a:lnTo>
                <a:close/>
                <a:moveTo>
                  <a:pt x="7580" y="1408"/>
                </a:moveTo>
                <a:lnTo>
                  <a:pt x="7580" y="1408"/>
                </a:lnTo>
                <a:lnTo>
                  <a:pt x="7580" y="1408"/>
                </a:lnTo>
                <a:lnTo>
                  <a:pt x="7580" y="1408"/>
                </a:lnTo>
                <a:close/>
                <a:moveTo>
                  <a:pt x="6088" y="1886"/>
                </a:moveTo>
                <a:lnTo>
                  <a:pt x="6088" y="1885"/>
                </a:lnTo>
                <a:lnTo>
                  <a:pt x="6086" y="1885"/>
                </a:lnTo>
                <a:lnTo>
                  <a:pt x="6088" y="1886"/>
                </a:lnTo>
                <a:lnTo>
                  <a:pt x="6088" y="1886"/>
                </a:lnTo>
                <a:close/>
                <a:moveTo>
                  <a:pt x="6647" y="1839"/>
                </a:moveTo>
                <a:lnTo>
                  <a:pt x="6648" y="1839"/>
                </a:lnTo>
                <a:lnTo>
                  <a:pt x="6648" y="1839"/>
                </a:lnTo>
                <a:lnTo>
                  <a:pt x="6647" y="1839"/>
                </a:lnTo>
                <a:lnTo>
                  <a:pt x="6647" y="1839"/>
                </a:lnTo>
                <a:close/>
                <a:moveTo>
                  <a:pt x="379" y="3867"/>
                </a:moveTo>
                <a:lnTo>
                  <a:pt x="379" y="3867"/>
                </a:lnTo>
                <a:lnTo>
                  <a:pt x="380" y="3867"/>
                </a:lnTo>
                <a:lnTo>
                  <a:pt x="379" y="3867"/>
                </a:lnTo>
                <a:close/>
                <a:moveTo>
                  <a:pt x="116" y="3937"/>
                </a:moveTo>
                <a:lnTo>
                  <a:pt x="115" y="3937"/>
                </a:lnTo>
                <a:lnTo>
                  <a:pt x="115" y="3937"/>
                </a:lnTo>
                <a:lnTo>
                  <a:pt x="116" y="3937"/>
                </a:lnTo>
                <a:close/>
                <a:moveTo>
                  <a:pt x="6065" y="976"/>
                </a:moveTo>
                <a:lnTo>
                  <a:pt x="6070" y="972"/>
                </a:lnTo>
                <a:lnTo>
                  <a:pt x="6070" y="965"/>
                </a:lnTo>
                <a:lnTo>
                  <a:pt x="6069" y="957"/>
                </a:lnTo>
                <a:lnTo>
                  <a:pt x="6066" y="951"/>
                </a:lnTo>
                <a:lnTo>
                  <a:pt x="6063" y="957"/>
                </a:lnTo>
                <a:lnTo>
                  <a:pt x="6061" y="964"/>
                </a:lnTo>
                <a:lnTo>
                  <a:pt x="6061" y="970"/>
                </a:lnTo>
                <a:lnTo>
                  <a:pt x="6065" y="976"/>
                </a:lnTo>
                <a:close/>
                <a:moveTo>
                  <a:pt x="5987" y="1023"/>
                </a:moveTo>
                <a:lnTo>
                  <a:pt x="5981" y="1021"/>
                </a:lnTo>
                <a:lnTo>
                  <a:pt x="5976" y="1023"/>
                </a:lnTo>
                <a:lnTo>
                  <a:pt x="5971" y="1030"/>
                </a:lnTo>
                <a:lnTo>
                  <a:pt x="5965" y="1036"/>
                </a:lnTo>
                <a:lnTo>
                  <a:pt x="5964" y="1036"/>
                </a:lnTo>
                <a:lnTo>
                  <a:pt x="5965" y="1036"/>
                </a:lnTo>
                <a:lnTo>
                  <a:pt x="5965" y="1036"/>
                </a:lnTo>
                <a:lnTo>
                  <a:pt x="5965" y="1036"/>
                </a:lnTo>
                <a:lnTo>
                  <a:pt x="5973" y="1035"/>
                </a:lnTo>
                <a:lnTo>
                  <a:pt x="5979" y="1034"/>
                </a:lnTo>
                <a:lnTo>
                  <a:pt x="5985" y="1031"/>
                </a:lnTo>
                <a:lnTo>
                  <a:pt x="5987" y="1023"/>
                </a:lnTo>
                <a:close/>
                <a:moveTo>
                  <a:pt x="6192" y="975"/>
                </a:moveTo>
                <a:lnTo>
                  <a:pt x="6192" y="975"/>
                </a:lnTo>
                <a:lnTo>
                  <a:pt x="6193" y="974"/>
                </a:lnTo>
                <a:lnTo>
                  <a:pt x="6192" y="975"/>
                </a:lnTo>
                <a:close/>
                <a:moveTo>
                  <a:pt x="6191" y="1000"/>
                </a:moveTo>
                <a:lnTo>
                  <a:pt x="6191" y="1000"/>
                </a:lnTo>
                <a:lnTo>
                  <a:pt x="6191" y="1000"/>
                </a:lnTo>
                <a:lnTo>
                  <a:pt x="6191" y="1000"/>
                </a:lnTo>
                <a:lnTo>
                  <a:pt x="6191" y="1000"/>
                </a:lnTo>
                <a:close/>
                <a:moveTo>
                  <a:pt x="6216" y="1002"/>
                </a:moveTo>
                <a:lnTo>
                  <a:pt x="6218" y="990"/>
                </a:lnTo>
                <a:lnTo>
                  <a:pt x="6212" y="983"/>
                </a:lnTo>
                <a:lnTo>
                  <a:pt x="6204" y="978"/>
                </a:lnTo>
                <a:lnTo>
                  <a:pt x="6192" y="975"/>
                </a:lnTo>
                <a:lnTo>
                  <a:pt x="6191" y="989"/>
                </a:lnTo>
                <a:lnTo>
                  <a:pt x="6195" y="1002"/>
                </a:lnTo>
                <a:lnTo>
                  <a:pt x="6204" y="1007"/>
                </a:lnTo>
                <a:lnTo>
                  <a:pt x="6216" y="1002"/>
                </a:lnTo>
                <a:close/>
                <a:moveTo>
                  <a:pt x="7624" y="1289"/>
                </a:moveTo>
                <a:lnTo>
                  <a:pt x="7627" y="1286"/>
                </a:lnTo>
                <a:lnTo>
                  <a:pt x="7627" y="1282"/>
                </a:lnTo>
                <a:lnTo>
                  <a:pt x="7625" y="1279"/>
                </a:lnTo>
                <a:lnTo>
                  <a:pt x="7621" y="1279"/>
                </a:lnTo>
                <a:lnTo>
                  <a:pt x="7618" y="1282"/>
                </a:lnTo>
                <a:lnTo>
                  <a:pt x="7618" y="1287"/>
                </a:lnTo>
                <a:lnTo>
                  <a:pt x="7620" y="1289"/>
                </a:lnTo>
                <a:lnTo>
                  <a:pt x="7624" y="1289"/>
                </a:lnTo>
                <a:close/>
                <a:moveTo>
                  <a:pt x="6312" y="994"/>
                </a:moveTo>
                <a:lnTo>
                  <a:pt x="6313" y="998"/>
                </a:lnTo>
                <a:lnTo>
                  <a:pt x="6317" y="998"/>
                </a:lnTo>
                <a:lnTo>
                  <a:pt x="6319" y="995"/>
                </a:lnTo>
                <a:lnTo>
                  <a:pt x="6319" y="990"/>
                </a:lnTo>
                <a:lnTo>
                  <a:pt x="6321" y="976"/>
                </a:lnTo>
                <a:lnTo>
                  <a:pt x="6318" y="975"/>
                </a:lnTo>
                <a:lnTo>
                  <a:pt x="6314" y="983"/>
                </a:lnTo>
                <a:lnTo>
                  <a:pt x="6312" y="994"/>
                </a:lnTo>
                <a:close/>
                <a:moveTo>
                  <a:pt x="5487" y="1805"/>
                </a:moveTo>
                <a:lnTo>
                  <a:pt x="5488" y="1805"/>
                </a:lnTo>
                <a:lnTo>
                  <a:pt x="5488" y="1805"/>
                </a:lnTo>
                <a:lnTo>
                  <a:pt x="5487" y="1805"/>
                </a:lnTo>
                <a:lnTo>
                  <a:pt x="5487" y="1805"/>
                </a:lnTo>
                <a:close/>
                <a:moveTo>
                  <a:pt x="5474" y="1825"/>
                </a:moveTo>
                <a:lnTo>
                  <a:pt x="5484" y="1830"/>
                </a:lnTo>
                <a:lnTo>
                  <a:pt x="5489" y="1820"/>
                </a:lnTo>
                <a:lnTo>
                  <a:pt x="5488" y="1809"/>
                </a:lnTo>
                <a:lnTo>
                  <a:pt x="5478" y="1809"/>
                </a:lnTo>
                <a:lnTo>
                  <a:pt x="5474" y="1813"/>
                </a:lnTo>
                <a:lnTo>
                  <a:pt x="5471" y="1816"/>
                </a:lnTo>
                <a:lnTo>
                  <a:pt x="5471" y="1821"/>
                </a:lnTo>
                <a:lnTo>
                  <a:pt x="5474" y="1825"/>
                </a:lnTo>
                <a:close/>
                <a:moveTo>
                  <a:pt x="4360" y="1018"/>
                </a:moveTo>
                <a:lnTo>
                  <a:pt x="4363" y="1014"/>
                </a:lnTo>
                <a:lnTo>
                  <a:pt x="4363" y="1011"/>
                </a:lnTo>
                <a:lnTo>
                  <a:pt x="4362" y="1007"/>
                </a:lnTo>
                <a:lnTo>
                  <a:pt x="4361" y="1003"/>
                </a:lnTo>
                <a:lnTo>
                  <a:pt x="4360" y="1007"/>
                </a:lnTo>
                <a:lnTo>
                  <a:pt x="4358" y="1011"/>
                </a:lnTo>
                <a:lnTo>
                  <a:pt x="4358" y="1014"/>
                </a:lnTo>
                <a:lnTo>
                  <a:pt x="4360" y="1018"/>
                </a:lnTo>
                <a:close/>
                <a:moveTo>
                  <a:pt x="4361" y="1002"/>
                </a:moveTo>
                <a:lnTo>
                  <a:pt x="4361" y="1002"/>
                </a:lnTo>
                <a:lnTo>
                  <a:pt x="4361" y="1002"/>
                </a:lnTo>
                <a:lnTo>
                  <a:pt x="4361" y="1002"/>
                </a:lnTo>
                <a:lnTo>
                  <a:pt x="4360" y="1002"/>
                </a:lnTo>
                <a:lnTo>
                  <a:pt x="4360" y="1002"/>
                </a:lnTo>
                <a:lnTo>
                  <a:pt x="4360" y="1002"/>
                </a:lnTo>
                <a:lnTo>
                  <a:pt x="4360" y="1002"/>
                </a:lnTo>
                <a:lnTo>
                  <a:pt x="4360" y="1002"/>
                </a:lnTo>
                <a:lnTo>
                  <a:pt x="4361" y="1002"/>
                </a:lnTo>
                <a:close/>
                <a:moveTo>
                  <a:pt x="4994" y="1053"/>
                </a:moveTo>
                <a:lnTo>
                  <a:pt x="4996" y="1054"/>
                </a:lnTo>
                <a:lnTo>
                  <a:pt x="4998" y="1055"/>
                </a:lnTo>
                <a:lnTo>
                  <a:pt x="4998" y="1054"/>
                </a:lnTo>
                <a:lnTo>
                  <a:pt x="4994" y="1053"/>
                </a:lnTo>
                <a:lnTo>
                  <a:pt x="4994" y="1053"/>
                </a:lnTo>
                <a:lnTo>
                  <a:pt x="4994" y="1053"/>
                </a:lnTo>
                <a:close/>
                <a:moveTo>
                  <a:pt x="4851" y="1109"/>
                </a:moveTo>
                <a:lnTo>
                  <a:pt x="4850" y="1107"/>
                </a:lnTo>
                <a:lnTo>
                  <a:pt x="4851" y="1109"/>
                </a:lnTo>
                <a:lnTo>
                  <a:pt x="4851" y="1109"/>
                </a:lnTo>
                <a:lnTo>
                  <a:pt x="4851" y="1109"/>
                </a:lnTo>
                <a:lnTo>
                  <a:pt x="4851" y="1109"/>
                </a:lnTo>
                <a:close/>
                <a:moveTo>
                  <a:pt x="4851" y="1109"/>
                </a:moveTo>
                <a:lnTo>
                  <a:pt x="4851" y="1107"/>
                </a:lnTo>
                <a:lnTo>
                  <a:pt x="4851" y="1109"/>
                </a:lnTo>
                <a:close/>
                <a:moveTo>
                  <a:pt x="4680" y="1049"/>
                </a:moveTo>
                <a:lnTo>
                  <a:pt x="4679" y="1045"/>
                </a:lnTo>
                <a:lnTo>
                  <a:pt x="4677" y="1044"/>
                </a:lnTo>
                <a:lnTo>
                  <a:pt x="4673" y="1044"/>
                </a:lnTo>
                <a:lnTo>
                  <a:pt x="4669" y="1048"/>
                </a:lnTo>
                <a:lnTo>
                  <a:pt x="4673" y="1049"/>
                </a:lnTo>
                <a:lnTo>
                  <a:pt x="4675" y="1051"/>
                </a:lnTo>
                <a:lnTo>
                  <a:pt x="4678" y="1051"/>
                </a:lnTo>
                <a:lnTo>
                  <a:pt x="4680" y="1049"/>
                </a:lnTo>
                <a:close/>
                <a:moveTo>
                  <a:pt x="4529" y="1118"/>
                </a:moveTo>
                <a:lnTo>
                  <a:pt x="4531" y="1111"/>
                </a:lnTo>
                <a:lnTo>
                  <a:pt x="4533" y="1105"/>
                </a:lnTo>
                <a:lnTo>
                  <a:pt x="4533" y="1100"/>
                </a:lnTo>
                <a:lnTo>
                  <a:pt x="4531" y="1093"/>
                </a:lnTo>
                <a:lnTo>
                  <a:pt x="4519" y="1079"/>
                </a:lnTo>
                <a:lnTo>
                  <a:pt x="4511" y="1098"/>
                </a:lnTo>
                <a:lnTo>
                  <a:pt x="4512" y="1120"/>
                </a:lnTo>
                <a:lnTo>
                  <a:pt x="4529" y="1118"/>
                </a:lnTo>
                <a:close/>
                <a:moveTo>
                  <a:pt x="4510" y="1121"/>
                </a:moveTo>
                <a:lnTo>
                  <a:pt x="4510" y="1121"/>
                </a:lnTo>
                <a:lnTo>
                  <a:pt x="4510" y="1121"/>
                </a:lnTo>
                <a:lnTo>
                  <a:pt x="4510" y="1121"/>
                </a:lnTo>
                <a:lnTo>
                  <a:pt x="4510" y="1121"/>
                </a:lnTo>
                <a:close/>
                <a:moveTo>
                  <a:pt x="4640" y="989"/>
                </a:moveTo>
                <a:lnTo>
                  <a:pt x="4644" y="988"/>
                </a:lnTo>
                <a:lnTo>
                  <a:pt x="4649" y="985"/>
                </a:lnTo>
                <a:lnTo>
                  <a:pt x="4646" y="990"/>
                </a:lnTo>
                <a:lnTo>
                  <a:pt x="4644" y="994"/>
                </a:lnTo>
                <a:lnTo>
                  <a:pt x="4640" y="994"/>
                </a:lnTo>
                <a:lnTo>
                  <a:pt x="4640" y="989"/>
                </a:lnTo>
                <a:close/>
                <a:moveTo>
                  <a:pt x="4624" y="1051"/>
                </a:moveTo>
                <a:lnTo>
                  <a:pt x="4645" y="1027"/>
                </a:lnTo>
                <a:lnTo>
                  <a:pt x="4656" y="999"/>
                </a:lnTo>
                <a:lnTo>
                  <a:pt x="4656" y="972"/>
                </a:lnTo>
                <a:lnTo>
                  <a:pt x="4641" y="948"/>
                </a:lnTo>
                <a:lnTo>
                  <a:pt x="4624" y="965"/>
                </a:lnTo>
                <a:lnTo>
                  <a:pt x="4616" y="997"/>
                </a:lnTo>
                <a:lnTo>
                  <a:pt x="4614" y="1028"/>
                </a:lnTo>
                <a:lnTo>
                  <a:pt x="4624" y="1051"/>
                </a:lnTo>
                <a:close/>
                <a:moveTo>
                  <a:pt x="5580" y="1853"/>
                </a:moveTo>
                <a:lnTo>
                  <a:pt x="5580" y="1852"/>
                </a:lnTo>
                <a:lnTo>
                  <a:pt x="5578" y="1852"/>
                </a:lnTo>
                <a:lnTo>
                  <a:pt x="5580" y="1853"/>
                </a:lnTo>
                <a:close/>
                <a:moveTo>
                  <a:pt x="5588" y="1849"/>
                </a:moveTo>
                <a:lnTo>
                  <a:pt x="5590" y="1847"/>
                </a:lnTo>
                <a:lnTo>
                  <a:pt x="5591" y="1846"/>
                </a:lnTo>
                <a:lnTo>
                  <a:pt x="5590" y="1843"/>
                </a:lnTo>
                <a:lnTo>
                  <a:pt x="5588" y="1841"/>
                </a:lnTo>
                <a:lnTo>
                  <a:pt x="5583" y="1843"/>
                </a:lnTo>
                <a:lnTo>
                  <a:pt x="5581" y="1848"/>
                </a:lnTo>
                <a:lnTo>
                  <a:pt x="5582" y="1852"/>
                </a:lnTo>
                <a:lnTo>
                  <a:pt x="5588" y="1849"/>
                </a:lnTo>
                <a:close/>
                <a:moveTo>
                  <a:pt x="8163" y="1334"/>
                </a:moveTo>
                <a:lnTo>
                  <a:pt x="8162" y="1334"/>
                </a:lnTo>
                <a:lnTo>
                  <a:pt x="8165" y="1334"/>
                </a:lnTo>
                <a:lnTo>
                  <a:pt x="8163" y="1334"/>
                </a:lnTo>
                <a:close/>
                <a:moveTo>
                  <a:pt x="8160" y="1335"/>
                </a:moveTo>
                <a:lnTo>
                  <a:pt x="8158" y="1336"/>
                </a:lnTo>
                <a:lnTo>
                  <a:pt x="8157" y="1338"/>
                </a:lnTo>
                <a:lnTo>
                  <a:pt x="8158" y="1336"/>
                </a:lnTo>
                <a:lnTo>
                  <a:pt x="8161" y="1335"/>
                </a:lnTo>
                <a:lnTo>
                  <a:pt x="8162" y="1335"/>
                </a:lnTo>
                <a:lnTo>
                  <a:pt x="8160" y="1335"/>
                </a:lnTo>
                <a:close/>
                <a:moveTo>
                  <a:pt x="8193" y="1296"/>
                </a:moveTo>
                <a:lnTo>
                  <a:pt x="8193" y="1292"/>
                </a:lnTo>
                <a:lnTo>
                  <a:pt x="8192" y="1291"/>
                </a:lnTo>
                <a:lnTo>
                  <a:pt x="8190" y="1291"/>
                </a:lnTo>
                <a:lnTo>
                  <a:pt x="8188" y="1292"/>
                </a:lnTo>
                <a:lnTo>
                  <a:pt x="8188" y="1294"/>
                </a:lnTo>
                <a:lnTo>
                  <a:pt x="8189" y="1296"/>
                </a:lnTo>
                <a:lnTo>
                  <a:pt x="8190" y="1296"/>
                </a:lnTo>
                <a:lnTo>
                  <a:pt x="8193" y="1296"/>
                </a:lnTo>
                <a:close/>
                <a:moveTo>
                  <a:pt x="8225" y="1287"/>
                </a:moveTo>
                <a:lnTo>
                  <a:pt x="8223" y="1284"/>
                </a:lnTo>
                <a:lnTo>
                  <a:pt x="8223" y="1283"/>
                </a:lnTo>
                <a:lnTo>
                  <a:pt x="8221" y="1282"/>
                </a:lnTo>
                <a:lnTo>
                  <a:pt x="8220" y="1283"/>
                </a:lnTo>
                <a:lnTo>
                  <a:pt x="8220" y="1286"/>
                </a:lnTo>
                <a:lnTo>
                  <a:pt x="8220" y="1288"/>
                </a:lnTo>
                <a:lnTo>
                  <a:pt x="8222" y="1288"/>
                </a:lnTo>
                <a:lnTo>
                  <a:pt x="8225" y="1287"/>
                </a:lnTo>
                <a:close/>
                <a:moveTo>
                  <a:pt x="8146" y="1280"/>
                </a:moveTo>
                <a:lnTo>
                  <a:pt x="8143" y="1275"/>
                </a:lnTo>
                <a:lnTo>
                  <a:pt x="8139" y="1274"/>
                </a:lnTo>
                <a:lnTo>
                  <a:pt x="8137" y="1274"/>
                </a:lnTo>
                <a:lnTo>
                  <a:pt x="8134" y="1279"/>
                </a:lnTo>
                <a:lnTo>
                  <a:pt x="8135" y="1284"/>
                </a:lnTo>
                <a:lnTo>
                  <a:pt x="8138" y="1286"/>
                </a:lnTo>
                <a:lnTo>
                  <a:pt x="8142" y="1286"/>
                </a:lnTo>
                <a:lnTo>
                  <a:pt x="8146" y="1280"/>
                </a:lnTo>
                <a:close/>
                <a:moveTo>
                  <a:pt x="8574" y="2354"/>
                </a:moveTo>
                <a:lnTo>
                  <a:pt x="8577" y="2356"/>
                </a:lnTo>
                <a:lnTo>
                  <a:pt x="8581" y="2356"/>
                </a:lnTo>
                <a:lnTo>
                  <a:pt x="8584" y="2352"/>
                </a:lnTo>
                <a:lnTo>
                  <a:pt x="8585" y="2347"/>
                </a:lnTo>
                <a:lnTo>
                  <a:pt x="8580" y="2345"/>
                </a:lnTo>
                <a:lnTo>
                  <a:pt x="8577" y="2346"/>
                </a:lnTo>
                <a:lnTo>
                  <a:pt x="8575" y="2348"/>
                </a:lnTo>
                <a:lnTo>
                  <a:pt x="8574" y="2354"/>
                </a:lnTo>
                <a:close/>
                <a:moveTo>
                  <a:pt x="7371" y="2200"/>
                </a:moveTo>
                <a:lnTo>
                  <a:pt x="7371" y="2201"/>
                </a:lnTo>
                <a:lnTo>
                  <a:pt x="7371" y="2203"/>
                </a:lnTo>
                <a:lnTo>
                  <a:pt x="7374" y="2202"/>
                </a:lnTo>
                <a:lnTo>
                  <a:pt x="7375" y="2200"/>
                </a:lnTo>
                <a:lnTo>
                  <a:pt x="7374" y="2198"/>
                </a:lnTo>
                <a:lnTo>
                  <a:pt x="7371" y="2200"/>
                </a:lnTo>
                <a:close/>
                <a:moveTo>
                  <a:pt x="6682" y="2025"/>
                </a:moveTo>
                <a:lnTo>
                  <a:pt x="6685" y="2026"/>
                </a:lnTo>
                <a:lnTo>
                  <a:pt x="6686" y="2025"/>
                </a:lnTo>
                <a:lnTo>
                  <a:pt x="6686" y="2024"/>
                </a:lnTo>
                <a:lnTo>
                  <a:pt x="6686" y="2021"/>
                </a:lnTo>
                <a:lnTo>
                  <a:pt x="6682" y="2025"/>
                </a:lnTo>
                <a:close/>
                <a:moveTo>
                  <a:pt x="10686" y="5168"/>
                </a:moveTo>
                <a:lnTo>
                  <a:pt x="10686" y="5168"/>
                </a:lnTo>
                <a:lnTo>
                  <a:pt x="10686" y="5167"/>
                </a:lnTo>
                <a:lnTo>
                  <a:pt x="10686" y="5168"/>
                </a:lnTo>
                <a:lnTo>
                  <a:pt x="10686" y="5168"/>
                </a:lnTo>
                <a:lnTo>
                  <a:pt x="10686" y="5172"/>
                </a:lnTo>
                <a:lnTo>
                  <a:pt x="10686" y="5176"/>
                </a:lnTo>
                <a:lnTo>
                  <a:pt x="10686" y="5178"/>
                </a:lnTo>
                <a:lnTo>
                  <a:pt x="10688" y="5177"/>
                </a:lnTo>
                <a:lnTo>
                  <a:pt x="10688" y="5172"/>
                </a:lnTo>
                <a:lnTo>
                  <a:pt x="10686" y="5168"/>
                </a:lnTo>
                <a:close/>
                <a:moveTo>
                  <a:pt x="10686" y="5181"/>
                </a:moveTo>
                <a:lnTo>
                  <a:pt x="10686" y="5179"/>
                </a:lnTo>
                <a:lnTo>
                  <a:pt x="10685" y="5181"/>
                </a:lnTo>
                <a:lnTo>
                  <a:pt x="10685" y="5181"/>
                </a:lnTo>
                <a:lnTo>
                  <a:pt x="10685" y="5181"/>
                </a:lnTo>
                <a:lnTo>
                  <a:pt x="10685" y="5181"/>
                </a:lnTo>
                <a:lnTo>
                  <a:pt x="10682" y="5181"/>
                </a:lnTo>
                <a:lnTo>
                  <a:pt x="10681" y="5182"/>
                </a:lnTo>
                <a:lnTo>
                  <a:pt x="10679" y="5183"/>
                </a:lnTo>
                <a:lnTo>
                  <a:pt x="10677" y="5185"/>
                </a:lnTo>
                <a:lnTo>
                  <a:pt x="10680" y="5186"/>
                </a:lnTo>
                <a:lnTo>
                  <a:pt x="10681" y="5186"/>
                </a:lnTo>
                <a:lnTo>
                  <a:pt x="10684" y="5183"/>
                </a:lnTo>
                <a:lnTo>
                  <a:pt x="10685" y="5181"/>
                </a:lnTo>
                <a:lnTo>
                  <a:pt x="10685" y="5181"/>
                </a:lnTo>
                <a:lnTo>
                  <a:pt x="10686" y="5181"/>
                </a:lnTo>
                <a:lnTo>
                  <a:pt x="10686" y="5181"/>
                </a:lnTo>
                <a:lnTo>
                  <a:pt x="10686" y="5181"/>
                </a:lnTo>
                <a:close/>
                <a:moveTo>
                  <a:pt x="11426" y="4299"/>
                </a:moveTo>
                <a:lnTo>
                  <a:pt x="11422" y="4299"/>
                </a:lnTo>
                <a:lnTo>
                  <a:pt x="11426" y="4299"/>
                </a:lnTo>
                <a:lnTo>
                  <a:pt x="11420" y="4288"/>
                </a:lnTo>
                <a:lnTo>
                  <a:pt x="11426" y="4299"/>
                </a:lnTo>
                <a:close/>
                <a:moveTo>
                  <a:pt x="11417" y="4283"/>
                </a:moveTo>
                <a:lnTo>
                  <a:pt x="11417" y="4285"/>
                </a:lnTo>
                <a:lnTo>
                  <a:pt x="11417" y="4283"/>
                </a:lnTo>
                <a:lnTo>
                  <a:pt x="11417" y="4285"/>
                </a:lnTo>
                <a:lnTo>
                  <a:pt x="11417" y="4283"/>
                </a:lnTo>
                <a:close/>
                <a:moveTo>
                  <a:pt x="11427" y="4299"/>
                </a:moveTo>
                <a:lnTo>
                  <a:pt x="11426" y="4299"/>
                </a:lnTo>
                <a:lnTo>
                  <a:pt x="11426" y="4299"/>
                </a:lnTo>
                <a:lnTo>
                  <a:pt x="11427" y="4299"/>
                </a:lnTo>
                <a:close/>
                <a:moveTo>
                  <a:pt x="11416" y="4299"/>
                </a:moveTo>
                <a:lnTo>
                  <a:pt x="11416" y="4297"/>
                </a:lnTo>
                <a:lnTo>
                  <a:pt x="11416" y="4297"/>
                </a:lnTo>
                <a:lnTo>
                  <a:pt x="11416" y="4299"/>
                </a:lnTo>
                <a:close/>
                <a:moveTo>
                  <a:pt x="5352" y="719"/>
                </a:moveTo>
                <a:lnTo>
                  <a:pt x="5347" y="718"/>
                </a:lnTo>
                <a:lnTo>
                  <a:pt x="5340" y="718"/>
                </a:lnTo>
                <a:lnTo>
                  <a:pt x="5345" y="718"/>
                </a:lnTo>
                <a:lnTo>
                  <a:pt x="5352" y="719"/>
                </a:lnTo>
                <a:close/>
                <a:moveTo>
                  <a:pt x="5920" y="925"/>
                </a:moveTo>
                <a:lnTo>
                  <a:pt x="5920" y="925"/>
                </a:lnTo>
                <a:lnTo>
                  <a:pt x="5920" y="925"/>
                </a:lnTo>
                <a:lnTo>
                  <a:pt x="5920" y="925"/>
                </a:lnTo>
                <a:close/>
                <a:moveTo>
                  <a:pt x="5920" y="927"/>
                </a:moveTo>
                <a:lnTo>
                  <a:pt x="5918" y="930"/>
                </a:lnTo>
                <a:lnTo>
                  <a:pt x="5920" y="927"/>
                </a:lnTo>
                <a:lnTo>
                  <a:pt x="5912" y="933"/>
                </a:lnTo>
                <a:lnTo>
                  <a:pt x="5920" y="927"/>
                </a:lnTo>
                <a:close/>
                <a:moveTo>
                  <a:pt x="5909" y="937"/>
                </a:moveTo>
                <a:lnTo>
                  <a:pt x="5908" y="937"/>
                </a:lnTo>
                <a:lnTo>
                  <a:pt x="5907" y="938"/>
                </a:lnTo>
                <a:lnTo>
                  <a:pt x="5908" y="938"/>
                </a:lnTo>
                <a:lnTo>
                  <a:pt x="5909" y="937"/>
                </a:lnTo>
                <a:close/>
                <a:moveTo>
                  <a:pt x="6668" y="1133"/>
                </a:moveTo>
                <a:lnTo>
                  <a:pt x="6663" y="1139"/>
                </a:lnTo>
                <a:lnTo>
                  <a:pt x="6657" y="1147"/>
                </a:lnTo>
                <a:lnTo>
                  <a:pt x="6657" y="1146"/>
                </a:lnTo>
                <a:lnTo>
                  <a:pt x="6657" y="1146"/>
                </a:lnTo>
                <a:lnTo>
                  <a:pt x="6657" y="1147"/>
                </a:lnTo>
                <a:lnTo>
                  <a:pt x="6663" y="1139"/>
                </a:lnTo>
                <a:lnTo>
                  <a:pt x="6668" y="1133"/>
                </a:lnTo>
                <a:close/>
                <a:moveTo>
                  <a:pt x="5921" y="923"/>
                </a:moveTo>
                <a:lnTo>
                  <a:pt x="5921" y="924"/>
                </a:lnTo>
                <a:lnTo>
                  <a:pt x="5921" y="923"/>
                </a:lnTo>
                <a:lnTo>
                  <a:pt x="5923" y="920"/>
                </a:lnTo>
                <a:lnTo>
                  <a:pt x="5923" y="918"/>
                </a:lnTo>
                <a:lnTo>
                  <a:pt x="5921" y="923"/>
                </a:lnTo>
                <a:close/>
                <a:moveTo>
                  <a:pt x="5921" y="923"/>
                </a:moveTo>
                <a:lnTo>
                  <a:pt x="5920" y="924"/>
                </a:lnTo>
                <a:lnTo>
                  <a:pt x="5921" y="923"/>
                </a:lnTo>
                <a:lnTo>
                  <a:pt x="5921" y="923"/>
                </a:lnTo>
                <a:close/>
                <a:moveTo>
                  <a:pt x="10610" y="5016"/>
                </a:moveTo>
                <a:lnTo>
                  <a:pt x="10611" y="5015"/>
                </a:lnTo>
                <a:lnTo>
                  <a:pt x="10610" y="5016"/>
                </a:lnTo>
                <a:lnTo>
                  <a:pt x="10611" y="5015"/>
                </a:lnTo>
                <a:lnTo>
                  <a:pt x="10610" y="5016"/>
                </a:lnTo>
                <a:close/>
                <a:moveTo>
                  <a:pt x="10853" y="4987"/>
                </a:moveTo>
                <a:lnTo>
                  <a:pt x="10852" y="4983"/>
                </a:lnTo>
                <a:lnTo>
                  <a:pt x="10851" y="4981"/>
                </a:lnTo>
                <a:lnTo>
                  <a:pt x="10852" y="4985"/>
                </a:lnTo>
                <a:lnTo>
                  <a:pt x="10853" y="4987"/>
                </a:lnTo>
                <a:close/>
                <a:moveTo>
                  <a:pt x="10851" y="4978"/>
                </a:moveTo>
                <a:lnTo>
                  <a:pt x="10851" y="4980"/>
                </a:lnTo>
                <a:lnTo>
                  <a:pt x="10851" y="4978"/>
                </a:lnTo>
                <a:lnTo>
                  <a:pt x="10851" y="4978"/>
                </a:lnTo>
                <a:lnTo>
                  <a:pt x="10851" y="4978"/>
                </a:lnTo>
                <a:lnTo>
                  <a:pt x="10851" y="4978"/>
                </a:lnTo>
                <a:lnTo>
                  <a:pt x="10851" y="4980"/>
                </a:lnTo>
                <a:lnTo>
                  <a:pt x="10851" y="4978"/>
                </a:lnTo>
                <a:close/>
                <a:moveTo>
                  <a:pt x="9978" y="1419"/>
                </a:moveTo>
                <a:lnTo>
                  <a:pt x="9977" y="1423"/>
                </a:lnTo>
                <a:lnTo>
                  <a:pt x="9976" y="1426"/>
                </a:lnTo>
                <a:lnTo>
                  <a:pt x="9977" y="1423"/>
                </a:lnTo>
                <a:lnTo>
                  <a:pt x="9978" y="1419"/>
                </a:lnTo>
                <a:close/>
                <a:moveTo>
                  <a:pt x="4514" y="891"/>
                </a:moveTo>
                <a:lnTo>
                  <a:pt x="4515" y="892"/>
                </a:lnTo>
                <a:lnTo>
                  <a:pt x="4516" y="892"/>
                </a:lnTo>
                <a:lnTo>
                  <a:pt x="4486" y="901"/>
                </a:lnTo>
                <a:lnTo>
                  <a:pt x="4463" y="890"/>
                </a:lnTo>
                <a:lnTo>
                  <a:pt x="4454" y="860"/>
                </a:lnTo>
                <a:lnTo>
                  <a:pt x="4468" y="815"/>
                </a:lnTo>
                <a:lnTo>
                  <a:pt x="4453" y="794"/>
                </a:lnTo>
                <a:lnTo>
                  <a:pt x="4432" y="811"/>
                </a:lnTo>
                <a:lnTo>
                  <a:pt x="4408" y="836"/>
                </a:lnTo>
                <a:lnTo>
                  <a:pt x="4384" y="839"/>
                </a:lnTo>
                <a:lnTo>
                  <a:pt x="4388" y="821"/>
                </a:lnTo>
                <a:lnTo>
                  <a:pt x="4394" y="804"/>
                </a:lnTo>
                <a:lnTo>
                  <a:pt x="4395" y="790"/>
                </a:lnTo>
                <a:lnTo>
                  <a:pt x="4385" y="776"/>
                </a:lnTo>
                <a:lnTo>
                  <a:pt x="4349" y="769"/>
                </a:lnTo>
                <a:lnTo>
                  <a:pt x="4288" y="770"/>
                </a:lnTo>
                <a:lnTo>
                  <a:pt x="4214" y="767"/>
                </a:lnTo>
                <a:lnTo>
                  <a:pt x="4143" y="751"/>
                </a:lnTo>
                <a:lnTo>
                  <a:pt x="4114" y="756"/>
                </a:lnTo>
                <a:lnTo>
                  <a:pt x="4095" y="787"/>
                </a:lnTo>
                <a:lnTo>
                  <a:pt x="4074" y="821"/>
                </a:lnTo>
                <a:lnTo>
                  <a:pt x="4040" y="832"/>
                </a:lnTo>
                <a:lnTo>
                  <a:pt x="4004" y="778"/>
                </a:lnTo>
                <a:lnTo>
                  <a:pt x="3941" y="724"/>
                </a:lnTo>
                <a:lnTo>
                  <a:pt x="3881" y="706"/>
                </a:lnTo>
                <a:lnTo>
                  <a:pt x="3862" y="759"/>
                </a:lnTo>
                <a:lnTo>
                  <a:pt x="3808" y="756"/>
                </a:lnTo>
                <a:lnTo>
                  <a:pt x="3654" y="704"/>
                </a:lnTo>
                <a:lnTo>
                  <a:pt x="3509" y="673"/>
                </a:lnTo>
                <a:lnTo>
                  <a:pt x="3480" y="737"/>
                </a:lnTo>
                <a:lnTo>
                  <a:pt x="3432" y="711"/>
                </a:lnTo>
                <a:lnTo>
                  <a:pt x="3373" y="680"/>
                </a:lnTo>
                <a:lnTo>
                  <a:pt x="3300" y="654"/>
                </a:lnTo>
                <a:lnTo>
                  <a:pt x="3221" y="653"/>
                </a:lnTo>
                <a:lnTo>
                  <a:pt x="3157" y="645"/>
                </a:lnTo>
                <a:lnTo>
                  <a:pt x="3146" y="602"/>
                </a:lnTo>
                <a:lnTo>
                  <a:pt x="3147" y="566"/>
                </a:lnTo>
                <a:lnTo>
                  <a:pt x="3124" y="579"/>
                </a:lnTo>
                <a:lnTo>
                  <a:pt x="3106" y="594"/>
                </a:lnTo>
                <a:lnTo>
                  <a:pt x="3104" y="578"/>
                </a:lnTo>
                <a:lnTo>
                  <a:pt x="3099" y="556"/>
                </a:lnTo>
                <a:lnTo>
                  <a:pt x="3068" y="551"/>
                </a:lnTo>
                <a:lnTo>
                  <a:pt x="3043" y="556"/>
                </a:lnTo>
                <a:lnTo>
                  <a:pt x="3020" y="577"/>
                </a:lnTo>
                <a:lnTo>
                  <a:pt x="3003" y="602"/>
                </a:lnTo>
                <a:lnTo>
                  <a:pt x="3002" y="621"/>
                </a:lnTo>
                <a:lnTo>
                  <a:pt x="3015" y="630"/>
                </a:lnTo>
                <a:lnTo>
                  <a:pt x="3007" y="635"/>
                </a:lnTo>
                <a:lnTo>
                  <a:pt x="2992" y="634"/>
                </a:lnTo>
                <a:lnTo>
                  <a:pt x="2978" y="626"/>
                </a:lnTo>
                <a:lnTo>
                  <a:pt x="2984" y="559"/>
                </a:lnTo>
                <a:lnTo>
                  <a:pt x="2945" y="528"/>
                </a:lnTo>
                <a:lnTo>
                  <a:pt x="2875" y="517"/>
                </a:lnTo>
                <a:lnTo>
                  <a:pt x="2793" y="509"/>
                </a:lnTo>
                <a:lnTo>
                  <a:pt x="2726" y="510"/>
                </a:lnTo>
                <a:lnTo>
                  <a:pt x="2662" y="489"/>
                </a:lnTo>
                <a:lnTo>
                  <a:pt x="2615" y="467"/>
                </a:lnTo>
                <a:lnTo>
                  <a:pt x="2592" y="470"/>
                </a:lnTo>
                <a:lnTo>
                  <a:pt x="2570" y="486"/>
                </a:lnTo>
                <a:lnTo>
                  <a:pt x="2550" y="472"/>
                </a:lnTo>
                <a:lnTo>
                  <a:pt x="2532" y="448"/>
                </a:lnTo>
                <a:lnTo>
                  <a:pt x="2516" y="430"/>
                </a:lnTo>
                <a:lnTo>
                  <a:pt x="2498" y="470"/>
                </a:lnTo>
                <a:lnTo>
                  <a:pt x="2447" y="472"/>
                </a:lnTo>
                <a:lnTo>
                  <a:pt x="2403" y="454"/>
                </a:lnTo>
                <a:lnTo>
                  <a:pt x="2407" y="426"/>
                </a:lnTo>
                <a:lnTo>
                  <a:pt x="2449" y="433"/>
                </a:lnTo>
                <a:lnTo>
                  <a:pt x="2425" y="412"/>
                </a:lnTo>
                <a:lnTo>
                  <a:pt x="2365" y="397"/>
                </a:lnTo>
                <a:lnTo>
                  <a:pt x="2304" y="414"/>
                </a:lnTo>
                <a:lnTo>
                  <a:pt x="2276" y="367"/>
                </a:lnTo>
                <a:lnTo>
                  <a:pt x="2242" y="375"/>
                </a:lnTo>
                <a:lnTo>
                  <a:pt x="2207" y="409"/>
                </a:lnTo>
                <a:lnTo>
                  <a:pt x="2182" y="429"/>
                </a:lnTo>
                <a:lnTo>
                  <a:pt x="2182" y="387"/>
                </a:lnTo>
                <a:lnTo>
                  <a:pt x="2144" y="364"/>
                </a:lnTo>
                <a:lnTo>
                  <a:pt x="2102" y="365"/>
                </a:lnTo>
                <a:lnTo>
                  <a:pt x="2089" y="392"/>
                </a:lnTo>
                <a:lnTo>
                  <a:pt x="2080" y="395"/>
                </a:lnTo>
                <a:lnTo>
                  <a:pt x="2074" y="374"/>
                </a:lnTo>
                <a:lnTo>
                  <a:pt x="2066" y="351"/>
                </a:lnTo>
                <a:lnTo>
                  <a:pt x="2051" y="345"/>
                </a:lnTo>
                <a:lnTo>
                  <a:pt x="1945" y="337"/>
                </a:lnTo>
                <a:lnTo>
                  <a:pt x="1823" y="322"/>
                </a:lnTo>
                <a:lnTo>
                  <a:pt x="1684" y="305"/>
                </a:lnTo>
                <a:lnTo>
                  <a:pt x="1530" y="293"/>
                </a:lnTo>
                <a:lnTo>
                  <a:pt x="1400" y="277"/>
                </a:lnTo>
                <a:lnTo>
                  <a:pt x="1336" y="277"/>
                </a:lnTo>
                <a:lnTo>
                  <a:pt x="1307" y="313"/>
                </a:lnTo>
                <a:lnTo>
                  <a:pt x="1278" y="410"/>
                </a:lnTo>
                <a:lnTo>
                  <a:pt x="1346" y="428"/>
                </a:lnTo>
                <a:lnTo>
                  <a:pt x="1383" y="440"/>
                </a:lnTo>
                <a:lnTo>
                  <a:pt x="1374" y="447"/>
                </a:lnTo>
                <a:lnTo>
                  <a:pt x="1302" y="447"/>
                </a:lnTo>
                <a:lnTo>
                  <a:pt x="1267" y="507"/>
                </a:lnTo>
                <a:lnTo>
                  <a:pt x="1259" y="583"/>
                </a:lnTo>
                <a:lnTo>
                  <a:pt x="1269" y="664"/>
                </a:lnTo>
                <a:lnTo>
                  <a:pt x="1292" y="742"/>
                </a:lnTo>
                <a:lnTo>
                  <a:pt x="1270" y="767"/>
                </a:lnTo>
                <a:lnTo>
                  <a:pt x="1247" y="785"/>
                </a:lnTo>
                <a:lnTo>
                  <a:pt x="1237" y="809"/>
                </a:lnTo>
                <a:lnTo>
                  <a:pt x="1252" y="850"/>
                </a:lnTo>
                <a:lnTo>
                  <a:pt x="1270" y="860"/>
                </a:lnTo>
                <a:lnTo>
                  <a:pt x="1287" y="857"/>
                </a:lnTo>
                <a:lnTo>
                  <a:pt x="1301" y="843"/>
                </a:lnTo>
                <a:lnTo>
                  <a:pt x="1312" y="823"/>
                </a:lnTo>
                <a:lnTo>
                  <a:pt x="1324" y="840"/>
                </a:lnTo>
                <a:lnTo>
                  <a:pt x="1306" y="862"/>
                </a:lnTo>
                <a:lnTo>
                  <a:pt x="1274" y="878"/>
                </a:lnTo>
                <a:lnTo>
                  <a:pt x="1239" y="877"/>
                </a:lnTo>
                <a:lnTo>
                  <a:pt x="1233" y="958"/>
                </a:lnTo>
                <a:lnTo>
                  <a:pt x="1218" y="1039"/>
                </a:lnTo>
                <a:lnTo>
                  <a:pt x="1209" y="1112"/>
                </a:lnTo>
                <a:lnTo>
                  <a:pt x="1222" y="1172"/>
                </a:lnTo>
                <a:lnTo>
                  <a:pt x="1167" y="1157"/>
                </a:lnTo>
                <a:lnTo>
                  <a:pt x="1144" y="1170"/>
                </a:lnTo>
                <a:lnTo>
                  <a:pt x="1161" y="1189"/>
                </a:lnTo>
                <a:lnTo>
                  <a:pt x="1220" y="1191"/>
                </a:lnTo>
                <a:lnTo>
                  <a:pt x="1167" y="1227"/>
                </a:lnTo>
                <a:lnTo>
                  <a:pt x="1139" y="1209"/>
                </a:lnTo>
                <a:lnTo>
                  <a:pt x="1110" y="1200"/>
                </a:lnTo>
                <a:lnTo>
                  <a:pt x="1055" y="1263"/>
                </a:lnTo>
                <a:lnTo>
                  <a:pt x="1090" y="1293"/>
                </a:lnTo>
                <a:lnTo>
                  <a:pt x="1037" y="1350"/>
                </a:lnTo>
                <a:lnTo>
                  <a:pt x="996" y="1409"/>
                </a:lnTo>
                <a:lnTo>
                  <a:pt x="1073" y="1443"/>
                </a:lnTo>
                <a:lnTo>
                  <a:pt x="1065" y="1478"/>
                </a:lnTo>
                <a:lnTo>
                  <a:pt x="1046" y="1502"/>
                </a:lnTo>
                <a:lnTo>
                  <a:pt x="1036" y="1529"/>
                </a:lnTo>
                <a:lnTo>
                  <a:pt x="1051" y="1567"/>
                </a:lnTo>
                <a:lnTo>
                  <a:pt x="1020" y="1583"/>
                </a:lnTo>
                <a:lnTo>
                  <a:pt x="981" y="1596"/>
                </a:lnTo>
                <a:lnTo>
                  <a:pt x="964" y="1615"/>
                </a:lnTo>
                <a:lnTo>
                  <a:pt x="1004" y="1653"/>
                </a:lnTo>
                <a:lnTo>
                  <a:pt x="994" y="1880"/>
                </a:lnTo>
                <a:lnTo>
                  <a:pt x="724" y="1880"/>
                </a:lnTo>
                <a:lnTo>
                  <a:pt x="407" y="1872"/>
                </a:lnTo>
                <a:lnTo>
                  <a:pt x="256" y="2076"/>
                </a:lnTo>
                <a:lnTo>
                  <a:pt x="240" y="2225"/>
                </a:lnTo>
                <a:lnTo>
                  <a:pt x="236" y="2374"/>
                </a:lnTo>
                <a:lnTo>
                  <a:pt x="221" y="2515"/>
                </a:lnTo>
                <a:lnTo>
                  <a:pt x="170" y="2637"/>
                </a:lnTo>
                <a:lnTo>
                  <a:pt x="156" y="2706"/>
                </a:lnTo>
                <a:lnTo>
                  <a:pt x="171" y="2770"/>
                </a:lnTo>
                <a:lnTo>
                  <a:pt x="191" y="2833"/>
                </a:lnTo>
                <a:lnTo>
                  <a:pt x="194" y="2905"/>
                </a:lnTo>
                <a:lnTo>
                  <a:pt x="37" y="2975"/>
                </a:lnTo>
                <a:lnTo>
                  <a:pt x="0" y="3125"/>
                </a:lnTo>
                <a:lnTo>
                  <a:pt x="19" y="3308"/>
                </a:lnTo>
                <a:lnTo>
                  <a:pt x="32" y="3478"/>
                </a:lnTo>
                <a:lnTo>
                  <a:pt x="35" y="3620"/>
                </a:lnTo>
                <a:lnTo>
                  <a:pt x="61" y="3802"/>
                </a:lnTo>
                <a:lnTo>
                  <a:pt x="92" y="3909"/>
                </a:lnTo>
                <a:lnTo>
                  <a:pt x="104" y="3829"/>
                </a:lnTo>
                <a:lnTo>
                  <a:pt x="104" y="3778"/>
                </a:lnTo>
                <a:lnTo>
                  <a:pt x="132" y="3728"/>
                </a:lnTo>
                <a:lnTo>
                  <a:pt x="165" y="3705"/>
                </a:lnTo>
                <a:lnTo>
                  <a:pt x="186" y="3738"/>
                </a:lnTo>
                <a:lnTo>
                  <a:pt x="188" y="3789"/>
                </a:lnTo>
                <a:lnTo>
                  <a:pt x="218" y="3822"/>
                </a:lnTo>
                <a:lnTo>
                  <a:pt x="249" y="3847"/>
                </a:lnTo>
                <a:lnTo>
                  <a:pt x="247" y="3867"/>
                </a:lnTo>
                <a:lnTo>
                  <a:pt x="231" y="3875"/>
                </a:lnTo>
                <a:lnTo>
                  <a:pt x="231" y="3893"/>
                </a:lnTo>
                <a:lnTo>
                  <a:pt x="244" y="3901"/>
                </a:lnTo>
                <a:lnTo>
                  <a:pt x="259" y="3879"/>
                </a:lnTo>
                <a:lnTo>
                  <a:pt x="273" y="3889"/>
                </a:lnTo>
                <a:lnTo>
                  <a:pt x="288" y="3905"/>
                </a:lnTo>
                <a:lnTo>
                  <a:pt x="301" y="3913"/>
                </a:lnTo>
                <a:lnTo>
                  <a:pt x="310" y="3896"/>
                </a:lnTo>
                <a:lnTo>
                  <a:pt x="348" y="3898"/>
                </a:lnTo>
                <a:lnTo>
                  <a:pt x="366" y="3882"/>
                </a:lnTo>
                <a:lnTo>
                  <a:pt x="377" y="3861"/>
                </a:lnTo>
                <a:lnTo>
                  <a:pt x="402" y="3843"/>
                </a:lnTo>
                <a:lnTo>
                  <a:pt x="418" y="3886"/>
                </a:lnTo>
                <a:lnTo>
                  <a:pt x="432" y="3881"/>
                </a:lnTo>
                <a:lnTo>
                  <a:pt x="444" y="3844"/>
                </a:lnTo>
                <a:lnTo>
                  <a:pt x="449" y="3784"/>
                </a:lnTo>
                <a:lnTo>
                  <a:pt x="590" y="3842"/>
                </a:lnTo>
                <a:lnTo>
                  <a:pt x="623" y="3812"/>
                </a:lnTo>
                <a:lnTo>
                  <a:pt x="633" y="3778"/>
                </a:lnTo>
                <a:lnTo>
                  <a:pt x="708" y="3821"/>
                </a:lnTo>
                <a:lnTo>
                  <a:pt x="712" y="3834"/>
                </a:lnTo>
                <a:lnTo>
                  <a:pt x="720" y="3848"/>
                </a:lnTo>
                <a:lnTo>
                  <a:pt x="729" y="3854"/>
                </a:lnTo>
                <a:lnTo>
                  <a:pt x="738" y="3847"/>
                </a:lnTo>
                <a:lnTo>
                  <a:pt x="759" y="3794"/>
                </a:lnTo>
                <a:lnTo>
                  <a:pt x="775" y="3839"/>
                </a:lnTo>
                <a:lnTo>
                  <a:pt x="781" y="3924"/>
                </a:lnTo>
                <a:lnTo>
                  <a:pt x="778" y="3997"/>
                </a:lnTo>
                <a:lnTo>
                  <a:pt x="834" y="4050"/>
                </a:lnTo>
                <a:lnTo>
                  <a:pt x="850" y="4129"/>
                </a:lnTo>
                <a:lnTo>
                  <a:pt x="856" y="4216"/>
                </a:lnTo>
                <a:lnTo>
                  <a:pt x="888" y="4291"/>
                </a:lnTo>
                <a:lnTo>
                  <a:pt x="929" y="4329"/>
                </a:lnTo>
                <a:lnTo>
                  <a:pt x="947" y="4390"/>
                </a:lnTo>
                <a:lnTo>
                  <a:pt x="975" y="4430"/>
                </a:lnTo>
                <a:lnTo>
                  <a:pt x="1043" y="4400"/>
                </a:lnTo>
                <a:lnTo>
                  <a:pt x="1106" y="4388"/>
                </a:lnTo>
                <a:lnTo>
                  <a:pt x="1116" y="4423"/>
                </a:lnTo>
                <a:lnTo>
                  <a:pt x="1106" y="4484"/>
                </a:lnTo>
                <a:lnTo>
                  <a:pt x="1102" y="4548"/>
                </a:lnTo>
                <a:lnTo>
                  <a:pt x="1083" y="4575"/>
                </a:lnTo>
                <a:lnTo>
                  <a:pt x="1052" y="4590"/>
                </a:lnTo>
                <a:lnTo>
                  <a:pt x="1040" y="4600"/>
                </a:lnTo>
                <a:lnTo>
                  <a:pt x="1070" y="4619"/>
                </a:lnTo>
                <a:lnTo>
                  <a:pt x="1117" y="4647"/>
                </a:lnTo>
                <a:lnTo>
                  <a:pt x="1181" y="4654"/>
                </a:lnTo>
                <a:lnTo>
                  <a:pt x="1224" y="4633"/>
                </a:lnTo>
                <a:lnTo>
                  <a:pt x="1210" y="4582"/>
                </a:lnTo>
                <a:lnTo>
                  <a:pt x="1159" y="4565"/>
                </a:lnTo>
                <a:lnTo>
                  <a:pt x="1158" y="4552"/>
                </a:lnTo>
                <a:lnTo>
                  <a:pt x="1194" y="4546"/>
                </a:lnTo>
                <a:lnTo>
                  <a:pt x="1252" y="4551"/>
                </a:lnTo>
                <a:lnTo>
                  <a:pt x="1507" y="4530"/>
                </a:lnTo>
                <a:lnTo>
                  <a:pt x="1838" y="4487"/>
                </a:lnTo>
                <a:lnTo>
                  <a:pt x="2123" y="4493"/>
                </a:lnTo>
                <a:lnTo>
                  <a:pt x="2246" y="4622"/>
                </a:lnTo>
                <a:lnTo>
                  <a:pt x="2175" y="4631"/>
                </a:lnTo>
                <a:lnTo>
                  <a:pt x="2144" y="4637"/>
                </a:lnTo>
                <a:lnTo>
                  <a:pt x="2151" y="4658"/>
                </a:lnTo>
                <a:lnTo>
                  <a:pt x="2197" y="4710"/>
                </a:lnTo>
                <a:lnTo>
                  <a:pt x="2161" y="4785"/>
                </a:lnTo>
                <a:lnTo>
                  <a:pt x="2159" y="4819"/>
                </a:lnTo>
                <a:lnTo>
                  <a:pt x="2147" y="4812"/>
                </a:lnTo>
                <a:lnTo>
                  <a:pt x="2080" y="4764"/>
                </a:lnTo>
                <a:lnTo>
                  <a:pt x="2039" y="4822"/>
                </a:lnTo>
                <a:lnTo>
                  <a:pt x="2028" y="4826"/>
                </a:lnTo>
                <a:lnTo>
                  <a:pt x="2001" y="4805"/>
                </a:lnTo>
                <a:lnTo>
                  <a:pt x="1917" y="4791"/>
                </a:lnTo>
                <a:lnTo>
                  <a:pt x="1918" y="4790"/>
                </a:lnTo>
                <a:lnTo>
                  <a:pt x="1914" y="4789"/>
                </a:lnTo>
                <a:lnTo>
                  <a:pt x="1914" y="4790"/>
                </a:lnTo>
                <a:lnTo>
                  <a:pt x="1914" y="4791"/>
                </a:lnTo>
                <a:lnTo>
                  <a:pt x="1909" y="4791"/>
                </a:lnTo>
                <a:lnTo>
                  <a:pt x="1906" y="4791"/>
                </a:lnTo>
                <a:lnTo>
                  <a:pt x="1792" y="4813"/>
                </a:lnTo>
                <a:lnTo>
                  <a:pt x="1662" y="4852"/>
                </a:lnTo>
                <a:lnTo>
                  <a:pt x="1526" y="4885"/>
                </a:lnTo>
                <a:lnTo>
                  <a:pt x="1392" y="4892"/>
                </a:lnTo>
                <a:lnTo>
                  <a:pt x="1372" y="4883"/>
                </a:lnTo>
                <a:lnTo>
                  <a:pt x="1357" y="4860"/>
                </a:lnTo>
                <a:lnTo>
                  <a:pt x="1341" y="4842"/>
                </a:lnTo>
                <a:lnTo>
                  <a:pt x="1325" y="4850"/>
                </a:lnTo>
                <a:lnTo>
                  <a:pt x="1307" y="4890"/>
                </a:lnTo>
                <a:lnTo>
                  <a:pt x="1267" y="4911"/>
                </a:lnTo>
                <a:lnTo>
                  <a:pt x="1227" y="4930"/>
                </a:lnTo>
                <a:lnTo>
                  <a:pt x="1210" y="4964"/>
                </a:lnTo>
                <a:lnTo>
                  <a:pt x="1229" y="5094"/>
                </a:lnTo>
                <a:lnTo>
                  <a:pt x="1238" y="5164"/>
                </a:lnTo>
                <a:lnTo>
                  <a:pt x="1247" y="5237"/>
                </a:lnTo>
                <a:lnTo>
                  <a:pt x="1267" y="5373"/>
                </a:lnTo>
                <a:lnTo>
                  <a:pt x="1274" y="5392"/>
                </a:lnTo>
                <a:lnTo>
                  <a:pt x="1280" y="5407"/>
                </a:lnTo>
                <a:lnTo>
                  <a:pt x="1274" y="5410"/>
                </a:lnTo>
                <a:lnTo>
                  <a:pt x="1269" y="5412"/>
                </a:lnTo>
                <a:lnTo>
                  <a:pt x="1264" y="5417"/>
                </a:lnTo>
                <a:lnTo>
                  <a:pt x="1261" y="5424"/>
                </a:lnTo>
                <a:lnTo>
                  <a:pt x="1264" y="5437"/>
                </a:lnTo>
                <a:lnTo>
                  <a:pt x="1271" y="5437"/>
                </a:lnTo>
                <a:lnTo>
                  <a:pt x="1280" y="5429"/>
                </a:lnTo>
                <a:lnTo>
                  <a:pt x="1285" y="5416"/>
                </a:lnTo>
                <a:lnTo>
                  <a:pt x="1325" y="5453"/>
                </a:lnTo>
                <a:lnTo>
                  <a:pt x="1362" y="5472"/>
                </a:lnTo>
                <a:lnTo>
                  <a:pt x="1377" y="5500"/>
                </a:lnTo>
                <a:lnTo>
                  <a:pt x="1349" y="5561"/>
                </a:lnTo>
                <a:lnTo>
                  <a:pt x="1366" y="5597"/>
                </a:lnTo>
                <a:lnTo>
                  <a:pt x="1371" y="5625"/>
                </a:lnTo>
                <a:lnTo>
                  <a:pt x="1380" y="5650"/>
                </a:lnTo>
                <a:lnTo>
                  <a:pt x="1411" y="5680"/>
                </a:lnTo>
                <a:lnTo>
                  <a:pt x="1376" y="5726"/>
                </a:lnTo>
                <a:lnTo>
                  <a:pt x="1423" y="5736"/>
                </a:lnTo>
                <a:lnTo>
                  <a:pt x="1499" y="5728"/>
                </a:lnTo>
                <a:lnTo>
                  <a:pt x="1554" y="5724"/>
                </a:lnTo>
                <a:lnTo>
                  <a:pt x="1494" y="5808"/>
                </a:lnTo>
                <a:lnTo>
                  <a:pt x="1606" y="5807"/>
                </a:lnTo>
                <a:lnTo>
                  <a:pt x="1727" y="5773"/>
                </a:lnTo>
                <a:lnTo>
                  <a:pt x="1693" y="5756"/>
                </a:lnTo>
                <a:lnTo>
                  <a:pt x="1672" y="5714"/>
                </a:lnTo>
                <a:lnTo>
                  <a:pt x="1716" y="5703"/>
                </a:lnTo>
                <a:lnTo>
                  <a:pt x="1779" y="5694"/>
                </a:lnTo>
                <a:lnTo>
                  <a:pt x="1818" y="5656"/>
                </a:lnTo>
                <a:lnTo>
                  <a:pt x="1871" y="5659"/>
                </a:lnTo>
                <a:lnTo>
                  <a:pt x="1925" y="5667"/>
                </a:lnTo>
                <a:lnTo>
                  <a:pt x="1979" y="5667"/>
                </a:lnTo>
                <a:lnTo>
                  <a:pt x="2034" y="5650"/>
                </a:lnTo>
                <a:lnTo>
                  <a:pt x="2274" y="5619"/>
                </a:lnTo>
                <a:lnTo>
                  <a:pt x="2516" y="5574"/>
                </a:lnTo>
                <a:lnTo>
                  <a:pt x="2749" y="5545"/>
                </a:lnTo>
                <a:lnTo>
                  <a:pt x="2965" y="5559"/>
                </a:lnTo>
                <a:lnTo>
                  <a:pt x="3007" y="5491"/>
                </a:lnTo>
                <a:lnTo>
                  <a:pt x="2993" y="5420"/>
                </a:lnTo>
                <a:lnTo>
                  <a:pt x="2989" y="5354"/>
                </a:lnTo>
                <a:lnTo>
                  <a:pt x="3058" y="5299"/>
                </a:lnTo>
                <a:lnTo>
                  <a:pt x="3043" y="5289"/>
                </a:lnTo>
                <a:lnTo>
                  <a:pt x="3098" y="5305"/>
                </a:lnTo>
                <a:lnTo>
                  <a:pt x="3160" y="5342"/>
                </a:lnTo>
                <a:lnTo>
                  <a:pt x="3168" y="5393"/>
                </a:lnTo>
                <a:lnTo>
                  <a:pt x="3183" y="5409"/>
                </a:lnTo>
                <a:lnTo>
                  <a:pt x="3203" y="5405"/>
                </a:lnTo>
                <a:lnTo>
                  <a:pt x="3225" y="5397"/>
                </a:lnTo>
                <a:lnTo>
                  <a:pt x="3245" y="5405"/>
                </a:lnTo>
                <a:lnTo>
                  <a:pt x="3222" y="5443"/>
                </a:lnTo>
                <a:lnTo>
                  <a:pt x="3178" y="5473"/>
                </a:lnTo>
                <a:lnTo>
                  <a:pt x="3157" y="5493"/>
                </a:lnTo>
                <a:lnTo>
                  <a:pt x="3212" y="5498"/>
                </a:lnTo>
                <a:lnTo>
                  <a:pt x="3277" y="5499"/>
                </a:lnTo>
                <a:lnTo>
                  <a:pt x="3339" y="5500"/>
                </a:lnTo>
                <a:lnTo>
                  <a:pt x="3401" y="5495"/>
                </a:lnTo>
                <a:lnTo>
                  <a:pt x="3459" y="5475"/>
                </a:lnTo>
                <a:lnTo>
                  <a:pt x="3502" y="5508"/>
                </a:lnTo>
                <a:lnTo>
                  <a:pt x="3575" y="5546"/>
                </a:lnTo>
                <a:lnTo>
                  <a:pt x="3641" y="5556"/>
                </a:lnTo>
                <a:lnTo>
                  <a:pt x="3665" y="5505"/>
                </a:lnTo>
                <a:lnTo>
                  <a:pt x="3676" y="5485"/>
                </a:lnTo>
                <a:lnTo>
                  <a:pt x="3694" y="5490"/>
                </a:lnTo>
                <a:lnTo>
                  <a:pt x="3713" y="5508"/>
                </a:lnTo>
                <a:lnTo>
                  <a:pt x="3723" y="5528"/>
                </a:lnTo>
                <a:lnTo>
                  <a:pt x="3774" y="5551"/>
                </a:lnTo>
                <a:lnTo>
                  <a:pt x="3835" y="5537"/>
                </a:lnTo>
                <a:lnTo>
                  <a:pt x="3897" y="5515"/>
                </a:lnTo>
                <a:lnTo>
                  <a:pt x="3952" y="5515"/>
                </a:lnTo>
                <a:lnTo>
                  <a:pt x="3974" y="5551"/>
                </a:lnTo>
                <a:lnTo>
                  <a:pt x="3988" y="5508"/>
                </a:lnTo>
                <a:lnTo>
                  <a:pt x="4002" y="5444"/>
                </a:lnTo>
                <a:lnTo>
                  <a:pt x="4027" y="5421"/>
                </a:lnTo>
                <a:lnTo>
                  <a:pt x="4063" y="5425"/>
                </a:lnTo>
                <a:lnTo>
                  <a:pt x="4051" y="5451"/>
                </a:lnTo>
                <a:lnTo>
                  <a:pt x="4030" y="5484"/>
                </a:lnTo>
                <a:lnTo>
                  <a:pt x="4036" y="5512"/>
                </a:lnTo>
                <a:lnTo>
                  <a:pt x="4077" y="5513"/>
                </a:lnTo>
                <a:lnTo>
                  <a:pt x="4105" y="5538"/>
                </a:lnTo>
                <a:lnTo>
                  <a:pt x="4132" y="5569"/>
                </a:lnTo>
                <a:lnTo>
                  <a:pt x="4172" y="5587"/>
                </a:lnTo>
                <a:lnTo>
                  <a:pt x="4267" y="5498"/>
                </a:lnTo>
                <a:lnTo>
                  <a:pt x="4396" y="5461"/>
                </a:lnTo>
                <a:lnTo>
                  <a:pt x="4531" y="5449"/>
                </a:lnTo>
                <a:lnTo>
                  <a:pt x="4641" y="5434"/>
                </a:lnTo>
                <a:lnTo>
                  <a:pt x="4739" y="5453"/>
                </a:lnTo>
                <a:lnTo>
                  <a:pt x="4869" y="5442"/>
                </a:lnTo>
                <a:lnTo>
                  <a:pt x="4973" y="5435"/>
                </a:lnTo>
                <a:lnTo>
                  <a:pt x="4995" y="5475"/>
                </a:lnTo>
                <a:lnTo>
                  <a:pt x="4961" y="5508"/>
                </a:lnTo>
                <a:lnTo>
                  <a:pt x="4967" y="5540"/>
                </a:lnTo>
                <a:lnTo>
                  <a:pt x="4998" y="5551"/>
                </a:lnTo>
                <a:lnTo>
                  <a:pt x="5038" y="5526"/>
                </a:lnTo>
                <a:lnTo>
                  <a:pt x="5065" y="5508"/>
                </a:lnTo>
                <a:lnTo>
                  <a:pt x="5094" y="5523"/>
                </a:lnTo>
                <a:lnTo>
                  <a:pt x="5125" y="5538"/>
                </a:lnTo>
                <a:lnTo>
                  <a:pt x="5154" y="5517"/>
                </a:lnTo>
                <a:lnTo>
                  <a:pt x="5115" y="5465"/>
                </a:lnTo>
                <a:lnTo>
                  <a:pt x="5233" y="5462"/>
                </a:lnTo>
                <a:lnTo>
                  <a:pt x="5344" y="5490"/>
                </a:lnTo>
                <a:lnTo>
                  <a:pt x="5283" y="5527"/>
                </a:lnTo>
                <a:lnTo>
                  <a:pt x="5392" y="5541"/>
                </a:lnTo>
                <a:lnTo>
                  <a:pt x="5451" y="5569"/>
                </a:lnTo>
                <a:lnTo>
                  <a:pt x="5493" y="5601"/>
                </a:lnTo>
                <a:lnTo>
                  <a:pt x="5549" y="5626"/>
                </a:lnTo>
                <a:lnTo>
                  <a:pt x="5566" y="5540"/>
                </a:lnTo>
                <a:lnTo>
                  <a:pt x="5591" y="5510"/>
                </a:lnTo>
                <a:lnTo>
                  <a:pt x="5606" y="5535"/>
                </a:lnTo>
                <a:lnTo>
                  <a:pt x="5594" y="5610"/>
                </a:lnTo>
                <a:lnTo>
                  <a:pt x="5594" y="5610"/>
                </a:lnTo>
                <a:lnTo>
                  <a:pt x="5594" y="5610"/>
                </a:lnTo>
                <a:lnTo>
                  <a:pt x="5592" y="5611"/>
                </a:lnTo>
                <a:lnTo>
                  <a:pt x="5592" y="5610"/>
                </a:lnTo>
                <a:lnTo>
                  <a:pt x="5592" y="5611"/>
                </a:lnTo>
                <a:lnTo>
                  <a:pt x="5594" y="5611"/>
                </a:lnTo>
                <a:lnTo>
                  <a:pt x="5594" y="5611"/>
                </a:lnTo>
                <a:lnTo>
                  <a:pt x="5630" y="5710"/>
                </a:lnTo>
                <a:lnTo>
                  <a:pt x="5657" y="5737"/>
                </a:lnTo>
                <a:lnTo>
                  <a:pt x="5694" y="5698"/>
                </a:lnTo>
                <a:lnTo>
                  <a:pt x="5763" y="5596"/>
                </a:lnTo>
                <a:lnTo>
                  <a:pt x="6041" y="5638"/>
                </a:lnTo>
                <a:lnTo>
                  <a:pt x="6415" y="5684"/>
                </a:lnTo>
                <a:lnTo>
                  <a:pt x="6794" y="5743"/>
                </a:lnTo>
                <a:lnTo>
                  <a:pt x="7089" y="5830"/>
                </a:lnTo>
                <a:lnTo>
                  <a:pt x="7129" y="5838"/>
                </a:lnTo>
                <a:lnTo>
                  <a:pt x="7171" y="5845"/>
                </a:lnTo>
                <a:lnTo>
                  <a:pt x="7213" y="5850"/>
                </a:lnTo>
                <a:lnTo>
                  <a:pt x="7254" y="5848"/>
                </a:lnTo>
                <a:lnTo>
                  <a:pt x="7206" y="5838"/>
                </a:lnTo>
                <a:lnTo>
                  <a:pt x="7149" y="5822"/>
                </a:lnTo>
                <a:lnTo>
                  <a:pt x="7119" y="5811"/>
                </a:lnTo>
                <a:lnTo>
                  <a:pt x="7157" y="5806"/>
                </a:lnTo>
                <a:lnTo>
                  <a:pt x="7250" y="5821"/>
                </a:lnTo>
                <a:lnTo>
                  <a:pt x="7269" y="5813"/>
                </a:lnTo>
                <a:lnTo>
                  <a:pt x="7230" y="5790"/>
                </a:lnTo>
                <a:lnTo>
                  <a:pt x="7149" y="5762"/>
                </a:lnTo>
                <a:lnTo>
                  <a:pt x="7191" y="5768"/>
                </a:lnTo>
                <a:lnTo>
                  <a:pt x="7239" y="5768"/>
                </a:lnTo>
                <a:lnTo>
                  <a:pt x="7271" y="5756"/>
                </a:lnTo>
                <a:lnTo>
                  <a:pt x="7267" y="5722"/>
                </a:lnTo>
                <a:lnTo>
                  <a:pt x="7193" y="5701"/>
                </a:lnTo>
                <a:lnTo>
                  <a:pt x="7151" y="5666"/>
                </a:lnTo>
                <a:lnTo>
                  <a:pt x="7146" y="5625"/>
                </a:lnTo>
                <a:lnTo>
                  <a:pt x="7182" y="5596"/>
                </a:lnTo>
                <a:lnTo>
                  <a:pt x="7201" y="5622"/>
                </a:lnTo>
                <a:lnTo>
                  <a:pt x="7215" y="5640"/>
                </a:lnTo>
                <a:lnTo>
                  <a:pt x="7231" y="5641"/>
                </a:lnTo>
                <a:lnTo>
                  <a:pt x="7255" y="5621"/>
                </a:lnTo>
                <a:lnTo>
                  <a:pt x="7286" y="5649"/>
                </a:lnTo>
                <a:lnTo>
                  <a:pt x="7314" y="5658"/>
                </a:lnTo>
                <a:lnTo>
                  <a:pt x="7345" y="5649"/>
                </a:lnTo>
                <a:lnTo>
                  <a:pt x="7383" y="5619"/>
                </a:lnTo>
                <a:lnTo>
                  <a:pt x="7375" y="5583"/>
                </a:lnTo>
                <a:lnTo>
                  <a:pt x="7365" y="5533"/>
                </a:lnTo>
                <a:lnTo>
                  <a:pt x="7369" y="5499"/>
                </a:lnTo>
                <a:lnTo>
                  <a:pt x="7403" y="5508"/>
                </a:lnTo>
                <a:lnTo>
                  <a:pt x="7421" y="5533"/>
                </a:lnTo>
                <a:lnTo>
                  <a:pt x="7453" y="5536"/>
                </a:lnTo>
                <a:lnTo>
                  <a:pt x="7482" y="5538"/>
                </a:lnTo>
                <a:lnTo>
                  <a:pt x="7492" y="5564"/>
                </a:lnTo>
                <a:lnTo>
                  <a:pt x="7445" y="5584"/>
                </a:lnTo>
                <a:lnTo>
                  <a:pt x="7422" y="5599"/>
                </a:lnTo>
                <a:lnTo>
                  <a:pt x="7420" y="5610"/>
                </a:lnTo>
                <a:lnTo>
                  <a:pt x="7432" y="5616"/>
                </a:lnTo>
                <a:lnTo>
                  <a:pt x="7432" y="5616"/>
                </a:lnTo>
                <a:lnTo>
                  <a:pt x="7432" y="5617"/>
                </a:lnTo>
                <a:lnTo>
                  <a:pt x="7439" y="5619"/>
                </a:lnTo>
                <a:lnTo>
                  <a:pt x="7444" y="5621"/>
                </a:lnTo>
                <a:lnTo>
                  <a:pt x="7448" y="5621"/>
                </a:lnTo>
                <a:lnTo>
                  <a:pt x="7450" y="5619"/>
                </a:lnTo>
                <a:lnTo>
                  <a:pt x="7486" y="5619"/>
                </a:lnTo>
                <a:lnTo>
                  <a:pt x="7527" y="5619"/>
                </a:lnTo>
                <a:lnTo>
                  <a:pt x="7567" y="5616"/>
                </a:lnTo>
                <a:lnTo>
                  <a:pt x="7602" y="5613"/>
                </a:lnTo>
                <a:lnTo>
                  <a:pt x="7562" y="5748"/>
                </a:lnTo>
                <a:lnTo>
                  <a:pt x="7527" y="5766"/>
                </a:lnTo>
                <a:lnTo>
                  <a:pt x="7458" y="5742"/>
                </a:lnTo>
                <a:lnTo>
                  <a:pt x="7319" y="5754"/>
                </a:lnTo>
                <a:lnTo>
                  <a:pt x="7396" y="5780"/>
                </a:lnTo>
                <a:lnTo>
                  <a:pt x="7413" y="5798"/>
                </a:lnTo>
                <a:lnTo>
                  <a:pt x="7399" y="5818"/>
                </a:lnTo>
                <a:lnTo>
                  <a:pt x="7379" y="5849"/>
                </a:lnTo>
                <a:lnTo>
                  <a:pt x="7374" y="5953"/>
                </a:lnTo>
                <a:lnTo>
                  <a:pt x="7354" y="6025"/>
                </a:lnTo>
                <a:lnTo>
                  <a:pt x="7369" y="6076"/>
                </a:lnTo>
                <a:lnTo>
                  <a:pt x="7466" y="6116"/>
                </a:lnTo>
                <a:lnTo>
                  <a:pt x="7497" y="6058"/>
                </a:lnTo>
                <a:lnTo>
                  <a:pt x="7515" y="5989"/>
                </a:lnTo>
                <a:lnTo>
                  <a:pt x="7545" y="5927"/>
                </a:lnTo>
                <a:lnTo>
                  <a:pt x="7612" y="5888"/>
                </a:lnTo>
                <a:lnTo>
                  <a:pt x="7746" y="5905"/>
                </a:lnTo>
                <a:lnTo>
                  <a:pt x="7825" y="5918"/>
                </a:lnTo>
                <a:lnTo>
                  <a:pt x="7813" y="5929"/>
                </a:lnTo>
                <a:lnTo>
                  <a:pt x="7676" y="5939"/>
                </a:lnTo>
                <a:lnTo>
                  <a:pt x="7747" y="5956"/>
                </a:lnTo>
                <a:lnTo>
                  <a:pt x="7808" y="5958"/>
                </a:lnTo>
                <a:lnTo>
                  <a:pt x="7868" y="5976"/>
                </a:lnTo>
                <a:lnTo>
                  <a:pt x="7933" y="6042"/>
                </a:lnTo>
                <a:lnTo>
                  <a:pt x="7983" y="6086"/>
                </a:lnTo>
                <a:lnTo>
                  <a:pt x="7965" y="6132"/>
                </a:lnTo>
                <a:lnTo>
                  <a:pt x="7913" y="6167"/>
                </a:lnTo>
                <a:lnTo>
                  <a:pt x="7858" y="6179"/>
                </a:lnTo>
                <a:lnTo>
                  <a:pt x="7871" y="6238"/>
                </a:lnTo>
                <a:lnTo>
                  <a:pt x="7827" y="6272"/>
                </a:lnTo>
                <a:lnTo>
                  <a:pt x="7778" y="6316"/>
                </a:lnTo>
                <a:lnTo>
                  <a:pt x="7766" y="6415"/>
                </a:lnTo>
                <a:lnTo>
                  <a:pt x="7764" y="6436"/>
                </a:lnTo>
                <a:lnTo>
                  <a:pt x="7784" y="6454"/>
                </a:lnTo>
                <a:lnTo>
                  <a:pt x="7807" y="6474"/>
                </a:lnTo>
                <a:lnTo>
                  <a:pt x="7811" y="6505"/>
                </a:lnTo>
                <a:lnTo>
                  <a:pt x="7830" y="6497"/>
                </a:lnTo>
                <a:lnTo>
                  <a:pt x="7845" y="6480"/>
                </a:lnTo>
                <a:lnTo>
                  <a:pt x="7859" y="6470"/>
                </a:lnTo>
                <a:lnTo>
                  <a:pt x="7878" y="6478"/>
                </a:lnTo>
                <a:lnTo>
                  <a:pt x="7897" y="6557"/>
                </a:lnTo>
                <a:lnTo>
                  <a:pt x="7955" y="6589"/>
                </a:lnTo>
                <a:lnTo>
                  <a:pt x="8037" y="6595"/>
                </a:lnTo>
                <a:lnTo>
                  <a:pt x="8129" y="6591"/>
                </a:lnTo>
                <a:lnTo>
                  <a:pt x="8129" y="6541"/>
                </a:lnTo>
                <a:lnTo>
                  <a:pt x="8138" y="6507"/>
                </a:lnTo>
                <a:lnTo>
                  <a:pt x="8166" y="6487"/>
                </a:lnTo>
                <a:lnTo>
                  <a:pt x="8222" y="6484"/>
                </a:lnTo>
                <a:lnTo>
                  <a:pt x="8202" y="6460"/>
                </a:lnTo>
                <a:lnTo>
                  <a:pt x="8202" y="6443"/>
                </a:lnTo>
                <a:lnTo>
                  <a:pt x="8218" y="6431"/>
                </a:lnTo>
                <a:lnTo>
                  <a:pt x="8246" y="6418"/>
                </a:lnTo>
                <a:lnTo>
                  <a:pt x="8246" y="6404"/>
                </a:lnTo>
                <a:lnTo>
                  <a:pt x="8227" y="6398"/>
                </a:lnTo>
                <a:lnTo>
                  <a:pt x="8209" y="6391"/>
                </a:lnTo>
                <a:lnTo>
                  <a:pt x="8217" y="6379"/>
                </a:lnTo>
                <a:lnTo>
                  <a:pt x="8250" y="6367"/>
                </a:lnTo>
                <a:lnTo>
                  <a:pt x="8268" y="6340"/>
                </a:lnTo>
                <a:lnTo>
                  <a:pt x="8283" y="6309"/>
                </a:lnTo>
                <a:lnTo>
                  <a:pt x="8306" y="6279"/>
                </a:lnTo>
                <a:lnTo>
                  <a:pt x="8291" y="6260"/>
                </a:lnTo>
                <a:lnTo>
                  <a:pt x="8298" y="6240"/>
                </a:lnTo>
                <a:lnTo>
                  <a:pt x="8307" y="6209"/>
                </a:lnTo>
                <a:lnTo>
                  <a:pt x="8296" y="6162"/>
                </a:lnTo>
                <a:lnTo>
                  <a:pt x="8258" y="6156"/>
                </a:lnTo>
                <a:lnTo>
                  <a:pt x="8234" y="6137"/>
                </a:lnTo>
                <a:lnTo>
                  <a:pt x="8211" y="6116"/>
                </a:lnTo>
                <a:lnTo>
                  <a:pt x="8174" y="6109"/>
                </a:lnTo>
                <a:lnTo>
                  <a:pt x="8421" y="6045"/>
                </a:lnTo>
                <a:lnTo>
                  <a:pt x="8674" y="6073"/>
                </a:lnTo>
                <a:lnTo>
                  <a:pt x="8951" y="6149"/>
                </a:lnTo>
                <a:lnTo>
                  <a:pt x="9265" y="6228"/>
                </a:lnTo>
                <a:lnTo>
                  <a:pt x="9126" y="6191"/>
                </a:lnTo>
                <a:lnTo>
                  <a:pt x="9153" y="6175"/>
                </a:lnTo>
                <a:lnTo>
                  <a:pt x="9265" y="6182"/>
                </a:lnTo>
                <a:lnTo>
                  <a:pt x="9380" y="6218"/>
                </a:lnTo>
                <a:lnTo>
                  <a:pt x="9455" y="6273"/>
                </a:lnTo>
                <a:lnTo>
                  <a:pt x="9632" y="6330"/>
                </a:lnTo>
                <a:lnTo>
                  <a:pt x="9853" y="6387"/>
                </a:lnTo>
                <a:lnTo>
                  <a:pt x="10062" y="6446"/>
                </a:lnTo>
                <a:lnTo>
                  <a:pt x="10160" y="6482"/>
                </a:lnTo>
                <a:lnTo>
                  <a:pt x="10257" y="6505"/>
                </a:lnTo>
                <a:lnTo>
                  <a:pt x="10340" y="6487"/>
                </a:lnTo>
                <a:lnTo>
                  <a:pt x="10397" y="6395"/>
                </a:lnTo>
                <a:lnTo>
                  <a:pt x="10507" y="6086"/>
                </a:lnTo>
                <a:lnTo>
                  <a:pt x="10504" y="5975"/>
                </a:lnTo>
                <a:lnTo>
                  <a:pt x="10349" y="5927"/>
                </a:lnTo>
                <a:lnTo>
                  <a:pt x="9999" y="5801"/>
                </a:lnTo>
                <a:lnTo>
                  <a:pt x="10174" y="5820"/>
                </a:lnTo>
                <a:lnTo>
                  <a:pt x="10379" y="5899"/>
                </a:lnTo>
                <a:lnTo>
                  <a:pt x="10550" y="5934"/>
                </a:lnTo>
                <a:lnTo>
                  <a:pt x="10620" y="5822"/>
                </a:lnTo>
                <a:lnTo>
                  <a:pt x="10598" y="5836"/>
                </a:lnTo>
                <a:lnTo>
                  <a:pt x="10598" y="5815"/>
                </a:lnTo>
                <a:lnTo>
                  <a:pt x="10621" y="5789"/>
                </a:lnTo>
                <a:lnTo>
                  <a:pt x="10670" y="5793"/>
                </a:lnTo>
                <a:lnTo>
                  <a:pt x="10661" y="5708"/>
                </a:lnTo>
                <a:lnTo>
                  <a:pt x="10612" y="5664"/>
                </a:lnTo>
                <a:lnTo>
                  <a:pt x="10544" y="5635"/>
                </a:lnTo>
                <a:lnTo>
                  <a:pt x="10475" y="5597"/>
                </a:lnTo>
                <a:lnTo>
                  <a:pt x="10755" y="5443"/>
                </a:lnTo>
                <a:lnTo>
                  <a:pt x="10514" y="5294"/>
                </a:lnTo>
                <a:lnTo>
                  <a:pt x="10051" y="5164"/>
                </a:lnTo>
                <a:lnTo>
                  <a:pt x="9662" y="5062"/>
                </a:lnTo>
                <a:lnTo>
                  <a:pt x="9694" y="4980"/>
                </a:lnTo>
                <a:lnTo>
                  <a:pt x="9782" y="4941"/>
                </a:lnTo>
                <a:lnTo>
                  <a:pt x="9898" y="4953"/>
                </a:lnTo>
                <a:lnTo>
                  <a:pt x="10016" y="5020"/>
                </a:lnTo>
                <a:lnTo>
                  <a:pt x="10162" y="5037"/>
                </a:lnTo>
                <a:lnTo>
                  <a:pt x="10335" y="5075"/>
                </a:lnTo>
                <a:lnTo>
                  <a:pt x="10469" y="5141"/>
                </a:lnTo>
                <a:lnTo>
                  <a:pt x="10497" y="5243"/>
                </a:lnTo>
                <a:lnTo>
                  <a:pt x="10535" y="5223"/>
                </a:lnTo>
                <a:lnTo>
                  <a:pt x="10561" y="5197"/>
                </a:lnTo>
                <a:lnTo>
                  <a:pt x="10591" y="5181"/>
                </a:lnTo>
                <a:lnTo>
                  <a:pt x="10638" y="5186"/>
                </a:lnTo>
                <a:lnTo>
                  <a:pt x="10667" y="5164"/>
                </a:lnTo>
                <a:lnTo>
                  <a:pt x="10691" y="5146"/>
                </a:lnTo>
                <a:lnTo>
                  <a:pt x="10712" y="5145"/>
                </a:lnTo>
                <a:lnTo>
                  <a:pt x="10730" y="5169"/>
                </a:lnTo>
                <a:lnTo>
                  <a:pt x="10735" y="5117"/>
                </a:lnTo>
                <a:lnTo>
                  <a:pt x="10761" y="5127"/>
                </a:lnTo>
                <a:lnTo>
                  <a:pt x="10796" y="5154"/>
                </a:lnTo>
                <a:lnTo>
                  <a:pt x="10825" y="5150"/>
                </a:lnTo>
                <a:lnTo>
                  <a:pt x="10853" y="5098"/>
                </a:lnTo>
                <a:lnTo>
                  <a:pt x="10828" y="5030"/>
                </a:lnTo>
                <a:lnTo>
                  <a:pt x="10802" y="4971"/>
                </a:lnTo>
                <a:lnTo>
                  <a:pt x="10828" y="4943"/>
                </a:lnTo>
                <a:lnTo>
                  <a:pt x="10875" y="4955"/>
                </a:lnTo>
                <a:lnTo>
                  <a:pt x="10964" y="4941"/>
                </a:lnTo>
                <a:lnTo>
                  <a:pt x="11035" y="4944"/>
                </a:lnTo>
                <a:lnTo>
                  <a:pt x="11029" y="5006"/>
                </a:lnTo>
                <a:lnTo>
                  <a:pt x="11024" y="5055"/>
                </a:lnTo>
                <a:lnTo>
                  <a:pt x="11031" y="5098"/>
                </a:lnTo>
                <a:lnTo>
                  <a:pt x="11034" y="5140"/>
                </a:lnTo>
                <a:lnTo>
                  <a:pt x="11015" y="5179"/>
                </a:lnTo>
                <a:lnTo>
                  <a:pt x="11101" y="5135"/>
                </a:lnTo>
                <a:lnTo>
                  <a:pt x="11194" y="5032"/>
                </a:lnTo>
                <a:lnTo>
                  <a:pt x="11256" y="4934"/>
                </a:lnTo>
                <a:lnTo>
                  <a:pt x="11245" y="4899"/>
                </a:lnTo>
                <a:lnTo>
                  <a:pt x="11244" y="4832"/>
                </a:lnTo>
                <a:lnTo>
                  <a:pt x="11272" y="4775"/>
                </a:lnTo>
                <a:lnTo>
                  <a:pt x="11287" y="4720"/>
                </a:lnTo>
                <a:lnTo>
                  <a:pt x="11249" y="4661"/>
                </a:lnTo>
                <a:lnTo>
                  <a:pt x="11322" y="4553"/>
                </a:lnTo>
                <a:lnTo>
                  <a:pt x="11374" y="4444"/>
                </a:lnTo>
                <a:lnTo>
                  <a:pt x="11402" y="4337"/>
                </a:lnTo>
                <a:lnTo>
                  <a:pt x="11406" y="4237"/>
                </a:lnTo>
                <a:lnTo>
                  <a:pt x="11441" y="4132"/>
                </a:lnTo>
                <a:lnTo>
                  <a:pt x="11412" y="4081"/>
                </a:lnTo>
                <a:lnTo>
                  <a:pt x="11359" y="4048"/>
                </a:lnTo>
                <a:lnTo>
                  <a:pt x="11315" y="3993"/>
                </a:lnTo>
                <a:lnTo>
                  <a:pt x="11405" y="3763"/>
                </a:lnTo>
                <a:lnTo>
                  <a:pt x="11565" y="3506"/>
                </a:lnTo>
                <a:lnTo>
                  <a:pt x="11697" y="3251"/>
                </a:lnTo>
                <a:lnTo>
                  <a:pt x="11703" y="3032"/>
                </a:lnTo>
                <a:lnTo>
                  <a:pt x="11584" y="3010"/>
                </a:lnTo>
                <a:lnTo>
                  <a:pt x="11464" y="2985"/>
                </a:lnTo>
                <a:lnTo>
                  <a:pt x="11346" y="2956"/>
                </a:lnTo>
                <a:lnTo>
                  <a:pt x="11231" y="2925"/>
                </a:lnTo>
                <a:lnTo>
                  <a:pt x="11267" y="2910"/>
                </a:lnTo>
                <a:lnTo>
                  <a:pt x="11295" y="2896"/>
                </a:lnTo>
                <a:lnTo>
                  <a:pt x="11292" y="2883"/>
                </a:lnTo>
                <a:lnTo>
                  <a:pt x="11236" y="2872"/>
                </a:lnTo>
                <a:lnTo>
                  <a:pt x="11270" y="2860"/>
                </a:lnTo>
                <a:lnTo>
                  <a:pt x="11294" y="2850"/>
                </a:lnTo>
                <a:lnTo>
                  <a:pt x="11305" y="2830"/>
                </a:lnTo>
                <a:lnTo>
                  <a:pt x="11308" y="2790"/>
                </a:lnTo>
                <a:lnTo>
                  <a:pt x="11328" y="2765"/>
                </a:lnTo>
                <a:lnTo>
                  <a:pt x="11342" y="2734"/>
                </a:lnTo>
                <a:lnTo>
                  <a:pt x="11341" y="2706"/>
                </a:lnTo>
                <a:lnTo>
                  <a:pt x="11313" y="2690"/>
                </a:lnTo>
                <a:lnTo>
                  <a:pt x="11338" y="2663"/>
                </a:lnTo>
                <a:lnTo>
                  <a:pt x="11354" y="2636"/>
                </a:lnTo>
                <a:lnTo>
                  <a:pt x="11360" y="2613"/>
                </a:lnTo>
                <a:lnTo>
                  <a:pt x="11359" y="2590"/>
                </a:lnTo>
                <a:lnTo>
                  <a:pt x="11380" y="2537"/>
                </a:lnTo>
                <a:lnTo>
                  <a:pt x="11421" y="2491"/>
                </a:lnTo>
                <a:lnTo>
                  <a:pt x="11435" y="2454"/>
                </a:lnTo>
                <a:lnTo>
                  <a:pt x="11379" y="2432"/>
                </a:lnTo>
                <a:lnTo>
                  <a:pt x="11403" y="2387"/>
                </a:lnTo>
                <a:lnTo>
                  <a:pt x="11410" y="2350"/>
                </a:lnTo>
                <a:lnTo>
                  <a:pt x="11401" y="2313"/>
                </a:lnTo>
                <a:lnTo>
                  <a:pt x="11382" y="2270"/>
                </a:lnTo>
                <a:lnTo>
                  <a:pt x="11419" y="2258"/>
                </a:lnTo>
                <a:lnTo>
                  <a:pt x="11434" y="2207"/>
                </a:lnTo>
                <a:lnTo>
                  <a:pt x="11441" y="2146"/>
                </a:lnTo>
                <a:lnTo>
                  <a:pt x="11455" y="2104"/>
                </a:lnTo>
                <a:lnTo>
                  <a:pt x="11487" y="2088"/>
                </a:lnTo>
                <a:lnTo>
                  <a:pt x="11489" y="2076"/>
                </a:lnTo>
                <a:lnTo>
                  <a:pt x="11471" y="2065"/>
                </a:lnTo>
                <a:lnTo>
                  <a:pt x="11441" y="2047"/>
                </a:lnTo>
                <a:lnTo>
                  <a:pt x="11440" y="2030"/>
                </a:lnTo>
                <a:lnTo>
                  <a:pt x="11457" y="2003"/>
                </a:lnTo>
                <a:lnTo>
                  <a:pt x="11476" y="1969"/>
                </a:lnTo>
                <a:lnTo>
                  <a:pt x="11477" y="1933"/>
                </a:lnTo>
                <a:lnTo>
                  <a:pt x="11583" y="1633"/>
                </a:lnTo>
                <a:lnTo>
                  <a:pt x="11548" y="1501"/>
                </a:lnTo>
                <a:lnTo>
                  <a:pt x="11370" y="1459"/>
                </a:lnTo>
                <a:lnTo>
                  <a:pt x="11051" y="1423"/>
                </a:lnTo>
                <a:lnTo>
                  <a:pt x="11198" y="1457"/>
                </a:lnTo>
                <a:lnTo>
                  <a:pt x="11374" y="1497"/>
                </a:lnTo>
                <a:lnTo>
                  <a:pt x="11486" y="1561"/>
                </a:lnTo>
                <a:lnTo>
                  <a:pt x="11444" y="1669"/>
                </a:lnTo>
                <a:lnTo>
                  <a:pt x="11469" y="1715"/>
                </a:lnTo>
                <a:lnTo>
                  <a:pt x="11447" y="1735"/>
                </a:lnTo>
                <a:lnTo>
                  <a:pt x="11399" y="1745"/>
                </a:lnTo>
                <a:lnTo>
                  <a:pt x="11354" y="1764"/>
                </a:lnTo>
                <a:lnTo>
                  <a:pt x="11380" y="1776"/>
                </a:lnTo>
                <a:lnTo>
                  <a:pt x="11401" y="1791"/>
                </a:lnTo>
                <a:lnTo>
                  <a:pt x="11408" y="1810"/>
                </a:lnTo>
                <a:lnTo>
                  <a:pt x="11394" y="1838"/>
                </a:lnTo>
                <a:lnTo>
                  <a:pt x="11383" y="1870"/>
                </a:lnTo>
                <a:lnTo>
                  <a:pt x="11368" y="1881"/>
                </a:lnTo>
                <a:lnTo>
                  <a:pt x="11346" y="1881"/>
                </a:lnTo>
                <a:lnTo>
                  <a:pt x="11315" y="1880"/>
                </a:lnTo>
                <a:lnTo>
                  <a:pt x="11337" y="1907"/>
                </a:lnTo>
                <a:lnTo>
                  <a:pt x="11373" y="1925"/>
                </a:lnTo>
                <a:lnTo>
                  <a:pt x="11406" y="1944"/>
                </a:lnTo>
                <a:lnTo>
                  <a:pt x="11416" y="1973"/>
                </a:lnTo>
                <a:lnTo>
                  <a:pt x="11164" y="2025"/>
                </a:lnTo>
                <a:lnTo>
                  <a:pt x="11118" y="1949"/>
                </a:lnTo>
                <a:lnTo>
                  <a:pt x="11160" y="1776"/>
                </a:lnTo>
                <a:lnTo>
                  <a:pt x="11171" y="1538"/>
                </a:lnTo>
                <a:lnTo>
                  <a:pt x="11113" y="1569"/>
                </a:lnTo>
                <a:lnTo>
                  <a:pt x="11091" y="1548"/>
                </a:lnTo>
                <a:lnTo>
                  <a:pt x="11079" y="1503"/>
                </a:lnTo>
                <a:lnTo>
                  <a:pt x="11051" y="1466"/>
                </a:lnTo>
                <a:lnTo>
                  <a:pt x="11008" y="1538"/>
                </a:lnTo>
                <a:lnTo>
                  <a:pt x="10936" y="1535"/>
                </a:lnTo>
                <a:lnTo>
                  <a:pt x="10856" y="1517"/>
                </a:lnTo>
                <a:lnTo>
                  <a:pt x="10786" y="1544"/>
                </a:lnTo>
                <a:lnTo>
                  <a:pt x="10786" y="1549"/>
                </a:lnTo>
                <a:lnTo>
                  <a:pt x="10778" y="1545"/>
                </a:lnTo>
                <a:lnTo>
                  <a:pt x="10768" y="1544"/>
                </a:lnTo>
                <a:lnTo>
                  <a:pt x="10755" y="1540"/>
                </a:lnTo>
                <a:lnTo>
                  <a:pt x="10746" y="1529"/>
                </a:lnTo>
                <a:lnTo>
                  <a:pt x="10728" y="1530"/>
                </a:lnTo>
                <a:lnTo>
                  <a:pt x="10736" y="1555"/>
                </a:lnTo>
                <a:lnTo>
                  <a:pt x="10758" y="1575"/>
                </a:lnTo>
                <a:lnTo>
                  <a:pt x="10783" y="1559"/>
                </a:lnTo>
                <a:lnTo>
                  <a:pt x="10759" y="1652"/>
                </a:lnTo>
                <a:lnTo>
                  <a:pt x="10740" y="1597"/>
                </a:lnTo>
                <a:lnTo>
                  <a:pt x="10707" y="1508"/>
                </a:lnTo>
                <a:lnTo>
                  <a:pt x="10643" y="1501"/>
                </a:lnTo>
                <a:lnTo>
                  <a:pt x="10628" y="1494"/>
                </a:lnTo>
                <a:lnTo>
                  <a:pt x="10618" y="1511"/>
                </a:lnTo>
                <a:lnTo>
                  <a:pt x="10609" y="1533"/>
                </a:lnTo>
                <a:lnTo>
                  <a:pt x="10596" y="1540"/>
                </a:lnTo>
                <a:lnTo>
                  <a:pt x="10590" y="1529"/>
                </a:lnTo>
                <a:lnTo>
                  <a:pt x="10587" y="1512"/>
                </a:lnTo>
                <a:lnTo>
                  <a:pt x="10581" y="1499"/>
                </a:lnTo>
                <a:lnTo>
                  <a:pt x="10567" y="1496"/>
                </a:lnTo>
                <a:lnTo>
                  <a:pt x="10518" y="1491"/>
                </a:lnTo>
                <a:lnTo>
                  <a:pt x="10465" y="1471"/>
                </a:lnTo>
                <a:lnTo>
                  <a:pt x="10406" y="1451"/>
                </a:lnTo>
                <a:lnTo>
                  <a:pt x="10340" y="1441"/>
                </a:lnTo>
                <a:lnTo>
                  <a:pt x="10297" y="1482"/>
                </a:lnTo>
                <a:lnTo>
                  <a:pt x="10257" y="1508"/>
                </a:lnTo>
                <a:lnTo>
                  <a:pt x="10242" y="1503"/>
                </a:lnTo>
                <a:lnTo>
                  <a:pt x="10270" y="1451"/>
                </a:lnTo>
                <a:lnTo>
                  <a:pt x="10215" y="1431"/>
                </a:lnTo>
                <a:lnTo>
                  <a:pt x="10164" y="1506"/>
                </a:lnTo>
                <a:lnTo>
                  <a:pt x="10120" y="1567"/>
                </a:lnTo>
                <a:lnTo>
                  <a:pt x="10084" y="1511"/>
                </a:lnTo>
                <a:lnTo>
                  <a:pt x="10102" y="1482"/>
                </a:lnTo>
                <a:lnTo>
                  <a:pt x="10098" y="1443"/>
                </a:lnTo>
                <a:lnTo>
                  <a:pt x="10078" y="1415"/>
                </a:lnTo>
                <a:lnTo>
                  <a:pt x="10044" y="1410"/>
                </a:lnTo>
                <a:lnTo>
                  <a:pt x="10039" y="1427"/>
                </a:lnTo>
                <a:lnTo>
                  <a:pt x="10030" y="1452"/>
                </a:lnTo>
                <a:lnTo>
                  <a:pt x="10019" y="1466"/>
                </a:lnTo>
                <a:lnTo>
                  <a:pt x="10005" y="1450"/>
                </a:lnTo>
                <a:lnTo>
                  <a:pt x="9996" y="1442"/>
                </a:lnTo>
                <a:lnTo>
                  <a:pt x="9983" y="1468"/>
                </a:lnTo>
                <a:lnTo>
                  <a:pt x="9969" y="1502"/>
                </a:lnTo>
                <a:lnTo>
                  <a:pt x="9954" y="1522"/>
                </a:lnTo>
                <a:lnTo>
                  <a:pt x="9944" y="1499"/>
                </a:lnTo>
                <a:lnTo>
                  <a:pt x="9958" y="1466"/>
                </a:lnTo>
                <a:lnTo>
                  <a:pt x="9972" y="1437"/>
                </a:lnTo>
                <a:lnTo>
                  <a:pt x="9960" y="1424"/>
                </a:lnTo>
                <a:lnTo>
                  <a:pt x="9906" y="1435"/>
                </a:lnTo>
                <a:lnTo>
                  <a:pt x="9879" y="1436"/>
                </a:lnTo>
                <a:lnTo>
                  <a:pt x="9884" y="1422"/>
                </a:lnTo>
                <a:lnTo>
                  <a:pt x="9925" y="1381"/>
                </a:lnTo>
                <a:lnTo>
                  <a:pt x="9860" y="1378"/>
                </a:lnTo>
                <a:lnTo>
                  <a:pt x="9850" y="1424"/>
                </a:lnTo>
                <a:lnTo>
                  <a:pt x="9853" y="1477"/>
                </a:lnTo>
                <a:lnTo>
                  <a:pt x="9832" y="1494"/>
                </a:lnTo>
                <a:lnTo>
                  <a:pt x="9811" y="1482"/>
                </a:lnTo>
                <a:lnTo>
                  <a:pt x="9795" y="1506"/>
                </a:lnTo>
                <a:lnTo>
                  <a:pt x="9780" y="1522"/>
                </a:lnTo>
                <a:lnTo>
                  <a:pt x="9758" y="1488"/>
                </a:lnTo>
                <a:lnTo>
                  <a:pt x="9567" y="1484"/>
                </a:lnTo>
                <a:lnTo>
                  <a:pt x="9347" y="1436"/>
                </a:lnTo>
                <a:lnTo>
                  <a:pt x="9110" y="1380"/>
                </a:lnTo>
                <a:lnTo>
                  <a:pt x="8868" y="1354"/>
                </a:lnTo>
                <a:lnTo>
                  <a:pt x="8836" y="1350"/>
                </a:lnTo>
                <a:lnTo>
                  <a:pt x="8816" y="1330"/>
                </a:lnTo>
                <a:lnTo>
                  <a:pt x="8804" y="1300"/>
                </a:lnTo>
                <a:lnTo>
                  <a:pt x="8795" y="1269"/>
                </a:lnTo>
                <a:lnTo>
                  <a:pt x="8745" y="1319"/>
                </a:lnTo>
                <a:lnTo>
                  <a:pt x="8712" y="1321"/>
                </a:lnTo>
                <a:lnTo>
                  <a:pt x="8710" y="1339"/>
                </a:lnTo>
                <a:lnTo>
                  <a:pt x="8748" y="1431"/>
                </a:lnTo>
                <a:lnTo>
                  <a:pt x="8725" y="1447"/>
                </a:lnTo>
                <a:lnTo>
                  <a:pt x="8709" y="1417"/>
                </a:lnTo>
                <a:lnTo>
                  <a:pt x="8696" y="1378"/>
                </a:lnTo>
                <a:lnTo>
                  <a:pt x="8681" y="1375"/>
                </a:lnTo>
                <a:lnTo>
                  <a:pt x="8686" y="1404"/>
                </a:lnTo>
                <a:lnTo>
                  <a:pt x="8683" y="1426"/>
                </a:lnTo>
                <a:lnTo>
                  <a:pt x="8668" y="1441"/>
                </a:lnTo>
                <a:lnTo>
                  <a:pt x="8639" y="1447"/>
                </a:lnTo>
                <a:lnTo>
                  <a:pt x="8631" y="1390"/>
                </a:lnTo>
                <a:lnTo>
                  <a:pt x="8660" y="1356"/>
                </a:lnTo>
                <a:lnTo>
                  <a:pt x="8679" y="1326"/>
                </a:lnTo>
                <a:lnTo>
                  <a:pt x="8639" y="1286"/>
                </a:lnTo>
                <a:lnTo>
                  <a:pt x="8612" y="1256"/>
                </a:lnTo>
                <a:lnTo>
                  <a:pt x="8568" y="1269"/>
                </a:lnTo>
                <a:lnTo>
                  <a:pt x="8529" y="1306"/>
                </a:lnTo>
                <a:lnTo>
                  <a:pt x="8515" y="1353"/>
                </a:lnTo>
                <a:lnTo>
                  <a:pt x="8516" y="1370"/>
                </a:lnTo>
                <a:lnTo>
                  <a:pt x="8526" y="1367"/>
                </a:lnTo>
                <a:lnTo>
                  <a:pt x="8539" y="1354"/>
                </a:lnTo>
                <a:lnTo>
                  <a:pt x="8547" y="1338"/>
                </a:lnTo>
                <a:lnTo>
                  <a:pt x="8563" y="1376"/>
                </a:lnTo>
                <a:lnTo>
                  <a:pt x="8575" y="1398"/>
                </a:lnTo>
                <a:lnTo>
                  <a:pt x="8566" y="1405"/>
                </a:lnTo>
                <a:lnTo>
                  <a:pt x="8523" y="1406"/>
                </a:lnTo>
                <a:lnTo>
                  <a:pt x="8473" y="1371"/>
                </a:lnTo>
                <a:lnTo>
                  <a:pt x="8456" y="1310"/>
                </a:lnTo>
                <a:lnTo>
                  <a:pt x="8449" y="1254"/>
                </a:lnTo>
                <a:lnTo>
                  <a:pt x="8425" y="1236"/>
                </a:lnTo>
                <a:lnTo>
                  <a:pt x="8311" y="1231"/>
                </a:lnTo>
                <a:lnTo>
                  <a:pt x="8152" y="1194"/>
                </a:lnTo>
                <a:lnTo>
                  <a:pt x="8023" y="1174"/>
                </a:lnTo>
                <a:lnTo>
                  <a:pt x="7999" y="1214"/>
                </a:lnTo>
                <a:lnTo>
                  <a:pt x="8068" y="1223"/>
                </a:lnTo>
                <a:lnTo>
                  <a:pt x="8067" y="1230"/>
                </a:lnTo>
                <a:lnTo>
                  <a:pt x="8027" y="1240"/>
                </a:lnTo>
                <a:lnTo>
                  <a:pt x="7976" y="1261"/>
                </a:lnTo>
                <a:lnTo>
                  <a:pt x="7944" y="1302"/>
                </a:lnTo>
                <a:lnTo>
                  <a:pt x="7937" y="1316"/>
                </a:lnTo>
                <a:lnTo>
                  <a:pt x="7957" y="1321"/>
                </a:lnTo>
                <a:lnTo>
                  <a:pt x="8013" y="1333"/>
                </a:lnTo>
                <a:lnTo>
                  <a:pt x="7983" y="1356"/>
                </a:lnTo>
                <a:lnTo>
                  <a:pt x="7920" y="1357"/>
                </a:lnTo>
                <a:lnTo>
                  <a:pt x="7850" y="1344"/>
                </a:lnTo>
                <a:lnTo>
                  <a:pt x="7801" y="1329"/>
                </a:lnTo>
                <a:lnTo>
                  <a:pt x="7770" y="1305"/>
                </a:lnTo>
                <a:lnTo>
                  <a:pt x="7770" y="1274"/>
                </a:lnTo>
                <a:lnTo>
                  <a:pt x="7767" y="1246"/>
                </a:lnTo>
                <a:lnTo>
                  <a:pt x="7730" y="1227"/>
                </a:lnTo>
                <a:lnTo>
                  <a:pt x="7667" y="1186"/>
                </a:lnTo>
                <a:lnTo>
                  <a:pt x="7607" y="1182"/>
                </a:lnTo>
                <a:lnTo>
                  <a:pt x="7552" y="1218"/>
                </a:lnTo>
                <a:lnTo>
                  <a:pt x="7505" y="1291"/>
                </a:lnTo>
                <a:lnTo>
                  <a:pt x="7510" y="1181"/>
                </a:lnTo>
                <a:lnTo>
                  <a:pt x="7511" y="1102"/>
                </a:lnTo>
                <a:lnTo>
                  <a:pt x="7467" y="1064"/>
                </a:lnTo>
                <a:lnTo>
                  <a:pt x="7329" y="1077"/>
                </a:lnTo>
                <a:lnTo>
                  <a:pt x="7380" y="1087"/>
                </a:lnTo>
                <a:lnTo>
                  <a:pt x="7450" y="1097"/>
                </a:lnTo>
                <a:lnTo>
                  <a:pt x="7497" y="1115"/>
                </a:lnTo>
                <a:lnTo>
                  <a:pt x="7475" y="1151"/>
                </a:lnTo>
                <a:lnTo>
                  <a:pt x="7455" y="1129"/>
                </a:lnTo>
                <a:lnTo>
                  <a:pt x="7441" y="1138"/>
                </a:lnTo>
                <a:lnTo>
                  <a:pt x="7426" y="1157"/>
                </a:lnTo>
                <a:lnTo>
                  <a:pt x="7403" y="1171"/>
                </a:lnTo>
                <a:lnTo>
                  <a:pt x="7371" y="1139"/>
                </a:lnTo>
                <a:lnTo>
                  <a:pt x="7346" y="1151"/>
                </a:lnTo>
                <a:lnTo>
                  <a:pt x="7333" y="1186"/>
                </a:lnTo>
                <a:lnTo>
                  <a:pt x="7342" y="1227"/>
                </a:lnTo>
                <a:lnTo>
                  <a:pt x="7397" y="1216"/>
                </a:lnTo>
                <a:lnTo>
                  <a:pt x="7408" y="1241"/>
                </a:lnTo>
                <a:lnTo>
                  <a:pt x="7384" y="1270"/>
                </a:lnTo>
                <a:lnTo>
                  <a:pt x="7329" y="1269"/>
                </a:lnTo>
                <a:lnTo>
                  <a:pt x="7298" y="1236"/>
                </a:lnTo>
                <a:lnTo>
                  <a:pt x="7291" y="1180"/>
                </a:lnTo>
                <a:lnTo>
                  <a:pt x="7282" y="1143"/>
                </a:lnTo>
                <a:lnTo>
                  <a:pt x="7241" y="1166"/>
                </a:lnTo>
                <a:lnTo>
                  <a:pt x="7224" y="1129"/>
                </a:lnTo>
                <a:lnTo>
                  <a:pt x="7198" y="1147"/>
                </a:lnTo>
                <a:lnTo>
                  <a:pt x="7161" y="1172"/>
                </a:lnTo>
                <a:lnTo>
                  <a:pt x="7104" y="1156"/>
                </a:lnTo>
                <a:lnTo>
                  <a:pt x="7104" y="1154"/>
                </a:lnTo>
                <a:lnTo>
                  <a:pt x="7104" y="1154"/>
                </a:lnTo>
                <a:lnTo>
                  <a:pt x="7104" y="1154"/>
                </a:lnTo>
                <a:lnTo>
                  <a:pt x="7104" y="1156"/>
                </a:lnTo>
                <a:lnTo>
                  <a:pt x="7122" y="1198"/>
                </a:lnTo>
                <a:lnTo>
                  <a:pt x="7108" y="1235"/>
                </a:lnTo>
                <a:lnTo>
                  <a:pt x="7075" y="1252"/>
                </a:lnTo>
                <a:lnTo>
                  <a:pt x="7031" y="1241"/>
                </a:lnTo>
                <a:lnTo>
                  <a:pt x="6986" y="1251"/>
                </a:lnTo>
                <a:lnTo>
                  <a:pt x="6979" y="1317"/>
                </a:lnTo>
                <a:lnTo>
                  <a:pt x="6977" y="1380"/>
                </a:lnTo>
                <a:lnTo>
                  <a:pt x="6940" y="1376"/>
                </a:lnTo>
                <a:lnTo>
                  <a:pt x="6917" y="1356"/>
                </a:lnTo>
                <a:lnTo>
                  <a:pt x="6913" y="1324"/>
                </a:lnTo>
                <a:lnTo>
                  <a:pt x="6910" y="1293"/>
                </a:lnTo>
                <a:lnTo>
                  <a:pt x="6889" y="1278"/>
                </a:lnTo>
                <a:lnTo>
                  <a:pt x="6871" y="1275"/>
                </a:lnTo>
                <a:lnTo>
                  <a:pt x="6865" y="1259"/>
                </a:lnTo>
                <a:lnTo>
                  <a:pt x="6863" y="1238"/>
                </a:lnTo>
                <a:lnTo>
                  <a:pt x="6856" y="1221"/>
                </a:lnTo>
                <a:lnTo>
                  <a:pt x="6801" y="1218"/>
                </a:lnTo>
                <a:lnTo>
                  <a:pt x="6752" y="1202"/>
                </a:lnTo>
                <a:lnTo>
                  <a:pt x="6710" y="1196"/>
                </a:lnTo>
                <a:lnTo>
                  <a:pt x="6673" y="1228"/>
                </a:lnTo>
                <a:lnTo>
                  <a:pt x="6648" y="1185"/>
                </a:lnTo>
                <a:lnTo>
                  <a:pt x="6644" y="1151"/>
                </a:lnTo>
                <a:lnTo>
                  <a:pt x="6638" y="1146"/>
                </a:lnTo>
                <a:lnTo>
                  <a:pt x="6602" y="1188"/>
                </a:lnTo>
                <a:lnTo>
                  <a:pt x="6597" y="1152"/>
                </a:lnTo>
                <a:lnTo>
                  <a:pt x="6587" y="1134"/>
                </a:lnTo>
                <a:lnTo>
                  <a:pt x="6569" y="1138"/>
                </a:lnTo>
                <a:lnTo>
                  <a:pt x="6540" y="1166"/>
                </a:lnTo>
                <a:lnTo>
                  <a:pt x="6504" y="1146"/>
                </a:lnTo>
                <a:lnTo>
                  <a:pt x="6484" y="1137"/>
                </a:lnTo>
                <a:lnTo>
                  <a:pt x="6460" y="1139"/>
                </a:lnTo>
                <a:lnTo>
                  <a:pt x="6412" y="1153"/>
                </a:lnTo>
                <a:lnTo>
                  <a:pt x="6477" y="1031"/>
                </a:lnTo>
                <a:lnTo>
                  <a:pt x="6434" y="970"/>
                </a:lnTo>
                <a:lnTo>
                  <a:pt x="6317" y="943"/>
                </a:lnTo>
                <a:lnTo>
                  <a:pt x="6155" y="922"/>
                </a:lnTo>
                <a:lnTo>
                  <a:pt x="6058" y="918"/>
                </a:lnTo>
                <a:lnTo>
                  <a:pt x="6018" y="974"/>
                </a:lnTo>
                <a:lnTo>
                  <a:pt x="5988" y="1050"/>
                </a:lnTo>
                <a:lnTo>
                  <a:pt x="5930" y="1102"/>
                </a:lnTo>
                <a:lnTo>
                  <a:pt x="5962" y="1018"/>
                </a:lnTo>
                <a:lnTo>
                  <a:pt x="5988" y="964"/>
                </a:lnTo>
                <a:lnTo>
                  <a:pt x="5978" y="951"/>
                </a:lnTo>
                <a:lnTo>
                  <a:pt x="5900" y="990"/>
                </a:lnTo>
                <a:lnTo>
                  <a:pt x="5898" y="936"/>
                </a:lnTo>
                <a:lnTo>
                  <a:pt x="5871" y="915"/>
                </a:lnTo>
                <a:lnTo>
                  <a:pt x="5832" y="905"/>
                </a:lnTo>
                <a:lnTo>
                  <a:pt x="5788" y="882"/>
                </a:lnTo>
                <a:lnTo>
                  <a:pt x="5729" y="902"/>
                </a:lnTo>
                <a:lnTo>
                  <a:pt x="5694" y="981"/>
                </a:lnTo>
                <a:lnTo>
                  <a:pt x="5675" y="1046"/>
                </a:lnTo>
                <a:lnTo>
                  <a:pt x="5664" y="1022"/>
                </a:lnTo>
                <a:lnTo>
                  <a:pt x="5664" y="938"/>
                </a:lnTo>
                <a:lnTo>
                  <a:pt x="5648" y="946"/>
                </a:lnTo>
                <a:lnTo>
                  <a:pt x="5613" y="997"/>
                </a:lnTo>
                <a:lnTo>
                  <a:pt x="5555" y="1041"/>
                </a:lnTo>
                <a:lnTo>
                  <a:pt x="5545" y="1016"/>
                </a:lnTo>
                <a:lnTo>
                  <a:pt x="5546" y="986"/>
                </a:lnTo>
                <a:lnTo>
                  <a:pt x="5541" y="967"/>
                </a:lnTo>
                <a:lnTo>
                  <a:pt x="5510" y="978"/>
                </a:lnTo>
                <a:lnTo>
                  <a:pt x="5473" y="925"/>
                </a:lnTo>
                <a:lnTo>
                  <a:pt x="5474" y="909"/>
                </a:lnTo>
                <a:lnTo>
                  <a:pt x="5504" y="908"/>
                </a:lnTo>
                <a:lnTo>
                  <a:pt x="5554" y="902"/>
                </a:lnTo>
                <a:lnTo>
                  <a:pt x="5502" y="869"/>
                </a:lnTo>
                <a:lnTo>
                  <a:pt x="5459" y="901"/>
                </a:lnTo>
                <a:lnTo>
                  <a:pt x="5419" y="947"/>
                </a:lnTo>
                <a:lnTo>
                  <a:pt x="5376" y="964"/>
                </a:lnTo>
                <a:lnTo>
                  <a:pt x="5376" y="939"/>
                </a:lnTo>
                <a:lnTo>
                  <a:pt x="5366" y="927"/>
                </a:lnTo>
                <a:lnTo>
                  <a:pt x="5352" y="929"/>
                </a:lnTo>
                <a:lnTo>
                  <a:pt x="5347" y="953"/>
                </a:lnTo>
                <a:lnTo>
                  <a:pt x="5308" y="966"/>
                </a:lnTo>
                <a:lnTo>
                  <a:pt x="5312" y="937"/>
                </a:lnTo>
                <a:lnTo>
                  <a:pt x="5318" y="896"/>
                </a:lnTo>
                <a:lnTo>
                  <a:pt x="5294" y="876"/>
                </a:lnTo>
                <a:lnTo>
                  <a:pt x="5254" y="913"/>
                </a:lnTo>
                <a:lnTo>
                  <a:pt x="5223" y="958"/>
                </a:lnTo>
                <a:lnTo>
                  <a:pt x="5198" y="967"/>
                </a:lnTo>
                <a:lnTo>
                  <a:pt x="5167" y="892"/>
                </a:lnTo>
                <a:lnTo>
                  <a:pt x="5209" y="888"/>
                </a:lnTo>
                <a:lnTo>
                  <a:pt x="5145" y="863"/>
                </a:lnTo>
                <a:lnTo>
                  <a:pt x="5042" y="841"/>
                </a:lnTo>
                <a:lnTo>
                  <a:pt x="4967" y="848"/>
                </a:lnTo>
                <a:lnTo>
                  <a:pt x="5001" y="902"/>
                </a:lnTo>
                <a:lnTo>
                  <a:pt x="4989" y="928"/>
                </a:lnTo>
                <a:lnTo>
                  <a:pt x="4958" y="916"/>
                </a:lnTo>
                <a:lnTo>
                  <a:pt x="4936" y="860"/>
                </a:lnTo>
                <a:lnTo>
                  <a:pt x="4900" y="838"/>
                </a:lnTo>
                <a:lnTo>
                  <a:pt x="4845" y="829"/>
                </a:lnTo>
                <a:lnTo>
                  <a:pt x="4786" y="822"/>
                </a:lnTo>
                <a:lnTo>
                  <a:pt x="4736" y="802"/>
                </a:lnTo>
                <a:lnTo>
                  <a:pt x="4720" y="854"/>
                </a:lnTo>
                <a:lnTo>
                  <a:pt x="4682" y="883"/>
                </a:lnTo>
                <a:lnTo>
                  <a:pt x="4637" y="900"/>
                </a:lnTo>
                <a:lnTo>
                  <a:pt x="4602" y="913"/>
                </a:lnTo>
                <a:lnTo>
                  <a:pt x="4599" y="873"/>
                </a:lnTo>
                <a:lnTo>
                  <a:pt x="4598" y="831"/>
                </a:lnTo>
                <a:lnTo>
                  <a:pt x="4586" y="802"/>
                </a:lnTo>
                <a:lnTo>
                  <a:pt x="4548" y="803"/>
                </a:lnTo>
                <a:lnTo>
                  <a:pt x="4507" y="813"/>
                </a:lnTo>
                <a:lnTo>
                  <a:pt x="4502" y="825"/>
                </a:lnTo>
                <a:lnTo>
                  <a:pt x="4523" y="838"/>
                </a:lnTo>
                <a:lnTo>
                  <a:pt x="4552" y="853"/>
                </a:lnTo>
                <a:lnTo>
                  <a:pt x="4544" y="866"/>
                </a:lnTo>
                <a:lnTo>
                  <a:pt x="4535" y="877"/>
                </a:lnTo>
                <a:lnTo>
                  <a:pt x="4526" y="886"/>
                </a:lnTo>
                <a:lnTo>
                  <a:pt x="4516" y="892"/>
                </a:lnTo>
                <a:lnTo>
                  <a:pt x="4515" y="890"/>
                </a:lnTo>
                <a:lnTo>
                  <a:pt x="4514" y="888"/>
                </a:lnTo>
                <a:lnTo>
                  <a:pt x="4514" y="890"/>
                </a:lnTo>
                <a:lnTo>
                  <a:pt x="4514" y="891"/>
                </a:lnTo>
                <a:close/>
                <a:moveTo>
                  <a:pt x="10300" y="4813"/>
                </a:moveTo>
                <a:lnTo>
                  <a:pt x="10302" y="4815"/>
                </a:lnTo>
                <a:lnTo>
                  <a:pt x="10300" y="4813"/>
                </a:lnTo>
                <a:lnTo>
                  <a:pt x="10300" y="4813"/>
                </a:lnTo>
                <a:lnTo>
                  <a:pt x="10300" y="4813"/>
                </a:lnTo>
                <a:lnTo>
                  <a:pt x="10300" y="4813"/>
                </a:lnTo>
                <a:close/>
                <a:moveTo>
                  <a:pt x="10300" y="4813"/>
                </a:moveTo>
                <a:lnTo>
                  <a:pt x="10300" y="4815"/>
                </a:lnTo>
                <a:lnTo>
                  <a:pt x="10300" y="4813"/>
                </a:lnTo>
                <a:close/>
                <a:moveTo>
                  <a:pt x="7310" y="1105"/>
                </a:moveTo>
                <a:lnTo>
                  <a:pt x="7310" y="1105"/>
                </a:lnTo>
                <a:lnTo>
                  <a:pt x="7312" y="1105"/>
                </a:lnTo>
                <a:lnTo>
                  <a:pt x="7310" y="1105"/>
                </a:lnTo>
                <a:lnTo>
                  <a:pt x="7310" y="1104"/>
                </a:lnTo>
                <a:lnTo>
                  <a:pt x="7310" y="1105"/>
                </a:lnTo>
                <a:close/>
                <a:moveTo>
                  <a:pt x="7317" y="1109"/>
                </a:moveTo>
                <a:lnTo>
                  <a:pt x="7314" y="1107"/>
                </a:lnTo>
                <a:lnTo>
                  <a:pt x="7312" y="1105"/>
                </a:lnTo>
                <a:lnTo>
                  <a:pt x="7313" y="1107"/>
                </a:lnTo>
                <a:lnTo>
                  <a:pt x="7317" y="1109"/>
                </a:lnTo>
                <a:close/>
                <a:moveTo>
                  <a:pt x="10362" y="4661"/>
                </a:moveTo>
                <a:lnTo>
                  <a:pt x="10359" y="4660"/>
                </a:lnTo>
                <a:lnTo>
                  <a:pt x="10356" y="4658"/>
                </a:lnTo>
                <a:lnTo>
                  <a:pt x="10359" y="4660"/>
                </a:lnTo>
                <a:lnTo>
                  <a:pt x="10362" y="4661"/>
                </a:lnTo>
                <a:close/>
                <a:moveTo>
                  <a:pt x="6956" y="1091"/>
                </a:moveTo>
                <a:lnTo>
                  <a:pt x="6955" y="1092"/>
                </a:lnTo>
                <a:lnTo>
                  <a:pt x="6952" y="1093"/>
                </a:lnTo>
                <a:lnTo>
                  <a:pt x="6955" y="1092"/>
                </a:lnTo>
                <a:lnTo>
                  <a:pt x="6957" y="1091"/>
                </a:lnTo>
                <a:lnTo>
                  <a:pt x="6957" y="1090"/>
                </a:lnTo>
                <a:lnTo>
                  <a:pt x="6956" y="1091"/>
                </a:lnTo>
                <a:close/>
                <a:moveTo>
                  <a:pt x="11320" y="1986"/>
                </a:moveTo>
                <a:lnTo>
                  <a:pt x="11318" y="1988"/>
                </a:lnTo>
                <a:lnTo>
                  <a:pt x="11315" y="1989"/>
                </a:lnTo>
                <a:lnTo>
                  <a:pt x="11319" y="1988"/>
                </a:lnTo>
                <a:lnTo>
                  <a:pt x="11320" y="1986"/>
                </a:lnTo>
                <a:close/>
                <a:moveTo>
                  <a:pt x="5753" y="751"/>
                </a:moveTo>
                <a:lnTo>
                  <a:pt x="5755" y="748"/>
                </a:lnTo>
                <a:lnTo>
                  <a:pt x="5757" y="748"/>
                </a:lnTo>
                <a:lnTo>
                  <a:pt x="5755" y="748"/>
                </a:lnTo>
                <a:lnTo>
                  <a:pt x="5753" y="750"/>
                </a:lnTo>
                <a:lnTo>
                  <a:pt x="5753" y="751"/>
                </a:lnTo>
                <a:lnTo>
                  <a:pt x="5753" y="751"/>
                </a:lnTo>
                <a:close/>
                <a:moveTo>
                  <a:pt x="5995" y="918"/>
                </a:moveTo>
                <a:lnTo>
                  <a:pt x="5995" y="919"/>
                </a:lnTo>
                <a:lnTo>
                  <a:pt x="5995" y="918"/>
                </a:lnTo>
                <a:lnTo>
                  <a:pt x="5995" y="918"/>
                </a:lnTo>
                <a:lnTo>
                  <a:pt x="5995" y="918"/>
                </a:lnTo>
                <a:lnTo>
                  <a:pt x="5995" y="918"/>
                </a:lnTo>
                <a:lnTo>
                  <a:pt x="5995" y="918"/>
                </a:lnTo>
                <a:lnTo>
                  <a:pt x="5995" y="918"/>
                </a:lnTo>
                <a:close/>
                <a:moveTo>
                  <a:pt x="3837" y="713"/>
                </a:moveTo>
                <a:lnTo>
                  <a:pt x="3839" y="709"/>
                </a:lnTo>
                <a:lnTo>
                  <a:pt x="3840" y="706"/>
                </a:lnTo>
                <a:lnTo>
                  <a:pt x="3841" y="705"/>
                </a:lnTo>
                <a:lnTo>
                  <a:pt x="3840" y="706"/>
                </a:lnTo>
                <a:lnTo>
                  <a:pt x="3840" y="705"/>
                </a:lnTo>
                <a:lnTo>
                  <a:pt x="3840" y="706"/>
                </a:lnTo>
                <a:lnTo>
                  <a:pt x="3837" y="709"/>
                </a:lnTo>
                <a:lnTo>
                  <a:pt x="3837" y="713"/>
                </a:lnTo>
                <a:close/>
                <a:moveTo>
                  <a:pt x="4768" y="685"/>
                </a:moveTo>
                <a:lnTo>
                  <a:pt x="4768" y="685"/>
                </a:lnTo>
                <a:lnTo>
                  <a:pt x="4771" y="686"/>
                </a:lnTo>
                <a:lnTo>
                  <a:pt x="4772" y="687"/>
                </a:lnTo>
                <a:lnTo>
                  <a:pt x="4771" y="686"/>
                </a:lnTo>
                <a:lnTo>
                  <a:pt x="4768" y="685"/>
                </a:lnTo>
                <a:close/>
                <a:moveTo>
                  <a:pt x="7336" y="1233"/>
                </a:moveTo>
                <a:lnTo>
                  <a:pt x="7334" y="1232"/>
                </a:lnTo>
                <a:lnTo>
                  <a:pt x="7336" y="1233"/>
                </a:lnTo>
                <a:lnTo>
                  <a:pt x="7340" y="1230"/>
                </a:lnTo>
                <a:lnTo>
                  <a:pt x="7336" y="1233"/>
                </a:lnTo>
                <a:close/>
                <a:moveTo>
                  <a:pt x="7922" y="1301"/>
                </a:moveTo>
                <a:lnTo>
                  <a:pt x="7922" y="1301"/>
                </a:lnTo>
                <a:lnTo>
                  <a:pt x="7922" y="1301"/>
                </a:lnTo>
                <a:lnTo>
                  <a:pt x="7923" y="1301"/>
                </a:lnTo>
                <a:lnTo>
                  <a:pt x="7923" y="1301"/>
                </a:lnTo>
                <a:lnTo>
                  <a:pt x="7923" y="1301"/>
                </a:lnTo>
                <a:lnTo>
                  <a:pt x="7922" y="1301"/>
                </a:lnTo>
                <a:lnTo>
                  <a:pt x="7922" y="1301"/>
                </a:lnTo>
                <a:close/>
                <a:moveTo>
                  <a:pt x="7916" y="1297"/>
                </a:moveTo>
                <a:lnTo>
                  <a:pt x="7919" y="1298"/>
                </a:lnTo>
                <a:lnTo>
                  <a:pt x="7920" y="1300"/>
                </a:lnTo>
                <a:lnTo>
                  <a:pt x="7919" y="1297"/>
                </a:lnTo>
                <a:lnTo>
                  <a:pt x="7916" y="1297"/>
                </a:lnTo>
                <a:close/>
                <a:moveTo>
                  <a:pt x="3128" y="383"/>
                </a:moveTo>
                <a:lnTo>
                  <a:pt x="3127" y="382"/>
                </a:lnTo>
                <a:lnTo>
                  <a:pt x="3124" y="379"/>
                </a:lnTo>
                <a:lnTo>
                  <a:pt x="3126" y="382"/>
                </a:lnTo>
                <a:lnTo>
                  <a:pt x="3128" y="383"/>
                </a:lnTo>
                <a:close/>
                <a:moveTo>
                  <a:pt x="3123" y="378"/>
                </a:moveTo>
                <a:lnTo>
                  <a:pt x="3123" y="378"/>
                </a:lnTo>
                <a:lnTo>
                  <a:pt x="3123" y="378"/>
                </a:lnTo>
                <a:lnTo>
                  <a:pt x="3123" y="379"/>
                </a:lnTo>
                <a:lnTo>
                  <a:pt x="3123" y="378"/>
                </a:lnTo>
                <a:close/>
                <a:moveTo>
                  <a:pt x="5922" y="947"/>
                </a:moveTo>
                <a:lnTo>
                  <a:pt x="5921" y="944"/>
                </a:lnTo>
                <a:lnTo>
                  <a:pt x="5918" y="941"/>
                </a:lnTo>
                <a:lnTo>
                  <a:pt x="5920" y="944"/>
                </a:lnTo>
                <a:lnTo>
                  <a:pt x="5922" y="947"/>
                </a:lnTo>
                <a:close/>
                <a:moveTo>
                  <a:pt x="5918" y="941"/>
                </a:moveTo>
                <a:lnTo>
                  <a:pt x="5920" y="939"/>
                </a:lnTo>
                <a:lnTo>
                  <a:pt x="5918" y="938"/>
                </a:lnTo>
                <a:lnTo>
                  <a:pt x="5918" y="939"/>
                </a:lnTo>
                <a:lnTo>
                  <a:pt x="5918" y="941"/>
                </a:lnTo>
                <a:close/>
                <a:moveTo>
                  <a:pt x="3376" y="619"/>
                </a:moveTo>
                <a:lnTo>
                  <a:pt x="3374" y="616"/>
                </a:lnTo>
                <a:lnTo>
                  <a:pt x="3371" y="615"/>
                </a:lnTo>
                <a:lnTo>
                  <a:pt x="3370" y="613"/>
                </a:lnTo>
                <a:lnTo>
                  <a:pt x="3369" y="612"/>
                </a:lnTo>
                <a:lnTo>
                  <a:pt x="3369" y="613"/>
                </a:lnTo>
                <a:lnTo>
                  <a:pt x="3371" y="615"/>
                </a:lnTo>
                <a:lnTo>
                  <a:pt x="3373" y="617"/>
                </a:lnTo>
                <a:lnTo>
                  <a:pt x="3376" y="619"/>
                </a:lnTo>
                <a:close/>
                <a:moveTo>
                  <a:pt x="6960" y="1090"/>
                </a:moveTo>
                <a:lnTo>
                  <a:pt x="6961" y="1086"/>
                </a:lnTo>
                <a:lnTo>
                  <a:pt x="6961" y="1086"/>
                </a:lnTo>
                <a:lnTo>
                  <a:pt x="6961" y="1087"/>
                </a:lnTo>
                <a:lnTo>
                  <a:pt x="6959" y="1090"/>
                </a:lnTo>
                <a:lnTo>
                  <a:pt x="6960" y="1090"/>
                </a:lnTo>
                <a:lnTo>
                  <a:pt x="6960" y="1090"/>
                </a:lnTo>
                <a:close/>
                <a:moveTo>
                  <a:pt x="4738" y="747"/>
                </a:moveTo>
                <a:lnTo>
                  <a:pt x="4742" y="751"/>
                </a:lnTo>
                <a:lnTo>
                  <a:pt x="4744" y="753"/>
                </a:lnTo>
                <a:lnTo>
                  <a:pt x="4744" y="753"/>
                </a:lnTo>
                <a:lnTo>
                  <a:pt x="4743" y="750"/>
                </a:lnTo>
                <a:lnTo>
                  <a:pt x="4740" y="748"/>
                </a:lnTo>
                <a:lnTo>
                  <a:pt x="4738" y="747"/>
                </a:lnTo>
                <a:close/>
                <a:moveTo>
                  <a:pt x="9343" y="1261"/>
                </a:moveTo>
                <a:lnTo>
                  <a:pt x="9343" y="1259"/>
                </a:lnTo>
                <a:lnTo>
                  <a:pt x="9341" y="1255"/>
                </a:lnTo>
                <a:lnTo>
                  <a:pt x="9341" y="1259"/>
                </a:lnTo>
                <a:lnTo>
                  <a:pt x="9343" y="1261"/>
                </a:lnTo>
                <a:close/>
                <a:moveTo>
                  <a:pt x="9341" y="1252"/>
                </a:moveTo>
                <a:lnTo>
                  <a:pt x="9341" y="1254"/>
                </a:lnTo>
                <a:lnTo>
                  <a:pt x="9341" y="1252"/>
                </a:lnTo>
                <a:lnTo>
                  <a:pt x="9341" y="1252"/>
                </a:lnTo>
                <a:lnTo>
                  <a:pt x="9341" y="1252"/>
                </a:lnTo>
                <a:close/>
                <a:moveTo>
                  <a:pt x="9341" y="1254"/>
                </a:moveTo>
                <a:lnTo>
                  <a:pt x="9341" y="1254"/>
                </a:lnTo>
                <a:lnTo>
                  <a:pt x="9341" y="1252"/>
                </a:lnTo>
                <a:lnTo>
                  <a:pt x="9341" y="1252"/>
                </a:lnTo>
                <a:lnTo>
                  <a:pt x="9340" y="1254"/>
                </a:lnTo>
                <a:lnTo>
                  <a:pt x="9341" y="1254"/>
                </a:lnTo>
                <a:close/>
                <a:moveTo>
                  <a:pt x="7811" y="1224"/>
                </a:moveTo>
                <a:lnTo>
                  <a:pt x="7821" y="1233"/>
                </a:lnTo>
                <a:lnTo>
                  <a:pt x="7831" y="1241"/>
                </a:lnTo>
                <a:lnTo>
                  <a:pt x="7822" y="1232"/>
                </a:lnTo>
                <a:lnTo>
                  <a:pt x="7811" y="1224"/>
                </a:lnTo>
                <a:close/>
                <a:moveTo>
                  <a:pt x="10778" y="5182"/>
                </a:moveTo>
                <a:lnTo>
                  <a:pt x="10777" y="5178"/>
                </a:lnTo>
                <a:lnTo>
                  <a:pt x="10775" y="5181"/>
                </a:lnTo>
                <a:lnTo>
                  <a:pt x="10774" y="5182"/>
                </a:lnTo>
                <a:lnTo>
                  <a:pt x="10775" y="5182"/>
                </a:lnTo>
                <a:lnTo>
                  <a:pt x="10778" y="5182"/>
                </a:lnTo>
                <a:close/>
                <a:moveTo>
                  <a:pt x="10702" y="4981"/>
                </a:moveTo>
                <a:lnTo>
                  <a:pt x="10702" y="4981"/>
                </a:lnTo>
                <a:lnTo>
                  <a:pt x="10702" y="4980"/>
                </a:lnTo>
                <a:lnTo>
                  <a:pt x="10702" y="4981"/>
                </a:lnTo>
                <a:close/>
                <a:moveTo>
                  <a:pt x="10702" y="4981"/>
                </a:moveTo>
                <a:lnTo>
                  <a:pt x="10700" y="4994"/>
                </a:lnTo>
                <a:lnTo>
                  <a:pt x="10700" y="5006"/>
                </a:lnTo>
                <a:lnTo>
                  <a:pt x="10707" y="5000"/>
                </a:lnTo>
                <a:lnTo>
                  <a:pt x="10709" y="4995"/>
                </a:lnTo>
                <a:lnTo>
                  <a:pt x="10707" y="4988"/>
                </a:lnTo>
                <a:lnTo>
                  <a:pt x="10702" y="4981"/>
                </a:lnTo>
                <a:close/>
                <a:moveTo>
                  <a:pt x="10700" y="5008"/>
                </a:moveTo>
                <a:lnTo>
                  <a:pt x="10700" y="5006"/>
                </a:lnTo>
                <a:lnTo>
                  <a:pt x="10699" y="5006"/>
                </a:lnTo>
                <a:lnTo>
                  <a:pt x="10700" y="5008"/>
                </a:lnTo>
                <a:close/>
                <a:moveTo>
                  <a:pt x="10493" y="4910"/>
                </a:moveTo>
                <a:lnTo>
                  <a:pt x="10495" y="4907"/>
                </a:lnTo>
                <a:lnTo>
                  <a:pt x="10493" y="4906"/>
                </a:lnTo>
                <a:lnTo>
                  <a:pt x="10491" y="4906"/>
                </a:lnTo>
                <a:lnTo>
                  <a:pt x="10491" y="4908"/>
                </a:lnTo>
                <a:lnTo>
                  <a:pt x="10493" y="4910"/>
                </a:lnTo>
                <a:close/>
                <a:moveTo>
                  <a:pt x="7320" y="1142"/>
                </a:moveTo>
                <a:lnTo>
                  <a:pt x="7318" y="1140"/>
                </a:lnTo>
                <a:lnTo>
                  <a:pt x="7318" y="1142"/>
                </a:lnTo>
                <a:lnTo>
                  <a:pt x="7318" y="1143"/>
                </a:lnTo>
                <a:lnTo>
                  <a:pt x="7318" y="1146"/>
                </a:lnTo>
                <a:lnTo>
                  <a:pt x="7320" y="1142"/>
                </a:lnTo>
                <a:close/>
                <a:moveTo>
                  <a:pt x="11471" y="4119"/>
                </a:moveTo>
                <a:lnTo>
                  <a:pt x="11472" y="4117"/>
                </a:lnTo>
                <a:lnTo>
                  <a:pt x="11473" y="4117"/>
                </a:lnTo>
                <a:lnTo>
                  <a:pt x="11472" y="4115"/>
                </a:lnTo>
                <a:lnTo>
                  <a:pt x="11471" y="4115"/>
                </a:lnTo>
                <a:lnTo>
                  <a:pt x="11471" y="4119"/>
                </a:lnTo>
                <a:close/>
                <a:moveTo>
                  <a:pt x="6844" y="1121"/>
                </a:moveTo>
                <a:lnTo>
                  <a:pt x="6842" y="1121"/>
                </a:lnTo>
                <a:lnTo>
                  <a:pt x="6840" y="1121"/>
                </a:lnTo>
                <a:lnTo>
                  <a:pt x="6842" y="1123"/>
                </a:lnTo>
                <a:lnTo>
                  <a:pt x="6842" y="1125"/>
                </a:lnTo>
                <a:lnTo>
                  <a:pt x="6844" y="1121"/>
                </a:lnTo>
                <a:close/>
                <a:moveTo>
                  <a:pt x="9808" y="1399"/>
                </a:moveTo>
                <a:lnTo>
                  <a:pt x="9809" y="1399"/>
                </a:lnTo>
                <a:lnTo>
                  <a:pt x="9809" y="1398"/>
                </a:lnTo>
                <a:lnTo>
                  <a:pt x="9809" y="1398"/>
                </a:lnTo>
                <a:lnTo>
                  <a:pt x="9809" y="1398"/>
                </a:lnTo>
                <a:lnTo>
                  <a:pt x="9808" y="1398"/>
                </a:lnTo>
                <a:lnTo>
                  <a:pt x="9809" y="1390"/>
                </a:lnTo>
                <a:lnTo>
                  <a:pt x="9810" y="1381"/>
                </a:lnTo>
                <a:lnTo>
                  <a:pt x="9810" y="1373"/>
                </a:lnTo>
                <a:lnTo>
                  <a:pt x="9808" y="1367"/>
                </a:lnTo>
                <a:lnTo>
                  <a:pt x="9796" y="1371"/>
                </a:lnTo>
                <a:lnTo>
                  <a:pt x="9795" y="1380"/>
                </a:lnTo>
                <a:lnTo>
                  <a:pt x="9799" y="1390"/>
                </a:lnTo>
                <a:lnTo>
                  <a:pt x="9808" y="1398"/>
                </a:lnTo>
                <a:lnTo>
                  <a:pt x="9808" y="1398"/>
                </a:lnTo>
                <a:lnTo>
                  <a:pt x="9808" y="1399"/>
                </a:lnTo>
                <a:close/>
                <a:moveTo>
                  <a:pt x="9809" y="1400"/>
                </a:moveTo>
                <a:lnTo>
                  <a:pt x="9806" y="1418"/>
                </a:lnTo>
                <a:lnTo>
                  <a:pt x="9805" y="1437"/>
                </a:lnTo>
                <a:lnTo>
                  <a:pt x="9805" y="1438"/>
                </a:lnTo>
                <a:lnTo>
                  <a:pt x="9804" y="1440"/>
                </a:lnTo>
                <a:lnTo>
                  <a:pt x="9805" y="1438"/>
                </a:lnTo>
                <a:lnTo>
                  <a:pt x="9805" y="1437"/>
                </a:lnTo>
                <a:lnTo>
                  <a:pt x="9810" y="1428"/>
                </a:lnTo>
                <a:lnTo>
                  <a:pt x="9813" y="1419"/>
                </a:lnTo>
                <a:lnTo>
                  <a:pt x="9811" y="1409"/>
                </a:lnTo>
                <a:lnTo>
                  <a:pt x="9809" y="1400"/>
                </a:lnTo>
                <a:close/>
                <a:moveTo>
                  <a:pt x="10118" y="1503"/>
                </a:moveTo>
                <a:lnTo>
                  <a:pt x="10121" y="1502"/>
                </a:lnTo>
                <a:lnTo>
                  <a:pt x="10121" y="1499"/>
                </a:lnTo>
                <a:lnTo>
                  <a:pt x="10120" y="1497"/>
                </a:lnTo>
                <a:lnTo>
                  <a:pt x="10118" y="1494"/>
                </a:lnTo>
                <a:lnTo>
                  <a:pt x="10112" y="1491"/>
                </a:lnTo>
                <a:lnTo>
                  <a:pt x="10111" y="1493"/>
                </a:lnTo>
                <a:lnTo>
                  <a:pt x="10113" y="1498"/>
                </a:lnTo>
                <a:lnTo>
                  <a:pt x="10118" y="1503"/>
                </a:lnTo>
                <a:close/>
                <a:moveTo>
                  <a:pt x="10109" y="1491"/>
                </a:moveTo>
                <a:lnTo>
                  <a:pt x="10109" y="1491"/>
                </a:lnTo>
                <a:lnTo>
                  <a:pt x="10109" y="1489"/>
                </a:lnTo>
                <a:lnTo>
                  <a:pt x="10109" y="1491"/>
                </a:lnTo>
                <a:lnTo>
                  <a:pt x="10109" y="1491"/>
                </a:lnTo>
                <a:close/>
                <a:moveTo>
                  <a:pt x="7908" y="1321"/>
                </a:moveTo>
                <a:lnTo>
                  <a:pt x="7914" y="1320"/>
                </a:lnTo>
                <a:lnTo>
                  <a:pt x="7918" y="1317"/>
                </a:lnTo>
                <a:lnTo>
                  <a:pt x="7918" y="1315"/>
                </a:lnTo>
                <a:lnTo>
                  <a:pt x="7911" y="1315"/>
                </a:lnTo>
                <a:lnTo>
                  <a:pt x="7909" y="1315"/>
                </a:lnTo>
                <a:lnTo>
                  <a:pt x="7908" y="1316"/>
                </a:lnTo>
                <a:lnTo>
                  <a:pt x="7906" y="1319"/>
                </a:lnTo>
                <a:lnTo>
                  <a:pt x="7908" y="1321"/>
                </a:lnTo>
                <a:close/>
                <a:moveTo>
                  <a:pt x="7920" y="1315"/>
                </a:moveTo>
                <a:lnTo>
                  <a:pt x="7920" y="1315"/>
                </a:lnTo>
                <a:lnTo>
                  <a:pt x="7922" y="1315"/>
                </a:lnTo>
                <a:lnTo>
                  <a:pt x="7920" y="1315"/>
                </a:lnTo>
                <a:lnTo>
                  <a:pt x="7920" y="1315"/>
                </a:lnTo>
                <a:close/>
                <a:moveTo>
                  <a:pt x="11357" y="1968"/>
                </a:moveTo>
                <a:lnTo>
                  <a:pt x="11360" y="1972"/>
                </a:lnTo>
                <a:lnTo>
                  <a:pt x="11361" y="1969"/>
                </a:lnTo>
                <a:lnTo>
                  <a:pt x="11361" y="1968"/>
                </a:lnTo>
                <a:lnTo>
                  <a:pt x="11361" y="1968"/>
                </a:lnTo>
                <a:lnTo>
                  <a:pt x="11357" y="1968"/>
                </a:lnTo>
                <a:close/>
                <a:moveTo>
                  <a:pt x="3881" y="566"/>
                </a:moveTo>
                <a:lnTo>
                  <a:pt x="3878" y="565"/>
                </a:lnTo>
                <a:lnTo>
                  <a:pt x="3877" y="566"/>
                </a:lnTo>
                <a:lnTo>
                  <a:pt x="3877" y="568"/>
                </a:lnTo>
                <a:lnTo>
                  <a:pt x="3878" y="569"/>
                </a:lnTo>
                <a:lnTo>
                  <a:pt x="3881" y="566"/>
                </a:lnTo>
                <a:close/>
                <a:moveTo>
                  <a:pt x="9246" y="1381"/>
                </a:moveTo>
                <a:lnTo>
                  <a:pt x="9246" y="1381"/>
                </a:lnTo>
                <a:lnTo>
                  <a:pt x="9246" y="1380"/>
                </a:lnTo>
                <a:lnTo>
                  <a:pt x="9246" y="1381"/>
                </a:lnTo>
                <a:close/>
                <a:moveTo>
                  <a:pt x="9251" y="1390"/>
                </a:moveTo>
                <a:lnTo>
                  <a:pt x="9255" y="1394"/>
                </a:lnTo>
                <a:lnTo>
                  <a:pt x="9257" y="1392"/>
                </a:lnTo>
                <a:lnTo>
                  <a:pt x="9257" y="1387"/>
                </a:lnTo>
                <a:lnTo>
                  <a:pt x="9255" y="1384"/>
                </a:lnTo>
                <a:lnTo>
                  <a:pt x="9250" y="1381"/>
                </a:lnTo>
                <a:lnTo>
                  <a:pt x="9247" y="1382"/>
                </a:lnTo>
                <a:lnTo>
                  <a:pt x="9249" y="1386"/>
                </a:lnTo>
                <a:lnTo>
                  <a:pt x="9251" y="1390"/>
                </a:lnTo>
                <a:close/>
                <a:moveTo>
                  <a:pt x="3002" y="457"/>
                </a:moveTo>
                <a:lnTo>
                  <a:pt x="2999" y="459"/>
                </a:lnTo>
                <a:lnTo>
                  <a:pt x="2999" y="461"/>
                </a:lnTo>
                <a:lnTo>
                  <a:pt x="2999" y="462"/>
                </a:lnTo>
                <a:lnTo>
                  <a:pt x="3002" y="463"/>
                </a:lnTo>
                <a:lnTo>
                  <a:pt x="3002" y="461"/>
                </a:lnTo>
                <a:lnTo>
                  <a:pt x="3002" y="457"/>
                </a:lnTo>
                <a:close/>
                <a:moveTo>
                  <a:pt x="4258" y="501"/>
                </a:moveTo>
                <a:lnTo>
                  <a:pt x="4255" y="503"/>
                </a:lnTo>
                <a:lnTo>
                  <a:pt x="4256" y="504"/>
                </a:lnTo>
                <a:lnTo>
                  <a:pt x="4256" y="504"/>
                </a:lnTo>
                <a:lnTo>
                  <a:pt x="4258" y="503"/>
                </a:lnTo>
                <a:lnTo>
                  <a:pt x="4258" y="501"/>
                </a:lnTo>
                <a:close/>
                <a:moveTo>
                  <a:pt x="9389" y="1279"/>
                </a:moveTo>
                <a:lnTo>
                  <a:pt x="9387" y="1274"/>
                </a:lnTo>
                <a:lnTo>
                  <a:pt x="9386" y="1277"/>
                </a:lnTo>
                <a:lnTo>
                  <a:pt x="9386" y="1278"/>
                </a:lnTo>
                <a:lnTo>
                  <a:pt x="9386" y="1279"/>
                </a:lnTo>
                <a:lnTo>
                  <a:pt x="9389" y="1279"/>
                </a:lnTo>
                <a:close/>
                <a:moveTo>
                  <a:pt x="7022" y="928"/>
                </a:moveTo>
                <a:lnTo>
                  <a:pt x="7022" y="925"/>
                </a:lnTo>
                <a:lnTo>
                  <a:pt x="7022" y="924"/>
                </a:lnTo>
                <a:lnTo>
                  <a:pt x="7021" y="924"/>
                </a:lnTo>
                <a:lnTo>
                  <a:pt x="7019" y="925"/>
                </a:lnTo>
                <a:lnTo>
                  <a:pt x="7022" y="928"/>
                </a:lnTo>
                <a:close/>
                <a:moveTo>
                  <a:pt x="4314" y="599"/>
                </a:moveTo>
                <a:lnTo>
                  <a:pt x="4311" y="601"/>
                </a:lnTo>
                <a:lnTo>
                  <a:pt x="4311" y="601"/>
                </a:lnTo>
                <a:lnTo>
                  <a:pt x="4311" y="602"/>
                </a:lnTo>
                <a:lnTo>
                  <a:pt x="4312" y="605"/>
                </a:lnTo>
                <a:lnTo>
                  <a:pt x="4314" y="599"/>
                </a:lnTo>
                <a:close/>
                <a:moveTo>
                  <a:pt x="9559" y="1432"/>
                </a:moveTo>
                <a:lnTo>
                  <a:pt x="9561" y="1431"/>
                </a:lnTo>
                <a:lnTo>
                  <a:pt x="9561" y="1429"/>
                </a:lnTo>
                <a:lnTo>
                  <a:pt x="9561" y="1427"/>
                </a:lnTo>
                <a:lnTo>
                  <a:pt x="9558" y="1427"/>
                </a:lnTo>
                <a:lnTo>
                  <a:pt x="9557" y="1428"/>
                </a:lnTo>
                <a:lnTo>
                  <a:pt x="9557" y="1431"/>
                </a:lnTo>
                <a:lnTo>
                  <a:pt x="9558" y="1432"/>
                </a:lnTo>
                <a:lnTo>
                  <a:pt x="9559" y="1432"/>
                </a:lnTo>
                <a:close/>
                <a:moveTo>
                  <a:pt x="7725" y="846"/>
                </a:moveTo>
                <a:lnTo>
                  <a:pt x="7724" y="843"/>
                </a:lnTo>
                <a:lnTo>
                  <a:pt x="7724" y="841"/>
                </a:lnTo>
                <a:lnTo>
                  <a:pt x="7722" y="841"/>
                </a:lnTo>
                <a:lnTo>
                  <a:pt x="7719" y="843"/>
                </a:lnTo>
                <a:lnTo>
                  <a:pt x="7720" y="845"/>
                </a:lnTo>
                <a:lnTo>
                  <a:pt x="7720" y="846"/>
                </a:lnTo>
                <a:lnTo>
                  <a:pt x="7723" y="848"/>
                </a:lnTo>
                <a:lnTo>
                  <a:pt x="7725" y="846"/>
                </a:lnTo>
                <a:close/>
                <a:moveTo>
                  <a:pt x="8321" y="957"/>
                </a:moveTo>
                <a:lnTo>
                  <a:pt x="8323" y="955"/>
                </a:lnTo>
                <a:lnTo>
                  <a:pt x="8323" y="952"/>
                </a:lnTo>
                <a:lnTo>
                  <a:pt x="8323" y="951"/>
                </a:lnTo>
                <a:lnTo>
                  <a:pt x="8320" y="948"/>
                </a:lnTo>
                <a:lnTo>
                  <a:pt x="8318" y="950"/>
                </a:lnTo>
                <a:lnTo>
                  <a:pt x="8316" y="953"/>
                </a:lnTo>
                <a:lnTo>
                  <a:pt x="8318" y="956"/>
                </a:lnTo>
                <a:lnTo>
                  <a:pt x="8321" y="957"/>
                </a:lnTo>
                <a:close/>
                <a:moveTo>
                  <a:pt x="5955" y="916"/>
                </a:moveTo>
                <a:lnTo>
                  <a:pt x="5954" y="922"/>
                </a:lnTo>
                <a:lnTo>
                  <a:pt x="5953" y="925"/>
                </a:lnTo>
                <a:lnTo>
                  <a:pt x="5955" y="925"/>
                </a:lnTo>
                <a:lnTo>
                  <a:pt x="5960" y="922"/>
                </a:lnTo>
                <a:lnTo>
                  <a:pt x="5963" y="916"/>
                </a:lnTo>
                <a:lnTo>
                  <a:pt x="5962" y="914"/>
                </a:lnTo>
                <a:lnTo>
                  <a:pt x="5959" y="914"/>
                </a:lnTo>
                <a:lnTo>
                  <a:pt x="5955" y="916"/>
                </a:lnTo>
                <a:close/>
                <a:moveTo>
                  <a:pt x="5951" y="928"/>
                </a:moveTo>
                <a:lnTo>
                  <a:pt x="5951" y="927"/>
                </a:lnTo>
                <a:lnTo>
                  <a:pt x="5951" y="928"/>
                </a:lnTo>
                <a:lnTo>
                  <a:pt x="5951" y="928"/>
                </a:lnTo>
                <a:close/>
                <a:moveTo>
                  <a:pt x="9827" y="1308"/>
                </a:moveTo>
                <a:lnTo>
                  <a:pt x="9824" y="1305"/>
                </a:lnTo>
                <a:lnTo>
                  <a:pt x="9823" y="1307"/>
                </a:lnTo>
                <a:lnTo>
                  <a:pt x="9823" y="1310"/>
                </a:lnTo>
                <a:lnTo>
                  <a:pt x="9824" y="1310"/>
                </a:lnTo>
                <a:lnTo>
                  <a:pt x="9827" y="1308"/>
                </a:lnTo>
                <a:close/>
                <a:moveTo>
                  <a:pt x="9908" y="1308"/>
                </a:moveTo>
                <a:lnTo>
                  <a:pt x="9909" y="1306"/>
                </a:lnTo>
                <a:lnTo>
                  <a:pt x="9909" y="1303"/>
                </a:lnTo>
                <a:lnTo>
                  <a:pt x="9906" y="1302"/>
                </a:lnTo>
                <a:lnTo>
                  <a:pt x="9903" y="1305"/>
                </a:lnTo>
                <a:lnTo>
                  <a:pt x="9904" y="1308"/>
                </a:lnTo>
                <a:lnTo>
                  <a:pt x="9908" y="1308"/>
                </a:lnTo>
                <a:close/>
                <a:moveTo>
                  <a:pt x="6844" y="713"/>
                </a:moveTo>
                <a:lnTo>
                  <a:pt x="6842" y="714"/>
                </a:lnTo>
                <a:lnTo>
                  <a:pt x="6842" y="714"/>
                </a:lnTo>
                <a:lnTo>
                  <a:pt x="6842" y="715"/>
                </a:lnTo>
                <a:lnTo>
                  <a:pt x="6843" y="717"/>
                </a:lnTo>
                <a:lnTo>
                  <a:pt x="6844" y="713"/>
                </a:lnTo>
                <a:close/>
                <a:moveTo>
                  <a:pt x="9946" y="1312"/>
                </a:moveTo>
                <a:lnTo>
                  <a:pt x="9945" y="1312"/>
                </a:lnTo>
                <a:lnTo>
                  <a:pt x="9944" y="1312"/>
                </a:lnTo>
                <a:lnTo>
                  <a:pt x="9944" y="1314"/>
                </a:lnTo>
                <a:lnTo>
                  <a:pt x="9944" y="1316"/>
                </a:lnTo>
                <a:lnTo>
                  <a:pt x="9946" y="1312"/>
                </a:lnTo>
                <a:close/>
                <a:moveTo>
                  <a:pt x="3328" y="620"/>
                </a:moveTo>
                <a:lnTo>
                  <a:pt x="3324" y="617"/>
                </a:lnTo>
                <a:lnTo>
                  <a:pt x="3323" y="620"/>
                </a:lnTo>
                <a:lnTo>
                  <a:pt x="3323" y="622"/>
                </a:lnTo>
                <a:lnTo>
                  <a:pt x="3325" y="624"/>
                </a:lnTo>
                <a:lnTo>
                  <a:pt x="3327" y="622"/>
                </a:lnTo>
                <a:lnTo>
                  <a:pt x="3328" y="620"/>
                </a:lnTo>
                <a:close/>
                <a:moveTo>
                  <a:pt x="9501" y="1423"/>
                </a:moveTo>
                <a:lnTo>
                  <a:pt x="9503" y="1424"/>
                </a:lnTo>
                <a:lnTo>
                  <a:pt x="9504" y="1423"/>
                </a:lnTo>
                <a:lnTo>
                  <a:pt x="9506" y="1420"/>
                </a:lnTo>
                <a:lnTo>
                  <a:pt x="9506" y="1418"/>
                </a:lnTo>
                <a:lnTo>
                  <a:pt x="9503" y="1418"/>
                </a:lnTo>
                <a:lnTo>
                  <a:pt x="9501" y="1419"/>
                </a:lnTo>
                <a:lnTo>
                  <a:pt x="9501" y="1420"/>
                </a:lnTo>
                <a:lnTo>
                  <a:pt x="9501" y="1423"/>
                </a:lnTo>
                <a:close/>
                <a:moveTo>
                  <a:pt x="10767" y="1466"/>
                </a:moveTo>
                <a:lnTo>
                  <a:pt x="10764" y="1468"/>
                </a:lnTo>
                <a:lnTo>
                  <a:pt x="10764" y="1469"/>
                </a:lnTo>
                <a:lnTo>
                  <a:pt x="10765" y="1470"/>
                </a:lnTo>
                <a:lnTo>
                  <a:pt x="10767" y="1471"/>
                </a:lnTo>
                <a:lnTo>
                  <a:pt x="10767" y="1466"/>
                </a:lnTo>
                <a:close/>
                <a:moveTo>
                  <a:pt x="3083" y="532"/>
                </a:moveTo>
                <a:lnTo>
                  <a:pt x="3086" y="532"/>
                </a:lnTo>
                <a:lnTo>
                  <a:pt x="3087" y="529"/>
                </a:lnTo>
                <a:lnTo>
                  <a:pt x="3086" y="528"/>
                </a:lnTo>
                <a:lnTo>
                  <a:pt x="3085" y="527"/>
                </a:lnTo>
                <a:lnTo>
                  <a:pt x="3082" y="527"/>
                </a:lnTo>
                <a:lnTo>
                  <a:pt x="3082" y="529"/>
                </a:lnTo>
                <a:lnTo>
                  <a:pt x="3082" y="531"/>
                </a:lnTo>
                <a:lnTo>
                  <a:pt x="3083" y="532"/>
                </a:lnTo>
                <a:close/>
                <a:moveTo>
                  <a:pt x="8465" y="1177"/>
                </a:moveTo>
                <a:lnTo>
                  <a:pt x="8468" y="1176"/>
                </a:lnTo>
                <a:lnTo>
                  <a:pt x="8469" y="1175"/>
                </a:lnTo>
                <a:lnTo>
                  <a:pt x="8469" y="1172"/>
                </a:lnTo>
                <a:lnTo>
                  <a:pt x="8468" y="1170"/>
                </a:lnTo>
                <a:lnTo>
                  <a:pt x="8465" y="1171"/>
                </a:lnTo>
                <a:lnTo>
                  <a:pt x="8464" y="1172"/>
                </a:lnTo>
                <a:lnTo>
                  <a:pt x="8464" y="1175"/>
                </a:lnTo>
                <a:lnTo>
                  <a:pt x="8465" y="1177"/>
                </a:lnTo>
                <a:close/>
                <a:moveTo>
                  <a:pt x="3907" y="635"/>
                </a:moveTo>
                <a:lnTo>
                  <a:pt x="3904" y="634"/>
                </a:lnTo>
                <a:lnTo>
                  <a:pt x="3904" y="636"/>
                </a:lnTo>
                <a:lnTo>
                  <a:pt x="3905" y="638"/>
                </a:lnTo>
                <a:lnTo>
                  <a:pt x="3906" y="638"/>
                </a:lnTo>
                <a:lnTo>
                  <a:pt x="3907" y="635"/>
                </a:lnTo>
                <a:close/>
                <a:moveTo>
                  <a:pt x="5595" y="860"/>
                </a:moveTo>
                <a:lnTo>
                  <a:pt x="5595" y="863"/>
                </a:lnTo>
                <a:lnTo>
                  <a:pt x="5596" y="866"/>
                </a:lnTo>
                <a:lnTo>
                  <a:pt x="5600" y="864"/>
                </a:lnTo>
                <a:lnTo>
                  <a:pt x="5600" y="862"/>
                </a:lnTo>
                <a:lnTo>
                  <a:pt x="5599" y="859"/>
                </a:lnTo>
                <a:lnTo>
                  <a:pt x="5595" y="860"/>
                </a:lnTo>
                <a:close/>
                <a:moveTo>
                  <a:pt x="7618" y="1147"/>
                </a:moveTo>
                <a:lnTo>
                  <a:pt x="7618" y="1142"/>
                </a:lnTo>
                <a:lnTo>
                  <a:pt x="7616" y="1143"/>
                </a:lnTo>
                <a:lnTo>
                  <a:pt x="7616" y="1144"/>
                </a:lnTo>
                <a:lnTo>
                  <a:pt x="7616" y="1146"/>
                </a:lnTo>
                <a:lnTo>
                  <a:pt x="7618" y="1147"/>
                </a:lnTo>
                <a:close/>
                <a:moveTo>
                  <a:pt x="3099" y="461"/>
                </a:moveTo>
                <a:lnTo>
                  <a:pt x="3099" y="459"/>
                </a:lnTo>
                <a:lnTo>
                  <a:pt x="3099" y="456"/>
                </a:lnTo>
                <a:lnTo>
                  <a:pt x="3095" y="458"/>
                </a:lnTo>
                <a:lnTo>
                  <a:pt x="3095" y="461"/>
                </a:lnTo>
                <a:lnTo>
                  <a:pt x="3096" y="463"/>
                </a:lnTo>
                <a:lnTo>
                  <a:pt x="3099" y="461"/>
                </a:lnTo>
                <a:close/>
                <a:moveTo>
                  <a:pt x="4640" y="767"/>
                </a:moveTo>
                <a:lnTo>
                  <a:pt x="4640" y="764"/>
                </a:lnTo>
                <a:lnTo>
                  <a:pt x="4638" y="762"/>
                </a:lnTo>
                <a:lnTo>
                  <a:pt x="4637" y="762"/>
                </a:lnTo>
                <a:lnTo>
                  <a:pt x="4635" y="764"/>
                </a:lnTo>
                <a:lnTo>
                  <a:pt x="4635" y="766"/>
                </a:lnTo>
                <a:lnTo>
                  <a:pt x="4636" y="767"/>
                </a:lnTo>
                <a:lnTo>
                  <a:pt x="4637" y="767"/>
                </a:lnTo>
                <a:lnTo>
                  <a:pt x="4640" y="767"/>
                </a:lnTo>
                <a:close/>
                <a:moveTo>
                  <a:pt x="7513" y="1053"/>
                </a:moveTo>
                <a:lnTo>
                  <a:pt x="7510" y="1054"/>
                </a:lnTo>
                <a:lnTo>
                  <a:pt x="7508" y="1058"/>
                </a:lnTo>
                <a:lnTo>
                  <a:pt x="7506" y="1062"/>
                </a:lnTo>
                <a:lnTo>
                  <a:pt x="7505" y="1065"/>
                </a:lnTo>
                <a:lnTo>
                  <a:pt x="7510" y="1064"/>
                </a:lnTo>
                <a:lnTo>
                  <a:pt x="7515" y="1062"/>
                </a:lnTo>
                <a:lnTo>
                  <a:pt x="7517" y="1056"/>
                </a:lnTo>
                <a:lnTo>
                  <a:pt x="7513" y="1053"/>
                </a:lnTo>
                <a:close/>
                <a:moveTo>
                  <a:pt x="10927" y="1503"/>
                </a:moveTo>
                <a:lnTo>
                  <a:pt x="10922" y="1515"/>
                </a:lnTo>
                <a:lnTo>
                  <a:pt x="10916" y="1526"/>
                </a:lnTo>
                <a:lnTo>
                  <a:pt x="10923" y="1524"/>
                </a:lnTo>
                <a:lnTo>
                  <a:pt x="10927" y="1520"/>
                </a:lnTo>
                <a:lnTo>
                  <a:pt x="10927" y="1513"/>
                </a:lnTo>
                <a:lnTo>
                  <a:pt x="10927" y="1503"/>
                </a:lnTo>
                <a:close/>
                <a:moveTo>
                  <a:pt x="10927" y="1501"/>
                </a:moveTo>
                <a:lnTo>
                  <a:pt x="10927" y="1503"/>
                </a:lnTo>
                <a:lnTo>
                  <a:pt x="10928" y="1502"/>
                </a:lnTo>
                <a:lnTo>
                  <a:pt x="10927" y="1501"/>
                </a:lnTo>
                <a:close/>
                <a:moveTo>
                  <a:pt x="5594" y="976"/>
                </a:moveTo>
                <a:lnTo>
                  <a:pt x="5594" y="974"/>
                </a:lnTo>
                <a:lnTo>
                  <a:pt x="5594" y="970"/>
                </a:lnTo>
                <a:lnTo>
                  <a:pt x="5590" y="970"/>
                </a:lnTo>
                <a:lnTo>
                  <a:pt x="5588" y="972"/>
                </a:lnTo>
                <a:lnTo>
                  <a:pt x="5588" y="976"/>
                </a:lnTo>
                <a:lnTo>
                  <a:pt x="5594" y="976"/>
                </a:lnTo>
                <a:close/>
                <a:moveTo>
                  <a:pt x="7275" y="787"/>
                </a:moveTo>
                <a:lnTo>
                  <a:pt x="7272" y="788"/>
                </a:lnTo>
                <a:lnTo>
                  <a:pt x="7272" y="789"/>
                </a:lnTo>
                <a:lnTo>
                  <a:pt x="7272" y="790"/>
                </a:lnTo>
                <a:lnTo>
                  <a:pt x="7275" y="792"/>
                </a:lnTo>
                <a:lnTo>
                  <a:pt x="7275" y="789"/>
                </a:lnTo>
                <a:lnTo>
                  <a:pt x="7275" y="787"/>
                </a:lnTo>
                <a:close/>
                <a:moveTo>
                  <a:pt x="4907" y="797"/>
                </a:moveTo>
                <a:lnTo>
                  <a:pt x="4908" y="794"/>
                </a:lnTo>
                <a:lnTo>
                  <a:pt x="4908" y="793"/>
                </a:lnTo>
                <a:lnTo>
                  <a:pt x="4907" y="792"/>
                </a:lnTo>
                <a:lnTo>
                  <a:pt x="4906" y="790"/>
                </a:lnTo>
                <a:lnTo>
                  <a:pt x="4905" y="792"/>
                </a:lnTo>
                <a:lnTo>
                  <a:pt x="4903" y="794"/>
                </a:lnTo>
                <a:lnTo>
                  <a:pt x="4905" y="795"/>
                </a:lnTo>
                <a:lnTo>
                  <a:pt x="4907" y="797"/>
                </a:lnTo>
                <a:close/>
                <a:moveTo>
                  <a:pt x="8543" y="1209"/>
                </a:moveTo>
                <a:lnTo>
                  <a:pt x="8540" y="1205"/>
                </a:lnTo>
                <a:lnTo>
                  <a:pt x="8540" y="1208"/>
                </a:lnTo>
                <a:lnTo>
                  <a:pt x="8539" y="1209"/>
                </a:lnTo>
                <a:lnTo>
                  <a:pt x="8540" y="1210"/>
                </a:lnTo>
                <a:lnTo>
                  <a:pt x="8543" y="1209"/>
                </a:lnTo>
                <a:close/>
                <a:moveTo>
                  <a:pt x="4624" y="807"/>
                </a:moveTo>
                <a:lnTo>
                  <a:pt x="4624" y="804"/>
                </a:lnTo>
                <a:lnTo>
                  <a:pt x="4624" y="803"/>
                </a:lnTo>
                <a:lnTo>
                  <a:pt x="4622" y="802"/>
                </a:lnTo>
                <a:lnTo>
                  <a:pt x="4621" y="804"/>
                </a:lnTo>
                <a:lnTo>
                  <a:pt x="4621" y="806"/>
                </a:lnTo>
                <a:lnTo>
                  <a:pt x="4621" y="807"/>
                </a:lnTo>
                <a:lnTo>
                  <a:pt x="4622" y="808"/>
                </a:lnTo>
                <a:lnTo>
                  <a:pt x="4624" y="807"/>
                </a:lnTo>
                <a:close/>
                <a:moveTo>
                  <a:pt x="9503" y="1151"/>
                </a:moveTo>
                <a:lnTo>
                  <a:pt x="9502" y="1154"/>
                </a:lnTo>
                <a:lnTo>
                  <a:pt x="9504" y="1153"/>
                </a:lnTo>
                <a:lnTo>
                  <a:pt x="9504" y="1153"/>
                </a:lnTo>
                <a:lnTo>
                  <a:pt x="9504" y="1152"/>
                </a:lnTo>
                <a:lnTo>
                  <a:pt x="9503" y="1151"/>
                </a:lnTo>
                <a:close/>
                <a:moveTo>
                  <a:pt x="9661" y="1163"/>
                </a:moveTo>
                <a:lnTo>
                  <a:pt x="9661" y="1165"/>
                </a:lnTo>
                <a:lnTo>
                  <a:pt x="9661" y="1166"/>
                </a:lnTo>
                <a:lnTo>
                  <a:pt x="9662" y="1166"/>
                </a:lnTo>
                <a:lnTo>
                  <a:pt x="9664" y="1166"/>
                </a:lnTo>
                <a:lnTo>
                  <a:pt x="9661" y="1163"/>
                </a:lnTo>
                <a:close/>
                <a:moveTo>
                  <a:pt x="3369" y="612"/>
                </a:moveTo>
                <a:lnTo>
                  <a:pt x="3369" y="608"/>
                </a:lnTo>
                <a:lnTo>
                  <a:pt x="3367" y="605"/>
                </a:lnTo>
                <a:lnTo>
                  <a:pt x="3366" y="601"/>
                </a:lnTo>
                <a:lnTo>
                  <a:pt x="3364" y="598"/>
                </a:lnTo>
                <a:lnTo>
                  <a:pt x="3362" y="603"/>
                </a:lnTo>
                <a:lnTo>
                  <a:pt x="3364" y="607"/>
                </a:lnTo>
                <a:lnTo>
                  <a:pt x="3366" y="610"/>
                </a:lnTo>
                <a:lnTo>
                  <a:pt x="3369" y="612"/>
                </a:lnTo>
                <a:close/>
                <a:moveTo>
                  <a:pt x="3192" y="573"/>
                </a:moveTo>
                <a:lnTo>
                  <a:pt x="3193" y="571"/>
                </a:lnTo>
                <a:lnTo>
                  <a:pt x="3193" y="569"/>
                </a:lnTo>
                <a:lnTo>
                  <a:pt x="3193" y="568"/>
                </a:lnTo>
                <a:lnTo>
                  <a:pt x="3190" y="565"/>
                </a:lnTo>
                <a:lnTo>
                  <a:pt x="3188" y="568"/>
                </a:lnTo>
                <a:lnTo>
                  <a:pt x="3187" y="570"/>
                </a:lnTo>
                <a:lnTo>
                  <a:pt x="3188" y="573"/>
                </a:lnTo>
                <a:lnTo>
                  <a:pt x="3192" y="573"/>
                </a:lnTo>
                <a:close/>
                <a:moveTo>
                  <a:pt x="3679" y="620"/>
                </a:moveTo>
                <a:lnTo>
                  <a:pt x="3678" y="621"/>
                </a:lnTo>
                <a:lnTo>
                  <a:pt x="3678" y="622"/>
                </a:lnTo>
                <a:lnTo>
                  <a:pt x="3678" y="624"/>
                </a:lnTo>
                <a:lnTo>
                  <a:pt x="3681" y="624"/>
                </a:lnTo>
                <a:lnTo>
                  <a:pt x="3679" y="620"/>
                </a:lnTo>
                <a:close/>
                <a:moveTo>
                  <a:pt x="11170" y="1921"/>
                </a:moveTo>
                <a:lnTo>
                  <a:pt x="11173" y="1922"/>
                </a:lnTo>
                <a:lnTo>
                  <a:pt x="11174" y="1921"/>
                </a:lnTo>
                <a:lnTo>
                  <a:pt x="11175" y="1919"/>
                </a:lnTo>
                <a:lnTo>
                  <a:pt x="11174" y="1916"/>
                </a:lnTo>
                <a:lnTo>
                  <a:pt x="11171" y="1914"/>
                </a:lnTo>
                <a:lnTo>
                  <a:pt x="11168" y="1916"/>
                </a:lnTo>
                <a:lnTo>
                  <a:pt x="11166" y="1918"/>
                </a:lnTo>
                <a:lnTo>
                  <a:pt x="11170" y="1921"/>
                </a:lnTo>
                <a:close/>
                <a:moveTo>
                  <a:pt x="11280" y="1707"/>
                </a:moveTo>
                <a:lnTo>
                  <a:pt x="11277" y="1706"/>
                </a:lnTo>
                <a:lnTo>
                  <a:pt x="11276" y="1704"/>
                </a:lnTo>
                <a:lnTo>
                  <a:pt x="11273" y="1704"/>
                </a:lnTo>
                <a:lnTo>
                  <a:pt x="11272" y="1707"/>
                </a:lnTo>
                <a:lnTo>
                  <a:pt x="11273" y="1711"/>
                </a:lnTo>
                <a:lnTo>
                  <a:pt x="11276" y="1712"/>
                </a:lnTo>
                <a:lnTo>
                  <a:pt x="11278" y="1712"/>
                </a:lnTo>
                <a:lnTo>
                  <a:pt x="11280" y="1707"/>
                </a:lnTo>
                <a:close/>
                <a:moveTo>
                  <a:pt x="11399" y="1637"/>
                </a:moveTo>
                <a:lnTo>
                  <a:pt x="11396" y="1638"/>
                </a:lnTo>
                <a:lnTo>
                  <a:pt x="11393" y="1638"/>
                </a:lnTo>
                <a:lnTo>
                  <a:pt x="11392" y="1639"/>
                </a:lnTo>
                <a:lnTo>
                  <a:pt x="11392" y="1642"/>
                </a:lnTo>
                <a:lnTo>
                  <a:pt x="11396" y="1642"/>
                </a:lnTo>
                <a:lnTo>
                  <a:pt x="11398" y="1642"/>
                </a:lnTo>
                <a:lnTo>
                  <a:pt x="11399" y="1641"/>
                </a:lnTo>
                <a:lnTo>
                  <a:pt x="11399" y="1637"/>
                </a:lnTo>
                <a:close/>
                <a:moveTo>
                  <a:pt x="9451" y="1429"/>
                </a:moveTo>
                <a:lnTo>
                  <a:pt x="9454" y="1426"/>
                </a:lnTo>
                <a:lnTo>
                  <a:pt x="9454" y="1422"/>
                </a:lnTo>
                <a:lnTo>
                  <a:pt x="9451" y="1418"/>
                </a:lnTo>
                <a:lnTo>
                  <a:pt x="9450" y="1415"/>
                </a:lnTo>
                <a:lnTo>
                  <a:pt x="9447" y="1419"/>
                </a:lnTo>
                <a:lnTo>
                  <a:pt x="9446" y="1426"/>
                </a:lnTo>
                <a:lnTo>
                  <a:pt x="9447" y="1429"/>
                </a:lnTo>
                <a:lnTo>
                  <a:pt x="9451" y="1429"/>
                </a:lnTo>
                <a:close/>
                <a:moveTo>
                  <a:pt x="10987" y="1494"/>
                </a:moveTo>
                <a:lnTo>
                  <a:pt x="10991" y="1493"/>
                </a:lnTo>
                <a:lnTo>
                  <a:pt x="10992" y="1489"/>
                </a:lnTo>
                <a:lnTo>
                  <a:pt x="10991" y="1485"/>
                </a:lnTo>
                <a:lnTo>
                  <a:pt x="10988" y="1483"/>
                </a:lnTo>
                <a:lnTo>
                  <a:pt x="10984" y="1485"/>
                </a:lnTo>
                <a:lnTo>
                  <a:pt x="10982" y="1488"/>
                </a:lnTo>
                <a:lnTo>
                  <a:pt x="10983" y="1492"/>
                </a:lnTo>
                <a:lnTo>
                  <a:pt x="10987" y="1494"/>
                </a:lnTo>
                <a:close/>
                <a:moveTo>
                  <a:pt x="10898" y="1489"/>
                </a:moveTo>
                <a:lnTo>
                  <a:pt x="10899" y="1488"/>
                </a:lnTo>
                <a:lnTo>
                  <a:pt x="10899" y="1485"/>
                </a:lnTo>
                <a:lnTo>
                  <a:pt x="10899" y="1484"/>
                </a:lnTo>
                <a:lnTo>
                  <a:pt x="10896" y="1483"/>
                </a:lnTo>
                <a:lnTo>
                  <a:pt x="10895" y="1484"/>
                </a:lnTo>
                <a:lnTo>
                  <a:pt x="10895" y="1487"/>
                </a:lnTo>
                <a:lnTo>
                  <a:pt x="10896" y="1488"/>
                </a:lnTo>
                <a:lnTo>
                  <a:pt x="10898" y="1489"/>
                </a:lnTo>
                <a:close/>
                <a:moveTo>
                  <a:pt x="10303" y="1464"/>
                </a:moveTo>
                <a:lnTo>
                  <a:pt x="10303" y="1465"/>
                </a:lnTo>
                <a:lnTo>
                  <a:pt x="10303" y="1465"/>
                </a:lnTo>
                <a:lnTo>
                  <a:pt x="10303" y="1465"/>
                </a:lnTo>
                <a:lnTo>
                  <a:pt x="10303" y="1464"/>
                </a:lnTo>
                <a:close/>
                <a:moveTo>
                  <a:pt x="10300" y="1441"/>
                </a:moveTo>
                <a:lnTo>
                  <a:pt x="10299" y="1440"/>
                </a:lnTo>
                <a:lnTo>
                  <a:pt x="10297" y="1440"/>
                </a:lnTo>
                <a:lnTo>
                  <a:pt x="10297" y="1454"/>
                </a:lnTo>
                <a:lnTo>
                  <a:pt x="10300" y="1460"/>
                </a:lnTo>
                <a:lnTo>
                  <a:pt x="10303" y="1456"/>
                </a:lnTo>
                <a:lnTo>
                  <a:pt x="10300" y="1441"/>
                </a:lnTo>
                <a:close/>
                <a:moveTo>
                  <a:pt x="9748" y="1370"/>
                </a:moveTo>
                <a:lnTo>
                  <a:pt x="9750" y="1372"/>
                </a:lnTo>
                <a:lnTo>
                  <a:pt x="9753" y="1373"/>
                </a:lnTo>
                <a:lnTo>
                  <a:pt x="9755" y="1372"/>
                </a:lnTo>
                <a:lnTo>
                  <a:pt x="9757" y="1368"/>
                </a:lnTo>
                <a:lnTo>
                  <a:pt x="9753" y="1363"/>
                </a:lnTo>
                <a:lnTo>
                  <a:pt x="9749" y="1362"/>
                </a:lnTo>
                <a:lnTo>
                  <a:pt x="9746" y="1364"/>
                </a:lnTo>
                <a:lnTo>
                  <a:pt x="9748" y="1370"/>
                </a:lnTo>
                <a:close/>
                <a:moveTo>
                  <a:pt x="7556" y="1147"/>
                </a:moveTo>
                <a:lnTo>
                  <a:pt x="7559" y="1143"/>
                </a:lnTo>
                <a:lnTo>
                  <a:pt x="7559" y="1140"/>
                </a:lnTo>
                <a:lnTo>
                  <a:pt x="7556" y="1137"/>
                </a:lnTo>
                <a:lnTo>
                  <a:pt x="7555" y="1133"/>
                </a:lnTo>
                <a:lnTo>
                  <a:pt x="7552" y="1137"/>
                </a:lnTo>
                <a:lnTo>
                  <a:pt x="7552" y="1139"/>
                </a:lnTo>
                <a:lnTo>
                  <a:pt x="7553" y="1143"/>
                </a:lnTo>
                <a:lnTo>
                  <a:pt x="7556" y="1147"/>
                </a:lnTo>
                <a:close/>
                <a:moveTo>
                  <a:pt x="8315" y="1184"/>
                </a:moveTo>
                <a:lnTo>
                  <a:pt x="8314" y="1184"/>
                </a:lnTo>
                <a:lnTo>
                  <a:pt x="8314" y="1185"/>
                </a:lnTo>
                <a:lnTo>
                  <a:pt x="8315" y="1184"/>
                </a:lnTo>
                <a:close/>
                <a:moveTo>
                  <a:pt x="8316" y="1157"/>
                </a:moveTo>
                <a:lnTo>
                  <a:pt x="8316" y="1158"/>
                </a:lnTo>
                <a:lnTo>
                  <a:pt x="8316" y="1158"/>
                </a:lnTo>
                <a:lnTo>
                  <a:pt x="8316" y="1157"/>
                </a:lnTo>
                <a:close/>
                <a:moveTo>
                  <a:pt x="8307" y="1162"/>
                </a:moveTo>
                <a:lnTo>
                  <a:pt x="8305" y="1166"/>
                </a:lnTo>
                <a:lnTo>
                  <a:pt x="8304" y="1170"/>
                </a:lnTo>
                <a:lnTo>
                  <a:pt x="8304" y="1174"/>
                </a:lnTo>
                <a:lnTo>
                  <a:pt x="8306" y="1179"/>
                </a:lnTo>
                <a:lnTo>
                  <a:pt x="8312" y="1181"/>
                </a:lnTo>
                <a:lnTo>
                  <a:pt x="8316" y="1171"/>
                </a:lnTo>
                <a:lnTo>
                  <a:pt x="8315" y="1161"/>
                </a:lnTo>
                <a:lnTo>
                  <a:pt x="8307" y="1162"/>
                </a:lnTo>
                <a:close/>
                <a:moveTo>
                  <a:pt x="6845" y="1056"/>
                </a:moveTo>
                <a:lnTo>
                  <a:pt x="6847" y="1055"/>
                </a:lnTo>
                <a:lnTo>
                  <a:pt x="6848" y="1053"/>
                </a:lnTo>
                <a:lnTo>
                  <a:pt x="6847" y="1051"/>
                </a:lnTo>
                <a:lnTo>
                  <a:pt x="6844" y="1050"/>
                </a:lnTo>
                <a:lnTo>
                  <a:pt x="6843" y="1053"/>
                </a:lnTo>
                <a:lnTo>
                  <a:pt x="6843" y="1054"/>
                </a:lnTo>
                <a:lnTo>
                  <a:pt x="6844" y="1056"/>
                </a:lnTo>
                <a:lnTo>
                  <a:pt x="6845" y="1056"/>
                </a:lnTo>
                <a:close/>
                <a:moveTo>
                  <a:pt x="6821" y="1007"/>
                </a:moveTo>
                <a:lnTo>
                  <a:pt x="6822" y="1003"/>
                </a:lnTo>
                <a:lnTo>
                  <a:pt x="6821" y="1000"/>
                </a:lnTo>
                <a:lnTo>
                  <a:pt x="6817" y="1000"/>
                </a:lnTo>
                <a:lnTo>
                  <a:pt x="6814" y="1003"/>
                </a:lnTo>
                <a:lnTo>
                  <a:pt x="6815" y="1006"/>
                </a:lnTo>
                <a:lnTo>
                  <a:pt x="6817" y="1008"/>
                </a:lnTo>
                <a:lnTo>
                  <a:pt x="6819" y="1008"/>
                </a:lnTo>
                <a:lnTo>
                  <a:pt x="6821" y="1007"/>
                </a:lnTo>
                <a:close/>
                <a:moveTo>
                  <a:pt x="5534" y="860"/>
                </a:moveTo>
                <a:lnTo>
                  <a:pt x="5539" y="857"/>
                </a:lnTo>
                <a:lnTo>
                  <a:pt x="5541" y="853"/>
                </a:lnTo>
                <a:lnTo>
                  <a:pt x="5539" y="852"/>
                </a:lnTo>
                <a:lnTo>
                  <a:pt x="5532" y="855"/>
                </a:lnTo>
                <a:lnTo>
                  <a:pt x="5534" y="857"/>
                </a:lnTo>
                <a:lnTo>
                  <a:pt x="5534" y="860"/>
                </a:lnTo>
                <a:close/>
                <a:moveTo>
                  <a:pt x="5080" y="792"/>
                </a:moveTo>
                <a:lnTo>
                  <a:pt x="5079" y="787"/>
                </a:lnTo>
                <a:lnTo>
                  <a:pt x="5077" y="785"/>
                </a:lnTo>
                <a:lnTo>
                  <a:pt x="5073" y="785"/>
                </a:lnTo>
                <a:lnTo>
                  <a:pt x="5071" y="789"/>
                </a:lnTo>
                <a:lnTo>
                  <a:pt x="5073" y="795"/>
                </a:lnTo>
                <a:lnTo>
                  <a:pt x="5075" y="797"/>
                </a:lnTo>
                <a:lnTo>
                  <a:pt x="5077" y="795"/>
                </a:lnTo>
                <a:lnTo>
                  <a:pt x="5080" y="792"/>
                </a:lnTo>
                <a:close/>
                <a:moveTo>
                  <a:pt x="4576" y="750"/>
                </a:moveTo>
                <a:lnTo>
                  <a:pt x="4579" y="746"/>
                </a:lnTo>
                <a:lnTo>
                  <a:pt x="4579" y="742"/>
                </a:lnTo>
                <a:lnTo>
                  <a:pt x="4577" y="739"/>
                </a:lnTo>
                <a:lnTo>
                  <a:pt x="4573" y="739"/>
                </a:lnTo>
                <a:lnTo>
                  <a:pt x="4571" y="742"/>
                </a:lnTo>
                <a:lnTo>
                  <a:pt x="4571" y="746"/>
                </a:lnTo>
                <a:lnTo>
                  <a:pt x="4572" y="750"/>
                </a:lnTo>
                <a:lnTo>
                  <a:pt x="4576" y="750"/>
                </a:lnTo>
                <a:close/>
                <a:moveTo>
                  <a:pt x="3724" y="664"/>
                </a:moveTo>
                <a:lnTo>
                  <a:pt x="3720" y="664"/>
                </a:lnTo>
                <a:lnTo>
                  <a:pt x="3719" y="667"/>
                </a:lnTo>
                <a:lnTo>
                  <a:pt x="3719" y="671"/>
                </a:lnTo>
                <a:lnTo>
                  <a:pt x="3719" y="675"/>
                </a:lnTo>
                <a:lnTo>
                  <a:pt x="3724" y="675"/>
                </a:lnTo>
                <a:lnTo>
                  <a:pt x="3727" y="672"/>
                </a:lnTo>
                <a:lnTo>
                  <a:pt x="3728" y="669"/>
                </a:lnTo>
                <a:lnTo>
                  <a:pt x="3724" y="664"/>
                </a:lnTo>
                <a:close/>
                <a:moveTo>
                  <a:pt x="6788" y="862"/>
                </a:moveTo>
                <a:lnTo>
                  <a:pt x="6787" y="862"/>
                </a:lnTo>
                <a:lnTo>
                  <a:pt x="6788" y="862"/>
                </a:lnTo>
                <a:lnTo>
                  <a:pt x="6787" y="860"/>
                </a:lnTo>
                <a:lnTo>
                  <a:pt x="6788" y="862"/>
                </a:lnTo>
                <a:close/>
                <a:moveTo>
                  <a:pt x="6798" y="878"/>
                </a:moveTo>
                <a:lnTo>
                  <a:pt x="6802" y="877"/>
                </a:lnTo>
                <a:lnTo>
                  <a:pt x="6802" y="874"/>
                </a:lnTo>
                <a:lnTo>
                  <a:pt x="6801" y="871"/>
                </a:lnTo>
                <a:lnTo>
                  <a:pt x="6800" y="868"/>
                </a:lnTo>
                <a:lnTo>
                  <a:pt x="6791" y="863"/>
                </a:lnTo>
                <a:lnTo>
                  <a:pt x="6789" y="866"/>
                </a:lnTo>
                <a:lnTo>
                  <a:pt x="6792" y="872"/>
                </a:lnTo>
                <a:lnTo>
                  <a:pt x="6798" y="878"/>
                </a:lnTo>
                <a:close/>
                <a:moveTo>
                  <a:pt x="3844" y="643"/>
                </a:moveTo>
                <a:lnTo>
                  <a:pt x="3845" y="640"/>
                </a:lnTo>
                <a:lnTo>
                  <a:pt x="3845" y="638"/>
                </a:lnTo>
                <a:lnTo>
                  <a:pt x="3844" y="634"/>
                </a:lnTo>
                <a:lnTo>
                  <a:pt x="3843" y="633"/>
                </a:lnTo>
                <a:lnTo>
                  <a:pt x="3837" y="634"/>
                </a:lnTo>
                <a:lnTo>
                  <a:pt x="3837" y="638"/>
                </a:lnTo>
                <a:lnTo>
                  <a:pt x="3839" y="641"/>
                </a:lnTo>
                <a:lnTo>
                  <a:pt x="3844" y="643"/>
                </a:lnTo>
                <a:close/>
                <a:moveTo>
                  <a:pt x="3752" y="634"/>
                </a:moveTo>
                <a:lnTo>
                  <a:pt x="3753" y="631"/>
                </a:lnTo>
                <a:lnTo>
                  <a:pt x="3753" y="630"/>
                </a:lnTo>
                <a:lnTo>
                  <a:pt x="3753" y="627"/>
                </a:lnTo>
                <a:lnTo>
                  <a:pt x="3751" y="626"/>
                </a:lnTo>
                <a:lnTo>
                  <a:pt x="3750" y="629"/>
                </a:lnTo>
                <a:lnTo>
                  <a:pt x="3748" y="631"/>
                </a:lnTo>
                <a:lnTo>
                  <a:pt x="3750" y="633"/>
                </a:lnTo>
                <a:lnTo>
                  <a:pt x="3752" y="634"/>
                </a:lnTo>
                <a:close/>
                <a:moveTo>
                  <a:pt x="8412" y="998"/>
                </a:moveTo>
                <a:lnTo>
                  <a:pt x="8414" y="995"/>
                </a:lnTo>
                <a:lnTo>
                  <a:pt x="8414" y="990"/>
                </a:lnTo>
                <a:lnTo>
                  <a:pt x="8413" y="986"/>
                </a:lnTo>
                <a:lnTo>
                  <a:pt x="8411" y="984"/>
                </a:lnTo>
                <a:lnTo>
                  <a:pt x="8407" y="985"/>
                </a:lnTo>
                <a:lnTo>
                  <a:pt x="8405" y="989"/>
                </a:lnTo>
                <a:lnTo>
                  <a:pt x="8408" y="994"/>
                </a:lnTo>
                <a:lnTo>
                  <a:pt x="8412" y="998"/>
                </a:lnTo>
                <a:close/>
                <a:moveTo>
                  <a:pt x="6219" y="799"/>
                </a:moveTo>
                <a:lnTo>
                  <a:pt x="6219" y="795"/>
                </a:lnTo>
                <a:lnTo>
                  <a:pt x="6218" y="793"/>
                </a:lnTo>
                <a:lnTo>
                  <a:pt x="6214" y="793"/>
                </a:lnTo>
                <a:lnTo>
                  <a:pt x="6210" y="794"/>
                </a:lnTo>
                <a:lnTo>
                  <a:pt x="6211" y="797"/>
                </a:lnTo>
                <a:lnTo>
                  <a:pt x="6214" y="801"/>
                </a:lnTo>
                <a:lnTo>
                  <a:pt x="6215" y="802"/>
                </a:lnTo>
                <a:lnTo>
                  <a:pt x="6219" y="799"/>
                </a:lnTo>
                <a:close/>
                <a:moveTo>
                  <a:pt x="5909" y="776"/>
                </a:moveTo>
                <a:lnTo>
                  <a:pt x="5908" y="774"/>
                </a:lnTo>
                <a:lnTo>
                  <a:pt x="5907" y="773"/>
                </a:lnTo>
                <a:lnTo>
                  <a:pt x="5904" y="774"/>
                </a:lnTo>
                <a:lnTo>
                  <a:pt x="5900" y="776"/>
                </a:lnTo>
                <a:lnTo>
                  <a:pt x="5900" y="780"/>
                </a:lnTo>
                <a:lnTo>
                  <a:pt x="5903" y="780"/>
                </a:lnTo>
                <a:lnTo>
                  <a:pt x="5906" y="779"/>
                </a:lnTo>
                <a:lnTo>
                  <a:pt x="5909" y="776"/>
                </a:lnTo>
                <a:close/>
                <a:moveTo>
                  <a:pt x="5038" y="696"/>
                </a:moveTo>
                <a:lnTo>
                  <a:pt x="5040" y="694"/>
                </a:lnTo>
                <a:lnTo>
                  <a:pt x="5041" y="691"/>
                </a:lnTo>
                <a:lnTo>
                  <a:pt x="5040" y="685"/>
                </a:lnTo>
                <a:lnTo>
                  <a:pt x="5036" y="687"/>
                </a:lnTo>
                <a:lnTo>
                  <a:pt x="5033" y="694"/>
                </a:lnTo>
                <a:lnTo>
                  <a:pt x="5038" y="696"/>
                </a:lnTo>
                <a:close/>
                <a:moveTo>
                  <a:pt x="4805" y="659"/>
                </a:moveTo>
                <a:lnTo>
                  <a:pt x="4803" y="658"/>
                </a:lnTo>
                <a:lnTo>
                  <a:pt x="4801" y="658"/>
                </a:lnTo>
                <a:lnTo>
                  <a:pt x="4800" y="659"/>
                </a:lnTo>
                <a:lnTo>
                  <a:pt x="4799" y="662"/>
                </a:lnTo>
                <a:lnTo>
                  <a:pt x="4801" y="664"/>
                </a:lnTo>
                <a:lnTo>
                  <a:pt x="4803" y="664"/>
                </a:lnTo>
                <a:lnTo>
                  <a:pt x="4804" y="663"/>
                </a:lnTo>
                <a:lnTo>
                  <a:pt x="4805" y="659"/>
                </a:lnTo>
                <a:close/>
                <a:moveTo>
                  <a:pt x="4219" y="605"/>
                </a:moveTo>
                <a:lnTo>
                  <a:pt x="4222" y="601"/>
                </a:lnTo>
                <a:lnTo>
                  <a:pt x="4223" y="597"/>
                </a:lnTo>
                <a:lnTo>
                  <a:pt x="4223" y="592"/>
                </a:lnTo>
                <a:lnTo>
                  <a:pt x="4223" y="588"/>
                </a:lnTo>
                <a:lnTo>
                  <a:pt x="4217" y="592"/>
                </a:lnTo>
                <a:lnTo>
                  <a:pt x="4213" y="597"/>
                </a:lnTo>
                <a:lnTo>
                  <a:pt x="4214" y="602"/>
                </a:lnTo>
                <a:lnTo>
                  <a:pt x="4219" y="605"/>
                </a:lnTo>
                <a:close/>
                <a:moveTo>
                  <a:pt x="4223" y="587"/>
                </a:moveTo>
                <a:lnTo>
                  <a:pt x="4223" y="588"/>
                </a:lnTo>
                <a:lnTo>
                  <a:pt x="4223" y="588"/>
                </a:lnTo>
                <a:lnTo>
                  <a:pt x="4223" y="587"/>
                </a:lnTo>
                <a:close/>
                <a:moveTo>
                  <a:pt x="3455" y="535"/>
                </a:moveTo>
                <a:lnTo>
                  <a:pt x="3455" y="531"/>
                </a:lnTo>
                <a:lnTo>
                  <a:pt x="3453" y="528"/>
                </a:lnTo>
                <a:lnTo>
                  <a:pt x="3449" y="528"/>
                </a:lnTo>
                <a:lnTo>
                  <a:pt x="3445" y="528"/>
                </a:lnTo>
                <a:lnTo>
                  <a:pt x="3445" y="532"/>
                </a:lnTo>
                <a:lnTo>
                  <a:pt x="3448" y="536"/>
                </a:lnTo>
                <a:lnTo>
                  <a:pt x="3452" y="537"/>
                </a:lnTo>
                <a:lnTo>
                  <a:pt x="3455" y="535"/>
                </a:lnTo>
                <a:close/>
                <a:moveTo>
                  <a:pt x="2900" y="479"/>
                </a:moveTo>
                <a:lnTo>
                  <a:pt x="2904" y="479"/>
                </a:lnTo>
                <a:lnTo>
                  <a:pt x="2905" y="477"/>
                </a:lnTo>
                <a:lnTo>
                  <a:pt x="2906" y="476"/>
                </a:lnTo>
                <a:lnTo>
                  <a:pt x="2905" y="472"/>
                </a:lnTo>
                <a:lnTo>
                  <a:pt x="2903" y="471"/>
                </a:lnTo>
                <a:lnTo>
                  <a:pt x="2899" y="472"/>
                </a:lnTo>
                <a:lnTo>
                  <a:pt x="2898" y="475"/>
                </a:lnTo>
                <a:lnTo>
                  <a:pt x="2900" y="479"/>
                </a:lnTo>
                <a:close/>
                <a:moveTo>
                  <a:pt x="2636" y="433"/>
                </a:moveTo>
                <a:lnTo>
                  <a:pt x="2634" y="434"/>
                </a:lnTo>
                <a:lnTo>
                  <a:pt x="2631" y="438"/>
                </a:lnTo>
                <a:lnTo>
                  <a:pt x="2630" y="442"/>
                </a:lnTo>
                <a:lnTo>
                  <a:pt x="2629" y="445"/>
                </a:lnTo>
                <a:lnTo>
                  <a:pt x="2633" y="443"/>
                </a:lnTo>
                <a:lnTo>
                  <a:pt x="2638" y="439"/>
                </a:lnTo>
                <a:lnTo>
                  <a:pt x="2639" y="435"/>
                </a:lnTo>
                <a:lnTo>
                  <a:pt x="2636" y="433"/>
                </a:lnTo>
                <a:close/>
                <a:moveTo>
                  <a:pt x="2628" y="447"/>
                </a:moveTo>
                <a:lnTo>
                  <a:pt x="2628" y="445"/>
                </a:lnTo>
                <a:lnTo>
                  <a:pt x="2628" y="445"/>
                </a:lnTo>
                <a:lnTo>
                  <a:pt x="2628" y="447"/>
                </a:lnTo>
                <a:lnTo>
                  <a:pt x="2628" y="447"/>
                </a:lnTo>
                <a:close/>
                <a:moveTo>
                  <a:pt x="3637" y="501"/>
                </a:moveTo>
                <a:lnTo>
                  <a:pt x="3637" y="499"/>
                </a:lnTo>
                <a:lnTo>
                  <a:pt x="3636" y="495"/>
                </a:lnTo>
                <a:lnTo>
                  <a:pt x="3632" y="498"/>
                </a:lnTo>
                <a:lnTo>
                  <a:pt x="3632" y="500"/>
                </a:lnTo>
                <a:lnTo>
                  <a:pt x="3634" y="503"/>
                </a:lnTo>
                <a:lnTo>
                  <a:pt x="3637" y="501"/>
                </a:lnTo>
                <a:close/>
                <a:moveTo>
                  <a:pt x="6924" y="737"/>
                </a:moveTo>
                <a:lnTo>
                  <a:pt x="6922" y="732"/>
                </a:lnTo>
                <a:lnTo>
                  <a:pt x="6918" y="731"/>
                </a:lnTo>
                <a:lnTo>
                  <a:pt x="6915" y="732"/>
                </a:lnTo>
                <a:lnTo>
                  <a:pt x="6913" y="737"/>
                </a:lnTo>
                <a:lnTo>
                  <a:pt x="6915" y="742"/>
                </a:lnTo>
                <a:lnTo>
                  <a:pt x="6918" y="743"/>
                </a:lnTo>
                <a:lnTo>
                  <a:pt x="6922" y="742"/>
                </a:lnTo>
                <a:lnTo>
                  <a:pt x="6924" y="737"/>
                </a:lnTo>
                <a:close/>
                <a:moveTo>
                  <a:pt x="2337" y="373"/>
                </a:moveTo>
                <a:lnTo>
                  <a:pt x="2338" y="372"/>
                </a:lnTo>
                <a:lnTo>
                  <a:pt x="2338" y="369"/>
                </a:lnTo>
                <a:lnTo>
                  <a:pt x="2338" y="367"/>
                </a:lnTo>
                <a:lnTo>
                  <a:pt x="2336" y="365"/>
                </a:lnTo>
                <a:lnTo>
                  <a:pt x="2333" y="365"/>
                </a:lnTo>
                <a:lnTo>
                  <a:pt x="2332" y="369"/>
                </a:lnTo>
                <a:lnTo>
                  <a:pt x="2333" y="373"/>
                </a:lnTo>
                <a:lnTo>
                  <a:pt x="2337" y="373"/>
                </a:lnTo>
                <a:close/>
                <a:moveTo>
                  <a:pt x="5496" y="593"/>
                </a:moveTo>
                <a:lnTo>
                  <a:pt x="5501" y="591"/>
                </a:lnTo>
                <a:lnTo>
                  <a:pt x="5501" y="585"/>
                </a:lnTo>
                <a:lnTo>
                  <a:pt x="5497" y="582"/>
                </a:lnTo>
                <a:lnTo>
                  <a:pt x="5493" y="580"/>
                </a:lnTo>
                <a:lnTo>
                  <a:pt x="5489" y="583"/>
                </a:lnTo>
                <a:lnTo>
                  <a:pt x="5489" y="588"/>
                </a:lnTo>
                <a:lnTo>
                  <a:pt x="5492" y="592"/>
                </a:lnTo>
                <a:lnTo>
                  <a:pt x="5496" y="593"/>
                </a:lnTo>
                <a:close/>
                <a:moveTo>
                  <a:pt x="7710" y="1044"/>
                </a:moveTo>
                <a:lnTo>
                  <a:pt x="7705" y="1049"/>
                </a:lnTo>
                <a:lnTo>
                  <a:pt x="7708" y="1053"/>
                </a:lnTo>
                <a:lnTo>
                  <a:pt x="7714" y="1054"/>
                </a:lnTo>
                <a:lnTo>
                  <a:pt x="7720" y="1051"/>
                </a:lnTo>
                <a:lnTo>
                  <a:pt x="7720" y="1048"/>
                </a:lnTo>
                <a:lnTo>
                  <a:pt x="7718" y="1045"/>
                </a:lnTo>
                <a:lnTo>
                  <a:pt x="7714" y="1044"/>
                </a:lnTo>
                <a:lnTo>
                  <a:pt x="7710" y="1044"/>
                </a:lnTo>
                <a:close/>
                <a:moveTo>
                  <a:pt x="8850" y="1319"/>
                </a:moveTo>
                <a:lnTo>
                  <a:pt x="8850" y="1325"/>
                </a:lnTo>
                <a:lnTo>
                  <a:pt x="8851" y="1330"/>
                </a:lnTo>
                <a:lnTo>
                  <a:pt x="8860" y="1330"/>
                </a:lnTo>
                <a:lnTo>
                  <a:pt x="8860" y="1321"/>
                </a:lnTo>
                <a:lnTo>
                  <a:pt x="8855" y="1314"/>
                </a:lnTo>
                <a:lnTo>
                  <a:pt x="8850" y="1319"/>
                </a:lnTo>
                <a:close/>
                <a:moveTo>
                  <a:pt x="6901" y="1031"/>
                </a:moveTo>
                <a:lnTo>
                  <a:pt x="6904" y="1026"/>
                </a:lnTo>
                <a:lnTo>
                  <a:pt x="6908" y="1021"/>
                </a:lnTo>
                <a:lnTo>
                  <a:pt x="6909" y="1016"/>
                </a:lnTo>
                <a:lnTo>
                  <a:pt x="6909" y="1011"/>
                </a:lnTo>
                <a:lnTo>
                  <a:pt x="6901" y="1007"/>
                </a:lnTo>
                <a:lnTo>
                  <a:pt x="6896" y="1012"/>
                </a:lnTo>
                <a:lnTo>
                  <a:pt x="6895" y="1022"/>
                </a:lnTo>
                <a:lnTo>
                  <a:pt x="6901" y="1031"/>
                </a:lnTo>
                <a:close/>
                <a:moveTo>
                  <a:pt x="6901" y="1031"/>
                </a:moveTo>
                <a:lnTo>
                  <a:pt x="6900" y="1031"/>
                </a:lnTo>
                <a:lnTo>
                  <a:pt x="6900" y="1031"/>
                </a:lnTo>
                <a:lnTo>
                  <a:pt x="6901" y="1031"/>
                </a:lnTo>
                <a:close/>
                <a:moveTo>
                  <a:pt x="10937" y="1483"/>
                </a:moveTo>
                <a:lnTo>
                  <a:pt x="10931" y="1483"/>
                </a:lnTo>
                <a:lnTo>
                  <a:pt x="10928" y="1487"/>
                </a:lnTo>
                <a:lnTo>
                  <a:pt x="10928" y="1494"/>
                </a:lnTo>
                <a:lnTo>
                  <a:pt x="10928" y="1501"/>
                </a:lnTo>
                <a:lnTo>
                  <a:pt x="10928" y="1501"/>
                </a:lnTo>
                <a:lnTo>
                  <a:pt x="10928" y="1501"/>
                </a:lnTo>
                <a:lnTo>
                  <a:pt x="10927" y="1501"/>
                </a:lnTo>
                <a:lnTo>
                  <a:pt x="10928" y="1501"/>
                </a:lnTo>
                <a:lnTo>
                  <a:pt x="10933" y="1497"/>
                </a:lnTo>
                <a:lnTo>
                  <a:pt x="10938" y="1493"/>
                </a:lnTo>
                <a:lnTo>
                  <a:pt x="10940" y="1488"/>
                </a:lnTo>
                <a:lnTo>
                  <a:pt x="10937" y="1483"/>
                </a:lnTo>
                <a:close/>
                <a:moveTo>
                  <a:pt x="10011" y="1269"/>
                </a:moveTo>
                <a:lnTo>
                  <a:pt x="10016" y="1277"/>
                </a:lnTo>
                <a:lnTo>
                  <a:pt x="10023" y="1273"/>
                </a:lnTo>
                <a:lnTo>
                  <a:pt x="10024" y="1264"/>
                </a:lnTo>
                <a:lnTo>
                  <a:pt x="10016" y="1259"/>
                </a:lnTo>
                <a:lnTo>
                  <a:pt x="10013" y="1264"/>
                </a:lnTo>
                <a:lnTo>
                  <a:pt x="10011" y="1269"/>
                </a:lnTo>
                <a:close/>
                <a:moveTo>
                  <a:pt x="10135" y="1460"/>
                </a:moveTo>
                <a:lnTo>
                  <a:pt x="10134" y="1465"/>
                </a:lnTo>
                <a:lnTo>
                  <a:pt x="10137" y="1469"/>
                </a:lnTo>
                <a:lnTo>
                  <a:pt x="10143" y="1470"/>
                </a:lnTo>
                <a:lnTo>
                  <a:pt x="10145" y="1465"/>
                </a:lnTo>
                <a:lnTo>
                  <a:pt x="10145" y="1460"/>
                </a:lnTo>
                <a:lnTo>
                  <a:pt x="10143" y="1459"/>
                </a:lnTo>
                <a:lnTo>
                  <a:pt x="10139" y="1459"/>
                </a:lnTo>
                <a:lnTo>
                  <a:pt x="10135" y="1460"/>
                </a:lnTo>
                <a:close/>
                <a:moveTo>
                  <a:pt x="7562" y="1106"/>
                </a:moveTo>
                <a:lnTo>
                  <a:pt x="7566" y="1110"/>
                </a:lnTo>
                <a:lnTo>
                  <a:pt x="7573" y="1111"/>
                </a:lnTo>
                <a:lnTo>
                  <a:pt x="7578" y="1107"/>
                </a:lnTo>
                <a:lnTo>
                  <a:pt x="7578" y="1102"/>
                </a:lnTo>
                <a:lnTo>
                  <a:pt x="7573" y="1101"/>
                </a:lnTo>
                <a:lnTo>
                  <a:pt x="7567" y="1101"/>
                </a:lnTo>
                <a:lnTo>
                  <a:pt x="7564" y="1101"/>
                </a:lnTo>
                <a:lnTo>
                  <a:pt x="7562" y="1106"/>
                </a:lnTo>
                <a:close/>
                <a:moveTo>
                  <a:pt x="11383" y="4456"/>
                </a:moveTo>
                <a:lnTo>
                  <a:pt x="11382" y="4456"/>
                </a:lnTo>
                <a:lnTo>
                  <a:pt x="11382" y="4456"/>
                </a:lnTo>
                <a:lnTo>
                  <a:pt x="11382" y="4458"/>
                </a:lnTo>
                <a:lnTo>
                  <a:pt x="11383" y="4456"/>
                </a:lnTo>
                <a:close/>
                <a:moveTo>
                  <a:pt x="11399" y="4464"/>
                </a:moveTo>
                <a:lnTo>
                  <a:pt x="11401" y="4455"/>
                </a:lnTo>
                <a:lnTo>
                  <a:pt x="11392" y="4454"/>
                </a:lnTo>
                <a:lnTo>
                  <a:pt x="11384" y="4458"/>
                </a:lnTo>
                <a:lnTo>
                  <a:pt x="11396" y="4465"/>
                </a:lnTo>
                <a:lnTo>
                  <a:pt x="11397" y="4465"/>
                </a:lnTo>
                <a:lnTo>
                  <a:pt x="11399" y="4464"/>
                </a:lnTo>
                <a:close/>
                <a:moveTo>
                  <a:pt x="6598" y="638"/>
                </a:moveTo>
                <a:lnTo>
                  <a:pt x="6603" y="634"/>
                </a:lnTo>
                <a:lnTo>
                  <a:pt x="6607" y="629"/>
                </a:lnTo>
                <a:lnTo>
                  <a:pt x="6606" y="622"/>
                </a:lnTo>
                <a:lnTo>
                  <a:pt x="6600" y="619"/>
                </a:lnTo>
                <a:lnTo>
                  <a:pt x="6593" y="621"/>
                </a:lnTo>
                <a:lnTo>
                  <a:pt x="6591" y="627"/>
                </a:lnTo>
                <a:lnTo>
                  <a:pt x="6592" y="634"/>
                </a:lnTo>
                <a:lnTo>
                  <a:pt x="6598" y="638"/>
                </a:lnTo>
                <a:close/>
                <a:moveTo>
                  <a:pt x="5541" y="605"/>
                </a:moveTo>
                <a:lnTo>
                  <a:pt x="5544" y="599"/>
                </a:lnTo>
                <a:lnTo>
                  <a:pt x="5544" y="594"/>
                </a:lnTo>
                <a:lnTo>
                  <a:pt x="5540" y="591"/>
                </a:lnTo>
                <a:lnTo>
                  <a:pt x="5535" y="591"/>
                </a:lnTo>
                <a:lnTo>
                  <a:pt x="5532" y="594"/>
                </a:lnTo>
                <a:lnTo>
                  <a:pt x="5534" y="601"/>
                </a:lnTo>
                <a:lnTo>
                  <a:pt x="5538" y="605"/>
                </a:lnTo>
                <a:lnTo>
                  <a:pt x="5541" y="605"/>
                </a:lnTo>
                <a:close/>
                <a:moveTo>
                  <a:pt x="3781" y="559"/>
                </a:moveTo>
                <a:lnTo>
                  <a:pt x="3778" y="556"/>
                </a:lnTo>
                <a:lnTo>
                  <a:pt x="3774" y="555"/>
                </a:lnTo>
                <a:lnTo>
                  <a:pt x="3770" y="555"/>
                </a:lnTo>
                <a:lnTo>
                  <a:pt x="3766" y="557"/>
                </a:lnTo>
                <a:lnTo>
                  <a:pt x="3770" y="561"/>
                </a:lnTo>
                <a:lnTo>
                  <a:pt x="3774" y="563"/>
                </a:lnTo>
                <a:lnTo>
                  <a:pt x="3778" y="561"/>
                </a:lnTo>
                <a:lnTo>
                  <a:pt x="3781" y="559"/>
                </a:lnTo>
                <a:close/>
                <a:moveTo>
                  <a:pt x="5154" y="699"/>
                </a:moveTo>
                <a:lnTo>
                  <a:pt x="5157" y="695"/>
                </a:lnTo>
                <a:lnTo>
                  <a:pt x="5155" y="691"/>
                </a:lnTo>
                <a:lnTo>
                  <a:pt x="5150" y="689"/>
                </a:lnTo>
                <a:lnTo>
                  <a:pt x="5145" y="687"/>
                </a:lnTo>
                <a:lnTo>
                  <a:pt x="5143" y="692"/>
                </a:lnTo>
                <a:lnTo>
                  <a:pt x="5145" y="697"/>
                </a:lnTo>
                <a:lnTo>
                  <a:pt x="5149" y="700"/>
                </a:lnTo>
                <a:lnTo>
                  <a:pt x="5154" y="699"/>
                </a:lnTo>
                <a:close/>
                <a:moveTo>
                  <a:pt x="4562" y="677"/>
                </a:moveTo>
                <a:lnTo>
                  <a:pt x="4568" y="672"/>
                </a:lnTo>
                <a:lnTo>
                  <a:pt x="4565" y="667"/>
                </a:lnTo>
                <a:lnTo>
                  <a:pt x="4557" y="666"/>
                </a:lnTo>
                <a:lnTo>
                  <a:pt x="4554" y="672"/>
                </a:lnTo>
                <a:lnTo>
                  <a:pt x="4558" y="675"/>
                </a:lnTo>
                <a:lnTo>
                  <a:pt x="4562" y="677"/>
                </a:lnTo>
                <a:close/>
                <a:moveTo>
                  <a:pt x="10881" y="5018"/>
                </a:moveTo>
                <a:lnTo>
                  <a:pt x="10879" y="5022"/>
                </a:lnTo>
                <a:lnTo>
                  <a:pt x="10877" y="5028"/>
                </a:lnTo>
                <a:lnTo>
                  <a:pt x="10879" y="5033"/>
                </a:lnTo>
                <a:lnTo>
                  <a:pt x="10882" y="5036"/>
                </a:lnTo>
                <a:lnTo>
                  <a:pt x="10890" y="5033"/>
                </a:lnTo>
                <a:lnTo>
                  <a:pt x="10891" y="5027"/>
                </a:lnTo>
                <a:lnTo>
                  <a:pt x="10889" y="5020"/>
                </a:lnTo>
                <a:lnTo>
                  <a:pt x="10881" y="5018"/>
                </a:lnTo>
                <a:close/>
                <a:moveTo>
                  <a:pt x="10879" y="5034"/>
                </a:moveTo>
                <a:lnTo>
                  <a:pt x="10879" y="5034"/>
                </a:lnTo>
                <a:lnTo>
                  <a:pt x="10879" y="5034"/>
                </a:lnTo>
                <a:lnTo>
                  <a:pt x="10879" y="5034"/>
                </a:lnTo>
                <a:close/>
                <a:moveTo>
                  <a:pt x="4125" y="654"/>
                </a:moveTo>
                <a:lnTo>
                  <a:pt x="4132" y="652"/>
                </a:lnTo>
                <a:lnTo>
                  <a:pt x="4128" y="645"/>
                </a:lnTo>
                <a:lnTo>
                  <a:pt x="4123" y="643"/>
                </a:lnTo>
                <a:lnTo>
                  <a:pt x="4121" y="652"/>
                </a:lnTo>
                <a:lnTo>
                  <a:pt x="4123" y="653"/>
                </a:lnTo>
                <a:lnTo>
                  <a:pt x="4125" y="654"/>
                </a:lnTo>
                <a:close/>
                <a:moveTo>
                  <a:pt x="10835" y="1478"/>
                </a:moveTo>
                <a:lnTo>
                  <a:pt x="10837" y="1473"/>
                </a:lnTo>
                <a:lnTo>
                  <a:pt x="10831" y="1469"/>
                </a:lnTo>
                <a:lnTo>
                  <a:pt x="10825" y="1468"/>
                </a:lnTo>
                <a:lnTo>
                  <a:pt x="10820" y="1471"/>
                </a:lnTo>
                <a:lnTo>
                  <a:pt x="10820" y="1475"/>
                </a:lnTo>
                <a:lnTo>
                  <a:pt x="10825" y="1478"/>
                </a:lnTo>
                <a:lnTo>
                  <a:pt x="10830" y="1478"/>
                </a:lnTo>
                <a:lnTo>
                  <a:pt x="10835" y="1478"/>
                </a:lnTo>
                <a:close/>
                <a:moveTo>
                  <a:pt x="9893" y="5076"/>
                </a:moveTo>
                <a:lnTo>
                  <a:pt x="9897" y="5080"/>
                </a:lnTo>
                <a:lnTo>
                  <a:pt x="9901" y="5081"/>
                </a:lnTo>
                <a:lnTo>
                  <a:pt x="9903" y="5079"/>
                </a:lnTo>
                <a:lnTo>
                  <a:pt x="9906" y="5074"/>
                </a:lnTo>
                <a:lnTo>
                  <a:pt x="9902" y="5070"/>
                </a:lnTo>
                <a:lnTo>
                  <a:pt x="9899" y="5070"/>
                </a:lnTo>
                <a:lnTo>
                  <a:pt x="9895" y="5071"/>
                </a:lnTo>
                <a:lnTo>
                  <a:pt x="9893" y="5076"/>
                </a:lnTo>
                <a:close/>
                <a:moveTo>
                  <a:pt x="9152" y="1352"/>
                </a:moveTo>
                <a:lnTo>
                  <a:pt x="9153" y="1353"/>
                </a:lnTo>
                <a:lnTo>
                  <a:pt x="9156" y="1354"/>
                </a:lnTo>
                <a:lnTo>
                  <a:pt x="9161" y="1349"/>
                </a:lnTo>
                <a:lnTo>
                  <a:pt x="9158" y="1344"/>
                </a:lnTo>
                <a:lnTo>
                  <a:pt x="9153" y="1344"/>
                </a:lnTo>
                <a:lnTo>
                  <a:pt x="9152" y="1352"/>
                </a:lnTo>
                <a:close/>
                <a:moveTo>
                  <a:pt x="6014" y="901"/>
                </a:moveTo>
                <a:lnTo>
                  <a:pt x="6013" y="897"/>
                </a:lnTo>
                <a:lnTo>
                  <a:pt x="6009" y="896"/>
                </a:lnTo>
                <a:lnTo>
                  <a:pt x="6005" y="897"/>
                </a:lnTo>
                <a:lnTo>
                  <a:pt x="6002" y="901"/>
                </a:lnTo>
                <a:lnTo>
                  <a:pt x="5997" y="914"/>
                </a:lnTo>
                <a:lnTo>
                  <a:pt x="6005" y="919"/>
                </a:lnTo>
                <a:lnTo>
                  <a:pt x="6014" y="915"/>
                </a:lnTo>
                <a:lnTo>
                  <a:pt x="6014" y="901"/>
                </a:lnTo>
                <a:close/>
                <a:moveTo>
                  <a:pt x="9185" y="1272"/>
                </a:moveTo>
                <a:lnTo>
                  <a:pt x="9180" y="1274"/>
                </a:lnTo>
                <a:lnTo>
                  <a:pt x="9177" y="1279"/>
                </a:lnTo>
                <a:lnTo>
                  <a:pt x="9180" y="1286"/>
                </a:lnTo>
                <a:lnTo>
                  <a:pt x="9185" y="1289"/>
                </a:lnTo>
                <a:lnTo>
                  <a:pt x="9189" y="1286"/>
                </a:lnTo>
                <a:lnTo>
                  <a:pt x="9190" y="1280"/>
                </a:lnTo>
                <a:lnTo>
                  <a:pt x="9189" y="1274"/>
                </a:lnTo>
                <a:lnTo>
                  <a:pt x="9185" y="1272"/>
                </a:lnTo>
                <a:close/>
                <a:moveTo>
                  <a:pt x="8495" y="1275"/>
                </a:moveTo>
                <a:lnTo>
                  <a:pt x="8488" y="1279"/>
                </a:lnTo>
                <a:lnTo>
                  <a:pt x="8487" y="1286"/>
                </a:lnTo>
                <a:lnTo>
                  <a:pt x="8488" y="1292"/>
                </a:lnTo>
                <a:lnTo>
                  <a:pt x="8493" y="1296"/>
                </a:lnTo>
                <a:lnTo>
                  <a:pt x="8500" y="1292"/>
                </a:lnTo>
                <a:lnTo>
                  <a:pt x="8501" y="1287"/>
                </a:lnTo>
                <a:lnTo>
                  <a:pt x="8500" y="1280"/>
                </a:lnTo>
                <a:lnTo>
                  <a:pt x="8495" y="1275"/>
                </a:lnTo>
                <a:close/>
                <a:moveTo>
                  <a:pt x="2954" y="449"/>
                </a:moveTo>
                <a:lnTo>
                  <a:pt x="2959" y="445"/>
                </a:lnTo>
                <a:lnTo>
                  <a:pt x="2961" y="439"/>
                </a:lnTo>
                <a:lnTo>
                  <a:pt x="2960" y="433"/>
                </a:lnTo>
                <a:lnTo>
                  <a:pt x="2954" y="431"/>
                </a:lnTo>
                <a:lnTo>
                  <a:pt x="2949" y="434"/>
                </a:lnTo>
                <a:lnTo>
                  <a:pt x="2947" y="440"/>
                </a:lnTo>
                <a:lnTo>
                  <a:pt x="2949" y="447"/>
                </a:lnTo>
                <a:lnTo>
                  <a:pt x="2954" y="449"/>
                </a:lnTo>
                <a:close/>
                <a:moveTo>
                  <a:pt x="5316" y="725"/>
                </a:moveTo>
                <a:lnTo>
                  <a:pt x="5322" y="725"/>
                </a:lnTo>
                <a:lnTo>
                  <a:pt x="5329" y="724"/>
                </a:lnTo>
                <a:lnTo>
                  <a:pt x="5334" y="722"/>
                </a:lnTo>
                <a:lnTo>
                  <a:pt x="5340" y="718"/>
                </a:lnTo>
                <a:lnTo>
                  <a:pt x="5329" y="714"/>
                </a:lnTo>
                <a:lnTo>
                  <a:pt x="5317" y="713"/>
                </a:lnTo>
                <a:lnTo>
                  <a:pt x="5311" y="717"/>
                </a:lnTo>
                <a:lnTo>
                  <a:pt x="5316" y="725"/>
                </a:lnTo>
                <a:close/>
                <a:moveTo>
                  <a:pt x="4408" y="662"/>
                </a:moveTo>
                <a:lnTo>
                  <a:pt x="4405" y="655"/>
                </a:lnTo>
                <a:lnTo>
                  <a:pt x="4402" y="654"/>
                </a:lnTo>
                <a:lnTo>
                  <a:pt x="4398" y="658"/>
                </a:lnTo>
                <a:lnTo>
                  <a:pt x="4395" y="666"/>
                </a:lnTo>
                <a:lnTo>
                  <a:pt x="4396" y="669"/>
                </a:lnTo>
                <a:lnTo>
                  <a:pt x="4400" y="671"/>
                </a:lnTo>
                <a:lnTo>
                  <a:pt x="4405" y="668"/>
                </a:lnTo>
                <a:lnTo>
                  <a:pt x="4408" y="662"/>
                </a:lnTo>
                <a:close/>
                <a:moveTo>
                  <a:pt x="10574" y="4927"/>
                </a:moveTo>
                <a:lnTo>
                  <a:pt x="10570" y="4935"/>
                </a:lnTo>
                <a:lnTo>
                  <a:pt x="10573" y="4941"/>
                </a:lnTo>
                <a:lnTo>
                  <a:pt x="10581" y="4944"/>
                </a:lnTo>
                <a:lnTo>
                  <a:pt x="10588" y="4939"/>
                </a:lnTo>
                <a:lnTo>
                  <a:pt x="10591" y="4932"/>
                </a:lnTo>
                <a:lnTo>
                  <a:pt x="10587" y="4929"/>
                </a:lnTo>
                <a:lnTo>
                  <a:pt x="10581" y="4927"/>
                </a:lnTo>
                <a:lnTo>
                  <a:pt x="10574" y="4927"/>
                </a:lnTo>
                <a:close/>
                <a:moveTo>
                  <a:pt x="6816" y="1146"/>
                </a:moveTo>
                <a:lnTo>
                  <a:pt x="6817" y="1146"/>
                </a:lnTo>
                <a:lnTo>
                  <a:pt x="6817" y="1144"/>
                </a:lnTo>
                <a:lnTo>
                  <a:pt x="6816" y="1146"/>
                </a:lnTo>
                <a:lnTo>
                  <a:pt x="6816" y="1146"/>
                </a:lnTo>
                <a:close/>
                <a:moveTo>
                  <a:pt x="6819" y="1170"/>
                </a:moveTo>
                <a:lnTo>
                  <a:pt x="6821" y="1174"/>
                </a:lnTo>
                <a:lnTo>
                  <a:pt x="6824" y="1175"/>
                </a:lnTo>
                <a:lnTo>
                  <a:pt x="6828" y="1174"/>
                </a:lnTo>
                <a:lnTo>
                  <a:pt x="6830" y="1171"/>
                </a:lnTo>
                <a:lnTo>
                  <a:pt x="6834" y="1153"/>
                </a:lnTo>
                <a:lnTo>
                  <a:pt x="6826" y="1147"/>
                </a:lnTo>
                <a:lnTo>
                  <a:pt x="6817" y="1153"/>
                </a:lnTo>
                <a:lnTo>
                  <a:pt x="6819" y="1170"/>
                </a:lnTo>
                <a:close/>
                <a:moveTo>
                  <a:pt x="9760" y="5047"/>
                </a:moveTo>
                <a:lnTo>
                  <a:pt x="9762" y="5055"/>
                </a:lnTo>
                <a:lnTo>
                  <a:pt x="9767" y="5056"/>
                </a:lnTo>
                <a:lnTo>
                  <a:pt x="9772" y="5052"/>
                </a:lnTo>
                <a:lnTo>
                  <a:pt x="9774" y="5043"/>
                </a:lnTo>
                <a:lnTo>
                  <a:pt x="9772" y="5038"/>
                </a:lnTo>
                <a:lnTo>
                  <a:pt x="9768" y="5037"/>
                </a:lnTo>
                <a:lnTo>
                  <a:pt x="9763" y="5041"/>
                </a:lnTo>
                <a:lnTo>
                  <a:pt x="9760" y="5047"/>
                </a:lnTo>
                <a:close/>
                <a:moveTo>
                  <a:pt x="4082" y="752"/>
                </a:moveTo>
                <a:lnTo>
                  <a:pt x="4081" y="746"/>
                </a:lnTo>
                <a:lnTo>
                  <a:pt x="4078" y="742"/>
                </a:lnTo>
                <a:lnTo>
                  <a:pt x="4073" y="741"/>
                </a:lnTo>
                <a:lnTo>
                  <a:pt x="4068" y="742"/>
                </a:lnTo>
                <a:lnTo>
                  <a:pt x="4067" y="751"/>
                </a:lnTo>
                <a:lnTo>
                  <a:pt x="4073" y="760"/>
                </a:lnTo>
                <a:lnTo>
                  <a:pt x="4081" y="761"/>
                </a:lnTo>
                <a:lnTo>
                  <a:pt x="4082" y="752"/>
                </a:lnTo>
                <a:close/>
                <a:moveTo>
                  <a:pt x="4082" y="764"/>
                </a:moveTo>
                <a:lnTo>
                  <a:pt x="4081" y="764"/>
                </a:lnTo>
                <a:lnTo>
                  <a:pt x="4081" y="765"/>
                </a:lnTo>
                <a:lnTo>
                  <a:pt x="4082" y="764"/>
                </a:lnTo>
                <a:close/>
                <a:moveTo>
                  <a:pt x="9752" y="1176"/>
                </a:moveTo>
                <a:lnTo>
                  <a:pt x="9759" y="1176"/>
                </a:lnTo>
                <a:lnTo>
                  <a:pt x="9767" y="1175"/>
                </a:lnTo>
                <a:lnTo>
                  <a:pt x="9760" y="1167"/>
                </a:lnTo>
                <a:lnTo>
                  <a:pt x="9752" y="1165"/>
                </a:lnTo>
                <a:lnTo>
                  <a:pt x="9746" y="1168"/>
                </a:lnTo>
                <a:lnTo>
                  <a:pt x="9752" y="1176"/>
                </a:lnTo>
                <a:close/>
                <a:moveTo>
                  <a:pt x="4091" y="719"/>
                </a:moveTo>
                <a:lnTo>
                  <a:pt x="4093" y="718"/>
                </a:lnTo>
                <a:lnTo>
                  <a:pt x="4095" y="715"/>
                </a:lnTo>
                <a:lnTo>
                  <a:pt x="4096" y="713"/>
                </a:lnTo>
                <a:lnTo>
                  <a:pt x="4095" y="710"/>
                </a:lnTo>
                <a:lnTo>
                  <a:pt x="4088" y="708"/>
                </a:lnTo>
                <a:lnTo>
                  <a:pt x="4082" y="711"/>
                </a:lnTo>
                <a:lnTo>
                  <a:pt x="4082" y="718"/>
                </a:lnTo>
                <a:lnTo>
                  <a:pt x="4091" y="719"/>
                </a:lnTo>
                <a:close/>
                <a:moveTo>
                  <a:pt x="6513" y="978"/>
                </a:moveTo>
                <a:lnTo>
                  <a:pt x="6516" y="981"/>
                </a:lnTo>
                <a:lnTo>
                  <a:pt x="6518" y="983"/>
                </a:lnTo>
                <a:lnTo>
                  <a:pt x="6522" y="983"/>
                </a:lnTo>
                <a:lnTo>
                  <a:pt x="6526" y="981"/>
                </a:lnTo>
                <a:lnTo>
                  <a:pt x="6526" y="975"/>
                </a:lnTo>
                <a:lnTo>
                  <a:pt x="6519" y="970"/>
                </a:lnTo>
                <a:lnTo>
                  <a:pt x="6513" y="970"/>
                </a:lnTo>
                <a:lnTo>
                  <a:pt x="6513" y="978"/>
                </a:lnTo>
                <a:close/>
                <a:moveTo>
                  <a:pt x="6747" y="1002"/>
                </a:moveTo>
                <a:lnTo>
                  <a:pt x="6747" y="988"/>
                </a:lnTo>
                <a:lnTo>
                  <a:pt x="6735" y="990"/>
                </a:lnTo>
                <a:lnTo>
                  <a:pt x="6724" y="999"/>
                </a:lnTo>
                <a:lnTo>
                  <a:pt x="6737" y="1004"/>
                </a:lnTo>
                <a:lnTo>
                  <a:pt x="6742" y="1004"/>
                </a:lnTo>
                <a:lnTo>
                  <a:pt x="6747" y="1002"/>
                </a:lnTo>
                <a:close/>
                <a:moveTo>
                  <a:pt x="6722" y="1003"/>
                </a:moveTo>
                <a:lnTo>
                  <a:pt x="6723" y="1003"/>
                </a:lnTo>
                <a:lnTo>
                  <a:pt x="6722" y="1003"/>
                </a:lnTo>
                <a:lnTo>
                  <a:pt x="6722" y="1003"/>
                </a:lnTo>
                <a:lnTo>
                  <a:pt x="6722" y="1003"/>
                </a:lnTo>
                <a:close/>
                <a:moveTo>
                  <a:pt x="9525" y="1372"/>
                </a:moveTo>
                <a:lnTo>
                  <a:pt x="9521" y="1376"/>
                </a:lnTo>
                <a:lnTo>
                  <a:pt x="9520" y="1380"/>
                </a:lnTo>
                <a:lnTo>
                  <a:pt x="9521" y="1385"/>
                </a:lnTo>
                <a:lnTo>
                  <a:pt x="9525" y="1390"/>
                </a:lnTo>
                <a:lnTo>
                  <a:pt x="9531" y="1389"/>
                </a:lnTo>
                <a:lnTo>
                  <a:pt x="9533" y="1382"/>
                </a:lnTo>
                <a:lnTo>
                  <a:pt x="9531" y="1375"/>
                </a:lnTo>
                <a:lnTo>
                  <a:pt x="9525" y="1372"/>
                </a:lnTo>
                <a:close/>
                <a:moveTo>
                  <a:pt x="11263" y="1869"/>
                </a:moveTo>
                <a:lnTo>
                  <a:pt x="11258" y="1862"/>
                </a:lnTo>
                <a:lnTo>
                  <a:pt x="11250" y="1860"/>
                </a:lnTo>
                <a:lnTo>
                  <a:pt x="11244" y="1861"/>
                </a:lnTo>
                <a:lnTo>
                  <a:pt x="11244" y="1869"/>
                </a:lnTo>
                <a:lnTo>
                  <a:pt x="11249" y="1871"/>
                </a:lnTo>
                <a:lnTo>
                  <a:pt x="11256" y="1874"/>
                </a:lnTo>
                <a:lnTo>
                  <a:pt x="11261" y="1874"/>
                </a:lnTo>
                <a:lnTo>
                  <a:pt x="11263" y="1869"/>
                </a:lnTo>
                <a:close/>
                <a:moveTo>
                  <a:pt x="8232" y="1154"/>
                </a:moveTo>
                <a:lnTo>
                  <a:pt x="8227" y="1161"/>
                </a:lnTo>
                <a:lnTo>
                  <a:pt x="8226" y="1170"/>
                </a:lnTo>
                <a:lnTo>
                  <a:pt x="8227" y="1177"/>
                </a:lnTo>
                <a:lnTo>
                  <a:pt x="8234" y="1181"/>
                </a:lnTo>
                <a:lnTo>
                  <a:pt x="8239" y="1174"/>
                </a:lnTo>
                <a:lnTo>
                  <a:pt x="8240" y="1165"/>
                </a:lnTo>
                <a:lnTo>
                  <a:pt x="8239" y="1157"/>
                </a:lnTo>
                <a:lnTo>
                  <a:pt x="8232" y="1154"/>
                </a:lnTo>
                <a:close/>
                <a:moveTo>
                  <a:pt x="9552" y="1149"/>
                </a:moveTo>
                <a:lnTo>
                  <a:pt x="9550" y="1144"/>
                </a:lnTo>
                <a:lnTo>
                  <a:pt x="9548" y="1143"/>
                </a:lnTo>
                <a:lnTo>
                  <a:pt x="9544" y="1143"/>
                </a:lnTo>
                <a:lnTo>
                  <a:pt x="9541" y="1146"/>
                </a:lnTo>
                <a:lnTo>
                  <a:pt x="9541" y="1152"/>
                </a:lnTo>
                <a:lnTo>
                  <a:pt x="9544" y="1156"/>
                </a:lnTo>
                <a:lnTo>
                  <a:pt x="9549" y="1154"/>
                </a:lnTo>
                <a:lnTo>
                  <a:pt x="9552" y="1149"/>
                </a:lnTo>
                <a:close/>
                <a:moveTo>
                  <a:pt x="7089" y="976"/>
                </a:moveTo>
                <a:lnTo>
                  <a:pt x="7091" y="981"/>
                </a:lnTo>
                <a:lnTo>
                  <a:pt x="7092" y="986"/>
                </a:lnTo>
                <a:lnTo>
                  <a:pt x="7096" y="988"/>
                </a:lnTo>
                <a:lnTo>
                  <a:pt x="7103" y="986"/>
                </a:lnTo>
                <a:lnTo>
                  <a:pt x="7104" y="980"/>
                </a:lnTo>
                <a:lnTo>
                  <a:pt x="7101" y="975"/>
                </a:lnTo>
                <a:lnTo>
                  <a:pt x="7095" y="974"/>
                </a:lnTo>
                <a:lnTo>
                  <a:pt x="7089" y="976"/>
                </a:lnTo>
                <a:close/>
                <a:moveTo>
                  <a:pt x="10136" y="1317"/>
                </a:moveTo>
                <a:lnTo>
                  <a:pt x="10144" y="1314"/>
                </a:lnTo>
                <a:lnTo>
                  <a:pt x="10148" y="1303"/>
                </a:lnTo>
                <a:lnTo>
                  <a:pt x="10148" y="1293"/>
                </a:lnTo>
                <a:lnTo>
                  <a:pt x="10139" y="1292"/>
                </a:lnTo>
                <a:lnTo>
                  <a:pt x="10132" y="1297"/>
                </a:lnTo>
                <a:lnTo>
                  <a:pt x="10128" y="1306"/>
                </a:lnTo>
                <a:lnTo>
                  <a:pt x="10130" y="1314"/>
                </a:lnTo>
                <a:lnTo>
                  <a:pt x="10136" y="1317"/>
                </a:lnTo>
                <a:close/>
                <a:moveTo>
                  <a:pt x="10064" y="1291"/>
                </a:moveTo>
                <a:lnTo>
                  <a:pt x="10072" y="1287"/>
                </a:lnTo>
                <a:lnTo>
                  <a:pt x="10074" y="1280"/>
                </a:lnTo>
                <a:lnTo>
                  <a:pt x="10071" y="1272"/>
                </a:lnTo>
                <a:lnTo>
                  <a:pt x="10066" y="1263"/>
                </a:lnTo>
                <a:lnTo>
                  <a:pt x="10060" y="1270"/>
                </a:lnTo>
                <a:lnTo>
                  <a:pt x="10056" y="1278"/>
                </a:lnTo>
                <a:lnTo>
                  <a:pt x="10056" y="1286"/>
                </a:lnTo>
                <a:lnTo>
                  <a:pt x="10064" y="1291"/>
                </a:lnTo>
                <a:close/>
                <a:moveTo>
                  <a:pt x="5367" y="922"/>
                </a:moveTo>
                <a:lnTo>
                  <a:pt x="5367" y="922"/>
                </a:lnTo>
                <a:lnTo>
                  <a:pt x="5367" y="922"/>
                </a:lnTo>
                <a:lnTo>
                  <a:pt x="5367" y="922"/>
                </a:lnTo>
                <a:lnTo>
                  <a:pt x="5367" y="922"/>
                </a:lnTo>
                <a:close/>
                <a:moveTo>
                  <a:pt x="5380" y="888"/>
                </a:moveTo>
                <a:lnTo>
                  <a:pt x="5369" y="888"/>
                </a:lnTo>
                <a:lnTo>
                  <a:pt x="5366" y="897"/>
                </a:lnTo>
                <a:lnTo>
                  <a:pt x="5366" y="910"/>
                </a:lnTo>
                <a:lnTo>
                  <a:pt x="5367" y="920"/>
                </a:lnTo>
                <a:lnTo>
                  <a:pt x="5375" y="914"/>
                </a:lnTo>
                <a:lnTo>
                  <a:pt x="5381" y="906"/>
                </a:lnTo>
                <a:lnTo>
                  <a:pt x="5383" y="897"/>
                </a:lnTo>
                <a:lnTo>
                  <a:pt x="5380" y="888"/>
                </a:lnTo>
                <a:close/>
                <a:moveTo>
                  <a:pt x="9305" y="1385"/>
                </a:moveTo>
                <a:lnTo>
                  <a:pt x="9310" y="1385"/>
                </a:lnTo>
                <a:lnTo>
                  <a:pt x="9313" y="1381"/>
                </a:lnTo>
                <a:lnTo>
                  <a:pt x="9317" y="1377"/>
                </a:lnTo>
                <a:lnTo>
                  <a:pt x="9319" y="1372"/>
                </a:lnTo>
                <a:lnTo>
                  <a:pt x="9310" y="1364"/>
                </a:lnTo>
                <a:lnTo>
                  <a:pt x="9299" y="1368"/>
                </a:lnTo>
                <a:lnTo>
                  <a:pt x="9296" y="1378"/>
                </a:lnTo>
                <a:lnTo>
                  <a:pt x="9305" y="1385"/>
                </a:lnTo>
                <a:close/>
                <a:moveTo>
                  <a:pt x="4219" y="649"/>
                </a:moveTo>
                <a:lnTo>
                  <a:pt x="4218" y="657"/>
                </a:lnTo>
                <a:lnTo>
                  <a:pt x="4221" y="663"/>
                </a:lnTo>
                <a:lnTo>
                  <a:pt x="4226" y="666"/>
                </a:lnTo>
                <a:lnTo>
                  <a:pt x="4233" y="662"/>
                </a:lnTo>
                <a:lnTo>
                  <a:pt x="4235" y="657"/>
                </a:lnTo>
                <a:lnTo>
                  <a:pt x="4231" y="650"/>
                </a:lnTo>
                <a:lnTo>
                  <a:pt x="4225" y="647"/>
                </a:lnTo>
                <a:lnTo>
                  <a:pt x="4219" y="649"/>
                </a:lnTo>
                <a:close/>
                <a:moveTo>
                  <a:pt x="5824" y="781"/>
                </a:moveTo>
                <a:lnTo>
                  <a:pt x="5834" y="778"/>
                </a:lnTo>
                <a:lnTo>
                  <a:pt x="5832" y="774"/>
                </a:lnTo>
                <a:lnTo>
                  <a:pt x="5823" y="769"/>
                </a:lnTo>
                <a:lnTo>
                  <a:pt x="5814" y="767"/>
                </a:lnTo>
                <a:lnTo>
                  <a:pt x="5806" y="771"/>
                </a:lnTo>
                <a:lnTo>
                  <a:pt x="5809" y="776"/>
                </a:lnTo>
                <a:lnTo>
                  <a:pt x="5816" y="780"/>
                </a:lnTo>
                <a:lnTo>
                  <a:pt x="5824" y="781"/>
                </a:lnTo>
                <a:close/>
                <a:moveTo>
                  <a:pt x="4734" y="658"/>
                </a:moveTo>
                <a:lnTo>
                  <a:pt x="4740" y="654"/>
                </a:lnTo>
                <a:lnTo>
                  <a:pt x="4743" y="645"/>
                </a:lnTo>
                <a:lnTo>
                  <a:pt x="4742" y="638"/>
                </a:lnTo>
                <a:lnTo>
                  <a:pt x="4735" y="634"/>
                </a:lnTo>
                <a:lnTo>
                  <a:pt x="4729" y="638"/>
                </a:lnTo>
                <a:lnTo>
                  <a:pt x="4726" y="645"/>
                </a:lnTo>
                <a:lnTo>
                  <a:pt x="4728" y="654"/>
                </a:lnTo>
                <a:lnTo>
                  <a:pt x="4734" y="658"/>
                </a:lnTo>
                <a:close/>
                <a:moveTo>
                  <a:pt x="5591" y="621"/>
                </a:moveTo>
                <a:lnTo>
                  <a:pt x="5600" y="617"/>
                </a:lnTo>
                <a:lnTo>
                  <a:pt x="5599" y="607"/>
                </a:lnTo>
                <a:lnTo>
                  <a:pt x="5592" y="599"/>
                </a:lnTo>
                <a:lnTo>
                  <a:pt x="5582" y="602"/>
                </a:lnTo>
                <a:lnTo>
                  <a:pt x="5581" y="607"/>
                </a:lnTo>
                <a:lnTo>
                  <a:pt x="5583" y="612"/>
                </a:lnTo>
                <a:lnTo>
                  <a:pt x="5587" y="617"/>
                </a:lnTo>
                <a:lnTo>
                  <a:pt x="5591" y="621"/>
                </a:lnTo>
                <a:close/>
                <a:moveTo>
                  <a:pt x="9949" y="1366"/>
                </a:moveTo>
                <a:lnTo>
                  <a:pt x="9941" y="1362"/>
                </a:lnTo>
                <a:lnTo>
                  <a:pt x="9935" y="1366"/>
                </a:lnTo>
                <a:lnTo>
                  <a:pt x="9931" y="1372"/>
                </a:lnTo>
                <a:lnTo>
                  <a:pt x="9927" y="1381"/>
                </a:lnTo>
                <a:lnTo>
                  <a:pt x="9937" y="1382"/>
                </a:lnTo>
                <a:lnTo>
                  <a:pt x="9946" y="1381"/>
                </a:lnTo>
                <a:lnTo>
                  <a:pt x="9951" y="1376"/>
                </a:lnTo>
                <a:lnTo>
                  <a:pt x="9949" y="1366"/>
                </a:lnTo>
                <a:close/>
                <a:moveTo>
                  <a:pt x="9927" y="1381"/>
                </a:moveTo>
                <a:lnTo>
                  <a:pt x="9927" y="1381"/>
                </a:lnTo>
                <a:lnTo>
                  <a:pt x="9926" y="1381"/>
                </a:lnTo>
                <a:lnTo>
                  <a:pt x="9926" y="1381"/>
                </a:lnTo>
                <a:lnTo>
                  <a:pt x="9927" y="1381"/>
                </a:lnTo>
                <a:close/>
                <a:moveTo>
                  <a:pt x="7160" y="1109"/>
                </a:moveTo>
                <a:lnTo>
                  <a:pt x="7156" y="1116"/>
                </a:lnTo>
                <a:lnTo>
                  <a:pt x="7154" y="1124"/>
                </a:lnTo>
                <a:lnTo>
                  <a:pt x="7152" y="1132"/>
                </a:lnTo>
                <a:lnTo>
                  <a:pt x="7152" y="1138"/>
                </a:lnTo>
                <a:lnTo>
                  <a:pt x="7161" y="1137"/>
                </a:lnTo>
                <a:lnTo>
                  <a:pt x="7168" y="1125"/>
                </a:lnTo>
                <a:lnTo>
                  <a:pt x="7168" y="1112"/>
                </a:lnTo>
                <a:lnTo>
                  <a:pt x="7160" y="1109"/>
                </a:lnTo>
                <a:close/>
                <a:moveTo>
                  <a:pt x="9287" y="1263"/>
                </a:moveTo>
                <a:lnTo>
                  <a:pt x="9283" y="1269"/>
                </a:lnTo>
                <a:lnTo>
                  <a:pt x="9279" y="1275"/>
                </a:lnTo>
                <a:lnTo>
                  <a:pt x="9277" y="1282"/>
                </a:lnTo>
                <a:lnTo>
                  <a:pt x="9277" y="1288"/>
                </a:lnTo>
                <a:lnTo>
                  <a:pt x="9284" y="1284"/>
                </a:lnTo>
                <a:lnTo>
                  <a:pt x="9292" y="1274"/>
                </a:lnTo>
                <a:lnTo>
                  <a:pt x="9294" y="1265"/>
                </a:lnTo>
                <a:lnTo>
                  <a:pt x="9287" y="1263"/>
                </a:lnTo>
                <a:close/>
                <a:moveTo>
                  <a:pt x="6983" y="904"/>
                </a:moveTo>
                <a:lnTo>
                  <a:pt x="6992" y="904"/>
                </a:lnTo>
                <a:lnTo>
                  <a:pt x="7001" y="905"/>
                </a:lnTo>
                <a:lnTo>
                  <a:pt x="7010" y="904"/>
                </a:lnTo>
                <a:lnTo>
                  <a:pt x="7021" y="897"/>
                </a:lnTo>
                <a:lnTo>
                  <a:pt x="7008" y="894"/>
                </a:lnTo>
                <a:lnTo>
                  <a:pt x="6992" y="891"/>
                </a:lnTo>
                <a:lnTo>
                  <a:pt x="6980" y="894"/>
                </a:lnTo>
                <a:lnTo>
                  <a:pt x="6983" y="904"/>
                </a:lnTo>
                <a:close/>
                <a:moveTo>
                  <a:pt x="9799" y="1449"/>
                </a:moveTo>
                <a:lnTo>
                  <a:pt x="9799" y="1440"/>
                </a:lnTo>
                <a:lnTo>
                  <a:pt x="9783" y="1436"/>
                </a:lnTo>
                <a:lnTo>
                  <a:pt x="9763" y="1436"/>
                </a:lnTo>
                <a:lnTo>
                  <a:pt x="9744" y="1435"/>
                </a:lnTo>
                <a:lnTo>
                  <a:pt x="9749" y="1423"/>
                </a:lnTo>
                <a:lnTo>
                  <a:pt x="9754" y="1408"/>
                </a:lnTo>
                <a:lnTo>
                  <a:pt x="9741" y="1394"/>
                </a:lnTo>
                <a:lnTo>
                  <a:pt x="9725" y="1391"/>
                </a:lnTo>
                <a:lnTo>
                  <a:pt x="9711" y="1387"/>
                </a:lnTo>
                <a:lnTo>
                  <a:pt x="9704" y="1370"/>
                </a:lnTo>
                <a:lnTo>
                  <a:pt x="9687" y="1398"/>
                </a:lnTo>
                <a:lnTo>
                  <a:pt x="9694" y="1435"/>
                </a:lnTo>
                <a:lnTo>
                  <a:pt x="9717" y="1455"/>
                </a:lnTo>
                <a:lnTo>
                  <a:pt x="9744" y="1437"/>
                </a:lnTo>
                <a:lnTo>
                  <a:pt x="9755" y="1449"/>
                </a:lnTo>
                <a:lnTo>
                  <a:pt x="9769" y="1454"/>
                </a:lnTo>
                <a:lnTo>
                  <a:pt x="9783" y="1454"/>
                </a:lnTo>
                <a:lnTo>
                  <a:pt x="9799" y="1449"/>
                </a:lnTo>
                <a:close/>
                <a:moveTo>
                  <a:pt x="10730" y="1319"/>
                </a:moveTo>
                <a:lnTo>
                  <a:pt x="10717" y="1312"/>
                </a:lnTo>
                <a:lnTo>
                  <a:pt x="10700" y="1310"/>
                </a:lnTo>
                <a:lnTo>
                  <a:pt x="10684" y="1310"/>
                </a:lnTo>
                <a:lnTo>
                  <a:pt x="10667" y="1307"/>
                </a:lnTo>
                <a:lnTo>
                  <a:pt x="10667" y="1306"/>
                </a:lnTo>
                <a:lnTo>
                  <a:pt x="10667" y="1307"/>
                </a:lnTo>
                <a:lnTo>
                  <a:pt x="10667" y="1307"/>
                </a:lnTo>
                <a:lnTo>
                  <a:pt x="10667" y="1307"/>
                </a:lnTo>
                <a:lnTo>
                  <a:pt x="10681" y="1316"/>
                </a:lnTo>
                <a:lnTo>
                  <a:pt x="10698" y="1322"/>
                </a:lnTo>
                <a:lnTo>
                  <a:pt x="10713" y="1324"/>
                </a:lnTo>
                <a:lnTo>
                  <a:pt x="10730" y="1319"/>
                </a:lnTo>
                <a:close/>
                <a:moveTo>
                  <a:pt x="7086" y="923"/>
                </a:moveTo>
                <a:lnTo>
                  <a:pt x="7099" y="919"/>
                </a:lnTo>
                <a:lnTo>
                  <a:pt x="7091" y="906"/>
                </a:lnTo>
                <a:lnTo>
                  <a:pt x="7075" y="897"/>
                </a:lnTo>
                <a:lnTo>
                  <a:pt x="7062" y="901"/>
                </a:lnTo>
                <a:lnTo>
                  <a:pt x="7066" y="909"/>
                </a:lnTo>
                <a:lnTo>
                  <a:pt x="7072" y="914"/>
                </a:lnTo>
                <a:lnTo>
                  <a:pt x="7080" y="918"/>
                </a:lnTo>
                <a:lnTo>
                  <a:pt x="7086" y="923"/>
                </a:lnTo>
                <a:close/>
                <a:moveTo>
                  <a:pt x="6786" y="860"/>
                </a:moveTo>
                <a:lnTo>
                  <a:pt x="6777" y="853"/>
                </a:lnTo>
                <a:lnTo>
                  <a:pt x="6765" y="848"/>
                </a:lnTo>
                <a:lnTo>
                  <a:pt x="6754" y="849"/>
                </a:lnTo>
                <a:lnTo>
                  <a:pt x="6750" y="859"/>
                </a:lnTo>
                <a:lnTo>
                  <a:pt x="6758" y="866"/>
                </a:lnTo>
                <a:lnTo>
                  <a:pt x="6766" y="867"/>
                </a:lnTo>
                <a:lnTo>
                  <a:pt x="6777" y="864"/>
                </a:lnTo>
                <a:lnTo>
                  <a:pt x="6786" y="860"/>
                </a:lnTo>
                <a:close/>
                <a:moveTo>
                  <a:pt x="10202" y="1223"/>
                </a:moveTo>
                <a:lnTo>
                  <a:pt x="10190" y="1217"/>
                </a:lnTo>
                <a:lnTo>
                  <a:pt x="10181" y="1214"/>
                </a:lnTo>
                <a:lnTo>
                  <a:pt x="10169" y="1214"/>
                </a:lnTo>
                <a:lnTo>
                  <a:pt x="10154" y="1217"/>
                </a:lnTo>
                <a:lnTo>
                  <a:pt x="10165" y="1223"/>
                </a:lnTo>
                <a:lnTo>
                  <a:pt x="10174" y="1226"/>
                </a:lnTo>
                <a:lnTo>
                  <a:pt x="10186" y="1226"/>
                </a:lnTo>
                <a:lnTo>
                  <a:pt x="10202" y="1223"/>
                </a:lnTo>
                <a:close/>
                <a:moveTo>
                  <a:pt x="9703" y="1286"/>
                </a:moveTo>
                <a:lnTo>
                  <a:pt x="9702" y="1298"/>
                </a:lnTo>
                <a:lnTo>
                  <a:pt x="9711" y="1303"/>
                </a:lnTo>
                <a:lnTo>
                  <a:pt x="9722" y="1301"/>
                </a:lnTo>
                <a:lnTo>
                  <a:pt x="9729" y="1289"/>
                </a:lnTo>
                <a:lnTo>
                  <a:pt x="9725" y="1283"/>
                </a:lnTo>
                <a:lnTo>
                  <a:pt x="9718" y="1279"/>
                </a:lnTo>
                <a:lnTo>
                  <a:pt x="9711" y="1280"/>
                </a:lnTo>
                <a:lnTo>
                  <a:pt x="9703" y="1286"/>
                </a:lnTo>
                <a:close/>
                <a:moveTo>
                  <a:pt x="3547" y="655"/>
                </a:moveTo>
                <a:lnTo>
                  <a:pt x="3559" y="654"/>
                </a:lnTo>
                <a:lnTo>
                  <a:pt x="3565" y="643"/>
                </a:lnTo>
                <a:lnTo>
                  <a:pt x="3564" y="630"/>
                </a:lnTo>
                <a:lnTo>
                  <a:pt x="3556" y="621"/>
                </a:lnTo>
                <a:lnTo>
                  <a:pt x="3547" y="627"/>
                </a:lnTo>
                <a:lnTo>
                  <a:pt x="3539" y="639"/>
                </a:lnTo>
                <a:lnTo>
                  <a:pt x="3538" y="650"/>
                </a:lnTo>
                <a:lnTo>
                  <a:pt x="3547" y="655"/>
                </a:lnTo>
                <a:close/>
                <a:moveTo>
                  <a:pt x="3537" y="653"/>
                </a:moveTo>
                <a:lnTo>
                  <a:pt x="3537" y="653"/>
                </a:lnTo>
                <a:lnTo>
                  <a:pt x="3537" y="653"/>
                </a:lnTo>
                <a:lnTo>
                  <a:pt x="3537" y="653"/>
                </a:lnTo>
                <a:lnTo>
                  <a:pt x="3537" y="653"/>
                </a:lnTo>
                <a:close/>
                <a:moveTo>
                  <a:pt x="8683" y="1363"/>
                </a:moveTo>
                <a:lnTo>
                  <a:pt x="8683" y="1362"/>
                </a:lnTo>
                <a:lnTo>
                  <a:pt x="8683" y="1362"/>
                </a:lnTo>
                <a:lnTo>
                  <a:pt x="8683" y="1362"/>
                </a:lnTo>
                <a:lnTo>
                  <a:pt x="8683" y="1363"/>
                </a:lnTo>
                <a:close/>
                <a:moveTo>
                  <a:pt x="7560" y="835"/>
                </a:moveTo>
                <a:lnTo>
                  <a:pt x="7564" y="825"/>
                </a:lnTo>
                <a:lnTo>
                  <a:pt x="7555" y="816"/>
                </a:lnTo>
                <a:lnTo>
                  <a:pt x="7542" y="812"/>
                </a:lnTo>
                <a:lnTo>
                  <a:pt x="7536" y="820"/>
                </a:lnTo>
                <a:lnTo>
                  <a:pt x="7538" y="826"/>
                </a:lnTo>
                <a:lnTo>
                  <a:pt x="7545" y="832"/>
                </a:lnTo>
                <a:lnTo>
                  <a:pt x="7552" y="835"/>
                </a:lnTo>
                <a:lnTo>
                  <a:pt x="7560" y="835"/>
                </a:lnTo>
                <a:close/>
                <a:moveTo>
                  <a:pt x="10062" y="1198"/>
                </a:moveTo>
                <a:lnTo>
                  <a:pt x="10048" y="1193"/>
                </a:lnTo>
                <a:lnTo>
                  <a:pt x="10033" y="1189"/>
                </a:lnTo>
                <a:lnTo>
                  <a:pt x="10020" y="1189"/>
                </a:lnTo>
                <a:lnTo>
                  <a:pt x="10011" y="1196"/>
                </a:lnTo>
                <a:lnTo>
                  <a:pt x="10020" y="1203"/>
                </a:lnTo>
                <a:lnTo>
                  <a:pt x="10033" y="1204"/>
                </a:lnTo>
                <a:lnTo>
                  <a:pt x="10047" y="1202"/>
                </a:lnTo>
                <a:lnTo>
                  <a:pt x="10062" y="1198"/>
                </a:lnTo>
                <a:close/>
                <a:moveTo>
                  <a:pt x="3862" y="706"/>
                </a:moveTo>
                <a:lnTo>
                  <a:pt x="3862" y="706"/>
                </a:lnTo>
                <a:lnTo>
                  <a:pt x="3863" y="706"/>
                </a:lnTo>
                <a:lnTo>
                  <a:pt x="3863" y="706"/>
                </a:lnTo>
                <a:lnTo>
                  <a:pt x="3862" y="706"/>
                </a:lnTo>
                <a:close/>
                <a:moveTo>
                  <a:pt x="3859" y="672"/>
                </a:moveTo>
                <a:lnTo>
                  <a:pt x="3840" y="671"/>
                </a:lnTo>
                <a:lnTo>
                  <a:pt x="3835" y="686"/>
                </a:lnTo>
                <a:lnTo>
                  <a:pt x="3843" y="703"/>
                </a:lnTo>
                <a:lnTo>
                  <a:pt x="3862" y="706"/>
                </a:lnTo>
                <a:lnTo>
                  <a:pt x="3865" y="697"/>
                </a:lnTo>
                <a:lnTo>
                  <a:pt x="3867" y="687"/>
                </a:lnTo>
                <a:lnTo>
                  <a:pt x="3865" y="678"/>
                </a:lnTo>
                <a:lnTo>
                  <a:pt x="3859" y="672"/>
                </a:lnTo>
                <a:close/>
                <a:moveTo>
                  <a:pt x="8422" y="1167"/>
                </a:moveTo>
                <a:lnTo>
                  <a:pt x="8422" y="1166"/>
                </a:lnTo>
                <a:lnTo>
                  <a:pt x="8422" y="1167"/>
                </a:lnTo>
                <a:lnTo>
                  <a:pt x="8422" y="1167"/>
                </a:lnTo>
                <a:close/>
                <a:moveTo>
                  <a:pt x="8391" y="1167"/>
                </a:moveTo>
                <a:lnTo>
                  <a:pt x="8385" y="1170"/>
                </a:lnTo>
                <a:lnTo>
                  <a:pt x="8380" y="1175"/>
                </a:lnTo>
                <a:lnTo>
                  <a:pt x="8376" y="1181"/>
                </a:lnTo>
                <a:lnTo>
                  <a:pt x="8376" y="1188"/>
                </a:lnTo>
                <a:lnTo>
                  <a:pt x="8395" y="1194"/>
                </a:lnTo>
                <a:lnTo>
                  <a:pt x="8413" y="1181"/>
                </a:lnTo>
                <a:lnTo>
                  <a:pt x="8416" y="1168"/>
                </a:lnTo>
                <a:lnTo>
                  <a:pt x="8391" y="1167"/>
                </a:lnTo>
                <a:close/>
                <a:moveTo>
                  <a:pt x="10132" y="1435"/>
                </a:moveTo>
                <a:lnTo>
                  <a:pt x="10148" y="1426"/>
                </a:lnTo>
                <a:lnTo>
                  <a:pt x="10153" y="1408"/>
                </a:lnTo>
                <a:lnTo>
                  <a:pt x="10148" y="1394"/>
                </a:lnTo>
                <a:lnTo>
                  <a:pt x="10134" y="1400"/>
                </a:lnTo>
                <a:lnTo>
                  <a:pt x="10131" y="1410"/>
                </a:lnTo>
                <a:lnTo>
                  <a:pt x="10128" y="1422"/>
                </a:lnTo>
                <a:lnTo>
                  <a:pt x="10128" y="1431"/>
                </a:lnTo>
                <a:lnTo>
                  <a:pt x="10132" y="1435"/>
                </a:lnTo>
                <a:close/>
                <a:moveTo>
                  <a:pt x="7187" y="1087"/>
                </a:moveTo>
                <a:lnTo>
                  <a:pt x="7198" y="1088"/>
                </a:lnTo>
                <a:lnTo>
                  <a:pt x="7208" y="1076"/>
                </a:lnTo>
                <a:lnTo>
                  <a:pt x="7215" y="1058"/>
                </a:lnTo>
                <a:lnTo>
                  <a:pt x="7215" y="1044"/>
                </a:lnTo>
                <a:lnTo>
                  <a:pt x="7202" y="1046"/>
                </a:lnTo>
                <a:lnTo>
                  <a:pt x="7193" y="1056"/>
                </a:lnTo>
                <a:lnTo>
                  <a:pt x="7187" y="1072"/>
                </a:lnTo>
                <a:lnTo>
                  <a:pt x="7187" y="1087"/>
                </a:lnTo>
                <a:close/>
                <a:moveTo>
                  <a:pt x="9969" y="1293"/>
                </a:moveTo>
                <a:lnTo>
                  <a:pt x="9982" y="1287"/>
                </a:lnTo>
                <a:lnTo>
                  <a:pt x="9985" y="1272"/>
                </a:lnTo>
                <a:lnTo>
                  <a:pt x="9979" y="1258"/>
                </a:lnTo>
                <a:lnTo>
                  <a:pt x="9967" y="1251"/>
                </a:lnTo>
                <a:lnTo>
                  <a:pt x="9955" y="1260"/>
                </a:lnTo>
                <a:lnTo>
                  <a:pt x="9954" y="1273"/>
                </a:lnTo>
                <a:lnTo>
                  <a:pt x="9959" y="1287"/>
                </a:lnTo>
                <a:lnTo>
                  <a:pt x="9969" y="1293"/>
                </a:lnTo>
                <a:close/>
                <a:moveTo>
                  <a:pt x="10723" y="1526"/>
                </a:moveTo>
                <a:lnTo>
                  <a:pt x="10723" y="1525"/>
                </a:lnTo>
                <a:lnTo>
                  <a:pt x="10723" y="1526"/>
                </a:lnTo>
                <a:lnTo>
                  <a:pt x="10723" y="1526"/>
                </a:lnTo>
                <a:lnTo>
                  <a:pt x="10723" y="1526"/>
                </a:lnTo>
                <a:close/>
                <a:moveTo>
                  <a:pt x="10751" y="1581"/>
                </a:moveTo>
                <a:lnTo>
                  <a:pt x="10751" y="1582"/>
                </a:lnTo>
                <a:lnTo>
                  <a:pt x="10751" y="1581"/>
                </a:lnTo>
                <a:lnTo>
                  <a:pt x="10751" y="1582"/>
                </a:lnTo>
                <a:lnTo>
                  <a:pt x="10751" y="1581"/>
                </a:lnTo>
                <a:close/>
                <a:moveTo>
                  <a:pt x="10812" y="1345"/>
                </a:moveTo>
                <a:lnTo>
                  <a:pt x="10814" y="1336"/>
                </a:lnTo>
                <a:lnTo>
                  <a:pt x="10805" y="1329"/>
                </a:lnTo>
                <a:lnTo>
                  <a:pt x="10791" y="1324"/>
                </a:lnTo>
                <a:lnTo>
                  <a:pt x="10782" y="1321"/>
                </a:lnTo>
                <a:lnTo>
                  <a:pt x="10772" y="1334"/>
                </a:lnTo>
                <a:lnTo>
                  <a:pt x="10779" y="1344"/>
                </a:lnTo>
                <a:lnTo>
                  <a:pt x="10796" y="1350"/>
                </a:lnTo>
                <a:lnTo>
                  <a:pt x="10812" y="1345"/>
                </a:lnTo>
                <a:close/>
                <a:moveTo>
                  <a:pt x="7255" y="1050"/>
                </a:moveTo>
                <a:lnTo>
                  <a:pt x="7250" y="1060"/>
                </a:lnTo>
                <a:lnTo>
                  <a:pt x="7258" y="1069"/>
                </a:lnTo>
                <a:lnTo>
                  <a:pt x="7269" y="1076"/>
                </a:lnTo>
                <a:lnTo>
                  <a:pt x="7281" y="1077"/>
                </a:lnTo>
                <a:lnTo>
                  <a:pt x="7291" y="1064"/>
                </a:lnTo>
                <a:lnTo>
                  <a:pt x="7287" y="1053"/>
                </a:lnTo>
                <a:lnTo>
                  <a:pt x="7273" y="1048"/>
                </a:lnTo>
                <a:lnTo>
                  <a:pt x="7255" y="1050"/>
                </a:lnTo>
                <a:close/>
                <a:moveTo>
                  <a:pt x="10187" y="1301"/>
                </a:moveTo>
                <a:lnTo>
                  <a:pt x="10182" y="1312"/>
                </a:lnTo>
                <a:lnTo>
                  <a:pt x="10177" y="1324"/>
                </a:lnTo>
                <a:lnTo>
                  <a:pt x="10177" y="1334"/>
                </a:lnTo>
                <a:lnTo>
                  <a:pt x="10185" y="1340"/>
                </a:lnTo>
                <a:lnTo>
                  <a:pt x="10200" y="1333"/>
                </a:lnTo>
                <a:lnTo>
                  <a:pt x="10205" y="1312"/>
                </a:lnTo>
                <a:lnTo>
                  <a:pt x="10200" y="1296"/>
                </a:lnTo>
                <a:lnTo>
                  <a:pt x="10187" y="1301"/>
                </a:lnTo>
                <a:close/>
                <a:moveTo>
                  <a:pt x="9046" y="1140"/>
                </a:moveTo>
                <a:lnTo>
                  <a:pt x="9063" y="1143"/>
                </a:lnTo>
                <a:lnTo>
                  <a:pt x="9070" y="1132"/>
                </a:lnTo>
                <a:lnTo>
                  <a:pt x="9065" y="1115"/>
                </a:lnTo>
                <a:lnTo>
                  <a:pt x="9049" y="1104"/>
                </a:lnTo>
                <a:lnTo>
                  <a:pt x="9035" y="1109"/>
                </a:lnTo>
                <a:lnTo>
                  <a:pt x="9029" y="1119"/>
                </a:lnTo>
                <a:lnTo>
                  <a:pt x="9033" y="1132"/>
                </a:lnTo>
                <a:lnTo>
                  <a:pt x="9046" y="1140"/>
                </a:lnTo>
                <a:close/>
                <a:moveTo>
                  <a:pt x="3449" y="613"/>
                </a:moveTo>
                <a:lnTo>
                  <a:pt x="3455" y="629"/>
                </a:lnTo>
                <a:lnTo>
                  <a:pt x="3468" y="641"/>
                </a:lnTo>
                <a:lnTo>
                  <a:pt x="3486" y="649"/>
                </a:lnTo>
                <a:lnTo>
                  <a:pt x="3502" y="649"/>
                </a:lnTo>
                <a:lnTo>
                  <a:pt x="3497" y="636"/>
                </a:lnTo>
                <a:lnTo>
                  <a:pt x="3481" y="620"/>
                </a:lnTo>
                <a:lnTo>
                  <a:pt x="3462" y="608"/>
                </a:lnTo>
                <a:lnTo>
                  <a:pt x="3449" y="613"/>
                </a:lnTo>
                <a:close/>
                <a:moveTo>
                  <a:pt x="5676" y="760"/>
                </a:moveTo>
                <a:lnTo>
                  <a:pt x="5695" y="762"/>
                </a:lnTo>
                <a:lnTo>
                  <a:pt x="5716" y="765"/>
                </a:lnTo>
                <a:lnTo>
                  <a:pt x="5735" y="761"/>
                </a:lnTo>
                <a:lnTo>
                  <a:pt x="5751" y="751"/>
                </a:lnTo>
                <a:lnTo>
                  <a:pt x="5731" y="742"/>
                </a:lnTo>
                <a:lnTo>
                  <a:pt x="5703" y="738"/>
                </a:lnTo>
                <a:lnTo>
                  <a:pt x="5681" y="742"/>
                </a:lnTo>
                <a:lnTo>
                  <a:pt x="5676" y="760"/>
                </a:lnTo>
                <a:close/>
                <a:moveTo>
                  <a:pt x="4903" y="686"/>
                </a:moveTo>
                <a:lnTo>
                  <a:pt x="4934" y="682"/>
                </a:lnTo>
                <a:lnTo>
                  <a:pt x="4952" y="672"/>
                </a:lnTo>
                <a:lnTo>
                  <a:pt x="4950" y="661"/>
                </a:lnTo>
                <a:lnTo>
                  <a:pt x="4919" y="657"/>
                </a:lnTo>
                <a:lnTo>
                  <a:pt x="4907" y="659"/>
                </a:lnTo>
                <a:lnTo>
                  <a:pt x="4898" y="667"/>
                </a:lnTo>
                <a:lnTo>
                  <a:pt x="4897" y="677"/>
                </a:lnTo>
                <a:lnTo>
                  <a:pt x="4903" y="686"/>
                </a:lnTo>
                <a:close/>
                <a:moveTo>
                  <a:pt x="4694" y="845"/>
                </a:moveTo>
                <a:lnTo>
                  <a:pt x="4682" y="823"/>
                </a:lnTo>
                <a:lnTo>
                  <a:pt x="4656" y="823"/>
                </a:lnTo>
                <a:lnTo>
                  <a:pt x="4640" y="839"/>
                </a:lnTo>
                <a:lnTo>
                  <a:pt x="4647" y="863"/>
                </a:lnTo>
                <a:lnTo>
                  <a:pt x="4660" y="857"/>
                </a:lnTo>
                <a:lnTo>
                  <a:pt x="4674" y="857"/>
                </a:lnTo>
                <a:lnTo>
                  <a:pt x="4687" y="854"/>
                </a:lnTo>
                <a:lnTo>
                  <a:pt x="4694" y="845"/>
                </a:lnTo>
                <a:close/>
                <a:moveTo>
                  <a:pt x="4647" y="863"/>
                </a:moveTo>
                <a:lnTo>
                  <a:pt x="4647" y="864"/>
                </a:lnTo>
                <a:lnTo>
                  <a:pt x="4647" y="864"/>
                </a:lnTo>
                <a:lnTo>
                  <a:pt x="4647" y="864"/>
                </a:lnTo>
                <a:lnTo>
                  <a:pt x="4647" y="863"/>
                </a:lnTo>
                <a:close/>
                <a:moveTo>
                  <a:pt x="9940" y="1188"/>
                </a:moveTo>
                <a:lnTo>
                  <a:pt x="9912" y="1177"/>
                </a:lnTo>
                <a:lnTo>
                  <a:pt x="9881" y="1172"/>
                </a:lnTo>
                <a:lnTo>
                  <a:pt x="9850" y="1172"/>
                </a:lnTo>
                <a:lnTo>
                  <a:pt x="9818" y="1177"/>
                </a:lnTo>
                <a:lnTo>
                  <a:pt x="9855" y="1185"/>
                </a:lnTo>
                <a:lnTo>
                  <a:pt x="9887" y="1190"/>
                </a:lnTo>
                <a:lnTo>
                  <a:pt x="9915" y="1190"/>
                </a:lnTo>
                <a:lnTo>
                  <a:pt x="9940" y="1188"/>
                </a:lnTo>
                <a:close/>
                <a:moveTo>
                  <a:pt x="10667" y="5015"/>
                </a:moveTo>
                <a:lnTo>
                  <a:pt x="10654" y="5018"/>
                </a:lnTo>
                <a:lnTo>
                  <a:pt x="10644" y="5027"/>
                </a:lnTo>
                <a:lnTo>
                  <a:pt x="10635" y="5041"/>
                </a:lnTo>
                <a:lnTo>
                  <a:pt x="10630" y="5056"/>
                </a:lnTo>
                <a:lnTo>
                  <a:pt x="10474" y="5032"/>
                </a:lnTo>
                <a:lnTo>
                  <a:pt x="10331" y="4971"/>
                </a:lnTo>
                <a:lnTo>
                  <a:pt x="10263" y="4883"/>
                </a:lnTo>
                <a:lnTo>
                  <a:pt x="10330" y="4781"/>
                </a:lnTo>
                <a:lnTo>
                  <a:pt x="10395" y="4803"/>
                </a:lnTo>
                <a:lnTo>
                  <a:pt x="10476" y="4833"/>
                </a:lnTo>
                <a:lnTo>
                  <a:pt x="10573" y="4865"/>
                </a:lnTo>
                <a:lnTo>
                  <a:pt x="10686" y="4892"/>
                </a:lnTo>
                <a:lnTo>
                  <a:pt x="10702" y="4920"/>
                </a:lnTo>
                <a:lnTo>
                  <a:pt x="10747" y="4958"/>
                </a:lnTo>
                <a:lnTo>
                  <a:pt x="10779" y="4994"/>
                </a:lnTo>
                <a:lnTo>
                  <a:pt x="10756" y="5018"/>
                </a:lnTo>
                <a:lnTo>
                  <a:pt x="10744" y="5033"/>
                </a:lnTo>
                <a:lnTo>
                  <a:pt x="10724" y="5043"/>
                </a:lnTo>
                <a:lnTo>
                  <a:pt x="10699" y="5051"/>
                </a:lnTo>
                <a:lnTo>
                  <a:pt x="10670" y="5055"/>
                </a:lnTo>
                <a:lnTo>
                  <a:pt x="10674" y="5046"/>
                </a:lnTo>
                <a:lnTo>
                  <a:pt x="10674" y="5036"/>
                </a:lnTo>
                <a:lnTo>
                  <a:pt x="10672" y="5025"/>
                </a:lnTo>
                <a:lnTo>
                  <a:pt x="10667" y="5015"/>
                </a:lnTo>
                <a:close/>
                <a:moveTo>
                  <a:pt x="6025" y="783"/>
                </a:moveTo>
                <a:lnTo>
                  <a:pt x="6014" y="771"/>
                </a:lnTo>
                <a:lnTo>
                  <a:pt x="5987" y="766"/>
                </a:lnTo>
                <a:lnTo>
                  <a:pt x="5960" y="770"/>
                </a:lnTo>
                <a:lnTo>
                  <a:pt x="5945" y="781"/>
                </a:lnTo>
                <a:lnTo>
                  <a:pt x="5963" y="790"/>
                </a:lnTo>
                <a:lnTo>
                  <a:pt x="5983" y="793"/>
                </a:lnTo>
                <a:lnTo>
                  <a:pt x="6005" y="790"/>
                </a:lnTo>
                <a:lnTo>
                  <a:pt x="6025" y="783"/>
                </a:lnTo>
                <a:close/>
                <a:moveTo>
                  <a:pt x="10588" y="1311"/>
                </a:moveTo>
                <a:lnTo>
                  <a:pt x="10609" y="1314"/>
                </a:lnTo>
                <a:lnTo>
                  <a:pt x="10628" y="1314"/>
                </a:lnTo>
                <a:lnTo>
                  <a:pt x="10647" y="1311"/>
                </a:lnTo>
                <a:lnTo>
                  <a:pt x="10666" y="1306"/>
                </a:lnTo>
                <a:lnTo>
                  <a:pt x="10634" y="1291"/>
                </a:lnTo>
                <a:lnTo>
                  <a:pt x="10592" y="1286"/>
                </a:lnTo>
                <a:lnTo>
                  <a:pt x="10567" y="1292"/>
                </a:lnTo>
                <a:lnTo>
                  <a:pt x="10588" y="1311"/>
                </a:lnTo>
                <a:close/>
                <a:moveTo>
                  <a:pt x="10563" y="1284"/>
                </a:moveTo>
                <a:lnTo>
                  <a:pt x="10563" y="1284"/>
                </a:lnTo>
                <a:lnTo>
                  <a:pt x="10563" y="1284"/>
                </a:lnTo>
                <a:lnTo>
                  <a:pt x="10563" y="1284"/>
                </a:lnTo>
                <a:lnTo>
                  <a:pt x="10563" y="1284"/>
                </a:lnTo>
                <a:close/>
                <a:moveTo>
                  <a:pt x="9664" y="1468"/>
                </a:moveTo>
                <a:lnTo>
                  <a:pt x="9664" y="1468"/>
                </a:lnTo>
                <a:lnTo>
                  <a:pt x="9664" y="1468"/>
                </a:lnTo>
                <a:lnTo>
                  <a:pt x="9665" y="1468"/>
                </a:lnTo>
                <a:lnTo>
                  <a:pt x="9664" y="1468"/>
                </a:lnTo>
                <a:close/>
                <a:moveTo>
                  <a:pt x="9637" y="1391"/>
                </a:moveTo>
                <a:lnTo>
                  <a:pt x="9625" y="1396"/>
                </a:lnTo>
                <a:lnTo>
                  <a:pt x="9627" y="1417"/>
                </a:lnTo>
                <a:lnTo>
                  <a:pt x="9628" y="1438"/>
                </a:lnTo>
                <a:lnTo>
                  <a:pt x="9610" y="1452"/>
                </a:lnTo>
                <a:lnTo>
                  <a:pt x="9629" y="1479"/>
                </a:lnTo>
                <a:lnTo>
                  <a:pt x="9650" y="1465"/>
                </a:lnTo>
                <a:lnTo>
                  <a:pt x="9657" y="1429"/>
                </a:lnTo>
                <a:lnTo>
                  <a:pt x="9637" y="1391"/>
                </a:lnTo>
                <a:close/>
                <a:moveTo>
                  <a:pt x="3211" y="629"/>
                </a:moveTo>
                <a:lnTo>
                  <a:pt x="3225" y="629"/>
                </a:lnTo>
                <a:lnTo>
                  <a:pt x="3240" y="626"/>
                </a:lnTo>
                <a:lnTo>
                  <a:pt x="3249" y="619"/>
                </a:lnTo>
                <a:lnTo>
                  <a:pt x="3250" y="602"/>
                </a:lnTo>
                <a:lnTo>
                  <a:pt x="3232" y="580"/>
                </a:lnTo>
                <a:lnTo>
                  <a:pt x="3199" y="594"/>
                </a:lnTo>
                <a:lnTo>
                  <a:pt x="3182" y="619"/>
                </a:lnTo>
                <a:lnTo>
                  <a:pt x="3211" y="629"/>
                </a:lnTo>
                <a:close/>
                <a:moveTo>
                  <a:pt x="9548" y="1221"/>
                </a:moveTo>
                <a:lnTo>
                  <a:pt x="9541" y="1244"/>
                </a:lnTo>
                <a:lnTo>
                  <a:pt x="9575" y="1256"/>
                </a:lnTo>
                <a:lnTo>
                  <a:pt x="9606" y="1246"/>
                </a:lnTo>
                <a:lnTo>
                  <a:pt x="9596" y="1205"/>
                </a:lnTo>
                <a:lnTo>
                  <a:pt x="9582" y="1189"/>
                </a:lnTo>
                <a:lnTo>
                  <a:pt x="9571" y="1194"/>
                </a:lnTo>
                <a:lnTo>
                  <a:pt x="9561" y="1209"/>
                </a:lnTo>
                <a:lnTo>
                  <a:pt x="9548" y="1221"/>
                </a:lnTo>
                <a:close/>
                <a:moveTo>
                  <a:pt x="7304" y="958"/>
                </a:moveTo>
                <a:lnTo>
                  <a:pt x="7324" y="961"/>
                </a:lnTo>
                <a:lnTo>
                  <a:pt x="7345" y="958"/>
                </a:lnTo>
                <a:lnTo>
                  <a:pt x="7362" y="951"/>
                </a:lnTo>
                <a:lnTo>
                  <a:pt x="7375" y="933"/>
                </a:lnTo>
                <a:lnTo>
                  <a:pt x="7354" y="919"/>
                </a:lnTo>
                <a:lnTo>
                  <a:pt x="7318" y="922"/>
                </a:lnTo>
                <a:lnTo>
                  <a:pt x="7292" y="936"/>
                </a:lnTo>
                <a:lnTo>
                  <a:pt x="7304" y="958"/>
                </a:lnTo>
                <a:close/>
                <a:moveTo>
                  <a:pt x="9704" y="1363"/>
                </a:moveTo>
                <a:lnTo>
                  <a:pt x="9704" y="1363"/>
                </a:lnTo>
                <a:lnTo>
                  <a:pt x="9704" y="1363"/>
                </a:lnTo>
                <a:lnTo>
                  <a:pt x="9704" y="1363"/>
                </a:lnTo>
                <a:close/>
                <a:moveTo>
                  <a:pt x="9851" y="1277"/>
                </a:moveTo>
                <a:lnTo>
                  <a:pt x="9866" y="1274"/>
                </a:lnTo>
                <a:lnTo>
                  <a:pt x="9883" y="1270"/>
                </a:lnTo>
                <a:lnTo>
                  <a:pt x="9895" y="1263"/>
                </a:lnTo>
                <a:lnTo>
                  <a:pt x="9901" y="1247"/>
                </a:lnTo>
                <a:lnTo>
                  <a:pt x="9870" y="1227"/>
                </a:lnTo>
                <a:lnTo>
                  <a:pt x="9832" y="1235"/>
                </a:lnTo>
                <a:lnTo>
                  <a:pt x="9815" y="1255"/>
                </a:lnTo>
                <a:lnTo>
                  <a:pt x="9851" y="1277"/>
                </a:lnTo>
                <a:close/>
                <a:moveTo>
                  <a:pt x="6973" y="1198"/>
                </a:moveTo>
                <a:lnTo>
                  <a:pt x="6973" y="1198"/>
                </a:lnTo>
                <a:lnTo>
                  <a:pt x="6973" y="1198"/>
                </a:lnTo>
                <a:lnTo>
                  <a:pt x="6973" y="1198"/>
                </a:lnTo>
                <a:lnTo>
                  <a:pt x="6973" y="1198"/>
                </a:lnTo>
                <a:lnTo>
                  <a:pt x="6973" y="1198"/>
                </a:lnTo>
                <a:lnTo>
                  <a:pt x="6973" y="1198"/>
                </a:lnTo>
                <a:lnTo>
                  <a:pt x="6973" y="1198"/>
                </a:lnTo>
                <a:close/>
                <a:moveTo>
                  <a:pt x="6946" y="1263"/>
                </a:moveTo>
                <a:lnTo>
                  <a:pt x="6968" y="1217"/>
                </a:lnTo>
                <a:lnTo>
                  <a:pt x="6950" y="1209"/>
                </a:lnTo>
                <a:lnTo>
                  <a:pt x="6921" y="1226"/>
                </a:lnTo>
                <a:lnTo>
                  <a:pt x="6904" y="1249"/>
                </a:lnTo>
                <a:lnTo>
                  <a:pt x="6932" y="1292"/>
                </a:lnTo>
                <a:lnTo>
                  <a:pt x="6957" y="1319"/>
                </a:lnTo>
                <a:lnTo>
                  <a:pt x="6968" y="1314"/>
                </a:lnTo>
                <a:lnTo>
                  <a:pt x="6946" y="1263"/>
                </a:lnTo>
                <a:close/>
                <a:moveTo>
                  <a:pt x="6975" y="1293"/>
                </a:moveTo>
                <a:lnTo>
                  <a:pt x="6975" y="1293"/>
                </a:lnTo>
                <a:lnTo>
                  <a:pt x="6975" y="1293"/>
                </a:lnTo>
                <a:lnTo>
                  <a:pt x="6975" y="1292"/>
                </a:lnTo>
                <a:lnTo>
                  <a:pt x="6975" y="1293"/>
                </a:lnTo>
                <a:close/>
                <a:moveTo>
                  <a:pt x="5352" y="718"/>
                </a:moveTo>
                <a:lnTo>
                  <a:pt x="5352" y="718"/>
                </a:lnTo>
                <a:lnTo>
                  <a:pt x="5352" y="718"/>
                </a:lnTo>
                <a:lnTo>
                  <a:pt x="5352" y="718"/>
                </a:lnTo>
                <a:lnTo>
                  <a:pt x="5352" y="718"/>
                </a:lnTo>
                <a:close/>
                <a:moveTo>
                  <a:pt x="5506" y="746"/>
                </a:moveTo>
                <a:lnTo>
                  <a:pt x="5525" y="729"/>
                </a:lnTo>
                <a:lnTo>
                  <a:pt x="5503" y="719"/>
                </a:lnTo>
                <a:lnTo>
                  <a:pt x="5465" y="713"/>
                </a:lnTo>
                <a:lnTo>
                  <a:pt x="5436" y="713"/>
                </a:lnTo>
                <a:lnTo>
                  <a:pt x="5368" y="718"/>
                </a:lnTo>
                <a:lnTo>
                  <a:pt x="5383" y="731"/>
                </a:lnTo>
                <a:lnTo>
                  <a:pt x="5442" y="742"/>
                </a:lnTo>
                <a:lnTo>
                  <a:pt x="5506" y="746"/>
                </a:lnTo>
                <a:close/>
                <a:moveTo>
                  <a:pt x="10936" y="1392"/>
                </a:moveTo>
                <a:lnTo>
                  <a:pt x="11003" y="1392"/>
                </a:lnTo>
                <a:lnTo>
                  <a:pt x="10993" y="1377"/>
                </a:lnTo>
                <a:lnTo>
                  <a:pt x="10940" y="1357"/>
                </a:lnTo>
                <a:lnTo>
                  <a:pt x="10879" y="1340"/>
                </a:lnTo>
                <a:lnTo>
                  <a:pt x="10866" y="1348"/>
                </a:lnTo>
                <a:lnTo>
                  <a:pt x="10882" y="1366"/>
                </a:lnTo>
                <a:lnTo>
                  <a:pt x="10912" y="1385"/>
                </a:lnTo>
                <a:lnTo>
                  <a:pt x="10936" y="1392"/>
                </a:lnTo>
                <a:close/>
                <a:moveTo>
                  <a:pt x="7103" y="913"/>
                </a:moveTo>
                <a:lnTo>
                  <a:pt x="7103" y="913"/>
                </a:lnTo>
                <a:lnTo>
                  <a:pt x="7101" y="913"/>
                </a:lnTo>
                <a:lnTo>
                  <a:pt x="7101" y="913"/>
                </a:lnTo>
                <a:lnTo>
                  <a:pt x="7103" y="913"/>
                </a:lnTo>
                <a:close/>
                <a:moveTo>
                  <a:pt x="7152" y="939"/>
                </a:moveTo>
                <a:lnTo>
                  <a:pt x="7182" y="950"/>
                </a:lnTo>
                <a:lnTo>
                  <a:pt x="7221" y="950"/>
                </a:lnTo>
                <a:lnTo>
                  <a:pt x="7252" y="937"/>
                </a:lnTo>
                <a:lnTo>
                  <a:pt x="7254" y="910"/>
                </a:lnTo>
                <a:lnTo>
                  <a:pt x="7201" y="909"/>
                </a:lnTo>
                <a:lnTo>
                  <a:pt x="7145" y="902"/>
                </a:lnTo>
                <a:lnTo>
                  <a:pt x="7118" y="909"/>
                </a:lnTo>
                <a:lnTo>
                  <a:pt x="7152" y="939"/>
                </a:lnTo>
                <a:close/>
                <a:moveTo>
                  <a:pt x="6690" y="1134"/>
                </a:moveTo>
                <a:lnTo>
                  <a:pt x="6690" y="1134"/>
                </a:lnTo>
                <a:lnTo>
                  <a:pt x="6690" y="1135"/>
                </a:lnTo>
                <a:lnTo>
                  <a:pt x="6690" y="1134"/>
                </a:lnTo>
                <a:close/>
                <a:moveTo>
                  <a:pt x="6728" y="1097"/>
                </a:moveTo>
                <a:lnTo>
                  <a:pt x="6754" y="1091"/>
                </a:lnTo>
                <a:lnTo>
                  <a:pt x="6759" y="1111"/>
                </a:lnTo>
                <a:lnTo>
                  <a:pt x="6763" y="1138"/>
                </a:lnTo>
                <a:lnTo>
                  <a:pt x="6786" y="1151"/>
                </a:lnTo>
                <a:lnTo>
                  <a:pt x="6806" y="1146"/>
                </a:lnTo>
                <a:lnTo>
                  <a:pt x="6802" y="1120"/>
                </a:lnTo>
                <a:lnTo>
                  <a:pt x="6787" y="1092"/>
                </a:lnTo>
                <a:lnTo>
                  <a:pt x="6769" y="1074"/>
                </a:lnTo>
                <a:lnTo>
                  <a:pt x="6718" y="1039"/>
                </a:lnTo>
                <a:lnTo>
                  <a:pt x="6677" y="1082"/>
                </a:lnTo>
                <a:lnTo>
                  <a:pt x="6672" y="1126"/>
                </a:lnTo>
                <a:lnTo>
                  <a:pt x="6728" y="1097"/>
                </a:lnTo>
                <a:close/>
                <a:moveTo>
                  <a:pt x="6670" y="1133"/>
                </a:moveTo>
                <a:lnTo>
                  <a:pt x="6670" y="1133"/>
                </a:lnTo>
                <a:lnTo>
                  <a:pt x="6670" y="1133"/>
                </a:lnTo>
                <a:lnTo>
                  <a:pt x="6670" y="1133"/>
                </a:lnTo>
                <a:lnTo>
                  <a:pt x="6670" y="1133"/>
                </a:lnTo>
                <a:close/>
                <a:moveTo>
                  <a:pt x="7914" y="1250"/>
                </a:moveTo>
                <a:lnTo>
                  <a:pt x="7942" y="1238"/>
                </a:lnTo>
                <a:lnTo>
                  <a:pt x="7918" y="1226"/>
                </a:lnTo>
                <a:lnTo>
                  <a:pt x="7872" y="1223"/>
                </a:lnTo>
                <a:lnTo>
                  <a:pt x="7831" y="1241"/>
                </a:lnTo>
                <a:lnTo>
                  <a:pt x="7848" y="1286"/>
                </a:lnTo>
                <a:lnTo>
                  <a:pt x="7868" y="1297"/>
                </a:lnTo>
                <a:lnTo>
                  <a:pt x="7890" y="1283"/>
                </a:lnTo>
                <a:lnTo>
                  <a:pt x="7914" y="1250"/>
                </a:lnTo>
                <a:close/>
                <a:moveTo>
                  <a:pt x="10376" y="1263"/>
                </a:moveTo>
                <a:lnTo>
                  <a:pt x="10429" y="1282"/>
                </a:lnTo>
                <a:lnTo>
                  <a:pt x="10502" y="1294"/>
                </a:lnTo>
                <a:lnTo>
                  <a:pt x="10549" y="1292"/>
                </a:lnTo>
                <a:lnTo>
                  <a:pt x="10523" y="1269"/>
                </a:lnTo>
                <a:lnTo>
                  <a:pt x="10477" y="1263"/>
                </a:lnTo>
                <a:lnTo>
                  <a:pt x="10415" y="1251"/>
                </a:lnTo>
                <a:lnTo>
                  <a:pt x="10369" y="1246"/>
                </a:lnTo>
                <a:lnTo>
                  <a:pt x="10376" y="1263"/>
                </a:lnTo>
                <a:close/>
                <a:moveTo>
                  <a:pt x="7077" y="1050"/>
                </a:moveTo>
                <a:lnTo>
                  <a:pt x="7154" y="1045"/>
                </a:lnTo>
                <a:lnTo>
                  <a:pt x="7122" y="1026"/>
                </a:lnTo>
                <a:lnTo>
                  <a:pt x="7039" y="1013"/>
                </a:lnTo>
                <a:lnTo>
                  <a:pt x="6963" y="1022"/>
                </a:lnTo>
                <a:lnTo>
                  <a:pt x="6991" y="1042"/>
                </a:lnTo>
                <a:lnTo>
                  <a:pt x="7019" y="1054"/>
                </a:lnTo>
                <a:lnTo>
                  <a:pt x="7048" y="1056"/>
                </a:lnTo>
                <a:lnTo>
                  <a:pt x="7077" y="1050"/>
                </a:lnTo>
                <a:close/>
                <a:moveTo>
                  <a:pt x="7035" y="1083"/>
                </a:moveTo>
                <a:lnTo>
                  <a:pt x="7035" y="1082"/>
                </a:lnTo>
                <a:lnTo>
                  <a:pt x="7035" y="1082"/>
                </a:lnTo>
                <a:lnTo>
                  <a:pt x="7035" y="1082"/>
                </a:lnTo>
                <a:lnTo>
                  <a:pt x="7035" y="1083"/>
                </a:lnTo>
                <a:close/>
                <a:moveTo>
                  <a:pt x="9645" y="1247"/>
                </a:moveTo>
                <a:lnTo>
                  <a:pt x="9693" y="1259"/>
                </a:lnTo>
                <a:lnTo>
                  <a:pt x="9753" y="1263"/>
                </a:lnTo>
                <a:lnTo>
                  <a:pt x="9788" y="1251"/>
                </a:lnTo>
                <a:lnTo>
                  <a:pt x="9764" y="1218"/>
                </a:lnTo>
                <a:lnTo>
                  <a:pt x="9722" y="1209"/>
                </a:lnTo>
                <a:lnTo>
                  <a:pt x="9667" y="1203"/>
                </a:lnTo>
                <a:lnTo>
                  <a:pt x="9632" y="1212"/>
                </a:lnTo>
                <a:lnTo>
                  <a:pt x="9645" y="1247"/>
                </a:lnTo>
                <a:close/>
                <a:moveTo>
                  <a:pt x="6634" y="1079"/>
                </a:moveTo>
                <a:lnTo>
                  <a:pt x="6615" y="1039"/>
                </a:lnTo>
                <a:lnTo>
                  <a:pt x="6635" y="1013"/>
                </a:lnTo>
                <a:lnTo>
                  <a:pt x="6676" y="1002"/>
                </a:lnTo>
                <a:lnTo>
                  <a:pt x="6721" y="1003"/>
                </a:lnTo>
                <a:lnTo>
                  <a:pt x="6607" y="983"/>
                </a:lnTo>
                <a:lnTo>
                  <a:pt x="6578" y="1059"/>
                </a:lnTo>
                <a:lnTo>
                  <a:pt x="6598" y="1126"/>
                </a:lnTo>
                <a:lnTo>
                  <a:pt x="6634" y="1079"/>
                </a:lnTo>
                <a:close/>
                <a:moveTo>
                  <a:pt x="6596" y="1126"/>
                </a:moveTo>
                <a:lnTo>
                  <a:pt x="6596" y="1128"/>
                </a:lnTo>
                <a:lnTo>
                  <a:pt x="6596" y="1126"/>
                </a:lnTo>
                <a:lnTo>
                  <a:pt x="6595" y="1128"/>
                </a:lnTo>
                <a:lnTo>
                  <a:pt x="6596" y="1126"/>
                </a:lnTo>
                <a:close/>
                <a:moveTo>
                  <a:pt x="7447" y="978"/>
                </a:moveTo>
                <a:lnTo>
                  <a:pt x="7489" y="965"/>
                </a:lnTo>
                <a:lnTo>
                  <a:pt x="7537" y="972"/>
                </a:lnTo>
                <a:lnTo>
                  <a:pt x="7581" y="981"/>
                </a:lnTo>
                <a:lnTo>
                  <a:pt x="7618" y="975"/>
                </a:lnTo>
                <a:lnTo>
                  <a:pt x="7571" y="938"/>
                </a:lnTo>
                <a:lnTo>
                  <a:pt x="7487" y="924"/>
                </a:lnTo>
                <a:lnTo>
                  <a:pt x="7425" y="937"/>
                </a:lnTo>
                <a:lnTo>
                  <a:pt x="7447" y="978"/>
                </a:lnTo>
                <a:close/>
                <a:moveTo>
                  <a:pt x="7667" y="1160"/>
                </a:moveTo>
                <a:lnTo>
                  <a:pt x="7667" y="1160"/>
                </a:lnTo>
                <a:lnTo>
                  <a:pt x="7667" y="1160"/>
                </a:lnTo>
                <a:lnTo>
                  <a:pt x="7667" y="1160"/>
                </a:lnTo>
                <a:lnTo>
                  <a:pt x="7667" y="1160"/>
                </a:lnTo>
                <a:lnTo>
                  <a:pt x="7667" y="1161"/>
                </a:lnTo>
                <a:lnTo>
                  <a:pt x="7667" y="1160"/>
                </a:lnTo>
                <a:lnTo>
                  <a:pt x="7667" y="1160"/>
                </a:lnTo>
                <a:lnTo>
                  <a:pt x="7667" y="1160"/>
                </a:lnTo>
                <a:close/>
                <a:moveTo>
                  <a:pt x="7681" y="1140"/>
                </a:moveTo>
                <a:lnTo>
                  <a:pt x="7738" y="1151"/>
                </a:lnTo>
                <a:lnTo>
                  <a:pt x="7808" y="1167"/>
                </a:lnTo>
                <a:lnTo>
                  <a:pt x="7873" y="1176"/>
                </a:lnTo>
                <a:lnTo>
                  <a:pt x="7914" y="1158"/>
                </a:lnTo>
                <a:lnTo>
                  <a:pt x="7820" y="1135"/>
                </a:lnTo>
                <a:lnTo>
                  <a:pt x="7705" y="1115"/>
                </a:lnTo>
                <a:lnTo>
                  <a:pt x="7638" y="1111"/>
                </a:lnTo>
                <a:lnTo>
                  <a:pt x="7681" y="1140"/>
                </a:lnTo>
                <a:close/>
                <a:moveTo>
                  <a:pt x="6300" y="817"/>
                </a:moveTo>
                <a:lnTo>
                  <a:pt x="6386" y="825"/>
                </a:lnTo>
                <a:lnTo>
                  <a:pt x="6471" y="843"/>
                </a:lnTo>
                <a:lnTo>
                  <a:pt x="6556" y="859"/>
                </a:lnTo>
                <a:lnTo>
                  <a:pt x="6635" y="857"/>
                </a:lnTo>
                <a:lnTo>
                  <a:pt x="6542" y="822"/>
                </a:lnTo>
                <a:lnTo>
                  <a:pt x="6397" y="803"/>
                </a:lnTo>
                <a:lnTo>
                  <a:pt x="6288" y="801"/>
                </a:lnTo>
                <a:lnTo>
                  <a:pt x="6300" y="817"/>
                </a:lnTo>
                <a:close/>
                <a:moveTo>
                  <a:pt x="6248" y="817"/>
                </a:moveTo>
                <a:lnTo>
                  <a:pt x="6248" y="817"/>
                </a:lnTo>
                <a:lnTo>
                  <a:pt x="6248" y="817"/>
                </a:lnTo>
                <a:lnTo>
                  <a:pt x="6248" y="817"/>
                </a:lnTo>
                <a:lnTo>
                  <a:pt x="6248" y="817"/>
                </a:lnTo>
                <a:close/>
                <a:moveTo>
                  <a:pt x="8789" y="1115"/>
                </a:moveTo>
                <a:lnTo>
                  <a:pt x="8844" y="1115"/>
                </a:lnTo>
                <a:lnTo>
                  <a:pt x="8910" y="1134"/>
                </a:lnTo>
                <a:lnTo>
                  <a:pt x="8968" y="1139"/>
                </a:lnTo>
                <a:lnTo>
                  <a:pt x="8996" y="1098"/>
                </a:lnTo>
                <a:lnTo>
                  <a:pt x="8916" y="1084"/>
                </a:lnTo>
                <a:lnTo>
                  <a:pt x="8812" y="1070"/>
                </a:lnTo>
                <a:lnTo>
                  <a:pt x="8748" y="1074"/>
                </a:lnTo>
                <a:lnTo>
                  <a:pt x="8789" y="1115"/>
                </a:lnTo>
                <a:close/>
                <a:moveTo>
                  <a:pt x="6984" y="1210"/>
                </a:moveTo>
                <a:lnTo>
                  <a:pt x="6994" y="1207"/>
                </a:lnTo>
                <a:lnTo>
                  <a:pt x="6994" y="1194"/>
                </a:lnTo>
                <a:lnTo>
                  <a:pt x="6994" y="1179"/>
                </a:lnTo>
                <a:lnTo>
                  <a:pt x="7003" y="1172"/>
                </a:lnTo>
                <a:lnTo>
                  <a:pt x="7028" y="1181"/>
                </a:lnTo>
                <a:lnTo>
                  <a:pt x="7036" y="1205"/>
                </a:lnTo>
                <a:lnTo>
                  <a:pt x="7045" y="1224"/>
                </a:lnTo>
                <a:lnTo>
                  <a:pt x="7071" y="1218"/>
                </a:lnTo>
                <a:lnTo>
                  <a:pt x="7087" y="1171"/>
                </a:lnTo>
                <a:lnTo>
                  <a:pt x="7087" y="1116"/>
                </a:lnTo>
                <a:lnTo>
                  <a:pt x="7073" y="1092"/>
                </a:lnTo>
                <a:lnTo>
                  <a:pt x="7049" y="1134"/>
                </a:lnTo>
                <a:lnTo>
                  <a:pt x="7016" y="1090"/>
                </a:lnTo>
                <a:lnTo>
                  <a:pt x="6992" y="1098"/>
                </a:lnTo>
                <a:lnTo>
                  <a:pt x="6956" y="1121"/>
                </a:lnTo>
                <a:lnTo>
                  <a:pt x="6889" y="1120"/>
                </a:lnTo>
                <a:lnTo>
                  <a:pt x="6889" y="1135"/>
                </a:lnTo>
                <a:lnTo>
                  <a:pt x="6899" y="1144"/>
                </a:lnTo>
                <a:lnTo>
                  <a:pt x="6907" y="1154"/>
                </a:lnTo>
                <a:lnTo>
                  <a:pt x="6900" y="1175"/>
                </a:lnTo>
                <a:lnTo>
                  <a:pt x="6907" y="1198"/>
                </a:lnTo>
                <a:lnTo>
                  <a:pt x="6928" y="1184"/>
                </a:lnTo>
                <a:lnTo>
                  <a:pt x="6956" y="1174"/>
                </a:lnTo>
                <a:lnTo>
                  <a:pt x="6984" y="1210"/>
                </a:lnTo>
                <a:close/>
                <a:moveTo>
                  <a:pt x="6919" y="1207"/>
                </a:moveTo>
                <a:lnTo>
                  <a:pt x="6918" y="1207"/>
                </a:lnTo>
                <a:lnTo>
                  <a:pt x="6918" y="1208"/>
                </a:lnTo>
                <a:lnTo>
                  <a:pt x="6919" y="1207"/>
                </a:lnTo>
                <a:close/>
                <a:moveTo>
                  <a:pt x="9075" y="1125"/>
                </a:moveTo>
                <a:lnTo>
                  <a:pt x="9075" y="1124"/>
                </a:lnTo>
                <a:lnTo>
                  <a:pt x="9074" y="1125"/>
                </a:lnTo>
                <a:lnTo>
                  <a:pt x="9074" y="1125"/>
                </a:lnTo>
                <a:lnTo>
                  <a:pt x="9075" y="1125"/>
                </a:lnTo>
                <a:close/>
                <a:moveTo>
                  <a:pt x="9387" y="1156"/>
                </a:moveTo>
                <a:lnTo>
                  <a:pt x="9413" y="1157"/>
                </a:lnTo>
                <a:lnTo>
                  <a:pt x="9406" y="1176"/>
                </a:lnTo>
                <a:lnTo>
                  <a:pt x="9385" y="1191"/>
                </a:lnTo>
                <a:lnTo>
                  <a:pt x="9369" y="1177"/>
                </a:lnTo>
                <a:lnTo>
                  <a:pt x="9373" y="1170"/>
                </a:lnTo>
                <a:lnTo>
                  <a:pt x="9377" y="1163"/>
                </a:lnTo>
                <a:lnTo>
                  <a:pt x="9382" y="1158"/>
                </a:lnTo>
                <a:lnTo>
                  <a:pt x="9387" y="1156"/>
                </a:lnTo>
                <a:close/>
                <a:moveTo>
                  <a:pt x="9140" y="1179"/>
                </a:moveTo>
                <a:lnTo>
                  <a:pt x="9178" y="1163"/>
                </a:lnTo>
                <a:lnTo>
                  <a:pt x="9205" y="1184"/>
                </a:lnTo>
                <a:lnTo>
                  <a:pt x="9240" y="1198"/>
                </a:lnTo>
                <a:lnTo>
                  <a:pt x="9298" y="1162"/>
                </a:lnTo>
                <a:lnTo>
                  <a:pt x="9339" y="1230"/>
                </a:lnTo>
                <a:lnTo>
                  <a:pt x="9406" y="1242"/>
                </a:lnTo>
                <a:lnTo>
                  <a:pt x="9487" y="1222"/>
                </a:lnTo>
                <a:lnTo>
                  <a:pt x="9568" y="1193"/>
                </a:lnTo>
                <a:lnTo>
                  <a:pt x="9454" y="1158"/>
                </a:lnTo>
                <a:lnTo>
                  <a:pt x="9271" y="1121"/>
                </a:lnTo>
                <a:lnTo>
                  <a:pt x="9130" y="1118"/>
                </a:lnTo>
                <a:lnTo>
                  <a:pt x="9140" y="1179"/>
                </a:lnTo>
                <a:close/>
                <a:moveTo>
                  <a:pt x="7653" y="970"/>
                </a:moveTo>
                <a:lnTo>
                  <a:pt x="7936" y="1022"/>
                </a:lnTo>
                <a:lnTo>
                  <a:pt x="8208" y="1058"/>
                </a:lnTo>
                <a:lnTo>
                  <a:pt x="8465" y="1077"/>
                </a:lnTo>
                <a:lnTo>
                  <a:pt x="8703" y="1083"/>
                </a:lnTo>
                <a:lnTo>
                  <a:pt x="8464" y="1037"/>
                </a:lnTo>
                <a:lnTo>
                  <a:pt x="8192" y="1003"/>
                </a:lnTo>
                <a:lnTo>
                  <a:pt x="7913" y="981"/>
                </a:lnTo>
                <a:lnTo>
                  <a:pt x="7653" y="970"/>
                </a:lnTo>
                <a:close/>
                <a:moveTo>
                  <a:pt x="8386" y="1083"/>
                </a:moveTo>
                <a:lnTo>
                  <a:pt x="8386" y="1083"/>
                </a:lnTo>
                <a:lnTo>
                  <a:pt x="8386" y="1082"/>
                </a:lnTo>
                <a:lnTo>
                  <a:pt x="8386" y="1083"/>
                </a:lnTo>
                <a:close/>
                <a:moveTo>
                  <a:pt x="8290" y="1358"/>
                </a:moveTo>
                <a:lnTo>
                  <a:pt x="8290" y="1358"/>
                </a:lnTo>
                <a:lnTo>
                  <a:pt x="8290" y="1357"/>
                </a:lnTo>
                <a:lnTo>
                  <a:pt x="8290" y="1358"/>
                </a:lnTo>
                <a:close/>
                <a:moveTo>
                  <a:pt x="8870" y="1418"/>
                </a:moveTo>
                <a:lnTo>
                  <a:pt x="8870" y="1418"/>
                </a:lnTo>
                <a:lnTo>
                  <a:pt x="8870" y="1417"/>
                </a:lnTo>
                <a:lnTo>
                  <a:pt x="8870" y="1418"/>
                </a:lnTo>
                <a:close/>
                <a:moveTo>
                  <a:pt x="5671" y="972"/>
                </a:moveTo>
                <a:lnTo>
                  <a:pt x="5671" y="972"/>
                </a:lnTo>
                <a:lnTo>
                  <a:pt x="5671" y="972"/>
                </a:lnTo>
                <a:lnTo>
                  <a:pt x="5671" y="972"/>
                </a:lnTo>
                <a:close/>
                <a:moveTo>
                  <a:pt x="10199" y="1577"/>
                </a:moveTo>
                <a:lnTo>
                  <a:pt x="10199" y="1578"/>
                </a:lnTo>
                <a:lnTo>
                  <a:pt x="10199" y="1578"/>
                </a:lnTo>
                <a:lnTo>
                  <a:pt x="10199" y="1577"/>
                </a:lnTo>
                <a:close/>
                <a:moveTo>
                  <a:pt x="6015" y="920"/>
                </a:moveTo>
                <a:lnTo>
                  <a:pt x="6016" y="920"/>
                </a:lnTo>
                <a:lnTo>
                  <a:pt x="6016" y="919"/>
                </a:lnTo>
                <a:lnTo>
                  <a:pt x="6015" y="919"/>
                </a:lnTo>
                <a:lnTo>
                  <a:pt x="6015" y="920"/>
                </a:lnTo>
                <a:close/>
                <a:moveTo>
                  <a:pt x="6638" y="1132"/>
                </a:moveTo>
                <a:lnTo>
                  <a:pt x="6638" y="1130"/>
                </a:lnTo>
                <a:lnTo>
                  <a:pt x="6637" y="1130"/>
                </a:lnTo>
                <a:lnTo>
                  <a:pt x="6637" y="1130"/>
                </a:lnTo>
                <a:lnTo>
                  <a:pt x="6638" y="1132"/>
                </a:lnTo>
                <a:close/>
                <a:moveTo>
                  <a:pt x="11354" y="1764"/>
                </a:moveTo>
                <a:lnTo>
                  <a:pt x="11354" y="1764"/>
                </a:lnTo>
                <a:lnTo>
                  <a:pt x="11354" y="1764"/>
                </a:lnTo>
                <a:lnTo>
                  <a:pt x="11354" y="1764"/>
                </a:lnTo>
                <a:close/>
                <a:moveTo>
                  <a:pt x="8226" y="1501"/>
                </a:moveTo>
                <a:lnTo>
                  <a:pt x="8226" y="1501"/>
                </a:lnTo>
                <a:lnTo>
                  <a:pt x="8225" y="1499"/>
                </a:lnTo>
                <a:lnTo>
                  <a:pt x="8226" y="1501"/>
                </a:lnTo>
                <a:close/>
                <a:moveTo>
                  <a:pt x="6142" y="1871"/>
                </a:moveTo>
                <a:lnTo>
                  <a:pt x="6141" y="1871"/>
                </a:lnTo>
                <a:lnTo>
                  <a:pt x="6141" y="1871"/>
                </a:lnTo>
                <a:lnTo>
                  <a:pt x="6142" y="1871"/>
                </a:lnTo>
                <a:close/>
                <a:moveTo>
                  <a:pt x="3294" y="902"/>
                </a:moveTo>
                <a:lnTo>
                  <a:pt x="3294" y="902"/>
                </a:lnTo>
                <a:lnTo>
                  <a:pt x="3292" y="904"/>
                </a:lnTo>
                <a:lnTo>
                  <a:pt x="3294" y="902"/>
                </a:lnTo>
                <a:close/>
                <a:moveTo>
                  <a:pt x="10694" y="4939"/>
                </a:moveTo>
                <a:lnTo>
                  <a:pt x="10694" y="4939"/>
                </a:lnTo>
                <a:lnTo>
                  <a:pt x="10694" y="4939"/>
                </a:lnTo>
                <a:lnTo>
                  <a:pt x="10694" y="4939"/>
                </a:lnTo>
                <a:close/>
                <a:moveTo>
                  <a:pt x="6351" y="986"/>
                </a:moveTo>
                <a:lnTo>
                  <a:pt x="6351" y="986"/>
                </a:lnTo>
                <a:lnTo>
                  <a:pt x="6351" y="986"/>
                </a:lnTo>
                <a:lnTo>
                  <a:pt x="6351" y="986"/>
                </a:lnTo>
                <a:close/>
                <a:moveTo>
                  <a:pt x="6404" y="990"/>
                </a:moveTo>
                <a:lnTo>
                  <a:pt x="6404" y="990"/>
                </a:lnTo>
                <a:lnTo>
                  <a:pt x="6404" y="992"/>
                </a:lnTo>
                <a:lnTo>
                  <a:pt x="6404" y="990"/>
                </a:lnTo>
                <a:close/>
                <a:moveTo>
                  <a:pt x="4889" y="1044"/>
                </a:moveTo>
                <a:lnTo>
                  <a:pt x="4888" y="1044"/>
                </a:lnTo>
                <a:lnTo>
                  <a:pt x="4888" y="1045"/>
                </a:lnTo>
                <a:lnTo>
                  <a:pt x="4889" y="1044"/>
                </a:lnTo>
                <a:close/>
                <a:moveTo>
                  <a:pt x="7182" y="1242"/>
                </a:moveTo>
                <a:lnTo>
                  <a:pt x="7182" y="1241"/>
                </a:lnTo>
                <a:lnTo>
                  <a:pt x="7182" y="1241"/>
                </a:lnTo>
                <a:lnTo>
                  <a:pt x="7182" y="1242"/>
                </a:lnTo>
                <a:close/>
                <a:moveTo>
                  <a:pt x="9717" y="1473"/>
                </a:moveTo>
                <a:lnTo>
                  <a:pt x="9717" y="1471"/>
                </a:lnTo>
                <a:lnTo>
                  <a:pt x="9717" y="1473"/>
                </a:lnTo>
                <a:lnTo>
                  <a:pt x="9717" y="1473"/>
                </a:lnTo>
                <a:lnTo>
                  <a:pt x="9717" y="1473"/>
                </a:lnTo>
                <a:close/>
                <a:moveTo>
                  <a:pt x="9003" y="1348"/>
                </a:moveTo>
                <a:lnTo>
                  <a:pt x="9004" y="1348"/>
                </a:lnTo>
                <a:lnTo>
                  <a:pt x="9004" y="1347"/>
                </a:lnTo>
                <a:lnTo>
                  <a:pt x="9003" y="1348"/>
                </a:lnTo>
                <a:close/>
                <a:moveTo>
                  <a:pt x="7336" y="2010"/>
                </a:moveTo>
                <a:lnTo>
                  <a:pt x="7337" y="2010"/>
                </a:lnTo>
                <a:lnTo>
                  <a:pt x="7336" y="2009"/>
                </a:lnTo>
                <a:lnTo>
                  <a:pt x="7336" y="2009"/>
                </a:lnTo>
                <a:lnTo>
                  <a:pt x="7336" y="2010"/>
                </a:lnTo>
                <a:lnTo>
                  <a:pt x="7336" y="2009"/>
                </a:lnTo>
                <a:lnTo>
                  <a:pt x="7336" y="2010"/>
                </a:lnTo>
                <a:close/>
                <a:moveTo>
                  <a:pt x="8677" y="5181"/>
                </a:moveTo>
                <a:lnTo>
                  <a:pt x="8678" y="5181"/>
                </a:lnTo>
                <a:lnTo>
                  <a:pt x="8677" y="5181"/>
                </a:lnTo>
                <a:lnTo>
                  <a:pt x="8674" y="5178"/>
                </a:lnTo>
                <a:lnTo>
                  <a:pt x="8670" y="5177"/>
                </a:lnTo>
                <a:lnTo>
                  <a:pt x="8674" y="5178"/>
                </a:lnTo>
                <a:lnTo>
                  <a:pt x="8677" y="5181"/>
                </a:lnTo>
                <a:close/>
                <a:moveTo>
                  <a:pt x="8677" y="5181"/>
                </a:moveTo>
                <a:lnTo>
                  <a:pt x="8678" y="5182"/>
                </a:lnTo>
                <a:lnTo>
                  <a:pt x="8677" y="5181"/>
                </a:lnTo>
                <a:close/>
                <a:moveTo>
                  <a:pt x="8971" y="5266"/>
                </a:moveTo>
                <a:lnTo>
                  <a:pt x="8967" y="5265"/>
                </a:lnTo>
                <a:lnTo>
                  <a:pt x="8966" y="5265"/>
                </a:lnTo>
                <a:lnTo>
                  <a:pt x="8967" y="5265"/>
                </a:lnTo>
                <a:lnTo>
                  <a:pt x="8970" y="5267"/>
                </a:lnTo>
                <a:lnTo>
                  <a:pt x="8971" y="5267"/>
                </a:lnTo>
                <a:lnTo>
                  <a:pt x="8971" y="5266"/>
                </a:lnTo>
                <a:close/>
                <a:moveTo>
                  <a:pt x="10637" y="5607"/>
                </a:moveTo>
                <a:lnTo>
                  <a:pt x="10639" y="5606"/>
                </a:lnTo>
                <a:lnTo>
                  <a:pt x="10640" y="5606"/>
                </a:lnTo>
                <a:lnTo>
                  <a:pt x="10642" y="5603"/>
                </a:lnTo>
                <a:lnTo>
                  <a:pt x="10640" y="5602"/>
                </a:lnTo>
                <a:lnTo>
                  <a:pt x="10638" y="5602"/>
                </a:lnTo>
                <a:lnTo>
                  <a:pt x="10637" y="5602"/>
                </a:lnTo>
                <a:lnTo>
                  <a:pt x="10635" y="5603"/>
                </a:lnTo>
                <a:lnTo>
                  <a:pt x="10637" y="5607"/>
                </a:lnTo>
                <a:close/>
                <a:moveTo>
                  <a:pt x="5079" y="5145"/>
                </a:moveTo>
                <a:lnTo>
                  <a:pt x="5082" y="5145"/>
                </a:lnTo>
                <a:lnTo>
                  <a:pt x="5079" y="5145"/>
                </a:lnTo>
                <a:lnTo>
                  <a:pt x="5082" y="5145"/>
                </a:lnTo>
                <a:lnTo>
                  <a:pt x="5083" y="5146"/>
                </a:lnTo>
                <a:lnTo>
                  <a:pt x="5083" y="5146"/>
                </a:lnTo>
                <a:lnTo>
                  <a:pt x="5079" y="5145"/>
                </a:lnTo>
                <a:close/>
                <a:moveTo>
                  <a:pt x="9974" y="5066"/>
                </a:moveTo>
                <a:lnTo>
                  <a:pt x="9977" y="5067"/>
                </a:lnTo>
                <a:lnTo>
                  <a:pt x="9981" y="5070"/>
                </a:lnTo>
                <a:lnTo>
                  <a:pt x="9978" y="5067"/>
                </a:lnTo>
                <a:lnTo>
                  <a:pt x="9974" y="5066"/>
                </a:lnTo>
                <a:close/>
                <a:moveTo>
                  <a:pt x="9982" y="5071"/>
                </a:moveTo>
                <a:lnTo>
                  <a:pt x="9982" y="5070"/>
                </a:lnTo>
                <a:lnTo>
                  <a:pt x="9981" y="5070"/>
                </a:lnTo>
                <a:lnTo>
                  <a:pt x="9981" y="5070"/>
                </a:lnTo>
                <a:lnTo>
                  <a:pt x="9981" y="5070"/>
                </a:lnTo>
                <a:lnTo>
                  <a:pt x="9982" y="5071"/>
                </a:lnTo>
                <a:close/>
                <a:moveTo>
                  <a:pt x="9987" y="5074"/>
                </a:moveTo>
                <a:lnTo>
                  <a:pt x="9985" y="5073"/>
                </a:lnTo>
                <a:lnTo>
                  <a:pt x="9987" y="5074"/>
                </a:lnTo>
                <a:lnTo>
                  <a:pt x="9985" y="5073"/>
                </a:lnTo>
                <a:lnTo>
                  <a:pt x="9987" y="5074"/>
                </a:lnTo>
                <a:close/>
                <a:moveTo>
                  <a:pt x="10267" y="5120"/>
                </a:moveTo>
                <a:lnTo>
                  <a:pt x="10269" y="5122"/>
                </a:lnTo>
                <a:lnTo>
                  <a:pt x="10271" y="5123"/>
                </a:lnTo>
                <a:lnTo>
                  <a:pt x="10272" y="5123"/>
                </a:lnTo>
                <a:lnTo>
                  <a:pt x="10275" y="5122"/>
                </a:lnTo>
                <a:lnTo>
                  <a:pt x="10274" y="5120"/>
                </a:lnTo>
                <a:lnTo>
                  <a:pt x="10272" y="5118"/>
                </a:lnTo>
                <a:lnTo>
                  <a:pt x="10270" y="5118"/>
                </a:lnTo>
                <a:lnTo>
                  <a:pt x="10267" y="5120"/>
                </a:lnTo>
                <a:close/>
                <a:moveTo>
                  <a:pt x="8819" y="6139"/>
                </a:moveTo>
                <a:lnTo>
                  <a:pt x="8823" y="6137"/>
                </a:lnTo>
                <a:lnTo>
                  <a:pt x="8821" y="6135"/>
                </a:lnTo>
                <a:lnTo>
                  <a:pt x="8819" y="6135"/>
                </a:lnTo>
                <a:lnTo>
                  <a:pt x="8819" y="6137"/>
                </a:lnTo>
                <a:lnTo>
                  <a:pt x="8819" y="6139"/>
                </a:lnTo>
                <a:close/>
                <a:moveTo>
                  <a:pt x="8356" y="5877"/>
                </a:moveTo>
                <a:lnTo>
                  <a:pt x="8358" y="5878"/>
                </a:lnTo>
                <a:lnTo>
                  <a:pt x="8361" y="5878"/>
                </a:lnTo>
                <a:lnTo>
                  <a:pt x="8363" y="5878"/>
                </a:lnTo>
                <a:lnTo>
                  <a:pt x="8366" y="5876"/>
                </a:lnTo>
                <a:lnTo>
                  <a:pt x="8365" y="5873"/>
                </a:lnTo>
                <a:lnTo>
                  <a:pt x="8362" y="5872"/>
                </a:lnTo>
                <a:lnTo>
                  <a:pt x="8360" y="5874"/>
                </a:lnTo>
                <a:lnTo>
                  <a:pt x="8356" y="5877"/>
                </a:lnTo>
                <a:close/>
                <a:moveTo>
                  <a:pt x="6390" y="5706"/>
                </a:moveTo>
                <a:lnTo>
                  <a:pt x="6391" y="5709"/>
                </a:lnTo>
                <a:lnTo>
                  <a:pt x="6392" y="5709"/>
                </a:lnTo>
                <a:lnTo>
                  <a:pt x="6393" y="5709"/>
                </a:lnTo>
                <a:lnTo>
                  <a:pt x="6395" y="5706"/>
                </a:lnTo>
                <a:lnTo>
                  <a:pt x="6390" y="5706"/>
                </a:lnTo>
                <a:close/>
                <a:moveTo>
                  <a:pt x="8880" y="5165"/>
                </a:moveTo>
                <a:lnTo>
                  <a:pt x="8884" y="5164"/>
                </a:lnTo>
                <a:lnTo>
                  <a:pt x="8882" y="5163"/>
                </a:lnTo>
                <a:lnTo>
                  <a:pt x="8880" y="5162"/>
                </a:lnTo>
                <a:lnTo>
                  <a:pt x="8880" y="5163"/>
                </a:lnTo>
                <a:lnTo>
                  <a:pt x="8880" y="5165"/>
                </a:lnTo>
                <a:close/>
                <a:moveTo>
                  <a:pt x="5971" y="5648"/>
                </a:moveTo>
                <a:lnTo>
                  <a:pt x="5977" y="5647"/>
                </a:lnTo>
                <a:lnTo>
                  <a:pt x="5974" y="5644"/>
                </a:lnTo>
                <a:lnTo>
                  <a:pt x="5973" y="5644"/>
                </a:lnTo>
                <a:lnTo>
                  <a:pt x="5972" y="5644"/>
                </a:lnTo>
                <a:lnTo>
                  <a:pt x="5971" y="5648"/>
                </a:lnTo>
                <a:close/>
                <a:moveTo>
                  <a:pt x="3486" y="5321"/>
                </a:moveTo>
                <a:lnTo>
                  <a:pt x="3488" y="5321"/>
                </a:lnTo>
                <a:lnTo>
                  <a:pt x="3491" y="5321"/>
                </a:lnTo>
                <a:lnTo>
                  <a:pt x="3492" y="5319"/>
                </a:lnTo>
                <a:lnTo>
                  <a:pt x="3492" y="5317"/>
                </a:lnTo>
                <a:lnTo>
                  <a:pt x="3490" y="5316"/>
                </a:lnTo>
                <a:lnTo>
                  <a:pt x="3487" y="5316"/>
                </a:lnTo>
                <a:lnTo>
                  <a:pt x="3486" y="5317"/>
                </a:lnTo>
                <a:lnTo>
                  <a:pt x="3486" y="5321"/>
                </a:lnTo>
                <a:close/>
                <a:moveTo>
                  <a:pt x="3434" y="5313"/>
                </a:moveTo>
                <a:lnTo>
                  <a:pt x="3436" y="5313"/>
                </a:lnTo>
                <a:lnTo>
                  <a:pt x="3440" y="5311"/>
                </a:lnTo>
                <a:lnTo>
                  <a:pt x="3436" y="5311"/>
                </a:lnTo>
                <a:lnTo>
                  <a:pt x="3432" y="5309"/>
                </a:lnTo>
                <a:lnTo>
                  <a:pt x="3431" y="5311"/>
                </a:lnTo>
                <a:lnTo>
                  <a:pt x="3434" y="5313"/>
                </a:lnTo>
                <a:close/>
                <a:moveTo>
                  <a:pt x="8497" y="5672"/>
                </a:moveTo>
                <a:lnTo>
                  <a:pt x="8498" y="5670"/>
                </a:lnTo>
                <a:lnTo>
                  <a:pt x="8500" y="5668"/>
                </a:lnTo>
                <a:lnTo>
                  <a:pt x="8498" y="5668"/>
                </a:lnTo>
                <a:lnTo>
                  <a:pt x="8495" y="5668"/>
                </a:lnTo>
                <a:lnTo>
                  <a:pt x="8497" y="5672"/>
                </a:lnTo>
                <a:close/>
                <a:moveTo>
                  <a:pt x="8902" y="5943"/>
                </a:moveTo>
                <a:lnTo>
                  <a:pt x="8907" y="5943"/>
                </a:lnTo>
                <a:lnTo>
                  <a:pt x="8906" y="5941"/>
                </a:lnTo>
                <a:lnTo>
                  <a:pt x="8905" y="5941"/>
                </a:lnTo>
                <a:lnTo>
                  <a:pt x="8903" y="5941"/>
                </a:lnTo>
                <a:lnTo>
                  <a:pt x="8902" y="5943"/>
                </a:lnTo>
                <a:close/>
                <a:moveTo>
                  <a:pt x="8757" y="5927"/>
                </a:moveTo>
                <a:lnTo>
                  <a:pt x="8759" y="5927"/>
                </a:lnTo>
                <a:lnTo>
                  <a:pt x="8761" y="5925"/>
                </a:lnTo>
                <a:lnTo>
                  <a:pt x="8761" y="5924"/>
                </a:lnTo>
                <a:lnTo>
                  <a:pt x="8758" y="5922"/>
                </a:lnTo>
                <a:lnTo>
                  <a:pt x="8757" y="5927"/>
                </a:lnTo>
                <a:close/>
                <a:moveTo>
                  <a:pt x="8910" y="5285"/>
                </a:moveTo>
                <a:lnTo>
                  <a:pt x="8911" y="5284"/>
                </a:lnTo>
                <a:lnTo>
                  <a:pt x="8911" y="5283"/>
                </a:lnTo>
                <a:lnTo>
                  <a:pt x="8910" y="5281"/>
                </a:lnTo>
                <a:lnTo>
                  <a:pt x="8907" y="5281"/>
                </a:lnTo>
                <a:lnTo>
                  <a:pt x="8910" y="5285"/>
                </a:lnTo>
                <a:close/>
                <a:moveTo>
                  <a:pt x="6285" y="5302"/>
                </a:moveTo>
                <a:lnTo>
                  <a:pt x="6284" y="5304"/>
                </a:lnTo>
                <a:lnTo>
                  <a:pt x="6285" y="5305"/>
                </a:lnTo>
                <a:lnTo>
                  <a:pt x="6286" y="5305"/>
                </a:lnTo>
                <a:lnTo>
                  <a:pt x="6289" y="5305"/>
                </a:lnTo>
                <a:lnTo>
                  <a:pt x="6285" y="5302"/>
                </a:lnTo>
                <a:close/>
                <a:moveTo>
                  <a:pt x="6553" y="5733"/>
                </a:moveTo>
                <a:lnTo>
                  <a:pt x="6555" y="5734"/>
                </a:lnTo>
                <a:lnTo>
                  <a:pt x="6556" y="5734"/>
                </a:lnTo>
                <a:lnTo>
                  <a:pt x="6558" y="5733"/>
                </a:lnTo>
                <a:lnTo>
                  <a:pt x="6558" y="5729"/>
                </a:lnTo>
                <a:lnTo>
                  <a:pt x="6555" y="5729"/>
                </a:lnTo>
                <a:lnTo>
                  <a:pt x="6553" y="5729"/>
                </a:lnTo>
                <a:lnTo>
                  <a:pt x="6553" y="5732"/>
                </a:lnTo>
                <a:lnTo>
                  <a:pt x="6553" y="5733"/>
                </a:lnTo>
                <a:close/>
                <a:moveTo>
                  <a:pt x="9953" y="5023"/>
                </a:moveTo>
                <a:lnTo>
                  <a:pt x="9950" y="5020"/>
                </a:lnTo>
                <a:lnTo>
                  <a:pt x="9949" y="5020"/>
                </a:lnTo>
                <a:lnTo>
                  <a:pt x="9948" y="5022"/>
                </a:lnTo>
                <a:lnTo>
                  <a:pt x="9948" y="5025"/>
                </a:lnTo>
                <a:lnTo>
                  <a:pt x="9953" y="5023"/>
                </a:lnTo>
                <a:close/>
                <a:moveTo>
                  <a:pt x="9075" y="5981"/>
                </a:moveTo>
                <a:lnTo>
                  <a:pt x="9077" y="5985"/>
                </a:lnTo>
                <a:lnTo>
                  <a:pt x="9079" y="5988"/>
                </a:lnTo>
                <a:lnTo>
                  <a:pt x="9083" y="5988"/>
                </a:lnTo>
                <a:lnTo>
                  <a:pt x="9087" y="5988"/>
                </a:lnTo>
                <a:lnTo>
                  <a:pt x="9087" y="5984"/>
                </a:lnTo>
                <a:lnTo>
                  <a:pt x="9084" y="5983"/>
                </a:lnTo>
                <a:lnTo>
                  <a:pt x="9080" y="5981"/>
                </a:lnTo>
                <a:lnTo>
                  <a:pt x="9075" y="5981"/>
                </a:lnTo>
                <a:close/>
                <a:moveTo>
                  <a:pt x="10978" y="4963"/>
                </a:moveTo>
                <a:lnTo>
                  <a:pt x="10980" y="4969"/>
                </a:lnTo>
                <a:lnTo>
                  <a:pt x="10983" y="4972"/>
                </a:lnTo>
                <a:lnTo>
                  <a:pt x="10988" y="4972"/>
                </a:lnTo>
                <a:lnTo>
                  <a:pt x="10993" y="4968"/>
                </a:lnTo>
                <a:lnTo>
                  <a:pt x="10991" y="4963"/>
                </a:lnTo>
                <a:lnTo>
                  <a:pt x="10988" y="4960"/>
                </a:lnTo>
                <a:lnTo>
                  <a:pt x="10983" y="4960"/>
                </a:lnTo>
                <a:lnTo>
                  <a:pt x="10978" y="4963"/>
                </a:lnTo>
                <a:close/>
                <a:moveTo>
                  <a:pt x="10407" y="5218"/>
                </a:moveTo>
                <a:lnTo>
                  <a:pt x="10409" y="5214"/>
                </a:lnTo>
                <a:lnTo>
                  <a:pt x="10411" y="5210"/>
                </a:lnTo>
                <a:lnTo>
                  <a:pt x="10406" y="5209"/>
                </a:lnTo>
                <a:lnTo>
                  <a:pt x="10402" y="5213"/>
                </a:lnTo>
                <a:lnTo>
                  <a:pt x="10402" y="5218"/>
                </a:lnTo>
                <a:lnTo>
                  <a:pt x="10407" y="5218"/>
                </a:lnTo>
                <a:close/>
                <a:moveTo>
                  <a:pt x="766" y="1549"/>
                </a:moveTo>
                <a:lnTo>
                  <a:pt x="766" y="1547"/>
                </a:lnTo>
                <a:lnTo>
                  <a:pt x="764" y="1544"/>
                </a:lnTo>
                <a:lnTo>
                  <a:pt x="762" y="1544"/>
                </a:lnTo>
                <a:lnTo>
                  <a:pt x="759" y="1543"/>
                </a:lnTo>
                <a:lnTo>
                  <a:pt x="761" y="1547"/>
                </a:lnTo>
                <a:lnTo>
                  <a:pt x="762" y="1550"/>
                </a:lnTo>
                <a:lnTo>
                  <a:pt x="763" y="1552"/>
                </a:lnTo>
                <a:lnTo>
                  <a:pt x="766" y="1549"/>
                </a:lnTo>
                <a:close/>
                <a:moveTo>
                  <a:pt x="6055" y="5661"/>
                </a:moveTo>
                <a:lnTo>
                  <a:pt x="6060" y="5662"/>
                </a:lnTo>
                <a:lnTo>
                  <a:pt x="6063" y="5662"/>
                </a:lnTo>
                <a:lnTo>
                  <a:pt x="6066" y="5659"/>
                </a:lnTo>
                <a:lnTo>
                  <a:pt x="6063" y="5656"/>
                </a:lnTo>
                <a:lnTo>
                  <a:pt x="6058" y="5658"/>
                </a:lnTo>
                <a:lnTo>
                  <a:pt x="6055" y="5661"/>
                </a:lnTo>
                <a:close/>
                <a:moveTo>
                  <a:pt x="1837" y="4758"/>
                </a:moveTo>
                <a:lnTo>
                  <a:pt x="1833" y="4759"/>
                </a:lnTo>
                <a:lnTo>
                  <a:pt x="1829" y="4762"/>
                </a:lnTo>
                <a:lnTo>
                  <a:pt x="1828" y="4764"/>
                </a:lnTo>
                <a:lnTo>
                  <a:pt x="1830" y="4768"/>
                </a:lnTo>
                <a:lnTo>
                  <a:pt x="1834" y="4767"/>
                </a:lnTo>
                <a:lnTo>
                  <a:pt x="1837" y="4764"/>
                </a:lnTo>
                <a:lnTo>
                  <a:pt x="1839" y="4762"/>
                </a:lnTo>
                <a:lnTo>
                  <a:pt x="1837" y="4758"/>
                </a:lnTo>
                <a:close/>
                <a:moveTo>
                  <a:pt x="6205" y="5420"/>
                </a:moveTo>
                <a:lnTo>
                  <a:pt x="6210" y="5417"/>
                </a:lnTo>
                <a:lnTo>
                  <a:pt x="6210" y="5415"/>
                </a:lnTo>
                <a:lnTo>
                  <a:pt x="6206" y="5414"/>
                </a:lnTo>
                <a:lnTo>
                  <a:pt x="6201" y="5416"/>
                </a:lnTo>
                <a:lnTo>
                  <a:pt x="6204" y="5419"/>
                </a:lnTo>
                <a:lnTo>
                  <a:pt x="6205" y="5420"/>
                </a:lnTo>
                <a:close/>
                <a:moveTo>
                  <a:pt x="7347" y="5868"/>
                </a:moveTo>
                <a:lnTo>
                  <a:pt x="7345" y="5864"/>
                </a:lnTo>
                <a:lnTo>
                  <a:pt x="7342" y="5862"/>
                </a:lnTo>
                <a:lnTo>
                  <a:pt x="7340" y="5860"/>
                </a:lnTo>
                <a:lnTo>
                  <a:pt x="7336" y="5863"/>
                </a:lnTo>
                <a:lnTo>
                  <a:pt x="7338" y="5866"/>
                </a:lnTo>
                <a:lnTo>
                  <a:pt x="7341" y="5868"/>
                </a:lnTo>
                <a:lnTo>
                  <a:pt x="7343" y="5869"/>
                </a:lnTo>
                <a:lnTo>
                  <a:pt x="7347" y="5868"/>
                </a:lnTo>
                <a:close/>
                <a:moveTo>
                  <a:pt x="8924" y="6161"/>
                </a:moveTo>
                <a:lnTo>
                  <a:pt x="8928" y="6165"/>
                </a:lnTo>
                <a:lnTo>
                  <a:pt x="8931" y="6167"/>
                </a:lnTo>
                <a:lnTo>
                  <a:pt x="8935" y="6167"/>
                </a:lnTo>
                <a:lnTo>
                  <a:pt x="8942" y="6165"/>
                </a:lnTo>
                <a:lnTo>
                  <a:pt x="8938" y="6160"/>
                </a:lnTo>
                <a:lnTo>
                  <a:pt x="8933" y="6157"/>
                </a:lnTo>
                <a:lnTo>
                  <a:pt x="8929" y="6157"/>
                </a:lnTo>
                <a:lnTo>
                  <a:pt x="8924" y="6161"/>
                </a:lnTo>
                <a:close/>
                <a:moveTo>
                  <a:pt x="10016" y="5020"/>
                </a:moveTo>
                <a:lnTo>
                  <a:pt x="10016" y="5022"/>
                </a:lnTo>
                <a:lnTo>
                  <a:pt x="10016" y="5020"/>
                </a:lnTo>
                <a:lnTo>
                  <a:pt x="10016" y="5020"/>
                </a:lnTo>
                <a:lnTo>
                  <a:pt x="10016" y="5020"/>
                </a:lnTo>
                <a:lnTo>
                  <a:pt x="10016" y="5020"/>
                </a:lnTo>
                <a:lnTo>
                  <a:pt x="10016" y="5020"/>
                </a:lnTo>
                <a:close/>
                <a:moveTo>
                  <a:pt x="10022" y="5045"/>
                </a:moveTo>
                <a:lnTo>
                  <a:pt x="10015" y="5043"/>
                </a:lnTo>
                <a:lnTo>
                  <a:pt x="10015" y="5043"/>
                </a:lnTo>
                <a:lnTo>
                  <a:pt x="10018" y="5043"/>
                </a:lnTo>
                <a:lnTo>
                  <a:pt x="10022" y="5045"/>
                </a:lnTo>
                <a:lnTo>
                  <a:pt x="10019" y="5032"/>
                </a:lnTo>
                <a:lnTo>
                  <a:pt x="10018" y="5027"/>
                </a:lnTo>
                <a:lnTo>
                  <a:pt x="10018" y="5032"/>
                </a:lnTo>
                <a:lnTo>
                  <a:pt x="10022" y="5045"/>
                </a:lnTo>
                <a:close/>
                <a:moveTo>
                  <a:pt x="8530" y="6078"/>
                </a:moveTo>
                <a:lnTo>
                  <a:pt x="8533" y="6083"/>
                </a:lnTo>
                <a:lnTo>
                  <a:pt x="8538" y="6084"/>
                </a:lnTo>
                <a:lnTo>
                  <a:pt x="8542" y="6086"/>
                </a:lnTo>
                <a:lnTo>
                  <a:pt x="8548" y="6084"/>
                </a:lnTo>
                <a:lnTo>
                  <a:pt x="8544" y="6079"/>
                </a:lnTo>
                <a:lnTo>
                  <a:pt x="8540" y="6078"/>
                </a:lnTo>
                <a:lnTo>
                  <a:pt x="8535" y="6077"/>
                </a:lnTo>
                <a:lnTo>
                  <a:pt x="8530" y="6078"/>
                </a:lnTo>
                <a:close/>
                <a:moveTo>
                  <a:pt x="8465" y="5796"/>
                </a:moveTo>
                <a:lnTo>
                  <a:pt x="8467" y="5801"/>
                </a:lnTo>
                <a:lnTo>
                  <a:pt x="8469" y="5803"/>
                </a:lnTo>
                <a:lnTo>
                  <a:pt x="8473" y="5804"/>
                </a:lnTo>
                <a:lnTo>
                  <a:pt x="8478" y="5801"/>
                </a:lnTo>
                <a:lnTo>
                  <a:pt x="8477" y="5797"/>
                </a:lnTo>
                <a:lnTo>
                  <a:pt x="8474" y="5796"/>
                </a:lnTo>
                <a:lnTo>
                  <a:pt x="8470" y="5796"/>
                </a:lnTo>
                <a:lnTo>
                  <a:pt x="8465" y="5796"/>
                </a:lnTo>
                <a:close/>
                <a:moveTo>
                  <a:pt x="7230" y="5286"/>
                </a:moveTo>
                <a:lnTo>
                  <a:pt x="7225" y="5288"/>
                </a:lnTo>
                <a:lnTo>
                  <a:pt x="7222" y="5293"/>
                </a:lnTo>
                <a:lnTo>
                  <a:pt x="7222" y="5297"/>
                </a:lnTo>
                <a:lnTo>
                  <a:pt x="7229" y="5300"/>
                </a:lnTo>
                <a:lnTo>
                  <a:pt x="7230" y="5300"/>
                </a:lnTo>
                <a:lnTo>
                  <a:pt x="7231" y="5299"/>
                </a:lnTo>
                <a:lnTo>
                  <a:pt x="7233" y="5317"/>
                </a:lnTo>
                <a:lnTo>
                  <a:pt x="7231" y="5335"/>
                </a:lnTo>
                <a:lnTo>
                  <a:pt x="7308" y="5313"/>
                </a:lnTo>
                <a:lnTo>
                  <a:pt x="7378" y="5312"/>
                </a:lnTo>
                <a:lnTo>
                  <a:pt x="7421" y="5345"/>
                </a:lnTo>
                <a:lnTo>
                  <a:pt x="7411" y="5430"/>
                </a:lnTo>
                <a:lnTo>
                  <a:pt x="7383" y="5448"/>
                </a:lnTo>
                <a:lnTo>
                  <a:pt x="7359" y="5415"/>
                </a:lnTo>
                <a:lnTo>
                  <a:pt x="7328" y="5374"/>
                </a:lnTo>
                <a:lnTo>
                  <a:pt x="7285" y="5374"/>
                </a:lnTo>
                <a:lnTo>
                  <a:pt x="7281" y="5401"/>
                </a:lnTo>
                <a:lnTo>
                  <a:pt x="7275" y="5435"/>
                </a:lnTo>
                <a:lnTo>
                  <a:pt x="7262" y="5454"/>
                </a:lnTo>
                <a:lnTo>
                  <a:pt x="7236" y="5438"/>
                </a:lnTo>
                <a:lnTo>
                  <a:pt x="7216" y="5431"/>
                </a:lnTo>
                <a:lnTo>
                  <a:pt x="7193" y="5438"/>
                </a:lnTo>
                <a:lnTo>
                  <a:pt x="7170" y="5437"/>
                </a:lnTo>
                <a:lnTo>
                  <a:pt x="7149" y="5405"/>
                </a:lnTo>
                <a:lnTo>
                  <a:pt x="7110" y="5411"/>
                </a:lnTo>
                <a:lnTo>
                  <a:pt x="7119" y="5447"/>
                </a:lnTo>
                <a:lnTo>
                  <a:pt x="7137" y="5489"/>
                </a:lnTo>
                <a:lnTo>
                  <a:pt x="7129" y="5517"/>
                </a:lnTo>
                <a:lnTo>
                  <a:pt x="7081" y="5501"/>
                </a:lnTo>
                <a:lnTo>
                  <a:pt x="7043" y="5512"/>
                </a:lnTo>
                <a:lnTo>
                  <a:pt x="7016" y="5540"/>
                </a:lnTo>
                <a:lnTo>
                  <a:pt x="7005" y="5574"/>
                </a:lnTo>
                <a:lnTo>
                  <a:pt x="7001" y="5574"/>
                </a:lnTo>
                <a:lnTo>
                  <a:pt x="6996" y="5574"/>
                </a:lnTo>
                <a:lnTo>
                  <a:pt x="6992" y="5575"/>
                </a:lnTo>
                <a:lnTo>
                  <a:pt x="6989" y="5579"/>
                </a:lnTo>
                <a:lnTo>
                  <a:pt x="6992" y="5577"/>
                </a:lnTo>
                <a:lnTo>
                  <a:pt x="6996" y="5575"/>
                </a:lnTo>
                <a:lnTo>
                  <a:pt x="7001" y="5575"/>
                </a:lnTo>
                <a:lnTo>
                  <a:pt x="7005" y="5575"/>
                </a:lnTo>
                <a:lnTo>
                  <a:pt x="7007" y="5598"/>
                </a:lnTo>
                <a:lnTo>
                  <a:pt x="7016" y="5619"/>
                </a:lnTo>
                <a:lnTo>
                  <a:pt x="7035" y="5630"/>
                </a:lnTo>
                <a:lnTo>
                  <a:pt x="7063" y="5631"/>
                </a:lnTo>
                <a:lnTo>
                  <a:pt x="6927" y="5657"/>
                </a:lnTo>
                <a:lnTo>
                  <a:pt x="6780" y="5645"/>
                </a:lnTo>
                <a:lnTo>
                  <a:pt x="6663" y="5598"/>
                </a:lnTo>
                <a:lnTo>
                  <a:pt x="6610" y="5515"/>
                </a:lnTo>
                <a:lnTo>
                  <a:pt x="6488" y="5599"/>
                </a:lnTo>
                <a:lnTo>
                  <a:pt x="6350" y="5557"/>
                </a:lnTo>
                <a:lnTo>
                  <a:pt x="6300" y="5470"/>
                </a:lnTo>
                <a:lnTo>
                  <a:pt x="6434" y="5417"/>
                </a:lnTo>
                <a:lnTo>
                  <a:pt x="6447" y="5456"/>
                </a:lnTo>
                <a:lnTo>
                  <a:pt x="6461" y="5476"/>
                </a:lnTo>
                <a:lnTo>
                  <a:pt x="6470" y="5503"/>
                </a:lnTo>
                <a:lnTo>
                  <a:pt x="6468" y="5561"/>
                </a:lnTo>
                <a:lnTo>
                  <a:pt x="6573" y="5513"/>
                </a:lnTo>
                <a:lnTo>
                  <a:pt x="6705" y="5515"/>
                </a:lnTo>
                <a:lnTo>
                  <a:pt x="6814" y="5523"/>
                </a:lnTo>
                <a:lnTo>
                  <a:pt x="6842" y="5495"/>
                </a:lnTo>
                <a:lnTo>
                  <a:pt x="6816" y="5481"/>
                </a:lnTo>
                <a:lnTo>
                  <a:pt x="6758" y="5480"/>
                </a:lnTo>
                <a:lnTo>
                  <a:pt x="6705" y="5477"/>
                </a:lnTo>
                <a:lnTo>
                  <a:pt x="6700" y="5462"/>
                </a:lnTo>
                <a:lnTo>
                  <a:pt x="6728" y="5419"/>
                </a:lnTo>
                <a:lnTo>
                  <a:pt x="6755" y="5368"/>
                </a:lnTo>
                <a:lnTo>
                  <a:pt x="6789" y="5325"/>
                </a:lnTo>
                <a:lnTo>
                  <a:pt x="6840" y="5309"/>
                </a:lnTo>
                <a:lnTo>
                  <a:pt x="6800" y="5402"/>
                </a:lnTo>
                <a:lnTo>
                  <a:pt x="6798" y="5417"/>
                </a:lnTo>
                <a:lnTo>
                  <a:pt x="6845" y="5414"/>
                </a:lnTo>
                <a:lnTo>
                  <a:pt x="6945" y="5443"/>
                </a:lnTo>
                <a:lnTo>
                  <a:pt x="6986" y="5449"/>
                </a:lnTo>
                <a:lnTo>
                  <a:pt x="7007" y="5412"/>
                </a:lnTo>
                <a:lnTo>
                  <a:pt x="7050" y="5358"/>
                </a:lnTo>
                <a:lnTo>
                  <a:pt x="7152" y="5312"/>
                </a:lnTo>
                <a:lnTo>
                  <a:pt x="7179" y="5261"/>
                </a:lnTo>
                <a:lnTo>
                  <a:pt x="7201" y="5243"/>
                </a:lnTo>
                <a:lnTo>
                  <a:pt x="7219" y="5255"/>
                </a:lnTo>
                <a:lnTo>
                  <a:pt x="7230" y="5286"/>
                </a:lnTo>
                <a:close/>
                <a:moveTo>
                  <a:pt x="10430" y="4824"/>
                </a:moveTo>
                <a:lnTo>
                  <a:pt x="10434" y="4829"/>
                </a:lnTo>
                <a:lnTo>
                  <a:pt x="10439" y="4832"/>
                </a:lnTo>
                <a:lnTo>
                  <a:pt x="10443" y="4832"/>
                </a:lnTo>
                <a:lnTo>
                  <a:pt x="10449" y="4831"/>
                </a:lnTo>
                <a:lnTo>
                  <a:pt x="10446" y="4826"/>
                </a:lnTo>
                <a:lnTo>
                  <a:pt x="10442" y="4824"/>
                </a:lnTo>
                <a:lnTo>
                  <a:pt x="10437" y="4823"/>
                </a:lnTo>
                <a:lnTo>
                  <a:pt x="10430" y="4824"/>
                </a:lnTo>
                <a:close/>
                <a:moveTo>
                  <a:pt x="9601" y="6101"/>
                </a:moveTo>
                <a:lnTo>
                  <a:pt x="9605" y="6105"/>
                </a:lnTo>
                <a:lnTo>
                  <a:pt x="9609" y="6109"/>
                </a:lnTo>
                <a:lnTo>
                  <a:pt x="9614" y="6109"/>
                </a:lnTo>
                <a:lnTo>
                  <a:pt x="9620" y="6107"/>
                </a:lnTo>
                <a:lnTo>
                  <a:pt x="9617" y="6102"/>
                </a:lnTo>
                <a:lnTo>
                  <a:pt x="9613" y="6100"/>
                </a:lnTo>
                <a:lnTo>
                  <a:pt x="9608" y="6100"/>
                </a:lnTo>
                <a:lnTo>
                  <a:pt x="9601" y="6101"/>
                </a:lnTo>
                <a:close/>
                <a:moveTo>
                  <a:pt x="8664" y="6111"/>
                </a:moveTo>
                <a:lnTo>
                  <a:pt x="8665" y="6114"/>
                </a:lnTo>
                <a:lnTo>
                  <a:pt x="8668" y="6115"/>
                </a:lnTo>
                <a:lnTo>
                  <a:pt x="8674" y="6111"/>
                </a:lnTo>
                <a:lnTo>
                  <a:pt x="8673" y="6106"/>
                </a:lnTo>
                <a:lnTo>
                  <a:pt x="8668" y="6105"/>
                </a:lnTo>
                <a:lnTo>
                  <a:pt x="8664" y="6111"/>
                </a:lnTo>
                <a:close/>
                <a:moveTo>
                  <a:pt x="8729" y="6126"/>
                </a:moveTo>
                <a:lnTo>
                  <a:pt x="8735" y="6129"/>
                </a:lnTo>
                <a:lnTo>
                  <a:pt x="8742" y="6130"/>
                </a:lnTo>
                <a:lnTo>
                  <a:pt x="8747" y="6128"/>
                </a:lnTo>
                <a:lnTo>
                  <a:pt x="8753" y="6124"/>
                </a:lnTo>
                <a:lnTo>
                  <a:pt x="8744" y="6121"/>
                </a:lnTo>
                <a:lnTo>
                  <a:pt x="8738" y="6119"/>
                </a:lnTo>
                <a:lnTo>
                  <a:pt x="8733" y="6120"/>
                </a:lnTo>
                <a:lnTo>
                  <a:pt x="8729" y="6126"/>
                </a:lnTo>
                <a:close/>
                <a:moveTo>
                  <a:pt x="971" y="1530"/>
                </a:moveTo>
                <a:lnTo>
                  <a:pt x="969" y="1520"/>
                </a:lnTo>
                <a:lnTo>
                  <a:pt x="966" y="1516"/>
                </a:lnTo>
                <a:lnTo>
                  <a:pt x="958" y="1515"/>
                </a:lnTo>
                <a:lnTo>
                  <a:pt x="949" y="1515"/>
                </a:lnTo>
                <a:lnTo>
                  <a:pt x="950" y="1525"/>
                </a:lnTo>
                <a:lnTo>
                  <a:pt x="954" y="1530"/>
                </a:lnTo>
                <a:lnTo>
                  <a:pt x="961" y="1531"/>
                </a:lnTo>
                <a:lnTo>
                  <a:pt x="971" y="1530"/>
                </a:lnTo>
                <a:close/>
                <a:moveTo>
                  <a:pt x="4810" y="5507"/>
                </a:moveTo>
                <a:lnTo>
                  <a:pt x="4819" y="5508"/>
                </a:lnTo>
                <a:lnTo>
                  <a:pt x="4829" y="5509"/>
                </a:lnTo>
                <a:lnTo>
                  <a:pt x="4837" y="5508"/>
                </a:lnTo>
                <a:lnTo>
                  <a:pt x="4841" y="5501"/>
                </a:lnTo>
                <a:lnTo>
                  <a:pt x="4831" y="5500"/>
                </a:lnTo>
                <a:lnTo>
                  <a:pt x="4821" y="5498"/>
                </a:lnTo>
                <a:lnTo>
                  <a:pt x="4812" y="5499"/>
                </a:lnTo>
                <a:lnTo>
                  <a:pt x="4810" y="5507"/>
                </a:lnTo>
                <a:close/>
                <a:moveTo>
                  <a:pt x="6637" y="5747"/>
                </a:moveTo>
                <a:lnTo>
                  <a:pt x="6644" y="5754"/>
                </a:lnTo>
                <a:lnTo>
                  <a:pt x="6652" y="5756"/>
                </a:lnTo>
                <a:lnTo>
                  <a:pt x="6658" y="5754"/>
                </a:lnTo>
                <a:lnTo>
                  <a:pt x="6666" y="5748"/>
                </a:lnTo>
                <a:lnTo>
                  <a:pt x="6658" y="5742"/>
                </a:lnTo>
                <a:lnTo>
                  <a:pt x="6651" y="5740"/>
                </a:lnTo>
                <a:lnTo>
                  <a:pt x="6643" y="5741"/>
                </a:lnTo>
                <a:lnTo>
                  <a:pt x="6637" y="5747"/>
                </a:lnTo>
                <a:close/>
                <a:moveTo>
                  <a:pt x="8413" y="6058"/>
                </a:moveTo>
                <a:lnTo>
                  <a:pt x="8422" y="6067"/>
                </a:lnTo>
                <a:lnTo>
                  <a:pt x="8431" y="6072"/>
                </a:lnTo>
                <a:lnTo>
                  <a:pt x="8442" y="6072"/>
                </a:lnTo>
                <a:lnTo>
                  <a:pt x="8455" y="6069"/>
                </a:lnTo>
                <a:lnTo>
                  <a:pt x="8447" y="6059"/>
                </a:lnTo>
                <a:lnTo>
                  <a:pt x="8437" y="6053"/>
                </a:lnTo>
                <a:lnTo>
                  <a:pt x="8427" y="6053"/>
                </a:lnTo>
                <a:lnTo>
                  <a:pt x="8413" y="6058"/>
                </a:lnTo>
                <a:close/>
                <a:moveTo>
                  <a:pt x="6791" y="5773"/>
                </a:moveTo>
                <a:lnTo>
                  <a:pt x="6786" y="5766"/>
                </a:lnTo>
                <a:lnTo>
                  <a:pt x="6773" y="5762"/>
                </a:lnTo>
                <a:lnTo>
                  <a:pt x="6761" y="5762"/>
                </a:lnTo>
                <a:lnTo>
                  <a:pt x="6756" y="5768"/>
                </a:lnTo>
                <a:lnTo>
                  <a:pt x="6765" y="5770"/>
                </a:lnTo>
                <a:lnTo>
                  <a:pt x="6774" y="5774"/>
                </a:lnTo>
                <a:lnTo>
                  <a:pt x="6783" y="5776"/>
                </a:lnTo>
                <a:lnTo>
                  <a:pt x="6791" y="5773"/>
                </a:lnTo>
                <a:close/>
                <a:moveTo>
                  <a:pt x="8826" y="5927"/>
                </a:moveTo>
                <a:lnTo>
                  <a:pt x="8826" y="5936"/>
                </a:lnTo>
                <a:lnTo>
                  <a:pt x="8833" y="5943"/>
                </a:lnTo>
                <a:lnTo>
                  <a:pt x="8845" y="5946"/>
                </a:lnTo>
                <a:lnTo>
                  <a:pt x="8854" y="5943"/>
                </a:lnTo>
                <a:lnTo>
                  <a:pt x="8851" y="5934"/>
                </a:lnTo>
                <a:lnTo>
                  <a:pt x="8845" y="5930"/>
                </a:lnTo>
                <a:lnTo>
                  <a:pt x="8836" y="5928"/>
                </a:lnTo>
                <a:lnTo>
                  <a:pt x="8826" y="5927"/>
                </a:lnTo>
                <a:close/>
                <a:moveTo>
                  <a:pt x="10359" y="5201"/>
                </a:moveTo>
                <a:lnTo>
                  <a:pt x="10368" y="5195"/>
                </a:lnTo>
                <a:lnTo>
                  <a:pt x="10369" y="5188"/>
                </a:lnTo>
                <a:lnTo>
                  <a:pt x="10365" y="5179"/>
                </a:lnTo>
                <a:lnTo>
                  <a:pt x="10358" y="5169"/>
                </a:lnTo>
                <a:lnTo>
                  <a:pt x="10348" y="5179"/>
                </a:lnTo>
                <a:lnTo>
                  <a:pt x="10345" y="5186"/>
                </a:lnTo>
                <a:lnTo>
                  <a:pt x="10349" y="5193"/>
                </a:lnTo>
                <a:lnTo>
                  <a:pt x="10359" y="5201"/>
                </a:lnTo>
                <a:close/>
                <a:moveTo>
                  <a:pt x="5271" y="5561"/>
                </a:moveTo>
                <a:lnTo>
                  <a:pt x="5297" y="5566"/>
                </a:lnTo>
                <a:lnTo>
                  <a:pt x="5322" y="5570"/>
                </a:lnTo>
                <a:lnTo>
                  <a:pt x="5349" y="5573"/>
                </a:lnTo>
                <a:lnTo>
                  <a:pt x="5380" y="5573"/>
                </a:lnTo>
                <a:lnTo>
                  <a:pt x="5339" y="5561"/>
                </a:lnTo>
                <a:lnTo>
                  <a:pt x="5315" y="5556"/>
                </a:lnTo>
                <a:lnTo>
                  <a:pt x="5296" y="5556"/>
                </a:lnTo>
                <a:lnTo>
                  <a:pt x="5271" y="5561"/>
                </a:lnTo>
                <a:close/>
                <a:moveTo>
                  <a:pt x="7249" y="5346"/>
                </a:moveTo>
                <a:lnTo>
                  <a:pt x="7258" y="5354"/>
                </a:lnTo>
                <a:lnTo>
                  <a:pt x="7269" y="5356"/>
                </a:lnTo>
                <a:lnTo>
                  <a:pt x="7280" y="5358"/>
                </a:lnTo>
                <a:lnTo>
                  <a:pt x="7292" y="5356"/>
                </a:lnTo>
                <a:lnTo>
                  <a:pt x="7277" y="5344"/>
                </a:lnTo>
                <a:lnTo>
                  <a:pt x="7268" y="5339"/>
                </a:lnTo>
                <a:lnTo>
                  <a:pt x="7261" y="5340"/>
                </a:lnTo>
                <a:lnTo>
                  <a:pt x="7249" y="5346"/>
                </a:lnTo>
                <a:close/>
                <a:moveTo>
                  <a:pt x="5154" y="5517"/>
                </a:moveTo>
                <a:lnTo>
                  <a:pt x="5155" y="5518"/>
                </a:lnTo>
                <a:lnTo>
                  <a:pt x="5155" y="5517"/>
                </a:lnTo>
                <a:lnTo>
                  <a:pt x="5154" y="5517"/>
                </a:lnTo>
                <a:lnTo>
                  <a:pt x="5154" y="5517"/>
                </a:lnTo>
                <a:lnTo>
                  <a:pt x="5155" y="5518"/>
                </a:lnTo>
                <a:lnTo>
                  <a:pt x="5154" y="5517"/>
                </a:lnTo>
                <a:close/>
                <a:moveTo>
                  <a:pt x="5231" y="5503"/>
                </a:moveTo>
                <a:lnTo>
                  <a:pt x="5210" y="5498"/>
                </a:lnTo>
                <a:lnTo>
                  <a:pt x="5191" y="5494"/>
                </a:lnTo>
                <a:lnTo>
                  <a:pt x="5172" y="5499"/>
                </a:lnTo>
                <a:lnTo>
                  <a:pt x="5155" y="5517"/>
                </a:lnTo>
                <a:lnTo>
                  <a:pt x="5177" y="5518"/>
                </a:lnTo>
                <a:lnTo>
                  <a:pt x="5201" y="5523"/>
                </a:lnTo>
                <a:lnTo>
                  <a:pt x="5222" y="5521"/>
                </a:lnTo>
                <a:lnTo>
                  <a:pt x="5231" y="5503"/>
                </a:lnTo>
                <a:close/>
                <a:moveTo>
                  <a:pt x="1168" y="785"/>
                </a:moveTo>
                <a:lnTo>
                  <a:pt x="1197" y="774"/>
                </a:lnTo>
                <a:lnTo>
                  <a:pt x="1199" y="761"/>
                </a:lnTo>
                <a:lnTo>
                  <a:pt x="1180" y="751"/>
                </a:lnTo>
                <a:lnTo>
                  <a:pt x="1150" y="748"/>
                </a:lnTo>
                <a:lnTo>
                  <a:pt x="1148" y="767"/>
                </a:lnTo>
                <a:lnTo>
                  <a:pt x="1150" y="779"/>
                </a:lnTo>
                <a:lnTo>
                  <a:pt x="1157" y="785"/>
                </a:lnTo>
                <a:lnTo>
                  <a:pt x="1168" y="785"/>
                </a:lnTo>
                <a:close/>
                <a:moveTo>
                  <a:pt x="824" y="1585"/>
                </a:moveTo>
                <a:lnTo>
                  <a:pt x="851" y="1575"/>
                </a:lnTo>
                <a:lnTo>
                  <a:pt x="855" y="1557"/>
                </a:lnTo>
                <a:lnTo>
                  <a:pt x="840" y="1543"/>
                </a:lnTo>
                <a:lnTo>
                  <a:pt x="812" y="1544"/>
                </a:lnTo>
                <a:lnTo>
                  <a:pt x="800" y="1553"/>
                </a:lnTo>
                <a:lnTo>
                  <a:pt x="801" y="1567"/>
                </a:lnTo>
                <a:lnTo>
                  <a:pt x="810" y="1578"/>
                </a:lnTo>
                <a:lnTo>
                  <a:pt x="824" y="1585"/>
                </a:lnTo>
                <a:close/>
                <a:moveTo>
                  <a:pt x="9432" y="6068"/>
                </a:moveTo>
                <a:lnTo>
                  <a:pt x="9448" y="6087"/>
                </a:lnTo>
                <a:lnTo>
                  <a:pt x="9473" y="6092"/>
                </a:lnTo>
                <a:lnTo>
                  <a:pt x="9502" y="6088"/>
                </a:lnTo>
                <a:lnTo>
                  <a:pt x="9534" y="6087"/>
                </a:lnTo>
                <a:lnTo>
                  <a:pt x="9506" y="6070"/>
                </a:lnTo>
                <a:lnTo>
                  <a:pt x="9482" y="6060"/>
                </a:lnTo>
                <a:lnTo>
                  <a:pt x="9459" y="6058"/>
                </a:lnTo>
                <a:lnTo>
                  <a:pt x="9432" y="6068"/>
                </a:lnTo>
                <a:close/>
                <a:moveTo>
                  <a:pt x="4972" y="5473"/>
                </a:moveTo>
                <a:lnTo>
                  <a:pt x="4929" y="5463"/>
                </a:lnTo>
                <a:lnTo>
                  <a:pt x="4865" y="5456"/>
                </a:lnTo>
                <a:lnTo>
                  <a:pt x="4814" y="5457"/>
                </a:lnTo>
                <a:lnTo>
                  <a:pt x="4812" y="5473"/>
                </a:lnTo>
                <a:lnTo>
                  <a:pt x="4852" y="5476"/>
                </a:lnTo>
                <a:lnTo>
                  <a:pt x="4900" y="5485"/>
                </a:lnTo>
                <a:lnTo>
                  <a:pt x="4942" y="5487"/>
                </a:lnTo>
                <a:lnTo>
                  <a:pt x="4972" y="5473"/>
                </a:lnTo>
                <a:close/>
                <a:moveTo>
                  <a:pt x="8863" y="5878"/>
                </a:moveTo>
                <a:lnTo>
                  <a:pt x="8782" y="5855"/>
                </a:lnTo>
                <a:lnTo>
                  <a:pt x="8697" y="5830"/>
                </a:lnTo>
                <a:lnTo>
                  <a:pt x="8613" y="5815"/>
                </a:lnTo>
                <a:lnTo>
                  <a:pt x="8535" y="5822"/>
                </a:lnTo>
                <a:lnTo>
                  <a:pt x="8614" y="5850"/>
                </a:lnTo>
                <a:lnTo>
                  <a:pt x="8716" y="5880"/>
                </a:lnTo>
                <a:lnTo>
                  <a:pt x="8810" y="5895"/>
                </a:lnTo>
                <a:lnTo>
                  <a:pt x="8863" y="5878"/>
                </a:lnTo>
                <a:close/>
                <a:moveTo>
                  <a:pt x="11625" y="3120"/>
                </a:moveTo>
                <a:lnTo>
                  <a:pt x="11526" y="3107"/>
                </a:lnTo>
                <a:lnTo>
                  <a:pt x="11429" y="3087"/>
                </a:lnTo>
                <a:lnTo>
                  <a:pt x="11336" y="3057"/>
                </a:lnTo>
                <a:lnTo>
                  <a:pt x="11247" y="3017"/>
                </a:lnTo>
                <a:lnTo>
                  <a:pt x="11340" y="3022"/>
                </a:lnTo>
                <a:lnTo>
                  <a:pt x="11450" y="3041"/>
                </a:lnTo>
                <a:lnTo>
                  <a:pt x="11554" y="3075"/>
                </a:lnTo>
                <a:lnTo>
                  <a:pt x="11625" y="3120"/>
                </a:lnTo>
                <a:close/>
                <a:moveTo>
                  <a:pt x="11426" y="3280"/>
                </a:moveTo>
                <a:lnTo>
                  <a:pt x="11434" y="3284"/>
                </a:lnTo>
                <a:lnTo>
                  <a:pt x="11434" y="3285"/>
                </a:lnTo>
                <a:lnTo>
                  <a:pt x="11431" y="3283"/>
                </a:lnTo>
                <a:lnTo>
                  <a:pt x="11426" y="3280"/>
                </a:lnTo>
                <a:lnTo>
                  <a:pt x="11434" y="3282"/>
                </a:lnTo>
                <a:lnTo>
                  <a:pt x="11441" y="3282"/>
                </a:lnTo>
                <a:lnTo>
                  <a:pt x="11440" y="3280"/>
                </a:lnTo>
                <a:lnTo>
                  <a:pt x="11426" y="3280"/>
                </a:lnTo>
                <a:close/>
                <a:moveTo>
                  <a:pt x="11458" y="3346"/>
                </a:moveTo>
                <a:lnTo>
                  <a:pt x="11440" y="3359"/>
                </a:lnTo>
                <a:lnTo>
                  <a:pt x="11426" y="3350"/>
                </a:lnTo>
                <a:lnTo>
                  <a:pt x="11410" y="3334"/>
                </a:lnTo>
                <a:lnTo>
                  <a:pt x="11391" y="3318"/>
                </a:lnTo>
                <a:lnTo>
                  <a:pt x="11420" y="3315"/>
                </a:lnTo>
                <a:lnTo>
                  <a:pt x="11457" y="3322"/>
                </a:lnTo>
                <a:lnTo>
                  <a:pt x="11478" y="3335"/>
                </a:lnTo>
                <a:lnTo>
                  <a:pt x="11458" y="3346"/>
                </a:lnTo>
                <a:close/>
                <a:moveTo>
                  <a:pt x="11448" y="3372"/>
                </a:moveTo>
                <a:lnTo>
                  <a:pt x="11443" y="3368"/>
                </a:lnTo>
                <a:lnTo>
                  <a:pt x="11441" y="3366"/>
                </a:lnTo>
                <a:lnTo>
                  <a:pt x="11444" y="3366"/>
                </a:lnTo>
                <a:lnTo>
                  <a:pt x="11450" y="3367"/>
                </a:lnTo>
                <a:lnTo>
                  <a:pt x="11452" y="3371"/>
                </a:lnTo>
                <a:lnTo>
                  <a:pt x="11453" y="3373"/>
                </a:lnTo>
                <a:lnTo>
                  <a:pt x="11452" y="3373"/>
                </a:lnTo>
                <a:lnTo>
                  <a:pt x="11448" y="3372"/>
                </a:lnTo>
                <a:close/>
                <a:moveTo>
                  <a:pt x="11350" y="3303"/>
                </a:moveTo>
                <a:lnTo>
                  <a:pt x="11347" y="3322"/>
                </a:lnTo>
                <a:lnTo>
                  <a:pt x="11338" y="3329"/>
                </a:lnTo>
                <a:lnTo>
                  <a:pt x="11326" y="3327"/>
                </a:lnTo>
                <a:lnTo>
                  <a:pt x="11310" y="3320"/>
                </a:lnTo>
                <a:lnTo>
                  <a:pt x="11310" y="3298"/>
                </a:lnTo>
                <a:lnTo>
                  <a:pt x="11314" y="3290"/>
                </a:lnTo>
                <a:lnTo>
                  <a:pt x="11326" y="3293"/>
                </a:lnTo>
                <a:lnTo>
                  <a:pt x="11350" y="3303"/>
                </a:lnTo>
                <a:close/>
                <a:moveTo>
                  <a:pt x="11364" y="3117"/>
                </a:moveTo>
                <a:lnTo>
                  <a:pt x="11366" y="3110"/>
                </a:lnTo>
                <a:lnTo>
                  <a:pt x="11373" y="3110"/>
                </a:lnTo>
                <a:lnTo>
                  <a:pt x="11380" y="3116"/>
                </a:lnTo>
                <a:lnTo>
                  <a:pt x="11389" y="3122"/>
                </a:lnTo>
                <a:lnTo>
                  <a:pt x="11379" y="3126"/>
                </a:lnTo>
                <a:lnTo>
                  <a:pt x="11370" y="3129"/>
                </a:lnTo>
                <a:lnTo>
                  <a:pt x="11365" y="3126"/>
                </a:lnTo>
                <a:lnTo>
                  <a:pt x="11364" y="3117"/>
                </a:lnTo>
                <a:close/>
                <a:moveTo>
                  <a:pt x="11345" y="3113"/>
                </a:moveTo>
                <a:lnTo>
                  <a:pt x="11350" y="3111"/>
                </a:lnTo>
                <a:lnTo>
                  <a:pt x="11352" y="3112"/>
                </a:lnTo>
                <a:lnTo>
                  <a:pt x="11352" y="3117"/>
                </a:lnTo>
                <a:lnTo>
                  <a:pt x="11352" y="3124"/>
                </a:lnTo>
                <a:lnTo>
                  <a:pt x="11349" y="3120"/>
                </a:lnTo>
                <a:lnTo>
                  <a:pt x="11345" y="3113"/>
                </a:lnTo>
                <a:close/>
                <a:moveTo>
                  <a:pt x="11318" y="3245"/>
                </a:moveTo>
                <a:lnTo>
                  <a:pt x="11345" y="3251"/>
                </a:lnTo>
                <a:lnTo>
                  <a:pt x="11370" y="3259"/>
                </a:lnTo>
                <a:lnTo>
                  <a:pt x="11396" y="3268"/>
                </a:lnTo>
                <a:lnTo>
                  <a:pt x="11421" y="3279"/>
                </a:lnTo>
                <a:lnTo>
                  <a:pt x="11391" y="3274"/>
                </a:lnTo>
                <a:lnTo>
                  <a:pt x="11356" y="3271"/>
                </a:lnTo>
                <a:lnTo>
                  <a:pt x="11328" y="3265"/>
                </a:lnTo>
                <a:lnTo>
                  <a:pt x="11318" y="3245"/>
                </a:lnTo>
                <a:close/>
                <a:moveTo>
                  <a:pt x="11301" y="3452"/>
                </a:moveTo>
                <a:lnTo>
                  <a:pt x="11309" y="3413"/>
                </a:lnTo>
                <a:lnTo>
                  <a:pt x="11338" y="3411"/>
                </a:lnTo>
                <a:lnTo>
                  <a:pt x="11379" y="3430"/>
                </a:lnTo>
                <a:lnTo>
                  <a:pt x="11419" y="3451"/>
                </a:lnTo>
                <a:lnTo>
                  <a:pt x="11388" y="3456"/>
                </a:lnTo>
                <a:lnTo>
                  <a:pt x="11357" y="3457"/>
                </a:lnTo>
                <a:lnTo>
                  <a:pt x="11329" y="3456"/>
                </a:lnTo>
                <a:lnTo>
                  <a:pt x="11301" y="3452"/>
                </a:lnTo>
                <a:close/>
                <a:moveTo>
                  <a:pt x="11308" y="4048"/>
                </a:moveTo>
                <a:lnTo>
                  <a:pt x="11301" y="4053"/>
                </a:lnTo>
                <a:lnTo>
                  <a:pt x="11298" y="4054"/>
                </a:lnTo>
                <a:lnTo>
                  <a:pt x="11298" y="4052"/>
                </a:lnTo>
                <a:lnTo>
                  <a:pt x="11300" y="4043"/>
                </a:lnTo>
                <a:lnTo>
                  <a:pt x="11304" y="4045"/>
                </a:lnTo>
                <a:lnTo>
                  <a:pt x="11308" y="4048"/>
                </a:lnTo>
                <a:close/>
                <a:moveTo>
                  <a:pt x="11262" y="3840"/>
                </a:moveTo>
                <a:lnTo>
                  <a:pt x="11256" y="3840"/>
                </a:lnTo>
                <a:lnTo>
                  <a:pt x="11248" y="3842"/>
                </a:lnTo>
                <a:lnTo>
                  <a:pt x="11242" y="3842"/>
                </a:lnTo>
                <a:lnTo>
                  <a:pt x="11239" y="3836"/>
                </a:lnTo>
                <a:lnTo>
                  <a:pt x="11244" y="3835"/>
                </a:lnTo>
                <a:lnTo>
                  <a:pt x="11253" y="3835"/>
                </a:lnTo>
                <a:lnTo>
                  <a:pt x="11261" y="3836"/>
                </a:lnTo>
                <a:lnTo>
                  <a:pt x="11262" y="3840"/>
                </a:lnTo>
                <a:close/>
                <a:moveTo>
                  <a:pt x="11233" y="3423"/>
                </a:moveTo>
                <a:lnTo>
                  <a:pt x="11233" y="3416"/>
                </a:lnTo>
                <a:lnTo>
                  <a:pt x="11233" y="3410"/>
                </a:lnTo>
                <a:lnTo>
                  <a:pt x="11233" y="3404"/>
                </a:lnTo>
                <a:lnTo>
                  <a:pt x="11235" y="3399"/>
                </a:lnTo>
                <a:lnTo>
                  <a:pt x="11242" y="3404"/>
                </a:lnTo>
                <a:lnTo>
                  <a:pt x="11242" y="3415"/>
                </a:lnTo>
                <a:lnTo>
                  <a:pt x="11238" y="3424"/>
                </a:lnTo>
                <a:lnTo>
                  <a:pt x="11233" y="3423"/>
                </a:lnTo>
                <a:close/>
                <a:moveTo>
                  <a:pt x="11071" y="4619"/>
                </a:moveTo>
                <a:lnTo>
                  <a:pt x="11066" y="4626"/>
                </a:lnTo>
                <a:lnTo>
                  <a:pt x="11059" y="4632"/>
                </a:lnTo>
                <a:lnTo>
                  <a:pt x="11052" y="4635"/>
                </a:lnTo>
                <a:lnTo>
                  <a:pt x="11045" y="4630"/>
                </a:lnTo>
                <a:lnTo>
                  <a:pt x="11047" y="4612"/>
                </a:lnTo>
                <a:lnTo>
                  <a:pt x="11059" y="4602"/>
                </a:lnTo>
                <a:lnTo>
                  <a:pt x="11071" y="4603"/>
                </a:lnTo>
                <a:lnTo>
                  <a:pt x="11071" y="4619"/>
                </a:lnTo>
                <a:close/>
                <a:moveTo>
                  <a:pt x="11048" y="4896"/>
                </a:moveTo>
                <a:lnTo>
                  <a:pt x="11043" y="4892"/>
                </a:lnTo>
                <a:lnTo>
                  <a:pt x="11044" y="4884"/>
                </a:lnTo>
                <a:lnTo>
                  <a:pt x="11049" y="4879"/>
                </a:lnTo>
                <a:lnTo>
                  <a:pt x="11056" y="4878"/>
                </a:lnTo>
                <a:lnTo>
                  <a:pt x="11059" y="4883"/>
                </a:lnTo>
                <a:lnTo>
                  <a:pt x="11059" y="4890"/>
                </a:lnTo>
                <a:lnTo>
                  <a:pt x="11054" y="4896"/>
                </a:lnTo>
                <a:lnTo>
                  <a:pt x="11048" y="4896"/>
                </a:lnTo>
                <a:close/>
                <a:moveTo>
                  <a:pt x="11037" y="4343"/>
                </a:moveTo>
                <a:lnTo>
                  <a:pt x="11038" y="4338"/>
                </a:lnTo>
                <a:lnTo>
                  <a:pt x="11042" y="4333"/>
                </a:lnTo>
                <a:lnTo>
                  <a:pt x="11045" y="4332"/>
                </a:lnTo>
                <a:lnTo>
                  <a:pt x="11049" y="4334"/>
                </a:lnTo>
                <a:lnTo>
                  <a:pt x="11048" y="4339"/>
                </a:lnTo>
                <a:lnTo>
                  <a:pt x="11044" y="4344"/>
                </a:lnTo>
                <a:lnTo>
                  <a:pt x="11040" y="4346"/>
                </a:lnTo>
                <a:lnTo>
                  <a:pt x="11037" y="4343"/>
                </a:lnTo>
                <a:close/>
                <a:moveTo>
                  <a:pt x="11021" y="4786"/>
                </a:moveTo>
                <a:lnTo>
                  <a:pt x="11019" y="4785"/>
                </a:lnTo>
                <a:lnTo>
                  <a:pt x="11017" y="4782"/>
                </a:lnTo>
                <a:lnTo>
                  <a:pt x="11019" y="4781"/>
                </a:lnTo>
                <a:lnTo>
                  <a:pt x="11022" y="4781"/>
                </a:lnTo>
                <a:lnTo>
                  <a:pt x="11022" y="4784"/>
                </a:lnTo>
                <a:lnTo>
                  <a:pt x="11021" y="4786"/>
                </a:lnTo>
                <a:close/>
                <a:moveTo>
                  <a:pt x="10791" y="4628"/>
                </a:moveTo>
                <a:lnTo>
                  <a:pt x="10784" y="4627"/>
                </a:lnTo>
                <a:lnTo>
                  <a:pt x="10779" y="4622"/>
                </a:lnTo>
                <a:lnTo>
                  <a:pt x="10775" y="4616"/>
                </a:lnTo>
                <a:lnTo>
                  <a:pt x="10777" y="4609"/>
                </a:lnTo>
                <a:lnTo>
                  <a:pt x="10786" y="4612"/>
                </a:lnTo>
                <a:lnTo>
                  <a:pt x="10791" y="4614"/>
                </a:lnTo>
                <a:lnTo>
                  <a:pt x="10793" y="4619"/>
                </a:lnTo>
                <a:lnTo>
                  <a:pt x="10791" y="4628"/>
                </a:lnTo>
                <a:close/>
                <a:moveTo>
                  <a:pt x="10796" y="5061"/>
                </a:moveTo>
                <a:lnTo>
                  <a:pt x="10795" y="5065"/>
                </a:lnTo>
                <a:lnTo>
                  <a:pt x="10792" y="5065"/>
                </a:lnTo>
                <a:lnTo>
                  <a:pt x="10789" y="5062"/>
                </a:lnTo>
                <a:lnTo>
                  <a:pt x="10787" y="5060"/>
                </a:lnTo>
                <a:lnTo>
                  <a:pt x="10788" y="5057"/>
                </a:lnTo>
                <a:lnTo>
                  <a:pt x="10791" y="5057"/>
                </a:lnTo>
                <a:lnTo>
                  <a:pt x="10793" y="5059"/>
                </a:lnTo>
                <a:lnTo>
                  <a:pt x="10796" y="5061"/>
                </a:lnTo>
                <a:close/>
                <a:moveTo>
                  <a:pt x="10653" y="5140"/>
                </a:moveTo>
                <a:lnTo>
                  <a:pt x="10652" y="5141"/>
                </a:lnTo>
                <a:lnTo>
                  <a:pt x="10652" y="5143"/>
                </a:lnTo>
                <a:lnTo>
                  <a:pt x="10652" y="5141"/>
                </a:lnTo>
                <a:lnTo>
                  <a:pt x="10653" y="5139"/>
                </a:lnTo>
                <a:lnTo>
                  <a:pt x="10653" y="5137"/>
                </a:lnTo>
                <a:lnTo>
                  <a:pt x="10653" y="5140"/>
                </a:lnTo>
                <a:close/>
                <a:moveTo>
                  <a:pt x="10253" y="5018"/>
                </a:moveTo>
                <a:lnTo>
                  <a:pt x="10267" y="5001"/>
                </a:lnTo>
                <a:lnTo>
                  <a:pt x="10332" y="5011"/>
                </a:lnTo>
                <a:lnTo>
                  <a:pt x="10406" y="5042"/>
                </a:lnTo>
                <a:lnTo>
                  <a:pt x="10442" y="5083"/>
                </a:lnTo>
                <a:lnTo>
                  <a:pt x="10388" y="5067"/>
                </a:lnTo>
                <a:lnTo>
                  <a:pt x="10341" y="5052"/>
                </a:lnTo>
                <a:lnTo>
                  <a:pt x="10297" y="5036"/>
                </a:lnTo>
                <a:lnTo>
                  <a:pt x="10253" y="5018"/>
                </a:lnTo>
                <a:close/>
                <a:moveTo>
                  <a:pt x="10219" y="4570"/>
                </a:moveTo>
                <a:lnTo>
                  <a:pt x="10225" y="4572"/>
                </a:lnTo>
                <a:lnTo>
                  <a:pt x="10230" y="4575"/>
                </a:lnTo>
                <a:lnTo>
                  <a:pt x="10235" y="4580"/>
                </a:lnTo>
                <a:lnTo>
                  <a:pt x="10238" y="4586"/>
                </a:lnTo>
                <a:lnTo>
                  <a:pt x="10230" y="4584"/>
                </a:lnTo>
                <a:lnTo>
                  <a:pt x="10223" y="4580"/>
                </a:lnTo>
                <a:lnTo>
                  <a:pt x="10218" y="4576"/>
                </a:lnTo>
                <a:lnTo>
                  <a:pt x="10219" y="4570"/>
                </a:lnTo>
                <a:close/>
                <a:moveTo>
                  <a:pt x="10084" y="4552"/>
                </a:moveTo>
                <a:lnTo>
                  <a:pt x="10080" y="4549"/>
                </a:lnTo>
                <a:lnTo>
                  <a:pt x="10079" y="4547"/>
                </a:lnTo>
                <a:lnTo>
                  <a:pt x="10080" y="4546"/>
                </a:lnTo>
                <a:lnTo>
                  <a:pt x="10084" y="4546"/>
                </a:lnTo>
                <a:lnTo>
                  <a:pt x="10085" y="4547"/>
                </a:lnTo>
                <a:lnTo>
                  <a:pt x="10085" y="4549"/>
                </a:lnTo>
                <a:lnTo>
                  <a:pt x="10085" y="4551"/>
                </a:lnTo>
                <a:lnTo>
                  <a:pt x="10084" y="4552"/>
                </a:lnTo>
                <a:close/>
                <a:moveTo>
                  <a:pt x="9946" y="4777"/>
                </a:moveTo>
                <a:lnTo>
                  <a:pt x="9805" y="4763"/>
                </a:lnTo>
                <a:lnTo>
                  <a:pt x="9782" y="4731"/>
                </a:lnTo>
                <a:lnTo>
                  <a:pt x="9823" y="4705"/>
                </a:lnTo>
                <a:lnTo>
                  <a:pt x="9865" y="4711"/>
                </a:lnTo>
                <a:lnTo>
                  <a:pt x="9873" y="4748"/>
                </a:lnTo>
                <a:lnTo>
                  <a:pt x="9974" y="4772"/>
                </a:lnTo>
                <a:lnTo>
                  <a:pt x="10041" y="4784"/>
                </a:lnTo>
                <a:lnTo>
                  <a:pt x="9946" y="4777"/>
                </a:lnTo>
                <a:close/>
                <a:moveTo>
                  <a:pt x="9744" y="4837"/>
                </a:moveTo>
                <a:lnTo>
                  <a:pt x="9738" y="4836"/>
                </a:lnTo>
                <a:lnTo>
                  <a:pt x="9731" y="4834"/>
                </a:lnTo>
                <a:lnTo>
                  <a:pt x="9726" y="4833"/>
                </a:lnTo>
                <a:lnTo>
                  <a:pt x="9725" y="4828"/>
                </a:lnTo>
                <a:lnTo>
                  <a:pt x="9731" y="4829"/>
                </a:lnTo>
                <a:lnTo>
                  <a:pt x="9739" y="4829"/>
                </a:lnTo>
                <a:lnTo>
                  <a:pt x="9744" y="4832"/>
                </a:lnTo>
                <a:lnTo>
                  <a:pt x="9744" y="4837"/>
                </a:lnTo>
                <a:close/>
                <a:moveTo>
                  <a:pt x="9964" y="5459"/>
                </a:moveTo>
                <a:lnTo>
                  <a:pt x="10034" y="5490"/>
                </a:lnTo>
                <a:lnTo>
                  <a:pt x="10014" y="5489"/>
                </a:lnTo>
                <a:lnTo>
                  <a:pt x="9950" y="5485"/>
                </a:lnTo>
                <a:lnTo>
                  <a:pt x="9893" y="5510"/>
                </a:lnTo>
                <a:lnTo>
                  <a:pt x="9862" y="5518"/>
                </a:lnTo>
                <a:lnTo>
                  <a:pt x="9864" y="5491"/>
                </a:lnTo>
                <a:lnTo>
                  <a:pt x="9860" y="5462"/>
                </a:lnTo>
                <a:lnTo>
                  <a:pt x="9811" y="5459"/>
                </a:lnTo>
                <a:lnTo>
                  <a:pt x="9599" y="5412"/>
                </a:lnTo>
                <a:lnTo>
                  <a:pt x="9599" y="5378"/>
                </a:lnTo>
                <a:lnTo>
                  <a:pt x="9744" y="5384"/>
                </a:lnTo>
                <a:lnTo>
                  <a:pt x="9964" y="5459"/>
                </a:lnTo>
                <a:close/>
                <a:moveTo>
                  <a:pt x="9712" y="5260"/>
                </a:moveTo>
                <a:lnTo>
                  <a:pt x="9697" y="5263"/>
                </a:lnTo>
                <a:lnTo>
                  <a:pt x="9685" y="5263"/>
                </a:lnTo>
                <a:lnTo>
                  <a:pt x="9676" y="5258"/>
                </a:lnTo>
                <a:lnTo>
                  <a:pt x="9667" y="5253"/>
                </a:lnTo>
                <a:lnTo>
                  <a:pt x="9676" y="5255"/>
                </a:lnTo>
                <a:lnTo>
                  <a:pt x="9685" y="5256"/>
                </a:lnTo>
                <a:lnTo>
                  <a:pt x="9697" y="5257"/>
                </a:lnTo>
                <a:lnTo>
                  <a:pt x="9712" y="5260"/>
                </a:lnTo>
                <a:close/>
                <a:moveTo>
                  <a:pt x="9758" y="5276"/>
                </a:moveTo>
                <a:lnTo>
                  <a:pt x="9760" y="5277"/>
                </a:lnTo>
                <a:lnTo>
                  <a:pt x="9762" y="5280"/>
                </a:lnTo>
                <a:lnTo>
                  <a:pt x="9760" y="5283"/>
                </a:lnTo>
                <a:lnTo>
                  <a:pt x="9757" y="5284"/>
                </a:lnTo>
                <a:lnTo>
                  <a:pt x="9753" y="5283"/>
                </a:lnTo>
                <a:lnTo>
                  <a:pt x="9753" y="5280"/>
                </a:lnTo>
                <a:lnTo>
                  <a:pt x="9754" y="5279"/>
                </a:lnTo>
                <a:lnTo>
                  <a:pt x="9758" y="5276"/>
                </a:lnTo>
                <a:close/>
                <a:moveTo>
                  <a:pt x="9774" y="5356"/>
                </a:moveTo>
                <a:lnTo>
                  <a:pt x="9776" y="5358"/>
                </a:lnTo>
                <a:lnTo>
                  <a:pt x="9776" y="5360"/>
                </a:lnTo>
                <a:lnTo>
                  <a:pt x="9773" y="5361"/>
                </a:lnTo>
                <a:lnTo>
                  <a:pt x="9772" y="5361"/>
                </a:lnTo>
                <a:lnTo>
                  <a:pt x="9771" y="5359"/>
                </a:lnTo>
                <a:lnTo>
                  <a:pt x="9771" y="5356"/>
                </a:lnTo>
                <a:lnTo>
                  <a:pt x="9772" y="5355"/>
                </a:lnTo>
                <a:lnTo>
                  <a:pt x="9774" y="5356"/>
                </a:lnTo>
                <a:close/>
                <a:moveTo>
                  <a:pt x="9839" y="5297"/>
                </a:moveTo>
                <a:lnTo>
                  <a:pt x="9845" y="5300"/>
                </a:lnTo>
                <a:lnTo>
                  <a:pt x="9846" y="5304"/>
                </a:lnTo>
                <a:lnTo>
                  <a:pt x="9843" y="5307"/>
                </a:lnTo>
                <a:lnTo>
                  <a:pt x="9837" y="5309"/>
                </a:lnTo>
                <a:lnTo>
                  <a:pt x="9832" y="5305"/>
                </a:lnTo>
                <a:lnTo>
                  <a:pt x="9832" y="5303"/>
                </a:lnTo>
                <a:lnTo>
                  <a:pt x="9834" y="5299"/>
                </a:lnTo>
                <a:lnTo>
                  <a:pt x="9839" y="5297"/>
                </a:lnTo>
                <a:close/>
                <a:moveTo>
                  <a:pt x="9977" y="5417"/>
                </a:moveTo>
                <a:lnTo>
                  <a:pt x="9945" y="5417"/>
                </a:lnTo>
                <a:lnTo>
                  <a:pt x="9916" y="5412"/>
                </a:lnTo>
                <a:lnTo>
                  <a:pt x="9887" y="5402"/>
                </a:lnTo>
                <a:lnTo>
                  <a:pt x="9860" y="5388"/>
                </a:lnTo>
                <a:lnTo>
                  <a:pt x="9890" y="5391"/>
                </a:lnTo>
                <a:lnTo>
                  <a:pt x="9920" y="5395"/>
                </a:lnTo>
                <a:lnTo>
                  <a:pt x="9949" y="5402"/>
                </a:lnTo>
                <a:lnTo>
                  <a:pt x="9977" y="5417"/>
                </a:lnTo>
                <a:close/>
                <a:moveTo>
                  <a:pt x="10036" y="5437"/>
                </a:moveTo>
                <a:lnTo>
                  <a:pt x="10037" y="5440"/>
                </a:lnTo>
                <a:lnTo>
                  <a:pt x="10034" y="5443"/>
                </a:lnTo>
                <a:lnTo>
                  <a:pt x="10030" y="5444"/>
                </a:lnTo>
                <a:lnTo>
                  <a:pt x="10027" y="5444"/>
                </a:lnTo>
                <a:lnTo>
                  <a:pt x="10025" y="5440"/>
                </a:lnTo>
                <a:lnTo>
                  <a:pt x="10027" y="5439"/>
                </a:lnTo>
                <a:lnTo>
                  <a:pt x="10030" y="5438"/>
                </a:lnTo>
                <a:lnTo>
                  <a:pt x="10036" y="5437"/>
                </a:lnTo>
                <a:close/>
                <a:moveTo>
                  <a:pt x="10168" y="5485"/>
                </a:moveTo>
                <a:lnTo>
                  <a:pt x="10149" y="5482"/>
                </a:lnTo>
                <a:lnTo>
                  <a:pt x="10130" y="5479"/>
                </a:lnTo>
                <a:lnTo>
                  <a:pt x="10109" y="5473"/>
                </a:lnTo>
                <a:lnTo>
                  <a:pt x="10089" y="5463"/>
                </a:lnTo>
                <a:lnTo>
                  <a:pt x="10120" y="5461"/>
                </a:lnTo>
                <a:lnTo>
                  <a:pt x="10137" y="5462"/>
                </a:lnTo>
                <a:lnTo>
                  <a:pt x="10151" y="5470"/>
                </a:lnTo>
                <a:lnTo>
                  <a:pt x="10168" y="5485"/>
                </a:lnTo>
                <a:close/>
                <a:moveTo>
                  <a:pt x="10176" y="5491"/>
                </a:moveTo>
                <a:lnTo>
                  <a:pt x="10174" y="5490"/>
                </a:lnTo>
                <a:lnTo>
                  <a:pt x="10176" y="5491"/>
                </a:lnTo>
                <a:lnTo>
                  <a:pt x="10173" y="5490"/>
                </a:lnTo>
                <a:lnTo>
                  <a:pt x="10176" y="5491"/>
                </a:lnTo>
                <a:close/>
                <a:moveTo>
                  <a:pt x="10210" y="5540"/>
                </a:moveTo>
                <a:lnTo>
                  <a:pt x="10210" y="5542"/>
                </a:lnTo>
                <a:lnTo>
                  <a:pt x="10210" y="5542"/>
                </a:lnTo>
                <a:lnTo>
                  <a:pt x="10209" y="5542"/>
                </a:lnTo>
                <a:lnTo>
                  <a:pt x="10206" y="5541"/>
                </a:lnTo>
                <a:lnTo>
                  <a:pt x="10210" y="5540"/>
                </a:lnTo>
                <a:close/>
                <a:moveTo>
                  <a:pt x="10125" y="5519"/>
                </a:moveTo>
                <a:lnTo>
                  <a:pt x="10136" y="5517"/>
                </a:lnTo>
                <a:lnTo>
                  <a:pt x="10145" y="5519"/>
                </a:lnTo>
                <a:lnTo>
                  <a:pt x="10151" y="5526"/>
                </a:lnTo>
                <a:lnTo>
                  <a:pt x="10155" y="5537"/>
                </a:lnTo>
                <a:lnTo>
                  <a:pt x="10140" y="5528"/>
                </a:lnTo>
                <a:lnTo>
                  <a:pt x="10125" y="5519"/>
                </a:lnTo>
                <a:close/>
                <a:moveTo>
                  <a:pt x="10135" y="5560"/>
                </a:moveTo>
                <a:lnTo>
                  <a:pt x="10130" y="5560"/>
                </a:lnTo>
                <a:lnTo>
                  <a:pt x="10128" y="5556"/>
                </a:lnTo>
                <a:lnTo>
                  <a:pt x="10131" y="5554"/>
                </a:lnTo>
                <a:lnTo>
                  <a:pt x="10136" y="5555"/>
                </a:lnTo>
                <a:lnTo>
                  <a:pt x="10136" y="5557"/>
                </a:lnTo>
                <a:lnTo>
                  <a:pt x="10135" y="5560"/>
                </a:lnTo>
                <a:close/>
                <a:moveTo>
                  <a:pt x="9932" y="5602"/>
                </a:moveTo>
                <a:lnTo>
                  <a:pt x="9979" y="5606"/>
                </a:lnTo>
                <a:lnTo>
                  <a:pt x="10008" y="5611"/>
                </a:lnTo>
                <a:lnTo>
                  <a:pt x="10024" y="5619"/>
                </a:lnTo>
                <a:lnTo>
                  <a:pt x="10042" y="5631"/>
                </a:lnTo>
                <a:lnTo>
                  <a:pt x="10015" y="5629"/>
                </a:lnTo>
                <a:lnTo>
                  <a:pt x="9987" y="5624"/>
                </a:lnTo>
                <a:lnTo>
                  <a:pt x="9960" y="5616"/>
                </a:lnTo>
                <a:lnTo>
                  <a:pt x="9932" y="5602"/>
                </a:lnTo>
                <a:close/>
                <a:moveTo>
                  <a:pt x="9981" y="6188"/>
                </a:moveTo>
                <a:lnTo>
                  <a:pt x="9976" y="6185"/>
                </a:lnTo>
                <a:lnTo>
                  <a:pt x="9971" y="6182"/>
                </a:lnTo>
                <a:lnTo>
                  <a:pt x="9976" y="6177"/>
                </a:lnTo>
                <a:lnTo>
                  <a:pt x="9982" y="6179"/>
                </a:lnTo>
                <a:lnTo>
                  <a:pt x="9986" y="6182"/>
                </a:lnTo>
                <a:lnTo>
                  <a:pt x="9981" y="6188"/>
                </a:lnTo>
                <a:close/>
                <a:moveTo>
                  <a:pt x="9935" y="5769"/>
                </a:moveTo>
                <a:lnTo>
                  <a:pt x="9940" y="5769"/>
                </a:lnTo>
                <a:lnTo>
                  <a:pt x="9935" y="5769"/>
                </a:lnTo>
                <a:lnTo>
                  <a:pt x="9941" y="5766"/>
                </a:lnTo>
                <a:lnTo>
                  <a:pt x="9935" y="5769"/>
                </a:lnTo>
                <a:close/>
                <a:moveTo>
                  <a:pt x="9927" y="5776"/>
                </a:moveTo>
                <a:lnTo>
                  <a:pt x="9930" y="5774"/>
                </a:lnTo>
                <a:lnTo>
                  <a:pt x="9927" y="5776"/>
                </a:lnTo>
                <a:lnTo>
                  <a:pt x="9929" y="5774"/>
                </a:lnTo>
                <a:lnTo>
                  <a:pt x="9927" y="5776"/>
                </a:lnTo>
                <a:close/>
                <a:moveTo>
                  <a:pt x="9907" y="6160"/>
                </a:moveTo>
                <a:lnTo>
                  <a:pt x="9912" y="6160"/>
                </a:lnTo>
                <a:lnTo>
                  <a:pt x="9911" y="6162"/>
                </a:lnTo>
                <a:lnTo>
                  <a:pt x="9909" y="6162"/>
                </a:lnTo>
                <a:lnTo>
                  <a:pt x="9908" y="6161"/>
                </a:lnTo>
                <a:lnTo>
                  <a:pt x="9907" y="6160"/>
                </a:lnTo>
                <a:close/>
                <a:moveTo>
                  <a:pt x="9920" y="6236"/>
                </a:moveTo>
                <a:lnTo>
                  <a:pt x="9888" y="6217"/>
                </a:lnTo>
                <a:lnTo>
                  <a:pt x="9852" y="6210"/>
                </a:lnTo>
                <a:lnTo>
                  <a:pt x="9814" y="6207"/>
                </a:lnTo>
                <a:lnTo>
                  <a:pt x="9774" y="6194"/>
                </a:lnTo>
                <a:lnTo>
                  <a:pt x="9845" y="6188"/>
                </a:lnTo>
                <a:lnTo>
                  <a:pt x="9929" y="6202"/>
                </a:lnTo>
                <a:lnTo>
                  <a:pt x="9972" y="6222"/>
                </a:lnTo>
                <a:lnTo>
                  <a:pt x="9920" y="6236"/>
                </a:lnTo>
                <a:close/>
                <a:moveTo>
                  <a:pt x="9945" y="6390"/>
                </a:moveTo>
                <a:lnTo>
                  <a:pt x="9944" y="6386"/>
                </a:lnTo>
                <a:lnTo>
                  <a:pt x="9944" y="6385"/>
                </a:lnTo>
                <a:lnTo>
                  <a:pt x="9945" y="6385"/>
                </a:lnTo>
                <a:lnTo>
                  <a:pt x="9949" y="6386"/>
                </a:lnTo>
                <a:lnTo>
                  <a:pt x="9945" y="6390"/>
                </a:lnTo>
                <a:close/>
                <a:moveTo>
                  <a:pt x="9809" y="6073"/>
                </a:moveTo>
                <a:lnTo>
                  <a:pt x="9777" y="6073"/>
                </a:lnTo>
                <a:lnTo>
                  <a:pt x="9746" y="6064"/>
                </a:lnTo>
                <a:lnTo>
                  <a:pt x="9717" y="6053"/>
                </a:lnTo>
                <a:lnTo>
                  <a:pt x="9687" y="6037"/>
                </a:lnTo>
                <a:lnTo>
                  <a:pt x="9712" y="6035"/>
                </a:lnTo>
                <a:lnTo>
                  <a:pt x="9732" y="6037"/>
                </a:lnTo>
                <a:lnTo>
                  <a:pt x="9762" y="6050"/>
                </a:lnTo>
                <a:lnTo>
                  <a:pt x="9809" y="6073"/>
                </a:lnTo>
                <a:close/>
                <a:moveTo>
                  <a:pt x="9744" y="5862"/>
                </a:moveTo>
                <a:lnTo>
                  <a:pt x="9740" y="5862"/>
                </a:lnTo>
                <a:lnTo>
                  <a:pt x="9738" y="5860"/>
                </a:lnTo>
                <a:lnTo>
                  <a:pt x="9736" y="5859"/>
                </a:lnTo>
                <a:lnTo>
                  <a:pt x="9734" y="5857"/>
                </a:lnTo>
                <a:lnTo>
                  <a:pt x="9738" y="5855"/>
                </a:lnTo>
                <a:lnTo>
                  <a:pt x="9740" y="5855"/>
                </a:lnTo>
                <a:lnTo>
                  <a:pt x="9741" y="5858"/>
                </a:lnTo>
                <a:lnTo>
                  <a:pt x="9744" y="5862"/>
                </a:lnTo>
                <a:close/>
                <a:moveTo>
                  <a:pt x="9727" y="5812"/>
                </a:moveTo>
                <a:lnTo>
                  <a:pt x="9739" y="5808"/>
                </a:lnTo>
                <a:lnTo>
                  <a:pt x="9746" y="5806"/>
                </a:lnTo>
                <a:lnTo>
                  <a:pt x="9753" y="5807"/>
                </a:lnTo>
                <a:lnTo>
                  <a:pt x="9760" y="5812"/>
                </a:lnTo>
                <a:lnTo>
                  <a:pt x="9753" y="5818"/>
                </a:lnTo>
                <a:lnTo>
                  <a:pt x="9746" y="5818"/>
                </a:lnTo>
                <a:lnTo>
                  <a:pt x="9739" y="5816"/>
                </a:lnTo>
                <a:lnTo>
                  <a:pt x="9727" y="5812"/>
                </a:lnTo>
                <a:close/>
                <a:moveTo>
                  <a:pt x="9724" y="5537"/>
                </a:moveTo>
                <a:lnTo>
                  <a:pt x="9727" y="5537"/>
                </a:lnTo>
                <a:lnTo>
                  <a:pt x="9727" y="5538"/>
                </a:lnTo>
                <a:lnTo>
                  <a:pt x="9726" y="5540"/>
                </a:lnTo>
                <a:lnTo>
                  <a:pt x="9725" y="5538"/>
                </a:lnTo>
                <a:lnTo>
                  <a:pt x="9724" y="5537"/>
                </a:lnTo>
                <a:close/>
                <a:moveTo>
                  <a:pt x="9883" y="5754"/>
                </a:moveTo>
                <a:lnTo>
                  <a:pt x="9855" y="5770"/>
                </a:lnTo>
                <a:lnTo>
                  <a:pt x="9808" y="5759"/>
                </a:lnTo>
                <a:lnTo>
                  <a:pt x="9755" y="5737"/>
                </a:lnTo>
                <a:lnTo>
                  <a:pt x="9707" y="5715"/>
                </a:lnTo>
                <a:lnTo>
                  <a:pt x="9755" y="5718"/>
                </a:lnTo>
                <a:lnTo>
                  <a:pt x="9800" y="5728"/>
                </a:lnTo>
                <a:lnTo>
                  <a:pt x="9842" y="5741"/>
                </a:lnTo>
                <a:lnTo>
                  <a:pt x="9883" y="5754"/>
                </a:lnTo>
                <a:close/>
                <a:moveTo>
                  <a:pt x="8365" y="5577"/>
                </a:moveTo>
                <a:lnTo>
                  <a:pt x="8367" y="5578"/>
                </a:lnTo>
                <a:lnTo>
                  <a:pt x="8370" y="5579"/>
                </a:lnTo>
                <a:lnTo>
                  <a:pt x="8371" y="5582"/>
                </a:lnTo>
                <a:lnTo>
                  <a:pt x="8372" y="5585"/>
                </a:lnTo>
                <a:lnTo>
                  <a:pt x="8367" y="5580"/>
                </a:lnTo>
                <a:lnTo>
                  <a:pt x="8365" y="5577"/>
                </a:lnTo>
                <a:close/>
                <a:moveTo>
                  <a:pt x="9694" y="6179"/>
                </a:moveTo>
                <a:lnTo>
                  <a:pt x="9338" y="6107"/>
                </a:lnTo>
                <a:lnTo>
                  <a:pt x="8930" y="6032"/>
                </a:lnTo>
                <a:lnTo>
                  <a:pt x="8538" y="5952"/>
                </a:lnTo>
                <a:lnTo>
                  <a:pt x="8226" y="5866"/>
                </a:lnTo>
                <a:lnTo>
                  <a:pt x="8288" y="5857"/>
                </a:lnTo>
                <a:lnTo>
                  <a:pt x="8356" y="5859"/>
                </a:lnTo>
                <a:lnTo>
                  <a:pt x="8419" y="5857"/>
                </a:lnTo>
                <a:lnTo>
                  <a:pt x="8467" y="5832"/>
                </a:lnTo>
                <a:lnTo>
                  <a:pt x="8422" y="5812"/>
                </a:lnTo>
                <a:lnTo>
                  <a:pt x="8447" y="5769"/>
                </a:lnTo>
                <a:lnTo>
                  <a:pt x="8470" y="5717"/>
                </a:lnTo>
                <a:lnTo>
                  <a:pt x="8421" y="5673"/>
                </a:lnTo>
                <a:lnTo>
                  <a:pt x="8430" y="5675"/>
                </a:lnTo>
                <a:lnTo>
                  <a:pt x="8437" y="5676"/>
                </a:lnTo>
                <a:lnTo>
                  <a:pt x="8445" y="5673"/>
                </a:lnTo>
                <a:lnTo>
                  <a:pt x="8454" y="5664"/>
                </a:lnTo>
                <a:lnTo>
                  <a:pt x="8389" y="5635"/>
                </a:lnTo>
                <a:lnTo>
                  <a:pt x="8460" y="5626"/>
                </a:lnTo>
                <a:lnTo>
                  <a:pt x="8512" y="5619"/>
                </a:lnTo>
                <a:lnTo>
                  <a:pt x="8391" y="5594"/>
                </a:lnTo>
                <a:lnTo>
                  <a:pt x="8390" y="5585"/>
                </a:lnTo>
                <a:lnTo>
                  <a:pt x="8413" y="5583"/>
                </a:lnTo>
                <a:lnTo>
                  <a:pt x="8444" y="5582"/>
                </a:lnTo>
                <a:lnTo>
                  <a:pt x="8461" y="5574"/>
                </a:lnTo>
                <a:lnTo>
                  <a:pt x="8435" y="5540"/>
                </a:lnTo>
                <a:lnTo>
                  <a:pt x="8377" y="5526"/>
                </a:lnTo>
                <a:lnTo>
                  <a:pt x="8338" y="5523"/>
                </a:lnTo>
                <a:lnTo>
                  <a:pt x="8365" y="5523"/>
                </a:lnTo>
                <a:lnTo>
                  <a:pt x="8442" y="5535"/>
                </a:lnTo>
                <a:lnTo>
                  <a:pt x="8506" y="5566"/>
                </a:lnTo>
                <a:lnTo>
                  <a:pt x="8570" y="5598"/>
                </a:lnTo>
                <a:lnTo>
                  <a:pt x="8651" y="5611"/>
                </a:lnTo>
                <a:lnTo>
                  <a:pt x="8628" y="5625"/>
                </a:lnTo>
                <a:lnTo>
                  <a:pt x="8599" y="5630"/>
                </a:lnTo>
                <a:lnTo>
                  <a:pt x="8581" y="5639"/>
                </a:lnTo>
                <a:lnTo>
                  <a:pt x="8589" y="5662"/>
                </a:lnTo>
                <a:lnTo>
                  <a:pt x="8670" y="5675"/>
                </a:lnTo>
                <a:lnTo>
                  <a:pt x="8730" y="5698"/>
                </a:lnTo>
                <a:lnTo>
                  <a:pt x="8734" y="5710"/>
                </a:lnTo>
                <a:lnTo>
                  <a:pt x="8647" y="5694"/>
                </a:lnTo>
                <a:lnTo>
                  <a:pt x="8827" y="5783"/>
                </a:lnTo>
                <a:lnTo>
                  <a:pt x="9164" y="5862"/>
                </a:lnTo>
                <a:lnTo>
                  <a:pt x="9482" y="5938"/>
                </a:lnTo>
                <a:lnTo>
                  <a:pt x="9600" y="6020"/>
                </a:lnTo>
                <a:lnTo>
                  <a:pt x="9434" y="5994"/>
                </a:lnTo>
                <a:lnTo>
                  <a:pt x="9247" y="5943"/>
                </a:lnTo>
                <a:lnTo>
                  <a:pt x="9071" y="5905"/>
                </a:lnTo>
                <a:lnTo>
                  <a:pt x="8938" y="5919"/>
                </a:lnTo>
                <a:lnTo>
                  <a:pt x="8999" y="5934"/>
                </a:lnTo>
                <a:lnTo>
                  <a:pt x="9068" y="5946"/>
                </a:lnTo>
                <a:lnTo>
                  <a:pt x="9115" y="5971"/>
                </a:lnTo>
                <a:lnTo>
                  <a:pt x="9114" y="6031"/>
                </a:lnTo>
                <a:lnTo>
                  <a:pt x="9280" y="6007"/>
                </a:lnTo>
                <a:lnTo>
                  <a:pt x="9535" y="6037"/>
                </a:lnTo>
                <a:lnTo>
                  <a:pt x="9724" y="6102"/>
                </a:lnTo>
                <a:lnTo>
                  <a:pt x="9694" y="6179"/>
                </a:lnTo>
                <a:close/>
                <a:moveTo>
                  <a:pt x="9720" y="6329"/>
                </a:moveTo>
                <a:lnTo>
                  <a:pt x="9720" y="6325"/>
                </a:lnTo>
                <a:lnTo>
                  <a:pt x="9722" y="6324"/>
                </a:lnTo>
                <a:lnTo>
                  <a:pt x="9726" y="6324"/>
                </a:lnTo>
                <a:lnTo>
                  <a:pt x="9731" y="6325"/>
                </a:lnTo>
                <a:lnTo>
                  <a:pt x="9731" y="6329"/>
                </a:lnTo>
                <a:lnTo>
                  <a:pt x="9729" y="6329"/>
                </a:lnTo>
                <a:lnTo>
                  <a:pt x="9724" y="6329"/>
                </a:lnTo>
                <a:lnTo>
                  <a:pt x="9720" y="6329"/>
                </a:lnTo>
                <a:close/>
                <a:moveTo>
                  <a:pt x="9340" y="6175"/>
                </a:moveTo>
                <a:lnTo>
                  <a:pt x="9339" y="6172"/>
                </a:lnTo>
                <a:lnTo>
                  <a:pt x="9340" y="6171"/>
                </a:lnTo>
                <a:lnTo>
                  <a:pt x="9341" y="6172"/>
                </a:lnTo>
                <a:lnTo>
                  <a:pt x="9344" y="6174"/>
                </a:lnTo>
                <a:lnTo>
                  <a:pt x="9340" y="6175"/>
                </a:lnTo>
                <a:close/>
                <a:moveTo>
                  <a:pt x="9214" y="6157"/>
                </a:moveTo>
                <a:lnTo>
                  <a:pt x="9185" y="6149"/>
                </a:lnTo>
                <a:lnTo>
                  <a:pt x="9154" y="6142"/>
                </a:lnTo>
                <a:lnTo>
                  <a:pt x="9124" y="6132"/>
                </a:lnTo>
                <a:lnTo>
                  <a:pt x="9091" y="6121"/>
                </a:lnTo>
                <a:lnTo>
                  <a:pt x="9145" y="6120"/>
                </a:lnTo>
                <a:lnTo>
                  <a:pt x="9206" y="6133"/>
                </a:lnTo>
                <a:lnTo>
                  <a:pt x="9241" y="6149"/>
                </a:lnTo>
                <a:lnTo>
                  <a:pt x="9214" y="6157"/>
                </a:lnTo>
                <a:close/>
                <a:moveTo>
                  <a:pt x="9046" y="6121"/>
                </a:moveTo>
                <a:lnTo>
                  <a:pt x="9047" y="6119"/>
                </a:lnTo>
                <a:lnTo>
                  <a:pt x="9049" y="6118"/>
                </a:lnTo>
                <a:lnTo>
                  <a:pt x="9050" y="6118"/>
                </a:lnTo>
                <a:lnTo>
                  <a:pt x="9051" y="6120"/>
                </a:lnTo>
                <a:lnTo>
                  <a:pt x="9046" y="6121"/>
                </a:lnTo>
                <a:close/>
                <a:moveTo>
                  <a:pt x="8933" y="6100"/>
                </a:moveTo>
                <a:lnTo>
                  <a:pt x="8930" y="6097"/>
                </a:lnTo>
                <a:lnTo>
                  <a:pt x="8929" y="6096"/>
                </a:lnTo>
                <a:lnTo>
                  <a:pt x="8929" y="6093"/>
                </a:lnTo>
                <a:lnTo>
                  <a:pt x="8930" y="6090"/>
                </a:lnTo>
                <a:lnTo>
                  <a:pt x="8934" y="6091"/>
                </a:lnTo>
                <a:lnTo>
                  <a:pt x="8935" y="6092"/>
                </a:lnTo>
                <a:lnTo>
                  <a:pt x="8935" y="6096"/>
                </a:lnTo>
                <a:lnTo>
                  <a:pt x="8933" y="6100"/>
                </a:lnTo>
                <a:close/>
                <a:moveTo>
                  <a:pt x="8886" y="6084"/>
                </a:moveTo>
                <a:lnTo>
                  <a:pt x="8872" y="6087"/>
                </a:lnTo>
                <a:lnTo>
                  <a:pt x="8858" y="6081"/>
                </a:lnTo>
                <a:lnTo>
                  <a:pt x="8846" y="6068"/>
                </a:lnTo>
                <a:lnTo>
                  <a:pt x="8838" y="6053"/>
                </a:lnTo>
                <a:lnTo>
                  <a:pt x="8856" y="6053"/>
                </a:lnTo>
                <a:lnTo>
                  <a:pt x="8873" y="6059"/>
                </a:lnTo>
                <a:lnTo>
                  <a:pt x="8884" y="6069"/>
                </a:lnTo>
                <a:lnTo>
                  <a:pt x="8886" y="6084"/>
                </a:lnTo>
                <a:close/>
                <a:moveTo>
                  <a:pt x="8565" y="6014"/>
                </a:moveTo>
                <a:lnTo>
                  <a:pt x="8570" y="6016"/>
                </a:lnTo>
                <a:lnTo>
                  <a:pt x="8565" y="6014"/>
                </a:lnTo>
                <a:lnTo>
                  <a:pt x="8570" y="6016"/>
                </a:lnTo>
                <a:lnTo>
                  <a:pt x="8565" y="6014"/>
                </a:lnTo>
                <a:close/>
                <a:moveTo>
                  <a:pt x="8511" y="6003"/>
                </a:moveTo>
                <a:lnTo>
                  <a:pt x="8510" y="5999"/>
                </a:lnTo>
                <a:lnTo>
                  <a:pt x="8509" y="5995"/>
                </a:lnTo>
                <a:lnTo>
                  <a:pt x="8509" y="5993"/>
                </a:lnTo>
                <a:lnTo>
                  <a:pt x="8511" y="5992"/>
                </a:lnTo>
                <a:lnTo>
                  <a:pt x="8514" y="5994"/>
                </a:lnTo>
                <a:lnTo>
                  <a:pt x="8515" y="5998"/>
                </a:lnTo>
                <a:lnTo>
                  <a:pt x="8515" y="6000"/>
                </a:lnTo>
                <a:lnTo>
                  <a:pt x="8511" y="6003"/>
                </a:lnTo>
                <a:close/>
                <a:moveTo>
                  <a:pt x="8348" y="5972"/>
                </a:moveTo>
                <a:lnTo>
                  <a:pt x="8339" y="5966"/>
                </a:lnTo>
                <a:lnTo>
                  <a:pt x="8330" y="5958"/>
                </a:lnTo>
                <a:lnTo>
                  <a:pt x="8321" y="5951"/>
                </a:lnTo>
                <a:lnTo>
                  <a:pt x="8314" y="5943"/>
                </a:lnTo>
                <a:lnTo>
                  <a:pt x="8326" y="5942"/>
                </a:lnTo>
                <a:lnTo>
                  <a:pt x="8341" y="5950"/>
                </a:lnTo>
                <a:lnTo>
                  <a:pt x="8351" y="5961"/>
                </a:lnTo>
                <a:lnTo>
                  <a:pt x="8348" y="5972"/>
                </a:lnTo>
                <a:close/>
                <a:moveTo>
                  <a:pt x="8314" y="6039"/>
                </a:moveTo>
                <a:lnTo>
                  <a:pt x="8306" y="6041"/>
                </a:lnTo>
                <a:lnTo>
                  <a:pt x="8302" y="6041"/>
                </a:lnTo>
                <a:lnTo>
                  <a:pt x="8302" y="6037"/>
                </a:lnTo>
                <a:lnTo>
                  <a:pt x="8305" y="6030"/>
                </a:lnTo>
                <a:lnTo>
                  <a:pt x="8310" y="6027"/>
                </a:lnTo>
                <a:lnTo>
                  <a:pt x="8315" y="6030"/>
                </a:lnTo>
                <a:lnTo>
                  <a:pt x="8318" y="6034"/>
                </a:lnTo>
                <a:lnTo>
                  <a:pt x="8314" y="6039"/>
                </a:lnTo>
                <a:close/>
                <a:moveTo>
                  <a:pt x="8298" y="6060"/>
                </a:moveTo>
                <a:lnTo>
                  <a:pt x="8297" y="6056"/>
                </a:lnTo>
                <a:lnTo>
                  <a:pt x="8297" y="6053"/>
                </a:lnTo>
                <a:lnTo>
                  <a:pt x="8297" y="6049"/>
                </a:lnTo>
                <a:lnTo>
                  <a:pt x="8298" y="6046"/>
                </a:lnTo>
                <a:lnTo>
                  <a:pt x="8298" y="6053"/>
                </a:lnTo>
                <a:lnTo>
                  <a:pt x="8298" y="6060"/>
                </a:lnTo>
                <a:close/>
                <a:moveTo>
                  <a:pt x="8241" y="5999"/>
                </a:moveTo>
                <a:lnTo>
                  <a:pt x="8221" y="6020"/>
                </a:lnTo>
                <a:lnTo>
                  <a:pt x="8203" y="6008"/>
                </a:lnTo>
                <a:lnTo>
                  <a:pt x="8194" y="5980"/>
                </a:lnTo>
                <a:lnTo>
                  <a:pt x="8198" y="5950"/>
                </a:lnTo>
                <a:lnTo>
                  <a:pt x="8244" y="5951"/>
                </a:lnTo>
                <a:lnTo>
                  <a:pt x="8237" y="5962"/>
                </a:lnTo>
                <a:lnTo>
                  <a:pt x="8222" y="5980"/>
                </a:lnTo>
                <a:lnTo>
                  <a:pt x="8241" y="5999"/>
                </a:lnTo>
                <a:close/>
                <a:moveTo>
                  <a:pt x="8163" y="6152"/>
                </a:moveTo>
                <a:lnTo>
                  <a:pt x="8163" y="6158"/>
                </a:lnTo>
                <a:lnTo>
                  <a:pt x="8163" y="6162"/>
                </a:lnTo>
                <a:lnTo>
                  <a:pt x="8163" y="6162"/>
                </a:lnTo>
                <a:lnTo>
                  <a:pt x="8161" y="6156"/>
                </a:lnTo>
                <a:lnTo>
                  <a:pt x="8162" y="6154"/>
                </a:lnTo>
                <a:lnTo>
                  <a:pt x="8163" y="6152"/>
                </a:lnTo>
                <a:close/>
                <a:moveTo>
                  <a:pt x="8176" y="6144"/>
                </a:moveTo>
                <a:lnTo>
                  <a:pt x="8172" y="6147"/>
                </a:lnTo>
                <a:lnTo>
                  <a:pt x="8176" y="6144"/>
                </a:lnTo>
                <a:lnTo>
                  <a:pt x="8174" y="6148"/>
                </a:lnTo>
                <a:lnTo>
                  <a:pt x="8176" y="6144"/>
                </a:lnTo>
                <a:close/>
                <a:moveTo>
                  <a:pt x="8189" y="6303"/>
                </a:moveTo>
                <a:lnTo>
                  <a:pt x="8200" y="6302"/>
                </a:lnTo>
                <a:lnTo>
                  <a:pt x="8212" y="6306"/>
                </a:lnTo>
                <a:lnTo>
                  <a:pt x="8220" y="6314"/>
                </a:lnTo>
                <a:lnTo>
                  <a:pt x="8221" y="6324"/>
                </a:lnTo>
                <a:lnTo>
                  <a:pt x="8209" y="6326"/>
                </a:lnTo>
                <a:lnTo>
                  <a:pt x="8195" y="6321"/>
                </a:lnTo>
                <a:lnTo>
                  <a:pt x="8185" y="6312"/>
                </a:lnTo>
                <a:lnTo>
                  <a:pt x="8189" y="6303"/>
                </a:lnTo>
                <a:close/>
                <a:moveTo>
                  <a:pt x="8120" y="6301"/>
                </a:moveTo>
                <a:lnTo>
                  <a:pt x="8118" y="6297"/>
                </a:lnTo>
                <a:lnTo>
                  <a:pt x="8119" y="6292"/>
                </a:lnTo>
                <a:lnTo>
                  <a:pt x="8123" y="6291"/>
                </a:lnTo>
                <a:lnTo>
                  <a:pt x="8128" y="6295"/>
                </a:lnTo>
                <a:lnTo>
                  <a:pt x="8132" y="6301"/>
                </a:lnTo>
                <a:lnTo>
                  <a:pt x="8130" y="6305"/>
                </a:lnTo>
                <a:lnTo>
                  <a:pt x="8127" y="6305"/>
                </a:lnTo>
                <a:lnTo>
                  <a:pt x="8120" y="6301"/>
                </a:lnTo>
                <a:close/>
                <a:moveTo>
                  <a:pt x="8116" y="6353"/>
                </a:moveTo>
                <a:lnTo>
                  <a:pt x="8123" y="6351"/>
                </a:lnTo>
                <a:lnTo>
                  <a:pt x="8125" y="6353"/>
                </a:lnTo>
                <a:lnTo>
                  <a:pt x="8125" y="6358"/>
                </a:lnTo>
                <a:lnTo>
                  <a:pt x="8120" y="6359"/>
                </a:lnTo>
                <a:lnTo>
                  <a:pt x="8118" y="6357"/>
                </a:lnTo>
                <a:lnTo>
                  <a:pt x="8116" y="6353"/>
                </a:lnTo>
                <a:close/>
                <a:moveTo>
                  <a:pt x="8128" y="6437"/>
                </a:moveTo>
                <a:lnTo>
                  <a:pt x="8120" y="6438"/>
                </a:lnTo>
                <a:lnTo>
                  <a:pt x="8111" y="6436"/>
                </a:lnTo>
                <a:lnTo>
                  <a:pt x="8107" y="6429"/>
                </a:lnTo>
                <a:lnTo>
                  <a:pt x="8110" y="6423"/>
                </a:lnTo>
                <a:lnTo>
                  <a:pt x="8118" y="6423"/>
                </a:lnTo>
                <a:lnTo>
                  <a:pt x="8125" y="6426"/>
                </a:lnTo>
                <a:lnTo>
                  <a:pt x="8130" y="6431"/>
                </a:lnTo>
                <a:lnTo>
                  <a:pt x="8128" y="6437"/>
                </a:lnTo>
                <a:close/>
                <a:moveTo>
                  <a:pt x="8085" y="6132"/>
                </a:moveTo>
                <a:lnTo>
                  <a:pt x="8055" y="6138"/>
                </a:lnTo>
                <a:lnTo>
                  <a:pt x="8030" y="6129"/>
                </a:lnTo>
                <a:lnTo>
                  <a:pt x="8009" y="6110"/>
                </a:lnTo>
                <a:lnTo>
                  <a:pt x="7990" y="6086"/>
                </a:lnTo>
                <a:lnTo>
                  <a:pt x="8025" y="6054"/>
                </a:lnTo>
                <a:lnTo>
                  <a:pt x="8081" y="6064"/>
                </a:lnTo>
                <a:lnTo>
                  <a:pt x="8114" y="6097"/>
                </a:lnTo>
                <a:lnTo>
                  <a:pt x="8085" y="6132"/>
                </a:lnTo>
                <a:close/>
                <a:moveTo>
                  <a:pt x="8023" y="6288"/>
                </a:moveTo>
                <a:lnTo>
                  <a:pt x="8002" y="6277"/>
                </a:lnTo>
                <a:lnTo>
                  <a:pt x="8006" y="6246"/>
                </a:lnTo>
                <a:lnTo>
                  <a:pt x="8025" y="6217"/>
                </a:lnTo>
                <a:lnTo>
                  <a:pt x="8051" y="6210"/>
                </a:lnTo>
                <a:lnTo>
                  <a:pt x="8069" y="6228"/>
                </a:lnTo>
                <a:lnTo>
                  <a:pt x="8063" y="6251"/>
                </a:lnTo>
                <a:lnTo>
                  <a:pt x="8045" y="6274"/>
                </a:lnTo>
                <a:lnTo>
                  <a:pt x="8023" y="6288"/>
                </a:lnTo>
                <a:close/>
                <a:moveTo>
                  <a:pt x="8043" y="6527"/>
                </a:moveTo>
                <a:lnTo>
                  <a:pt x="8035" y="6531"/>
                </a:lnTo>
                <a:lnTo>
                  <a:pt x="8027" y="6531"/>
                </a:lnTo>
                <a:lnTo>
                  <a:pt x="8021" y="6527"/>
                </a:lnTo>
                <a:lnTo>
                  <a:pt x="8020" y="6521"/>
                </a:lnTo>
                <a:lnTo>
                  <a:pt x="8027" y="6517"/>
                </a:lnTo>
                <a:lnTo>
                  <a:pt x="8035" y="6517"/>
                </a:lnTo>
                <a:lnTo>
                  <a:pt x="8041" y="6521"/>
                </a:lnTo>
                <a:lnTo>
                  <a:pt x="8043" y="6527"/>
                </a:lnTo>
                <a:close/>
                <a:moveTo>
                  <a:pt x="8022" y="5999"/>
                </a:moveTo>
                <a:lnTo>
                  <a:pt x="8017" y="6011"/>
                </a:lnTo>
                <a:lnTo>
                  <a:pt x="8009" y="6020"/>
                </a:lnTo>
                <a:lnTo>
                  <a:pt x="7999" y="6022"/>
                </a:lnTo>
                <a:lnTo>
                  <a:pt x="7992" y="6016"/>
                </a:lnTo>
                <a:lnTo>
                  <a:pt x="7995" y="6007"/>
                </a:lnTo>
                <a:lnTo>
                  <a:pt x="8003" y="6003"/>
                </a:lnTo>
                <a:lnTo>
                  <a:pt x="8012" y="6000"/>
                </a:lnTo>
                <a:lnTo>
                  <a:pt x="8022" y="5999"/>
                </a:lnTo>
                <a:close/>
                <a:moveTo>
                  <a:pt x="7980" y="5972"/>
                </a:moveTo>
                <a:lnTo>
                  <a:pt x="7994" y="5955"/>
                </a:lnTo>
                <a:lnTo>
                  <a:pt x="8028" y="5942"/>
                </a:lnTo>
                <a:lnTo>
                  <a:pt x="8068" y="5932"/>
                </a:lnTo>
                <a:lnTo>
                  <a:pt x="8100" y="5922"/>
                </a:lnTo>
                <a:lnTo>
                  <a:pt x="8087" y="5948"/>
                </a:lnTo>
                <a:lnTo>
                  <a:pt x="8067" y="5975"/>
                </a:lnTo>
                <a:lnTo>
                  <a:pt x="8032" y="5989"/>
                </a:lnTo>
                <a:lnTo>
                  <a:pt x="7980" y="5972"/>
                </a:lnTo>
                <a:close/>
                <a:moveTo>
                  <a:pt x="7962" y="5888"/>
                </a:moveTo>
                <a:lnTo>
                  <a:pt x="7964" y="5887"/>
                </a:lnTo>
                <a:lnTo>
                  <a:pt x="7972" y="5887"/>
                </a:lnTo>
                <a:lnTo>
                  <a:pt x="7984" y="5888"/>
                </a:lnTo>
                <a:lnTo>
                  <a:pt x="7993" y="5890"/>
                </a:lnTo>
                <a:lnTo>
                  <a:pt x="7985" y="5896"/>
                </a:lnTo>
                <a:lnTo>
                  <a:pt x="7979" y="5899"/>
                </a:lnTo>
                <a:lnTo>
                  <a:pt x="7972" y="5895"/>
                </a:lnTo>
                <a:lnTo>
                  <a:pt x="7962" y="5888"/>
                </a:lnTo>
                <a:close/>
                <a:moveTo>
                  <a:pt x="7930" y="5909"/>
                </a:moveTo>
                <a:lnTo>
                  <a:pt x="7879" y="5896"/>
                </a:lnTo>
                <a:lnTo>
                  <a:pt x="7816" y="5888"/>
                </a:lnTo>
                <a:lnTo>
                  <a:pt x="7761" y="5874"/>
                </a:lnTo>
                <a:lnTo>
                  <a:pt x="7739" y="5843"/>
                </a:lnTo>
                <a:lnTo>
                  <a:pt x="7817" y="5848"/>
                </a:lnTo>
                <a:lnTo>
                  <a:pt x="7781" y="5826"/>
                </a:lnTo>
                <a:lnTo>
                  <a:pt x="7723" y="5796"/>
                </a:lnTo>
                <a:lnTo>
                  <a:pt x="7730" y="5775"/>
                </a:lnTo>
                <a:lnTo>
                  <a:pt x="7849" y="5750"/>
                </a:lnTo>
                <a:lnTo>
                  <a:pt x="7862" y="5773"/>
                </a:lnTo>
                <a:lnTo>
                  <a:pt x="7858" y="5830"/>
                </a:lnTo>
                <a:lnTo>
                  <a:pt x="7930" y="5909"/>
                </a:lnTo>
                <a:close/>
                <a:moveTo>
                  <a:pt x="7927" y="6004"/>
                </a:moveTo>
                <a:lnTo>
                  <a:pt x="7916" y="5999"/>
                </a:lnTo>
                <a:lnTo>
                  <a:pt x="7914" y="5988"/>
                </a:lnTo>
                <a:lnTo>
                  <a:pt x="7919" y="5976"/>
                </a:lnTo>
                <a:lnTo>
                  <a:pt x="7929" y="5971"/>
                </a:lnTo>
                <a:lnTo>
                  <a:pt x="7941" y="5979"/>
                </a:lnTo>
                <a:lnTo>
                  <a:pt x="7944" y="5990"/>
                </a:lnTo>
                <a:lnTo>
                  <a:pt x="7941" y="6002"/>
                </a:lnTo>
                <a:lnTo>
                  <a:pt x="7927" y="6004"/>
                </a:lnTo>
                <a:close/>
                <a:moveTo>
                  <a:pt x="7886" y="5938"/>
                </a:moveTo>
                <a:lnTo>
                  <a:pt x="7881" y="5937"/>
                </a:lnTo>
                <a:lnTo>
                  <a:pt x="7876" y="5934"/>
                </a:lnTo>
                <a:lnTo>
                  <a:pt x="7879" y="5934"/>
                </a:lnTo>
                <a:lnTo>
                  <a:pt x="7885" y="5934"/>
                </a:lnTo>
                <a:lnTo>
                  <a:pt x="7887" y="5936"/>
                </a:lnTo>
                <a:lnTo>
                  <a:pt x="7886" y="5938"/>
                </a:lnTo>
                <a:close/>
                <a:moveTo>
                  <a:pt x="7667" y="5853"/>
                </a:moveTo>
                <a:lnTo>
                  <a:pt x="7658" y="5845"/>
                </a:lnTo>
                <a:lnTo>
                  <a:pt x="7663" y="5834"/>
                </a:lnTo>
                <a:lnTo>
                  <a:pt x="7678" y="5827"/>
                </a:lnTo>
                <a:lnTo>
                  <a:pt x="7692" y="5841"/>
                </a:lnTo>
                <a:lnTo>
                  <a:pt x="7690" y="5849"/>
                </a:lnTo>
                <a:lnTo>
                  <a:pt x="7683" y="5853"/>
                </a:lnTo>
                <a:lnTo>
                  <a:pt x="7676" y="5854"/>
                </a:lnTo>
                <a:lnTo>
                  <a:pt x="7667" y="5853"/>
                </a:lnTo>
                <a:close/>
                <a:moveTo>
                  <a:pt x="7668" y="5444"/>
                </a:moveTo>
                <a:lnTo>
                  <a:pt x="7668" y="5451"/>
                </a:lnTo>
                <a:lnTo>
                  <a:pt x="7663" y="5452"/>
                </a:lnTo>
                <a:lnTo>
                  <a:pt x="7658" y="5449"/>
                </a:lnTo>
                <a:lnTo>
                  <a:pt x="7653" y="5445"/>
                </a:lnTo>
                <a:lnTo>
                  <a:pt x="7662" y="5444"/>
                </a:lnTo>
                <a:lnTo>
                  <a:pt x="7668" y="5444"/>
                </a:lnTo>
                <a:close/>
                <a:moveTo>
                  <a:pt x="7611" y="5307"/>
                </a:moveTo>
                <a:lnTo>
                  <a:pt x="7608" y="5308"/>
                </a:lnTo>
                <a:lnTo>
                  <a:pt x="7604" y="5309"/>
                </a:lnTo>
                <a:lnTo>
                  <a:pt x="7598" y="5305"/>
                </a:lnTo>
                <a:lnTo>
                  <a:pt x="7602" y="5300"/>
                </a:lnTo>
                <a:lnTo>
                  <a:pt x="7608" y="5299"/>
                </a:lnTo>
                <a:lnTo>
                  <a:pt x="7611" y="5307"/>
                </a:lnTo>
                <a:close/>
                <a:moveTo>
                  <a:pt x="7570" y="5437"/>
                </a:moveTo>
                <a:lnTo>
                  <a:pt x="7564" y="5435"/>
                </a:lnTo>
                <a:lnTo>
                  <a:pt x="7564" y="5431"/>
                </a:lnTo>
                <a:lnTo>
                  <a:pt x="7566" y="5428"/>
                </a:lnTo>
                <a:lnTo>
                  <a:pt x="7571" y="5429"/>
                </a:lnTo>
                <a:lnTo>
                  <a:pt x="7574" y="5431"/>
                </a:lnTo>
                <a:lnTo>
                  <a:pt x="7574" y="5434"/>
                </a:lnTo>
                <a:lnTo>
                  <a:pt x="7573" y="5435"/>
                </a:lnTo>
                <a:lnTo>
                  <a:pt x="7570" y="5437"/>
                </a:lnTo>
                <a:close/>
                <a:moveTo>
                  <a:pt x="7482" y="5135"/>
                </a:moveTo>
                <a:lnTo>
                  <a:pt x="7464" y="5132"/>
                </a:lnTo>
                <a:lnTo>
                  <a:pt x="7461" y="5120"/>
                </a:lnTo>
                <a:lnTo>
                  <a:pt x="7467" y="5104"/>
                </a:lnTo>
                <a:lnTo>
                  <a:pt x="7482" y="5102"/>
                </a:lnTo>
                <a:lnTo>
                  <a:pt x="7490" y="5109"/>
                </a:lnTo>
                <a:lnTo>
                  <a:pt x="7492" y="5118"/>
                </a:lnTo>
                <a:lnTo>
                  <a:pt x="7490" y="5129"/>
                </a:lnTo>
                <a:lnTo>
                  <a:pt x="7482" y="5135"/>
                </a:lnTo>
                <a:close/>
                <a:moveTo>
                  <a:pt x="7469" y="5258"/>
                </a:moveTo>
                <a:lnTo>
                  <a:pt x="7462" y="5253"/>
                </a:lnTo>
                <a:lnTo>
                  <a:pt x="7463" y="5246"/>
                </a:lnTo>
                <a:lnTo>
                  <a:pt x="7471" y="5241"/>
                </a:lnTo>
                <a:lnTo>
                  <a:pt x="7477" y="5246"/>
                </a:lnTo>
                <a:lnTo>
                  <a:pt x="7477" y="5251"/>
                </a:lnTo>
                <a:lnTo>
                  <a:pt x="7476" y="5255"/>
                </a:lnTo>
                <a:lnTo>
                  <a:pt x="7473" y="5257"/>
                </a:lnTo>
                <a:lnTo>
                  <a:pt x="7469" y="5258"/>
                </a:lnTo>
                <a:close/>
                <a:moveTo>
                  <a:pt x="7434" y="4912"/>
                </a:moveTo>
                <a:lnTo>
                  <a:pt x="7424" y="4908"/>
                </a:lnTo>
                <a:lnTo>
                  <a:pt x="7417" y="4898"/>
                </a:lnTo>
                <a:lnTo>
                  <a:pt x="7416" y="4887"/>
                </a:lnTo>
                <a:lnTo>
                  <a:pt x="7424" y="4878"/>
                </a:lnTo>
                <a:lnTo>
                  <a:pt x="7435" y="4878"/>
                </a:lnTo>
                <a:lnTo>
                  <a:pt x="7438" y="4887"/>
                </a:lnTo>
                <a:lnTo>
                  <a:pt x="7435" y="4899"/>
                </a:lnTo>
                <a:lnTo>
                  <a:pt x="7434" y="4912"/>
                </a:lnTo>
                <a:close/>
                <a:moveTo>
                  <a:pt x="7266" y="5542"/>
                </a:moveTo>
                <a:lnTo>
                  <a:pt x="7240" y="5551"/>
                </a:lnTo>
                <a:lnTo>
                  <a:pt x="7211" y="5547"/>
                </a:lnTo>
                <a:lnTo>
                  <a:pt x="7193" y="5533"/>
                </a:lnTo>
                <a:lnTo>
                  <a:pt x="7202" y="5508"/>
                </a:lnTo>
                <a:lnTo>
                  <a:pt x="7231" y="5500"/>
                </a:lnTo>
                <a:lnTo>
                  <a:pt x="7263" y="5505"/>
                </a:lnTo>
                <a:lnTo>
                  <a:pt x="7281" y="5519"/>
                </a:lnTo>
                <a:lnTo>
                  <a:pt x="7266" y="5542"/>
                </a:lnTo>
                <a:close/>
                <a:moveTo>
                  <a:pt x="6523" y="5636"/>
                </a:moveTo>
                <a:lnTo>
                  <a:pt x="6527" y="5635"/>
                </a:lnTo>
                <a:lnTo>
                  <a:pt x="6523" y="5636"/>
                </a:lnTo>
                <a:lnTo>
                  <a:pt x="6523" y="5636"/>
                </a:lnTo>
                <a:close/>
                <a:moveTo>
                  <a:pt x="6789" y="5713"/>
                </a:moveTo>
                <a:lnTo>
                  <a:pt x="6699" y="5700"/>
                </a:lnTo>
                <a:lnTo>
                  <a:pt x="6616" y="5685"/>
                </a:lnTo>
                <a:lnTo>
                  <a:pt x="6533" y="5671"/>
                </a:lnTo>
                <a:lnTo>
                  <a:pt x="6443" y="5658"/>
                </a:lnTo>
                <a:lnTo>
                  <a:pt x="6531" y="5643"/>
                </a:lnTo>
                <a:lnTo>
                  <a:pt x="6654" y="5650"/>
                </a:lnTo>
                <a:lnTo>
                  <a:pt x="6760" y="5676"/>
                </a:lnTo>
                <a:lnTo>
                  <a:pt x="6789" y="5713"/>
                </a:lnTo>
                <a:close/>
                <a:moveTo>
                  <a:pt x="6401" y="5656"/>
                </a:moveTo>
                <a:lnTo>
                  <a:pt x="6400" y="5653"/>
                </a:lnTo>
                <a:lnTo>
                  <a:pt x="6400" y="5652"/>
                </a:lnTo>
                <a:lnTo>
                  <a:pt x="6401" y="5652"/>
                </a:lnTo>
                <a:lnTo>
                  <a:pt x="6404" y="5652"/>
                </a:lnTo>
                <a:lnTo>
                  <a:pt x="6401" y="5656"/>
                </a:lnTo>
                <a:close/>
                <a:moveTo>
                  <a:pt x="6277" y="5638"/>
                </a:moveTo>
                <a:lnTo>
                  <a:pt x="6271" y="5630"/>
                </a:lnTo>
                <a:lnTo>
                  <a:pt x="6280" y="5622"/>
                </a:lnTo>
                <a:lnTo>
                  <a:pt x="6295" y="5620"/>
                </a:lnTo>
                <a:lnTo>
                  <a:pt x="6309" y="5626"/>
                </a:lnTo>
                <a:lnTo>
                  <a:pt x="6302" y="5635"/>
                </a:lnTo>
                <a:lnTo>
                  <a:pt x="6294" y="5639"/>
                </a:lnTo>
                <a:lnTo>
                  <a:pt x="6285" y="5639"/>
                </a:lnTo>
                <a:lnTo>
                  <a:pt x="6277" y="5638"/>
                </a:lnTo>
                <a:close/>
                <a:moveTo>
                  <a:pt x="6406" y="5383"/>
                </a:moveTo>
                <a:lnTo>
                  <a:pt x="6404" y="5391"/>
                </a:lnTo>
                <a:lnTo>
                  <a:pt x="6398" y="5395"/>
                </a:lnTo>
                <a:lnTo>
                  <a:pt x="6391" y="5398"/>
                </a:lnTo>
                <a:lnTo>
                  <a:pt x="6384" y="5400"/>
                </a:lnTo>
                <a:lnTo>
                  <a:pt x="6379" y="5381"/>
                </a:lnTo>
                <a:lnTo>
                  <a:pt x="6388" y="5364"/>
                </a:lnTo>
                <a:lnTo>
                  <a:pt x="6401" y="5363"/>
                </a:lnTo>
                <a:lnTo>
                  <a:pt x="6406" y="5383"/>
                </a:lnTo>
                <a:close/>
                <a:moveTo>
                  <a:pt x="6490" y="5392"/>
                </a:moveTo>
                <a:lnTo>
                  <a:pt x="6481" y="5405"/>
                </a:lnTo>
                <a:lnTo>
                  <a:pt x="6467" y="5411"/>
                </a:lnTo>
                <a:lnTo>
                  <a:pt x="6452" y="5414"/>
                </a:lnTo>
                <a:lnTo>
                  <a:pt x="6435" y="5416"/>
                </a:lnTo>
                <a:lnTo>
                  <a:pt x="6442" y="5395"/>
                </a:lnTo>
                <a:lnTo>
                  <a:pt x="6458" y="5379"/>
                </a:lnTo>
                <a:lnTo>
                  <a:pt x="6477" y="5375"/>
                </a:lnTo>
                <a:lnTo>
                  <a:pt x="6490" y="5392"/>
                </a:lnTo>
                <a:close/>
                <a:moveTo>
                  <a:pt x="6048" y="5409"/>
                </a:moveTo>
                <a:lnTo>
                  <a:pt x="6077" y="5447"/>
                </a:lnTo>
                <a:lnTo>
                  <a:pt x="6114" y="5445"/>
                </a:lnTo>
                <a:lnTo>
                  <a:pt x="6144" y="5414"/>
                </a:lnTo>
                <a:lnTo>
                  <a:pt x="6151" y="5365"/>
                </a:lnTo>
                <a:lnTo>
                  <a:pt x="6229" y="5401"/>
                </a:lnTo>
                <a:lnTo>
                  <a:pt x="6223" y="5473"/>
                </a:lnTo>
                <a:lnTo>
                  <a:pt x="6176" y="5545"/>
                </a:lnTo>
                <a:lnTo>
                  <a:pt x="6128" y="5580"/>
                </a:lnTo>
                <a:lnTo>
                  <a:pt x="6092" y="5608"/>
                </a:lnTo>
                <a:lnTo>
                  <a:pt x="6005" y="5606"/>
                </a:lnTo>
                <a:lnTo>
                  <a:pt x="5944" y="5589"/>
                </a:lnTo>
                <a:lnTo>
                  <a:pt x="5983" y="5574"/>
                </a:lnTo>
                <a:lnTo>
                  <a:pt x="6067" y="5566"/>
                </a:lnTo>
                <a:lnTo>
                  <a:pt x="6084" y="5545"/>
                </a:lnTo>
                <a:lnTo>
                  <a:pt x="6046" y="5527"/>
                </a:lnTo>
                <a:lnTo>
                  <a:pt x="5963" y="5531"/>
                </a:lnTo>
                <a:lnTo>
                  <a:pt x="5909" y="5563"/>
                </a:lnTo>
                <a:lnTo>
                  <a:pt x="5867" y="5579"/>
                </a:lnTo>
                <a:lnTo>
                  <a:pt x="5856" y="5570"/>
                </a:lnTo>
                <a:lnTo>
                  <a:pt x="5895" y="5521"/>
                </a:lnTo>
                <a:lnTo>
                  <a:pt x="5866" y="5507"/>
                </a:lnTo>
                <a:lnTo>
                  <a:pt x="5841" y="5493"/>
                </a:lnTo>
                <a:lnTo>
                  <a:pt x="5836" y="5484"/>
                </a:lnTo>
                <a:lnTo>
                  <a:pt x="5869" y="5485"/>
                </a:lnTo>
                <a:lnTo>
                  <a:pt x="5962" y="5496"/>
                </a:lnTo>
                <a:lnTo>
                  <a:pt x="5957" y="5466"/>
                </a:lnTo>
                <a:lnTo>
                  <a:pt x="5950" y="5415"/>
                </a:lnTo>
                <a:lnTo>
                  <a:pt x="6039" y="5360"/>
                </a:lnTo>
                <a:lnTo>
                  <a:pt x="6033" y="5322"/>
                </a:lnTo>
                <a:lnTo>
                  <a:pt x="6004" y="5302"/>
                </a:lnTo>
                <a:lnTo>
                  <a:pt x="5965" y="5294"/>
                </a:lnTo>
                <a:lnTo>
                  <a:pt x="5926" y="5297"/>
                </a:lnTo>
                <a:lnTo>
                  <a:pt x="5950" y="5261"/>
                </a:lnTo>
                <a:lnTo>
                  <a:pt x="6027" y="5249"/>
                </a:lnTo>
                <a:lnTo>
                  <a:pt x="6117" y="5249"/>
                </a:lnTo>
                <a:lnTo>
                  <a:pt x="6179" y="5251"/>
                </a:lnTo>
                <a:lnTo>
                  <a:pt x="6234" y="5271"/>
                </a:lnTo>
                <a:lnTo>
                  <a:pt x="6300" y="5258"/>
                </a:lnTo>
                <a:lnTo>
                  <a:pt x="6360" y="5253"/>
                </a:lnTo>
                <a:lnTo>
                  <a:pt x="6398" y="5297"/>
                </a:lnTo>
                <a:lnTo>
                  <a:pt x="6428" y="5262"/>
                </a:lnTo>
                <a:lnTo>
                  <a:pt x="6472" y="5247"/>
                </a:lnTo>
                <a:lnTo>
                  <a:pt x="6505" y="5257"/>
                </a:lnTo>
                <a:lnTo>
                  <a:pt x="6504" y="5304"/>
                </a:lnTo>
                <a:lnTo>
                  <a:pt x="6381" y="5328"/>
                </a:lnTo>
                <a:lnTo>
                  <a:pt x="6242" y="5307"/>
                </a:lnTo>
                <a:lnTo>
                  <a:pt x="6121" y="5309"/>
                </a:lnTo>
                <a:lnTo>
                  <a:pt x="6048" y="5409"/>
                </a:lnTo>
                <a:close/>
                <a:moveTo>
                  <a:pt x="5800" y="5355"/>
                </a:moveTo>
                <a:lnTo>
                  <a:pt x="5805" y="5342"/>
                </a:lnTo>
                <a:lnTo>
                  <a:pt x="5814" y="5340"/>
                </a:lnTo>
                <a:lnTo>
                  <a:pt x="5824" y="5345"/>
                </a:lnTo>
                <a:lnTo>
                  <a:pt x="5836" y="5353"/>
                </a:lnTo>
                <a:lnTo>
                  <a:pt x="5827" y="5365"/>
                </a:lnTo>
                <a:lnTo>
                  <a:pt x="5815" y="5373"/>
                </a:lnTo>
                <a:lnTo>
                  <a:pt x="5805" y="5369"/>
                </a:lnTo>
                <a:lnTo>
                  <a:pt x="5800" y="5355"/>
                </a:lnTo>
                <a:close/>
                <a:moveTo>
                  <a:pt x="5760" y="5276"/>
                </a:moveTo>
                <a:lnTo>
                  <a:pt x="5684" y="5252"/>
                </a:lnTo>
                <a:lnTo>
                  <a:pt x="5683" y="5201"/>
                </a:lnTo>
                <a:lnTo>
                  <a:pt x="5723" y="5168"/>
                </a:lnTo>
                <a:lnTo>
                  <a:pt x="5776" y="5200"/>
                </a:lnTo>
                <a:lnTo>
                  <a:pt x="5783" y="5242"/>
                </a:lnTo>
                <a:lnTo>
                  <a:pt x="5806" y="5265"/>
                </a:lnTo>
                <a:lnTo>
                  <a:pt x="5810" y="5275"/>
                </a:lnTo>
                <a:lnTo>
                  <a:pt x="5760" y="5276"/>
                </a:lnTo>
                <a:close/>
                <a:moveTo>
                  <a:pt x="5751" y="5358"/>
                </a:moveTo>
                <a:lnTo>
                  <a:pt x="5739" y="5391"/>
                </a:lnTo>
                <a:lnTo>
                  <a:pt x="5708" y="5407"/>
                </a:lnTo>
                <a:lnTo>
                  <a:pt x="5684" y="5400"/>
                </a:lnTo>
                <a:lnTo>
                  <a:pt x="5684" y="5367"/>
                </a:lnTo>
                <a:lnTo>
                  <a:pt x="5708" y="5346"/>
                </a:lnTo>
                <a:lnTo>
                  <a:pt x="5730" y="5337"/>
                </a:lnTo>
                <a:lnTo>
                  <a:pt x="5746" y="5341"/>
                </a:lnTo>
                <a:lnTo>
                  <a:pt x="5751" y="5358"/>
                </a:lnTo>
                <a:close/>
                <a:moveTo>
                  <a:pt x="5653" y="5279"/>
                </a:moveTo>
                <a:lnTo>
                  <a:pt x="5639" y="5262"/>
                </a:lnTo>
                <a:lnTo>
                  <a:pt x="5630" y="5242"/>
                </a:lnTo>
                <a:lnTo>
                  <a:pt x="5633" y="5224"/>
                </a:lnTo>
                <a:lnTo>
                  <a:pt x="5652" y="5211"/>
                </a:lnTo>
                <a:lnTo>
                  <a:pt x="5657" y="5229"/>
                </a:lnTo>
                <a:lnTo>
                  <a:pt x="5661" y="5246"/>
                </a:lnTo>
                <a:lnTo>
                  <a:pt x="5661" y="5262"/>
                </a:lnTo>
                <a:lnTo>
                  <a:pt x="5653" y="5279"/>
                </a:lnTo>
                <a:close/>
                <a:moveTo>
                  <a:pt x="5648" y="5321"/>
                </a:moveTo>
                <a:lnTo>
                  <a:pt x="5645" y="5326"/>
                </a:lnTo>
                <a:lnTo>
                  <a:pt x="5638" y="5326"/>
                </a:lnTo>
                <a:lnTo>
                  <a:pt x="5634" y="5322"/>
                </a:lnTo>
                <a:lnTo>
                  <a:pt x="5634" y="5316"/>
                </a:lnTo>
                <a:lnTo>
                  <a:pt x="5642" y="5293"/>
                </a:lnTo>
                <a:lnTo>
                  <a:pt x="5648" y="5288"/>
                </a:lnTo>
                <a:lnTo>
                  <a:pt x="5652" y="5298"/>
                </a:lnTo>
                <a:lnTo>
                  <a:pt x="5648" y="5321"/>
                </a:lnTo>
                <a:close/>
                <a:moveTo>
                  <a:pt x="5651" y="5465"/>
                </a:moveTo>
                <a:lnTo>
                  <a:pt x="5562" y="5435"/>
                </a:lnTo>
                <a:lnTo>
                  <a:pt x="5503" y="5370"/>
                </a:lnTo>
                <a:lnTo>
                  <a:pt x="5502" y="5317"/>
                </a:lnTo>
                <a:lnTo>
                  <a:pt x="5586" y="5317"/>
                </a:lnTo>
                <a:lnTo>
                  <a:pt x="5534" y="5319"/>
                </a:lnTo>
                <a:lnTo>
                  <a:pt x="5569" y="5337"/>
                </a:lnTo>
                <a:lnTo>
                  <a:pt x="5630" y="5383"/>
                </a:lnTo>
                <a:lnTo>
                  <a:pt x="5651" y="5465"/>
                </a:lnTo>
                <a:close/>
                <a:moveTo>
                  <a:pt x="5530" y="5457"/>
                </a:moveTo>
                <a:lnTo>
                  <a:pt x="5529" y="5456"/>
                </a:lnTo>
                <a:lnTo>
                  <a:pt x="5529" y="5454"/>
                </a:lnTo>
                <a:lnTo>
                  <a:pt x="5531" y="5454"/>
                </a:lnTo>
                <a:lnTo>
                  <a:pt x="5534" y="5454"/>
                </a:lnTo>
                <a:lnTo>
                  <a:pt x="5530" y="5457"/>
                </a:lnTo>
                <a:close/>
                <a:moveTo>
                  <a:pt x="5507" y="5536"/>
                </a:moveTo>
                <a:lnTo>
                  <a:pt x="5501" y="5529"/>
                </a:lnTo>
                <a:lnTo>
                  <a:pt x="5507" y="5529"/>
                </a:lnTo>
                <a:lnTo>
                  <a:pt x="5520" y="5535"/>
                </a:lnTo>
                <a:lnTo>
                  <a:pt x="5529" y="5540"/>
                </a:lnTo>
                <a:lnTo>
                  <a:pt x="5518" y="5537"/>
                </a:lnTo>
                <a:lnTo>
                  <a:pt x="5507" y="5536"/>
                </a:lnTo>
                <a:close/>
                <a:moveTo>
                  <a:pt x="5446" y="5370"/>
                </a:moveTo>
                <a:lnTo>
                  <a:pt x="5431" y="5372"/>
                </a:lnTo>
                <a:lnTo>
                  <a:pt x="5420" y="5358"/>
                </a:lnTo>
                <a:lnTo>
                  <a:pt x="5414" y="5339"/>
                </a:lnTo>
                <a:lnTo>
                  <a:pt x="5414" y="5322"/>
                </a:lnTo>
                <a:lnTo>
                  <a:pt x="5427" y="5331"/>
                </a:lnTo>
                <a:lnTo>
                  <a:pt x="5439" y="5341"/>
                </a:lnTo>
                <a:lnTo>
                  <a:pt x="5447" y="5355"/>
                </a:lnTo>
                <a:lnTo>
                  <a:pt x="5446" y="5370"/>
                </a:lnTo>
                <a:close/>
                <a:moveTo>
                  <a:pt x="5423" y="5514"/>
                </a:moveTo>
                <a:lnTo>
                  <a:pt x="5419" y="5512"/>
                </a:lnTo>
                <a:lnTo>
                  <a:pt x="5419" y="5509"/>
                </a:lnTo>
                <a:lnTo>
                  <a:pt x="5422" y="5508"/>
                </a:lnTo>
                <a:lnTo>
                  <a:pt x="5425" y="5505"/>
                </a:lnTo>
                <a:lnTo>
                  <a:pt x="5433" y="5509"/>
                </a:lnTo>
                <a:lnTo>
                  <a:pt x="5434" y="5512"/>
                </a:lnTo>
                <a:lnTo>
                  <a:pt x="5431" y="5513"/>
                </a:lnTo>
                <a:lnTo>
                  <a:pt x="5423" y="5514"/>
                </a:lnTo>
                <a:close/>
                <a:moveTo>
                  <a:pt x="5392" y="5517"/>
                </a:moveTo>
                <a:lnTo>
                  <a:pt x="5405" y="5514"/>
                </a:lnTo>
                <a:lnTo>
                  <a:pt x="5418" y="5512"/>
                </a:lnTo>
                <a:lnTo>
                  <a:pt x="5418" y="5515"/>
                </a:lnTo>
                <a:lnTo>
                  <a:pt x="5410" y="5517"/>
                </a:lnTo>
                <a:lnTo>
                  <a:pt x="5400" y="5517"/>
                </a:lnTo>
                <a:lnTo>
                  <a:pt x="5392" y="5517"/>
                </a:lnTo>
                <a:close/>
                <a:moveTo>
                  <a:pt x="5382" y="5223"/>
                </a:moveTo>
                <a:lnTo>
                  <a:pt x="5386" y="5221"/>
                </a:lnTo>
                <a:lnTo>
                  <a:pt x="5382" y="5223"/>
                </a:lnTo>
                <a:lnTo>
                  <a:pt x="5385" y="5220"/>
                </a:lnTo>
                <a:lnTo>
                  <a:pt x="5382" y="5223"/>
                </a:lnTo>
                <a:close/>
                <a:moveTo>
                  <a:pt x="5358" y="5424"/>
                </a:moveTo>
                <a:lnTo>
                  <a:pt x="5343" y="5434"/>
                </a:lnTo>
                <a:lnTo>
                  <a:pt x="5325" y="5429"/>
                </a:lnTo>
                <a:lnTo>
                  <a:pt x="5317" y="5415"/>
                </a:lnTo>
                <a:lnTo>
                  <a:pt x="5332" y="5402"/>
                </a:lnTo>
                <a:lnTo>
                  <a:pt x="5343" y="5403"/>
                </a:lnTo>
                <a:lnTo>
                  <a:pt x="5353" y="5407"/>
                </a:lnTo>
                <a:lnTo>
                  <a:pt x="5358" y="5414"/>
                </a:lnTo>
                <a:lnTo>
                  <a:pt x="5358" y="5424"/>
                </a:lnTo>
                <a:close/>
                <a:moveTo>
                  <a:pt x="5316" y="5104"/>
                </a:moveTo>
                <a:lnTo>
                  <a:pt x="5311" y="5109"/>
                </a:lnTo>
                <a:lnTo>
                  <a:pt x="5303" y="5112"/>
                </a:lnTo>
                <a:lnTo>
                  <a:pt x="5297" y="5113"/>
                </a:lnTo>
                <a:lnTo>
                  <a:pt x="5289" y="5116"/>
                </a:lnTo>
                <a:lnTo>
                  <a:pt x="5296" y="5107"/>
                </a:lnTo>
                <a:lnTo>
                  <a:pt x="5306" y="5101"/>
                </a:lnTo>
                <a:lnTo>
                  <a:pt x="5313" y="5098"/>
                </a:lnTo>
                <a:lnTo>
                  <a:pt x="5316" y="5104"/>
                </a:lnTo>
                <a:close/>
                <a:moveTo>
                  <a:pt x="5284" y="5407"/>
                </a:moveTo>
                <a:lnTo>
                  <a:pt x="5157" y="5412"/>
                </a:lnTo>
                <a:lnTo>
                  <a:pt x="5102" y="5406"/>
                </a:lnTo>
                <a:lnTo>
                  <a:pt x="5135" y="5388"/>
                </a:lnTo>
                <a:lnTo>
                  <a:pt x="5269" y="5359"/>
                </a:lnTo>
                <a:lnTo>
                  <a:pt x="5290" y="5339"/>
                </a:lnTo>
                <a:lnTo>
                  <a:pt x="5296" y="5351"/>
                </a:lnTo>
                <a:lnTo>
                  <a:pt x="5292" y="5379"/>
                </a:lnTo>
                <a:lnTo>
                  <a:pt x="5284" y="5407"/>
                </a:lnTo>
                <a:close/>
                <a:moveTo>
                  <a:pt x="5001" y="5074"/>
                </a:moveTo>
                <a:lnTo>
                  <a:pt x="4994" y="5074"/>
                </a:lnTo>
                <a:lnTo>
                  <a:pt x="4986" y="5070"/>
                </a:lnTo>
                <a:lnTo>
                  <a:pt x="4980" y="5064"/>
                </a:lnTo>
                <a:lnTo>
                  <a:pt x="4976" y="5056"/>
                </a:lnTo>
                <a:lnTo>
                  <a:pt x="4985" y="5059"/>
                </a:lnTo>
                <a:lnTo>
                  <a:pt x="4995" y="5061"/>
                </a:lnTo>
                <a:lnTo>
                  <a:pt x="5001" y="5065"/>
                </a:lnTo>
                <a:lnTo>
                  <a:pt x="5001" y="5074"/>
                </a:lnTo>
                <a:close/>
                <a:moveTo>
                  <a:pt x="4971" y="5160"/>
                </a:moveTo>
                <a:lnTo>
                  <a:pt x="4964" y="5164"/>
                </a:lnTo>
                <a:lnTo>
                  <a:pt x="4958" y="5163"/>
                </a:lnTo>
                <a:lnTo>
                  <a:pt x="4950" y="5160"/>
                </a:lnTo>
                <a:lnTo>
                  <a:pt x="4944" y="5159"/>
                </a:lnTo>
                <a:lnTo>
                  <a:pt x="4952" y="5153"/>
                </a:lnTo>
                <a:lnTo>
                  <a:pt x="4963" y="5149"/>
                </a:lnTo>
                <a:lnTo>
                  <a:pt x="4971" y="5151"/>
                </a:lnTo>
                <a:lnTo>
                  <a:pt x="4971" y="5160"/>
                </a:lnTo>
                <a:close/>
                <a:moveTo>
                  <a:pt x="4945" y="4963"/>
                </a:moveTo>
                <a:lnTo>
                  <a:pt x="4952" y="4962"/>
                </a:lnTo>
                <a:lnTo>
                  <a:pt x="4957" y="4963"/>
                </a:lnTo>
                <a:lnTo>
                  <a:pt x="4962" y="4964"/>
                </a:lnTo>
                <a:lnTo>
                  <a:pt x="4967" y="4969"/>
                </a:lnTo>
                <a:lnTo>
                  <a:pt x="4964" y="4982"/>
                </a:lnTo>
                <a:lnTo>
                  <a:pt x="4950" y="4982"/>
                </a:lnTo>
                <a:lnTo>
                  <a:pt x="4939" y="4974"/>
                </a:lnTo>
                <a:lnTo>
                  <a:pt x="4945" y="4963"/>
                </a:lnTo>
                <a:close/>
                <a:moveTo>
                  <a:pt x="4920" y="5169"/>
                </a:moveTo>
                <a:lnTo>
                  <a:pt x="4914" y="5169"/>
                </a:lnTo>
                <a:lnTo>
                  <a:pt x="4911" y="5164"/>
                </a:lnTo>
                <a:lnTo>
                  <a:pt x="4912" y="5158"/>
                </a:lnTo>
                <a:lnTo>
                  <a:pt x="4917" y="5155"/>
                </a:lnTo>
                <a:lnTo>
                  <a:pt x="4931" y="5157"/>
                </a:lnTo>
                <a:lnTo>
                  <a:pt x="4935" y="5160"/>
                </a:lnTo>
                <a:lnTo>
                  <a:pt x="4931" y="5164"/>
                </a:lnTo>
                <a:lnTo>
                  <a:pt x="4920" y="5169"/>
                </a:lnTo>
                <a:close/>
                <a:moveTo>
                  <a:pt x="4902" y="5076"/>
                </a:moveTo>
                <a:lnTo>
                  <a:pt x="4888" y="5079"/>
                </a:lnTo>
                <a:lnTo>
                  <a:pt x="4878" y="5076"/>
                </a:lnTo>
                <a:lnTo>
                  <a:pt x="4877" y="5071"/>
                </a:lnTo>
                <a:lnTo>
                  <a:pt x="4892" y="5066"/>
                </a:lnTo>
                <a:lnTo>
                  <a:pt x="4893" y="5064"/>
                </a:lnTo>
                <a:lnTo>
                  <a:pt x="4900" y="5065"/>
                </a:lnTo>
                <a:lnTo>
                  <a:pt x="4905" y="5070"/>
                </a:lnTo>
                <a:lnTo>
                  <a:pt x="4902" y="5076"/>
                </a:lnTo>
                <a:close/>
                <a:moveTo>
                  <a:pt x="4868" y="4971"/>
                </a:moveTo>
                <a:lnTo>
                  <a:pt x="4871" y="4969"/>
                </a:lnTo>
                <a:lnTo>
                  <a:pt x="4875" y="4969"/>
                </a:lnTo>
                <a:lnTo>
                  <a:pt x="4879" y="4978"/>
                </a:lnTo>
                <a:lnTo>
                  <a:pt x="4877" y="4981"/>
                </a:lnTo>
                <a:lnTo>
                  <a:pt x="4873" y="4978"/>
                </a:lnTo>
                <a:lnTo>
                  <a:pt x="4868" y="4971"/>
                </a:lnTo>
                <a:close/>
                <a:moveTo>
                  <a:pt x="4866" y="4652"/>
                </a:moveTo>
                <a:lnTo>
                  <a:pt x="4870" y="4652"/>
                </a:lnTo>
                <a:lnTo>
                  <a:pt x="4874" y="4652"/>
                </a:lnTo>
                <a:lnTo>
                  <a:pt x="4877" y="4655"/>
                </a:lnTo>
                <a:lnTo>
                  <a:pt x="4875" y="4659"/>
                </a:lnTo>
                <a:lnTo>
                  <a:pt x="4871" y="4658"/>
                </a:lnTo>
                <a:lnTo>
                  <a:pt x="4868" y="4658"/>
                </a:lnTo>
                <a:lnTo>
                  <a:pt x="4865" y="4655"/>
                </a:lnTo>
                <a:lnTo>
                  <a:pt x="4866" y="4652"/>
                </a:lnTo>
                <a:close/>
                <a:moveTo>
                  <a:pt x="4841" y="4735"/>
                </a:moveTo>
                <a:lnTo>
                  <a:pt x="4847" y="4736"/>
                </a:lnTo>
                <a:lnTo>
                  <a:pt x="4841" y="4735"/>
                </a:lnTo>
                <a:lnTo>
                  <a:pt x="4849" y="4733"/>
                </a:lnTo>
                <a:lnTo>
                  <a:pt x="4841" y="4735"/>
                </a:lnTo>
                <a:close/>
                <a:moveTo>
                  <a:pt x="4798" y="4553"/>
                </a:moveTo>
                <a:lnTo>
                  <a:pt x="4770" y="4554"/>
                </a:lnTo>
                <a:lnTo>
                  <a:pt x="4766" y="4548"/>
                </a:lnTo>
                <a:lnTo>
                  <a:pt x="4773" y="4532"/>
                </a:lnTo>
                <a:lnTo>
                  <a:pt x="4785" y="4505"/>
                </a:lnTo>
                <a:lnTo>
                  <a:pt x="4800" y="4515"/>
                </a:lnTo>
                <a:lnTo>
                  <a:pt x="4810" y="4530"/>
                </a:lnTo>
                <a:lnTo>
                  <a:pt x="4810" y="4546"/>
                </a:lnTo>
                <a:lnTo>
                  <a:pt x="4798" y="4553"/>
                </a:lnTo>
                <a:close/>
                <a:moveTo>
                  <a:pt x="4765" y="5034"/>
                </a:moveTo>
                <a:lnTo>
                  <a:pt x="4761" y="5033"/>
                </a:lnTo>
                <a:lnTo>
                  <a:pt x="4757" y="5032"/>
                </a:lnTo>
                <a:lnTo>
                  <a:pt x="4754" y="5029"/>
                </a:lnTo>
                <a:lnTo>
                  <a:pt x="4752" y="5027"/>
                </a:lnTo>
                <a:lnTo>
                  <a:pt x="4756" y="5015"/>
                </a:lnTo>
                <a:lnTo>
                  <a:pt x="4767" y="5019"/>
                </a:lnTo>
                <a:lnTo>
                  <a:pt x="4773" y="5028"/>
                </a:lnTo>
                <a:lnTo>
                  <a:pt x="4765" y="5034"/>
                </a:lnTo>
                <a:close/>
                <a:moveTo>
                  <a:pt x="4700" y="5034"/>
                </a:moveTo>
                <a:lnTo>
                  <a:pt x="4686" y="5047"/>
                </a:lnTo>
                <a:lnTo>
                  <a:pt x="4666" y="5052"/>
                </a:lnTo>
                <a:lnTo>
                  <a:pt x="4652" y="5048"/>
                </a:lnTo>
                <a:lnTo>
                  <a:pt x="4654" y="5034"/>
                </a:lnTo>
                <a:lnTo>
                  <a:pt x="4665" y="5033"/>
                </a:lnTo>
                <a:lnTo>
                  <a:pt x="4678" y="5029"/>
                </a:lnTo>
                <a:lnTo>
                  <a:pt x="4691" y="5029"/>
                </a:lnTo>
                <a:lnTo>
                  <a:pt x="4700" y="5034"/>
                </a:lnTo>
                <a:close/>
                <a:moveTo>
                  <a:pt x="4590" y="4772"/>
                </a:moveTo>
                <a:lnTo>
                  <a:pt x="4586" y="4771"/>
                </a:lnTo>
                <a:lnTo>
                  <a:pt x="4585" y="4770"/>
                </a:lnTo>
                <a:lnTo>
                  <a:pt x="4586" y="4763"/>
                </a:lnTo>
                <a:lnTo>
                  <a:pt x="4590" y="4763"/>
                </a:lnTo>
                <a:lnTo>
                  <a:pt x="4593" y="4767"/>
                </a:lnTo>
                <a:lnTo>
                  <a:pt x="4590" y="4772"/>
                </a:lnTo>
                <a:close/>
                <a:moveTo>
                  <a:pt x="4548" y="4697"/>
                </a:moveTo>
                <a:lnTo>
                  <a:pt x="4545" y="4692"/>
                </a:lnTo>
                <a:lnTo>
                  <a:pt x="4549" y="4687"/>
                </a:lnTo>
                <a:lnTo>
                  <a:pt x="4556" y="4683"/>
                </a:lnTo>
                <a:lnTo>
                  <a:pt x="4562" y="4679"/>
                </a:lnTo>
                <a:lnTo>
                  <a:pt x="4565" y="4686"/>
                </a:lnTo>
                <a:lnTo>
                  <a:pt x="4563" y="4692"/>
                </a:lnTo>
                <a:lnTo>
                  <a:pt x="4557" y="4697"/>
                </a:lnTo>
                <a:lnTo>
                  <a:pt x="4548" y="4697"/>
                </a:lnTo>
                <a:close/>
                <a:moveTo>
                  <a:pt x="4538" y="4692"/>
                </a:moveTo>
                <a:lnTo>
                  <a:pt x="4534" y="4688"/>
                </a:lnTo>
                <a:lnTo>
                  <a:pt x="4533" y="4684"/>
                </a:lnTo>
                <a:lnTo>
                  <a:pt x="4537" y="4687"/>
                </a:lnTo>
                <a:lnTo>
                  <a:pt x="4540" y="4691"/>
                </a:lnTo>
                <a:lnTo>
                  <a:pt x="4542" y="4692"/>
                </a:lnTo>
                <a:lnTo>
                  <a:pt x="4538" y="4692"/>
                </a:lnTo>
                <a:close/>
                <a:moveTo>
                  <a:pt x="4470" y="5220"/>
                </a:moveTo>
                <a:lnTo>
                  <a:pt x="4464" y="5219"/>
                </a:lnTo>
                <a:lnTo>
                  <a:pt x="4464" y="5215"/>
                </a:lnTo>
                <a:lnTo>
                  <a:pt x="4467" y="5211"/>
                </a:lnTo>
                <a:lnTo>
                  <a:pt x="4472" y="5213"/>
                </a:lnTo>
                <a:lnTo>
                  <a:pt x="4474" y="5214"/>
                </a:lnTo>
                <a:lnTo>
                  <a:pt x="4474" y="5216"/>
                </a:lnTo>
                <a:lnTo>
                  <a:pt x="4473" y="5219"/>
                </a:lnTo>
                <a:lnTo>
                  <a:pt x="4470" y="5220"/>
                </a:lnTo>
                <a:close/>
                <a:moveTo>
                  <a:pt x="4441" y="5059"/>
                </a:moveTo>
                <a:lnTo>
                  <a:pt x="4441" y="5056"/>
                </a:lnTo>
                <a:lnTo>
                  <a:pt x="4441" y="5055"/>
                </a:lnTo>
                <a:lnTo>
                  <a:pt x="4442" y="5055"/>
                </a:lnTo>
                <a:lnTo>
                  <a:pt x="4445" y="5056"/>
                </a:lnTo>
                <a:lnTo>
                  <a:pt x="4441" y="5059"/>
                </a:lnTo>
                <a:close/>
                <a:moveTo>
                  <a:pt x="4414" y="4792"/>
                </a:moveTo>
                <a:lnTo>
                  <a:pt x="4408" y="4796"/>
                </a:lnTo>
                <a:lnTo>
                  <a:pt x="4400" y="4799"/>
                </a:lnTo>
                <a:lnTo>
                  <a:pt x="4398" y="4790"/>
                </a:lnTo>
                <a:lnTo>
                  <a:pt x="4405" y="4784"/>
                </a:lnTo>
                <a:lnTo>
                  <a:pt x="4413" y="4784"/>
                </a:lnTo>
                <a:lnTo>
                  <a:pt x="4414" y="4792"/>
                </a:lnTo>
                <a:close/>
                <a:moveTo>
                  <a:pt x="4400" y="5219"/>
                </a:moveTo>
                <a:lnTo>
                  <a:pt x="4389" y="5223"/>
                </a:lnTo>
                <a:lnTo>
                  <a:pt x="4379" y="5220"/>
                </a:lnTo>
                <a:lnTo>
                  <a:pt x="4374" y="5213"/>
                </a:lnTo>
                <a:lnTo>
                  <a:pt x="4377" y="5202"/>
                </a:lnTo>
                <a:lnTo>
                  <a:pt x="4386" y="5204"/>
                </a:lnTo>
                <a:lnTo>
                  <a:pt x="4394" y="5206"/>
                </a:lnTo>
                <a:lnTo>
                  <a:pt x="4400" y="5211"/>
                </a:lnTo>
                <a:lnTo>
                  <a:pt x="4400" y="5219"/>
                </a:lnTo>
                <a:close/>
                <a:moveTo>
                  <a:pt x="4367" y="4574"/>
                </a:moveTo>
                <a:lnTo>
                  <a:pt x="4362" y="4584"/>
                </a:lnTo>
                <a:lnTo>
                  <a:pt x="4352" y="4588"/>
                </a:lnTo>
                <a:lnTo>
                  <a:pt x="4342" y="4586"/>
                </a:lnTo>
                <a:lnTo>
                  <a:pt x="4333" y="4579"/>
                </a:lnTo>
                <a:lnTo>
                  <a:pt x="4342" y="4575"/>
                </a:lnTo>
                <a:lnTo>
                  <a:pt x="4351" y="4571"/>
                </a:lnTo>
                <a:lnTo>
                  <a:pt x="4360" y="4571"/>
                </a:lnTo>
                <a:lnTo>
                  <a:pt x="4367" y="4574"/>
                </a:lnTo>
                <a:close/>
                <a:moveTo>
                  <a:pt x="4326" y="5101"/>
                </a:moveTo>
                <a:lnTo>
                  <a:pt x="4314" y="5103"/>
                </a:lnTo>
                <a:lnTo>
                  <a:pt x="4297" y="5103"/>
                </a:lnTo>
                <a:lnTo>
                  <a:pt x="4287" y="5099"/>
                </a:lnTo>
                <a:lnTo>
                  <a:pt x="4295" y="5090"/>
                </a:lnTo>
                <a:lnTo>
                  <a:pt x="4310" y="5085"/>
                </a:lnTo>
                <a:lnTo>
                  <a:pt x="4328" y="5083"/>
                </a:lnTo>
                <a:lnTo>
                  <a:pt x="4337" y="5087"/>
                </a:lnTo>
                <a:lnTo>
                  <a:pt x="4326" y="5101"/>
                </a:lnTo>
                <a:close/>
                <a:moveTo>
                  <a:pt x="4321" y="5228"/>
                </a:moveTo>
                <a:lnTo>
                  <a:pt x="4310" y="5235"/>
                </a:lnTo>
                <a:lnTo>
                  <a:pt x="4298" y="5232"/>
                </a:lnTo>
                <a:lnTo>
                  <a:pt x="4293" y="5221"/>
                </a:lnTo>
                <a:lnTo>
                  <a:pt x="4301" y="5209"/>
                </a:lnTo>
                <a:lnTo>
                  <a:pt x="4310" y="5211"/>
                </a:lnTo>
                <a:lnTo>
                  <a:pt x="4318" y="5215"/>
                </a:lnTo>
                <a:lnTo>
                  <a:pt x="4321" y="5221"/>
                </a:lnTo>
                <a:lnTo>
                  <a:pt x="4321" y="5228"/>
                </a:lnTo>
                <a:close/>
                <a:moveTo>
                  <a:pt x="4256" y="4577"/>
                </a:moveTo>
                <a:lnTo>
                  <a:pt x="4259" y="4570"/>
                </a:lnTo>
                <a:lnTo>
                  <a:pt x="4275" y="4572"/>
                </a:lnTo>
                <a:lnTo>
                  <a:pt x="4284" y="4579"/>
                </a:lnTo>
                <a:lnTo>
                  <a:pt x="4270" y="4584"/>
                </a:lnTo>
                <a:lnTo>
                  <a:pt x="4267" y="4584"/>
                </a:lnTo>
                <a:lnTo>
                  <a:pt x="4263" y="4582"/>
                </a:lnTo>
                <a:lnTo>
                  <a:pt x="4259" y="4580"/>
                </a:lnTo>
                <a:lnTo>
                  <a:pt x="4256" y="4577"/>
                </a:lnTo>
                <a:close/>
                <a:moveTo>
                  <a:pt x="4236" y="5095"/>
                </a:moveTo>
                <a:lnTo>
                  <a:pt x="4231" y="5098"/>
                </a:lnTo>
                <a:lnTo>
                  <a:pt x="4227" y="5095"/>
                </a:lnTo>
                <a:lnTo>
                  <a:pt x="4226" y="5090"/>
                </a:lnTo>
                <a:lnTo>
                  <a:pt x="4230" y="5085"/>
                </a:lnTo>
                <a:lnTo>
                  <a:pt x="4233" y="5087"/>
                </a:lnTo>
                <a:lnTo>
                  <a:pt x="4236" y="5089"/>
                </a:lnTo>
                <a:lnTo>
                  <a:pt x="4237" y="5092"/>
                </a:lnTo>
                <a:lnTo>
                  <a:pt x="4236" y="5095"/>
                </a:lnTo>
                <a:close/>
                <a:moveTo>
                  <a:pt x="4221" y="4977"/>
                </a:moveTo>
                <a:lnTo>
                  <a:pt x="4218" y="4972"/>
                </a:lnTo>
                <a:lnTo>
                  <a:pt x="4219" y="4968"/>
                </a:lnTo>
                <a:lnTo>
                  <a:pt x="4225" y="4967"/>
                </a:lnTo>
                <a:lnTo>
                  <a:pt x="4228" y="4971"/>
                </a:lnTo>
                <a:lnTo>
                  <a:pt x="4228" y="4973"/>
                </a:lnTo>
                <a:lnTo>
                  <a:pt x="4227" y="4976"/>
                </a:lnTo>
                <a:lnTo>
                  <a:pt x="4225" y="4978"/>
                </a:lnTo>
                <a:lnTo>
                  <a:pt x="4221" y="4977"/>
                </a:lnTo>
                <a:close/>
                <a:moveTo>
                  <a:pt x="4200" y="5048"/>
                </a:moveTo>
                <a:lnTo>
                  <a:pt x="4194" y="5052"/>
                </a:lnTo>
                <a:lnTo>
                  <a:pt x="4186" y="5052"/>
                </a:lnTo>
                <a:lnTo>
                  <a:pt x="4181" y="5048"/>
                </a:lnTo>
                <a:lnTo>
                  <a:pt x="4183" y="5041"/>
                </a:lnTo>
                <a:lnTo>
                  <a:pt x="4190" y="5036"/>
                </a:lnTo>
                <a:lnTo>
                  <a:pt x="4197" y="5037"/>
                </a:lnTo>
                <a:lnTo>
                  <a:pt x="4202" y="5041"/>
                </a:lnTo>
                <a:lnTo>
                  <a:pt x="4200" y="5048"/>
                </a:lnTo>
                <a:close/>
                <a:moveTo>
                  <a:pt x="4177" y="4966"/>
                </a:moveTo>
                <a:lnTo>
                  <a:pt x="4169" y="4973"/>
                </a:lnTo>
                <a:lnTo>
                  <a:pt x="4165" y="4969"/>
                </a:lnTo>
                <a:lnTo>
                  <a:pt x="4165" y="4960"/>
                </a:lnTo>
                <a:lnTo>
                  <a:pt x="4169" y="4949"/>
                </a:lnTo>
                <a:lnTo>
                  <a:pt x="4176" y="4950"/>
                </a:lnTo>
                <a:lnTo>
                  <a:pt x="4179" y="4954"/>
                </a:lnTo>
                <a:lnTo>
                  <a:pt x="4179" y="4959"/>
                </a:lnTo>
                <a:lnTo>
                  <a:pt x="4177" y="4966"/>
                </a:lnTo>
                <a:close/>
                <a:moveTo>
                  <a:pt x="4160" y="4906"/>
                </a:moveTo>
                <a:lnTo>
                  <a:pt x="4162" y="4903"/>
                </a:lnTo>
                <a:lnTo>
                  <a:pt x="4165" y="4903"/>
                </a:lnTo>
                <a:lnTo>
                  <a:pt x="4167" y="4906"/>
                </a:lnTo>
                <a:lnTo>
                  <a:pt x="4167" y="4908"/>
                </a:lnTo>
                <a:lnTo>
                  <a:pt x="4165" y="4910"/>
                </a:lnTo>
                <a:lnTo>
                  <a:pt x="4162" y="4910"/>
                </a:lnTo>
                <a:lnTo>
                  <a:pt x="4160" y="4908"/>
                </a:lnTo>
                <a:lnTo>
                  <a:pt x="4160" y="4906"/>
                </a:lnTo>
                <a:close/>
                <a:moveTo>
                  <a:pt x="4112" y="4570"/>
                </a:moveTo>
                <a:lnTo>
                  <a:pt x="4121" y="4558"/>
                </a:lnTo>
                <a:lnTo>
                  <a:pt x="4133" y="4557"/>
                </a:lnTo>
                <a:lnTo>
                  <a:pt x="4142" y="4565"/>
                </a:lnTo>
                <a:lnTo>
                  <a:pt x="4146" y="4577"/>
                </a:lnTo>
                <a:lnTo>
                  <a:pt x="4129" y="4574"/>
                </a:lnTo>
                <a:lnTo>
                  <a:pt x="4112" y="4570"/>
                </a:lnTo>
                <a:close/>
                <a:moveTo>
                  <a:pt x="4106" y="5095"/>
                </a:moveTo>
                <a:lnTo>
                  <a:pt x="4102" y="5095"/>
                </a:lnTo>
                <a:lnTo>
                  <a:pt x="4098" y="5095"/>
                </a:lnTo>
                <a:lnTo>
                  <a:pt x="4096" y="5088"/>
                </a:lnTo>
                <a:lnTo>
                  <a:pt x="4102" y="5085"/>
                </a:lnTo>
                <a:lnTo>
                  <a:pt x="4109" y="5088"/>
                </a:lnTo>
                <a:lnTo>
                  <a:pt x="4106" y="5095"/>
                </a:lnTo>
                <a:close/>
                <a:moveTo>
                  <a:pt x="4051" y="5074"/>
                </a:moveTo>
                <a:lnTo>
                  <a:pt x="4046" y="5075"/>
                </a:lnTo>
                <a:lnTo>
                  <a:pt x="4044" y="5067"/>
                </a:lnTo>
                <a:lnTo>
                  <a:pt x="4044" y="5056"/>
                </a:lnTo>
                <a:lnTo>
                  <a:pt x="4041" y="5048"/>
                </a:lnTo>
                <a:lnTo>
                  <a:pt x="4045" y="5055"/>
                </a:lnTo>
                <a:lnTo>
                  <a:pt x="4049" y="5061"/>
                </a:lnTo>
                <a:lnTo>
                  <a:pt x="4051" y="5067"/>
                </a:lnTo>
                <a:lnTo>
                  <a:pt x="4051" y="5074"/>
                </a:lnTo>
                <a:close/>
                <a:moveTo>
                  <a:pt x="4032" y="5406"/>
                </a:moveTo>
                <a:lnTo>
                  <a:pt x="4032" y="5402"/>
                </a:lnTo>
                <a:lnTo>
                  <a:pt x="4032" y="5398"/>
                </a:lnTo>
                <a:lnTo>
                  <a:pt x="4034" y="5395"/>
                </a:lnTo>
                <a:lnTo>
                  <a:pt x="4035" y="5395"/>
                </a:lnTo>
                <a:lnTo>
                  <a:pt x="4042" y="5402"/>
                </a:lnTo>
                <a:lnTo>
                  <a:pt x="4045" y="5406"/>
                </a:lnTo>
                <a:lnTo>
                  <a:pt x="4042" y="5407"/>
                </a:lnTo>
                <a:lnTo>
                  <a:pt x="4032" y="5406"/>
                </a:lnTo>
                <a:close/>
                <a:moveTo>
                  <a:pt x="4009" y="4703"/>
                </a:moveTo>
                <a:lnTo>
                  <a:pt x="4008" y="4701"/>
                </a:lnTo>
                <a:lnTo>
                  <a:pt x="4008" y="4698"/>
                </a:lnTo>
                <a:lnTo>
                  <a:pt x="4011" y="4697"/>
                </a:lnTo>
                <a:lnTo>
                  <a:pt x="4013" y="4697"/>
                </a:lnTo>
                <a:lnTo>
                  <a:pt x="4014" y="4700"/>
                </a:lnTo>
                <a:lnTo>
                  <a:pt x="4014" y="4702"/>
                </a:lnTo>
                <a:lnTo>
                  <a:pt x="4013" y="4703"/>
                </a:lnTo>
                <a:lnTo>
                  <a:pt x="4009" y="4703"/>
                </a:lnTo>
                <a:close/>
                <a:moveTo>
                  <a:pt x="3980" y="5424"/>
                </a:moveTo>
                <a:lnTo>
                  <a:pt x="3981" y="5423"/>
                </a:lnTo>
                <a:lnTo>
                  <a:pt x="3980" y="5424"/>
                </a:lnTo>
                <a:lnTo>
                  <a:pt x="3979" y="5423"/>
                </a:lnTo>
                <a:lnTo>
                  <a:pt x="3977" y="5421"/>
                </a:lnTo>
                <a:lnTo>
                  <a:pt x="3977" y="5421"/>
                </a:lnTo>
                <a:lnTo>
                  <a:pt x="3980" y="5424"/>
                </a:lnTo>
                <a:close/>
                <a:moveTo>
                  <a:pt x="3974" y="5395"/>
                </a:moveTo>
                <a:lnTo>
                  <a:pt x="3974" y="5396"/>
                </a:lnTo>
                <a:lnTo>
                  <a:pt x="3974" y="5395"/>
                </a:lnTo>
                <a:lnTo>
                  <a:pt x="3974" y="5395"/>
                </a:lnTo>
                <a:lnTo>
                  <a:pt x="3974" y="5395"/>
                </a:lnTo>
                <a:close/>
                <a:moveTo>
                  <a:pt x="3944" y="5461"/>
                </a:moveTo>
                <a:lnTo>
                  <a:pt x="3920" y="5456"/>
                </a:lnTo>
                <a:lnTo>
                  <a:pt x="3904" y="5444"/>
                </a:lnTo>
                <a:lnTo>
                  <a:pt x="3901" y="5430"/>
                </a:lnTo>
                <a:lnTo>
                  <a:pt x="3921" y="5414"/>
                </a:lnTo>
                <a:lnTo>
                  <a:pt x="3939" y="5417"/>
                </a:lnTo>
                <a:lnTo>
                  <a:pt x="3953" y="5433"/>
                </a:lnTo>
                <a:lnTo>
                  <a:pt x="3957" y="5452"/>
                </a:lnTo>
                <a:lnTo>
                  <a:pt x="3944" y="5461"/>
                </a:lnTo>
                <a:close/>
                <a:moveTo>
                  <a:pt x="3885" y="5002"/>
                </a:moveTo>
                <a:lnTo>
                  <a:pt x="3892" y="5006"/>
                </a:lnTo>
                <a:lnTo>
                  <a:pt x="3899" y="5016"/>
                </a:lnTo>
                <a:lnTo>
                  <a:pt x="3909" y="5028"/>
                </a:lnTo>
                <a:lnTo>
                  <a:pt x="3925" y="5034"/>
                </a:lnTo>
                <a:lnTo>
                  <a:pt x="3916" y="5043"/>
                </a:lnTo>
                <a:lnTo>
                  <a:pt x="3901" y="5036"/>
                </a:lnTo>
                <a:lnTo>
                  <a:pt x="3888" y="5018"/>
                </a:lnTo>
                <a:lnTo>
                  <a:pt x="3885" y="5002"/>
                </a:lnTo>
                <a:close/>
                <a:moveTo>
                  <a:pt x="3826" y="4738"/>
                </a:moveTo>
                <a:lnTo>
                  <a:pt x="3823" y="4740"/>
                </a:lnTo>
                <a:lnTo>
                  <a:pt x="3820" y="4740"/>
                </a:lnTo>
                <a:lnTo>
                  <a:pt x="3817" y="4739"/>
                </a:lnTo>
                <a:lnTo>
                  <a:pt x="3816" y="4736"/>
                </a:lnTo>
                <a:lnTo>
                  <a:pt x="3822" y="4736"/>
                </a:lnTo>
                <a:lnTo>
                  <a:pt x="3826" y="4738"/>
                </a:lnTo>
                <a:close/>
                <a:moveTo>
                  <a:pt x="3757" y="4857"/>
                </a:moveTo>
                <a:lnTo>
                  <a:pt x="3758" y="4850"/>
                </a:lnTo>
                <a:lnTo>
                  <a:pt x="3762" y="4846"/>
                </a:lnTo>
                <a:lnTo>
                  <a:pt x="3769" y="4846"/>
                </a:lnTo>
                <a:lnTo>
                  <a:pt x="3775" y="4850"/>
                </a:lnTo>
                <a:lnTo>
                  <a:pt x="3781" y="4855"/>
                </a:lnTo>
                <a:lnTo>
                  <a:pt x="3776" y="4857"/>
                </a:lnTo>
                <a:lnTo>
                  <a:pt x="3766" y="4857"/>
                </a:lnTo>
                <a:lnTo>
                  <a:pt x="3757" y="4857"/>
                </a:lnTo>
                <a:close/>
                <a:moveTo>
                  <a:pt x="3769" y="4888"/>
                </a:moveTo>
                <a:lnTo>
                  <a:pt x="3764" y="4888"/>
                </a:lnTo>
                <a:lnTo>
                  <a:pt x="3760" y="4888"/>
                </a:lnTo>
                <a:lnTo>
                  <a:pt x="3756" y="4885"/>
                </a:lnTo>
                <a:lnTo>
                  <a:pt x="3753" y="4883"/>
                </a:lnTo>
                <a:lnTo>
                  <a:pt x="3760" y="4883"/>
                </a:lnTo>
                <a:lnTo>
                  <a:pt x="3769" y="4884"/>
                </a:lnTo>
                <a:lnTo>
                  <a:pt x="3774" y="4885"/>
                </a:lnTo>
                <a:lnTo>
                  <a:pt x="3769" y="4888"/>
                </a:lnTo>
                <a:close/>
                <a:moveTo>
                  <a:pt x="3719" y="4610"/>
                </a:moveTo>
                <a:lnTo>
                  <a:pt x="3711" y="4604"/>
                </a:lnTo>
                <a:lnTo>
                  <a:pt x="3710" y="4600"/>
                </a:lnTo>
                <a:lnTo>
                  <a:pt x="3714" y="4598"/>
                </a:lnTo>
                <a:lnTo>
                  <a:pt x="3724" y="4596"/>
                </a:lnTo>
                <a:lnTo>
                  <a:pt x="3729" y="4602"/>
                </a:lnTo>
                <a:lnTo>
                  <a:pt x="3730" y="4605"/>
                </a:lnTo>
                <a:lnTo>
                  <a:pt x="3727" y="4608"/>
                </a:lnTo>
                <a:lnTo>
                  <a:pt x="3719" y="4610"/>
                </a:lnTo>
                <a:close/>
                <a:moveTo>
                  <a:pt x="3651" y="4656"/>
                </a:moveTo>
                <a:lnTo>
                  <a:pt x="3640" y="4652"/>
                </a:lnTo>
                <a:lnTo>
                  <a:pt x="3629" y="4649"/>
                </a:lnTo>
                <a:lnTo>
                  <a:pt x="3645" y="4641"/>
                </a:lnTo>
                <a:lnTo>
                  <a:pt x="3660" y="4644"/>
                </a:lnTo>
                <a:lnTo>
                  <a:pt x="3665" y="4651"/>
                </a:lnTo>
                <a:lnTo>
                  <a:pt x="3651" y="4656"/>
                </a:lnTo>
                <a:close/>
                <a:moveTo>
                  <a:pt x="3658" y="5437"/>
                </a:moveTo>
                <a:lnTo>
                  <a:pt x="3655" y="5435"/>
                </a:lnTo>
                <a:lnTo>
                  <a:pt x="3653" y="5434"/>
                </a:lnTo>
                <a:lnTo>
                  <a:pt x="3653" y="5431"/>
                </a:lnTo>
                <a:lnTo>
                  <a:pt x="3654" y="5428"/>
                </a:lnTo>
                <a:lnTo>
                  <a:pt x="3658" y="5429"/>
                </a:lnTo>
                <a:lnTo>
                  <a:pt x="3660" y="5430"/>
                </a:lnTo>
                <a:lnTo>
                  <a:pt x="3660" y="5433"/>
                </a:lnTo>
                <a:lnTo>
                  <a:pt x="3658" y="5437"/>
                </a:lnTo>
                <a:close/>
                <a:moveTo>
                  <a:pt x="3634" y="5022"/>
                </a:moveTo>
                <a:lnTo>
                  <a:pt x="3629" y="5019"/>
                </a:lnTo>
                <a:lnTo>
                  <a:pt x="3627" y="5014"/>
                </a:lnTo>
                <a:lnTo>
                  <a:pt x="3630" y="5009"/>
                </a:lnTo>
                <a:lnTo>
                  <a:pt x="3636" y="5008"/>
                </a:lnTo>
                <a:lnTo>
                  <a:pt x="3643" y="5011"/>
                </a:lnTo>
                <a:lnTo>
                  <a:pt x="3643" y="5016"/>
                </a:lnTo>
                <a:lnTo>
                  <a:pt x="3640" y="5020"/>
                </a:lnTo>
                <a:lnTo>
                  <a:pt x="3634" y="5022"/>
                </a:lnTo>
                <a:close/>
                <a:moveTo>
                  <a:pt x="3602" y="5232"/>
                </a:moveTo>
                <a:lnTo>
                  <a:pt x="3567" y="5216"/>
                </a:lnTo>
                <a:lnTo>
                  <a:pt x="3557" y="5196"/>
                </a:lnTo>
                <a:lnTo>
                  <a:pt x="3560" y="5171"/>
                </a:lnTo>
                <a:lnTo>
                  <a:pt x="3565" y="5137"/>
                </a:lnTo>
                <a:lnTo>
                  <a:pt x="3587" y="5153"/>
                </a:lnTo>
                <a:lnTo>
                  <a:pt x="3604" y="5178"/>
                </a:lnTo>
                <a:lnTo>
                  <a:pt x="3612" y="5206"/>
                </a:lnTo>
                <a:lnTo>
                  <a:pt x="3602" y="5232"/>
                </a:lnTo>
                <a:close/>
                <a:moveTo>
                  <a:pt x="3598" y="5351"/>
                </a:moveTo>
                <a:lnTo>
                  <a:pt x="3548" y="5340"/>
                </a:lnTo>
                <a:lnTo>
                  <a:pt x="3487" y="5339"/>
                </a:lnTo>
                <a:lnTo>
                  <a:pt x="3434" y="5332"/>
                </a:lnTo>
                <a:lnTo>
                  <a:pt x="3404" y="5308"/>
                </a:lnTo>
                <a:lnTo>
                  <a:pt x="3480" y="5294"/>
                </a:lnTo>
                <a:lnTo>
                  <a:pt x="3547" y="5294"/>
                </a:lnTo>
                <a:lnTo>
                  <a:pt x="3592" y="5312"/>
                </a:lnTo>
                <a:lnTo>
                  <a:pt x="3598" y="5351"/>
                </a:lnTo>
                <a:close/>
                <a:moveTo>
                  <a:pt x="3564" y="5493"/>
                </a:moveTo>
                <a:lnTo>
                  <a:pt x="3562" y="5487"/>
                </a:lnTo>
                <a:lnTo>
                  <a:pt x="3565" y="5482"/>
                </a:lnTo>
                <a:lnTo>
                  <a:pt x="3570" y="5481"/>
                </a:lnTo>
                <a:lnTo>
                  <a:pt x="3575" y="5484"/>
                </a:lnTo>
                <a:lnTo>
                  <a:pt x="3575" y="5489"/>
                </a:lnTo>
                <a:lnTo>
                  <a:pt x="3573" y="5494"/>
                </a:lnTo>
                <a:lnTo>
                  <a:pt x="3569" y="5495"/>
                </a:lnTo>
                <a:lnTo>
                  <a:pt x="3564" y="5493"/>
                </a:lnTo>
                <a:close/>
                <a:moveTo>
                  <a:pt x="3562" y="5412"/>
                </a:moveTo>
                <a:lnTo>
                  <a:pt x="3566" y="5411"/>
                </a:lnTo>
                <a:lnTo>
                  <a:pt x="3569" y="5412"/>
                </a:lnTo>
                <a:lnTo>
                  <a:pt x="3571" y="5415"/>
                </a:lnTo>
                <a:lnTo>
                  <a:pt x="3571" y="5419"/>
                </a:lnTo>
                <a:lnTo>
                  <a:pt x="3567" y="5423"/>
                </a:lnTo>
                <a:lnTo>
                  <a:pt x="3562" y="5421"/>
                </a:lnTo>
                <a:lnTo>
                  <a:pt x="3560" y="5417"/>
                </a:lnTo>
                <a:lnTo>
                  <a:pt x="3562" y="5412"/>
                </a:lnTo>
                <a:close/>
                <a:moveTo>
                  <a:pt x="3542" y="5382"/>
                </a:moveTo>
                <a:lnTo>
                  <a:pt x="3529" y="5379"/>
                </a:lnTo>
                <a:lnTo>
                  <a:pt x="3536" y="5369"/>
                </a:lnTo>
                <a:lnTo>
                  <a:pt x="3551" y="5358"/>
                </a:lnTo>
                <a:lnTo>
                  <a:pt x="3564" y="5350"/>
                </a:lnTo>
                <a:lnTo>
                  <a:pt x="3561" y="5360"/>
                </a:lnTo>
                <a:lnTo>
                  <a:pt x="3557" y="5368"/>
                </a:lnTo>
                <a:lnTo>
                  <a:pt x="3551" y="5375"/>
                </a:lnTo>
                <a:lnTo>
                  <a:pt x="3542" y="5382"/>
                </a:lnTo>
                <a:close/>
                <a:moveTo>
                  <a:pt x="3464" y="5433"/>
                </a:moveTo>
                <a:lnTo>
                  <a:pt x="3453" y="5430"/>
                </a:lnTo>
                <a:lnTo>
                  <a:pt x="3448" y="5420"/>
                </a:lnTo>
                <a:lnTo>
                  <a:pt x="3448" y="5410"/>
                </a:lnTo>
                <a:lnTo>
                  <a:pt x="3458" y="5402"/>
                </a:lnTo>
                <a:lnTo>
                  <a:pt x="3472" y="5403"/>
                </a:lnTo>
                <a:lnTo>
                  <a:pt x="3478" y="5414"/>
                </a:lnTo>
                <a:lnTo>
                  <a:pt x="3477" y="5426"/>
                </a:lnTo>
                <a:lnTo>
                  <a:pt x="3464" y="5433"/>
                </a:lnTo>
                <a:close/>
                <a:moveTo>
                  <a:pt x="3418" y="5039"/>
                </a:moveTo>
                <a:lnTo>
                  <a:pt x="3417" y="5034"/>
                </a:lnTo>
                <a:lnTo>
                  <a:pt x="3418" y="5039"/>
                </a:lnTo>
                <a:lnTo>
                  <a:pt x="3416" y="5034"/>
                </a:lnTo>
                <a:lnTo>
                  <a:pt x="3418" y="5039"/>
                </a:lnTo>
                <a:close/>
                <a:moveTo>
                  <a:pt x="3455" y="5214"/>
                </a:moveTo>
                <a:lnTo>
                  <a:pt x="3452" y="5218"/>
                </a:lnTo>
                <a:lnTo>
                  <a:pt x="3446" y="5219"/>
                </a:lnTo>
                <a:lnTo>
                  <a:pt x="3440" y="5216"/>
                </a:lnTo>
                <a:lnTo>
                  <a:pt x="3435" y="5214"/>
                </a:lnTo>
                <a:lnTo>
                  <a:pt x="3436" y="5205"/>
                </a:lnTo>
                <a:lnTo>
                  <a:pt x="3445" y="5202"/>
                </a:lnTo>
                <a:lnTo>
                  <a:pt x="3453" y="5206"/>
                </a:lnTo>
                <a:lnTo>
                  <a:pt x="3455" y="5214"/>
                </a:lnTo>
                <a:close/>
                <a:moveTo>
                  <a:pt x="3351" y="4964"/>
                </a:moveTo>
                <a:lnTo>
                  <a:pt x="3299" y="4952"/>
                </a:lnTo>
                <a:lnTo>
                  <a:pt x="3269" y="4934"/>
                </a:lnTo>
                <a:lnTo>
                  <a:pt x="3276" y="4915"/>
                </a:lnTo>
                <a:lnTo>
                  <a:pt x="3333" y="4899"/>
                </a:lnTo>
                <a:lnTo>
                  <a:pt x="3404" y="4932"/>
                </a:lnTo>
                <a:lnTo>
                  <a:pt x="3444" y="4958"/>
                </a:lnTo>
                <a:lnTo>
                  <a:pt x="3432" y="4971"/>
                </a:lnTo>
                <a:lnTo>
                  <a:pt x="3351" y="4964"/>
                </a:lnTo>
                <a:close/>
                <a:moveTo>
                  <a:pt x="3346" y="5050"/>
                </a:moveTo>
                <a:lnTo>
                  <a:pt x="3337" y="5053"/>
                </a:lnTo>
                <a:lnTo>
                  <a:pt x="3332" y="5047"/>
                </a:lnTo>
                <a:lnTo>
                  <a:pt x="3332" y="5037"/>
                </a:lnTo>
                <a:lnTo>
                  <a:pt x="3338" y="5029"/>
                </a:lnTo>
                <a:lnTo>
                  <a:pt x="3343" y="5032"/>
                </a:lnTo>
                <a:lnTo>
                  <a:pt x="3346" y="5037"/>
                </a:lnTo>
                <a:lnTo>
                  <a:pt x="3347" y="5043"/>
                </a:lnTo>
                <a:lnTo>
                  <a:pt x="3346" y="5050"/>
                </a:lnTo>
                <a:close/>
                <a:moveTo>
                  <a:pt x="3315" y="5131"/>
                </a:moveTo>
                <a:lnTo>
                  <a:pt x="3306" y="5131"/>
                </a:lnTo>
                <a:lnTo>
                  <a:pt x="3303" y="5130"/>
                </a:lnTo>
                <a:lnTo>
                  <a:pt x="3305" y="5126"/>
                </a:lnTo>
                <a:lnTo>
                  <a:pt x="3313" y="5121"/>
                </a:lnTo>
                <a:lnTo>
                  <a:pt x="3319" y="5121"/>
                </a:lnTo>
                <a:lnTo>
                  <a:pt x="3323" y="5125"/>
                </a:lnTo>
                <a:lnTo>
                  <a:pt x="3323" y="5129"/>
                </a:lnTo>
                <a:lnTo>
                  <a:pt x="3315" y="5131"/>
                </a:lnTo>
                <a:close/>
                <a:moveTo>
                  <a:pt x="3297" y="5154"/>
                </a:moveTo>
                <a:lnTo>
                  <a:pt x="3297" y="5140"/>
                </a:lnTo>
                <a:lnTo>
                  <a:pt x="3300" y="5135"/>
                </a:lnTo>
                <a:lnTo>
                  <a:pt x="3305" y="5139"/>
                </a:lnTo>
                <a:lnTo>
                  <a:pt x="3311" y="5150"/>
                </a:lnTo>
                <a:lnTo>
                  <a:pt x="3311" y="5155"/>
                </a:lnTo>
                <a:lnTo>
                  <a:pt x="3306" y="5157"/>
                </a:lnTo>
                <a:lnTo>
                  <a:pt x="3301" y="5155"/>
                </a:lnTo>
                <a:lnTo>
                  <a:pt x="3297" y="5154"/>
                </a:lnTo>
                <a:close/>
                <a:moveTo>
                  <a:pt x="3309" y="5345"/>
                </a:moveTo>
                <a:lnTo>
                  <a:pt x="3318" y="5349"/>
                </a:lnTo>
                <a:lnTo>
                  <a:pt x="3322" y="5355"/>
                </a:lnTo>
                <a:lnTo>
                  <a:pt x="3319" y="5364"/>
                </a:lnTo>
                <a:lnTo>
                  <a:pt x="3311" y="5369"/>
                </a:lnTo>
                <a:lnTo>
                  <a:pt x="3303" y="5365"/>
                </a:lnTo>
                <a:lnTo>
                  <a:pt x="3297" y="5356"/>
                </a:lnTo>
                <a:lnTo>
                  <a:pt x="3299" y="5349"/>
                </a:lnTo>
                <a:lnTo>
                  <a:pt x="3309" y="5345"/>
                </a:lnTo>
                <a:close/>
                <a:moveTo>
                  <a:pt x="3300" y="5421"/>
                </a:moveTo>
                <a:lnTo>
                  <a:pt x="3291" y="5411"/>
                </a:lnTo>
                <a:lnTo>
                  <a:pt x="3299" y="5410"/>
                </a:lnTo>
                <a:lnTo>
                  <a:pt x="3311" y="5415"/>
                </a:lnTo>
                <a:lnTo>
                  <a:pt x="3323" y="5424"/>
                </a:lnTo>
                <a:lnTo>
                  <a:pt x="3311" y="5423"/>
                </a:lnTo>
                <a:lnTo>
                  <a:pt x="3300" y="5421"/>
                </a:lnTo>
                <a:close/>
                <a:moveTo>
                  <a:pt x="3254" y="4686"/>
                </a:moveTo>
                <a:lnTo>
                  <a:pt x="3258" y="4680"/>
                </a:lnTo>
                <a:lnTo>
                  <a:pt x="3268" y="4680"/>
                </a:lnTo>
                <a:lnTo>
                  <a:pt x="3282" y="4682"/>
                </a:lnTo>
                <a:lnTo>
                  <a:pt x="3294" y="4680"/>
                </a:lnTo>
                <a:lnTo>
                  <a:pt x="3290" y="4694"/>
                </a:lnTo>
                <a:lnTo>
                  <a:pt x="3281" y="4696"/>
                </a:lnTo>
                <a:lnTo>
                  <a:pt x="3268" y="4692"/>
                </a:lnTo>
                <a:lnTo>
                  <a:pt x="3254" y="4686"/>
                </a:lnTo>
                <a:close/>
                <a:moveTo>
                  <a:pt x="3229" y="5053"/>
                </a:moveTo>
                <a:lnTo>
                  <a:pt x="3232" y="5053"/>
                </a:lnTo>
                <a:lnTo>
                  <a:pt x="3229" y="5053"/>
                </a:lnTo>
                <a:lnTo>
                  <a:pt x="3234" y="5051"/>
                </a:lnTo>
                <a:lnTo>
                  <a:pt x="3229" y="5053"/>
                </a:lnTo>
                <a:close/>
                <a:moveTo>
                  <a:pt x="3171" y="4960"/>
                </a:moveTo>
                <a:lnTo>
                  <a:pt x="3160" y="4950"/>
                </a:lnTo>
                <a:lnTo>
                  <a:pt x="3162" y="4941"/>
                </a:lnTo>
                <a:lnTo>
                  <a:pt x="3173" y="4936"/>
                </a:lnTo>
                <a:lnTo>
                  <a:pt x="3185" y="4939"/>
                </a:lnTo>
                <a:lnTo>
                  <a:pt x="3204" y="4955"/>
                </a:lnTo>
                <a:lnTo>
                  <a:pt x="3207" y="4968"/>
                </a:lnTo>
                <a:lnTo>
                  <a:pt x="3196" y="4972"/>
                </a:lnTo>
                <a:lnTo>
                  <a:pt x="3171" y="4960"/>
                </a:lnTo>
                <a:close/>
                <a:moveTo>
                  <a:pt x="3192" y="5144"/>
                </a:moveTo>
                <a:lnTo>
                  <a:pt x="3193" y="5141"/>
                </a:lnTo>
                <a:lnTo>
                  <a:pt x="3193" y="5141"/>
                </a:lnTo>
                <a:lnTo>
                  <a:pt x="3192" y="5143"/>
                </a:lnTo>
                <a:lnTo>
                  <a:pt x="3192" y="5144"/>
                </a:lnTo>
                <a:lnTo>
                  <a:pt x="3192" y="5143"/>
                </a:lnTo>
                <a:lnTo>
                  <a:pt x="3192" y="5141"/>
                </a:lnTo>
                <a:lnTo>
                  <a:pt x="3192" y="5141"/>
                </a:lnTo>
                <a:lnTo>
                  <a:pt x="3192" y="5144"/>
                </a:lnTo>
                <a:close/>
                <a:moveTo>
                  <a:pt x="3131" y="5272"/>
                </a:moveTo>
                <a:lnTo>
                  <a:pt x="3120" y="5274"/>
                </a:lnTo>
                <a:lnTo>
                  <a:pt x="3113" y="5265"/>
                </a:lnTo>
                <a:lnTo>
                  <a:pt x="3110" y="5251"/>
                </a:lnTo>
                <a:lnTo>
                  <a:pt x="3117" y="5241"/>
                </a:lnTo>
                <a:lnTo>
                  <a:pt x="3128" y="5242"/>
                </a:lnTo>
                <a:lnTo>
                  <a:pt x="3136" y="5251"/>
                </a:lnTo>
                <a:lnTo>
                  <a:pt x="3137" y="5263"/>
                </a:lnTo>
                <a:lnTo>
                  <a:pt x="3131" y="5272"/>
                </a:lnTo>
                <a:close/>
                <a:moveTo>
                  <a:pt x="3098" y="4955"/>
                </a:moveTo>
                <a:lnTo>
                  <a:pt x="3092" y="4944"/>
                </a:lnTo>
                <a:lnTo>
                  <a:pt x="3094" y="4932"/>
                </a:lnTo>
                <a:lnTo>
                  <a:pt x="3100" y="4922"/>
                </a:lnTo>
                <a:lnTo>
                  <a:pt x="3105" y="4912"/>
                </a:lnTo>
                <a:lnTo>
                  <a:pt x="3110" y="4925"/>
                </a:lnTo>
                <a:lnTo>
                  <a:pt x="3114" y="4940"/>
                </a:lnTo>
                <a:lnTo>
                  <a:pt x="3110" y="4952"/>
                </a:lnTo>
                <a:lnTo>
                  <a:pt x="3098" y="4955"/>
                </a:lnTo>
                <a:close/>
                <a:moveTo>
                  <a:pt x="3064" y="4831"/>
                </a:moveTo>
                <a:lnTo>
                  <a:pt x="3053" y="4834"/>
                </a:lnTo>
                <a:lnTo>
                  <a:pt x="3043" y="4829"/>
                </a:lnTo>
                <a:lnTo>
                  <a:pt x="3031" y="4820"/>
                </a:lnTo>
                <a:lnTo>
                  <a:pt x="3020" y="4813"/>
                </a:lnTo>
                <a:lnTo>
                  <a:pt x="3035" y="4815"/>
                </a:lnTo>
                <a:lnTo>
                  <a:pt x="3050" y="4815"/>
                </a:lnTo>
                <a:lnTo>
                  <a:pt x="3063" y="4819"/>
                </a:lnTo>
                <a:lnTo>
                  <a:pt x="3064" y="4831"/>
                </a:lnTo>
                <a:close/>
                <a:moveTo>
                  <a:pt x="3021" y="5018"/>
                </a:moveTo>
                <a:lnTo>
                  <a:pt x="3027" y="5019"/>
                </a:lnTo>
                <a:lnTo>
                  <a:pt x="3033" y="5022"/>
                </a:lnTo>
                <a:lnTo>
                  <a:pt x="3036" y="5024"/>
                </a:lnTo>
                <a:lnTo>
                  <a:pt x="3039" y="5029"/>
                </a:lnTo>
                <a:lnTo>
                  <a:pt x="3034" y="5028"/>
                </a:lnTo>
                <a:lnTo>
                  <a:pt x="3027" y="5027"/>
                </a:lnTo>
                <a:lnTo>
                  <a:pt x="3024" y="5023"/>
                </a:lnTo>
                <a:lnTo>
                  <a:pt x="3021" y="5018"/>
                </a:lnTo>
                <a:close/>
                <a:moveTo>
                  <a:pt x="3025" y="5241"/>
                </a:moveTo>
                <a:lnTo>
                  <a:pt x="3016" y="5234"/>
                </a:lnTo>
                <a:lnTo>
                  <a:pt x="3015" y="5228"/>
                </a:lnTo>
                <a:lnTo>
                  <a:pt x="3020" y="5225"/>
                </a:lnTo>
                <a:lnTo>
                  <a:pt x="3030" y="5225"/>
                </a:lnTo>
                <a:lnTo>
                  <a:pt x="3036" y="5232"/>
                </a:lnTo>
                <a:lnTo>
                  <a:pt x="3038" y="5238"/>
                </a:lnTo>
                <a:lnTo>
                  <a:pt x="3034" y="5241"/>
                </a:lnTo>
                <a:lnTo>
                  <a:pt x="3025" y="5241"/>
                </a:lnTo>
                <a:close/>
                <a:moveTo>
                  <a:pt x="3026" y="5276"/>
                </a:moveTo>
                <a:lnTo>
                  <a:pt x="3015" y="5274"/>
                </a:lnTo>
                <a:lnTo>
                  <a:pt x="3003" y="5269"/>
                </a:lnTo>
                <a:lnTo>
                  <a:pt x="3012" y="5270"/>
                </a:lnTo>
                <a:lnTo>
                  <a:pt x="3021" y="5271"/>
                </a:lnTo>
                <a:lnTo>
                  <a:pt x="3027" y="5272"/>
                </a:lnTo>
                <a:lnTo>
                  <a:pt x="3026" y="5276"/>
                </a:lnTo>
                <a:close/>
                <a:moveTo>
                  <a:pt x="2994" y="5232"/>
                </a:moveTo>
                <a:lnTo>
                  <a:pt x="2998" y="5229"/>
                </a:lnTo>
                <a:lnTo>
                  <a:pt x="3001" y="5227"/>
                </a:lnTo>
                <a:lnTo>
                  <a:pt x="3006" y="5227"/>
                </a:lnTo>
                <a:lnTo>
                  <a:pt x="3010" y="5228"/>
                </a:lnTo>
                <a:lnTo>
                  <a:pt x="3002" y="5230"/>
                </a:lnTo>
                <a:lnTo>
                  <a:pt x="2994" y="5232"/>
                </a:lnTo>
                <a:close/>
                <a:moveTo>
                  <a:pt x="3016" y="4999"/>
                </a:moveTo>
                <a:lnTo>
                  <a:pt x="3020" y="5002"/>
                </a:lnTo>
                <a:lnTo>
                  <a:pt x="3021" y="5006"/>
                </a:lnTo>
                <a:lnTo>
                  <a:pt x="3020" y="5010"/>
                </a:lnTo>
                <a:lnTo>
                  <a:pt x="3020" y="5015"/>
                </a:lnTo>
                <a:lnTo>
                  <a:pt x="3017" y="5011"/>
                </a:lnTo>
                <a:lnTo>
                  <a:pt x="3015" y="5009"/>
                </a:lnTo>
                <a:lnTo>
                  <a:pt x="3013" y="5004"/>
                </a:lnTo>
                <a:lnTo>
                  <a:pt x="3016" y="4999"/>
                </a:lnTo>
                <a:close/>
                <a:moveTo>
                  <a:pt x="3013" y="4943"/>
                </a:moveTo>
                <a:lnTo>
                  <a:pt x="3016" y="4945"/>
                </a:lnTo>
                <a:lnTo>
                  <a:pt x="3015" y="4945"/>
                </a:lnTo>
                <a:lnTo>
                  <a:pt x="3011" y="4944"/>
                </a:lnTo>
                <a:lnTo>
                  <a:pt x="3007" y="4941"/>
                </a:lnTo>
                <a:lnTo>
                  <a:pt x="3011" y="4941"/>
                </a:lnTo>
                <a:lnTo>
                  <a:pt x="3013" y="4943"/>
                </a:lnTo>
                <a:close/>
                <a:moveTo>
                  <a:pt x="3005" y="4817"/>
                </a:moveTo>
                <a:lnTo>
                  <a:pt x="3007" y="4814"/>
                </a:lnTo>
                <a:lnTo>
                  <a:pt x="3010" y="4812"/>
                </a:lnTo>
                <a:lnTo>
                  <a:pt x="3011" y="4813"/>
                </a:lnTo>
                <a:lnTo>
                  <a:pt x="3010" y="4814"/>
                </a:lnTo>
                <a:lnTo>
                  <a:pt x="3007" y="4815"/>
                </a:lnTo>
                <a:lnTo>
                  <a:pt x="3005" y="4817"/>
                </a:lnTo>
                <a:close/>
                <a:moveTo>
                  <a:pt x="3010" y="4870"/>
                </a:moveTo>
                <a:lnTo>
                  <a:pt x="3016" y="4875"/>
                </a:lnTo>
                <a:lnTo>
                  <a:pt x="3013" y="4883"/>
                </a:lnTo>
                <a:lnTo>
                  <a:pt x="3007" y="4888"/>
                </a:lnTo>
                <a:lnTo>
                  <a:pt x="2999" y="4885"/>
                </a:lnTo>
                <a:lnTo>
                  <a:pt x="2997" y="4879"/>
                </a:lnTo>
                <a:lnTo>
                  <a:pt x="2998" y="4874"/>
                </a:lnTo>
                <a:lnTo>
                  <a:pt x="3003" y="4870"/>
                </a:lnTo>
                <a:lnTo>
                  <a:pt x="3010" y="4870"/>
                </a:lnTo>
                <a:close/>
                <a:moveTo>
                  <a:pt x="2978" y="4651"/>
                </a:moveTo>
                <a:lnTo>
                  <a:pt x="2989" y="4636"/>
                </a:lnTo>
                <a:lnTo>
                  <a:pt x="3025" y="4642"/>
                </a:lnTo>
                <a:lnTo>
                  <a:pt x="3054" y="4658"/>
                </a:lnTo>
                <a:lnTo>
                  <a:pt x="3049" y="4668"/>
                </a:lnTo>
                <a:lnTo>
                  <a:pt x="3031" y="4664"/>
                </a:lnTo>
                <a:lnTo>
                  <a:pt x="3013" y="4659"/>
                </a:lnTo>
                <a:lnTo>
                  <a:pt x="2996" y="4655"/>
                </a:lnTo>
                <a:lnTo>
                  <a:pt x="2978" y="4651"/>
                </a:lnTo>
                <a:close/>
                <a:moveTo>
                  <a:pt x="2973" y="4642"/>
                </a:moveTo>
                <a:lnTo>
                  <a:pt x="2973" y="4642"/>
                </a:lnTo>
                <a:lnTo>
                  <a:pt x="2973" y="4642"/>
                </a:lnTo>
                <a:lnTo>
                  <a:pt x="2973" y="4641"/>
                </a:lnTo>
                <a:lnTo>
                  <a:pt x="2973" y="4642"/>
                </a:lnTo>
                <a:close/>
                <a:moveTo>
                  <a:pt x="2945" y="5398"/>
                </a:moveTo>
                <a:lnTo>
                  <a:pt x="2949" y="5396"/>
                </a:lnTo>
                <a:lnTo>
                  <a:pt x="2952" y="5396"/>
                </a:lnTo>
                <a:lnTo>
                  <a:pt x="2956" y="5396"/>
                </a:lnTo>
                <a:lnTo>
                  <a:pt x="2960" y="5398"/>
                </a:lnTo>
                <a:lnTo>
                  <a:pt x="2952" y="5398"/>
                </a:lnTo>
                <a:lnTo>
                  <a:pt x="2945" y="5398"/>
                </a:lnTo>
                <a:close/>
                <a:moveTo>
                  <a:pt x="2882" y="5426"/>
                </a:moveTo>
                <a:lnTo>
                  <a:pt x="2843" y="5401"/>
                </a:lnTo>
                <a:lnTo>
                  <a:pt x="2773" y="5410"/>
                </a:lnTo>
                <a:lnTo>
                  <a:pt x="2709" y="5412"/>
                </a:lnTo>
                <a:lnTo>
                  <a:pt x="2689" y="5368"/>
                </a:lnTo>
                <a:lnTo>
                  <a:pt x="2763" y="5350"/>
                </a:lnTo>
                <a:lnTo>
                  <a:pt x="2866" y="5358"/>
                </a:lnTo>
                <a:lnTo>
                  <a:pt x="2928" y="5384"/>
                </a:lnTo>
                <a:lnTo>
                  <a:pt x="2882" y="5426"/>
                </a:lnTo>
                <a:close/>
                <a:moveTo>
                  <a:pt x="2917" y="5490"/>
                </a:moveTo>
                <a:lnTo>
                  <a:pt x="2839" y="5503"/>
                </a:lnTo>
                <a:lnTo>
                  <a:pt x="2736" y="5498"/>
                </a:lnTo>
                <a:lnTo>
                  <a:pt x="2666" y="5467"/>
                </a:lnTo>
                <a:lnTo>
                  <a:pt x="2684" y="5406"/>
                </a:lnTo>
                <a:lnTo>
                  <a:pt x="2715" y="5470"/>
                </a:lnTo>
                <a:lnTo>
                  <a:pt x="2794" y="5475"/>
                </a:lnTo>
                <a:lnTo>
                  <a:pt x="2876" y="5466"/>
                </a:lnTo>
                <a:lnTo>
                  <a:pt x="2917" y="5490"/>
                </a:lnTo>
                <a:close/>
                <a:moveTo>
                  <a:pt x="2622" y="5230"/>
                </a:moveTo>
                <a:lnTo>
                  <a:pt x="2624" y="5218"/>
                </a:lnTo>
                <a:lnTo>
                  <a:pt x="2636" y="5214"/>
                </a:lnTo>
                <a:lnTo>
                  <a:pt x="2651" y="5218"/>
                </a:lnTo>
                <a:lnTo>
                  <a:pt x="2659" y="5229"/>
                </a:lnTo>
                <a:lnTo>
                  <a:pt x="2652" y="5242"/>
                </a:lnTo>
                <a:lnTo>
                  <a:pt x="2643" y="5247"/>
                </a:lnTo>
                <a:lnTo>
                  <a:pt x="2633" y="5243"/>
                </a:lnTo>
                <a:lnTo>
                  <a:pt x="2622" y="5230"/>
                </a:lnTo>
                <a:close/>
                <a:moveTo>
                  <a:pt x="2601" y="5444"/>
                </a:moveTo>
                <a:lnTo>
                  <a:pt x="2568" y="5454"/>
                </a:lnTo>
                <a:lnTo>
                  <a:pt x="2527" y="5444"/>
                </a:lnTo>
                <a:lnTo>
                  <a:pt x="2500" y="5428"/>
                </a:lnTo>
                <a:lnTo>
                  <a:pt x="2516" y="5414"/>
                </a:lnTo>
                <a:lnTo>
                  <a:pt x="2568" y="5400"/>
                </a:lnTo>
                <a:lnTo>
                  <a:pt x="2611" y="5364"/>
                </a:lnTo>
                <a:lnTo>
                  <a:pt x="2626" y="5361"/>
                </a:lnTo>
                <a:lnTo>
                  <a:pt x="2601" y="5444"/>
                </a:lnTo>
                <a:close/>
                <a:moveTo>
                  <a:pt x="2377" y="4591"/>
                </a:moveTo>
                <a:lnTo>
                  <a:pt x="2420" y="4593"/>
                </a:lnTo>
                <a:lnTo>
                  <a:pt x="2462" y="4598"/>
                </a:lnTo>
                <a:lnTo>
                  <a:pt x="2504" y="4605"/>
                </a:lnTo>
                <a:lnTo>
                  <a:pt x="2549" y="4616"/>
                </a:lnTo>
                <a:lnTo>
                  <a:pt x="2516" y="4622"/>
                </a:lnTo>
                <a:lnTo>
                  <a:pt x="2482" y="4621"/>
                </a:lnTo>
                <a:lnTo>
                  <a:pt x="2440" y="4612"/>
                </a:lnTo>
                <a:lnTo>
                  <a:pt x="2377" y="4591"/>
                </a:lnTo>
                <a:close/>
                <a:moveTo>
                  <a:pt x="2472" y="5309"/>
                </a:moveTo>
                <a:lnTo>
                  <a:pt x="2466" y="5307"/>
                </a:lnTo>
                <a:lnTo>
                  <a:pt x="2466" y="5303"/>
                </a:lnTo>
                <a:lnTo>
                  <a:pt x="2470" y="5298"/>
                </a:lnTo>
                <a:lnTo>
                  <a:pt x="2476" y="5298"/>
                </a:lnTo>
                <a:lnTo>
                  <a:pt x="2477" y="5302"/>
                </a:lnTo>
                <a:lnTo>
                  <a:pt x="2477" y="5305"/>
                </a:lnTo>
                <a:lnTo>
                  <a:pt x="2476" y="5308"/>
                </a:lnTo>
                <a:lnTo>
                  <a:pt x="2472" y="5309"/>
                </a:lnTo>
                <a:close/>
                <a:moveTo>
                  <a:pt x="2468" y="5445"/>
                </a:moveTo>
                <a:lnTo>
                  <a:pt x="2443" y="5473"/>
                </a:lnTo>
                <a:lnTo>
                  <a:pt x="2425" y="5448"/>
                </a:lnTo>
                <a:lnTo>
                  <a:pt x="2425" y="5410"/>
                </a:lnTo>
                <a:lnTo>
                  <a:pt x="2454" y="5401"/>
                </a:lnTo>
                <a:lnTo>
                  <a:pt x="2463" y="5411"/>
                </a:lnTo>
                <a:lnTo>
                  <a:pt x="2470" y="5421"/>
                </a:lnTo>
                <a:lnTo>
                  <a:pt x="2471" y="5433"/>
                </a:lnTo>
                <a:lnTo>
                  <a:pt x="2468" y="5445"/>
                </a:lnTo>
                <a:close/>
                <a:moveTo>
                  <a:pt x="2340" y="5561"/>
                </a:moveTo>
                <a:lnTo>
                  <a:pt x="2327" y="5549"/>
                </a:lnTo>
                <a:lnTo>
                  <a:pt x="2341" y="5537"/>
                </a:lnTo>
                <a:lnTo>
                  <a:pt x="2368" y="5531"/>
                </a:lnTo>
                <a:lnTo>
                  <a:pt x="2388" y="5536"/>
                </a:lnTo>
                <a:lnTo>
                  <a:pt x="2395" y="5547"/>
                </a:lnTo>
                <a:lnTo>
                  <a:pt x="2381" y="5554"/>
                </a:lnTo>
                <a:lnTo>
                  <a:pt x="2358" y="5557"/>
                </a:lnTo>
                <a:lnTo>
                  <a:pt x="2340" y="5561"/>
                </a:lnTo>
                <a:close/>
                <a:moveTo>
                  <a:pt x="2288" y="5477"/>
                </a:moveTo>
                <a:lnTo>
                  <a:pt x="2219" y="5479"/>
                </a:lnTo>
                <a:lnTo>
                  <a:pt x="2142" y="5485"/>
                </a:lnTo>
                <a:lnTo>
                  <a:pt x="2094" y="5470"/>
                </a:lnTo>
                <a:lnTo>
                  <a:pt x="2114" y="5407"/>
                </a:lnTo>
                <a:lnTo>
                  <a:pt x="2164" y="5406"/>
                </a:lnTo>
                <a:lnTo>
                  <a:pt x="2226" y="5414"/>
                </a:lnTo>
                <a:lnTo>
                  <a:pt x="2275" y="5435"/>
                </a:lnTo>
                <a:lnTo>
                  <a:pt x="2288" y="5477"/>
                </a:lnTo>
                <a:close/>
                <a:moveTo>
                  <a:pt x="2258" y="5550"/>
                </a:moveTo>
                <a:lnTo>
                  <a:pt x="2248" y="5545"/>
                </a:lnTo>
                <a:lnTo>
                  <a:pt x="2249" y="5540"/>
                </a:lnTo>
                <a:lnTo>
                  <a:pt x="2256" y="5536"/>
                </a:lnTo>
                <a:lnTo>
                  <a:pt x="2267" y="5536"/>
                </a:lnTo>
                <a:lnTo>
                  <a:pt x="2270" y="5541"/>
                </a:lnTo>
                <a:lnTo>
                  <a:pt x="2268" y="5545"/>
                </a:lnTo>
                <a:lnTo>
                  <a:pt x="2263" y="5547"/>
                </a:lnTo>
                <a:lnTo>
                  <a:pt x="2258" y="5550"/>
                </a:lnTo>
                <a:close/>
                <a:moveTo>
                  <a:pt x="2153" y="5556"/>
                </a:moveTo>
                <a:lnTo>
                  <a:pt x="2146" y="5550"/>
                </a:lnTo>
                <a:lnTo>
                  <a:pt x="2150" y="5545"/>
                </a:lnTo>
                <a:lnTo>
                  <a:pt x="2160" y="5542"/>
                </a:lnTo>
                <a:lnTo>
                  <a:pt x="2174" y="5545"/>
                </a:lnTo>
                <a:lnTo>
                  <a:pt x="2175" y="5551"/>
                </a:lnTo>
                <a:lnTo>
                  <a:pt x="2170" y="5554"/>
                </a:lnTo>
                <a:lnTo>
                  <a:pt x="2161" y="5555"/>
                </a:lnTo>
                <a:lnTo>
                  <a:pt x="2153" y="5556"/>
                </a:lnTo>
                <a:close/>
                <a:moveTo>
                  <a:pt x="2066" y="5071"/>
                </a:moveTo>
                <a:lnTo>
                  <a:pt x="2067" y="5059"/>
                </a:lnTo>
                <a:lnTo>
                  <a:pt x="2080" y="5051"/>
                </a:lnTo>
                <a:lnTo>
                  <a:pt x="2098" y="5052"/>
                </a:lnTo>
                <a:lnTo>
                  <a:pt x="2112" y="5061"/>
                </a:lnTo>
                <a:lnTo>
                  <a:pt x="2116" y="5076"/>
                </a:lnTo>
                <a:lnTo>
                  <a:pt x="2102" y="5081"/>
                </a:lnTo>
                <a:lnTo>
                  <a:pt x="2083" y="5079"/>
                </a:lnTo>
                <a:lnTo>
                  <a:pt x="2066" y="5071"/>
                </a:lnTo>
                <a:close/>
                <a:moveTo>
                  <a:pt x="2103" y="5005"/>
                </a:moveTo>
                <a:lnTo>
                  <a:pt x="2104" y="5008"/>
                </a:lnTo>
                <a:lnTo>
                  <a:pt x="2103" y="5008"/>
                </a:lnTo>
                <a:lnTo>
                  <a:pt x="2100" y="5009"/>
                </a:lnTo>
                <a:lnTo>
                  <a:pt x="2097" y="5009"/>
                </a:lnTo>
                <a:lnTo>
                  <a:pt x="2097" y="5008"/>
                </a:lnTo>
                <a:lnTo>
                  <a:pt x="2098" y="5006"/>
                </a:lnTo>
                <a:lnTo>
                  <a:pt x="2100" y="5005"/>
                </a:lnTo>
                <a:lnTo>
                  <a:pt x="2103" y="5005"/>
                </a:lnTo>
                <a:close/>
                <a:moveTo>
                  <a:pt x="2128" y="5356"/>
                </a:moveTo>
                <a:lnTo>
                  <a:pt x="2133" y="5360"/>
                </a:lnTo>
                <a:lnTo>
                  <a:pt x="2131" y="5361"/>
                </a:lnTo>
                <a:lnTo>
                  <a:pt x="2128" y="5361"/>
                </a:lnTo>
                <a:lnTo>
                  <a:pt x="2128" y="5360"/>
                </a:lnTo>
                <a:lnTo>
                  <a:pt x="2128" y="5356"/>
                </a:lnTo>
                <a:close/>
                <a:moveTo>
                  <a:pt x="2164" y="5323"/>
                </a:moveTo>
                <a:lnTo>
                  <a:pt x="2170" y="5317"/>
                </a:lnTo>
                <a:lnTo>
                  <a:pt x="2179" y="5316"/>
                </a:lnTo>
                <a:lnTo>
                  <a:pt x="2187" y="5319"/>
                </a:lnTo>
                <a:lnTo>
                  <a:pt x="2188" y="5328"/>
                </a:lnTo>
                <a:lnTo>
                  <a:pt x="2182" y="5336"/>
                </a:lnTo>
                <a:lnTo>
                  <a:pt x="2173" y="5337"/>
                </a:lnTo>
                <a:lnTo>
                  <a:pt x="2165" y="5333"/>
                </a:lnTo>
                <a:lnTo>
                  <a:pt x="2164" y="5323"/>
                </a:lnTo>
                <a:close/>
                <a:moveTo>
                  <a:pt x="2206" y="4365"/>
                </a:moveTo>
                <a:lnTo>
                  <a:pt x="2182" y="4366"/>
                </a:lnTo>
                <a:lnTo>
                  <a:pt x="2164" y="4372"/>
                </a:lnTo>
                <a:lnTo>
                  <a:pt x="2151" y="4374"/>
                </a:lnTo>
                <a:lnTo>
                  <a:pt x="2140" y="4357"/>
                </a:lnTo>
                <a:lnTo>
                  <a:pt x="2151" y="4346"/>
                </a:lnTo>
                <a:lnTo>
                  <a:pt x="2178" y="4348"/>
                </a:lnTo>
                <a:lnTo>
                  <a:pt x="2201" y="4357"/>
                </a:lnTo>
                <a:lnTo>
                  <a:pt x="2206" y="4365"/>
                </a:lnTo>
                <a:close/>
                <a:moveTo>
                  <a:pt x="2107" y="4399"/>
                </a:moveTo>
                <a:lnTo>
                  <a:pt x="2061" y="4386"/>
                </a:lnTo>
                <a:lnTo>
                  <a:pt x="2004" y="4369"/>
                </a:lnTo>
                <a:lnTo>
                  <a:pt x="1950" y="4353"/>
                </a:lnTo>
                <a:lnTo>
                  <a:pt x="1916" y="4349"/>
                </a:lnTo>
                <a:lnTo>
                  <a:pt x="1965" y="4335"/>
                </a:lnTo>
                <a:lnTo>
                  <a:pt x="2029" y="4335"/>
                </a:lnTo>
                <a:lnTo>
                  <a:pt x="2085" y="4355"/>
                </a:lnTo>
                <a:lnTo>
                  <a:pt x="2107" y="4399"/>
                </a:lnTo>
                <a:close/>
                <a:moveTo>
                  <a:pt x="1899" y="4400"/>
                </a:moveTo>
                <a:lnTo>
                  <a:pt x="1894" y="4398"/>
                </a:lnTo>
                <a:lnTo>
                  <a:pt x="1897" y="4397"/>
                </a:lnTo>
                <a:lnTo>
                  <a:pt x="1899" y="4397"/>
                </a:lnTo>
                <a:lnTo>
                  <a:pt x="1899" y="4398"/>
                </a:lnTo>
                <a:lnTo>
                  <a:pt x="1899" y="4400"/>
                </a:lnTo>
                <a:close/>
                <a:moveTo>
                  <a:pt x="1839" y="4362"/>
                </a:moveTo>
                <a:lnTo>
                  <a:pt x="1827" y="4344"/>
                </a:lnTo>
                <a:lnTo>
                  <a:pt x="1842" y="4333"/>
                </a:lnTo>
                <a:lnTo>
                  <a:pt x="1867" y="4330"/>
                </a:lnTo>
                <a:lnTo>
                  <a:pt x="1889" y="4337"/>
                </a:lnTo>
                <a:lnTo>
                  <a:pt x="1898" y="4355"/>
                </a:lnTo>
                <a:lnTo>
                  <a:pt x="1884" y="4363"/>
                </a:lnTo>
                <a:lnTo>
                  <a:pt x="1861" y="4365"/>
                </a:lnTo>
                <a:lnTo>
                  <a:pt x="1839" y="4362"/>
                </a:lnTo>
                <a:close/>
                <a:moveTo>
                  <a:pt x="1809" y="4417"/>
                </a:moveTo>
                <a:lnTo>
                  <a:pt x="1802" y="4413"/>
                </a:lnTo>
                <a:lnTo>
                  <a:pt x="1800" y="4409"/>
                </a:lnTo>
                <a:lnTo>
                  <a:pt x="1802" y="4407"/>
                </a:lnTo>
                <a:lnTo>
                  <a:pt x="1810" y="4405"/>
                </a:lnTo>
                <a:lnTo>
                  <a:pt x="1815" y="4408"/>
                </a:lnTo>
                <a:lnTo>
                  <a:pt x="1818" y="4412"/>
                </a:lnTo>
                <a:lnTo>
                  <a:pt x="1815" y="4416"/>
                </a:lnTo>
                <a:lnTo>
                  <a:pt x="1809" y="4417"/>
                </a:lnTo>
                <a:close/>
                <a:moveTo>
                  <a:pt x="1769" y="4472"/>
                </a:moveTo>
                <a:lnTo>
                  <a:pt x="1771" y="4469"/>
                </a:lnTo>
                <a:lnTo>
                  <a:pt x="1772" y="4468"/>
                </a:lnTo>
                <a:lnTo>
                  <a:pt x="1773" y="4469"/>
                </a:lnTo>
                <a:lnTo>
                  <a:pt x="1776" y="4470"/>
                </a:lnTo>
                <a:lnTo>
                  <a:pt x="1769" y="4472"/>
                </a:lnTo>
                <a:close/>
                <a:moveTo>
                  <a:pt x="1759" y="4369"/>
                </a:moveTo>
                <a:lnTo>
                  <a:pt x="1707" y="4371"/>
                </a:lnTo>
                <a:lnTo>
                  <a:pt x="1644" y="4380"/>
                </a:lnTo>
                <a:lnTo>
                  <a:pt x="1590" y="4383"/>
                </a:lnTo>
                <a:lnTo>
                  <a:pt x="1557" y="4367"/>
                </a:lnTo>
                <a:lnTo>
                  <a:pt x="1605" y="4348"/>
                </a:lnTo>
                <a:lnTo>
                  <a:pt x="1670" y="4344"/>
                </a:lnTo>
                <a:lnTo>
                  <a:pt x="1730" y="4351"/>
                </a:lnTo>
                <a:lnTo>
                  <a:pt x="1759" y="4369"/>
                </a:lnTo>
                <a:close/>
                <a:moveTo>
                  <a:pt x="1740" y="4433"/>
                </a:moveTo>
                <a:lnTo>
                  <a:pt x="1622" y="4454"/>
                </a:lnTo>
                <a:lnTo>
                  <a:pt x="1459" y="4491"/>
                </a:lnTo>
                <a:lnTo>
                  <a:pt x="1327" y="4498"/>
                </a:lnTo>
                <a:lnTo>
                  <a:pt x="1304" y="4428"/>
                </a:lnTo>
                <a:lnTo>
                  <a:pt x="1399" y="4400"/>
                </a:lnTo>
                <a:lnTo>
                  <a:pt x="1525" y="4400"/>
                </a:lnTo>
                <a:lnTo>
                  <a:pt x="1650" y="4414"/>
                </a:lnTo>
                <a:lnTo>
                  <a:pt x="1740" y="4433"/>
                </a:lnTo>
                <a:close/>
                <a:moveTo>
                  <a:pt x="759" y="3665"/>
                </a:moveTo>
                <a:lnTo>
                  <a:pt x="761" y="3662"/>
                </a:lnTo>
                <a:lnTo>
                  <a:pt x="759" y="3665"/>
                </a:lnTo>
                <a:lnTo>
                  <a:pt x="759" y="3662"/>
                </a:lnTo>
                <a:lnTo>
                  <a:pt x="759" y="3665"/>
                </a:lnTo>
                <a:close/>
                <a:moveTo>
                  <a:pt x="752" y="3581"/>
                </a:moveTo>
                <a:lnTo>
                  <a:pt x="748" y="3579"/>
                </a:lnTo>
                <a:lnTo>
                  <a:pt x="748" y="3577"/>
                </a:lnTo>
                <a:lnTo>
                  <a:pt x="749" y="3576"/>
                </a:lnTo>
                <a:lnTo>
                  <a:pt x="753" y="3577"/>
                </a:lnTo>
                <a:lnTo>
                  <a:pt x="753" y="3579"/>
                </a:lnTo>
                <a:lnTo>
                  <a:pt x="752" y="3581"/>
                </a:lnTo>
                <a:close/>
                <a:moveTo>
                  <a:pt x="739" y="3716"/>
                </a:moveTo>
                <a:lnTo>
                  <a:pt x="733" y="3712"/>
                </a:lnTo>
                <a:lnTo>
                  <a:pt x="728" y="3707"/>
                </a:lnTo>
                <a:lnTo>
                  <a:pt x="722" y="3700"/>
                </a:lnTo>
                <a:lnTo>
                  <a:pt x="720" y="3693"/>
                </a:lnTo>
                <a:lnTo>
                  <a:pt x="730" y="3698"/>
                </a:lnTo>
                <a:lnTo>
                  <a:pt x="742" y="3704"/>
                </a:lnTo>
                <a:lnTo>
                  <a:pt x="747" y="3710"/>
                </a:lnTo>
                <a:lnTo>
                  <a:pt x="739" y="3716"/>
                </a:lnTo>
                <a:close/>
                <a:moveTo>
                  <a:pt x="703" y="3756"/>
                </a:moveTo>
                <a:lnTo>
                  <a:pt x="701" y="3752"/>
                </a:lnTo>
                <a:lnTo>
                  <a:pt x="701" y="3749"/>
                </a:lnTo>
                <a:lnTo>
                  <a:pt x="702" y="3746"/>
                </a:lnTo>
                <a:lnTo>
                  <a:pt x="705" y="3747"/>
                </a:lnTo>
                <a:lnTo>
                  <a:pt x="706" y="3749"/>
                </a:lnTo>
                <a:lnTo>
                  <a:pt x="706" y="3751"/>
                </a:lnTo>
                <a:lnTo>
                  <a:pt x="705" y="3754"/>
                </a:lnTo>
                <a:lnTo>
                  <a:pt x="703" y="3756"/>
                </a:lnTo>
                <a:close/>
                <a:moveTo>
                  <a:pt x="687" y="3668"/>
                </a:moveTo>
                <a:lnTo>
                  <a:pt x="671" y="3654"/>
                </a:lnTo>
                <a:lnTo>
                  <a:pt x="678" y="3637"/>
                </a:lnTo>
                <a:lnTo>
                  <a:pt x="697" y="3624"/>
                </a:lnTo>
                <a:lnTo>
                  <a:pt x="716" y="3626"/>
                </a:lnTo>
                <a:lnTo>
                  <a:pt x="725" y="3647"/>
                </a:lnTo>
                <a:lnTo>
                  <a:pt x="720" y="3667"/>
                </a:lnTo>
                <a:lnTo>
                  <a:pt x="705" y="3677"/>
                </a:lnTo>
                <a:lnTo>
                  <a:pt x="687" y="3668"/>
                </a:lnTo>
                <a:close/>
                <a:moveTo>
                  <a:pt x="593" y="3666"/>
                </a:moveTo>
                <a:lnTo>
                  <a:pt x="590" y="3663"/>
                </a:lnTo>
                <a:lnTo>
                  <a:pt x="589" y="3661"/>
                </a:lnTo>
                <a:lnTo>
                  <a:pt x="590" y="3657"/>
                </a:lnTo>
                <a:lnTo>
                  <a:pt x="594" y="3656"/>
                </a:lnTo>
                <a:lnTo>
                  <a:pt x="596" y="3657"/>
                </a:lnTo>
                <a:lnTo>
                  <a:pt x="598" y="3661"/>
                </a:lnTo>
                <a:lnTo>
                  <a:pt x="596" y="3665"/>
                </a:lnTo>
                <a:lnTo>
                  <a:pt x="593" y="3666"/>
                </a:lnTo>
                <a:close/>
                <a:moveTo>
                  <a:pt x="580" y="3634"/>
                </a:moveTo>
                <a:lnTo>
                  <a:pt x="576" y="3630"/>
                </a:lnTo>
                <a:lnTo>
                  <a:pt x="577" y="3625"/>
                </a:lnTo>
                <a:lnTo>
                  <a:pt x="581" y="3621"/>
                </a:lnTo>
                <a:lnTo>
                  <a:pt x="586" y="3620"/>
                </a:lnTo>
                <a:lnTo>
                  <a:pt x="590" y="3623"/>
                </a:lnTo>
                <a:lnTo>
                  <a:pt x="589" y="3628"/>
                </a:lnTo>
                <a:lnTo>
                  <a:pt x="585" y="3632"/>
                </a:lnTo>
                <a:lnTo>
                  <a:pt x="580" y="3634"/>
                </a:lnTo>
                <a:close/>
                <a:moveTo>
                  <a:pt x="390" y="3808"/>
                </a:moveTo>
                <a:lnTo>
                  <a:pt x="387" y="3801"/>
                </a:lnTo>
                <a:lnTo>
                  <a:pt x="387" y="3793"/>
                </a:lnTo>
                <a:lnTo>
                  <a:pt x="390" y="3787"/>
                </a:lnTo>
                <a:lnTo>
                  <a:pt x="396" y="3787"/>
                </a:lnTo>
                <a:lnTo>
                  <a:pt x="400" y="3793"/>
                </a:lnTo>
                <a:lnTo>
                  <a:pt x="399" y="3798"/>
                </a:lnTo>
                <a:lnTo>
                  <a:pt x="395" y="3803"/>
                </a:lnTo>
                <a:lnTo>
                  <a:pt x="390" y="3808"/>
                </a:lnTo>
                <a:close/>
                <a:moveTo>
                  <a:pt x="357" y="3679"/>
                </a:moveTo>
                <a:lnTo>
                  <a:pt x="352" y="3676"/>
                </a:lnTo>
                <a:lnTo>
                  <a:pt x="352" y="3671"/>
                </a:lnTo>
                <a:lnTo>
                  <a:pt x="356" y="3667"/>
                </a:lnTo>
                <a:lnTo>
                  <a:pt x="361" y="3670"/>
                </a:lnTo>
                <a:lnTo>
                  <a:pt x="359" y="3675"/>
                </a:lnTo>
                <a:lnTo>
                  <a:pt x="357" y="3679"/>
                </a:lnTo>
                <a:close/>
                <a:moveTo>
                  <a:pt x="335" y="3761"/>
                </a:moveTo>
                <a:lnTo>
                  <a:pt x="340" y="3750"/>
                </a:lnTo>
                <a:lnTo>
                  <a:pt x="345" y="3740"/>
                </a:lnTo>
                <a:lnTo>
                  <a:pt x="348" y="3747"/>
                </a:lnTo>
                <a:lnTo>
                  <a:pt x="347" y="3752"/>
                </a:lnTo>
                <a:lnTo>
                  <a:pt x="343" y="3756"/>
                </a:lnTo>
                <a:lnTo>
                  <a:pt x="335" y="3761"/>
                </a:lnTo>
                <a:close/>
                <a:moveTo>
                  <a:pt x="324" y="3792"/>
                </a:moveTo>
                <a:lnTo>
                  <a:pt x="316" y="3786"/>
                </a:lnTo>
                <a:lnTo>
                  <a:pt x="315" y="3774"/>
                </a:lnTo>
                <a:lnTo>
                  <a:pt x="321" y="3764"/>
                </a:lnTo>
                <a:lnTo>
                  <a:pt x="335" y="3763"/>
                </a:lnTo>
                <a:lnTo>
                  <a:pt x="333" y="3770"/>
                </a:lnTo>
                <a:lnTo>
                  <a:pt x="333" y="3779"/>
                </a:lnTo>
                <a:lnTo>
                  <a:pt x="329" y="3787"/>
                </a:lnTo>
                <a:lnTo>
                  <a:pt x="324" y="3792"/>
                </a:lnTo>
                <a:close/>
                <a:moveTo>
                  <a:pt x="310" y="3854"/>
                </a:moveTo>
                <a:lnTo>
                  <a:pt x="309" y="3851"/>
                </a:lnTo>
                <a:lnTo>
                  <a:pt x="310" y="3849"/>
                </a:lnTo>
                <a:lnTo>
                  <a:pt x="312" y="3847"/>
                </a:lnTo>
                <a:lnTo>
                  <a:pt x="315" y="3845"/>
                </a:lnTo>
                <a:lnTo>
                  <a:pt x="316" y="3849"/>
                </a:lnTo>
                <a:lnTo>
                  <a:pt x="316" y="3851"/>
                </a:lnTo>
                <a:lnTo>
                  <a:pt x="312" y="3852"/>
                </a:lnTo>
                <a:lnTo>
                  <a:pt x="310" y="3854"/>
                </a:lnTo>
                <a:close/>
                <a:moveTo>
                  <a:pt x="199" y="3688"/>
                </a:moveTo>
                <a:lnTo>
                  <a:pt x="195" y="3686"/>
                </a:lnTo>
                <a:lnTo>
                  <a:pt x="198" y="3685"/>
                </a:lnTo>
                <a:lnTo>
                  <a:pt x="199" y="3685"/>
                </a:lnTo>
                <a:lnTo>
                  <a:pt x="200" y="3686"/>
                </a:lnTo>
                <a:lnTo>
                  <a:pt x="199" y="3688"/>
                </a:lnTo>
                <a:close/>
                <a:moveTo>
                  <a:pt x="176" y="3653"/>
                </a:moveTo>
                <a:lnTo>
                  <a:pt x="167" y="3644"/>
                </a:lnTo>
                <a:lnTo>
                  <a:pt x="161" y="3634"/>
                </a:lnTo>
                <a:lnTo>
                  <a:pt x="157" y="3624"/>
                </a:lnTo>
                <a:lnTo>
                  <a:pt x="160" y="3611"/>
                </a:lnTo>
                <a:lnTo>
                  <a:pt x="171" y="3619"/>
                </a:lnTo>
                <a:lnTo>
                  <a:pt x="182" y="3634"/>
                </a:lnTo>
                <a:lnTo>
                  <a:pt x="185" y="3648"/>
                </a:lnTo>
                <a:lnTo>
                  <a:pt x="176" y="3653"/>
                </a:lnTo>
                <a:close/>
                <a:moveTo>
                  <a:pt x="148" y="3602"/>
                </a:moveTo>
                <a:lnTo>
                  <a:pt x="152" y="3602"/>
                </a:lnTo>
                <a:lnTo>
                  <a:pt x="154" y="3605"/>
                </a:lnTo>
                <a:lnTo>
                  <a:pt x="157" y="3607"/>
                </a:lnTo>
                <a:lnTo>
                  <a:pt x="158" y="3610"/>
                </a:lnTo>
                <a:lnTo>
                  <a:pt x="156" y="3610"/>
                </a:lnTo>
                <a:lnTo>
                  <a:pt x="152" y="3609"/>
                </a:lnTo>
                <a:lnTo>
                  <a:pt x="149" y="3606"/>
                </a:lnTo>
                <a:lnTo>
                  <a:pt x="148" y="3602"/>
                </a:lnTo>
                <a:close/>
                <a:moveTo>
                  <a:pt x="143" y="3290"/>
                </a:moveTo>
                <a:lnTo>
                  <a:pt x="144" y="3284"/>
                </a:lnTo>
                <a:lnTo>
                  <a:pt x="146" y="3279"/>
                </a:lnTo>
                <a:lnTo>
                  <a:pt x="151" y="3275"/>
                </a:lnTo>
                <a:lnTo>
                  <a:pt x="156" y="3274"/>
                </a:lnTo>
                <a:lnTo>
                  <a:pt x="161" y="3283"/>
                </a:lnTo>
                <a:lnTo>
                  <a:pt x="157" y="3293"/>
                </a:lnTo>
                <a:lnTo>
                  <a:pt x="149" y="3298"/>
                </a:lnTo>
                <a:lnTo>
                  <a:pt x="143" y="3290"/>
                </a:lnTo>
                <a:close/>
                <a:moveTo>
                  <a:pt x="1089" y="1731"/>
                </a:moveTo>
                <a:lnTo>
                  <a:pt x="1090" y="1734"/>
                </a:lnTo>
                <a:lnTo>
                  <a:pt x="1090" y="1735"/>
                </a:lnTo>
                <a:lnTo>
                  <a:pt x="1089" y="1736"/>
                </a:lnTo>
                <a:lnTo>
                  <a:pt x="1087" y="1737"/>
                </a:lnTo>
                <a:lnTo>
                  <a:pt x="1085" y="1735"/>
                </a:lnTo>
                <a:lnTo>
                  <a:pt x="1085" y="1732"/>
                </a:lnTo>
                <a:lnTo>
                  <a:pt x="1087" y="1731"/>
                </a:lnTo>
                <a:lnTo>
                  <a:pt x="1089" y="1731"/>
                </a:lnTo>
                <a:close/>
                <a:moveTo>
                  <a:pt x="1136" y="1731"/>
                </a:moveTo>
                <a:lnTo>
                  <a:pt x="1180" y="1699"/>
                </a:lnTo>
                <a:lnTo>
                  <a:pt x="1195" y="1726"/>
                </a:lnTo>
                <a:lnTo>
                  <a:pt x="1186" y="1774"/>
                </a:lnTo>
                <a:lnTo>
                  <a:pt x="1153" y="1805"/>
                </a:lnTo>
                <a:lnTo>
                  <a:pt x="1147" y="1786"/>
                </a:lnTo>
                <a:lnTo>
                  <a:pt x="1138" y="1768"/>
                </a:lnTo>
                <a:lnTo>
                  <a:pt x="1132" y="1751"/>
                </a:lnTo>
                <a:lnTo>
                  <a:pt x="1136" y="1731"/>
                </a:lnTo>
                <a:close/>
                <a:moveTo>
                  <a:pt x="1171" y="1280"/>
                </a:moveTo>
                <a:lnTo>
                  <a:pt x="1208" y="1278"/>
                </a:lnTo>
                <a:lnTo>
                  <a:pt x="1238" y="1283"/>
                </a:lnTo>
                <a:lnTo>
                  <a:pt x="1261" y="1301"/>
                </a:lnTo>
                <a:lnTo>
                  <a:pt x="1276" y="1334"/>
                </a:lnTo>
                <a:lnTo>
                  <a:pt x="1241" y="1333"/>
                </a:lnTo>
                <a:lnTo>
                  <a:pt x="1195" y="1315"/>
                </a:lnTo>
                <a:lnTo>
                  <a:pt x="1163" y="1293"/>
                </a:lnTo>
                <a:lnTo>
                  <a:pt x="1171" y="1280"/>
                </a:lnTo>
                <a:close/>
                <a:moveTo>
                  <a:pt x="1284" y="1722"/>
                </a:moveTo>
                <a:lnTo>
                  <a:pt x="1292" y="1723"/>
                </a:lnTo>
                <a:lnTo>
                  <a:pt x="1299" y="1725"/>
                </a:lnTo>
                <a:lnTo>
                  <a:pt x="1304" y="1727"/>
                </a:lnTo>
                <a:lnTo>
                  <a:pt x="1302" y="1732"/>
                </a:lnTo>
                <a:lnTo>
                  <a:pt x="1292" y="1735"/>
                </a:lnTo>
                <a:lnTo>
                  <a:pt x="1283" y="1734"/>
                </a:lnTo>
                <a:lnTo>
                  <a:pt x="1279" y="1730"/>
                </a:lnTo>
                <a:lnTo>
                  <a:pt x="1284" y="1722"/>
                </a:lnTo>
                <a:close/>
                <a:moveTo>
                  <a:pt x="1307" y="1823"/>
                </a:moveTo>
                <a:lnTo>
                  <a:pt x="1306" y="1821"/>
                </a:lnTo>
                <a:lnTo>
                  <a:pt x="1307" y="1821"/>
                </a:lnTo>
                <a:lnTo>
                  <a:pt x="1308" y="1823"/>
                </a:lnTo>
                <a:lnTo>
                  <a:pt x="1311" y="1824"/>
                </a:lnTo>
                <a:lnTo>
                  <a:pt x="1308" y="1824"/>
                </a:lnTo>
                <a:lnTo>
                  <a:pt x="1307" y="1823"/>
                </a:lnTo>
                <a:close/>
                <a:moveTo>
                  <a:pt x="2049" y="346"/>
                </a:moveTo>
                <a:lnTo>
                  <a:pt x="2048" y="355"/>
                </a:lnTo>
                <a:lnTo>
                  <a:pt x="2047" y="364"/>
                </a:lnTo>
                <a:lnTo>
                  <a:pt x="2046" y="373"/>
                </a:lnTo>
                <a:lnTo>
                  <a:pt x="2041" y="378"/>
                </a:lnTo>
                <a:lnTo>
                  <a:pt x="2035" y="369"/>
                </a:lnTo>
                <a:lnTo>
                  <a:pt x="2037" y="360"/>
                </a:lnTo>
                <a:lnTo>
                  <a:pt x="2043" y="353"/>
                </a:lnTo>
                <a:lnTo>
                  <a:pt x="2049" y="346"/>
                </a:lnTo>
                <a:close/>
                <a:moveTo>
                  <a:pt x="2247" y="401"/>
                </a:moveTo>
                <a:lnTo>
                  <a:pt x="2262" y="382"/>
                </a:lnTo>
                <a:lnTo>
                  <a:pt x="2268" y="387"/>
                </a:lnTo>
                <a:lnTo>
                  <a:pt x="2265" y="402"/>
                </a:lnTo>
                <a:lnTo>
                  <a:pt x="2253" y="420"/>
                </a:lnTo>
                <a:lnTo>
                  <a:pt x="2248" y="417"/>
                </a:lnTo>
                <a:lnTo>
                  <a:pt x="2246" y="412"/>
                </a:lnTo>
                <a:lnTo>
                  <a:pt x="2246" y="406"/>
                </a:lnTo>
                <a:lnTo>
                  <a:pt x="2247" y="401"/>
                </a:lnTo>
                <a:close/>
                <a:moveTo>
                  <a:pt x="2338" y="435"/>
                </a:moveTo>
                <a:lnTo>
                  <a:pt x="2350" y="437"/>
                </a:lnTo>
                <a:lnTo>
                  <a:pt x="2364" y="438"/>
                </a:lnTo>
                <a:lnTo>
                  <a:pt x="2369" y="457"/>
                </a:lnTo>
                <a:lnTo>
                  <a:pt x="2347" y="459"/>
                </a:lnTo>
                <a:lnTo>
                  <a:pt x="2327" y="451"/>
                </a:lnTo>
                <a:lnTo>
                  <a:pt x="2338" y="435"/>
                </a:lnTo>
                <a:close/>
                <a:moveTo>
                  <a:pt x="2428" y="538"/>
                </a:moveTo>
                <a:lnTo>
                  <a:pt x="2428" y="543"/>
                </a:lnTo>
                <a:lnTo>
                  <a:pt x="2425" y="541"/>
                </a:lnTo>
                <a:lnTo>
                  <a:pt x="2425" y="540"/>
                </a:lnTo>
                <a:lnTo>
                  <a:pt x="2425" y="538"/>
                </a:lnTo>
                <a:lnTo>
                  <a:pt x="2428" y="538"/>
                </a:lnTo>
                <a:close/>
                <a:moveTo>
                  <a:pt x="2659" y="566"/>
                </a:moveTo>
                <a:lnTo>
                  <a:pt x="2662" y="568"/>
                </a:lnTo>
                <a:lnTo>
                  <a:pt x="2663" y="569"/>
                </a:lnTo>
                <a:lnTo>
                  <a:pt x="2662" y="571"/>
                </a:lnTo>
                <a:lnTo>
                  <a:pt x="2661" y="574"/>
                </a:lnTo>
                <a:lnTo>
                  <a:pt x="2659" y="571"/>
                </a:lnTo>
                <a:lnTo>
                  <a:pt x="2658" y="570"/>
                </a:lnTo>
                <a:lnTo>
                  <a:pt x="2658" y="569"/>
                </a:lnTo>
                <a:lnTo>
                  <a:pt x="2659" y="566"/>
                </a:lnTo>
                <a:close/>
                <a:moveTo>
                  <a:pt x="2694" y="536"/>
                </a:moveTo>
                <a:lnTo>
                  <a:pt x="2703" y="538"/>
                </a:lnTo>
                <a:lnTo>
                  <a:pt x="2713" y="546"/>
                </a:lnTo>
                <a:lnTo>
                  <a:pt x="2719" y="556"/>
                </a:lnTo>
                <a:lnTo>
                  <a:pt x="2721" y="565"/>
                </a:lnTo>
                <a:lnTo>
                  <a:pt x="2708" y="574"/>
                </a:lnTo>
                <a:lnTo>
                  <a:pt x="2696" y="568"/>
                </a:lnTo>
                <a:lnTo>
                  <a:pt x="2690" y="552"/>
                </a:lnTo>
                <a:lnTo>
                  <a:pt x="2694" y="536"/>
                </a:lnTo>
                <a:close/>
                <a:moveTo>
                  <a:pt x="2808" y="577"/>
                </a:moveTo>
                <a:lnTo>
                  <a:pt x="2824" y="568"/>
                </a:lnTo>
                <a:lnTo>
                  <a:pt x="2839" y="565"/>
                </a:lnTo>
                <a:lnTo>
                  <a:pt x="2848" y="571"/>
                </a:lnTo>
                <a:lnTo>
                  <a:pt x="2839" y="588"/>
                </a:lnTo>
                <a:lnTo>
                  <a:pt x="2812" y="593"/>
                </a:lnTo>
                <a:lnTo>
                  <a:pt x="2787" y="591"/>
                </a:lnTo>
                <a:lnTo>
                  <a:pt x="2780" y="584"/>
                </a:lnTo>
                <a:lnTo>
                  <a:pt x="2808" y="577"/>
                </a:lnTo>
                <a:close/>
                <a:moveTo>
                  <a:pt x="3068" y="913"/>
                </a:moveTo>
                <a:lnTo>
                  <a:pt x="3068" y="919"/>
                </a:lnTo>
                <a:lnTo>
                  <a:pt x="3068" y="924"/>
                </a:lnTo>
                <a:lnTo>
                  <a:pt x="3064" y="920"/>
                </a:lnTo>
                <a:lnTo>
                  <a:pt x="3063" y="918"/>
                </a:lnTo>
                <a:lnTo>
                  <a:pt x="3064" y="915"/>
                </a:lnTo>
                <a:lnTo>
                  <a:pt x="3068" y="913"/>
                </a:lnTo>
                <a:close/>
                <a:moveTo>
                  <a:pt x="3196" y="895"/>
                </a:moveTo>
                <a:lnTo>
                  <a:pt x="3196" y="899"/>
                </a:lnTo>
                <a:lnTo>
                  <a:pt x="3193" y="901"/>
                </a:lnTo>
                <a:lnTo>
                  <a:pt x="3190" y="904"/>
                </a:lnTo>
                <a:lnTo>
                  <a:pt x="3187" y="906"/>
                </a:lnTo>
                <a:lnTo>
                  <a:pt x="3188" y="902"/>
                </a:lnTo>
                <a:lnTo>
                  <a:pt x="3189" y="899"/>
                </a:lnTo>
                <a:lnTo>
                  <a:pt x="3192" y="896"/>
                </a:lnTo>
                <a:lnTo>
                  <a:pt x="3196" y="895"/>
                </a:lnTo>
                <a:close/>
                <a:moveTo>
                  <a:pt x="3247" y="934"/>
                </a:moveTo>
                <a:lnTo>
                  <a:pt x="3253" y="914"/>
                </a:lnTo>
                <a:lnTo>
                  <a:pt x="3267" y="906"/>
                </a:lnTo>
                <a:lnTo>
                  <a:pt x="3283" y="904"/>
                </a:lnTo>
                <a:lnTo>
                  <a:pt x="3300" y="895"/>
                </a:lnTo>
                <a:lnTo>
                  <a:pt x="3319" y="933"/>
                </a:lnTo>
                <a:lnTo>
                  <a:pt x="3295" y="967"/>
                </a:lnTo>
                <a:lnTo>
                  <a:pt x="3259" y="974"/>
                </a:lnTo>
                <a:lnTo>
                  <a:pt x="3247" y="934"/>
                </a:lnTo>
                <a:close/>
                <a:moveTo>
                  <a:pt x="3254" y="892"/>
                </a:moveTo>
                <a:lnTo>
                  <a:pt x="3257" y="896"/>
                </a:lnTo>
                <a:lnTo>
                  <a:pt x="3258" y="897"/>
                </a:lnTo>
                <a:lnTo>
                  <a:pt x="3257" y="899"/>
                </a:lnTo>
                <a:lnTo>
                  <a:pt x="3253" y="897"/>
                </a:lnTo>
                <a:lnTo>
                  <a:pt x="3249" y="896"/>
                </a:lnTo>
                <a:lnTo>
                  <a:pt x="3249" y="892"/>
                </a:lnTo>
                <a:lnTo>
                  <a:pt x="3250" y="891"/>
                </a:lnTo>
                <a:lnTo>
                  <a:pt x="3254" y="892"/>
                </a:lnTo>
                <a:close/>
                <a:moveTo>
                  <a:pt x="3261" y="900"/>
                </a:moveTo>
                <a:lnTo>
                  <a:pt x="3261" y="899"/>
                </a:lnTo>
                <a:lnTo>
                  <a:pt x="3261" y="900"/>
                </a:lnTo>
                <a:lnTo>
                  <a:pt x="3261" y="900"/>
                </a:lnTo>
                <a:lnTo>
                  <a:pt x="3261" y="900"/>
                </a:lnTo>
                <a:close/>
                <a:moveTo>
                  <a:pt x="3356" y="910"/>
                </a:moveTo>
                <a:lnTo>
                  <a:pt x="3366" y="910"/>
                </a:lnTo>
                <a:lnTo>
                  <a:pt x="3373" y="925"/>
                </a:lnTo>
                <a:lnTo>
                  <a:pt x="3371" y="944"/>
                </a:lnTo>
                <a:lnTo>
                  <a:pt x="3365" y="957"/>
                </a:lnTo>
                <a:lnTo>
                  <a:pt x="3355" y="948"/>
                </a:lnTo>
                <a:lnTo>
                  <a:pt x="3350" y="936"/>
                </a:lnTo>
                <a:lnTo>
                  <a:pt x="3351" y="922"/>
                </a:lnTo>
                <a:lnTo>
                  <a:pt x="3356" y="910"/>
                </a:lnTo>
                <a:close/>
                <a:moveTo>
                  <a:pt x="3362" y="705"/>
                </a:moveTo>
                <a:lnTo>
                  <a:pt x="3375" y="700"/>
                </a:lnTo>
                <a:lnTo>
                  <a:pt x="3387" y="710"/>
                </a:lnTo>
                <a:lnTo>
                  <a:pt x="3393" y="725"/>
                </a:lnTo>
                <a:lnTo>
                  <a:pt x="3389" y="739"/>
                </a:lnTo>
                <a:lnTo>
                  <a:pt x="3375" y="741"/>
                </a:lnTo>
                <a:lnTo>
                  <a:pt x="3364" y="732"/>
                </a:lnTo>
                <a:lnTo>
                  <a:pt x="3359" y="719"/>
                </a:lnTo>
                <a:lnTo>
                  <a:pt x="3362" y="705"/>
                </a:lnTo>
                <a:close/>
                <a:moveTo>
                  <a:pt x="3413" y="943"/>
                </a:moveTo>
                <a:lnTo>
                  <a:pt x="3426" y="943"/>
                </a:lnTo>
                <a:lnTo>
                  <a:pt x="3429" y="955"/>
                </a:lnTo>
                <a:lnTo>
                  <a:pt x="3424" y="964"/>
                </a:lnTo>
                <a:lnTo>
                  <a:pt x="3413" y="958"/>
                </a:lnTo>
                <a:lnTo>
                  <a:pt x="3412" y="956"/>
                </a:lnTo>
                <a:lnTo>
                  <a:pt x="3411" y="951"/>
                </a:lnTo>
                <a:lnTo>
                  <a:pt x="3411" y="947"/>
                </a:lnTo>
                <a:lnTo>
                  <a:pt x="3413" y="943"/>
                </a:lnTo>
                <a:close/>
                <a:moveTo>
                  <a:pt x="3427" y="916"/>
                </a:moveTo>
                <a:lnTo>
                  <a:pt x="3429" y="923"/>
                </a:lnTo>
                <a:lnTo>
                  <a:pt x="3427" y="924"/>
                </a:lnTo>
                <a:lnTo>
                  <a:pt x="3424" y="920"/>
                </a:lnTo>
                <a:lnTo>
                  <a:pt x="3421" y="914"/>
                </a:lnTo>
                <a:lnTo>
                  <a:pt x="3424" y="913"/>
                </a:lnTo>
                <a:lnTo>
                  <a:pt x="3425" y="911"/>
                </a:lnTo>
                <a:lnTo>
                  <a:pt x="3426" y="913"/>
                </a:lnTo>
                <a:lnTo>
                  <a:pt x="3427" y="916"/>
                </a:lnTo>
                <a:close/>
                <a:moveTo>
                  <a:pt x="3444" y="834"/>
                </a:moveTo>
                <a:lnTo>
                  <a:pt x="3450" y="838"/>
                </a:lnTo>
                <a:lnTo>
                  <a:pt x="3446" y="845"/>
                </a:lnTo>
                <a:lnTo>
                  <a:pt x="3441" y="848"/>
                </a:lnTo>
                <a:lnTo>
                  <a:pt x="3440" y="836"/>
                </a:lnTo>
                <a:lnTo>
                  <a:pt x="3441" y="835"/>
                </a:lnTo>
                <a:lnTo>
                  <a:pt x="3444" y="834"/>
                </a:lnTo>
                <a:close/>
                <a:moveTo>
                  <a:pt x="3454" y="971"/>
                </a:moveTo>
                <a:lnTo>
                  <a:pt x="3472" y="965"/>
                </a:lnTo>
                <a:lnTo>
                  <a:pt x="3499" y="969"/>
                </a:lnTo>
                <a:lnTo>
                  <a:pt x="3514" y="980"/>
                </a:lnTo>
                <a:lnTo>
                  <a:pt x="3501" y="995"/>
                </a:lnTo>
                <a:lnTo>
                  <a:pt x="3487" y="992"/>
                </a:lnTo>
                <a:lnTo>
                  <a:pt x="3472" y="988"/>
                </a:lnTo>
                <a:lnTo>
                  <a:pt x="3458" y="983"/>
                </a:lnTo>
                <a:lnTo>
                  <a:pt x="3454" y="971"/>
                </a:lnTo>
                <a:close/>
                <a:moveTo>
                  <a:pt x="3468" y="900"/>
                </a:moveTo>
                <a:lnTo>
                  <a:pt x="3472" y="900"/>
                </a:lnTo>
                <a:lnTo>
                  <a:pt x="3476" y="901"/>
                </a:lnTo>
                <a:lnTo>
                  <a:pt x="3476" y="905"/>
                </a:lnTo>
                <a:lnTo>
                  <a:pt x="3474" y="909"/>
                </a:lnTo>
                <a:lnTo>
                  <a:pt x="3469" y="910"/>
                </a:lnTo>
                <a:lnTo>
                  <a:pt x="3466" y="908"/>
                </a:lnTo>
                <a:lnTo>
                  <a:pt x="3466" y="904"/>
                </a:lnTo>
                <a:lnTo>
                  <a:pt x="3468" y="900"/>
                </a:lnTo>
                <a:close/>
                <a:moveTo>
                  <a:pt x="3541" y="904"/>
                </a:moveTo>
                <a:lnTo>
                  <a:pt x="3557" y="910"/>
                </a:lnTo>
                <a:lnTo>
                  <a:pt x="3573" y="924"/>
                </a:lnTo>
                <a:lnTo>
                  <a:pt x="3588" y="943"/>
                </a:lnTo>
                <a:lnTo>
                  <a:pt x="3601" y="960"/>
                </a:lnTo>
                <a:lnTo>
                  <a:pt x="3573" y="955"/>
                </a:lnTo>
                <a:lnTo>
                  <a:pt x="3550" y="947"/>
                </a:lnTo>
                <a:lnTo>
                  <a:pt x="3537" y="932"/>
                </a:lnTo>
                <a:lnTo>
                  <a:pt x="3541" y="904"/>
                </a:lnTo>
                <a:close/>
                <a:moveTo>
                  <a:pt x="3590" y="999"/>
                </a:moveTo>
                <a:lnTo>
                  <a:pt x="3575" y="1006"/>
                </a:lnTo>
                <a:lnTo>
                  <a:pt x="3561" y="1003"/>
                </a:lnTo>
                <a:lnTo>
                  <a:pt x="3548" y="994"/>
                </a:lnTo>
                <a:lnTo>
                  <a:pt x="3542" y="976"/>
                </a:lnTo>
                <a:lnTo>
                  <a:pt x="3561" y="980"/>
                </a:lnTo>
                <a:lnTo>
                  <a:pt x="3584" y="983"/>
                </a:lnTo>
                <a:lnTo>
                  <a:pt x="3597" y="988"/>
                </a:lnTo>
                <a:lnTo>
                  <a:pt x="3590" y="999"/>
                </a:lnTo>
                <a:close/>
                <a:moveTo>
                  <a:pt x="3615" y="1081"/>
                </a:moveTo>
                <a:lnTo>
                  <a:pt x="3616" y="1083"/>
                </a:lnTo>
                <a:lnTo>
                  <a:pt x="3616" y="1084"/>
                </a:lnTo>
                <a:lnTo>
                  <a:pt x="3615" y="1084"/>
                </a:lnTo>
                <a:lnTo>
                  <a:pt x="3612" y="1084"/>
                </a:lnTo>
                <a:lnTo>
                  <a:pt x="3615" y="1081"/>
                </a:lnTo>
                <a:close/>
                <a:moveTo>
                  <a:pt x="3643" y="722"/>
                </a:moveTo>
                <a:lnTo>
                  <a:pt x="3641" y="729"/>
                </a:lnTo>
                <a:lnTo>
                  <a:pt x="3634" y="729"/>
                </a:lnTo>
                <a:lnTo>
                  <a:pt x="3623" y="727"/>
                </a:lnTo>
                <a:lnTo>
                  <a:pt x="3613" y="724"/>
                </a:lnTo>
                <a:lnTo>
                  <a:pt x="3621" y="719"/>
                </a:lnTo>
                <a:lnTo>
                  <a:pt x="3629" y="718"/>
                </a:lnTo>
                <a:lnTo>
                  <a:pt x="3635" y="718"/>
                </a:lnTo>
                <a:lnTo>
                  <a:pt x="3643" y="722"/>
                </a:lnTo>
                <a:close/>
                <a:moveTo>
                  <a:pt x="3657" y="928"/>
                </a:moveTo>
                <a:lnTo>
                  <a:pt x="3662" y="929"/>
                </a:lnTo>
                <a:lnTo>
                  <a:pt x="3665" y="932"/>
                </a:lnTo>
                <a:lnTo>
                  <a:pt x="3668" y="937"/>
                </a:lnTo>
                <a:lnTo>
                  <a:pt x="3667" y="941"/>
                </a:lnTo>
                <a:lnTo>
                  <a:pt x="3660" y="941"/>
                </a:lnTo>
                <a:lnTo>
                  <a:pt x="3657" y="938"/>
                </a:lnTo>
                <a:lnTo>
                  <a:pt x="3654" y="933"/>
                </a:lnTo>
                <a:lnTo>
                  <a:pt x="3657" y="928"/>
                </a:lnTo>
                <a:close/>
                <a:moveTo>
                  <a:pt x="3673" y="1228"/>
                </a:moveTo>
                <a:lnTo>
                  <a:pt x="3674" y="1231"/>
                </a:lnTo>
                <a:lnTo>
                  <a:pt x="3674" y="1232"/>
                </a:lnTo>
                <a:lnTo>
                  <a:pt x="3674" y="1232"/>
                </a:lnTo>
                <a:lnTo>
                  <a:pt x="3672" y="1233"/>
                </a:lnTo>
                <a:lnTo>
                  <a:pt x="3673" y="1228"/>
                </a:lnTo>
                <a:close/>
                <a:moveTo>
                  <a:pt x="3692" y="739"/>
                </a:moveTo>
                <a:lnTo>
                  <a:pt x="3699" y="737"/>
                </a:lnTo>
                <a:lnTo>
                  <a:pt x="3700" y="747"/>
                </a:lnTo>
                <a:lnTo>
                  <a:pt x="3697" y="757"/>
                </a:lnTo>
                <a:lnTo>
                  <a:pt x="3691" y="755"/>
                </a:lnTo>
                <a:lnTo>
                  <a:pt x="3688" y="751"/>
                </a:lnTo>
                <a:lnTo>
                  <a:pt x="3688" y="746"/>
                </a:lnTo>
                <a:lnTo>
                  <a:pt x="3690" y="742"/>
                </a:lnTo>
                <a:lnTo>
                  <a:pt x="3692" y="739"/>
                </a:lnTo>
                <a:close/>
                <a:moveTo>
                  <a:pt x="3708" y="729"/>
                </a:moveTo>
                <a:lnTo>
                  <a:pt x="3705" y="731"/>
                </a:lnTo>
                <a:lnTo>
                  <a:pt x="3705" y="731"/>
                </a:lnTo>
                <a:lnTo>
                  <a:pt x="3706" y="731"/>
                </a:lnTo>
                <a:lnTo>
                  <a:pt x="3708" y="729"/>
                </a:lnTo>
                <a:lnTo>
                  <a:pt x="3706" y="731"/>
                </a:lnTo>
                <a:lnTo>
                  <a:pt x="3705" y="732"/>
                </a:lnTo>
                <a:lnTo>
                  <a:pt x="3706" y="732"/>
                </a:lnTo>
                <a:lnTo>
                  <a:pt x="3708" y="729"/>
                </a:lnTo>
                <a:close/>
                <a:moveTo>
                  <a:pt x="3711" y="766"/>
                </a:moveTo>
                <a:lnTo>
                  <a:pt x="3710" y="770"/>
                </a:lnTo>
                <a:lnTo>
                  <a:pt x="3706" y="769"/>
                </a:lnTo>
                <a:lnTo>
                  <a:pt x="3702" y="765"/>
                </a:lnTo>
                <a:lnTo>
                  <a:pt x="3699" y="761"/>
                </a:lnTo>
                <a:lnTo>
                  <a:pt x="3706" y="762"/>
                </a:lnTo>
                <a:lnTo>
                  <a:pt x="3711" y="766"/>
                </a:lnTo>
                <a:close/>
                <a:moveTo>
                  <a:pt x="3746" y="1004"/>
                </a:moveTo>
                <a:lnTo>
                  <a:pt x="3753" y="1006"/>
                </a:lnTo>
                <a:lnTo>
                  <a:pt x="3761" y="1008"/>
                </a:lnTo>
                <a:lnTo>
                  <a:pt x="3756" y="1012"/>
                </a:lnTo>
                <a:lnTo>
                  <a:pt x="3750" y="1011"/>
                </a:lnTo>
                <a:lnTo>
                  <a:pt x="3744" y="1007"/>
                </a:lnTo>
                <a:lnTo>
                  <a:pt x="3746" y="1004"/>
                </a:lnTo>
                <a:close/>
                <a:moveTo>
                  <a:pt x="3775" y="938"/>
                </a:moveTo>
                <a:lnTo>
                  <a:pt x="3813" y="937"/>
                </a:lnTo>
                <a:lnTo>
                  <a:pt x="3809" y="916"/>
                </a:lnTo>
                <a:lnTo>
                  <a:pt x="3797" y="887"/>
                </a:lnTo>
                <a:lnTo>
                  <a:pt x="3807" y="864"/>
                </a:lnTo>
                <a:lnTo>
                  <a:pt x="3834" y="908"/>
                </a:lnTo>
                <a:lnTo>
                  <a:pt x="3850" y="891"/>
                </a:lnTo>
                <a:lnTo>
                  <a:pt x="3863" y="880"/>
                </a:lnTo>
                <a:lnTo>
                  <a:pt x="3876" y="937"/>
                </a:lnTo>
                <a:lnTo>
                  <a:pt x="3839" y="960"/>
                </a:lnTo>
                <a:lnTo>
                  <a:pt x="3857" y="971"/>
                </a:lnTo>
                <a:lnTo>
                  <a:pt x="3895" y="981"/>
                </a:lnTo>
                <a:lnTo>
                  <a:pt x="3916" y="997"/>
                </a:lnTo>
                <a:lnTo>
                  <a:pt x="3885" y="1022"/>
                </a:lnTo>
                <a:lnTo>
                  <a:pt x="3826" y="1012"/>
                </a:lnTo>
                <a:lnTo>
                  <a:pt x="3778" y="980"/>
                </a:lnTo>
                <a:lnTo>
                  <a:pt x="3775" y="938"/>
                </a:lnTo>
                <a:close/>
                <a:moveTo>
                  <a:pt x="3770" y="751"/>
                </a:moveTo>
                <a:lnTo>
                  <a:pt x="3774" y="752"/>
                </a:lnTo>
                <a:lnTo>
                  <a:pt x="3775" y="760"/>
                </a:lnTo>
                <a:lnTo>
                  <a:pt x="3772" y="765"/>
                </a:lnTo>
                <a:lnTo>
                  <a:pt x="3769" y="756"/>
                </a:lnTo>
                <a:lnTo>
                  <a:pt x="3769" y="753"/>
                </a:lnTo>
                <a:lnTo>
                  <a:pt x="3770" y="751"/>
                </a:lnTo>
                <a:close/>
                <a:moveTo>
                  <a:pt x="3811" y="825"/>
                </a:moveTo>
                <a:lnTo>
                  <a:pt x="3814" y="834"/>
                </a:lnTo>
                <a:lnTo>
                  <a:pt x="3814" y="844"/>
                </a:lnTo>
                <a:lnTo>
                  <a:pt x="3813" y="854"/>
                </a:lnTo>
                <a:lnTo>
                  <a:pt x="3808" y="863"/>
                </a:lnTo>
                <a:lnTo>
                  <a:pt x="3808" y="853"/>
                </a:lnTo>
                <a:lnTo>
                  <a:pt x="3809" y="844"/>
                </a:lnTo>
                <a:lnTo>
                  <a:pt x="3809" y="834"/>
                </a:lnTo>
                <a:lnTo>
                  <a:pt x="3811" y="825"/>
                </a:lnTo>
                <a:close/>
                <a:moveTo>
                  <a:pt x="3878" y="944"/>
                </a:moveTo>
                <a:lnTo>
                  <a:pt x="3877" y="942"/>
                </a:lnTo>
                <a:lnTo>
                  <a:pt x="3878" y="944"/>
                </a:lnTo>
                <a:lnTo>
                  <a:pt x="3877" y="942"/>
                </a:lnTo>
                <a:lnTo>
                  <a:pt x="3878" y="944"/>
                </a:lnTo>
                <a:close/>
                <a:moveTo>
                  <a:pt x="3890" y="759"/>
                </a:moveTo>
                <a:lnTo>
                  <a:pt x="3888" y="762"/>
                </a:lnTo>
                <a:lnTo>
                  <a:pt x="3887" y="761"/>
                </a:lnTo>
                <a:lnTo>
                  <a:pt x="3887" y="760"/>
                </a:lnTo>
                <a:lnTo>
                  <a:pt x="3887" y="759"/>
                </a:lnTo>
                <a:lnTo>
                  <a:pt x="3890" y="759"/>
                </a:lnTo>
                <a:close/>
                <a:moveTo>
                  <a:pt x="3938" y="1056"/>
                </a:moveTo>
                <a:lnTo>
                  <a:pt x="3941" y="1053"/>
                </a:lnTo>
                <a:lnTo>
                  <a:pt x="3944" y="1054"/>
                </a:lnTo>
                <a:lnTo>
                  <a:pt x="3946" y="1058"/>
                </a:lnTo>
                <a:lnTo>
                  <a:pt x="3944" y="1063"/>
                </a:lnTo>
                <a:lnTo>
                  <a:pt x="3942" y="1065"/>
                </a:lnTo>
                <a:lnTo>
                  <a:pt x="3938" y="1064"/>
                </a:lnTo>
                <a:lnTo>
                  <a:pt x="3937" y="1062"/>
                </a:lnTo>
                <a:lnTo>
                  <a:pt x="3938" y="1056"/>
                </a:lnTo>
                <a:close/>
                <a:moveTo>
                  <a:pt x="3943" y="1002"/>
                </a:moveTo>
                <a:lnTo>
                  <a:pt x="3961" y="994"/>
                </a:lnTo>
                <a:lnTo>
                  <a:pt x="3984" y="988"/>
                </a:lnTo>
                <a:lnTo>
                  <a:pt x="4006" y="988"/>
                </a:lnTo>
                <a:lnTo>
                  <a:pt x="4018" y="1000"/>
                </a:lnTo>
                <a:lnTo>
                  <a:pt x="4007" y="1028"/>
                </a:lnTo>
                <a:lnTo>
                  <a:pt x="3984" y="1034"/>
                </a:lnTo>
                <a:lnTo>
                  <a:pt x="3960" y="1022"/>
                </a:lnTo>
                <a:lnTo>
                  <a:pt x="3943" y="1002"/>
                </a:lnTo>
                <a:close/>
                <a:moveTo>
                  <a:pt x="3981" y="897"/>
                </a:moveTo>
                <a:lnTo>
                  <a:pt x="3995" y="900"/>
                </a:lnTo>
                <a:lnTo>
                  <a:pt x="4002" y="915"/>
                </a:lnTo>
                <a:lnTo>
                  <a:pt x="4002" y="933"/>
                </a:lnTo>
                <a:lnTo>
                  <a:pt x="3999" y="948"/>
                </a:lnTo>
                <a:lnTo>
                  <a:pt x="3989" y="939"/>
                </a:lnTo>
                <a:lnTo>
                  <a:pt x="3981" y="925"/>
                </a:lnTo>
                <a:lnTo>
                  <a:pt x="3979" y="910"/>
                </a:lnTo>
                <a:lnTo>
                  <a:pt x="3981" y="897"/>
                </a:lnTo>
                <a:close/>
                <a:moveTo>
                  <a:pt x="4032" y="1087"/>
                </a:moveTo>
                <a:lnTo>
                  <a:pt x="4040" y="1096"/>
                </a:lnTo>
                <a:lnTo>
                  <a:pt x="4041" y="1111"/>
                </a:lnTo>
                <a:lnTo>
                  <a:pt x="4039" y="1126"/>
                </a:lnTo>
                <a:lnTo>
                  <a:pt x="4037" y="1138"/>
                </a:lnTo>
                <a:lnTo>
                  <a:pt x="4025" y="1142"/>
                </a:lnTo>
                <a:lnTo>
                  <a:pt x="4012" y="1121"/>
                </a:lnTo>
                <a:lnTo>
                  <a:pt x="4011" y="1096"/>
                </a:lnTo>
                <a:lnTo>
                  <a:pt x="4032" y="1087"/>
                </a:lnTo>
                <a:close/>
                <a:moveTo>
                  <a:pt x="4054" y="999"/>
                </a:moveTo>
                <a:lnTo>
                  <a:pt x="4073" y="997"/>
                </a:lnTo>
                <a:lnTo>
                  <a:pt x="4092" y="999"/>
                </a:lnTo>
                <a:lnTo>
                  <a:pt x="4110" y="995"/>
                </a:lnTo>
                <a:lnTo>
                  <a:pt x="4128" y="980"/>
                </a:lnTo>
                <a:lnTo>
                  <a:pt x="4144" y="971"/>
                </a:lnTo>
                <a:lnTo>
                  <a:pt x="4161" y="981"/>
                </a:lnTo>
                <a:lnTo>
                  <a:pt x="4175" y="985"/>
                </a:lnTo>
                <a:lnTo>
                  <a:pt x="4186" y="961"/>
                </a:lnTo>
                <a:lnTo>
                  <a:pt x="4202" y="994"/>
                </a:lnTo>
                <a:lnTo>
                  <a:pt x="4217" y="992"/>
                </a:lnTo>
                <a:lnTo>
                  <a:pt x="4228" y="967"/>
                </a:lnTo>
                <a:lnTo>
                  <a:pt x="4228" y="932"/>
                </a:lnTo>
                <a:lnTo>
                  <a:pt x="4226" y="901"/>
                </a:lnTo>
                <a:lnTo>
                  <a:pt x="4237" y="900"/>
                </a:lnTo>
                <a:lnTo>
                  <a:pt x="4258" y="908"/>
                </a:lnTo>
                <a:lnTo>
                  <a:pt x="4278" y="908"/>
                </a:lnTo>
                <a:lnTo>
                  <a:pt x="4264" y="944"/>
                </a:lnTo>
                <a:lnTo>
                  <a:pt x="4260" y="970"/>
                </a:lnTo>
                <a:lnTo>
                  <a:pt x="4268" y="992"/>
                </a:lnTo>
                <a:lnTo>
                  <a:pt x="4290" y="1017"/>
                </a:lnTo>
                <a:lnTo>
                  <a:pt x="4315" y="1030"/>
                </a:lnTo>
                <a:lnTo>
                  <a:pt x="4351" y="1007"/>
                </a:lnTo>
                <a:lnTo>
                  <a:pt x="4380" y="990"/>
                </a:lnTo>
                <a:lnTo>
                  <a:pt x="4381" y="1030"/>
                </a:lnTo>
                <a:lnTo>
                  <a:pt x="4390" y="1040"/>
                </a:lnTo>
                <a:lnTo>
                  <a:pt x="4402" y="1031"/>
                </a:lnTo>
                <a:lnTo>
                  <a:pt x="4414" y="1022"/>
                </a:lnTo>
                <a:lnTo>
                  <a:pt x="4423" y="1030"/>
                </a:lnTo>
                <a:lnTo>
                  <a:pt x="4353" y="1065"/>
                </a:lnTo>
                <a:lnTo>
                  <a:pt x="4218" y="1067"/>
                </a:lnTo>
                <a:lnTo>
                  <a:pt x="4093" y="1042"/>
                </a:lnTo>
                <a:lnTo>
                  <a:pt x="4054" y="999"/>
                </a:lnTo>
                <a:close/>
                <a:moveTo>
                  <a:pt x="4074" y="981"/>
                </a:moveTo>
                <a:lnTo>
                  <a:pt x="4076" y="976"/>
                </a:lnTo>
                <a:lnTo>
                  <a:pt x="4078" y="974"/>
                </a:lnTo>
                <a:lnTo>
                  <a:pt x="4082" y="972"/>
                </a:lnTo>
                <a:lnTo>
                  <a:pt x="4084" y="972"/>
                </a:lnTo>
                <a:lnTo>
                  <a:pt x="4102" y="985"/>
                </a:lnTo>
                <a:lnTo>
                  <a:pt x="4096" y="994"/>
                </a:lnTo>
                <a:lnTo>
                  <a:pt x="4082" y="994"/>
                </a:lnTo>
                <a:lnTo>
                  <a:pt x="4074" y="981"/>
                </a:lnTo>
                <a:close/>
                <a:moveTo>
                  <a:pt x="4115" y="900"/>
                </a:moveTo>
                <a:lnTo>
                  <a:pt x="4121" y="904"/>
                </a:lnTo>
                <a:lnTo>
                  <a:pt x="4118" y="910"/>
                </a:lnTo>
                <a:lnTo>
                  <a:pt x="4111" y="913"/>
                </a:lnTo>
                <a:lnTo>
                  <a:pt x="4107" y="906"/>
                </a:lnTo>
                <a:lnTo>
                  <a:pt x="4111" y="902"/>
                </a:lnTo>
                <a:lnTo>
                  <a:pt x="4115" y="900"/>
                </a:lnTo>
                <a:close/>
                <a:moveTo>
                  <a:pt x="4146" y="780"/>
                </a:moveTo>
                <a:lnTo>
                  <a:pt x="4144" y="785"/>
                </a:lnTo>
                <a:lnTo>
                  <a:pt x="4143" y="784"/>
                </a:lnTo>
                <a:lnTo>
                  <a:pt x="4142" y="783"/>
                </a:lnTo>
                <a:lnTo>
                  <a:pt x="4143" y="781"/>
                </a:lnTo>
                <a:lnTo>
                  <a:pt x="4146" y="780"/>
                </a:lnTo>
                <a:close/>
                <a:moveTo>
                  <a:pt x="4163" y="827"/>
                </a:moveTo>
                <a:lnTo>
                  <a:pt x="4166" y="831"/>
                </a:lnTo>
                <a:lnTo>
                  <a:pt x="4163" y="832"/>
                </a:lnTo>
                <a:lnTo>
                  <a:pt x="4161" y="834"/>
                </a:lnTo>
                <a:lnTo>
                  <a:pt x="4157" y="832"/>
                </a:lnTo>
                <a:lnTo>
                  <a:pt x="4157" y="830"/>
                </a:lnTo>
                <a:lnTo>
                  <a:pt x="4158" y="827"/>
                </a:lnTo>
                <a:lnTo>
                  <a:pt x="4160" y="827"/>
                </a:lnTo>
                <a:lnTo>
                  <a:pt x="4163" y="827"/>
                </a:lnTo>
                <a:close/>
                <a:moveTo>
                  <a:pt x="4221" y="778"/>
                </a:moveTo>
                <a:lnTo>
                  <a:pt x="4245" y="793"/>
                </a:lnTo>
                <a:lnTo>
                  <a:pt x="4245" y="812"/>
                </a:lnTo>
                <a:lnTo>
                  <a:pt x="4235" y="834"/>
                </a:lnTo>
                <a:lnTo>
                  <a:pt x="4226" y="855"/>
                </a:lnTo>
                <a:lnTo>
                  <a:pt x="4202" y="840"/>
                </a:lnTo>
                <a:lnTo>
                  <a:pt x="4189" y="807"/>
                </a:lnTo>
                <a:lnTo>
                  <a:pt x="4194" y="779"/>
                </a:lnTo>
                <a:lnTo>
                  <a:pt x="4221" y="778"/>
                </a:lnTo>
                <a:close/>
                <a:moveTo>
                  <a:pt x="4300" y="835"/>
                </a:moveTo>
                <a:lnTo>
                  <a:pt x="4304" y="829"/>
                </a:lnTo>
                <a:lnTo>
                  <a:pt x="4310" y="827"/>
                </a:lnTo>
                <a:lnTo>
                  <a:pt x="4315" y="830"/>
                </a:lnTo>
                <a:lnTo>
                  <a:pt x="4319" y="835"/>
                </a:lnTo>
                <a:lnTo>
                  <a:pt x="4315" y="843"/>
                </a:lnTo>
                <a:lnTo>
                  <a:pt x="4309" y="845"/>
                </a:lnTo>
                <a:lnTo>
                  <a:pt x="4302" y="843"/>
                </a:lnTo>
                <a:lnTo>
                  <a:pt x="4300" y="835"/>
                </a:lnTo>
                <a:close/>
                <a:moveTo>
                  <a:pt x="4310" y="792"/>
                </a:moveTo>
                <a:lnTo>
                  <a:pt x="4312" y="793"/>
                </a:lnTo>
                <a:lnTo>
                  <a:pt x="4312" y="794"/>
                </a:lnTo>
                <a:lnTo>
                  <a:pt x="4311" y="795"/>
                </a:lnTo>
                <a:lnTo>
                  <a:pt x="4310" y="797"/>
                </a:lnTo>
                <a:lnTo>
                  <a:pt x="4310" y="792"/>
                </a:lnTo>
                <a:close/>
                <a:moveTo>
                  <a:pt x="4379" y="890"/>
                </a:moveTo>
                <a:lnTo>
                  <a:pt x="4379" y="896"/>
                </a:lnTo>
                <a:lnTo>
                  <a:pt x="4376" y="895"/>
                </a:lnTo>
                <a:lnTo>
                  <a:pt x="4376" y="894"/>
                </a:lnTo>
                <a:lnTo>
                  <a:pt x="4376" y="892"/>
                </a:lnTo>
                <a:lnTo>
                  <a:pt x="4379" y="890"/>
                </a:lnTo>
                <a:close/>
                <a:moveTo>
                  <a:pt x="4459" y="1004"/>
                </a:moveTo>
                <a:lnTo>
                  <a:pt x="4540" y="1027"/>
                </a:lnTo>
                <a:lnTo>
                  <a:pt x="4607" y="951"/>
                </a:lnTo>
                <a:lnTo>
                  <a:pt x="4680" y="939"/>
                </a:lnTo>
                <a:lnTo>
                  <a:pt x="4784" y="1157"/>
                </a:lnTo>
                <a:lnTo>
                  <a:pt x="4729" y="1120"/>
                </a:lnTo>
                <a:lnTo>
                  <a:pt x="4679" y="1105"/>
                </a:lnTo>
                <a:lnTo>
                  <a:pt x="4631" y="1104"/>
                </a:lnTo>
                <a:lnTo>
                  <a:pt x="4584" y="1111"/>
                </a:lnTo>
                <a:lnTo>
                  <a:pt x="4561" y="1105"/>
                </a:lnTo>
                <a:lnTo>
                  <a:pt x="4552" y="1128"/>
                </a:lnTo>
                <a:lnTo>
                  <a:pt x="4543" y="1154"/>
                </a:lnTo>
                <a:lnTo>
                  <a:pt x="4520" y="1156"/>
                </a:lnTo>
                <a:lnTo>
                  <a:pt x="4505" y="1118"/>
                </a:lnTo>
                <a:lnTo>
                  <a:pt x="4477" y="1079"/>
                </a:lnTo>
                <a:lnTo>
                  <a:pt x="4455" y="1042"/>
                </a:lnTo>
                <a:lnTo>
                  <a:pt x="4459" y="1004"/>
                </a:lnTo>
                <a:close/>
                <a:moveTo>
                  <a:pt x="4506" y="962"/>
                </a:moveTo>
                <a:lnTo>
                  <a:pt x="4510" y="960"/>
                </a:lnTo>
                <a:lnTo>
                  <a:pt x="4512" y="961"/>
                </a:lnTo>
                <a:lnTo>
                  <a:pt x="4512" y="965"/>
                </a:lnTo>
                <a:lnTo>
                  <a:pt x="4510" y="967"/>
                </a:lnTo>
                <a:lnTo>
                  <a:pt x="4505" y="971"/>
                </a:lnTo>
                <a:lnTo>
                  <a:pt x="4502" y="971"/>
                </a:lnTo>
                <a:lnTo>
                  <a:pt x="4503" y="967"/>
                </a:lnTo>
                <a:lnTo>
                  <a:pt x="4506" y="962"/>
                </a:lnTo>
                <a:close/>
                <a:moveTo>
                  <a:pt x="4516" y="1012"/>
                </a:moveTo>
                <a:lnTo>
                  <a:pt x="4530" y="1000"/>
                </a:lnTo>
                <a:lnTo>
                  <a:pt x="4539" y="1012"/>
                </a:lnTo>
                <a:lnTo>
                  <a:pt x="4538" y="1027"/>
                </a:lnTo>
                <a:lnTo>
                  <a:pt x="4520" y="1022"/>
                </a:lnTo>
                <a:lnTo>
                  <a:pt x="4517" y="1018"/>
                </a:lnTo>
                <a:lnTo>
                  <a:pt x="4516" y="1012"/>
                </a:lnTo>
                <a:close/>
                <a:moveTo>
                  <a:pt x="4745" y="1031"/>
                </a:moveTo>
                <a:lnTo>
                  <a:pt x="4748" y="1030"/>
                </a:lnTo>
                <a:lnTo>
                  <a:pt x="4749" y="1034"/>
                </a:lnTo>
                <a:lnTo>
                  <a:pt x="4749" y="1040"/>
                </a:lnTo>
                <a:lnTo>
                  <a:pt x="4749" y="1045"/>
                </a:lnTo>
                <a:lnTo>
                  <a:pt x="4747" y="1039"/>
                </a:lnTo>
                <a:lnTo>
                  <a:pt x="4745" y="1031"/>
                </a:lnTo>
                <a:close/>
                <a:moveTo>
                  <a:pt x="4751" y="880"/>
                </a:moveTo>
                <a:lnTo>
                  <a:pt x="4789" y="860"/>
                </a:lnTo>
                <a:lnTo>
                  <a:pt x="4835" y="857"/>
                </a:lnTo>
                <a:lnTo>
                  <a:pt x="4880" y="868"/>
                </a:lnTo>
                <a:lnTo>
                  <a:pt x="4914" y="892"/>
                </a:lnTo>
                <a:lnTo>
                  <a:pt x="4874" y="897"/>
                </a:lnTo>
                <a:lnTo>
                  <a:pt x="4826" y="896"/>
                </a:lnTo>
                <a:lnTo>
                  <a:pt x="4780" y="890"/>
                </a:lnTo>
                <a:lnTo>
                  <a:pt x="4751" y="880"/>
                </a:lnTo>
                <a:close/>
                <a:moveTo>
                  <a:pt x="4883" y="961"/>
                </a:moveTo>
                <a:lnTo>
                  <a:pt x="4885" y="958"/>
                </a:lnTo>
                <a:lnTo>
                  <a:pt x="4888" y="958"/>
                </a:lnTo>
                <a:lnTo>
                  <a:pt x="4892" y="961"/>
                </a:lnTo>
                <a:lnTo>
                  <a:pt x="4894" y="964"/>
                </a:lnTo>
                <a:lnTo>
                  <a:pt x="4891" y="965"/>
                </a:lnTo>
                <a:lnTo>
                  <a:pt x="4888" y="966"/>
                </a:lnTo>
                <a:lnTo>
                  <a:pt x="4885" y="965"/>
                </a:lnTo>
                <a:lnTo>
                  <a:pt x="4883" y="961"/>
                </a:lnTo>
                <a:close/>
                <a:moveTo>
                  <a:pt x="4938" y="978"/>
                </a:moveTo>
                <a:lnTo>
                  <a:pt x="4970" y="1054"/>
                </a:lnTo>
                <a:lnTo>
                  <a:pt x="5005" y="1025"/>
                </a:lnTo>
                <a:lnTo>
                  <a:pt x="5036" y="948"/>
                </a:lnTo>
                <a:lnTo>
                  <a:pt x="5050" y="882"/>
                </a:lnTo>
                <a:lnTo>
                  <a:pt x="5084" y="939"/>
                </a:lnTo>
                <a:lnTo>
                  <a:pt x="5066" y="1002"/>
                </a:lnTo>
                <a:lnTo>
                  <a:pt x="5041" y="1068"/>
                </a:lnTo>
                <a:lnTo>
                  <a:pt x="5051" y="1133"/>
                </a:lnTo>
                <a:lnTo>
                  <a:pt x="5014" y="1146"/>
                </a:lnTo>
                <a:lnTo>
                  <a:pt x="4977" y="1177"/>
                </a:lnTo>
                <a:lnTo>
                  <a:pt x="4944" y="1200"/>
                </a:lnTo>
                <a:lnTo>
                  <a:pt x="4919" y="1190"/>
                </a:lnTo>
                <a:lnTo>
                  <a:pt x="4934" y="1161"/>
                </a:lnTo>
                <a:lnTo>
                  <a:pt x="4953" y="1147"/>
                </a:lnTo>
                <a:lnTo>
                  <a:pt x="4954" y="1126"/>
                </a:lnTo>
                <a:lnTo>
                  <a:pt x="4921" y="1081"/>
                </a:lnTo>
                <a:lnTo>
                  <a:pt x="4900" y="1107"/>
                </a:lnTo>
                <a:lnTo>
                  <a:pt x="4857" y="1121"/>
                </a:lnTo>
                <a:lnTo>
                  <a:pt x="4815" y="1118"/>
                </a:lnTo>
                <a:lnTo>
                  <a:pt x="4793" y="1088"/>
                </a:lnTo>
                <a:lnTo>
                  <a:pt x="4847" y="1060"/>
                </a:lnTo>
                <a:lnTo>
                  <a:pt x="4884" y="1008"/>
                </a:lnTo>
                <a:lnTo>
                  <a:pt x="4912" y="969"/>
                </a:lnTo>
                <a:lnTo>
                  <a:pt x="4938" y="978"/>
                </a:lnTo>
                <a:close/>
                <a:moveTo>
                  <a:pt x="4971" y="981"/>
                </a:moveTo>
                <a:lnTo>
                  <a:pt x="4984" y="983"/>
                </a:lnTo>
                <a:lnTo>
                  <a:pt x="4989" y="1002"/>
                </a:lnTo>
                <a:lnTo>
                  <a:pt x="4982" y="1022"/>
                </a:lnTo>
                <a:lnTo>
                  <a:pt x="4966" y="1022"/>
                </a:lnTo>
                <a:lnTo>
                  <a:pt x="4962" y="1012"/>
                </a:lnTo>
                <a:lnTo>
                  <a:pt x="4962" y="1002"/>
                </a:lnTo>
                <a:lnTo>
                  <a:pt x="4966" y="990"/>
                </a:lnTo>
                <a:lnTo>
                  <a:pt x="4971" y="981"/>
                </a:lnTo>
                <a:close/>
                <a:moveTo>
                  <a:pt x="4995" y="953"/>
                </a:moveTo>
                <a:lnTo>
                  <a:pt x="4994" y="951"/>
                </a:lnTo>
                <a:lnTo>
                  <a:pt x="4995" y="953"/>
                </a:lnTo>
                <a:lnTo>
                  <a:pt x="4994" y="951"/>
                </a:lnTo>
                <a:lnTo>
                  <a:pt x="4995" y="953"/>
                </a:lnTo>
                <a:close/>
                <a:moveTo>
                  <a:pt x="5097" y="1079"/>
                </a:moveTo>
                <a:lnTo>
                  <a:pt x="5115" y="1077"/>
                </a:lnTo>
                <a:lnTo>
                  <a:pt x="5138" y="1079"/>
                </a:lnTo>
                <a:lnTo>
                  <a:pt x="5154" y="1087"/>
                </a:lnTo>
                <a:lnTo>
                  <a:pt x="5149" y="1102"/>
                </a:lnTo>
                <a:lnTo>
                  <a:pt x="5134" y="1104"/>
                </a:lnTo>
                <a:lnTo>
                  <a:pt x="5112" y="1100"/>
                </a:lnTo>
                <a:lnTo>
                  <a:pt x="5097" y="1092"/>
                </a:lnTo>
                <a:lnTo>
                  <a:pt x="5097" y="1079"/>
                </a:lnTo>
                <a:close/>
                <a:moveTo>
                  <a:pt x="5119" y="1058"/>
                </a:moveTo>
                <a:lnTo>
                  <a:pt x="5116" y="1058"/>
                </a:lnTo>
                <a:lnTo>
                  <a:pt x="5115" y="1058"/>
                </a:lnTo>
                <a:lnTo>
                  <a:pt x="5116" y="1056"/>
                </a:lnTo>
                <a:lnTo>
                  <a:pt x="5117" y="1054"/>
                </a:lnTo>
                <a:lnTo>
                  <a:pt x="5119" y="1058"/>
                </a:lnTo>
                <a:close/>
                <a:moveTo>
                  <a:pt x="5131" y="1030"/>
                </a:moveTo>
                <a:lnTo>
                  <a:pt x="5127" y="1030"/>
                </a:lnTo>
                <a:lnTo>
                  <a:pt x="5125" y="1030"/>
                </a:lnTo>
                <a:lnTo>
                  <a:pt x="5124" y="1027"/>
                </a:lnTo>
                <a:lnTo>
                  <a:pt x="5124" y="1023"/>
                </a:lnTo>
                <a:lnTo>
                  <a:pt x="5126" y="1025"/>
                </a:lnTo>
                <a:lnTo>
                  <a:pt x="5130" y="1025"/>
                </a:lnTo>
                <a:lnTo>
                  <a:pt x="5131" y="1026"/>
                </a:lnTo>
                <a:lnTo>
                  <a:pt x="5131" y="1030"/>
                </a:lnTo>
                <a:close/>
                <a:moveTo>
                  <a:pt x="5101" y="897"/>
                </a:moveTo>
                <a:lnTo>
                  <a:pt x="5121" y="883"/>
                </a:lnTo>
                <a:lnTo>
                  <a:pt x="5134" y="909"/>
                </a:lnTo>
                <a:lnTo>
                  <a:pt x="5131" y="936"/>
                </a:lnTo>
                <a:lnTo>
                  <a:pt x="5108" y="927"/>
                </a:lnTo>
                <a:lnTo>
                  <a:pt x="5105" y="920"/>
                </a:lnTo>
                <a:lnTo>
                  <a:pt x="5102" y="914"/>
                </a:lnTo>
                <a:lnTo>
                  <a:pt x="5101" y="905"/>
                </a:lnTo>
                <a:lnTo>
                  <a:pt x="5101" y="897"/>
                </a:lnTo>
                <a:close/>
                <a:moveTo>
                  <a:pt x="5171" y="1059"/>
                </a:moveTo>
                <a:lnTo>
                  <a:pt x="5169" y="1060"/>
                </a:lnTo>
                <a:lnTo>
                  <a:pt x="5169" y="1062"/>
                </a:lnTo>
                <a:lnTo>
                  <a:pt x="5168" y="1060"/>
                </a:lnTo>
                <a:lnTo>
                  <a:pt x="5167" y="1059"/>
                </a:lnTo>
                <a:lnTo>
                  <a:pt x="5171" y="1059"/>
                </a:lnTo>
                <a:close/>
                <a:moveTo>
                  <a:pt x="5173" y="1132"/>
                </a:moveTo>
                <a:lnTo>
                  <a:pt x="5182" y="1132"/>
                </a:lnTo>
                <a:lnTo>
                  <a:pt x="5185" y="1140"/>
                </a:lnTo>
                <a:lnTo>
                  <a:pt x="5182" y="1152"/>
                </a:lnTo>
                <a:lnTo>
                  <a:pt x="5177" y="1161"/>
                </a:lnTo>
                <a:lnTo>
                  <a:pt x="5175" y="1153"/>
                </a:lnTo>
                <a:lnTo>
                  <a:pt x="5172" y="1147"/>
                </a:lnTo>
                <a:lnTo>
                  <a:pt x="5172" y="1139"/>
                </a:lnTo>
                <a:lnTo>
                  <a:pt x="5173" y="1132"/>
                </a:lnTo>
                <a:close/>
                <a:moveTo>
                  <a:pt x="5198" y="979"/>
                </a:moveTo>
                <a:lnTo>
                  <a:pt x="5209" y="980"/>
                </a:lnTo>
                <a:lnTo>
                  <a:pt x="5215" y="992"/>
                </a:lnTo>
                <a:lnTo>
                  <a:pt x="5217" y="1008"/>
                </a:lnTo>
                <a:lnTo>
                  <a:pt x="5212" y="1020"/>
                </a:lnTo>
                <a:lnTo>
                  <a:pt x="5200" y="1022"/>
                </a:lnTo>
                <a:lnTo>
                  <a:pt x="5190" y="1008"/>
                </a:lnTo>
                <a:lnTo>
                  <a:pt x="5189" y="990"/>
                </a:lnTo>
                <a:lnTo>
                  <a:pt x="5198" y="979"/>
                </a:lnTo>
                <a:close/>
                <a:moveTo>
                  <a:pt x="5228" y="1097"/>
                </a:moveTo>
                <a:lnTo>
                  <a:pt x="5223" y="1102"/>
                </a:lnTo>
                <a:lnTo>
                  <a:pt x="5218" y="1104"/>
                </a:lnTo>
                <a:lnTo>
                  <a:pt x="5215" y="1098"/>
                </a:lnTo>
                <a:lnTo>
                  <a:pt x="5217" y="1091"/>
                </a:lnTo>
                <a:lnTo>
                  <a:pt x="5220" y="1087"/>
                </a:lnTo>
                <a:lnTo>
                  <a:pt x="5224" y="1087"/>
                </a:lnTo>
                <a:lnTo>
                  <a:pt x="5227" y="1091"/>
                </a:lnTo>
                <a:lnTo>
                  <a:pt x="5228" y="1097"/>
                </a:lnTo>
                <a:close/>
                <a:moveTo>
                  <a:pt x="5273" y="929"/>
                </a:moveTo>
                <a:lnTo>
                  <a:pt x="5275" y="929"/>
                </a:lnTo>
                <a:lnTo>
                  <a:pt x="5278" y="932"/>
                </a:lnTo>
                <a:lnTo>
                  <a:pt x="5279" y="937"/>
                </a:lnTo>
                <a:lnTo>
                  <a:pt x="5279" y="941"/>
                </a:lnTo>
                <a:lnTo>
                  <a:pt x="5276" y="939"/>
                </a:lnTo>
                <a:lnTo>
                  <a:pt x="5274" y="938"/>
                </a:lnTo>
                <a:lnTo>
                  <a:pt x="5271" y="934"/>
                </a:lnTo>
                <a:lnTo>
                  <a:pt x="5273" y="929"/>
                </a:lnTo>
                <a:close/>
                <a:moveTo>
                  <a:pt x="5288" y="1104"/>
                </a:moveTo>
                <a:lnTo>
                  <a:pt x="5282" y="1106"/>
                </a:lnTo>
                <a:lnTo>
                  <a:pt x="5275" y="1105"/>
                </a:lnTo>
                <a:lnTo>
                  <a:pt x="5273" y="1100"/>
                </a:lnTo>
                <a:lnTo>
                  <a:pt x="5276" y="1093"/>
                </a:lnTo>
                <a:lnTo>
                  <a:pt x="5283" y="1098"/>
                </a:lnTo>
                <a:lnTo>
                  <a:pt x="5288" y="1104"/>
                </a:lnTo>
                <a:close/>
                <a:moveTo>
                  <a:pt x="5299" y="956"/>
                </a:moveTo>
                <a:lnTo>
                  <a:pt x="5292" y="958"/>
                </a:lnTo>
                <a:lnTo>
                  <a:pt x="5287" y="957"/>
                </a:lnTo>
                <a:lnTo>
                  <a:pt x="5284" y="952"/>
                </a:lnTo>
                <a:lnTo>
                  <a:pt x="5280" y="942"/>
                </a:lnTo>
                <a:lnTo>
                  <a:pt x="5290" y="950"/>
                </a:lnTo>
                <a:lnTo>
                  <a:pt x="5299" y="956"/>
                </a:lnTo>
                <a:close/>
                <a:moveTo>
                  <a:pt x="5321" y="1079"/>
                </a:moveTo>
                <a:lnTo>
                  <a:pt x="5310" y="1088"/>
                </a:lnTo>
                <a:lnTo>
                  <a:pt x="5297" y="1097"/>
                </a:lnTo>
                <a:lnTo>
                  <a:pt x="5290" y="1100"/>
                </a:lnTo>
                <a:lnTo>
                  <a:pt x="5296" y="1086"/>
                </a:lnTo>
                <a:lnTo>
                  <a:pt x="5299" y="1078"/>
                </a:lnTo>
                <a:lnTo>
                  <a:pt x="5304" y="1076"/>
                </a:lnTo>
                <a:lnTo>
                  <a:pt x="5312" y="1076"/>
                </a:lnTo>
                <a:lnTo>
                  <a:pt x="5321" y="1079"/>
                </a:lnTo>
                <a:close/>
                <a:moveTo>
                  <a:pt x="5312" y="1045"/>
                </a:moveTo>
                <a:lnTo>
                  <a:pt x="5310" y="1046"/>
                </a:lnTo>
                <a:lnTo>
                  <a:pt x="5308" y="1048"/>
                </a:lnTo>
                <a:lnTo>
                  <a:pt x="5306" y="1045"/>
                </a:lnTo>
                <a:lnTo>
                  <a:pt x="5307" y="1042"/>
                </a:lnTo>
                <a:lnTo>
                  <a:pt x="5310" y="1042"/>
                </a:lnTo>
                <a:lnTo>
                  <a:pt x="5312" y="1045"/>
                </a:lnTo>
                <a:close/>
                <a:moveTo>
                  <a:pt x="5301" y="993"/>
                </a:moveTo>
                <a:lnTo>
                  <a:pt x="5304" y="988"/>
                </a:lnTo>
                <a:lnTo>
                  <a:pt x="5311" y="988"/>
                </a:lnTo>
                <a:lnTo>
                  <a:pt x="5316" y="992"/>
                </a:lnTo>
                <a:lnTo>
                  <a:pt x="5317" y="999"/>
                </a:lnTo>
                <a:lnTo>
                  <a:pt x="5313" y="1004"/>
                </a:lnTo>
                <a:lnTo>
                  <a:pt x="5307" y="1004"/>
                </a:lnTo>
                <a:lnTo>
                  <a:pt x="5302" y="1000"/>
                </a:lnTo>
                <a:lnTo>
                  <a:pt x="5301" y="993"/>
                </a:lnTo>
                <a:close/>
                <a:moveTo>
                  <a:pt x="5321" y="1166"/>
                </a:moveTo>
                <a:lnTo>
                  <a:pt x="5317" y="1168"/>
                </a:lnTo>
                <a:lnTo>
                  <a:pt x="5312" y="1166"/>
                </a:lnTo>
                <a:lnTo>
                  <a:pt x="5310" y="1160"/>
                </a:lnTo>
                <a:lnTo>
                  <a:pt x="5310" y="1154"/>
                </a:lnTo>
                <a:lnTo>
                  <a:pt x="5313" y="1152"/>
                </a:lnTo>
                <a:lnTo>
                  <a:pt x="5318" y="1156"/>
                </a:lnTo>
                <a:lnTo>
                  <a:pt x="5321" y="1161"/>
                </a:lnTo>
                <a:lnTo>
                  <a:pt x="5321" y="1166"/>
                </a:lnTo>
                <a:close/>
                <a:moveTo>
                  <a:pt x="5329" y="1083"/>
                </a:moveTo>
                <a:lnTo>
                  <a:pt x="5326" y="1083"/>
                </a:lnTo>
                <a:lnTo>
                  <a:pt x="5326" y="1082"/>
                </a:lnTo>
                <a:lnTo>
                  <a:pt x="5327" y="1083"/>
                </a:lnTo>
                <a:lnTo>
                  <a:pt x="5329" y="1083"/>
                </a:lnTo>
                <a:lnTo>
                  <a:pt x="5326" y="1083"/>
                </a:lnTo>
                <a:lnTo>
                  <a:pt x="5326" y="1083"/>
                </a:lnTo>
                <a:lnTo>
                  <a:pt x="5326" y="1083"/>
                </a:lnTo>
                <a:lnTo>
                  <a:pt x="5329" y="1083"/>
                </a:lnTo>
                <a:close/>
                <a:moveTo>
                  <a:pt x="5358" y="1042"/>
                </a:moveTo>
                <a:lnTo>
                  <a:pt x="5364" y="1042"/>
                </a:lnTo>
                <a:lnTo>
                  <a:pt x="5364" y="1045"/>
                </a:lnTo>
                <a:lnTo>
                  <a:pt x="5361" y="1049"/>
                </a:lnTo>
                <a:lnTo>
                  <a:pt x="5355" y="1049"/>
                </a:lnTo>
                <a:lnTo>
                  <a:pt x="5354" y="1048"/>
                </a:lnTo>
                <a:lnTo>
                  <a:pt x="5354" y="1045"/>
                </a:lnTo>
                <a:lnTo>
                  <a:pt x="5355" y="1044"/>
                </a:lnTo>
                <a:lnTo>
                  <a:pt x="5358" y="1042"/>
                </a:lnTo>
                <a:close/>
                <a:moveTo>
                  <a:pt x="5383" y="1027"/>
                </a:moveTo>
                <a:lnTo>
                  <a:pt x="5387" y="1027"/>
                </a:lnTo>
                <a:lnTo>
                  <a:pt x="5389" y="1031"/>
                </a:lnTo>
                <a:lnTo>
                  <a:pt x="5389" y="1035"/>
                </a:lnTo>
                <a:lnTo>
                  <a:pt x="5386" y="1037"/>
                </a:lnTo>
                <a:lnTo>
                  <a:pt x="5376" y="1041"/>
                </a:lnTo>
                <a:lnTo>
                  <a:pt x="5372" y="1040"/>
                </a:lnTo>
                <a:lnTo>
                  <a:pt x="5375" y="1035"/>
                </a:lnTo>
                <a:lnTo>
                  <a:pt x="5383" y="1027"/>
                </a:lnTo>
                <a:close/>
                <a:moveTo>
                  <a:pt x="5401" y="1067"/>
                </a:moveTo>
                <a:lnTo>
                  <a:pt x="5415" y="1063"/>
                </a:lnTo>
                <a:lnTo>
                  <a:pt x="5428" y="1051"/>
                </a:lnTo>
                <a:lnTo>
                  <a:pt x="5439" y="1046"/>
                </a:lnTo>
                <a:lnTo>
                  <a:pt x="5450" y="1056"/>
                </a:lnTo>
                <a:lnTo>
                  <a:pt x="5441" y="1074"/>
                </a:lnTo>
                <a:lnTo>
                  <a:pt x="5419" y="1087"/>
                </a:lnTo>
                <a:lnTo>
                  <a:pt x="5401" y="1086"/>
                </a:lnTo>
                <a:lnTo>
                  <a:pt x="5401" y="1067"/>
                </a:lnTo>
                <a:close/>
                <a:moveTo>
                  <a:pt x="5443" y="1003"/>
                </a:moveTo>
                <a:lnTo>
                  <a:pt x="5443" y="1007"/>
                </a:lnTo>
                <a:lnTo>
                  <a:pt x="5442" y="1009"/>
                </a:lnTo>
                <a:lnTo>
                  <a:pt x="5439" y="1011"/>
                </a:lnTo>
                <a:lnTo>
                  <a:pt x="5437" y="1013"/>
                </a:lnTo>
                <a:lnTo>
                  <a:pt x="5436" y="1009"/>
                </a:lnTo>
                <a:lnTo>
                  <a:pt x="5437" y="1007"/>
                </a:lnTo>
                <a:lnTo>
                  <a:pt x="5439" y="1004"/>
                </a:lnTo>
                <a:lnTo>
                  <a:pt x="5443" y="1003"/>
                </a:lnTo>
                <a:close/>
                <a:moveTo>
                  <a:pt x="5465" y="1090"/>
                </a:moveTo>
                <a:lnTo>
                  <a:pt x="5465" y="1096"/>
                </a:lnTo>
                <a:lnTo>
                  <a:pt x="5461" y="1098"/>
                </a:lnTo>
                <a:lnTo>
                  <a:pt x="5455" y="1098"/>
                </a:lnTo>
                <a:lnTo>
                  <a:pt x="5451" y="1095"/>
                </a:lnTo>
                <a:lnTo>
                  <a:pt x="5448" y="1077"/>
                </a:lnTo>
                <a:lnTo>
                  <a:pt x="5451" y="1069"/>
                </a:lnTo>
                <a:lnTo>
                  <a:pt x="5457" y="1074"/>
                </a:lnTo>
                <a:lnTo>
                  <a:pt x="5465" y="1090"/>
                </a:lnTo>
                <a:close/>
                <a:moveTo>
                  <a:pt x="5453" y="958"/>
                </a:moveTo>
                <a:lnTo>
                  <a:pt x="5455" y="961"/>
                </a:lnTo>
                <a:lnTo>
                  <a:pt x="5455" y="962"/>
                </a:lnTo>
                <a:lnTo>
                  <a:pt x="5453" y="962"/>
                </a:lnTo>
                <a:lnTo>
                  <a:pt x="5451" y="962"/>
                </a:lnTo>
                <a:lnTo>
                  <a:pt x="5453" y="958"/>
                </a:lnTo>
                <a:close/>
                <a:moveTo>
                  <a:pt x="5467" y="1132"/>
                </a:moveTo>
                <a:lnTo>
                  <a:pt x="5465" y="1134"/>
                </a:lnTo>
                <a:lnTo>
                  <a:pt x="5461" y="1134"/>
                </a:lnTo>
                <a:lnTo>
                  <a:pt x="5459" y="1132"/>
                </a:lnTo>
                <a:lnTo>
                  <a:pt x="5459" y="1126"/>
                </a:lnTo>
                <a:lnTo>
                  <a:pt x="5462" y="1124"/>
                </a:lnTo>
                <a:lnTo>
                  <a:pt x="5465" y="1124"/>
                </a:lnTo>
                <a:lnTo>
                  <a:pt x="5467" y="1126"/>
                </a:lnTo>
                <a:lnTo>
                  <a:pt x="5467" y="1132"/>
                </a:lnTo>
                <a:close/>
                <a:moveTo>
                  <a:pt x="5478" y="1168"/>
                </a:moveTo>
                <a:lnTo>
                  <a:pt x="5503" y="1182"/>
                </a:lnTo>
                <a:lnTo>
                  <a:pt x="5513" y="1216"/>
                </a:lnTo>
                <a:lnTo>
                  <a:pt x="5516" y="1252"/>
                </a:lnTo>
                <a:lnTo>
                  <a:pt x="5512" y="1280"/>
                </a:lnTo>
                <a:lnTo>
                  <a:pt x="5496" y="1258"/>
                </a:lnTo>
                <a:lnTo>
                  <a:pt x="5485" y="1228"/>
                </a:lnTo>
                <a:lnTo>
                  <a:pt x="5481" y="1196"/>
                </a:lnTo>
                <a:lnTo>
                  <a:pt x="5478" y="1168"/>
                </a:lnTo>
                <a:close/>
                <a:moveTo>
                  <a:pt x="5494" y="1067"/>
                </a:moveTo>
                <a:lnTo>
                  <a:pt x="5502" y="1067"/>
                </a:lnTo>
                <a:lnTo>
                  <a:pt x="5501" y="1069"/>
                </a:lnTo>
                <a:lnTo>
                  <a:pt x="5497" y="1073"/>
                </a:lnTo>
                <a:lnTo>
                  <a:pt x="5490" y="1073"/>
                </a:lnTo>
                <a:lnTo>
                  <a:pt x="5489" y="1072"/>
                </a:lnTo>
                <a:lnTo>
                  <a:pt x="5489" y="1069"/>
                </a:lnTo>
                <a:lnTo>
                  <a:pt x="5490" y="1068"/>
                </a:lnTo>
                <a:lnTo>
                  <a:pt x="5494" y="1067"/>
                </a:lnTo>
                <a:close/>
                <a:moveTo>
                  <a:pt x="5510" y="1139"/>
                </a:moveTo>
                <a:lnTo>
                  <a:pt x="5507" y="1139"/>
                </a:lnTo>
                <a:lnTo>
                  <a:pt x="5506" y="1139"/>
                </a:lnTo>
                <a:lnTo>
                  <a:pt x="5504" y="1138"/>
                </a:lnTo>
                <a:lnTo>
                  <a:pt x="5504" y="1135"/>
                </a:lnTo>
                <a:lnTo>
                  <a:pt x="5507" y="1133"/>
                </a:lnTo>
                <a:lnTo>
                  <a:pt x="5508" y="1133"/>
                </a:lnTo>
                <a:lnTo>
                  <a:pt x="5510" y="1135"/>
                </a:lnTo>
                <a:lnTo>
                  <a:pt x="5510" y="1139"/>
                </a:lnTo>
                <a:close/>
                <a:moveTo>
                  <a:pt x="5562" y="1073"/>
                </a:moveTo>
                <a:lnTo>
                  <a:pt x="5555" y="1096"/>
                </a:lnTo>
                <a:lnTo>
                  <a:pt x="5555" y="1128"/>
                </a:lnTo>
                <a:lnTo>
                  <a:pt x="5554" y="1160"/>
                </a:lnTo>
                <a:lnTo>
                  <a:pt x="5552" y="1190"/>
                </a:lnTo>
                <a:lnTo>
                  <a:pt x="5535" y="1168"/>
                </a:lnTo>
                <a:lnTo>
                  <a:pt x="5530" y="1125"/>
                </a:lnTo>
                <a:lnTo>
                  <a:pt x="5538" y="1086"/>
                </a:lnTo>
                <a:lnTo>
                  <a:pt x="5562" y="1073"/>
                </a:lnTo>
                <a:close/>
                <a:moveTo>
                  <a:pt x="5590" y="1194"/>
                </a:moveTo>
                <a:lnTo>
                  <a:pt x="5602" y="1177"/>
                </a:lnTo>
                <a:lnTo>
                  <a:pt x="5616" y="1177"/>
                </a:lnTo>
                <a:lnTo>
                  <a:pt x="5628" y="1190"/>
                </a:lnTo>
                <a:lnTo>
                  <a:pt x="5630" y="1210"/>
                </a:lnTo>
                <a:lnTo>
                  <a:pt x="5609" y="1210"/>
                </a:lnTo>
                <a:lnTo>
                  <a:pt x="5596" y="1223"/>
                </a:lnTo>
                <a:lnTo>
                  <a:pt x="5590" y="1227"/>
                </a:lnTo>
                <a:lnTo>
                  <a:pt x="5590" y="1194"/>
                </a:lnTo>
                <a:close/>
                <a:moveTo>
                  <a:pt x="5601" y="1143"/>
                </a:moveTo>
                <a:lnTo>
                  <a:pt x="5597" y="1140"/>
                </a:lnTo>
                <a:lnTo>
                  <a:pt x="5596" y="1137"/>
                </a:lnTo>
                <a:lnTo>
                  <a:pt x="5596" y="1133"/>
                </a:lnTo>
                <a:lnTo>
                  <a:pt x="5595" y="1129"/>
                </a:lnTo>
                <a:lnTo>
                  <a:pt x="5597" y="1132"/>
                </a:lnTo>
                <a:lnTo>
                  <a:pt x="5600" y="1134"/>
                </a:lnTo>
                <a:lnTo>
                  <a:pt x="5601" y="1138"/>
                </a:lnTo>
                <a:lnTo>
                  <a:pt x="5601" y="1143"/>
                </a:lnTo>
                <a:close/>
                <a:moveTo>
                  <a:pt x="5627" y="1074"/>
                </a:moveTo>
                <a:lnTo>
                  <a:pt x="5630" y="1073"/>
                </a:lnTo>
                <a:lnTo>
                  <a:pt x="5634" y="1074"/>
                </a:lnTo>
                <a:lnTo>
                  <a:pt x="5638" y="1076"/>
                </a:lnTo>
                <a:lnTo>
                  <a:pt x="5641" y="1078"/>
                </a:lnTo>
                <a:lnTo>
                  <a:pt x="5636" y="1082"/>
                </a:lnTo>
                <a:lnTo>
                  <a:pt x="5629" y="1084"/>
                </a:lnTo>
                <a:lnTo>
                  <a:pt x="5625" y="1082"/>
                </a:lnTo>
                <a:lnTo>
                  <a:pt x="5627" y="1074"/>
                </a:lnTo>
                <a:close/>
                <a:moveTo>
                  <a:pt x="5670" y="1270"/>
                </a:moveTo>
                <a:lnTo>
                  <a:pt x="5673" y="1272"/>
                </a:lnTo>
                <a:lnTo>
                  <a:pt x="5675" y="1274"/>
                </a:lnTo>
                <a:lnTo>
                  <a:pt x="5675" y="1277"/>
                </a:lnTo>
                <a:lnTo>
                  <a:pt x="5674" y="1279"/>
                </a:lnTo>
                <a:lnTo>
                  <a:pt x="5670" y="1282"/>
                </a:lnTo>
                <a:lnTo>
                  <a:pt x="5667" y="1279"/>
                </a:lnTo>
                <a:lnTo>
                  <a:pt x="5667" y="1274"/>
                </a:lnTo>
                <a:lnTo>
                  <a:pt x="5670" y="1270"/>
                </a:lnTo>
                <a:close/>
                <a:moveTo>
                  <a:pt x="5685" y="1189"/>
                </a:moveTo>
                <a:lnTo>
                  <a:pt x="5684" y="1194"/>
                </a:lnTo>
                <a:lnTo>
                  <a:pt x="5683" y="1191"/>
                </a:lnTo>
                <a:lnTo>
                  <a:pt x="5683" y="1190"/>
                </a:lnTo>
                <a:lnTo>
                  <a:pt x="5683" y="1189"/>
                </a:lnTo>
                <a:lnTo>
                  <a:pt x="5685" y="1189"/>
                </a:lnTo>
                <a:close/>
                <a:moveTo>
                  <a:pt x="5685" y="1152"/>
                </a:moveTo>
                <a:lnTo>
                  <a:pt x="5689" y="1152"/>
                </a:lnTo>
                <a:lnTo>
                  <a:pt x="5692" y="1153"/>
                </a:lnTo>
                <a:lnTo>
                  <a:pt x="5693" y="1156"/>
                </a:lnTo>
                <a:lnTo>
                  <a:pt x="5692" y="1158"/>
                </a:lnTo>
                <a:lnTo>
                  <a:pt x="5688" y="1157"/>
                </a:lnTo>
                <a:lnTo>
                  <a:pt x="5685" y="1156"/>
                </a:lnTo>
                <a:lnTo>
                  <a:pt x="5684" y="1154"/>
                </a:lnTo>
                <a:lnTo>
                  <a:pt x="5685" y="1152"/>
                </a:lnTo>
                <a:close/>
                <a:moveTo>
                  <a:pt x="5715" y="1086"/>
                </a:moveTo>
                <a:lnTo>
                  <a:pt x="5718" y="1091"/>
                </a:lnTo>
                <a:lnTo>
                  <a:pt x="5720" y="1098"/>
                </a:lnTo>
                <a:lnTo>
                  <a:pt x="5718" y="1106"/>
                </a:lnTo>
                <a:lnTo>
                  <a:pt x="5716" y="1111"/>
                </a:lnTo>
                <a:lnTo>
                  <a:pt x="5712" y="1106"/>
                </a:lnTo>
                <a:lnTo>
                  <a:pt x="5709" y="1098"/>
                </a:lnTo>
                <a:lnTo>
                  <a:pt x="5711" y="1092"/>
                </a:lnTo>
                <a:lnTo>
                  <a:pt x="5715" y="1086"/>
                </a:lnTo>
                <a:close/>
                <a:moveTo>
                  <a:pt x="5716" y="1254"/>
                </a:moveTo>
                <a:lnTo>
                  <a:pt x="5713" y="1252"/>
                </a:lnTo>
                <a:lnTo>
                  <a:pt x="5712" y="1250"/>
                </a:lnTo>
                <a:lnTo>
                  <a:pt x="5712" y="1247"/>
                </a:lnTo>
                <a:lnTo>
                  <a:pt x="5713" y="1245"/>
                </a:lnTo>
                <a:lnTo>
                  <a:pt x="5717" y="1246"/>
                </a:lnTo>
                <a:lnTo>
                  <a:pt x="5720" y="1249"/>
                </a:lnTo>
                <a:lnTo>
                  <a:pt x="5720" y="1252"/>
                </a:lnTo>
                <a:lnTo>
                  <a:pt x="5716" y="1254"/>
                </a:lnTo>
                <a:close/>
                <a:moveTo>
                  <a:pt x="5725" y="1296"/>
                </a:moveTo>
                <a:lnTo>
                  <a:pt x="5723" y="1298"/>
                </a:lnTo>
                <a:lnTo>
                  <a:pt x="5722" y="1300"/>
                </a:lnTo>
                <a:lnTo>
                  <a:pt x="5721" y="1298"/>
                </a:lnTo>
                <a:lnTo>
                  <a:pt x="5720" y="1297"/>
                </a:lnTo>
                <a:lnTo>
                  <a:pt x="5720" y="1294"/>
                </a:lnTo>
                <a:lnTo>
                  <a:pt x="5721" y="1293"/>
                </a:lnTo>
                <a:lnTo>
                  <a:pt x="5722" y="1293"/>
                </a:lnTo>
                <a:lnTo>
                  <a:pt x="5725" y="1296"/>
                </a:lnTo>
                <a:close/>
                <a:moveTo>
                  <a:pt x="5732" y="1040"/>
                </a:moveTo>
                <a:lnTo>
                  <a:pt x="5732" y="1037"/>
                </a:lnTo>
                <a:lnTo>
                  <a:pt x="5732" y="1037"/>
                </a:lnTo>
                <a:lnTo>
                  <a:pt x="5732" y="1039"/>
                </a:lnTo>
                <a:lnTo>
                  <a:pt x="5732" y="1040"/>
                </a:lnTo>
                <a:lnTo>
                  <a:pt x="5732" y="1039"/>
                </a:lnTo>
                <a:lnTo>
                  <a:pt x="5731" y="1037"/>
                </a:lnTo>
                <a:lnTo>
                  <a:pt x="5731" y="1037"/>
                </a:lnTo>
                <a:lnTo>
                  <a:pt x="5732" y="1040"/>
                </a:lnTo>
                <a:close/>
                <a:moveTo>
                  <a:pt x="5743" y="1199"/>
                </a:moveTo>
                <a:lnTo>
                  <a:pt x="5750" y="1196"/>
                </a:lnTo>
                <a:lnTo>
                  <a:pt x="5754" y="1199"/>
                </a:lnTo>
                <a:lnTo>
                  <a:pt x="5754" y="1204"/>
                </a:lnTo>
                <a:lnTo>
                  <a:pt x="5749" y="1209"/>
                </a:lnTo>
                <a:lnTo>
                  <a:pt x="5745" y="1208"/>
                </a:lnTo>
                <a:lnTo>
                  <a:pt x="5741" y="1205"/>
                </a:lnTo>
                <a:lnTo>
                  <a:pt x="5740" y="1202"/>
                </a:lnTo>
                <a:lnTo>
                  <a:pt x="5743" y="1199"/>
                </a:lnTo>
                <a:close/>
                <a:moveTo>
                  <a:pt x="5767" y="1102"/>
                </a:moveTo>
                <a:lnTo>
                  <a:pt x="5772" y="1106"/>
                </a:lnTo>
                <a:lnTo>
                  <a:pt x="5774" y="1111"/>
                </a:lnTo>
                <a:lnTo>
                  <a:pt x="5774" y="1116"/>
                </a:lnTo>
                <a:lnTo>
                  <a:pt x="5769" y="1120"/>
                </a:lnTo>
                <a:lnTo>
                  <a:pt x="5765" y="1118"/>
                </a:lnTo>
                <a:lnTo>
                  <a:pt x="5763" y="1111"/>
                </a:lnTo>
                <a:lnTo>
                  <a:pt x="5763" y="1106"/>
                </a:lnTo>
                <a:lnTo>
                  <a:pt x="5767" y="1102"/>
                </a:lnTo>
                <a:close/>
                <a:moveTo>
                  <a:pt x="5768" y="952"/>
                </a:moveTo>
                <a:lnTo>
                  <a:pt x="5767" y="951"/>
                </a:lnTo>
                <a:lnTo>
                  <a:pt x="5765" y="948"/>
                </a:lnTo>
                <a:lnTo>
                  <a:pt x="5767" y="947"/>
                </a:lnTo>
                <a:lnTo>
                  <a:pt x="5767" y="947"/>
                </a:lnTo>
                <a:lnTo>
                  <a:pt x="5768" y="950"/>
                </a:lnTo>
                <a:lnTo>
                  <a:pt x="5768" y="952"/>
                </a:lnTo>
                <a:close/>
                <a:moveTo>
                  <a:pt x="5792" y="942"/>
                </a:moveTo>
                <a:lnTo>
                  <a:pt x="5796" y="974"/>
                </a:lnTo>
                <a:lnTo>
                  <a:pt x="5800" y="1012"/>
                </a:lnTo>
                <a:lnTo>
                  <a:pt x="5802" y="1050"/>
                </a:lnTo>
                <a:lnTo>
                  <a:pt x="5802" y="1084"/>
                </a:lnTo>
                <a:lnTo>
                  <a:pt x="5781" y="1055"/>
                </a:lnTo>
                <a:lnTo>
                  <a:pt x="5769" y="1011"/>
                </a:lnTo>
                <a:lnTo>
                  <a:pt x="5773" y="967"/>
                </a:lnTo>
                <a:lnTo>
                  <a:pt x="5792" y="942"/>
                </a:lnTo>
                <a:close/>
                <a:moveTo>
                  <a:pt x="5810" y="1391"/>
                </a:moveTo>
                <a:lnTo>
                  <a:pt x="5808" y="1396"/>
                </a:lnTo>
                <a:lnTo>
                  <a:pt x="5804" y="1399"/>
                </a:lnTo>
                <a:lnTo>
                  <a:pt x="5800" y="1396"/>
                </a:lnTo>
                <a:lnTo>
                  <a:pt x="5797" y="1391"/>
                </a:lnTo>
                <a:lnTo>
                  <a:pt x="5801" y="1386"/>
                </a:lnTo>
                <a:lnTo>
                  <a:pt x="5806" y="1384"/>
                </a:lnTo>
                <a:lnTo>
                  <a:pt x="5810" y="1385"/>
                </a:lnTo>
                <a:lnTo>
                  <a:pt x="5810" y="1391"/>
                </a:lnTo>
                <a:close/>
                <a:moveTo>
                  <a:pt x="5830" y="946"/>
                </a:moveTo>
                <a:lnTo>
                  <a:pt x="5833" y="948"/>
                </a:lnTo>
                <a:lnTo>
                  <a:pt x="5836" y="951"/>
                </a:lnTo>
                <a:lnTo>
                  <a:pt x="5837" y="953"/>
                </a:lnTo>
                <a:lnTo>
                  <a:pt x="5834" y="957"/>
                </a:lnTo>
                <a:lnTo>
                  <a:pt x="5832" y="955"/>
                </a:lnTo>
                <a:lnTo>
                  <a:pt x="5829" y="952"/>
                </a:lnTo>
                <a:lnTo>
                  <a:pt x="5829" y="950"/>
                </a:lnTo>
                <a:lnTo>
                  <a:pt x="5830" y="946"/>
                </a:lnTo>
                <a:close/>
                <a:moveTo>
                  <a:pt x="5842" y="1165"/>
                </a:moveTo>
                <a:lnTo>
                  <a:pt x="5843" y="1166"/>
                </a:lnTo>
                <a:lnTo>
                  <a:pt x="5844" y="1168"/>
                </a:lnTo>
                <a:lnTo>
                  <a:pt x="5843" y="1170"/>
                </a:lnTo>
                <a:lnTo>
                  <a:pt x="5841" y="1171"/>
                </a:lnTo>
                <a:lnTo>
                  <a:pt x="5839" y="1170"/>
                </a:lnTo>
                <a:lnTo>
                  <a:pt x="5839" y="1167"/>
                </a:lnTo>
                <a:lnTo>
                  <a:pt x="5839" y="1166"/>
                </a:lnTo>
                <a:lnTo>
                  <a:pt x="5842" y="1165"/>
                </a:lnTo>
                <a:close/>
                <a:moveTo>
                  <a:pt x="5850" y="992"/>
                </a:moveTo>
                <a:lnTo>
                  <a:pt x="5852" y="989"/>
                </a:lnTo>
                <a:lnTo>
                  <a:pt x="5856" y="990"/>
                </a:lnTo>
                <a:lnTo>
                  <a:pt x="5857" y="993"/>
                </a:lnTo>
                <a:lnTo>
                  <a:pt x="5856" y="998"/>
                </a:lnTo>
                <a:lnTo>
                  <a:pt x="5853" y="1000"/>
                </a:lnTo>
                <a:lnTo>
                  <a:pt x="5851" y="999"/>
                </a:lnTo>
                <a:lnTo>
                  <a:pt x="5848" y="997"/>
                </a:lnTo>
                <a:lnTo>
                  <a:pt x="5850" y="992"/>
                </a:lnTo>
                <a:close/>
                <a:moveTo>
                  <a:pt x="5906" y="1056"/>
                </a:moveTo>
                <a:lnTo>
                  <a:pt x="5907" y="1070"/>
                </a:lnTo>
                <a:lnTo>
                  <a:pt x="5894" y="1073"/>
                </a:lnTo>
                <a:lnTo>
                  <a:pt x="5880" y="1076"/>
                </a:lnTo>
                <a:lnTo>
                  <a:pt x="5872" y="1091"/>
                </a:lnTo>
                <a:lnTo>
                  <a:pt x="5851" y="1091"/>
                </a:lnTo>
                <a:lnTo>
                  <a:pt x="5855" y="1065"/>
                </a:lnTo>
                <a:lnTo>
                  <a:pt x="5876" y="1045"/>
                </a:lnTo>
                <a:lnTo>
                  <a:pt x="5906" y="1056"/>
                </a:lnTo>
                <a:close/>
                <a:moveTo>
                  <a:pt x="5917" y="1907"/>
                </a:moveTo>
                <a:lnTo>
                  <a:pt x="5932" y="1912"/>
                </a:lnTo>
                <a:lnTo>
                  <a:pt x="5950" y="1918"/>
                </a:lnTo>
                <a:lnTo>
                  <a:pt x="5934" y="1937"/>
                </a:lnTo>
                <a:lnTo>
                  <a:pt x="5918" y="1941"/>
                </a:lnTo>
                <a:lnTo>
                  <a:pt x="5909" y="1930"/>
                </a:lnTo>
                <a:lnTo>
                  <a:pt x="5917" y="1907"/>
                </a:lnTo>
                <a:close/>
                <a:moveTo>
                  <a:pt x="5962" y="1759"/>
                </a:moveTo>
                <a:lnTo>
                  <a:pt x="5957" y="1785"/>
                </a:lnTo>
                <a:lnTo>
                  <a:pt x="5945" y="1809"/>
                </a:lnTo>
                <a:lnTo>
                  <a:pt x="5941" y="1830"/>
                </a:lnTo>
                <a:lnTo>
                  <a:pt x="5962" y="1846"/>
                </a:lnTo>
                <a:lnTo>
                  <a:pt x="5943" y="1872"/>
                </a:lnTo>
                <a:lnTo>
                  <a:pt x="5926" y="1833"/>
                </a:lnTo>
                <a:lnTo>
                  <a:pt x="5927" y="1779"/>
                </a:lnTo>
                <a:lnTo>
                  <a:pt x="5962" y="1759"/>
                </a:lnTo>
                <a:close/>
                <a:moveTo>
                  <a:pt x="5987" y="1315"/>
                </a:moveTo>
                <a:lnTo>
                  <a:pt x="5987" y="1321"/>
                </a:lnTo>
                <a:lnTo>
                  <a:pt x="5985" y="1319"/>
                </a:lnTo>
                <a:lnTo>
                  <a:pt x="5985" y="1317"/>
                </a:lnTo>
                <a:lnTo>
                  <a:pt x="5985" y="1316"/>
                </a:lnTo>
                <a:lnTo>
                  <a:pt x="5987" y="1315"/>
                </a:lnTo>
                <a:close/>
                <a:moveTo>
                  <a:pt x="6023" y="1111"/>
                </a:moveTo>
                <a:lnTo>
                  <a:pt x="6027" y="1111"/>
                </a:lnTo>
                <a:lnTo>
                  <a:pt x="6029" y="1112"/>
                </a:lnTo>
                <a:lnTo>
                  <a:pt x="6033" y="1114"/>
                </a:lnTo>
                <a:lnTo>
                  <a:pt x="6034" y="1116"/>
                </a:lnTo>
                <a:lnTo>
                  <a:pt x="6030" y="1118"/>
                </a:lnTo>
                <a:lnTo>
                  <a:pt x="6025" y="1118"/>
                </a:lnTo>
                <a:lnTo>
                  <a:pt x="6021" y="1115"/>
                </a:lnTo>
                <a:lnTo>
                  <a:pt x="6023" y="1111"/>
                </a:lnTo>
                <a:close/>
                <a:moveTo>
                  <a:pt x="6038" y="1233"/>
                </a:moveTo>
                <a:lnTo>
                  <a:pt x="6038" y="1240"/>
                </a:lnTo>
                <a:lnTo>
                  <a:pt x="6037" y="1245"/>
                </a:lnTo>
                <a:lnTo>
                  <a:pt x="6034" y="1251"/>
                </a:lnTo>
                <a:lnTo>
                  <a:pt x="6032" y="1256"/>
                </a:lnTo>
                <a:lnTo>
                  <a:pt x="6029" y="1249"/>
                </a:lnTo>
                <a:lnTo>
                  <a:pt x="6029" y="1238"/>
                </a:lnTo>
                <a:lnTo>
                  <a:pt x="6032" y="1232"/>
                </a:lnTo>
                <a:lnTo>
                  <a:pt x="6038" y="1233"/>
                </a:lnTo>
                <a:close/>
                <a:moveTo>
                  <a:pt x="6053" y="943"/>
                </a:moveTo>
                <a:lnTo>
                  <a:pt x="6084" y="957"/>
                </a:lnTo>
                <a:lnTo>
                  <a:pt x="6093" y="994"/>
                </a:lnTo>
                <a:lnTo>
                  <a:pt x="6081" y="1028"/>
                </a:lnTo>
                <a:lnTo>
                  <a:pt x="6049" y="1030"/>
                </a:lnTo>
                <a:lnTo>
                  <a:pt x="6042" y="1011"/>
                </a:lnTo>
                <a:lnTo>
                  <a:pt x="6039" y="984"/>
                </a:lnTo>
                <a:lnTo>
                  <a:pt x="6042" y="960"/>
                </a:lnTo>
                <a:lnTo>
                  <a:pt x="6053" y="943"/>
                </a:lnTo>
                <a:close/>
                <a:moveTo>
                  <a:pt x="6100" y="1245"/>
                </a:moveTo>
                <a:lnTo>
                  <a:pt x="6095" y="1251"/>
                </a:lnTo>
                <a:lnTo>
                  <a:pt x="6089" y="1252"/>
                </a:lnTo>
                <a:lnTo>
                  <a:pt x="6084" y="1250"/>
                </a:lnTo>
                <a:lnTo>
                  <a:pt x="6081" y="1241"/>
                </a:lnTo>
                <a:lnTo>
                  <a:pt x="6086" y="1232"/>
                </a:lnTo>
                <a:lnTo>
                  <a:pt x="6093" y="1230"/>
                </a:lnTo>
                <a:lnTo>
                  <a:pt x="6099" y="1233"/>
                </a:lnTo>
                <a:lnTo>
                  <a:pt x="6100" y="1245"/>
                </a:lnTo>
                <a:close/>
                <a:moveTo>
                  <a:pt x="6137" y="1121"/>
                </a:moveTo>
                <a:lnTo>
                  <a:pt x="6148" y="1120"/>
                </a:lnTo>
                <a:lnTo>
                  <a:pt x="6160" y="1121"/>
                </a:lnTo>
                <a:lnTo>
                  <a:pt x="6170" y="1126"/>
                </a:lnTo>
                <a:lnTo>
                  <a:pt x="6174" y="1139"/>
                </a:lnTo>
                <a:lnTo>
                  <a:pt x="6162" y="1144"/>
                </a:lnTo>
                <a:lnTo>
                  <a:pt x="6142" y="1140"/>
                </a:lnTo>
                <a:lnTo>
                  <a:pt x="6131" y="1132"/>
                </a:lnTo>
                <a:lnTo>
                  <a:pt x="6137" y="1121"/>
                </a:lnTo>
                <a:close/>
                <a:moveTo>
                  <a:pt x="6177" y="948"/>
                </a:moveTo>
                <a:lnTo>
                  <a:pt x="6218" y="950"/>
                </a:lnTo>
                <a:lnTo>
                  <a:pt x="6239" y="972"/>
                </a:lnTo>
                <a:lnTo>
                  <a:pt x="6243" y="1009"/>
                </a:lnTo>
                <a:lnTo>
                  <a:pt x="6237" y="1051"/>
                </a:lnTo>
                <a:lnTo>
                  <a:pt x="6204" y="1056"/>
                </a:lnTo>
                <a:lnTo>
                  <a:pt x="6173" y="1025"/>
                </a:lnTo>
                <a:lnTo>
                  <a:pt x="6159" y="980"/>
                </a:lnTo>
                <a:lnTo>
                  <a:pt x="6177" y="948"/>
                </a:lnTo>
                <a:close/>
                <a:moveTo>
                  <a:pt x="6272" y="980"/>
                </a:moveTo>
                <a:lnTo>
                  <a:pt x="6325" y="966"/>
                </a:lnTo>
                <a:lnTo>
                  <a:pt x="6390" y="971"/>
                </a:lnTo>
                <a:lnTo>
                  <a:pt x="6443" y="1002"/>
                </a:lnTo>
                <a:lnTo>
                  <a:pt x="6460" y="1063"/>
                </a:lnTo>
                <a:lnTo>
                  <a:pt x="6415" y="1042"/>
                </a:lnTo>
                <a:lnTo>
                  <a:pt x="6370" y="1042"/>
                </a:lnTo>
                <a:lnTo>
                  <a:pt x="6344" y="1067"/>
                </a:lnTo>
                <a:lnTo>
                  <a:pt x="6358" y="1119"/>
                </a:lnTo>
                <a:lnTo>
                  <a:pt x="6379" y="1140"/>
                </a:lnTo>
                <a:lnTo>
                  <a:pt x="6368" y="1153"/>
                </a:lnTo>
                <a:lnTo>
                  <a:pt x="6342" y="1156"/>
                </a:lnTo>
                <a:lnTo>
                  <a:pt x="6321" y="1147"/>
                </a:lnTo>
                <a:lnTo>
                  <a:pt x="6325" y="1078"/>
                </a:lnTo>
                <a:lnTo>
                  <a:pt x="6302" y="1048"/>
                </a:lnTo>
                <a:lnTo>
                  <a:pt x="6277" y="1025"/>
                </a:lnTo>
                <a:lnTo>
                  <a:pt x="6272" y="980"/>
                </a:lnTo>
                <a:close/>
                <a:moveTo>
                  <a:pt x="6419" y="1161"/>
                </a:moveTo>
                <a:lnTo>
                  <a:pt x="6420" y="1165"/>
                </a:lnTo>
                <a:lnTo>
                  <a:pt x="6419" y="1167"/>
                </a:lnTo>
                <a:lnTo>
                  <a:pt x="6416" y="1168"/>
                </a:lnTo>
                <a:lnTo>
                  <a:pt x="6414" y="1165"/>
                </a:lnTo>
                <a:lnTo>
                  <a:pt x="6412" y="1158"/>
                </a:lnTo>
                <a:lnTo>
                  <a:pt x="6414" y="1156"/>
                </a:lnTo>
                <a:lnTo>
                  <a:pt x="6415" y="1156"/>
                </a:lnTo>
                <a:lnTo>
                  <a:pt x="6419" y="1161"/>
                </a:lnTo>
                <a:close/>
                <a:moveTo>
                  <a:pt x="6433" y="1273"/>
                </a:moveTo>
                <a:lnTo>
                  <a:pt x="6437" y="1277"/>
                </a:lnTo>
                <a:lnTo>
                  <a:pt x="6439" y="1282"/>
                </a:lnTo>
                <a:lnTo>
                  <a:pt x="6438" y="1286"/>
                </a:lnTo>
                <a:lnTo>
                  <a:pt x="6434" y="1286"/>
                </a:lnTo>
                <a:lnTo>
                  <a:pt x="6430" y="1283"/>
                </a:lnTo>
                <a:lnTo>
                  <a:pt x="6430" y="1280"/>
                </a:lnTo>
                <a:lnTo>
                  <a:pt x="6432" y="1275"/>
                </a:lnTo>
                <a:lnTo>
                  <a:pt x="6433" y="1273"/>
                </a:lnTo>
                <a:close/>
                <a:moveTo>
                  <a:pt x="6465" y="1158"/>
                </a:moveTo>
                <a:lnTo>
                  <a:pt x="6467" y="1171"/>
                </a:lnTo>
                <a:lnTo>
                  <a:pt x="6468" y="1186"/>
                </a:lnTo>
                <a:lnTo>
                  <a:pt x="6466" y="1198"/>
                </a:lnTo>
                <a:lnTo>
                  <a:pt x="6454" y="1202"/>
                </a:lnTo>
                <a:lnTo>
                  <a:pt x="6451" y="1190"/>
                </a:lnTo>
                <a:lnTo>
                  <a:pt x="6453" y="1179"/>
                </a:lnTo>
                <a:lnTo>
                  <a:pt x="6458" y="1167"/>
                </a:lnTo>
                <a:lnTo>
                  <a:pt x="6465" y="1158"/>
                </a:lnTo>
                <a:close/>
                <a:moveTo>
                  <a:pt x="6485" y="1254"/>
                </a:moveTo>
                <a:lnTo>
                  <a:pt x="6499" y="1181"/>
                </a:lnTo>
                <a:lnTo>
                  <a:pt x="6512" y="1184"/>
                </a:lnTo>
                <a:lnTo>
                  <a:pt x="6519" y="1235"/>
                </a:lnTo>
                <a:lnTo>
                  <a:pt x="6516" y="1303"/>
                </a:lnTo>
                <a:lnTo>
                  <a:pt x="6489" y="1358"/>
                </a:lnTo>
                <a:lnTo>
                  <a:pt x="6476" y="1353"/>
                </a:lnTo>
                <a:lnTo>
                  <a:pt x="6476" y="1311"/>
                </a:lnTo>
                <a:lnTo>
                  <a:pt x="6485" y="1254"/>
                </a:lnTo>
                <a:close/>
                <a:moveTo>
                  <a:pt x="6577" y="1286"/>
                </a:moveTo>
                <a:lnTo>
                  <a:pt x="6579" y="1312"/>
                </a:lnTo>
                <a:lnTo>
                  <a:pt x="6570" y="1333"/>
                </a:lnTo>
                <a:lnTo>
                  <a:pt x="6563" y="1352"/>
                </a:lnTo>
                <a:lnTo>
                  <a:pt x="6570" y="1380"/>
                </a:lnTo>
                <a:lnTo>
                  <a:pt x="6556" y="1376"/>
                </a:lnTo>
                <a:lnTo>
                  <a:pt x="6551" y="1335"/>
                </a:lnTo>
                <a:lnTo>
                  <a:pt x="6556" y="1293"/>
                </a:lnTo>
                <a:lnTo>
                  <a:pt x="6577" y="1286"/>
                </a:lnTo>
                <a:close/>
                <a:moveTo>
                  <a:pt x="6559" y="1210"/>
                </a:moveTo>
                <a:lnTo>
                  <a:pt x="6563" y="1216"/>
                </a:lnTo>
                <a:lnTo>
                  <a:pt x="6564" y="1218"/>
                </a:lnTo>
                <a:lnTo>
                  <a:pt x="6563" y="1218"/>
                </a:lnTo>
                <a:lnTo>
                  <a:pt x="6556" y="1217"/>
                </a:lnTo>
                <a:lnTo>
                  <a:pt x="6554" y="1214"/>
                </a:lnTo>
                <a:lnTo>
                  <a:pt x="6553" y="1212"/>
                </a:lnTo>
                <a:lnTo>
                  <a:pt x="6555" y="1209"/>
                </a:lnTo>
                <a:lnTo>
                  <a:pt x="6559" y="1210"/>
                </a:lnTo>
                <a:close/>
                <a:moveTo>
                  <a:pt x="6567" y="1177"/>
                </a:moveTo>
                <a:lnTo>
                  <a:pt x="6568" y="1179"/>
                </a:lnTo>
                <a:lnTo>
                  <a:pt x="6569" y="1180"/>
                </a:lnTo>
                <a:lnTo>
                  <a:pt x="6569" y="1182"/>
                </a:lnTo>
                <a:lnTo>
                  <a:pt x="6568" y="1185"/>
                </a:lnTo>
                <a:lnTo>
                  <a:pt x="6565" y="1184"/>
                </a:lnTo>
                <a:lnTo>
                  <a:pt x="6564" y="1182"/>
                </a:lnTo>
                <a:lnTo>
                  <a:pt x="6565" y="1180"/>
                </a:lnTo>
                <a:lnTo>
                  <a:pt x="6567" y="1177"/>
                </a:lnTo>
                <a:close/>
                <a:moveTo>
                  <a:pt x="6575" y="1235"/>
                </a:moveTo>
                <a:lnTo>
                  <a:pt x="6578" y="1237"/>
                </a:lnTo>
                <a:lnTo>
                  <a:pt x="6579" y="1241"/>
                </a:lnTo>
                <a:lnTo>
                  <a:pt x="6579" y="1245"/>
                </a:lnTo>
                <a:lnTo>
                  <a:pt x="6577" y="1249"/>
                </a:lnTo>
                <a:lnTo>
                  <a:pt x="6574" y="1246"/>
                </a:lnTo>
                <a:lnTo>
                  <a:pt x="6574" y="1242"/>
                </a:lnTo>
                <a:lnTo>
                  <a:pt x="6575" y="1238"/>
                </a:lnTo>
                <a:lnTo>
                  <a:pt x="6575" y="1235"/>
                </a:lnTo>
                <a:close/>
                <a:moveTo>
                  <a:pt x="6626" y="1217"/>
                </a:moveTo>
                <a:lnTo>
                  <a:pt x="6633" y="1219"/>
                </a:lnTo>
                <a:lnTo>
                  <a:pt x="6637" y="1224"/>
                </a:lnTo>
                <a:lnTo>
                  <a:pt x="6637" y="1230"/>
                </a:lnTo>
                <a:lnTo>
                  <a:pt x="6633" y="1233"/>
                </a:lnTo>
                <a:lnTo>
                  <a:pt x="6624" y="1233"/>
                </a:lnTo>
                <a:lnTo>
                  <a:pt x="6620" y="1227"/>
                </a:lnTo>
                <a:lnTo>
                  <a:pt x="6620" y="1219"/>
                </a:lnTo>
                <a:lnTo>
                  <a:pt x="6626" y="1217"/>
                </a:lnTo>
                <a:close/>
                <a:moveTo>
                  <a:pt x="6643" y="1348"/>
                </a:moveTo>
                <a:lnTo>
                  <a:pt x="6633" y="1366"/>
                </a:lnTo>
                <a:lnTo>
                  <a:pt x="6625" y="1352"/>
                </a:lnTo>
                <a:lnTo>
                  <a:pt x="6623" y="1324"/>
                </a:lnTo>
                <a:lnTo>
                  <a:pt x="6626" y="1302"/>
                </a:lnTo>
                <a:lnTo>
                  <a:pt x="6635" y="1301"/>
                </a:lnTo>
                <a:lnTo>
                  <a:pt x="6639" y="1315"/>
                </a:lnTo>
                <a:lnTo>
                  <a:pt x="6640" y="1334"/>
                </a:lnTo>
                <a:lnTo>
                  <a:pt x="6643" y="1348"/>
                </a:lnTo>
                <a:close/>
                <a:moveTo>
                  <a:pt x="6663" y="1310"/>
                </a:moveTo>
                <a:lnTo>
                  <a:pt x="6676" y="1316"/>
                </a:lnTo>
                <a:lnTo>
                  <a:pt x="6682" y="1330"/>
                </a:lnTo>
                <a:lnTo>
                  <a:pt x="6688" y="1348"/>
                </a:lnTo>
                <a:lnTo>
                  <a:pt x="6693" y="1362"/>
                </a:lnTo>
                <a:lnTo>
                  <a:pt x="6681" y="1353"/>
                </a:lnTo>
                <a:lnTo>
                  <a:pt x="6671" y="1340"/>
                </a:lnTo>
                <a:lnTo>
                  <a:pt x="6663" y="1326"/>
                </a:lnTo>
                <a:lnTo>
                  <a:pt x="6663" y="1310"/>
                </a:lnTo>
                <a:close/>
                <a:moveTo>
                  <a:pt x="6735" y="1233"/>
                </a:moveTo>
                <a:lnTo>
                  <a:pt x="6741" y="1235"/>
                </a:lnTo>
                <a:lnTo>
                  <a:pt x="6746" y="1237"/>
                </a:lnTo>
                <a:lnTo>
                  <a:pt x="6746" y="1241"/>
                </a:lnTo>
                <a:lnTo>
                  <a:pt x="6741" y="1246"/>
                </a:lnTo>
                <a:lnTo>
                  <a:pt x="6732" y="1246"/>
                </a:lnTo>
                <a:lnTo>
                  <a:pt x="6724" y="1241"/>
                </a:lnTo>
                <a:lnTo>
                  <a:pt x="6724" y="1236"/>
                </a:lnTo>
                <a:lnTo>
                  <a:pt x="6735" y="1233"/>
                </a:lnTo>
                <a:close/>
                <a:moveTo>
                  <a:pt x="6763" y="1310"/>
                </a:moveTo>
                <a:lnTo>
                  <a:pt x="6778" y="1315"/>
                </a:lnTo>
                <a:lnTo>
                  <a:pt x="6777" y="1324"/>
                </a:lnTo>
                <a:lnTo>
                  <a:pt x="6769" y="1334"/>
                </a:lnTo>
                <a:lnTo>
                  <a:pt x="6769" y="1347"/>
                </a:lnTo>
                <a:lnTo>
                  <a:pt x="6751" y="1339"/>
                </a:lnTo>
                <a:lnTo>
                  <a:pt x="6742" y="1326"/>
                </a:lnTo>
                <a:lnTo>
                  <a:pt x="6745" y="1315"/>
                </a:lnTo>
                <a:lnTo>
                  <a:pt x="6763" y="1310"/>
                </a:lnTo>
                <a:close/>
                <a:moveTo>
                  <a:pt x="6788" y="1258"/>
                </a:moveTo>
                <a:lnTo>
                  <a:pt x="6792" y="1250"/>
                </a:lnTo>
                <a:lnTo>
                  <a:pt x="6796" y="1245"/>
                </a:lnTo>
                <a:lnTo>
                  <a:pt x="6802" y="1242"/>
                </a:lnTo>
                <a:lnTo>
                  <a:pt x="6807" y="1241"/>
                </a:lnTo>
                <a:lnTo>
                  <a:pt x="6822" y="1249"/>
                </a:lnTo>
                <a:lnTo>
                  <a:pt x="6811" y="1263"/>
                </a:lnTo>
                <a:lnTo>
                  <a:pt x="6793" y="1270"/>
                </a:lnTo>
                <a:lnTo>
                  <a:pt x="6788" y="1258"/>
                </a:lnTo>
                <a:close/>
                <a:moveTo>
                  <a:pt x="6833" y="1273"/>
                </a:moveTo>
                <a:lnTo>
                  <a:pt x="6828" y="1291"/>
                </a:lnTo>
                <a:lnTo>
                  <a:pt x="6835" y="1305"/>
                </a:lnTo>
                <a:lnTo>
                  <a:pt x="6843" y="1316"/>
                </a:lnTo>
                <a:lnTo>
                  <a:pt x="6844" y="1331"/>
                </a:lnTo>
                <a:lnTo>
                  <a:pt x="6812" y="1320"/>
                </a:lnTo>
                <a:lnTo>
                  <a:pt x="6806" y="1288"/>
                </a:lnTo>
                <a:lnTo>
                  <a:pt x="6817" y="1263"/>
                </a:lnTo>
                <a:lnTo>
                  <a:pt x="6833" y="1273"/>
                </a:lnTo>
                <a:close/>
                <a:moveTo>
                  <a:pt x="6873" y="1364"/>
                </a:moveTo>
                <a:lnTo>
                  <a:pt x="6872" y="1370"/>
                </a:lnTo>
                <a:lnTo>
                  <a:pt x="6871" y="1368"/>
                </a:lnTo>
                <a:lnTo>
                  <a:pt x="6871" y="1367"/>
                </a:lnTo>
                <a:lnTo>
                  <a:pt x="6871" y="1366"/>
                </a:lnTo>
                <a:lnTo>
                  <a:pt x="6873" y="1364"/>
                </a:lnTo>
                <a:close/>
                <a:moveTo>
                  <a:pt x="6879" y="1437"/>
                </a:moveTo>
                <a:lnTo>
                  <a:pt x="6873" y="1437"/>
                </a:lnTo>
                <a:lnTo>
                  <a:pt x="6870" y="1431"/>
                </a:lnTo>
                <a:lnTo>
                  <a:pt x="6868" y="1422"/>
                </a:lnTo>
                <a:lnTo>
                  <a:pt x="6872" y="1417"/>
                </a:lnTo>
                <a:lnTo>
                  <a:pt x="6877" y="1415"/>
                </a:lnTo>
                <a:lnTo>
                  <a:pt x="6881" y="1419"/>
                </a:lnTo>
                <a:lnTo>
                  <a:pt x="6881" y="1428"/>
                </a:lnTo>
                <a:lnTo>
                  <a:pt x="6879" y="1437"/>
                </a:lnTo>
                <a:close/>
                <a:moveTo>
                  <a:pt x="7017" y="1335"/>
                </a:moveTo>
                <a:lnTo>
                  <a:pt x="7038" y="1321"/>
                </a:lnTo>
                <a:lnTo>
                  <a:pt x="7059" y="1322"/>
                </a:lnTo>
                <a:lnTo>
                  <a:pt x="7068" y="1335"/>
                </a:lnTo>
                <a:lnTo>
                  <a:pt x="7057" y="1356"/>
                </a:lnTo>
                <a:lnTo>
                  <a:pt x="7042" y="1356"/>
                </a:lnTo>
                <a:lnTo>
                  <a:pt x="7026" y="1356"/>
                </a:lnTo>
                <a:lnTo>
                  <a:pt x="7016" y="1349"/>
                </a:lnTo>
                <a:lnTo>
                  <a:pt x="7017" y="1335"/>
                </a:lnTo>
                <a:close/>
                <a:moveTo>
                  <a:pt x="7040" y="1272"/>
                </a:moveTo>
                <a:lnTo>
                  <a:pt x="7047" y="1273"/>
                </a:lnTo>
                <a:lnTo>
                  <a:pt x="7050" y="1277"/>
                </a:lnTo>
                <a:lnTo>
                  <a:pt x="7050" y="1280"/>
                </a:lnTo>
                <a:lnTo>
                  <a:pt x="7044" y="1283"/>
                </a:lnTo>
                <a:lnTo>
                  <a:pt x="7035" y="1282"/>
                </a:lnTo>
                <a:lnTo>
                  <a:pt x="7029" y="1278"/>
                </a:lnTo>
                <a:lnTo>
                  <a:pt x="7030" y="1274"/>
                </a:lnTo>
                <a:lnTo>
                  <a:pt x="7040" y="1272"/>
                </a:lnTo>
                <a:close/>
                <a:moveTo>
                  <a:pt x="7049" y="1432"/>
                </a:moveTo>
                <a:lnTo>
                  <a:pt x="7020" y="1417"/>
                </a:lnTo>
                <a:lnTo>
                  <a:pt x="7019" y="1396"/>
                </a:lnTo>
                <a:lnTo>
                  <a:pt x="7036" y="1382"/>
                </a:lnTo>
                <a:lnTo>
                  <a:pt x="7068" y="1387"/>
                </a:lnTo>
                <a:lnTo>
                  <a:pt x="7063" y="1399"/>
                </a:lnTo>
                <a:lnTo>
                  <a:pt x="7058" y="1409"/>
                </a:lnTo>
                <a:lnTo>
                  <a:pt x="7052" y="1420"/>
                </a:lnTo>
                <a:lnTo>
                  <a:pt x="7049" y="1432"/>
                </a:lnTo>
                <a:close/>
                <a:moveTo>
                  <a:pt x="7077" y="1446"/>
                </a:moveTo>
                <a:lnTo>
                  <a:pt x="7075" y="1465"/>
                </a:lnTo>
                <a:lnTo>
                  <a:pt x="7066" y="1464"/>
                </a:lnTo>
                <a:lnTo>
                  <a:pt x="7054" y="1451"/>
                </a:lnTo>
                <a:lnTo>
                  <a:pt x="7049" y="1433"/>
                </a:lnTo>
                <a:lnTo>
                  <a:pt x="7058" y="1435"/>
                </a:lnTo>
                <a:lnTo>
                  <a:pt x="7066" y="1437"/>
                </a:lnTo>
                <a:lnTo>
                  <a:pt x="7072" y="1440"/>
                </a:lnTo>
                <a:lnTo>
                  <a:pt x="7077" y="1446"/>
                </a:lnTo>
                <a:close/>
                <a:moveTo>
                  <a:pt x="7115" y="1353"/>
                </a:moveTo>
                <a:lnTo>
                  <a:pt x="7114" y="1354"/>
                </a:lnTo>
                <a:lnTo>
                  <a:pt x="7114" y="1354"/>
                </a:lnTo>
                <a:lnTo>
                  <a:pt x="7114" y="1353"/>
                </a:lnTo>
                <a:lnTo>
                  <a:pt x="7115" y="1353"/>
                </a:lnTo>
                <a:lnTo>
                  <a:pt x="7114" y="1354"/>
                </a:lnTo>
                <a:lnTo>
                  <a:pt x="7114" y="1354"/>
                </a:lnTo>
                <a:lnTo>
                  <a:pt x="7114" y="1354"/>
                </a:lnTo>
                <a:lnTo>
                  <a:pt x="7115" y="1353"/>
                </a:lnTo>
                <a:close/>
                <a:moveTo>
                  <a:pt x="7127" y="1242"/>
                </a:moveTo>
                <a:lnTo>
                  <a:pt x="7128" y="1245"/>
                </a:lnTo>
                <a:lnTo>
                  <a:pt x="7128" y="1247"/>
                </a:lnTo>
                <a:lnTo>
                  <a:pt x="7123" y="1250"/>
                </a:lnTo>
                <a:lnTo>
                  <a:pt x="7119" y="1244"/>
                </a:lnTo>
                <a:lnTo>
                  <a:pt x="7119" y="1238"/>
                </a:lnTo>
                <a:lnTo>
                  <a:pt x="7127" y="1242"/>
                </a:lnTo>
                <a:close/>
                <a:moveTo>
                  <a:pt x="7146" y="1282"/>
                </a:moveTo>
                <a:lnTo>
                  <a:pt x="7149" y="1282"/>
                </a:lnTo>
                <a:lnTo>
                  <a:pt x="7150" y="1283"/>
                </a:lnTo>
                <a:lnTo>
                  <a:pt x="7151" y="1286"/>
                </a:lnTo>
                <a:lnTo>
                  <a:pt x="7150" y="1288"/>
                </a:lnTo>
                <a:lnTo>
                  <a:pt x="7146" y="1289"/>
                </a:lnTo>
                <a:lnTo>
                  <a:pt x="7142" y="1287"/>
                </a:lnTo>
                <a:lnTo>
                  <a:pt x="7142" y="1284"/>
                </a:lnTo>
                <a:lnTo>
                  <a:pt x="7146" y="1282"/>
                </a:lnTo>
                <a:close/>
                <a:moveTo>
                  <a:pt x="7165" y="1204"/>
                </a:moveTo>
                <a:lnTo>
                  <a:pt x="7211" y="1191"/>
                </a:lnTo>
                <a:lnTo>
                  <a:pt x="7259" y="1213"/>
                </a:lnTo>
                <a:lnTo>
                  <a:pt x="7282" y="1246"/>
                </a:lnTo>
                <a:lnTo>
                  <a:pt x="7257" y="1268"/>
                </a:lnTo>
                <a:lnTo>
                  <a:pt x="7217" y="1238"/>
                </a:lnTo>
                <a:lnTo>
                  <a:pt x="7183" y="1255"/>
                </a:lnTo>
                <a:lnTo>
                  <a:pt x="7161" y="1263"/>
                </a:lnTo>
                <a:lnTo>
                  <a:pt x="7165" y="1204"/>
                </a:lnTo>
                <a:close/>
                <a:moveTo>
                  <a:pt x="7294" y="1296"/>
                </a:moveTo>
                <a:lnTo>
                  <a:pt x="7313" y="1300"/>
                </a:lnTo>
                <a:lnTo>
                  <a:pt x="7327" y="1311"/>
                </a:lnTo>
                <a:lnTo>
                  <a:pt x="7332" y="1328"/>
                </a:lnTo>
                <a:lnTo>
                  <a:pt x="7323" y="1347"/>
                </a:lnTo>
                <a:lnTo>
                  <a:pt x="7313" y="1333"/>
                </a:lnTo>
                <a:lnTo>
                  <a:pt x="7299" y="1322"/>
                </a:lnTo>
                <a:lnTo>
                  <a:pt x="7290" y="1312"/>
                </a:lnTo>
                <a:lnTo>
                  <a:pt x="7294" y="1296"/>
                </a:lnTo>
                <a:close/>
                <a:moveTo>
                  <a:pt x="7341" y="1435"/>
                </a:moveTo>
                <a:lnTo>
                  <a:pt x="7348" y="1417"/>
                </a:lnTo>
                <a:lnTo>
                  <a:pt x="7365" y="1408"/>
                </a:lnTo>
                <a:lnTo>
                  <a:pt x="7379" y="1409"/>
                </a:lnTo>
                <a:lnTo>
                  <a:pt x="7385" y="1420"/>
                </a:lnTo>
                <a:lnTo>
                  <a:pt x="7371" y="1432"/>
                </a:lnTo>
                <a:lnTo>
                  <a:pt x="7356" y="1449"/>
                </a:lnTo>
                <a:lnTo>
                  <a:pt x="7345" y="1454"/>
                </a:lnTo>
                <a:lnTo>
                  <a:pt x="7341" y="1435"/>
                </a:lnTo>
                <a:close/>
                <a:moveTo>
                  <a:pt x="7341" y="1375"/>
                </a:moveTo>
                <a:lnTo>
                  <a:pt x="7350" y="1372"/>
                </a:lnTo>
                <a:lnTo>
                  <a:pt x="7356" y="1380"/>
                </a:lnTo>
                <a:lnTo>
                  <a:pt x="7360" y="1392"/>
                </a:lnTo>
                <a:lnTo>
                  <a:pt x="7360" y="1404"/>
                </a:lnTo>
                <a:lnTo>
                  <a:pt x="7352" y="1399"/>
                </a:lnTo>
                <a:lnTo>
                  <a:pt x="7345" y="1394"/>
                </a:lnTo>
                <a:lnTo>
                  <a:pt x="7340" y="1385"/>
                </a:lnTo>
                <a:lnTo>
                  <a:pt x="7341" y="1375"/>
                </a:lnTo>
                <a:close/>
                <a:moveTo>
                  <a:pt x="7396" y="1305"/>
                </a:moveTo>
                <a:lnTo>
                  <a:pt x="7398" y="1310"/>
                </a:lnTo>
                <a:lnTo>
                  <a:pt x="7398" y="1315"/>
                </a:lnTo>
                <a:lnTo>
                  <a:pt x="7394" y="1319"/>
                </a:lnTo>
                <a:lnTo>
                  <a:pt x="7387" y="1320"/>
                </a:lnTo>
                <a:lnTo>
                  <a:pt x="7383" y="1315"/>
                </a:lnTo>
                <a:lnTo>
                  <a:pt x="7384" y="1308"/>
                </a:lnTo>
                <a:lnTo>
                  <a:pt x="7388" y="1303"/>
                </a:lnTo>
                <a:lnTo>
                  <a:pt x="7396" y="1305"/>
                </a:lnTo>
                <a:close/>
                <a:moveTo>
                  <a:pt x="7436" y="1223"/>
                </a:moveTo>
                <a:lnTo>
                  <a:pt x="7440" y="1226"/>
                </a:lnTo>
                <a:lnTo>
                  <a:pt x="7440" y="1230"/>
                </a:lnTo>
                <a:lnTo>
                  <a:pt x="7439" y="1233"/>
                </a:lnTo>
                <a:lnTo>
                  <a:pt x="7435" y="1235"/>
                </a:lnTo>
                <a:lnTo>
                  <a:pt x="7424" y="1232"/>
                </a:lnTo>
                <a:lnTo>
                  <a:pt x="7420" y="1227"/>
                </a:lnTo>
                <a:lnTo>
                  <a:pt x="7424" y="1222"/>
                </a:lnTo>
                <a:lnTo>
                  <a:pt x="7436" y="1223"/>
                </a:lnTo>
                <a:close/>
                <a:moveTo>
                  <a:pt x="7579" y="1219"/>
                </a:moveTo>
                <a:lnTo>
                  <a:pt x="7608" y="1224"/>
                </a:lnTo>
                <a:lnTo>
                  <a:pt x="7639" y="1236"/>
                </a:lnTo>
                <a:lnTo>
                  <a:pt x="7669" y="1249"/>
                </a:lnTo>
                <a:lnTo>
                  <a:pt x="7696" y="1261"/>
                </a:lnTo>
                <a:lnTo>
                  <a:pt x="7705" y="1287"/>
                </a:lnTo>
                <a:lnTo>
                  <a:pt x="7700" y="1308"/>
                </a:lnTo>
                <a:lnTo>
                  <a:pt x="7688" y="1312"/>
                </a:lnTo>
                <a:lnTo>
                  <a:pt x="7678" y="1284"/>
                </a:lnTo>
                <a:lnTo>
                  <a:pt x="7639" y="1310"/>
                </a:lnTo>
                <a:lnTo>
                  <a:pt x="7589" y="1291"/>
                </a:lnTo>
                <a:lnTo>
                  <a:pt x="7560" y="1252"/>
                </a:lnTo>
                <a:lnTo>
                  <a:pt x="7579" y="1219"/>
                </a:lnTo>
                <a:close/>
                <a:moveTo>
                  <a:pt x="7662" y="1222"/>
                </a:moveTo>
                <a:lnTo>
                  <a:pt x="7667" y="1221"/>
                </a:lnTo>
                <a:lnTo>
                  <a:pt x="7671" y="1223"/>
                </a:lnTo>
                <a:lnTo>
                  <a:pt x="7672" y="1227"/>
                </a:lnTo>
                <a:lnTo>
                  <a:pt x="7673" y="1235"/>
                </a:lnTo>
                <a:lnTo>
                  <a:pt x="7668" y="1237"/>
                </a:lnTo>
                <a:lnTo>
                  <a:pt x="7659" y="1232"/>
                </a:lnTo>
                <a:lnTo>
                  <a:pt x="7654" y="1226"/>
                </a:lnTo>
                <a:lnTo>
                  <a:pt x="7662" y="1222"/>
                </a:lnTo>
                <a:close/>
                <a:moveTo>
                  <a:pt x="7713" y="1357"/>
                </a:moveTo>
                <a:lnTo>
                  <a:pt x="7708" y="1358"/>
                </a:lnTo>
                <a:lnTo>
                  <a:pt x="7704" y="1357"/>
                </a:lnTo>
                <a:lnTo>
                  <a:pt x="7700" y="1353"/>
                </a:lnTo>
                <a:lnTo>
                  <a:pt x="7696" y="1350"/>
                </a:lnTo>
                <a:lnTo>
                  <a:pt x="7701" y="1349"/>
                </a:lnTo>
                <a:lnTo>
                  <a:pt x="7709" y="1349"/>
                </a:lnTo>
                <a:lnTo>
                  <a:pt x="7713" y="1350"/>
                </a:lnTo>
                <a:lnTo>
                  <a:pt x="7713" y="1357"/>
                </a:lnTo>
                <a:close/>
                <a:moveTo>
                  <a:pt x="7729" y="1273"/>
                </a:moveTo>
                <a:lnTo>
                  <a:pt x="7736" y="1278"/>
                </a:lnTo>
                <a:lnTo>
                  <a:pt x="7736" y="1287"/>
                </a:lnTo>
                <a:lnTo>
                  <a:pt x="7730" y="1296"/>
                </a:lnTo>
                <a:lnTo>
                  <a:pt x="7724" y="1302"/>
                </a:lnTo>
                <a:lnTo>
                  <a:pt x="7723" y="1294"/>
                </a:lnTo>
                <a:lnTo>
                  <a:pt x="7723" y="1287"/>
                </a:lnTo>
                <a:lnTo>
                  <a:pt x="7725" y="1279"/>
                </a:lnTo>
                <a:lnTo>
                  <a:pt x="7729" y="1273"/>
                </a:lnTo>
                <a:close/>
                <a:moveTo>
                  <a:pt x="7771" y="1316"/>
                </a:moveTo>
                <a:lnTo>
                  <a:pt x="7771" y="1328"/>
                </a:lnTo>
                <a:lnTo>
                  <a:pt x="7771" y="1340"/>
                </a:lnTo>
                <a:lnTo>
                  <a:pt x="7769" y="1352"/>
                </a:lnTo>
                <a:lnTo>
                  <a:pt x="7762" y="1359"/>
                </a:lnTo>
                <a:lnTo>
                  <a:pt x="7755" y="1349"/>
                </a:lnTo>
                <a:lnTo>
                  <a:pt x="7756" y="1335"/>
                </a:lnTo>
                <a:lnTo>
                  <a:pt x="7762" y="1324"/>
                </a:lnTo>
                <a:lnTo>
                  <a:pt x="7771" y="1316"/>
                </a:lnTo>
                <a:close/>
                <a:moveTo>
                  <a:pt x="7784" y="1437"/>
                </a:moveTo>
                <a:lnTo>
                  <a:pt x="7790" y="1438"/>
                </a:lnTo>
                <a:lnTo>
                  <a:pt x="7790" y="1441"/>
                </a:lnTo>
                <a:lnTo>
                  <a:pt x="7787" y="1443"/>
                </a:lnTo>
                <a:lnTo>
                  <a:pt x="7781" y="1440"/>
                </a:lnTo>
                <a:lnTo>
                  <a:pt x="7783" y="1438"/>
                </a:lnTo>
                <a:lnTo>
                  <a:pt x="7784" y="1437"/>
                </a:lnTo>
                <a:close/>
                <a:moveTo>
                  <a:pt x="7795" y="1401"/>
                </a:moveTo>
                <a:lnTo>
                  <a:pt x="7807" y="1396"/>
                </a:lnTo>
                <a:lnTo>
                  <a:pt x="7820" y="1405"/>
                </a:lnTo>
                <a:lnTo>
                  <a:pt x="7827" y="1419"/>
                </a:lnTo>
                <a:lnTo>
                  <a:pt x="7822" y="1427"/>
                </a:lnTo>
                <a:lnTo>
                  <a:pt x="7806" y="1441"/>
                </a:lnTo>
                <a:lnTo>
                  <a:pt x="7799" y="1437"/>
                </a:lnTo>
                <a:lnTo>
                  <a:pt x="7797" y="1422"/>
                </a:lnTo>
                <a:lnTo>
                  <a:pt x="7795" y="1401"/>
                </a:lnTo>
                <a:close/>
                <a:moveTo>
                  <a:pt x="7862" y="1366"/>
                </a:moveTo>
                <a:lnTo>
                  <a:pt x="7845" y="1372"/>
                </a:lnTo>
                <a:lnTo>
                  <a:pt x="7830" y="1372"/>
                </a:lnTo>
                <a:lnTo>
                  <a:pt x="7816" y="1371"/>
                </a:lnTo>
                <a:lnTo>
                  <a:pt x="7798" y="1370"/>
                </a:lnTo>
                <a:lnTo>
                  <a:pt x="7816" y="1364"/>
                </a:lnTo>
                <a:lnTo>
                  <a:pt x="7831" y="1363"/>
                </a:lnTo>
                <a:lnTo>
                  <a:pt x="7845" y="1364"/>
                </a:lnTo>
                <a:lnTo>
                  <a:pt x="7862" y="1366"/>
                </a:lnTo>
                <a:close/>
                <a:moveTo>
                  <a:pt x="7904" y="1406"/>
                </a:moveTo>
                <a:lnTo>
                  <a:pt x="7897" y="1410"/>
                </a:lnTo>
                <a:lnTo>
                  <a:pt x="7891" y="1413"/>
                </a:lnTo>
                <a:lnTo>
                  <a:pt x="7885" y="1414"/>
                </a:lnTo>
                <a:lnTo>
                  <a:pt x="7878" y="1412"/>
                </a:lnTo>
                <a:lnTo>
                  <a:pt x="7891" y="1409"/>
                </a:lnTo>
                <a:lnTo>
                  <a:pt x="7904" y="1406"/>
                </a:lnTo>
                <a:close/>
                <a:moveTo>
                  <a:pt x="7925" y="1371"/>
                </a:moveTo>
                <a:lnTo>
                  <a:pt x="7927" y="1371"/>
                </a:lnTo>
                <a:lnTo>
                  <a:pt x="7929" y="1372"/>
                </a:lnTo>
                <a:lnTo>
                  <a:pt x="7930" y="1377"/>
                </a:lnTo>
                <a:lnTo>
                  <a:pt x="7927" y="1378"/>
                </a:lnTo>
                <a:lnTo>
                  <a:pt x="7922" y="1376"/>
                </a:lnTo>
                <a:lnTo>
                  <a:pt x="7925" y="1371"/>
                </a:lnTo>
                <a:close/>
                <a:moveTo>
                  <a:pt x="7983" y="1459"/>
                </a:moveTo>
                <a:lnTo>
                  <a:pt x="7979" y="1459"/>
                </a:lnTo>
                <a:lnTo>
                  <a:pt x="7975" y="1451"/>
                </a:lnTo>
                <a:lnTo>
                  <a:pt x="7976" y="1445"/>
                </a:lnTo>
                <a:lnTo>
                  <a:pt x="7981" y="1447"/>
                </a:lnTo>
                <a:lnTo>
                  <a:pt x="7984" y="1454"/>
                </a:lnTo>
                <a:lnTo>
                  <a:pt x="7983" y="1459"/>
                </a:lnTo>
                <a:close/>
                <a:moveTo>
                  <a:pt x="7984" y="1378"/>
                </a:moveTo>
                <a:lnTo>
                  <a:pt x="7986" y="1380"/>
                </a:lnTo>
                <a:lnTo>
                  <a:pt x="7986" y="1381"/>
                </a:lnTo>
                <a:lnTo>
                  <a:pt x="7985" y="1382"/>
                </a:lnTo>
                <a:lnTo>
                  <a:pt x="7983" y="1382"/>
                </a:lnTo>
                <a:lnTo>
                  <a:pt x="7984" y="1378"/>
                </a:lnTo>
                <a:close/>
                <a:moveTo>
                  <a:pt x="8007" y="1289"/>
                </a:moveTo>
                <a:lnTo>
                  <a:pt x="8092" y="1244"/>
                </a:lnTo>
                <a:lnTo>
                  <a:pt x="8190" y="1238"/>
                </a:lnTo>
                <a:lnTo>
                  <a:pt x="8268" y="1284"/>
                </a:lnTo>
                <a:lnTo>
                  <a:pt x="8296" y="1387"/>
                </a:lnTo>
                <a:lnTo>
                  <a:pt x="8272" y="1389"/>
                </a:lnTo>
                <a:lnTo>
                  <a:pt x="8264" y="1366"/>
                </a:lnTo>
                <a:lnTo>
                  <a:pt x="8259" y="1344"/>
                </a:lnTo>
                <a:lnTo>
                  <a:pt x="8242" y="1348"/>
                </a:lnTo>
                <a:lnTo>
                  <a:pt x="8234" y="1371"/>
                </a:lnTo>
                <a:lnTo>
                  <a:pt x="8217" y="1380"/>
                </a:lnTo>
                <a:lnTo>
                  <a:pt x="8200" y="1385"/>
                </a:lnTo>
                <a:lnTo>
                  <a:pt x="8195" y="1399"/>
                </a:lnTo>
                <a:lnTo>
                  <a:pt x="8217" y="1417"/>
                </a:lnTo>
                <a:lnTo>
                  <a:pt x="8186" y="1441"/>
                </a:lnTo>
                <a:lnTo>
                  <a:pt x="8151" y="1459"/>
                </a:lnTo>
                <a:lnTo>
                  <a:pt x="8158" y="1457"/>
                </a:lnTo>
                <a:lnTo>
                  <a:pt x="8172" y="1441"/>
                </a:lnTo>
                <a:lnTo>
                  <a:pt x="8161" y="1410"/>
                </a:lnTo>
                <a:lnTo>
                  <a:pt x="8138" y="1384"/>
                </a:lnTo>
                <a:lnTo>
                  <a:pt x="8115" y="1382"/>
                </a:lnTo>
                <a:lnTo>
                  <a:pt x="8118" y="1418"/>
                </a:lnTo>
                <a:lnTo>
                  <a:pt x="8105" y="1437"/>
                </a:lnTo>
                <a:lnTo>
                  <a:pt x="8085" y="1452"/>
                </a:lnTo>
                <a:lnTo>
                  <a:pt x="8068" y="1480"/>
                </a:lnTo>
                <a:lnTo>
                  <a:pt x="8050" y="1457"/>
                </a:lnTo>
                <a:lnTo>
                  <a:pt x="8064" y="1442"/>
                </a:lnTo>
                <a:lnTo>
                  <a:pt x="8083" y="1429"/>
                </a:lnTo>
                <a:lnTo>
                  <a:pt x="8085" y="1410"/>
                </a:lnTo>
                <a:lnTo>
                  <a:pt x="8063" y="1381"/>
                </a:lnTo>
                <a:lnTo>
                  <a:pt x="8051" y="1345"/>
                </a:lnTo>
                <a:lnTo>
                  <a:pt x="8037" y="1312"/>
                </a:lnTo>
                <a:lnTo>
                  <a:pt x="8007" y="1289"/>
                </a:lnTo>
                <a:close/>
                <a:moveTo>
                  <a:pt x="8296" y="1266"/>
                </a:moveTo>
                <a:lnTo>
                  <a:pt x="8305" y="1268"/>
                </a:lnTo>
                <a:lnTo>
                  <a:pt x="8312" y="1275"/>
                </a:lnTo>
                <a:lnTo>
                  <a:pt x="8318" y="1287"/>
                </a:lnTo>
                <a:lnTo>
                  <a:pt x="8320" y="1297"/>
                </a:lnTo>
                <a:lnTo>
                  <a:pt x="8309" y="1300"/>
                </a:lnTo>
                <a:lnTo>
                  <a:pt x="8300" y="1292"/>
                </a:lnTo>
                <a:lnTo>
                  <a:pt x="8293" y="1279"/>
                </a:lnTo>
                <a:lnTo>
                  <a:pt x="8296" y="1266"/>
                </a:lnTo>
                <a:close/>
                <a:moveTo>
                  <a:pt x="8337" y="1368"/>
                </a:moveTo>
                <a:lnTo>
                  <a:pt x="8347" y="1366"/>
                </a:lnTo>
                <a:lnTo>
                  <a:pt x="8356" y="1373"/>
                </a:lnTo>
                <a:lnTo>
                  <a:pt x="8358" y="1384"/>
                </a:lnTo>
                <a:lnTo>
                  <a:pt x="8355" y="1394"/>
                </a:lnTo>
                <a:lnTo>
                  <a:pt x="8346" y="1392"/>
                </a:lnTo>
                <a:lnTo>
                  <a:pt x="8338" y="1386"/>
                </a:lnTo>
                <a:lnTo>
                  <a:pt x="8334" y="1377"/>
                </a:lnTo>
                <a:lnTo>
                  <a:pt x="8337" y="1368"/>
                </a:lnTo>
                <a:close/>
                <a:moveTo>
                  <a:pt x="8358" y="1329"/>
                </a:moveTo>
                <a:lnTo>
                  <a:pt x="8361" y="1331"/>
                </a:lnTo>
                <a:lnTo>
                  <a:pt x="8365" y="1335"/>
                </a:lnTo>
                <a:lnTo>
                  <a:pt x="8361" y="1334"/>
                </a:lnTo>
                <a:lnTo>
                  <a:pt x="8356" y="1331"/>
                </a:lnTo>
                <a:lnTo>
                  <a:pt x="8355" y="1330"/>
                </a:lnTo>
                <a:lnTo>
                  <a:pt x="8358" y="1329"/>
                </a:lnTo>
                <a:close/>
                <a:moveTo>
                  <a:pt x="8412" y="1427"/>
                </a:moveTo>
                <a:lnTo>
                  <a:pt x="8412" y="1432"/>
                </a:lnTo>
                <a:lnTo>
                  <a:pt x="8402" y="1432"/>
                </a:lnTo>
                <a:lnTo>
                  <a:pt x="8391" y="1429"/>
                </a:lnTo>
                <a:lnTo>
                  <a:pt x="8388" y="1427"/>
                </a:lnTo>
                <a:lnTo>
                  <a:pt x="8393" y="1424"/>
                </a:lnTo>
                <a:lnTo>
                  <a:pt x="8399" y="1423"/>
                </a:lnTo>
                <a:lnTo>
                  <a:pt x="8405" y="1424"/>
                </a:lnTo>
                <a:lnTo>
                  <a:pt x="8412" y="1427"/>
                </a:lnTo>
                <a:close/>
                <a:moveTo>
                  <a:pt x="8394" y="1298"/>
                </a:moveTo>
                <a:lnTo>
                  <a:pt x="8411" y="1316"/>
                </a:lnTo>
                <a:lnTo>
                  <a:pt x="8425" y="1334"/>
                </a:lnTo>
                <a:lnTo>
                  <a:pt x="8436" y="1353"/>
                </a:lnTo>
                <a:lnTo>
                  <a:pt x="8446" y="1373"/>
                </a:lnTo>
                <a:lnTo>
                  <a:pt x="8428" y="1408"/>
                </a:lnTo>
                <a:lnTo>
                  <a:pt x="8402" y="1386"/>
                </a:lnTo>
                <a:lnTo>
                  <a:pt x="8385" y="1339"/>
                </a:lnTo>
                <a:lnTo>
                  <a:pt x="8394" y="1298"/>
                </a:lnTo>
                <a:close/>
                <a:moveTo>
                  <a:pt x="8574" y="1356"/>
                </a:moveTo>
                <a:lnTo>
                  <a:pt x="8562" y="1347"/>
                </a:lnTo>
                <a:lnTo>
                  <a:pt x="8552" y="1338"/>
                </a:lnTo>
                <a:lnTo>
                  <a:pt x="8549" y="1330"/>
                </a:lnTo>
                <a:lnTo>
                  <a:pt x="8561" y="1320"/>
                </a:lnTo>
                <a:lnTo>
                  <a:pt x="8585" y="1326"/>
                </a:lnTo>
                <a:lnTo>
                  <a:pt x="8598" y="1350"/>
                </a:lnTo>
                <a:lnTo>
                  <a:pt x="8596" y="1368"/>
                </a:lnTo>
                <a:lnTo>
                  <a:pt x="8574" y="1356"/>
                </a:lnTo>
                <a:close/>
                <a:moveTo>
                  <a:pt x="8711" y="1447"/>
                </a:moveTo>
                <a:lnTo>
                  <a:pt x="8707" y="1449"/>
                </a:lnTo>
                <a:lnTo>
                  <a:pt x="8703" y="1450"/>
                </a:lnTo>
                <a:lnTo>
                  <a:pt x="8707" y="1449"/>
                </a:lnTo>
                <a:lnTo>
                  <a:pt x="8711" y="1447"/>
                </a:lnTo>
                <a:close/>
                <a:moveTo>
                  <a:pt x="8745" y="1380"/>
                </a:moveTo>
                <a:lnTo>
                  <a:pt x="8782" y="1373"/>
                </a:lnTo>
                <a:lnTo>
                  <a:pt x="8808" y="1400"/>
                </a:lnTo>
                <a:lnTo>
                  <a:pt x="8812" y="1435"/>
                </a:lnTo>
                <a:lnTo>
                  <a:pt x="8785" y="1449"/>
                </a:lnTo>
                <a:lnTo>
                  <a:pt x="8784" y="1424"/>
                </a:lnTo>
                <a:lnTo>
                  <a:pt x="8776" y="1404"/>
                </a:lnTo>
                <a:lnTo>
                  <a:pt x="8765" y="1389"/>
                </a:lnTo>
                <a:lnTo>
                  <a:pt x="8745" y="1380"/>
                </a:lnTo>
                <a:close/>
                <a:moveTo>
                  <a:pt x="8847" y="1396"/>
                </a:moveTo>
                <a:lnTo>
                  <a:pt x="8864" y="1406"/>
                </a:lnTo>
                <a:lnTo>
                  <a:pt x="8880" y="1422"/>
                </a:lnTo>
                <a:lnTo>
                  <a:pt x="8891" y="1438"/>
                </a:lnTo>
                <a:lnTo>
                  <a:pt x="8883" y="1455"/>
                </a:lnTo>
                <a:lnTo>
                  <a:pt x="8858" y="1461"/>
                </a:lnTo>
                <a:lnTo>
                  <a:pt x="8844" y="1445"/>
                </a:lnTo>
                <a:lnTo>
                  <a:pt x="8841" y="1419"/>
                </a:lnTo>
                <a:lnTo>
                  <a:pt x="8847" y="1396"/>
                </a:lnTo>
                <a:close/>
                <a:moveTo>
                  <a:pt x="8935" y="1422"/>
                </a:moveTo>
                <a:lnTo>
                  <a:pt x="8945" y="1412"/>
                </a:lnTo>
                <a:lnTo>
                  <a:pt x="8959" y="1405"/>
                </a:lnTo>
                <a:lnTo>
                  <a:pt x="8973" y="1405"/>
                </a:lnTo>
                <a:lnTo>
                  <a:pt x="8987" y="1413"/>
                </a:lnTo>
                <a:lnTo>
                  <a:pt x="8970" y="1432"/>
                </a:lnTo>
                <a:lnTo>
                  <a:pt x="8952" y="1451"/>
                </a:lnTo>
                <a:lnTo>
                  <a:pt x="8939" y="1454"/>
                </a:lnTo>
                <a:lnTo>
                  <a:pt x="8935" y="1422"/>
                </a:lnTo>
                <a:close/>
                <a:moveTo>
                  <a:pt x="8995" y="1428"/>
                </a:moveTo>
                <a:lnTo>
                  <a:pt x="8991" y="1426"/>
                </a:lnTo>
                <a:lnTo>
                  <a:pt x="8990" y="1423"/>
                </a:lnTo>
                <a:lnTo>
                  <a:pt x="8989" y="1418"/>
                </a:lnTo>
                <a:lnTo>
                  <a:pt x="8989" y="1414"/>
                </a:lnTo>
                <a:lnTo>
                  <a:pt x="8991" y="1417"/>
                </a:lnTo>
                <a:lnTo>
                  <a:pt x="8993" y="1419"/>
                </a:lnTo>
                <a:lnTo>
                  <a:pt x="8995" y="1423"/>
                </a:lnTo>
                <a:lnTo>
                  <a:pt x="8995" y="1428"/>
                </a:lnTo>
                <a:close/>
                <a:moveTo>
                  <a:pt x="9068" y="1433"/>
                </a:moveTo>
                <a:lnTo>
                  <a:pt x="9070" y="1437"/>
                </a:lnTo>
                <a:lnTo>
                  <a:pt x="9073" y="1442"/>
                </a:lnTo>
                <a:lnTo>
                  <a:pt x="9073" y="1447"/>
                </a:lnTo>
                <a:lnTo>
                  <a:pt x="9073" y="1454"/>
                </a:lnTo>
                <a:lnTo>
                  <a:pt x="9056" y="1450"/>
                </a:lnTo>
                <a:lnTo>
                  <a:pt x="9050" y="1435"/>
                </a:lnTo>
                <a:lnTo>
                  <a:pt x="9054" y="1423"/>
                </a:lnTo>
                <a:lnTo>
                  <a:pt x="9068" y="1433"/>
                </a:lnTo>
                <a:close/>
                <a:moveTo>
                  <a:pt x="9832" y="1496"/>
                </a:moveTo>
                <a:lnTo>
                  <a:pt x="9830" y="1508"/>
                </a:lnTo>
                <a:lnTo>
                  <a:pt x="9829" y="1521"/>
                </a:lnTo>
                <a:lnTo>
                  <a:pt x="9828" y="1513"/>
                </a:lnTo>
                <a:lnTo>
                  <a:pt x="9827" y="1508"/>
                </a:lnTo>
                <a:lnTo>
                  <a:pt x="9828" y="1502"/>
                </a:lnTo>
                <a:lnTo>
                  <a:pt x="9832" y="1496"/>
                </a:lnTo>
                <a:close/>
                <a:moveTo>
                  <a:pt x="9884" y="1473"/>
                </a:moveTo>
                <a:lnTo>
                  <a:pt x="9908" y="1471"/>
                </a:lnTo>
                <a:lnTo>
                  <a:pt x="9911" y="1488"/>
                </a:lnTo>
                <a:lnTo>
                  <a:pt x="9901" y="1508"/>
                </a:lnTo>
                <a:lnTo>
                  <a:pt x="9884" y="1521"/>
                </a:lnTo>
                <a:lnTo>
                  <a:pt x="9879" y="1505"/>
                </a:lnTo>
                <a:lnTo>
                  <a:pt x="9874" y="1491"/>
                </a:lnTo>
                <a:lnTo>
                  <a:pt x="9873" y="1480"/>
                </a:lnTo>
                <a:lnTo>
                  <a:pt x="9884" y="1473"/>
                </a:lnTo>
                <a:close/>
                <a:moveTo>
                  <a:pt x="9987" y="1527"/>
                </a:moveTo>
                <a:lnTo>
                  <a:pt x="9985" y="1529"/>
                </a:lnTo>
                <a:lnTo>
                  <a:pt x="9983" y="1529"/>
                </a:lnTo>
                <a:lnTo>
                  <a:pt x="9983" y="1527"/>
                </a:lnTo>
                <a:lnTo>
                  <a:pt x="9983" y="1525"/>
                </a:lnTo>
                <a:lnTo>
                  <a:pt x="9987" y="1527"/>
                </a:lnTo>
                <a:close/>
                <a:moveTo>
                  <a:pt x="10015" y="1489"/>
                </a:moveTo>
                <a:lnTo>
                  <a:pt x="10016" y="1491"/>
                </a:lnTo>
                <a:lnTo>
                  <a:pt x="10018" y="1493"/>
                </a:lnTo>
                <a:lnTo>
                  <a:pt x="10018" y="1494"/>
                </a:lnTo>
                <a:lnTo>
                  <a:pt x="10016" y="1497"/>
                </a:lnTo>
                <a:lnTo>
                  <a:pt x="10014" y="1496"/>
                </a:lnTo>
                <a:lnTo>
                  <a:pt x="10014" y="1494"/>
                </a:lnTo>
                <a:lnTo>
                  <a:pt x="10014" y="1492"/>
                </a:lnTo>
                <a:lnTo>
                  <a:pt x="10015" y="1489"/>
                </a:lnTo>
                <a:close/>
                <a:moveTo>
                  <a:pt x="10036" y="1517"/>
                </a:moveTo>
                <a:lnTo>
                  <a:pt x="10039" y="1513"/>
                </a:lnTo>
                <a:lnTo>
                  <a:pt x="10043" y="1510"/>
                </a:lnTo>
                <a:lnTo>
                  <a:pt x="10048" y="1508"/>
                </a:lnTo>
                <a:lnTo>
                  <a:pt x="10052" y="1511"/>
                </a:lnTo>
                <a:lnTo>
                  <a:pt x="10050" y="1520"/>
                </a:lnTo>
                <a:lnTo>
                  <a:pt x="10042" y="1526"/>
                </a:lnTo>
                <a:lnTo>
                  <a:pt x="10036" y="1526"/>
                </a:lnTo>
                <a:lnTo>
                  <a:pt x="10036" y="1517"/>
                </a:lnTo>
                <a:close/>
                <a:moveTo>
                  <a:pt x="10094" y="1587"/>
                </a:moveTo>
                <a:lnTo>
                  <a:pt x="10097" y="1587"/>
                </a:lnTo>
                <a:lnTo>
                  <a:pt x="10098" y="1589"/>
                </a:lnTo>
                <a:lnTo>
                  <a:pt x="10099" y="1590"/>
                </a:lnTo>
                <a:lnTo>
                  <a:pt x="10099" y="1591"/>
                </a:lnTo>
                <a:lnTo>
                  <a:pt x="10097" y="1591"/>
                </a:lnTo>
                <a:lnTo>
                  <a:pt x="10093" y="1591"/>
                </a:lnTo>
                <a:lnTo>
                  <a:pt x="10092" y="1590"/>
                </a:lnTo>
                <a:lnTo>
                  <a:pt x="10094" y="1587"/>
                </a:lnTo>
                <a:close/>
                <a:moveTo>
                  <a:pt x="10146" y="1561"/>
                </a:moveTo>
                <a:lnTo>
                  <a:pt x="10174" y="1539"/>
                </a:lnTo>
                <a:lnTo>
                  <a:pt x="10204" y="1534"/>
                </a:lnTo>
                <a:lnTo>
                  <a:pt x="10223" y="1552"/>
                </a:lnTo>
                <a:lnTo>
                  <a:pt x="10223" y="1594"/>
                </a:lnTo>
                <a:lnTo>
                  <a:pt x="10190" y="1587"/>
                </a:lnTo>
                <a:lnTo>
                  <a:pt x="10164" y="1592"/>
                </a:lnTo>
                <a:lnTo>
                  <a:pt x="10149" y="1590"/>
                </a:lnTo>
                <a:lnTo>
                  <a:pt x="10146" y="1561"/>
                </a:lnTo>
                <a:close/>
                <a:moveTo>
                  <a:pt x="10262" y="1571"/>
                </a:moveTo>
                <a:lnTo>
                  <a:pt x="10262" y="1576"/>
                </a:lnTo>
                <a:lnTo>
                  <a:pt x="10261" y="1582"/>
                </a:lnTo>
                <a:lnTo>
                  <a:pt x="10257" y="1578"/>
                </a:lnTo>
                <a:lnTo>
                  <a:pt x="10256" y="1576"/>
                </a:lnTo>
                <a:lnTo>
                  <a:pt x="10258" y="1573"/>
                </a:lnTo>
                <a:lnTo>
                  <a:pt x="10262" y="1571"/>
                </a:lnTo>
                <a:close/>
                <a:moveTo>
                  <a:pt x="10272" y="1559"/>
                </a:moveTo>
                <a:lnTo>
                  <a:pt x="10272" y="1563"/>
                </a:lnTo>
                <a:lnTo>
                  <a:pt x="10270" y="1566"/>
                </a:lnTo>
                <a:lnTo>
                  <a:pt x="10267" y="1567"/>
                </a:lnTo>
                <a:lnTo>
                  <a:pt x="10263" y="1568"/>
                </a:lnTo>
                <a:lnTo>
                  <a:pt x="10265" y="1564"/>
                </a:lnTo>
                <a:lnTo>
                  <a:pt x="10266" y="1562"/>
                </a:lnTo>
                <a:lnTo>
                  <a:pt x="10269" y="1559"/>
                </a:lnTo>
                <a:lnTo>
                  <a:pt x="10272" y="1559"/>
                </a:lnTo>
                <a:close/>
                <a:moveTo>
                  <a:pt x="10307" y="1547"/>
                </a:moveTo>
                <a:lnTo>
                  <a:pt x="10317" y="1555"/>
                </a:lnTo>
                <a:lnTo>
                  <a:pt x="10327" y="1569"/>
                </a:lnTo>
                <a:lnTo>
                  <a:pt x="10332" y="1582"/>
                </a:lnTo>
                <a:lnTo>
                  <a:pt x="10328" y="1594"/>
                </a:lnTo>
                <a:lnTo>
                  <a:pt x="10316" y="1589"/>
                </a:lnTo>
                <a:lnTo>
                  <a:pt x="10309" y="1576"/>
                </a:lnTo>
                <a:lnTo>
                  <a:pt x="10307" y="1562"/>
                </a:lnTo>
                <a:lnTo>
                  <a:pt x="10307" y="1547"/>
                </a:lnTo>
                <a:close/>
                <a:moveTo>
                  <a:pt x="10328" y="1522"/>
                </a:moveTo>
                <a:lnTo>
                  <a:pt x="10331" y="1520"/>
                </a:lnTo>
                <a:lnTo>
                  <a:pt x="10334" y="1521"/>
                </a:lnTo>
                <a:lnTo>
                  <a:pt x="10335" y="1525"/>
                </a:lnTo>
                <a:lnTo>
                  <a:pt x="10336" y="1529"/>
                </a:lnTo>
                <a:lnTo>
                  <a:pt x="10334" y="1530"/>
                </a:lnTo>
                <a:lnTo>
                  <a:pt x="10330" y="1529"/>
                </a:lnTo>
                <a:lnTo>
                  <a:pt x="10328" y="1526"/>
                </a:lnTo>
                <a:lnTo>
                  <a:pt x="10328" y="1522"/>
                </a:lnTo>
                <a:close/>
                <a:moveTo>
                  <a:pt x="10372" y="1592"/>
                </a:moveTo>
                <a:lnTo>
                  <a:pt x="10373" y="1596"/>
                </a:lnTo>
                <a:lnTo>
                  <a:pt x="10372" y="1597"/>
                </a:lnTo>
                <a:lnTo>
                  <a:pt x="10368" y="1599"/>
                </a:lnTo>
                <a:lnTo>
                  <a:pt x="10365" y="1596"/>
                </a:lnTo>
                <a:lnTo>
                  <a:pt x="10367" y="1592"/>
                </a:lnTo>
                <a:lnTo>
                  <a:pt x="10368" y="1591"/>
                </a:lnTo>
                <a:lnTo>
                  <a:pt x="10369" y="1591"/>
                </a:lnTo>
                <a:lnTo>
                  <a:pt x="10372" y="1592"/>
                </a:lnTo>
                <a:close/>
                <a:moveTo>
                  <a:pt x="10411" y="1591"/>
                </a:moveTo>
                <a:lnTo>
                  <a:pt x="10409" y="1603"/>
                </a:lnTo>
                <a:lnTo>
                  <a:pt x="10405" y="1597"/>
                </a:lnTo>
                <a:lnTo>
                  <a:pt x="10402" y="1582"/>
                </a:lnTo>
                <a:lnTo>
                  <a:pt x="10401" y="1568"/>
                </a:lnTo>
                <a:lnTo>
                  <a:pt x="10406" y="1572"/>
                </a:lnTo>
                <a:lnTo>
                  <a:pt x="10410" y="1577"/>
                </a:lnTo>
                <a:lnTo>
                  <a:pt x="10411" y="1583"/>
                </a:lnTo>
                <a:lnTo>
                  <a:pt x="10411" y="1591"/>
                </a:lnTo>
                <a:close/>
                <a:moveTo>
                  <a:pt x="10411" y="1611"/>
                </a:moveTo>
                <a:lnTo>
                  <a:pt x="10411" y="1610"/>
                </a:lnTo>
                <a:lnTo>
                  <a:pt x="10414" y="1613"/>
                </a:lnTo>
                <a:lnTo>
                  <a:pt x="10412" y="1613"/>
                </a:lnTo>
                <a:lnTo>
                  <a:pt x="10411" y="1611"/>
                </a:lnTo>
                <a:close/>
                <a:moveTo>
                  <a:pt x="10472" y="1606"/>
                </a:moveTo>
                <a:lnTo>
                  <a:pt x="10505" y="1595"/>
                </a:lnTo>
                <a:lnTo>
                  <a:pt x="10519" y="1623"/>
                </a:lnTo>
                <a:lnTo>
                  <a:pt x="10517" y="1655"/>
                </a:lnTo>
                <a:lnTo>
                  <a:pt x="10499" y="1652"/>
                </a:lnTo>
                <a:lnTo>
                  <a:pt x="10493" y="1637"/>
                </a:lnTo>
                <a:lnTo>
                  <a:pt x="10479" y="1629"/>
                </a:lnTo>
                <a:lnTo>
                  <a:pt x="10469" y="1620"/>
                </a:lnTo>
                <a:lnTo>
                  <a:pt x="10472" y="1606"/>
                </a:lnTo>
                <a:close/>
                <a:moveTo>
                  <a:pt x="10486" y="1533"/>
                </a:moveTo>
                <a:lnTo>
                  <a:pt x="10508" y="1529"/>
                </a:lnTo>
                <a:lnTo>
                  <a:pt x="10527" y="1539"/>
                </a:lnTo>
                <a:lnTo>
                  <a:pt x="10533" y="1554"/>
                </a:lnTo>
                <a:lnTo>
                  <a:pt x="10518" y="1568"/>
                </a:lnTo>
                <a:lnTo>
                  <a:pt x="10503" y="1563"/>
                </a:lnTo>
                <a:lnTo>
                  <a:pt x="10489" y="1557"/>
                </a:lnTo>
                <a:lnTo>
                  <a:pt x="10480" y="1547"/>
                </a:lnTo>
                <a:lnTo>
                  <a:pt x="10486" y="1533"/>
                </a:lnTo>
                <a:close/>
                <a:moveTo>
                  <a:pt x="10525" y="1619"/>
                </a:moveTo>
                <a:lnTo>
                  <a:pt x="10526" y="1623"/>
                </a:lnTo>
                <a:lnTo>
                  <a:pt x="10527" y="1625"/>
                </a:lnTo>
                <a:lnTo>
                  <a:pt x="10526" y="1623"/>
                </a:lnTo>
                <a:lnTo>
                  <a:pt x="10525" y="1619"/>
                </a:lnTo>
                <a:close/>
                <a:moveTo>
                  <a:pt x="10531" y="1764"/>
                </a:moveTo>
                <a:lnTo>
                  <a:pt x="10528" y="1767"/>
                </a:lnTo>
                <a:lnTo>
                  <a:pt x="10526" y="1767"/>
                </a:lnTo>
                <a:lnTo>
                  <a:pt x="10525" y="1763"/>
                </a:lnTo>
                <a:lnTo>
                  <a:pt x="10527" y="1759"/>
                </a:lnTo>
                <a:lnTo>
                  <a:pt x="10531" y="1755"/>
                </a:lnTo>
                <a:lnTo>
                  <a:pt x="10533" y="1755"/>
                </a:lnTo>
                <a:lnTo>
                  <a:pt x="10533" y="1758"/>
                </a:lnTo>
                <a:lnTo>
                  <a:pt x="10531" y="1764"/>
                </a:lnTo>
                <a:close/>
                <a:moveTo>
                  <a:pt x="10542" y="1820"/>
                </a:moveTo>
                <a:lnTo>
                  <a:pt x="10542" y="1834"/>
                </a:lnTo>
                <a:lnTo>
                  <a:pt x="10544" y="1849"/>
                </a:lnTo>
                <a:lnTo>
                  <a:pt x="10544" y="1863"/>
                </a:lnTo>
                <a:lnTo>
                  <a:pt x="10540" y="1875"/>
                </a:lnTo>
                <a:lnTo>
                  <a:pt x="10532" y="1862"/>
                </a:lnTo>
                <a:lnTo>
                  <a:pt x="10530" y="1839"/>
                </a:lnTo>
                <a:lnTo>
                  <a:pt x="10532" y="1820"/>
                </a:lnTo>
                <a:lnTo>
                  <a:pt x="10542" y="1820"/>
                </a:lnTo>
                <a:close/>
                <a:moveTo>
                  <a:pt x="10581" y="1603"/>
                </a:moveTo>
                <a:lnTo>
                  <a:pt x="10587" y="1610"/>
                </a:lnTo>
                <a:lnTo>
                  <a:pt x="10590" y="1622"/>
                </a:lnTo>
                <a:lnTo>
                  <a:pt x="10590" y="1633"/>
                </a:lnTo>
                <a:lnTo>
                  <a:pt x="10583" y="1642"/>
                </a:lnTo>
                <a:lnTo>
                  <a:pt x="10565" y="1637"/>
                </a:lnTo>
                <a:lnTo>
                  <a:pt x="10558" y="1615"/>
                </a:lnTo>
                <a:lnTo>
                  <a:pt x="10561" y="1597"/>
                </a:lnTo>
                <a:lnTo>
                  <a:pt x="10581" y="1603"/>
                </a:lnTo>
                <a:close/>
                <a:moveTo>
                  <a:pt x="10620" y="1746"/>
                </a:moveTo>
                <a:lnTo>
                  <a:pt x="10612" y="1751"/>
                </a:lnTo>
                <a:lnTo>
                  <a:pt x="10605" y="1755"/>
                </a:lnTo>
                <a:lnTo>
                  <a:pt x="10597" y="1757"/>
                </a:lnTo>
                <a:lnTo>
                  <a:pt x="10588" y="1757"/>
                </a:lnTo>
                <a:lnTo>
                  <a:pt x="10590" y="1746"/>
                </a:lnTo>
                <a:lnTo>
                  <a:pt x="10598" y="1744"/>
                </a:lnTo>
                <a:lnTo>
                  <a:pt x="10609" y="1745"/>
                </a:lnTo>
                <a:lnTo>
                  <a:pt x="10620" y="1746"/>
                </a:lnTo>
                <a:close/>
                <a:moveTo>
                  <a:pt x="10612" y="1707"/>
                </a:moveTo>
                <a:lnTo>
                  <a:pt x="10611" y="1709"/>
                </a:lnTo>
                <a:lnTo>
                  <a:pt x="10610" y="1713"/>
                </a:lnTo>
                <a:lnTo>
                  <a:pt x="10610" y="1709"/>
                </a:lnTo>
                <a:lnTo>
                  <a:pt x="10612" y="1707"/>
                </a:lnTo>
                <a:close/>
                <a:moveTo>
                  <a:pt x="10610" y="1683"/>
                </a:moveTo>
                <a:lnTo>
                  <a:pt x="10621" y="1683"/>
                </a:lnTo>
                <a:lnTo>
                  <a:pt x="10621" y="1694"/>
                </a:lnTo>
                <a:lnTo>
                  <a:pt x="10616" y="1703"/>
                </a:lnTo>
                <a:lnTo>
                  <a:pt x="10609" y="1694"/>
                </a:lnTo>
                <a:lnTo>
                  <a:pt x="10609" y="1688"/>
                </a:lnTo>
                <a:lnTo>
                  <a:pt x="10610" y="1683"/>
                </a:lnTo>
                <a:close/>
                <a:moveTo>
                  <a:pt x="10628" y="1603"/>
                </a:moveTo>
                <a:lnTo>
                  <a:pt x="10638" y="1609"/>
                </a:lnTo>
                <a:lnTo>
                  <a:pt x="10638" y="1624"/>
                </a:lnTo>
                <a:lnTo>
                  <a:pt x="10630" y="1639"/>
                </a:lnTo>
                <a:lnTo>
                  <a:pt x="10620" y="1648"/>
                </a:lnTo>
                <a:lnTo>
                  <a:pt x="10612" y="1638"/>
                </a:lnTo>
                <a:lnTo>
                  <a:pt x="10612" y="1624"/>
                </a:lnTo>
                <a:lnTo>
                  <a:pt x="10618" y="1611"/>
                </a:lnTo>
                <a:lnTo>
                  <a:pt x="10628" y="1603"/>
                </a:lnTo>
                <a:close/>
                <a:moveTo>
                  <a:pt x="10663" y="1736"/>
                </a:moveTo>
                <a:lnTo>
                  <a:pt x="10658" y="1746"/>
                </a:lnTo>
                <a:lnTo>
                  <a:pt x="10649" y="1746"/>
                </a:lnTo>
                <a:lnTo>
                  <a:pt x="10640" y="1741"/>
                </a:lnTo>
                <a:lnTo>
                  <a:pt x="10633" y="1734"/>
                </a:lnTo>
                <a:lnTo>
                  <a:pt x="10642" y="1729"/>
                </a:lnTo>
                <a:lnTo>
                  <a:pt x="10649" y="1729"/>
                </a:lnTo>
                <a:lnTo>
                  <a:pt x="10657" y="1731"/>
                </a:lnTo>
                <a:lnTo>
                  <a:pt x="10663" y="1736"/>
                </a:lnTo>
                <a:close/>
                <a:moveTo>
                  <a:pt x="10652" y="1647"/>
                </a:moveTo>
                <a:lnTo>
                  <a:pt x="10662" y="1637"/>
                </a:lnTo>
                <a:lnTo>
                  <a:pt x="10672" y="1638"/>
                </a:lnTo>
                <a:lnTo>
                  <a:pt x="10681" y="1647"/>
                </a:lnTo>
                <a:lnTo>
                  <a:pt x="10691" y="1657"/>
                </a:lnTo>
                <a:lnTo>
                  <a:pt x="10679" y="1665"/>
                </a:lnTo>
                <a:lnTo>
                  <a:pt x="10662" y="1666"/>
                </a:lnTo>
                <a:lnTo>
                  <a:pt x="10652" y="1661"/>
                </a:lnTo>
                <a:lnTo>
                  <a:pt x="10652" y="1647"/>
                </a:lnTo>
                <a:close/>
                <a:moveTo>
                  <a:pt x="10681" y="1567"/>
                </a:moveTo>
                <a:lnTo>
                  <a:pt x="10685" y="1569"/>
                </a:lnTo>
                <a:lnTo>
                  <a:pt x="10686" y="1573"/>
                </a:lnTo>
                <a:lnTo>
                  <a:pt x="10685" y="1576"/>
                </a:lnTo>
                <a:lnTo>
                  <a:pt x="10681" y="1580"/>
                </a:lnTo>
                <a:lnTo>
                  <a:pt x="10679" y="1577"/>
                </a:lnTo>
                <a:lnTo>
                  <a:pt x="10677" y="1573"/>
                </a:lnTo>
                <a:lnTo>
                  <a:pt x="10679" y="1569"/>
                </a:lnTo>
                <a:lnTo>
                  <a:pt x="10681" y="1567"/>
                </a:lnTo>
                <a:close/>
                <a:moveTo>
                  <a:pt x="10694" y="1629"/>
                </a:moveTo>
                <a:lnTo>
                  <a:pt x="10703" y="1634"/>
                </a:lnTo>
                <a:lnTo>
                  <a:pt x="10708" y="1646"/>
                </a:lnTo>
                <a:lnTo>
                  <a:pt x="10707" y="1656"/>
                </a:lnTo>
                <a:lnTo>
                  <a:pt x="10696" y="1660"/>
                </a:lnTo>
                <a:lnTo>
                  <a:pt x="10691" y="1653"/>
                </a:lnTo>
                <a:lnTo>
                  <a:pt x="10689" y="1646"/>
                </a:lnTo>
                <a:lnTo>
                  <a:pt x="10690" y="1636"/>
                </a:lnTo>
                <a:lnTo>
                  <a:pt x="10694" y="1629"/>
                </a:lnTo>
                <a:close/>
                <a:moveTo>
                  <a:pt x="10685" y="1702"/>
                </a:moveTo>
                <a:lnTo>
                  <a:pt x="10693" y="1698"/>
                </a:lnTo>
                <a:lnTo>
                  <a:pt x="10698" y="1701"/>
                </a:lnTo>
                <a:lnTo>
                  <a:pt x="10703" y="1706"/>
                </a:lnTo>
                <a:lnTo>
                  <a:pt x="10708" y="1712"/>
                </a:lnTo>
                <a:lnTo>
                  <a:pt x="10700" y="1712"/>
                </a:lnTo>
                <a:lnTo>
                  <a:pt x="10694" y="1712"/>
                </a:lnTo>
                <a:lnTo>
                  <a:pt x="10688" y="1709"/>
                </a:lnTo>
                <a:lnTo>
                  <a:pt x="10685" y="1702"/>
                </a:lnTo>
                <a:close/>
                <a:moveTo>
                  <a:pt x="10719" y="1731"/>
                </a:moveTo>
                <a:lnTo>
                  <a:pt x="10708" y="1749"/>
                </a:lnTo>
                <a:lnTo>
                  <a:pt x="10699" y="1767"/>
                </a:lnTo>
                <a:lnTo>
                  <a:pt x="10691" y="1786"/>
                </a:lnTo>
                <a:lnTo>
                  <a:pt x="10688" y="1807"/>
                </a:lnTo>
                <a:lnTo>
                  <a:pt x="10677" y="1774"/>
                </a:lnTo>
                <a:lnTo>
                  <a:pt x="10690" y="1739"/>
                </a:lnTo>
                <a:lnTo>
                  <a:pt x="10710" y="1718"/>
                </a:lnTo>
                <a:lnTo>
                  <a:pt x="10719" y="1731"/>
                </a:lnTo>
                <a:close/>
                <a:moveTo>
                  <a:pt x="10724" y="1833"/>
                </a:moveTo>
                <a:lnTo>
                  <a:pt x="10721" y="1833"/>
                </a:lnTo>
                <a:lnTo>
                  <a:pt x="10717" y="1829"/>
                </a:lnTo>
                <a:lnTo>
                  <a:pt x="10714" y="1825"/>
                </a:lnTo>
                <a:lnTo>
                  <a:pt x="10712" y="1821"/>
                </a:lnTo>
                <a:lnTo>
                  <a:pt x="10718" y="1821"/>
                </a:lnTo>
                <a:lnTo>
                  <a:pt x="10723" y="1823"/>
                </a:lnTo>
                <a:lnTo>
                  <a:pt x="10727" y="1827"/>
                </a:lnTo>
                <a:lnTo>
                  <a:pt x="10724" y="1833"/>
                </a:lnTo>
                <a:close/>
                <a:moveTo>
                  <a:pt x="10758" y="1671"/>
                </a:moveTo>
                <a:lnTo>
                  <a:pt x="10756" y="1669"/>
                </a:lnTo>
                <a:lnTo>
                  <a:pt x="10758" y="1671"/>
                </a:lnTo>
                <a:lnTo>
                  <a:pt x="10756" y="1669"/>
                </a:lnTo>
                <a:lnTo>
                  <a:pt x="10758" y="1671"/>
                </a:lnTo>
                <a:close/>
                <a:moveTo>
                  <a:pt x="10783" y="1707"/>
                </a:moveTo>
                <a:lnTo>
                  <a:pt x="10779" y="1715"/>
                </a:lnTo>
                <a:lnTo>
                  <a:pt x="10777" y="1723"/>
                </a:lnTo>
                <a:lnTo>
                  <a:pt x="10773" y="1732"/>
                </a:lnTo>
                <a:lnTo>
                  <a:pt x="10767" y="1736"/>
                </a:lnTo>
                <a:lnTo>
                  <a:pt x="10764" y="1726"/>
                </a:lnTo>
                <a:lnTo>
                  <a:pt x="10768" y="1717"/>
                </a:lnTo>
                <a:lnTo>
                  <a:pt x="10774" y="1711"/>
                </a:lnTo>
                <a:lnTo>
                  <a:pt x="10783" y="1707"/>
                </a:lnTo>
                <a:close/>
                <a:moveTo>
                  <a:pt x="10797" y="1666"/>
                </a:moveTo>
                <a:lnTo>
                  <a:pt x="10796" y="1678"/>
                </a:lnTo>
                <a:lnTo>
                  <a:pt x="10793" y="1687"/>
                </a:lnTo>
                <a:lnTo>
                  <a:pt x="10789" y="1697"/>
                </a:lnTo>
                <a:lnTo>
                  <a:pt x="10784" y="1704"/>
                </a:lnTo>
                <a:lnTo>
                  <a:pt x="10781" y="1692"/>
                </a:lnTo>
                <a:lnTo>
                  <a:pt x="10779" y="1679"/>
                </a:lnTo>
                <a:lnTo>
                  <a:pt x="10783" y="1669"/>
                </a:lnTo>
                <a:lnTo>
                  <a:pt x="10797" y="1666"/>
                </a:lnTo>
                <a:close/>
                <a:moveTo>
                  <a:pt x="10805" y="1662"/>
                </a:moveTo>
                <a:lnTo>
                  <a:pt x="10802" y="1664"/>
                </a:lnTo>
                <a:lnTo>
                  <a:pt x="10805" y="1662"/>
                </a:lnTo>
                <a:lnTo>
                  <a:pt x="10802" y="1664"/>
                </a:lnTo>
                <a:lnTo>
                  <a:pt x="10805" y="1662"/>
                </a:lnTo>
                <a:close/>
                <a:moveTo>
                  <a:pt x="10810" y="1768"/>
                </a:moveTo>
                <a:lnTo>
                  <a:pt x="10817" y="1763"/>
                </a:lnTo>
                <a:lnTo>
                  <a:pt x="10825" y="1760"/>
                </a:lnTo>
                <a:lnTo>
                  <a:pt x="10834" y="1762"/>
                </a:lnTo>
                <a:lnTo>
                  <a:pt x="10842" y="1764"/>
                </a:lnTo>
                <a:lnTo>
                  <a:pt x="10831" y="1773"/>
                </a:lnTo>
                <a:lnTo>
                  <a:pt x="10817" y="1779"/>
                </a:lnTo>
                <a:lnTo>
                  <a:pt x="10807" y="1779"/>
                </a:lnTo>
                <a:lnTo>
                  <a:pt x="10810" y="1768"/>
                </a:lnTo>
                <a:close/>
                <a:moveTo>
                  <a:pt x="10809" y="1589"/>
                </a:moveTo>
                <a:lnTo>
                  <a:pt x="10812" y="1587"/>
                </a:lnTo>
                <a:lnTo>
                  <a:pt x="10815" y="1590"/>
                </a:lnTo>
                <a:lnTo>
                  <a:pt x="10815" y="1594"/>
                </a:lnTo>
                <a:lnTo>
                  <a:pt x="10814" y="1597"/>
                </a:lnTo>
                <a:lnTo>
                  <a:pt x="10810" y="1599"/>
                </a:lnTo>
                <a:lnTo>
                  <a:pt x="10807" y="1596"/>
                </a:lnTo>
                <a:lnTo>
                  <a:pt x="10807" y="1591"/>
                </a:lnTo>
                <a:lnTo>
                  <a:pt x="10809" y="1589"/>
                </a:lnTo>
                <a:close/>
                <a:moveTo>
                  <a:pt x="10838" y="1680"/>
                </a:moveTo>
                <a:lnTo>
                  <a:pt x="10851" y="1680"/>
                </a:lnTo>
                <a:lnTo>
                  <a:pt x="10865" y="1681"/>
                </a:lnTo>
                <a:lnTo>
                  <a:pt x="10876" y="1685"/>
                </a:lnTo>
                <a:lnTo>
                  <a:pt x="10879" y="1694"/>
                </a:lnTo>
                <a:lnTo>
                  <a:pt x="10866" y="1707"/>
                </a:lnTo>
                <a:lnTo>
                  <a:pt x="10848" y="1706"/>
                </a:lnTo>
                <a:lnTo>
                  <a:pt x="10835" y="1695"/>
                </a:lnTo>
                <a:lnTo>
                  <a:pt x="10838" y="1680"/>
                </a:lnTo>
                <a:close/>
                <a:moveTo>
                  <a:pt x="10890" y="1578"/>
                </a:moveTo>
                <a:lnTo>
                  <a:pt x="10895" y="1578"/>
                </a:lnTo>
                <a:lnTo>
                  <a:pt x="10895" y="1585"/>
                </a:lnTo>
                <a:lnTo>
                  <a:pt x="10893" y="1590"/>
                </a:lnTo>
                <a:lnTo>
                  <a:pt x="10889" y="1585"/>
                </a:lnTo>
                <a:lnTo>
                  <a:pt x="10889" y="1581"/>
                </a:lnTo>
                <a:lnTo>
                  <a:pt x="10890" y="1578"/>
                </a:lnTo>
                <a:close/>
                <a:moveTo>
                  <a:pt x="11412" y="2141"/>
                </a:moveTo>
                <a:lnTo>
                  <a:pt x="11408" y="2140"/>
                </a:lnTo>
                <a:lnTo>
                  <a:pt x="11408" y="2137"/>
                </a:lnTo>
                <a:lnTo>
                  <a:pt x="11410" y="2135"/>
                </a:lnTo>
                <a:lnTo>
                  <a:pt x="11415" y="2136"/>
                </a:lnTo>
                <a:lnTo>
                  <a:pt x="11419" y="2138"/>
                </a:lnTo>
                <a:lnTo>
                  <a:pt x="11420" y="2141"/>
                </a:lnTo>
                <a:lnTo>
                  <a:pt x="11419" y="2142"/>
                </a:lnTo>
                <a:lnTo>
                  <a:pt x="11412" y="2141"/>
                </a:lnTo>
                <a:close/>
                <a:moveTo>
                  <a:pt x="11292" y="2677"/>
                </a:moveTo>
                <a:lnTo>
                  <a:pt x="11292" y="2674"/>
                </a:lnTo>
                <a:lnTo>
                  <a:pt x="11294" y="2671"/>
                </a:lnTo>
                <a:lnTo>
                  <a:pt x="11295" y="2668"/>
                </a:lnTo>
                <a:lnTo>
                  <a:pt x="11298" y="2669"/>
                </a:lnTo>
                <a:lnTo>
                  <a:pt x="11300" y="2679"/>
                </a:lnTo>
                <a:lnTo>
                  <a:pt x="11301" y="2686"/>
                </a:lnTo>
                <a:lnTo>
                  <a:pt x="11299" y="2686"/>
                </a:lnTo>
                <a:lnTo>
                  <a:pt x="11292" y="2677"/>
                </a:lnTo>
                <a:close/>
                <a:moveTo>
                  <a:pt x="10638" y="4729"/>
                </a:moveTo>
                <a:lnTo>
                  <a:pt x="10642" y="4730"/>
                </a:lnTo>
                <a:lnTo>
                  <a:pt x="10648" y="4735"/>
                </a:lnTo>
                <a:lnTo>
                  <a:pt x="10637" y="4734"/>
                </a:lnTo>
                <a:lnTo>
                  <a:pt x="10630" y="4734"/>
                </a:lnTo>
                <a:lnTo>
                  <a:pt x="10630" y="4733"/>
                </a:lnTo>
                <a:lnTo>
                  <a:pt x="10638" y="4729"/>
                </a:lnTo>
                <a:close/>
                <a:moveTo>
                  <a:pt x="10623" y="4658"/>
                </a:moveTo>
                <a:lnTo>
                  <a:pt x="10623" y="4659"/>
                </a:lnTo>
                <a:lnTo>
                  <a:pt x="10623" y="4658"/>
                </a:lnTo>
                <a:lnTo>
                  <a:pt x="10638" y="4663"/>
                </a:lnTo>
                <a:lnTo>
                  <a:pt x="10642" y="4665"/>
                </a:lnTo>
                <a:lnTo>
                  <a:pt x="10637" y="4663"/>
                </a:lnTo>
                <a:lnTo>
                  <a:pt x="10623" y="4658"/>
                </a:lnTo>
                <a:close/>
                <a:moveTo>
                  <a:pt x="10446" y="4608"/>
                </a:moveTo>
                <a:lnTo>
                  <a:pt x="10472" y="4616"/>
                </a:lnTo>
                <a:lnTo>
                  <a:pt x="10499" y="4623"/>
                </a:lnTo>
                <a:lnTo>
                  <a:pt x="10526" y="4630"/>
                </a:lnTo>
                <a:lnTo>
                  <a:pt x="10553" y="4633"/>
                </a:lnTo>
                <a:lnTo>
                  <a:pt x="10540" y="4650"/>
                </a:lnTo>
                <a:lnTo>
                  <a:pt x="10490" y="4649"/>
                </a:lnTo>
                <a:lnTo>
                  <a:pt x="10444" y="4633"/>
                </a:lnTo>
                <a:lnTo>
                  <a:pt x="10446" y="4608"/>
                </a:lnTo>
                <a:close/>
                <a:moveTo>
                  <a:pt x="10355" y="4656"/>
                </a:moveTo>
                <a:lnTo>
                  <a:pt x="10363" y="4652"/>
                </a:lnTo>
                <a:lnTo>
                  <a:pt x="10374" y="4655"/>
                </a:lnTo>
                <a:lnTo>
                  <a:pt x="10388" y="4660"/>
                </a:lnTo>
                <a:lnTo>
                  <a:pt x="10400" y="4665"/>
                </a:lnTo>
                <a:lnTo>
                  <a:pt x="10387" y="4672"/>
                </a:lnTo>
                <a:lnTo>
                  <a:pt x="10367" y="4670"/>
                </a:lnTo>
                <a:lnTo>
                  <a:pt x="10353" y="4664"/>
                </a:lnTo>
                <a:lnTo>
                  <a:pt x="10355" y="4656"/>
                </a:lnTo>
                <a:close/>
                <a:moveTo>
                  <a:pt x="10322" y="4580"/>
                </a:moveTo>
                <a:lnTo>
                  <a:pt x="10342" y="4576"/>
                </a:lnTo>
                <a:lnTo>
                  <a:pt x="10360" y="4582"/>
                </a:lnTo>
                <a:lnTo>
                  <a:pt x="10368" y="4598"/>
                </a:lnTo>
                <a:lnTo>
                  <a:pt x="10359" y="4617"/>
                </a:lnTo>
                <a:lnTo>
                  <a:pt x="10344" y="4614"/>
                </a:lnTo>
                <a:lnTo>
                  <a:pt x="10328" y="4607"/>
                </a:lnTo>
                <a:lnTo>
                  <a:pt x="10320" y="4595"/>
                </a:lnTo>
                <a:lnTo>
                  <a:pt x="10322" y="4580"/>
                </a:lnTo>
                <a:close/>
                <a:moveTo>
                  <a:pt x="10001" y="4731"/>
                </a:moveTo>
                <a:lnTo>
                  <a:pt x="10000" y="4734"/>
                </a:lnTo>
                <a:lnTo>
                  <a:pt x="10000" y="4736"/>
                </a:lnTo>
                <a:lnTo>
                  <a:pt x="9997" y="4734"/>
                </a:lnTo>
                <a:lnTo>
                  <a:pt x="9997" y="4734"/>
                </a:lnTo>
                <a:lnTo>
                  <a:pt x="9999" y="4733"/>
                </a:lnTo>
                <a:lnTo>
                  <a:pt x="10001" y="4731"/>
                </a:lnTo>
                <a:close/>
                <a:moveTo>
                  <a:pt x="10193" y="1814"/>
                </a:moveTo>
                <a:lnTo>
                  <a:pt x="10193" y="1816"/>
                </a:lnTo>
                <a:lnTo>
                  <a:pt x="10193" y="1818"/>
                </a:lnTo>
                <a:lnTo>
                  <a:pt x="10192" y="1819"/>
                </a:lnTo>
                <a:lnTo>
                  <a:pt x="10191" y="1820"/>
                </a:lnTo>
                <a:lnTo>
                  <a:pt x="10190" y="1818"/>
                </a:lnTo>
                <a:lnTo>
                  <a:pt x="10190" y="1816"/>
                </a:lnTo>
                <a:lnTo>
                  <a:pt x="10191" y="1814"/>
                </a:lnTo>
                <a:lnTo>
                  <a:pt x="10193" y="1814"/>
                </a:lnTo>
                <a:close/>
                <a:moveTo>
                  <a:pt x="10210" y="1720"/>
                </a:moveTo>
                <a:lnTo>
                  <a:pt x="10207" y="1722"/>
                </a:lnTo>
                <a:lnTo>
                  <a:pt x="10206" y="1722"/>
                </a:lnTo>
                <a:lnTo>
                  <a:pt x="10204" y="1722"/>
                </a:lnTo>
                <a:lnTo>
                  <a:pt x="10201" y="1720"/>
                </a:lnTo>
                <a:lnTo>
                  <a:pt x="10191" y="1699"/>
                </a:lnTo>
                <a:lnTo>
                  <a:pt x="10193" y="1693"/>
                </a:lnTo>
                <a:lnTo>
                  <a:pt x="10201" y="1699"/>
                </a:lnTo>
                <a:lnTo>
                  <a:pt x="10210" y="1720"/>
                </a:lnTo>
                <a:close/>
                <a:moveTo>
                  <a:pt x="10605" y="1903"/>
                </a:moveTo>
                <a:lnTo>
                  <a:pt x="10601" y="1898"/>
                </a:lnTo>
                <a:lnTo>
                  <a:pt x="10601" y="1890"/>
                </a:lnTo>
                <a:lnTo>
                  <a:pt x="10604" y="1884"/>
                </a:lnTo>
                <a:lnTo>
                  <a:pt x="10609" y="1883"/>
                </a:lnTo>
                <a:lnTo>
                  <a:pt x="10612" y="1888"/>
                </a:lnTo>
                <a:lnTo>
                  <a:pt x="10612" y="1895"/>
                </a:lnTo>
                <a:lnTo>
                  <a:pt x="10610" y="1902"/>
                </a:lnTo>
                <a:lnTo>
                  <a:pt x="10605" y="1903"/>
                </a:lnTo>
                <a:close/>
                <a:moveTo>
                  <a:pt x="10640" y="1825"/>
                </a:moveTo>
                <a:lnTo>
                  <a:pt x="10632" y="1820"/>
                </a:lnTo>
                <a:lnTo>
                  <a:pt x="10623" y="1806"/>
                </a:lnTo>
                <a:lnTo>
                  <a:pt x="10619" y="1791"/>
                </a:lnTo>
                <a:lnTo>
                  <a:pt x="10620" y="1781"/>
                </a:lnTo>
                <a:lnTo>
                  <a:pt x="10633" y="1785"/>
                </a:lnTo>
                <a:lnTo>
                  <a:pt x="10642" y="1797"/>
                </a:lnTo>
                <a:lnTo>
                  <a:pt x="10646" y="1813"/>
                </a:lnTo>
                <a:lnTo>
                  <a:pt x="10640" y="1825"/>
                </a:lnTo>
                <a:close/>
                <a:moveTo>
                  <a:pt x="10545" y="4514"/>
                </a:moveTo>
                <a:lnTo>
                  <a:pt x="10547" y="4515"/>
                </a:lnTo>
                <a:lnTo>
                  <a:pt x="10545" y="4514"/>
                </a:lnTo>
                <a:lnTo>
                  <a:pt x="10547" y="4512"/>
                </a:lnTo>
                <a:lnTo>
                  <a:pt x="10545" y="4514"/>
                </a:lnTo>
                <a:close/>
                <a:moveTo>
                  <a:pt x="10537" y="4554"/>
                </a:moveTo>
                <a:lnTo>
                  <a:pt x="10544" y="4549"/>
                </a:lnTo>
                <a:lnTo>
                  <a:pt x="10546" y="4556"/>
                </a:lnTo>
                <a:lnTo>
                  <a:pt x="10545" y="4566"/>
                </a:lnTo>
                <a:lnTo>
                  <a:pt x="10541" y="4574"/>
                </a:lnTo>
                <a:lnTo>
                  <a:pt x="10537" y="4570"/>
                </a:lnTo>
                <a:lnTo>
                  <a:pt x="10535" y="4565"/>
                </a:lnTo>
                <a:lnTo>
                  <a:pt x="10535" y="4560"/>
                </a:lnTo>
                <a:lnTo>
                  <a:pt x="10537" y="4554"/>
                </a:lnTo>
                <a:close/>
                <a:moveTo>
                  <a:pt x="10379" y="2546"/>
                </a:moveTo>
                <a:lnTo>
                  <a:pt x="10373" y="2534"/>
                </a:lnTo>
                <a:lnTo>
                  <a:pt x="10377" y="2524"/>
                </a:lnTo>
                <a:lnTo>
                  <a:pt x="10387" y="2519"/>
                </a:lnTo>
                <a:lnTo>
                  <a:pt x="10400" y="2523"/>
                </a:lnTo>
                <a:lnTo>
                  <a:pt x="10402" y="2530"/>
                </a:lnTo>
                <a:lnTo>
                  <a:pt x="10397" y="2538"/>
                </a:lnTo>
                <a:lnTo>
                  <a:pt x="10387" y="2544"/>
                </a:lnTo>
                <a:lnTo>
                  <a:pt x="10379" y="2546"/>
                </a:lnTo>
                <a:close/>
                <a:moveTo>
                  <a:pt x="10721" y="4100"/>
                </a:moveTo>
                <a:lnTo>
                  <a:pt x="10721" y="4097"/>
                </a:lnTo>
                <a:lnTo>
                  <a:pt x="10721" y="4100"/>
                </a:lnTo>
                <a:lnTo>
                  <a:pt x="10716" y="4099"/>
                </a:lnTo>
                <a:lnTo>
                  <a:pt x="10721" y="4100"/>
                </a:lnTo>
                <a:close/>
                <a:moveTo>
                  <a:pt x="10286" y="2504"/>
                </a:moveTo>
                <a:lnTo>
                  <a:pt x="10292" y="2500"/>
                </a:lnTo>
                <a:lnTo>
                  <a:pt x="10297" y="2500"/>
                </a:lnTo>
                <a:lnTo>
                  <a:pt x="10299" y="2502"/>
                </a:lnTo>
                <a:lnTo>
                  <a:pt x="10299" y="2509"/>
                </a:lnTo>
                <a:lnTo>
                  <a:pt x="10295" y="2513"/>
                </a:lnTo>
                <a:lnTo>
                  <a:pt x="10290" y="2511"/>
                </a:lnTo>
                <a:lnTo>
                  <a:pt x="10286" y="2508"/>
                </a:lnTo>
                <a:lnTo>
                  <a:pt x="10286" y="2504"/>
                </a:lnTo>
                <a:close/>
                <a:moveTo>
                  <a:pt x="10514" y="4534"/>
                </a:moveTo>
                <a:lnTo>
                  <a:pt x="10504" y="4585"/>
                </a:lnTo>
                <a:lnTo>
                  <a:pt x="10465" y="4575"/>
                </a:lnTo>
                <a:lnTo>
                  <a:pt x="10443" y="4540"/>
                </a:lnTo>
                <a:lnTo>
                  <a:pt x="10481" y="4515"/>
                </a:lnTo>
                <a:lnTo>
                  <a:pt x="10471" y="4500"/>
                </a:lnTo>
                <a:lnTo>
                  <a:pt x="10476" y="4479"/>
                </a:lnTo>
                <a:lnTo>
                  <a:pt x="10489" y="4465"/>
                </a:lnTo>
                <a:lnTo>
                  <a:pt x="10505" y="4467"/>
                </a:lnTo>
                <a:lnTo>
                  <a:pt x="10503" y="4487"/>
                </a:lnTo>
                <a:lnTo>
                  <a:pt x="10497" y="4506"/>
                </a:lnTo>
                <a:lnTo>
                  <a:pt x="10498" y="4521"/>
                </a:lnTo>
                <a:lnTo>
                  <a:pt x="10514" y="4534"/>
                </a:lnTo>
                <a:close/>
                <a:moveTo>
                  <a:pt x="10698" y="4535"/>
                </a:moveTo>
                <a:lnTo>
                  <a:pt x="10695" y="4535"/>
                </a:lnTo>
                <a:lnTo>
                  <a:pt x="10695" y="4534"/>
                </a:lnTo>
                <a:lnTo>
                  <a:pt x="10695" y="4533"/>
                </a:lnTo>
                <a:lnTo>
                  <a:pt x="10696" y="4532"/>
                </a:lnTo>
                <a:lnTo>
                  <a:pt x="10698" y="4535"/>
                </a:lnTo>
                <a:close/>
                <a:moveTo>
                  <a:pt x="10843" y="1763"/>
                </a:moveTo>
                <a:lnTo>
                  <a:pt x="10845" y="1759"/>
                </a:lnTo>
                <a:lnTo>
                  <a:pt x="10847" y="1755"/>
                </a:lnTo>
                <a:lnTo>
                  <a:pt x="10849" y="1753"/>
                </a:lnTo>
                <a:lnTo>
                  <a:pt x="10853" y="1750"/>
                </a:lnTo>
                <a:lnTo>
                  <a:pt x="10856" y="1754"/>
                </a:lnTo>
                <a:lnTo>
                  <a:pt x="10853" y="1758"/>
                </a:lnTo>
                <a:lnTo>
                  <a:pt x="10848" y="1762"/>
                </a:lnTo>
                <a:lnTo>
                  <a:pt x="10843" y="1763"/>
                </a:lnTo>
                <a:close/>
                <a:moveTo>
                  <a:pt x="10666" y="1893"/>
                </a:moveTo>
                <a:lnTo>
                  <a:pt x="10668" y="1894"/>
                </a:lnTo>
                <a:lnTo>
                  <a:pt x="10668" y="1894"/>
                </a:lnTo>
                <a:lnTo>
                  <a:pt x="10667" y="1894"/>
                </a:lnTo>
                <a:lnTo>
                  <a:pt x="10666" y="1893"/>
                </a:lnTo>
                <a:lnTo>
                  <a:pt x="10668" y="1894"/>
                </a:lnTo>
                <a:lnTo>
                  <a:pt x="10666" y="1893"/>
                </a:lnTo>
                <a:close/>
                <a:moveTo>
                  <a:pt x="10493" y="1875"/>
                </a:moveTo>
                <a:lnTo>
                  <a:pt x="10494" y="1870"/>
                </a:lnTo>
                <a:lnTo>
                  <a:pt x="10495" y="1872"/>
                </a:lnTo>
                <a:lnTo>
                  <a:pt x="10497" y="1874"/>
                </a:lnTo>
                <a:lnTo>
                  <a:pt x="10495" y="1874"/>
                </a:lnTo>
                <a:lnTo>
                  <a:pt x="10493" y="1875"/>
                </a:lnTo>
                <a:close/>
                <a:moveTo>
                  <a:pt x="9511" y="5386"/>
                </a:moveTo>
                <a:lnTo>
                  <a:pt x="9492" y="5382"/>
                </a:lnTo>
                <a:lnTo>
                  <a:pt x="9475" y="5379"/>
                </a:lnTo>
                <a:lnTo>
                  <a:pt x="9460" y="5378"/>
                </a:lnTo>
                <a:lnTo>
                  <a:pt x="9445" y="5375"/>
                </a:lnTo>
                <a:lnTo>
                  <a:pt x="9461" y="5370"/>
                </a:lnTo>
                <a:lnTo>
                  <a:pt x="9478" y="5360"/>
                </a:lnTo>
                <a:lnTo>
                  <a:pt x="9494" y="5361"/>
                </a:lnTo>
                <a:lnTo>
                  <a:pt x="9511" y="5386"/>
                </a:lnTo>
                <a:close/>
                <a:moveTo>
                  <a:pt x="9408" y="5215"/>
                </a:moveTo>
                <a:lnTo>
                  <a:pt x="9432" y="5190"/>
                </a:lnTo>
                <a:lnTo>
                  <a:pt x="9452" y="5182"/>
                </a:lnTo>
                <a:lnTo>
                  <a:pt x="9470" y="5195"/>
                </a:lnTo>
                <a:lnTo>
                  <a:pt x="9487" y="5227"/>
                </a:lnTo>
                <a:lnTo>
                  <a:pt x="9465" y="5223"/>
                </a:lnTo>
                <a:lnTo>
                  <a:pt x="9447" y="5220"/>
                </a:lnTo>
                <a:lnTo>
                  <a:pt x="9428" y="5218"/>
                </a:lnTo>
                <a:lnTo>
                  <a:pt x="9408" y="5215"/>
                </a:lnTo>
                <a:close/>
                <a:moveTo>
                  <a:pt x="9440" y="5737"/>
                </a:moveTo>
                <a:lnTo>
                  <a:pt x="9429" y="5736"/>
                </a:lnTo>
                <a:lnTo>
                  <a:pt x="9418" y="5733"/>
                </a:lnTo>
                <a:lnTo>
                  <a:pt x="9408" y="5732"/>
                </a:lnTo>
                <a:lnTo>
                  <a:pt x="9395" y="5731"/>
                </a:lnTo>
                <a:lnTo>
                  <a:pt x="9415" y="5704"/>
                </a:lnTo>
                <a:lnTo>
                  <a:pt x="9427" y="5696"/>
                </a:lnTo>
                <a:lnTo>
                  <a:pt x="9434" y="5706"/>
                </a:lnTo>
                <a:lnTo>
                  <a:pt x="9440" y="5737"/>
                </a:lnTo>
                <a:close/>
                <a:moveTo>
                  <a:pt x="8279" y="5717"/>
                </a:moveTo>
                <a:lnTo>
                  <a:pt x="8288" y="5717"/>
                </a:lnTo>
                <a:lnTo>
                  <a:pt x="8298" y="5723"/>
                </a:lnTo>
                <a:lnTo>
                  <a:pt x="8302" y="5733"/>
                </a:lnTo>
                <a:lnTo>
                  <a:pt x="8300" y="5743"/>
                </a:lnTo>
                <a:lnTo>
                  <a:pt x="8291" y="5743"/>
                </a:lnTo>
                <a:lnTo>
                  <a:pt x="8281" y="5738"/>
                </a:lnTo>
                <a:lnTo>
                  <a:pt x="8276" y="5728"/>
                </a:lnTo>
                <a:lnTo>
                  <a:pt x="8279" y="5717"/>
                </a:lnTo>
                <a:close/>
                <a:moveTo>
                  <a:pt x="7720" y="4418"/>
                </a:moveTo>
                <a:lnTo>
                  <a:pt x="7719" y="4425"/>
                </a:lnTo>
                <a:lnTo>
                  <a:pt x="7711" y="4427"/>
                </a:lnTo>
                <a:lnTo>
                  <a:pt x="7701" y="4428"/>
                </a:lnTo>
                <a:lnTo>
                  <a:pt x="7692" y="4426"/>
                </a:lnTo>
                <a:lnTo>
                  <a:pt x="7706" y="4422"/>
                </a:lnTo>
                <a:lnTo>
                  <a:pt x="7720" y="4418"/>
                </a:lnTo>
                <a:close/>
                <a:moveTo>
                  <a:pt x="7306" y="5246"/>
                </a:moveTo>
                <a:lnTo>
                  <a:pt x="7303" y="5244"/>
                </a:lnTo>
                <a:lnTo>
                  <a:pt x="7306" y="5246"/>
                </a:lnTo>
                <a:lnTo>
                  <a:pt x="7303" y="5246"/>
                </a:lnTo>
                <a:lnTo>
                  <a:pt x="7306" y="5246"/>
                </a:lnTo>
                <a:close/>
                <a:moveTo>
                  <a:pt x="7286" y="5081"/>
                </a:moveTo>
                <a:lnTo>
                  <a:pt x="7287" y="5079"/>
                </a:lnTo>
                <a:lnTo>
                  <a:pt x="7289" y="5076"/>
                </a:lnTo>
                <a:lnTo>
                  <a:pt x="7291" y="5075"/>
                </a:lnTo>
                <a:lnTo>
                  <a:pt x="7295" y="5075"/>
                </a:lnTo>
                <a:lnTo>
                  <a:pt x="7305" y="5080"/>
                </a:lnTo>
                <a:lnTo>
                  <a:pt x="7304" y="5084"/>
                </a:lnTo>
                <a:lnTo>
                  <a:pt x="7296" y="5085"/>
                </a:lnTo>
                <a:lnTo>
                  <a:pt x="7286" y="5081"/>
                </a:lnTo>
                <a:close/>
                <a:moveTo>
                  <a:pt x="7275" y="5227"/>
                </a:moveTo>
                <a:lnTo>
                  <a:pt x="7286" y="5233"/>
                </a:lnTo>
                <a:lnTo>
                  <a:pt x="7289" y="5238"/>
                </a:lnTo>
                <a:lnTo>
                  <a:pt x="7283" y="5239"/>
                </a:lnTo>
                <a:lnTo>
                  <a:pt x="7271" y="5238"/>
                </a:lnTo>
                <a:lnTo>
                  <a:pt x="7264" y="5233"/>
                </a:lnTo>
                <a:lnTo>
                  <a:pt x="7263" y="5229"/>
                </a:lnTo>
                <a:lnTo>
                  <a:pt x="7267" y="5227"/>
                </a:lnTo>
                <a:lnTo>
                  <a:pt x="7275" y="5227"/>
                </a:lnTo>
                <a:close/>
                <a:moveTo>
                  <a:pt x="7184" y="5182"/>
                </a:moveTo>
                <a:lnTo>
                  <a:pt x="7196" y="5188"/>
                </a:lnTo>
                <a:lnTo>
                  <a:pt x="7198" y="5200"/>
                </a:lnTo>
                <a:lnTo>
                  <a:pt x="7194" y="5213"/>
                </a:lnTo>
                <a:lnTo>
                  <a:pt x="7189" y="5225"/>
                </a:lnTo>
                <a:lnTo>
                  <a:pt x="7180" y="5215"/>
                </a:lnTo>
                <a:lnTo>
                  <a:pt x="7177" y="5204"/>
                </a:lnTo>
                <a:lnTo>
                  <a:pt x="7177" y="5193"/>
                </a:lnTo>
                <a:lnTo>
                  <a:pt x="7184" y="5182"/>
                </a:lnTo>
                <a:close/>
                <a:moveTo>
                  <a:pt x="7096" y="4866"/>
                </a:moveTo>
                <a:lnTo>
                  <a:pt x="7133" y="4856"/>
                </a:lnTo>
                <a:lnTo>
                  <a:pt x="7168" y="4880"/>
                </a:lnTo>
                <a:lnTo>
                  <a:pt x="7191" y="4918"/>
                </a:lnTo>
                <a:lnTo>
                  <a:pt x="7187" y="4957"/>
                </a:lnTo>
                <a:lnTo>
                  <a:pt x="7149" y="4941"/>
                </a:lnTo>
                <a:lnTo>
                  <a:pt x="7118" y="4926"/>
                </a:lnTo>
                <a:lnTo>
                  <a:pt x="7100" y="4904"/>
                </a:lnTo>
                <a:lnTo>
                  <a:pt x="7096" y="4866"/>
                </a:lnTo>
                <a:close/>
                <a:moveTo>
                  <a:pt x="7072" y="4930"/>
                </a:moveTo>
                <a:lnTo>
                  <a:pt x="7078" y="4930"/>
                </a:lnTo>
                <a:lnTo>
                  <a:pt x="7087" y="4931"/>
                </a:lnTo>
                <a:lnTo>
                  <a:pt x="7094" y="4932"/>
                </a:lnTo>
                <a:lnTo>
                  <a:pt x="7096" y="4938"/>
                </a:lnTo>
                <a:lnTo>
                  <a:pt x="7085" y="4932"/>
                </a:lnTo>
                <a:lnTo>
                  <a:pt x="7072" y="4930"/>
                </a:lnTo>
                <a:close/>
                <a:moveTo>
                  <a:pt x="6935" y="5284"/>
                </a:moveTo>
                <a:lnTo>
                  <a:pt x="6960" y="5243"/>
                </a:lnTo>
                <a:lnTo>
                  <a:pt x="6988" y="5220"/>
                </a:lnTo>
                <a:lnTo>
                  <a:pt x="7026" y="5214"/>
                </a:lnTo>
                <a:lnTo>
                  <a:pt x="7080" y="5224"/>
                </a:lnTo>
                <a:lnTo>
                  <a:pt x="7081" y="5258"/>
                </a:lnTo>
                <a:lnTo>
                  <a:pt x="7038" y="5272"/>
                </a:lnTo>
                <a:lnTo>
                  <a:pt x="6979" y="5276"/>
                </a:lnTo>
                <a:lnTo>
                  <a:pt x="6935" y="5284"/>
                </a:lnTo>
                <a:close/>
                <a:moveTo>
                  <a:pt x="6926" y="5336"/>
                </a:moveTo>
                <a:lnTo>
                  <a:pt x="6926" y="5333"/>
                </a:lnTo>
                <a:lnTo>
                  <a:pt x="6932" y="5328"/>
                </a:lnTo>
                <a:lnTo>
                  <a:pt x="6941" y="5326"/>
                </a:lnTo>
                <a:lnTo>
                  <a:pt x="6949" y="5327"/>
                </a:lnTo>
                <a:lnTo>
                  <a:pt x="6957" y="5337"/>
                </a:lnTo>
                <a:lnTo>
                  <a:pt x="6952" y="5341"/>
                </a:lnTo>
                <a:lnTo>
                  <a:pt x="6940" y="5340"/>
                </a:lnTo>
                <a:lnTo>
                  <a:pt x="6926" y="5336"/>
                </a:lnTo>
                <a:close/>
                <a:moveTo>
                  <a:pt x="6914" y="5349"/>
                </a:moveTo>
                <a:lnTo>
                  <a:pt x="6924" y="5354"/>
                </a:lnTo>
                <a:lnTo>
                  <a:pt x="6933" y="5356"/>
                </a:lnTo>
                <a:lnTo>
                  <a:pt x="6942" y="5358"/>
                </a:lnTo>
                <a:lnTo>
                  <a:pt x="6951" y="5356"/>
                </a:lnTo>
                <a:lnTo>
                  <a:pt x="6940" y="5370"/>
                </a:lnTo>
                <a:lnTo>
                  <a:pt x="6923" y="5374"/>
                </a:lnTo>
                <a:lnTo>
                  <a:pt x="6912" y="5367"/>
                </a:lnTo>
                <a:lnTo>
                  <a:pt x="6914" y="5349"/>
                </a:lnTo>
                <a:close/>
                <a:moveTo>
                  <a:pt x="6840" y="4832"/>
                </a:moveTo>
                <a:lnTo>
                  <a:pt x="6853" y="4822"/>
                </a:lnTo>
                <a:lnTo>
                  <a:pt x="6876" y="4813"/>
                </a:lnTo>
                <a:lnTo>
                  <a:pt x="6901" y="4804"/>
                </a:lnTo>
                <a:lnTo>
                  <a:pt x="6922" y="4798"/>
                </a:lnTo>
                <a:lnTo>
                  <a:pt x="6928" y="4824"/>
                </a:lnTo>
                <a:lnTo>
                  <a:pt x="6907" y="4832"/>
                </a:lnTo>
                <a:lnTo>
                  <a:pt x="6872" y="4831"/>
                </a:lnTo>
                <a:lnTo>
                  <a:pt x="6840" y="4832"/>
                </a:lnTo>
                <a:close/>
                <a:moveTo>
                  <a:pt x="6867" y="4869"/>
                </a:moveTo>
                <a:lnTo>
                  <a:pt x="6871" y="4870"/>
                </a:lnTo>
                <a:lnTo>
                  <a:pt x="6872" y="4874"/>
                </a:lnTo>
                <a:lnTo>
                  <a:pt x="6872" y="4878"/>
                </a:lnTo>
                <a:lnTo>
                  <a:pt x="6872" y="4882"/>
                </a:lnTo>
                <a:lnTo>
                  <a:pt x="6867" y="4880"/>
                </a:lnTo>
                <a:lnTo>
                  <a:pt x="6865" y="4878"/>
                </a:lnTo>
                <a:lnTo>
                  <a:pt x="6865" y="4874"/>
                </a:lnTo>
                <a:lnTo>
                  <a:pt x="6867" y="4869"/>
                </a:lnTo>
                <a:close/>
                <a:moveTo>
                  <a:pt x="6858" y="5229"/>
                </a:moveTo>
                <a:lnTo>
                  <a:pt x="6861" y="5223"/>
                </a:lnTo>
                <a:lnTo>
                  <a:pt x="6867" y="5220"/>
                </a:lnTo>
                <a:lnTo>
                  <a:pt x="6872" y="5221"/>
                </a:lnTo>
                <a:lnTo>
                  <a:pt x="6873" y="5229"/>
                </a:lnTo>
                <a:lnTo>
                  <a:pt x="6870" y="5242"/>
                </a:lnTo>
                <a:lnTo>
                  <a:pt x="6865" y="5246"/>
                </a:lnTo>
                <a:lnTo>
                  <a:pt x="6861" y="5242"/>
                </a:lnTo>
                <a:lnTo>
                  <a:pt x="6858" y="5229"/>
                </a:lnTo>
                <a:close/>
                <a:moveTo>
                  <a:pt x="6825" y="5258"/>
                </a:moveTo>
                <a:lnTo>
                  <a:pt x="6833" y="5255"/>
                </a:lnTo>
                <a:lnTo>
                  <a:pt x="6843" y="5253"/>
                </a:lnTo>
                <a:lnTo>
                  <a:pt x="6853" y="5253"/>
                </a:lnTo>
                <a:lnTo>
                  <a:pt x="6863" y="5252"/>
                </a:lnTo>
                <a:lnTo>
                  <a:pt x="6854" y="5261"/>
                </a:lnTo>
                <a:lnTo>
                  <a:pt x="6842" y="5267"/>
                </a:lnTo>
                <a:lnTo>
                  <a:pt x="6830" y="5267"/>
                </a:lnTo>
                <a:lnTo>
                  <a:pt x="6825" y="5258"/>
                </a:lnTo>
                <a:close/>
                <a:moveTo>
                  <a:pt x="6773" y="5185"/>
                </a:moveTo>
                <a:lnTo>
                  <a:pt x="6782" y="5187"/>
                </a:lnTo>
                <a:lnTo>
                  <a:pt x="6780" y="5195"/>
                </a:lnTo>
                <a:lnTo>
                  <a:pt x="6773" y="5201"/>
                </a:lnTo>
                <a:lnTo>
                  <a:pt x="6766" y="5197"/>
                </a:lnTo>
                <a:lnTo>
                  <a:pt x="6769" y="5190"/>
                </a:lnTo>
                <a:lnTo>
                  <a:pt x="6773" y="5185"/>
                </a:lnTo>
                <a:close/>
                <a:moveTo>
                  <a:pt x="6747" y="4814"/>
                </a:moveTo>
                <a:lnTo>
                  <a:pt x="6755" y="4820"/>
                </a:lnTo>
                <a:lnTo>
                  <a:pt x="6756" y="4828"/>
                </a:lnTo>
                <a:lnTo>
                  <a:pt x="6752" y="4834"/>
                </a:lnTo>
                <a:lnTo>
                  <a:pt x="6742" y="4837"/>
                </a:lnTo>
                <a:lnTo>
                  <a:pt x="6737" y="4831"/>
                </a:lnTo>
                <a:lnTo>
                  <a:pt x="6737" y="4823"/>
                </a:lnTo>
                <a:lnTo>
                  <a:pt x="6740" y="4817"/>
                </a:lnTo>
                <a:lnTo>
                  <a:pt x="6747" y="4814"/>
                </a:lnTo>
                <a:close/>
                <a:moveTo>
                  <a:pt x="6696" y="5332"/>
                </a:moveTo>
                <a:lnTo>
                  <a:pt x="6712" y="5332"/>
                </a:lnTo>
                <a:lnTo>
                  <a:pt x="6728" y="5335"/>
                </a:lnTo>
                <a:lnTo>
                  <a:pt x="6721" y="5349"/>
                </a:lnTo>
                <a:lnTo>
                  <a:pt x="6708" y="5353"/>
                </a:lnTo>
                <a:lnTo>
                  <a:pt x="6699" y="5347"/>
                </a:lnTo>
                <a:lnTo>
                  <a:pt x="6696" y="5332"/>
                </a:lnTo>
                <a:close/>
                <a:moveTo>
                  <a:pt x="6682" y="5038"/>
                </a:moveTo>
                <a:lnTo>
                  <a:pt x="6681" y="5034"/>
                </a:lnTo>
                <a:lnTo>
                  <a:pt x="6682" y="5032"/>
                </a:lnTo>
                <a:lnTo>
                  <a:pt x="6685" y="5029"/>
                </a:lnTo>
                <a:lnTo>
                  <a:pt x="6689" y="5028"/>
                </a:lnTo>
                <a:lnTo>
                  <a:pt x="6695" y="5033"/>
                </a:lnTo>
                <a:lnTo>
                  <a:pt x="6696" y="5037"/>
                </a:lnTo>
                <a:lnTo>
                  <a:pt x="6691" y="5038"/>
                </a:lnTo>
                <a:lnTo>
                  <a:pt x="6682" y="5038"/>
                </a:lnTo>
                <a:close/>
                <a:moveTo>
                  <a:pt x="6670" y="5229"/>
                </a:moveTo>
                <a:lnTo>
                  <a:pt x="6679" y="5224"/>
                </a:lnTo>
                <a:lnTo>
                  <a:pt x="6690" y="5228"/>
                </a:lnTo>
                <a:lnTo>
                  <a:pt x="6694" y="5237"/>
                </a:lnTo>
                <a:lnTo>
                  <a:pt x="6682" y="5247"/>
                </a:lnTo>
                <a:lnTo>
                  <a:pt x="6671" y="5249"/>
                </a:lnTo>
                <a:lnTo>
                  <a:pt x="6665" y="5246"/>
                </a:lnTo>
                <a:lnTo>
                  <a:pt x="6665" y="5238"/>
                </a:lnTo>
                <a:lnTo>
                  <a:pt x="6670" y="5229"/>
                </a:lnTo>
                <a:close/>
                <a:moveTo>
                  <a:pt x="6659" y="5193"/>
                </a:moveTo>
                <a:lnTo>
                  <a:pt x="6666" y="5188"/>
                </a:lnTo>
                <a:lnTo>
                  <a:pt x="6670" y="5196"/>
                </a:lnTo>
                <a:lnTo>
                  <a:pt x="6671" y="5209"/>
                </a:lnTo>
                <a:lnTo>
                  <a:pt x="6671" y="5220"/>
                </a:lnTo>
                <a:lnTo>
                  <a:pt x="6667" y="5214"/>
                </a:lnTo>
                <a:lnTo>
                  <a:pt x="6662" y="5207"/>
                </a:lnTo>
                <a:lnTo>
                  <a:pt x="6659" y="5201"/>
                </a:lnTo>
                <a:lnTo>
                  <a:pt x="6659" y="5193"/>
                </a:lnTo>
                <a:close/>
                <a:moveTo>
                  <a:pt x="6659" y="5122"/>
                </a:moveTo>
                <a:lnTo>
                  <a:pt x="6661" y="5126"/>
                </a:lnTo>
                <a:lnTo>
                  <a:pt x="6657" y="5129"/>
                </a:lnTo>
                <a:lnTo>
                  <a:pt x="6652" y="5131"/>
                </a:lnTo>
                <a:lnTo>
                  <a:pt x="6648" y="5131"/>
                </a:lnTo>
                <a:lnTo>
                  <a:pt x="6645" y="5123"/>
                </a:lnTo>
                <a:lnTo>
                  <a:pt x="6648" y="5121"/>
                </a:lnTo>
                <a:lnTo>
                  <a:pt x="6654" y="5121"/>
                </a:lnTo>
                <a:lnTo>
                  <a:pt x="6659" y="5122"/>
                </a:lnTo>
                <a:close/>
                <a:moveTo>
                  <a:pt x="6558" y="4810"/>
                </a:moveTo>
                <a:lnTo>
                  <a:pt x="6550" y="4815"/>
                </a:lnTo>
                <a:lnTo>
                  <a:pt x="6542" y="4818"/>
                </a:lnTo>
                <a:lnTo>
                  <a:pt x="6533" y="4815"/>
                </a:lnTo>
                <a:lnTo>
                  <a:pt x="6526" y="4810"/>
                </a:lnTo>
                <a:lnTo>
                  <a:pt x="6542" y="4810"/>
                </a:lnTo>
                <a:lnTo>
                  <a:pt x="6558" y="4810"/>
                </a:lnTo>
                <a:close/>
                <a:moveTo>
                  <a:pt x="6513" y="5202"/>
                </a:moveTo>
                <a:lnTo>
                  <a:pt x="6519" y="5201"/>
                </a:lnTo>
                <a:lnTo>
                  <a:pt x="6522" y="5205"/>
                </a:lnTo>
                <a:lnTo>
                  <a:pt x="6521" y="5210"/>
                </a:lnTo>
                <a:lnTo>
                  <a:pt x="6516" y="5213"/>
                </a:lnTo>
                <a:lnTo>
                  <a:pt x="6512" y="5211"/>
                </a:lnTo>
                <a:lnTo>
                  <a:pt x="6510" y="5207"/>
                </a:lnTo>
                <a:lnTo>
                  <a:pt x="6510" y="5205"/>
                </a:lnTo>
                <a:lnTo>
                  <a:pt x="6513" y="5202"/>
                </a:lnTo>
                <a:close/>
                <a:moveTo>
                  <a:pt x="6510" y="5126"/>
                </a:moveTo>
                <a:lnTo>
                  <a:pt x="6514" y="5130"/>
                </a:lnTo>
                <a:lnTo>
                  <a:pt x="6513" y="5135"/>
                </a:lnTo>
                <a:lnTo>
                  <a:pt x="6509" y="5136"/>
                </a:lnTo>
                <a:lnTo>
                  <a:pt x="6504" y="5134"/>
                </a:lnTo>
                <a:lnTo>
                  <a:pt x="6500" y="5127"/>
                </a:lnTo>
                <a:lnTo>
                  <a:pt x="6500" y="5123"/>
                </a:lnTo>
                <a:lnTo>
                  <a:pt x="6504" y="5123"/>
                </a:lnTo>
                <a:lnTo>
                  <a:pt x="6510" y="5126"/>
                </a:lnTo>
                <a:close/>
                <a:moveTo>
                  <a:pt x="6339" y="4714"/>
                </a:moveTo>
                <a:lnTo>
                  <a:pt x="6336" y="4719"/>
                </a:lnTo>
                <a:lnTo>
                  <a:pt x="6332" y="4719"/>
                </a:lnTo>
                <a:lnTo>
                  <a:pt x="6330" y="4716"/>
                </a:lnTo>
                <a:lnTo>
                  <a:pt x="6333" y="4712"/>
                </a:lnTo>
                <a:lnTo>
                  <a:pt x="6336" y="4712"/>
                </a:lnTo>
                <a:lnTo>
                  <a:pt x="6339" y="4714"/>
                </a:lnTo>
                <a:close/>
                <a:moveTo>
                  <a:pt x="6330" y="4638"/>
                </a:moveTo>
                <a:lnTo>
                  <a:pt x="6325" y="4642"/>
                </a:lnTo>
                <a:lnTo>
                  <a:pt x="6325" y="4638"/>
                </a:lnTo>
                <a:lnTo>
                  <a:pt x="6325" y="4637"/>
                </a:lnTo>
                <a:lnTo>
                  <a:pt x="6326" y="4637"/>
                </a:lnTo>
                <a:lnTo>
                  <a:pt x="6330" y="4638"/>
                </a:lnTo>
                <a:close/>
                <a:moveTo>
                  <a:pt x="6120" y="4871"/>
                </a:moveTo>
                <a:lnTo>
                  <a:pt x="6131" y="4870"/>
                </a:lnTo>
                <a:lnTo>
                  <a:pt x="6148" y="4871"/>
                </a:lnTo>
                <a:lnTo>
                  <a:pt x="6160" y="4875"/>
                </a:lnTo>
                <a:lnTo>
                  <a:pt x="6159" y="4879"/>
                </a:lnTo>
                <a:lnTo>
                  <a:pt x="6145" y="4884"/>
                </a:lnTo>
                <a:lnTo>
                  <a:pt x="6125" y="4885"/>
                </a:lnTo>
                <a:lnTo>
                  <a:pt x="6112" y="4882"/>
                </a:lnTo>
                <a:lnTo>
                  <a:pt x="6120" y="4871"/>
                </a:lnTo>
                <a:close/>
                <a:moveTo>
                  <a:pt x="5971" y="4240"/>
                </a:moveTo>
                <a:lnTo>
                  <a:pt x="5974" y="4255"/>
                </a:lnTo>
                <a:lnTo>
                  <a:pt x="5971" y="4263"/>
                </a:lnTo>
                <a:lnTo>
                  <a:pt x="5960" y="4263"/>
                </a:lnTo>
                <a:lnTo>
                  <a:pt x="5950" y="4253"/>
                </a:lnTo>
                <a:lnTo>
                  <a:pt x="5957" y="4254"/>
                </a:lnTo>
                <a:lnTo>
                  <a:pt x="5962" y="4250"/>
                </a:lnTo>
                <a:lnTo>
                  <a:pt x="5965" y="4245"/>
                </a:lnTo>
                <a:lnTo>
                  <a:pt x="5971" y="4240"/>
                </a:lnTo>
                <a:close/>
                <a:moveTo>
                  <a:pt x="5671" y="4976"/>
                </a:moveTo>
                <a:lnTo>
                  <a:pt x="5670" y="4978"/>
                </a:lnTo>
                <a:lnTo>
                  <a:pt x="5669" y="4978"/>
                </a:lnTo>
                <a:lnTo>
                  <a:pt x="5670" y="4977"/>
                </a:lnTo>
                <a:lnTo>
                  <a:pt x="5671" y="4976"/>
                </a:lnTo>
                <a:lnTo>
                  <a:pt x="5671" y="4978"/>
                </a:lnTo>
                <a:lnTo>
                  <a:pt x="5671" y="4980"/>
                </a:lnTo>
                <a:lnTo>
                  <a:pt x="5671" y="4980"/>
                </a:lnTo>
                <a:lnTo>
                  <a:pt x="5671" y="4976"/>
                </a:lnTo>
                <a:close/>
                <a:moveTo>
                  <a:pt x="5642" y="4609"/>
                </a:moveTo>
                <a:lnTo>
                  <a:pt x="5643" y="4602"/>
                </a:lnTo>
                <a:lnTo>
                  <a:pt x="5652" y="4600"/>
                </a:lnTo>
                <a:lnTo>
                  <a:pt x="5661" y="4605"/>
                </a:lnTo>
                <a:lnTo>
                  <a:pt x="5664" y="4614"/>
                </a:lnTo>
                <a:lnTo>
                  <a:pt x="5659" y="4616"/>
                </a:lnTo>
                <a:lnTo>
                  <a:pt x="5652" y="4614"/>
                </a:lnTo>
                <a:lnTo>
                  <a:pt x="5647" y="4613"/>
                </a:lnTo>
                <a:lnTo>
                  <a:pt x="5642" y="4609"/>
                </a:lnTo>
                <a:close/>
                <a:moveTo>
                  <a:pt x="5633" y="5043"/>
                </a:moveTo>
                <a:lnTo>
                  <a:pt x="5643" y="5041"/>
                </a:lnTo>
                <a:lnTo>
                  <a:pt x="5645" y="5043"/>
                </a:lnTo>
                <a:lnTo>
                  <a:pt x="5638" y="5048"/>
                </a:lnTo>
                <a:lnTo>
                  <a:pt x="5629" y="5052"/>
                </a:lnTo>
                <a:lnTo>
                  <a:pt x="5627" y="5050"/>
                </a:lnTo>
                <a:lnTo>
                  <a:pt x="5627" y="5047"/>
                </a:lnTo>
                <a:lnTo>
                  <a:pt x="5629" y="5045"/>
                </a:lnTo>
                <a:lnTo>
                  <a:pt x="5633" y="5043"/>
                </a:lnTo>
                <a:close/>
                <a:moveTo>
                  <a:pt x="5624" y="4960"/>
                </a:moveTo>
                <a:lnTo>
                  <a:pt x="5637" y="4976"/>
                </a:lnTo>
                <a:lnTo>
                  <a:pt x="5638" y="4983"/>
                </a:lnTo>
                <a:lnTo>
                  <a:pt x="5632" y="4983"/>
                </a:lnTo>
                <a:lnTo>
                  <a:pt x="5618" y="4969"/>
                </a:lnTo>
                <a:lnTo>
                  <a:pt x="5615" y="4964"/>
                </a:lnTo>
                <a:lnTo>
                  <a:pt x="5616" y="4958"/>
                </a:lnTo>
                <a:lnTo>
                  <a:pt x="5619" y="4955"/>
                </a:lnTo>
                <a:lnTo>
                  <a:pt x="5624" y="4960"/>
                </a:lnTo>
                <a:close/>
                <a:moveTo>
                  <a:pt x="5496" y="5207"/>
                </a:moveTo>
                <a:lnTo>
                  <a:pt x="5497" y="5211"/>
                </a:lnTo>
                <a:lnTo>
                  <a:pt x="5496" y="5214"/>
                </a:lnTo>
                <a:lnTo>
                  <a:pt x="5494" y="5214"/>
                </a:lnTo>
                <a:lnTo>
                  <a:pt x="5490" y="5213"/>
                </a:lnTo>
                <a:lnTo>
                  <a:pt x="5496" y="5207"/>
                </a:lnTo>
                <a:close/>
                <a:moveTo>
                  <a:pt x="5399" y="5213"/>
                </a:moveTo>
                <a:lnTo>
                  <a:pt x="5406" y="5206"/>
                </a:lnTo>
                <a:lnTo>
                  <a:pt x="5413" y="5204"/>
                </a:lnTo>
                <a:lnTo>
                  <a:pt x="5418" y="5207"/>
                </a:lnTo>
                <a:lnTo>
                  <a:pt x="5427" y="5216"/>
                </a:lnTo>
                <a:lnTo>
                  <a:pt x="5418" y="5216"/>
                </a:lnTo>
                <a:lnTo>
                  <a:pt x="5406" y="5218"/>
                </a:lnTo>
                <a:lnTo>
                  <a:pt x="5399" y="5218"/>
                </a:lnTo>
                <a:lnTo>
                  <a:pt x="5399" y="5213"/>
                </a:lnTo>
                <a:close/>
                <a:moveTo>
                  <a:pt x="5316" y="4731"/>
                </a:moveTo>
                <a:lnTo>
                  <a:pt x="5317" y="4734"/>
                </a:lnTo>
                <a:lnTo>
                  <a:pt x="5317" y="4738"/>
                </a:lnTo>
                <a:lnTo>
                  <a:pt x="5315" y="4739"/>
                </a:lnTo>
                <a:lnTo>
                  <a:pt x="5311" y="4740"/>
                </a:lnTo>
                <a:lnTo>
                  <a:pt x="5310" y="4736"/>
                </a:lnTo>
                <a:lnTo>
                  <a:pt x="5310" y="4734"/>
                </a:lnTo>
                <a:lnTo>
                  <a:pt x="5312" y="4731"/>
                </a:lnTo>
                <a:lnTo>
                  <a:pt x="5316" y="4731"/>
                </a:lnTo>
                <a:close/>
                <a:moveTo>
                  <a:pt x="5261" y="5224"/>
                </a:moveTo>
                <a:lnTo>
                  <a:pt x="5266" y="5220"/>
                </a:lnTo>
                <a:lnTo>
                  <a:pt x="5271" y="5223"/>
                </a:lnTo>
                <a:lnTo>
                  <a:pt x="5274" y="5227"/>
                </a:lnTo>
                <a:lnTo>
                  <a:pt x="5271" y="5232"/>
                </a:lnTo>
                <a:lnTo>
                  <a:pt x="5264" y="5237"/>
                </a:lnTo>
                <a:lnTo>
                  <a:pt x="5259" y="5237"/>
                </a:lnTo>
                <a:lnTo>
                  <a:pt x="5259" y="5232"/>
                </a:lnTo>
                <a:lnTo>
                  <a:pt x="5261" y="5224"/>
                </a:lnTo>
                <a:close/>
                <a:moveTo>
                  <a:pt x="5191" y="5022"/>
                </a:moveTo>
                <a:lnTo>
                  <a:pt x="5215" y="5011"/>
                </a:lnTo>
                <a:lnTo>
                  <a:pt x="5241" y="5015"/>
                </a:lnTo>
                <a:lnTo>
                  <a:pt x="5254" y="5030"/>
                </a:lnTo>
                <a:lnTo>
                  <a:pt x="5237" y="5050"/>
                </a:lnTo>
                <a:lnTo>
                  <a:pt x="5222" y="5050"/>
                </a:lnTo>
                <a:lnTo>
                  <a:pt x="5203" y="5046"/>
                </a:lnTo>
                <a:lnTo>
                  <a:pt x="5190" y="5038"/>
                </a:lnTo>
                <a:lnTo>
                  <a:pt x="5191" y="5022"/>
                </a:lnTo>
                <a:close/>
                <a:moveTo>
                  <a:pt x="5163" y="4986"/>
                </a:moveTo>
                <a:lnTo>
                  <a:pt x="5161" y="4988"/>
                </a:lnTo>
                <a:lnTo>
                  <a:pt x="5157" y="4987"/>
                </a:lnTo>
                <a:lnTo>
                  <a:pt x="5155" y="4986"/>
                </a:lnTo>
                <a:lnTo>
                  <a:pt x="5154" y="4982"/>
                </a:lnTo>
                <a:lnTo>
                  <a:pt x="5158" y="4980"/>
                </a:lnTo>
                <a:lnTo>
                  <a:pt x="5161" y="4980"/>
                </a:lnTo>
                <a:lnTo>
                  <a:pt x="5163" y="4982"/>
                </a:lnTo>
                <a:lnTo>
                  <a:pt x="5163" y="4986"/>
                </a:lnTo>
                <a:close/>
                <a:moveTo>
                  <a:pt x="5159" y="4731"/>
                </a:moveTo>
                <a:lnTo>
                  <a:pt x="5175" y="4714"/>
                </a:lnTo>
                <a:lnTo>
                  <a:pt x="5183" y="4717"/>
                </a:lnTo>
                <a:lnTo>
                  <a:pt x="5191" y="4731"/>
                </a:lnTo>
                <a:lnTo>
                  <a:pt x="5201" y="4747"/>
                </a:lnTo>
                <a:lnTo>
                  <a:pt x="5192" y="4770"/>
                </a:lnTo>
                <a:lnTo>
                  <a:pt x="5180" y="4771"/>
                </a:lnTo>
                <a:lnTo>
                  <a:pt x="5166" y="4756"/>
                </a:lnTo>
                <a:lnTo>
                  <a:pt x="5159" y="4731"/>
                </a:lnTo>
                <a:close/>
                <a:moveTo>
                  <a:pt x="5106" y="4966"/>
                </a:moveTo>
                <a:lnTo>
                  <a:pt x="5103" y="4960"/>
                </a:lnTo>
                <a:lnTo>
                  <a:pt x="5105" y="4957"/>
                </a:lnTo>
                <a:lnTo>
                  <a:pt x="5110" y="4954"/>
                </a:lnTo>
                <a:lnTo>
                  <a:pt x="5113" y="4950"/>
                </a:lnTo>
                <a:lnTo>
                  <a:pt x="5116" y="4955"/>
                </a:lnTo>
                <a:lnTo>
                  <a:pt x="5115" y="4959"/>
                </a:lnTo>
                <a:lnTo>
                  <a:pt x="5111" y="4962"/>
                </a:lnTo>
                <a:lnTo>
                  <a:pt x="5106" y="4966"/>
                </a:lnTo>
                <a:close/>
                <a:moveTo>
                  <a:pt x="4664" y="4761"/>
                </a:moveTo>
                <a:lnTo>
                  <a:pt x="4670" y="4761"/>
                </a:lnTo>
                <a:lnTo>
                  <a:pt x="4678" y="4759"/>
                </a:lnTo>
                <a:lnTo>
                  <a:pt x="4686" y="4761"/>
                </a:lnTo>
                <a:lnTo>
                  <a:pt x="4692" y="4762"/>
                </a:lnTo>
                <a:lnTo>
                  <a:pt x="4687" y="4777"/>
                </a:lnTo>
                <a:lnTo>
                  <a:pt x="4674" y="4781"/>
                </a:lnTo>
                <a:lnTo>
                  <a:pt x="4663" y="4776"/>
                </a:lnTo>
                <a:lnTo>
                  <a:pt x="4664" y="4761"/>
                </a:lnTo>
                <a:close/>
                <a:moveTo>
                  <a:pt x="4393" y="5061"/>
                </a:moveTo>
                <a:lnTo>
                  <a:pt x="4394" y="5065"/>
                </a:lnTo>
                <a:lnTo>
                  <a:pt x="4394" y="5067"/>
                </a:lnTo>
                <a:lnTo>
                  <a:pt x="4393" y="5070"/>
                </a:lnTo>
                <a:lnTo>
                  <a:pt x="4389" y="5070"/>
                </a:lnTo>
                <a:lnTo>
                  <a:pt x="4386" y="5066"/>
                </a:lnTo>
                <a:lnTo>
                  <a:pt x="4386" y="5064"/>
                </a:lnTo>
                <a:lnTo>
                  <a:pt x="4389" y="5062"/>
                </a:lnTo>
                <a:lnTo>
                  <a:pt x="4393" y="5061"/>
                </a:lnTo>
                <a:close/>
                <a:moveTo>
                  <a:pt x="4138" y="2015"/>
                </a:moveTo>
                <a:lnTo>
                  <a:pt x="4137" y="2014"/>
                </a:lnTo>
                <a:lnTo>
                  <a:pt x="4135" y="2012"/>
                </a:lnTo>
                <a:lnTo>
                  <a:pt x="4137" y="2010"/>
                </a:lnTo>
                <a:lnTo>
                  <a:pt x="4139" y="2009"/>
                </a:lnTo>
                <a:lnTo>
                  <a:pt x="4139" y="2012"/>
                </a:lnTo>
                <a:lnTo>
                  <a:pt x="4138" y="2015"/>
                </a:lnTo>
                <a:close/>
                <a:moveTo>
                  <a:pt x="3896" y="4594"/>
                </a:moveTo>
                <a:lnTo>
                  <a:pt x="3909" y="4596"/>
                </a:lnTo>
                <a:lnTo>
                  <a:pt x="3919" y="4602"/>
                </a:lnTo>
                <a:lnTo>
                  <a:pt x="3930" y="4608"/>
                </a:lnTo>
                <a:lnTo>
                  <a:pt x="3942" y="4613"/>
                </a:lnTo>
                <a:lnTo>
                  <a:pt x="3924" y="4619"/>
                </a:lnTo>
                <a:lnTo>
                  <a:pt x="3906" y="4622"/>
                </a:lnTo>
                <a:lnTo>
                  <a:pt x="3895" y="4614"/>
                </a:lnTo>
                <a:lnTo>
                  <a:pt x="3896" y="4594"/>
                </a:lnTo>
                <a:close/>
                <a:moveTo>
                  <a:pt x="3492" y="5132"/>
                </a:moveTo>
                <a:lnTo>
                  <a:pt x="3500" y="5139"/>
                </a:lnTo>
                <a:lnTo>
                  <a:pt x="3505" y="5149"/>
                </a:lnTo>
                <a:lnTo>
                  <a:pt x="3506" y="5158"/>
                </a:lnTo>
                <a:lnTo>
                  <a:pt x="3502" y="5167"/>
                </a:lnTo>
                <a:lnTo>
                  <a:pt x="3480" y="5162"/>
                </a:lnTo>
                <a:lnTo>
                  <a:pt x="3464" y="5144"/>
                </a:lnTo>
                <a:lnTo>
                  <a:pt x="3466" y="5129"/>
                </a:lnTo>
                <a:lnTo>
                  <a:pt x="3492" y="5132"/>
                </a:lnTo>
                <a:close/>
                <a:moveTo>
                  <a:pt x="3463" y="4582"/>
                </a:moveTo>
                <a:lnTo>
                  <a:pt x="3457" y="4581"/>
                </a:lnTo>
                <a:lnTo>
                  <a:pt x="3459" y="4580"/>
                </a:lnTo>
                <a:lnTo>
                  <a:pt x="3460" y="4579"/>
                </a:lnTo>
                <a:lnTo>
                  <a:pt x="3462" y="4580"/>
                </a:lnTo>
                <a:lnTo>
                  <a:pt x="3463" y="4582"/>
                </a:lnTo>
                <a:close/>
                <a:moveTo>
                  <a:pt x="3369" y="4862"/>
                </a:moveTo>
                <a:lnTo>
                  <a:pt x="3373" y="4868"/>
                </a:lnTo>
                <a:lnTo>
                  <a:pt x="3370" y="4869"/>
                </a:lnTo>
                <a:lnTo>
                  <a:pt x="3365" y="4869"/>
                </a:lnTo>
                <a:lnTo>
                  <a:pt x="3362" y="4865"/>
                </a:lnTo>
                <a:lnTo>
                  <a:pt x="3366" y="4864"/>
                </a:lnTo>
                <a:lnTo>
                  <a:pt x="3369" y="4862"/>
                </a:lnTo>
                <a:close/>
                <a:moveTo>
                  <a:pt x="2835" y="4647"/>
                </a:moveTo>
                <a:lnTo>
                  <a:pt x="2872" y="4654"/>
                </a:lnTo>
                <a:lnTo>
                  <a:pt x="2885" y="4661"/>
                </a:lnTo>
                <a:lnTo>
                  <a:pt x="2871" y="4668"/>
                </a:lnTo>
                <a:lnTo>
                  <a:pt x="2834" y="4665"/>
                </a:lnTo>
                <a:lnTo>
                  <a:pt x="2831" y="4660"/>
                </a:lnTo>
                <a:lnTo>
                  <a:pt x="2831" y="4655"/>
                </a:lnTo>
                <a:lnTo>
                  <a:pt x="2833" y="4651"/>
                </a:lnTo>
                <a:lnTo>
                  <a:pt x="2835" y="4647"/>
                </a:lnTo>
                <a:close/>
                <a:moveTo>
                  <a:pt x="2752" y="4660"/>
                </a:moveTo>
                <a:lnTo>
                  <a:pt x="2745" y="4660"/>
                </a:lnTo>
                <a:lnTo>
                  <a:pt x="2740" y="4658"/>
                </a:lnTo>
                <a:lnTo>
                  <a:pt x="2736" y="4654"/>
                </a:lnTo>
                <a:lnTo>
                  <a:pt x="2736" y="4646"/>
                </a:lnTo>
                <a:lnTo>
                  <a:pt x="2745" y="4652"/>
                </a:lnTo>
                <a:lnTo>
                  <a:pt x="2752" y="4660"/>
                </a:lnTo>
                <a:close/>
                <a:moveTo>
                  <a:pt x="2735" y="4642"/>
                </a:moveTo>
                <a:lnTo>
                  <a:pt x="2723" y="4637"/>
                </a:lnTo>
                <a:lnTo>
                  <a:pt x="2714" y="4630"/>
                </a:lnTo>
                <a:lnTo>
                  <a:pt x="2722" y="4631"/>
                </a:lnTo>
                <a:lnTo>
                  <a:pt x="2728" y="4632"/>
                </a:lnTo>
                <a:lnTo>
                  <a:pt x="2733" y="4636"/>
                </a:lnTo>
                <a:lnTo>
                  <a:pt x="2735" y="4642"/>
                </a:lnTo>
                <a:close/>
                <a:moveTo>
                  <a:pt x="2628" y="4624"/>
                </a:moveTo>
                <a:lnTo>
                  <a:pt x="2668" y="4622"/>
                </a:lnTo>
                <a:lnTo>
                  <a:pt x="2681" y="4641"/>
                </a:lnTo>
                <a:lnTo>
                  <a:pt x="2672" y="4654"/>
                </a:lnTo>
                <a:lnTo>
                  <a:pt x="2652" y="4638"/>
                </a:lnTo>
                <a:lnTo>
                  <a:pt x="2644" y="4630"/>
                </a:lnTo>
                <a:lnTo>
                  <a:pt x="2629" y="4630"/>
                </a:lnTo>
                <a:lnTo>
                  <a:pt x="2620" y="4631"/>
                </a:lnTo>
                <a:lnTo>
                  <a:pt x="2628" y="4624"/>
                </a:lnTo>
                <a:close/>
                <a:moveTo>
                  <a:pt x="2584" y="4293"/>
                </a:moveTo>
                <a:lnTo>
                  <a:pt x="2589" y="4292"/>
                </a:lnTo>
                <a:lnTo>
                  <a:pt x="2594" y="4290"/>
                </a:lnTo>
                <a:lnTo>
                  <a:pt x="2598" y="4286"/>
                </a:lnTo>
                <a:lnTo>
                  <a:pt x="2601" y="4282"/>
                </a:lnTo>
                <a:lnTo>
                  <a:pt x="2614" y="4290"/>
                </a:lnTo>
                <a:lnTo>
                  <a:pt x="2611" y="4297"/>
                </a:lnTo>
                <a:lnTo>
                  <a:pt x="2600" y="4300"/>
                </a:lnTo>
                <a:lnTo>
                  <a:pt x="2584" y="4293"/>
                </a:lnTo>
                <a:close/>
                <a:moveTo>
                  <a:pt x="2579" y="5305"/>
                </a:moveTo>
                <a:lnTo>
                  <a:pt x="2583" y="5303"/>
                </a:lnTo>
                <a:lnTo>
                  <a:pt x="2587" y="5302"/>
                </a:lnTo>
                <a:lnTo>
                  <a:pt x="2589" y="5304"/>
                </a:lnTo>
                <a:lnTo>
                  <a:pt x="2591" y="5308"/>
                </a:lnTo>
                <a:lnTo>
                  <a:pt x="2594" y="5327"/>
                </a:lnTo>
                <a:lnTo>
                  <a:pt x="2591" y="5331"/>
                </a:lnTo>
                <a:lnTo>
                  <a:pt x="2584" y="5322"/>
                </a:lnTo>
                <a:lnTo>
                  <a:pt x="2579" y="5305"/>
                </a:lnTo>
                <a:close/>
                <a:moveTo>
                  <a:pt x="2561" y="5210"/>
                </a:moveTo>
                <a:lnTo>
                  <a:pt x="2568" y="5218"/>
                </a:lnTo>
                <a:lnTo>
                  <a:pt x="2568" y="5227"/>
                </a:lnTo>
                <a:lnTo>
                  <a:pt x="2561" y="5234"/>
                </a:lnTo>
                <a:lnTo>
                  <a:pt x="2550" y="5234"/>
                </a:lnTo>
                <a:lnTo>
                  <a:pt x="2545" y="5225"/>
                </a:lnTo>
                <a:lnTo>
                  <a:pt x="2544" y="5215"/>
                </a:lnTo>
                <a:lnTo>
                  <a:pt x="2549" y="5209"/>
                </a:lnTo>
                <a:lnTo>
                  <a:pt x="2561" y="5210"/>
                </a:lnTo>
                <a:close/>
                <a:moveTo>
                  <a:pt x="2528" y="4277"/>
                </a:moveTo>
                <a:lnTo>
                  <a:pt x="2536" y="4276"/>
                </a:lnTo>
                <a:lnTo>
                  <a:pt x="2537" y="4279"/>
                </a:lnTo>
                <a:lnTo>
                  <a:pt x="2537" y="4286"/>
                </a:lnTo>
                <a:lnTo>
                  <a:pt x="2538" y="4292"/>
                </a:lnTo>
                <a:lnTo>
                  <a:pt x="2531" y="4290"/>
                </a:lnTo>
                <a:lnTo>
                  <a:pt x="2524" y="4287"/>
                </a:lnTo>
                <a:lnTo>
                  <a:pt x="2522" y="4283"/>
                </a:lnTo>
                <a:lnTo>
                  <a:pt x="2528" y="4277"/>
                </a:lnTo>
                <a:close/>
                <a:moveTo>
                  <a:pt x="3380" y="1179"/>
                </a:moveTo>
                <a:lnTo>
                  <a:pt x="3380" y="1184"/>
                </a:lnTo>
                <a:lnTo>
                  <a:pt x="3379" y="1182"/>
                </a:lnTo>
                <a:lnTo>
                  <a:pt x="3378" y="1181"/>
                </a:lnTo>
                <a:lnTo>
                  <a:pt x="3379" y="1180"/>
                </a:lnTo>
                <a:lnTo>
                  <a:pt x="3380" y="1179"/>
                </a:lnTo>
                <a:close/>
                <a:moveTo>
                  <a:pt x="3362" y="827"/>
                </a:moveTo>
                <a:lnTo>
                  <a:pt x="3370" y="818"/>
                </a:lnTo>
                <a:lnTo>
                  <a:pt x="3379" y="825"/>
                </a:lnTo>
                <a:lnTo>
                  <a:pt x="3384" y="840"/>
                </a:lnTo>
                <a:lnTo>
                  <a:pt x="3381" y="855"/>
                </a:lnTo>
                <a:lnTo>
                  <a:pt x="3376" y="850"/>
                </a:lnTo>
                <a:lnTo>
                  <a:pt x="3370" y="844"/>
                </a:lnTo>
                <a:lnTo>
                  <a:pt x="3365" y="836"/>
                </a:lnTo>
                <a:lnTo>
                  <a:pt x="3362" y="827"/>
                </a:lnTo>
                <a:close/>
                <a:moveTo>
                  <a:pt x="3486" y="1032"/>
                </a:moveTo>
                <a:lnTo>
                  <a:pt x="3473" y="1034"/>
                </a:lnTo>
                <a:lnTo>
                  <a:pt x="3466" y="1044"/>
                </a:lnTo>
                <a:lnTo>
                  <a:pt x="3458" y="1054"/>
                </a:lnTo>
                <a:lnTo>
                  <a:pt x="3449" y="1055"/>
                </a:lnTo>
                <a:lnTo>
                  <a:pt x="3452" y="1032"/>
                </a:lnTo>
                <a:lnTo>
                  <a:pt x="3469" y="1018"/>
                </a:lnTo>
                <a:lnTo>
                  <a:pt x="3486" y="1017"/>
                </a:lnTo>
                <a:lnTo>
                  <a:pt x="3486" y="1032"/>
                </a:lnTo>
                <a:close/>
                <a:moveTo>
                  <a:pt x="3637" y="762"/>
                </a:moveTo>
                <a:lnTo>
                  <a:pt x="3639" y="761"/>
                </a:lnTo>
                <a:lnTo>
                  <a:pt x="3640" y="761"/>
                </a:lnTo>
                <a:lnTo>
                  <a:pt x="3640" y="762"/>
                </a:lnTo>
                <a:lnTo>
                  <a:pt x="3641" y="765"/>
                </a:lnTo>
                <a:lnTo>
                  <a:pt x="3637" y="762"/>
                </a:lnTo>
                <a:close/>
                <a:moveTo>
                  <a:pt x="3691" y="983"/>
                </a:moveTo>
                <a:lnTo>
                  <a:pt x="3694" y="983"/>
                </a:lnTo>
                <a:lnTo>
                  <a:pt x="3695" y="983"/>
                </a:lnTo>
                <a:lnTo>
                  <a:pt x="3694" y="983"/>
                </a:lnTo>
                <a:lnTo>
                  <a:pt x="3691" y="983"/>
                </a:lnTo>
                <a:lnTo>
                  <a:pt x="3694" y="981"/>
                </a:lnTo>
                <a:lnTo>
                  <a:pt x="3695" y="980"/>
                </a:lnTo>
                <a:lnTo>
                  <a:pt x="3695" y="981"/>
                </a:lnTo>
                <a:lnTo>
                  <a:pt x="3691" y="983"/>
                </a:lnTo>
                <a:close/>
                <a:moveTo>
                  <a:pt x="3694" y="997"/>
                </a:moveTo>
                <a:lnTo>
                  <a:pt x="3692" y="994"/>
                </a:lnTo>
                <a:lnTo>
                  <a:pt x="3695" y="993"/>
                </a:lnTo>
                <a:lnTo>
                  <a:pt x="3699" y="992"/>
                </a:lnTo>
                <a:lnTo>
                  <a:pt x="3701" y="990"/>
                </a:lnTo>
                <a:lnTo>
                  <a:pt x="3701" y="994"/>
                </a:lnTo>
                <a:lnTo>
                  <a:pt x="3699" y="995"/>
                </a:lnTo>
                <a:lnTo>
                  <a:pt x="3696" y="997"/>
                </a:lnTo>
                <a:lnTo>
                  <a:pt x="3694" y="997"/>
                </a:lnTo>
                <a:close/>
                <a:moveTo>
                  <a:pt x="3811" y="1079"/>
                </a:moveTo>
                <a:lnTo>
                  <a:pt x="3803" y="1082"/>
                </a:lnTo>
                <a:lnTo>
                  <a:pt x="3795" y="1084"/>
                </a:lnTo>
                <a:lnTo>
                  <a:pt x="3789" y="1082"/>
                </a:lnTo>
                <a:lnTo>
                  <a:pt x="3786" y="1073"/>
                </a:lnTo>
                <a:lnTo>
                  <a:pt x="3790" y="1064"/>
                </a:lnTo>
                <a:lnTo>
                  <a:pt x="3798" y="1064"/>
                </a:lnTo>
                <a:lnTo>
                  <a:pt x="3806" y="1070"/>
                </a:lnTo>
                <a:lnTo>
                  <a:pt x="3811" y="1079"/>
                </a:lnTo>
                <a:close/>
                <a:moveTo>
                  <a:pt x="3812" y="1065"/>
                </a:moveTo>
                <a:lnTo>
                  <a:pt x="3812" y="1062"/>
                </a:lnTo>
                <a:lnTo>
                  <a:pt x="3812" y="1060"/>
                </a:lnTo>
                <a:lnTo>
                  <a:pt x="3812" y="1063"/>
                </a:lnTo>
                <a:lnTo>
                  <a:pt x="3812" y="1065"/>
                </a:lnTo>
                <a:lnTo>
                  <a:pt x="3806" y="1065"/>
                </a:lnTo>
                <a:lnTo>
                  <a:pt x="3804" y="1063"/>
                </a:lnTo>
                <a:lnTo>
                  <a:pt x="3808" y="1063"/>
                </a:lnTo>
                <a:lnTo>
                  <a:pt x="3812" y="1065"/>
                </a:lnTo>
                <a:close/>
                <a:moveTo>
                  <a:pt x="3873" y="1055"/>
                </a:moveTo>
                <a:lnTo>
                  <a:pt x="3869" y="1063"/>
                </a:lnTo>
                <a:lnTo>
                  <a:pt x="3864" y="1067"/>
                </a:lnTo>
                <a:lnTo>
                  <a:pt x="3858" y="1068"/>
                </a:lnTo>
                <a:lnTo>
                  <a:pt x="3853" y="1063"/>
                </a:lnTo>
                <a:lnTo>
                  <a:pt x="3848" y="1050"/>
                </a:lnTo>
                <a:lnTo>
                  <a:pt x="3859" y="1042"/>
                </a:lnTo>
                <a:lnTo>
                  <a:pt x="3873" y="1044"/>
                </a:lnTo>
                <a:lnTo>
                  <a:pt x="3873" y="1055"/>
                </a:lnTo>
                <a:close/>
                <a:moveTo>
                  <a:pt x="3957" y="1132"/>
                </a:moveTo>
                <a:lnTo>
                  <a:pt x="3953" y="1130"/>
                </a:lnTo>
                <a:lnTo>
                  <a:pt x="3953" y="1126"/>
                </a:lnTo>
                <a:lnTo>
                  <a:pt x="3955" y="1121"/>
                </a:lnTo>
                <a:lnTo>
                  <a:pt x="3957" y="1119"/>
                </a:lnTo>
                <a:lnTo>
                  <a:pt x="3962" y="1120"/>
                </a:lnTo>
                <a:lnTo>
                  <a:pt x="3962" y="1125"/>
                </a:lnTo>
                <a:lnTo>
                  <a:pt x="3960" y="1129"/>
                </a:lnTo>
                <a:lnTo>
                  <a:pt x="3957" y="1132"/>
                </a:lnTo>
                <a:close/>
                <a:moveTo>
                  <a:pt x="4101" y="1154"/>
                </a:moveTo>
                <a:lnTo>
                  <a:pt x="4093" y="1148"/>
                </a:lnTo>
                <a:lnTo>
                  <a:pt x="4088" y="1138"/>
                </a:lnTo>
                <a:lnTo>
                  <a:pt x="4087" y="1126"/>
                </a:lnTo>
                <a:lnTo>
                  <a:pt x="4091" y="1116"/>
                </a:lnTo>
                <a:lnTo>
                  <a:pt x="4097" y="1119"/>
                </a:lnTo>
                <a:lnTo>
                  <a:pt x="4104" y="1132"/>
                </a:lnTo>
                <a:lnTo>
                  <a:pt x="4105" y="1146"/>
                </a:lnTo>
                <a:lnTo>
                  <a:pt x="4101" y="1154"/>
                </a:lnTo>
                <a:close/>
                <a:moveTo>
                  <a:pt x="4119" y="1349"/>
                </a:moveTo>
                <a:lnTo>
                  <a:pt x="4115" y="1356"/>
                </a:lnTo>
                <a:lnTo>
                  <a:pt x="4110" y="1362"/>
                </a:lnTo>
                <a:lnTo>
                  <a:pt x="4106" y="1354"/>
                </a:lnTo>
                <a:lnTo>
                  <a:pt x="4110" y="1345"/>
                </a:lnTo>
                <a:lnTo>
                  <a:pt x="4115" y="1342"/>
                </a:lnTo>
                <a:lnTo>
                  <a:pt x="4119" y="1349"/>
                </a:lnTo>
                <a:close/>
                <a:moveTo>
                  <a:pt x="4142" y="1110"/>
                </a:moveTo>
                <a:lnTo>
                  <a:pt x="4139" y="1112"/>
                </a:lnTo>
                <a:lnTo>
                  <a:pt x="4135" y="1112"/>
                </a:lnTo>
                <a:lnTo>
                  <a:pt x="4133" y="1110"/>
                </a:lnTo>
                <a:lnTo>
                  <a:pt x="4130" y="1106"/>
                </a:lnTo>
                <a:lnTo>
                  <a:pt x="4130" y="1098"/>
                </a:lnTo>
                <a:lnTo>
                  <a:pt x="4138" y="1098"/>
                </a:lnTo>
                <a:lnTo>
                  <a:pt x="4147" y="1102"/>
                </a:lnTo>
                <a:lnTo>
                  <a:pt x="4142" y="1110"/>
                </a:lnTo>
                <a:close/>
                <a:moveTo>
                  <a:pt x="4203" y="1147"/>
                </a:moveTo>
                <a:lnTo>
                  <a:pt x="4195" y="1156"/>
                </a:lnTo>
                <a:lnTo>
                  <a:pt x="4184" y="1154"/>
                </a:lnTo>
                <a:lnTo>
                  <a:pt x="4175" y="1146"/>
                </a:lnTo>
                <a:lnTo>
                  <a:pt x="4175" y="1137"/>
                </a:lnTo>
                <a:lnTo>
                  <a:pt x="4184" y="1129"/>
                </a:lnTo>
                <a:lnTo>
                  <a:pt x="4194" y="1129"/>
                </a:lnTo>
                <a:lnTo>
                  <a:pt x="4202" y="1135"/>
                </a:lnTo>
                <a:lnTo>
                  <a:pt x="4203" y="1147"/>
                </a:lnTo>
                <a:close/>
                <a:moveTo>
                  <a:pt x="4265" y="1296"/>
                </a:moveTo>
                <a:lnTo>
                  <a:pt x="4264" y="1298"/>
                </a:lnTo>
                <a:lnTo>
                  <a:pt x="4265" y="1296"/>
                </a:lnTo>
                <a:lnTo>
                  <a:pt x="4265" y="1298"/>
                </a:lnTo>
                <a:lnTo>
                  <a:pt x="4265" y="1296"/>
                </a:lnTo>
                <a:close/>
                <a:moveTo>
                  <a:pt x="4281" y="1084"/>
                </a:moveTo>
                <a:lnTo>
                  <a:pt x="4269" y="1091"/>
                </a:lnTo>
                <a:lnTo>
                  <a:pt x="4265" y="1078"/>
                </a:lnTo>
                <a:lnTo>
                  <a:pt x="4269" y="1065"/>
                </a:lnTo>
                <a:lnTo>
                  <a:pt x="4282" y="1073"/>
                </a:lnTo>
                <a:lnTo>
                  <a:pt x="4282" y="1078"/>
                </a:lnTo>
                <a:lnTo>
                  <a:pt x="4281" y="1084"/>
                </a:lnTo>
                <a:close/>
                <a:moveTo>
                  <a:pt x="4311" y="1142"/>
                </a:moveTo>
                <a:lnTo>
                  <a:pt x="4305" y="1144"/>
                </a:lnTo>
                <a:lnTo>
                  <a:pt x="4304" y="1139"/>
                </a:lnTo>
                <a:lnTo>
                  <a:pt x="4306" y="1133"/>
                </a:lnTo>
                <a:lnTo>
                  <a:pt x="4311" y="1135"/>
                </a:lnTo>
                <a:lnTo>
                  <a:pt x="4311" y="1138"/>
                </a:lnTo>
                <a:lnTo>
                  <a:pt x="4311" y="1142"/>
                </a:lnTo>
                <a:close/>
                <a:moveTo>
                  <a:pt x="4370" y="1184"/>
                </a:moveTo>
                <a:lnTo>
                  <a:pt x="4366" y="1185"/>
                </a:lnTo>
                <a:lnTo>
                  <a:pt x="4365" y="1184"/>
                </a:lnTo>
                <a:lnTo>
                  <a:pt x="4365" y="1180"/>
                </a:lnTo>
                <a:lnTo>
                  <a:pt x="4368" y="1179"/>
                </a:lnTo>
                <a:lnTo>
                  <a:pt x="4374" y="1179"/>
                </a:lnTo>
                <a:lnTo>
                  <a:pt x="4375" y="1180"/>
                </a:lnTo>
                <a:lnTo>
                  <a:pt x="4374" y="1181"/>
                </a:lnTo>
                <a:lnTo>
                  <a:pt x="4370" y="1184"/>
                </a:lnTo>
                <a:close/>
                <a:moveTo>
                  <a:pt x="4379" y="1177"/>
                </a:moveTo>
                <a:lnTo>
                  <a:pt x="4386" y="1174"/>
                </a:lnTo>
                <a:lnTo>
                  <a:pt x="4379" y="1177"/>
                </a:lnTo>
                <a:lnTo>
                  <a:pt x="4377" y="1166"/>
                </a:lnTo>
                <a:lnTo>
                  <a:pt x="4379" y="1163"/>
                </a:lnTo>
                <a:lnTo>
                  <a:pt x="4380" y="1167"/>
                </a:lnTo>
                <a:lnTo>
                  <a:pt x="4379" y="1177"/>
                </a:lnTo>
                <a:close/>
                <a:moveTo>
                  <a:pt x="4495" y="1199"/>
                </a:moveTo>
                <a:lnTo>
                  <a:pt x="4492" y="1200"/>
                </a:lnTo>
                <a:lnTo>
                  <a:pt x="4488" y="1199"/>
                </a:lnTo>
                <a:lnTo>
                  <a:pt x="4484" y="1195"/>
                </a:lnTo>
                <a:lnTo>
                  <a:pt x="4483" y="1193"/>
                </a:lnTo>
                <a:lnTo>
                  <a:pt x="4484" y="1185"/>
                </a:lnTo>
                <a:lnTo>
                  <a:pt x="4491" y="1185"/>
                </a:lnTo>
                <a:lnTo>
                  <a:pt x="4496" y="1190"/>
                </a:lnTo>
                <a:lnTo>
                  <a:pt x="4495" y="1199"/>
                </a:lnTo>
                <a:close/>
                <a:moveTo>
                  <a:pt x="4714" y="1189"/>
                </a:moveTo>
                <a:lnTo>
                  <a:pt x="4705" y="1184"/>
                </a:lnTo>
                <a:lnTo>
                  <a:pt x="4698" y="1176"/>
                </a:lnTo>
                <a:lnTo>
                  <a:pt x="4694" y="1166"/>
                </a:lnTo>
                <a:lnTo>
                  <a:pt x="4697" y="1156"/>
                </a:lnTo>
                <a:lnTo>
                  <a:pt x="4720" y="1152"/>
                </a:lnTo>
                <a:lnTo>
                  <a:pt x="4739" y="1168"/>
                </a:lnTo>
                <a:lnTo>
                  <a:pt x="4740" y="1186"/>
                </a:lnTo>
                <a:lnTo>
                  <a:pt x="4714" y="1189"/>
                </a:lnTo>
                <a:close/>
                <a:moveTo>
                  <a:pt x="4814" y="1184"/>
                </a:moveTo>
                <a:lnTo>
                  <a:pt x="4805" y="1184"/>
                </a:lnTo>
                <a:lnTo>
                  <a:pt x="4798" y="1177"/>
                </a:lnTo>
                <a:lnTo>
                  <a:pt x="4790" y="1167"/>
                </a:lnTo>
                <a:lnTo>
                  <a:pt x="4785" y="1158"/>
                </a:lnTo>
                <a:lnTo>
                  <a:pt x="4796" y="1161"/>
                </a:lnTo>
                <a:lnTo>
                  <a:pt x="4808" y="1165"/>
                </a:lnTo>
                <a:lnTo>
                  <a:pt x="4815" y="1172"/>
                </a:lnTo>
                <a:lnTo>
                  <a:pt x="4814" y="1184"/>
                </a:lnTo>
                <a:close/>
                <a:moveTo>
                  <a:pt x="4860" y="1200"/>
                </a:moveTo>
                <a:lnTo>
                  <a:pt x="4845" y="1212"/>
                </a:lnTo>
                <a:lnTo>
                  <a:pt x="4840" y="1199"/>
                </a:lnTo>
                <a:lnTo>
                  <a:pt x="4845" y="1177"/>
                </a:lnTo>
                <a:lnTo>
                  <a:pt x="4855" y="1161"/>
                </a:lnTo>
                <a:lnTo>
                  <a:pt x="4882" y="1133"/>
                </a:lnTo>
                <a:lnTo>
                  <a:pt x="4887" y="1142"/>
                </a:lnTo>
                <a:lnTo>
                  <a:pt x="4877" y="1170"/>
                </a:lnTo>
                <a:lnTo>
                  <a:pt x="4860" y="1200"/>
                </a:lnTo>
                <a:close/>
                <a:moveTo>
                  <a:pt x="4940" y="1723"/>
                </a:moveTo>
                <a:lnTo>
                  <a:pt x="4939" y="1732"/>
                </a:lnTo>
                <a:lnTo>
                  <a:pt x="4940" y="1723"/>
                </a:lnTo>
                <a:lnTo>
                  <a:pt x="4947" y="1729"/>
                </a:lnTo>
                <a:lnTo>
                  <a:pt x="4949" y="1732"/>
                </a:lnTo>
                <a:lnTo>
                  <a:pt x="4947" y="1732"/>
                </a:lnTo>
                <a:lnTo>
                  <a:pt x="4940" y="1723"/>
                </a:lnTo>
                <a:close/>
                <a:moveTo>
                  <a:pt x="5001" y="1189"/>
                </a:moveTo>
                <a:lnTo>
                  <a:pt x="5003" y="1186"/>
                </a:lnTo>
                <a:lnTo>
                  <a:pt x="5004" y="1185"/>
                </a:lnTo>
                <a:lnTo>
                  <a:pt x="5006" y="1185"/>
                </a:lnTo>
                <a:lnTo>
                  <a:pt x="5008" y="1188"/>
                </a:lnTo>
                <a:lnTo>
                  <a:pt x="5008" y="1190"/>
                </a:lnTo>
                <a:lnTo>
                  <a:pt x="5006" y="1191"/>
                </a:lnTo>
                <a:lnTo>
                  <a:pt x="5004" y="1191"/>
                </a:lnTo>
                <a:lnTo>
                  <a:pt x="5001" y="1189"/>
                </a:lnTo>
                <a:close/>
                <a:moveTo>
                  <a:pt x="5087" y="1147"/>
                </a:moveTo>
                <a:lnTo>
                  <a:pt x="5080" y="1151"/>
                </a:lnTo>
                <a:lnTo>
                  <a:pt x="5078" y="1144"/>
                </a:lnTo>
                <a:lnTo>
                  <a:pt x="5079" y="1134"/>
                </a:lnTo>
                <a:lnTo>
                  <a:pt x="5084" y="1128"/>
                </a:lnTo>
                <a:lnTo>
                  <a:pt x="5089" y="1129"/>
                </a:lnTo>
                <a:lnTo>
                  <a:pt x="5089" y="1135"/>
                </a:lnTo>
                <a:lnTo>
                  <a:pt x="5088" y="1142"/>
                </a:lnTo>
                <a:lnTo>
                  <a:pt x="5087" y="1147"/>
                </a:lnTo>
                <a:close/>
                <a:moveTo>
                  <a:pt x="5120" y="1137"/>
                </a:moveTo>
                <a:lnTo>
                  <a:pt x="5116" y="1133"/>
                </a:lnTo>
                <a:lnTo>
                  <a:pt x="5116" y="1126"/>
                </a:lnTo>
                <a:lnTo>
                  <a:pt x="5117" y="1123"/>
                </a:lnTo>
                <a:lnTo>
                  <a:pt x="5122" y="1123"/>
                </a:lnTo>
                <a:lnTo>
                  <a:pt x="5126" y="1126"/>
                </a:lnTo>
                <a:lnTo>
                  <a:pt x="5126" y="1132"/>
                </a:lnTo>
                <a:lnTo>
                  <a:pt x="5124" y="1135"/>
                </a:lnTo>
                <a:lnTo>
                  <a:pt x="5120" y="1137"/>
                </a:lnTo>
                <a:close/>
                <a:moveTo>
                  <a:pt x="5121" y="1188"/>
                </a:moveTo>
                <a:lnTo>
                  <a:pt x="5125" y="1188"/>
                </a:lnTo>
                <a:lnTo>
                  <a:pt x="5127" y="1190"/>
                </a:lnTo>
                <a:lnTo>
                  <a:pt x="5129" y="1194"/>
                </a:lnTo>
                <a:lnTo>
                  <a:pt x="5131" y="1198"/>
                </a:lnTo>
                <a:lnTo>
                  <a:pt x="5127" y="1196"/>
                </a:lnTo>
                <a:lnTo>
                  <a:pt x="5125" y="1195"/>
                </a:lnTo>
                <a:lnTo>
                  <a:pt x="5122" y="1193"/>
                </a:lnTo>
                <a:lnTo>
                  <a:pt x="5121" y="1188"/>
                </a:lnTo>
                <a:close/>
                <a:moveTo>
                  <a:pt x="5201" y="1660"/>
                </a:moveTo>
                <a:lnTo>
                  <a:pt x="5203" y="1648"/>
                </a:lnTo>
                <a:lnTo>
                  <a:pt x="5203" y="1636"/>
                </a:lnTo>
                <a:lnTo>
                  <a:pt x="5204" y="1623"/>
                </a:lnTo>
                <a:lnTo>
                  <a:pt x="5208" y="1614"/>
                </a:lnTo>
                <a:lnTo>
                  <a:pt x="5212" y="1625"/>
                </a:lnTo>
                <a:lnTo>
                  <a:pt x="5210" y="1637"/>
                </a:lnTo>
                <a:lnTo>
                  <a:pt x="5206" y="1650"/>
                </a:lnTo>
                <a:lnTo>
                  <a:pt x="5201" y="1660"/>
                </a:lnTo>
                <a:close/>
                <a:moveTo>
                  <a:pt x="6144" y="1186"/>
                </a:moveTo>
                <a:lnTo>
                  <a:pt x="6153" y="1193"/>
                </a:lnTo>
                <a:lnTo>
                  <a:pt x="6153" y="1209"/>
                </a:lnTo>
                <a:lnTo>
                  <a:pt x="6149" y="1227"/>
                </a:lnTo>
                <a:lnTo>
                  <a:pt x="6144" y="1241"/>
                </a:lnTo>
                <a:lnTo>
                  <a:pt x="6135" y="1231"/>
                </a:lnTo>
                <a:lnTo>
                  <a:pt x="6135" y="1216"/>
                </a:lnTo>
                <a:lnTo>
                  <a:pt x="6139" y="1200"/>
                </a:lnTo>
                <a:lnTo>
                  <a:pt x="6144" y="1186"/>
                </a:lnTo>
                <a:close/>
                <a:moveTo>
                  <a:pt x="6285" y="1124"/>
                </a:moveTo>
                <a:lnTo>
                  <a:pt x="6283" y="1189"/>
                </a:lnTo>
                <a:lnTo>
                  <a:pt x="6253" y="1156"/>
                </a:lnTo>
                <a:lnTo>
                  <a:pt x="6242" y="1097"/>
                </a:lnTo>
                <a:lnTo>
                  <a:pt x="6297" y="1087"/>
                </a:lnTo>
                <a:lnTo>
                  <a:pt x="6290" y="1098"/>
                </a:lnTo>
                <a:lnTo>
                  <a:pt x="6276" y="1106"/>
                </a:lnTo>
                <a:lnTo>
                  <a:pt x="6271" y="1114"/>
                </a:lnTo>
                <a:lnTo>
                  <a:pt x="6285" y="1124"/>
                </a:lnTo>
                <a:close/>
                <a:moveTo>
                  <a:pt x="6314" y="1213"/>
                </a:moveTo>
                <a:lnTo>
                  <a:pt x="6303" y="1223"/>
                </a:lnTo>
                <a:lnTo>
                  <a:pt x="6289" y="1214"/>
                </a:lnTo>
                <a:lnTo>
                  <a:pt x="6285" y="1200"/>
                </a:lnTo>
                <a:lnTo>
                  <a:pt x="6307" y="1196"/>
                </a:lnTo>
                <a:lnTo>
                  <a:pt x="6312" y="1196"/>
                </a:lnTo>
                <a:lnTo>
                  <a:pt x="6314" y="1199"/>
                </a:lnTo>
                <a:lnTo>
                  <a:pt x="6316" y="1205"/>
                </a:lnTo>
                <a:lnTo>
                  <a:pt x="6314" y="1213"/>
                </a:lnTo>
                <a:close/>
                <a:moveTo>
                  <a:pt x="6318" y="1292"/>
                </a:moveTo>
                <a:lnTo>
                  <a:pt x="6316" y="1296"/>
                </a:lnTo>
                <a:lnTo>
                  <a:pt x="6309" y="1296"/>
                </a:lnTo>
                <a:lnTo>
                  <a:pt x="6305" y="1294"/>
                </a:lnTo>
                <a:lnTo>
                  <a:pt x="6303" y="1289"/>
                </a:lnTo>
                <a:lnTo>
                  <a:pt x="6294" y="1255"/>
                </a:lnTo>
                <a:lnTo>
                  <a:pt x="6305" y="1245"/>
                </a:lnTo>
                <a:lnTo>
                  <a:pt x="6319" y="1258"/>
                </a:lnTo>
                <a:lnTo>
                  <a:pt x="6318" y="1292"/>
                </a:lnTo>
                <a:close/>
                <a:moveTo>
                  <a:pt x="6668" y="1424"/>
                </a:moveTo>
                <a:lnTo>
                  <a:pt x="6670" y="1428"/>
                </a:lnTo>
                <a:lnTo>
                  <a:pt x="6670" y="1432"/>
                </a:lnTo>
                <a:lnTo>
                  <a:pt x="6670" y="1436"/>
                </a:lnTo>
                <a:lnTo>
                  <a:pt x="6668" y="1440"/>
                </a:lnTo>
                <a:lnTo>
                  <a:pt x="6663" y="1438"/>
                </a:lnTo>
                <a:lnTo>
                  <a:pt x="6662" y="1433"/>
                </a:lnTo>
                <a:lnTo>
                  <a:pt x="6665" y="1428"/>
                </a:lnTo>
                <a:lnTo>
                  <a:pt x="6668" y="1424"/>
                </a:lnTo>
                <a:close/>
                <a:moveTo>
                  <a:pt x="7196" y="1292"/>
                </a:moveTo>
                <a:lnTo>
                  <a:pt x="7192" y="1292"/>
                </a:lnTo>
                <a:lnTo>
                  <a:pt x="7192" y="1289"/>
                </a:lnTo>
                <a:lnTo>
                  <a:pt x="7193" y="1287"/>
                </a:lnTo>
                <a:lnTo>
                  <a:pt x="7197" y="1288"/>
                </a:lnTo>
                <a:lnTo>
                  <a:pt x="7197" y="1291"/>
                </a:lnTo>
                <a:lnTo>
                  <a:pt x="7196" y="1292"/>
                </a:lnTo>
                <a:close/>
                <a:moveTo>
                  <a:pt x="7193" y="1367"/>
                </a:moveTo>
                <a:lnTo>
                  <a:pt x="7189" y="1364"/>
                </a:lnTo>
                <a:lnTo>
                  <a:pt x="7192" y="1358"/>
                </a:lnTo>
                <a:lnTo>
                  <a:pt x="7197" y="1356"/>
                </a:lnTo>
                <a:lnTo>
                  <a:pt x="7199" y="1359"/>
                </a:lnTo>
                <a:lnTo>
                  <a:pt x="7197" y="1364"/>
                </a:lnTo>
                <a:lnTo>
                  <a:pt x="7193" y="1367"/>
                </a:lnTo>
                <a:close/>
                <a:moveTo>
                  <a:pt x="7300" y="1441"/>
                </a:moveTo>
                <a:lnTo>
                  <a:pt x="7292" y="1459"/>
                </a:lnTo>
                <a:lnTo>
                  <a:pt x="7286" y="1452"/>
                </a:lnTo>
                <a:lnTo>
                  <a:pt x="7282" y="1435"/>
                </a:lnTo>
                <a:lnTo>
                  <a:pt x="7287" y="1415"/>
                </a:lnTo>
                <a:lnTo>
                  <a:pt x="7298" y="1396"/>
                </a:lnTo>
                <a:lnTo>
                  <a:pt x="7308" y="1400"/>
                </a:lnTo>
                <a:lnTo>
                  <a:pt x="7312" y="1418"/>
                </a:lnTo>
                <a:lnTo>
                  <a:pt x="7300" y="1441"/>
                </a:lnTo>
                <a:close/>
                <a:moveTo>
                  <a:pt x="7505" y="1436"/>
                </a:moveTo>
                <a:lnTo>
                  <a:pt x="7511" y="1445"/>
                </a:lnTo>
                <a:lnTo>
                  <a:pt x="7511" y="1450"/>
                </a:lnTo>
                <a:lnTo>
                  <a:pt x="7506" y="1454"/>
                </a:lnTo>
                <a:lnTo>
                  <a:pt x="7495" y="1455"/>
                </a:lnTo>
                <a:lnTo>
                  <a:pt x="7500" y="1445"/>
                </a:lnTo>
                <a:lnTo>
                  <a:pt x="7505" y="1436"/>
                </a:lnTo>
                <a:close/>
                <a:moveTo>
                  <a:pt x="7567" y="1410"/>
                </a:moveTo>
                <a:lnTo>
                  <a:pt x="7576" y="1401"/>
                </a:lnTo>
                <a:lnTo>
                  <a:pt x="7598" y="1395"/>
                </a:lnTo>
                <a:lnTo>
                  <a:pt x="7620" y="1391"/>
                </a:lnTo>
                <a:lnTo>
                  <a:pt x="7636" y="1389"/>
                </a:lnTo>
                <a:lnTo>
                  <a:pt x="7627" y="1435"/>
                </a:lnTo>
                <a:lnTo>
                  <a:pt x="7612" y="1446"/>
                </a:lnTo>
                <a:lnTo>
                  <a:pt x="7592" y="1435"/>
                </a:lnTo>
                <a:lnTo>
                  <a:pt x="7567" y="1410"/>
                </a:lnTo>
                <a:close/>
                <a:moveTo>
                  <a:pt x="7687" y="1449"/>
                </a:moveTo>
                <a:lnTo>
                  <a:pt x="7681" y="1443"/>
                </a:lnTo>
                <a:lnTo>
                  <a:pt x="7668" y="1431"/>
                </a:lnTo>
                <a:lnTo>
                  <a:pt x="7673" y="1417"/>
                </a:lnTo>
                <a:lnTo>
                  <a:pt x="7686" y="1419"/>
                </a:lnTo>
                <a:lnTo>
                  <a:pt x="7694" y="1432"/>
                </a:lnTo>
                <a:lnTo>
                  <a:pt x="7687" y="1449"/>
                </a:lnTo>
                <a:close/>
                <a:moveTo>
                  <a:pt x="7927" y="1418"/>
                </a:moveTo>
                <a:lnTo>
                  <a:pt x="7919" y="1413"/>
                </a:lnTo>
                <a:lnTo>
                  <a:pt x="7911" y="1406"/>
                </a:lnTo>
                <a:lnTo>
                  <a:pt x="7919" y="1408"/>
                </a:lnTo>
                <a:lnTo>
                  <a:pt x="7925" y="1409"/>
                </a:lnTo>
                <a:lnTo>
                  <a:pt x="7929" y="1413"/>
                </a:lnTo>
                <a:lnTo>
                  <a:pt x="7927" y="1418"/>
                </a:lnTo>
                <a:close/>
                <a:moveTo>
                  <a:pt x="8082" y="1577"/>
                </a:moveTo>
                <a:lnTo>
                  <a:pt x="8079" y="1581"/>
                </a:lnTo>
                <a:lnTo>
                  <a:pt x="8076" y="1577"/>
                </a:lnTo>
                <a:lnTo>
                  <a:pt x="8072" y="1569"/>
                </a:lnTo>
                <a:lnTo>
                  <a:pt x="8069" y="1563"/>
                </a:lnTo>
                <a:lnTo>
                  <a:pt x="8073" y="1566"/>
                </a:lnTo>
                <a:lnTo>
                  <a:pt x="8079" y="1568"/>
                </a:lnTo>
                <a:lnTo>
                  <a:pt x="8083" y="1572"/>
                </a:lnTo>
                <a:lnTo>
                  <a:pt x="8082" y="1577"/>
                </a:lnTo>
                <a:close/>
                <a:moveTo>
                  <a:pt x="8297" y="1426"/>
                </a:moveTo>
                <a:lnTo>
                  <a:pt x="8296" y="1424"/>
                </a:lnTo>
                <a:lnTo>
                  <a:pt x="8293" y="1423"/>
                </a:lnTo>
                <a:lnTo>
                  <a:pt x="8296" y="1419"/>
                </a:lnTo>
                <a:lnTo>
                  <a:pt x="8298" y="1419"/>
                </a:lnTo>
                <a:lnTo>
                  <a:pt x="8300" y="1422"/>
                </a:lnTo>
                <a:lnTo>
                  <a:pt x="8297" y="1426"/>
                </a:lnTo>
                <a:close/>
                <a:moveTo>
                  <a:pt x="8805" y="2312"/>
                </a:moveTo>
                <a:lnTo>
                  <a:pt x="8803" y="2313"/>
                </a:lnTo>
                <a:lnTo>
                  <a:pt x="8802" y="2313"/>
                </a:lnTo>
                <a:lnTo>
                  <a:pt x="8800" y="2310"/>
                </a:lnTo>
                <a:lnTo>
                  <a:pt x="8800" y="2309"/>
                </a:lnTo>
                <a:lnTo>
                  <a:pt x="8803" y="2309"/>
                </a:lnTo>
                <a:lnTo>
                  <a:pt x="8805" y="2312"/>
                </a:lnTo>
                <a:close/>
                <a:moveTo>
                  <a:pt x="9381" y="5253"/>
                </a:moveTo>
                <a:lnTo>
                  <a:pt x="9363" y="5246"/>
                </a:lnTo>
                <a:lnTo>
                  <a:pt x="9358" y="5237"/>
                </a:lnTo>
                <a:lnTo>
                  <a:pt x="9366" y="5234"/>
                </a:lnTo>
                <a:lnTo>
                  <a:pt x="9385" y="5241"/>
                </a:lnTo>
                <a:lnTo>
                  <a:pt x="9390" y="5244"/>
                </a:lnTo>
                <a:lnTo>
                  <a:pt x="9390" y="5249"/>
                </a:lnTo>
                <a:lnTo>
                  <a:pt x="9387" y="5253"/>
                </a:lnTo>
                <a:lnTo>
                  <a:pt x="9381" y="5253"/>
                </a:lnTo>
                <a:close/>
                <a:moveTo>
                  <a:pt x="9209" y="5564"/>
                </a:moveTo>
                <a:lnTo>
                  <a:pt x="9220" y="5563"/>
                </a:lnTo>
                <a:lnTo>
                  <a:pt x="9229" y="5563"/>
                </a:lnTo>
                <a:lnTo>
                  <a:pt x="9237" y="5568"/>
                </a:lnTo>
                <a:lnTo>
                  <a:pt x="9242" y="5578"/>
                </a:lnTo>
                <a:lnTo>
                  <a:pt x="9231" y="5582"/>
                </a:lnTo>
                <a:lnTo>
                  <a:pt x="9219" y="5582"/>
                </a:lnTo>
                <a:lnTo>
                  <a:pt x="9210" y="5575"/>
                </a:lnTo>
                <a:lnTo>
                  <a:pt x="9209" y="5564"/>
                </a:lnTo>
                <a:close/>
                <a:moveTo>
                  <a:pt x="9227" y="5500"/>
                </a:moveTo>
                <a:lnTo>
                  <a:pt x="9199" y="5505"/>
                </a:lnTo>
                <a:lnTo>
                  <a:pt x="9173" y="5504"/>
                </a:lnTo>
                <a:lnTo>
                  <a:pt x="9150" y="5499"/>
                </a:lnTo>
                <a:lnTo>
                  <a:pt x="9129" y="5490"/>
                </a:lnTo>
                <a:lnTo>
                  <a:pt x="9153" y="5480"/>
                </a:lnTo>
                <a:lnTo>
                  <a:pt x="9176" y="5479"/>
                </a:lnTo>
                <a:lnTo>
                  <a:pt x="9200" y="5486"/>
                </a:lnTo>
                <a:lnTo>
                  <a:pt x="9227" y="5500"/>
                </a:lnTo>
                <a:close/>
                <a:moveTo>
                  <a:pt x="9162" y="5361"/>
                </a:moveTo>
                <a:lnTo>
                  <a:pt x="9163" y="5359"/>
                </a:lnTo>
                <a:lnTo>
                  <a:pt x="9164" y="5356"/>
                </a:lnTo>
                <a:lnTo>
                  <a:pt x="9166" y="5356"/>
                </a:lnTo>
                <a:lnTo>
                  <a:pt x="9170" y="5358"/>
                </a:lnTo>
                <a:lnTo>
                  <a:pt x="9168" y="5360"/>
                </a:lnTo>
                <a:lnTo>
                  <a:pt x="9167" y="5361"/>
                </a:lnTo>
                <a:lnTo>
                  <a:pt x="9164" y="5361"/>
                </a:lnTo>
                <a:lnTo>
                  <a:pt x="9162" y="5361"/>
                </a:lnTo>
                <a:close/>
                <a:moveTo>
                  <a:pt x="9013" y="5304"/>
                </a:moveTo>
                <a:lnTo>
                  <a:pt x="9036" y="5309"/>
                </a:lnTo>
                <a:lnTo>
                  <a:pt x="9057" y="5314"/>
                </a:lnTo>
                <a:lnTo>
                  <a:pt x="9077" y="5326"/>
                </a:lnTo>
                <a:lnTo>
                  <a:pt x="9094" y="5346"/>
                </a:lnTo>
                <a:lnTo>
                  <a:pt x="9063" y="5355"/>
                </a:lnTo>
                <a:lnTo>
                  <a:pt x="9038" y="5353"/>
                </a:lnTo>
                <a:lnTo>
                  <a:pt x="9022" y="5337"/>
                </a:lnTo>
                <a:lnTo>
                  <a:pt x="9013" y="5304"/>
                </a:lnTo>
                <a:close/>
                <a:moveTo>
                  <a:pt x="8849" y="5367"/>
                </a:moveTo>
                <a:lnTo>
                  <a:pt x="8866" y="5358"/>
                </a:lnTo>
                <a:lnTo>
                  <a:pt x="8879" y="5355"/>
                </a:lnTo>
                <a:lnTo>
                  <a:pt x="8894" y="5360"/>
                </a:lnTo>
                <a:lnTo>
                  <a:pt x="8919" y="5370"/>
                </a:lnTo>
                <a:lnTo>
                  <a:pt x="8900" y="5374"/>
                </a:lnTo>
                <a:lnTo>
                  <a:pt x="8882" y="5374"/>
                </a:lnTo>
                <a:lnTo>
                  <a:pt x="8865" y="5372"/>
                </a:lnTo>
                <a:lnTo>
                  <a:pt x="8849" y="5367"/>
                </a:lnTo>
                <a:close/>
                <a:moveTo>
                  <a:pt x="8929" y="5417"/>
                </a:moveTo>
                <a:lnTo>
                  <a:pt x="8957" y="5438"/>
                </a:lnTo>
                <a:lnTo>
                  <a:pt x="8957" y="5465"/>
                </a:lnTo>
                <a:lnTo>
                  <a:pt x="8938" y="5476"/>
                </a:lnTo>
                <a:lnTo>
                  <a:pt x="8908" y="5454"/>
                </a:lnTo>
                <a:lnTo>
                  <a:pt x="8835" y="5430"/>
                </a:lnTo>
                <a:lnTo>
                  <a:pt x="8818" y="5411"/>
                </a:lnTo>
                <a:lnTo>
                  <a:pt x="8852" y="5405"/>
                </a:lnTo>
                <a:lnTo>
                  <a:pt x="8929" y="5417"/>
                </a:lnTo>
                <a:close/>
                <a:moveTo>
                  <a:pt x="8771" y="5328"/>
                </a:moveTo>
                <a:lnTo>
                  <a:pt x="8782" y="5327"/>
                </a:lnTo>
                <a:lnTo>
                  <a:pt x="8789" y="5332"/>
                </a:lnTo>
                <a:lnTo>
                  <a:pt x="8794" y="5342"/>
                </a:lnTo>
                <a:lnTo>
                  <a:pt x="8798" y="5354"/>
                </a:lnTo>
                <a:lnTo>
                  <a:pt x="8781" y="5356"/>
                </a:lnTo>
                <a:lnTo>
                  <a:pt x="8770" y="5353"/>
                </a:lnTo>
                <a:lnTo>
                  <a:pt x="8765" y="5342"/>
                </a:lnTo>
                <a:lnTo>
                  <a:pt x="8771" y="5328"/>
                </a:lnTo>
                <a:close/>
                <a:moveTo>
                  <a:pt x="8719" y="5281"/>
                </a:moveTo>
                <a:lnTo>
                  <a:pt x="8728" y="5275"/>
                </a:lnTo>
                <a:lnTo>
                  <a:pt x="8742" y="5276"/>
                </a:lnTo>
                <a:lnTo>
                  <a:pt x="8758" y="5280"/>
                </a:lnTo>
                <a:lnTo>
                  <a:pt x="8772" y="5283"/>
                </a:lnTo>
                <a:lnTo>
                  <a:pt x="8763" y="5288"/>
                </a:lnTo>
                <a:lnTo>
                  <a:pt x="8749" y="5286"/>
                </a:lnTo>
                <a:lnTo>
                  <a:pt x="8734" y="5283"/>
                </a:lnTo>
                <a:lnTo>
                  <a:pt x="8719" y="5281"/>
                </a:lnTo>
                <a:close/>
                <a:moveTo>
                  <a:pt x="8512" y="5342"/>
                </a:moveTo>
                <a:lnTo>
                  <a:pt x="8560" y="5359"/>
                </a:lnTo>
                <a:lnTo>
                  <a:pt x="8609" y="5360"/>
                </a:lnTo>
                <a:lnTo>
                  <a:pt x="8655" y="5364"/>
                </a:lnTo>
                <a:lnTo>
                  <a:pt x="8696" y="5391"/>
                </a:lnTo>
                <a:lnTo>
                  <a:pt x="8703" y="5420"/>
                </a:lnTo>
                <a:lnTo>
                  <a:pt x="8604" y="5401"/>
                </a:lnTo>
                <a:lnTo>
                  <a:pt x="8505" y="5367"/>
                </a:lnTo>
                <a:lnTo>
                  <a:pt x="8512" y="5342"/>
                </a:lnTo>
                <a:close/>
                <a:moveTo>
                  <a:pt x="7216" y="2202"/>
                </a:moveTo>
                <a:lnTo>
                  <a:pt x="7220" y="2194"/>
                </a:lnTo>
                <a:lnTo>
                  <a:pt x="7225" y="2189"/>
                </a:lnTo>
                <a:lnTo>
                  <a:pt x="7233" y="2188"/>
                </a:lnTo>
                <a:lnTo>
                  <a:pt x="7240" y="2189"/>
                </a:lnTo>
                <a:lnTo>
                  <a:pt x="7235" y="2196"/>
                </a:lnTo>
                <a:lnTo>
                  <a:pt x="7230" y="2200"/>
                </a:lnTo>
                <a:lnTo>
                  <a:pt x="7224" y="2202"/>
                </a:lnTo>
                <a:lnTo>
                  <a:pt x="7216" y="2202"/>
                </a:lnTo>
                <a:close/>
                <a:moveTo>
                  <a:pt x="6932" y="4785"/>
                </a:moveTo>
                <a:lnTo>
                  <a:pt x="6933" y="4792"/>
                </a:lnTo>
                <a:lnTo>
                  <a:pt x="6936" y="4801"/>
                </a:lnTo>
                <a:lnTo>
                  <a:pt x="6928" y="4799"/>
                </a:lnTo>
                <a:lnTo>
                  <a:pt x="6924" y="4796"/>
                </a:lnTo>
                <a:lnTo>
                  <a:pt x="6927" y="4791"/>
                </a:lnTo>
                <a:lnTo>
                  <a:pt x="6932" y="4785"/>
                </a:lnTo>
                <a:close/>
                <a:moveTo>
                  <a:pt x="6918" y="4747"/>
                </a:moveTo>
                <a:lnTo>
                  <a:pt x="6921" y="4744"/>
                </a:lnTo>
                <a:lnTo>
                  <a:pt x="6924" y="4743"/>
                </a:lnTo>
                <a:lnTo>
                  <a:pt x="6931" y="4750"/>
                </a:lnTo>
                <a:lnTo>
                  <a:pt x="6926" y="4754"/>
                </a:lnTo>
                <a:lnTo>
                  <a:pt x="6918" y="4754"/>
                </a:lnTo>
                <a:lnTo>
                  <a:pt x="6918" y="4747"/>
                </a:lnTo>
                <a:close/>
                <a:moveTo>
                  <a:pt x="6561" y="4786"/>
                </a:moveTo>
                <a:lnTo>
                  <a:pt x="6564" y="4780"/>
                </a:lnTo>
                <a:lnTo>
                  <a:pt x="6568" y="4777"/>
                </a:lnTo>
                <a:lnTo>
                  <a:pt x="6573" y="4778"/>
                </a:lnTo>
                <a:lnTo>
                  <a:pt x="6577" y="4784"/>
                </a:lnTo>
                <a:lnTo>
                  <a:pt x="6572" y="4796"/>
                </a:lnTo>
                <a:lnTo>
                  <a:pt x="6565" y="4804"/>
                </a:lnTo>
                <a:lnTo>
                  <a:pt x="6560" y="4801"/>
                </a:lnTo>
                <a:lnTo>
                  <a:pt x="6561" y="4786"/>
                </a:lnTo>
                <a:close/>
                <a:moveTo>
                  <a:pt x="6155" y="4660"/>
                </a:moveTo>
                <a:lnTo>
                  <a:pt x="6146" y="4646"/>
                </a:lnTo>
                <a:lnTo>
                  <a:pt x="6146" y="4628"/>
                </a:lnTo>
                <a:lnTo>
                  <a:pt x="6153" y="4613"/>
                </a:lnTo>
                <a:lnTo>
                  <a:pt x="6169" y="4609"/>
                </a:lnTo>
                <a:lnTo>
                  <a:pt x="6182" y="4624"/>
                </a:lnTo>
                <a:lnTo>
                  <a:pt x="6183" y="4646"/>
                </a:lnTo>
                <a:lnTo>
                  <a:pt x="6174" y="4663"/>
                </a:lnTo>
                <a:lnTo>
                  <a:pt x="6155" y="4660"/>
                </a:lnTo>
                <a:close/>
                <a:moveTo>
                  <a:pt x="6144" y="4735"/>
                </a:moveTo>
                <a:lnTo>
                  <a:pt x="6153" y="4734"/>
                </a:lnTo>
                <a:lnTo>
                  <a:pt x="6154" y="4736"/>
                </a:lnTo>
                <a:lnTo>
                  <a:pt x="6148" y="4739"/>
                </a:lnTo>
                <a:lnTo>
                  <a:pt x="6139" y="4739"/>
                </a:lnTo>
                <a:lnTo>
                  <a:pt x="6141" y="4738"/>
                </a:lnTo>
                <a:lnTo>
                  <a:pt x="6144" y="4735"/>
                </a:lnTo>
                <a:close/>
                <a:moveTo>
                  <a:pt x="5233" y="4941"/>
                </a:moveTo>
                <a:lnTo>
                  <a:pt x="5237" y="4941"/>
                </a:lnTo>
                <a:lnTo>
                  <a:pt x="5240" y="4941"/>
                </a:lnTo>
                <a:lnTo>
                  <a:pt x="5241" y="4944"/>
                </a:lnTo>
                <a:lnTo>
                  <a:pt x="5241" y="4948"/>
                </a:lnTo>
                <a:lnTo>
                  <a:pt x="5237" y="4953"/>
                </a:lnTo>
                <a:lnTo>
                  <a:pt x="5233" y="4952"/>
                </a:lnTo>
                <a:lnTo>
                  <a:pt x="5231" y="4948"/>
                </a:lnTo>
                <a:lnTo>
                  <a:pt x="5233" y="4941"/>
                </a:lnTo>
                <a:close/>
                <a:moveTo>
                  <a:pt x="5209" y="4861"/>
                </a:moveTo>
                <a:lnTo>
                  <a:pt x="5208" y="4866"/>
                </a:lnTo>
                <a:lnTo>
                  <a:pt x="5203" y="4869"/>
                </a:lnTo>
                <a:lnTo>
                  <a:pt x="5198" y="4868"/>
                </a:lnTo>
                <a:lnTo>
                  <a:pt x="5196" y="4861"/>
                </a:lnTo>
                <a:lnTo>
                  <a:pt x="5199" y="4859"/>
                </a:lnTo>
                <a:lnTo>
                  <a:pt x="5203" y="4857"/>
                </a:lnTo>
                <a:lnTo>
                  <a:pt x="5206" y="4859"/>
                </a:lnTo>
                <a:lnTo>
                  <a:pt x="5209" y="4861"/>
                </a:lnTo>
                <a:close/>
                <a:moveTo>
                  <a:pt x="5077" y="4649"/>
                </a:moveTo>
                <a:lnTo>
                  <a:pt x="5077" y="4637"/>
                </a:lnTo>
                <a:lnTo>
                  <a:pt x="5083" y="4627"/>
                </a:lnTo>
                <a:lnTo>
                  <a:pt x="5093" y="4621"/>
                </a:lnTo>
                <a:lnTo>
                  <a:pt x="5103" y="4621"/>
                </a:lnTo>
                <a:lnTo>
                  <a:pt x="5111" y="4635"/>
                </a:lnTo>
                <a:lnTo>
                  <a:pt x="5105" y="4649"/>
                </a:lnTo>
                <a:lnTo>
                  <a:pt x="5092" y="4655"/>
                </a:lnTo>
                <a:lnTo>
                  <a:pt x="5077" y="4649"/>
                </a:lnTo>
                <a:close/>
                <a:moveTo>
                  <a:pt x="5066" y="4728"/>
                </a:moveTo>
                <a:lnTo>
                  <a:pt x="5075" y="4725"/>
                </a:lnTo>
                <a:lnTo>
                  <a:pt x="5082" y="4729"/>
                </a:lnTo>
                <a:lnTo>
                  <a:pt x="5085" y="4738"/>
                </a:lnTo>
                <a:lnTo>
                  <a:pt x="5083" y="4747"/>
                </a:lnTo>
                <a:lnTo>
                  <a:pt x="5077" y="4744"/>
                </a:lnTo>
                <a:lnTo>
                  <a:pt x="5069" y="4740"/>
                </a:lnTo>
                <a:lnTo>
                  <a:pt x="5065" y="4735"/>
                </a:lnTo>
                <a:lnTo>
                  <a:pt x="5066" y="4728"/>
                </a:lnTo>
                <a:close/>
                <a:moveTo>
                  <a:pt x="4503" y="2010"/>
                </a:moveTo>
                <a:lnTo>
                  <a:pt x="4502" y="2016"/>
                </a:lnTo>
                <a:lnTo>
                  <a:pt x="4501" y="2021"/>
                </a:lnTo>
                <a:lnTo>
                  <a:pt x="4498" y="2017"/>
                </a:lnTo>
                <a:lnTo>
                  <a:pt x="4497" y="2012"/>
                </a:lnTo>
                <a:lnTo>
                  <a:pt x="4498" y="2010"/>
                </a:lnTo>
                <a:lnTo>
                  <a:pt x="4503" y="2010"/>
                </a:lnTo>
                <a:close/>
                <a:moveTo>
                  <a:pt x="4091" y="1965"/>
                </a:moveTo>
                <a:lnTo>
                  <a:pt x="4091" y="1974"/>
                </a:lnTo>
                <a:lnTo>
                  <a:pt x="4090" y="1984"/>
                </a:lnTo>
                <a:lnTo>
                  <a:pt x="4090" y="1975"/>
                </a:lnTo>
                <a:lnTo>
                  <a:pt x="4091" y="1965"/>
                </a:lnTo>
                <a:close/>
                <a:moveTo>
                  <a:pt x="3496" y="5056"/>
                </a:moveTo>
                <a:lnTo>
                  <a:pt x="3497" y="5059"/>
                </a:lnTo>
                <a:lnTo>
                  <a:pt x="3497" y="5062"/>
                </a:lnTo>
                <a:lnTo>
                  <a:pt x="3495" y="5065"/>
                </a:lnTo>
                <a:lnTo>
                  <a:pt x="3492" y="5066"/>
                </a:lnTo>
                <a:lnTo>
                  <a:pt x="3487" y="5062"/>
                </a:lnTo>
                <a:lnTo>
                  <a:pt x="3487" y="5057"/>
                </a:lnTo>
                <a:lnTo>
                  <a:pt x="3491" y="5055"/>
                </a:lnTo>
                <a:lnTo>
                  <a:pt x="3496" y="5056"/>
                </a:lnTo>
                <a:close/>
                <a:moveTo>
                  <a:pt x="3798" y="1153"/>
                </a:moveTo>
                <a:lnTo>
                  <a:pt x="3800" y="1148"/>
                </a:lnTo>
                <a:lnTo>
                  <a:pt x="3800" y="1151"/>
                </a:lnTo>
                <a:lnTo>
                  <a:pt x="3802" y="1152"/>
                </a:lnTo>
                <a:lnTo>
                  <a:pt x="3800" y="1153"/>
                </a:lnTo>
                <a:lnTo>
                  <a:pt x="3798" y="1153"/>
                </a:lnTo>
                <a:close/>
                <a:moveTo>
                  <a:pt x="3795" y="1939"/>
                </a:moveTo>
                <a:lnTo>
                  <a:pt x="3795" y="1935"/>
                </a:lnTo>
                <a:lnTo>
                  <a:pt x="3797" y="1935"/>
                </a:lnTo>
                <a:lnTo>
                  <a:pt x="3798" y="1935"/>
                </a:lnTo>
                <a:lnTo>
                  <a:pt x="3802" y="1931"/>
                </a:lnTo>
                <a:lnTo>
                  <a:pt x="3804" y="1939"/>
                </a:lnTo>
                <a:lnTo>
                  <a:pt x="3803" y="1945"/>
                </a:lnTo>
                <a:lnTo>
                  <a:pt x="3799" y="1946"/>
                </a:lnTo>
                <a:lnTo>
                  <a:pt x="3795" y="1939"/>
                </a:lnTo>
                <a:close/>
                <a:moveTo>
                  <a:pt x="4184" y="1208"/>
                </a:moveTo>
                <a:lnTo>
                  <a:pt x="4186" y="1203"/>
                </a:lnTo>
                <a:lnTo>
                  <a:pt x="4188" y="1205"/>
                </a:lnTo>
                <a:lnTo>
                  <a:pt x="4188" y="1207"/>
                </a:lnTo>
                <a:lnTo>
                  <a:pt x="4186" y="1208"/>
                </a:lnTo>
                <a:lnTo>
                  <a:pt x="4184" y="1208"/>
                </a:lnTo>
                <a:close/>
                <a:moveTo>
                  <a:pt x="4158" y="1455"/>
                </a:moveTo>
                <a:lnTo>
                  <a:pt x="4155" y="1457"/>
                </a:lnTo>
                <a:lnTo>
                  <a:pt x="4153" y="1454"/>
                </a:lnTo>
                <a:lnTo>
                  <a:pt x="4155" y="1450"/>
                </a:lnTo>
                <a:lnTo>
                  <a:pt x="4157" y="1449"/>
                </a:lnTo>
                <a:lnTo>
                  <a:pt x="4157" y="1451"/>
                </a:lnTo>
                <a:lnTo>
                  <a:pt x="4158" y="1455"/>
                </a:lnTo>
                <a:close/>
                <a:moveTo>
                  <a:pt x="4055" y="1955"/>
                </a:moveTo>
                <a:lnTo>
                  <a:pt x="4055" y="1958"/>
                </a:lnTo>
                <a:lnTo>
                  <a:pt x="4055" y="1960"/>
                </a:lnTo>
                <a:lnTo>
                  <a:pt x="4054" y="1958"/>
                </a:lnTo>
                <a:lnTo>
                  <a:pt x="4053" y="1955"/>
                </a:lnTo>
                <a:lnTo>
                  <a:pt x="4053" y="1955"/>
                </a:lnTo>
                <a:lnTo>
                  <a:pt x="4055" y="1955"/>
                </a:lnTo>
                <a:close/>
                <a:moveTo>
                  <a:pt x="4014" y="1954"/>
                </a:moveTo>
                <a:lnTo>
                  <a:pt x="4013" y="1950"/>
                </a:lnTo>
                <a:lnTo>
                  <a:pt x="4014" y="1947"/>
                </a:lnTo>
                <a:lnTo>
                  <a:pt x="4016" y="1947"/>
                </a:lnTo>
                <a:lnTo>
                  <a:pt x="4020" y="1947"/>
                </a:lnTo>
                <a:lnTo>
                  <a:pt x="4017" y="1951"/>
                </a:lnTo>
                <a:lnTo>
                  <a:pt x="4014" y="1954"/>
                </a:lnTo>
                <a:close/>
                <a:moveTo>
                  <a:pt x="3937" y="1944"/>
                </a:moveTo>
                <a:lnTo>
                  <a:pt x="3947" y="1941"/>
                </a:lnTo>
                <a:lnTo>
                  <a:pt x="3957" y="1940"/>
                </a:lnTo>
                <a:lnTo>
                  <a:pt x="3967" y="1939"/>
                </a:lnTo>
                <a:lnTo>
                  <a:pt x="3977" y="1940"/>
                </a:lnTo>
                <a:lnTo>
                  <a:pt x="3969" y="1961"/>
                </a:lnTo>
                <a:lnTo>
                  <a:pt x="3955" y="1972"/>
                </a:lnTo>
                <a:lnTo>
                  <a:pt x="3941" y="1968"/>
                </a:lnTo>
                <a:lnTo>
                  <a:pt x="3937" y="1944"/>
                </a:lnTo>
                <a:close/>
                <a:moveTo>
                  <a:pt x="3932" y="1895"/>
                </a:moveTo>
                <a:lnTo>
                  <a:pt x="3935" y="1905"/>
                </a:lnTo>
                <a:lnTo>
                  <a:pt x="3937" y="1913"/>
                </a:lnTo>
                <a:lnTo>
                  <a:pt x="3934" y="1918"/>
                </a:lnTo>
                <a:lnTo>
                  <a:pt x="3925" y="1921"/>
                </a:lnTo>
                <a:lnTo>
                  <a:pt x="3925" y="1913"/>
                </a:lnTo>
                <a:lnTo>
                  <a:pt x="3927" y="1907"/>
                </a:lnTo>
                <a:lnTo>
                  <a:pt x="3929" y="1900"/>
                </a:lnTo>
                <a:lnTo>
                  <a:pt x="3932" y="1895"/>
                </a:lnTo>
                <a:close/>
                <a:moveTo>
                  <a:pt x="4032" y="1923"/>
                </a:moveTo>
                <a:lnTo>
                  <a:pt x="4025" y="1923"/>
                </a:lnTo>
                <a:lnTo>
                  <a:pt x="4020" y="1921"/>
                </a:lnTo>
                <a:lnTo>
                  <a:pt x="4026" y="1921"/>
                </a:lnTo>
                <a:lnTo>
                  <a:pt x="4032" y="1923"/>
                </a:lnTo>
                <a:close/>
                <a:moveTo>
                  <a:pt x="4045" y="1717"/>
                </a:moveTo>
                <a:lnTo>
                  <a:pt x="4041" y="1727"/>
                </a:lnTo>
                <a:lnTo>
                  <a:pt x="4036" y="1730"/>
                </a:lnTo>
                <a:lnTo>
                  <a:pt x="4032" y="1725"/>
                </a:lnTo>
                <a:lnTo>
                  <a:pt x="4026" y="1713"/>
                </a:lnTo>
                <a:lnTo>
                  <a:pt x="4032" y="1715"/>
                </a:lnTo>
                <a:lnTo>
                  <a:pt x="4040" y="1715"/>
                </a:lnTo>
                <a:lnTo>
                  <a:pt x="4045" y="1716"/>
                </a:lnTo>
                <a:lnTo>
                  <a:pt x="4045" y="1717"/>
                </a:lnTo>
                <a:close/>
                <a:moveTo>
                  <a:pt x="4112" y="1736"/>
                </a:moveTo>
                <a:lnTo>
                  <a:pt x="4112" y="1737"/>
                </a:lnTo>
                <a:lnTo>
                  <a:pt x="4111" y="1739"/>
                </a:lnTo>
                <a:lnTo>
                  <a:pt x="4110" y="1739"/>
                </a:lnTo>
                <a:lnTo>
                  <a:pt x="4107" y="1737"/>
                </a:lnTo>
                <a:lnTo>
                  <a:pt x="4109" y="1735"/>
                </a:lnTo>
                <a:lnTo>
                  <a:pt x="4110" y="1735"/>
                </a:lnTo>
                <a:lnTo>
                  <a:pt x="4111" y="1735"/>
                </a:lnTo>
                <a:lnTo>
                  <a:pt x="4112" y="1736"/>
                </a:lnTo>
                <a:close/>
                <a:moveTo>
                  <a:pt x="4208" y="1540"/>
                </a:moveTo>
                <a:lnTo>
                  <a:pt x="4207" y="1540"/>
                </a:lnTo>
                <a:lnTo>
                  <a:pt x="4208" y="1540"/>
                </a:lnTo>
                <a:lnTo>
                  <a:pt x="4208" y="1541"/>
                </a:lnTo>
                <a:lnTo>
                  <a:pt x="4208" y="1540"/>
                </a:lnTo>
                <a:close/>
                <a:moveTo>
                  <a:pt x="4353" y="1543"/>
                </a:moveTo>
                <a:lnTo>
                  <a:pt x="4348" y="1538"/>
                </a:lnTo>
                <a:lnTo>
                  <a:pt x="4354" y="1531"/>
                </a:lnTo>
                <a:lnTo>
                  <a:pt x="4365" y="1526"/>
                </a:lnTo>
                <a:lnTo>
                  <a:pt x="4374" y="1527"/>
                </a:lnTo>
                <a:lnTo>
                  <a:pt x="4376" y="1536"/>
                </a:lnTo>
                <a:lnTo>
                  <a:pt x="4371" y="1543"/>
                </a:lnTo>
                <a:lnTo>
                  <a:pt x="4362" y="1547"/>
                </a:lnTo>
                <a:lnTo>
                  <a:pt x="4353" y="1543"/>
                </a:lnTo>
                <a:close/>
                <a:moveTo>
                  <a:pt x="4553" y="1641"/>
                </a:moveTo>
                <a:lnTo>
                  <a:pt x="4557" y="1639"/>
                </a:lnTo>
                <a:lnTo>
                  <a:pt x="4561" y="1639"/>
                </a:lnTo>
                <a:lnTo>
                  <a:pt x="4565" y="1641"/>
                </a:lnTo>
                <a:lnTo>
                  <a:pt x="4568" y="1642"/>
                </a:lnTo>
                <a:lnTo>
                  <a:pt x="4575" y="1657"/>
                </a:lnTo>
                <a:lnTo>
                  <a:pt x="4562" y="1659"/>
                </a:lnTo>
                <a:lnTo>
                  <a:pt x="4548" y="1652"/>
                </a:lnTo>
                <a:lnTo>
                  <a:pt x="4553" y="1641"/>
                </a:lnTo>
                <a:close/>
                <a:moveTo>
                  <a:pt x="4871" y="1725"/>
                </a:moveTo>
                <a:lnTo>
                  <a:pt x="4874" y="1723"/>
                </a:lnTo>
                <a:lnTo>
                  <a:pt x="4877" y="1722"/>
                </a:lnTo>
                <a:lnTo>
                  <a:pt x="4883" y="1726"/>
                </a:lnTo>
                <a:lnTo>
                  <a:pt x="4883" y="1727"/>
                </a:lnTo>
                <a:lnTo>
                  <a:pt x="4878" y="1726"/>
                </a:lnTo>
                <a:lnTo>
                  <a:pt x="4871" y="1725"/>
                </a:lnTo>
                <a:close/>
                <a:moveTo>
                  <a:pt x="5057" y="1727"/>
                </a:moveTo>
                <a:lnTo>
                  <a:pt x="5055" y="1726"/>
                </a:lnTo>
                <a:lnTo>
                  <a:pt x="5055" y="1723"/>
                </a:lnTo>
                <a:lnTo>
                  <a:pt x="5057" y="1722"/>
                </a:lnTo>
                <a:lnTo>
                  <a:pt x="5060" y="1720"/>
                </a:lnTo>
                <a:lnTo>
                  <a:pt x="5059" y="1723"/>
                </a:lnTo>
                <a:lnTo>
                  <a:pt x="5057" y="1727"/>
                </a:lnTo>
                <a:close/>
                <a:moveTo>
                  <a:pt x="5194" y="1754"/>
                </a:moveTo>
                <a:lnTo>
                  <a:pt x="5185" y="1757"/>
                </a:lnTo>
                <a:lnTo>
                  <a:pt x="5177" y="1755"/>
                </a:lnTo>
                <a:lnTo>
                  <a:pt x="5175" y="1753"/>
                </a:lnTo>
                <a:lnTo>
                  <a:pt x="5178" y="1744"/>
                </a:lnTo>
                <a:lnTo>
                  <a:pt x="5185" y="1745"/>
                </a:lnTo>
                <a:lnTo>
                  <a:pt x="5192" y="1748"/>
                </a:lnTo>
                <a:lnTo>
                  <a:pt x="5196" y="1750"/>
                </a:lnTo>
                <a:lnTo>
                  <a:pt x="5194" y="1754"/>
                </a:lnTo>
                <a:close/>
                <a:moveTo>
                  <a:pt x="5343" y="1757"/>
                </a:moveTo>
                <a:lnTo>
                  <a:pt x="5348" y="1771"/>
                </a:lnTo>
                <a:lnTo>
                  <a:pt x="5334" y="1779"/>
                </a:lnTo>
                <a:lnTo>
                  <a:pt x="5315" y="1790"/>
                </a:lnTo>
                <a:lnTo>
                  <a:pt x="5304" y="1805"/>
                </a:lnTo>
                <a:lnTo>
                  <a:pt x="5274" y="1778"/>
                </a:lnTo>
                <a:lnTo>
                  <a:pt x="5274" y="1759"/>
                </a:lnTo>
                <a:lnTo>
                  <a:pt x="5299" y="1750"/>
                </a:lnTo>
                <a:lnTo>
                  <a:pt x="5343" y="1757"/>
                </a:lnTo>
                <a:close/>
                <a:moveTo>
                  <a:pt x="5352" y="1620"/>
                </a:moveTo>
                <a:lnTo>
                  <a:pt x="5349" y="1622"/>
                </a:lnTo>
                <a:lnTo>
                  <a:pt x="5347" y="1623"/>
                </a:lnTo>
                <a:lnTo>
                  <a:pt x="5349" y="1620"/>
                </a:lnTo>
                <a:lnTo>
                  <a:pt x="5352" y="1620"/>
                </a:lnTo>
                <a:close/>
                <a:moveTo>
                  <a:pt x="5442" y="1703"/>
                </a:moveTo>
                <a:lnTo>
                  <a:pt x="5433" y="1709"/>
                </a:lnTo>
                <a:lnTo>
                  <a:pt x="5420" y="1708"/>
                </a:lnTo>
                <a:lnTo>
                  <a:pt x="5411" y="1699"/>
                </a:lnTo>
                <a:lnTo>
                  <a:pt x="5411" y="1685"/>
                </a:lnTo>
                <a:lnTo>
                  <a:pt x="5423" y="1687"/>
                </a:lnTo>
                <a:lnTo>
                  <a:pt x="5433" y="1688"/>
                </a:lnTo>
                <a:lnTo>
                  <a:pt x="5441" y="1693"/>
                </a:lnTo>
                <a:lnTo>
                  <a:pt x="5442" y="1703"/>
                </a:lnTo>
                <a:close/>
                <a:moveTo>
                  <a:pt x="5787" y="1720"/>
                </a:moveTo>
                <a:lnTo>
                  <a:pt x="5787" y="1723"/>
                </a:lnTo>
                <a:lnTo>
                  <a:pt x="5786" y="1726"/>
                </a:lnTo>
                <a:lnTo>
                  <a:pt x="5783" y="1729"/>
                </a:lnTo>
                <a:lnTo>
                  <a:pt x="5781" y="1731"/>
                </a:lnTo>
                <a:lnTo>
                  <a:pt x="5781" y="1726"/>
                </a:lnTo>
                <a:lnTo>
                  <a:pt x="5783" y="1721"/>
                </a:lnTo>
                <a:lnTo>
                  <a:pt x="5786" y="1718"/>
                </a:lnTo>
                <a:lnTo>
                  <a:pt x="5787" y="1720"/>
                </a:lnTo>
                <a:close/>
                <a:moveTo>
                  <a:pt x="6611" y="1805"/>
                </a:moveTo>
                <a:lnTo>
                  <a:pt x="6617" y="1830"/>
                </a:lnTo>
                <a:lnTo>
                  <a:pt x="6620" y="1839"/>
                </a:lnTo>
                <a:lnTo>
                  <a:pt x="6612" y="1835"/>
                </a:lnTo>
                <a:lnTo>
                  <a:pt x="6591" y="1820"/>
                </a:lnTo>
                <a:lnTo>
                  <a:pt x="6587" y="1811"/>
                </a:lnTo>
                <a:lnTo>
                  <a:pt x="6591" y="1805"/>
                </a:lnTo>
                <a:lnTo>
                  <a:pt x="6600" y="1802"/>
                </a:lnTo>
                <a:lnTo>
                  <a:pt x="6611" y="1805"/>
                </a:lnTo>
                <a:close/>
                <a:moveTo>
                  <a:pt x="7375" y="1998"/>
                </a:moveTo>
                <a:lnTo>
                  <a:pt x="7410" y="2014"/>
                </a:lnTo>
                <a:lnTo>
                  <a:pt x="7388" y="2021"/>
                </a:lnTo>
                <a:lnTo>
                  <a:pt x="7346" y="2023"/>
                </a:lnTo>
                <a:lnTo>
                  <a:pt x="7323" y="2016"/>
                </a:lnTo>
                <a:lnTo>
                  <a:pt x="7334" y="2005"/>
                </a:lnTo>
                <a:lnTo>
                  <a:pt x="7345" y="1995"/>
                </a:lnTo>
                <a:lnTo>
                  <a:pt x="7357" y="1991"/>
                </a:lnTo>
                <a:lnTo>
                  <a:pt x="7375" y="1998"/>
                </a:lnTo>
                <a:close/>
                <a:moveTo>
                  <a:pt x="7362" y="1865"/>
                </a:moveTo>
                <a:lnTo>
                  <a:pt x="7364" y="1867"/>
                </a:lnTo>
                <a:lnTo>
                  <a:pt x="7362" y="1872"/>
                </a:lnTo>
                <a:lnTo>
                  <a:pt x="7360" y="1877"/>
                </a:lnTo>
                <a:lnTo>
                  <a:pt x="7357" y="1880"/>
                </a:lnTo>
                <a:lnTo>
                  <a:pt x="7356" y="1876"/>
                </a:lnTo>
                <a:lnTo>
                  <a:pt x="7356" y="1871"/>
                </a:lnTo>
                <a:lnTo>
                  <a:pt x="7359" y="1867"/>
                </a:lnTo>
                <a:lnTo>
                  <a:pt x="7362" y="1865"/>
                </a:lnTo>
                <a:close/>
                <a:moveTo>
                  <a:pt x="7360" y="1487"/>
                </a:moveTo>
                <a:lnTo>
                  <a:pt x="7355" y="1489"/>
                </a:lnTo>
                <a:lnTo>
                  <a:pt x="7351" y="1488"/>
                </a:lnTo>
                <a:lnTo>
                  <a:pt x="7347" y="1485"/>
                </a:lnTo>
                <a:lnTo>
                  <a:pt x="7347" y="1480"/>
                </a:lnTo>
                <a:lnTo>
                  <a:pt x="7350" y="1478"/>
                </a:lnTo>
                <a:lnTo>
                  <a:pt x="7354" y="1480"/>
                </a:lnTo>
                <a:lnTo>
                  <a:pt x="7356" y="1484"/>
                </a:lnTo>
                <a:lnTo>
                  <a:pt x="7360" y="1487"/>
                </a:lnTo>
                <a:close/>
                <a:moveTo>
                  <a:pt x="7658" y="1455"/>
                </a:moveTo>
                <a:lnTo>
                  <a:pt x="7659" y="1455"/>
                </a:lnTo>
                <a:lnTo>
                  <a:pt x="7664" y="1457"/>
                </a:lnTo>
                <a:lnTo>
                  <a:pt x="7660" y="1457"/>
                </a:lnTo>
                <a:lnTo>
                  <a:pt x="7658" y="1455"/>
                </a:lnTo>
                <a:close/>
                <a:moveTo>
                  <a:pt x="7714" y="1582"/>
                </a:moveTo>
                <a:lnTo>
                  <a:pt x="7716" y="1582"/>
                </a:lnTo>
                <a:lnTo>
                  <a:pt x="7714" y="1582"/>
                </a:lnTo>
                <a:lnTo>
                  <a:pt x="7715" y="1581"/>
                </a:lnTo>
                <a:lnTo>
                  <a:pt x="7714" y="1582"/>
                </a:lnTo>
                <a:close/>
                <a:moveTo>
                  <a:pt x="7752" y="1527"/>
                </a:moveTo>
                <a:lnTo>
                  <a:pt x="7748" y="1543"/>
                </a:lnTo>
                <a:lnTo>
                  <a:pt x="7743" y="1559"/>
                </a:lnTo>
                <a:lnTo>
                  <a:pt x="7736" y="1573"/>
                </a:lnTo>
                <a:lnTo>
                  <a:pt x="7723" y="1582"/>
                </a:lnTo>
                <a:lnTo>
                  <a:pt x="7725" y="1564"/>
                </a:lnTo>
                <a:lnTo>
                  <a:pt x="7728" y="1547"/>
                </a:lnTo>
                <a:lnTo>
                  <a:pt x="7736" y="1533"/>
                </a:lnTo>
                <a:lnTo>
                  <a:pt x="7752" y="1527"/>
                </a:lnTo>
                <a:close/>
                <a:moveTo>
                  <a:pt x="7753" y="1461"/>
                </a:moveTo>
                <a:lnTo>
                  <a:pt x="7751" y="1470"/>
                </a:lnTo>
                <a:lnTo>
                  <a:pt x="7746" y="1455"/>
                </a:lnTo>
                <a:lnTo>
                  <a:pt x="7746" y="1436"/>
                </a:lnTo>
                <a:lnTo>
                  <a:pt x="7755" y="1432"/>
                </a:lnTo>
                <a:lnTo>
                  <a:pt x="7753" y="1441"/>
                </a:lnTo>
                <a:lnTo>
                  <a:pt x="7752" y="1447"/>
                </a:lnTo>
                <a:lnTo>
                  <a:pt x="7752" y="1455"/>
                </a:lnTo>
                <a:lnTo>
                  <a:pt x="7753" y="1461"/>
                </a:lnTo>
                <a:close/>
                <a:moveTo>
                  <a:pt x="7834" y="1545"/>
                </a:moveTo>
                <a:lnTo>
                  <a:pt x="7832" y="1548"/>
                </a:lnTo>
                <a:lnTo>
                  <a:pt x="7831" y="1549"/>
                </a:lnTo>
                <a:lnTo>
                  <a:pt x="7830" y="1549"/>
                </a:lnTo>
                <a:lnTo>
                  <a:pt x="7829" y="1547"/>
                </a:lnTo>
                <a:lnTo>
                  <a:pt x="7829" y="1545"/>
                </a:lnTo>
                <a:lnTo>
                  <a:pt x="7830" y="1544"/>
                </a:lnTo>
                <a:lnTo>
                  <a:pt x="7831" y="1544"/>
                </a:lnTo>
                <a:lnTo>
                  <a:pt x="7834" y="1545"/>
                </a:lnTo>
                <a:close/>
                <a:moveTo>
                  <a:pt x="7822" y="1471"/>
                </a:moveTo>
                <a:lnTo>
                  <a:pt x="7832" y="1475"/>
                </a:lnTo>
                <a:lnTo>
                  <a:pt x="7835" y="1485"/>
                </a:lnTo>
                <a:lnTo>
                  <a:pt x="7831" y="1496"/>
                </a:lnTo>
                <a:lnTo>
                  <a:pt x="7821" y="1499"/>
                </a:lnTo>
                <a:lnTo>
                  <a:pt x="7826" y="1489"/>
                </a:lnTo>
                <a:lnTo>
                  <a:pt x="7820" y="1482"/>
                </a:lnTo>
                <a:lnTo>
                  <a:pt x="7815" y="1477"/>
                </a:lnTo>
                <a:lnTo>
                  <a:pt x="7822" y="1471"/>
                </a:lnTo>
                <a:close/>
                <a:moveTo>
                  <a:pt x="7878" y="1540"/>
                </a:moveTo>
                <a:lnTo>
                  <a:pt x="7897" y="1540"/>
                </a:lnTo>
                <a:lnTo>
                  <a:pt x="7901" y="1550"/>
                </a:lnTo>
                <a:lnTo>
                  <a:pt x="7892" y="1558"/>
                </a:lnTo>
                <a:lnTo>
                  <a:pt x="7876" y="1549"/>
                </a:lnTo>
                <a:lnTo>
                  <a:pt x="7876" y="1547"/>
                </a:lnTo>
                <a:lnTo>
                  <a:pt x="7874" y="1543"/>
                </a:lnTo>
                <a:lnTo>
                  <a:pt x="7876" y="1539"/>
                </a:lnTo>
                <a:lnTo>
                  <a:pt x="7878" y="1540"/>
                </a:lnTo>
                <a:close/>
                <a:moveTo>
                  <a:pt x="7906" y="1459"/>
                </a:moveTo>
                <a:lnTo>
                  <a:pt x="7904" y="1463"/>
                </a:lnTo>
                <a:lnTo>
                  <a:pt x="7900" y="1460"/>
                </a:lnTo>
                <a:lnTo>
                  <a:pt x="7899" y="1455"/>
                </a:lnTo>
                <a:lnTo>
                  <a:pt x="7901" y="1452"/>
                </a:lnTo>
                <a:lnTo>
                  <a:pt x="7904" y="1452"/>
                </a:lnTo>
                <a:lnTo>
                  <a:pt x="7905" y="1454"/>
                </a:lnTo>
                <a:lnTo>
                  <a:pt x="7906" y="1456"/>
                </a:lnTo>
                <a:lnTo>
                  <a:pt x="7906" y="1459"/>
                </a:lnTo>
                <a:close/>
                <a:moveTo>
                  <a:pt x="7922" y="1506"/>
                </a:moveTo>
                <a:lnTo>
                  <a:pt x="7925" y="1497"/>
                </a:lnTo>
                <a:lnTo>
                  <a:pt x="7933" y="1492"/>
                </a:lnTo>
                <a:lnTo>
                  <a:pt x="7941" y="1493"/>
                </a:lnTo>
                <a:lnTo>
                  <a:pt x="7946" y="1502"/>
                </a:lnTo>
                <a:lnTo>
                  <a:pt x="7933" y="1503"/>
                </a:lnTo>
                <a:lnTo>
                  <a:pt x="7922" y="1506"/>
                </a:lnTo>
                <a:close/>
                <a:moveTo>
                  <a:pt x="8012" y="1633"/>
                </a:moveTo>
                <a:lnTo>
                  <a:pt x="8012" y="1637"/>
                </a:lnTo>
                <a:lnTo>
                  <a:pt x="8011" y="1642"/>
                </a:lnTo>
                <a:lnTo>
                  <a:pt x="8009" y="1639"/>
                </a:lnTo>
                <a:lnTo>
                  <a:pt x="8009" y="1637"/>
                </a:lnTo>
                <a:lnTo>
                  <a:pt x="8011" y="1634"/>
                </a:lnTo>
                <a:lnTo>
                  <a:pt x="8012" y="1633"/>
                </a:lnTo>
                <a:close/>
                <a:moveTo>
                  <a:pt x="8023" y="1553"/>
                </a:moveTo>
                <a:lnTo>
                  <a:pt x="8014" y="1552"/>
                </a:lnTo>
                <a:lnTo>
                  <a:pt x="8012" y="1549"/>
                </a:lnTo>
                <a:lnTo>
                  <a:pt x="8016" y="1547"/>
                </a:lnTo>
                <a:lnTo>
                  <a:pt x="8023" y="1544"/>
                </a:lnTo>
                <a:lnTo>
                  <a:pt x="8027" y="1545"/>
                </a:lnTo>
                <a:lnTo>
                  <a:pt x="8028" y="1548"/>
                </a:lnTo>
                <a:lnTo>
                  <a:pt x="8028" y="1552"/>
                </a:lnTo>
                <a:lnTo>
                  <a:pt x="8023" y="1553"/>
                </a:lnTo>
                <a:close/>
                <a:moveTo>
                  <a:pt x="8474" y="2100"/>
                </a:moveTo>
                <a:lnTo>
                  <a:pt x="8488" y="2090"/>
                </a:lnTo>
                <a:lnTo>
                  <a:pt x="8496" y="2070"/>
                </a:lnTo>
                <a:lnTo>
                  <a:pt x="8501" y="2046"/>
                </a:lnTo>
                <a:lnTo>
                  <a:pt x="8505" y="2025"/>
                </a:lnTo>
                <a:lnTo>
                  <a:pt x="8510" y="2063"/>
                </a:lnTo>
                <a:lnTo>
                  <a:pt x="8492" y="2093"/>
                </a:lnTo>
                <a:lnTo>
                  <a:pt x="8473" y="2107"/>
                </a:lnTo>
                <a:lnTo>
                  <a:pt x="8474" y="2100"/>
                </a:lnTo>
                <a:close/>
                <a:moveTo>
                  <a:pt x="8888" y="2487"/>
                </a:moveTo>
                <a:lnTo>
                  <a:pt x="8883" y="2488"/>
                </a:lnTo>
                <a:lnTo>
                  <a:pt x="8879" y="2488"/>
                </a:lnTo>
                <a:lnTo>
                  <a:pt x="8877" y="2485"/>
                </a:lnTo>
                <a:lnTo>
                  <a:pt x="8875" y="2480"/>
                </a:lnTo>
                <a:lnTo>
                  <a:pt x="8880" y="2478"/>
                </a:lnTo>
                <a:lnTo>
                  <a:pt x="8886" y="2478"/>
                </a:lnTo>
                <a:lnTo>
                  <a:pt x="8889" y="2482"/>
                </a:lnTo>
                <a:lnTo>
                  <a:pt x="8888" y="2487"/>
                </a:lnTo>
                <a:close/>
                <a:moveTo>
                  <a:pt x="8395" y="2480"/>
                </a:moveTo>
                <a:lnTo>
                  <a:pt x="8395" y="2480"/>
                </a:lnTo>
                <a:lnTo>
                  <a:pt x="8394" y="2480"/>
                </a:lnTo>
                <a:lnTo>
                  <a:pt x="8394" y="2480"/>
                </a:lnTo>
                <a:lnTo>
                  <a:pt x="8395" y="2480"/>
                </a:lnTo>
                <a:close/>
                <a:moveTo>
                  <a:pt x="8598" y="2347"/>
                </a:moveTo>
                <a:lnTo>
                  <a:pt x="8594" y="2354"/>
                </a:lnTo>
                <a:lnTo>
                  <a:pt x="8584" y="2359"/>
                </a:lnTo>
                <a:lnTo>
                  <a:pt x="8574" y="2357"/>
                </a:lnTo>
                <a:lnTo>
                  <a:pt x="8568" y="2351"/>
                </a:lnTo>
                <a:lnTo>
                  <a:pt x="8576" y="2345"/>
                </a:lnTo>
                <a:lnTo>
                  <a:pt x="8584" y="2341"/>
                </a:lnTo>
                <a:lnTo>
                  <a:pt x="8591" y="2341"/>
                </a:lnTo>
                <a:lnTo>
                  <a:pt x="8598" y="2347"/>
                </a:lnTo>
                <a:close/>
                <a:moveTo>
                  <a:pt x="8664" y="2494"/>
                </a:moveTo>
                <a:lnTo>
                  <a:pt x="8661" y="2494"/>
                </a:lnTo>
                <a:lnTo>
                  <a:pt x="8658" y="2492"/>
                </a:lnTo>
                <a:lnTo>
                  <a:pt x="8656" y="2491"/>
                </a:lnTo>
                <a:lnTo>
                  <a:pt x="8658" y="2488"/>
                </a:lnTo>
                <a:lnTo>
                  <a:pt x="8660" y="2491"/>
                </a:lnTo>
                <a:lnTo>
                  <a:pt x="8664" y="2494"/>
                </a:lnTo>
                <a:close/>
                <a:moveTo>
                  <a:pt x="8463" y="2219"/>
                </a:moveTo>
                <a:lnTo>
                  <a:pt x="8465" y="2226"/>
                </a:lnTo>
                <a:lnTo>
                  <a:pt x="8459" y="2228"/>
                </a:lnTo>
                <a:lnTo>
                  <a:pt x="8450" y="2224"/>
                </a:lnTo>
                <a:lnTo>
                  <a:pt x="8441" y="2219"/>
                </a:lnTo>
                <a:lnTo>
                  <a:pt x="8447" y="2217"/>
                </a:lnTo>
                <a:lnTo>
                  <a:pt x="8453" y="2216"/>
                </a:lnTo>
                <a:lnTo>
                  <a:pt x="8458" y="2216"/>
                </a:lnTo>
                <a:lnTo>
                  <a:pt x="8463" y="2219"/>
                </a:lnTo>
                <a:close/>
                <a:moveTo>
                  <a:pt x="7280" y="2159"/>
                </a:moveTo>
                <a:lnTo>
                  <a:pt x="7299" y="2166"/>
                </a:lnTo>
                <a:lnTo>
                  <a:pt x="7301" y="2175"/>
                </a:lnTo>
                <a:lnTo>
                  <a:pt x="7296" y="2189"/>
                </a:lnTo>
                <a:lnTo>
                  <a:pt x="7298" y="2212"/>
                </a:lnTo>
                <a:lnTo>
                  <a:pt x="7269" y="2214"/>
                </a:lnTo>
                <a:lnTo>
                  <a:pt x="7253" y="2196"/>
                </a:lnTo>
                <a:lnTo>
                  <a:pt x="7253" y="2173"/>
                </a:lnTo>
                <a:lnTo>
                  <a:pt x="7280" y="2159"/>
                </a:lnTo>
                <a:close/>
                <a:moveTo>
                  <a:pt x="6261" y="2523"/>
                </a:moveTo>
                <a:lnTo>
                  <a:pt x="6262" y="2525"/>
                </a:lnTo>
                <a:lnTo>
                  <a:pt x="6265" y="2529"/>
                </a:lnTo>
                <a:lnTo>
                  <a:pt x="6265" y="2532"/>
                </a:lnTo>
                <a:lnTo>
                  <a:pt x="6262" y="2534"/>
                </a:lnTo>
                <a:lnTo>
                  <a:pt x="6261" y="2532"/>
                </a:lnTo>
                <a:lnTo>
                  <a:pt x="6260" y="2528"/>
                </a:lnTo>
                <a:lnTo>
                  <a:pt x="6258" y="2525"/>
                </a:lnTo>
                <a:lnTo>
                  <a:pt x="6261" y="2523"/>
                </a:lnTo>
                <a:close/>
                <a:moveTo>
                  <a:pt x="5451" y="1876"/>
                </a:moveTo>
                <a:lnTo>
                  <a:pt x="5452" y="1874"/>
                </a:lnTo>
                <a:lnTo>
                  <a:pt x="5453" y="1874"/>
                </a:lnTo>
                <a:lnTo>
                  <a:pt x="5455" y="1875"/>
                </a:lnTo>
                <a:lnTo>
                  <a:pt x="5455" y="1876"/>
                </a:lnTo>
                <a:lnTo>
                  <a:pt x="5451" y="1876"/>
                </a:lnTo>
                <a:close/>
                <a:moveTo>
                  <a:pt x="5722" y="1727"/>
                </a:moveTo>
                <a:lnTo>
                  <a:pt x="5707" y="1737"/>
                </a:lnTo>
                <a:lnTo>
                  <a:pt x="5698" y="1732"/>
                </a:lnTo>
                <a:lnTo>
                  <a:pt x="5690" y="1723"/>
                </a:lnTo>
                <a:lnTo>
                  <a:pt x="5680" y="1720"/>
                </a:lnTo>
                <a:lnTo>
                  <a:pt x="5687" y="1708"/>
                </a:lnTo>
                <a:lnTo>
                  <a:pt x="5697" y="1711"/>
                </a:lnTo>
                <a:lnTo>
                  <a:pt x="5709" y="1720"/>
                </a:lnTo>
                <a:lnTo>
                  <a:pt x="5722" y="1727"/>
                </a:lnTo>
                <a:close/>
                <a:moveTo>
                  <a:pt x="5751" y="2780"/>
                </a:moveTo>
                <a:lnTo>
                  <a:pt x="5753" y="2783"/>
                </a:lnTo>
                <a:lnTo>
                  <a:pt x="5753" y="2785"/>
                </a:lnTo>
                <a:lnTo>
                  <a:pt x="5750" y="2785"/>
                </a:lnTo>
                <a:lnTo>
                  <a:pt x="5748" y="2785"/>
                </a:lnTo>
                <a:lnTo>
                  <a:pt x="5749" y="2783"/>
                </a:lnTo>
                <a:lnTo>
                  <a:pt x="5751" y="2780"/>
                </a:lnTo>
                <a:close/>
                <a:moveTo>
                  <a:pt x="5664" y="1785"/>
                </a:moveTo>
                <a:lnTo>
                  <a:pt x="5676" y="1772"/>
                </a:lnTo>
                <a:lnTo>
                  <a:pt x="5690" y="1774"/>
                </a:lnTo>
                <a:lnTo>
                  <a:pt x="5706" y="1785"/>
                </a:lnTo>
                <a:lnTo>
                  <a:pt x="5721" y="1796"/>
                </a:lnTo>
                <a:lnTo>
                  <a:pt x="5706" y="1793"/>
                </a:lnTo>
                <a:lnTo>
                  <a:pt x="5689" y="1792"/>
                </a:lnTo>
                <a:lnTo>
                  <a:pt x="5674" y="1791"/>
                </a:lnTo>
                <a:lnTo>
                  <a:pt x="5664" y="1785"/>
                </a:lnTo>
                <a:close/>
                <a:moveTo>
                  <a:pt x="5636" y="1687"/>
                </a:moveTo>
                <a:lnTo>
                  <a:pt x="5636" y="1697"/>
                </a:lnTo>
                <a:lnTo>
                  <a:pt x="5636" y="1709"/>
                </a:lnTo>
                <a:lnTo>
                  <a:pt x="5634" y="1718"/>
                </a:lnTo>
                <a:lnTo>
                  <a:pt x="5633" y="1718"/>
                </a:lnTo>
                <a:lnTo>
                  <a:pt x="5628" y="1709"/>
                </a:lnTo>
                <a:lnTo>
                  <a:pt x="5625" y="1701"/>
                </a:lnTo>
                <a:lnTo>
                  <a:pt x="5627" y="1693"/>
                </a:lnTo>
                <a:lnTo>
                  <a:pt x="5636" y="1687"/>
                </a:lnTo>
                <a:close/>
                <a:moveTo>
                  <a:pt x="5657" y="1736"/>
                </a:moveTo>
                <a:lnTo>
                  <a:pt x="5661" y="1729"/>
                </a:lnTo>
                <a:lnTo>
                  <a:pt x="5661" y="1730"/>
                </a:lnTo>
                <a:lnTo>
                  <a:pt x="5660" y="1735"/>
                </a:lnTo>
                <a:lnTo>
                  <a:pt x="5657" y="1741"/>
                </a:lnTo>
                <a:lnTo>
                  <a:pt x="5657" y="1739"/>
                </a:lnTo>
                <a:lnTo>
                  <a:pt x="5657" y="1736"/>
                </a:lnTo>
                <a:close/>
                <a:moveTo>
                  <a:pt x="5753" y="1890"/>
                </a:moveTo>
                <a:lnTo>
                  <a:pt x="5737" y="1891"/>
                </a:lnTo>
                <a:lnTo>
                  <a:pt x="5723" y="1888"/>
                </a:lnTo>
                <a:lnTo>
                  <a:pt x="5712" y="1879"/>
                </a:lnTo>
                <a:lnTo>
                  <a:pt x="5703" y="1862"/>
                </a:lnTo>
                <a:lnTo>
                  <a:pt x="5723" y="1856"/>
                </a:lnTo>
                <a:lnTo>
                  <a:pt x="5746" y="1861"/>
                </a:lnTo>
                <a:lnTo>
                  <a:pt x="5760" y="1874"/>
                </a:lnTo>
                <a:lnTo>
                  <a:pt x="5753" y="1890"/>
                </a:lnTo>
                <a:close/>
                <a:moveTo>
                  <a:pt x="5628" y="1768"/>
                </a:moveTo>
                <a:lnTo>
                  <a:pt x="5616" y="1754"/>
                </a:lnTo>
                <a:lnTo>
                  <a:pt x="5623" y="1740"/>
                </a:lnTo>
                <a:lnTo>
                  <a:pt x="5633" y="1734"/>
                </a:lnTo>
                <a:lnTo>
                  <a:pt x="5636" y="1746"/>
                </a:lnTo>
                <a:lnTo>
                  <a:pt x="5616" y="1748"/>
                </a:lnTo>
                <a:lnTo>
                  <a:pt x="5624" y="1759"/>
                </a:lnTo>
                <a:lnTo>
                  <a:pt x="5636" y="1768"/>
                </a:lnTo>
                <a:lnTo>
                  <a:pt x="5628" y="1768"/>
                </a:lnTo>
                <a:close/>
                <a:moveTo>
                  <a:pt x="6071" y="1894"/>
                </a:moveTo>
                <a:lnTo>
                  <a:pt x="6089" y="1861"/>
                </a:lnTo>
                <a:lnTo>
                  <a:pt x="6120" y="1855"/>
                </a:lnTo>
                <a:lnTo>
                  <a:pt x="6156" y="1865"/>
                </a:lnTo>
                <a:lnTo>
                  <a:pt x="6197" y="1888"/>
                </a:lnTo>
                <a:lnTo>
                  <a:pt x="6160" y="1890"/>
                </a:lnTo>
                <a:lnTo>
                  <a:pt x="6121" y="1891"/>
                </a:lnTo>
                <a:lnTo>
                  <a:pt x="6088" y="1893"/>
                </a:lnTo>
                <a:lnTo>
                  <a:pt x="6071" y="1894"/>
                </a:lnTo>
                <a:close/>
                <a:moveTo>
                  <a:pt x="6155" y="1777"/>
                </a:moveTo>
                <a:lnTo>
                  <a:pt x="6160" y="1773"/>
                </a:lnTo>
                <a:lnTo>
                  <a:pt x="6164" y="1771"/>
                </a:lnTo>
                <a:lnTo>
                  <a:pt x="6163" y="1778"/>
                </a:lnTo>
                <a:lnTo>
                  <a:pt x="6160" y="1783"/>
                </a:lnTo>
                <a:lnTo>
                  <a:pt x="6156" y="1783"/>
                </a:lnTo>
                <a:lnTo>
                  <a:pt x="6155" y="1777"/>
                </a:lnTo>
                <a:close/>
                <a:moveTo>
                  <a:pt x="6617" y="1916"/>
                </a:moveTo>
                <a:lnTo>
                  <a:pt x="6634" y="1917"/>
                </a:lnTo>
                <a:lnTo>
                  <a:pt x="6649" y="1919"/>
                </a:lnTo>
                <a:lnTo>
                  <a:pt x="6665" y="1925"/>
                </a:lnTo>
                <a:lnTo>
                  <a:pt x="6677" y="1933"/>
                </a:lnTo>
                <a:lnTo>
                  <a:pt x="6658" y="1935"/>
                </a:lnTo>
                <a:lnTo>
                  <a:pt x="6635" y="1936"/>
                </a:lnTo>
                <a:lnTo>
                  <a:pt x="6617" y="1932"/>
                </a:lnTo>
                <a:lnTo>
                  <a:pt x="6617" y="1916"/>
                </a:lnTo>
                <a:close/>
                <a:moveTo>
                  <a:pt x="6642" y="1813"/>
                </a:moveTo>
                <a:lnTo>
                  <a:pt x="6649" y="1827"/>
                </a:lnTo>
                <a:lnTo>
                  <a:pt x="6663" y="1835"/>
                </a:lnTo>
                <a:lnTo>
                  <a:pt x="6680" y="1842"/>
                </a:lnTo>
                <a:lnTo>
                  <a:pt x="6696" y="1844"/>
                </a:lnTo>
                <a:lnTo>
                  <a:pt x="6663" y="1846"/>
                </a:lnTo>
                <a:lnTo>
                  <a:pt x="6647" y="1847"/>
                </a:lnTo>
                <a:lnTo>
                  <a:pt x="6640" y="1839"/>
                </a:lnTo>
                <a:lnTo>
                  <a:pt x="6642" y="1813"/>
                </a:lnTo>
                <a:close/>
                <a:moveTo>
                  <a:pt x="6826" y="1661"/>
                </a:moveTo>
                <a:lnTo>
                  <a:pt x="6833" y="1664"/>
                </a:lnTo>
                <a:lnTo>
                  <a:pt x="6835" y="1670"/>
                </a:lnTo>
                <a:lnTo>
                  <a:pt x="6834" y="1678"/>
                </a:lnTo>
                <a:lnTo>
                  <a:pt x="6829" y="1681"/>
                </a:lnTo>
                <a:lnTo>
                  <a:pt x="6817" y="1681"/>
                </a:lnTo>
                <a:lnTo>
                  <a:pt x="6814" y="1675"/>
                </a:lnTo>
                <a:lnTo>
                  <a:pt x="6816" y="1666"/>
                </a:lnTo>
                <a:lnTo>
                  <a:pt x="6826" y="1661"/>
                </a:lnTo>
                <a:close/>
                <a:moveTo>
                  <a:pt x="7244" y="1408"/>
                </a:moveTo>
                <a:lnTo>
                  <a:pt x="7244" y="1403"/>
                </a:lnTo>
                <a:lnTo>
                  <a:pt x="7247" y="1404"/>
                </a:lnTo>
                <a:lnTo>
                  <a:pt x="7247" y="1405"/>
                </a:lnTo>
                <a:lnTo>
                  <a:pt x="7247" y="1406"/>
                </a:lnTo>
                <a:lnTo>
                  <a:pt x="7244" y="1408"/>
                </a:lnTo>
                <a:close/>
                <a:moveTo>
                  <a:pt x="7275" y="1835"/>
                </a:moveTo>
                <a:lnTo>
                  <a:pt x="7275" y="1837"/>
                </a:lnTo>
                <a:lnTo>
                  <a:pt x="7273" y="1837"/>
                </a:lnTo>
                <a:lnTo>
                  <a:pt x="7275" y="1835"/>
                </a:lnTo>
                <a:close/>
                <a:moveTo>
                  <a:pt x="6266" y="2452"/>
                </a:moveTo>
                <a:lnTo>
                  <a:pt x="6267" y="2450"/>
                </a:lnTo>
                <a:lnTo>
                  <a:pt x="6267" y="2452"/>
                </a:lnTo>
                <a:lnTo>
                  <a:pt x="6267" y="2452"/>
                </a:lnTo>
                <a:lnTo>
                  <a:pt x="6266" y="2452"/>
                </a:lnTo>
                <a:close/>
                <a:moveTo>
                  <a:pt x="6276" y="1837"/>
                </a:moveTo>
                <a:lnTo>
                  <a:pt x="6263" y="1844"/>
                </a:lnTo>
                <a:lnTo>
                  <a:pt x="6252" y="1848"/>
                </a:lnTo>
                <a:lnTo>
                  <a:pt x="6241" y="1847"/>
                </a:lnTo>
                <a:lnTo>
                  <a:pt x="6226" y="1842"/>
                </a:lnTo>
                <a:lnTo>
                  <a:pt x="6235" y="1830"/>
                </a:lnTo>
                <a:lnTo>
                  <a:pt x="6248" y="1828"/>
                </a:lnTo>
                <a:lnTo>
                  <a:pt x="6262" y="1832"/>
                </a:lnTo>
                <a:lnTo>
                  <a:pt x="6276" y="1837"/>
                </a:lnTo>
                <a:close/>
                <a:moveTo>
                  <a:pt x="6290" y="1772"/>
                </a:moveTo>
                <a:lnTo>
                  <a:pt x="6297" y="1771"/>
                </a:lnTo>
                <a:lnTo>
                  <a:pt x="6300" y="1771"/>
                </a:lnTo>
                <a:lnTo>
                  <a:pt x="6303" y="1776"/>
                </a:lnTo>
                <a:lnTo>
                  <a:pt x="6303" y="1783"/>
                </a:lnTo>
                <a:lnTo>
                  <a:pt x="6298" y="1782"/>
                </a:lnTo>
                <a:lnTo>
                  <a:pt x="6295" y="1779"/>
                </a:lnTo>
                <a:lnTo>
                  <a:pt x="6291" y="1776"/>
                </a:lnTo>
                <a:lnTo>
                  <a:pt x="6290" y="1772"/>
                </a:lnTo>
                <a:close/>
                <a:moveTo>
                  <a:pt x="6318" y="1874"/>
                </a:moveTo>
                <a:lnTo>
                  <a:pt x="6318" y="1874"/>
                </a:lnTo>
                <a:lnTo>
                  <a:pt x="6318" y="1874"/>
                </a:lnTo>
                <a:lnTo>
                  <a:pt x="6305" y="1857"/>
                </a:lnTo>
                <a:lnTo>
                  <a:pt x="6313" y="1849"/>
                </a:lnTo>
                <a:lnTo>
                  <a:pt x="6323" y="1855"/>
                </a:lnTo>
                <a:lnTo>
                  <a:pt x="6318" y="1874"/>
                </a:lnTo>
                <a:close/>
                <a:moveTo>
                  <a:pt x="6426" y="1797"/>
                </a:moveTo>
                <a:lnTo>
                  <a:pt x="6420" y="1797"/>
                </a:lnTo>
                <a:lnTo>
                  <a:pt x="6415" y="1797"/>
                </a:lnTo>
                <a:lnTo>
                  <a:pt x="6414" y="1795"/>
                </a:lnTo>
                <a:lnTo>
                  <a:pt x="6416" y="1790"/>
                </a:lnTo>
                <a:lnTo>
                  <a:pt x="6423" y="1783"/>
                </a:lnTo>
                <a:lnTo>
                  <a:pt x="6428" y="1783"/>
                </a:lnTo>
                <a:lnTo>
                  <a:pt x="6429" y="1790"/>
                </a:lnTo>
                <a:lnTo>
                  <a:pt x="6426" y="1797"/>
                </a:lnTo>
                <a:close/>
                <a:moveTo>
                  <a:pt x="6519" y="1951"/>
                </a:moveTo>
                <a:lnTo>
                  <a:pt x="6519" y="1951"/>
                </a:lnTo>
                <a:lnTo>
                  <a:pt x="6519" y="1951"/>
                </a:lnTo>
                <a:lnTo>
                  <a:pt x="6519" y="1951"/>
                </a:lnTo>
                <a:close/>
                <a:moveTo>
                  <a:pt x="6689" y="1940"/>
                </a:moveTo>
                <a:lnTo>
                  <a:pt x="6700" y="1928"/>
                </a:lnTo>
                <a:lnTo>
                  <a:pt x="6709" y="1925"/>
                </a:lnTo>
                <a:lnTo>
                  <a:pt x="6712" y="1928"/>
                </a:lnTo>
                <a:lnTo>
                  <a:pt x="6710" y="1945"/>
                </a:lnTo>
                <a:lnTo>
                  <a:pt x="6698" y="1955"/>
                </a:lnTo>
                <a:lnTo>
                  <a:pt x="6682" y="1954"/>
                </a:lnTo>
                <a:lnTo>
                  <a:pt x="6675" y="1947"/>
                </a:lnTo>
                <a:lnTo>
                  <a:pt x="6689" y="1940"/>
                </a:lnTo>
                <a:close/>
                <a:moveTo>
                  <a:pt x="6705" y="1880"/>
                </a:moveTo>
                <a:lnTo>
                  <a:pt x="6700" y="1881"/>
                </a:lnTo>
                <a:lnTo>
                  <a:pt x="6695" y="1880"/>
                </a:lnTo>
                <a:lnTo>
                  <a:pt x="6690" y="1877"/>
                </a:lnTo>
                <a:lnTo>
                  <a:pt x="6686" y="1875"/>
                </a:lnTo>
                <a:lnTo>
                  <a:pt x="6691" y="1874"/>
                </a:lnTo>
                <a:lnTo>
                  <a:pt x="6695" y="1875"/>
                </a:lnTo>
                <a:lnTo>
                  <a:pt x="6700" y="1876"/>
                </a:lnTo>
                <a:lnTo>
                  <a:pt x="6705" y="1880"/>
                </a:lnTo>
                <a:close/>
                <a:moveTo>
                  <a:pt x="6713" y="1828"/>
                </a:moveTo>
                <a:lnTo>
                  <a:pt x="6707" y="1823"/>
                </a:lnTo>
                <a:lnTo>
                  <a:pt x="6702" y="1816"/>
                </a:lnTo>
                <a:lnTo>
                  <a:pt x="6709" y="1816"/>
                </a:lnTo>
                <a:lnTo>
                  <a:pt x="6714" y="1818"/>
                </a:lnTo>
                <a:lnTo>
                  <a:pt x="6716" y="1821"/>
                </a:lnTo>
                <a:lnTo>
                  <a:pt x="6713" y="1828"/>
                </a:lnTo>
                <a:close/>
                <a:moveTo>
                  <a:pt x="6899" y="1865"/>
                </a:moveTo>
                <a:lnTo>
                  <a:pt x="6886" y="1867"/>
                </a:lnTo>
                <a:lnTo>
                  <a:pt x="6876" y="1875"/>
                </a:lnTo>
                <a:lnTo>
                  <a:pt x="6870" y="1884"/>
                </a:lnTo>
                <a:lnTo>
                  <a:pt x="6865" y="1894"/>
                </a:lnTo>
                <a:lnTo>
                  <a:pt x="6826" y="1880"/>
                </a:lnTo>
                <a:lnTo>
                  <a:pt x="6838" y="1849"/>
                </a:lnTo>
                <a:lnTo>
                  <a:pt x="6873" y="1834"/>
                </a:lnTo>
                <a:lnTo>
                  <a:pt x="6899" y="1865"/>
                </a:lnTo>
                <a:close/>
                <a:moveTo>
                  <a:pt x="6959" y="1760"/>
                </a:moveTo>
                <a:lnTo>
                  <a:pt x="6960" y="1758"/>
                </a:lnTo>
                <a:lnTo>
                  <a:pt x="6959" y="1760"/>
                </a:lnTo>
                <a:lnTo>
                  <a:pt x="6957" y="1758"/>
                </a:lnTo>
                <a:lnTo>
                  <a:pt x="6956" y="1755"/>
                </a:lnTo>
                <a:lnTo>
                  <a:pt x="6956" y="1757"/>
                </a:lnTo>
                <a:lnTo>
                  <a:pt x="6959" y="1760"/>
                </a:lnTo>
                <a:close/>
                <a:moveTo>
                  <a:pt x="7277" y="1967"/>
                </a:moveTo>
                <a:lnTo>
                  <a:pt x="7277" y="1968"/>
                </a:lnTo>
                <a:lnTo>
                  <a:pt x="7276" y="1968"/>
                </a:lnTo>
                <a:lnTo>
                  <a:pt x="7275" y="1967"/>
                </a:lnTo>
                <a:lnTo>
                  <a:pt x="7275" y="1967"/>
                </a:lnTo>
                <a:lnTo>
                  <a:pt x="7276" y="1967"/>
                </a:lnTo>
                <a:lnTo>
                  <a:pt x="7277" y="1967"/>
                </a:lnTo>
                <a:close/>
                <a:moveTo>
                  <a:pt x="7259" y="1914"/>
                </a:moveTo>
                <a:lnTo>
                  <a:pt x="7261" y="1917"/>
                </a:lnTo>
                <a:lnTo>
                  <a:pt x="7263" y="1919"/>
                </a:lnTo>
                <a:lnTo>
                  <a:pt x="7264" y="1922"/>
                </a:lnTo>
                <a:lnTo>
                  <a:pt x="7263" y="1925"/>
                </a:lnTo>
                <a:lnTo>
                  <a:pt x="7261" y="1923"/>
                </a:lnTo>
                <a:lnTo>
                  <a:pt x="7258" y="1921"/>
                </a:lnTo>
                <a:lnTo>
                  <a:pt x="7258" y="1918"/>
                </a:lnTo>
                <a:lnTo>
                  <a:pt x="7259" y="1914"/>
                </a:lnTo>
                <a:close/>
                <a:moveTo>
                  <a:pt x="7174" y="2113"/>
                </a:moveTo>
                <a:lnTo>
                  <a:pt x="7174" y="2118"/>
                </a:lnTo>
                <a:lnTo>
                  <a:pt x="7171" y="2123"/>
                </a:lnTo>
                <a:lnTo>
                  <a:pt x="7168" y="2127"/>
                </a:lnTo>
                <a:lnTo>
                  <a:pt x="7164" y="2131"/>
                </a:lnTo>
                <a:lnTo>
                  <a:pt x="7157" y="2118"/>
                </a:lnTo>
                <a:lnTo>
                  <a:pt x="7160" y="2110"/>
                </a:lnTo>
                <a:lnTo>
                  <a:pt x="7165" y="2107"/>
                </a:lnTo>
                <a:lnTo>
                  <a:pt x="7174" y="2113"/>
                </a:lnTo>
                <a:close/>
                <a:moveTo>
                  <a:pt x="7165" y="2210"/>
                </a:moveTo>
                <a:lnTo>
                  <a:pt x="7164" y="2202"/>
                </a:lnTo>
                <a:lnTo>
                  <a:pt x="7169" y="2202"/>
                </a:lnTo>
                <a:lnTo>
                  <a:pt x="7175" y="2206"/>
                </a:lnTo>
                <a:lnTo>
                  <a:pt x="7180" y="2211"/>
                </a:lnTo>
                <a:lnTo>
                  <a:pt x="7173" y="2211"/>
                </a:lnTo>
                <a:lnTo>
                  <a:pt x="7165" y="2210"/>
                </a:lnTo>
                <a:close/>
                <a:moveTo>
                  <a:pt x="6499" y="2849"/>
                </a:moveTo>
                <a:lnTo>
                  <a:pt x="6502" y="2847"/>
                </a:lnTo>
                <a:lnTo>
                  <a:pt x="6504" y="2849"/>
                </a:lnTo>
                <a:lnTo>
                  <a:pt x="6505" y="2850"/>
                </a:lnTo>
                <a:lnTo>
                  <a:pt x="6505" y="2854"/>
                </a:lnTo>
                <a:lnTo>
                  <a:pt x="6502" y="2853"/>
                </a:lnTo>
                <a:lnTo>
                  <a:pt x="6499" y="2849"/>
                </a:lnTo>
                <a:close/>
                <a:moveTo>
                  <a:pt x="6453" y="2875"/>
                </a:moveTo>
                <a:lnTo>
                  <a:pt x="6457" y="2874"/>
                </a:lnTo>
                <a:lnTo>
                  <a:pt x="6458" y="2877"/>
                </a:lnTo>
                <a:lnTo>
                  <a:pt x="6457" y="2882"/>
                </a:lnTo>
                <a:lnTo>
                  <a:pt x="6453" y="2884"/>
                </a:lnTo>
                <a:lnTo>
                  <a:pt x="6451" y="2883"/>
                </a:lnTo>
                <a:lnTo>
                  <a:pt x="6449" y="2881"/>
                </a:lnTo>
                <a:lnTo>
                  <a:pt x="6451" y="2878"/>
                </a:lnTo>
                <a:lnTo>
                  <a:pt x="6453" y="2875"/>
                </a:lnTo>
                <a:close/>
                <a:moveTo>
                  <a:pt x="6381" y="1852"/>
                </a:moveTo>
                <a:lnTo>
                  <a:pt x="6384" y="1853"/>
                </a:lnTo>
                <a:lnTo>
                  <a:pt x="6387" y="1855"/>
                </a:lnTo>
                <a:lnTo>
                  <a:pt x="6384" y="1856"/>
                </a:lnTo>
                <a:lnTo>
                  <a:pt x="6382" y="1857"/>
                </a:lnTo>
                <a:lnTo>
                  <a:pt x="6381" y="1856"/>
                </a:lnTo>
                <a:lnTo>
                  <a:pt x="6381" y="1852"/>
                </a:lnTo>
                <a:close/>
                <a:moveTo>
                  <a:pt x="6657" y="2026"/>
                </a:moveTo>
                <a:lnTo>
                  <a:pt x="6656" y="2029"/>
                </a:lnTo>
                <a:lnTo>
                  <a:pt x="6652" y="2029"/>
                </a:lnTo>
                <a:lnTo>
                  <a:pt x="6649" y="2029"/>
                </a:lnTo>
                <a:lnTo>
                  <a:pt x="6645" y="2028"/>
                </a:lnTo>
                <a:lnTo>
                  <a:pt x="6652" y="2028"/>
                </a:lnTo>
                <a:lnTo>
                  <a:pt x="6657" y="2026"/>
                </a:lnTo>
                <a:close/>
                <a:moveTo>
                  <a:pt x="6702" y="2035"/>
                </a:moveTo>
                <a:lnTo>
                  <a:pt x="6676" y="2031"/>
                </a:lnTo>
                <a:lnTo>
                  <a:pt x="6656" y="2019"/>
                </a:lnTo>
                <a:lnTo>
                  <a:pt x="6645" y="1998"/>
                </a:lnTo>
                <a:lnTo>
                  <a:pt x="6648" y="1974"/>
                </a:lnTo>
                <a:lnTo>
                  <a:pt x="6676" y="1975"/>
                </a:lnTo>
                <a:lnTo>
                  <a:pt x="6694" y="1986"/>
                </a:lnTo>
                <a:lnTo>
                  <a:pt x="6700" y="2006"/>
                </a:lnTo>
                <a:lnTo>
                  <a:pt x="6702" y="2035"/>
                </a:lnTo>
                <a:close/>
                <a:moveTo>
                  <a:pt x="6780" y="1998"/>
                </a:moveTo>
                <a:lnTo>
                  <a:pt x="6770" y="2005"/>
                </a:lnTo>
                <a:lnTo>
                  <a:pt x="6756" y="2006"/>
                </a:lnTo>
                <a:lnTo>
                  <a:pt x="6745" y="2002"/>
                </a:lnTo>
                <a:lnTo>
                  <a:pt x="6740" y="1991"/>
                </a:lnTo>
                <a:lnTo>
                  <a:pt x="6750" y="1992"/>
                </a:lnTo>
                <a:lnTo>
                  <a:pt x="6760" y="1995"/>
                </a:lnTo>
                <a:lnTo>
                  <a:pt x="6770" y="1996"/>
                </a:lnTo>
                <a:lnTo>
                  <a:pt x="6780" y="1998"/>
                </a:lnTo>
                <a:close/>
                <a:moveTo>
                  <a:pt x="6735" y="1933"/>
                </a:moveTo>
                <a:lnTo>
                  <a:pt x="6745" y="1933"/>
                </a:lnTo>
                <a:lnTo>
                  <a:pt x="6754" y="1936"/>
                </a:lnTo>
                <a:lnTo>
                  <a:pt x="6763" y="1937"/>
                </a:lnTo>
                <a:lnTo>
                  <a:pt x="6772" y="1941"/>
                </a:lnTo>
                <a:lnTo>
                  <a:pt x="6758" y="1945"/>
                </a:lnTo>
                <a:lnTo>
                  <a:pt x="6745" y="1949"/>
                </a:lnTo>
                <a:lnTo>
                  <a:pt x="6737" y="1946"/>
                </a:lnTo>
                <a:lnTo>
                  <a:pt x="6735" y="1933"/>
                </a:lnTo>
                <a:close/>
                <a:moveTo>
                  <a:pt x="6937" y="2016"/>
                </a:moveTo>
                <a:lnTo>
                  <a:pt x="6923" y="2012"/>
                </a:lnTo>
                <a:lnTo>
                  <a:pt x="6909" y="2012"/>
                </a:lnTo>
                <a:lnTo>
                  <a:pt x="6894" y="2012"/>
                </a:lnTo>
                <a:lnTo>
                  <a:pt x="6877" y="2011"/>
                </a:lnTo>
                <a:lnTo>
                  <a:pt x="6895" y="1998"/>
                </a:lnTo>
                <a:lnTo>
                  <a:pt x="6915" y="1991"/>
                </a:lnTo>
                <a:lnTo>
                  <a:pt x="6931" y="1995"/>
                </a:lnTo>
                <a:lnTo>
                  <a:pt x="6937" y="2016"/>
                </a:lnTo>
                <a:close/>
                <a:moveTo>
                  <a:pt x="7019" y="2196"/>
                </a:moveTo>
                <a:lnTo>
                  <a:pt x="7000" y="2200"/>
                </a:lnTo>
                <a:lnTo>
                  <a:pt x="6980" y="2205"/>
                </a:lnTo>
                <a:lnTo>
                  <a:pt x="6965" y="2201"/>
                </a:lnTo>
                <a:lnTo>
                  <a:pt x="6957" y="2178"/>
                </a:lnTo>
                <a:lnTo>
                  <a:pt x="6975" y="2180"/>
                </a:lnTo>
                <a:lnTo>
                  <a:pt x="6997" y="2180"/>
                </a:lnTo>
                <a:lnTo>
                  <a:pt x="7015" y="2184"/>
                </a:lnTo>
                <a:lnTo>
                  <a:pt x="7019" y="2196"/>
                </a:lnTo>
                <a:close/>
                <a:moveTo>
                  <a:pt x="7112" y="2006"/>
                </a:moveTo>
                <a:lnTo>
                  <a:pt x="7120" y="2016"/>
                </a:lnTo>
                <a:lnTo>
                  <a:pt x="7108" y="2020"/>
                </a:lnTo>
                <a:lnTo>
                  <a:pt x="7085" y="2023"/>
                </a:lnTo>
                <a:lnTo>
                  <a:pt x="7067" y="2021"/>
                </a:lnTo>
                <a:lnTo>
                  <a:pt x="7077" y="2014"/>
                </a:lnTo>
                <a:lnTo>
                  <a:pt x="7087" y="2009"/>
                </a:lnTo>
                <a:lnTo>
                  <a:pt x="7099" y="2005"/>
                </a:lnTo>
                <a:lnTo>
                  <a:pt x="7112" y="2006"/>
                </a:lnTo>
                <a:close/>
                <a:moveTo>
                  <a:pt x="7155" y="2137"/>
                </a:moveTo>
                <a:lnTo>
                  <a:pt x="7151" y="2137"/>
                </a:lnTo>
                <a:lnTo>
                  <a:pt x="7149" y="2136"/>
                </a:lnTo>
                <a:lnTo>
                  <a:pt x="7150" y="2133"/>
                </a:lnTo>
                <a:lnTo>
                  <a:pt x="7154" y="2132"/>
                </a:lnTo>
                <a:lnTo>
                  <a:pt x="7159" y="2131"/>
                </a:lnTo>
                <a:lnTo>
                  <a:pt x="7161" y="2132"/>
                </a:lnTo>
                <a:lnTo>
                  <a:pt x="7160" y="2133"/>
                </a:lnTo>
                <a:lnTo>
                  <a:pt x="7155" y="2137"/>
                </a:lnTo>
                <a:close/>
                <a:moveTo>
                  <a:pt x="7115" y="1970"/>
                </a:moveTo>
                <a:lnTo>
                  <a:pt x="7113" y="1970"/>
                </a:lnTo>
                <a:lnTo>
                  <a:pt x="7115" y="1970"/>
                </a:lnTo>
                <a:lnTo>
                  <a:pt x="7113" y="1970"/>
                </a:lnTo>
                <a:lnTo>
                  <a:pt x="7115" y="1970"/>
                </a:lnTo>
                <a:close/>
                <a:moveTo>
                  <a:pt x="7071" y="2183"/>
                </a:moveTo>
                <a:lnTo>
                  <a:pt x="7086" y="2173"/>
                </a:lnTo>
                <a:lnTo>
                  <a:pt x="7098" y="2174"/>
                </a:lnTo>
                <a:lnTo>
                  <a:pt x="7106" y="2184"/>
                </a:lnTo>
                <a:lnTo>
                  <a:pt x="7112" y="2205"/>
                </a:lnTo>
                <a:lnTo>
                  <a:pt x="7099" y="2203"/>
                </a:lnTo>
                <a:lnTo>
                  <a:pt x="7089" y="2200"/>
                </a:lnTo>
                <a:lnTo>
                  <a:pt x="7078" y="2193"/>
                </a:lnTo>
                <a:lnTo>
                  <a:pt x="7071" y="2183"/>
                </a:lnTo>
                <a:close/>
                <a:moveTo>
                  <a:pt x="6872" y="2180"/>
                </a:moveTo>
                <a:lnTo>
                  <a:pt x="6870" y="2178"/>
                </a:lnTo>
                <a:lnTo>
                  <a:pt x="6870" y="2174"/>
                </a:lnTo>
                <a:lnTo>
                  <a:pt x="6872" y="2170"/>
                </a:lnTo>
                <a:lnTo>
                  <a:pt x="6876" y="2169"/>
                </a:lnTo>
                <a:lnTo>
                  <a:pt x="6881" y="2170"/>
                </a:lnTo>
                <a:lnTo>
                  <a:pt x="6881" y="2174"/>
                </a:lnTo>
                <a:lnTo>
                  <a:pt x="6877" y="2177"/>
                </a:lnTo>
                <a:lnTo>
                  <a:pt x="6872" y="2180"/>
                </a:lnTo>
                <a:close/>
                <a:moveTo>
                  <a:pt x="6854" y="1988"/>
                </a:moveTo>
                <a:lnTo>
                  <a:pt x="6847" y="1989"/>
                </a:lnTo>
                <a:lnTo>
                  <a:pt x="6840" y="1987"/>
                </a:lnTo>
                <a:lnTo>
                  <a:pt x="6834" y="1982"/>
                </a:lnTo>
                <a:lnTo>
                  <a:pt x="6829" y="1977"/>
                </a:lnTo>
                <a:lnTo>
                  <a:pt x="6839" y="1979"/>
                </a:lnTo>
                <a:lnTo>
                  <a:pt x="6853" y="1982"/>
                </a:lnTo>
                <a:lnTo>
                  <a:pt x="6861" y="1984"/>
                </a:lnTo>
                <a:lnTo>
                  <a:pt x="6854" y="1988"/>
                </a:lnTo>
                <a:close/>
                <a:moveTo>
                  <a:pt x="6842" y="2042"/>
                </a:moveTo>
                <a:lnTo>
                  <a:pt x="6848" y="2044"/>
                </a:lnTo>
                <a:lnTo>
                  <a:pt x="6854" y="2046"/>
                </a:lnTo>
                <a:lnTo>
                  <a:pt x="6848" y="2051"/>
                </a:lnTo>
                <a:lnTo>
                  <a:pt x="6843" y="2052"/>
                </a:lnTo>
                <a:lnTo>
                  <a:pt x="6839" y="2049"/>
                </a:lnTo>
                <a:lnTo>
                  <a:pt x="6842" y="2042"/>
                </a:lnTo>
                <a:close/>
                <a:moveTo>
                  <a:pt x="6735" y="1932"/>
                </a:moveTo>
                <a:lnTo>
                  <a:pt x="6732" y="1926"/>
                </a:lnTo>
                <a:lnTo>
                  <a:pt x="6731" y="1918"/>
                </a:lnTo>
                <a:lnTo>
                  <a:pt x="6732" y="1913"/>
                </a:lnTo>
                <a:lnTo>
                  <a:pt x="6737" y="1912"/>
                </a:lnTo>
                <a:lnTo>
                  <a:pt x="6740" y="1917"/>
                </a:lnTo>
                <a:lnTo>
                  <a:pt x="6738" y="1922"/>
                </a:lnTo>
                <a:lnTo>
                  <a:pt x="6736" y="1927"/>
                </a:lnTo>
                <a:lnTo>
                  <a:pt x="6735" y="1932"/>
                </a:lnTo>
                <a:close/>
                <a:moveTo>
                  <a:pt x="6801" y="2049"/>
                </a:moveTo>
                <a:lnTo>
                  <a:pt x="6797" y="2038"/>
                </a:lnTo>
                <a:lnTo>
                  <a:pt x="6792" y="2026"/>
                </a:lnTo>
                <a:lnTo>
                  <a:pt x="6787" y="2016"/>
                </a:lnTo>
                <a:lnTo>
                  <a:pt x="6780" y="2006"/>
                </a:lnTo>
                <a:lnTo>
                  <a:pt x="6805" y="2010"/>
                </a:lnTo>
                <a:lnTo>
                  <a:pt x="6820" y="2021"/>
                </a:lnTo>
                <a:lnTo>
                  <a:pt x="6821" y="2037"/>
                </a:lnTo>
                <a:lnTo>
                  <a:pt x="6801" y="2049"/>
                </a:lnTo>
                <a:close/>
                <a:moveTo>
                  <a:pt x="6797" y="2063"/>
                </a:moveTo>
                <a:lnTo>
                  <a:pt x="6780" y="2058"/>
                </a:lnTo>
                <a:lnTo>
                  <a:pt x="6759" y="2052"/>
                </a:lnTo>
                <a:lnTo>
                  <a:pt x="6744" y="2044"/>
                </a:lnTo>
                <a:lnTo>
                  <a:pt x="6747" y="2033"/>
                </a:lnTo>
                <a:lnTo>
                  <a:pt x="6764" y="2038"/>
                </a:lnTo>
                <a:lnTo>
                  <a:pt x="6783" y="2044"/>
                </a:lnTo>
                <a:lnTo>
                  <a:pt x="6796" y="2052"/>
                </a:lnTo>
                <a:lnTo>
                  <a:pt x="6797" y="2063"/>
                </a:lnTo>
                <a:close/>
                <a:moveTo>
                  <a:pt x="6514" y="2534"/>
                </a:moveTo>
                <a:lnTo>
                  <a:pt x="6516" y="2542"/>
                </a:lnTo>
                <a:lnTo>
                  <a:pt x="6517" y="2550"/>
                </a:lnTo>
                <a:lnTo>
                  <a:pt x="6518" y="2557"/>
                </a:lnTo>
                <a:lnTo>
                  <a:pt x="6517" y="2564"/>
                </a:lnTo>
                <a:lnTo>
                  <a:pt x="6510" y="2561"/>
                </a:lnTo>
                <a:lnTo>
                  <a:pt x="6510" y="2552"/>
                </a:lnTo>
                <a:lnTo>
                  <a:pt x="6512" y="2542"/>
                </a:lnTo>
                <a:lnTo>
                  <a:pt x="6514" y="2534"/>
                </a:lnTo>
                <a:close/>
                <a:moveTo>
                  <a:pt x="6258" y="1918"/>
                </a:moveTo>
                <a:lnTo>
                  <a:pt x="6262" y="1914"/>
                </a:lnTo>
                <a:lnTo>
                  <a:pt x="6265" y="1914"/>
                </a:lnTo>
                <a:lnTo>
                  <a:pt x="6263" y="1917"/>
                </a:lnTo>
                <a:lnTo>
                  <a:pt x="6262" y="1919"/>
                </a:lnTo>
                <a:lnTo>
                  <a:pt x="6261" y="1919"/>
                </a:lnTo>
                <a:lnTo>
                  <a:pt x="6258" y="1918"/>
                </a:lnTo>
                <a:close/>
                <a:moveTo>
                  <a:pt x="6849" y="2142"/>
                </a:moveTo>
                <a:lnTo>
                  <a:pt x="6853" y="2138"/>
                </a:lnTo>
                <a:lnTo>
                  <a:pt x="6857" y="2135"/>
                </a:lnTo>
                <a:lnTo>
                  <a:pt x="6861" y="2133"/>
                </a:lnTo>
                <a:lnTo>
                  <a:pt x="6866" y="2132"/>
                </a:lnTo>
                <a:lnTo>
                  <a:pt x="6857" y="2138"/>
                </a:lnTo>
                <a:lnTo>
                  <a:pt x="6849" y="2142"/>
                </a:lnTo>
                <a:close/>
                <a:moveTo>
                  <a:pt x="7135" y="2206"/>
                </a:moveTo>
                <a:lnTo>
                  <a:pt x="7146" y="2194"/>
                </a:lnTo>
                <a:lnTo>
                  <a:pt x="7156" y="2184"/>
                </a:lnTo>
                <a:lnTo>
                  <a:pt x="7163" y="2184"/>
                </a:lnTo>
                <a:lnTo>
                  <a:pt x="7163" y="2201"/>
                </a:lnTo>
                <a:lnTo>
                  <a:pt x="7157" y="2207"/>
                </a:lnTo>
                <a:lnTo>
                  <a:pt x="7150" y="2208"/>
                </a:lnTo>
                <a:lnTo>
                  <a:pt x="7142" y="2207"/>
                </a:lnTo>
                <a:lnTo>
                  <a:pt x="7135" y="2206"/>
                </a:lnTo>
                <a:close/>
                <a:moveTo>
                  <a:pt x="7171" y="2075"/>
                </a:moveTo>
                <a:lnTo>
                  <a:pt x="7170" y="2077"/>
                </a:lnTo>
                <a:lnTo>
                  <a:pt x="7165" y="2077"/>
                </a:lnTo>
                <a:lnTo>
                  <a:pt x="7160" y="2074"/>
                </a:lnTo>
                <a:lnTo>
                  <a:pt x="7160" y="2068"/>
                </a:lnTo>
                <a:lnTo>
                  <a:pt x="7164" y="2068"/>
                </a:lnTo>
                <a:lnTo>
                  <a:pt x="7168" y="2070"/>
                </a:lnTo>
                <a:lnTo>
                  <a:pt x="7171" y="2071"/>
                </a:lnTo>
                <a:lnTo>
                  <a:pt x="7171" y="2075"/>
                </a:lnTo>
                <a:close/>
                <a:moveTo>
                  <a:pt x="6556" y="1987"/>
                </a:moveTo>
                <a:lnTo>
                  <a:pt x="6578" y="1989"/>
                </a:lnTo>
                <a:lnTo>
                  <a:pt x="6588" y="1996"/>
                </a:lnTo>
                <a:lnTo>
                  <a:pt x="6583" y="2006"/>
                </a:lnTo>
                <a:lnTo>
                  <a:pt x="6564" y="2019"/>
                </a:lnTo>
                <a:lnTo>
                  <a:pt x="6546" y="2016"/>
                </a:lnTo>
                <a:lnTo>
                  <a:pt x="6537" y="2007"/>
                </a:lnTo>
                <a:lnTo>
                  <a:pt x="6540" y="1996"/>
                </a:lnTo>
                <a:lnTo>
                  <a:pt x="6556" y="1987"/>
                </a:lnTo>
                <a:close/>
                <a:moveTo>
                  <a:pt x="6375" y="1777"/>
                </a:moveTo>
                <a:lnTo>
                  <a:pt x="6375" y="1781"/>
                </a:lnTo>
                <a:lnTo>
                  <a:pt x="6377" y="1783"/>
                </a:lnTo>
                <a:lnTo>
                  <a:pt x="6375" y="1786"/>
                </a:lnTo>
                <a:lnTo>
                  <a:pt x="6373" y="1785"/>
                </a:lnTo>
                <a:lnTo>
                  <a:pt x="6374" y="1781"/>
                </a:lnTo>
                <a:lnTo>
                  <a:pt x="6375" y="1777"/>
                </a:lnTo>
                <a:close/>
                <a:moveTo>
                  <a:pt x="6318" y="1909"/>
                </a:moveTo>
                <a:lnTo>
                  <a:pt x="6332" y="1886"/>
                </a:lnTo>
                <a:lnTo>
                  <a:pt x="6339" y="1903"/>
                </a:lnTo>
                <a:lnTo>
                  <a:pt x="6331" y="1926"/>
                </a:lnTo>
                <a:lnTo>
                  <a:pt x="6304" y="1922"/>
                </a:lnTo>
                <a:lnTo>
                  <a:pt x="6299" y="1913"/>
                </a:lnTo>
                <a:lnTo>
                  <a:pt x="6302" y="1905"/>
                </a:lnTo>
                <a:lnTo>
                  <a:pt x="6309" y="1904"/>
                </a:lnTo>
                <a:lnTo>
                  <a:pt x="6318" y="1909"/>
                </a:lnTo>
                <a:close/>
                <a:moveTo>
                  <a:pt x="7295" y="2107"/>
                </a:moveTo>
                <a:lnTo>
                  <a:pt x="7298" y="2105"/>
                </a:lnTo>
                <a:lnTo>
                  <a:pt x="7295" y="2107"/>
                </a:lnTo>
                <a:lnTo>
                  <a:pt x="7296" y="2104"/>
                </a:lnTo>
                <a:lnTo>
                  <a:pt x="7295" y="2107"/>
                </a:lnTo>
                <a:close/>
                <a:moveTo>
                  <a:pt x="7276" y="1774"/>
                </a:moveTo>
                <a:lnTo>
                  <a:pt x="7275" y="1772"/>
                </a:lnTo>
                <a:lnTo>
                  <a:pt x="7273" y="1768"/>
                </a:lnTo>
                <a:lnTo>
                  <a:pt x="7278" y="1763"/>
                </a:lnTo>
                <a:lnTo>
                  <a:pt x="7282" y="1767"/>
                </a:lnTo>
                <a:lnTo>
                  <a:pt x="7282" y="1773"/>
                </a:lnTo>
                <a:lnTo>
                  <a:pt x="7276" y="1774"/>
                </a:lnTo>
                <a:close/>
                <a:moveTo>
                  <a:pt x="6975" y="1853"/>
                </a:moveTo>
                <a:lnTo>
                  <a:pt x="6986" y="1853"/>
                </a:lnTo>
                <a:lnTo>
                  <a:pt x="6994" y="1861"/>
                </a:lnTo>
                <a:lnTo>
                  <a:pt x="6998" y="1874"/>
                </a:lnTo>
                <a:lnTo>
                  <a:pt x="6996" y="1885"/>
                </a:lnTo>
                <a:lnTo>
                  <a:pt x="6978" y="1880"/>
                </a:lnTo>
                <a:lnTo>
                  <a:pt x="6964" y="1872"/>
                </a:lnTo>
                <a:lnTo>
                  <a:pt x="6960" y="1862"/>
                </a:lnTo>
                <a:lnTo>
                  <a:pt x="6975" y="1853"/>
                </a:lnTo>
                <a:close/>
                <a:moveTo>
                  <a:pt x="6465" y="1935"/>
                </a:moveTo>
                <a:lnTo>
                  <a:pt x="6471" y="1936"/>
                </a:lnTo>
                <a:lnTo>
                  <a:pt x="6479" y="1937"/>
                </a:lnTo>
                <a:lnTo>
                  <a:pt x="6472" y="1942"/>
                </a:lnTo>
                <a:lnTo>
                  <a:pt x="6467" y="1945"/>
                </a:lnTo>
                <a:lnTo>
                  <a:pt x="6465" y="1942"/>
                </a:lnTo>
                <a:lnTo>
                  <a:pt x="6465" y="1935"/>
                </a:lnTo>
                <a:close/>
                <a:moveTo>
                  <a:pt x="6216" y="2001"/>
                </a:moveTo>
                <a:lnTo>
                  <a:pt x="6196" y="1963"/>
                </a:lnTo>
                <a:lnTo>
                  <a:pt x="6170" y="1936"/>
                </a:lnTo>
                <a:lnTo>
                  <a:pt x="6165" y="1925"/>
                </a:lnTo>
                <a:lnTo>
                  <a:pt x="6212" y="1926"/>
                </a:lnTo>
                <a:lnTo>
                  <a:pt x="6232" y="1964"/>
                </a:lnTo>
                <a:lnTo>
                  <a:pt x="6249" y="2009"/>
                </a:lnTo>
                <a:lnTo>
                  <a:pt x="6249" y="2030"/>
                </a:lnTo>
                <a:lnTo>
                  <a:pt x="6216" y="2001"/>
                </a:lnTo>
                <a:close/>
                <a:moveTo>
                  <a:pt x="6148" y="1991"/>
                </a:moveTo>
                <a:lnTo>
                  <a:pt x="6150" y="1987"/>
                </a:lnTo>
                <a:lnTo>
                  <a:pt x="6153" y="1983"/>
                </a:lnTo>
                <a:lnTo>
                  <a:pt x="6155" y="1982"/>
                </a:lnTo>
                <a:lnTo>
                  <a:pt x="6159" y="1984"/>
                </a:lnTo>
                <a:lnTo>
                  <a:pt x="6160" y="1988"/>
                </a:lnTo>
                <a:lnTo>
                  <a:pt x="6158" y="1992"/>
                </a:lnTo>
                <a:lnTo>
                  <a:pt x="6153" y="1993"/>
                </a:lnTo>
                <a:lnTo>
                  <a:pt x="6148" y="1991"/>
                </a:lnTo>
                <a:close/>
                <a:moveTo>
                  <a:pt x="7421" y="2003"/>
                </a:moveTo>
                <a:lnTo>
                  <a:pt x="7426" y="2003"/>
                </a:lnTo>
                <a:lnTo>
                  <a:pt x="7426" y="2003"/>
                </a:lnTo>
                <a:lnTo>
                  <a:pt x="7424" y="2006"/>
                </a:lnTo>
                <a:lnTo>
                  <a:pt x="7420" y="2007"/>
                </a:lnTo>
                <a:lnTo>
                  <a:pt x="7418" y="2006"/>
                </a:lnTo>
                <a:lnTo>
                  <a:pt x="7417" y="2005"/>
                </a:lnTo>
                <a:lnTo>
                  <a:pt x="7418" y="2003"/>
                </a:lnTo>
                <a:lnTo>
                  <a:pt x="7421" y="2003"/>
                </a:lnTo>
                <a:close/>
                <a:moveTo>
                  <a:pt x="8163" y="2023"/>
                </a:moveTo>
                <a:lnTo>
                  <a:pt x="8157" y="2028"/>
                </a:lnTo>
                <a:lnTo>
                  <a:pt x="8147" y="2033"/>
                </a:lnTo>
                <a:lnTo>
                  <a:pt x="8141" y="2034"/>
                </a:lnTo>
                <a:lnTo>
                  <a:pt x="8139" y="2026"/>
                </a:lnTo>
                <a:lnTo>
                  <a:pt x="8141" y="2017"/>
                </a:lnTo>
                <a:lnTo>
                  <a:pt x="8148" y="2015"/>
                </a:lnTo>
                <a:lnTo>
                  <a:pt x="8157" y="2016"/>
                </a:lnTo>
                <a:lnTo>
                  <a:pt x="8163" y="2023"/>
                </a:lnTo>
                <a:close/>
                <a:moveTo>
                  <a:pt x="8292" y="1964"/>
                </a:moveTo>
                <a:lnTo>
                  <a:pt x="8293" y="1969"/>
                </a:lnTo>
                <a:lnTo>
                  <a:pt x="8292" y="1973"/>
                </a:lnTo>
                <a:lnTo>
                  <a:pt x="8291" y="1973"/>
                </a:lnTo>
                <a:lnTo>
                  <a:pt x="8288" y="1967"/>
                </a:lnTo>
                <a:lnTo>
                  <a:pt x="8288" y="1964"/>
                </a:lnTo>
                <a:lnTo>
                  <a:pt x="8290" y="1961"/>
                </a:lnTo>
                <a:lnTo>
                  <a:pt x="8292" y="1960"/>
                </a:lnTo>
                <a:lnTo>
                  <a:pt x="8292" y="1964"/>
                </a:lnTo>
                <a:close/>
                <a:moveTo>
                  <a:pt x="8326" y="2469"/>
                </a:moveTo>
                <a:lnTo>
                  <a:pt x="8320" y="2469"/>
                </a:lnTo>
                <a:lnTo>
                  <a:pt x="8318" y="2457"/>
                </a:lnTo>
                <a:lnTo>
                  <a:pt x="8319" y="2444"/>
                </a:lnTo>
                <a:lnTo>
                  <a:pt x="8326" y="2449"/>
                </a:lnTo>
                <a:lnTo>
                  <a:pt x="8329" y="2453"/>
                </a:lnTo>
                <a:lnTo>
                  <a:pt x="8329" y="2459"/>
                </a:lnTo>
                <a:lnTo>
                  <a:pt x="8328" y="2464"/>
                </a:lnTo>
                <a:lnTo>
                  <a:pt x="8326" y="2469"/>
                </a:lnTo>
                <a:close/>
                <a:moveTo>
                  <a:pt x="8199" y="1986"/>
                </a:moveTo>
                <a:lnTo>
                  <a:pt x="8199" y="1989"/>
                </a:lnTo>
                <a:lnTo>
                  <a:pt x="8198" y="1989"/>
                </a:lnTo>
                <a:lnTo>
                  <a:pt x="8197" y="1987"/>
                </a:lnTo>
                <a:lnTo>
                  <a:pt x="8195" y="1983"/>
                </a:lnTo>
                <a:lnTo>
                  <a:pt x="8198" y="1984"/>
                </a:lnTo>
                <a:lnTo>
                  <a:pt x="8199" y="1986"/>
                </a:lnTo>
                <a:close/>
                <a:moveTo>
                  <a:pt x="8199" y="2159"/>
                </a:moveTo>
                <a:lnTo>
                  <a:pt x="8200" y="2151"/>
                </a:lnTo>
                <a:lnTo>
                  <a:pt x="8206" y="2145"/>
                </a:lnTo>
                <a:lnTo>
                  <a:pt x="8211" y="2141"/>
                </a:lnTo>
                <a:lnTo>
                  <a:pt x="8218" y="2142"/>
                </a:lnTo>
                <a:lnTo>
                  <a:pt x="8208" y="2150"/>
                </a:lnTo>
                <a:lnTo>
                  <a:pt x="8199" y="2159"/>
                </a:lnTo>
                <a:close/>
                <a:moveTo>
                  <a:pt x="7927" y="1936"/>
                </a:moveTo>
                <a:lnTo>
                  <a:pt x="7923" y="1941"/>
                </a:lnTo>
                <a:lnTo>
                  <a:pt x="7918" y="1945"/>
                </a:lnTo>
                <a:lnTo>
                  <a:pt x="7911" y="1949"/>
                </a:lnTo>
                <a:lnTo>
                  <a:pt x="7905" y="1950"/>
                </a:lnTo>
                <a:lnTo>
                  <a:pt x="7910" y="1936"/>
                </a:lnTo>
                <a:lnTo>
                  <a:pt x="7918" y="1923"/>
                </a:lnTo>
                <a:lnTo>
                  <a:pt x="7925" y="1921"/>
                </a:lnTo>
                <a:lnTo>
                  <a:pt x="7927" y="1936"/>
                </a:lnTo>
                <a:close/>
                <a:moveTo>
                  <a:pt x="7980" y="1897"/>
                </a:moveTo>
                <a:lnTo>
                  <a:pt x="7979" y="1893"/>
                </a:lnTo>
                <a:lnTo>
                  <a:pt x="7976" y="1889"/>
                </a:lnTo>
                <a:lnTo>
                  <a:pt x="7975" y="1885"/>
                </a:lnTo>
                <a:lnTo>
                  <a:pt x="7976" y="1881"/>
                </a:lnTo>
                <a:lnTo>
                  <a:pt x="7980" y="1880"/>
                </a:lnTo>
                <a:lnTo>
                  <a:pt x="7980" y="1885"/>
                </a:lnTo>
                <a:lnTo>
                  <a:pt x="7980" y="1891"/>
                </a:lnTo>
                <a:lnTo>
                  <a:pt x="7980" y="1897"/>
                </a:lnTo>
                <a:close/>
                <a:moveTo>
                  <a:pt x="7986" y="1932"/>
                </a:moveTo>
                <a:lnTo>
                  <a:pt x="7981" y="1914"/>
                </a:lnTo>
                <a:lnTo>
                  <a:pt x="7983" y="1904"/>
                </a:lnTo>
                <a:lnTo>
                  <a:pt x="7986" y="1905"/>
                </a:lnTo>
                <a:lnTo>
                  <a:pt x="7990" y="1925"/>
                </a:lnTo>
                <a:lnTo>
                  <a:pt x="7990" y="1927"/>
                </a:lnTo>
                <a:lnTo>
                  <a:pt x="7989" y="1930"/>
                </a:lnTo>
                <a:lnTo>
                  <a:pt x="7988" y="1931"/>
                </a:lnTo>
                <a:lnTo>
                  <a:pt x="7986" y="1932"/>
                </a:lnTo>
                <a:close/>
                <a:moveTo>
                  <a:pt x="8087" y="2202"/>
                </a:moveTo>
                <a:lnTo>
                  <a:pt x="8088" y="2202"/>
                </a:lnTo>
                <a:lnTo>
                  <a:pt x="8090" y="2202"/>
                </a:lnTo>
                <a:lnTo>
                  <a:pt x="8091" y="2202"/>
                </a:lnTo>
                <a:lnTo>
                  <a:pt x="8092" y="2205"/>
                </a:lnTo>
                <a:lnTo>
                  <a:pt x="8090" y="2203"/>
                </a:lnTo>
                <a:lnTo>
                  <a:pt x="8087" y="2202"/>
                </a:lnTo>
                <a:close/>
                <a:moveTo>
                  <a:pt x="8064" y="1989"/>
                </a:moveTo>
                <a:lnTo>
                  <a:pt x="8077" y="1993"/>
                </a:lnTo>
                <a:lnTo>
                  <a:pt x="8074" y="2006"/>
                </a:lnTo>
                <a:lnTo>
                  <a:pt x="8063" y="2016"/>
                </a:lnTo>
                <a:lnTo>
                  <a:pt x="8051" y="2009"/>
                </a:lnTo>
                <a:lnTo>
                  <a:pt x="8053" y="2002"/>
                </a:lnTo>
                <a:lnTo>
                  <a:pt x="8055" y="1996"/>
                </a:lnTo>
                <a:lnTo>
                  <a:pt x="8059" y="1992"/>
                </a:lnTo>
                <a:lnTo>
                  <a:pt x="8064" y="1989"/>
                </a:lnTo>
                <a:close/>
                <a:moveTo>
                  <a:pt x="8069" y="1950"/>
                </a:moveTo>
                <a:lnTo>
                  <a:pt x="8069" y="1953"/>
                </a:lnTo>
                <a:lnTo>
                  <a:pt x="8068" y="1954"/>
                </a:lnTo>
                <a:lnTo>
                  <a:pt x="8067" y="1955"/>
                </a:lnTo>
                <a:lnTo>
                  <a:pt x="8064" y="1954"/>
                </a:lnTo>
                <a:lnTo>
                  <a:pt x="8064" y="1951"/>
                </a:lnTo>
                <a:lnTo>
                  <a:pt x="8064" y="1949"/>
                </a:lnTo>
                <a:lnTo>
                  <a:pt x="8067" y="1949"/>
                </a:lnTo>
                <a:lnTo>
                  <a:pt x="8069" y="1950"/>
                </a:lnTo>
                <a:close/>
                <a:moveTo>
                  <a:pt x="7564" y="2191"/>
                </a:moveTo>
                <a:lnTo>
                  <a:pt x="7564" y="2192"/>
                </a:lnTo>
                <a:lnTo>
                  <a:pt x="7562" y="2191"/>
                </a:lnTo>
                <a:lnTo>
                  <a:pt x="7564" y="2191"/>
                </a:lnTo>
                <a:lnTo>
                  <a:pt x="7564" y="2191"/>
                </a:lnTo>
                <a:close/>
                <a:moveTo>
                  <a:pt x="7700" y="1975"/>
                </a:moveTo>
                <a:lnTo>
                  <a:pt x="7697" y="1978"/>
                </a:lnTo>
                <a:lnTo>
                  <a:pt x="7695" y="1979"/>
                </a:lnTo>
                <a:lnTo>
                  <a:pt x="7692" y="1978"/>
                </a:lnTo>
                <a:lnTo>
                  <a:pt x="7691" y="1974"/>
                </a:lnTo>
                <a:lnTo>
                  <a:pt x="7692" y="1972"/>
                </a:lnTo>
                <a:lnTo>
                  <a:pt x="7695" y="1972"/>
                </a:lnTo>
                <a:lnTo>
                  <a:pt x="7697" y="1973"/>
                </a:lnTo>
                <a:lnTo>
                  <a:pt x="7700" y="1975"/>
                </a:lnTo>
                <a:close/>
                <a:moveTo>
                  <a:pt x="7629" y="2205"/>
                </a:moveTo>
                <a:lnTo>
                  <a:pt x="7625" y="2205"/>
                </a:lnTo>
                <a:lnTo>
                  <a:pt x="7625" y="2201"/>
                </a:lnTo>
                <a:lnTo>
                  <a:pt x="7625" y="2198"/>
                </a:lnTo>
                <a:lnTo>
                  <a:pt x="7629" y="2198"/>
                </a:lnTo>
                <a:lnTo>
                  <a:pt x="7629" y="2201"/>
                </a:lnTo>
                <a:lnTo>
                  <a:pt x="7629" y="2205"/>
                </a:lnTo>
                <a:close/>
                <a:moveTo>
                  <a:pt x="7620" y="2256"/>
                </a:moveTo>
                <a:lnTo>
                  <a:pt x="7618" y="2256"/>
                </a:lnTo>
                <a:lnTo>
                  <a:pt x="7617" y="2254"/>
                </a:lnTo>
                <a:lnTo>
                  <a:pt x="7616" y="2254"/>
                </a:lnTo>
                <a:lnTo>
                  <a:pt x="7617" y="2253"/>
                </a:lnTo>
                <a:lnTo>
                  <a:pt x="7618" y="2252"/>
                </a:lnTo>
                <a:lnTo>
                  <a:pt x="7620" y="2252"/>
                </a:lnTo>
                <a:lnTo>
                  <a:pt x="7620" y="2253"/>
                </a:lnTo>
                <a:lnTo>
                  <a:pt x="7620" y="2256"/>
                </a:lnTo>
                <a:close/>
                <a:moveTo>
                  <a:pt x="7654" y="1781"/>
                </a:moveTo>
                <a:lnTo>
                  <a:pt x="7655" y="1778"/>
                </a:lnTo>
                <a:lnTo>
                  <a:pt x="7658" y="1776"/>
                </a:lnTo>
                <a:lnTo>
                  <a:pt x="7657" y="1779"/>
                </a:lnTo>
                <a:lnTo>
                  <a:pt x="7655" y="1785"/>
                </a:lnTo>
                <a:lnTo>
                  <a:pt x="7654" y="1786"/>
                </a:lnTo>
                <a:lnTo>
                  <a:pt x="7654" y="1781"/>
                </a:lnTo>
                <a:close/>
                <a:moveTo>
                  <a:pt x="7518" y="2201"/>
                </a:moveTo>
                <a:lnTo>
                  <a:pt x="7510" y="2200"/>
                </a:lnTo>
                <a:lnTo>
                  <a:pt x="7501" y="2198"/>
                </a:lnTo>
                <a:lnTo>
                  <a:pt x="7505" y="2197"/>
                </a:lnTo>
                <a:lnTo>
                  <a:pt x="7509" y="2196"/>
                </a:lnTo>
                <a:lnTo>
                  <a:pt x="7514" y="2197"/>
                </a:lnTo>
                <a:lnTo>
                  <a:pt x="7518" y="2201"/>
                </a:lnTo>
                <a:close/>
                <a:moveTo>
                  <a:pt x="7432" y="1998"/>
                </a:moveTo>
                <a:lnTo>
                  <a:pt x="7431" y="2000"/>
                </a:lnTo>
                <a:lnTo>
                  <a:pt x="7432" y="1998"/>
                </a:lnTo>
                <a:lnTo>
                  <a:pt x="7431" y="2001"/>
                </a:lnTo>
                <a:lnTo>
                  <a:pt x="7432" y="1998"/>
                </a:lnTo>
                <a:close/>
                <a:moveTo>
                  <a:pt x="7379" y="2206"/>
                </a:moveTo>
                <a:lnTo>
                  <a:pt x="7366" y="2207"/>
                </a:lnTo>
                <a:lnTo>
                  <a:pt x="7351" y="2207"/>
                </a:lnTo>
                <a:lnTo>
                  <a:pt x="7341" y="2203"/>
                </a:lnTo>
                <a:lnTo>
                  <a:pt x="7341" y="2192"/>
                </a:lnTo>
                <a:lnTo>
                  <a:pt x="7368" y="2173"/>
                </a:lnTo>
                <a:lnTo>
                  <a:pt x="7390" y="2180"/>
                </a:lnTo>
                <a:lnTo>
                  <a:pt x="7399" y="2196"/>
                </a:lnTo>
                <a:lnTo>
                  <a:pt x="7379" y="2206"/>
                </a:lnTo>
                <a:close/>
                <a:moveTo>
                  <a:pt x="7618" y="1524"/>
                </a:moveTo>
                <a:lnTo>
                  <a:pt x="7610" y="1536"/>
                </a:lnTo>
                <a:lnTo>
                  <a:pt x="7599" y="1531"/>
                </a:lnTo>
                <a:lnTo>
                  <a:pt x="7596" y="1519"/>
                </a:lnTo>
                <a:lnTo>
                  <a:pt x="7606" y="1508"/>
                </a:lnTo>
                <a:lnTo>
                  <a:pt x="7612" y="1510"/>
                </a:lnTo>
                <a:lnTo>
                  <a:pt x="7616" y="1513"/>
                </a:lnTo>
                <a:lnTo>
                  <a:pt x="7618" y="1519"/>
                </a:lnTo>
                <a:lnTo>
                  <a:pt x="7618" y="1524"/>
                </a:lnTo>
                <a:close/>
                <a:moveTo>
                  <a:pt x="7441" y="1526"/>
                </a:moveTo>
                <a:lnTo>
                  <a:pt x="7441" y="1535"/>
                </a:lnTo>
                <a:lnTo>
                  <a:pt x="7441" y="1544"/>
                </a:lnTo>
                <a:lnTo>
                  <a:pt x="7439" y="1552"/>
                </a:lnTo>
                <a:lnTo>
                  <a:pt x="7432" y="1557"/>
                </a:lnTo>
                <a:lnTo>
                  <a:pt x="7427" y="1545"/>
                </a:lnTo>
                <a:lnTo>
                  <a:pt x="7426" y="1535"/>
                </a:lnTo>
                <a:lnTo>
                  <a:pt x="7430" y="1527"/>
                </a:lnTo>
                <a:lnTo>
                  <a:pt x="7441" y="1526"/>
                </a:lnTo>
                <a:close/>
                <a:moveTo>
                  <a:pt x="6593" y="1914"/>
                </a:moveTo>
                <a:lnTo>
                  <a:pt x="6597" y="1919"/>
                </a:lnTo>
                <a:lnTo>
                  <a:pt x="6602" y="1926"/>
                </a:lnTo>
                <a:lnTo>
                  <a:pt x="6607" y="1930"/>
                </a:lnTo>
                <a:lnTo>
                  <a:pt x="6614" y="1932"/>
                </a:lnTo>
                <a:lnTo>
                  <a:pt x="6601" y="1939"/>
                </a:lnTo>
                <a:lnTo>
                  <a:pt x="6587" y="1931"/>
                </a:lnTo>
                <a:lnTo>
                  <a:pt x="6582" y="1919"/>
                </a:lnTo>
                <a:lnTo>
                  <a:pt x="6593" y="1914"/>
                </a:lnTo>
                <a:close/>
                <a:moveTo>
                  <a:pt x="6524" y="1881"/>
                </a:moveTo>
                <a:lnTo>
                  <a:pt x="6533" y="1886"/>
                </a:lnTo>
                <a:lnTo>
                  <a:pt x="6537" y="1894"/>
                </a:lnTo>
                <a:lnTo>
                  <a:pt x="6535" y="1903"/>
                </a:lnTo>
                <a:lnTo>
                  <a:pt x="6526" y="1907"/>
                </a:lnTo>
                <a:lnTo>
                  <a:pt x="6516" y="1903"/>
                </a:lnTo>
                <a:lnTo>
                  <a:pt x="6512" y="1895"/>
                </a:lnTo>
                <a:lnTo>
                  <a:pt x="6516" y="1886"/>
                </a:lnTo>
                <a:lnTo>
                  <a:pt x="6524" y="1881"/>
                </a:lnTo>
                <a:close/>
                <a:moveTo>
                  <a:pt x="5645" y="1846"/>
                </a:moveTo>
                <a:lnTo>
                  <a:pt x="5665" y="1863"/>
                </a:lnTo>
                <a:lnTo>
                  <a:pt x="5652" y="1876"/>
                </a:lnTo>
                <a:lnTo>
                  <a:pt x="5630" y="1875"/>
                </a:lnTo>
                <a:lnTo>
                  <a:pt x="5625" y="1851"/>
                </a:lnTo>
                <a:lnTo>
                  <a:pt x="5576" y="1860"/>
                </a:lnTo>
                <a:lnTo>
                  <a:pt x="5566" y="1844"/>
                </a:lnTo>
                <a:lnTo>
                  <a:pt x="5590" y="1830"/>
                </a:lnTo>
                <a:lnTo>
                  <a:pt x="5645" y="1846"/>
                </a:lnTo>
                <a:close/>
                <a:moveTo>
                  <a:pt x="5397" y="1778"/>
                </a:moveTo>
                <a:lnTo>
                  <a:pt x="5451" y="1788"/>
                </a:lnTo>
                <a:lnTo>
                  <a:pt x="5494" y="1799"/>
                </a:lnTo>
                <a:lnTo>
                  <a:pt x="5520" y="1815"/>
                </a:lnTo>
                <a:lnTo>
                  <a:pt x="5521" y="1847"/>
                </a:lnTo>
                <a:lnTo>
                  <a:pt x="5476" y="1835"/>
                </a:lnTo>
                <a:lnTo>
                  <a:pt x="5427" y="1825"/>
                </a:lnTo>
                <a:lnTo>
                  <a:pt x="5394" y="1809"/>
                </a:lnTo>
                <a:lnTo>
                  <a:pt x="5397" y="1778"/>
                </a:lnTo>
                <a:close/>
                <a:moveTo>
                  <a:pt x="5292" y="1870"/>
                </a:moveTo>
                <a:lnTo>
                  <a:pt x="5294" y="1869"/>
                </a:lnTo>
                <a:lnTo>
                  <a:pt x="5296" y="1870"/>
                </a:lnTo>
                <a:lnTo>
                  <a:pt x="5297" y="1871"/>
                </a:lnTo>
                <a:lnTo>
                  <a:pt x="5298" y="1874"/>
                </a:lnTo>
                <a:lnTo>
                  <a:pt x="5296" y="1875"/>
                </a:lnTo>
                <a:lnTo>
                  <a:pt x="5293" y="1875"/>
                </a:lnTo>
                <a:lnTo>
                  <a:pt x="5292" y="1872"/>
                </a:lnTo>
                <a:lnTo>
                  <a:pt x="5292" y="1870"/>
                </a:lnTo>
                <a:close/>
                <a:moveTo>
                  <a:pt x="5257" y="1657"/>
                </a:moveTo>
                <a:lnTo>
                  <a:pt x="5273" y="1664"/>
                </a:lnTo>
                <a:lnTo>
                  <a:pt x="5265" y="1671"/>
                </a:lnTo>
                <a:lnTo>
                  <a:pt x="5251" y="1675"/>
                </a:lnTo>
                <a:lnTo>
                  <a:pt x="5243" y="1674"/>
                </a:lnTo>
                <a:lnTo>
                  <a:pt x="5246" y="1667"/>
                </a:lnTo>
                <a:lnTo>
                  <a:pt x="5248" y="1662"/>
                </a:lnTo>
                <a:lnTo>
                  <a:pt x="5254" y="1659"/>
                </a:lnTo>
                <a:lnTo>
                  <a:pt x="5257" y="1657"/>
                </a:lnTo>
                <a:close/>
                <a:moveTo>
                  <a:pt x="5276" y="1675"/>
                </a:moveTo>
                <a:lnTo>
                  <a:pt x="5275" y="1678"/>
                </a:lnTo>
                <a:lnTo>
                  <a:pt x="5274" y="1681"/>
                </a:lnTo>
                <a:lnTo>
                  <a:pt x="5271" y="1684"/>
                </a:lnTo>
                <a:lnTo>
                  <a:pt x="5269" y="1685"/>
                </a:lnTo>
                <a:lnTo>
                  <a:pt x="5273" y="1680"/>
                </a:lnTo>
                <a:lnTo>
                  <a:pt x="5276" y="1675"/>
                </a:lnTo>
                <a:close/>
                <a:moveTo>
                  <a:pt x="4986" y="1762"/>
                </a:moveTo>
                <a:lnTo>
                  <a:pt x="4991" y="1758"/>
                </a:lnTo>
                <a:lnTo>
                  <a:pt x="4994" y="1759"/>
                </a:lnTo>
                <a:lnTo>
                  <a:pt x="4996" y="1763"/>
                </a:lnTo>
                <a:lnTo>
                  <a:pt x="5000" y="1769"/>
                </a:lnTo>
                <a:lnTo>
                  <a:pt x="4991" y="1774"/>
                </a:lnTo>
                <a:lnTo>
                  <a:pt x="4984" y="1774"/>
                </a:lnTo>
                <a:lnTo>
                  <a:pt x="4981" y="1771"/>
                </a:lnTo>
                <a:lnTo>
                  <a:pt x="4986" y="1762"/>
                </a:lnTo>
                <a:close/>
                <a:moveTo>
                  <a:pt x="5125" y="1637"/>
                </a:moveTo>
                <a:lnTo>
                  <a:pt x="5127" y="1632"/>
                </a:lnTo>
                <a:lnTo>
                  <a:pt x="5133" y="1629"/>
                </a:lnTo>
                <a:lnTo>
                  <a:pt x="5136" y="1629"/>
                </a:lnTo>
                <a:lnTo>
                  <a:pt x="5139" y="1634"/>
                </a:lnTo>
                <a:lnTo>
                  <a:pt x="5139" y="1641"/>
                </a:lnTo>
                <a:lnTo>
                  <a:pt x="5134" y="1643"/>
                </a:lnTo>
                <a:lnTo>
                  <a:pt x="5127" y="1642"/>
                </a:lnTo>
                <a:lnTo>
                  <a:pt x="5125" y="1637"/>
                </a:lnTo>
                <a:close/>
                <a:moveTo>
                  <a:pt x="5091" y="1725"/>
                </a:moveTo>
                <a:lnTo>
                  <a:pt x="5101" y="1717"/>
                </a:lnTo>
                <a:lnTo>
                  <a:pt x="5122" y="1722"/>
                </a:lnTo>
                <a:lnTo>
                  <a:pt x="5143" y="1735"/>
                </a:lnTo>
                <a:lnTo>
                  <a:pt x="5150" y="1753"/>
                </a:lnTo>
                <a:lnTo>
                  <a:pt x="5134" y="1746"/>
                </a:lnTo>
                <a:lnTo>
                  <a:pt x="5115" y="1743"/>
                </a:lnTo>
                <a:lnTo>
                  <a:pt x="5099" y="1735"/>
                </a:lnTo>
                <a:lnTo>
                  <a:pt x="5091" y="1725"/>
                </a:lnTo>
                <a:close/>
                <a:moveTo>
                  <a:pt x="5027" y="1576"/>
                </a:moveTo>
                <a:lnTo>
                  <a:pt x="5029" y="1576"/>
                </a:lnTo>
                <a:lnTo>
                  <a:pt x="5029" y="1577"/>
                </a:lnTo>
                <a:lnTo>
                  <a:pt x="5029" y="1578"/>
                </a:lnTo>
                <a:lnTo>
                  <a:pt x="5028" y="1581"/>
                </a:lnTo>
                <a:lnTo>
                  <a:pt x="5027" y="1576"/>
                </a:lnTo>
                <a:close/>
                <a:moveTo>
                  <a:pt x="5037" y="1627"/>
                </a:moveTo>
                <a:lnTo>
                  <a:pt x="5046" y="1631"/>
                </a:lnTo>
                <a:lnTo>
                  <a:pt x="5055" y="1638"/>
                </a:lnTo>
                <a:lnTo>
                  <a:pt x="5061" y="1647"/>
                </a:lnTo>
                <a:lnTo>
                  <a:pt x="5069" y="1655"/>
                </a:lnTo>
                <a:lnTo>
                  <a:pt x="5051" y="1656"/>
                </a:lnTo>
                <a:lnTo>
                  <a:pt x="5031" y="1648"/>
                </a:lnTo>
                <a:lnTo>
                  <a:pt x="5022" y="1638"/>
                </a:lnTo>
                <a:lnTo>
                  <a:pt x="5037" y="1627"/>
                </a:lnTo>
                <a:close/>
                <a:moveTo>
                  <a:pt x="4659" y="1853"/>
                </a:moveTo>
                <a:lnTo>
                  <a:pt x="4670" y="1851"/>
                </a:lnTo>
                <a:lnTo>
                  <a:pt x="4682" y="1851"/>
                </a:lnTo>
                <a:lnTo>
                  <a:pt x="4691" y="1856"/>
                </a:lnTo>
                <a:lnTo>
                  <a:pt x="4698" y="1866"/>
                </a:lnTo>
                <a:lnTo>
                  <a:pt x="4687" y="1870"/>
                </a:lnTo>
                <a:lnTo>
                  <a:pt x="4675" y="1869"/>
                </a:lnTo>
                <a:lnTo>
                  <a:pt x="4666" y="1862"/>
                </a:lnTo>
                <a:lnTo>
                  <a:pt x="4659" y="1853"/>
                </a:lnTo>
                <a:close/>
                <a:moveTo>
                  <a:pt x="4563" y="1849"/>
                </a:moveTo>
                <a:lnTo>
                  <a:pt x="4563" y="1843"/>
                </a:lnTo>
                <a:lnTo>
                  <a:pt x="4565" y="1841"/>
                </a:lnTo>
                <a:lnTo>
                  <a:pt x="4579" y="1842"/>
                </a:lnTo>
                <a:lnTo>
                  <a:pt x="4582" y="1848"/>
                </a:lnTo>
                <a:lnTo>
                  <a:pt x="4577" y="1852"/>
                </a:lnTo>
                <a:lnTo>
                  <a:pt x="4563" y="1849"/>
                </a:lnTo>
                <a:close/>
                <a:moveTo>
                  <a:pt x="4526" y="1680"/>
                </a:moveTo>
                <a:lnTo>
                  <a:pt x="4521" y="1675"/>
                </a:lnTo>
                <a:lnTo>
                  <a:pt x="4516" y="1671"/>
                </a:lnTo>
                <a:lnTo>
                  <a:pt x="4516" y="1669"/>
                </a:lnTo>
                <a:lnTo>
                  <a:pt x="4521" y="1665"/>
                </a:lnTo>
                <a:lnTo>
                  <a:pt x="4525" y="1669"/>
                </a:lnTo>
                <a:lnTo>
                  <a:pt x="4529" y="1674"/>
                </a:lnTo>
                <a:lnTo>
                  <a:pt x="4530" y="1678"/>
                </a:lnTo>
                <a:lnTo>
                  <a:pt x="4526" y="1680"/>
                </a:lnTo>
                <a:close/>
                <a:moveTo>
                  <a:pt x="4679" y="1692"/>
                </a:moveTo>
                <a:lnTo>
                  <a:pt x="4669" y="1689"/>
                </a:lnTo>
                <a:lnTo>
                  <a:pt x="4666" y="1685"/>
                </a:lnTo>
                <a:lnTo>
                  <a:pt x="4670" y="1681"/>
                </a:lnTo>
                <a:lnTo>
                  <a:pt x="4680" y="1678"/>
                </a:lnTo>
                <a:lnTo>
                  <a:pt x="4682" y="1680"/>
                </a:lnTo>
                <a:lnTo>
                  <a:pt x="4682" y="1683"/>
                </a:lnTo>
                <a:lnTo>
                  <a:pt x="4682" y="1687"/>
                </a:lnTo>
                <a:lnTo>
                  <a:pt x="4679" y="1692"/>
                </a:lnTo>
                <a:close/>
                <a:moveTo>
                  <a:pt x="4767" y="1617"/>
                </a:moveTo>
                <a:lnTo>
                  <a:pt x="4757" y="1628"/>
                </a:lnTo>
                <a:lnTo>
                  <a:pt x="4744" y="1625"/>
                </a:lnTo>
                <a:lnTo>
                  <a:pt x="4736" y="1615"/>
                </a:lnTo>
                <a:lnTo>
                  <a:pt x="4736" y="1600"/>
                </a:lnTo>
                <a:lnTo>
                  <a:pt x="4747" y="1590"/>
                </a:lnTo>
                <a:lnTo>
                  <a:pt x="4759" y="1592"/>
                </a:lnTo>
                <a:lnTo>
                  <a:pt x="4768" y="1603"/>
                </a:lnTo>
                <a:lnTo>
                  <a:pt x="4767" y="1617"/>
                </a:lnTo>
                <a:close/>
                <a:moveTo>
                  <a:pt x="4660" y="1601"/>
                </a:moveTo>
                <a:lnTo>
                  <a:pt x="4670" y="1590"/>
                </a:lnTo>
                <a:lnTo>
                  <a:pt x="4677" y="1599"/>
                </a:lnTo>
                <a:lnTo>
                  <a:pt x="4679" y="1617"/>
                </a:lnTo>
                <a:lnTo>
                  <a:pt x="4677" y="1632"/>
                </a:lnTo>
                <a:lnTo>
                  <a:pt x="4673" y="1625"/>
                </a:lnTo>
                <a:lnTo>
                  <a:pt x="4668" y="1618"/>
                </a:lnTo>
                <a:lnTo>
                  <a:pt x="4664" y="1610"/>
                </a:lnTo>
                <a:lnTo>
                  <a:pt x="4660" y="1601"/>
                </a:lnTo>
                <a:close/>
                <a:moveTo>
                  <a:pt x="8686" y="5251"/>
                </a:moveTo>
                <a:lnTo>
                  <a:pt x="8647" y="5228"/>
                </a:lnTo>
                <a:lnTo>
                  <a:pt x="8673" y="5221"/>
                </a:lnTo>
                <a:lnTo>
                  <a:pt x="8728" y="5228"/>
                </a:lnTo>
                <a:lnTo>
                  <a:pt x="8776" y="5242"/>
                </a:lnTo>
                <a:lnTo>
                  <a:pt x="8752" y="5246"/>
                </a:lnTo>
                <a:lnTo>
                  <a:pt x="8728" y="5243"/>
                </a:lnTo>
                <a:lnTo>
                  <a:pt x="8705" y="5242"/>
                </a:lnTo>
                <a:lnTo>
                  <a:pt x="8686" y="5251"/>
                </a:lnTo>
                <a:close/>
                <a:moveTo>
                  <a:pt x="8659" y="5327"/>
                </a:moveTo>
                <a:lnTo>
                  <a:pt x="8655" y="5316"/>
                </a:lnTo>
                <a:lnTo>
                  <a:pt x="8677" y="5311"/>
                </a:lnTo>
                <a:lnTo>
                  <a:pt x="8703" y="5316"/>
                </a:lnTo>
                <a:lnTo>
                  <a:pt x="8710" y="5336"/>
                </a:lnTo>
                <a:lnTo>
                  <a:pt x="8695" y="5341"/>
                </a:lnTo>
                <a:lnTo>
                  <a:pt x="8678" y="5342"/>
                </a:lnTo>
                <a:lnTo>
                  <a:pt x="8665" y="5339"/>
                </a:lnTo>
                <a:lnTo>
                  <a:pt x="8659" y="5327"/>
                </a:lnTo>
                <a:close/>
                <a:moveTo>
                  <a:pt x="8754" y="5057"/>
                </a:moveTo>
                <a:lnTo>
                  <a:pt x="8719" y="5038"/>
                </a:lnTo>
                <a:lnTo>
                  <a:pt x="8738" y="5041"/>
                </a:lnTo>
                <a:lnTo>
                  <a:pt x="8766" y="5053"/>
                </a:lnTo>
                <a:lnTo>
                  <a:pt x="8758" y="5065"/>
                </a:lnTo>
                <a:lnTo>
                  <a:pt x="8757" y="5061"/>
                </a:lnTo>
                <a:lnTo>
                  <a:pt x="8754" y="5057"/>
                </a:lnTo>
                <a:close/>
                <a:moveTo>
                  <a:pt x="8849" y="4563"/>
                </a:moveTo>
                <a:lnTo>
                  <a:pt x="8847" y="4565"/>
                </a:lnTo>
                <a:lnTo>
                  <a:pt x="8846" y="4565"/>
                </a:lnTo>
                <a:lnTo>
                  <a:pt x="8845" y="4565"/>
                </a:lnTo>
                <a:lnTo>
                  <a:pt x="8844" y="4562"/>
                </a:lnTo>
                <a:lnTo>
                  <a:pt x="8849" y="4563"/>
                </a:lnTo>
                <a:close/>
                <a:moveTo>
                  <a:pt x="8832" y="4468"/>
                </a:moveTo>
                <a:lnTo>
                  <a:pt x="8841" y="4465"/>
                </a:lnTo>
                <a:lnTo>
                  <a:pt x="8858" y="4460"/>
                </a:lnTo>
                <a:lnTo>
                  <a:pt x="8861" y="4465"/>
                </a:lnTo>
                <a:lnTo>
                  <a:pt x="8852" y="4468"/>
                </a:lnTo>
                <a:lnTo>
                  <a:pt x="8841" y="4468"/>
                </a:lnTo>
                <a:lnTo>
                  <a:pt x="8832" y="4468"/>
                </a:lnTo>
                <a:close/>
                <a:moveTo>
                  <a:pt x="8965" y="4547"/>
                </a:moveTo>
                <a:lnTo>
                  <a:pt x="8965" y="4549"/>
                </a:lnTo>
                <a:lnTo>
                  <a:pt x="8965" y="4551"/>
                </a:lnTo>
                <a:lnTo>
                  <a:pt x="8963" y="4551"/>
                </a:lnTo>
                <a:lnTo>
                  <a:pt x="8961" y="4549"/>
                </a:lnTo>
                <a:lnTo>
                  <a:pt x="8965" y="4547"/>
                </a:lnTo>
                <a:close/>
                <a:moveTo>
                  <a:pt x="8930" y="4465"/>
                </a:moveTo>
                <a:lnTo>
                  <a:pt x="8943" y="4470"/>
                </a:lnTo>
                <a:lnTo>
                  <a:pt x="8945" y="4479"/>
                </a:lnTo>
                <a:lnTo>
                  <a:pt x="8940" y="4487"/>
                </a:lnTo>
                <a:lnTo>
                  <a:pt x="8926" y="4487"/>
                </a:lnTo>
                <a:lnTo>
                  <a:pt x="8917" y="4481"/>
                </a:lnTo>
                <a:lnTo>
                  <a:pt x="8915" y="4474"/>
                </a:lnTo>
                <a:lnTo>
                  <a:pt x="8919" y="4469"/>
                </a:lnTo>
                <a:lnTo>
                  <a:pt x="8930" y="4465"/>
                </a:lnTo>
                <a:close/>
                <a:moveTo>
                  <a:pt x="9350" y="5188"/>
                </a:moveTo>
                <a:lnTo>
                  <a:pt x="9353" y="5187"/>
                </a:lnTo>
                <a:lnTo>
                  <a:pt x="9357" y="5188"/>
                </a:lnTo>
                <a:lnTo>
                  <a:pt x="9359" y="5192"/>
                </a:lnTo>
                <a:lnTo>
                  <a:pt x="9355" y="5193"/>
                </a:lnTo>
                <a:lnTo>
                  <a:pt x="9350" y="5192"/>
                </a:lnTo>
                <a:lnTo>
                  <a:pt x="9350" y="5188"/>
                </a:lnTo>
                <a:close/>
                <a:moveTo>
                  <a:pt x="9320" y="5033"/>
                </a:moveTo>
                <a:lnTo>
                  <a:pt x="9324" y="5036"/>
                </a:lnTo>
                <a:lnTo>
                  <a:pt x="9329" y="5038"/>
                </a:lnTo>
                <a:lnTo>
                  <a:pt x="9325" y="5038"/>
                </a:lnTo>
                <a:lnTo>
                  <a:pt x="9321" y="5037"/>
                </a:lnTo>
                <a:lnTo>
                  <a:pt x="9320" y="5036"/>
                </a:lnTo>
                <a:lnTo>
                  <a:pt x="9320" y="5033"/>
                </a:lnTo>
                <a:close/>
                <a:moveTo>
                  <a:pt x="9041" y="4724"/>
                </a:moveTo>
                <a:lnTo>
                  <a:pt x="9038" y="4722"/>
                </a:lnTo>
                <a:lnTo>
                  <a:pt x="9037" y="4722"/>
                </a:lnTo>
                <a:lnTo>
                  <a:pt x="9037" y="4721"/>
                </a:lnTo>
                <a:lnTo>
                  <a:pt x="9040" y="4719"/>
                </a:lnTo>
                <a:lnTo>
                  <a:pt x="9041" y="4724"/>
                </a:lnTo>
                <a:close/>
                <a:moveTo>
                  <a:pt x="9087" y="4590"/>
                </a:moveTo>
                <a:lnTo>
                  <a:pt x="9083" y="4594"/>
                </a:lnTo>
                <a:lnTo>
                  <a:pt x="9080" y="4594"/>
                </a:lnTo>
                <a:lnTo>
                  <a:pt x="9077" y="4591"/>
                </a:lnTo>
                <a:lnTo>
                  <a:pt x="9073" y="4589"/>
                </a:lnTo>
                <a:lnTo>
                  <a:pt x="9077" y="4585"/>
                </a:lnTo>
                <a:lnTo>
                  <a:pt x="9079" y="4585"/>
                </a:lnTo>
                <a:lnTo>
                  <a:pt x="9083" y="4588"/>
                </a:lnTo>
                <a:lnTo>
                  <a:pt x="9087" y="4590"/>
                </a:lnTo>
                <a:close/>
                <a:moveTo>
                  <a:pt x="9184" y="5151"/>
                </a:moveTo>
                <a:lnTo>
                  <a:pt x="9159" y="5154"/>
                </a:lnTo>
                <a:lnTo>
                  <a:pt x="9136" y="5151"/>
                </a:lnTo>
                <a:lnTo>
                  <a:pt x="9115" y="5148"/>
                </a:lnTo>
                <a:lnTo>
                  <a:pt x="9093" y="5141"/>
                </a:lnTo>
                <a:lnTo>
                  <a:pt x="9114" y="5132"/>
                </a:lnTo>
                <a:lnTo>
                  <a:pt x="9130" y="5130"/>
                </a:lnTo>
                <a:lnTo>
                  <a:pt x="9150" y="5136"/>
                </a:lnTo>
                <a:lnTo>
                  <a:pt x="9184" y="5151"/>
                </a:lnTo>
                <a:close/>
                <a:moveTo>
                  <a:pt x="9019" y="4491"/>
                </a:moveTo>
                <a:lnTo>
                  <a:pt x="9063" y="4496"/>
                </a:lnTo>
                <a:lnTo>
                  <a:pt x="9103" y="4505"/>
                </a:lnTo>
                <a:lnTo>
                  <a:pt x="9145" y="4515"/>
                </a:lnTo>
                <a:lnTo>
                  <a:pt x="9189" y="4523"/>
                </a:lnTo>
                <a:lnTo>
                  <a:pt x="9144" y="4528"/>
                </a:lnTo>
                <a:lnTo>
                  <a:pt x="9103" y="4525"/>
                </a:lnTo>
                <a:lnTo>
                  <a:pt x="9063" y="4512"/>
                </a:lnTo>
                <a:lnTo>
                  <a:pt x="9019" y="4491"/>
                </a:lnTo>
                <a:close/>
                <a:moveTo>
                  <a:pt x="8613" y="2422"/>
                </a:moveTo>
                <a:lnTo>
                  <a:pt x="8621" y="2426"/>
                </a:lnTo>
                <a:lnTo>
                  <a:pt x="8626" y="2440"/>
                </a:lnTo>
                <a:lnTo>
                  <a:pt x="8627" y="2457"/>
                </a:lnTo>
                <a:lnTo>
                  <a:pt x="8626" y="2468"/>
                </a:lnTo>
                <a:lnTo>
                  <a:pt x="8616" y="2459"/>
                </a:lnTo>
                <a:lnTo>
                  <a:pt x="8608" y="2448"/>
                </a:lnTo>
                <a:lnTo>
                  <a:pt x="8605" y="2434"/>
                </a:lnTo>
                <a:lnTo>
                  <a:pt x="8613" y="2422"/>
                </a:lnTo>
                <a:close/>
                <a:moveTo>
                  <a:pt x="8209" y="1513"/>
                </a:moveTo>
                <a:lnTo>
                  <a:pt x="8217" y="1494"/>
                </a:lnTo>
                <a:lnTo>
                  <a:pt x="8230" y="1497"/>
                </a:lnTo>
                <a:lnTo>
                  <a:pt x="8245" y="1512"/>
                </a:lnTo>
                <a:lnTo>
                  <a:pt x="8259" y="1527"/>
                </a:lnTo>
                <a:lnTo>
                  <a:pt x="8246" y="1547"/>
                </a:lnTo>
                <a:lnTo>
                  <a:pt x="8232" y="1547"/>
                </a:lnTo>
                <a:lnTo>
                  <a:pt x="8218" y="1534"/>
                </a:lnTo>
                <a:lnTo>
                  <a:pt x="8209" y="1513"/>
                </a:lnTo>
                <a:close/>
                <a:moveTo>
                  <a:pt x="7160" y="1446"/>
                </a:moveTo>
                <a:lnTo>
                  <a:pt x="7165" y="1433"/>
                </a:lnTo>
                <a:lnTo>
                  <a:pt x="7164" y="1424"/>
                </a:lnTo>
                <a:lnTo>
                  <a:pt x="7165" y="1422"/>
                </a:lnTo>
                <a:lnTo>
                  <a:pt x="7177" y="1429"/>
                </a:lnTo>
                <a:lnTo>
                  <a:pt x="7170" y="1450"/>
                </a:lnTo>
                <a:lnTo>
                  <a:pt x="7157" y="1461"/>
                </a:lnTo>
                <a:lnTo>
                  <a:pt x="7151" y="1460"/>
                </a:lnTo>
                <a:lnTo>
                  <a:pt x="7160" y="1446"/>
                </a:lnTo>
                <a:close/>
                <a:moveTo>
                  <a:pt x="6758" y="1538"/>
                </a:moveTo>
                <a:lnTo>
                  <a:pt x="6760" y="1534"/>
                </a:lnTo>
                <a:lnTo>
                  <a:pt x="6760" y="1536"/>
                </a:lnTo>
                <a:lnTo>
                  <a:pt x="6761" y="1538"/>
                </a:lnTo>
                <a:lnTo>
                  <a:pt x="6760" y="1539"/>
                </a:lnTo>
                <a:lnTo>
                  <a:pt x="6758" y="1538"/>
                </a:lnTo>
                <a:close/>
                <a:moveTo>
                  <a:pt x="5894" y="1899"/>
                </a:moveTo>
                <a:lnTo>
                  <a:pt x="5894" y="1907"/>
                </a:lnTo>
                <a:lnTo>
                  <a:pt x="5893" y="1914"/>
                </a:lnTo>
                <a:lnTo>
                  <a:pt x="5889" y="1922"/>
                </a:lnTo>
                <a:lnTo>
                  <a:pt x="5886" y="1930"/>
                </a:lnTo>
                <a:lnTo>
                  <a:pt x="5880" y="1922"/>
                </a:lnTo>
                <a:lnTo>
                  <a:pt x="5880" y="1911"/>
                </a:lnTo>
                <a:lnTo>
                  <a:pt x="5885" y="1900"/>
                </a:lnTo>
                <a:lnTo>
                  <a:pt x="5894" y="1899"/>
                </a:lnTo>
                <a:close/>
                <a:moveTo>
                  <a:pt x="5124" y="1580"/>
                </a:moveTo>
                <a:lnTo>
                  <a:pt x="5122" y="1583"/>
                </a:lnTo>
                <a:lnTo>
                  <a:pt x="5121" y="1586"/>
                </a:lnTo>
                <a:lnTo>
                  <a:pt x="5116" y="1583"/>
                </a:lnTo>
                <a:lnTo>
                  <a:pt x="5116" y="1581"/>
                </a:lnTo>
                <a:lnTo>
                  <a:pt x="5119" y="1578"/>
                </a:lnTo>
                <a:lnTo>
                  <a:pt x="5124" y="1580"/>
                </a:lnTo>
                <a:close/>
                <a:moveTo>
                  <a:pt x="4542" y="1571"/>
                </a:moveTo>
                <a:lnTo>
                  <a:pt x="4542" y="1585"/>
                </a:lnTo>
                <a:lnTo>
                  <a:pt x="4535" y="1596"/>
                </a:lnTo>
                <a:lnTo>
                  <a:pt x="4525" y="1597"/>
                </a:lnTo>
                <a:lnTo>
                  <a:pt x="4516" y="1586"/>
                </a:lnTo>
                <a:lnTo>
                  <a:pt x="4519" y="1581"/>
                </a:lnTo>
                <a:lnTo>
                  <a:pt x="4526" y="1578"/>
                </a:lnTo>
                <a:lnTo>
                  <a:pt x="4535" y="1576"/>
                </a:lnTo>
                <a:lnTo>
                  <a:pt x="4542" y="1571"/>
                </a:lnTo>
                <a:close/>
                <a:moveTo>
                  <a:pt x="4221" y="1443"/>
                </a:moveTo>
                <a:lnTo>
                  <a:pt x="4221" y="1449"/>
                </a:lnTo>
                <a:lnTo>
                  <a:pt x="4219" y="1447"/>
                </a:lnTo>
                <a:lnTo>
                  <a:pt x="4218" y="1446"/>
                </a:lnTo>
                <a:lnTo>
                  <a:pt x="4219" y="1445"/>
                </a:lnTo>
                <a:lnTo>
                  <a:pt x="4221" y="1443"/>
                </a:lnTo>
                <a:close/>
                <a:moveTo>
                  <a:pt x="4227" y="1362"/>
                </a:moveTo>
                <a:lnTo>
                  <a:pt x="4226" y="1361"/>
                </a:lnTo>
                <a:lnTo>
                  <a:pt x="4225" y="1357"/>
                </a:lnTo>
                <a:lnTo>
                  <a:pt x="4228" y="1352"/>
                </a:lnTo>
                <a:lnTo>
                  <a:pt x="4231" y="1356"/>
                </a:lnTo>
                <a:lnTo>
                  <a:pt x="4232" y="1361"/>
                </a:lnTo>
                <a:lnTo>
                  <a:pt x="4227" y="1362"/>
                </a:lnTo>
                <a:close/>
                <a:moveTo>
                  <a:pt x="2572" y="4286"/>
                </a:moveTo>
                <a:lnTo>
                  <a:pt x="2575" y="4288"/>
                </a:lnTo>
                <a:lnTo>
                  <a:pt x="2572" y="4286"/>
                </a:lnTo>
                <a:lnTo>
                  <a:pt x="2578" y="4285"/>
                </a:lnTo>
                <a:lnTo>
                  <a:pt x="2572" y="4286"/>
                </a:lnTo>
                <a:close/>
                <a:moveTo>
                  <a:pt x="2544" y="4293"/>
                </a:moveTo>
                <a:lnTo>
                  <a:pt x="2546" y="4282"/>
                </a:lnTo>
                <a:lnTo>
                  <a:pt x="2551" y="4277"/>
                </a:lnTo>
                <a:lnTo>
                  <a:pt x="2559" y="4279"/>
                </a:lnTo>
                <a:lnTo>
                  <a:pt x="2569" y="4287"/>
                </a:lnTo>
                <a:lnTo>
                  <a:pt x="2566" y="4295"/>
                </a:lnTo>
                <a:lnTo>
                  <a:pt x="2560" y="4297"/>
                </a:lnTo>
                <a:lnTo>
                  <a:pt x="2552" y="4297"/>
                </a:lnTo>
                <a:lnTo>
                  <a:pt x="2544" y="4293"/>
                </a:lnTo>
                <a:close/>
                <a:moveTo>
                  <a:pt x="3837" y="1960"/>
                </a:moveTo>
                <a:lnTo>
                  <a:pt x="3828" y="1922"/>
                </a:lnTo>
                <a:lnTo>
                  <a:pt x="3834" y="1907"/>
                </a:lnTo>
                <a:lnTo>
                  <a:pt x="3854" y="1908"/>
                </a:lnTo>
                <a:lnTo>
                  <a:pt x="3885" y="1922"/>
                </a:lnTo>
                <a:lnTo>
                  <a:pt x="3915" y="1914"/>
                </a:lnTo>
                <a:lnTo>
                  <a:pt x="3918" y="1936"/>
                </a:lnTo>
                <a:lnTo>
                  <a:pt x="3893" y="1959"/>
                </a:lnTo>
                <a:lnTo>
                  <a:pt x="3837" y="1960"/>
                </a:lnTo>
                <a:close/>
                <a:moveTo>
                  <a:pt x="5187" y="4630"/>
                </a:moveTo>
                <a:lnTo>
                  <a:pt x="5189" y="4632"/>
                </a:lnTo>
                <a:lnTo>
                  <a:pt x="5189" y="4635"/>
                </a:lnTo>
                <a:lnTo>
                  <a:pt x="5187" y="4636"/>
                </a:lnTo>
                <a:lnTo>
                  <a:pt x="5185" y="4637"/>
                </a:lnTo>
                <a:lnTo>
                  <a:pt x="5182" y="4633"/>
                </a:lnTo>
                <a:lnTo>
                  <a:pt x="5182" y="4632"/>
                </a:lnTo>
                <a:lnTo>
                  <a:pt x="5185" y="4630"/>
                </a:lnTo>
                <a:lnTo>
                  <a:pt x="5187" y="4630"/>
                </a:lnTo>
                <a:close/>
                <a:moveTo>
                  <a:pt x="5767" y="4248"/>
                </a:moveTo>
                <a:lnTo>
                  <a:pt x="5762" y="4254"/>
                </a:lnTo>
                <a:lnTo>
                  <a:pt x="5755" y="4258"/>
                </a:lnTo>
                <a:lnTo>
                  <a:pt x="5750" y="4257"/>
                </a:lnTo>
                <a:lnTo>
                  <a:pt x="5744" y="4251"/>
                </a:lnTo>
                <a:lnTo>
                  <a:pt x="5749" y="4246"/>
                </a:lnTo>
                <a:lnTo>
                  <a:pt x="5754" y="4243"/>
                </a:lnTo>
                <a:lnTo>
                  <a:pt x="5760" y="4243"/>
                </a:lnTo>
                <a:lnTo>
                  <a:pt x="5767" y="4248"/>
                </a:lnTo>
                <a:close/>
                <a:moveTo>
                  <a:pt x="5774" y="4602"/>
                </a:moveTo>
                <a:lnTo>
                  <a:pt x="5773" y="4600"/>
                </a:lnTo>
                <a:lnTo>
                  <a:pt x="5774" y="4602"/>
                </a:lnTo>
                <a:lnTo>
                  <a:pt x="5772" y="4602"/>
                </a:lnTo>
                <a:lnTo>
                  <a:pt x="5774" y="4602"/>
                </a:lnTo>
                <a:close/>
                <a:moveTo>
                  <a:pt x="6537" y="4673"/>
                </a:moveTo>
                <a:lnTo>
                  <a:pt x="6544" y="4683"/>
                </a:lnTo>
                <a:lnTo>
                  <a:pt x="6550" y="4696"/>
                </a:lnTo>
                <a:lnTo>
                  <a:pt x="6551" y="4702"/>
                </a:lnTo>
                <a:lnTo>
                  <a:pt x="6542" y="4698"/>
                </a:lnTo>
                <a:lnTo>
                  <a:pt x="6536" y="4692"/>
                </a:lnTo>
                <a:lnTo>
                  <a:pt x="6533" y="4687"/>
                </a:lnTo>
                <a:lnTo>
                  <a:pt x="6533" y="4679"/>
                </a:lnTo>
                <a:lnTo>
                  <a:pt x="6537" y="4673"/>
                </a:lnTo>
                <a:close/>
                <a:moveTo>
                  <a:pt x="7099" y="4533"/>
                </a:moveTo>
                <a:lnTo>
                  <a:pt x="7095" y="4530"/>
                </a:lnTo>
                <a:lnTo>
                  <a:pt x="7098" y="4529"/>
                </a:lnTo>
                <a:lnTo>
                  <a:pt x="7099" y="4530"/>
                </a:lnTo>
                <a:lnTo>
                  <a:pt x="7099" y="4532"/>
                </a:lnTo>
                <a:lnTo>
                  <a:pt x="7099" y="4533"/>
                </a:lnTo>
                <a:close/>
                <a:moveTo>
                  <a:pt x="7323" y="4980"/>
                </a:moveTo>
                <a:lnTo>
                  <a:pt x="7308" y="4966"/>
                </a:lnTo>
                <a:lnTo>
                  <a:pt x="7290" y="4949"/>
                </a:lnTo>
                <a:lnTo>
                  <a:pt x="7281" y="4930"/>
                </a:lnTo>
                <a:lnTo>
                  <a:pt x="7290" y="4907"/>
                </a:lnTo>
                <a:lnTo>
                  <a:pt x="7314" y="4912"/>
                </a:lnTo>
                <a:lnTo>
                  <a:pt x="7329" y="4931"/>
                </a:lnTo>
                <a:lnTo>
                  <a:pt x="7333" y="4957"/>
                </a:lnTo>
                <a:lnTo>
                  <a:pt x="7323" y="4980"/>
                </a:lnTo>
                <a:close/>
                <a:moveTo>
                  <a:pt x="7322" y="4982"/>
                </a:moveTo>
                <a:lnTo>
                  <a:pt x="7322" y="4983"/>
                </a:lnTo>
                <a:lnTo>
                  <a:pt x="7322" y="4982"/>
                </a:lnTo>
                <a:lnTo>
                  <a:pt x="7323" y="4982"/>
                </a:lnTo>
                <a:lnTo>
                  <a:pt x="7322" y="4982"/>
                </a:lnTo>
                <a:close/>
                <a:moveTo>
                  <a:pt x="7329" y="5097"/>
                </a:moveTo>
                <a:lnTo>
                  <a:pt x="7322" y="5092"/>
                </a:lnTo>
                <a:lnTo>
                  <a:pt x="7329" y="5097"/>
                </a:lnTo>
                <a:lnTo>
                  <a:pt x="7323" y="5094"/>
                </a:lnTo>
                <a:lnTo>
                  <a:pt x="7318" y="5094"/>
                </a:lnTo>
                <a:lnTo>
                  <a:pt x="7318" y="5095"/>
                </a:lnTo>
                <a:lnTo>
                  <a:pt x="7329" y="5097"/>
                </a:lnTo>
                <a:close/>
                <a:moveTo>
                  <a:pt x="8993" y="5400"/>
                </a:moveTo>
                <a:lnTo>
                  <a:pt x="8973" y="5365"/>
                </a:lnTo>
                <a:lnTo>
                  <a:pt x="9043" y="5373"/>
                </a:lnTo>
                <a:lnTo>
                  <a:pt x="9138" y="5406"/>
                </a:lnTo>
                <a:lnTo>
                  <a:pt x="9196" y="5447"/>
                </a:lnTo>
                <a:lnTo>
                  <a:pt x="9145" y="5433"/>
                </a:lnTo>
                <a:lnTo>
                  <a:pt x="9094" y="5420"/>
                </a:lnTo>
                <a:lnTo>
                  <a:pt x="9045" y="5410"/>
                </a:lnTo>
                <a:lnTo>
                  <a:pt x="8993" y="5400"/>
                </a:lnTo>
                <a:close/>
                <a:moveTo>
                  <a:pt x="9083" y="5462"/>
                </a:moveTo>
                <a:lnTo>
                  <a:pt x="9086" y="5461"/>
                </a:lnTo>
                <a:lnTo>
                  <a:pt x="9088" y="5461"/>
                </a:lnTo>
                <a:lnTo>
                  <a:pt x="9086" y="5462"/>
                </a:lnTo>
                <a:lnTo>
                  <a:pt x="9083" y="5462"/>
                </a:lnTo>
                <a:close/>
                <a:moveTo>
                  <a:pt x="9027" y="5523"/>
                </a:moveTo>
                <a:lnTo>
                  <a:pt x="9046" y="5524"/>
                </a:lnTo>
                <a:lnTo>
                  <a:pt x="9065" y="5526"/>
                </a:lnTo>
                <a:lnTo>
                  <a:pt x="9084" y="5527"/>
                </a:lnTo>
                <a:lnTo>
                  <a:pt x="9103" y="5528"/>
                </a:lnTo>
                <a:lnTo>
                  <a:pt x="9094" y="5543"/>
                </a:lnTo>
                <a:lnTo>
                  <a:pt x="9065" y="5545"/>
                </a:lnTo>
                <a:lnTo>
                  <a:pt x="9036" y="5537"/>
                </a:lnTo>
                <a:lnTo>
                  <a:pt x="9027" y="5523"/>
                </a:lnTo>
                <a:close/>
                <a:moveTo>
                  <a:pt x="9082" y="5500"/>
                </a:moveTo>
                <a:lnTo>
                  <a:pt x="9075" y="5504"/>
                </a:lnTo>
                <a:lnTo>
                  <a:pt x="9071" y="5505"/>
                </a:lnTo>
                <a:lnTo>
                  <a:pt x="9066" y="5503"/>
                </a:lnTo>
                <a:lnTo>
                  <a:pt x="9063" y="5498"/>
                </a:lnTo>
                <a:lnTo>
                  <a:pt x="9068" y="5494"/>
                </a:lnTo>
                <a:lnTo>
                  <a:pt x="9073" y="5494"/>
                </a:lnTo>
                <a:lnTo>
                  <a:pt x="9078" y="5495"/>
                </a:lnTo>
                <a:lnTo>
                  <a:pt x="9082" y="5500"/>
                </a:lnTo>
                <a:close/>
                <a:moveTo>
                  <a:pt x="9001" y="5452"/>
                </a:moveTo>
                <a:lnTo>
                  <a:pt x="9021" y="5454"/>
                </a:lnTo>
                <a:lnTo>
                  <a:pt x="9038" y="5457"/>
                </a:lnTo>
                <a:lnTo>
                  <a:pt x="9057" y="5461"/>
                </a:lnTo>
                <a:lnTo>
                  <a:pt x="9077" y="5463"/>
                </a:lnTo>
                <a:lnTo>
                  <a:pt x="9051" y="5467"/>
                </a:lnTo>
                <a:lnTo>
                  <a:pt x="9035" y="5467"/>
                </a:lnTo>
                <a:lnTo>
                  <a:pt x="9021" y="5462"/>
                </a:lnTo>
                <a:lnTo>
                  <a:pt x="9001" y="5452"/>
                </a:lnTo>
                <a:close/>
                <a:moveTo>
                  <a:pt x="9307" y="5397"/>
                </a:moveTo>
                <a:lnTo>
                  <a:pt x="9316" y="5400"/>
                </a:lnTo>
                <a:lnTo>
                  <a:pt x="9317" y="5400"/>
                </a:lnTo>
                <a:lnTo>
                  <a:pt x="9313" y="5398"/>
                </a:lnTo>
                <a:lnTo>
                  <a:pt x="9307" y="5397"/>
                </a:lnTo>
                <a:lnTo>
                  <a:pt x="9312" y="5391"/>
                </a:lnTo>
                <a:lnTo>
                  <a:pt x="9321" y="5391"/>
                </a:lnTo>
                <a:lnTo>
                  <a:pt x="9322" y="5393"/>
                </a:lnTo>
                <a:lnTo>
                  <a:pt x="9307" y="5397"/>
                </a:lnTo>
                <a:close/>
                <a:moveTo>
                  <a:pt x="9316" y="5468"/>
                </a:moveTo>
                <a:lnTo>
                  <a:pt x="9307" y="5465"/>
                </a:lnTo>
                <a:lnTo>
                  <a:pt x="9298" y="5461"/>
                </a:lnTo>
                <a:lnTo>
                  <a:pt x="9288" y="5456"/>
                </a:lnTo>
                <a:lnTo>
                  <a:pt x="9277" y="5451"/>
                </a:lnTo>
                <a:lnTo>
                  <a:pt x="9292" y="5444"/>
                </a:lnTo>
                <a:lnTo>
                  <a:pt x="9303" y="5447"/>
                </a:lnTo>
                <a:lnTo>
                  <a:pt x="9311" y="5456"/>
                </a:lnTo>
                <a:lnTo>
                  <a:pt x="9316" y="5468"/>
                </a:lnTo>
                <a:close/>
                <a:moveTo>
                  <a:pt x="9302" y="5585"/>
                </a:moveTo>
                <a:lnTo>
                  <a:pt x="9298" y="5587"/>
                </a:lnTo>
                <a:lnTo>
                  <a:pt x="9296" y="5587"/>
                </a:lnTo>
                <a:lnTo>
                  <a:pt x="9294" y="5584"/>
                </a:lnTo>
                <a:lnTo>
                  <a:pt x="9292" y="5582"/>
                </a:lnTo>
                <a:lnTo>
                  <a:pt x="9294" y="5580"/>
                </a:lnTo>
                <a:lnTo>
                  <a:pt x="9298" y="5582"/>
                </a:lnTo>
                <a:lnTo>
                  <a:pt x="9301" y="5583"/>
                </a:lnTo>
                <a:lnTo>
                  <a:pt x="9302" y="5585"/>
                </a:lnTo>
                <a:close/>
                <a:moveTo>
                  <a:pt x="9292" y="5527"/>
                </a:moveTo>
                <a:lnTo>
                  <a:pt x="9305" y="5515"/>
                </a:lnTo>
                <a:lnTo>
                  <a:pt x="9321" y="5514"/>
                </a:lnTo>
                <a:lnTo>
                  <a:pt x="9335" y="5523"/>
                </a:lnTo>
                <a:lnTo>
                  <a:pt x="9340" y="5538"/>
                </a:lnTo>
                <a:lnTo>
                  <a:pt x="9329" y="5549"/>
                </a:lnTo>
                <a:lnTo>
                  <a:pt x="9312" y="5549"/>
                </a:lnTo>
                <a:lnTo>
                  <a:pt x="9296" y="5541"/>
                </a:lnTo>
                <a:lnTo>
                  <a:pt x="9292" y="5527"/>
                </a:lnTo>
                <a:close/>
                <a:moveTo>
                  <a:pt x="9396" y="5351"/>
                </a:moveTo>
                <a:lnTo>
                  <a:pt x="9391" y="5353"/>
                </a:lnTo>
                <a:lnTo>
                  <a:pt x="9392" y="5350"/>
                </a:lnTo>
                <a:lnTo>
                  <a:pt x="9394" y="5349"/>
                </a:lnTo>
                <a:lnTo>
                  <a:pt x="9395" y="5350"/>
                </a:lnTo>
                <a:lnTo>
                  <a:pt x="9396" y="5351"/>
                </a:lnTo>
                <a:close/>
                <a:moveTo>
                  <a:pt x="9218" y="5304"/>
                </a:moveTo>
                <a:lnTo>
                  <a:pt x="9124" y="5276"/>
                </a:lnTo>
                <a:lnTo>
                  <a:pt x="9042" y="5279"/>
                </a:lnTo>
                <a:lnTo>
                  <a:pt x="8967" y="5295"/>
                </a:lnTo>
                <a:lnTo>
                  <a:pt x="8894" y="5311"/>
                </a:lnTo>
                <a:lnTo>
                  <a:pt x="8854" y="5256"/>
                </a:lnTo>
                <a:lnTo>
                  <a:pt x="8786" y="5215"/>
                </a:lnTo>
                <a:lnTo>
                  <a:pt x="8721" y="5195"/>
                </a:lnTo>
                <a:lnTo>
                  <a:pt x="8687" y="5202"/>
                </a:lnTo>
                <a:lnTo>
                  <a:pt x="8656" y="5193"/>
                </a:lnTo>
                <a:lnTo>
                  <a:pt x="8649" y="5176"/>
                </a:lnTo>
                <a:lnTo>
                  <a:pt x="8661" y="5164"/>
                </a:lnTo>
                <a:lnTo>
                  <a:pt x="8691" y="5176"/>
                </a:lnTo>
                <a:lnTo>
                  <a:pt x="8858" y="5106"/>
                </a:lnTo>
                <a:lnTo>
                  <a:pt x="9170" y="5195"/>
                </a:lnTo>
                <a:lnTo>
                  <a:pt x="9373" y="5307"/>
                </a:lnTo>
                <a:lnTo>
                  <a:pt x="9218" y="5304"/>
                </a:lnTo>
                <a:close/>
                <a:moveTo>
                  <a:pt x="7560" y="1300"/>
                </a:moveTo>
                <a:lnTo>
                  <a:pt x="7562" y="1298"/>
                </a:lnTo>
                <a:lnTo>
                  <a:pt x="7564" y="1301"/>
                </a:lnTo>
                <a:lnTo>
                  <a:pt x="7564" y="1303"/>
                </a:lnTo>
                <a:lnTo>
                  <a:pt x="7560" y="1305"/>
                </a:lnTo>
                <a:lnTo>
                  <a:pt x="7560" y="1302"/>
                </a:lnTo>
                <a:lnTo>
                  <a:pt x="7560" y="1300"/>
                </a:lnTo>
                <a:close/>
                <a:moveTo>
                  <a:pt x="7658" y="1343"/>
                </a:moveTo>
                <a:lnTo>
                  <a:pt x="7646" y="1354"/>
                </a:lnTo>
                <a:lnTo>
                  <a:pt x="7617" y="1349"/>
                </a:lnTo>
                <a:lnTo>
                  <a:pt x="7581" y="1338"/>
                </a:lnTo>
                <a:lnTo>
                  <a:pt x="7553" y="1335"/>
                </a:lnTo>
                <a:lnTo>
                  <a:pt x="7567" y="1328"/>
                </a:lnTo>
                <a:lnTo>
                  <a:pt x="7597" y="1329"/>
                </a:lnTo>
                <a:lnTo>
                  <a:pt x="7631" y="1335"/>
                </a:lnTo>
                <a:lnTo>
                  <a:pt x="7658" y="1343"/>
                </a:lnTo>
                <a:close/>
                <a:moveTo>
                  <a:pt x="7244" y="1308"/>
                </a:moveTo>
                <a:lnTo>
                  <a:pt x="7244" y="1306"/>
                </a:lnTo>
                <a:lnTo>
                  <a:pt x="7245" y="1305"/>
                </a:lnTo>
                <a:lnTo>
                  <a:pt x="7247" y="1305"/>
                </a:lnTo>
                <a:lnTo>
                  <a:pt x="7248" y="1305"/>
                </a:lnTo>
                <a:lnTo>
                  <a:pt x="7248" y="1307"/>
                </a:lnTo>
                <a:lnTo>
                  <a:pt x="7248" y="1310"/>
                </a:lnTo>
                <a:lnTo>
                  <a:pt x="7245" y="1310"/>
                </a:lnTo>
                <a:lnTo>
                  <a:pt x="7244" y="1308"/>
                </a:lnTo>
                <a:close/>
                <a:moveTo>
                  <a:pt x="7245" y="1363"/>
                </a:moveTo>
                <a:lnTo>
                  <a:pt x="7247" y="1367"/>
                </a:lnTo>
                <a:lnTo>
                  <a:pt x="7247" y="1371"/>
                </a:lnTo>
                <a:lnTo>
                  <a:pt x="7244" y="1375"/>
                </a:lnTo>
                <a:lnTo>
                  <a:pt x="7240" y="1373"/>
                </a:lnTo>
                <a:lnTo>
                  <a:pt x="7238" y="1370"/>
                </a:lnTo>
                <a:lnTo>
                  <a:pt x="7238" y="1366"/>
                </a:lnTo>
                <a:lnTo>
                  <a:pt x="7240" y="1363"/>
                </a:lnTo>
                <a:lnTo>
                  <a:pt x="7245" y="1363"/>
                </a:lnTo>
                <a:close/>
                <a:moveTo>
                  <a:pt x="6744" y="1358"/>
                </a:moveTo>
                <a:lnTo>
                  <a:pt x="6763" y="1387"/>
                </a:lnTo>
                <a:lnTo>
                  <a:pt x="6741" y="1405"/>
                </a:lnTo>
                <a:lnTo>
                  <a:pt x="6719" y="1409"/>
                </a:lnTo>
                <a:lnTo>
                  <a:pt x="6733" y="1399"/>
                </a:lnTo>
                <a:lnTo>
                  <a:pt x="6740" y="1395"/>
                </a:lnTo>
                <a:lnTo>
                  <a:pt x="6737" y="1385"/>
                </a:lnTo>
                <a:lnTo>
                  <a:pt x="6736" y="1372"/>
                </a:lnTo>
                <a:lnTo>
                  <a:pt x="6744" y="1358"/>
                </a:lnTo>
                <a:close/>
                <a:moveTo>
                  <a:pt x="6345" y="1334"/>
                </a:moveTo>
                <a:lnTo>
                  <a:pt x="6346" y="1329"/>
                </a:lnTo>
                <a:lnTo>
                  <a:pt x="6349" y="1328"/>
                </a:lnTo>
                <a:lnTo>
                  <a:pt x="6351" y="1329"/>
                </a:lnTo>
                <a:lnTo>
                  <a:pt x="6353" y="1334"/>
                </a:lnTo>
                <a:lnTo>
                  <a:pt x="6350" y="1338"/>
                </a:lnTo>
                <a:lnTo>
                  <a:pt x="6347" y="1339"/>
                </a:lnTo>
                <a:lnTo>
                  <a:pt x="6345" y="1338"/>
                </a:lnTo>
                <a:lnTo>
                  <a:pt x="6345" y="1334"/>
                </a:lnTo>
                <a:close/>
                <a:moveTo>
                  <a:pt x="6230" y="1095"/>
                </a:moveTo>
                <a:lnTo>
                  <a:pt x="6232" y="1095"/>
                </a:lnTo>
                <a:lnTo>
                  <a:pt x="6230" y="1095"/>
                </a:lnTo>
                <a:lnTo>
                  <a:pt x="6232" y="1095"/>
                </a:lnTo>
                <a:lnTo>
                  <a:pt x="6230" y="1095"/>
                </a:lnTo>
                <a:close/>
                <a:moveTo>
                  <a:pt x="6235" y="1238"/>
                </a:moveTo>
                <a:lnTo>
                  <a:pt x="6239" y="1249"/>
                </a:lnTo>
                <a:lnTo>
                  <a:pt x="6233" y="1252"/>
                </a:lnTo>
                <a:lnTo>
                  <a:pt x="6223" y="1251"/>
                </a:lnTo>
                <a:lnTo>
                  <a:pt x="6214" y="1244"/>
                </a:lnTo>
                <a:lnTo>
                  <a:pt x="6219" y="1238"/>
                </a:lnTo>
                <a:lnTo>
                  <a:pt x="6224" y="1237"/>
                </a:lnTo>
                <a:lnTo>
                  <a:pt x="6229" y="1237"/>
                </a:lnTo>
                <a:lnTo>
                  <a:pt x="6235" y="1238"/>
                </a:lnTo>
                <a:close/>
                <a:moveTo>
                  <a:pt x="6155" y="1185"/>
                </a:moveTo>
                <a:lnTo>
                  <a:pt x="6156" y="1181"/>
                </a:lnTo>
                <a:lnTo>
                  <a:pt x="6158" y="1177"/>
                </a:lnTo>
                <a:lnTo>
                  <a:pt x="6160" y="1174"/>
                </a:lnTo>
                <a:lnTo>
                  <a:pt x="6163" y="1172"/>
                </a:lnTo>
                <a:lnTo>
                  <a:pt x="6167" y="1176"/>
                </a:lnTo>
                <a:lnTo>
                  <a:pt x="6164" y="1180"/>
                </a:lnTo>
                <a:lnTo>
                  <a:pt x="6160" y="1184"/>
                </a:lnTo>
                <a:lnTo>
                  <a:pt x="6155" y="1185"/>
                </a:lnTo>
                <a:close/>
                <a:moveTo>
                  <a:pt x="6056" y="1390"/>
                </a:moveTo>
                <a:lnTo>
                  <a:pt x="6056" y="1386"/>
                </a:lnTo>
                <a:lnTo>
                  <a:pt x="6056" y="1385"/>
                </a:lnTo>
                <a:lnTo>
                  <a:pt x="6057" y="1385"/>
                </a:lnTo>
                <a:lnTo>
                  <a:pt x="6060" y="1385"/>
                </a:lnTo>
                <a:lnTo>
                  <a:pt x="6060" y="1387"/>
                </a:lnTo>
                <a:lnTo>
                  <a:pt x="6060" y="1389"/>
                </a:lnTo>
                <a:lnTo>
                  <a:pt x="6058" y="1390"/>
                </a:lnTo>
                <a:lnTo>
                  <a:pt x="6056" y="1390"/>
                </a:lnTo>
                <a:close/>
                <a:moveTo>
                  <a:pt x="5422" y="1125"/>
                </a:moveTo>
                <a:lnTo>
                  <a:pt x="5424" y="1124"/>
                </a:lnTo>
                <a:lnTo>
                  <a:pt x="5425" y="1125"/>
                </a:lnTo>
                <a:lnTo>
                  <a:pt x="5427" y="1126"/>
                </a:lnTo>
                <a:lnTo>
                  <a:pt x="5427" y="1129"/>
                </a:lnTo>
                <a:lnTo>
                  <a:pt x="5424" y="1130"/>
                </a:lnTo>
                <a:lnTo>
                  <a:pt x="5423" y="1130"/>
                </a:lnTo>
                <a:lnTo>
                  <a:pt x="5422" y="1128"/>
                </a:lnTo>
                <a:lnTo>
                  <a:pt x="5422" y="1125"/>
                </a:lnTo>
                <a:close/>
                <a:moveTo>
                  <a:pt x="5423" y="1162"/>
                </a:moveTo>
                <a:lnTo>
                  <a:pt x="5429" y="1190"/>
                </a:lnTo>
                <a:lnTo>
                  <a:pt x="5433" y="1228"/>
                </a:lnTo>
                <a:lnTo>
                  <a:pt x="5431" y="1259"/>
                </a:lnTo>
                <a:lnTo>
                  <a:pt x="5414" y="1264"/>
                </a:lnTo>
                <a:lnTo>
                  <a:pt x="5411" y="1233"/>
                </a:lnTo>
                <a:lnTo>
                  <a:pt x="5403" y="1196"/>
                </a:lnTo>
                <a:lnTo>
                  <a:pt x="5401" y="1167"/>
                </a:lnTo>
                <a:lnTo>
                  <a:pt x="5423" y="1162"/>
                </a:lnTo>
                <a:close/>
                <a:moveTo>
                  <a:pt x="4921" y="1722"/>
                </a:moveTo>
                <a:lnTo>
                  <a:pt x="4929" y="1739"/>
                </a:lnTo>
                <a:lnTo>
                  <a:pt x="4933" y="1743"/>
                </a:lnTo>
                <a:lnTo>
                  <a:pt x="4929" y="1739"/>
                </a:lnTo>
                <a:lnTo>
                  <a:pt x="4917" y="1731"/>
                </a:lnTo>
                <a:lnTo>
                  <a:pt x="4897" y="1732"/>
                </a:lnTo>
                <a:lnTo>
                  <a:pt x="4893" y="1731"/>
                </a:lnTo>
                <a:lnTo>
                  <a:pt x="4902" y="1727"/>
                </a:lnTo>
                <a:lnTo>
                  <a:pt x="4921" y="1722"/>
                </a:lnTo>
                <a:close/>
                <a:moveTo>
                  <a:pt x="4659" y="1180"/>
                </a:moveTo>
                <a:lnTo>
                  <a:pt x="4660" y="1179"/>
                </a:lnTo>
                <a:lnTo>
                  <a:pt x="4660" y="1180"/>
                </a:lnTo>
                <a:lnTo>
                  <a:pt x="4660" y="1180"/>
                </a:lnTo>
                <a:lnTo>
                  <a:pt x="4660" y="1180"/>
                </a:lnTo>
                <a:lnTo>
                  <a:pt x="4659" y="1180"/>
                </a:lnTo>
                <a:close/>
                <a:moveTo>
                  <a:pt x="2810" y="877"/>
                </a:moveTo>
                <a:lnTo>
                  <a:pt x="2812" y="867"/>
                </a:lnTo>
                <a:lnTo>
                  <a:pt x="2816" y="858"/>
                </a:lnTo>
                <a:lnTo>
                  <a:pt x="2821" y="855"/>
                </a:lnTo>
                <a:lnTo>
                  <a:pt x="2825" y="863"/>
                </a:lnTo>
                <a:lnTo>
                  <a:pt x="2824" y="871"/>
                </a:lnTo>
                <a:lnTo>
                  <a:pt x="2819" y="878"/>
                </a:lnTo>
                <a:lnTo>
                  <a:pt x="2814" y="882"/>
                </a:lnTo>
                <a:lnTo>
                  <a:pt x="2810" y="877"/>
                </a:lnTo>
                <a:close/>
                <a:moveTo>
                  <a:pt x="2361" y="5406"/>
                </a:moveTo>
                <a:lnTo>
                  <a:pt x="2367" y="5411"/>
                </a:lnTo>
                <a:lnTo>
                  <a:pt x="2369" y="5416"/>
                </a:lnTo>
                <a:lnTo>
                  <a:pt x="2368" y="5421"/>
                </a:lnTo>
                <a:lnTo>
                  <a:pt x="2361" y="5424"/>
                </a:lnTo>
                <a:lnTo>
                  <a:pt x="2356" y="5421"/>
                </a:lnTo>
                <a:lnTo>
                  <a:pt x="2354" y="5416"/>
                </a:lnTo>
                <a:lnTo>
                  <a:pt x="2356" y="5411"/>
                </a:lnTo>
                <a:lnTo>
                  <a:pt x="2361" y="5406"/>
                </a:lnTo>
                <a:close/>
                <a:moveTo>
                  <a:pt x="2353" y="531"/>
                </a:moveTo>
                <a:lnTo>
                  <a:pt x="2356" y="533"/>
                </a:lnTo>
                <a:lnTo>
                  <a:pt x="2355" y="536"/>
                </a:lnTo>
                <a:lnTo>
                  <a:pt x="2353" y="538"/>
                </a:lnTo>
                <a:lnTo>
                  <a:pt x="2349" y="537"/>
                </a:lnTo>
                <a:lnTo>
                  <a:pt x="2349" y="535"/>
                </a:lnTo>
                <a:lnTo>
                  <a:pt x="2349" y="532"/>
                </a:lnTo>
                <a:lnTo>
                  <a:pt x="2350" y="531"/>
                </a:lnTo>
                <a:lnTo>
                  <a:pt x="2353" y="531"/>
                </a:lnTo>
                <a:close/>
                <a:moveTo>
                  <a:pt x="2271" y="4257"/>
                </a:moveTo>
                <a:lnTo>
                  <a:pt x="2268" y="4265"/>
                </a:lnTo>
                <a:lnTo>
                  <a:pt x="2265" y="4271"/>
                </a:lnTo>
                <a:lnTo>
                  <a:pt x="2257" y="4272"/>
                </a:lnTo>
                <a:lnTo>
                  <a:pt x="2249" y="4268"/>
                </a:lnTo>
                <a:lnTo>
                  <a:pt x="2247" y="4251"/>
                </a:lnTo>
                <a:lnTo>
                  <a:pt x="2254" y="4239"/>
                </a:lnTo>
                <a:lnTo>
                  <a:pt x="2265" y="4237"/>
                </a:lnTo>
                <a:lnTo>
                  <a:pt x="2271" y="4257"/>
                </a:lnTo>
                <a:close/>
                <a:moveTo>
                  <a:pt x="1497" y="4393"/>
                </a:moveTo>
                <a:lnTo>
                  <a:pt x="1499" y="4395"/>
                </a:lnTo>
                <a:lnTo>
                  <a:pt x="1498" y="4395"/>
                </a:lnTo>
                <a:lnTo>
                  <a:pt x="1494" y="4394"/>
                </a:lnTo>
                <a:lnTo>
                  <a:pt x="1490" y="4393"/>
                </a:lnTo>
                <a:lnTo>
                  <a:pt x="1494" y="4393"/>
                </a:lnTo>
                <a:lnTo>
                  <a:pt x="1497" y="4393"/>
                </a:lnTo>
                <a:close/>
                <a:moveTo>
                  <a:pt x="1885" y="4211"/>
                </a:moveTo>
                <a:lnTo>
                  <a:pt x="1883" y="4213"/>
                </a:lnTo>
                <a:lnTo>
                  <a:pt x="1880" y="4215"/>
                </a:lnTo>
                <a:lnTo>
                  <a:pt x="1876" y="4216"/>
                </a:lnTo>
                <a:lnTo>
                  <a:pt x="1874" y="4216"/>
                </a:lnTo>
                <a:lnTo>
                  <a:pt x="1876" y="4213"/>
                </a:lnTo>
                <a:lnTo>
                  <a:pt x="1879" y="4212"/>
                </a:lnTo>
                <a:lnTo>
                  <a:pt x="1881" y="4211"/>
                </a:lnTo>
                <a:lnTo>
                  <a:pt x="1885" y="4211"/>
                </a:lnTo>
                <a:close/>
                <a:moveTo>
                  <a:pt x="1767" y="4222"/>
                </a:moveTo>
                <a:lnTo>
                  <a:pt x="1767" y="4221"/>
                </a:lnTo>
                <a:lnTo>
                  <a:pt x="1768" y="4221"/>
                </a:lnTo>
                <a:lnTo>
                  <a:pt x="1769" y="4221"/>
                </a:lnTo>
                <a:lnTo>
                  <a:pt x="1771" y="4222"/>
                </a:lnTo>
                <a:lnTo>
                  <a:pt x="1767" y="4222"/>
                </a:lnTo>
                <a:close/>
                <a:moveTo>
                  <a:pt x="1960" y="4206"/>
                </a:moveTo>
                <a:lnTo>
                  <a:pt x="1965" y="4218"/>
                </a:lnTo>
                <a:lnTo>
                  <a:pt x="1955" y="4226"/>
                </a:lnTo>
                <a:lnTo>
                  <a:pt x="1945" y="4225"/>
                </a:lnTo>
                <a:lnTo>
                  <a:pt x="1946" y="4212"/>
                </a:lnTo>
                <a:lnTo>
                  <a:pt x="1949" y="4209"/>
                </a:lnTo>
                <a:lnTo>
                  <a:pt x="1953" y="4207"/>
                </a:lnTo>
                <a:lnTo>
                  <a:pt x="1956" y="4206"/>
                </a:lnTo>
                <a:lnTo>
                  <a:pt x="1960" y="4206"/>
                </a:lnTo>
                <a:close/>
                <a:moveTo>
                  <a:pt x="1302" y="1811"/>
                </a:moveTo>
                <a:lnTo>
                  <a:pt x="1303" y="1814"/>
                </a:lnTo>
                <a:lnTo>
                  <a:pt x="1302" y="1811"/>
                </a:lnTo>
                <a:lnTo>
                  <a:pt x="1303" y="1813"/>
                </a:lnTo>
                <a:lnTo>
                  <a:pt x="1302" y="1811"/>
                </a:lnTo>
                <a:close/>
                <a:moveTo>
                  <a:pt x="1228" y="1788"/>
                </a:moveTo>
                <a:lnTo>
                  <a:pt x="1232" y="1788"/>
                </a:lnTo>
                <a:lnTo>
                  <a:pt x="1233" y="1792"/>
                </a:lnTo>
                <a:lnTo>
                  <a:pt x="1233" y="1797"/>
                </a:lnTo>
                <a:lnTo>
                  <a:pt x="1229" y="1797"/>
                </a:lnTo>
                <a:lnTo>
                  <a:pt x="1228" y="1793"/>
                </a:lnTo>
                <a:lnTo>
                  <a:pt x="1228" y="1788"/>
                </a:lnTo>
                <a:close/>
                <a:moveTo>
                  <a:pt x="701" y="3558"/>
                </a:moveTo>
                <a:lnTo>
                  <a:pt x="700" y="3565"/>
                </a:lnTo>
                <a:lnTo>
                  <a:pt x="694" y="3569"/>
                </a:lnTo>
                <a:lnTo>
                  <a:pt x="689" y="3569"/>
                </a:lnTo>
                <a:lnTo>
                  <a:pt x="685" y="3563"/>
                </a:lnTo>
                <a:lnTo>
                  <a:pt x="688" y="3558"/>
                </a:lnTo>
                <a:lnTo>
                  <a:pt x="692" y="3556"/>
                </a:lnTo>
                <a:lnTo>
                  <a:pt x="697" y="3555"/>
                </a:lnTo>
                <a:lnTo>
                  <a:pt x="701" y="3558"/>
                </a:lnTo>
                <a:close/>
                <a:moveTo>
                  <a:pt x="1970" y="4282"/>
                </a:moveTo>
                <a:lnTo>
                  <a:pt x="1970" y="4285"/>
                </a:lnTo>
                <a:lnTo>
                  <a:pt x="1970" y="4287"/>
                </a:lnTo>
                <a:lnTo>
                  <a:pt x="1969" y="4288"/>
                </a:lnTo>
                <a:lnTo>
                  <a:pt x="1967" y="4290"/>
                </a:lnTo>
                <a:lnTo>
                  <a:pt x="1968" y="4287"/>
                </a:lnTo>
                <a:lnTo>
                  <a:pt x="1968" y="4285"/>
                </a:lnTo>
                <a:lnTo>
                  <a:pt x="1969" y="4282"/>
                </a:lnTo>
                <a:lnTo>
                  <a:pt x="1970" y="4282"/>
                </a:lnTo>
                <a:close/>
                <a:moveTo>
                  <a:pt x="2898" y="5286"/>
                </a:moveTo>
                <a:lnTo>
                  <a:pt x="2878" y="5279"/>
                </a:lnTo>
                <a:lnTo>
                  <a:pt x="2871" y="5266"/>
                </a:lnTo>
                <a:lnTo>
                  <a:pt x="2876" y="5258"/>
                </a:lnTo>
                <a:lnTo>
                  <a:pt x="2895" y="5266"/>
                </a:lnTo>
                <a:lnTo>
                  <a:pt x="2919" y="5266"/>
                </a:lnTo>
                <a:lnTo>
                  <a:pt x="2910" y="5266"/>
                </a:lnTo>
                <a:lnTo>
                  <a:pt x="2895" y="5271"/>
                </a:lnTo>
                <a:lnTo>
                  <a:pt x="2898" y="5286"/>
                </a:lnTo>
                <a:close/>
                <a:moveTo>
                  <a:pt x="3128" y="4882"/>
                </a:moveTo>
                <a:lnTo>
                  <a:pt x="3137" y="4890"/>
                </a:lnTo>
                <a:lnTo>
                  <a:pt x="3131" y="4898"/>
                </a:lnTo>
                <a:lnTo>
                  <a:pt x="3118" y="4904"/>
                </a:lnTo>
                <a:lnTo>
                  <a:pt x="3106" y="4910"/>
                </a:lnTo>
                <a:lnTo>
                  <a:pt x="3104" y="4896"/>
                </a:lnTo>
                <a:lnTo>
                  <a:pt x="3106" y="4887"/>
                </a:lnTo>
                <a:lnTo>
                  <a:pt x="3114" y="4883"/>
                </a:lnTo>
                <a:lnTo>
                  <a:pt x="3128" y="4882"/>
                </a:lnTo>
                <a:close/>
                <a:moveTo>
                  <a:pt x="3951" y="5075"/>
                </a:moveTo>
                <a:lnTo>
                  <a:pt x="3949" y="5074"/>
                </a:lnTo>
                <a:lnTo>
                  <a:pt x="3951" y="5075"/>
                </a:lnTo>
                <a:lnTo>
                  <a:pt x="3949" y="5075"/>
                </a:lnTo>
                <a:lnTo>
                  <a:pt x="3951" y="5075"/>
                </a:lnTo>
                <a:close/>
                <a:moveTo>
                  <a:pt x="4040" y="5042"/>
                </a:moveTo>
                <a:lnTo>
                  <a:pt x="4040" y="5042"/>
                </a:lnTo>
                <a:lnTo>
                  <a:pt x="4040" y="5042"/>
                </a:lnTo>
                <a:lnTo>
                  <a:pt x="4040" y="5042"/>
                </a:lnTo>
                <a:lnTo>
                  <a:pt x="4040" y="5042"/>
                </a:lnTo>
                <a:close/>
                <a:moveTo>
                  <a:pt x="5088" y="5149"/>
                </a:moveTo>
                <a:lnTo>
                  <a:pt x="5065" y="5150"/>
                </a:lnTo>
                <a:lnTo>
                  <a:pt x="5069" y="5140"/>
                </a:lnTo>
                <a:lnTo>
                  <a:pt x="5087" y="5126"/>
                </a:lnTo>
                <a:lnTo>
                  <a:pt x="5108" y="5120"/>
                </a:lnTo>
                <a:lnTo>
                  <a:pt x="5113" y="5130"/>
                </a:lnTo>
                <a:lnTo>
                  <a:pt x="5106" y="5137"/>
                </a:lnTo>
                <a:lnTo>
                  <a:pt x="5094" y="5144"/>
                </a:lnTo>
                <a:lnTo>
                  <a:pt x="5088" y="5149"/>
                </a:lnTo>
                <a:close/>
                <a:moveTo>
                  <a:pt x="5135" y="5249"/>
                </a:moveTo>
                <a:lnTo>
                  <a:pt x="5130" y="5247"/>
                </a:lnTo>
                <a:lnTo>
                  <a:pt x="5133" y="5244"/>
                </a:lnTo>
                <a:lnTo>
                  <a:pt x="5134" y="5244"/>
                </a:lnTo>
                <a:lnTo>
                  <a:pt x="5135" y="5246"/>
                </a:lnTo>
                <a:lnTo>
                  <a:pt x="5135" y="5249"/>
                </a:lnTo>
                <a:close/>
                <a:moveTo>
                  <a:pt x="5525" y="5052"/>
                </a:moveTo>
                <a:lnTo>
                  <a:pt x="5516" y="5057"/>
                </a:lnTo>
                <a:lnTo>
                  <a:pt x="5513" y="5053"/>
                </a:lnTo>
                <a:lnTo>
                  <a:pt x="5517" y="5047"/>
                </a:lnTo>
                <a:lnTo>
                  <a:pt x="5525" y="5042"/>
                </a:lnTo>
                <a:lnTo>
                  <a:pt x="5529" y="5043"/>
                </a:lnTo>
                <a:lnTo>
                  <a:pt x="5530" y="5046"/>
                </a:lnTo>
                <a:lnTo>
                  <a:pt x="5529" y="5050"/>
                </a:lnTo>
                <a:lnTo>
                  <a:pt x="5525" y="5052"/>
                </a:lnTo>
                <a:close/>
                <a:moveTo>
                  <a:pt x="5541" y="4666"/>
                </a:moveTo>
                <a:lnTo>
                  <a:pt x="5539" y="4666"/>
                </a:lnTo>
                <a:lnTo>
                  <a:pt x="5536" y="4664"/>
                </a:lnTo>
                <a:lnTo>
                  <a:pt x="5532" y="4660"/>
                </a:lnTo>
                <a:lnTo>
                  <a:pt x="5530" y="4658"/>
                </a:lnTo>
                <a:lnTo>
                  <a:pt x="5536" y="4661"/>
                </a:lnTo>
                <a:lnTo>
                  <a:pt x="5541" y="4666"/>
                </a:lnTo>
                <a:close/>
                <a:moveTo>
                  <a:pt x="5563" y="5197"/>
                </a:moveTo>
                <a:lnTo>
                  <a:pt x="5560" y="5200"/>
                </a:lnTo>
                <a:lnTo>
                  <a:pt x="5557" y="5202"/>
                </a:lnTo>
                <a:lnTo>
                  <a:pt x="5559" y="5200"/>
                </a:lnTo>
                <a:lnTo>
                  <a:pt x="5563" y="5197"/>
                </a:lnTo>
                <a:close/>
                <a:moveTo>
                  <a:pt x="5743" y="4728"/>
                </a:moveTo>
                <a:lnTo>
                  <a:pt x="5741" y="4730"/>
                </a:lnTo>
                <a:lnTo>
                  <a:pt x="5743" y="4728"/>
                </a:lnTo>
                <a:lnTo>
                  <a:pt x="5743" y="4733"/>
                </a:lnTo>
                <a:lnTo>
                  <a:pt x="5743" y="4728"/>
                </a:lnTo>
                <a:close/>
                <a:moveTo>
                  <a:pt x="5850" y="5434"/>
                </a:moveTo>
                <a:lnTo>
                  <a:pt x="5843" y="5438"/>
                </a:lnTo>
                <a:lnTo>
                  <a:pt x="5838" y="5439"/>
                </a:lnTo>
                <a:lnTo>
                  <a:pt x="5833" y="5437"/>
                </a:lnTo>
                <a:lnTo>
                  <a:pt x="5829" y="5430"/>
                </a:lnTo>
                <a:lnTo>
                  <a:pt x="5836" y="5425"/>
                </a:lnTo>
                <a:lnTo>
                  <a:pt x="5841" y="5424"/>
                </a:lnTo>
                <a:lnTo>
                  <a:pt x="5846" y="5426"/>
                </a:lnTo>
                <a:lnTo>
                  <a:pt x="5850" y="5434"/>
                </a:lnTo>
                <a:close/>
                <a:moveTo>
                  <a:pt x="5899" y="4717"/>
                </a:moveTo>
                <a:lnTo>
                  <a:pt x="5853" y="4700"/>
                </a:lnTo>
                <a:lnTo>
                  <a:pt x="5783" y="4707"/>
                </a:lnTo>
                <a:lnTo>
                  <a:pt x="5732" y="4714"/>
                </a:lnTo>
                <a:lnTo>
                  <a:pt x="5748" y="4693"/>
                </a:lnTo>
                <a:lnTo>
                  <a:pt x="5713" y="4674"/>
                </a:lnTo>
                <a:lnTo>
                  <a:pt x="5818" y="4661"/>
                </a:lnTo>
                <a:lnTo>
                  <a:pt x="5923" y="4672"/>
                </a:lnTo>
                <a:lnTo>
                  <a:pt x="5899" y="4717"/>
                </a:lnTo>
                <a:close/>
                <a:moveTo>
                  <a:pt x="5906" y="5360"/>
                </a:moveTo>
                <a:lnTo>
                  <a:pt x="5921" y="5361"/>
                </a:lnTo>
                <a:lnTo>
                  <a:pt x="5922" y="5370"/>
                </a:lnTo>
                <a:lnTo>
                  <a:pt x="5914" y="5378"/>
                </a:lnTo>
                <a:lnTo>
                  <a:pt x="5904" y="5384"/>
                </a:lnTo>
                <a:lnTo>
                  <a:pt x="5888" y="5381"/>
                </a:lnTo>
                <a:lnTo>
                  <a:pt x="5881" y="5370"/>
                </a:lnTo>
                <a:lnTo>
                  <a:pt x="5888" y="5361"/>
                </a:lnTo>
                <a:lnTo>
                  <a:pt x="5906" y="5360"/>
                </a:lnTo>
                <a:close/>
                <a:moveTo>
                  <a:pt x="5879" y="4987"/>
                </a:moveTo>
                <a:lnTo>
                  <a:pt x="5881" y="4981"/>
                </a:lnTo>
                <a:lnTo>
                  <a:pt x="5886" y="4981"/>
                </a:lnTo>
                <a:lnTo>
                  <a:pt x="5890" y="4985"/>
                </a:lnTo>
                <a:lnTo>
                  <a:pt x="5890" y="4991"/>
                </a:lnTo>
                <a:lnTo>
                  <a:pt x="5886" y="4994"/>
                </a:lnTo>
                <a:lnTo>
                  <a:pt x="5883" y="4994"/>
                </a:lnTo>
                <a:lnTo>
                  <a:pt x="5880" y="4991"/>
                </a:lnTo>
                <a:lnTo>
                  <a:pt x="5879" y="4987"/>
                </a:lnTo>
                <a:close/>
                <a:moveTo>
                  <a:pt x="5881" y="5074"/>
                </a:moveTo>
                <a:lnTo>
                  <a:pt x="5884" y="5078"/>
                </a:lnTo>
                <a:lnTo>
                  <a:pt x="5884" y="5083"/>
                </a:lnTo>
                <a:lnTo>
                  <a:pt x="5880" y="5087"/>
                </a:lnTo>
                <a:lnTo>
                  <a:pt x="5875" y="5088"/>
                </a:lnTo>
                <a:lnTo>
                  <a:pt x="5875" y="5083"/>
                </a:lnTo>
                <a:lnTo>
                  <a:pt x="5875" y="5078"/>
                </a:lnTo>
                <a:lnTo>
                  <a:pt x="5876" y="5074"/>
                </a:lnTo>
                <a:lnTo>
                  <a:pt x="5881" y="5074"/>
                </a:lnTo>
                <a:close/>
                <a:moveTo>
                  <a:pt x="5987" y="4809"/>
                </a:moveTo>
                <a:lnTo>
                  <a:pt x="5976" y="4808"/>
                </a:lnTo>
                <a:lnTo>
                  <a:pt x="5964" y="4808"/>
                </a:lnTo>
                <a:lnTo>
                  <a:pt x="5957" y="4805"/>
                </a:lnTo>
                <a:lnTo>
                  <a:pt x="5960" y="4798"/>
                </a:lnTo>
                <a:lnTo>
                  <a:pt x="5967" y="4796"/>
                </a:lnTo>
                <a:lnTo>
                  <a:pt x="5974" y="4799"/>
                </a:lnTo>
                <a:lnTo>
                  <a:pt x="5981" y="4804"/>
                </a:lnTo>
                <a:lnTo>
                  <a:pt x="5987" y="4809"/>
                </a:lnTo>
                <a:close/>
                <a:moveTo>
                  <a:pt x="5949" y="4571"/>
                </a:moveTo>
                <a:lnTo>
                  <a:pt x="5960" y="4571"/>
                </a:lnTo>
                <a:lnTo>
                  <a:pt x="5976" y="4571"/>
                </a:lnTo>
                <a:lnTo>
                  <a:pt x="5990" y="4572"/>
                </a:lnTo>
                <a:lnTo>
                  <a:pt x="5993" y="4575"/>
                </a:lnTo>
                <a:lnTo>
                  <a:pt x="5982" y="4579"/>
                </a:lnTo>
                <a:lnTo>
                  <a:pt x="5971" y="4580"/>
                </a:lnTo>
                <a:lnTo>
                  <a:pt x="5959" y="4577"/>
                </a:lnTo>
                <a:lnTo>
                  <a:pt x="5949" y="4571"/>
                </a:lnTo>
                <a:close/>
                <a:moveTo>
                  <a:pt x="6102" y="5102"/>
                </a:moveTo>
                <a:lnTo>
                  <a:pt x="6102" y="5104"/>
                </a:lnTo>
                <a:lnTo>
                  <a:pt x="6100" y="5106"/>
                </a:lnTo>
                <a:lnTo>
                  <a:pt x="6099" y="5106"/>
                </a:lnTo>
                <a:lnTo>
                  <a:pt x="6097" y="5103"/>
                </a:lnTo>
                <a:lnTo>
                  <a:pt x="6102" y="5102"/>
                </a:lnTo>
                <a:close/>
                <a:moveTo>
                  <a:pt x="6182" y="4826"/>
                </a:moveTo>
                <a:lnTo>
                  <a:pt x="6176" y="4826"/>
                </a:lnTo>
                <a:lnTo>
                  <a:pt x="6169" y="4826"/>
                </a:lnTo>
                <a:lnTo>
                  <a:pt x="6172" y="4823"/>
                </a:lnTo>
                <a:lnTo>
                  <a:pt x="6176" y="4823"/>
                </a:lnTo>
                <a:lnTo>
                  <a:pt x="6178" y="4824"/>
                </a:lnTo>
                <a:lnTo>
                  <a:pt x="6182" y="4826"/>
                </a:lnTo>
                <a:close/>
                <a:moveTo>
                  <a:pt x="6163" y="4786"/>
                </a:moveTo>
                <a:lnTo>
                  <a:pt x="6187" y="4782"/>
                </a:lnTo>
                <a:lnTo>
                  <a:pt x="6202" y="4791"/>
                </a:lnTo>
                <a:lnTo>
                  <a:pt x="6207" y="4810"/>
                </a:lnTo>
                <a:lnTo>
                  <a:pt x="6201" y="4833"/>
                </a:lnTo>
                <a:lnTo>
                  <a:pt x="6187" y="4826"/>
                </a:lnTo>
                <a:lnTo>
                  <a:pt x="6179" y="4813"/>
                </a:lnTo>
                <a:lnTo>
                  <a:pt x="6173" y="4799"/>
                </a:lnTo>
                <a:lnTo>
                  <a:pt x="6163" y="4786"/>
                </a:lnTo>
                <a:close/>
                <a:moveTo>
                  <a:pt x="6228" y="4622"/>
                </a:moveTo>
                <a:lnTo>
                  <a:pt x="6226" y="4626"/>
                </a:lnTo>
                <a:lnTo>
                  <a:pt x="6224" y="4627"/>
                </a:lnTo>
                <a:lnTo>
                  <a:pt x="6221" y="4627"/>
                </a:lnTo>
                <a:lnTo>
                  <a:pt x="6219" y="4626"/>
                </a:lnTo>
                <a:lnTo>
                  <a:pt x="6220" y="4622"/>
                </a:lnTo>
                <a:lnTo>
                  <a:pt x="6221" y="4621"/>
                </a:lnTo>
                <a:lnTo>
                  <a:pt x="6224" y="4621"/>
                </a:lnTo>
                <a:lnTo>
                  <a:pt x="6228" y="4622"/>
                </a:lnTo>
                <a:close/>
                <a:moveTo>
                  <a:pt x="6400" y="4856"/>
                </a:moveTo>
                <a:lnTo>
                  <a:pt x="6363" y="4864"/>
                </a:lnTo>
                <a:lnTo>
                  <a:pt x="6346" y="4829"/>
                </a:lnTo>
                <a:lnTo>
                  <a:pt x="6358" y="4796"/>
                </a:lnTo>
                <a:lnTo>
                  <a:pt x="6406" y="4804"/>
                </a:lnTo>
                <a:lnTo>
                  <a:pt x="6407" y="4818"/>
                </a:lnTo>
                <a:lnTo>
                  <a:pt x="6400" y="4831"/>
                </a:lnTo>
                <a:lnTo>
                  <a:pt x="6393" y="4842"/>
                </a:lnTo>
                <a:lnTo>
                  <a:pt x="6400" y="4856"/>
                </a:lnTo>
                <a:close/>
                <a:moveTo>
                  <a:pt x="6609" y="5416"/>
                </a:moveTo>
                <a:lnTo>
                  <a:pt x="6605" y="5417"/>
                </a:lnTo>
                <a:lnTo>
                  <a:pt x="6603" y="5417"/>
                </a:lnTo>
                <a:lnTo>
                  <a:pt x="6603" y="5415"/>
                </a:lnTo>
                <a:lnTo>
                  <a:pt x="6603" y="5411"/>
                </a:lnTo>
                <a:lnTo>
                  <a:pt x="6609" y="5416"/>
                </a:lnTo>
                <a:close/>
                <a:moveTo>
                  <a:pt x="6577" y="5328"/>
                </a:moveTo>
                <a:lnTo>
                  <a:pt x="6555" y="5308"/>
                </a:lnTo>
                <a:lnTo>
                  <a:pt x="6567" y="5295"/>
                </a:lnTo>
                <a:lnTo>
                  <a:pt x="6575" y="5290"/>
                </a:lnTo>
                <a:lnTo>
                  <a:pt x="6545" y="5289"/>
                </a:lnTo>
                <a:lnTo>
                  <a:pt x="6561" y="5260"/>
                </a:lnTo>
                <a:lnTo>
                  <a:pt x="6601" y="5279"/>
                </a:lnTo>
                <a:lnTo>
                  <a:pt x="6620" y="5313"/>
                </a:lnTo>
                <a:lnTo>
                  <a:pt x="6577" y="5328"/>
                </a:lnTo>
                <a:close/>
                <a:moveTo>
                  <a:pt x="6810" y="5034"/>
                </a:moveTo>
                <a:lnTo>
                  <a:pt x="6807" y="5036"/>
                </a:lnTo>
                <a:lnTo>
                  <a:pt x="6803" y="5037"/>
                </a:lnTo>
                <a:lnTo>
                  <a:pt x="6800" y="5036"/>
                </a:lnTo>
                <a:lnTo>
                  <a:pt x="6796" y="5033"/>
                </a:lnTo>
                <a:lnTo>
                  <a:pt x="6800" y="5033"/>
                </a:lnTo>
                <a:lnTo>
                  <a:pt x="6803" y="5032"/>
                </a:lnTo>
                <a:lnTo>
                  <a:pt x="6807" y="5032"/>
                </a:lnTo>
                <a:lnTo>
                  <a:pt x="6810" y="5034"/>
                </a:lnTo>
                <a:close/>
                <a:moveTo>
                  <a:pt x="6772" y="4929"/>
                </a:moveTo>
                <a:lnTo>
                  <a:pt x="6786" y="4901"/>
                </a:lnTo>
                <a:lnTo>
                  <a:pt x="6807" y="4887"/>
                </a:lnTo>
                <a:lnTo>
                  <a:pt x="6829" y="4890"/>
                </a:lnTo>
                <a:lnTo>
                  <a:pt x="6842" y="4918"/>
                </a:lnTo>
                <a:lnTo>
                  <a:pt x="6833" y="4934"/>
                </a:lnTo>
                <a:lnTo>
                  <a:pt x="6815" y="4934"/>
                </a:lnTo>
                <a:lnTo>
                  <a:pt x="6793" y="4929"/>
                </a:lnTo>
                <a:lnTo>
                  <a:pt x="6772" y="4929"/>
                </a:lnTo>
                <a:close/>
                <a:moveTo>
                  <a:pt x="7324" y="5280"/>
                </a:moveTo>
                <a:lnTo>
                  <a:pt x="7323" y="5283"/>
                </a:lnTo>
                <a:lnTo>
                  <a:pt x="7322" y="5284"/>
                </a:lnTo>
                <a:lnTo>
                  <a:pt x="7320" y="5283"/>
                </a:lnTo>
                <a:lnTo>
                  <a:pt x="7319" y="5280"/>
                </a:lnTo>
                <a:lnTo>
                  <a:pt x="7324" y="5280"/>
                </a:lnTo>
                <a:close/>
                <a:moveTo>
                  <a:pt x="7314" y="5134"/>
                </a:moveTo>
                <a:lnTo>
                  <a:pt x="7305" y="5127"/>
                </a:lnTo>
                <a:lnTo>
                  <a:pt x="7312" y="5127"/>
                </a:lnTo>
                <a:lnTo>
                  <a:pt x="7326" y="5130"/>
                </a:lnTo>
                <a:lnTo>
                  <a:pt x="7337" y="5131"/>
                </a:lnTo>
                <a:lnTo>
                  <a:pt x="7326" y="5134"/>
                </a:lnTo>
                <a:lnTo>
                  <a:pt x="7314" y="5134"/>
                </a:lnTo>
                <a:close/>
                <a:moveTo>
                  <a:pt x="7364" y="5109"/>
                </a:moveTo>
                <a:lnTo>
                  <a:pt x="7370" y="5078"/>
                </a:lnTo>
                <a:lnTo>
                  <a:pt x="7383" y="5078"/>
                </a:lnTo>
                <a:lnTo>
                  <a:pt x="7394" y="5097"/>
                </a:lnTo>
                <a:lnTo>
                  <a:pt x="7398" y="5126"/>
                </a:lnTo>
                <a:lnTo>
                  <a:pt x="7384" y="5131"/>
                </a:lnTo>
                <a:lnTo>
                  <a:pt x="7383" y="5125"/>
                </a:lnTo>
                <a:lnTo>
                  <a:pt x="7380" y="5115"/>
                </a:lnTo>
                <a:lnTo>
                  <a:pt x="7364" y="5109"/>
                </a:lnTo>
                <a:close/>
                <a:moveTo>
                  <a:pt x="8759" y="5643"/>
                </a:moveTo>
                <a:lnTo>
                  <a:pt x="8744" y="5656"/>
                </a:lnTo>
                <a:lnTo>
                  <a:pt x="8726" y="5656"/>
                </a:lnTo>
                <a:lnTo>
                  <a:pt x="8712" y="5644"/>
                </a:lnTo>
                <a:lnTo>
                  <a:pt x="8702" y="5620"/>
                </a:lnTo>
                <a:lnTo>
                  <a:pt x="8719" y="5626"/>
                </a:lnTo>
                <a:lnTo>
                  <a:pt x="8734" y="5633"/>
                </a:lnTo>
                <a:lnTo>
                  <a:pt x="8747" y="5638"/>
                </a:lnTo>
                <a:lnTo>
                  <a:pt x="8759" y="5643"/>
                </a:lnTo>
                <a:close/>
                <a:moveTo>
                  <a:pt x="8861" y="5720"/>
                </a:moveTo>
                <a:lnTo>
                  <a:pt x="8856" y="5724"/>
                </a:lnTo>
                <a:lnTo>
                  <a:pt x="8852" y="5726"/>
                </a:lnTo>
                <a:lnTo>
                  <a:pt x="8850" y="5723"/>
                </a:lnTo>
                <a:lnTo>
                  <a:pt x="8847" y="5717"/>
                </a:lnTo>
                <a:lnTo>
                  <a:pt x="8851" y="5714"/>
                </a:lnTo>
                <a:lnTo>
                  <a:pt x="8855" y="5715"/>
                </a:lnTo>
                <a:lnTo>
                  <a:pt x="8858" y="5718"/>
                </a:lnTo>
                <a:lnTo>
                  <a:pt x="8861" y="5720"/>
                </a:lnTo>
                <a:close/>
                <a:moveTo>
                  <a:pt x="8887" y="5673"/>
                </a:moveTo>
                <a:lnTo>
                  <a:pt x="8887" y="5677"/>
                </a:lnTo>
                <a:lnTo>
                  <a:pt x="8884" y="5678"/>
                </a:lnTo>
                <a:lnTo>
                  <a:pt x="8882" y="5678"/>
                </a:lnTo>
                <a:lnTo>
                  <a:pt x="8879" y="5678"/>
                </a:lnTo>
                <a:lnTo>
                  <a:pt x="8879" y="5675"/>
                </a:lnTo>
                <a:lnTo>
                  <a:pt x="8882" y="5672"/>
                </a:lnTo>
                <a:lnTo>
                  <a:pt x="8883" y="5672"/>
                </a:lnTo>
                <a:lnTo>
                  <a:pt x="8887" y="5673"/>
                </a:lnTo>
                <a:close/>
                <a:moveTo>
                  <a:pt x="9026" y="5708"/>
                </a:moveTo>
                <a:lnTo>
                  <a:pt x="9051" y="5700"/>
                </a:lnTo>
                <a:lnTo>
                  <a:pt x="9071" y="5700"/>
                </a:lnTo>
                <a:lnTo>
                  <a:pt x="9091" y="5708"/>
                </a:lnTo>
                <a:lnTo>
                  <a:pt x="9110" y="5720"/>
                </a:lnTo>
                <a:lnTo>
                  <a:pt x="9088" y="5723"/>
                </a:lnTo>
                <a:lnTo>
                  <a:pt x="9068" y="5722"/>
                </a:lnTo>
                <a:lnTo>
                  <a:pt x="9047" y="5717"/>
                </a:lnTo>
                <a:lnTo>
                  <a:pt x="9026" y="5708"/>
                </a:lnTo>
                <a:close/>
                <a:moveTo>
                  <a:pt x="9116" y="5766"/>
                </a:moveTo>
                <a:lnTo>
                  <a:pt x="9098" y="5788"/>
                </a:lnTo>
                <a:lnTo>
                  <a:pt x="9068" y="5783"/>
                </a:lnTo>
                <a:lnTo>
                  <a:pt x="9033" y="5764"/>
                </a:lnTo>
                <a:lnTo>
                  <a:pt x="9003" y="5745"/>
                </a:lnTo>
                <a:lnTo>
                  <a:pt x="9036" y="5747"/>
                </a:lnTo>
                <a:lnTo>
                  <a:pt x="9065" y="5752"/>
                </a:lnTo>
                <a:lnTo>
                  <a:pt x="9092" y="5757"/>
                </a:lnTo>
                <a:lnTo>
                  <a:pt x="9116" y="5766"/>
                </a:lnTo>
                <a:close/>
                <a:moveTo>
                  <a:pt x="9277" y="5706"/>
                </a:moveTo>
                <a:lnTo>
                  <a:pt x="9260" y="5704"/>
                </a:lnTo>
                <a:lnTo>
                  <a:pt x="9242" y="5701"/>
                </a:lnTo>
                <a:lnTo>
                  <a:pt x="9260" y="5704"/>
                </a:lnTo>
                <a:lnTo>
                  <a:pt x="9277" y="5706"/>
                </a:lnTo>
                <a:close/>
                <a:moveTo>
                  <a:pt x="9349" y="5713"/>
                </a:moveTo>
                <a:lnTo>
                  <a:pt x="9347" y="5715"/>
                </a:lnTo>
                <a:lnTo>
                  <a:pt x="9344" y="5717"/>
                </a:lnTo>
                <a:lnTo>
                  <a:pt x="9340" y="5715"/>
                </a:lnTo>
                <a:lnTo>
                  <a:pt x="9336" y="5714"/>
                </a:lnTo>
                <a:lnTo>
                  <a:pt x="9339" y="5710"/>
                </a:lnTo>
                <a:lnTo>
                  <a:pt x="9343" y="5710"/>
                </a:lnTo>
                <a:lnTo>
                  <a:pt x="9345" y="5712"/>
                </a:lnTo>
                <a:lnTo>
                  <a:pt x="9349" y="5713"/>
                </a:lnTo>
                <a:close/>
                <a:moveTo>
                  <a:pt x="9265" y="5675"/>
                </a:moveTo>
                <a:lnTo>
                  <a:pt x="9100" y="5661"/>
                </a:lnTo>
                <a:lnTo>
                  <a:pt x="8902" y="5627"/>
                </a:lnTo>
                <a:lnTo>
                  <a:pt x="8705" y="5580"/>
                </a:lnTo>
                <a:lnTo>
                  <a:pt x="8537" y="5522"/>
                </a:lnTo>
                <a:lnTo>
                  <a:pt x="8553" y="5526"/>
                </a:lnTo>
                <a:lnTo>
                  <a:pt x="8570" y="5523"/>
                </a:lnTo>
                <a:lnTo>
                  <a:pt x="8579" y="5517"/>
                </a:lnTo>
                <a:lnTo>
                  <a:pt x="8575" y="5504"/>
                </a:lnTo>
                <a:lnTo>
                  <a:pt x="8561" y="5498"/>
                </a:lnTo>
                <a:lnTo>
                  <a:pt x="8548" y="5494"/>
                </a:lnTo>
                <a:lnTo>
                  <a:pt x="8535" y="5494"/>
                </a:lnTo>
                <a:lnTo>
                  <a:pt x="8523" y="5501"/>
                </a:lnTo>
                <a:lnTo>
                  <a:pt x="8521" y="5507"/>
                </a:lnTo>
                <a:lnTo>
                  <a:pt x="8521" y="5512"/>
                </a:lnTo>
                <a:lnTo>
                  <a:pt x="8524" y="5515"/>
                </a:lnTo>
                <a:lnTo>
                  <a:pt x="8529" y="5518"/>
                </a:lnTo>
                <a:lnTo>
                  <a:pt x="8487" y="5498"/>
                </a:lnTo>
                <a:lnTo>
                  <a:pt x="8451" y="5476"/>
                </a:lnTo>
                <a:lnTo>
                  <a:pt x="8426" y="5454"/>
                </a:lnTo>
                <a:lnTo>
                  <a:pt x="8408" y="5431"/>
                </a:lnTo>
                <a:lnTo>
                  <a:pt x="8617" y="5448"/>
                </a:lnTo>
                <a:lnTo>
                  <a:pt x="9000" y="5542"/>
                </a:lnTo>
                <a:lnTo>
                  <a:pt x="9302" y="5641"/>
                </a:lnTo>
                <a:lnTo>
                  <a:pt x="9265" y="5675"/>
                </a:lnTo>
                <a:close/>
                <a:moveTo>
                  <a:pt x="9582" y="5508"/>
                </a:moveTo>
                <a:lnTo>
                  <a:pt x="9586" y="5507"/>
                </a:lnTo>
                <a:lnTo>
                  <a:pt x="9587" y="5509"/>
                </a:lnTo>
                <a:lnTo>
                  <a:pt x="9587" y="5512"/>
                </a:lnTo>
                <a:lnTo>
                  <a:pt x="9583" y="5513"/>
                </a:lnTo>
                <a:lnTo>
                  <a:pt x="9582" y="5510"/>
                </a:lnTo>
                <a:lnTo>
                  <a:pt x="9582" y="5508"/>
                </a:lnTo>
                <a:close/>
                <a:moveTo>
                  <a:pt x="9599" y="5685"/>
                </a:moveTo>
                <a:lnTo>
                  <a:pt x="9597" y="5713"/>
                </a:lnTo>
                <a:lnTo>
                  <a:pt x="9609" y="5718"/>
                </a:lnTo>
                <a:lnTo>
                  <a:pt x="9628" y="5714"/>
                </a:lnTo>
                <a:lnTo>
                  <a:pt x="9651" y="5712"/>
                </a:lnTo>
                <a:lnTo>
                  <a:pt x="9615" y="5734"/>
                </a:lnTo>
                <a:lnTo>
                  <a:pt x="9571" y="5738"/>
                </a:lnTo>
                <a:lnTo>
                  <a:pt x="9522" y="5728"/>
                </a:lnTo>
                <a:lnTo>
                  <a:pt x="9479" y="5709"/>
                </a:lnTo>
                <a:lnTo>
                  <a:pt x="9522" y="5699"/>
                </a:lnTo>
                <a:lnTo>
                  <a:pt x="9527" y="5664"/>
                </a:lnTo>
                <a:lnTo>
                  <a:pt x="9539" y="5647"/>
                </a:lnTo>
                <a:lnTo>
                  <a:pt x="9599" y="5685"/>
                </a:lnTo>
                <a:close/>
                <a:moveTo>
                  <a:pt x="10419" y="4528"/>
                </a:moveTo>
                <a:lnTo>
                  <a:pt x="10405" y="4534"/>
                </a:lnTo>
                <a:lnTo>
                  <a:pt x="10390" y="4534"/>
                </a:lnTo>
                <a:lnTo>
                  <a:pt x="10376" y="4529"/>
                </a:lnTo>
                <a:lnTo>
                  <a:pt x="10363" y="4518"/>
                </a:lnTo>
                <a:lnTo>
                  <a:pt x="10377" y="4498"/>
                </a:lnTo>
                <a:lnTo>
                  <a:pt x="10409" y="4500"/>
                </a:lnTo>
                <a:lnTo>
                  <a:pt x="10432" y="4512"/>
                </a:lnTo>
                <a:lnTo>
                  <a:pt x="10419" y="4528"/>
                </a:lnTo>
                <a:close/>
                <a:moveTo>
                  <a:pt x="10420" y="4720"/>
                </a:moveTo>
                <a:lnTo>
                  <a:pt x="10416" y="4719"/>
                </a:lnTo>
                <a:lnTo>
                  <a:pt x="10418" y="4717"/>
                </a:lnTo>
                <a:lnTo>
                  <a:pt x="10420" y="4716"/>
                </a:lnTo>
                <a:lnTo>
                  <a:pt x="10420" y="4717"/>
                </a:lnTo>
                <a:lnTo>
                  <a:pt x="10420" y="4720"/>
                </a:lnTo>
                <a:close/>
                <a:moveTo>
                  <a:pt x="10407" y="4567"/>
                </a:moveTo>
                <a:lnTo>
                  <a:pt x="10412" y="4570"/>
                </a:lnTo>
                <a:lnTo>
                  <a:pt x="10407" y="4567"/>
                </a:lnTo>
                <a:lnTo>
                  <a:pt x="10414" y="4563"/>
                </a:lnTo>
                <a:lnTo>
                  <a:pt x="10407" y="4567"/>
                </a:lnTo>
                <a:close/>
                <a:moveTo>
                  <a:pt x="10602" y="4649"/>
                </a:moveTo>
                <a:lnTo>
                  <a:pt x="10600" y="4659"/>
                </a:lnTo>
                <a:lnTo>
                  <a:pt x="10588" y="4659"/>
                </a:lnTo>
                <a:lnTo>
                  <a:pt x="10573" y="4656"/>
                </a:lnTo>
                <a:lnTo>
                  <a:pt x="10560" y="4654"/>
                </a:lnTo>
                <a:lnTo>
                  <a:pt x="10568" y="4644"/>
                </a:lnTo>
                <a:lnTo>
                  <a:pt x="10578" y="4641"/>
                </a:lnTo>
                <a:lnTo>
                  <a:pt x="10590" y="4644"/>
                </a:lnTo>
                <a:lnTo>
                  <a:pt x="10602" y="4649"/>
                </a:lnTo>
                <a:close/>
                <a:moveTo>
                  <a:pt x="10596" y="4568"/>
                </a:moveTo>
                <a:lnTo>
                  <a:pt x="10593" y="4576"/>
                </a:lnTo>
                <a:lnTo>
                  <a:pt x="10588" y="4584"/>
                </a:lnTo>
                <a:lnTo>
                  <a:pt x="10582" y="4585"/>
                </a:lnTo>
                <a:lnTo>
                  <a:pt x="10575" y="4580"/>
                </a:lnTo>
                <a:lnTo>
                  <a:pt x="10606" y="4542"/>
                </a:lnTo>
                <a:lnTo>
                  <a:pt x="10586" y="4515"/>
                </a:lnTo>
                <a:lnTo>
                  <a:pt x="10558" y="4486"/>
                </a:lnTo>
                <a:lnTo>
                  <a:pt x="10564" y="4441"/>
                </a:lnTo>
                <a:lnTo>
                  <a:pt x="10596" y="4477"/>
                </a:lnTo>
                <a:lnTo>
                  <a:pt x="10626" y="4540"/>
                </a:lnTo>
                <a:lnTo>
                  <a:pt x="10633" y="4585"/>
                </a:lnTo>
                <a:lnTo>
                  <a:pt x="10596" y="4568"/>
                </a:lnTo>
                <a:close/>
                <a:moveTo>
                  <a:pt x="10713" y="4686"/>
                </a:moveTo>
                <a:lnTo>
                  <a:pt x="10708" y="4697"/>
                </a:lnTo>
                <a:lnTo>
                  <a:pt x="10704" y="4702"/>
                </a:lnTo>
                <a:lnTo>
                  <a:pt x="10698" y="4702"/>
                </a:lnTo>
                <a:lnTo>
                  <a:pt x="10688" y="4697"/>
                </a:lnTo>
                <a:lnTo>
                  <a:pt x="10694" y="4692"/>
                </a:lnTo>
                <a:lnTo>
                  <a:pt x="10700" y="4688"/>
                </a:lnTo>
                <a:lnTo>
                  <a:pt x="10707" y="4686"/>
                </a:lnTo>
                <a:lnTo>
                  <a:pt x="10713" y="4686"/>
                </a:lnTo>
                <a:close/>
                <a:moveTo>
                  <a:pt x="10679" y="4574"/>
                </a:moveTo>
                <a:lnTo>
                  <a:pt x="10707" y="4599"/>
                </a:lnTo>
                <a:lnTo>
                  <a:pt x="10693" y="4609"/>
                </a:lnTo>
                <a:lnTo>
                  <a:pt x="10666" y="4598"/>
                </a:lnTo>
                <a:lnTo>
                  <a:pt x="10657" y="4556"/>
                </a:lnTo>
                <a:lnTo>
                  <a:pt x="10682" y="4554"/>
                </a:lnTo>
                <a:lnTo>
                  <a:pt x="10705" y="4556"/>
                </a:lnTo>
                <a:lnTo>
                  <a:pt x="10709" y="4562"/>
                </a:lnTo>
                <a:lnTo>
                  <a:pt x="10679" y="4574"/>
                </a:lnTo>
                <a:close/>
                <a:moveTo>
                  <a:pt x="11343" y="4445"/>
                </a:moveTo>
                <a:lnTo>
                  <a:pt x="11343" y="4448"/>
                </a:lnTo>
                <a:lnTo>
                  <a:pt x="11343" y="4445"/>
                </a:lnTo>
                <a:lnTo>
                  <a:pt x="11343" y="4449"/>
                </a:lnTo>
                <a:lnTo>
                  <a:pt x="11343" y="4445"/>
                </a:lnTo>
                <a:close/>
                <a:moveTo>
                  <a:pt x="11393" y="4152"/>
                </a:moveTo>
                <a:lnTo>
                  <a:pt x="11394" y="4151"/>
                </a:lnTo>
                <a:lnTo>
                  <a:pt x="11393" y="4156"/>
                </a:lnTo>
                <a:lnTo>
                  <a:pt x="11393" y="4153"/>
                </a:lnTo>
                <a:lnTo>
                  <a:pt x="11393" y="4152"/>
                </a:lnTo>
                <a:close/>
                <a:moveTo>
                  <a:pt x="11402" y="4199"/>
                </a:moveTo>
                <a:lnTo>
                  <a:pt x="11405" y="4202"/>
                </a:lnTo>
                <a:lnTo>
                  <a:pt x="11405" y="4204"/>
                </a:lnTo>
                <a:lnTo>
                  <a:pt x="11402" y="4206"/>
                </a:lnTo>
                <a:lnTo>
                  <a:pt x="11399" y="4204"/>
                </a:lnTo>
                <a:lnTo>
                  <a:pt x="11401" y="4202"/>
                </a:lnTo>
                <a:lnTo>
                  <a:pt x="11402" y="4199"/>
                </a:lnTo>
                <a:close/>
                <a:moveTo>
                  <a:pt x="10821" y="5129"/>
                </a:moveTo>
                <a:lnTo>
                  <a:pt x="10825" y="5134"/>
                </a:lnTo>
                <a:lnTo>
                  <a:pt x="10824" y="5136"/>
                </a:lnTo>
                <a:lnTo>
                  <a:pt x="10820" y="5135"/>
                </a:lnTo>
                <a:lnTo>
                  <a:pt x="10817" y="5127"/>
                </a:lnTo>
                <a:lnTo>
                  <a:pt x="10820" y="5127"/>
                </a:lnTo>
                <a:lnTo>
                  <a:pt x="10821" y="5129"/>
                </a:lnTo>
                <a:close/>
                <a:moveTo>
                  <a:pt x="10504" y="5528"/>
                </a:moveTo>
                <a:lnTo>
                  <a:pt x="10503" y="5529"/>
                </a:lnTo>
                <a:lnTo>
                  <a:pt x="10502" y="5531"/>
                </a:lnTo>
                <a:lnTo>
                  <a:pt x="10500" y="5529"/>
                </a:lnTo>
                <a:lnTo>
                  <a:pt x="10499" y="5528"/>
                </a:lnTo>
                <a:lnTo>
                  <a:pt x="10504" y="5528"/>
                </a:lnTo>
                <a:close/>
                <a:moveTo>
                  <a:pt x="10066" y="6264"/>
                </a:moveTo>
                <a:lnTo>
                  <a:pt x="10071" y="6269"/>
                </a:lnTo>
                <a:lnTo>
                  <a:pt x="10066" y="6269"/>
                </a:lnTo>
                <a:lnTo>
                  <a:pt x="10058" y="6269"/>
                </a:lnTo>
                <a:lnTo>
                  <a:pt x="10051" y="6268"/>
                </a:lnTo>
                <a:lnTo>
                  <a:pt x="10056" y="6265"/>
                </a:lnTo>
                <a:lnTo>
                  <a:pt x="10058" y="6264"/>
                </a:lnTo>
                <a:lnTo>
                  <a:pt x="10062" y="6264"/>
                </a:lnTo>
                <a:lnTo>
                  <a:pt x="10066" y="6264"/>
                </a:lnTo>
                <a:close/>
                <a:moveTo>
                  <a:pt x="10053" y="5888"/>
                </a:moveTo>
                <a:lnTo>
                  <a:pt x="10056" y="5888"/>
                </a:lnTo>
                <a:lnTo>
                  <a:pt x="10057" y="5890"/>
                </a:lnTo>
                <a:lnTo>
                  <a:pt x="10058" y="5891"/>
                </a:lnTo>
                <a:lnTo>
                  <a:pt x="10057" y="5894"/>
                </a:lnTo>
                <a:lnTo>
                  <a:pt x="10055" y="5894"/>
                </a:lnTo>
                <a:lnTo>
                  <a:pt x="10053" y="5892"/>
                </a:lnTo>
                <a:lnTo>
                  <a:pt x="10052" y="5891"/>
                </a:lnTo>
                <a:lnTo>
                  <a:pt x="10053" y="5888"/>
                </a:lnTo>
                <a:close/>
                <a:moveTo>
                  <a:pt x="10074" y="6236"/>
                </a:moveTo>
                <a:lnTo>
                  <a:pt x="10076" y="6238"/>
                </a:lnTo>
                <a:lnTo>
                  <a:pt x="10076" y="6241"/>
                </a:lnTo>
                <a:lnTo>
                  <a:pt x="10075" y="6242"/>
                </a:lnTo>
                <a:lnTo>
                  <a:pt x="10072" y="6244"/>
                </a:lnTo>
                <a:lnTo>
                  <a:pt x="10070" y="6241"/>
                </a:lnTo>
                <a:lnTo>
                  <a:pt x="10069" y="6238"/>
                </a:lnTo>
                <a:lnTo>
                  <a:pt x="10069" y="6236"/>
                </a:lnTo>
                <a:lnTo>
                  <a:pt x="10074" y="6236"/>
                </a:lnTo>
                <a:close/>
                <a:moveTo>
                  <a:pt x="10167" y="6232"/>
                </a:moveTo>
                <a:lnTo>
                  <a:pt x="10148" y="6228"/>
                </a:lnTo>
                <a:lnTo>
                  <a:pt x="10127" y="6224"/>
                </a:lnTo>
                <a:lnTo>
                  <a:pt x="10106" y="6221"/>
                </a:lnTo>
                <a:lnTo>
                  <a:pt x="10083" y="6217"/>
                </a:lnTo>
                <a:lnTo>
                  <a:pt x="10112" y="6214"/>
                </a:lnTo>
                <a:lnTo>
                  <a:pt x="10130" y="6214"/>
                </a:lnTo>
                <a:lnTo>
                  <a:pt x="10146" y="6221"/>
                </a:lnTo>
                <a:lnTo>
                  <a:pt x="10167" y="6232"/>
                </a:lnTo>
                <a:close/>
                <a:moveTo>
                  <a:pt x="10176" y="6238"/>
                </a:moveTo>
                <a:lnTo>
                  <a:pt x="10174" y="6237"/>
                </a:lnTo>
                <a:lnTo>
                  <a:pt x="10176" y="6238"/>
                </a:lnTo>
                <a:lnTo>
                  <a:pt x="10173" y="6237"/>
                </a:lnTo>
                <a:lnTo>
                  <a:pt x="10176" y="6238"/>
                </a:lnTo>
                <a:close/>
                <a:moveTo>
                  <a:pt x="10233" y="6162"/>
                </a:moveTo>
                <a:lnTo>
                  <a:pt x="10275" y="6146"/>
                </a:lnTo>
                <a:lnTo>
                  <a:pt x="10320" y="6152"/>
                </a:lnTo>
                <a:lnTo>
                  <a:pt x="10360" y="6174"/>
                </a:lnTo>
                <a:lnTo>
                  <a:pt x="10392" y="6204"/>
                </a:lnTo>
                <a:lnTo>
                  <a:pt x="10355" y="6208"/>
                </a:lnTo>
                <a:lnTo>
                  <a:pt x="10295" y="6193"/>
                </a:lnTo>
                <a:lnTo>
                  <a:pt x="10244" y="6174"/>
                </a:lnTo>
                <a:lnTo>
                  <a:pt x="10233" y="6162"/>
                </a:lnTo>
                <a:close/>
                <a:moveTo>
                  <a:pt x="10388" y="6037"/>
                </a:moveTo>
                <a:lnTo>
                  <a:pt x="10358" y="6035"/>
                </a:lnTo>
                <a:lnTo>
                  <a:pt x="10331" y="6028"/>
                </a:lnTo>
                <a:lnTo>
                  <a:pt x="10308" y="6018"/>
                </a:lnTo>
                <a:lnTo>
                  <a:pt x="10286" y="6008"/>
                </a:lnTo>
                <a:lnTo>
                  <a:pt x="10312" y="6009"/>
                </a:lnTo>
                <a:lnTo>
                  <a:pt x="10336" y="6013"/>
                </a:lnTo>
                <a:lnTo>
                  <a:pt x="10362" y="6022"/>
                </a:lnTo>
                <a:lnTo>
                  <a:pt x="10388" y="6037"/>
                </a:lnTo>
                <a:close/>
                <a:moveTo>
                  <a:pt x="10444" y="6128"/>
                </a:moveTo>
                <a:lnTo>
                  <a:pt x="10442" y="6129"/>
                </a:lnTo>
                <a:lnTo>
                  <a:pt x="10441" y="6129"/>
                </a:lnTo>
                <a:lnTo>
                  <a:pt x="10439" y="6128"/>
                </a:lnTo>
                <a:lnTo>
                  <a:pt x="10439" y="6125"/>
                </a:lnTo>
                <a:lnTo>
                  <a:pt x="10444" y="6128"/>
                </a:lnTo>
                <a:close/>
                <a:moveTo>
                  <a:pt x="10447" y="6053"/>
                </a:moveTo>
                <a:lnTo>
                  <a:pt x="10451" y="6055"/>
                </a:lnTo>
                <a:lnTo>
                  <a:pt x="10451" y="6058"/>
                </a:lnTo>
                <a:lnTo>
                  <a:pt x="10448" y="6059"/>
                </a:lnTo>
                <a:lnTo>
                  <a:pt x="10443" y="6060"/>
                </a:lnTo>
                <a:lnTo>
                  <a:pt x="10442" y="6058"/>
                </a:lnTo>
                <a:lnTo>
                  <a:pt x="10442" y="6055"/>
                </a:lnTo>
                <a:lnTo>
                  <a:pt x="10443" y="6054"/>
                </a:lnTo>
                <a:lnTo>
                  <a:pt x="10447" y="6053"/>
                </a:lnTo>
                <a:close/>
                <a:moveTo>
                  <a:pt x="7983" y="6421"/>
                </a:moveTo>
                <a:lnTo>
                  <a:pt x="7983" y="6419"/>
                </a:lnTo>
                <a:lnTo>
                  <a:pt x="7986" y="6424"/>
                </a:lnTo>
                <a:lnTo>
                  <a:pt x="7984" y="6422"/>
                </a:lnTo>
                <a:lnTo>
                  <a:pt x="7983" y="6421"/>
                </a:lnTo>
                <a:close/>
                <a:moveTo>
                  <a:pt x="7965" y="6414"/>
                </a:moveTo>
                <a:lnTo>
                  <a:pt x="7961" y="6412"/>
                </a:lnTo>
                <a:lnTo>
                  <a:pt x="7957" y="6408"/>
                </a:lnTo>
                <a:lnTo>
                  <a:pt x="7957" y="6404"/>
                </a:lnTo>
                <a:lnTo>
                  <a:pt x="7961" y="6401"/>
                </a:lnTo>
                <a:lnTo>
                  <a:pt x="7971" y="6404"/>
                </a:lnTo>
                <a:lnTo>
                  <a:pt x="7976" y="6410"/>
                </a:lnTo>
                <a:lnTo>
                  <a:pt x="7975" y="6414"/>
                </a:lnTo>
                <a:lnTo>
                  <a:pt x="7965" y="6414"/>
                </a:lnTo>
                <a:close/>
                <a:moveTo>
                  <a:pt x="7947" y="6317"/>
                </a:moveTo>
                <a:lnTo>
                  <a:pt x="7939" y="6316"/>
                </a:lnTo>
                <a:lnTo>
                  <a:pt x="7937" y="6309"/>
                </a:lnTo>
                <a:lnTo>
                  <a:pt x="7939" y="6298"/>
                </a:lnTo>
                <a:lnTo>
                  <a:pt x="7944" y="6291"/>
                </a:lnTo>
                <a:lnTo>
                  <a:pt x="7951" y="6295"/>
                </a:lnTo>
                <a:lnTo>
                  <a:pt x="7953" y="6302"/>
                </a:lnTo>
                <a:lnTo>
                  <a:pt x="7952" y="6310"/>
                </a:lnTo>
                <a:lnTo>
                  <a:pt x="7947" y="6317"/>
                </a:lnTo>
                <a:close/>
                <a:moveTo>
                  <a:pt x="7515" y="5832"/>
                </a:moveTo>
                <a:lnTo>
                  <a:pt x="7520" y="5831"/>
                </a:lnTo>
                <a:lnTo>
                  <a:pt x="7524" y="5830"/>
                </a:lnTo>
                <a:lnTo>
                  <a:pt x="7528" y="5830"/>
                </a:lnTo>
                <a:lnTo>
                  <a:pt x="7532" y="5832"/>
                </a:lnTo>
                <a:lnTo>
                  <a:pt x="7523" y="5832"/>
                </a:lnTo>
                <a:lnTo>
                  <a:pt x="7515" y="5832"/>
                </a:lnTo>
                <a:close/>
                <a:moveTo>
                  <a:pt x="7520" y="5868"/>
                </a:moveTo>
                <a:lnTo>
                  <a:pt x="7517" y="5871"/>
                </a:lnTo>
                <a:lnTo>
                  <a:pt x="7513" y="5869"/>
                </a:lnTo>
                <a:lnTo>
                  <a:pt x="7510" y="5867"/>
                </a:lnTo>
                <a:lnTo>
                  <a:pt x="7508" y="5863"/>
                </a:lnTo>
                <a:lnTo>
                  <a:pt x="7511" y="5860"/>
                </a:lnTo>
                <a:lnTo>
                  <a:pt x="7520" y="5860"/>
                </a:lnTo>
                <a:lnTo>
                  <a:pt x="7525" y="5863"/>
                </a:lnTo>
                <a:lnTo>
                  <a:pt x="7520" y="5868"/>
                </a:lnTo>
                <a:close/>
                <a:moveTo>
                  <a:pt x="7219" y="5746"/>
                </a:moveTo>
                <a:lnTo>
                  <a:pt x="7217" y="5748"/>
                </a:lnTo>
                <a:lnTo>
                  <a:pt x="7217" y="5748"/>
                </a:lnTo>
                <a:lnTo>
                  <a:pt x="7216" y="5748"/>
                </a:lnTo>
                <a:lnTo>
                  <a:pt x="7213" y="5746"/>
                </a:lnTo>
                <a:lnTo>
                  <a:pt x="7219" y="5746"/>
                </a:lnTo>
                <a:close/>
                <a:moveTo>
                  <a:pt x="2037" y="5477"/>
                </a:moveTo>
                <a:lnTo>
                  <a:pt x="2012" y="5484"/>
                </a:lnTo>
                <a:lnTo>
                  <a:pt x="1978" y="5482"/>
                </a:lnTo>
                <a:lnTo>
                  <a:pt x="1949" y="5475"/>
                </a:lnTo>
                <a:lnTo>
                  <a:pt x="1941" y="5459"/>
                </a:lnTo>
                <a:lnTo>
                  <a:pt x="1972" y="5454"/>
                </a:lnTo>
                <a:lnTo>
                  <a:pt x="2010" y="5445"/>
                </a:lnTo>
                <a:lnTo>
                  <a:pt x="2038" y="5449"/>
                </a:lnTo>
                <a:lnTo>
                  <a:pt x="2037" y="5477"/>
                </a:lnTo>
                <a:close/>
                <a:moveTo>
                  <a:pt x="1955" y="5587"/>
                </a:moveTo>
                <a:lnTo>
                  <a:pt x="1951" y="5582"/>
                </a:lnTo>
                <a:lnTo>
                  <a:pt x="1949" y="5578"/>
                </a:lnTo>
                <a:lnTo>
                  <a:pt x="1948" y="5574"/>
                </a:lnTo>
                <a:lnTo>
                  <a:pt x="1953" y="5571"/>
                </a:lnTo>
                <a:lnTo>
                  <a:pt x="1956" y="5575"/>
                </a:lnTo>
                <a:lnTo>
                  <a:pt x="1960" y="5579"/>
                </a:lnTo>
                <a:lnTo>
                  <a:pt x="1960" y="5583"/>
                </a:lnTo>
                <a:lnTo>
                  <a:pt x="1955" y="5587"/>
                </a:lnTo>
                <a:close/>
                <a:moveTo>
                  <a:pt x="1903" y="5449"/>
                </a:moveTo>
                <a:lnTo>
                  <a:pt x="1866" y="5472"/>
                </a:lnTo>
                <a:lnTo>
                  <a:pt x="1857" y="5457"/>
                </a:lnTo>
                <a:lnTo>
                  <a:pt x="1872" y="5425"/>
                </a:lnTo>
                <a:lnTo>
                  <a:pt x="1911" y="5402"/>
                </a:lnTo>
                <a:lnTo>
                  <a:pt x="1946" y="5405"/>
                </a:lnTo>
                <a:lnTo>
                  <a:pt x="1949" y="5412"/>
                </a:lnTo>
                <a:lnTo>
                  <a:pt x="1930" y="5425"/>
                </a:lnTo>
                <a:lnTo>
                  <a:pt x="1903" y="5449"/>
                </a:lnTo>
                <a:close/>
                <a:moveTo>
                  <a:pt x="1880" y="5577"/>
                </a:moveTo>
                <a:lnTo>
                  <a:pt x="1875" y="5578"/>
                </a:lnTo>
                <a:lnTo>
                  <a:pt x="1869" y="5578"/>
                </a:lnTo>
                <a:lnTo>
                  <a:pt x="1863" y="5578"/>
                </a:lnTo>
                <a:lnTo>
                  <a:pt x="1857" y="5577"/>
                </a:lnTo>
                <a:lnTo>
                  <a:pt x="1862" y="5571"/>
                </a:lnTo>
                <a:lnTo>
                  <a:pt x="1872" y="5570"/>
                </a:lnTo>
                <a:lnTo>
                  <a:pt x="1880" y="5571"/>
                </a:lnTo>
                <a:lnTo>
                  <a:pt x="1880" y="5577"/>
                </a:lnTo>
                <a:close/>
                <a:moveTo>
                  <a:pt x="1833" y="4906"/>
                </a:moveTo>
                <a:lnTo>
                  <a:pt x="1844" y="4901"/>
                </a:lnTo>
                <a:lnTo>
                  <a:pt x="1853" y="4899"/>
                </a:lnTo>
                <a:lnTo>
                  <a:pt x="1867" y="4899"/>
                </a:lnTo>
                <a:lnTo>
                  <a:pt x="1889" y="4901"/>
                </a:lnTo>
                <a:lnTo>
                  <a:pt x="1871" y="4902"/>
                </a:lnTo>
                <a:lnTo>
                  <a:pt x="1857" y="4903"/>
                </a:lnTo>
                <a:lnTo>
                  <a:pt x="1844" y="4904"/>
                </a:lnTo>
                <a:lnTo>
                  <a:pt x="1833" y="4906"/>
                </a:lnTo>
                <a:close/>
                <a:moveTo>
                  <a:pt x="1894" y="5037"/>
                </a:moveTo>
                <a:lnTo>
                  <a:pt x="1879" y="5043"/>
                </a:lnTo>
                <a:lnTo>
                  <a:pt x="1875" y="5030"/>
                </a:lnTo>
                <a:lnTo>
                  <a:pt x="1879" y="5016"/>
                </a:lnTo>
                <a:lnTo>
                  <a:pt x="1892" y="5023"/>
                </a:lnTo>
                <a:lnTo>
                  <a:pt x="1893" y="5027"/>
                </a:lnTo>
                <a:lnTo>
                  <a:pt x="1894" y="5030"/>
                </a:lnTo>
                <a:lnTo>
                  <a:pt x="1894" y="5034"/>
                </a:lnTo>
                <a:lnTo>
                  <a:pt x="1894" y="5037"/>
                </a:lnTo>
                <a:close/>
                <a:moveTo>
                  <a:pt x="1912" y="4931"/>
                </a:moveTo>
                <a:lnTo>
                  <a:pt x="1926" y="4934"/>
                </a:lnTo>
                <a:lnTo>
                  <a:pt x="1931" y="4940"/>
                </a:lnTo>
                <a:lnTo>
                  <a:pt x="1927" y="4946"/>
                </a:lnTo>
                <a:lnTo>
                  <a:pt x="1914" y="4953"/>
                </a:lnTo>
                <a:lnTo>
                  <a:pt x="1904" y="4950"/>
                </a:lnTo>
                <a:lnTo>
                  <a:pt x="1900" y="4944"/>
                </a:lnTo>
                <a:lnTo>
                  <a:pt x="1902" y="4936"/>
                </a:lnTo>
                <a:lnTo>
                  <a:pt x="1912" y="4931"/>
                </a:lnTo>
                <a:close/>
                <a:moveTo>
                  <a:pt x="1992" y="4926"/>
                </a:moveTo>
                <a:lnTo>
                  <a:pt x="2002" y="4892"/>
                </a:lnTo>
                <a:lnTo>
                  <a:pt x="2020" y="4887"/>
                </a:lnTo>
                <a:lnTo>
                  <a:pt x="2035" y="4903"/>
                </a:lnTo>
                <a:lnTo>
                  <a:pt x="2035" y="4938"/>
                </a:lnTo>
                <a:lnTo>
                  <a:pt x="2021" y="4948"/>
                </a:lnTo>
                <a:lnTo>
                  <a:pt x="2002" y="4949"/>
                </a:lnTo>
                <a:lnTo>
                  <a:pt x="1988" y="4943"/>
                </a:lnTo>
                <a:lnTo>
                  <a:pt x="1992" y="4926"/>
                </a:lnTo>
                <a:close/>
                <a:moveTo>
                  <a:pt x="1810" y="5005"/>
                </a:moveTo>
                <a:lnTo>
                  <a:pt x="1771" y="5024"/>
                </a:lnTo>
                <a:lnTo>
                  <a:pt x="1735" y="5022"/>
                </a:lnTo>
                <a:lnTo>
                  <a:pt x="1703" y="5011"/>
                </a:lnTo>
                <a:lnTo>
                  <a:pt x="1669" y="5005"/>
                </a:lnTo>
                <a:lnTo>
                  <a:pt x="1627" y="4995"/>
                </a:lnTo>
                <a:lnTo>
                  <a:pt x="1681" y="4966"/>
                </a:lnTo>
                <a:lnTo>
                  <a:pt x="1765" y="4957"/>
                </a:lnTo>
                <a:lnTo>
                  <a:pt x="1810" y="5005"/>
                </a:lnTo>
                <a:close/>
                <a:moveTo>
                  <a:pt x="1788" y="4848"/>
                </a:moveTo>
                <a:lnTo>
                  <a:pt x="1787" y="4855"/>
                </a:lnTo>
                <a:lnTo>
                  <a:pt x="1779" y="4859"/>
                </a:lnTo>
                <a:lnTo>
                  <a:pt x="1771" y="4857"/>
                </a:lnTo>
                <a:lnTo>
                  <a:pt x="1767" y="4855"/>
                </a:lnTo>
                <a:lnTo>
                  <a:pt x="1769" y="4845"/>
                </a:lnTo>
                <a:lnTo>
                  <a:pt x="1774" y="4842"/>
                </a:lnTo>
                <a:lnTo>
                  <a:pt x="1781" y="4845"/>
                </a:lnTo>
                <a:lnTo>
                  <a:pt x="1788" y="4848"/>
                </a:lnTo>
                <a:close/>
                <a:moveTo>
                  <a:pt x="1425" y="5014"/>
                </a:moveTo>
                <a:lnTo>
                  <a:pt x="1423" y="5010"/>
                </a:lnTo>
                <a:lnTo>
                  <a:pt x="1423" y="5008"/>
                </a:lnTo>
                <a:lnTo>
                  <a:pt x="1425" y="5005"/>
                </a:lnTo>
                <a:lnTo>
                  <a:pt x="1429" y="5005"/>
                </a:lnTo>
                <a:lnTo>
                  <a:pt x="1432" y="5009"/>
                </a:lnTo>
                <a:lnTo>
                  <a:pt x="1432" y="5011"/>
                </a:lnTo>
                <a:lnTo>
                  <a:pt x="1429" y="5013"/>
                </a:lnTo>
                <a:lnTo>
                  <a:pt x="1425" y="5014"/>
                </a:lnTo>
                <a:close/>
                <a:moveTo>
                  <a:pt x="1340" y="5431"/>
                </a:moveTo>
                <a:lnTo>
                  <a:pt x="1345" y="5417"/>
                </a:lnTo>
                <a:lnTo>
                  <a:pt x="1358" y="5424"/>
                </a:lnTo>
                <a:lnTo>
                  <a:pt x="1369" y="5439"/>
                </a:lnTo>
                <a:lnTo>
                  <a:pt x="1372" y="5456"/>
                </a:lnTo>
                <a:lnTo>
                  <a:pt x="1362" y="5452"/>
                </a:lnTo>
                <a:lnTo>
                  <a:pt x="1353" y="5447"/>
                </a:lnTo>
                <a:lnTo>
                  <a:pt x="1345" y="5440"/>
                </a:lnTo>
                <a:lnTo>
                  <a:pt x="1340" y="5431"/>
                </a:lnTo>
                <a:close/>
                <a:moveTo>
                  <a:pt x="1284" y="5108"/>
                </a:moveTo>
                <a:lnTo>
                  <a:pt x="1280" y="5107"/>
                </a:lnTo>
                <a:lnTo>
                  <a:pt x="1278" y="5104"/>
                </a:lnTo>
                <a:lnTo>
                  <a:pt x="1274" y="5101"/>
                </a:lnTo>
                <a:lnTo>
                  <a:pt x="1273" y="5098"/>
                </a:lnTo>
                <a:lnTo>
                  <a:pt x="1279" y="5088"/>
                </a:lnTo>
                <a:lnTo>
                  <a:pt x="1289" y="5093"/>
                </a:lnTo>
                <a:lnTo>
                  <a:pt x="1294" y="5103"/>
                </a:lnTo>
                <a:lnTo>
                  <a:pt x="1284" y="5108"/>
                </a:lnTo>
                <a:close/>
                <a:moveTo>
                  <a:pt x="124" y="3668"/>
                </a:moveTo>
                <a:lnTo>
                  <a:pt x="115" y="3675"/>
                </a:lnTo>
                <a:lnTo>
                  <a:pt x="110" y="3662"/>
                </a:lnTo>
                <a:lnTo>
                  <a:pt x="112" y="3648"/>
                </a:lnTo>
                <a:lnTo>
                  <a:pt x="123" y="3652"/>
                </a:lnTo>
                <a:lnTo>
                  <a:pt x="124" y="3661"/>
                </a:lnTo>
                <a:lnTo>
                  <a:pt x="124" y="3668"/>
                </a:lnTo>
                <a:close/>
                <a:moveTo>
                  <a:pt x="5992" y="944"/>
                </a:moveTo>
                <a:lnTo>
                  <a:pt x="5992" y="953"/>
                </a:lnTo>
                <a:lnTo>
                  <a:pt x="5990" y="955"/>
                </a:lnTo>
                <a:lnTo>
                  <a:pt x="5987" y="951"/>
                </a:lnTo>
                <a:lnTo>
                  <a:pt x="5983" y="944"/>
                </a:lnTo>
                <a:lnTo>
                  <a:pt x="5987" y="946"/>
                </a:lnTo>
                <a:lnTo>
                  <a:pt x="5992" y="944"/>
                </a:lnTo>
                <a:close/>
                <a:moveTo>
                  <a:pt x="7348" y="1176"/>
                </a:moveTo>
                <a:lnTo>
                  <a:pt x="7340" y="1177"/>
                </a:lnTo>
                <a:lnTo>
                  <a:pt x="7338" y="1174"/>
                </a:lnTo>
                <a:lnTo>
                  <a:pt x="7342" y="1167"/>
                </a:lnTo>
                <a:lnTo>
                  <a:pt x="7348" y="1161"/>
                </a:lnTo>
                <a:lnTo>
                  <a:pt x="7350" y="1165"/>
                </a:lnTo>
                <a:lnTo>
                  <a:pt x="7351" y="1168"/>
                </a:lnTo>
                <a:lnTo>
                  <a:pt x="7350" y="1172"/>
                </a:lnTo>
                <a:lnTo>
                  <a:pt x="7348" y="1176"/>
                </a:lnTo>
                <a:close/>
                <a:moveTo>
                  <a:pt x="5735" y="5219"/>
                </a:moveTo>
                <a:lnTo>
                  <a:pt x="5736" y="5228"/>
                </a:lnTo>
                <a:lnTo>
                  <a:pt x="5741" y="5233"/>
                </a:lnTo>
                <a:lnTo>
                  <a:pt x="5749" y="5233"/>
                </a:lnTo>
                <a:lnTo>
                  <a:pt x="5753" y="5227"/>
                </a:lnTo>
                <a:lnTo>
                  <a:pt x="5751" y="5218"/>
                </a:lnTo>
                <a:lnTo>
                  <a:pt x="5746" y="5214"/>
                </a:lnTo>
                <a:lnTo>
                  <a:pt x="5741" y="5214"/>
                </a:lnTo>
                <a:lnTo>
                  <a:pt x="5735" y="5219"/>
                </a:lnTo>
                <a:close/>
                <a:moveTo>
                  <a:pt x="1383" y="4430"/>
                </a:moveTo>
                <a:lnTo>
                  <a:pt x="1383" y="4427"/>
                </a:lnTo>
                <a:lnTo>
                  <a:pt x="1383" y="4426"/>
                </a:lnTo>
                <a:lnTo>
                  <a:pt x="1382" y="4426"/>
                </a:lnTo>
                <a:lnTo>
                  <a:pt x="1380" y="4427"/>
                </a:lnTo>
                <a:lnTo>
                  <a:pt x="1383" y="4430"/>
                </a:lnTo>
                <a:close/>
                <a:moveTo>
                  <a:pt x="5716" y="7076"/>
                </a:moveTo>
                <a:lnTo>
                  <a:pt x="5718" y="7072"/>
                </a:lnTo>
                <a:lnTo>
                  <a:pt x="5717" y="7074"/>
                </a:lnTo>
                <a:lnTo>
                  <a:pt x="5716" y="7074"/>
                </a:lnTo>
                <a:lnTo>
                  <a:pt x="5716" y="7075"/>
                </a:lnTo>
                <a:lnTo>
                  <a:pt x="5716" y="7076"/>
                </a:lnTo>
                <a:close/>
                <a:moveTo>
                  <a:pt x="6994" y="6370"/>
                </a:moveTo>
                <a:lnTo>
                  <a:pt x="6993" y="6371"/>
                </a:lnTo>
                <a:lnTo>
                  <a:pt x="6993" y="6372"/>
                </a:lnTo>
                <a:lnTo>
                  <a:pt x="6996" y="6371"/>
                </a:lnTo>
                <a:lnTo>
                  <a:pt x="6998" y="6367"/>
                </a:lnTo>
                <a:lnTo>
                  <a:pt x="6996" y="6368"/>
                </a:lnTo>
                <a:lnTo>
                  <a:pt x="6994" y="6370"/>
                </a:lnTo>
                <a:close/>
                <a:moveTo>
                  <a:pt x="7044" y="6317"/>
                </a:moveTo>
                <a:lnTo>
                  <a:pt x="7044" y="6315"/>
                </a:lnTo>
                <a:lnTo>
                  <a:pt x="7042" y="6312"/>
                </a:lnTo>
                <a:lnTo>
                  <a:pt x="7044" y="6317"/>
                </a:lnTo>
                <a:close/>
                <a:moveTo>
                  <a:pt x="7767" y="6231"/>
                </a:moveTo>
                <a:lnTo>
                  <a:pt x="7770" y="6231"/>
                </a:lnTo>
                <a:lnTo>
                  <a:pt x="7770" y="6232"/>
                </a:lnTo>
                <a:lnTo>
                  <a:pt x="7770" y="6231"/>
                </a:lnTo>
                <a:lnTo>
                  <a:pt x="7769" y="6230"/>
                </a:lnTo>
                <a:lnTo>
                  <a:pt x="7767" y="6228"/>
                </a:lnTo>
                <a:lnTo>
                  <a:pt x="7766" y="6228"/>
                </a:lnTo>
                <a:lnTo>
                  <a:pt x="7767" y="6228"/>
                </a:lnTo>
                <a:lnTo>
                  <a:pt x="7767" y="6231"/>
                </a:lnTo>
                <a:close/>
                <a:moveTo>
                  <a:pt x="5413" y="6079"/>
                </a:moveTo>
                <a:lnTo>
                  <a:pt x="5414" y="6081"/>
                </a:lnTo>
                <a:lnTo>
                  <a:pt x="5415" y="6081"/>
                </a:lnTo>
                <a:lnTo>
                  <a:pt x="5414" y="6079"/>
                </a:lnTo>
                <a:lnTo>
                  <a:pt x="5413" y="6079"/>
                </a:lnTo>
                <a:lnTo>
                  <a:pt x="5410" y="6077"/>
                </a:lnTo>
                <a:lnTo>
                  <a:pt x="5408" y="6076"/>
                </a:lnTo>
                <a:lnTo>
                  <a:pt x="5405" y="6076"/>
                </a:lnTo>
                <a:lnTo>
                  <a:pt x="5403" y="6076"/>
                </a:lnTo>
                <a:lnTo>
                  <a:pt x="5408" y="6077"/>
                </a:lnTo>
                <a:lnTo>
                  <a:pt x="5413" y="6079"/>
                </a:lnTo>
                <a:close/>
                <a:moveTo>
                  <a:pt x="7673" y="5936"/>
                </a:moveTo>
                <a:lnTo>
                  <a:pt x="7673" y="5937"/>
                </a:lnTo>
                <a:lnTo>
                  <a:pt x="7674" y="5938"/>
                </a:lnTo>
                <a:lnTo>
                  <a:pt x="7676" y="5939"/>
                </a:lnTo>
                <a:lnTo>
                  <a:pt x="7676" y="5938"/>
                </a:lnTo>
                <a:lnTo>
                  <a:pt x="7673" y="5936"/>
                </a:lnTo>
                <a:close/>
                <a:moveTo>
                  <a:pt x="6498" y="5829"/>
                </a:moveTo>
                <a:lnTo>
                  <a:pt x="6496" y="5829"/>
                </a:lnTo>
                <a:lnTo>
                  <a:pt x="6480" y="5797"/>
                </a:lnTo>
                <a:lnTo>
                  <a:pt x="6480" y="5797"/>
                </a:lnTo>
                <a:lnTo>
                  <a:pt x="6480" y="5797"/>
                </a:lnTo>
                <a:lnTo>
                  <a:pt x="6480" y="5813"/>
                </a:lnTo>
                <a:lnTo>
                  <a:pt x="6481" y="5826"/>
                </a:lnTo>
                <a:lnTo>
                  <a:pt x="6434" y="5831"/>
                </a:lnTo>
                <a:lnTo>
                  <a:pt x="6410" y="5848"/>
                </a:lnTo>
                <a:lnTo>
                  <a:pt x="6425" y="5859"/>
                </a:lnTo>
                <a:lnTo>
                  <a:pt x="6498" y="5848"/>
                </a:lnTo>
                <a:lnTo>
                  <a:pt x="6498" y="5839"/>
                </a:lnTo>
                <a:lnTo>
                  <a:pt x="6498" y="5829"/>
                </a:lnTo>
                <a:close/>
                <a:moveTo>
                  <a:pt x="1400" y="5904"/>
                </a:moveTo>
                <a:lnTo>
                  <a:pt x="1406" y="5905"/>
                </a:lnTo>
                <a:lnTo>
                  <a:pt x="1419" y="5905"/>
                </a:lnTo>
                <a:lnTo>
                  <a:pt x="1410" y="5904"/>
                </a:lnTo>
                <a:lnTo>
                  <a:pt x="1400" y="5904"/>
                </a:lnTo>
                <a:close/>
                <a:moveTo>
                  <a:pt x="4372" y="5798"/>
                </a:moveTo>
                <a:lnTo>
                  <a:pt x="4372" y="5796"/>
                </a:lnTo>
                <a:lnTo>
                  <a:pt x="4370" y="5796"/>
                </a:lnTo>
                <a:lnTo>
                  <a:pt x="4371" y="5797"/>
                </a:lnTo>
                <a:lnTo>
                  <a:pt x="4372" y="5798"/>
                </a:lnTo>
                <a:close/>
                <a:moveTo>
                  <a:pt x="2484" y="5687"/>
                </a:moveTo>
                <a:lnTo>
                  <a:pt x="2490" y="5682"/>
                </a:lnTo>
                <a:lnTo>
                  <a:pt x="2502" y="5670"/>
                </a:lnTo>
                <a:lnTo>
                  <a:pt x="2493" y="5677"/>
                </a:lnTo>
                <a:lnTo>
                  <a:pt x="2484" y="5687"/>
                </a:lnTo>
                <a:close/>
                <a:moveTo>
                  <a:pt x="6421" y="5522"/>
                </a:moveTo>
                <a:lnTo>
                  <a:pt x="6412" y="5521"/>
                </a:lnTo>
                <a:lnTo>
                  <a:pt x="6402" y="5522"/>
                </a:lnTo>
                <a:lnTo>
                  <a:pt x="6411" y="5522"/>
                </a:lnTo>
                <a:lnTo>
                  <a:pt x="6421" y="5522"/>
                </a:lnTo>
                <a:close/>
                <a:moveTo>
                  <a:pt x="3431" y="5559"/>
                </a:moveTo>
                <a:lnTo>
                  <a:pt x="3431" y="5560"/>
                </a:lnTo>
                <a:lnTo>
                  <a:pt x="3432" y="5560"/>
                </a:lnTo>
                <a:lnTo>
                  <a:pt x="3434" y="5559"/>
                </a:lnTo>
                <a:lnTo>
                  <a:pt x="3434" y="5559"/>
                </a:lnTo>
                <a:lnTo>
                  <a:pt x="3432" y="5559"/>
                </a:lnTo>
                <a:lnTo>
                  <a:pt x="3431" y="5559"/>
                </a:lnTo>
                <a:close/>
                <a:moveTo>
                  <a:pt x="3136" y="5499"/>
                </a:moveTo>
                <a:lnTo>
                  <a:pt x="3137" y="5499"/>
                </a:lnTo>
                <a:lnTo>
                  <a:pt x="3137" y="5499"/>
                </a:lnTo>
                <a:lnTo>
                  <a:pt x="3137" y="5499"/>
                </a:lnTo>
                <a:lnTo>
                  <a:pt x="3137" y="5498"/>
                </a:lnTo>
                <a:lnTo>
                  <a:pt x="3136" y="5498"/>
                </a:lnTo>
                <a:lnTo>
                  <a:pt x="3136" y="5499"/>
                </a:lnTo>
                <a:lnTo>
                  <a:pt x="3137" y="5498"/>
                </a:lnTo>
                <a:lnTo>
                  <a:pt x="3136" y="5499"/>
                </a:lnTo>
                <a:close/>
                <a:moveTo>
                  <a:pt x="3152" y="5499"/>
                </a:moveTo>
                <a:lnTo>
                  <a:pt x="3154" y="5499"/>
                </a:lnTo>
                <a:lnTo>
                  <a:pt x="3155" y="5498"/>
                </a:lnTo>
                <a:lnTo>
                  <a:pt x="3154" y="5498"/>
                </a:lnTo>
                <a:lnTo>
                  <a:pt x="3152" y="5499"/>
                </a:lnTo>
                <a:lnTo>
                  <a:pt x="3145" y="5499"/>
                </a:lnTo>
                <a:lnTo>
                  <a:pt x="3138" y="5499"/>
                </a:lnTo>
                <a:lnTo>
                  <a:pt x="3141" y="5501"/>
                </a:lnTo>
                <a:lnTo>
                  <a:pt x="3145" y="5501"/>
                </a:lnTo>
                <a:lnTo>
                  <a:pt x="3148" y="5500"/>
                </a:lnTo>
                <a:lnTo>
                  <a:pt x="3152" y="5499"/>
                </a:lnTo>
                <a:close/>
                <a:moveTo>
                  <a:pt x="6822" y="5435"/>
                </a:moveTo>
                <a:lnTo>
                  <a:pt x="6820" y="5430"/>
                </a:lnTo>
                <a:lnTo>
                  <a:pt x="6816" y="5426"/>
                </a:lnTo>
                <a:lnTo>
                  <a:pt x="6817" y="5429"/>
                </a:lnTo>
                <a:lnTo>
                  <a:pt x="6819" y="5431"/>
                </a:lnTo>
                <a:lnTo>
                  <a:pt x="6820" y="5434"/>
                </a:lnTo>
                <a:lnTo>
                  <a:pt x="6822" y="5435"/>
                </a:lnTo>
                <a:close/>
                <a:moveTo>
                  <a:pt x="6815" y="5424"/>
                </a:moveTo>
                <a:lnTo>
                  <a:pt x="6816" y="5425"/>
                </a:lnTo>
                <a:lnTo>
                  <a:pt x="6816" y="5426"/>
                </a:lnTo>
                <a:lnTo>
                  <a:pt x="6816" y="5425"/>
                </a:lnTo>
                <a:lnTo>
                  <a:pt x="6816" y="5424"/>
                </a:lnTo>
                <a:lnTo>
                  <a:pt x="6816" y="5424"/>
                </a:lnTo>
                <a:lnTo>
                  <a:pt x="6815" y="5424"/>
                </a:lnTo>
                <a:close/>
                <a:moveTo>
                  <a:pt x="7719" y="6284"/>
                </a:moveTo>
                <a:lnTo>
                  <a:pt x="7720" y="6282"/>
                </a:lnTo>
                <a:lnTo>
                  <a:pt x="7720" y="6282"/>
                </a:lnTo>
                <a:lnTo>
                  <a:pt x="7719" y="6282"/>
                </a:lnTo>
                <a:lnTo>
                  <a:pt x="7718" y="6283"/>
                </a:lnTo>
                <a:lnTo>
                  <a:pt x="7705" y="6284"/>
                </a:lnTo>
                <a:lnTo>
                  <a:pt x="7691" y="6284"/>
                </a:lnTo>
                <a:lnTo>
                  <a:pt x="7676" y="6284"/>
                </a:lnTo>
                <a:lnTo>
                  <a:pt x="7662" y="6284"/>
                </a:lnTo>
                <a:lnTo>
                  <a:pt x="7662" y="6284"/>
                </a:lnTo>
                <a:lnTo>
                  <a:pt x="7662" y="6284"/>
                </a:lnTo>
                <a:lnTo>
                  <a:pt x="7662" y="6284"/>
                </a:lnTo>
                <a:lnTo>
                  <a:pt x="7662" y="6284"/>
                </a:lnTo>
                <a:lnTo>
                  <a:pt x="7668" y="6307"/>
                </a:lnTo>
                <a:lnTo>
                  <a:pt x="7685" y="6315"/>
                </a:lnTo>
                <a:lnTo>
                  <a:pt x="7704" y="6306"/>
                </a:lnTo>
                <a:lnTo>
                  <a:pt x="7718" y="6283"/>
                </a:lnTo>
                <a:lnTo>
                  <a:pt x="7719" y="6284"/>
                </a:lnTo>
                <a:close/>
                <a:moveTo>
                  <a:pt x="7724" y="6270"/>
                </a:moveTo>
                <a:lnTo>
                  <a:pt x="7722" y="6275"/>
                </a:lnTo>
                <a:lnTo>
                  <a:pt x="7720" y="6281"/>
                </a:lnTo>
                <a:lnTo>
                  <a:pt x="7723" y="6278"/>
                </a:lnTo>
                <a:lnTo>
                  <a:pt x="7723" y="6275"/>
                </a:lnTo>
                <a:lnTo>
                  <a:pt x="7724" y="6273"/>
                </a:lnTo>
                <a:lnTo>
                  <a:pt x="7724" y="6270"/>
                </a:lnTo>
                <a:close/>
                <a:moveTo>
                  <a:pt x="5018" y="6152"/>
                </a:moveTo>
                <a:lnTo>
                  <a:pt x="5022" y="6154"/>
                </a:lnTo>
                <a:lnTo>
                  <a:pt x="5023" y="6154"/>
                </a:lnTo>
                <a:lnTo>
                  <a:pt x="5024" y="6152"/>
                </a:lnTo>
                <a:lnTo>
                  <a:pt x="5024" y="6149"/>
                </a:lnTo>
                <a:lnTo>
                  <a:pt x="5023" y="6148"/>
                </a:lnTo>
                <a:lnTo>
                  <a:pt x="5020" y="6148"/>
                </a:lnTo>
                <a:lnTo>
                  <a:pt x="5019" y="6149"/>
                </a:lnTo>
                <a:lnTo>
                  <a:pt x="5018" y="6152"/>
                </a:lnTo>
                <a:close/>
                <a:moveTo>
                  <a:pt x="7252" y="6424"/>
                </a:moveTo>
                <a:lnTo>
                  <a:pt x="7254" y="6426"/>
                </a:lnTo>
                <a:lnTo>
                  <a:pt x="7257" y="6427"/>
                </a:lnTo>
                <a:lnTo>
                  <a:pt x="7258" y="6424"/>
                </a:lnTo>
                <a:lnTo>
                  <a:pt x="7257" y="6421"/>
                </a:lnTo>
                <a:lnTo>
                  <a:pt x="7252" y="6424"/>
                </a:lnTo>
                <a:close/>
                <a:moveTo>
                  <a:pt x="4897" y="5891"/>
                </a:moveTo>
                <a:lnTo>
                  <a:pt x="4901" y="5891"/>
                </a:lnTo>
                <a:lnTo>
                  <a:pt x="4903" y="5890"/>
                </a:lnTo>
                <a:lnTo>
                  <a:pt x="4902" y="5887"/>
                </a:lnTo>
                <a:lnTo>
                  <a:pt x="4901" y="5883"/>
                </a:lnTo>
                <a:lnTo>
                  <a:pt x="4897" y="5891"/>
                </a:lnTo>
                <a:close/>
                <a:moveTo>
                  <a:pt x="7054" y="6256"/>
                </a:moveTo>
                <a:lnTo>
                  <a:pt x="7052" y="6254"/>
                </a:lnTo>
                <a:lnTo>
                  <a:pt x="7050" y="6254"/>
                </a:lnTo>
                <a:lnTo>
                  <a:pt x="7052" y="6255"/>
                </a:lnTo>
                <a:lnTo>
                  <a:pt x="7054" y="6256"/>
                </a:lnTo>
                <a:lnTo>
                  <a:pt x="7056" y="6253"/>
                </a:lnTo>
                <a:lnTo>
                  <a:pt x="7054" y="6253"/>
                </a:lnTo>
                <a:lnTo>
                  <a:pt x="7053" y="6254"/>
                </a:lnTo>
                <a:lnTo>
                  <a:pt x="7054" y="6256"/>
                </a:lnTo>
                <a:close/>
                <a:moveTo>
                  <a:pt x="7043" y="6249"/>
                </a:moveTo>
                <a:lnTo>
                  <a:pt x="7044" y="6249"/>
                </a:lnTo>
                <a:lnTo>
                  <a:pt x="7044" y="6249"/>
                </a:lnTo>
                <a:lnTo>
                  <a:pt x="7044" y="6249"/>
                </a:lnTo>
                <a:lnTo>
                  <a:pt x="7043" y="6247"/>
                </a:lnTo>
                <a:lnTo>
                  <a:pt x="7043" y="6249"/>
                </a:lnTo>
                <a:close/>
                <a:moveTo>
                  <a:pt x="7886" y="6132"/>
                </a:moveTo>
                <a:lnTo>
                  <a:pt x="7888" y="6133"/>
                </a:lnTo>
                <a:lnTo>
                  <a:pt x="7891" y="6134"/>
                </a:lnTo>
                <a:lnTo>
                  <a:pt x="7891" y="6133"/>
                </a:lnTo>
                <a:lnTo>
                  <a:pt x="7891" y="6129"/>
                </a:lnTo>
                <a:lnTo>
                  <a:pt x="7886" y="6132"/>
                </a:lnTo>
                <a:close/>
                <a:moveTo>
                  <a:pt x="4905" y="5652"/>
                </a:moveTo>
                <a:lnTo>
                  <a:pt x="4907" y="5653"/>
                </a:lnTo>
                <a:lnTo>
                  <a:pt x="4910" y="5656"/>
                </a:lnTo>
                <a:lnTo>
                  <a:pt x="4907" y="5652"/>
                </a:lnTo>
                <a:lnTo>
                  <a:pt x="4905" y="5649"/>
                </a:lnTo>
                <a:lnTo>
                  <a:pt x="4903" y="5648"/>
                </a:lnTo>
                <a:lnTo>
                  <a:pt x="4905" y="5652"/>
                </a:lnTo>
                <a:close/>
                <a:moveTo>
                  <a:pt x="4903" y="5643"/>
                </a:moveTo>
                <a:lnTo>
                  <a:pt x="4902" y="5643"/>
                </a:lnTo>
                <a:lnTo>
                  <a:pt x="4901" y="5643"/>
                </a:lnTo>
                <a:lnTo>
                  <a:pt x="4901" y="5643"/>
                </a:lnTo>
                <a:lnTo>
                  <a:pt x="4902" y="5644"/>
                </a:lnTo>
                <a:lnTo>
                  <a:pt x="4903" y="5645"/>
                </a:lnTo>
                <a:lnTo>
                  <a:pt x="4903" y="5645"/>
                </a:lnTo>
                <a:lnTo>
                  <a:pt x="4903" y="5645"/>
                </a:lnTo>
                <a:lnTo>
                  <a:pt x="4903" y="5643"/>
                </a:lnTo>
                <a:close/>
                <a:moveTo>
                  <a:pt x="2950" y="5694"/>
                </a:moveTo>
                <a:lnTo>
                  <a:pt x="2951" y="5695"/>
                </a:lnTo>
                <a:lnTo>
                  <a:pt x="2952" y="5695"/>
                </a:lnTo>
                <a:lnTo>
                  <a:pt x="2952" y="5694"/>
                </a:lnTo>
                <a:lnTo>
                  <a:pt x="2951" y="5692"/>
                </a:lnTo>
                <a:lnTo>
                  <a:pt x="2950" y="5694"/>
                </a:lnTo>
                <a:close/>
                <a:moveTo>
                  <a:pt x="2956" y="5698"/>
                </a:moveTo>
                <a:lnTo>
                  <a:pt x="2959" y="5699"/>
                </a:lnTo>
                <a:lnTo>
                  <a:pt x="2961" y="5699"/>
                </a:lnTo>
                <a:lnTo>
                  <a:pt x="2959" y="5698"/>
                </a:lnTo>
                <a:lnTo>
                  <a:pt x="2955" y="5696"/>
                </a:lnTo>
                <a:lnTo>
                  <a:pt x="2954" y="5695"/>
                </a:lnTo>
                <a:lnTo>
                  <a:pt x="2956" y="5698"/>
                </a:lnTo>
                <a:close/>
                <a:moveTo>
                  <a:pt x="2749" y="5703"/>
                </a:moveTo>
                <a:lnTo>
                  <a:pt x="2751" y="5703"/>
                </a:lnTo>
                <a:lnTo>
                  <a:pt x="2754" y="5703"/>
                </a:lnTo>
                <a:lnTo>
                  <a:pt x="2751" y="5703"/>
                </a:lnTo>
                <a:lnTo>
                  <a:pt x="2747" y="5701"/>
                </a:lnTo>
                <a:lnTo>
                  <a:pt x="2746" y="5700"/>
                </a:lnTo>
                <a:lnTo>
                  <a:pt x="2749" y="5703"/>
                </a:lnTo>
                <a:close/>
                <a:moveTo>
                  <a:pt x="2742" y="5699"/>
                </a:moveTo>
                <a:lnTo>
                  <a:pt x="2743" y="5700"/>
                </a:lnTo>
                <a:lnTo>
                  <a:pt x="2745" y="5700"/>
                </a:lnTo>
                <a:lnTo>
                  <a:pt x="2745" y="5699"/>
                </a:lnTo>
                <a:lnTo>
                  <a:pt x="2743" y="5698"/>
                </a:lnTo>
                <a:lnTo>
                  <a:pt x="2742" y="5699"/>
                </a:lnTo>
                <a:close/>
                <a:moveTo>
                  <a:pt x="7607" y="6408"/>
                </a:moveTo>
                <a:lnTo>
                  <a:pt x="7611" y="6408"/>
                </a:lnTo>
                <a:lnTo>
                  <a:pt x="7612" y="6408"/>
                </a:lnTo>
                <a:lnTo>
                  <a:pt x="7611" y="6405"/>
                </a:lnTo>
                <a:lnTo>
                  <a:pt x="7611" y="6403"/>
                </a:lnTo>
                <a:lnTo>
                  <a:pt x="7607" y="6408"/>
                </a:lnTo>
                <a:close/>
                <a:moveTo>
                  <a:pt x="3734" y="5891"/>
                </a:moveTo>
                <a:lnTo>
                  <a:pt x="3734" y="5888"/>
                </a:lnTo>
                <a:lnTo>
                  <a:pt x="3734" y="5887"/>
                </a:lnTo>
                <a:lnTo>
                  <a:pt x="3732" y="5887"/>
                </a:lnTo>
                <a:lnTo>
                  <a:pt x="3729" y="5888"/>
                </a:lnTo>
                <a:lnTo>
                  <a:pt x="3734" y="5891"/>
                </a:lnTo>
                <a:close/>
                <a:moveTo>
                  <a:pt x="4892" y="5639"/>
                </a:moveTo>
                <a:lnTo>
                  <a:pt x="4896" y="5640"/>
                </a:lnTo>
                <a:lnTo>
                  <a:pt x="4901" y="5641"/>
                </a:lnTo>
                <a:lnTo>
                  <a:pt x="4897" y="5640"/>
                </a:lnTo>
                <a:lnTo>
                  <a:pt x="4892" y="5639"/>
                </a:lnTo>
                <a:close/>
                <a:moveTo>
                  <a:pt x="2943" y="5690"/>
                </a:moveTo>
                <a:lnTo>
                  <a:pt x="2946" y="5691"/>
                </a:lnTo>
                <a:lnTo>
                  <a:pt x="2943" y="5690"/>
                </a:lnTo>
                <a:lnTo>
                  <a:pt x="2946" y="5692"/>
                </a:lnTo>
                <a:lnTo>
                  <a:pt x="2943" y="5690"/>
                </a:lnTo>
                <a:close/>
                <a:moveTo>
                  <a:pt x="2479" y="5698"/>
                </a:moveTo>
                <a:lnTo>
                  <a:pt x="2480" y="5694"/>
                </a:lnTo>
                <a:lnTo>
                  <a:pt x="2482" y="5690"/>
                </a:lnTo>
                <a:lnTo>
                  <a:pt x="2480" y="5692"/>
                </a:lnTo>
                <a:lnTo>
                  <a:pt x="2479" y="5698"/>
                </a:lnTo>
                <a:close/>
                <a:moveTo>
                  <a:pt x="6029" y="5974"/>
                </a:moveTo>
                <a:lnTo>
                  <a:pt x="6034" y="5971"/>
                </a:lnTo>
                <a:lnTo>
                  <a:pt x="6032" y="5970"/>
                </a:lnTo>
                <a:lnTo>
                  <a:pt x="6030" y="5969"/>
                </a:lnTo>
                <a:lnTo>
                  <a:pt x="6029" y="5970"/>
                </a:lnTo>
                <a:lnTo>
                  <a:pt x="6029" y="5974"/>
                </a:lnTo>
                <a:close/>
                <a:moveTo>
                  <a:pt x="1297" y="5727"/>
                </a:moveTo>
                <a:lnTo>
                  <a:pt x="1298" y="5724"/>
                </a:lnTo>
                <a:lnTo>
                  <a:pt x="1297" y="5723"/>
                </a:lnTo>
                <a:lnTo>
                  <a:pt x="1296" y="5723"/>
                </a:lnTo>
                <a:lnTo>
                  <a:pt x="1292" y="5724"/>
                </a:lnTo>
                <a:lnTo>
                  <a:pt x="1297" y="5727"/>
                </a:lnTo>
                <a:close/>
                <a:moveTo>
                  <a:pt x="6480" y="5797"/>
                </a:moveTo>
                <a:lnTo>
                  <a:pt x="6480" y="5797"/>
                </a:lnTo>
                <a:lnTo>
                  <a:pt x="6480" y="5796"/>
                </a:lnTo>
                <a:lnTo>
                  <a:pt x="6479" y="5796"/>
                </a:lnTo>
                <a:lnTo>
                  <a:pt x="6479" y="5796"/>
                </a:lnTo>
                <a:lnTo>
                  <a:pt x="6480" y="5797"/>
                </a:lnTo>
                <a:close/>
                <a:moveTo>
                  <a:pt x="6730" y="6049"/>
                </a:moveTo>
                <a:lnTo>
                  <a:pt x="6737" y="6055"/>
                </a:lnTo>
                <a:lnTo>
                  <a:pt x="6744" y="6056"/>
                </a:lnTo>
                <a:lnTo>
                  <a:pt x="6750" y="6055"/>
                </a:lnTo>
                <a:lnTo>
                  <a:pt x="6761" y="6049"/>
                </a:lnTo>
                <a:lnTo>
                  <a:pt x="6745" y="6049"/>
                </a:lnTo>
                <a:lnTo>
                  <a:pt x="6730" y="6049"/>
                </a:lnTo>
                <a:close/>
                <a:moveTo>
                  <a:pt x="6763" y="6048"/>
                </a:moveTo>
                <a:lnTo>
                  <a:pt x="6761" y="6049"/>
                </a:lnTo>
                <a:lnTo>
                  <a:pt x="6761" y="6049"/>
                </a:lnTo>
                <a:lnTo>
                  <a:pt x="6763" y="6049"/>
                </a:lnTo>
                <a:lnTo>
                  <a:pt x="6764" y="6049"/>
                </a:lnTo>
                <a:lnTo>
                  <a:pt x="6764" y="6049"/>
                </a:lnTo>
                <a:lnTo>
                  <a:pt x="6764" y="6049"/>
                </a:lnTo>
                <a:lnTo>
                  <a:pt x="6764" y="6048"/>
                </a:lnTo>
                <a:lnTo>
                  <a:pt x="6772" y="6045"/>
                </a:lnTo>
                <a:lnTo>
                  <a:pt x="6779" y="6041"/>
                </a:lnTo>
                <a:lnTo>
                  <a:pt x="6783" y="6036"/>
                </a:lnTo>
                <a:lnTo>
                  <a:pt x="6778" y="6032"/>
                </a:lnTo>
                <a:lnTo>
                  <a:pt x="6773" y="6034"/>
                </a:lnTo>
                <a:lnTo>
                  <a:pt x="6769" y="6037"/>
                </a:lnTo>
                <a:lnTo>
                  <a:pt x="6766" y="6042"/>
                </a:lnTo>
                <a:lnTo>
                  <a:pt x="6764" y="6048"/>
                </a:lnTo>
                <a:lnTo>
                  <a:pt x="6764" y="6048"/>
                </a:lnTo>
                <a:lnTo>
                  <a:pt x="6763" y="6048"/>
                </a:lnTo>
                <a:close/>
                <a:moveTo>
                  <a:pt x="6727" y="6049"/>
                </a:moveTo>
                <a:lnTo>
                  <a:pt x="6728" y="6049"/>
                </a:lnTo>
                <a:lnTo>
                  <a:pt x="6730" y="6049"/>
                </a:lnTo>
                <a:lnTo>
                  <a:pt x="6730" y="6049"/>
                </a:lnTo>
                <a:lnTo>
                  <a:pt x="6728" y="6048"/>
                </a:lnTo>
                <a:lnTo>
                  <a:pt x="6727" y="6049"/>
                </a:lnTo>
                <a:close/>
                <a:moveTo>
                  <a:pt x="7632" y="6507"/>
                </a:moveTo>
                <a:lnTo>
                  <a:pt x="7639" y="6510"/>
                </a:lnTo>
                <a:lnTo>
                  <a:pt x="7645" y="6512"/>
                </a:lnTo>
                <a:lnTo>
                  <a:pt x="7639" y="6508"/>
                </a:lnTo>
                <a:lnTo>
                  <a:pt x="7632" y="6507"/>
                </a:lnTo>
                <a:close/>
                <a:moveTo>
                  <a:pt x="1495" y="5910"/>
                </a:moveTo>
                <a:lnTo>
                  <a:pt x="1498" y="5913"/>
                </a:lnTo>
                <a:lnTo>
                  <a:pt x="1501" y="5914"/>
                </a:lnTo>
                <a:lnTo>
                  <a:pt x="1504" y="5913"/>
                </a:lnTo>
                <a:lnTo>
                  <a:pt x="1507" y="5910"/>
                </a:lnTo>
                <a:lnTo>
                  <a:pt x="1504" y="5908"/>
                </a:lnTo>
                <a:lnTo>
                  <a:pt x="1502" y="5906"/>
                </a:lnTo>
                <a:lnTo>
                  <a:pt x="1498" y="5908"/>
                </a:lnTo>
                <a:lnTo>
                  <a:pt x="1495" y="5910"/>
                </a:lnTo>
                <a:close/>
                <a:moveTo>
                  <a:pt x="1821" y="5675"/>
                </a:moveTo>
                <a:lnTo>
                  <a:pt x="1816" y="5673"/>
                </a:lnTo>
                <a:lnTo>
                  <a:pt x="1811" y="5671"/>
                </a:lnTo>
                <a:lnTo>
                  <a:pt x="1814" y="5673"/>
                </a:lnTo>
                <a:lnTo>
                  <a:pt x="1815" y="5675"/>
                </a:lnTo>
                <a:lnTo>
                  <a:pt x="1818" y="5675"/>
                </a:lnTo>
                <a:lnTo>
                  <a:pt x="1821" y="5675"/>
                </a:lnTo>
                <a:close/>
                <a:moveTo>
                  <a:pt x="4293" y="5990"/>
                </a:moveTo>
                <a:lnTo>
                  <a:pt x="4295" y="5994"/>
                </a:lnTo>
                <a:lnTo>
                  <a:pt x="4296" y="5995"/>
                </a:lnTo>
                <a:lnTo>
                  <a:pt x="4298" y="5997"/>
                </a:lnTo>
                <a:lnTo>
                  <a:pt x="4302" y="5995"/>
                </a:lnTo>
                <a:lnTo>
                  <a:pt x="4301" y="5992"/>
                </a:lnTo>
                <a:lnTo>
                  <a:pt x="4300" y="5989"/>
                </a:lnTo>
                <a:lnTo>
                  <a:pt x="4297" y="5989"/>
                </a:lnTo>
                <a:lnTo>
                  <a:pt x="4293" y="5990"/>
                </a:lnTo>
                <a:close/>
                <a:moveTo>
                  <a:pt x="1385" y="5899"/>
                </a:moveTo>
                <a:lnTo>
                  <a:pt x="1391" y="5901"/>
                </a:lnTo>
                <a:lnTo>
                  <a:pt x="1399" y="5904"/>
                </a:lnTo>
                <a:lnTo>
                  <a:pt x="1396" y="5899"/>
                </a:lnTo>
                <a:lnTo>
                  <a:pt x="1394" y="5895"/>
                </a:lnTo>
                <a:lnTo>
                  <a:pt x="1390" y="5895"/>
                </a:lnTo>
                <a:lnTo>
                  <a:pt x="1385" y="5899"/>
                </a:lnTo>
                <a:close/>
                <a:moveTo>
                  <a:pt x="6128" y="5580"/>
                </a:moveTo>
                <a:lnTo>
                  <a:pt x="6127" y="5578"/>
                </a:lnTo>
                <a:lnTo>
                  <a:pt x="6127" y="5578"/>
                </a:lnTo>
                <a:lnTo>
                  <a:pt x="6127" y="5579"/>
                </a:lnTo>
                <a:lnTo>
                  <a:pt x="6127" y="5580"/>
                </a:lnTo>
                <a:lnTo>
                  <a:pt x="6128" y="5580"/>
                </a:lnTo>
                <a:lnTo>
                  <a:pt x="6128" y="5580"/>
                </a:lnTo>
                <a:close/>
                <a:moveTo>
                  <a:pt x="6122" y="5570"/>
                </a:moveTo>
                <a:lnTo>
                  <a:pt x="6125" y="5574"/>
                </a:lnTo>
                <a:lnTo>
                  <a:pt x="6126" y="5577"/>
                </a:lnTo>
                <a:lnTo>
                  <a:pt x="6125" y="5573"/>
                </a:lnTo>
                <a:lnTo>
                  <a:pt x="6122" y="5570"/>
                </a:lnTo>
                <a:close/>
                <a:moveTo>
                  <a:pt x="6249" y="5761"/>
                </a:moveTo>
                <a:lnTo>
                  <a:pt x="6257" y="5757"/>
                </a:lnTo>
                <a:lnTo>
                  <a:pt x="6253" y="5756"/>
                </a:lnTo>
                <a:lnTo>
                  <a:pt x="6251" y="5755"/>
                </a:lnTo>
                <a:lnTo>
                  <a:pt x="6249" y="5757"/>
                </a:lnTo>
                <a:lnTo>
                  <a:pt x="6249" y="5761"/>
                </a:lnTo>
                <a:close/>
                <a:moveTo>
                  <a:pt x="6663" y="5515"/>
                </a:moveTo>
                <a:lnTo>
                  <a:pt x="6663" y="5514"/>
                </a:lnTo>
                <a:lnTo>
                  <a:pt x="6662" y="5514"/>
                </a:lnTo>
                <a:lnTo>
                  <a:pt x="6662" y="5515"/>
                </a:lnTo>
                <a:lnTo>
                  <a:pt x="6663" y="5515"/>
                </a:lnTo>
                <a:close/>
                <a:moveTo>
                  <a:pt x="6663" y="5532"/>
                </a:moveTo>
                <a:lnTo>
                  <a:pt x="6663" y="5531"/>
                </a:lnTo>
                <a:lnTo>
                  <a:pt x="6662" y="5532"/>
                </a:lnTo>
                <a:lnTo>
                  <a:pt x="6662" y="5532"/>
                </a:lnTo>
                <a:lnTo>
                  <a:pt x="6662" y="5532"/>
                </a:lnTo>
                <a:lnTo>
                  <a:pt x="6663" y="5532"/>
                </a:lnTo>
                <a:close/>
                <a:moveTo>
                  <a:pt x="6675" y="5523"/>
                </a:moveTo>
                <a:lnTo>
                  <a:pt x="6671" y="5526"/>
                </a:lnTo>
                <a:lnTo>
                  <a:pt x="6670" y="5526"/>
                </a:lnTo>
                <a:lnTo>
                  <a:pt x="6672" y="5524"/>
                </a:lnTo>
                <a:lnTo>
                  <a:pt x="6675" y="5523"/>
                </a:lnTo>
                <a:lnTo>
                  <a:pt x="6668" y="5518"/>
                </a:lnTo>
                <a:lnTo>
                  <a:pt x="6666" y="5518"/>
                </a:lnTo>
                <a:lnTo>
                  <a:pt x="6667" y="5519"/>
                </a:lnTo>
                <a:lnTo>
                  <a:pt x="6675" y="5523"/>
                </a:lnTo>
                <a:close/>
                <a:moveTo>
                  <a:pt x="5084" y="6084"/>
                </a:moveTo>
                <a:lnTo>
                  <a:pt x="5087" y="6083"/>
                </a:lnTo>
                <a:lnTo>
                  <a:pt x="5089" y="6082"/>
                </a:lnTo>
                <a:lnTo>
                  <a:pt x="5088" y="6078"/>
                </a:lnTo>
                <a:lnTo>
                  <a:pt x="5084" y="6078"/>
                </a:lnTo>
                <a:lnTo>
                  <a:pt x="5082" y="6079"/>
                </a:lnTo>
                <a:lnTo>
                  <a:pt x="5084" y="6084"/>
                </a:lnTo>
                <a:close/>
                <a:moveTo>
                  <a:pt x="4045" y="5554"/>
                </a:moveTo>
                <a:lnTo>
                  <a:pt x="4042" y="5551"/>
                </a:lnTo>
                <a:lnTo>
                  <a:pt x="4039" y="5550"/>
                </a:lnTo>
                <a:lnTo>
                  <a:pt x="4036" y="5551"/>
                </a:lnTo>
                <a:lnTo>
                  <a:pt x="4032" y="5554"/>
                </a:lnTo>
                <a:lnTo>
                  <a:pt x="4036" y="5556"/>
                </a:lnTo>
                <a:lnTo>
                  <a:pt x="4039" y="5557"/>
                </a:lnTo>
                <a:lnTo>
                  <a:pt x="4042" y="5556"/>
                </a:lnTo>
                <a:lnTo>
                  <a:pt x="4045" y="5554"/>
                </a:lnTo>
                <a:close/>
                <a:moveTo>
                  <a:pt x="2498" y="5583"/>
                </a:moveTo>
                <a:lnTo>
                  <a:pt x="2482" y="5584"/>
                </a:lnTo>
                <a:lnTo>
                  <a:pt x="2466" y="5584"/>
                </a:lnTo>
                <a:lnTo>
                  <a:pt x="2473" y="5588"/>
                </a:lnTo>
                <a:lnTo>
                  <a:pt x="2482" y="5589"/>
                </a:lnTo>
                <a:lnTo>
                  <a:pt x="2490" y="5588"/>
                </a:lnTo>
                <a:lnTo>
                  <a:pt x="2498" y="5583"/>
                </a:lnTo>
                <a:close/>
                <a:moveTo>
                  <a:pt x="3441" y="5554"/>
                </a:moveTo>
                <a:lnTo>
                  <a:pt x="3438" y="5556"/>
                </a:lnTo>
                <a:lnTo>
                  <a:pt x="3435" y="5559"/>
                </a:lnTo>
                <a:lnTo>
                  <a:pt x="3439" y="5557"/>
                </a:lnTo>
                <a:lnTo>
                  <a:pt x="3441" y="5554"/>
                </a:lnTo>
                <a:close/>
                <a:moveTo>
                  <a:pt x="7817" y="6123"/>
                </a:moveTo>
                <a:lnTo>
                  <a:pt x="7817" y="6124"/>
                </a:lnTo>
                <a:lnTo>
                  <a:pt x="7817" y="6123"/>
                </a:lnTo>
                <a:lnTo>
                  <a:pt x="7817" y="6124"/>
                </a:lnTo>
                <a:lnTo>
                  <a:pt x="7816" y="6124"/>
                </a:lnTo>
                <a:lnTo>
                  <a:pt x="7816" y="6124"/>
                </a:lnTo>
                <a:lnTo>
                  <a:pt x="7816" y="6124"/>
                </a:lnTo>
                <a:lnTo>
                  <a:pt x="7817" y="6124"/>
                </a:lnTo>
                <a:lnTo>
                  <a:pt x="7817" y="6124"/>
                </a:lnTo>
                <a:lnTo>
                  <a:pt x="7817" y="6124"/>
                </a:lnTo>
                <a:lnTo>
                  <a:pt x="7817" y="6124"/>
                </a:lnTo>
                <a:lnTo>
                  <a:pt x="7817" y="6123"/>
                </a:lnTo>
                <a:close/>
                <a:moveTo>
                  <a:pt x="7839" y="6120"/>
                </a:moveTo>
                <a:lnTo>
                  <a:pt x="7834" y="6119"/>
                </a:lnTo>
                <a:lnTo>
                  <a:pt x="7829" y="6120"/>
                </a:lnTo>
                <a:lnTo>
                  <a:pt x="7823" y="6121"/>
                </a:lnTo>
                <a:lnTo>
                  <a:pt x="7818" y="6124"/>
                </a:lnTo>
                <a:lnTo>
                  <a:pt x="7825" y="6125"/>
                </a:lnTo>
                <a:lnTo>
                  <a:pt x="7832" y="6126"/>
                </a:lnTo>
                <a:lnTo>
                  <a:pt x="7839" y="6125"/>
                </a:lnTo>
                <a:lnTo>
                  <a:pt x="7839" y="6120"/>
                </a:lnTo>
                <a:close/>
                <a:moveTo>
                  <a:pt x="6695" y="6144"/>
                </a:moveTo>
                <a:lnTo>
                  <a:pt x="6699" y="6144"/>
                </a:lnTo>
                <a:lnTo>
                  <a:pt x="6702" y="6143"/>
                </a:lnTo>
                <a:lnTo>
                  <a:pt x="6704" y="6140"/>
                </a:lnTo>
                <a:lnTo>
                  <a:pt x="6704" y="6137"/>
                </a:lnTo>
                <a:lnTo>
                  <a:pt x="6700" y="6134"/>
                </a:lnTo>
                <a:lnTo>
                  <a:pt x="6695" y="6135"/>
                </a:lnTo>
                <a:lnTo>
                  <a:pt x="6693" y="6139"/>
                </a:lnTo>
                <a:lnTo>
                  <a:pt x="6695" y="6144"/>
                </a:lnTo>
                <a:close/>
                <a:moveTo>
                  <a:pt x="6402" y="6140"/>
                </a:moveTo>
                <a:lnTo>
                  <a:pt x="6405" y="6135"/>
                </a:lnTo>
                <a:lnTo>
                  <a:pt x="6407" y="6130"/>
                </a:lnTo>
                <a:lnTo>
                  <a:pt x="6409" y="6125"/>
                </a:lnTo>
                <a:lnTo>
                  <a:pt x="6405" y="6120"/>
                </a:lnTo>
                <a:lnTo>
                  <a:pt x="6401" y="6125"/>
                </a:lnTo>
                <a:lnTo>
                  <a:pt x="6400" y="6130"/>
                </a:lnTo>
                <a:lnTo>
                  <a:pt x="6401" y="6135"/>
                </a:lnTo>
                <a:lnTo>
                  <a:pt x="6402" y="6140"/>
                </a:lnTo>
                <a:close/>
                <a:moveTo>
                  <a:pt x="6402" y="6143"/>
                </a:moveTo>
                <a:lnTo>
                  <a:pt x="6402" y="6142"/>
                </a:lnTo>
                <a:lnTo>
                  <a:pt x="6402" y="6140"/>
                </a:lnTo>
                <a:lnTo>
                  <a:pt x="6401" y="6140"/>
                </a:lnTo>
                <a:lnTo>
                  <a:pt x="6401" y="6142"/>
                </a:lnTo>
                <a:lnTo>
                  <a:pt x="6402" y="6143"/>
                </a:lnTo>
                <a:close/>
                <a:moveTo>
                  <a:pt x="7644" y="6067"/>
                </a:moveTo>
                <a:lnTo>
                  <a:pt x="7648" y="6069"/>
                </a:lnTo>
                <a:lnTo>
                  <a:pt x="7650" y="6069"/>
                </a:lnTo>
                <a:lnTo>
                  <a:pt x="7653" y="6067"/>
                </a:lnTo>
                <a:lnTo>
                  <a:pt x="7654" y="6063"/>
                </a:lnTo>
                <a:lnTo>
                  <a:pt x="7650" y="6060"/>
                </a:lnTo>
                <a:lnTo>
                  <a:pt x="7646" y="6060"/>
                </a:lnTo>
                <a:lnTo>
                  <a:pt x="7645" y="6063"/>
                </a:lnTo>
                <a:lnTo>
                  <a:pt x="7644" y="6067"/>
                </a:lnTo>
                <a:close/>
                <a:moveTo>
                  <a:pt x="5455" y="6054"/>
                </a:moveTo>
                <a:lnTo>
                  <a:pt x="5461" y="6055"/>
                </a:lnTo>
                <a:lnTo>
                  <a:pt x="5460" y="6053"/>
                </a:lnTo>
                <a:lnTo>
                  <a:pt x="5459" y="6053"/>
                </a:lnTo>
                <a:lnTo>
                  <a:pt x="5457" y="6053"/>
                </a:lnTo>
                <a:lnTo>
                  <a:pt x="5455" y="6054"/>
                </a:lnTo>
                <a:close/>
                <a:moveTo>
                  <a:pt x="7171" y="6004"/>
                </a:moveTo>
                <a:lnTo>
                  <a:pt x="7166" y="6000"/>
                </a:lnTo>
                <a:lnTo>
                  <a:pt x="7161" y="6000"/>
                </a:lnTo>
                <a:lnTo>
                  <a:pt x="7157" y="6004"/>
                </a:lnTo>
                <a:lnTo>
                  <a:pt x="7156" y="6011"/>
                </a:lnTo>
                <a:lnTo>
                  <a:pt x="7161" y="6014"/>
                </a:lnTo>
                <a:lnTo>
                  <a:pt x="7166" y="6014"/>
                </a:lnTo>
                <a:lnTo>
                  <a:pt x="7170" y="6011"/>
                </a:lnTo>
                <a:lnTo>
                  <a:pt x="7171" y="6004"/>
                </a:lnTo>
                <a:close/>
                <a:moveTo>
                  <a:pt x="5325" y="6040"/>
                </a:moveTo>
                <a:lnTo>
                  <a:pt x="5321" y="6044"/>
                </a:lnTo>
                <a:lnTo>
                  <a:pt x="5322" y="6048"/>
                </a:lnTo>
                <a:lnTo>
                  <a:pt x="5326" y="6049"/>
                </a:lnTo>
                <a:lnTo>
                  <a:pt x="5331" y="6048"/>
                </a:lnTo>
                <a:lnTo>
                  <a:pt x="5332" y="6044"/>
                </a:lnTo>
                <a:lnTo>
                  <a:pt x="5331" y="6041"/>
                </a:lnTo>
                <a:lnTo>
                  <a:pt x="5329" y="6039"/>
                </a:lnTo>
                <a:lnTo>
                  <a:pt x="5325" y="6040"/>
                </a:lnTo>
                <a:close/>
                <a:moveTo>
                  <a:pt x="8435" y="5920"/>
                </a:moveTo>
                <a:lnTo>
                  <a:pt x="8436" y="5920"/>
                </a:lnTo>
                <a:lnTo>
                  <a:pt x="8436" y="5919"/>
                </a:lnTo>
                <a:lnTo>
                  <a:pt x="8435" y="5920"/>
                </a:lnTo>
                <a:close/>
                <a:moveTo>
                  <a:pt x="4139" y="6014"/>
                </a:moveTo>
                <a:lnTo>
                  <a:pt x="4139" y="6008"/>
                </a:lnTo>
                <a:lnTo>
                  <a:pt x="4138" y="6011"/>
                </a:lnTo>
                <a:lnTo>
                  <a:pt x="4137" y="6012"/>
                </a:lnTo>
                <a:lnTo>
                  <a:pt x="4137" y="6013"/>
                </a:lnTo>
                <a:lnTo>
                  <a:pt x="4139" y="6014"/>
                </a:lnTo>
                <a:close/>
                <a:moveTo>
                  <a:pt x="5265" y="5938"/>
                </a:moveTo>
                <a:lnTo>
                  <a:pt x="5262" y="5943"/>
                </a:lnTo>
                <a:lnTo>
                  <a:pt x="5265" y="5946"/>
                </a:lnTo>
                <a:lnTo>
                  <a:pt x="5270" y="5947"/>
                </a:lnTo>
                <a:lnTo>
                  <a:pt x="5273" y="5943"/>
                </a:lnTo>
                <a:lnTo>
                  <a:pt x="5273" y="5939"/>
                </a:lnTo>
                <a:lnTo>
                  <a:pt x="5271" y="5937"/>
                </a:lnTo>
                <a:lnTo>
                  <a:pt x="5268" y="5937"/>
                </a:lnTo>
                <a:lnTo>
                  <a:pt x="5265" y="5938"/>
                </a:lnTo>
                <a:close/>
                <a:moveTo>
                  <a:pt x="3546" y="5930"/>
                </a:moveTo>
                <a:lnTo>
                  <a:pt x="3548" y="5933"/>
                </a:lnTo>
                <a:lnTo>
                  <a:pt x="3552" y="5933"/>
                </a:lnTo>
                <a:lnTo>
                  <a:pt x="3556" y="5932"/>
                </a:lnTo>
                <a:lnTo>
                  <a:pt x="3559" y="5929"/>
                </a:lnTo>
                <a:lnTo>
                  <a:pt x="3556" y="5924"/>
                </a:lnTo>
                <a:lnTo>
                  <a:pt x="3551" y="5922"/>
                </a:lnTo>
                <a:lnTo>
                  <a:pt x="3546" y="5924"/>
                </a:lnTo>
                <a:lnTo>
                  <a:pt x="3546" y="5930"/>
                </a:lnTo>
                <a:close/>
                <a:moveTo>
                  <a:pt x="6751" y="5780"/>
                </a:moveTo>
                <a:lnTo>
                  <a:pt x="6758" y="5788"/>
                </a:lnTo>
                <a:lnTo>
                  <a:pt x="6764" y="5787"/>
                </a:lnTo>
                <a:lnTo>
                  <a:pt x="6765" y="5780"/>
                </a:lnTo>
                <a:lnTo>
                  <a:pt x="6756" y="5775"/>
                </a:lnTo>
                <a:lnTo>
                  <a:pt x="6752" y="5778"/>
                </a:lnTo>
                <a:lnTo>
                  <a:pt x="6751" y="5780"/>
                </a:lnTo>
                <a:close/>
                <a:moveTo>
                  <a:pt x="6456" y="5784"/>
                </a:moveTo>
                <a:lnTo>
                  <a:pt x="6447" y="5783"/>
                </a:lnTo>
                <a:lnTo>
                  <a:pt x="6439" y="5785"/>
                </a:lnTo>
                <a:lnTo>
                  <a:pt x="6433" y="5789"/>
                </a:lnTo>
                <a:lnTo>
                  <a:pt x="6428" y="5797"/>
                </a:lnTo>
                <a:lnTo>
                  <a:pt x="6447" y="5796"/>
                </a:lnTo>
                <a:lnTo>
                  <a:pt x="6466" y="5796"/>
                </a:lnTo>
                <a:lnTo>
                  <a:pt x="6472" y="5793"/>
                </a:lnTo>
                <a:lnTo>
                  <a:pt x="6456" y="5784"/>
                </a:lnTo>
                <a:close/>
                <a:moveTo>
                  <a:pt x="6428" y="5797"/>
                </a:moveTo>
                <a:lnTo>
                  <a:pt x="6428" y="5797"/>
                </a:lnTo>
                <a:lnTo>
                  <a:pt x="6426" y="5797"/>
                </a:lnTo>
                <a:lnTo>
                  <a:pt x="6428" y="5797"/>
                </a:lnTo>
                <a:lnTo>
                  <a:pt x="6428" y="5797"/>
                </a:lnTo>
                <a:close/>
                <a:moveTo>
                  <a:pt x="1432" y="5895"/>
                </a:moveTo>
                <a:lnTo>
                  <a:pt x="1423" y="5901"/>
                </a:lnTo>
                <a:lnTo>
                  <a:pt x="1425" y="5902"/>
                </a:lnTo>
                <a:lnTo>
                  <a:pt x="1432" y="5902"/>
                </a:lnTo>
                <a:lnTo>
                  <a:pt x="1441" y="5900"/>
                </a:lnTo>
                <a:lnTo>
                  <a:pt x="1443" y="5896"/>
                </a:lnTo>
                <a:lnTo>
                  <a:pt x="1441" y="5895"/>
                </a:lnTo>
                <a:lnTo>
                  <a:pt x="1436" y="5895"/>
                </a:lnTo>
                <a:lnTo>
                  <a:pt x="1432" y="5895"/>
                </a:lnTo>
                <a:close/>
                <a:moveTo>
                  <a:pt x="1419" y="5905"/>
                </a:moveTo>
                <a:lnTo>
                  <a:pt x="1420" y="5904"/>
                </a:lnTo>
                <a:lnTo>
                  <a:pt x="1420" y="5904"/>
                </a:lnTo>
                <a:lnTo>
                  <a:pt x="1420" y="5904"/>
                </a:lnTo>
                <a:lnTo>
                  <a:pt x="1419" y="5904"/>
                </a:lnTo>
                <a:lnTo>
                  <a:pt x="1419" y="5905"/>
                </a:lnTo>
                <a:close/>
                <a:moveTo>
                  <a:pt x="3957" y="5825"/>
                </a:moveTo>
                <a:lnTo>
                  <a:pt x="3956" y="5824"/>
                </a:lnTo>
                <a:lnTo>
                  <a:pt x="3955" y="5824"/>
                </a:lnTo>
                <a:lnTo>
                  <a:pt x="3956" y="5825"/>
                </a:lnTo>
                <a:lnTo>
                  <a:pt x="3957" y="5825"/>
                </a:lnTo>
                <a:close/>
                <a:moveTo>
                  <a:pt x="3976" y="5834"/>
                </a:moveTo>
                <a:lnTo>
                  <a:pt x="3977" y="5825"/>
                </a:lnTo>
                <a:lnTo>
                  <a:pt x="3967" y="5821"/>
                </a:lnTo>
                <a:lnTo>
                  <a:pt x="3960" y="5824"/>
                </a:lnTo>
                <a:lnTo>
                  <a:pt x="3969" y="5834"/>
                </a:lnTo>
                <a:lnTo>
                  <a:pt x="3972" y="5834"/>
                </a:lnTo>
                <a:lnTo>
                  <a:pt x="3976" y="5834"/>
                </a:lnTo>
                <a:close/>
                <a:moveTo>
                  <a:pt x="2504" y="5806"/>
                </a:moveTo>
                <a:lnTo>
                  <a:pt x="2507" y="5807"/>
                </a:lnTo>
                <a:lnTo>
                  <a:pt x="2509" y="5807"/>
                </a:lnTo>
                <a:lnTo>
                  <a:pt x="2512" y="5806"/>
                </a:lnTo>
                <a:lnTo>
                  <a:pt x="2512" y="5802"/>
                </a:lnTo>
                <a:lnTo>
                  <a:pt x="2509" y="5801"/>
                </a:lnTo>
                <a:lnTo>
                  <a:pt x="2507" y="5801"/>
                </a:lnTo>
                <a:lnTo>
                  <a:pt x="2505" y="5802"/>
                </a:lnTo>
                <a:lnTo>
                  <a:pt x="2504" y="5806"/>
                </a:lnTo>
                <a:close/>
                <a:moveTo>
                  <a:pt x="5013" y="5667"/>
                </a:moveTo>
                <a:lnTo>
                  <a:pt x="5014" y="5668"/>
                </a:lnTo>
                <a:lnTo>
                  <a:pt x="5015" y="5670"/>
                </a:lnTo>
                <a:lnTo>
                  <a:pt x="5017" y="5668"/>
                </a:lnTo>
                <a:lnTo>
                  <a:pt x="5018" y="5667"/>
                </a:lnTo>
                <a:lnTo>
                  <a:pt x="5013" y="5667"/>
                </a:lnTo>
                <a:close/>
                <a:moveTo>
                  <a:pt x="2866" y="5713"/>
                </a:moveTo>
                <a:lnTo>
                  <a:pt x="2866" y="5717"/>
                </a:lnTo>
                <a:lnTo>
                  <a:pt x="2867" y="5718"/>
                </a:lnTo>
                <a:lnTo>
                  <a:pt x="2871" y="5718"/>
                </a:lnTo>
                <a:lnTo>
                  <a:pt x="2873" y="5717"/>
                </a:lnTo>
                <a:lnTo>
                  <a:pt x="2872" y="5713"/>
                </a:lnTo>
                <a:lnTo>
                  <a:pt x="2871" y="5710"/>
                </a:lnTo>
                <a:lnTo>
                  <a:pt x="2868" y="5710"/>
                </a:lnTo>
                <a:lnTo>
                  <a:pt x="2866" y="5713"/>
                </a:lnTo>
                <a:close/>
                <a:moveTo>
                  <a:pt x="2410" y="5686"/>
                </a:moveTo>
                <a:lnTo>
                  <a:pt x="2419" y="5687"/>
                </a:lnTo>
                <a:lnTo>
                  <a:pt x="2423" y="5685"/>
                </a:lnTo>
                <a:lnTo>
                  <a:pt x="2419" y="5681"/>
                </a:lnTo>
                <a:lnTo>
                  <a:pt x="2410" y="5680"/>
                </a:lnTo>
                <a:lnTo>
                  <a:pt x="2410" y="5684"/>
                </a:lnTo>
                <a:lnTo>
                  <a:pt x="2410" y="5686"/>
                </a:lnTo>
                <a:close/>
                <a:moveTo>
                  <a:pt x="5005" y="5602"/>
                </a:moveTo>
                <a:lnTo>
                  <a:pt x="5005" y="5597"/>
                </a:lnTo>
                <a:lnTo>
                  <a:pt x="5001" y="5593"/>
                </a:lnTo>
                <a:lnTo>
                  <a:pt x="4996" y="5592"/>
                </a:lnTo>
                <a:lnTo>
                  <a:pt x="4991" y="5596"/>
                </a:lnTo>
                <a:lnTo>
                  <a:pt x="4991" y="5602"/>
                </a:lnTo>
                <a:lnTo>
                  <a:pt x="4995" y="5606"/>
                </a:lnTo>
                <a:lnTo>
                  <a:pt x="5000" y="5606"/>
                </a:lnTo>
                <a:lnTo>
                  <a:pt x="5005" y="5602"/>
                </a:lnTo>
                <a:close/>
                <a:moveTo>
                  <a:pt x="6970" y="5523"/>
                </a:moveTo>
                <a:lnTo>
                  <a:pt x="6974" y="5524"/>
                </a:lnTo>
                <a:lnTo>
                  <a:pt x="6977" y="5524"/>
                </a:lnTo>
                <a:lnTo>
                  <a:pt x="6979" y="5522"/>
                </a:lnTo>
                <a:lnTo>
                  <a:pt x="6980" y="5518"/>
                </a:lnTo>
                <a:lnTo>
                  <a:pt x="6975" y="5514"/>
                </a:lnTo>
                <a:lnTo>
                  <a:pt x="6970" y="5514"/>
                </a:lnTo>
                <a:lnTo>
                  <a:pt x="6968" y="5518"/>
                </a:lnTo>
                <a:lnTo>
                  <a:pt x="6970" y="5523"/>
                </a:lnTo>
                <a:close/>
                <a:moveTo>
                  <a:pt x="6117" y="5508"/>
                </a:moveTo>
                <a:lnTo>
                  <a:pt x="6114" y="5505"/>
                </a:lnTo>
                <a:lnTo>
                  <a:pt x="6112" y="5505"/>
                </a:lnTo>
                <a:lnTo>
                  <a:pt x="6109" y="5508"/>
                </a:lnTo>
                <a:lnTo>
                  <a:pt x="6109" y="5510"/>
                </a:lnTo>
                <a:lnTo>
                  <a:pt x="6112" y="5513"/>
                </a:lnTo>
                <a:lnTo>
                  <a:pt x="6114" y="5513"/>
                </a:lnTo>
                <a:lnTo>
                  <a:pt x="6117" y="5510"/>
                </a:lnTo>
                <a:lnTo>
                  <a:pt x="6117" y="5508"/>
                </a:lnTo>
                <a:close/>
                <a:moveTo>
                  <a:pt x="3173" y="5583"/>
                </a:moveTo>
                <a:lnTo>
                  <a:pt x="3171" y="5588"/>
                </a:lnTo>
                <a:lnTo>
                  <a:pt x="3174" y="5591"/>
                </a:lnTo>
                <a:lnTo>
                  <a:pt x="3178" y="5591"/>
                </a:lnTo>
                <a:lnTo>
                  <a:pt x="3182" y="5587"/>
                </a:lnTo>
                <a:lnTo>
                  <a:pt x="3180" y="5583"/>
                </a:lnTo>
                <a:lnTo>
                  <a:pt x="3179" y="5582"/>
                </a:lnTo>
                <a:lnTo>
                  <a:pt x="3175" y="5582"/>
                </a:lnTo>
                <a:lnTo>
                  <a:pt x="3173" y="5583"/>
                </a:lnTo>
                <a:close/>
                <a:moveTo>
                  <a:pt x="2696" y="5579"/>
                </a:moveTo>
                <a:lnTo>
                  <a:pt x="2700" y="5577"/>
                </a:lnTo>
                <a:lnTo>
                  <a:pt x="2703" y="5571"/>
                </a:lnTo>
                <a:lnTo>
                  <a:pt x="2704" y="5566"/>
                </a:lnTo>
                <a:lnTo>
                  <a:pt x="2704" y="5561"/>
                </a:lnTo>
                <a:lnTo>
                  <a:pt x="2699" y="5566"/>
                </a:lnTo>
                <a:lnTo>
                  <a:pt x="2694" y="5571"/>
                </a:lnTo>
                <a:lnTo>
                  <a:pt x="2691" y="5577"/>
                </a:lnTo>
                <a:lnTo>
                  <a:pt x="2696" y="5579"/>
                </a:lnTo>
                <a:close/>
                <a:moveTo>
                  <a:pt x="4869" y="5491"/>
                </a:moveTo>
                <a:lnTo>
                  <a:pt x="4871" y="5487"/>
                </a:lnTo>
                <a:lnTo>
                  <a:pt x="4871" y="5485"/>
                </a:lnTo>
                <a:lnTo>
                  <a:pt x="4870" y="5482"/>
                </a:lnTo>
                <a:lnTo>
                  <a:pt x="4866" y="5481"/>
                </a:lnTo>
                <a:lnTo>
                  <a:pt x="4864" y="5485"/>
                </a:lnTo>
                <a:lnTo>
                  <a:pt x="4864" y="5487"/>
                </a:lnTo>
                <a:lnTo>
                  <a:pt x="4866" y="5490"/>
                </a:lnTo>
                <a:lnTo>
                  <a:pt x="4869" y="5491"/>
                </a:lnTo>
                <a:close/>
                <a:moveTo>
                  <a:pt x="4433" y="5482"/>
                </a:moveTo>
                <a:lnTo>
                  <a:pt x="4440" y="5476"/>
                </a:lnTo>
                <a:lnTo>
                  <a:pt x="4436" y="5471"/>
                </a:lnTo>
                <a:lnTo>
                  <a:pt x="4426" y="5467"/>
                </a:lnTo>
                <a:lnTo>
                  <a:pt x="4416" y="5467"/>
                </a:lnTo>
                <a:lnTo>
                  <a:pt x="4419" y="5472"/>
                </a:lnTo>
                <a:lnTo>
                  <a:pt x="4423" y="5476"/>
                </a:lnTo>
                <a:lnTo>
                  <a:pt x="4428" y="5480"/>
                </a:lnTo>
                <a:lnTo>
                  <a:pt x="4433" y="5482"/>
                </a:lnTo>
                <a:close/>
                <a:moveTo>
                  <a:pt x="5529" y="5355"/>
                </a:moveTo>
                <a:lnTo>
                  <a:pt x="5530" y="5358"/>
                </a:lnTo>
                <a:lnTo>
                  <a:pt x="5531" y="5360"/>
                </a:lnTo>
                <a:lnTo>
                  <a:pt x="5534" y="5360"/>
                </a:lnTo>
                <a:lnTo>
                  <a:pt x="5538" y="5359"/>
                </a:lnTo>
                <a:lnTo>
                  <a:pt x="5536" y="5355"/>
                </a:lnTo>
                <a:lnTo>
                  <a:pt x="5535" y="5353"/>
                </a:lnTo>
                <a:lnTo>
                  <a:pt x="5532" y="5353"/>
                </a:lnTo>
                <a:lnTo>
                  <a:pt x="5529" y="5355"/>
                </a:lnTo>
                <a:close/>
                <a:moveTo>
                  <a:pt x="7575" y="6587"/>
                </a:moveTo>
                <a:lnTo>
                  <a:pt x="7576" y="6591"/>
                </a:lnTo>
                <a:lnTo>
                  <a:pt x="7580" y="6592"/>
                </a:lnTo>
                <a:lnTo>
                  <a:pt x="7585" y="6591"/>
                </a:lnTo>
                <a:lnTo>
                  <a:pt x="7590" y="6589"/>
                </a:lnTo>
                <a:lnTo>
                  <a:pt x="7588" y="6585"/>
                </a:lnTo>
                <a:lnTo>
                  <a:pt x="7584" y="6583"/>
                </a:lnTo>
                <a:lnTo>
                  <a:pt x="7579" y="6585"/>
                </a:lnTo>
                <a:lnTo>
                  <a:pt x="7575" y="6587"/>
                </a:lnTo>
                <a:close/>
                <a:moveTo>
                  <a:pt x="7523" y="6295"/>
                </a:moveTo>
                <a:lnTo>
                  <a:pt x="7525" y="6297"/>
                </a:lnTo>
                <a:lnTo>
                  <a:pt x="7529" y="6298"/>
                </a:lnTo>
                <a:lnTo>
                  <a:pt x="7533" y="6297"/>
                </a:lnTo>
                <a:lnTo>
                  <a:pt x="7536" y="6296"/>
                </a:lnTo>
                <a:lnTo>
                  <a:pt x="7534" y="6289"/>
                </a:lnTo>
                <a:lnTo>
                  <a:pt x="7531" y="6287"/>
                </a:lnTo>
                <a:lnTo>
                  <a:pt x="7525" y="6289"/>
                </a:lnTo>
                <a:lnTo>
                  <a:pt x="7523" y="6295"/>
                </a:lnTo>
                <a:close/>
                <a:moveTo>
                  <a:pt x="7795" y="6129"/>
                </a:moveTo>
                <a:lnTo>
                  <a:pt x="7793" y="6134"/>
                </a:lnTo>
                <a:lnTo>
                  <a:pt x="7797" y="6135"/>
                </a:lnTo>
                <a:lnTo>
                  <a:pt x="7802" y="6135"/>
                </a:lnTo>
                <a:lnTo>
                  <a:pt x="7807" y="6134"/>
                </a:lnTo>
                <a:lnTo>
                  <a:pt x="7813" y="6128"/>
                </a:lnTo>
                <a:lnTo>
                  <a:pt x="7811" y="6125"/>
                </a:lnTo>
                <a:lnTo>
                  <a:pt x="7804" y="6126"/>
                </a:lnTo>
                <a:lnTo>
                  <a:pt x="7795" y="6129"/>
                </a:lnTo>
                <a:close/>
                <a:moveTo>
                  <a:pt x="1233" y="5381"/>
                </a:moveTo>
                <a:lnTo>
                  <a:pt x="1241" y="5384"/>
                </a:lnTo>
                <a:lnTo>
                  <a:pt x="1250" y="5383"/>
                </a:lnTo>
                <a:lnTo>
                  <a:pt x="1259" y="5378"/>
                </a:lnTo>
                <a:lnTo>
                  <a:pt x="1266" y="5373"/>
                </a:lnTo>
                <a:lnTo>
                  <a:pt x="1255" y="5370"/>
                </a:lnTo>
                <a:lnTo>
                  <a:pt x="1245" y="5368"/>
                </a:lnTo>
                <a:lnTo>
                  <a:pt x="1237" y="5370"/>
                </a:lnTo>
                <a:lnTo>
                  <a:pt x="1233" y="5381"/>
                </a:lnTo>
                <a:close/>
                <a:moveTo>
                  <a:pt x="6522" y="6088"/>
                </a:moveTo>
                <a:lnTo>
                  <a:pt x="6522" y="6088"/>
                </a:lnTo>
                <a:lnTo>
                  <a:pt x="6521" y="6087"/>
                </a:lnTo>
                <a:lnTo>
                  <a:pt x="6522" y="6088"/>
                </a:lnTo>
                <a:close/>
                <a:moveTo>
                  <a:pt x="6519" y="6055"/>
                </a:moveTo>
                <a:lnTo>
                  <a:pt x="6512" y="6060"/>
                </a:lnTo>
                <a:lnTo>
                  <a:pt x="6512" y="6069"/>
                </a:lnTo>
                <a:lnTo>
                  <a:pt x="6517" y="6078"/>
                </a:lnTo>
                <a:lnTo>
                  <a:pt x="6521" y="6087"/>
                </a:lnTo>
                <a:lnTo>
                  <a:pt x="6526" y="6078"/>
                </a:lnTo>
                <a:lnTo>
                  <a:pt x="6530" y="6069"/>
                </a:lnTo>
                <a:lnTo>
                  <a:pt x="6528" y="6062"/>
                </a:lnTo>
                <a:lnTo>
                  <a:pt x="6519" y="6055"/>
                </a:lnTo>
                <a:close/>
                <a:moveTo>
                  <a:pt x="3015" y="5519"/>
                </a:moveTo>
                <a:lnTo>
                  <a:pt x="3016" y="5519"/>
                </a:lnTo>
                <a:lnTo>
                  <a:pt x="3016" y="5518"/>
                </a:lnTo>
                <a:lnTo>
                  <a:pt x="3016" y="5518"/>
                </a:lnTo>
                <a:lnTo>
                  <a:pt x="3016" y="5518"/>
                </a:lnTo>
                <a:lnTo>
                  <a:pt x="3016" y="5518"/>
                </a:lnTo>
                <a:lnTo>
                  <a:pt x="3015" y="5518"/>
                </a:lnTo>
                <a:lnTo>
                  <a:pt x="3015" y="5519"/>
                </a:lnTo>
                <a:close/>
                <a:moveTo>
                  <a:pt x="3085" y="5517"/>
                </a:moveTo>
                <a:lnTo>
                  <a:pt x="3067" y="5518"/>
                </a:lnTo>
                <a:lnTo>
                  <a:pt x="3050" y="5518"/>
                </a:lnTo>
                <a:lnTo>
                  <a:pt x="3034" y="5518"/>
                </a:lnTo>
                <a:lnTo>
                  <a:pt x="3017" y="5519"/>
                </a:lnTo>
                <a:lnTo>
                  <a:pt x="3034" y="5529"/>
                </a:lnTo>
                <a:lnTo>
                  <a:pt x="3050" y="5533"/>
                </a:lnTo>
                <a:lnTo>
                  <a:pt x="3068" y="5529"/>
                </a:lnTo>
                <a:lnTo>
                  <a:pt x="3085" y="5517"/>
                </a:lnTo>
                <a:close/>
                <a:moveTo>
                  <a:pt x="1237" y="5680"/>
                </a:moveTo>
                <a:lnTo>
                  <a:pt x="1237" y="5685"/>
                </a:lnTo>
                <a:lnTo>
                  <a:pt x="1238" y="5690"/>
                </a:lnTo>
                <a:lnTo>
                  <a:pt x="1242" y="5695"/>
                </a:lnTo>
                <a:lnTo>
                  <a:pt x="1246" y="5698"/>
                </a:lnTo>
                <a:lnTo>
                  <a:pt x="1252" y="5690"/>
                </a:lnTo>
                <a:lnTo>
                  <a:pt x="1252" y="5681"/>
                </a:lnTo>
                <a:lnTo>
                  <a:pt x="1246" y="5675"/>
                </a:lnTo>
                <a:lnTo>
                  <a:pt x="1237" y="5680"/>
                </a:lnTo>
                <a:close/>
                <a:moveTo>
                  <a:pt x="3390" y="5738"/>
                </a:moveTo>
                <a:lnTo>
                  <a:pt x="3385" y="5745"/>
                </a:lnTo>
                <a:lnTo>
                  <a:pt x="3384" y="5750"/>
                </a:lnTo>
                <a:lnTo>
                  <a:pt x="3388" y="5755"/>
                </a:lnTo>
                <a:lnTo>
                  <a:pt x="3394" y="5759"/>
                </a:lnTo>
                <a:lnTo>
                  <a:pt x="3399" y="5752"/>
                </a:lnTo>
                <a:lnTo>
                  <a:pt x="3399" y="5747"/>
                </a:lnTo>
                <a:lnTo>
                  <a:pt x="3397" y="5743"/>
                </a:lnTo>
                <a:lnTo>
                  <a:pt x="3390" y="5738"/>
                </a:lnTo>
                <a:close/>
                <a:moveTo>
                  <a:pt x="3448" y="5768"/>
                </a:moveTo>
                <a:lnTo>
                  <a:pt x="3444" y="5773"/>
                </a:lnTo>
                <a:lnTo>
                  <a:pt x="3445" y="5778"/>
                </a:lnTo>
                <a:lnTo>
                  <a:pt x="3449" y="5782"/>
                </a:lnTo>
                <a:lnTo>
                  <a:pt x="3453" y="5784"/>
                </a:lnTo>
                <a:lnTo>
                  <a:pt x="3460" y="5783"/>
                </a:lnTo>
                <a:lnTo>
                  <a:pt x="3460" y="5776"/>
                </a:lnTo>
                <a:lnTo>
                  <a:pt x="3455" y="5771"/>
                </a:lnTo>
                <a:lnTo>
                  <a:pt x="3448" y="5768"/>
                </a:lnTo>
                <a:close/>
                <a:moveTo>
                  <a:pt x="5971" y="6170"/>
                </a:moveTo>
                <a:lnTo>
                  <a:pt x="5967" y="6179"/>
                </a:lnTo>
                <a:lnTo>
                  <a:pt x="5974" y="6182"/>
                </a:lnTo>
                <a:lnTo>
                  <a:pt x="5983" y="6180"/>
                </a:lnTo>
                <a:lnTo>
                  <a:pt x="5988" y="6171"/>
                </a:lnTo>
                <a:lnTo>
                  <a:pt x="5985" y="6166"/>
                </a:lnTo>
                <a:lnTo>
                  <a:pt x="5981" y="6165"/>
                </a:lnTo>
                <a:lnTo>
                  <a:pt x="5974" y="6167"/>
                </a:lnTo>
                <a:lnTo>
                  <a:pt x="5971" y="6170"/>
                </a:lnTo>
                <a:close/>
                <a:moveTo>
                  <a:pt x="7306" y="5703"/>
                </a:moveTo>
                <a:lnTo>
                  <a:pt x="7304" y="5698"/>
                </a:lnTo>
                <a:lnTo>
                  <a:pt x="7299" y="5696"/>
                </a:lnTo>
                <a:lnTo>
                  <a:pt x="7295" y="5699"/>
                </a:lnTo>
                <a:lnTo>
                  <a:pt x="7290" y="5701"/>
                </a:lnTo>
                <a:lnTo>
                  <a:pt x="7290" y="5709"/>
                </a:lnTo>
                <a:lnTo>
                  <a:pt x="7295" y="5712"/>
                </a:lnTo>
                <a:lnTo>
                  <a:pt x="7301" y="5709"/>
                </a:lnTo>
                <a:lnTo>
                  <a:pt x="7306" y="5703"/>
                </a:lnTo>
                <a:close/>
                <a:moveTo>
                  <a:pt x="8511" y="5663"/>
                </a:moveTo>
                <a:lnTo>
                  <a:pt x="8506" y="5666"/>
                </a:lnTo>
                <a:lnTo>
                  <a:pt x="8507" y="5670"/>
                </a:lnTo>
                <a:lnTo>
                  <a:pt x="8512" y="5672"/>
                </a:lnTo>
                <a:lnTo>
                  <a:pt x="8519" y="5671"/>
                </a:lnTo>
                <a:lnTo>
                  <a:pt x="8520" y="5667"/>
                </a:lnTo>
                <a:lnTo>
                  <a:pt x="8520" y="5664"/>
                </a:lnTo>
                <a:lnTo>
                  <a:pt x="8516" y="5662"/>
                </a:lnTo>
                <a:lnTo>
                  <a:pt x="8511" y="5663"/>
                </a:lnTo>
                <a:close/>
                <a:moveTo>
                  <a:pt x="7156" y="6499"/>
                </a:moveTo>
                <a:lnTo>
                  <a:pt x="7154" y="6507"/>
                </a:lnTo>
                <a:lnTo>
                  <a:pt x="7157" y="6513"/>
                </a:lnTo>
                <a:lnTo>
                  <a:pt x="7166" y="6516"/>
                </a:lnTo>
                <a:lnTo>
                  <a:pt x="7175" y="6512"/>
                </a:lnTo>
                <a:lnTo>
                  <a:pt x="7174" y="6505"/>
                </a:lnTo>
                <a:lnTo>
                  <a:pt x="7170" y="6499"/>
                </a:lnTo>
                <a:lnTo>
                  <a:pt x="7164" y="6497"/>
                </a:lnTo>
                <a:lnTo>
                  <a:pt x="7156" y="6499"/>
                </a:lnTo>
                <a:close/>
                <a:moveTo>
                  <a:pt x="5376" y="5860"/>
                </a:moveTo>
                <a:lnTo>
                  <a:pt x="5378" y="5863"/>
                </a:lnTo>
                <a:lnTo>
                  <a:pt x="5382" y="5863"/>
                </a:lnTo>
                <a:lnTo>
                  <a:pt x="5386" y="5859"/>
                </a:lnTo>
                <a:lnTo>
                  <a:pt x="5390" y="5857"/>
                </a:lnTo>
                <a:lnTo>
                  <a:pt x="5387" y="5853"/>
                </a:lnTo>
                <a:lnTo>
                  <a:pt x="5383" y="5853"/>
                </a:lnTo>
                <a:lnTo>
                  <a:pt x="5380" y="5857"/>
                </a:lnTo>
                <a:lnTo>
                  <a:pt x="5376" y="5860"/>
                </a:lnTo>
                <a:close/>
                <a:moveTo>
                  <a:pt x="7388" y="6170"/>
                </a:moveTo>
                <a:lnTo>
                  <a:pt x="7397" y="6170"/>
                </a:lnTo>
                <a:lnTo>
                  <a:pt x="7407" y="6171"/>
                </a:lnTo>
                <a:lnTo>
                  <a:pt x="7416" y="6170"/>
                </a:lnTo>
                <a:lnTo>
                  <a:pt x="7421" y="6165"/>
                </a:lnTo>
                <a:lnTo>
                  <a:pt x="7412" y="6161"/>
                </a:lnTo>
                <a:lnTo>
                  <a:pt x="7404" y="6161"/>
                </a:lnTo>
                <a:lnTo>
                  <a:pt x="7397" y="6165"/>
                </a:lnTo>
                <a:lnTo>
                  <a:pt x="7388" y="6170"/>
                </a:lnTo>
                <a:close/>
                <a:moveTo>
                  <a:pt x="7387" y="6170"/>
                </a:moveTo>
                <a:lnTo>
                  <a:pt x="7388" y="6170"/>
                </a:lnTo>
                <a:lnTo>
                  <a:pt x="7385" y="6168"/>
                </a:lnTo>
                <a:lnTo>
                  <a:pt x="7387" y="6170"/>
                </a:lnTo>
                <a:close/>
                <a:moveTo>
                  <a:pt x="7648" y="6161"/>
                </a:moveTo>
                <a:lnTo>
                  <a:pt x="7653" y="6166"/>
                </a:lnTo>
                <a:lnTo>
                  <a:pt x="7659" y="6168"/>
                </a:lnTo>
                <a:lnTo>
                  <a:pt x="7663" y="6161"/>
                </a:lnTo>
                <a:lnTo>
                  <a:pt x="7657" y="6153"/>
                </a:lnTo>
                <a:lnTo>
                  <a:pt x="7649" y="6152"/>
                </a:lnTo>
                <a:lnTo>
                  <a:pt x="7648" y="6161"/>
                </a:lnTo>
                <a:close/>
                <a:moveTo>
                  <a:pt x="2026" y="4694"/>
                </a:moveTo>
                <a:lnTo>
                  <a:pt x="2023" y="4702"/>
                </a:lnTo>
                <a:lnTo>
                  <a:pt x="2028" y="4708"/>
                </a:lnTo>
                <a:lnTo>
                  <a:pt x="2038" y="4711"/>
                </a:lnTo>
                <a:lnTo>
                  <a:pt x="2047" y="4707"/>
                </a:lnTo>
                <a:lnTo>
                  <a:pt x="2044" y="4700"/>
                </a:lnTo>
                <a:lnTo>
                  <a:pt x="2041" y="4694"/>
                </a:lnTo>
                <a:lnTo>
                  <a:pt x="2034" y="4692"/>
                </a:lnTo>
                <a:lnTo>
                  <a:pt x="2026" y="4694"/>
                </a:lnTo>
                <a:close/>
                <a:moveTo>
                  <a:pt x="7669" y="6597"/>
                </a:moveTo>
                <a:lnTo>
                  <a:pt x="7664" y="6601"/>
                </a:lnTo>
                <a:lnTo>
                  <a:pt x="7663" y="6609"/>
                </a:lnTo>
                <a:lnTo>
                  <a:pt x="7667" y="6615"/>
                </a:lnTo>
                <a:lnTo>
                  <a:pt x="7673" y="6618"/>
                </a:lnTo>
                <a:lnTo>
                  <a:pt x="7681" y="6614"/>
                </a:lnTo>
                <a:lnTo>
                  <a:pt x="7683" y="6606"/>
                </a:lnTo>
                <a:lnTo>
                  <a:pt x="7680" y="6599"/>
                </a:lnTo>
                <a:lnTo>
                  <a:pt x="7669" y="6597"/>
                </a:lnTo>
                <a:close/>
                <a:moveTo>
                  <a:pt x="7059" y="5457"/>
                </a:moveTo>
                <a:lnTo>
                  <a:pt x="7054" y="5461"/>
                </a:lnTo>
                <a:lnTo>
                  <a:pt x="7061" y="5467"/>
                </a:lnTo>
                <a:lnTo>
                  <a:pt x="7071" y="5470"/>
                </a:lnTo>
                <a:lnTo>
                  <a:pt x="7077" y="5466"/>
                </a:lnTo>
                <a:lnTo>
                  <a:pt x="7076" y="5461"/>
                </a:lnTo>
                <a:lnTo>
                  <a:pt x="7071" y="5458"/>
                </a:lnTo>
                <a:lnTo>
                  <a:pt x="7064" y="5458"/>
                </a:lnTo>
                <a:lnTo>
                  <a:pt x="7059" y="5457"/>
                </a:lnTo>
                <a:close/>
                <a:moveTo>
                  <a:pt x="1866" y="5743"/>
                </a:moveTo>
                <a:lnTo>
                  <a:pt x="1861" y="5746"/>
                </a:lnTo>
                <a:lnTo>
                  <a:pt x="1858" y="5751"/>
                </a:lnTo>
                <a:lnTo>
                  <a:pt x="1858" y="5756"/>
                </a:lnTo>
                <a:lnTo>
                  <a:pt x="1865" y="5760"/>
                </a:lnTo>
                <a:lnTo>
                  <a:pt x="1872" y="5760"/>
                </a:lnTo>
                <a:lnTo>
                  <a:pt x="1876" y="5754"/>
                </a:lnTo>
                <a:lnTo>
                  <a:pt x="1875" y="5746"/>
                </a:lnTo>
                <a:lnTo>
                  <a:pt x="1866" y="5743"/>
                </a:lnTo>
                <a:close/>
                <a:moveTo>
                  <a:pt x="1534" y="5853"/>
                </a:moveTo>
                <a:lnTo>
                  <a:pt x="1540" y="5858"/>
                </a:lnTo>
                <a:lnTo>
                  <a:pt x="1545" y="5859"/>
                </a:lnTo>
                <a:lnTo>
                  <a:pt x="1550" y="5857"/>
                </a:lnTo>
                <a:lnTo>
                  <a:pt x="1554" y="5850"/>
                </a:lnTo>
                <a:lnTo>
                  <a:pt x="1548" y="5845"/>
                </a:lnTo>
                <a:lnTo>
                  <a:pt x="1543" y="5844"/>
                </a:lnTo>
                <a:lnTo>
                  <a:pt x="1539" y="5846"/>
                </a:lnTo>
                <a:lnTo>
                  <a:pt x="1534" y="5853"/>
                </a:lnTo>
                <a:close/>
                <a:moveTo>
                  <a:pt x="6951" y="6227"/>
                </a:moveTo>
                <a:lnTo>
                  <a:pt x="6956" y="6237"/>
                </a:lnTo>
                <a:lnTo>
                  <a:pt x="6963" y="6233"/>
                </a:lnTo>
                <a:lnTo>
                  <a:pt x="6966" y="6222"/>
                </a:lnTo>
                <a:lnTo>
                  <a:pt x="6965" y="6210"/>
                </a:lnTo>
                <a:lnTo>
                  <a:pt x="6959" y="6210"/>
                </a:lnTo>
                <a:lnTo>
                  <a:pt x="6954" y="6213"/>
                </a:lnTo>
                <a:lnTo>
                  <a:pt x="6951" y="6219"/>
                </a:lnTo>
                <a:lnTo>
                  <a:pt x="6951" y="6227"/>
                </a:lnTo>
                <a:close/>
                <a:moveTo>
                  <a:pt x="7042" y="6247"/>
                </a:moveTo>
                <a:lnTo>
                  <a:pt x="7043" y="6247"/>
                </a:lnTo>
                <a:lnTo>
                  <a:pt x="7042" y="6247"/>
                </a:lnTo>
                <a:lnTo>
                  <a:pt x="7038" y="6240"/>
                </a:lnTo>
                <a:lnTo>
                  <a:pt x="7034" y="6233"/>
                </a:lnTo>
                <a:lnTo>
                  <a:pt x="7029" y="6227"/>
                </a:lnTo>
                <a:lnTo>
                  <a:pt x="7021" y="6224"/>
                </a:lnTo>
                <a:lnTo>
                  <a:pt x="7007" y="6232"/>
                </a:lnTo>
                <a:lnTo>
                  <a:pt x="7011" y="6241"/>
                </a:lnTo>
                <a:lnTo>
                  <a:pt x="7025" y="6247"/>
                </a:lnTo>
                <a:lnTo>
                  <a:pt x="7042" y="6247"/>
                </a:lnTo>
                <a:lnTo>
                  <a:pt x="7043" y="6249"/>
                </a:lnTo>
                <a:lnTo>
                  <a:pt x="7042" y="6247"/>
                </a:lnTo>
                <a:close/>
                <a:moveTo>
                  <a:pt x="7873" y="6625"/>
                </a:moveTo>
                <a:lnTo>
                  <a:pt x="7863" y="6632"/>
                </a:lnTo>
                <a:lnTo>
                  <a:pt x="7863" y="6641"/>
                </a:lnTo>
                <a:lnTo>
                  <a:pt x="7871" y="6648"/>
                </a:lnTo>
                <a:lnTo>
                  <a:pt x="7883" y="6647"/>
                </a:lnTo>
                <a:lnTo>
                  <a:pt x="7887" y="6641"/>
                </a:lnTo>
                <a:lnTo>
                  <a:pt x="7886" y="6634"/>
                </a:lnTo>
                <a:lnTo>
                  <a:pt x="7881" y="6629"/>
                </a:lnTo>
                <a:lnTo>
                  <a:pt x="7873" y="6625"/>
                </a:lnTo>
                <a:close/>
                <a:moveTo>
                  <a:pt x="6919" y="5892"/>
                </a:moveTo>
                <a:lnTo>
                  <a:pt x="6924" y="5887"/>
                </a:lnTo>
                <a:lnTo>
                  <a:pt x="6926" y="5880"/>
                </a:lnTo>
                <a:lnTo>
                  <a:pt x="6926" y="5871"/>
                </a:lnTo>
                <a:lnTo>
                  <a:pt x="6922" y="5866"/>
                </a:lnTo>
                <a:lnTo>
                  <a:pt x="6915" y="5871"/>
                </a:lnTo>
                <a:lnTo>
                  <a:pt x="6910" y="5881"/>
                </a:lnTo>
                <a:lnTo>
                  <a:pt x="6912" y="5890"/>
                </a:lnTo>
                <a:lnTo>
                  <a:pt x="6919" y="5892"/>
                </a:lnTo>
                <a:close/>
                <a:moveTo>
                  <a:pt x="7156" y="6407"/>
                </a:moveTo>
                <a:lnTo>
                  <a:pt x="7151" y="6414"/>
                </a:lnTo>
                <a:lnTo>
                  <a:pt x="7155" y="6422"/>
                </a:lnTo>
                <a:lnTo>
                  <a:pt x="7163" y="6428"/>
                </a:lnTo>
                <a:lnTo>
                  <a:pt x="7173" y="6427"/>
                </a:lnTo>
                <a:lnTo>
                  <a:pt x="7178" y="6419"/>
                </a:lnTo>
                <a:lnTo>
                  <a:pt x="7174" y="6412"/>
                </a:lnTo>
                <a:lnTo>
                  <a:pt x="7165" y="6405"/>
                </a:lnTo>
                <a:lnTo>
                  <a:pt x="7156" y="6407"/>
                </a:lnTo>
                <a:close/>
                <a:moveTo>
                  <a:pt x="4877" y="5988"/>
                </a:moveTo>
                <a:lnTo>
                  <a:pt x="4875" y="5997"/>
                </a:lnTo>
                <a:lnTo>
                  <a:pt x="4879" y="6007"/>
                </a:lnTo>
                <a:lnTo>
                  <a:pt x="4887" y="6012"/>
                </a:lnTo>
                <a:lnTo>
                  <a:pt x="4898" y="6008"/>
                </a:lnTo>
                <a:lnTo>
                  <a:pt x="4896" y="5999"/>
                </a:lnTo>
                <a:lnTo>
                  <a:pt x="4892" y="5992"/>
                </a:lnTo>
                <a:lnTo>
                  <a:pt x="4887" y="5986"/>
                </a:lnTo>
                <a:lnTo>
                  <a:pt x="4877" y="5988"/>
                </a:lnTo>
                <a:close/>
                <a:moveTo>
                  <a:pt x="1248" y="4795"/>
                </a:moveTo>
                <a:lnTo>
                  <a:pt x="1259" y="4791"/>
                </a:lnTo>
                <a:lnTo>
                  <a:pt x="1264" y="4785"/>
                </a:lnTo>
                <a:lnTo>
                  <a:pt x="1261" y="4777"/>
                </a:lnTo>
                <a:lnTo>
                  <a:pt x="1252" y="4772"/>
                </a:lnTo>
                <a:lnTo>
                  <a:pt x="1241" y="4775"/>
                </a:lnTo>
                <a:lnTo>
                  <a:pt x="1237" y="4782"/>
                </a:lnTo>
                <a:lnTo>
                  <a:pt x="1239" y="4790"/>
                </a:lnTo>
                <a:lnTo>
                  <a:pt x="1248" y="4795"/>
                </a:lnTo>
                <a:close/>
                <a:moveTo>
                  <a:pt x="2742" y="5698"/>
                </a:moveTo>
                <a:lnTo>
                  <a:pt x="2742" y="5698"/>
                </a:lnTo>
                <a:lnTo>
                  <a:pt x="2742" y="5698"/>
                </a:lnTo>
                <a:lnTo>
                  <a:pt x="2742" y="5699"/>
                </a:lnTo>
                <a:lnTo>
                  <a:pt x="2742" y="5698"/>
                </a:lnTo>
                <a:close/>
                <a:moveTo>
                  <a:pt x="2719" y="5659"/>
                </a:moveTo>
                <a:lnTo>
                  <a:pt x="2705" y="5676"/>
                </a:lnTo>
                <a:lnTo>
                  <a:pt x="2708" y="5689"/>
                </a:lnTo>
                <a:lnTo>
                  <a:pt x="2722" y="5698"/>
                </a:lnTo>
                <a:lnTo>
                  <a:pt x="2742" y="5698"/>
                </a:lnTo>
                <a:lnTo>
                  <a:pt x="2738" y="5686"/>
                </a:lnTo>
                <a:lnTo>
                  <a:pt x="2735" y="5675"/>
                </a:lnTo>
                <a:lnTo>
                  <a:pt x="2729" y="5666"/>
                </a:lnTo>
                <a:lnTo>
                  <a:pt x="2719" y="5659"/>
                </a:lnTo>
                <a:close/>
                <a:moveTo>
                  <a:pt x="5563" y="5608"/>
                </a:moveTo>
                <a:lnTo>
                  <a:pt x="5558" y="5620"/>
                </a:lnTo>
                <a:lnTo>
                  <a:pt x="5567" y="5630"/>
                </a:lnTo>
                <a:lnTo>
                  <a:pt x="5581" y="5635"/>
                </a:lnTo>
                <a:lnTo>
                  <a:pt x="5594" y="5631"/>
                </a:lnTo>
                <a:lnTo>
                  <a:pt x="5596" y="5619"/>
                </a:lnTo>
                <a:lnTo>
                  <a:pt x="5588" y="5611"/>
                </a:lnTo>
                <a:lnTo>
                  <a:pt x="5576" y="5607"/>
                </a:lnTo>
                <a:lnTo>
                  <a:pt x="5563" y="5608"/>
                </a:lnTo>
                <a:close/>
                <a:moveTo>
                  <a:pt x="7379" y="5689"/>
                </a:moveTo>
                <a:lnTo>
                  <a:pt x="7375" y="5675"/>
                </a:lnTo>
                <a:lnTo>
                  <a:pt x="7366" y="5670"/>
                </a:lnTo>
                <a:lnTo>
                  <a:pt x="7356" y="5673"/>
                </a:lnTo>
                <a:lnTo>
                  <a:pt x="7351" y="5685"/>
                </a:lnTo>
                <a:lnTo>
                  <a:pt x="7355" y="5698"/>
                </a:lnTo>
                <a:lnTo>
                  <a:pt x="7362" y="5700"/>
                </a:lnTo>
                <a:lnTo>
                  <a:pt x="7371" y="5696"/>
                </a:lnTo>
                <a:lnTo>
                  <a:pt x="7379" y="5689"/>
                </a:lnTo>
                <a:close/>
                <a:moveTo>
                  <a:pt x="5222" y="5830"/>
                </a:moveTo>
                <a:lnTo>
                  <a:pt x="5215" y="5838"/>
                </a:lnTo>
                <a:lnTo>
                  <a:pt x="5214" y="5848"/>
                </a:lnTo>
                <a:lnTo>
                  <a:pt x="5218" y="5855"/>
                </a:lnTo>
                <a:lnTo>
                  <a:pt x="5228" y="5857"/>
                </a:lnTo>
                <a:lnTo>
                  <a:pt x="5236" y="5850"/>
                </a:lnTo>
                <a:lnTo>
                  <a:pt x="5236" y="5840"/>
                </a:lnTo>
                <a:lnTo>
                  <a:pt x="5231" y="5831"/>
                </a:lnTo>
                <a:lnTo>
                  <a:pt x="5222" y="5830"/>
                </a:lnTo>
                <a:close/>
                <a:moveTo>
                  <a:pt x="3855" y="5911"/>
                </a:moveTo>
                <a:lnTo>
                  <a:pt x="3854" y="5911"/>
                </a:lnTo>
                <a:lnTo>
                  <a:pt x="3854" y="5913"/>
                </a:lnTo>
                <a:lnTo>
                  <a:pt x="3855" y="5911"/>
                </a:lnTo>
                <a:close/>
                <a:moveTo>
                  <a:pt x="3821" y="5894"/>
                </a:moveTo>
                <a:lnTo>
                  <a:pt x="3821" y="5905"/>
                </a:lnTo>
                <a:lnTo>
                  <a:pt x="3830" y="5911"/>
                </a:lnTo>
                <a:lnTo>
                  <a:pt x="3843" y="5913"/>
                </a:lnTo>
                <a:lnTo>
                  <a:pt x="3854" y="5911"/>
                </a:lnTo>
                <a:lnTo>
                  <a:pt x="3854" y="5883"/>
                </a:lnTo>
                <a:lnTo>
                  <a:pt x="3849" y="5868"/>
                </a:lnTo>
                <a:lnTo>
                  <a:pt x="3837" y="5869"/>
                </a:lnTo>
                <a:lnTo>
                  <a:pt x="3821" y="5894"/>
                </a:lnTo>
                <a:close/>
                <a:moveTo>
                  <a:pt x="6114" y="5976"/>
                </a:moveTo>
                <a:lnTo>
                  <a:pt x="6103" y="5983"/>
                </a:lnTo>
                <a:lnTo>
                  <a:pt x="6103" y="5993"/>
                </a:lnTo>
                <a:lnTo>
                  <a:pt x="6112" y="6003"/>
                </a:lnTo>
                <a:lnTo>
                  <a:pt x="6126" y="6004"/>
                </a:lnTo>
                <a:lnTo>
                  <a:pt x="6132" y="5998"/>
                </a:lnTo>
                <a:lnTo>
                  <a:pt x="6130" y="5990"/>
                </a:lnTo>
                <a:lnTo>
                  <a:pt x="6122" y="5983"/>
                </a:lnTo>
                <a:lnTo>
                  <a:pt x="6114" y="5976"/>
                </a:lnTo>
                <a:close/>
                <a:moveTo>
                  <a:pt x="7234" y="6003"/>
                </a:moveTo>
                <a:lnTo>
                  <a:pt x="7238" y="5995"/>
                </a:lnTo>
                <a:lnTo>
                  <a:pt x="7235" y="5985"/>
                </a:lnTo>
                <a:lnTo>
                  <a:pt x="7229" y="5976"/>
                </a:lnTo>
                <a:lnTo>
                  <a:pt x="7220" y="5972"/>
                </a:lnTo>
                <a:lnTo>
                  <a:pt x="7213" y="5980"/>
                </a:lnTo>
                <a:lnTo>
                  <a:pt x="7215" y="5993"/>
                </a:lnTo>
                <a:lnTo>
                  <a:pt x="7224" y="6004"/>
                </a:lnTo>
                <a:lnTo>
                  <a:pt x="7234" y="6003"/>
                </a:lnTo>
                <a:close/>
                <a:moveTo>
                  <a:pt x="8228" y="6535"/>
                </a:moveTo>
                <a:lnTo>
                  <a:pt x="8217" y="6538"/>
                </a:lnTo>
                <a:lnTo>
                  <a:pt x="8207" y="6544"/>
                </a:lnTo>
                <a:lnTo>
                  <a:pt x="8199" y="6554"/>
                </a:lnTo>
                <a:lnTo>
                  <a:pt x="8193" y="6564"/>
                </a:lnTo>
                <a:lnTo>
                  <a:pt x="8208" y="6568"/>
                </a:lnTo>
                <a:lnTo>
                  <a:pt x="8225" y="6561"/>
                </a:lnTo>
                <a:lnTo>
                  <a:pt x="8234" y="6549"/>
                </a:lnTo>
                <a:lnTo>
                  <a:pt x="8228" y="6535"/>
                </a:lnTo>
                <a:close/>
                <a:moveTo>
                  <a:pt x="8193" y="6564"/>
                </a:moveTo>
                <a:lnTo>
                  <a:pt x="8193" y="6564"/>
                </a:lnTo>
                <a:lnTo>
                  <a:pt x="8192" y="6564"/>
                </a:lnTo>
                <a:lnTo>
                  <a:pt x="8193" y="6564"/>
                </a:lnTo>
                <a:close/>
                <a:moveTo>
                  <a:pt x="8129" y="6641"/>
                </a:moveTo>
                <a:lnTo>
                  <a:pt x="8121" y="6643"/>
                </a:lnTo>
                <a:lnTo>
                  <a:pt x="8115" y="6647"/>
                </a:lnTo>
                <a:lnTo>
                  <a:pt x="8110" y="6655"/>
                </a:lnTo>
                <a:lnTo>
                  <a:pt x="8109" y="6662"/>
                </a:lnTo>
                <a:lnTo>
                  <a:pt x="8119" y="6669"/>
                </a:lnTo>
                <a:lnTo>
                  <a:pt x="8133" y="6661"/>
                </a:lnTo>
                <a:lnTo>
                  <a:pt x="8139" y="6648"/>
                </a:lnTo>
                <a:lnTo>
                  <a:pt x="8129" y="6641"/>
                </a:lnTo>
                <a:close/>
                <a:moveTo>
                  <a:pt x="1390" y="4819"/>
                </a:moveTo>
                <a:lnTo>
                  <a:pt x="1388" y="4831"/>
                </a:lnTo>
                <a:lnTo>
                  <a:pt x="1399" y="4840"/>
                </a:lnTo>
                <a:lnTo>
                  <a:pt x="1413" y="4843"/>
                </a:lnTo>
                <a:lnTo>
                  <a:pt x="1419" y="4840"/>
                </a:lnTo>
                <a:lnTo>
                  <a:pt x="1416" y="4831"/>
                </a:lnTo>
                <a:lnTo>
                  <a:pt x="1408" y="4824"/>
                </a:lnTo>
                <a:lnTo>
                  <a:pt x="1399" y="4819"/>
                </a:lnTo>
                <a:lnTo>
                  <a:pt x="1390" y="4819"/>
                </a:lnTo>
                <a:close/>
                <a:moveTo>
                  <a:pt x="1236" y="4848"/>
                </a:moveTo>
                <a:lnTo>
                  <a:pt x="1250" y="4857"/>
                </a:lnTo>
                <a:lnTo>
                  <a:pt x="1266" y="4855"/>
                </a:lnTo>
                <a:lnTo>
                  <a:pt x="1280" y="4842"/>
                </a:lnTo>
                <a:lnTo>
                  <a:pt x="1287" y="4827"/>
                </a:lnTo>
                <a:lnTo>
                  <a:pt x="1274" y="4820"/>
                </a:lnTo>
                <a:lnTo>
                  <a:pt x="1257" y="4824"/>
                </a:lnTo>
                <a:lnTo>
                  <a:pt x="1243" y="4836"/>
                </a:lnTo>
                <a:lnTo>
                  <a:pt x="1236" y="4848"/>
                </a:lnTo>
                <a:close/>
                <a:moveTo>
                  <a:pt x="1271" y="4852"/>
                </a:moveTo>
                <a:lnTo>
                  <a:pt x="1271" y="4854"/>
                </a:lnTo>
                <a:lnTo>
                  <a:pt x="1270" y="4854"/>
                </a:lnTo>
                <a:lnTo>
                  <a:pt x="1271" y="4852"/>
                </a:lnTo>
                <a:close/>
                <a:moveTo>
                  <a:pt x="2555" y="5667"/>
                </a:moveTo>
                <a:lnTo>
                  <a:pt x="2545" y="5671"/>
                </a:lnTo>
                <a:lnTo>
                  <a:pt x="2540" y="5681"/>
                </a:lnTo>
                <a:lnTo>
                  <a:pt x="2542" y="5691"/>
                </a:lnTo>
                <a:lnTo>
                  <a:pt x="2551" y="5699"/>
                </a:lnTo>
                <a:lnTo>
                  <a:pt x="2559" y="5694"/>
                </a:lnTo>
                <a:lnTo>
                  <a:pt x="2563" y="5684"/>
                </a:lnTo>
                <a:lnTo>
                  <a:pt x="2561" y="5673"/>
                </a:lnTo>
                <a:lnTo>
                  <a:pt x="2555" y="5667"/>
                </a:lnTo>
                <a:close/>
                <a:moveTo>
                  <a:pt x="6744" y="5568"/>
                </a:moveTo>
                <a:lnTo>
                  <a:pt x="6733" y="5574"/>
                </a:lnTo>
                <a:lnTo>
                  <a:pt x="6723" y="5582"/>
                </a:lnTo>
                <a:lnTo>
                  <a:pt x="6717" y="5591"/>
                </a:lnTo>
                <a:lnTo>
                  <a:pt x="6716" y="5603"/>
                </a:lnTo>
                <a:lnTo>
                  <a:pt x="6733" y="5607"/>
                </a:lnTo>
                <a:lnTo>
                  <a:pt x="6751" y="5592"/>
                </a:lnTo>
                <a:lnTo>
                  <a:pt x="6758" y="5573"/>
                </a:lnTo>
                <a:lnTo>
                  <a:pt x="6744" y="5568"/>
                </a:lnTo>
                <a:close/>
                <a:moveTo>
                  <a:pt x="4977" y="5895"/>
                </a:moveTo>
                <a:lnTo>
                  <a:pt x="4967" y="5897"/>
                </a:lnTo>
                <a:lnTo>
                  <a:pt x="4958" y="5902"/>
                </a:lnTo>
                <a:lnTo>
                  <a:pt x="4953" y="5910"/>
                </a:lnTo>
                <a:lnTo>
                  <a:pt x="4956" y="5920"/>
                </a:lnTo>
                <a:lnTo>
                  <a:pt x="4970" y="5927"/>
                </a:lnTo>
                <a:lnTo>
                  <a:pt x="4984" y="5919"/>
                </a:lnTo>
                <a:lnTo>
                  <a:pt x="4989" y="5905"/>
                </a:lnTo>
                <a:lnTo>
                  <a:pt x="4977" y="5895"/>
                </a:lnTo>
                <a:close/>
                <a:moveTo>
                  <a:pt x="6402" y="5486"/>
                </a:moveTo>
                <a:lnTo>
                  <a:pt x="6402" y="5487"/>
                </a:lnTo>
                <a:lnTo>
                  <a:pt x="6404" y="5487"/>
                </a:lnTo>
                <a:lnTo>
                  <a:pt x="6402" y="5486"/>
                </a:lnTo>
                <a:close/>
                <a:moveTo>
                  <a:pt x="6370" y="5489"/>
                </a:moveTo>
                <a:lnTo>
                  <a:pt x="6359" y="5495"/>
                </a:lnTo>
                <a:lnTo>
                  <a:pt x="6355" y="5505"/>
                </a:lnTo>
                <a:lnTo>
                  <a:pt x="6359" y="5517"/>
                </a:lnTo>
                <a:lnTo>
                  <a:pt x="6369" y="5522"/>
                </a:lnTo>
                <a:lnTo>
                  <a:pt x="6395" y="5521"/>
                </a:lnTo>
                <a:lnTo>
                  <a:pt x="6404" y="5504"/>
                </a:lnTo>
                <a:lnTo>
                  <a:pt x="6396" y="5489"/>
                </a:lnTo>
                <a:lnTo>
                  <a:pt x="6370" y="5489"/>
                </a:lnTo>
                <a:close/>
                <a:moveTo>
                  <a:pt x="8483" y="5746"/>
                </a:moveTo>
                <a:lnTo>
                  <a:pt x="8483" y="5746"/>
                </a:lnTo>
                <a:lnTo>
                  <a:pt x="8482" y="5746"/>
                </a:lnTo>
                <a:lnTo>
                  <a:pt x="8482" y="5747"/>
                </a:lnTo>
                <a:lnTo>
                  <a:pt x="8483" y="5747"/>
                </a:lnTo>
                <a:lnTo>
                  <a:pt x="8483" y="5746"/>
                </a:lnTo>
                <a:close/>
                <a:moveTo>
                  <a:pt x="8533" y="5775"/>
                </a:moveTo>
                <a:lnTo>
                  <a:pt x="8544" y="5761"/>
                </a:lnTo>
                <a:lnTo>
                  <a:pt x="8530" y="5751"/>
                </a:lnTo>
                <a:lnTo>
                  <a:pt x="8505" y="5745"/>
                </a:lnTo>
                <a:lnTo>
                  <a:pt x="8483" y="5747"/>
                </a:lnTo>
                <a:lnTo>
                  <a:pt x="8493" y="5757"/>
                </a:lnTo>
                <a:lnTo>
                  <a:pt x="8505" y="5766"/>
                </a:lnTo>
                <a:lnTo>
                  <a:pt x="8518" y="5773"/>
                </a:lnTo>
                <a:lnTo>
                  <a:pt x="8533" y="5775"/>
                </a:lnTo>
                <a:close/>
                <a:moveTo>
                  <a:pt x="4281" y="5825"/>
                </a:moveTo>
                <a:lnTo>
                  <a:pt x="4264" y="5829"/>
                </a:lnTo>
                <a:lnTo>
                  <a:pt x="4247" y="5840"/>
                </a:lnTo>
                <a:lnTo>
                  <a:pt x="4239" y="5854"/>
                </a:lnTo>
                <a:lnTo>
                  <a:pt x="4247" y="5867"/>
                </a:lnTo>
                <a:lnTo>
                  <a:pt x="4261" y="5862"/>
                </a:lnTo>
                <a:lnTo>
                  <a:pt x="4277" y="5852"/>
                </a:lnTo>
                <a:lnTo>
                  <a:pt x="4286" y="5839"/>
                </a:lnTo>
                <a:lnTo>
                  <a:pt x="4281" y="5825"/>
                </a:lnTo>
                <a:close/>
                <a:moveTo>
                  <a:pt x="4147" y="5836"/>
                </a:moveTo>
                <a:lnTo>
                  <a:pt x="4147" y="5835"/>
                </a:lnTo>
                <a:lnTo>
                  <a:pt x="4146" y="5835"/>
                </a:lnTo>
                <a:lnTo>
                  <a:pt x="4147" y="5835"/>
                </a:lnTo>
                <a:lnTo>
                  <a:pt x="4146" y="5835"/>
                </a:lnTo>
                <a:lnTo>
                  <a:pt x="4146" y="5835"/>
                </a:lnTo>
                <a:lnTo>
                  <a:pt x="4119" y="5822"/>
                </a:lnTo>
                <a:lnTo>
                  <a:pt x="4092" y="5811"/>
                </a:lnTo>
                <a:lnTo>
                  <a:pt x="4065" y="5801"/>
                </a:lnTo>
                <a:lnTo>
                  <a:pt x="4035" y="5798"/>
                </a:lnTo>
                <a:lnTo>
                  <a:pt x="4031" y="5838"/>
                </a:lnTo>
                <a:lnTo>
                  <a:pt x="4069" y="5863"/>
                </a:lnTo>
                <a:lnTo>
                  <a:pt x="4118" y="5866"/>
                </a:lnTo>
                <a:lnTo>
                  <a:pt x="4146" y="5835"/>
                </a:lnTo>
                <a:lnTo>
                  <a:pt x="4147" y="5836"/>
                </a:lnTo>
                <a:lnTo>
                  <a:pt x="4147" y="5836"/>
                </a:lnTo>
                <a:close/>
                <a:moveTo>
                  <a:pt x="4179" y="5808"/>
                </a:moveTo>
                <a:lnTo>
                  <a:pt x="4172" y="5806"/>
                </a:lnTo>
                <a:lnTo>
                  <a:pt x="4167" y="5806"/>
                </a:lnTo>
                <a:lnTo>
                  <a:pt x="4161" y="5808"/>
                </a:lnTo>
                <a:lnTo>
                  <a:pt x="4157" y="5813"/>
                </a:lnTo>
                <a:lnTo>
                  <a:pt x="4152" y="5835"/>
                </a:lnTo>
                <a:lnTo>
                  <a:pt x="4172" y="5839"/>
                </a:lnTo>
                <a:lnTo>
                  <a:pt x="4190" y="5830"/>
                </a:lnTo>
                <a:lnTo>
                  <a:pt x="4179" y="5808"/>
                </a:lnTo>
                <a:close/>
                <a:moveTo>
                  <a:pt x="2170" y="4609"/>
                </a:moveTo>
                <a:lnTo>
                  <a:pt x="2175" y="4603"/>
                </a:lnTo>
                <a:lnTo>
                  <a:pt x="2181" y="4595"/>
                </a:lnTo>
                <a:lnTo>
                  <a:pt x="2182" y="4588"/>
                </a:lnTo>
                <a:lnTo>
                  <a:pt x="2181" y="4579"/>
                </a:lnTo>
                <a:lnTo>
                  <a:pt x="2164" y="4574"/>
                </a:lnTo>
                <a:lnTo>
                  <a:pt x="2150" y="4590"/>
                </a:lnTo>
                <a:lnTo>
                  <a:pt x="2149" y="4608"/>
                </a:lnTo>
                <a:lnTo>
                  <a:pt x="2170" y="4609"/>
                </a:lnTo>
                <a:close/>
                <a:moveTo>
                  <a:pt x="1576" y="4748"/>
                </a:moveTo>
                <a:lnTo>
                  <a:pt x="1574" y="4735"/>
                </a:lnTo>
                <a:lnTo>
                  <a:pt x="1560" y="4731"/>
                </a:lnTo>
                <a:lnTo>
                  <a:pt x="1543" y="4735"/>
                </a:lnTo>
                <a:lnTo>
                  <a:pt x="1527" y="4739"/>
                </a:lnTo>
                <a:lnTo>
                  <a:pt x="1515" y="4754"/>
                </a:lnTo>
                <a:lnTo>
                  <a:pt x="1529" y="4759"/>
                </a:lnTo>
                <a:lnTo>
                  <a:pt x="1554" y="4757"/>
                </a:lnTo>
                <a:lnTo>
                  <a:pt x="1576" y="4748"/>
                </a:lnTo>
                <a:close/>
                <a:moveTo>
                  <a:pt x="7559" y="6097"/>
                </a:moveTo>
                <a:lnTo>
                  <a:pt x="7559" y="6096"/>
                </a:lnTo>
                <a:lnTo>
                  <a:pt x="7557" y="6096"/>
                </a:lnTo>
                <a:lnTo>
                  <a:pt x="7559" y="6097"/>
                </a:lnTo>
                <a:close/>
                <a:moveTo>
                  <a:pt x="7603" y="6030"/>
                </a:moveTo>
                <a:lnTo>
                  <a:pt x="7599" y="6023"/>
                </a:lnTo>
                <a:lnTo>
                  <a:pt x="7593" y="6022"/>
                </a:lnTo>
                <a:lnTo>
                  <a:pt x="7585" y="6025"/>
                </a:lnTo>
                <a:lnTo>
                  <a:pt x="7579" y="6030"/>
                </a:lnTo>
                <a:lnTo>
                  <a:pt x="7556" y="6068"/>
                </a:lnTo>
                <a:lnTo>
                  <a:pt x="7564" y="6083"/>
                </a:lnTo>
                <a:lnTo>
                  <a:pt x="7584" y="6070"/>
                </a:lnTo>
                <a:lnTo>
                  <a:pt x="7603" y="6030"/>
                </a:lnTo>
                <a:close/>
                <a:moveTo>
                  <a:pt x="8003" y="6664"/>
                </a:moveTo>
                <a:lnTo>
                  <a:pt x="8003" y="6650"/>
                </a:lnTo>
                <a:lnTo>
                  <a:pt x="7999" y="6638"/>
                </a:lnTo>
                <a:lnTo>
                  <a:pt x="7993" y="6633"/>
                </a:lnTo>
                <a:lnTo>
                  <a:pt x="7981" y="6639"/>
                </a:lnTo>
                <a:lnTo>
                  <a:pt x="7971" y="6664"/>
                </a:lnTo>
                <a:lnTo>
                  <a:pt x="7981" y="6683"/>
                </a:lnTo>
                <a:lnTo>
                  <a:pt x="7998" y="6687"/>
                </a:lnTo>
                <a:lnTo>
                  <a:pt x="8003" y="6664"/>
                </a:lnTo>
                <a:close/>
                <a:moveTo>
                  <a:pt x="4756" y="5867"/>
                </a:moveTo>
                <a:lnTo>
                  <a:pt x="4733" y="5873"/>
                </a:lnTo>
                <a:lnTo>
                  <a:pt x="4736" y="5897"/>
                </a:lnTo>
                <a:lnTo>
                  <a:pt x="4756" y="5918"/>
                </a:lnTo>
                <a:lnTo>
                  <a:pt x="4782" y="5909"/>
                </a:lnTo>
                <a:lnTo>
                  <a:pt x="4781" y="5895"/>
                </a:lnTo>
                <a:lnTo>
                  <a:pt x="4775" y="5885"/>
                </a:lnTo>
                <a:lnTo>
                  <a:pt x="4766" y="5876"/>
                </a:lnTo>
                <a:lnTo>
                  <a:pt x="4756" y="5867"/>
                </a:lnTo>
                <a:close/>
                <a:moveTo>
                  <a:pt x="7224" y="6319"/>
                </a:moveTo>
                <a:lnTo>
                  <a:pt x="7238" y="6333"/>
                </a:lnTo>
                <a:lnTo>
                  <a:pt x="7253" y="6347"/>
                </a:lnTo>
                <a:lnTo>
                  <a:pt x="7268" y="6353"/>
                </a:lnTo>
                <a:lnTo>
                  <a:pt x="7285" y="6347"/>
                </a:lnTo>
                <a:lnTo>
                  <a:pt x="7282" y="6329"/>
                </a:lnTo>
                <a:lnTo>
                  <a:pt x="7266" y="6320"/>
                </a:lnTo>
                <a:lnTo>
                  <a:pt x="7244" y="6316"/>
                </a:lnTo>
                <a:lnTo>
                  <a:pt x="7224" y="6319"/>
                </a:lnTo>
                <a:close/>
                <a:moveTo>
                  <a:pt x="5917" y="6006"/>
                </a:moveTo>
                <a:lnTo>
                  <a:pt x="5898" y="6022"/>
                </a:lnTo>
                <a:lnTo>
                  <a:pt x="5895" y="6041"/>
                </a:lnTo>
                <a:lnTo>
                  <a:pt x="5907" y="6053"/>
                </a:lnTo>
                <a:lnTo>
                  <a:pt x="5931" y="6048"/>
                </a:lnTo>
                <a:lnTo>
                  <a:pt x="5936" y="6036"/>
                </a:lnTo>
                <a:lnTo>
                  <a:pt x="5936" y="6023"/>
                </a:lnTo>
                <a:lnTo>
                  <a:pt x="5930" y="6011"/>
                </a:lnTo>
                <a:lnTo>
                  <a:pt x="5917" y="6006"/>
                </a:lnTo>
                <a:close/>
                <a:moveTo>
                  <a:pt x="1401" y="4750"/>
                </a:moveTo>
                <a:lnTo>
                  <a:pt x="1386" y="4748"/>
                </a:lnTo>
                <a:lnTo>
                  <a:pt x="1368" y="4747"/>
                </a:lnTo>
                <a:lnTo>
                  <a:pt x="1353" y="4752"/>
                </a:lnTo>
                <a:lnTo>
                  <a:pt x="1341" y="4762"/>
                </a:lnTo>
                <a:lnTo>
                  <a:pt x="1355" y="4776"/>
                </a:lnTo>
                <a:lnTo>
                  <a:pt x="1381" y="4776"/>
                </a:lnTo>
                <a:lnTo>
                  <a:pt x="1400" y="4766"/>
                </a:lnTo>
                <a:lnTo>
                  <a:pt x="1401" y="4750"/>
                </a:lnTo>
                <a:close/>
                <a:moveTo>
                  <a:pt x="2077" y="4600"/>
                </a:moveTo>
                <a:lnTo>
                  <a:pt x="2056" y="4591"/>
                </a:lnTo>
                <a:lnTo>
                  <a:pt x="2028" y="4590"/>
                </a:lnTo>
                <a:lnTo>
                  <a:pt x="2001" y="4595"/>
                </a:lnTo>
                <a:lnTo>
                  <a:pt x="1984" y="4612"/>
                </a:lnTo>
                <a:lnTo>
                  <a:pt x="2006" y="4614"/>
                </a:lnTo>
                <a:lnTo>
                  <a:pt x="2032" y="4614"/>
                </a:lnTo>
                <a:lnTo>
                  <a:pt x="2057" y="4609"/>
                </a:lnTo>
                <a:lnTo>
                  <a:pt x="2077" y="4600"/>
                </a:lnTo>
                <a:close/>
                <a:moveTo>
                  <a:pt x="2207" y="5677"/>
                </a:moveTo>
                <a:lnTo>
                  <a:pt x="2207" y="5677"/>
                </a:lnTo>
                <a:lnTo>
                  <a:pt x="2209" y="5676"/>
                </a:lnTo>
                <a:lnTo>
                  <a:pt x="2207" y="5677"/>
                </a:lnTo>
                <a:close/>
                <a:moveTo>
                  <a:pt x="2249" y="5681"/>
                </a:moveTo>
                <a:lnTo>
                  <a:pt x="2226" y="5677"/>
                </a:lnTo>
                <a:lnTo>
                  <a:pt x="2206" y="5685"/>
                </a:lnTo>
                <a:lnTo>
                  <a:pt x="2196" y="5700"/>
                </a:lnTo>
                <a:lnTo>
                  <a:pt x="2205" y="5717"/>
                </a:lnTo>
                <a:lnTo>
                  <a:pt x="2224" y="5714"/>
                </a:lnTo>
                <a:lnTo>
                  <a:pt x="2244" y="5708"/>
                </a:lnTo>
                <a:lnTo>
                  <a:pt x="2256" y="5698"/>
                </a:lnTo>
                <a:lnTo>
                  <a:pt x="2249" y="5681"/>
                </a:lnTo>
                <a:close/>
                <a:moveTo>
                  <a:pt x="6940" y="6119"/>
                </a:moveTo>
                <a:lnTo>
                  <a:pt x="6924" y="6129"/>
                </a:lnTo>
                <a:lnTo>
                  <a:pt x="6923" y="6147"/>
                </a:lnTo>
                <a:lnTo>
                  <a:pt x="6932" y="6163"/>
                </a:lnTo>
                <a:lnTo>
                  <a:pt x="6950" y="6167"/>
                </a:lnTo>
                <a:lnTo>
                  <a:pt x="6969" y="6154"/>
                </a:lnTo>
                <a:lnTo>
                  <a:pt x="6973" y="6138"/>
                </a:lnTo>
                <a:lnTo>
                  <a:pt x="6963" y="6124"/>
                </a:lnTo>
                <a:lnTo>
                  <a:pt x="6940" y="6119"/>
                </a:lnTo>
                <a:close/>
                <a:moveTo>
                  <a:pt x="5439" y="5624"/>
                </a:moveTo>
                <a:lnTo>
                  <a:pt x="5437" y="5599"/>
                </a:lnTo>
                <a:lnTo>
                  <a:pt x="5422" y="5591"/>
                </a:lnTo>
                <a:lnTo>
                  <a:pt x="5404" y="5599"/>
                </a:lnTo>
                <a:lnTo>
                  <a:pt x="5394" y="5622"/>
                </a:lnTo>
                <a:lnTo>
                  <a:pt x="5399" y="5638"/>
                </a:lnTo>
                <a:lnTo>
                  <a:pt x="5414" y="5643"/>
                </a:lnTo>
                <a:lnTo>
                  <a:pt x="5431" y="5639"/>
                </a:lnTo>
                <a:lnTo>
                  <a:pt x="5439" y="5624"/>
                </a:lnTo>
                <a:close/>
                <a:moveTo>
                  <a:pt x="4328" y="5919"/>
                </a:moveTo>
                <a:lnTo>
                  <a:pt x="4300" y="5928"/>
                </a:lnTo>
                <a:lnTo>
                  <a:pt x="4307" y="5950"/>
                </a:lnTo>
                <a:lnTo>
                  <a:pt x="4332" y="5964"/>
                </a:lnTo>
                <a:lnTo>
                  <a:pt x="4357" y="5952"/>
                </a:lnTo>
                <a:lnTo>
                  <a:pt x="4358" y="5939"/>
                </a:lnTo>
                <a:lnTo>
                  <a:pt x="4353" y="5928"/>
                </a:lnTo>
                <a:lnTo>
                  <a:pt x="4343" y="5922"/>
                </a:lnTo>
                <a:lnTo>
                  <a:pt x="4328" y="5919"/>
                </a:lnTo>
                <a:close/>
                <a:moveTo>
                  <a:pt x="4525" y="5740"/>
                </a:moveTo>
                <a:lnTo>
                  <a:pt x="4497" y="5754"/>
                </a:lnTo>
                <a:lnTo>
                  <a:pt x="4482" y="5765"/>
                </a:lnTo>
                <a:lnTo>
                  <a:pt x="4487" y="5775"/>
                </a:lnTo>
                <a:lnTo>
                  <a:pt x="4520" y="5783"/>
                </a:lnTo>
                <a:lnTo>
                  <a:pt x="4540" y="5778"/>
                </a:lnTo>
                <a:lnTo>
                  <a:pt x="4551" y="5760"/>
                </a:lnTo>
                <a:lnTo>
                  <a:pt x="4545" y="5743"/>
                </a:lnTo>
                <a:lnTo>
                  <a:pt x="4525" y="5740"/>
                </a:lnTo>
                <a:close/>
                <a:moveTo>
                  <a:pt x="7676" y="5956"/>
                </a:moveTo>
                <a:lnTo>
                  <a:pt x="7676" y="5956"/>
                </a:lnTo>
                <a:lnTo>
                  <a:pt x="7676" y="5955"/>
                </a:lnTo>
                <a:lnTo>
                  <a:pt x="7676" y="5956"/>
                </a:lnTo>
                <a:close/>
                <a:moveTo>
                  <a:pt x="6359" y="5980"/>
                </a:moveTo>
                <a:lnTo>
                  <a:pt x="6344" y="5990"/>
                </a:lnTo>
                <a:lnTo>
                  <a:pt x="6323" y="6003"/>
                </a:lnTo>
                <a:lnTo>
                  <a:pt x="6311" y="6017"/>
                </a:lnTo>
                <a:lnTo>
                  <a:pt x="6314" y="6034"/>
                </a:lnTo>
                <a:lnTo>
                  <a:pt x="6337" y="6036"/>
                </a:lnTo>
                <a:lnTo>
                  <a:pt x="6359" y="6022"/>
                </a:lnTo>
                <a:lnTo>
                  <a:pt x="6369" y="6000"/>
                </a:lnTo>
                <a:lnTo>
                  <a:pt x="6359" y="5980"/>
                </a:lnTo>
                <a:close/>
                <a:moveTo>
                  <a:pt x="6440" y="6042"/>
                </a:moveTo>
                <a:lnTo>
                  <a:pt x="6425" y="6042"/>
                </a:lnTo>
                <a:lnTo>
                  <a:pt x="6411" y="6048"/>
                </a:lnTo>
                <a:lnTo>
                  <a:pt x="6400" y="6055"/>
                </a:lnTo>
                <a:lnTo>
                  <a:pt x="6388" y="6065"/>
                </a:lnTo>
                <a:lnTo>
                  <a:pt x="6400" y="6087"/>
                </a:lnTo>
                <a:lnTo>
                  <a:pt x="6430" y="6082"/>
                </a:lnTo>
                <a:lnTo>
                  <a:pt x="6452" y="6062"/>
                </a:lnTo>
                <a:lnTo>
                  <a:pt x="6440" y="6042"/>
                </a:lnTo>
                <a:close/>
                <a:moveTo>
                  <a:pt x="7497" y="6450"/>
                </a:moveTo>
                <a:lnTo>
                  <a:pt x="7489" y="6466"/>
                </a:lnTo>
                <a:lnTo>
                  <a:pt x="7504" y="6483"/>
                </a:lnTo>
                <a:lnTo>
                  <a:pt x="7529" y="6496"/>
                </a:lnTo>
                <a:lnTo>
                  <a:pt x="7551" y="6499"/>
                </a:lnTo>
                <a:lnTo>
                  <a:pt x="7551" y="6482"/>
                </a:lnTo>
                <a:lnTo>
                  <a:pt x="7538" y="6466"/>
                </a:lnTo>
                <a:lnTo>
                  <a:pt x="7518" y="6455"/>
                </a:lnTo>
                <a:lnTo>
                  <a:pt x="7497" y="6450"/>
                </a:lnTo>
                <a:close/>
                <a:moveTo>
                  <a:pt x="5318" y="5831"/>
                </a:moveTo>
                <a:lnTo>
                  <a:pt x="5301" y="5825"/>
                </a:lnTo>
                <a:lnTo>
                  <a:pt x="5285" y="5836"/>
                </a:lnTo>
                <a:lnTo>
                  <a:pt x="5278" y="5857"/>
                </a:lnTo>
                <a:lnTo>
                  <a:pt x="5285" y="5877"/>
                </a:lnTo>
                <a:lnTo>
                  <a:pt x="5306" y="5891"/>
                </a:lnTo>
                <a:lnTo>
                  <a:pt x="5318" y="5880"/>
                </a:lnTo>
                <a:lnTo>
                  <a:pt x="5322" y="5855"/>
                </a:lnTo>
                <a:lnTo>
                  <a:pt x="5318" y="5831"/>
                </a:lnTo>
                <a:close/>
                <a:moveTo>
                  <a:pt x="7095" y="5938"/>
                </a:moveTo>
                <a:lnTo>
                  <a:pt x="7099" y="5925"/>
                </a:lnTo>
                <a:lnTo>
                  <a:pt x="7089" y="5916"/>
                </a:lnTo>
                <a:lnTo>
                  <a:pt x="7073" y="5909"/>
                </a:lnTo>
                <a:lnTo>
                  <a:pt x="7059" y="5902"/>
                </a:lnTo>
                <a:lnTo>
                  <a:pt x="7036" y="5936"/>
                </a:lnTo>
                <a:lnTo>
                  <a:pt x="7039" y="5953"/>
                </a:lnTo>
                <a:lnTo>
                  <a:pt x="7061" y="5955"/>
                </a:lnTo>
                <a:lnTo>
                  <a:pt x="7095" y="5938"/>
                </a:lnTo>
                <a:close/>
                <a:moveTo>
                  <a:pt x="5674" y="6126"/>
                </a:moveTo>
                <a:lnTo>
                  <a:pt x="5675" y="6125"/>
                </a:lnTo>
                <a:lnTo>
                  <a:pt x="5674" y="6125"/>
                </a:lnTo>
                <a:lnTo>
                  <a:pt x="5674" y="6126"/>
                </a:lnTo>
                <a:close/>
                <a:moveTo>
                  <a:pt x="5627" y="6082"/>
                </a:moveTo>
                <a:lnTo>
                  <a:pt x="5606" y="6077"/>
                </a:lnTo>
                <a:lnTo>
                  <a:pt x="5586" y="6083"/>
                </a:lnTo>
                <a:lnTo>
                  <a:pt x="5576" y="6097"/>
                </a:lnTo>
                <a:lnTo>
                  <a:pt x="5585" y="6115"/>
                </a:lnTo>
                <a:lnTo>
                  <a:pt x="5628" y="6119"/>
                </a:lnTo>
                <a:lnTo>
                  <a:pt x="5659" y="6119"/>
                </a:lnTo>
                <a:lnTo>
                  <a:pt x="5664" y="6110"/>
                </a:lnTo>
                <a:lnTo>
                  <a:pt x="5627" y="6082"/>
                </a:lnTo>
                <a:close/>
                <a:moveTo>
                  <a:pt x="3282" y="5687"/>
                </a:moveTo>
                <a:lnTo>
                  <a:pt x="3267" y="5709"/>
                </a:lnTo>
                <a:lnTo>
                  <a:pt x="3272" y="5734"/>
                </a:lnTo>
                <a:lnTo>
                  <a:pt x="3291" y="5751"/>
                </a:lnTo>
                <a:lnTo>
                  <a:pt x="3319" y="5747"/>
                </a:lnTo>
                <a:lnTo>
                  <a:pt x="3320" y="5728"/>
                </a:lnTo>
                <a:lnTo>
                  <a:pt x="3314" y="5706"/>
                </a:lnTo>
                <a:lnTo>
                  <a:pt x="3301" y="5691"/>
                </a:lnTo>
                <a:lnTo>
                  <a:pt x="3282" y="5687"/>
                </a:lnTo>
                <a:close/>
                <a:moveTo>
                  <a:pt x="7634" y="6255"/>
                </a:moveTo>
                <a:lnTo>
                  <a:pt x="7618" y="6270"/>
                </a:lnTo>
                <a:lnTo>
                  <a:pt x="7603" y="6289"/>
                </a:lnTo>
                <a:lnTo>
                  <a:pt x="7596" y="6310"/>
                </a:lnTo>
                <a:lnTo>
                  <a:pt x="7602" y="6330"/>
                </a:lnTo>
                <a:lnTo>
                  <a:pt x="7629" y="6320"/>
                </a:lnTo>
                <a:lnTo>
                  <a:pt x="7652" y="6293"/>
                </a:lnTo>
                <a:lnTo>
                  <a:pt x="7658" y="6267"/>
                </a:lnTo>
                <a:lnTo>
                  <a:pt x="7634" y="6255"/>
                </a:lnTo>
                <a:close/>
                <a:moveTo>
                  <a:pt x="6924" y="5630"/>
                </a:moveTo>
                <a:lnTo>
                  <a:pt x="6924" y="5630"/>
                </a:lnTo>
                <a:lnTo>
                  <a:pt x="6924" y="5629"/>
                </a:lnTo>
                <a:lnTo>
                  <a:pt x="6924" y="5630"/>
                </a:lnTo>
                <a:close/>
                <a:moveTo>
                  <a:pt x="5475" y="5699"/>
                </a:moveTo>
                <a:lnTo>
                  <a:pt x="5460" y="5691"/>
                </a:lnTo>
                <a:lnTo>
                  <a:pt x="5445" y="5687"/>
                </a:lnTo>
                <a:lnTo>
                  <a:pt x="5431" y="5686"/>
                </a:lnTo>
                <a:lnTo>
                  <a:pt x="5418" y="5689"/>
                </a:lnTo>
                <a:lnTo>
                  <a:pt x="5410" y="5722"/>
                </a:lnTo>
                <a:lnTo>
                  <a:pt x="5443" y="5740"/>
                </a:lnTo>
                <a:lnTo>
                  <a:pt x="5479" y="5734"/>
                </a:lnTo>
                <a:lnTo>
                  <a:pt x="5475" y="5699"/>
                </a:lnTo>
                <a:close/>
                <a:moveTo>
                  <a:pt x="7247" y="6255"/>
                </a:moveTo>
                <a:lnTo>
                  <a:pt x="7255" y="6233"/>
                </a:lnTo>
                <a:lnTo>
                  <a:pt x="7254" y="6205"/>
                </a:lnTo>
                <a:lnTo>
                  <a:pt x="7241" y="6185"/>
                </a:lnTo>
                <a:lnTo>
                  <a:pt x="7220" y="6184"/>
                </a:lnTo>
                <a:lnTo>
                  <a:pt x="7205" y="6208"/>
                </a:lnTo>
                <a:lnTo>
                  <a:pt x="7207" y="6235"/>
                </a:lnTo>
                <a:lnTo>
                  <a:pt x="7222" y="6255"/>
                </a:lnTo>
                <a:lnTo>
                  <a:pt x="7247" y="6255"/>
                </a:lnTo>
                <a:close/>
                <a:moveTo>
                  <a:pt x="4889" y="5571"/>
                </a:moveTo>
                <a:lnTo>
                  <a:pt x="4875" y="5547"/>
                </a:lnTo>
                <a:lnTo>
                  <a:pt x="4845" y="5541"/>
                </a:lnTo>
                <a:lnTo>
                  <a:pt x="4810" y="5546"/>
                </a:lnTo>
                <a:lnTo>
                  <a:pt x="4786" y="5557"/>
                </a:lnTo>
                <a:lnTo>
                  <a:pt x="4809" y="5571"/>
                </a:lnTo>
                <a:lnTo>
                  <a:pt x="4842" y="5585"/>
                </a:lnTo>
                <a:lnTo>
                  <a:pt x="4873" y="5588"/>
                </a:lnTo>
                <a:lnTo>
                  <a:pt x="4889" y="5571"/>
                </a:lnTo>
                <a:close/>
                <a:moveTo>
                  <a:pt x="6612" y="6070"/>
                </a:moveTo>
                <a:lnTo>
                  <a:pt x="6598" y="6092"/>
                </a:lnTo>
                <a:lnTo>
                  <a:pt x="6587" y="6119"/>
                </a:lnTo>
                <a:lnTo>
                  <a:pt x="6587" y="6144"/>
                </a:lnTo>
                <a:lnTo>
                  <a:pt x="6603" y="6165"/>
                </a:lnTo>
                <a:lnTo>
                  <a:pt x="6625" y="6138"/>
                </a:lnTo>
                <a:lnTo>
                  <a:pt x="6643" y="6096"/>
                </a:lnTo>
                <a:lnTo>
                  <a:pt x="6644" y="6065"/>
                </a:lnTo>
                <a:lnTo>
                  <a:pt x="6612" y="6070"/>
                </a:lnTo>
                <a:close/>
                <a:moveTo>
                  <a:pt x="6747" y="6152"/>
                </a:moveTo>
                <a:lnTo>
                  <a:pt x="6747" y="6151"/>
                </a:lnTo>
                <a:lnTo>
                  <a:pt x="6747" y="6151"/>
                </a:lnTo>
                <a:lnTo>
                  <a:pt x="6747" y="6152"/>
                </a:lnTo>
                <a:close/>
                <a:moveTo>
                  <a:pt x="6816" y="6074"/>
                </a:moveTo>
                <a:lnTo>
                  <a:pt x="6784" y="6078"/>
                </a:lnTo>
                <a:lnTo>
                  <a:pt x="6760" y="6093"/>
                </a:lnTo>
                <a:lnTo>
                  <a:pt x="6747" y="6119"/>
                </a:lnTo>
                <a:lnTo>
                  <a:pt x="6747" y="6151"/>
                </a:lnTo>
                <a:lnTo>
                  <a:pt x="6778" y="6144"/>
                </a:lnTo>
                <a:lnTo>
                  <a:pt x="6805" y="6126"/>
                </a:lnTo>
                <a:lnTo>
                  <a:pt x="6821" y="6102"/>
                </a:lnTo>
                <a:lnTo>
                  <a:pt x="6816" y="6074"/>
                </a:lnTo>
                <a:close/>
                <a:moveTo>
                  <a:pt x="4393" y="5843"/>
                </a:moveTo>
                <a:lnTo>
                  <a:pt x="4370" y="5843"/>
                </a:lnTo>
                <a:lnTo>
                  <a:pt x="4346" y="5844"/>
                </a:lnTo>
                <a:lnTo>
                  <a:pt x="4324" y="5849"/>
                </a:lnTo>
                <a:lnTo>
                  <a:pt x="4309" y="5866"/>
                </a:lnTo>
                <a:lnTo>
                  <a:pt x="4332" y="5888"/>
                </a:lnTo>
                <a:lnTo>
                  <a:pt x="4375" y="5892"/>
                </a:lnTo>
                <a:lnTo>
                  <a:pt x="4405" y="5877"/>
                </a:lnTo>
                <a:lnTo>
                  <a:pt x="4393" y="5843"/>
                </a:lnTo>
                <a:close/>
                <a:moveTo>
                  <a:pt x="6862" y="6140"/>
                </a:moveTo>
                <a:lnTo>
                  <a:pt x="6842" y="6149"/>
                </a:lnTo>
                <a:lnTo>
                  <a:pt x="6839" y="6180"/>
                </a:lnTo>
                <a:lnTo>
                  <a:pt x="6848" y="6216"/>
                </a:lnTo>
                <a:lnTo>
                  <a:pt x="6863" y="6237"/>
                </a:lnTo>
                <a:lnTo>
                  <a:pt x="6886" y="6222"/>
                </a:lnTo>
                <a:lnTo>
                  <a:pt x="6893" y="6191"/>
                </a:lnTo>
                <a:lnTo>
                  <a:pt x="6885" y="6158"/>
                </a:lnTo>
                <a:lnTo>
                  <a:pt x="6862" y="6140"/>
                </a:lnTo>
                <a:close/>
                <a:moveTo>
                  <a:pt x="7771" y="6045"/>
                </a:moveTo>
                <a:lnTo>
                  <a:pt x="7751" y="6051"/>
                </a:lnTo>
                <a:lnTo>
                  <a:pt x="7728" y="6064"/>
                </a:lnTo>
                <a:lnTo>
                  <a:pt x="7715" y="6081"/>
                </a:lnTo>
                <a:lnTo>
                  <a:pt x="7723" y="6098"/>
                </a:lnTo>
                <a:lnTo>
                  <a:pt x="7756" y="6106"/>
                </a:lnTo>
                <a:lnTo>
                  <a:pt x="7788" y="6087"/>
                </a:lnTo>
                <a:lnTo>
                  <a:pt x="7799" y="6060"/>
                </a:lnTo>
                <a:lnTo>
                  <a:pt x="7771" y="6045"/>
                </a:lnTo>
                <a:close/>
                <a:moveTo>
                  <a:pt x="1404" y="5754"/>
                </a:moveTo>
                <a:lnTo>
                  <a:pt x="1364" y="5783"/>
                </a:lnTo>
                <a:lnTo>
                  <a:pt x="1378" y="5807"/>
                </a:lnTo>
                <a:lnTo>
                  <a:pt x="1420" y="5816"/>
                </a:lnTo>
                <a:lnTo>
                  <a:pt x="1467" y="5801"/>
                </a:lnTo>
                <a:lnTo>
                  <a:pt x="1456" y="5783"/>
                </a:lnTo>
                <a:lnTo>
                  <a:pt x="1442" y="5769"/>
                </a:lnTo>
                <a:lnTo>
                  <a:pt x="1425" y="5759"/>
                </a:lnTo>
                <a:lnTo>
                  <a:pt x="1404" y="5754"/>
                </a:lnTo>
                <a:close/>
                <a:moveTo>
                  <a:pt x="1467" y="5801"/>
                </a:moveTo>
                <a:lnTo>
                  <a:pt x="1469" y="5801"/>
                </a:lnTo>
                <a:lnTo>
                  <a:pt x="1469" y="5802"/>
                </a:lnTo>
                <a:lnTo>
                  <a:pt x="1469" y="5801"/>
                </a:lnTo>
                <a:lnTo>
                  <a:pt x="1467" y="5801"/>
                </a:lnTo>
                <a:close/>
                <a:moveTo>
                  <a:pt x="7166" y="6237"/>
                </a:moveTo>
                <a:lnTo>
                  <a:pt x="7149" y="6205"/>
                </a:lnTo>
                <a:lnTo>
                  <a:pt x="7122" y="6174"/>
                </a:lnTo>
                <a:lnTo>
                  <a:pt x="7090" y="6154"/>
                </a:lnTo>
                <a:lnTo>
                  <a:pt x="7054" y="6156"/>
                </a:lnTo>
                <a:lnTo>
                  <a:pt x="7068" y="6186"/>
                </a:lnTo>
                <a:lnTo>
                  <a:pt x="7101" y="6221"/>
                </a:lnTo>
                <a:lnTo>
                  <a:pt x="7138" y="6242"/>
                </a:lnTo>
                <a:lnTo>
                  <a:pt x="7166" y="6237"/>
                </a:lnTo>
                <a:close/>
                <a:moveTo>
                  <a:pt x="5054" y="5804"/>
                </a:moveTo>
                <a:lnTo>
                  <a:pt x="4998" y="5794"/>
                </a:lnTo>
                <a:lnTo>
                  <a:pt x="4954" y="5792"/>
                </a:lnTo>
                <a:lnTo>
                  <a:pt x="4926" y="5807"/>
                </a:lnTo>
                <a:lnTo>
                  <a:pt x="4920" y="5845"/>
                </a:lnTo>
                <a:lnTo>
                  <a:pt x="4964" y="5841"/>
                </a:lnTo>
                <a:lnTo>
                  <a:pt x="5032" y="5839"/>
                </a:lnTo>
                <a:lnTo>
                  <a:pt x="5075" y="5830"/>
                </a:lnTo>
                <a:lnTo>
                  <a:pt x="5054" y="5804"/>
                </a:lnTo>
                <a:close/>
                <a:moveTo>
                  <a:pt x="7809" y="6506"/>
                </a:moveTo>
                <a:lnTo>
                  <a:pt x="7811" y="6506"/>
                </a:lnTo>
                <a:lnTo>
                  <a:pt x="7811" y="6507"/>
                </a:lnTo>
                <a:lnTo>
                  <a:pt x="7811" y="6506"/>
                </a:lnTo>
                <a:lnTo>
                  <a:pt x="7811" y="6505"/>
                </a:lnTo>
                <a:lnTo>
                  <a:pt x="7809" y="6505"/>
                </a:lnTo>
                <a:lnTo>
                  <a:pt x="7809" y="6506"/>
                </a:lnTo>
                <a:close/>
                <a:moveTo>
                  <a:pt x="7750" y="6498"/>
                </a:moveTo>
                <a:lnTo>
                  <a:pt x="7723" y="6526"/>
                </a:lnTo>
                <a:lnTo>
                  <a:pt x="7751" y="6550"/>
                </a:lnTo>
                <a:lnTo>
                  <a:pt x="7798" y="6559"/>
                </a:lnTo>
                <a:lnTo>
                  <a:pt x="7829" y="6538"/>
                </a:lnTo>
                <a:lnTo>
                  <a:pt x="7813" y="6517"/>
                </a:lnTo>
                <a:lnTo>
                  <a:pt x="7797" y="6499"/>
                </a:lnTo>
                <a:lnTo>
                  <a:pt x="7776" y="6489"/>
                </a:lnTo>
                <a:lnTo>
                  <a:pt x="7750" y="6498"/>
                </a:lnTo>
                <a:close/>
                <a:moveTo>
                  <a:pt x="7532" y="6208"/>
                </a:moveTo>
                <a:lnTo>
                  <a:pt x="7494" y="6168"/>
                </a:lnTo>
                <a:lnTo>
                  <a:pt x="7463" y="6199"/>
                </a:lnTo>
                <a:lnTo>
                  <a:pt x="7458" y="6251"/>
                </a:lnTo>
                <a:lnTo>
                  <a:pt x="7499" y="6273"/>
                </a:lnTo>
                <a:lnTo>
                  <a:pt x="7514" y="6260"/>
                </a:lnTo>
                <a:lnTo>
                  <a:pt x="7524" y="6245"/>
                </a:lnTo>
                <a:lnTo>
                  <a:pt x="7529" y="6227"/>
                </a:lnTo>
                <a:lnTo>
                  <a:pt x="7532" y="6208"/>
                </a:lnTo>
                <a:close/>
                <a:moveTo>
                  <a:pt x="6922" y="5509"/>
                </a:moveTo>
                <a:lnTo>
                  <a:pt x="6887" y="5524"/>
                </a:lnTo>
                <a:lnTo>
                  <a:pt x="6853" y="5564"/>
                </a:lnTo>
                <a:lnTo>
                  <a:pt x="6837" y="5610"/>
                </a:lnTo>
                <a:lnTo>
                  <a:pt x="6849" y="5643"/>
                </a:lnTo>
                <a:lnTo>
                  <a:pt x="6879" y="5619"/>
                </a:lnTo>
                <a:lnTo>
                  <a:pt x="6909" y="5582"/>
                </a:lnTo>
                <a:lnTo>
                  <a:pt x="6927" y="5542"/>
                </a:lnTo>
                <a:lnTo>
                  <a:pt x="6922" y="5509"/>
                </a:lnTo>
                <a:close/>
                <a:moveTo>
                  <a:pt x="5861" y="5897"/>
                </a:moveTo>
                <a:lnTo>
                  <a:pt x="5828" y="5909"/>
                </a:lnTo>
                <a:lnTo>
                  <a:pt x="5824" y="5942"/>
                </a:lnTo>
                <a:lnTo>
                  <a:pt x="5842" y="5978"/>
                </a:lnTo>
                <a:lnTo>
                  <a:pt x="5874" y="5993"/>
                </a:lnTo>
                <a:lnTo>
                  <a:pt x="5921" y="5965"/>
                </a:lnTo>
                <a:lnTo>
                  <a:pt x="5928" y="5947"/>
                </a:lnTo>
                <a:lnTo>
                  <a:pt x="5906" y="5929"/>
                </a:lnTo>
                <a:lnTo>
                  <a:pt x="5861" y="5897"/>
                </a:lnTo>
                <a:close/>
                <a:moveTo>
                  <a:pt x="4770" y="5759"/>
                </a:moveTo>
                <a:lnTo>
                  <a:pt x="4710" y="5764"/>
                </a:lnTo>
                <a:lnTo>
                  <a:pt x="4656" y="5768"/>
                </a:lnTo>
                <a:lnTo>
                  <a:pt x="4637" y="5784"/>
                </a:lnTo>
                <a:lnTo>
                  <a:pt x="4682" y="5826"/>
                </a:lnTo>
                <a:lnTo>
                  <a:pt x="4726" y="5827"/>
                </a:lnTo>
                <a:lnTo>
                  <a:pt x="4780" y="5813"/>
                </a:lnTo>
                <a:lnTo>
                  <a:pt x="4807" y="5789"/>
                </a:lnTo>
                <a:lnTo>
                  <a:pt x="4770" y="5759"/>
                </a:lnTo>
                <a:close/>
                <a:moveTo>
                  <a:pt x="3110" y="5364"/>
                </a:moveTo>
                <a:lnTo>
                  <a:pt x="3035" y="5398"/>
                </a:lnTo>
                <a:lnTo>
                  <a:pt x="3054" y="5471"/>
                </a:lnTo>
                <a:lnTo>
                  <a:pt x="3103" y="5515"/>
                </a:lnTo>
                <a:lnTo>
                  <a:pt x="3114" y="5463"/>
                </a:lnTo>
                <a:lnTo>
                  <a:pt x="3081" y="5423"/>
                </a:lnTo>
                <a:lnTo>
                  <a:pt x="3129" y="5401"/>
                </a:lnTo>
                <a:lnTo>
                  <a:pt x="3168" y="5386"/>
                </a:lnTo>
                <a:lnTo>
                  <a:pt x="3110" y="5364"/>
                </a:lnTo>
                <a:close/>
                <a:moveTo>
                  <a:pt x="3645" y="5796"/>
                </a:moveTo>
                <a:lnTo>
                  <a:pt x="3646" y="5794"/>
                </a:lnTo>
                <a:lnTo>
                  <a:pt x="3646" y="5794"/>
                </a:lnTo>
                <a:lnTo>
                  <a:pt x="3645" y="5794"/>
                </a:lnTo>
                <a:lnTo>
                  <a:pt x="3645" y="5796"/>
                </a:lnTo>
                <a:close/>
                <a:moveTo>
                  <a:pt x="3500" y="5757"/>
                </a:moveTo>
                <a:lnTo>
                  <a:pt x="3501" y="5803"/>
                </a:lnTo>
                <a:lnTo>
                  <a:pt x="3536" y="5830"/>
                </a:lnTo>
                <a:lnTo>
                  <a:pt x="3584" y="5836"/>
                </a:lnTo>
                <a:lnTo>
                  <a:pt x="3626" y="5822"/>
                </a:lnTo>
                <a:lnTo>
                  <a:pt x="3634" y="5782"/>
                </a:lnTo>
                <a:lnTo>
                  <a:pt x="3601" y="5755"/>
                </a:lnTo>
                <a:lnTo>
                  <a:pt x="3550" y="5746"/>
                </a:lnTo>
                <a:lnTo>
                  <a:pt x="3500" y="5757"/>
                </a:lnTo>
                <a:close/>
                <a:moveTo>
                  <a:pt x="3609" y="5746"/>
                </a:moveTo>
                <a:lnTo>
                  <a:pt x="3608" y="5745"/>
                </a:lnTo>
                <a:lnTo>
                  <a:pt x="3609" y="5746"/>
                </a:lnTo>
                <a:lnTo>
                  <a:pt x="3609" y="5745"/>
                </a:lnTo>
                <a:lnTo>
                  <a:pt x="3608" y="5745"/>
                </a:lnTo>
                <a:lnTo>
                  <a:pt x="3608" y="5746"/>
                </a:lnTo>
                <a:lnTo>
                  <a:pt x="3609" y="5746"/>
                </a:lnTo>
                <a:close/>
                <a:moveTo>
                  <a:pt x="7304" y="6235"/>
                </a:moveTo>
                <a:lnTo>
                  <a:pt x="7301" y="6269"/>
                </a:lnTo>
                <a:lnTo>
                  <a:pt x="7315" y="6311"/>
                </a:lnTo>
                <a:lnTo>
                  <a:pt x="7340" y="6345"/>
                </a:lnTo>
                <a:lnTo>
                  <a:pt x="7370" y="6361"/>
                </a:lnTo>
                <a:lnTo>
                  <a:pt x="7385" y="6284"/>
                </a:lnTo>
                <a:lnTo>
                  <a:pt x="7382" y="6213"/>
                </a:lnTo>
                <a:lnTo>
                  <a:pt x="7355" y="6184"/>
                </a:lnTo>
                <a:lnTo>
                  <a:pt x="7304" y="6235"/>
                </a:lnTo>
                <a:close/>
                <a:moveTo>
                  <a:pt x="7385" y="6171"/>
                </a:moveTo>
                <a:lnTo>
                  <a:pt x="7385" y="6170"/>
                </a:lnTo>
                <a:lnTo>
                  <a:pt x="7385" y="6171"/>
                </a:lnTo>
                <a:lnTo>
                  <a:pt x="7387" y="6170"/>
                </a:lnTo>
                <a:lnTo>
                  <a:pt x="7385" y="6171"/>
                </a:lnTo>
                <a:close/>
                <a:moveTo>
                  <a:pt x="3688" y="5831"/>
                </a:moveTo>
                <a:lnTo>
                  <a:pt x="3770" y="5845"/>
                </a:lnTo>
                <a:lnTo>
                  <a:pt x="3874" y="5844"/>
                </a:lnTo>
                <a:lnTo>
                  <a:pt x="3938" y="5829"/>
                </a:lnTo>
                <a:lnTo>
                  <a:pt x="3896" y="5801"/>
                </a:lnTo>
                <a:lnTo>
                  <a:pt x="3823" y="5793"/>
                </a:lnTo>
                <a:lnTo>
                  <a:pt x="3727" y="5780"/>
                </a:lnTo>
                <a:lnTo>
                  <a:pt x="3663" y="5785"/>
                </a:lnTo>
                <a:lnTo>
                  <a:pt x="3688" y="5831"/>
                </a:lnTo>
                <a:close/>
                <a:moveTo>
                  <a:pt x="6904" y="5956"/>
                </a:moveTo>
                <a:lnTo>
                  <a:pt x="6900" y="5956"/>
                </a:lnTo>
                <a:lnTo>
                  <a:pt x="6901" y="5955"/>
                </a:lnTo>
                <a:lnTo>
                  <a:pt x="6905" y="5953"/>
                </a:lnTo>
                <a:lnTo>
                  <a:pt x="6908" y="5952"/>
                </a:lnTo>
                <a:lnTo>
                  <a:pt x="6905" y="5953"/>
                </a:lnTo>
                <a:lnTo>
                  <a:pt x="6904" y="5956"/>
                </a:lnTo>
                <a:close/>
                <a:moveTo>
                  <a:pt x="6946" y="5952"/>
                </a:moveTo>
                <a:lnTo>
                  <a:pt x="6917" y="5925"/>
                </a:lnTo>
                <a:lnTo>
                  <a:pt x="6857" y="5922"/>
                </a:lnTo>
                <a:lnTo>
                  <a:pt x="6816" y="5913"/>
                </a:lnTo>
                <a:lnTo>
                  <a:pt x="6843" y="5869"/>
                </a:lnTo>
                <a:lnTo>
                  <a:pt x="6749" y="5863"/>
                </a:lnTo>
                <a:lnTo>
                  <a:pt x="6750" y="5925"/>
                </a:lnTo>
                <a:lnTo>
                  <a:pt x="6822" y="5980"/>
                </a:lnTo>
                <a:lnTo>
                  <a:pt x="6946" y="5952"/>
                </a:lnTo>
                <a:close/>
                <a:moveTo>
                  <a:pt x="5982" y="5703"/>
                </a:moveTo>
                <a:lnTo>
                  <a:pt x="5916" y="5677"/>
                </a:lnTo>
                <a:lnTo>
                  <a:pt x="5847" y="5685"/>
                </a:lnTo>
                <a:lnTo>
                  <a:pt x="5800" y="5724"/>
                </a:lnTo>
                <a:lnTo>
                  <a:pt x="5799" y="5793"/>
                </a:lnTo>
                <a:lnTo>
                  <a:pt x="5856" y="5817"/>
                </a:lnTo>
                <a:lnTo>
                  <a:pt x="5920" y="5796"/>
                </a:lnTo>
                <a:lnTo>
                  <a:pt x="5968" y="5750"/>
                </a:lnTo>
                <a:lnTo>
                  <a:pt x="5982" y="5703"/>
                </a:lnTo>
                <a:close/>
                <a:moveTo>
                  <a:pt x="5721" y="5896"/>
                </a:moveTo>
                <a:lnTo>
                  <a:pt x="5669" y="5894"/>
                </a:lnTo>
                <a:lnTo>
                  <a:pt x="5615" y="5869"/>
                </a:lnTo>
                <a:lnTo>
                  <a:pt x="5564" y="5852"/>
                </a:lnTo>
                <a:lnTo>
                  <a:pt x="5524" y="5869"/>
                </a:lnTo>
                <a:lnTo>
                  <a:pt x="5543" y="5923"/>
                </a:lnTo>
                <a:lnTo>
                  <a:pt x="5559" y="5981"/>
                </a:lnTo>
                <a:lnTo>
                  <a:pt x="5587" y="6030"/>
                </a:lnTo>
                <a:lnTo>
                  <a:pt x="5642" y="6048"/>
                </a:lnTo>
                <a:lnTo>
                  <a:pt x="5648" y="6023"/>
                </a:lnTo>
                <a:lnTo>
                  <a:pt x="5643" y="6000"/>
                </a:lnTo>
                <a:lnTo>
                  <a:pt x="5632" y="5979"/>
                </a:lnTo>
                <a:lnTo>
                  <a:pt x="5620" y="5956"/>
                </a:lnTo>
                <a:lnTo>
                  <a:pt x="5661" y="5956"/>
                </a:lnTo>
                <a:lnTo>
                  <a:pt x="5711" y="5944"/>
                </a:lnTo>
                <a:lnTo>
                  <a:pt x="5740" y="5924"/>
                </a:lnTo>
                <a:lnTo>
                  <a:pt x="5721" y="5896"/>
                </a:lnTo>
                <a:close/>
                <a:moveTo>
                  <a:pt x="4338" y="5798"/>
                </a:moveTo>
                <a:lnTo>
                  <a:pt x="4290" y="5720"/>
                </a:lnTo>
                <a:lnTo>
                  <a:pt x="3956" y="5668"/>
                </a:lnTo>
                <a:lnTo>
                  <a:pt x="3588" y="5659"/>
                </a:lnTo>
                <a:lnTo>
                  <a:pt x="3434" y="5712"/>
                </a:lnTo>
                <a:lnTo>
                  <a:pt x="3665" y="5738"/>
                </a:lnTo>
                <a:lnTo>
                  <a:pt x="3890" y="5742"/>
                </a:lnTo>
                <a:lnTo>
                  <a:pt x="4111" y="5754"/>
                </a:lnTo>
                <a:lnTo>
                  <a:pt x="4338" y="5798"/>
                </a:lnTo>
                <a:close/>
                <a:moveTo>
                  <a:pt x="8467" y="5832"/>
                </a:moveTo>
                <a:lnTo>
                  <a:pt x="8467" y="5832"/>
                </a:lnTo>
                <a:lnTo>
                  <a:pt x="8468" y="5834"/>
                </a:lnTo>
                <a:lnTo>
                  <a:pt x="8467" y="5832"/>
                </a:lnTo>
                <a:close/>
                <a:moveTo>
                  <a:pt x="2788" y="5369"/>
                </a:moveTo>
                <a:lnTo>
                  <a:pt x="2788" y="5368"/>
                </a:lnTo>
                <a:lnTo>
                  <a:pt x="2787" y="5368"/>
                </a:lnTo>
                <a:lnTo>
                  <a:pt x="2788" y="5369"/>
                </a:lnTo>
                <a:close/>
                <a:moveTo>
                  <a:pt x="1501" y="5746"/>
                </a:moveTo>
                <a:lnTo>
                  <a:pt x="1501" y="5746"/>
                </a:lnTo>
                <a:lnTo>
                  <a:pt x="1501" y="5746"/>
                </a:lnTo>
                <a:lnTo>
                  <a:pt x="1501" y="5746"/>
                </a:lnTo>
                <a:close/>
                <a:moveTo>
                  <a:pt x="2047" y="4766"/>
                </a:moveTo>
                <a:lnTo>
                  <a:pt x="2047" y="4766"/>
                </a:lnTo>
                <a:lnTo>
                  <a:pt x="2047" y="4764"/>
                </a:lnTo>
                <a:lnTo>
                  <a:pt x="2047" y="4766"/>
                </a:lnTo>
                <a:close/>
                <a:moveTo>
                  <a:pt x="1998" y="4921"/>
                </a:moveTo>
                <a:lnTo>
                  <a:pt x="1998" y="4921"/>
                </a:lnTo>
                <a:lnTo>
                  <a:pt x="1998" y="4922"/>
                </a:lnTo>
                <a:lnTo>
                  <a:pt x="1998" y="4921"/>
                </a:lnTo>
                <a:close/>
                <a:moveTo>
                  <a:pt x="6611" y="5515"/>
                </a:moveTo>
                <a:lnTo>
                  <a:pt x="6610" y="5515"/>
                </a:lnTo>
                <a:lnTo>
                  <a:pt x="6610" y="5515"/>
                </a:lnTo>
                <a:lnTo>
                  <a:pt x="6611" y="5515"/>
                </a:lnTo>
                <a:lnTo>
                  <a:pt x="6611" y="5515"/>
                </a:lnTo>
                <a:close/>
                <a:moveTo>
                  <a:pt x="1175" y="5150"/>
                </a:moveTo>
                <a:lnTo>
                  <a:pt x="1176" y="5150"/>
                </a:lnTo>
                <a:lnTo>
                  <a:pt x="1176" y="5149"/>
                </a:lnTo>
                <a:lnTo>
                  <a:pt x="1175" y="5150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16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Freeform 13">
            <a:extLst>
              <a:ext uri="{FF2B5EF4-FFF2-40B4-BE49-F238E27FC236}">
                <a16:creationId xmlns:a16="http://schemas.microsoft.com/office/drawing/2014/main" id="{23AF3AA6-6E4E-A140-B615-5A5559DA397B}"/>
              </a:ext>
            </a:extLst>
          </p:cNvPr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5084092" y="364145"/>
            <a:ext cx="7091865" cy="6488986"/>
          </a:xfrm>
          <a:custGeom>
            <a:avLst/>
            <a:gdLst>
              <a:gd name="T0" fmla="*/ 281 w 15310"/>
              <a:gd name="T1" fmla="*/ 7662 h 11850"/>
              <a:gd name="T2" fmla="*/ 1863 w 15310"/>
              <a:gd name="T3" fmla="*/ 7563 h 11850"/>
              <a:gd name="T4" fmla="*/ 2753 w 15310"/>
              <a:gd name="T5" fmla="*/ 7659 h 11850"/>
              <a:gd name="T6" fmla="*/ 4018 w 15310"/>
              <a:gd name="T7" fmla="*/ 7924 h 11850"/>
              <a:gd name="T8" fmla="*/ 4693 w 15310"/>
              <a:gd name="T9" fmla="*/ 8146 h 11850"/>
              <a:gd name="T10" fmla="*/ 4548 w 15310"/>
              <a:gd name="T11" fmla="*/ 8984 h 11850"/>
              <a:gd name="T12" fmla="*/ 5788 w 15310"/>
              <a:gd name="T13" fmla="*/ 8601 h 11850"/>
              <a:gd name="T14" fmla="*/ 5822 w 15310"/>
              <a:gd name="T15" fmla="*/ 10327 h 11850"/>
              <a:gd name="T16" fmla="*/ 7286 w 15310"/>
              <a:gd name="T17" fmla="*/ 9257 h 11850"/>
              <a:gd name="T18" fmla="*/ 8380 w 15310"/>
              <a:gd name="T19" fmla="*/ 9781 h 11850"/>
              <a:gd name="T20" fmla="*/ 9052 w 15310"/>
              <a:gd name="T21" fmla="*/ 9821 h 11850"/>
              <a:gd name="T22" fmla="*/ 9994 w 15310"/>
              <a:gd name="T23" fmla="*/ 9537 h 11850"/>
              <a:gd name="T24" fmla="*/ 10461 w 15310"/>
              <a:gd name="T25" fmla="*/ 8978 h 11850"/>
              <a:gd name="T26" fmla="*/ 10472 w 15310"/>
              <a:gd name="T27" fmla="*/ 8068 h 11850"/>
              <a:gd name="T28" fmla="*/ 13036 w 15310"/>
              <a:gd name="T29" fmla="*/ 8894 h 11850"/>
              <a:gd name="T30" fmla="*/ 13132 w 15310"/>
              <a:gd name="T31" fmla="*/ 8253 h 11850"/>
              <a:gd name="T32" fmla="*/ 14755 w 15310"/>
              <a:gd name="T33" fmla="*/ 6493 h 11850"/>
              <a:gd name="T34" fmla="*/ 13922 w 15310"/>
              <a:gd name="T35" fmla="*/ 5915 h 11850"/>
              <a:gd name="T36" fmla="*/ 14094 w 15310"/>
              <a:gd name="T37" fmla="*/ 4907 h 11850"/>
              <a:gd name="T38" fmla="*/ 11654 w 15310"/>
              <a:gd name="T39" fmla="*/ 4256 h 11850"/>
              <a:gd name="T40" fmla="*/ 13355 w 15310"/>
              <a:gd name="T41" fmla="*/ 2965 h 11850"/>
              <a:gd name="T42" fmla="*/ 12440 w 15310"/>
              <a:gd name="T43" fmla="*/ 2913 h 11850"/>
              <a:gd name="T44" fmla="*/ 11735 w 15310"/>
              <a:gd name="T45" fmla="*/ 2621 h 11850"/>
              <a:gd name="T46" fmla="*/ 9876 w 15310"/>
              <a:gd name="T47" fmla="*/ 2442 h 11850"/>
              <a:gd name="T48" fmla="*/ 10826 w 15310"/>
              <a:gd name="T49" fmla="*/ 629 h 11850"/>
              <a:gd name="T50" fmla="*/ 8755 w 15310"/>
              <a:gd name="T51" fmla="*/ 1927 h 11850"/>
              <a:gd name="T52" fmla="*/ 8287 w 15310"/>
              <a:gd name="T53" fmla="*/ 2202 h 11850"/>
              <a:gd name="T54" fmla="*/ 7733 w 15310"/>
              <a:gd name="T55" fmla="*/ 1596 h 11850"/>
              <a:gd name="T56" fmla="*/ 7244 w 15310"/>
              <a:gd name="T57" fmla="*/ 1124 h 11850"/>
              <a:gd name="T58" fmla="*/ 6427 w 15310"/>
              <a:gd name="T59" fmla="*/ 1533 h 11850"/>
              <a:gd name="T60" fmla="*/ 5932 w 15310"/>
              <a:gd name="T61" fmla="*/ 992 h 11850"/>
              <a:gd name="T62" fmla="*/ 5139 w 15310"/>
              <a:gd name="T63" fmla="*/ 1553 h 11850"/>
              <a:gd name="T64" fmla="*/ 4158 w 15310"/>
              <a:gd name="T65" fmla="*/ 1404 h 11850"/>
              <a:gd name="T66" fmla="*/ 3282 w 15310"/>
              <a:gd name="T67" fmla="*/ 1492 h 11850"/>
              <a:gd name="T68" fmla="*/ 4513 w 15310"/>
              <a:gd name="T69" fmla="*/ 3023 h 11850"/>
              <a:gd name="T70" fmla="*/ 2216 w 15310"/>
              <a:gd name="T71" fmla="*/ 2625 h 11850"/>
              <a:gd name="T72" fmla="*/ 2491 w 15310"/>
              <a:gd name="T73" fmla="*/ 2934 h 11850"/>
              <a:gd name="T74" fmla="*/ 2122 w 15310"/>
              <a:gd name="T75" fmla="*/ 3109 h 11850"/>
              <a:gd name="T76" fmla="*/ 1676 w 15310"/>
              <a:gd name="T77" fmla="*/ 3557 h 11850"/>
              <a:gd name="T78" fmla="*/ 3511 w 15310"/>
              <a:gd name="T79" fmla="*/ 4602 h 11850"/>
              <a:gd name="T80" fmla="*/ 2397 w 15310"/>
              <a:gd name="T81" fmla="*/ 5478 h 11850"/>
              <a:gd name="T82" fmla="*/ 2640 w 15310"/>
              <a:gd name="T83" fmla="*/ 6241 h 11850"/>
              <a:gd name="T84" fmla="*/ 3361 w 15310"/>
              <a:gd name="T85" fmla="*/ 3193 h 11850"/>
              <a:gd name="T86" fmla="*/ 10226 w 15310"/>
              <a:gd name="T87" fmla="*/ 1254 h 11850"/>
              <a:gd name="T88" fmla="*/ 14082 w 15310"/>
              <a:gd name="T89" fmla="*/ 6470 h 11850"/>
              <a:gd name="T90" fmla="*/ 12944 w 15310"/>
              <a:gd name="T91" fmla="*/ 5814 h 11850"/>
              <a:gd name="T92" fmla="*/ 12120 w 15310"/>
              <a:gd name="T93" fmla="*/ 6610 h 11850"/>
              <a:gd name="T94" fmla="*/ 10263 w 15310"/>
              <a:gd name="T95" fmla="*/ 8697 h 11850"/>
              <a:gd name="T96" fmla="*/ 9234 w 15310"/>
              <a:gd name="T97" fmla="*/ 1847 h 11850"/>
              <a:gd name="T98" fmla="*/ 8130 w 15310"/>
              <a:gd name="T99" fmla="*/ 1938 h 11850"/>
              <a:gd name="T100" fmla="*/ 6672 w 15310"/>
              <a:gd name="T101" fmla="*/ 1809 h 11850"/>
              <a:gd name="T102" fmla="*/ 5927 w 15310"/>
              <a:gd name="T103" fmla="*/ 1717 h 11850"/>
              <a:gd name="T104" fmla="*/ 4965 w 15310"/>
              <a:gd name="T105" fmla="*/ 7942 h 11850"/>
              <a:gd name="T106" fmla="*/ 2818 w 15310"/>
              <a:gd name="T107" fmla="*/ 6054 h 11850"/>
              <a:gd name="T108" fmla="*/ 1965 w 15310"/>
              <a:gd name="T109" fmla="*/ 6794 h 11850"/>
              <a:gd name="T110" fmla="*/ 688 w 15310"/>
              <a:gd name="T111" fmla="*/ 7533 h 11850"/>
              <a:gd name="T112" fmla="*/ 3239 w 15310"/>
              <a:gd name="T113" fmla="*/ 3505 h 11850"/>
              <a:gd name="T114" fmla="*/ 2175 w 15310"/>
              <a:gd name="T115" fmla="*/ 3713 h 11850"/>
              <a:gd name="T116" fmla="*/ 1801 w 15310"/>
              <a:gd name="T117" fmla="*/ 3519 h 11850"/>
              <a:gd name="T118" fmla="*/ 3892 w 15310"/>
              <a:gd name="T119" fmla="*/ 2201 h 11850"/>
              <a:gd name="T120" fmla="*/ 10480 w 15310"/>
              <a:gd name="T121" fmla="*/ 1203 h 11850"/>
              <a:gd name="T122" fmla="*/ 12059 w 15310"/>
              <a:gd name="T123" fmla="*/ 3811 h 11850"/>
              <a:gd name="T124" fmla="*/ 13214 w 15310"/>
              <a:gd name="T125" fmla="*/ 2999 h 11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310" h="11850">
                <a:moveTo>
                  <a:pt x="14374" y="6148"/>
                </a:moveTo>
                <a:lnTo>
                  <a:pt x="14382" y="6141"/>
                </a:lnTo>
                <a:lnTo>
                  <a:pt x="14387" y="6134"/>
                </a:lnTo>
                <a:lnTo>
                  <a:pt x="14391" y="6139"/>
                </a:lnTo>
                <a:lnTo>
                  <a:pt x="14393" y="6145"/>
                </a:lnTo>
                <a:lnTo>
                  <a:pt x="14393" y="6146"/>
                </a:lnTo>
                <a:lnTo>
                  <a:pt x="14392" y="6148"/>
                </a:lnTo>
                <a:lnTo>
                  <a:pt x="14385" y="6148"/>
                </a:lnTo>
                <a:lnTo>
                  <a:pt x="14374" y="6148"/>
                </a:lnTo>
                <a:close/>
                <a:moveTo>
                  <a:pt x="1328" y="6969"/>
                </a:moveTo>
                <a:lnTo>
                  <a:pt x="1290" y="6995"/>
                </a:lnTo>
                <a:lnTo>
                  <a:pt x="1254" y="7019"/>
                </a:lnTo>
                <a:lnTo>
                  <a:pt x="1223" y="7041"/>
                </a:lnTo>
                <a:lnTo>
                  <a:pt x="1191" y="7062"/>
                </a:lnTo>
                <a:lnTo>
                  <a:pt x="1158" y="7084"/>
                </a:lnTo>
                <a:lnTo>
                  <a:pt x="1124" y="7107"/>
                </a:lnTo>
                <a:lnTo>
                  <a:pt x="1086" y="7132"/>
                </a:lnTo>
                <a:lnTo>
                  <a:pt x="1043" y="7162"/>
                </a:lnTo>
                <a:lnTo>
                  <a:pt x="1080" y="7137"/>
                </a:lnTo>
                <a:lnTo>
                  <a:pt x="1116" y="7115"/>
                </a:lnTo>
                <a:lnTo>
                  <a:pt x="1151" y="7090"/>
                </a:lnTo>
                <a:lnTo>
                  <a:pt x="1187" y="7066"/>
                </a:lnTo>
                <a:lnTo>
                  <a:pt x="1224" y="7042"/>
                </a:lnTo>
                <a:lnTo>
                  <a:pt x="1259" y="7018"/>
                </a:lnTo>
                <a:lnTo>
                  <a:pt x="1294" y="6994"/>
                </a:lnTo>
                <a:lnTo>
                  <a:pt x="1328" y="6969"/>
                </a:lnTo>
                <a:close/>
                <a:moveTo>
                  <a:pt x="1415" y="6911"/>
                </a:moveTo>
                <a:lnTo>
                  <a:pt x="1408" y="6916"/>
                </a:lnTo>
                <a:lnTo>
                  <a:pt x="1402" y="6920"/>
                </a:lnTo>
                <a:lnTo>
                  <a:pt x="1403" y="6920"/>
                </a:lnTo>
                <a:lnTo>
                  <a:pt x="1403" y="6919"/>
                </a:lnTo>
                <a:lnTo>
                  <a:pt x="1389" y="6930"/>
                </a:lnTo>
                <a:lnTo>
                  <a:pt x="1377" y="6941"/>
                </a:lnTo>
                <a:lnTo>
                  <a:pt x="1365" y="6953"/>
                </a:lnTo>
                <a:lnTo>
                  <a:pt x="1352" y="6963"/>
                </a:lnTo>
                <a:lnTo>
                  <a:pt x="1411" y="6948"/>
                </a:lnTo>
                <a:lnTo>
                  <a:pt x="1465" y="6934"/>
                </a:lnTo>
                <a:lnTo>
                  <a:pt x="1487" y="6927"/>
                </a:lnTo>
                <a:lnTo>
                  <a:pt x="1510" y="6921"/>
                </a:lnTo>
                <a:lnTo>
                  <a:pt x="1531" y="6917"/>
                </a:lnTo>
                <a:lnTo>
                  <a:pt x="1551" y="6913"/>
                </a:lnTo>
                <a:lnTo>
                  <a:pt x="1569" y="6912"/>
                </a:lnTo>
                <a:lnTo>
                  <a:pt x="1587" y="6912"/>
                </a:lnTo>
                <a:lnTo>
                  <a:pt x="1602" y="6913"/>
                </a:lnTo>
                <a:lnTo>
                  <a:pt x="1617" y="6917"/>
                </a:lnTo>
                <a:lnTo>
                  <a:pt x="1624" y="6920"/>
                </a:lnTo>
                <a:lnTo>
                  <a:pt x="1630" y="6924"/>
                </a:lnTo>
                <a:lnTo>
                  <a:pt x="1636" y="6927"/>
                </a:lnTo>
                <a:lnTo>
                  <a:pt x="1643" y="6933"/>
                </a:lnTo>
                <a:lnTo>
                  <a:pt x="1649" y="6938"/>
                </a:lnTo>
                <a:lnTo>
                  <a:pt x="1654" y="6943"/>
                </a:lnTo>
                <a:lnTo>
                  <a:pt x="1659" y="6950"/>
                </a:lnTo>
                <a:lnTo>
                  <a:pt x="1664" y="6957"/>
                </a:lnTo>
                <a:lnTo>
                  <a:pt x="1666" y="6950"/>
                </a:lnTo>
                <a:lnTo>
                  <a:pt x="1668" y="6943"/>
                </a:lnTo>
                <a:lnTo>
                  <a:pt x="1673" y="6935"/>
                </a:lnTo>
                <a:lnTo>
                  <a:pt x="1678" y="6929"/>
                </a:lnTo>
                <a:lnTo>
                  <a:pt x="1685" y="6922"/>
                </a:lnTo>
                <a:lnTo>
                  <a:pt x="1692" y="6917"/>
                </a:lnTo>
                <a:lnTo>
                  <a:pt x="1701" y="6911"/>
                </a:lnTo>
                <a:lnTo>
                  <a:pt x="1712" y="6906"/>
                </a:lnTo>
                <a:lnTo>
                  <a:pt x="1733" y="6897"/>
                </a:lnTo>
                <a:lnTo>
                  <a:pt x="1755" y="6889"/>
                </a:lnTo>
                <a:lnTo>
                  <a:pt x="1779" y="6883"/>
                </a:lnTo>
                <a:lnTo>
                  <a:pt x="1801" y="6879"/>
                </a:lnTo>
                <a:lnTo>
                  <a:pt x="1822" y="6877"/>
                </a:lnTo>
                <a:lnTo>
                  <a:pt x="1840" y="6877"/>
                </a:lnTo>
                <a:lnTo>
                  <a:pt x="1848" y="6877"/>
                </a:lnTo>
                <a:lnTo>
                  <a:pt x="1854" y="6878"/>
                </a:lnTo>
                <a:lnTo>
                  <a:pt x="1859" y="6880"/>
                </a:lnTo>
                <a:lnTo>
                  <a:pt x="1863" y="6882"/>
                </a:lnTo>
                <a:lnTo>
                  <a:pt x="1864" y="6885"/>
                </a:lnTo>
                <a:lnTo>
                  <a:pt x="1866" y="6889"/>
                </a:lnTo>
                <a:lnTo>
                  <a:pt x="1863" y="6893"/>
                </a:lnTo>
                <a:lnTo>
                  <a:pt x="1861" y="6898"/>
                </a:lnTo>
                <a:lnTo>
                  <a:pt x="1855" y="6903"/>
                </a:lnTo>
                <a:lnTo>
                  <a:pt x="1847" y="6910"/>
                </a:lnTo>
                <a:lnTo>
                  <a:pt x="1838" y="6916"/>
                </a:lnTo>
                <a:lnTo>
                  <a:pt x="1825" y="6924"/>
                </a:lnTo>
                <a:lnTo>
                  <a:pt x="1796" y="6930"/>
                </a:lnTo>
                <a:lnTo>
                  <a:pt x="1777" y="6936"/>
                </a:lnTo>
                <a:lnTo>
                  <a:pt x="1770" y="6939"/>
                </a:lnTo>
                <a:lnTo>
                  <a:pt x="1766" y="6941"/>
                </a:lnTo>
                <a:lnTo>
                  <a:pt x="1764" y="6944"/>
                </a:lnTo>
                <a:lnTo>
                  <a:pt x="1763" y="6947"/>
                </a:lnTo>
                <a:lnTo>
                  <a:pt x="1764" y="6949"/>
                </a:lnTo>
                <a:lnTo>
                  <a:pt x="1765" y="6952"/>
                </a:lnTo>
                <a:lnTo>
                  <a:pt x="1766" y="6953"/>
                </a:lnTo>
                <a:lnTo>
                  <a:pt x="1770" y="6955"/>
                </a:lnTo>
                <a:lnTo>
                  <a:pt x="1778" y="6959"/>
                </a:lnTo>
                <a:lnTo>
                  <a:pt x="1785" y="6963"/>
                </a:lnTo>
                <a:lnTo>
                  <a:pt x="1792" y="6968"/>
                </a:lnTo>
                <a:lnTo>
                  <a:pt x="1797" y="6973"/>
                </a:lnTo>
                <a:lnTo>
                  <a:pt x="1797" y="6976"/>
                </a:lnTo>
                <a:lnTo>
                  <a:pt x="1797" y="6978"/>
                </a:lnTo>
                <a:lnTo>
                  <a:pt x="1794" y="6982"/>
                </a:lnTo>
                <a:lnTo>
                  <a:pt x="1791" y="6985"/>
                </a:lnTo>
                <a:lnTo>
                  <a:pt x="1785" y="6989"/>
                </a:lnTo>
                <a:lnTo>
                  <a:pt x="1778" y="6994"/>
                </a:lnTo>
                <a:lnTo>
                  <a:pt x="1768" y="6997"/>
                </a:lnTo>
                <a:lnTo>
                  <a:pt x="1755" y="7003"/>
                </a:lnTo>
                <a:lnTo>
                  <a:pt x="1722" y="7014"/>
                </a:lnTo>
                <a:lnTo>
                  <a:pt x="1677" y="7027"/>
                </a:lnTo>
                <a:lnTo>
                  <a:pt x="1687" y="7013"/>
                </a:lnTo>
                <a:lnTo>
                  <a:pt x="1694" y="7003"/>
                </a:lnTo>
                <a:lnTo>
                  <a:pt x="1695" y="6995"/>
                </a:lnTo>
                <a:lnTo>
                  <a:pt x="1692" y="6990"/>
                </a:lnTo>
                <a:lnTo>
                  <a:pt x="1687" y="6987"/>
                </a:lnTo>
                <a:lnTo>
                  <a:pt x="1677" y="6986"/>
                </a:lnTo>
                <a:lnTo>
                  <a:pt x="1664" y="6987"/>
                </a:lnTo>
                <a:lnTo>
                  <a:pt x="1649" y="6991"/>
                </a:lnTo>
                <a:lnTo>
                  <a:pt x="1611" y="7001"/>
                </a:lnTo>
                <a:lnTo>
                  <a:pt x="1563" y="7018"/>
                </a:lnTo>
                <a:lnTo>
                  <a:pt x="1509" y="7038"/>
                </a:lnTo>
                <a:lnTo>
                  <a:pt x="1449" y="7061"/>
                </a:lnTo>
                <a:lnTo>
                  <a:pt x="1388" y="7085"/>
                </a:lnTo>
                <a:lnTo>
                  <a:pt x="1324" y="7111"/>
                </a:lnTo>
                <a:lnTo>
                  <a:pt x="1263" y="7134"/>
                </a:lnTo>
                <a:lnTo>
                  <a:pt x="1206" y="7154"/>
                </a:lnTo>
                <a:lnTo>
                  <a:pt x="1179" y="7163"/>
                </a:lnTo>
                <a:lnTo>
                  <a:pt x="1154" y="7172"/>
                </a:lnTo>
                <a:lnTo>
                  <a:pt x="1130" y="7178"/>
                </a:lnTo>
                <a:lnTo>
                  <a:pt x="1108" y="7183"/>
                </a:lnTo>
                <a:lnTo>
                  <a:pt x="1089" y="7187"/>
                </a:lnTo>
                <a:lnTo>
                  <a:pt x="1072" y="7188"/>
                </a:lnTo>
                <a:lnTo>
                  <a:pt x="1058" y="7190"/>
                </a:lnTo>
                <a:lnTo>
                  <a:pt x="1048" y="7187"/>
                </a:lnTo>
                <a:lnTo>
                  <a:pt x="1056" y="7185"/>
                </a:lnTo>
                <a:lnTo>
                  <a:pt x="1074" y="7176"/>
                </a:lnTo>
                <a:lnTo>
                  <a:pt x="1099" y="7163"/>
                </a:lnTo>
                <a:lnTo>
                  <a:pt x="1123" y="7149"/>
                </a:lnTo>
                <a:lnTo>
                  <a:pt x="1135" y="7141"/>
                </a:lnTo>
                <a:lnTo>
                  <a:pt x="1144" y="7136"/>
                </a:lnTo>
                <a:lnTo>
                  <a:pt x="1150" y="7131"/>
                </a:lnTo>
                <a:lnTo>
                  <a:pt x="1153" y="7129"/>
                </a:lnTo>
                <a:lnTo>
                  <a:pt x="1153" y="7127"/>
                </a:lnTo>
                <a:lnTo>
                  <a:pt x="1151" y="7126"/>
                </a:lnTo>
                <a:lnTo>
                  <a:pt x="1149" y="7127"/>
                </a:lnTo>
                <a:lnTo>
                  <a:pt x="1145" y="7127"/>
                </a:lnTo>
                <a:lnTo>
                  <a:pt x="1133" y="7131"/>
                </a:lnTo>
                <a:lnTo>
                  <a:pt x="1117" y="7136"/>
                </a:lnTo>
                <a:lnTo>
                  <a:pt x="1088" y="7158"/>
                </a:lnTo>
                <a:lnTo>
                  <a:pt x="1054" y="7179"/>
                </a:lnTo>
                <a:lnTo>
                  <a:pt x="1018" y="7202"/>
                </a:lnTo>
                <a:lnTo>
                  <a:pt x="977" y="7227"/>
                </a:lnTo>
                <a:lnTo>
                  <a:pt x="888" y="7277"/>
                </a:lnTo>
                <a:lnTo>
                  <a:pt x="790" y="7330"/>
                </a:lnTo>
                <a:lnTo>
                  <a:pt x="689" y="7382"/>
                </a:lnTo>
                <a:lnTo>
                  <a:pt x="590" y="7434"/>
                </a:lnTo>
                <a:lnTo>
                  <a:pt x="493" y="7482"/>
                </a:lnTo>
                <a:lnTo>
                  <a:pt x="405" y="7527"/>
                </a:lnTo>
                <a:lnTo>
                  <a:pt x="329" y="7566"/>
                </a:lnTo>
                <a:lnTo>
                  <a:pt x="269" y="7600"/>
                </a:lnTo>
                <a:lnTo>
                  <a:pt x="247" y="7612"/>
                </a:lnTo>
                <a:lnTo>
                  <a:pt x="229" y="7624"/>
                </a:lnTo>
                <a:lnTo>
                  <a:pt x="218" y="7631"/>
                </a:lnTo>
                <a:lnTo>
                  <a:pt x="214" y="7638"/>
                </a:lnTo>
                <a:lnTo>
                  <a:pt x="216" y="7640"/>
                </a:lnTo>
                <a:lnTo>
                  <a:pt x="227" y="7640"/>
                </a:lnTo>
                <a:lnTo>
                  <a:pt x="245" y="7638"/>
                </a:lnTo>
                <a:lnTo>
                  <a:pt x="270" y="7631"/>
                </a:lnTo>
                <a:lnTo>
                  <a:pt x="306" y="7621"/>
                </a:lnTo>
                <a:lnTo>
                  <a:pt x="350" y="7607"/>
                </a:lnTo>
                <a:lnTo>
                  <a:pt x="405" y="7591"/>
                </a:lnTo>
                <a:lnTo>
                  <a:pt x="471" y="7569"/>
                </a:lnTo>
                <a:lnTo>
                  <a:pt x="466" y="7575"/>
                </a:lnTo>
                <a:lnTo>
                  <a:pt x="461" y="7582"/>
                </a:lnTo>
                <a:lnTo>
                  <a:pt x="456" y="7588"/>
                </a:lnTo>
                <a:lnTo>
                  <a:pt x="448" y="7594"/>
                </a:lnTo>
                <a:lnTo>
                  <a:pt x="433" y="7605"/>
                </a:lnTo>
                <a:lnTo>
                  <a:pt x="416" y="7614"/>
                </a:lnTo>
                <a:lnTo>
                  <a:pt x="397" y="7621"/>
                </a:lnTo>
                <a:lnTo>
                  <a:pt x="377" y="7629"/>
                </a:lnTo>
                <a:lnTo>
                  <a:pt x="357" y="7635"/>
                </a:lnTo>
                <a:lnTo>
                  <a:pt x="336" y="7642"/>
                </a:lnTo>
                <a:lnTo>
                  <a:pt x="317" y="7648"/>
                </a:lnTo>
                <a:lnTo>
                  <a:pt x="299" y="7654"/>
                </a:lnTo>
                <a:lnTo>
                  <a:pt x="281" y="7662"/>
                </a:lnTo>
                <a:lnTo>
                  <a:pt x="267" y="7670"/>
                </a:lnTo>
                <a:lnTo>
                  <a:pt x="261" y="7673"/>
                </a:lnTo>
                <a:lnTo>
                  <a:pt x="256" y="7677"/>
                </a:lnTo>
                <a:lnTo>
                  <a:pt x="251" y="7682"/>
                </a:lnTo>
                <a:lnTo>
                  <a:pt x="248" y="7686"/>
                </a:lnTo>
                <a:lnTo>
                  <a:pt x="245" y="7692"/>
                </a:lnTo>
                <a:lnTo>
                  <a:pt x="243" y="7698"/>
                </a:lnTo>
                <a:lnTo>
                  <a:pt x="243" y="7703"/>
                </a:lnTo>
                <a:lnTo>
                  <a:pt x="243" y="7709"/>
                </a:lnTo>
                <a:lnTo>
                  <a:pt x="267" y="7706"/>
                </a:lnTo>
                <a:lnTo>
                  <a:pt x="284" y="7705"/>
                </a:lnTo>
                <a:lnTo>
                  <a:pt x="290" y="7705"/>
                </a:lnTo>
                <a:lnTo>
                  <a:pt x="294" y="7706"/>
                </a:lnTo>
                <a:lnTo>
                  <a:pt x="297" y="7708"/>
                </a:lnTo>
                <a:lnTo>
                  <a:pt x="298" y="7709"/>
                </a:lnTo>
                <a:lnTo>
                  <a:pt x="297" y="7710"/>
                </a:lnTo>
                <a:lnTo>
                  <a:pt x="295" y="7712"/>
                </a:lnTo>
                <a:lnTo>
                  <a:pt x="293" y="7714"/>
                </a:lnTo>
                <a:lnTo>
                  <a:pt x="290" y="7717"/>
                </a:lnTo>
                <a:lnTo>
                  <a:pt x="280" y="7723"/>
                </a:lnTo>
                <a:lnTo>
                  <a:pt x="266" y="7729"/>
                </a:lnTo>
                <a:lnTo>
                  <a:pt x="234" y="7743"/>
                </a:lnTo>
                <a:lnTo>
                  <a:pt x="197" y="7759"/>
                </a:lnTo>
                <a:lnTo>
                  <a:pt x="163" y="7773"/>
                </a:lnTo>
                <a:lnTo>
                  <a:pt x="135" y="7784"/>
                </a:lnTo>
                <a:lnTo>
                  <a:pt x="176" y="7780"/>
                </a:lnTo>
                <a:lnTo>
                  <a:pt x="214" y="7775"/>
                </a:lnTo>
                <a:lnTo>
                  <a:pt x="248" y="7769"/>
                </a:lnTo>
                <a:lnTo>
                  <a:pt x="283" y="7762"/>
                </a:lnTo>
                <a:lnTo>
                  <a:pt x="315" y="7755"/>
                </a:lnTo>
                <a:lnTo>
                  <a:pt x="345" y="7746"/>
                </a:lnTo>
                <a:lnTo>
                  <a:pt x="376" y="7736"/>
                </a:lnTo>
                <a:lnTo>
                  <a:pt x="406" y="7726"/>
                </a:lnTo>
                <a:lnTo>
                  <a:pt x="469" y="7703"/>
                </a:lnTo>
                <a:lnTo>
                  <a:pt x="539" y="7680"/>
                </a:lnTo>
                <a:lnTo>
                  <a:pt x="577" y="7667"/>
                </a:lnTo>
                <a:lnTo>
                  <a:pt x="618" y="7654"/>
                </a:lnTo>
                <a:lnTo>
                  <a:pt x="662" y="7642"/>
                </a:lnTo>
                <a:lnTo>
                  <a:pt x="712" y="7628"/>
                </a:lnTo>
                <a:lnTo>
                  <a:pt x="764" y="7614"/>
                </a:lnTo>
                <a:lnTo>
                  <a:pt x="804" y="7602"/>
                </a:lnTo>
                <a:lnTo>
                  <a:pt x="830" y="7596"/>
                </a:lnTo>
                <a:lnTo>
                  <a:pt x="847" y="7593"/>
                </a:lnTo>
                <a:lnTo>
                  <a:pt x="853" y="7594"/>
                </a:lnTo>
                <a:lnTo>
                  <a:pt x="851" y="7600"/>
                </a:lnTo>
                <a:lnTo>
                  <a:pt x="839" y="7607"/>
                </a:lnTo>
                <a:lnTo>
                  <a:pt x="820" y="7617"/>
                </a:lnTo>
                <a:lnTo>
                  <a:pt x="762" y="7645"/>
                </a:lnTo>
                <a:lnTo>
                  <a:pt x="684" y="7680"/>
                </a:lnTo>
                <a:lnTo>
                  <a:pt x="592" y="7719"/>
                </a:lnTo>
                <a:lnTo>
                  <a:pt x="494" y="7761"/>
                </a:lnTo>
                <a:lnTo>
                  <a:pt x="399" y="7803"/>
                </a:lnTo>
                <a:lnTo>
                  <a:pt x="309" y="7843"/>
                </a:lnTo>
                <a:lnTo>
                  <a:pt x="234" y="7876"/>
                </a:lnTo>
                <a:lnTo>
                  <a:pt x="182" y="7902"/>
                </a:lnTo>
                <a:lnTo>
                  <a:pt x="166" y="7913"/>
                </a:lnTo>
                <a:lnTo>
                  <a:pt x="158" y="7919"/>
                </a:lnTo>
                <a:lnTo>
                  <a:pt x="159" y="7923"/>
                </a:lnTo>
                <a:lnTo>
                  <a:pt x="169" y="7924"/>
                </a:lnTo>
                <a:lnTo>
                  <a:pt x="190" y="7920"/>
                </a:lnTo>
                <a:lnTo>
                  <a:pt x="223" y="7913"/>
                </a:lnTo>
                <a:lnTo>
                  <a:pt x="267" y="7901"/>
                </a:lnTo>
                <a:lnTo>
                  <a:pt x="326" y="7885"/>
                </a:lnTo>
                <a:lnTo>
                  <a:pt x="441" y="7843"/>
                </a:lnTo>
                <a:lnTo>
                  <a:pt x="535" y="7808"/>
                </a:lnTo>
                <a:lnTo>
                  <a:pt x="613" y="7783"/>
                </a:lnTo>
                <a:lnTo>
                  <a:pt x="676" y="7764"/>
                </a:lnTo>
                <a:lnTo>
                  <a:pt x="727" y="7751"/>
                </a:lnTo>
                <a:lnTo>
                  <a:pt x="769" y="7742"/>
                </a:lnTo>
                <a:lnTo>
                  <a:pt x="804" y="7737"/>
                </a:lnTo>
                <a:lnTo>
                  <a:pt x="834" y="7733"/>
                </a:lnTo>
                <a:lnTo>
                  <a:pt x="863" y="7732"/>
                </a:lnTo>
                <a:lnTo>
                  <a:pt x="893" y="7729"/>
                </a:lnTo>
                <a:lnTo>
                  <a:pt x="925" y="7726"/>
                </a:lnTo>
                <a:lnTo>
                  <a:pt x="963" y="7719"/>
                </a:lnTo>
                <a:lnTo>
                  <a:pt x="1009" y="7709"/>
                </a:lnTo>
                <a:lnTo>
                  <a:pt x="1066" y="7694"/>
                </a:lnTo>
                <a:lnTo>
                  <a:pt x="1136" y="7672"/>
                </a:lnTo>
                <a:lnTo>
                  <a:pt x="1223" y="7644"/>
                </a:lnTo>
                <a:lnTo>
                  <a:pt x="1233" y="7638"/>
                </a:lnTo>
                <a:lnTo>
                  <a:pt x="1247" y="7631"/>
                </a:lnTo>
                <a:lnTo>
                  <a:pt x="1265" y="7624"/>
                </a:lnTo>
                <a:lnTo>
                  <a:pt x="1284" y="7616"/>
                </a:lnTo>
                <a:lnTo>
                  <a:pt x="1332" y="7600"/>
                </a:lnTo>
                <a:lnTo>
                  <a:pt x="1387" y="7580"/>
                </a:lnTo>
                <a:lnTo>
                  <a:pt x="1447" y="7561"/>
                </a:lnTo>
                <a:lnTo>
                  <a:pt x="1510" y="7541"/>
                </a:lnTo>
                <a:lnTo>
                  <a:pt x="1574" y="7522"/>
                </a:lnTo>
                <a:lnTo>
                  <a:pt x="1635" y="7504"/>
                </a:lnTo>
                <a:lnTo>
                  <a:pt x="1692" y="7488"/>
                </a:lnTo>
                <a:lnTo>
                  <a:pt x="1742" y="7474"/>
                </a:lnTo>
                <a:lnTo>
                  <a:pt x="1783" y="7462"/>
                </a:lnTo>
                <a:lnTo>
                  <a:pt x="1811" y="7454"/>
                </a:lnTo>
                <a:lnTo>
                  <a:pt x="1824" y="7452"/>
                </a:lnTo>
                <a:lnTo>
                  <a:pt x="1821" y="7453"/>
                </a:lnTo>
                <a:lnTo>
                  <a:pt x="1798" y="7461"/>
                </a:lnTo>
                <a:lnTo>
                  <a:pt x="1752" y="7474"/>
                </a:lnTo>
                <a:lnTo>
                  <a:pt x="1742" y="7481"/>
                </a:lnTo>
                <a:lnTo>
                  <a:pt x="1727" y="7490"/>
                </a:lnTo>
                <a:lnTo>
                  <a:pt x="1706" y="7500"/>
                </a:lnTo>
                <a:lnTo>
                  <a:pt x="1684" y="7510"/>
                </a:lnTo>
                <a:lnTo>
                  <a:pt x="1628" y="7533"/>
                </a:lnTo>
                <a:lnTo>
                  <a:pt x="1560" y="7558"/>
                </a:lnTo>
                <a:lnTo>
                  <a:pt x="1486" y="7584"/>
                </a:lnTo>
                <a:lnTo>
                  <a:pt x="1407" y="7611"/>
                </a:lnTo>
                <a:lnTo>
                  <a:pt x="1326" y="7638"/>
                </a:lnTo>
                <a:lnTo>
                  <a:pt x="1247" y="7664"/>
                </a:lnTo>
                <a:lnTo>
                  <a:pt x="1170" y="7690"/>
                </a:lnTo>
                <a:lnTo>
                  <a:pt x="1103" y="7714"/>
                </a:lnTo>
                <a:lnTo>
                  <a:pt x="1044" y="7736"/>
                </a:lnTo>
                <a:lnTo>
                  <a:pt x="1000" y="7756"/>
                </a:lnTo>
                <a:lnTo>
                  <a:pt x="982" y="7765"/>
                </a:lnTo>
                <a:lnTo>
                  <a:pt x="970" y="7773"/>
                </a:lnTo>
                <a:lnTo>
                  <a:pt x="963" y="7779"/>
                </a:lnTo>
                <a:lnTo>
                  <a:pt x="960" y="7785"/>
                </a:lnTo>
                <a:lnTo>
                  <a:pt x="963" y="7789"/>
                </a:lnTo>
                <a:lnTo>
                  <a:pt x="972" y="7793"/>
                </a:lnTo>
                <a:lnTo>
                  <a:pt x="987" y="7796"/>
                </a:lnTo>
                <a:lnTo>
                  <a:pt x="1007" y="7797"/>
                </a:lnTo>
                <a:lnTo>
                  <a:pt x="986" y="7812"/>
                </a:lnTo>
                <a:lnTo>
                  <a:pt x="968" y="7825"/>
                </a:lnTo>
                <a:lnTo>
                  <a:pt x="956" y="7836"/>
                </a:lnTo>
                <a:lnTo>
                  <a:pt x="947" y="7845"/>
                </a:lnTo>
                <a:lnTo>
                  <a:pt x="944" y="7853"/>
                </a:lnTo>
                <a:lnTo>
                  <a:pt x="944" y="7859"/>
                </a:lnTo>
                <a:lnTo>
                  <a:pt x="946" y="7864"/>
                </a:lnTo>
                <a:lnTo>
                  <a:pt x="953" y="7867"/>
                </a:lnTo>
                <a:lnTo>
                  <a:pt x="961" y="7869"/>
                </a:lnTo>
                <a:lnTo>
                  <a:pt x="973" y="7871"/>
                </a:lnTo>
                <a:lnTo>
                  <a:pt x="987" y="7871"/>
                </a:lnTo>
                <a:lnTo>
                  <a:pt x="1001" y="7871"/>
                </a:lnTo>
                <a:lnTo>
                  <a:pt x="1035" y="7866"/>
                </a:lnTo>
                <a:lnTo>
                  <a:pt x="1071" y="7859"/>
                </a:lnTo>
                <a:lnTo>
                  <a:pt x="1107" y="7852"/>
                </a:lnTo>
                <a:lnTo>
                  <a:pt x="1140" y="7843"/>
                </a:lnTo>
                <a:lnTo>
                  <a:pt x="1168" y="7834"/>
                </a:lnTo>
                <a:lnTo>
                  <a:pt x="1186" y="7826"/>
                </a:lnTo>
                <a:lnTo>
                  <a:pt x="1192" y="7822"/>
                </a:lnTo>
                <a:lnTo>
                  <a:pt x="1193" y="7820"/>
                </a:lnTo>
                <a:lnTo>
                  <a:pt x="1192" y="7817"/>
                </a:lnTo>
                <a:lnTo>
                  <a:pt x="1187" y="7816"/>
                </a:lnTo>
                <a:lnTo>
                  <a:pt x="1178" y="7815"/>
                </a:lnTo>
                <a:lnTo>
                  <a:pt x="1164" y="7815"/>
                </a:lnTo>
                <a:lnTo>
                  <a:pt x="1146" y="7816"/>
                </a:lnTo>
                <a:lnTo>
                  <a:pt x="1122" y="7818"/>
                </a:lnTo>
                <a:lnTo>
                  <a:pt x="1066" y="7827"/>
                </a:lnTo>
                <a:lnTo>
                  <a:pt x="1039" y="7832"/>
                </a:lnTo>
                <a:lnTo>
                  <a:pt x="1035" y="7832"/>
                </a:lnTo>
                <a:lnTo>
                  <a:pt x="1035" y="7831"/>
                </a:lnTo>
                <a:lnTo>
                  <a:pt x="1039" y="7830"/>
                </a:lnTo>
                <a:lnTo>
                  <a:pt x="1047" y="7827"/>
                </a:lnTo>
                <a:lnTo>
                  <a:pt x="1066" y="7818"/>
                </a:lnTo>
                <a:lnTo>
                  <a:pt x="1085" y="7807"/>
                </a:lnTo>
                <a:lnTo>
                  <a:pt x="1093" y="7801"/>
                </a:lnTo>
                <a:lnTo>
                  <a:pt x="1099" y="7793"/>
                </a:lnTo>
                <a:lnTo>
                  <a:pt x="1100" y="7789"/>
                </a:lnTo>
                <a:lnTo>
                  <a:pt x="1102" y="7785"/>
                </a:lnTo>
                <a:lnTo>
                  <a:pt x="1100" y="7782"/>
                </a:lnTo>
                <a:lnTo>
                  <a:pt x="1099" y="7778"/>
                </a:lnTo>
                <a:lnTo>
                  <a:pt x="1178" y="7752"/>
                </a:lnTo>
                <a:lnTo>
                  <a:pt x="1268" y="7722"/>
                </a:lnTo>
                <a:lnTo>
                  <a:pt x="1368" y="7689"/>
                </a:lnTo>
                <a:lnTo>
                  <a:pt x="1473" y="7653"/>
                </a:lnTo>
                <a:lnTo>
                  <a:pt x="1584" y="7616"/>
                </a:lnTo>
                <a:lnTo>
                  <a:pt x="1699" y="7579"/>
                </a:lnTo>
                <a:lnTo>
                  <a:pt x="1813" y="7545"/>
                </a:lnTo>
                <a:lnTo>
                  <a:pt x="1927" y="7512"/>
                </a:lnTo>
                <a:lnTo>
                  <a:pt x="1945" y="7500"/>
                </a:lnTo>
                <a:lnTo>
                  <a:pt x="1957" y="7493"/>
                </a:lnTo>
                <a:lnTo>
                  <a:pt x="1965" y="7490"/>
                </a:lnTo>
                <a:lnTo>
                  <a:pt x="1968" y="7490"/>
                </a:lnTo>
                <a:lnTo>
                  <a:pt x="1965" y="7493"/>
                </a:lnTo>
                <a:lnTo>
                  <a:pt x="1960" y="7499"/>
                </a:lnTo>
                <a:lnTo>
                  <a:pt x="1951" y="7507"/>
                </a:lnTo>
                <a:lnTo>
                  <a:pt x="1940" y="7514"/>
                </a:lnTo>
                <a:lnTo>
                  <a:pt x="1912" y="7535"/>
                </a:lnTo>
                <a:lnTo>
                  <a:pt x="1880" y="7555"/>
                </a:lnTo>
                <a:lnTo>
                  <a:pt x="1863" y="7563"/>
                </a:lnTo>
                <a:lnTo>
                  <a:pt x="1847" y="7570"/>
                </a:lnTo>
                <a:lnTo>
                  <a:pt x="1833" y="7575"/>
                </a:lnTo>
                <a:lnTo>
                  <a:pt x="1820" y="7578"/>
                </a:lnTo>
                <a:lnTo>
                  <a:pt x="1821" y="7587"/>
                </a:lnTo>
                <a:lnTo>
                  <a:pt x="1825" y="7596"/>
                </a:lnTo>
                <a:lnTo>
                  <a:pt x="1830" y="7602"/>
                </a:lnTo>
                <a:lnTo>
                  <a:pt x="1838" y="7606"/>
                </a:lnTo>
                <a:lnTo>
                  <a:pt x="1845" y="7610"/>
                </a:lnTo>
                <a:lnTo>
                  <a:pt x="1855" y="7611"/>
                </a:lnTo>
                <a:lnTo>
                  <a:pt x="1867" y="7612"/>
                </a:lnTo>
                <a:lnTo>
                  <a:pt x="1878" y="7612"/>
                </a:lnTo>
                <a:lnTo>
                  <a:pt x="1905" y="7608"/>
                </a:lnTo>
                <a:lnTo>
                  <a:pt x="1934" y="7601"/>
                </a:lnTo>
                <a:lnTo>
                  <a:pt x="1964" y="7592"/>
                </a:lnTo>
                <a:lnTo>
                  <a:pt x="1993" y="7583"/>
                </a:lnTo>
                <a:lnTo>
                  <a:pt x="2044" y="7565"/>
                </a:lnTo>
                <a:lnTo>
                  <a:pt x="2077" y="7555"/>
                </a:lnTo>
                <a:lnTo>
                  <a:pt x="2081" y="7554"/>
                </a:lnTo>
                <a:lnTo>
                  <a:pt x="2083" y="7555"/>
                </a:lnTo>
                <a:lnTo>
                  <a:pt x="2083" y="7556"/>
                </a:lnTo>
                <a:lnTo>
                  <a:pt x="2081" y="7560"/>
                </a:lnTo>
                <a:lnTo>
                  <a:pt x="2068" y="7572"/>
                </a:lnTo>
                <a:lnTo>
                  <a:pt x="2045" y="7589"/>
                </a:lnTo>
                <a:lnTo>
                  <a:pt x="2059" y="7593"/>
                </a:lnTo>
                <a:lnTo>
                  <a:pt x="2071" y="7597"/>
                </a:lnTo>
                <a:lnTo>
                  <a:pt x="2078" y="7601"/>
                </a:lnTo>
                <a:lnTo>
                  <a:pt x="2085" y="7606"/>
                </a:lnTo>
                <a:lnTo>
                  <a:pt x="2087" y="7610"/>
                </a:lnTo>
                <a:lnTo>
                  <a:pt x="2087" y="7614"/>
                </a:lnTo>
                <a:lnTo>
                  <a:pt x="2085" y="7619"/>
                </a:lnTo>
                <a:lnTo>
                  <a:pt x="2081" y="7622"/>
                </a:lnTo>
                <a:lnTo>
                  <a:pt x="2073" y="7626"/>
                </a:lnTo>
                <a:lnTo>
                  <a:pt x="2066" y="7631"/>
                </a:lnTo>
                <a:lnTo>
                  <a:pt x="2055" y="7635"/>
                </a:lnTo>
                <a:lnTo>
                  <a:pt x="2044" y="7640"/>
                </a:lnTo>
                <a:lnTo>
                  <a:pt x="2016" y="7649"/>
                </a:lnTo>
                <a:lnTo>
                  <a:pt x="1983" y="7659"/>
                </a:lnTo>
                <a:lnTo>
                  <a:pt x="1910" y="7678"/>
                </a:lnTo>
                <a:lnTo>
                  <a:pt x="1834" y="7700"/>
                </a:lnTo>
                <a:lnTo>
                  <a:pt x="1797" y="7712"/>
                </a:lnTo>
                <a:lnTo>
                  <a:pt x="1763" y="7723"/>
                </a:lnTo>
                <a:lnTo>
                  <a:pt x="1733" y="7734"/>
                </a:lnTo>
                <a:lnTo>
                  <a:pt x="1709" y="7746"/>
                </a:lnTo>
                <a:lnTo>
                  <a:pt x="1715" y="7740"/>
                </a:lnTo>
                <a:lnTo>
                  <a:pt x="1719" y="7734"/>
                </a:lnTo>
                <a:lnTo>
                  <a:pt x="1722" y="7729"/>
                </a:lnTo>
                <a:lnTo>
                  <a:pt x="1723" y="7726"/>
                </a:lnTo>
                <a:lnTo>
                  <a:pt x="1723" y="7723"/>
                </a:lnTo>
                <a:lnTo>
                  <a:pt x="1722" y="7720"/>
                </a:lnTo>
                <a:lnTo>
                  <a:pt x="1720" y="7719"/>
                </a:lnTo>
                <a:lnTo>
                  <a:pt x="1717" y="7718"/>
                </a:lnTo>
                <a:lnTo>
                  <a:pt x="1708" y="7718"/>
                </a:lnTo>
                <a:lnTo>
                  <a:pt x="1696" y="7720"/>
                </a:lnTo>
                <a:lnTo>
                  <a:pt x="1682" y="7724"/>
                </a:lnTo>
                <a:lnTo>
                  <a:pt x="1668" y="7729"/>
                </a:lnTo>
                <a:lnTo>
                  <a:pt x="1638" y="7742"/>
                </a:lnTo>
                <a:lnTo>
                  <a:pt x="1610" y="7756"/>
                </a:lnTo>
                <a:lnTo>
                  <a:pt x="1600" y="7762"/>
                </a:lnTo>
                <a:lnTo>
                  <a:pt x="1593" y="7768"/>
                </a:lnTo>
                <a:lnTo>
                  <a:pt x="1591" y="7770"/>
                </a:lnTo>
                <a:lnTo>
                  <a:pt x="1591" y="7771"/>
                </a:lnTo>
                <a:lnTo>
                  <a:pt x="1591" y="7773"/>
                </a:lnTo>
                <a:lnTo>
                  <a:pt x="1592" y="7774"/>
                </a:lnTo>
                <a:lnTo>
                  <a:pt x="1615" y="7774"/>
                </a:lnTo>
                <a:lnTo>
                  <a:pt x="1630" y="7774"/>
                </a:lnTo>
                <a:lnTo>
                  <a:pt x="1639" y="7776"/>
                </a:lnTo>
                <a:lnTo>
                  <a:pt x="1642" y="7780"/>
                </a:lnTo>
                <a:lnTo>
                  <a:pt x="1638" y="7785"/>
                </a:lnTo>
                <a:lnTo>
                  <a:pt x="1629" y="7792"/>
                </a:lnTo>
                <a:lnTo>
                  <a:pt x="1615" y="7798"/>
                </a:lnTo>
                <a:lnTo>
                  <a:pt x="1596" y="7807"/>
                </a:lnTo>
                <a:lnTo>
                  <a:pt x="1545" y="7825"/>
                </a:lnTo>
                <a:lnTo>
                  <a:pt x="1480" y="7848"/>
                </a:lnTo>
                <a:lnTo>
                  <a:pt x="1405" y="7872"/>
                </a:lnTo>
                <a:lnTo>
                  <a:pt x="1322" y="7899"/>
                </a:lnTo>
                <a:lnTo>
                  <a:pt x="1235" y="7928"/>
                </a:lnTo>
                <a:lnTo>
                  <a:pt x="1147" y="7957"/>
                </a:lnTo>
                <a:lnTo>
                  <a:pt x="1061" y="7988"/>
                </a:lnTo>
                <a:lnTo>
                  <a:pt x="981" y="8018"/>
                </a:lnTo>
                <a:lnTo>
                  <a:pt x="944" y="8034"/>
                </a:lnTo>
                <a:lnTo>
                  <a:pt x="911" y="8049"/>
                </a:lnTo>
                <a:lnTo>
                  <a:pt x="879" y="8064"/>
                </a:lnTo>
                <a:lnTo>
                  <a:pt x="851" y="8078"/>
                </a:lnTo>
                <a:lnTo>
                  <a:pt x="826" y="8092"/>
                </a:lnTo>
                <a:lnTo>
                  <a:pt x="807" y="8106"/>
                </a:lnTo>
                <a:lnTo>
                  <a:pt x="792" y="8120"/>
                </a:lnTo>
                <a:lnTo>
                  <a:pt x="782" y="8133"/>
                </a:lnTo>
                <a:lnTo>
                  <a:pt x="862" y="8099"/>
                </a:lnTo>
                <a:lnTo>
                  <a:pt x="941" y="8065"/>
                </a:lnTo>
                <a:lnTo>
                  <a:pt x="1018" y="8036"/>
                </a:lnTo>
                <a:lnTo>
                  <a:pt x="1093" y="8008"/>
                </a:lnTo>
                <a:lnTo>
                  <a:pt x="1164" y="7981"/>
                </a:lnTo>
                <a:lnTo>
                  <a:pt x="1235" y="7957"/>
                </a:lnTo>
                <a:lnTo>
                  <a:pt x="1304" y="7936"/>
                </a:lnTo>
                <a:lnTo>
                  <a:pt x="1372" y="7914"/>
                </a:lnTo>
                <a:lnTo>
                  <a:pt x="1436" y="7895"/>
                </a:lnTo>
                <a:lnTo>
                  <a:pt x="1501" y="7876"/>
                </a:lnTo>
                <a:lnTo>
                  <a:pt x="1565" y="7859"/>
                </a:lnTo>
                <a:lnTo>
                  <a:pt x="1628" y="7843"/>
                </a:lnTo>
                <a:lnTo>
                  <a:pt x="1749" y="7813"/>
                </a:lnTo>
                <a:lnTo>
                  <a:pt x="1867" y="7788"/>
                </a:lnTo>
                <a:lnTo>
                  <a:pt x="1984" y="7762"/>
                </a:lnTo>
                <a:lnTo>
                  <a:pt x="2101" y="7740"/>
                </a:lnTo>
                <a:lnTo>
                  <a:pt x="2217" y="7715"/>
                </a:lnTo>
                <a:lnTo>
                  <a:pt x="2334" y="7690"/>
                </a:lnTo>
                <a:lnTo>
                  <a:pt x="2454" y="7663"/>
                </a:lnTo>
                <a:lnTo>
                  <a:pt x="2576" y="7633"/>
                </a:lnTo>
                <a:lnTo>
                  <a:pt x="2640" y="7616"/>
                </a:lnTo>
                <a:lnTo>
                  <a:pt x="2704" y="7598"/>
                </a:lnTo>
                <a:lnTo>
                  <a:pt x="2769" y="7579"/>
                </a:lnTo>
                <a:lnTo>
                  <a:pt x="2836" y="7559"/>
                </a:lnTo>
                <a:lnTo>
                  <a:pt x="2822" y="7558"/>
                </a:lnTo>
                <a:lnTo>
                  <a:pt x="2811" y="7555"/>
                </a:lnTo>
                <a:lnTo>
                  <a:pt x="2802" y="7552"/>
                </a:lnTo>
                <a:lnTo>
                  <a:pt x="2794" y="7549"/>
                </a:lnTo>
                <a:lnTo>
                  <a:pt x="2789" y="7545"/>
                </a:lnTo>
                <a:lnTo>
                  <a:pt x="2785" y="7541"/>
                </a:lnTo>
                <a:lnTo>
                  <a:pt x="2781" y="7537"/>
                </a:lnTo>
                <a:lnTo>
                  <a:pt x="2780" y="7532"/>
                </a:lnTo>
                <a:lnTo>
                  <a:pt x="2780" y="7527"/>
                </a:lnTo>
                <a:lnTo>
                  <a:pt x="2781" y="7522"/>
                </a:lnTo>
                <a:lnTo>
                  <a:pt x="2784" y="7517"/>
                </a:lnTo>
                <a:lnTo>
                  <a:pt x="2786" y="7512"/>
                </a:lnTo>
                <a:lnTo>
                  <a:pt x="2794" y="7502"/>
                </a:lnTo>
                <a:lnTo>
                  <a:pt x="2804" y="7493"/>
                </a:lnTo>
                <a:lnTo>
                  <a:pt x="2816" y="7485"/>
                </a:lnTo>
                <a:lnTo>
                  <a:pt x="2827" y="7479"/>
                </a:lnTo>
                <a:lnTo>
                  <a:pt x="2839" y="7474"/>
                </a:lnTo>
                <a:lnTo>
                  <a:pt x="2848" y="7472"/>
                </a:lnTo>
                <a:lnTo>
                  <a:pt x="2851" y="7474"/>
                </a:lnTo>
                <a:lnTo>
                  <a:pt x="2854" y="7475"/>
                </a:lnTo>
                <a:lnTo>
                  <a:pt x="2856" y="7477"/>
                </a:lnTo>
                <a:lnTo>
                  <a:pt x="2858" y="7481"/>
                </a:lnTo>
                <a:lnTo>
                  <a:pt x="2858" y="7485"/>
                </a:lnTo>
                <a:lnTo>
                  <a:pt x="2856" y="7491"/>
                </a:lnTo>
                <a:lnTo>
                  <a:pt x="2854" y="7498"/>
                </a:lnTo>
                <a:lnTo>
                  <a:pt x="2850" y="7507"/>
                </a:lnTo>
                <a:lnTo>
                  <a:pt x="2874" y="7498"/>
                </a:lnTo>
                <a:lnTo>
                  <a:pt x="2924" y="7480"/>
                </a:lnTo>
                <a:lnTo>
                  <a:pt x="2994" y="7454"/>
                </a:lnTo>
                <a:lnTo>
                  <a:pt x="3081" y="7423"/>
                </a:lnTo>
                <a:lnTo>
                  <a:pt x="3177" y="7387"/>
                </a:lnTo>
                <a:lnTo>
                  <a:pt x="3278" y="7351"/>
                </a:lnTo>
                <a:lnTo>
                  <a:pt x="3380" y="7314"/>
                </a:lnTo>
                <a:lnTo>
                  <a:pt x="3477" y="7281"/>
                </a:lnTo>
                <a:lnTo>
                  <a:pt x="3562" y="7252"/>
                </a:lnTo>
                <a:lnTo>
                  <a:pt x="3632" y="7230"/>
                </a:lnTo>
                <a:lnTo>
                  <a:pt x="3660" y="7223"/>
                </a:lnTo>
                <a:lnTo>
                  <a:pt x="3682" y="7218"/>
                </a:lnTo>
                <a:lnTo>
                  <a:pt x="3697" y="7215"/>
                </a:lnTo>
                <a:lnTo>
                  <a:pt x="3706" y="7215"/>
                </a:lnTo>
                <a:lnTo>
                  <a:pt x="3706" y="7219"/>
                </a:lnTo>
                <a:lnTo>
                  <a:pt x="3698" y="7225"/>
                </a:lnTo>
                <a:lnTo>
                  <a:pt x="3682" y="7237"/>
                </a:lnTo>
                <a:lnTo>
                  <a:pt x="3655" y="7252"/>
                </a:lnTo>
                <a:lnTo>
                  <a:pt x="3618" y="7271"/>
                </a:lnTo>
                <a:lnTo>
                  <a:pt x="3571" y="7295"/>
                </a:lnTo>
                <a:lnTo>
                  <a:pt x="3511" y="7323"/>
                </a:lnTo>
                <a:lnTo>
                  <a:pt x="3440" y="7358"/>
                </a:lnTo>
                <a:lnTo>
                  <a:pt x="3428" y="7365"/>
                </a:lnTo>
                <a:lnTo>
                  <a:pt x="3414" y="7374"/>
                </a:lnTo>
                <a:lnTo>
                  <a:pt x="3398" y="7383"/>
                </a:lnTo>
                <a:lnTo>
                  <a:pt x="3379" y="7393"/>
                </a:lnTo>
                <a:lnTo>
                  <a:pt x="3331" y="7414"/>
                </a:lnTo>
                <a:lnTo>
                  <a:pt x="3277" y="7437"/>
                </a:lnTo>
                <a:lnTo>
                  <a:pt x="3216" y="7460"/>
                </a:lnTo>
                <a:lnTo>
                  <a:pt x="3152" y="7484"/>
                </a:lnTo>
                <a:lnTo>
                  <a:pt x="3086" y="7508"/>
                </a:lnTo>
                <a:lnTo>
                  <a:pt x="3019" y="7532"/>
                </a:lnTo>
                <a:lnTo>
                  <a:pt x="2956" y="7556"/>
                </a:lnTo>
                <a:lnTo>
                  <a:pt x="2896" y="7580"/>
                </a:lnTo>
                <a:lnTo>
                  <a:pt x="2869" y="7593"/>
                </a:lnTo>
                <a:lnTo>
                  <a:pt x="2844" y="7605"/>
                </a:lnTo>
                <a:lnTo>
                  <a:pt x="2821" y="7616"/>
                </a:lnTo>
                <a:lnTo>
                  <a:pt x="2799" y="7628"/>
                </a:lnTo>
                <a:lnTo>
                  <a:pt x="2781" y="7639"/>
                </a:lnTo>
                <a:lnTo>
                  <a:pt x="2766" y="7649"/>
                </a:lnTo>
                <a:lnTo>
                  <a:pt x="2753" y="7659"/>
                </a:lnTo>
                <a:lnTo>
                  <a:pt x="2746" y="7670"/>
                </a:lnTo>
                <a:lnTo>
                  <a:pt x="2741" y="7680"/>
                </a:lnTo>
                <a:lnTo>
                  <a:pt x="2739" y="7689"/>
                </a:lnTo>
                <a:lnTo>
                  <a:pt x="2742" y="7698"/>
                </a:lnTo>
                <a:lnTo>
                  <a:pt x="2749" y="7705"/>
                </a:lnTo>
                <a:lnTo>
                  <a:pt x="2766" y="7701"/>
                </a:lnTo>
                <a:lnTo>
                  <a:pt x="2784" y="7696"/>
                </a:lnTo>
                <a:lnTo>
                  <a:pt x="2806" y="7689"/>
                </a:lnTo>
                <a:lnTo>
                  <a:pt x="2828" y="7681"/>
                </a:lnTo>
                <a:lnTo>
                  <a:pt x="2878" y="7661"/>
                </a:lnTo>
                <a:lnTo>
                  <a:pt x="2934" y="7638"/>
                </a:lnTo>
                <a:lnTo>
                  <a:pt x="2994" y="7614"/>
                </a:lnTo>
                <a:lnTo>
                  <a:pt x="3055" y="7587"/>
                </a:lnTo>
                <a:lnTo>
                  <a:pt x="3116" y="7560"/>
                </a:lnTo>
                <a:lnTo>
                  <a:pt x="3176" y="7535"/>
                </a:lnTo>
                <a:lnTo>
                  <a:pt x="3232" y="7510"/>
                </a:lnTo>
                <a:lnTo>
                  <a:pt x="3283" y="7490"/>
                </a:lnTo>
                <a:lnTo>
                  <a:pt x="3328" y="7474"/>
                </a:lnTo>
                <a:lnTo>
                  <a:pt x="3362" y="7462"/>
                </a:lnTo>
                <a:lnTo>
                  <a:pt x="3376" y="7458"/>
                </a:lnTo>
                <a:lnTo>
                  <a:pt x="3386" y="7457"/>
                </a:lnTo>
                <a:lnTo>
                  <a:pt x="3394" y="7457"/>
                </a:lnTo>
                <a:lnTo>
                  <a:pt x="3399" y="7458"/>
                </a:lnTo>
                <a:lnTo>
                  <a:pt x="3399" y="7462"/>
                </a:lnTo>
                <a:lnTo>
                  <a:pt x="3396" y="7468"/>
                </a:lnTo>
                <a:lnTo>
                  <a:pt x="3390" y="7477"/>
                </a:lnTo>
                <a:lnTo>
                  <a:pt x="3379" y="7489"/>
                </a:lnTo>
                <a:lnTo>
                  <a:pt x="3396" y="7488"/>
                </a:lnTo>
                <a:lnTo>
                  <a:pt x="3413" y="7486"/>
                </a:lnTo>
                <a:lnTo>
                  <a:pt x="3428" y="7484"/>
                </a:lnTo>
                <a:lnTo>
                  <a:pt x="3444" y="7481"/>
                </a:lnTo>
                <a:lnTo>
                  <a:pt x="3458" y="7477"/>
                </a:lnTo>
                <a:lnTo>
                  <a:pt x="3470" y="7474"/>
                </a:lnTo>
                <a:lnTo>
                  <a:pt x="3483" y="7468"/>
                </a:lnTo>
                <a:lnTo>
                  <a:pt x="3494" y="7463"/>
                </a:lnTo>
                <a:lnTo>
                  <a:pt x="3517" y="7452"/>
                </a:lnTo>
                <a:lnTo>
                  <a:pt x="3538" y="7438"/>
                </a:lnTo>
                <a:lnTo>
                  <a:pt x="3558" y="7423"/>
                </a:lnTo>
                <a:lnTo>
                  <a:pt x="3577" y="7407"/>
                </a:lnTo>
                <a:lnTo>
                  <a:pt x="3596" y="7389"/>
                </a:lnTo>
                <a:lnTo>
                  <a:pt x="3617" y="7373"/>
                </a:lnTo>
                <a:lnTo>
                  <a:pt x="3638" y="7355"/>
                </a:lnTo>
                <a:lnTo>
                  <a:pt x="3663" y="7337"/>
                </a:lnTo>
                <a:lnTo>
                  <a:pt x="3688" y="7321"/>
                </a:lnTo>
                <a:lnTo>
                  <a:pt x="3717" y="7304"/>
                </a:lnTo>
                <a:lnTo>
                  <a:pt x="3733" y="7297"/>
                </a:lnTo>
                <a:lnTo>
                  <a:pt x="3749" y="7289"/>
                </a:lnTo>
                <a:lnTo>
                  <a:pt x="3767" y="7281"/>
                </a:lnTo>
                <a:lnTo>
                  <a:pt x="3786" y="7275"/>
                </a:lnTo>
                <a:lnTo>
                  <a:pt x="3771" y="7289"/>
                </a:lnTo>
                <a:lnTo>
                  <a:pt x="3756" y="7304"/>
                </a:lnTo>
                <a:lnTo>
                  <a:pt x="3740" y="7322"/>
                </a:lnTo>
                <a:lnTo>
                  <a:pt x="3725" y="7340"/>
                </a:lnTo>
                <a:lnTo>
                  <a:pt x="3693" y="7381"/>
                </a:lnTo>
                <a:lnTo>
                  <a:pt x="3663" y="7423"/>
                </a:lnTo>
                <a:lnTo>
                  <a:pt x="3635" y="7466"/>
                </a:lnTo>
                <a:lnTo>
                  <a:pt x="3609" y="7508"/>
                </a:lnTo>
                <a:lnTo>
                  <a:pt x="3587" y="7549"/>
                </a:lnTo>
                <a:lnTo>
                  <a:pt x="3571" y="7586"/>
                </a:lnTo>
                <a:lnTo>
                  <a:pt x="3565" y="7601"/>
                </a:lnTo>
                <a:lnTo>
                  <a:pt x="3559" y="7616"/>
                </a:lnTo>
                <a:lnTo>
                  <a:pt x="3556" y="7629"/>
                </a:lnTo>
                <a:lnTo>
                  <a:pt x="3554" y="7640"/>
                </a:lnTo>
                <a:lnTo>
                  <a:pt x="3554" y="7649"/>
                </a:lnTo>
                <a:lnTo>
                  <a:pt x="3556" y="7656"/>
                </a:lnTo>
                <a:lnTo>
                  <a:pt x="3561" y="7661"/>
                </a:lnTo>
                <a:lnTo>
                  <a:pt x="3567" y="7662"/>
                </a:lnTo>
                <a:lnTo>
                  <a:pt x="3575" y="7659"/>
                </a:lnTo>
                <a:lnTo>
                  <a:pt x="3586" y="7656"/>
                </a:lnTo>
                <a:lnTo>
                  <a:pt x="3599" y="7647"/>
                </a:lnTo>
                <a:lnTo>
                  <a:pt x="3615" y="7635"/>
                </a:lnTo>
                <a:lnTo>
                  <a:pt x="3635" y="7620"/>
                </a:lnTo>
                <a:lnTo>
                  <a:pt x="3656" y="7601"/>
                </a:lnTo>
                <a:lnTo>
                  <a:pt x="3680" y="7578"/>
                </a:lnTo>
                <a:lnTo>
                  <a:pt x="3708" y="7550"/>
                </a:lnTo>
                <a:lnTo>
                  <a:pt x="3720" y="7546"/>
                </a:lnTo>
                <a:lnTo>
                  <a:pt x="3728" y="7546"/>
                </a:lnTo>
                <a:lnTo>
                  <a:pt x="3733" y="7550"/>
                </a:lnTo>
                <a:lnTo>
                  <a:pt x="3733" y="7555"/>
                </a:lnTo>
                <a:lnTo>
                  <a:pt x="3730" y="7564"/>
                </a:lnTo>
                <a:lnTo>
                  <a:pt x="3725" y="7575"/>
                </a:lnTo>
                <a:lnTo>
                  <a:pt x="3717" y="7589"/>
                </a:lnTo>
                <a:lnTo>
                  <a:pt x="3707" y="7605"/>
                </a:lnTo>
                <a:lnTo>
                  <a:pt x="3682" y="7640"/>
                </a:lnTo>
                <a:lnTo>
                  <a:pt x="3651" y="7680"/>
                </a:lnTo>
                <a:lnTo>
                  <a:pt x="3619" y="7720"/>
                </a:lnTo>
                <a:lnTo>
                  <a:pt x="3587" y="7760"/>
                </a:lnTo>
                <a:lnTo>
                  <a:pt x="3559" y="7798"/>
                </a:lnTo>
                <a:lnTo>
                  <a:pt x="3538" y="7830"/>
                </a:lnTo>
                <a:lnTo>
                  <a:pt x="3530" y="7843"/>
                </a:lnTo>
                <a:lnTo>
                  <a:pt x="3525" y="7853"/>
                </a:lnTo>
                <a:lnTo>
                  <a:pt x="3522" y="7862"/>
                </a:lnTo>
                <a:lnTo>
                  <a:pt x="3524" y="7867"/>
                </a:lnTo>
                <a:lnTo>
                  <a:pt x="3528" y="7869"/>
                </a:lnTo>
                <a:lnTo>
                  <a:pt x="3535" y="7869"/>
                </a:lnTo>
                <a:lnTo>
                  <a:pt x="3548" y="7864"/>
                </a:lnTo>
                <a:lnTo>
                  <a:pt x="3565" y="7855"/>
                </a:lnTo>
                <a:lnTo>
                  <a:pt x="3587" y="7843"/>
                </a:lnTo>
                <a:lnTo>
                  <a:pt x="3614" y="7825"/>
                </a:lnTo>
                <a:lnTo>
                  <a:pt x="3646" y="7803"/>
                </a:lnTo>
                <a:lnTo>
                  <a:pt x="3686" y="7775"/>
                </a:lnTo>
                <a:lnTo>
                  <a:pt x="3707" y="7766"/>
                </a:lnTo>
                <a:lnTo>
                  <a:pt x="3725" y="7761"/>
                </a:lnTo>
                <a:lnTo>
                  <a:pt x="3739" y="7757"/>
                </a:lnTo>
                <a:lnTo>
                  <a:pt x="3749" y="7757"/>
                </a:lnTo>
                <a:lnTo>
                  <a:pt x="3754" y="7759"/>
                </a:lnTo>
                <a:lnTo>
                  <a:pt x="3758" y="7761"/>
                </a:lnTo>
                <a:lnTo>
                  <a:pt x="3757" y="7768"/>
                </a:lnTo>
                <a:lnTo>
                  <a:pt x="3754" y="7775"/>
                </a:lnTo>
                <a:lnTo>
                  <a:pt x="3748" y="7784"/>
                </a:lnTo>
                <a:lnTo>
                  <a:pt x="3740" y="7794"/>
                </a:lnTo>
                <a:lnTo>
                  <a:pt x="3730" y="7806"/>
                </a:lnTo>
                <a:lnTo>
                  <a:pt x="3717" y="7820"/>
                </a:lnTo>
                <a:lnTo>
                  <a:pt x="3689" y="7848"/>
                </a:lnTo>
                <a:lnTo>
                  <a:pt x="3656" y="7881"/>
                </a:lnTo>
                <a:lnTo>
                  <a:pt x="3621" y="7914"/>
                </a:lnTo>
                <a:lnTo>
                  <a:pt x="3585" y="7948"/>
                </a:lnTo>
                <a:lnTo>
                  <a:pt x="3552" y="7983"/>
                </a:lnTo>
                <a:lnTo>
                  <a:pt x="3521" y="8013"/>
                </a:lnTo>
                <a:lnTo>
                  <a:pt x="3508" y="8028"/>
                </a:lnTo>
                <a:lnTo>
                  <a:pt x="3497" y="8043"/>
                </a:lnTo>
                <a:lnTo>
                  <a:pt x="3488" y="8055"/>
                </a:lnTo>
                <a:lnTo>
                  <a:pt x="3482" y="8067"/>
                </a:lnTo>
                <a:lnTo>
                  <a:pt x="3477" y="8077"/>
                </a:lnTo>
                <a:lnTo>
                  <a:pt x="3475" y="8085"/>
                </a:lnTo>
                <a:lnTo>
                  <a:pt x="3477" y="8091"/>
                </a:lnTo>
                <a:lnTo>
                  <a:pt x="3482" y="8096"/>
                </a:lnTo>
                <a:lnTo>
                  <a:pt x="3511" y="8063"/>
                </a:lnTo>
                <a:lnTo>
                  <a:pt x="3539" y="8034"/>
                </a:lnTo>
                <a:lnTo>
                  <a:pt x="3565" y="8007"/>
                </a:lnTo>
                <a:lnTo>
                  <a:pt x="3589" y="7983"/>
                </a:lnTo>
                <a:lnTo>
                  <a:pt x="3612" y="7961"/>
                </a:lnTo>
                <a:lnTo>
                  <a:pt x="3633" y="7942"/>
                </a:lnTo>
                <a:lnTo>
                  <a:pt x="3655" y="7925"/>
                </a:lnTo>
                <a:lnTo>
                  <a:pt x="3675" y="7910"/>
                </a:lnTo>
                <a:lnTo>
                  <a:pt x="3696" y="7897"/>
                </a:lnTo>
                <a:lnTo>
                  <a:pt x="3717" y="7885"/>
                </a:lnTo>
                <a:lnTo>
                  <a:pt x="3739" y="7873"/>
                </a:lnTo>
                <a:lnTo>
                  <a:pt x="3762" y="7863"/>
                </a:lnTo>
                <a:lnTo>
                  <a:pt x="3812" y="7843"/>
                </a:lnTo>
                <a:lnTo>
                  <a:pt x="3868" y="7824"/>
                </a:lnTo>
                <a:lnTo>
                  <a:pt x="3833" y="7885"/>
                </a:lnTo>
                <a:lnTo>
                  <a:pt x="3805" y="7937"/>
                </a:lnTo>
                <a:lnTo>
                  <a:pt x="3784" y="7980"/>
                </a:lnTo>
                <a:lnTo>
                  <a:pt x="3767" y="8014"/>
                </a:lnTo>
                <a:lnTo>
                  <a:pt x="3762" y="8030"/>
                </a:lnTo>
                <a:lnTo>
                  <a:pt x="3758" y="8041"/>
                </a:lnTo>
                <a:lnTo>
                  <a:pt x="3756" y="8051"/>
                </a:lnTo>
                <a:lnTo>
                  <a:pt x="3754" y="8060"/>
                </a:lnTo>
                <a:lnTo>
                  <a:pt x="3756" y="8067"/>
                </a:lnTo>
                <a:lnTo>
                  <a:pt x="3757" y="8071"/>
                </a:lnTo>
                <a:lnTo>
                  <a:pt x="3761" y="8073"/>
                </a:lnTo>
                <a:lnTo>
                  <a:pt x="3764" y="8074"/>
                </a:lnTo>
                <a:lnTo>
                  <a:pt x="3771" y="8073"/>
                </a:lnTo>
                <a:lnTo>
                  <a:pt x="3777" y="8071"/>
                </a:lnTo>
                <a:lnTo>
                  <a:pt x="3786" y="8065"/>
                </a:lnTo>
                <a:lnTo>
                  <a:pt x="3795" y="8059"/>
                </a:lnTo>
                <a:lnTo>
                  <a:pt x="3818" y="8041"/>
                </a:lnTo>
                <a:lnTo>
                  <a:pt x="3846" y="8018"/>
                </a:lnTo>
                <a:lnTo>
                  <a:pt x="3878" y="7988"/>
                </a:lnTo>
                <a:lnTo>
                  <a:pt x="3915" y="7951"/>
                </a:lnTo>
                <a:lnTo>
                  <a:pt x="3955" y="7910"/>
                </a:lnTo>
                <a:lnTo>
                  <a:pt x="3999" y="7863"/>
                </a:lnTo>
                <a:lnTo>
                  <a:pt x="4018" y="7855"/>
                </a:lnTo>
                <a:lnTo>
                  <a:pt x="4034" y="7849"/>
                </a:lnTo>
                <a:lnTo>
                  <a:pt x="4047" y="7846"/>
                </a:lnTo>
                <a:lnTo>
                  <a:pt x="4056" y="7844"/>
                </a:lnTo>
                <a:lnTo>
                  <a:pt x="4064" y="7844"/>
                </a:lnTo>
                <a:lnTo>
                  <a:pt x="4068" y="7846"/>
                </a:lnTo>
                <a:lnTo>
                  <a:pt x="4070" y="7849"/>
                </a:lnTo>
                <a:lnTo>
                  <a:pt x="4070" y="7854"/>
                </a:lnTo>
                <a:lnTo>
                  <a:pt x="4069" y="7859"/>
                </a:lnTo>
                <a:lnTo>
                  <a:pt x="4066" y="7864"/>
                </a:lnTo>
                <a:lnTo>
                  <a:pt x="4062" y="7872"/>
                </a:lnTo>
                <a:lnTo>
                  <a:pt x="4057" y="7880"/>
                </a:lnTo>
                <a:lnTo>
                  <a:pt x="4045" y="7895"/>
                </a:lnTo>
                <a:lnTo>
                  <a:pt x="4031" y="7910"/>
                </a:lnTo>
                <a:lnTo>
                  <a:pt x="4018" y="7924"/>
                </a:lnTo>
                <a:lnTo>
                  <a:pt x="4009" y="7936"/>
                </a:lnTo>
                <a:lnTo>
                  <a:pt x="4005" y="7939"/>
                </a:lnTo>
                <a:lnTo>
                  <a:pt x="4004" y="7943"/>
                </a:lnTo>
                <a:lnTo>
                  <a:pt x="4004" y="7944"/>
                </a:lnTo>
                <a:lnTo>
                  <a:pt x="4005" y="7944"/>
                </a:lnTo>
                <a:lnTo>
                  <a:pt x="4015" y="7939"/>
                </a:lnTo>
                <a:lnTo>
                  <a:pt x="4036" y="7927"/>
                </a:lnTo>
                <a:lnTo>
                  <a:pt x="4070" y="7904"/>
                </a:lnTo>
                <a:lnTo>
                  <a:pt x="4117" y="7871"/>
                </a:lnTo>
                <a:lnTo>
                  <a:pt x="4078" y="7944"/>
                </a:lnTo>
                <a:lnTo>
                  <a:pt x="4054" y="7992"/>
                </a:lnTo>
                <a:lnTo>
                  <a:pt x="4041" y="8021"/>
                </a:lnTo>
                <a:lnTo>
                  <a:pt x="4032" y="8043"/>
                </a:lnTo>
                <a:lnTo>
                  <a:pt x="4020" y="8065"/>
                </a:lnTo>
                <a:lnTo>
                  <a:pt x="4001" y="8102"/>
                </a:lnTo>
                <a:lnTo>
                  <a:pt x="3968" y="8160"/>
                </a:lnTo>
                <a:lnTo>
                  <a:pt x="3915" y="8251"/>
                </a:lnTo>
                <a:lnTo>
                  <a:pt x="3896" y="8274"/>
                </a:lnTo>
                <a:lnTo>
                  <a:pt x="3883" y="8291"/>
                </a:lnTo>
                <a:lnTo>
                  <a:pt x="3875" y="8303"/>
                </a:lnTo>
                <a:lnTo>
                  <a:pt x="3871" y="8312"/>
                </a:lnTo>
                <a:lnTo>
                  <a:pt x="3871" y="8314"/>
                </a:lnTo>
                <a:lnTo>
                  <a:pt x="3871" y="8315"/>
                </a:lnTo>
                <a:lnTo>
                  <a:pt x="3873" y="8316"/>
                </a:lnTo>
                <a:lnTo>
                  <a:pt x="3875" y="8315"/>
                </a:lnTo>
                <a:lnTo>
                  <a:pt x="3883" y="8312"/>
                </a:lnTo>
                <a:lnTo>
                  <a:pt x="3892" y="8306"/>
                </a:lnTo>
                <a:lnTo>
                  <a:pt x="3916" y="8287"/>
                </a:lnTo>
                <a:lnTo>
                  <a:pt x="3944" y="8263"/>
                </a:lnTo>
                <a:lnTo>
                  <a:pt x="3973" y="8236"/>
                </a:lnTo>
                <a:lnTo>
                  <a:pt x="3998" y="8209"/>
                </a:lnTo>
                <a:lnTo>
                  <a:pt x="3991" y="8225"/>
                </a:lnTo>
                <a:lnTo>
                  <a:pt x="3986" y="8239"/>
                </a:lnTo>
                <a:lnTo>
                  <a:pt x="3983" y="8251"/>
                </a:lnTo>
                <a:lnTo>
                  <a:pt x="3982" y="8261"/>
                </a:lnTo>
                <a:lnTo>
                  <a:pt x="3981" y="8270"/>
                </a:lnTo>
                <a:lnTo>
                  <a:pt x="3982" y="8277"/>
                </a:lnTo>
                <a:lnTo>
                  <a:pt x="3983" y="8282"/>
                </a:lnTo>
                <a:lnTo>
                  <a:pt x="3986" y="8284"/>
                </a:lnTo>
                <a:lnTo>
                  <a:pt x="3990" y="8286"/>
                </a:lnTo>
                <a:lnTo>
                  <a:pt x="3995" y="8283"/>
                </a:lnTo>
                <a:lnTo>
                  <a:pt x="4000" y="8279"/>
                </a:lnTo>
                <a:lnTo>
                  <a:pt x="4008" y="8272"/>
                </a:lnTo>
                <a:lnTo>
                  <a:pt x="4014" y="8261"/>
                </a:lnTo>
                <a:lnTo>
                  <a:pt x="4023" y="8249"/>
                </a:lnTo>
                <a:lnTo>
                  <a:pt x="4032" y="8233"/>
                </a:lnTo>
                <a:lnTo>
                  <a:pt x="4041" y="8214"/>
                </a:lnTo>
                <a:lnTo>
                  <a:pt x="4115" y="8138"/>
                </a:lnTo>
                <a:lnTo>
                  <a:pt x="4190" y="8063"/>
                </a:lnTo>
                <a:lnTo>
                  <a:pt x="4266" y="7989"/>
                </a:lnTo>
                <a:lnTo>
                  <a:pt x="4340" y="7920"/>
                </a:lnTo>
                <a:lnTo>
                  <a:pt x="4411" y="7858"/>
                </a:lnTo>
                <a:lnTo>
                  <a:pt x="4476" y="7803"/>
                </a:lnTo>
                <a:lnTo>
                  <a:pt x="4534" y="7756"/>
                </a:lnTo>
                <a:lnTo>
                  <a:pt x="4581" y="7720"/>
                </a:lnTo>
                <a:lnTo>
                  <a:pt x="4601" y="7708"/>
                </a:lnTo>
                <a:lnTo>
                  <a:pt x="4618" y="7698"/>
                </a:lnTo>
                <a:lnTo>
                  <a:pt x="4630" y="7691"/>
                </a:lnTo>
                <a:lnTo>
                  <a:pt x="4639" y="7689"/>
                </a:lnTo>
                <a:lnTo>
                  <a:pt x="4646" y="7689"/>
                </a:lnTo>
                <a:lnTo>
                  <a:pt x="4647" y="7694"/>
                </a:lnTo>
                <a:lnTo>
                  <a:pt x="4644" y="7704"/>
                </a:lnTo>
                <a:lnTo>
                  <a:pt x="4637" y="7718"/>
                </a:lnTo>
                <a:lnTo>
                  <a:pt x="4624" y="7736"/>
                </a:lnTo>
                <a:lnTo>
                  <a:pt x="4606" y="7760"/>
                </a:lnTo>
                <a:lnTo>
                  <a:pt x="4583" y="7788"/>
                </a:lnTo>
                <a:lnTo>
                  <a:pt x="4555" y="7822"/>
                </a:lnTo>
                <a:lnTo>
                  <a:pt x="4521" y="7862"/>
                </a:lnTo>
                <a:lnTo>
                  <a:pt x="4480" y="7906"/>
                </a:lnTo>
                <a:lnTo>
                  <a:pt x="4433" y="7957"/>
                </a:lnTo>
                <a:lnTo>
                  <a:pt x="4381" y="8014"/>
                </a:lnTo>
                <a:lnTo>
                  <a:pt x="4387" y="8020"/>
                </a:lnTo>
                <a:lnTo>
                  <a:pt x="4397" y="8020"/>
                </a:lnTo>
                <a:lnTo>
                  <a:pt x="4409" y="8014"/>
                </a:lnTo>
                <a:lnTo>
                  <a:pt x="4423" y="8007"/>
                </a:lnTo>
                <a:lnTo>
                  <a:pt x="4439" y="7997"/>
                </a:lnTo>
                <a:lnTo>
                  <a:pt x="4459" y="7981"/>
                </a:lnTo>
                <a:lnTo>
                  <a:pt x="4479" y="7965"/>
                </a:lnTo>
                <a:lnTo>
                  <a:pt x="4501" y="7946"/>
                </a:lnTo>
                <a:lnTo>
                  <a:pt x="4605" y="7848"/>
                </a:lnTo>
                <a:lnTo>
                  <a:pt x="4726" y="7733"/>
                </a:lnTo>
                <a:lnTo>
                  <a:pt x="4758" y="7704"/>
                </a:lnTo>
                <a:lnTo>
                  <a:pt x="4791" y="7675"/>
                </a:lnTo>
                <a:lnTo>
                  <a:pt x="4824" y="7645"/>
                </a:lnTo>
                <a:lnTo>
                  <a:pt x="4857" y="7619"/>
                </a:lnTo>
                <a:lnTo>
                  <a:pt x="4890" y="7592"/>
                </a:lnTo>
                <a:lnTo>
                  <a:pt x="4923" y="7568"/>
                </a:lnTo>
                <a:lnTo>
                  <a:pt x="4956" y="7545"/>
                </a:lnTo>
                <a:lnTo>
                  <a:pt x="4988" y="7523"/>
                </a:lnTo>
                <a:lnTo>
                  <a:pt x="5021" y="7505"/>
                </a:lnTo>
                <a:lnTo>
                  <a:pt x="5053" y="7489"/>
                </a:lnTo>
                <a:lnTo>
                  <a:pt x="5084" y="7476"/>
                </a:lnTo>
                <a:lnTo>
                  <a:pt x="5114" y="7466"/>
                </a:lnTo>
                <a:lnTo>
                  <a:pt x="5144" y="7460"/>
                </a:lnTo>
                <a:lnTo>
                  <a:pt x="5172" y="7457"/>
                </a:lnTo>
                <a:lnTo>
                  <a:pt x="5198" y="7460"/>
                </a:lnTo>
                <a:lnTo>
                  <a:pt x="5225" y="7465"/>
                </a:lnTo>
                <a:lnTo>
                  <a:pt x="5205" y="7480"/>
                </a:lnTo>
                <a:lnTo>
                  <a:pt x="5184" y="7500"/>
                </a:lnTo>
                <a:lnTo>
                  <a:pt x="5163" y="7522"/>
                </a:lnTo>
                <a:lnTo>
                  <a:pt x="5139" y="7546"/>
                </a:lnTo>
                <a:lnTo>
                  <a:pt x="5126" y="7556"/>
                </a:lnTo>
                <a:lnTo>
                  <a:pt x="5113" y="7568"/>
                </a:lnTo>
                <a:lnTo>
                  <a:pt x="5100" y="7578"/>
                </a:lnTo>
                <a:lnTo>
                  <a:pt x="5086" y="7587"/>
                </a:lnTo>
                <a:lnTo>
                  <a:pt x="5072" y="7594"/>
                </a:lnTo>
                <a:lnTo>
                  <a:pt x="5057" y="7601"/>
                </a:lnTo>
                <a:lnTo>
                  <a:pt x="5042" y="7605"/>
                </a:lnTo>
                <a:lnTo>
                  <a:pt x="5026" y="7607"/>
                </a:lnTo>
                <a:lnTo>
                  <a:pt x="5018" y="7614"/>
                </a:lnTo>
                <a:lnTo>
                  <a:pt x="5010" y="7619"/>
                </a:lnTo>
                <a:lnTo>
                  <a:pt x="5005" y="7625"/>
                </a:lnTo>
                <a:lnTo>
                  <a:pt x="5000" y="7630"/>
                </a:lnTo>
                <a:lnTo>
                  <a:pt x="4996" y="7635"/>
                </a:lnTo>
                <a:lnTo>
                  <a:pt x="4993" y="7640"/>
                </a:lnTo>
                <a:lnTo>
                  <a:pt x="4992" y="7644"/>
                </a:lnTo>
                <a:lnTo>
                  <a:pt x="4992" y="7648"/>
                </a:lnTo>
                <a:lnTo>
                  <a:pt x="4993" y="7652"/>
                </a:lnTo>
                <a:lnTo>
                  <a:pt x="4995" y="7656"/>
                </a:lnTo>
                <a:lnTo>
                  <a:pt x="4997" y="7658"/>
                </a:lnTo>
                <a:lnTo>
                  <a:pt x="5000" y="7661"/>
                </a:lnTo>
                <a:lnTo>
                  <a:pt x="5007" y="7664"/>
                </a:lnTo>
                <a:lnTo>
                  <a:pt x="5018" y="7667"/>
                </a:lnTo>
                <a:lnTo>
                  <a:pt x="5029" y="7667"/>
                </a:lnTo>
                <a:lnTo>
                  <a:pt x="5041" y="7666"/>
                </a:lnTo>
                <a:lnTo>
                  <a:pt x="5052" y="7662"/>
                </a:lnTo>
                <a:lnTo>
                  <a:pt x="5063" y="7656"/>
                </a:lnTo>
                <a:lnTo>
                  <a:pt x="5069" y="7653"/>
                </a:lnTo>
                <a:lnTo>
                  <a:pt x="5074" y="7648"/>
                </a:lnTo>
                <a:lnTo>
                  <a:pt x="5077" y="7644"/>
                </a:lnTo>
                <a:lnTo>
                  <a:pt x="5081" y="7639"/>
                </a:lnTo>
                <a:lnTo>
                  <a:pt x="5085" y="7633"/>
                </a:lnTo>
                <a:lnTo>
                  <a:pt x="5088" y="7626"/>
                </a:lnTo>
                <a:lnTo>
                  <a:pt x="5089" y="7619"/>
                </a:lnTo>
                <a:lnTo>
                  <a:pt x="5090" y="7612"/>
                </a:lnTo>
                <a:lnTo>
                  <a:pt x="5100" y="7608"/>
                </a:lnTo>
                <a:lnTo>
                  <a:pt x="5109" y="7605"/>
                </a:lnTo>
                <a:lnTo>
                  <a:pt x="5118" y="7601"/>
                </a:lnTo>
                <a:lnTo>
                  <a:pt x="5127" y="7596"/>
                </a:lnTo>
                <a:lnTo>
                  <a:pt x="5144" y="7584"/>
                </a:lnTo>
                <a:lnTo>
                  <a:pt x="5159" y="7572"/>
                </a:lnTo>
                <a:lnTo>
                  <a:pt x="5188" y="7541"/>
                </a:lnTo>
                <a:lnTo>
                  <a:pt x="5218" y="7507"/>
                </a:lnTo>
                <a:lnTo>
                  <a:pt x="5233" y="7490"/>
                </a:lnTo>
                <a:lnTo>
                  <a:pt x="5249" y="7472"/>
                </a:lnTo>
                <a:lnTo>
                  <a:pt x="5267" y="7456"/>
                </a:lnTo>
                <a:lnTo>
                  <a:pt x="5288" y="7439"/>
                </a:lnTo>
                <a:lnTo>
                  <a:pt x="5309" y="7423"/>
                </a:lnTo>
                <a:lnTo>
                  <a:pt x="5333" y="7409"/>
                </a:lnTo>
                <a:lnTo>
                  <a:pt x="5346" y="7402"/>
                </a:lnTo>
                <a:lnTo>
                  <a:pt x="5360" y="7396"/>
                </a:lnTo>
                <a:lnTo>
                  <a:pt x="5374" y="7391"/>
                </a:lnTo>
                <a:lnTo>
                  <a:pt x="5389" y="7386"/>
                </a:lnTo>
                <a:lnTo>
                  <a:pt x="5381" y="7397"/>
                </a:lnTo>
                <a:lnTo>
                  <a:pt x="5367" y="7414"/>
                </a:lnTo>
                <a:lnTo>
                  <a:pt x="5347" y="7434"/>
                </a:lnTo>
                <a:lnTo>
                  <a:pt x="5322" y="7458"/>
                </a:lnTo>
                <a:lnTo>
                  <a:pt x="5261" y="7517"/>
                </a:lnTo>
                <a:lnTo>
                  <a:pt x="5186" y="7587"/>
                </a:lnTo>
                <a:lnTo>
                  <a:pt x="5100" y="7663"/>
                </a:lnTo>
                <a:lnTo>
                  <a:pt x="5009" y="7746"/>
                </a:lnTo>
                <a:lnTo>
                  <a:pt x="4916" y="7830"/>
                </a:lnTo>
                <a:lnTo>
                  <a:pt x="4824" y="7914"/>
                </a:lnTo>
                <a:lnTo>
                  <a:pt x="4737" y="7994"/>
                </a:lnTo>
                <a:lnTo>
                  <a:pt x="4658" y="8068"/>
                </a:lnTo>
                <a:lnTo>
                  <a:pt x="4624" y="8101"/>
                </a:lnTo>
                <a:lnTo>
                  <a:pt x="4594" y="8132"/>
                </a:lnTo>
                <a:lnTo>
                  <a:pt x="4568" y="8160"/>
                </a:lnTo>
                <a:lnTo>
                  <a:pt x="4545" y="8183"/>
                </a:lnTo>
                <a:lnTo>
                  <a:pt x="4529" y="8203"/>
                </a:lnTo>
                <a:lnTo>
                  <a:pt x="4517" y="8219"/>
                </a:lnTo>
                <a:lnTo>
                  <a:pt x="4512" y="8231"/>
                </a:lnTo>
                <a:lnTo>
                  <a:pt x="4513" y="8239"/>
                </a:lnTo>
                <a:lnTo>
                  <a:pt x="4521" y="8240"/>
                </a:lnTo>
                <a:lnTo>
                  <a:pt x="4536" y="8236"/>
                </a:lnTo>
                <a:lnTo>
                  <a:pt x="4560" y="8226"/>
                </a:lnTo>
                <a:lnTo>
                  <a:pt x="4592" y="8209"/>
                </a:lnTo>
                <a:lnTo>
                  <a:pt x="4693" y="8146"/>
                </a:lnTo>
                <a:lnTo>
                  <a:pt x="4777" y="8095"/>
                </a:lnTo>
                <a:lnTo>
                  <a:pt x="4846" y="8054"/>
                </a:lnTo>
                <a:lnTo>
                  <a:pt x="4899" y="8023"/>
                </a:lnTo>
                <a:lnTo>
                  <a:pt x="4940" y="8003"/>
                </a:lnTo>
                <a:lnTo>
                  <a:pt x="4967" y="7992"/>
                </a:lnTo>
                <a:lnTo>
                  <a:pt x="4981" y="7989"/>
                </a:lnTo>
                <a:lnTo>
                  <a:pt x="4984" y="7994"/>
                </a:lnTo>
                <a:lnTo>
                  <a:pt x="4977" y="8006"/>
                </a:lnTo>
                <a:lnTo>
                  <a:pt x="4960" y="8025"/>
                </a:lnTo>
                <a:lnTo>
                  <a:pt x="4934" y="8050"/>
                </a:lnTo>
                <a:lnTo>
                  <a:pt x="4900" y="8082"/>
                </a:lnTo>
                <a:lnTo>
                  <a:pt x="4811" y="8160"/>
                </a:lnTo>
                <a:lnTo>
                  <a:pt x="4702" y="8253"/>
                </a:lnTo>
                <a:lnTo>
                  <a:pt x="4577" y="8357"/>
                </a:lnTo>
                <a:lnTo>
                  <a:pt x="4443" y="8469"/>
                </a:lnTo>
                <a:lnTo>
                  <a:pt x="4310" y="8582"/>
                </a:lnTo>
                <a:lnTo>
                  <a:pt x="4180" y="8694"/>
                </a:lnTo>
                <a:lnTo>
                  <a:pt x="4120" y="8748"/>
                </a:lnTo>
                <a:lnTo>
                  <a:pt x="4062" y="8799"/>
                </a:lnTo>
                <a:lnTo>
                  <a:pt x="4012" y="8847"/>
                </a:lnTo>
                <a:lnTo>
                  <a:pt x="3966" y="8892"/>
                </a:lnTo>
                <a:lnTo>
                  <a:pt x="3925" y="8934"/>
                </a:lnTo>
                <a:lnTo>
                  <a:pt x="3893" y="8969"/>
                </a:lnTo>
                <a:lnTo>
                  <a:pt x="3869" y="9001"/>
                </a:lnTo>
                <a:lnTo>
                  <a:pt x="3854" y="9026"/>
                </a:lnTo>
                <a:lnTo>
                  <a:pt x="3917" y="8978"/>
                </a:lnTo>
                <a:lnTo>
                  <a:pt x="3968" y="8940"/>
                </a:lnTo>
                <a:lnTo>
                  <a:pt x="4006" y="8911"/>
                </a:lnTo>
                <a:lnTo>
                  <a:pt x="4034" y="8892"/>
                </a:lnTo>
                <a:lnTo>
                  <a:pt x="4051" y="8881"/>
                </a:lnTo>
                <a:lnTo>
                  <a:pt x="4059" y="8880"/>
                </a:lnTo>
                <a:lnTo>
                  <a:pt x="4056" y="8885"/>
                </a:lnTo>
                <a:lnTo>
                  <a:pt x="4045" y="8899"/>
                </a:lnTo>
                <a:lnTo>
                  <a:pt x="4026" y="8920"/>
                </a:lnTo>
                <a:lnTo>
                  <a:pt x="3999" y="8945"/>
                </a:lnTo>
                <a:lnTo>
                  <a:pt x="3964" y="8977"/>
                </a:lnTo>
                <a:lnTo>
                  <a:pt x="3925" y="9014"/>
                </a:lnTo>
                <a:lnTo>
                  <a:pt x="3829" y="9102"/>
                </a:lnTo>
                <a:lnTo>
                  <a:pt x="3716" y="9202"/>
                </a:lnTo>
                <a:lnTo>
                  <a:pt x="3591" y="9313"/>
                </a:lnTo>
                <a:lnTo>
                  <a:pt x="3459" y="9430"/>
                </a:lnTo>
                <a:lnTo>
                  <a:pt x="3324" y="9548"/>
                </a:lnTo>
                <a:lnTo>
                  <a:pt x="3194" y="9663"/>
                </a:lnTo>
                <a:lnTo>
                  <a:pt x="3070" y="9770"/>
                </a:lnTo>
                <a:lnTo>
                  <a:pt x="2961" y="9867"/>
                </a:lnTo>
                <a:lnTo>
                  <a:pt x="2869" y="9947"/>
                </a:lnTo>
                <a:lnTo>
                  <a:pt x="2802" y="10007"/>
                </a:lnTo>
                <a:lnTo>
                  <a:pt x="2770" y="10032"/>
                </a:lnTo>
                <a:lnTo>
                  <a:pt x="2735" y="10063"/>
                </a:lnTo>
                <a:lnTo>
                  <a:pt x="2697" y="10097"/>
                </a:lnTo>
                <a:lnTo>
                  <a:pt x="2659" y="10134"/>
                </a:lnTo>
                <a:lnTo>
                  <a:pt x="2621" y="10172"/>
                </a:lnTo>
                <a:lnTo>
                  <a:pt x="2585" y="10209"/>
                </a:lnTo>
                <a:lnTo>
                  <a:pt x="2553" y="10243"/>
                </a:lnTo>
                <a:lnTo>
                  <a:pt x="2525" y="10274"/>
                </a:lnTo>
                <a:lnTo>
                  <a:pt x="2505" y="10299"/>
                </a:lnTo>
                <a:lnTo>
                  <a:pt x="2491" y="10317"/>
                </a:lnTo>
                <a:lnTo>
                  <a:pt x="2488" y="10324"/>
                </a:lnTo>
                <a:lnTo>
                  <a:pt x="2487" y="10327"/>
                </a:lnTo>
                <a:lnTo>
                  <a:pt x="2490" y="10330"/>
                </a:lnTo>
                <a:lnTo>
                  <a:pt x="2495" y="10329"/>
                </a:lnTo>
                <a:lnTo>
                  <a:pt x="2502" y="10325"/>
                </a:lnTo>
                <a:lnTo>
                  <a:pt x="2513" y="10317"/>
                </a:lnTo>
                <a:lnTo>
                  <a:pt x="2528" y="10307"/>
                </a:lnTo>
                <a:lnTo>
                  <a:pt x="2546" y="10294"/>
                </a:lnTo>
                <a:lnTo>
                  <a:pt x="2593" y="10256"/>
                </a:lnTo>
                <a:lnTo>
                  <a:pt x="2657" y="10201"/>
                </a:lnTo>
                <a:lnTo>
                  <a:pt x="2672" y="10187"/>
                </a:lnTo>
                <a:lnTo>
                  <a:pt x="2699" y="10162"/>
                </a:lnTo>
                <a:lnTo>
                  <a:pt x="2733" y="10130"/>
                </a:lnTo>
                <a:lnTo>
                  <a:pt x="2770" y="10096"/>
                </a:lnTo>
                <a:lnTo>
                  <a:pt x="2807" y="10064"/>
                </a:lnTo>
                <a:lnTo>
                  <a:pt x="2839" y="10037"/>
                </a:lnTo>
                <a:lnTo>
                  <a:pt x="2851" y="10027"/>
                </a:lnTo>
                <a:lnTo>
                  <a:pt x="2863" y="10021"/>
                </a:lnTo>
                <a:lnTo>
                  <a:pt x="2867" y="10018"/>
                </a:lnTo>
                <a:lnTo>
                  <a:pt x="2870" y="10017"/>
                </a:lnTo>
                <a:lnTo>
                  <a:pt x="2873" y="10016"/>
                </a:lnTo>
                <a:lnTo>
                  <a:pt x="2874" y="10017"/>
                </a:lnTo>
                <a:lnTo>
                  <a:pt x="2771" y="10115"/>
                </a:lnTo>
                <a:lnTo>
                  <a:pt x="2700" y="10184"/>
                </a:lnTo>
                <a:lnTo>
                  <a:pt x="2657" y="10228"/>
                </a:lnTo>
                <a:lnTo>
                  <a:pt x="2636" y="10248"/>
                </a:lnTo>
                <a:lnTo>
                  <a:pt x="2635" y="10252"/>
                </a:lnTo>
                <a:lnTo>
                  <a:pt x="2639" y="10250"/>
                </a:lnTo>
                <a:lnTo>
                  <a:pt x="2648" y="10243"/>
                </a:lnTo>
                <a:lnTo>
                  <a:pt x="2660" y="10233"/>
                </a:lnTo>
                <a:lnTo>
                  <a:pt x="2699" y="10203"/>
                </a:lnTo>
                <a:lnTo>
                  <a:pt x="2749" y="10159"/>
                </a:lnTo>
                <a:lnTo>
                  <a:pt x="2811" y="10107"/>
                </a:lnTo>
                <a:lnTo>
                  <a:pt x="2878" y="10049"/>
                </a:lnTo>
                <a:lnTo>
                  <a:pt x="2951" y="9986"/>
                </a:lnTo>
                <a:lnTo>
                  <a:pt x="3026" y="9923"/>
                </a:lnTo>
                <a:lnTo>
                  <a:pt x="3098" y="9860"/>
                </a:lnTo>
                <a:lnTo>
                  <a:pt x="3167" y="9803"/>
                </a:lnTo>
                <a:lnTo>
                  <a:pt x="3230" y="9752"/>
                </a:lnTo>
                <a:lnTo>
                  <a:pt x="3281" y="9711"/>
                </a:lnTo>
                <a:lnTo>
                  <a:pt x="3375" y="9627"/>
                </a:lnTo>
                <a:lnTo>
                  <a:pt x="3470" y="9546"/>
                </a:lnTo>
                <a:lnTo>
                  <a:pt x="3567" y="9466"/>
                </a:lnTo>
                <a:lnTo>
                  <a:pt x="3665" y="9387"/>
                </a:lnTo>
                <a:lnTo>
                  <a:pt x="3764" y="9310"/>
                </a:lnTo>
                <a:lnTo>
                  <a:pt x="3864" y="9235"/>
                </a:lnTo>
                <a:lnTo>
                  <a:pt x="3963" y="9160"/>
                </a:lnTo>
                <a:lnTo>
                  <a:pt x="4064" y="9086"/>
                </a:lnTo>
                <a:lnTo>
                  <a:pt x="4164" y="9014"/>
                </a:lnTo>
                <a:lnTo>
                  <a:pt x="4265" y="8941"/>
                </a:lnTo>
                <a:lnTo>
                  <a:pt x="4366" y="8869"/>
                </a:lnTo>
                <a:lnTo>
                  <a:pt x="4465" y="8796"/>
                </a:lnTo>
                <a:lnTo>
                  <a:pt x="4565" y="8724"/>
                </a:lnTo>
                <a:lnTo>
                  <a:pt x="4664" y="8650"/>
                </a:lnTo>
                <a:lnTo>
                  <a:pt x="4762" y="8576"/>
                </a:lnTo>
                <a:lnTo>
                  <a:pt x="4860" y="8502"/>
                </a:lnTo>
                <a:lnTo>
                  <a:pt x="4806" y="8552"/>
                </a:lnTo>
                <a:lnTo>
                  <a:pt x="4750" y="8601"/>
                </a:lnTo>
                <a:lnTo>
                  <a:pt x="4692" y="8652"/>
                </a:lnTo>
                <a:lnTo>
                  <a:pt x="4632" y="8703"/>
                </a:lnTo>
                <a:lnTo>
                  <a:pt x="4571" y="8755"/>
                </a:lnTo>
                <a:lnTo>
                  <a:pt x="4508" y="8806"/>
                </a:lnTo>
                <a:lnTo>
                  <a:pt x="4445" y="8858"/>
                </a:lnTo>
                <a:lnTo>
                  <a:pt x="4380" y="8911"/>
                </a:lnTo>
                <a:lnTo>
                  <a:pt x="4315" y="8962"/>
                </a:lnTo>
                <a:lnTo>
                  <a:pt x="4250" y="9014"/>
                </a:lnTo>
                <a:lnTo>
                  <a:pt x="4185" y="9065"/>
                </a:lnTo>
                <a:lnTo>
                  <a:pt x="4121" y="9116"/>
                </a:lnTo>
                <a:lnTo>
                  <a:pt x="4057" y="9166"/>
                </a:lnTo>
                <a:lnTo>
                  <a:pt x="3994" y="9216"/>
                </a:lnTo>
                <a:lnTo>
                  <a:pt x="3933" y="9265"/>
                </a:lnTo>
                <a:lnTo>
                  <a:pt x="3873" y="9313"/>
                </a:lnTo>
                <a:lnTo>
                  <a:pt x="3865" y="9332"/>
                </a:lnTo>
                <a:lnTo>
                  <a:pt x="3860" y="9349"/>
                </a:lnTo>
                <a:lnTo>
                  <a:pt x="3857" y="9361"/>
                </a:lnTo>
                <a:lnTo>
                  <a:pt x="3857" y="9370"/>
                </a:lnTo>
                <a:lnTo>
                  <a:pt x="3860" y="9377"/>
                </a:lnTo>
                <a:lnTo>
                  <a:pt x="3864" y="9380"/>
                </a:lnTo>
                <a:lnTo>
                  <a:pt x="3869" y="9382"/>
                </a:lnTo>
                <a:lnTo>
                  <a:pt x="3877" y="9380"/>
                </a:lnTo>
                <a:lnTo>
                  <a:pt x="3887" y="9377"/>
                </a:lnTo>
                <a:lnTo>
                  <a:pt x="3897" y="9371"/>
                </a:lnTo>
                <a:lnTo>
                  <a:pt x="3910" y="9364"/>
                </a:lnTo>
                <a:lnTo>
                  <a:pt x="3922" y="9354"/>
                </a:lnTo>
                <a:lnTo>
                  <a:pt x="3952" y="9331"/>
                </a:lnTo>
                <a:lnTo>
                  <a:pt x="3985" y="9304"/>
                </a:lnTo>
                <a:lnTo>
                  <a:pt x="4057" y="9240"/>
                </a:lnTo>
                <a:lnTo>
                  <a:pt x="4129" y="9177"/>
                </a:lnTo>
                <a:lnTo>
                  <a:pt x="4161" y="9147"/>
                </a:lnTo>
                <a:lnTo>
                  <a:pt x="4191" y="9123"/>
                </a:lnTo>
                <a:lnTo>
                  <a:pt x="4204" y="9113"/>
                </a:lnTo>
                <a:lnTo>
                  <a:pt x="4217" y="9104"/>
                </a:lnTo>
                <a:lnTo>
                  <a:pt x="4227" y="9098"/>
                </a:lnTo>
                <a:lnTo>
                  <a:pt x="4236" y="9093"/>
                </a:lnTo>
                <a:lnTo>
                  <a:pt x="4303" y="9044"/>
                </a:lnTo>
                <a:lnTo>
                  <a:pt x="4367" y="8996"/>
                </a:lnTo>
                <a:lnTo>
                  <a:pt x="4428" y="8948"/>
                </a:lnTo>
                <a:lnTo>
                  <a:pt x="4488" y="8900"/>
                </a:lnTo>
                <a:lnTo>
                  <a:pt x="4545" y="8855"/>
                </a:lnTo>
                <a:lnTo>
                  <a:pt x="4602" y="8810"/>
                </a:lnTo>
                <a:lnTo>
                  <a:pt x="4658" y="8766"/>
                </a:lnTo>
                <a:lnTo>
                  <a:pt x="4713" y="8724"/>
                </a:lnTo>
                <a:lnTo>
                  <a:pt x="4768" y="8683"/>
                </a:lnTo>
                <a:lnTo>
                  <a:pt x="4823" y="8643"/>
                </a:lnTo>
                <a:lnTo>
                  <a:pt x="4877" y="8605"/>
                </a:lnTo>
                <a:lnTo>
                  <a:pt x="4934" y="8569"/>
                </a:lnTo>
                <a:lnTo>
                  <a:pt x="4991" y="8535"/>
                </a:lnTo>
                <a:lnTo>
                  <a:pt x="5049" y="8503"/>
                </a:lnTo>
                <a:lnTo>
                  <a:pt x="5079" y="8488"/>
                </a:lnTo>
                <a:lnTo>
                  <a:pt x="5109" y="8473"/>
                </a:lnTo>
                <a:lnTo>
                  <a:pt x="5141" y="8459"/>
                </a:lnTo>
                <a:lnTo>
                  <a:pt x="5172" y="8446"/>
                </a:lnTo>
                <a:lnTo>
                  <a:pt x="5084" y="8516"/>
                </a:lnTo>
                <a:lnTo>
                  <a:pt x="5002" y="8582"/>
                </a:lnTo>
                <a:lnTo>
                  <a:pt x="4927" y="8645"/>
                </a:lnTo>
                <a:lnTo>
                  <a:pt x="4858" y="8703"/>
                </a:lnTo>
                <a:lnTo>
                  <a:pt x="4795" y="8757"/>
                </a:lnTo>
                <a:lnTo>
                  <a:pt x="4737" y="8809"/>
                </a:lnTo>
                <a:lnTo>
                  <a:pt x="4684" y="8856"/>
                </a:lnTo>
                <a:lnTo>
                  <a:pt x="4636" y="8902"/>
                </a:lnTo>
                <a:lnTo>
                  <a:pt x="4548" y="8984"/>
                </a:lnTo>
                <a:lnTo>
                  <a:pt x="4471" y="9061"/>
                </a:lnTo>
                <a:lnTo>
                  <a:pt x="4402" y="9130"/>
                </a:lnTo>
                <a:lnTo>
                  <a:pt x="4338" y="9196"/>
                </a:lnTo>
                <a:lnTo>
                  <a:pt x="4273" y="9259"/>
                </a:lnTo>
                <a:lnTo>
                  <a:pt x="4203" y="9324"/>
                </a:lnTo>
                <a:lnTo>
                  <a:pt x="4166" y="9357"/>
                </a:lnTo>
                <a:lnTo>
                  <a:pt x="4126" y="9392"/>
                </a:lnTo>
                <a:lnTo>
                  <a:pt x="4084" y="9427"/>
                </a:lnTo>
                <a:lnTo>
                  <a:pt x="4037" y="9466"/>
                </a:lnTo>
                <a:lnTo>
                  <a:pt x="3987" y="9504"/>
                </a:lnTo>
                <a:lnTo>
                  <a:pt x="3934" y="9546"/>
                </a:lnTo>
                <a:lnTo>
                  <a:pt x="3875" y="9589"/>
                </a:lnTo>
                <a:lnTo>
                  <a:pt x="3810" y="9635"/>
                </a:lnTo>
                <a:lnTo>
                  <a:pt x="3740" y="9683"/>
                </a:lnTo>
                <a:lnTo>
                  <a:pt x="3665" y="9735"/>
                </a:lnTo>
                <a:lnTo>
                  <a:pt x="3582" y="9791"/>
                </a:lnTo>
                <a:lnTo>
                  <a:pt x="3492" y="9850"/>
                </a:lnTo>
                <a:lnTo>
                  <a:pt x="3530" y="9845"/>
                </a:lnTo>
                <a:lnTo>
                  <a:pt x="3570" y="9836"/>
                </a:lnTo>
                <a:lnTo>
                  <a:pt x="3610" y="9822"/>
                </a:lnTo>
                <a:lnTo>
                  <a:pt x="3652" y="9804"/>
                </a:lnTo>
                <a:lnTo>
                  <a:pt x="3697" y="9783"/>
                </a:lnTo>
                <a:lnTo>
                  <a:pt x="3743" y="9758"/>
                </a:lnTo>
                <a:lnTo>
                  <a:pt x="3790" y="9729"/>
                </a:lnTo>
                <a:lnTo>
                  <a:pt x="3837" y="9699"/>
                </a:lnTo>
                <a:lnTo>
                  <a:pt x="3887" y="9664"/>
                </a:lnTo>
                <a:lnTo>
                  <a:pt x="3936" y="9629"/>
                </a:lnTo>
                <a:lnTo>
                  <a:pt x="3987" y="9589"/>
                </a:lnTo>
                <a:lnTo>
                  <a:pt x="4040" y="9550"/>
                </a:lnTo>
                <a:lnTo>
                  <a:pt x="4145" y="9464"/>
                </a:lnTo>
                <a:lnTo>
                  <a:pt x="4252" y="9374"/>
                </a:lnTo>
                <a:lnTo>
                  <a:pt x="4362" y="9281"/>
                </a:lnTo>
                <a:lnTo>
                  <a:pt x="4471" y="9189"/>
                </a:lnTo>
                <a:lnTo>
                  <a:pt x="4579" y="9099"/>
                </a:lnTo>
                <a:lnTo>
                  <a:pt x="4688" y="9011"/>
                </a:lnTo>
                <a:lnTo>
                  <a:pt x="4741" y="8970"/>
                </a:lnTo>
                <a:lnTo>
                  <a:pt x="4793" y="8931"/>
                </a:lnTo>
                <a:lnTo>
                  <a:pt x="4846" y="8894"/>
                </a:lnTo>
                <a:lnTo>
                  <a:pt x="4897" y="8858"/>
                </a:lnTo>
                <a:lnTo>
                  <a:pt x="4946" y="8827"/>
                </a:lnTo>
                <a:lnTo>
                  <a:pt x="4996" y="8796"/>
                </a:lnTo>
                <a:lnTo>
                  <a:pt x="5044" y="8771"/>
                </a:lnTo>
                <a:lnTo>
                  <a:pt x="5091" y="8746"/>
                </a:lnTo>
                <a:lnTo>
                  <a:pt x="5069" y="8771"/>
                </a:lnTo>
                <a:lnTo>
                  <a:pt x="5046" y="8794"/>
                </a:lnTo>
                <a:lnTo>
                  <a:pt x="5023" y="8816"/>
                </a:lnTo>
                <a:lnTo>
                  <a:pt x="4998" y="8839"/>
                </a:lnTo>
                <a:lnTo>
                  <a:pt x="4974" y="8864"/>
                </a:lnTo>
                <a:lnTo>
                  <a:pt x="4949" y="8886"/>
                </a:lnTo>
                <a:lnTo>
                  <a:pt x="4925" y="8909"/>
                </a:lnTo>
                <a:lnTo>
                  <a:pt x="4899" y="8932"/>
                </a:lnTo>
                <a:lnTo>
                  <a:pt x="4903" y="8930"/>
                </a:lnTo>
                <a:lnTo>
                  <a:pt x="4907" y="8928"/>
                </a:lnTo>
                <a:lnTo>
                  <a:pt x="4906" y="8928"/>
                </a:lnTo>
                <a:lnTo>
                  <a:pt x="4907" y="8928"/>
                </a:lnTo>
                <a:lnTo>
                  <a:pt x="4930" y="8912"/>
                </a:lnTo>
                <a:lnTo>
                  <a:pt x="4953" y="8893"/>
                </a:lnTo>
                <a:lnTo>
                  <a:pt x="4974" y="8874"/>
                </a:lnTo>
                <a:lnTo>
                  <a:pt x="4996" y="8855"/>
                </a:lnTo>
                <a:lnTo>
                  <a:pt x="5018" y="8836"/>
                </a:lnTo>
                <a:lnTo>
                  <a:pt x="5041" y="8816"/>
                </a:lnTo>
                <a:lnTo>
                  <a:pt x="5063" y="8799"/>
                </a:lnTo>
                <a:lnTo>
                  <a:pt x="5086" y="8781"/>
                </a:lnTo>
                <a:lnTo>
                  <a:pt x="5084" y="8781"/>
                </a:lnTo>
                <a:lnTo>
                  <a:pt x="5081" y="8781"/>
                </a:lnTo>
                <a:lnTo>
                  <a:pt x="5077" y="8782"/>
                </a:lnTo>
                <a:lnTo>
                  <a:pt x="5072" y="8785"/>
                </a:lnTo>
                <a:lnTo>
                  <a:pt x="5060" y="8792"/>
                </a:lnTo>
                <a:lnTo>
                  <a:pt x="5043" y="8802"/>
                </a:lnTo>
                <a:lnTo>
                  <a:pt x="5005" y="8829"/>
                </a:lnTo>
                <a:lnTo>
                  <a:pt x="4964" y="8861"/>
                </a:lnTo>
                <a:lnTo>
                  <a:pt x="4925" y="8893"/>
                </a:lnTo>
                <a:lnTo>
                  <a:pt x="4895" y="8921"/>
                </a:lnTo>
                <a:lnTo>
                  <a:pt x="4885" y="8931"/>
                </a:lnTo>
                <a:lnTo>
                  <a:pt x="4880" y="8937"/>
                </a:lnTo>
                <a:lnTo>
                  <a:pt x="4879" y="8940"/>
                </a:lnTo>
                <a:lnTo>
                  <a:pt x="4879" y="8941"/>
                </a:lnTo>
                <a:lnTo>
                  <a:pt x="4881" y="8941"/>
                </a:lnTo>
                <a:lnTo>
                  <a:pt x="4885" y="8940"/>
                </a:lnTo>
                <a:lnTo>
                  <a:pt x="4877" y="8945"/>
                </a:lnTo>
                <a:lnTo>
                  <a:pt x="4875" y="8950"/>
                </a:lnTo>
                <a:lnTo>
                  <a:pt x="4881" y="8945"/>
                </a:lnTo>
                <a:lnTo>
                  <a:pt x="4893" y="8937"/>
                </a:lnTo>
                <a:lnTo>
                  <a:pt x="4801" y="9019"/>
                </a:lnTo>
                <a:lnTo>
                  <a:pt x="4706" y="9099"/>
                </a:lnTo>
                <a:lnTo>
                  <a:pt x="4608" y="9179"/>
                </a:lnTo>
                <a:lnTo>
                  <a:pt x="4508" y="9258"/>
                </a:lnTo>
                <a:lnTo>
                  <a:pt x="4406" y="9338"/>
                </a:lnTo>
                <a:lnTo>
                  <a:pt x="4304" y="9417"/>
                </a:lnTo>
                <a:lnTo>
                  <a:pt x="4203" y="9497"/>
                </a:lnTo>
                <a:lnTo>
                  <a:pt x="4101" y="9578"/>
                </a:lnTo>
                <a:lnTo>
                  <a:pt x="3999" y="9659"/>
                </a:lnTo>
                <a:lnTo>
                  <a:pt x="3899" y="9739"/>
                </a:lnTo>
                <a:lnTo>
                  <a:pt x="3801" y="9822"/>
                </a:lnTo>
                <a:lnTo>
                  <a:pt x="3706" y="9905"/>
                </a:lnTo>
                <a:lnTo>
                  <a:pt x="3659" y="9946"/>
                </a:lnTo>
                <a:lnTo>
                  <a:pt x="3613" y="9988"/>
                </a:lnTo>
                <a:lnTo>
                  <a:pt x="3568" y="10031"/>
                </a:lnTo>
                <a:lnTo>
                  <a:pt x="3524" y="10073"/>
                </a:lnTo>
                <a:lnTo>
                  <a:pt x="3480" y="10116"/>
                </a:lnTo>
                <a:lnTo>
                  <a:pt x="3438" y="10159"/>
                </a:lnTo>
                <a:lnTo>
                  <a:pt x="3399" y="10203"/>
                </a:lnTo>
                <a:lnTo>
                  <a:pt x="3359" y="10247"/>
                </a:lnTo>
                <a:lnTo>
                  <a:pt x="3487" y="10138"/>
                </a:lnTo>
                <a:lnTo>
                  <a:pt x="3618" y="10027"/>
                </a:lnTo>
                <a:lnTo>
                  <a:pt x="3753" y="9918"/>
                </a:lnTo>
                <a:lnTo>
                  <a:pt x="3889" y="9805"/>
                </a:lnTo>
                <a:lnTo>
                  <a:pt x="4028" y="9695"/>
                </a:lnTo>
                <a:lnTo>
                  <a:pt x="4169" y="9583"/>
                </a:lnTo>
                <a:lnTo>
                  <a:pt x="4311" y="9471"/>
                </a:lnTo>
                <a:lnTo>
                  <a:pt x="4455" y="9357"/>
                </a:lnTo>
                <a:lnTo>
                  <a:pt x="4599" y="9245"/>
                </a:lnTo>
                <a:lnTo>
                  <a:pt x="4743" y="9131"/>
                </a:lnTo>
                <a:lnTo>
                  <a:pt x="4888" y="9018"/>
                </a:lnTo>
                <a:lnTo>
                  <a:pt x="5032" y="8903"/>
                </a:lnTo>
                <a:lnTo>
                  <a:pt x="5175" y="8790"/>
                </a:lnTo>
                <a:lnTo>
                  <a:pt x="5318" y="8674"/>
                </a:lnTo>
                <a:lnTo>
                  <a:pt x="5459" y="8559"/>
                </a:lnTo>
                <a:lnTo>
                  <a:pt x="5600" y="8445"/>
                </a:lnTo>
                <a:lnTo>
                  <a:pt x="5616" y="8436"/>
                </a:lnTo>
                <a:lnTo>
                  <a:pt x="5628" y="8432"/>
                </a:lnTo>
                <a:lnTo>
                  <a:pt x="5631" y="8432"/>
                </a:lnTo>
                <a:lnTo>
                  <a:pt x="5630" y="8438"/>
                </a:lnTo>
                <a:lnTo>
                  <a:pt x="5622" y="8447"/>
                </a:lnTo>
                <a:lnTo>
                  <a:pt x="5611" y="8460"/>
                </a:lnTo>
                <a:lnTo>
                  <a:pt x="5594" y="8477"/>
                </a:lnTo>
                <a:lnTo>
                  <a:pt x="5574" y="8497"/>
                </a:lnTo>
                <a:lnTo>
                  <a:pt x="5523" y="8544"/>
                </a:lnTo>
                <a:lnTo>
                  <a:pt x="5459" y="8600"/>
                </a:lnTo>
                <a:lnTo>
                  <a:pt x="5387" y="8664"/>
                </a:lnTo>
                <a:lnTo>
                  <a:pt x="5309" y="8730"/>
                </a:lnTo>
                <a:lnTo>
                  <a:pt x="5229" y="8797"/>
                </a:lnTo>
                <a:lnTo>
                  <a:pt x="5150" y="8865"/>
                </a:lnTo>
                <a:lnTo>
                  <a:pt x="5074" y="8928"/>
                </a:lnTo>
                <a:lnTo>
                  <a:pt x="5005" y="8986"/>
                </a:lnTo>
                <a:lnTo>
                  <a:pt x="4948" y="9035"/>
                </a:lnTo>
                <a:lnTo>
                  <a:pt x="4902" y="9074"/>
                </a:lnTo>
                <a:lnTo>
                  <a:pt x="4874" y="9099"/>
                </a:lnTo>
                <a:lnTo>
                  <a:pt x="4865" y="9108"/>
                </a:lnTo>
                <a:lnTo>
                  <a:pt x="4820" y="9147"/>
                </a:lnTo>
                <a:lnTo>
                  <a:pt x="4793" y="9173"/>
                </a:lnTo>
                <a:lnTo>
                  <a:pt x="4786" y="9180"/>
                </a:lnTo>
                <a:lnTo>
                  <a:pt x="4783" y="9186"/>
                </a:lnTo>
                <a:lnTo>
                  <a:pt x="4782" y="9187"/>
                </a:lnTo>
                <a:lnTo>
                  <a:pt x="4786" y="9186"/>
                </a:lnTo>
                <a:lnTo>
                  <a:pt x="4801" y="9178"/>
                </a:lnTo>
                <a:lnTo>
                  <a:pt x="4828" y="9160"/>
                </a:lnTo>
                <a:lnTo>
                  <a:pt x="4862" y="9137"/>
                </a:lnTo>
                <a:lnTo>
                  <a:pt x="4904" y="9109"/>
                </a:lnTo>
                <a:lnTo>
                  <a:pt x="4950" y="9079"/>
                </a:lnTo>
                <a:lnTo>
                  <a:pt x="5001" y="9046"/>
                </a:lnTo>
                <a:lnTo>
                  <a:pt x="5052" y="9012"/>
                </a:lnTo>
                <a:lnTo>
                  <a:pt x="5104" y="8981"/>
                </a:lnTo>
                <a:lnTo>
                  <a:pt x="5153" y="8953"/>
                </a:lnTo>
                <a:lnTo>
                  <a:pt x="5198" y="8930"/>
                </a:lnTo>
                <a:lnTo>
                  <a:pt x="5220" y="8920"/>
                </a:lnTo>
                <a:lnTo>
                  <a:pt x="5239" y="8913"/>
                </a:lnTo>
                <a:lnTo>
                  <a:pt x="5256" y="8907"/>
                </a:lnTo>
                <a:lnTo>
                  <a:pt x="5271" y="8904"/>
                </a:lnTo>
                <a:lnTo>
                  <a:pt x="5342" y="8837"/>
                </a:lnTo>
                <a:lnTo>
                  <a:pt x="5407" y="8777"/>
                </a:lnTo>
                <a:lnTo>
                  <a:pt x="5467" y="8724"/>
                </a:lnTo>
                <a:lnTo>
                  <a:pt x="5522" y="8676"/>
                </a:lnTo>
                <a:lnTo>
                  <a:pt x="5570" y="8636"/>
                </a:lnTo>
                <a:lnTo>
                  <a:pt x="5614" y="8600"/>
                </a:lnTo>
                <a:lnTo>
                  <a:pt x="5652" y="8569"/>
                </a:lnTo>
                <a:lnTo>
                  <a:pt x="5685" y="8545"/>
                </a:lnTo>
                <a:lnTo>
                  <a:pt x="5714" y="8526"/>
                </a:lnTo>
                <a:lnTo>
                  <a:pt x="5738" y="8512"/>
                </a:lnTo>
                <a:lnTo>
                  <a:pt x="5759" y="8505"/>
                </a:lnTo>
                <a:lnTo>
                  <a:pt x="5774" y="8501"/>
                </a:lnTo>
                <a:lnTo>
                  <a:pt x="5787" y="8502"/>
                </a:lnTo>
                <a:lnTo>
                  <a:pt x="5794" y="8507"/>
                </a:lnTo>
                <a:lnTo>
                  <a:pt x="5800" y="8519"/>
                </a:lnTo>
                <a:lnTo>
                  <a:pt x="5801" y="8533"/>
                </a:lnTo>
                <a:lnTo>
                  <a:pt x="5800" y="8552"/>
                </a:lnTo>
                <a:lnTo>
                  <a:pt x="5796" y="8575"/>
                </a:lnTo>
                <a:lnTo>
                  <a:pt x="5788" y="8601"/>
                </a:lnTo>
                <a:lnTo>
                  <a:pt x="5778" y="8632"/>
                </a:lnTo>
                <a:lnTo>
                  <a:pt x="5766" y="8666"/>
                </a:lnTo>
                <a:lnTo>
                  <a:pt x="5752" y="8704"/>
                </a:lnTo>
                <a:lnTo>
                  <a:pt x="5736" y="8745"/>
                </a:lnTo>
                <a:lnTo>
                  <a:pt x="5718" y="8790"/>
                </a:lnTo>
                <a:lnTo>
                  <a:pt x="5677" y="8888"/>
                </a:lnTo>
                <a:lnTo>
                  <a:pt x="5631" y="8996"/>
                </a:lnTo>
                <a:lnTo>
                  <a:pt x="5582" y="9114"/>
                </a:lnTo>
                <a:lnTo>
                  <a:pt x="5531" y="9240"/>
                </a:lnTo>
                <a:lnTo>
                  <a:pt x="5545" y="9219"/>
                </a:lnTo>
                <a:lnTo>
                  <a:pt x="5561" y="9192"/>
                </a:lnTo>
                <a:lnTo>
                  <a:pt x="5579" y="9161"/>
                </a:lnTo>
                <a:lnTo>
                  <a:pt x="5598" y="9127"/>
                </a:lnTo>
                <a:lnTo>
                  <a:pt x="5639" y="9049"/>
                </a:lnTo>
                <a:lnTo>
                  <a:pt x="5684" y="8963"/>
                </a:lnTo>
                <a:lnTo>
                  <a:pt x="5729" y="8870"/>
                </a:lnTo>
                <a:lnTo>
                  <a:pt x="5775" y="8777"/>
                </a:lnTo>
                <a:lnTo>
                  <a:pt x="5819" y="8687"/>
                </a:lnTo>
                <a:lnTo>
                  <a:pt x="5861" y="8603"/>
                </a:lnTo>
                <a:lnTo>
                  <a:pt x="5896" y="8529"/>
                </a:lnTo>
                <a:lnTo>
                  <a:pt x="5927" y="8469"/>
                </a:lnTo>
                <a:lnTo>
                  <a:pt x="5940" y="8446"/>
                </a:lnTo>
                <a:lnTo>
                  <a:pt x="5950" y="8428"/>
                </a:lnTo>
                <a:lnTo>
                  <a:pt x="5959" y="8415"/>
                </a:lnTo>
                <a:lnTo>
                  <a:pt x="5964" y="8409"/>
                </a:lnTo>
                <a:lnTo>
                  <a:pt x="5966" y="8409"/>
                </a:lnTo>
                <a:lnTo>
                  <a:pt x="5966" y="8417"/>
                </a:lnTo>
                <a:lnTo>
                  <a:pt x="5964" y="8432"/>
                </a:lnTo>
                <a:lnTo>
                  <a:pt x="5957" y="8454"/>
                </a:lnTo>
                <a:lnTo>
                  <a:pt x="5935" y="8525"/>
                </a:lnTo>
                <a:lnTo>
                  <a:pt x="5896" y="8634"/>
                </a:lnTo>
                <a:lnTo>
                  <a:pt x="5932" y="8582"/>
                </a:lnTo>
                <a:lnTo>
                  <a:pt x="5963" y="8540"/>
                </a:lnTo>
                <a:lnTo>
                  <a:pt x="5987" y="8506"/>
                </a:lnTo>
                <a:lnTo>
                  <a:pt x="6007" y="8478"/>
                </a:lnTo>
                <a:lnTo>
                  <a:pt x="6024" y="8459"/>
                </a:lnTo>
                <a:lnTo>
                  <a:pt x="6035" y="8446"/>
                </a:lnTo>
                <a:lnTo>
                  <a:pt x="6043" y="8440"/>
                </a:lnTo>
                <a:lnTo>
                  <a:pt x="6048" y="8440"/>
                </a:lnTo>
                <a:lnTo>
                  <a:pt x="6048" y="8445"/>
                </a:lnTo>
                <a:lnTo>
                  <a:pt x="6047" y="8455"/>
                </a:lnTo>
                <a:lnTo>
                  <a:pt x="6041" y="8471"/>
                </a:lnTo>
                <a:lnTo>
                  <a:pt x="6033" y="8491"/>
                </a:lnTo>
                <a:lnTo>
                  <a:pt x="6011" y="8543"/>
                </a:lnTo>
                <a:lnTo>
                  <a:pt x="5980" y="8608"/>
                </a:lnTo>
                <a:lnTo>
                  <a:pt x="5946" y="8683"/>
                </a:lnTo>
                <a:lnTo>
                  <a:pt x="5906" y="8764"/>
                </a:lnTo>
                <a:lnTo>
                  <a:pt x="5867" y="8848"/>
                </a:lnTo>
                <a:lnTo>
                  <a:pt x="5828" y="8934"/>
                </a:lnTo>
                <a:lnTo>
                  <a:pt x="5792" y="9015"/>
                </a:lnTo>
                <a:lnTo>
                  <a:pt x="5760" y="9091"/>
                </a:lnTo>
                <a:lnTo>
                  <a:pt x="5747" y="9126"/>
                </a:lnTo>
                <a:lnTo>
                  <a:pt x="5736" y="9158"/>
                </a:lnTo>
                <a:lnTo>
                  <a:pt x="5727" y="9186"/>
                </a:lnTo>
                <a:lnTo>
                  <a:pt x="5721" y="9210"/>
                </a:lnTo>
                <a:lnTo>
                  <a:pt x="5761" y="9121"/>
                </a:lnTo>
                <a:lnTo>
                  <a:pt x="5806" y="9025"/>
                </a:lnTo>
                <a:lnTo>
                  <a:pt x="5856" y="8927"/>
                </a:lnTo>
                <a:lnTo>
                  <a:pt x="5905" y="8832"/>
                </a:lnTo>
                <a:lnTo>
                  <a:pt x="5955" y="8739"/>
                </a:lnTo>
                <a:lnTo>
                  <a:pt x="6002" y="8652"/>
                </a:lnTo>
                <a:lnTo>
                  <a:pt x="6044" y="8577"/>
                </a:lnTo>
                <a:lnTo>
                  <a:pt x="6081" y="8516"/>
                </a:lnTo>
                <a:lnTo>
                  <a:pt x="6098" y="8491"/>
                </a:lnTo>
                <a:lnTo>
                  <a:pt x="6110" y="8470"/>
                </a:lnTo>
                <a:lnTo>
                  <a:pt x="6122" y="8455"/>
                </a:lnTo>
                <a:lnTo>
                  <a:pt x="6129" y="8445"/>
                </a:lnTo>
                <a:lnTo>
                  <a:pt x="6136" y="8441"/>
                </a:lnTo>
                <a:lnTo>
                  <a:pt x="6137" y="8442"/>
                </a:lnTo>
                <a:lnTo>
                  <a:pt x="6137" y="8450"/>
                </a:lnTo>
                <a:lnTo>
                  <a:pt x="6132" y="8465"/>
                </a:lnTo>
                <a:lnTo>
                  <a:pt x="6123" y="8488"/>
                </a:lnTo>
                <a:lnTo>
                  <a:pt x="6110" y="8517"/>
                </a:lnTo>
                <a:lnTo>
                  <a:pt x="6094" y="8555"/>
                </a:lnTo>
                <a:lnTo>
                  <a:pt x="6073" y="8603"/>
                </a:lnTo>
                <a:lnTo>
                  <a:pt x="6016" y="8722"/>
                </a:lnTo>
                <a:lnTo>
                  <a:pt x="5938" y="8881"/>
                </a:lnTo>
                <a:lnTo>
                  <a:pt x="5847" y="9057"/>
                </a:lnTo>
                <a:lnTo>
                  <a:pt x="5769" y="9210"/>
                </a:lnTo>
                <a:lnTo>
                  <a:pt x="5704" y="9340"/>
                </a:lnTo>
                <a:lnTo>
                  <a:pt x="5653" y="9447"/>
                </a:lnTo>
                <a:lnTo>
                  <a:pt x="5615" y="9532"/>
                </a:lnTo>
                <a:lnTo>
                  <a:pt x="5589" y="9593"/>
                </a:lnTo>
                <a:lnTo>
                  <a:pt x="5582" y="9615"/>
                </a:lnTo>
                <a:lnTo>
                  <a:pt x="5577" y="9631"/>
                </a:lnTo>
                <a:lnTo>
                  <a:pt x="5574" y="9641"/>
                </a:lnTo>
                <a:lnTo>
                  <a:pt x="5575" y="9646"/>
                </a:lnTo>
                <a:lnTo>
                  <a:pt x="5579" y="9645"/>
                </a:lnTo>
                <a:lnTo>
                  <a:pt x="5586" y="9637"/>
                </a:lnTo>
                <a:lnTo>
                  <a:pt x="5594" y="9625"/>
                </a:lnTo>
                <a:lnTo>
                  <a:pt x="5607" y="9606"/>
                </a:lnTo>
                <a:lnTo>
                  <a:pt x="5639" y="9550"/>
                </a:lnTo>
                <a:lnTo>
                  <a:pt x="5681" y="9471"/>
                </a:lnTo>
                <a:lnTo>
                  <a:pt x="5735" y="9368"/>
                </a:lnTo>
                <a:lnTo>
                  <a:pt x="5797" y="9242"/>
                </a:lnTo>
                <a:lnTo>
                  <a:pt x="5868" y="9090"/>
                </a:lnTo>
                <a:lnTo>
                  <a:pt x="5950" y="8916"/>
                </a:lnTo>
                <a:lnTo>
                  <a:pt x="6021" y="8786"/>
                </a:lnTo>
                <a:lnTo>
                  <a:pt x="6080" y="8683"/>
                </a:lnTo>
                <a:lnTo>
                  <a:pt x="6124" y="8606"/>
                </a:lnTo>
                <a:lnTo>
                  <a:pt x="6156" y="8554"/>
                </a:lnTo>
                <a:lnTo>
                  <a:pt x="6176" y="8524"/>
                </a:lnTo>
                <a:lnTo>
                  <a:pt x="6185" y="8513"/>
                </a:lnTo>
                <a:lnTo>
                  <a:pt x="6185" y="8524"/>
                </a:lnTo>
                <a:lnTo>
                  <a:pt x="6175" y="8550"/>
                </a:lnTo>
                <a:lnTo>
                  <a:pt x="6159" y="8594"/>
                </a:lnTo>
                <a:lnTo>
                  <a:pt x="6133" y="8651"/>
                </a:lnTo>
                <a:lnTo>
                  <a:pt x="6103" y="8721"/>
                </a:lnTo>
                <a:lnTo>
                  <a:pt x="6064" y="8801"/>
                </a:lnTo>
                <a:lnTo>
                  <a:pt x="5978" y="8990"/>
                </a:lnTo>
                <a:lnTo>
                  <a:pt x="5877" y="9203"/>
                </a:lnTo>
                <a:lnTo>
                  <a:pt x="5770" y="9429"/>
                </a:lnTo>
                <a:lnTo>
                  <a:pt x="5666" y="9653"/>
                </a:lnTo>
                <a:lnTo>
                  <a:pt x="5568" y="9863"/>
                </a:lnTo>
                <a:lnTo>
                  <a:pt x="5485" y="10045"/>
                </a:lnTo>
                <a:lnTo>
                  <a:pt x="5452" y="10121"/>
                </a:lnTo>
                <a:lnTo>
                  <a:pt x="5424" y="10187"/>
                </a:lnTo>
                <a:lnTo>
                  <a:pt x="5403" y="10240"/>
                </a:lnTo>
                <a:lnTo>
                  <a:pt x="5389" y="10276"/>
                </a:lnTo>
                <a:lnTo>
                  <a:pt x="5386" y="10297"/>
                </a:lnTo>
                <a:lnTo>
                  <a:pt x="5391" y="10299"/>
                </a:lnTo>
                <a:lnTo>
                  <a:pt x="5407" y="10283"/>
                </a:lnTo>
                <a:lnTo>
                  <a:pt x="5434" y="10243"/>
                </a:lnTo>
                <a:lnTo>
                  <a:pt x="5600" y="9971"/>
                </a:lnTo>
                <a:lnTo>
                  <a:pt x="5742" y="9737"/>
                </a:lnTo>
                <a:lnTo>
                  <a:pt x="5866" y="9538"/>
                </a:lnTo>
                <a:lnTo>
                  <a:pt x="5970" y="9373"/>
                </a:lnTo>
                <a:lnTo>
                  <a:pt x="6055" y="9239"/>
                </a:lnTo>
                <a:lnTo>
                  <a:pt x="6126" y="9133"/>
                </a:lnTo>
                <a:lnTo>
                  <a:pt x="6180" y="9056"/>
                </a:lnTo>
                <a:lnTo>
                  <a:pt x="6220" y="9001"/>
                </a:lnTo>
                <a:lnTo>
                  <a:pt x="6248" y="8969"/>
                </a:lnTo>
                <a:lnTo>
                  <a:pt x="6264" y="8955"/>
                </a:lnTo>
                <a:lnTo>
                  <a:pt x="6271" y="8959"/>
                </a:lnTo>
                <a:lnTo>
                  <a:pt x="6269" y="8978"/>
                </a:lnTo>
                <a:lnTo>
                  <a:pt x="6261" y="9010"/>
                </a:lnTo>
                <a:lnTo>
                  <a:pt x="6245" y="9051"/>
                </a:lnTo>
                <a:lnTo>
                  <a:pt x="6225" y="9100"/>
                </a:lnTo>
                <a:lnTo>
                  <a:pt x="6202" y="9154"/>
                </a:lnTo>
                <a:lnTo>
                  <a:pt x="6151" y="9270"/>
                </a:lnTo>
                <a:lnTo>
                  <a:pt x="6103" y="9378"/>
                </a:lnTo>
                <a:lnTo>
                  <a:pt x="6082" y="9424"/>
                </a:lnTo>
                <a:lnTo>
                  <a:pt x="6067" y="9461"/>
                </a:lnTo>
                <a:lnTo>
                  <a:pt x="6058" y="9486"/>
                </a:lnTo>
                <a:lnTo>
                  <a:pt x="6055" y="9497"/>
                </a:lnTo>
                <a:lnTo>
                  <a:pt x="6063" y="9495"/>
                </a:lnTo>
                <a:lnTo>
                  <a:pt x="6080" y="9473"/>
                </a:lnTo>
                <a:lnTo>
                  <a:pt x="6108" y="9430"/>
                </a:lnTo>
                <a:lnTo>
                  <a:pt x="6147" y="9365"/>
                </a:lnTo>
                <a:lnTo>
                  <a:pt x="6202" y="9275"/>
                </a:lnTo>
                <a:lnTo>
                  <a:pt x="6272" y="9158"/>
                </a:lnTo>
                <a:lnTo>
                  <a:pt x="6357" y="9009"/>
                </a:lnTo>
                <a:lnTo>
                  <a:pt x="6462" y="8829"/>
                </a:lnTo>
                <a:lnTo>
                  <a:pt x="6446" y="8876"/>
                </a:lnTo>
                <a:lnTo>
                  <a:pt x="6431" y="8925"/>
                </a:lnTo>
                <a:lnTo>
                  <a:pt x="6412" y="8974"/>
                </a:lnTo>
                <a:lnTo>
                  <a:pt x="6393" y="9026"/>
                </a:lnTo>
                <a:lnTo>
                  <a:pt x="6371" y="9079"/>
                </a:lnTo>
                <a:lnTo>
                  <a:pt x="6350" y="9133"/>
                </a:lnTo>
                <a:lnTo>
                  <a:pt x="6325" y="9188"/>
                </a:lnTo>
                <a:lnTo>
                  <a:pt x="6301" y="9244"/>
                </a:lnTo>
                <a:lnTo>
                  <a:pt x="6249" y="9359"/>
                </a:lnTo>
                <a:lnTo>
                  <a:pt x="6194" y="9475"/>
                </a:lnTo>
                <a:lnTo>
                  <a:pt x="6138" y="9589"/>
                </a:lnTo>
                <a:lnTo>
                  <a:pt x="6082" y="9704"/>
                </a:lnTo>
                <a:lnTo>
                  <a:pt x="6027" y="9816"/>
                </a:lnTo>
                <a:lnTo>
                  <a:pt x="5975" y="9924"/>
                </a:lnTo>
                <a:lnTo>
                  <a:pt x="5926" y="10027"/>
                </a:lnTo>
                <a:lnTo>
                  <a:pt x="5881" y="10122"/>
                </a:lnTo>
                <a:lnTo>
                  <a:pt x="5861" y="10168"/>
                </a:lnTo>
                <a:lnTo>
                  <a:pt x="5842" y="10212"/>
                </a:lnTo>
                <a:lnTo>
                  <a:pt x="5825" y="10252"/>
                </a:lnTo>
                <a:lnTo>
                  <a:pt x="5810" y="10292"/>
                </a:lnTo>
                <a:lnTo>
                  <a:pt x="5797" y="10327"/>
                </a:lnTo>
                <a:lnTo>
                  <a:pt x="5786" y="10360"/>
                </a:lnTo>
                <a:lnTo>
                  <a:pt x="5777" y="10391"/>
                </a:lnTo>
                <a:lnTo>
                  <a:pt x="5770" y="10418"/>
                </a:lnTo>
                <a:lnTo>
                  <a:pt x="5822" y="10327"/>
                </a:lnTo>
                <a:lnTo>
                  <a:pt x="5875" y="10236"/>
                </a:lnTo>
                <a:lnTo>
                  <a:pt x="5927" y="10143"/>
                </a:lnTo>
                <a:lnTo>
                  <a:pt x="5979" y="10047"/>
                </a:lnTo>
                <a:lnTo>
                  <a:pt x="6031" y="9952"/>
                </a:lnTo>
                <a:lnTo>
                  <a:pt x="6084" y="9856"/>
                </a:lnTo>
                <a:lnTo>
                  <a:pt x="6137" y="9760"/>
                </a:lnTo>
                <a:lnTo>
                  <a:pt x="6189" y="9662"/>
                </a:lnTo>
                <a:lnTo>
                  <a:pt x="6243" y="9565"/>
                </a:lnTo>
                <a:lnTo>
                  <a:pt x="6296" y="9468"/>
                </a:lnTo>
                <a:lnTo>
                  <a:pt x="6351" y="9373"/>
                </a:lnTo>
                <a:lnTo>
                  <a:pt x="6404" y="9277"/>
                </a:lnTo>
                <a:lnTo>
                  <a:pt x="6459" y="9183"/>
                </a:lnTo>
                <a:lnTo>
                  <a:pt x="6515" y="9091"/>
                </a:lnTo>
                <a:lnTo>
                  <a:pt x="6570" y="9000"/>
                </a:lnTo>
                <a:lnTo>
                  <a:pt x="6626" y="8911"/>
                </a:lnTo>
                <a:lnTo>
                  <a:pt x="6613" y="9006"/>
                </a:lnTo>
                <a:lnTo>
                  <a:pt x="6599" y="9102"/>
                </a:lnTo>
                <a:lnTo>
                  <a:pt x="6584" y="9194"/>
                </a:lnTo>
                <a:lnTo>
                  <a:pt x="6567" y="9287"/>
                </a:lnTo>
                <a:lnTo>
                  <a:pt x="6551" y="9380"/>
                </a:lnTo>
                <a:lnTo>
                  <a:pt x="6533" y="9472"/>
                </a:lnTo>
                <a:lnTo>
                  <a:pt x="6514" y="9564"/>
                </a:lnTo>
                <a:lnTo>
                  <a:pt x="6495" y="9654"/>
                </a:lnTo>
                <a:lnTo>
                  <a:pt x="6455" y="9833"/>
                </a:lnTo>
                <a:lnTo>
                  <a:pt x="6413" y="10012"/>
                </a:lnTo>
                <a:lnTo>
                  <a:pt x="6373" y="10190"/>
                </a:lnTo>
                <a:lnTo>
                  <a:pt x="6332" y="10366"/>
                </a:lnTo>
                <a:lnTo>
                  <a:pt x="6291" y="10543"/>
                </a:lnTo>
                <a:lnTo>
                  <a:pt x="6254" y="10719"/>
                </a:lnTo>
                <a:lnTo>
                  <a:pt x="6236" y="10807"/>
                </a:lnTo>
                <a:lnTo>
                  <a:pt x="6220" y="10896"/>
                </a:lnTo>
                <a:lnTo>
                  <a:pt x="6204" y="10985"/>
                </a:lnTo>
                <a:lnTo>
                  <a:pt x="6189" y="11075"/>
                </a:lnTo>
                <a:lnTo>
                  <a:pt x="6175" y="11165"/>
                </a:lnTo>
                <a:lnTo>
                  <a:pt x="6164" y="11255"/>
                </a:lnTo>
                <a:lnTo>
                  <a:pt x="6152" y="11346"/>
                </a:lnTo>
                <a:lnTo>
                  <a:pt x="6143" y="11437"/>
                </a:lnTo>
                <a:lnTo>
                  <a:pt x="6136" y="11529"/>
                </a:lnTo>
                <a:lnTo>
                  <a:pt x="6129" y="11622"/>
                </a:lnTo>
                <a:lnTo>
                  <a:pt x="6124" y="11715"/>
                </a:lnTo>
                <a:lnTo>
                  <a:pt x="6122" y="11809"/>
                </a:lnTo>
                <a:lnTo>
                  <a:pt x="6155" y="11687"/>
                </a:lnTo>
                <a:lnTo>
                  <a:pt x="6187" y="11562"/>
                </a:lnTo>
                <a:lnTo>
                  <a:pt x="6217" y="11436"/>
                </a:lnTo>
                <a:lnTo>
                  <a:pt x="6248" y="11309"/>
                </a:lnTo>
                <a:lnTo>
                  <a:pt x="6278" y="11180"/>
                </a:lnTo>
                <a:lnTo>
                  <a:pt x="6309" y="11052"/>
                </a:lnTo>
                <a:lnTo>
                  <a:pt x="6339" y="10923"/>
                </a:lnTo>
                <a:lnTo>
                  <a:pt x="6371" y="10795"/>
                </a:lnTo>
                <a:lnTo>
                  <a:pt x="6403" y="10666"/>
                </a:lnTo>
                <a:lnTo>
                  <a:pt x="6436" y="10540"/>
                </a:lnTo>
                <a:lnTo>
                  <a:pt x="6471" y="10415"/>
                </a:lnTo>
                <a:lnTo>
                  <a:pt x="6506" y="10292"/>
                </a:lnTo>
                <a:lnTo>
                  <a:pt x="6524" y="10231"/>
                </a:lnTo>
                <a:lnTo>
                  <a:pt x="6543" y="10171"/>
                </a:lnTo>
                <a:lnTo>
                  <a:pt x="6564" y="10112"/>
                </a:lnTo>
                <a:lnTo>
                  <a:pt x="6584" y="10054"/>
                </a:lnTo>
                <a:lnTo>
                  <a:pt x="6604" y="9995"/>
                </a:lnTo>
                <a:lnTo>
                  <a:pt x="6626" y="9938"/>
                </a:lnTo>
                <a:lnTo>
                  <a:pt x="6648" y="9883"/>
                </a:lnTo>
                <a:lnTo>
                  <a:pt x="6671" y="9827"/>
                </a:lnTo>
                <a:lnTo>
                  <a:pt x="6648" y="9932"/>
                </a:lnTo>
                <a:lnTo>
                  <a:pt x="6617" y="10065"/>
                </a:lnTo>
                <a:lnTo>
                  <a:pt x="6579" y="10224"/>
                </a:lnTo>
                <a:lnTo>
                  <a:pt x="6537" y="10397"/>
                </a:lnTo>
                <a:lnTo>
                  <a:pt x="6492" y="10579"/>
                </a:lnTo>
                <a:lnTo>
                  <a:pt x="6448" y="10761"/>
                </a:lnTo>
                <a:lnTo>
                  <a:pt x="6406" y="10937"/>
                </a:lnTo>
                <a:lnTo>
                  <a:pt x="6367" y="11098"/>
                </a:lnTo>
                <a:lnTo>
                  <a:pt x="6336" y="11235"/>
                </a:lnTo>
                <a:lnTo>
                  <a:pt x="6313" y="11344"/>
                </a:lnTo>
                <a:lnTo>
                  <a:pt x="6305" y="11384"/>
                </a:lnTo>
                <a:lnTo>
                  <a:pt x="6301" y="11414"/>
                </a:lnTo>
                <a:lnTo>
                  <a:pt x="6300" y="11434"/>
                </a:lnTo>
                <a:lnTo>
                  <a:pt x="6303" y="11440"/>
                </a:lnTo>
                <a:lnTo>
                  <a:pt x="6309" y="11434"/>
                </a:lnTo>
                <a:lnTo>
                  <a:pt x="6320" y="11413"/>
                </a:lnTo>
                <a:lnTo>
                  <a:pt x="6336" y="11376"/>
                </a:lnTo>
                <a:lnTo>
                  <a:pt x="6355" y="11325"/>
                </a:lnTo>
                <a:lnTo>
                  <a:pt x="6379" y="11257"/>
                </a:lnTo>
                <a:lnTo>
                  <a:pt x="6410" y="11169"/>
                </a:lnTo>
                <a:lnTo>
                  <a:pt x="6445" y="11063"/>
                </a:lnTo>
                <a:lnTo>
                  <a:pt x="6486" y="10938"/>
                </a:lnTo>
                <a:lnTo>
                  <a:pt x="6496" y="10912"/>
                </a:lnTo>
                <a:lnTo>
                  <a:pt x="6504" y="10895"/>
                </a:lnTo>
                <a:lnTo>
                  <a:pt x="6510" y="10886"/>
                </a:lnTo>
                <a:lnTo>
                  <a:pt x="6513" y="10886"/>
                </a:lnTo>
                <a:lnTo>
                  <a:pt x="6515" y="10893"/>
                </a:lnTo>
                <a:lnTo>
                  <a:pt x="6514" y="10905"/>
                </a:lnTo>
                <a:lnTo>
                  <a:pt x="6513" y="10924"/>
                </a:lnTo>
                <a:lnTo>
                  <a:pt x="6509" y="10950"/>
                </a:lnTo>
                <a:lnTo>
                  <a:pt x="6499" y="11015"/>
                </a:lnTo>
                <a:lnTo>
                  <a:pt x="6483" y="11096"/>
                </a:lnTo>
                <a:lnTo>
                  <a:pt x="6467" y="11189"/>
                </a:lnTo>
                <a:lnTo>
                  <a:pt x="6448" y="11290"/>
                </a:lnTo>
                <a:lnTo>
                  <a:pt x="6430" y="11394"/>
                </a:lnTo>
                <a:lnTo>
                  <a:pt x="6412" y="11496"/>
                </a:lnTo>
                <a:lnTo>
                  <a:pt x="6404" y="11546"/>
                </a:lnTo>
                <a:lnTo>
                  <a:pt x="6398" y="11594"/>
                </a:lnTo>
                <a:lnTo>
                  <a:pt x="6392" y="11638"/>
                </a:lnTo>
                <a:lnTo>
                  <a:pt x="6387" y="11682"/>
                </a:lnTo>
                <a:lnTo>
                  <a:pt x="6384" y="11720"/>
                </a:lnTo>
                <a:lnTo>
                  <a:pt x="6382" y="11756"/>
                </a:lnTo>
                <a:lnTo>
                  <a:pt x="6382" y="11785"/>
                </a:lnTo>
                <a:lnTo>
                  <a:pt x="6383" y="11810"/>
                </a:lnTo>
                <a:lnTo>
                  <a:pt x="6387" y="11831"/>
                </a:lnTo>
                <a:lnTo>
                  <a:pt x="6393" y="11843"/>
                </a:lnTo>
                <a:lnTo>
                  <a:pt x="6401" y="11850"/>
                </a:lnTo>
                <a:lnTo>
                  <a:pt x="6411" y="11850"/>
                </a:lnTo>
                <a:lnTo>
                  <a:pt x="6426" y="11742"/>
                </a:lnTo>
                <a:lnTo>
                  <a:pt x="6441" y="11637"/>
                </a:lnTo>
                <a:lnTo>
                  <a:pt x="6458" y="11535"/>
                </a:lnTo>
                <a:lnTo>
                  <a:pt x="6474" y="11437"/>
                </a:lnTo>
                <a:lnTo>
                  <a:pt x="6494" y="11341"/>
                </a:lnTo>
                <a:lnTo>
                  <a:pt x="6511" y="11248"/>
                </a:lnTo>
                <a:lnTo>
                  <a:pt x="6530" y="11157"/>
                </a:lnTo>
                <a:lnTo>
                  <a:pt x="6551" y="11068"/>
                </a:lnTo>
                <a:lnTo>
                  <a:pt x="6571" y="10982"/>
                </a:lnTo>
                <a:lnTo>
                  <a:pt x="6593" y="10896"/>
                </a:lnTo>
                <a:lnTo>
                  <a:pt x="6615" y="10814"/>
                </a:lnTo>
                <a:lnTo>
                  <a:pt x="6637" y="10732"/>
                </a:lnTo>
                <a:lnTo>
                  <a:pt x="6660" y="10653"/>
                </a:lnTo>
                <a:lnTo>
                  <a:pt x="6685" y="10576"/>
                </a:lnTo>
                <a:lnTo>
                  <a:pt x="6709" y="10498"/>
                </a:lnTo>
                <a:lnTo>
                  <a:pt x="6734" y="10423"/>
                </a:lnTo>
                <a:lnTo>
                  <a:pt x="6758" y="10348"/>
                </a:lnTo>
                <a:lnTo>
                  <a:pt x="6785" y="10274"/>
                </a:lnTo>
                <a:lnTo>
                  <a:pt x="6811" y="10201"/>
                </a:lnTo>
                <a:lnTo>
                  <a:pt x="6837" y="10130"/>
                </a:lnTo>
                <a:lnTo>
                  <a:pt x="6893" y="9986"/>
                </a:lnTo>
                <a:lnTo>
                  <a:pt x="6949" y="9844"/>
                </a:lnTo>
                <a:lnTo>
                  <a:pt x="7008" y="9702"/>
                </a:lnTo>
                <a:lnTo>
                  <a:pt x="7067" y="9559"/>
                </a:lnTo>
                <a:lnTo>
                  <a:pt x="7128" y="9412"/>
                </a:lnTo>
                <a:lnTo>
                  <a:pt x="7189" y="9263"/>
                </a:lnTo>
                <a:lnTo>
                  <a:pt x="7188" y="9279"/>
                </a:lnTo>
                <a:lnTo>
                  <a:pt x="7184" y="9296"/>
                </a:lnTo>
                <a:lnTo>
                  <a:pt x="7180" y="9315"/>
                </a:lnTo>
                <a:lnTo>
                  <a:pt x="7175" y="9337"/>
                </a:lnTo>
                <a:lnTo>
                  <a:pt x="7161" y="9384"/>
                </a:lnTo>
                <a:lnTo>
                  <a:pt x="7146" y="9438"/>
                </a:lnTo>
                <a:lnTo>
                  <a:pt x="7128" y="9492"/>
                </a:lnTo>
                <a:lnTo>
                  <a:pt x="7111" y="9548"/>
                </a:lnTo>
                <a:lnTo>
                  <a:pt x="7093" y="9602"/>
                </a:lnTo>
                <a:lnTo>
                  <a:pt x="7078" y="9654"/>
                </a:lnTo>
                <a:lnTo>
                  <a:pt x="7064" y="9700"/>
                </a:lnTo>
                <a:lnTo>
                  <a:pt x="7054" y="9738"/>
                </a:lnTo>
                <a:lnTo>
                  <a:pt x="7051" y="9755"/>
                </a:lnTo>
                <a:lnTo>
                  <a:pt x="7049" y="9767"/>
                </a:lnTo>
                <a:lnTo>
                  <a:pt x="7048" y="9777"/>
                </a:lnTo>
                <a:lnTo>
                  <a:pt x="7049" y="9785"/>
                </a:lnTo>
                <a:lnTo>
                  <a:pt x="7050" y="9790"/>
                </a:lnTo>
                <a:lnTo>
                  <a:pt x="7054" y="9790"/>
                </a:lnTo>
                <a:lnTo>
                  <a:pt x="7059" y="9788"/>
                </a:lnTo>
                <a:lnTo>
                  <a:pt x="7067" y="9780"/>
                </a:lnTo>
                <a:lnTo>
                  <a:pt x="7077" y="9769"/>
                </a:lnTo>
                <a:lnTo>
                  <a:pt x="7088" y="9753"/>
                </a:lnTo>
                <a:lnTo>
                  <a:pt x="7102" y="9732"/>
                </a:lnTo>
                <a:lnTo>
                  <a:pt x="7119" y="9706"/>
                </a:lnTo>
                <a:lnTo>
                  <a:pt x="7114" y="9713"/>
                </a:lnTo>
                <a:lnTo>
                  <a:pt x="7110" y="9725"/>
                </a:lnTo>
                <a:lnTo>
                  <a:pt x="7105" y="9741"/>
                </a:lnTo>
                <a:lnTo>
                  <a:pt x="7102" y="9756"/>
                </a:lnTo>
                <a:lnTo>
                  <a:pt x="7101" y="9765"/>
                </a:lnTo>
                <a:lnTo>
                  <a:pt x="7101" y="9771"/>
                </a:lnTo>
                <a:lnTo>
                  <a:pt x="7102" y="9777"/>
                </a:lnTo>
                <a:lnTo>
                  <a:pt x="7104" y="9783"/>
                </a:lnTo>
                <a:lnTo>
                  <a:pt x="7105" y="9786"/>
                </a:lnTo>
                <a:lnTo>
                  <a:pt x="7107" y="9789"/>
                </a:lnTo>
                <a:lnTo>
                  <a:pt x="7111" y="9789"/>
                </a:lnTo>
                <a:lnTo>
                  <a:pt x="7116" y="9786"/>
                </a:lnTo>
                <a:lnTo>
                  <a:pt x="7137" y="9735"/>
                </a:lnTo>
                <a:lnTo>
                  <a:pt x="7156" y="9683"/>
                </a:lnTo>
                <a:lnTo>
                  <a:pt x="7174" y="9631"/>
                </a:lnTo>
                <a:lnTo>
                  <a:pt x="7191" y="9578"/>
                </a:lnTo>
                <a:lnTo>
                  <a:pt x="7225" y="9471"/>
                </a:lnTo>
                <a:lnTo>
                  <a:pt x="7256" y="9363"/>
                </a:lnTo>
                <a:lnTo>
                  <a:pt x="7286" y="9257"/>
                </a:lnTo>
                <a:lnTo>
                  <a:pt x="7312" y="9154"/>
                </a:lnTo>
                <a:lnTo>
                  <a:pt x="7339" y="9054"/>
                </a:lnTo>
                <a:lnTo>
                  <a:pt x="7366" y="8962"/>
                </a:lnTo>
                <a:lnTo>
                  <a:pt x="7371" y="8963"/>
                </a:lnTo>
                <a:lnTo>
                  <a:pt x="7376" y="8967"/>
                </a:lnTo>
                <a:lnTo>
                  <a:pt x="7380" y="8970"/>
                </a:lnTo>
                <a:lnTo>
                  <a:pt x="7384" y="8976"/>
                </a:lnTo>
                <a:lnTo>
                  <a:pt x="7390" y="8987"/>
                </a:lnTo>
                <a:lnTo>
                  <a:pt x="7396" y="9002"/>
                </a:lnTo>
                <a:lnTo>
                  <a:pt x="7407" y="9035"/>
                </a:lnTo>
                <a:lnTo>
                  <a:pt x="7416" y="9068"/>
                </a:lnTo>
                <a:lnTo>
                  <a:pt x="7419" y="9084"/>
                </a:lnTo>
                <a:lnTo>
                  <a:pt x="7426" y="9096"/>
                </a:lnTo>
                <a:lnTo>
                  <a:pt x="7428" y="9102"/>
                </a:lnTo>
                <a:lnTo>
                  <a:pt x="7432" y="9105"/>
                </a:lnTo>
                <a:lnTo>
                  <a:pt x="7436" y="9109"/>
                </a:lnTo>
                <a:lnTo>
                  <a:pt x="7440" y="9110"/>
                </a:lnTo>
                <a:lnTo>
                  <a:pt x="7444" y="9112"/>
                </a:lnTo>
                <a:lnTo>
                  <a:pt x="7449" y="9112"/>
                </a:lnTo>
                <a:lnTo>
                  <a:pt x="7454" y="9110"/>
                </a:lnTo>
                <a:lnTo>
                  <a:pt x="7459" y="9107"/>
                </a:lnTo>
                <a:lnTo>
                  <a:pt x="7465" y="9102"/>
                </a:lnTo>
                <a:lnTo>
                  <a:pt x="7472" y="9095"/>
                </a:lnTo>
                <a:lnTo>
                  <a:pt x="7478" y="9088"/>
                </a:lnTo>
                <a:lnTo>
                  <a:pt x="7486" y="9077"/>
                </a:lnTo>
                <a:lnTo>
                  <a:pt x="7495" y="9081"/>
                </a:lnTo>
                <a:lnTo>
                  <a:pt x="7501" y="9082"/>
                </a:lnTo>
                <a:lnTo>
                  <a:pt x="7506" y="9082"/>
                </a:lnTo>
                <a:lnTo>
                  <a:pt x="7510" y="9081"/>
                </a:lnTo>
                <a:lnTo>
                  <a:pt x="7512" y="9077"/>
                </a:lnTo>
                <a:lnTo>
                  <a:pt x="7514" y="9072"/>
                </a:lnTo>
                <a:lnTo>
                  <a:pt x="7514" y="9067"/>
                </a:lnTo>
                <a:lnTo>
                  <a:pt x="7512" y="9061"/>
                </a:lnTo>
                <a:lnTo>
                  <a:pt x="7509" y="9046"/>
                </a:lnTo>
                <a:lnTo>
                  <a:pt x="7503" y="9032"/>
                </a:lnTo>
                <a:lnTo>
                  <a:pt x="7496" y="9018"/>
                </a:lnTo>
                <a:lnTo>
                  <a:pt x="7488" y="9009"/>
                </a:lnTo>
                <a:lnTo>
                  <a:pt x="7502" y="9004"/>
                </a:lnTo>
                <a:lnTo>
                  <a:pt x="7514" y="9000"/>
                </a:lnTo>
                <a:lnTo>
                  <a:pt x="7520" y="8996"/>
                </a:lnTo>
                <a:lnTo>
                  <a:pt x="7525" y="8992"/>
                </a:lnTo>
                <a:lnTo>
                  <a:pt x="7526" y="8990"/>
                </a:lnTo>
                <a:lnTo>
                  <a:pt x="7525" y="8986"/>
                </a:lnTo>
                <a:lnTo>
                  <a:pt x="7523" y="8982"/>
                </a:lnTo>
                <a:lnTo>
                  <a:pt x="7517" y="8978"/>
                </a:lnTo>
                <a:lnTo>
                  <a:pt x="7505" y="8968"/>
                </a:lnTo>
                <a:lnTo>
                  <a:pt x="7491" y="8956"/>
                </a:lnTo>
                <a:lnTo>
                  <a:pt x="7484" y="8949"/>
                </a:lnTo>
                <a:lnTo>
                  <a:pt x="7478" y="8941"/>
                </a:lnTo>
                <a:lnTo>
                  <a:pt x="7473" y="8932"/>
                </a:lnTo>
                <a:lnTo>
                  <a:pt x="7470" y="8922"/>
                </a:lnTo>
                <a:lnTo>
                  <a:pt x="7483" y="8892"/>
                </a:lnTo>
                <a:lnTo>
                  <a:pt x="7495" y="8869"/>
                </a:lnTo>
                <a:lnTo>
                  <a:pt x="7500" y="8860"/>
                </a:lnTo>
                <a:lnTo>
                  <a:pt x="7505" y="8852"/>
                </a:lnTo>
                <a:lnTo>
                  <a:pt x="7510" y="8847"/>
                </a:lnTo>
                <a:lnTo>
                  <a:pt x="7515" y="8842"/>
                </a:lnTo>
                <a:lnTo>
                  <a:pt x="7519" y="8839"/>
                </a:lnTo>
                <a:lnTo>
                  <a:pt x="7524" y="8838"/>
                </a:lnTo>
                <a:lnTo>
                  <a:pt x="7528" y="8838"/>
                </a:lnTo>
                <a:lnTo>
                  <a:pt x="7531" y="8838"/>
                </a:lnTo>
                <a:lnTo>
                  <a:pt x="7534" y="8839"/>
                </a:lnTo>
                <a:lnTo>
                  <a:pt x="7538" y="8843"/>
                </a:lnTo>
                <a:lnTo>
                  <a:pt x="7540" y="8846"/>
                </a:lnTo>
                <a:lnTo>
                  <a:pt x="7544" y="8851"/>
                </a:lnTo>
                <a:lnTo>
                  <a:pt x="7549" y="8861"/>
                </a:lnTo>
                <a:lnTo>
                  <a:pt x="7556" y="8875"/>
                </a:lnTo>
                <a:lnTo>
                  <a:pt x="7561" y="8890"/>
                </a:lnTo>
                <a:lnTo>
                  <a:pt x="7566" y="8906"/>
                </a:lnTo>
                <a:lnTo>
                  <a:pt x="7576" y="8939"/>
                </a:lnTo>
                <a:lnTo>
                  <a:pt x="7588" y="8968"/>
                </a:lnTo>
                <a:lnTo>
                  <a:pt x="7600" y="8956"/>
                </a:lnTo>
                <a:lnTo>
                  <a:pt x="7612" y="8945"/>
                </a:lnTo>
                <a:lnTo>
                  <a:pt x="7622" y="8931"/>
                </a:lnTo>
                <a:lnTo>
                  <a:pt x="7631" y="8917"/>
                </a:lnTo>
                <a:lnTo>
                  <a:pt x="7638" y="8903"/>
                </a:lnTo>
                <a:lnTo>
                  <a:pt x="7646" y="8886"/>
                </a:lnTo>
                <a:lnTo>
                  <a:pt x="7652" y="8871"/>
                </a:lnTo>
                <a:lnTo>
                  <a:pt x="7658" y="8855"/>
                </a:lnTo>
                <a:lnTo>
                  <a:pt x="7668" y="8822"/>
                </a:lnTo>
                <a:lnTo>
                  <a:pt x="7675" y="8788"/>
                </a:lnTo>
                <a:lnTo>
                  <a:pt x="7680" y="8758"/>
                </a:lnTo>
                <a:lnTo>
                  <a:pt x="7686" y="8730"/>
                </a:lnTo>
                <a:lnTo>
                  <a:pt x="7691" y="8707"/>
                </a:lnTo>
                <a:lnTo>
                  <a:pt x="7696" y="8689"/>
                </a:lnTo>
                <a:lnTo>
                  <a:pt x="7698" y="8683"/>
                </a:lnTo>
                <a:lnTo>
                  <a:pt x="7702" y="8678"/>
                </a:lnTo>
                <a:lnTo>
                  <a:pt x="7706" y="8675"/>
                </a:lnTo>
                <a:lnTo>
                  <a:pt x="7710" y="8675"/>
                </a:lnTo>
                <a:lnTo>
                  <a:pt x="7715" y="8676"/>
                </a:lnTo>
                <a:lnTo>
                  <a:pt x="7720" y="8682"/>
                </a:lnTo>
                <a:lnTo>
                  <a:pt x="7726" y="8688"/>
                </a:lnTo>
                <a:lnTo>
                  <a:pt x="7733" y="8698"/>
                </a:lnTo>
                <a:lnTo>
                  <a:pt x="7749" y="8727"/>
                </a:lnTo>
                <a:lnTo>
                  <a:pt x="7770" y="8768"/>
                </a:lnTo>
                <a:lnTo>
                  <a:pt x="7772" y="8785"/>
                </a:lnTo>
                <a:lnTo>
                  <a:pt x="7777" y="8800"/>
                </a:lnTo>
                <a:lnTo>
                  <a:pt x="7782" y="8814"/>
                </a:lnTo>
                <a:lnTo>
                  <a:pt x="7789" y="8825"/>
                </a:lnTo>
                <a:lnTo>
                  <a:pt x="7796" y="8836"/>
                </a:lnTo>
                <a:lnTo>
                  <a:pt x="7805" y="8843"/>
                </a:lnTo>
                <a:lnTo>
                  <a:pt x="7813" y="8850"/>
                </a:lnTo>
                <a:lnTo>
                  <a:pt x="7822" y="8853"/>
                </a:lnTo>
                <a:lnTo>
                  <a:pt x="7827" y="8853"/>
                </a:lnTo>
                <a:lnTo>
                  <a:pt x="7832" y="8853"/>
                </a:lnTo>
                <a:lnTo>
                  <a:pt x="7836" y="8853"/>
                </a:lnTo>
                <a:lnTo>
                  <a:pt x="7841" y="8852"/>
                </a:lnTo>
                <a:lnTo>
                  <a:pt x="7845" y="8851"/>
                </a:lnTo>
                <a:lnTo>
                  <a:pt x="7849" y="8848"/>
                </a:lnTo>
                <a:lnTo>
                  <a:pt x="7854" y="8844"/>
                </a:lnTo>
                <a:lnTo>
                  <a:pt x="7857" y="8841"/>
                </a:lnTo>
                <a:lnTo>
                  <a:pt x="7865" y="8829"/>
                </a:lnTo>
                <a:lnTo>
                  <a:pt x="7871" y="8816"/>
                </a:lnTo>
                <a:lnTo>
                  <a:pt x="7877" y="8799"/>
                </a:lnTo>
                <a:lnTo>
                  <a:pt x="7882" y="8777"/>
                </a:lnTo>
                <a:lnTo>
                  <a:pt x="7887" y="8786"/>
                </a:lnTo>
                <a:lnTo>
                  <a:pt x="7894" y="8800"/>
                </a:lnTo>
                <a:lnTo>
                  <a:pt x="7906" y="8814"/>
                </a:lnTo>
                <a:lnTo>
                  <a:pt x="7917" y="8828"/>
                </a:lnTo>
                <a:lnTo>
                  <a:pt x="7924" y="8833"/>
                </a:lnTo>
                <a:lnTo>
                  <a:pt x="7930" y="8838"/>
                </a:lnTo>
                <a:lnTo>
                  <a:pt x="7935" y="8841"/>
                </a:lnTo>
                <a:lnTo>
                  <a:pt x="7942" y="8842"/>
                </a:lnTo>
                <a:lnTo>
                  <a:pt x="7947" y="8841"/>
                </a:lnTo>
                <a:lnTo>
                  <a:pt x="7950" y="8837"/>
                </a:lnTo>
                <a:lnTo>
                  <a:pt x="7954" y="8830"/>
                </a:lnTo>
                <a:lnTo>
                  <a:pt x="7957" y="8820"/>
                </a:lnTo>
                <a:lnTo>
                  <a:pt x="7975" y="8832"/>
                </a:lnTo>
                <a:lnTo>
                  <a:pt x="7992" y="8846"/>
                </a:lnTo>
                <a:lnTo>
                  <a:pt x="7996" y="8848"/>
                </a:lnTo>
                <a:lnTo>
                  <a:pt x="7998" y="8848"/>
                </a:lnTo>
                <a:lnTo>
                  <a:pt x="8000" y="8848"/>
                </a:lnTo>
                <a:lnTo>
                  <a:pt x="8000" y="8846"/>
                </a:lnTo>
                <a:lnTo>
                  <a:pt x="7996" y="8836"/>
                </a:lnTo>
                <a:lnTo>
                  <a:pt x="7987" y="8815"/>
                </a:lnTo>
                <a:lnTo>
                  <a:pt x="8012" y="8813"/>
                </a:lnTo>
                <a:lnTo>
                  <a:pt x="8035" y="8819"/>
                </a:lnTo>
                <a:lnTo>
                  <a:pt x="8056" y="8830"/>
                </a:lnTo>
                <a:lnTo>
                  <a:pt x="8077" y="8848"/>
                </a:lnTo>
                <a:lnTo>
                  <a:pt x="8096" y="8871"/>
                </a:lnTo>
                <a:lnTo>
                  <a:pt x="8113" y="8900"/>
                </a:lnTo>
                <a:lnTo>
                  <a:pt x="8131" y="8934"/>
                </a:lnTo>
                <a:lnTo>
                  <a:pt x="8148" y="8972"/>
                </a:lnTo>
                <a:lnTo>
                  <a:pt x="8163" y="9014"/>
                </a:lnTo>
                <a:lnTo>
                  <a:pt x="8177" y="9060"/>
                </a:lnTo>
                <a:lnTo>
                  <a:pt x="8191" y="9109"/>
                </a:lnTo>
                <a:lnTo>
                  <a:pt x="8204" y="9160"/>
                </a:lnTo>
                <a:lnTo>
                  <a:pt x="8217" y="9214"/>
                </a:lnTo>
                <a:lnTo>
                  <a:pt x="8229" y="9270"/>
                </a:lnTo>
                <a:lnTo>
                  <a:pt x="8241" y="9327"/>
                </a:lnTo>
                <a:lnTo>
                  <a:pt x="8252" y="9385"/>
                </a:lnTo>
                <a:lnTo>
                  <a:pt x="8274" y="9504"/>
                </a:lnTo>
                <a:lnTo>
                  <a:pt x="8296" y="9622"/>
                </a:lnTo>
                <a:lnTo>
                  <a:pt x="8317" y="9737"/>
                </a:lnTo>
                <a:lnTo>
                  <a:pt x="8340" y="9844"/>
                </a:lnTo>
                <a:lnTo>
                  <a:pt x="8352" y="9893"/>
                </a:lnTo>
                <a:lnTo>
                  <a:pt x="8364" y="9939"/>
                </a:lnTo>
                <a:lnTo>
                  <a:pt x="8377" y="9982"/>
                </a:lnTo>
                <a:lnTo>
                  <a:pt x="8390" y="10022"/>
                </a:lnTo>
                <a:lnTo>
                  <a:pt x="8404" y="10058"/>
                </a:lnTo>
                <a:lnTo>
                  <a:pt x="8419" y="10088"/>
                </a:lnTo>
                <a:lnTo>
                  <a:pt x="8434" y="10114"/>
                </a:lnTo>
                <a:lnTo>
                  <a:pt x="8451" y="10133"/>
                </a:lnTo>
                <a:lnTo>
                  <a:pt x="8453" y="10117"/>
                </a:lnTo>
                <a:lnTo>
                  <a:pt x="8455" y="10102"/>
                </a:lnTo>
                <a:lnTo>
                  <a:pt x="8456" y="10087"/>
                </a:lnTo>
                <a:lnTo>
                  <a:pt x="8456" y="10072"/>
                </a:lnTo>
                <a:lnTo>
                  <a:pt x="8455" y="10056"/>
                </a:lnTo>
                <a:lnTo>
                  <a:pt x="8453" y="10041"/>
                </a:lnTo>
                <a:lnTo>
                  <a:pt x="8451" y="10026"/>
                </a:lnTo>
                <a:lnTo>
                  <a:pt x="8447" y="10009"/>
                </a:lnTo>
                <a:lnTo>
                  <a:pt x="8439" y="9977"/>
                </a:lnTo>
                <a:lnTo>
                  <a:pt x="8431" y="9946"/>
                </a:lnTo>
                <a:lnTo>
                  <a:pt x="8420" y="9912"/>
                </a:lnTo>
                <a:lnTo>
                  <a:pt x="8410" y="9881"/>
                </a:lnTo>
                <a:lnTo>
                  <a:pt x="8399" y="9848"/>
                </a:lnTo>
                <a:lnTo>
                  <a:pt x="8389" y="9814"/>
                </a:lnTo>
                <a:lnTo>
                  <a:pt x="8380" y="9781"/>
                </a:lnTo>
                <a:lnTo>
                  <a:pt x="8373" y="9748"/>
                </a:lnTo>
                <a:lnTo>
                  <a:pt x="8369" y="9732"/>
                </a:lnTo>
                <a:lnTo>
                  <a:pt x="8368" y="9714"/>
                </a:lnTo>
                <a:lnTo>
                  <a:pt x="8367" y="9697"/>
                </a:lnTo>
                <a:lnTo>
                  <a:pt x="8366" y="9681"/>
                </a:lnTo>
                <a:lnTo>
                  <a:pt x="8366" y="9664"/>
                </a:lnTo>
                <a:lnTo>
                  <a:pt x="8367" y="9648"/>
                </a:lnTo>
                <a:lnTo>
                  <a:pt x="8369" y="9632"/>
                </a:lnTo>
                <a:lnTo>
                  <a:pt x="8372" y="9616"/>
                </a:lnTo>
                <a:lnTo>
                  <a:pt x="8359" y="9552"/>
                </a:lnTo>
                <a:lnTo>
                  <a:pt x="8343" y="9486"/>
                </a:lnTo>
                <a:lnTo>
                  <a:pt x="8325" y="9416"/>
                </a:lnTo>
                <a:lnTo>
                  <a:pt x="8307" y="9346"/>
                </a:lnTo>
                <a:lnTo>
                  <a:pt x="8299" y="9310"/>
                </a:lnTo>
                <a:lnTo>
                  <a:pt x="8292" y="9275"/>
                </a:lnTo>
                <a:lnTo>
                  <a:pt x="8285" y="9239"/>
                </a:lnTo>
                <a:lnTo>
                  <a:pt x="8279" y="9203"/>
                </a:lnTo>
                <a:lnTo>
                  <a:pt x="8275" y="9169"/>
                </a:lnTo>
                <a:lnTo>
                  <a:pt x="8273" y="9133"/>
                </a:lnTo>
                <a:lnTo>
                  <a:pt x="8271" y="9099"/>
                </a:lnTo>
                <a:lnTo>
                  <a:pt x="8273" y="9066"/>
                </a:lnTo>
                <a:lnTo>
                  <a:pt x="8279" y="9071"/>
                </a:lnTo>
                <a:lnTo>
                  <a:pt x="8285" y="9079"/>
                </a:lnTo>
                <a:lnTo>
                  <a:pt x="8292" y="9090"/>
                </a:lnTo>
                <a:lnTo>
                  <a:pt x="8298" y="9102"/>
                </a:lnTo>
                <a:lnTo>
                  <a:pt x="8311" y="9127"/>
                </a:lnTo>
                <a:lnTo>
                  <a:pt x="8321" y="9150"/>
                </a:lnTo>
                <a:lnTo>
                  <a:pt x="8325" y="9159"/>
                </a:lnTo>
                <a:lnTo>
                  <a:pt x="8329" y="9164"/>
                </a:lnTo>
                <a:lnTo>
                  <a:pt x="8330" y="9166"/>
                </a:lnTo>
                <a:lnTo>
                  <a:pt x="8331" y="9166"/>
                </a:lnTo>
                <a:lnTo>
                  <a:pt x="8331" y="9166"/>
                </a:lnTo>
                <a:lnTo>
                  <a:pt x="8333" y="9164"/>
                </a:lnTo>
                <a:lnTo>
                  <a:pt x="8330" y="9144"/>
                </a:lnTo>
                <a:lnTo>
                  <a:pt x="8322" y="9098"/>
                </a:lnTo>
                <a:lnTo>
                  <a:pt x="8315" y="9024"/>
                </a:lnTo>
                <a:lnTo>
                  <a:pt x="8310" y="8968"/>
                </a:lnTo>
                <a:lnTo>
                  <a:pt x="8310" y="8927"/>
                </a:lnTo>
                <a:lnTo>
                  <a:pt x="8311" y="8902"/>
                </a:lnTo>
                <a:lnTo>
                  <a:pt x="8315" y="8889"/>
                </a:lnTo>
                <a:lnTo>
                  <a:pt x="8322" y="8889"/>
                </a:lnTo>
                <a:lnTo>
                  <a:pt x="8331" y="8902"/>
                </a:lnTo>
                <a:lnTo>
                  <a:pt x="8343" y="8923"/>
                </a:lnTo>
                <a:lnTo>
                  <a:pt x="8355" y="8955"/>
                </a:lnTo>
                <a:lnTo>
                  <a:pt x="8371" y="8996"/>
                </a:lnTo>
                <a:lnTo>
                  <a:pt x="8386" y="9044"/>
                </a:lnTo>
                <a:lnTo>
                  <a:pt x="8404" y="9098"/>
                </a:lnTo>
                <a:lnTo>
                  <a:pt x="8442" y="9221"/>
                </a:lnTo>
                <a:lnTo>
                  <a:pt x="8482" y="9359"/>
                </a:lnTo>
                <a:lnTo>
                  <a:pt x="8522" y="9500"/>
                </a:lnTo>
                <a:lnTo>
                  <a:pt x="8563" y="9637"/>
                </a:lnTo>
                <a:lnTo>
                  <a:pt x="8600" y="9763"/>
                </a:lnTo>
                <a:lnTo>
                  <a:pt x="8633" y="9869"/>
                </a:lnTo>
                <a:lnTo>
                  <a:pt x="8648" y="9912"/>
                </a:lnTo>
                <a:lnTo>
                  <a:pt x="8661" y="9947"/>
                </a:lnTo>
                <a:lnTo>
                  <a:pt x="8673" y="9972"/>
                </a:lnTo>
                <a:lnTo>
                  <a:pt x="8681" y="9988"/>
                </a:lnTo>
                <a:lnTo>
                  <a:pt x="8688" y="9991"/>
                </a:lnTo>
                <a:lnTo>
                  <a:pt x="8692" y="9982"/>
                </a:lnTo>
                <a:lnTo>
                  <a:pt x="8693" y="9961"/>
                </a:lnTo>
                <a:lnTo>
                  <a:pt x="8692" y="9924"/>
                </a:lnTo>
                <a:lnTo>
                  <a:pt x="8694" y="9942"/>
                </a:lnTo>
                <a:lnTo>
                  <a:pt x="8697" y="9956"/>
                </a:lnTo>
                <a:lnTo>
                  <a:pt x="8699" y="9968"/>
                </a:lnTo>
                <a:lnTo>
                  <a:pt x="8702" y="9977"/>
                </a:lnTo>
                <a:lnTo>
                  <a:pt x="8706" y="9985"/>
                </a:lnTo>
                <a:lnTo>
                  <a:pt x="8708" y="9991"/>
                </a:lnTo>
                <a:lnTo>
                  <a:pt x="8712" y="9995"/>
                </a:lnTo>
                <a:lnTo>
                  <a:pt x="8716" y="9998"/>
                </a:lnTo>
                <a:lnTo>
                  <a:pt x="8718" y="9998"/>
                </a:lnTo>
                <a:lnTo>
                  <a:pt x="8722" y="9996"/>
                </a:lnTo>
                <a:lnTo>
                  <a:pt x="8725" y="9994"/>
                </a:lnTo>
                <a:lnTo>
                  <a:pt x="8729" y="9990"/>
                </a:lnTo>
                <a:lnTo>
                  <a:pt x="8735" y="9979"/>
                </a:lnTo>
                <a:lnTo>
                  <a:pt x="8740" y="9962"/>
                </a:lnTo>
                <a:lnTo>
                  <a:pt x="8744" y="9943"/>
                </a:lnTo>
                <a:lnTo>
                  <a:pt x="8746" y="9923"/>
                </a:lnTo>
                <a:lnTo>
                  <a:pt x="8746" y="9900"/>
                </a:lnTo>
                <a:lnTo>
                  <a:pt x="8745" y="9877"/>
                </a:lnTo>
                <a:lnTo>
                  <a:pt x="8744" y="9865"/>
                </a:lnTo>
                <a:lnTo>
                  <a:pt x="8743" y="9854"/>
                </a:lnTo>
                <a:lnTo>
                  <a:pt x="8739" y="9844"/>
                </a:lnTo>
                <a:lnTo>
                  <a:pt x="8736" y="9833"/>
                </a:lnTo>
                <a:lnTo>
                  <a:pt x="8731" y="9823"/>
                </a:lnTo>
                <a:lnTo>
                  <a:pt x="8727" y="9814"/>
                </a:lnTo>
                <a:lnTo>
                  <a:pt x="8721" y="9805"/>
                </a:lnTo>
                <a:lnTo>
                  <a:pt x="8715" y="9798"/>
                </a:lnTo>
                <a:lnTo>
                  <a:pt x="8693" y="9658"/>
                </a:lnTo>
                <a:lnTo>
                  <a:pt x="8670" y="9514"/>
                </a:lnTo>
                <a:lnTo>
                  <a:pt x="8648" y="9370"/>
                </a:lnTo>
                <a:lnTo>
                  <a:pt x="8627" y="9233"/>
                </a:lnTo>
                <a:lnTo>
                  <a:pt x="8608" y="9104"/>
                </a:lnTo>
                <a:lnTo>
                  <a:pt x="8592" y="8987"/>
                </a:lnTo>
                <a:lnTo>
                  <a:pt x="8580" y="8886"/>
                </a:lnTo>
                <a:lnTo>
                  <a:pt x="8571" y="8806"/>
                </a:lnTo>
                <a:lnTo>
                  <a:pt x="8568" y="8776"/>
                </a:lnTo>
                <a:lnTo>
                  <a:pt x="8568" y="8752"/>
                </a:lnTo>
                <a:lnTo>
                  <a:pt x="8568" y="8734"/>
                </a:lnTo>
                <a:lnTo>
                  <a:pt x="8571" y="8724"/>
                </a:lnTo>
                <a:lnTo>
                  <a:pt x="8574" y="8722"/>
                </a:lnTo>
                <a:lnTo>
                  <a:pt x="8581" y="8729"/>
                </a:lnTo>
                <a:lnTo>
                  <a:pt x="8588" y="8744"/>
                </a:lnTo>
                <a:lnTo>
                  <a:pt x="8597" y="8769"/>
                </a:lnTo>
                <a:lnTo>
                  <a:pt x="8610" y="8804"/>
                </a:lnTo>
                <a:lnTo>
                  <a:pt x="8624" y="8850"/>
                </a:lnTo>
                <a:lnTo>
                  <a:pt x="8641" y="8906"/>
                </a:lnTo>
                <a:lnTo>
                  <a:pt x="8659" y="8973"/>
                </a:lnTo>
                <a:lnTo>
                  <a:pt x="8704" y="9145"/>
                </a:lnTo>
                <a:lnTo>
                  <a:pt x="8760" y="9368"/>
                </a:lnTo>
                <a:lnTo>
                  <a:pt x="8751" y="9310"/>
                </a:lnTo>
                <a:lnTo>
                  <a:pt x="8743" y="9248"/>
                </a:lnTo>
                <a:lnTo>
                  <a:pt x="8731" y="9182"/>
                </a:lnTo>
                <a:lnTo>
                  <a:pt x="8721" y="9116"/>
                </a:lnTo>
                <a:lnTo>
                  <a:pt x="8711" y="9051"/>
                </a:lnTo>
                <a:lnTo>
                  <a:pt x="8701" y="8991"/>
                </a:lnTo>
                <a:lnTo>
                  <a:pt x="8692" y="8936"/>
                </a:lnTo>
                <a:lnTo>
                  <a:pt x="8684" y="8892"/>
                </a:lnTo>
                <a:lnTo>
                  <a:pt x="8680" y="8858"/>
                </a:lnTo>
                <a:lnTo>
                  <a:pt x="8678" y="8838"/>
                </a:lnTo>
                <a:lnTo>
                  <a:pt x="8679" y="8834"/>
                </a:lnTo>
                <a:lnTo>
                  <a:pt x="8680" y="8834"/>
                </a:lnTo>
                <a:lnTo>
                  <a:pt x="8681" y="8839"/>
                </a:lnTo>
                <a:lnTo>
                  <a:pt x="8685" y="8848"/>
                </a:lnTo>
                <a:lnTo>
                  <a:pt x="8695" y="8884"/>
                </a:lnTo>
                <a:lnTo>
                  <a:pt x="8709" y="8942"/>
                </a:lnTo>
                <a:lnTo>
                  <a:pt x="8730" y="9026"/>
                </a:lnTo>
                <a:lnTo>
                  <a:pt x="8757" y="9138"/>
                </a:lnTo>
                <a:lnTo>
                  <a:pt x="8763" y="9149"/>
                </a:lnTo>
                <a:lnTo>
                  <a:pt x="8768" y="9156"/>
                </a:lnTo>
                <a:lnTo>
                  <a:pt x="8773" y="9160"/>
                </a:lnTo>
                <a:lnTo>
                  <a:pt x="8777" y="9164"/>
                </a:lnTo>
                <a:lnTo>
                  <a:pt x="8780" y="9164"/>
                </a:lnTo>
                <a:lnTo>
                  <a:pt x="8782" y="9163"/>
                </a:lnTo>
                <a:lnTo>
                  <a:pt x="8783" y="9159"/>
                </a:lnTo>
                <a:lnTo>
                  <a:pt x="8783" y="9152"/>
                </a:lnTo>
                <a:lnTo>
                  <a:pt x="8783" y="9137"/>
                </a:lnTo>
                <a:lnTo>
                  <a:pt x="8781" y="9117"/>
                </a:lnTo>
                <a:lnTo>
                  <a:pt x="8777" y="9091"/>
                </a:lnTo>
                <a:lnTo>
                  <a:pt x="8771" y="9063"/>
                </a:lnTo>
                <a:lnTo>
                  <a:pt x="8758" y="9002"/>
                </a:lnTo>
                <a:lnTo>
                  <a:pt x="8746" y="8942"/>
                </a:lnTo>
                <a:lnTo>
                  <a:pt x="8741" y="8916"/>
                </a:lnTo>
                <a:lnTo>
                  <a:pt x="8739" y="8894"/>
                </a:lnTo>
                <a:lnTo>
                  <a:pt x="8737" y="8876"/>
                </a:lnTo>
                <a:lnTo>
                  <a:pt x="8739" y="8866"/>
                </a:lnTo>
                <a:lnTo>
                  <a:pt x="8740" y="8853"/>
                </a:lnTo>
                <a:lnTo>
                  <a:pt x="8743" y="8844"/>
                </a:lnTo>
                <a:lnTo>
                  <a:pt x="8745" y="8836"/>
                </a:lnTo>
                <a:lnTo>
                  <a:pt x="8748" y="8829"/>
                </a:lnTo>
                <a:lnTo>
                  <a:pt x="8750" y="8824"/>
                </a:lnTo>
                <a:lnTo>
                  <a:pt x="8754" y="8820"/>
                </a:lnTo>
                <a:lnTo>
                  <a:pt x="8757" y="8818"/>
                </a:lnTo>
                <a:lnTo>
                  <a:pt x="8760" y="8818"/>
                </a:lnTo>
                <a:lnTo>
                  <a:pt x="8764" y="8818"/>
                </a:lnTo>
                <a:lnTo>
                  <a:pt x="8767" y="8819"/>
                </a:lnTo>
                <a:lnTo>
                  <a:pt x="8771" y="8822"/>
                </a:lnTo>
                <a:lnTo>
                  <a:pt x="8774" y="8824"/>
                </a:lnTo>
                <a:lnTo>
                  <a:pt x="8782" y="8834"/>
                </a:lnTo>
                <a:lnTo>
                  <a:pt x="8788" y="8846"/>
                </a:lnTo>
                <a:lnTo>
                  <a:pt x="8796" y="8860"/>
                </a:lnTo>
                <a:lnTo>
                  <a:pt x="8801" y="8875"/>
                </a:lnTo>
                <a:lnTo>
                  <a:pt x="8808" y="8892"/>
                </a:lnTo>
                <a:lnTo>
                  <a:pt x="8811" y="8908"/>
                </a:lnTo>
                <a:lnTo>
                  <a:pt x="8815" y="8923"/>
                </a:lnTo>
                <a:lnTo>
                  <a:pt x="8818" y="8939"/>
                </a:lnTo>
                <a:lnTo>
                  <a:pt x="8819" y="8951"/>
                </a:lnTo>
                <a:lnTo>
                  <a:pt x="8818" y="8960"/>
                </a:lnTo>
                <a:lnTo>
                  <a:pt x="8870" y="9186"/>
                </a:lnTo>
                <a:lnTo>
                  <a:pt x="8916" y="9377"/>
                </a:lnTo>
                <a:lnTo>
                  <a:pt x="8937" y="9458"/>
                </a:lnTo>
                <a:lnTo>
                  <a:pt x="8957" y="9532"/>
                </a:lnTo>
                <a:lnTo>
                  <a:pt x="8974" y="9598"/>
                </a:lnTo>
                <a:lnTo>
                  <a:pt x="8991" y="9654"/>
                </a:lnTo>
                <a:lnTo>
                  <a:pt x="9006" y="9704"/>
                </a:lnTo>
                <a:lnTo>
                  <a:pt x="9020" y="9744"/>
                </a:lnTo>
                <a:lnTo>
                  <a:pt x="9033" y="9777"/>
                </a:lnTo>
                <a:lnTo>
                  <a:pt x="9043" y="9803"/>
                </a:lnTo>
                <a:lnTo>
                  <a:pt x="9052" y="9821"/>
                </a:lnTo>
                <a:lnTo>
                  <a:pt x="9060" y="9832"/>
                </a:lnTo>
                <a:lnTo>
                  <a:pt x="9066" y="9835"/>
                </a:lnTo>
                <a:lnTo>
                  <a:pt x="9070" y="9830"/>
                </a:lnTo>
                <a:lnTo>
                  <a:pt x="9074" y="9818"/>
                </a:lnTo>
                <a:lnTo>
                  <a:pt x="9075" y="9800"/>
                </a:lnTo>
                <a:lnTo>
                  <a:pt x="9075" y="9774"/>
                </a:lnTo>
                <a:lnTo>
                  <a:pt x="9074" y="9742"/>
                </a:lnTo>
                <a:lnTo>
                  <a:pt x="9070" y="9702"/>
                </a:lnTo>
                <a:lnTo>
                  <a:pt x="9065" y="9657"/>
                </a:lnTo>
                <a:lnTo>
                  <a:pt x="9058" y="9604"/>
                </a:lnTo>
                <a:lnTo>
                  <a:pt x="9051" y="9546"/>
                </a:lnTo>
                <a:lnTo>
                  <a:pt x="9030" y="9410"/>
                </a:lnTo>
                <a:lnTo>
                  <a:pt x="9004" y="9249"/>
                </a:lnTo>
                <a:lnTo>
                  <a:pt x="8971" y="9065"/>
                </a:lnTo>
                <a:lnTo>
                  <a:pt x="8931" y="8858"/>
                </a:lnTo>
                <a:lnTo>
                  <a:pt x="8944" y="8872"/>
                </a:lnTo>
                <a:lnTo>
                  <a:pt x="8955" y="8888"/>
                </a:lnTo>
                <a:lnTo>
                  <a:pt x="8965" y="8906"/>
                </a:lnTo>
                <a:lnTo>
                  <a:pt x="8977" y="8926"/>
                </a:lnTo>
                <a:lnTo>
                  <a:pt x="8987" y="8949"/>
                </a:lnTo>
                <a:lnTo>
                  <a:pt x="8996" y="8974"/>
                </a:lnTo>
                <a:lnTo>
                  <a:pt x="9005" y="9001"/>
                </a:lnTo>
                <a:lnTo>
                  <a:pt x="9015" y="9029"/>
                </a:lnTo>
                <a:lnTo>
                  <a:pt x="9032" y="9090"/>
                </a:lnTo>
                <a:lnTo>
                  <a:pt x="9048" y="9155"/>
                </a:lnTo>
                <a:lnTo>
                  <a:pt x="9063" y="9225"/>
                </a:lnTo>
                <a:lnTo>
                  <a:pt x="9079" y="9296"/>
                </a:lnTo>
                <a:lnTo>
                  <a:pt x="9095" y="9368"/>
                </a:lnTo>
                <a:lnTo>
                  <a:pt x="9111" y="9440"/>
                </a:lnTo>
                <a:lnTo>
                  <a:pt x="9127" y="9510"/>
                </a:lnTo>
                <a:lnTo>
                  <a:pt x="9145" y="9576"/>
                </a:lnTo>
                <a:lnTo>
                  <a:pt x="9154" y="9608"/>
                </a:lnTo>
                <a:lnTo>
                  <a:pt x="9164" y="9639"/>
                </a:lnTo>
                <a:lnTo>
                  <a:pt x="9173" y="9669"/>
                </a:lnTo>
                <a:lnTo>
                  <a:pt x="9184" y="9696"/>
                </a:lnTo>
                <a:lnTo>
                  <a:pt x="9195" y="9723"/>
                </a:lnTo>
                <a:lnTo>
                  <a:pt x="9206" y="9747"/>
                </a:lnTo>
                <a:lnTo>
                  <a:pt x="9218" y="9769"/>
                </a:lnTo>
                <a:lnTo>
                  <a:pt x="9230" y="9789"/>
                </a:lnTo>
                <a:lnTo>
                  <a:pt x="9223" y="9743"/>
                </a:lnTo>
                <a:lnTo>
                  <a:pt x="9211" y="9678"/>
                </a:lnTo>
                <a:lnTo>
                  <a:pt x="9197" y="9598"/>
                </a:lnTo>
                <a:lnTo>
                  <a:pt x="9182" y="9508"/>
                </a:lnTo>
                <a:lnTo>
                  <a:pt x="9164" y="9410"/>
                </a:lnTo>
                <a:lnTo>
                  <a:pt x="9148" y="9308"/>
                </a:lnTo>
                <a:lnTo>
                  <a:pt x="9130" y="9207"/>
                </a:lnTo>
                <a:lnTo>
                  <a:pt x="9114" y="9109"/>
                </a:lnTo>
                <a:lnTo>
                  <a:pt x="9100" y="9020"/>
                </a:lnTo>
                <a:lnTo>
                  <a:pt x="9090" y="8941"/>
                </a:lnTo>
                <a:lnTo>
                  <a:pt x="9086" y="8908"/>
                </a:lnTo>
                <a:lnTo>
                  <a:pt x="9084" y="8879"/>
                </a:lnTo>
                <a:lnTo>
                  <a:pt x="9083" y="8853"/>
                </a:lnTo>
                <a:lnTo>
                  <a:pt x="9081" y="8834"/>
                </a:lnTo>
                <a:lnTo>
                  <a:pt x="9083" y="8820"/>
                </a:lnTo>
                <a:lnTo>
                  <a:pt x="9085" y="8813"/>
                </a:lnTo>
                <a:lnTo>
                  <a:pt x="9089" y="8811"/>
                </a:lnTo>
                <a:lnTo>
                  <a:pt x="9095" y="8818"/>
                </a:lnTo>
                <a:lnTo>
                  <a:pt x="9103" y="8832"/>
                </a:lnTo>
                <a:lnTo>
                  <a:pt x="9112" y="8853"/>
                </a:lnTo>
                <a:lnTo>
                  <a:pt x="9123" y="8883"/>
                </a:lnTo>
                <a:lnTo>
                  <a:pt x="9137" y="8922"/>
                </a:lnTo>
                <a:lnTo>
                  <a:pt x="9140" y="8913"/>
                </a:lnTo>
                <a:lnTo>
                  <a:pt x="9142" y="8904"/>
                </a:lnTo>
                <a:lnTo>
                  <a:pt x="9144" y="8893"/>
                </a:lnTo>
                <a:lnTo>
                  <a:pt x="9144" y="8883"/>
                </a:lnTo>
                <a:lnTo>
                  <a:pt x="9144" y="8858"/>
                </a:lnTo>
                <a:lnTo>
                  <a:pt x="9140" y="8833"/>
                </a:lnTo>
                <a:lnTo>
                  <a:pt x="9131" y="8780"/>
                </a:lnTo>
                <a:lnTo>
                  <a:pt x="9120" y="8731"/>
                </a:lnTo>
                <a:lnTo>
                  <a:pt x="9114" y="8710"/>
                </a:lnTo>
                <a:lnTo>
                  <a:pt x="9112" y="8692"/>
                </a:lnTo>
                <a:lnTo>
                  <a:pt x="9112" y="8684"/>
                </a:lnTo>
                <a:lnTo>
                  <a:pt x="9112" y="8678"/>
                </a:lnTo>
                <a:lnTo>
                  <a:pt x="9112" y="8671"/>
                </a:lnTo>
                <a:lnTo>
                  <a:pt x="9114" y="8668"/>
                </a:lnTo>
                <a:lnTo>
                  <a:pt x="9117" y="8665"/>
                </a:lnTo>
                <a:lnTo>
                  <a:pt x="9120" y="8665"/>
                </a:lnTo>
                <a:lnTo>
                  <a:pt x="9125" y="8665"/>
                </a:lnTo>
                <a:lnTo>
                  <a:pt x="9130" y="8668"/>
                </a:lnTo>
                <a:lnTo>
                  <a:pt x="9136" y="8671"/>
                </a:lnTo>
                <a:lnTo>
                  <a:pt x="9144" y="8678"/>
                </a:lnTo>
                <a:lnTo>
                  <a:pt x="9154" y="8685"/>
                </a:lnTo>
                <a:lnTo>
                  <a:pt x="9164" y="8696"/>
                </a:lnTo>
                <a:lnTo>
                  <a:pt x="9201" y="8758"/>
                </a:lnTo>
                <a:lnTo>
                  <a:pt x="9238" y="8819"/>
                </a:lnTo>
                <a:lnTo>
                  <a:pt x="9274" y="8878"/>
                </a:lnTo>
                <a:lnTo>
                  <a:pt x="9309" y="8934"/>
                </a:lnTo>
                <a:lnTo>
                  <a:pt x="9345" y="8987"/>
                </a:lnTo>
                <a:lnTo>
                  <a:pt x="9378" y="9037"/>
                </a:lnTo>
                <a:lnTo>
                  <a:pt x="9410" y="9084"/>
                </a:lnTo>
                <a:lnTo>
                  <a:pt x="9442" y="9128"/>
                </a:lnTo>
                <a:lnTo>
                  <a:pt x="9471" y="9169"/>
                </a:lnTo>
                <a:lnTo>
                  <a:pt x="9498" y="9206"/>
                </a:lnTo>
                <a:lnTo>
                  <a:pt x="9524" y="9240"/>
                </a:lnTo>
                <a:lnTo>
                  <a:pt x="9547" y="9271"/>
                </a:lnTo>
                <a:lnTo>
                  <a:pt x="9569" y="9296"/>
                </a:lnTo>
                <a:lnTo>
                  <a:pt x="9588" y="9318"/>
                </a:lnTo>
                <a:lnTo>
                  <a:pt x="9605" y="9336"/>
                </a:lnTo>
                <a:lnTo>
                  <a:pt x="9619" y="9350"/>
                </a:lnTo>
                <a:lnTo>
                  <a:pt x="9630" y="9357"/>
                </a:lnTo>
                <a:lnTo>
                  <a:pt x="9638" y="9361"/>
                </a:lnTo>
                <a:lnTo>
                  <a:pt x="9643" y="9361"/>
                </a:lnTo>
                <a:lnTo>
                  <a:pt x="9644" y="9355"/>
                </a:lnTo>
                <a:lnTo>
                  <a:pt x="9642" y="9343"/>
                </a:lnTo>
                <a:lnTo>
                  <a:pt x="9637" y="9327"/>
                </a:lnTo>
                <a:lnTo>
                  <a:pt x="9626" y="9304"/>
                </a:lnTo>
                <a:lnTo>
                  <a:pt x="9612" y="9276"/>
                </a:lnTo>
                <a:lnTo>
                  <a:pt x="9595" y="9243"/>
                </a:lnTo>
                <a:lnTo>
                  <a:pt x="9573" y="9202"/>
                </a:lnTo>
                <a:lnTo>
                  <a:pt x="9546" y="9156"/>
                </a:lnTo>
                <a:lnTo>
                  <a:pt x="9514" y="9104"/>
                </a:lnTo>
                <a:lnTo>
                  <a:pt x="9477" y="9044"/>
                </a:lnTo>
                <a:lnTo>
                  <a:pt x="9437" y="8979"/>
                </a:lnTo>
                <a:lnTo>
                  <a:pt x="9390" y="8907"/>
                </a:lnTo>
                <a:lnTo>
                  <a:pt x="9339" y="8827"/>
                </a:lnTo>
                <a:lnTo>
                  <a:pt x="9345" y="8827"/>
                </a:lnTo>
                <a:lnTo>
                  <a:pt x="9354" y="8830"/>
                </a:lnTo>
                <a:lnTo>
                  <a:pt x="9365" y="8838"/>
                </a:lnTo>
                <a:lnTo>
                  <a:pt x="9377" y="8850"/>
                </a:lnTo>
                <a:lnTo>
                  <a:pt x="9390" y="8862"/>
                </a:lnTo>
                <a:lnTo>
                  <a:pt x="9404" y="8879"/>
                </a:lnTo>
                <a:lnTo>
                  <a:pt x="9418" y="8898"/>
                </a:lnTo>
                <a:lnTo>
                  <a:pt x="9433" y="8918"/>
                </a:lnTo>
                <a:lnTo>
                  <a:pt x="9465" y="8963"/>
                </a:lnTo>
                <a:lnTo>
                  <a:pt x="9496" y="9011"/>
                </a:lnTo>
                <a:lnTo>
                  <a:pt x="9528" y="9060"/>
                </a:lnTo>
                <a:lnTo>
                  <a:pt x="9558" y="9105"/>
                </a:lnTo>
                <a:lnTo>
                  <a:pt x="9583" y="9146"/>
                </a:lnTo>
                <a:lnTo>
                  <a:pt x="9605" y="9179"/>
                </a:lnTo>
                <a:lnTo>
                  <a:pt x="9619" y="9202"/>
                </a:lnTo>
                <a:lnTo>
                  <a:pt x="9626" y="9211"/>
                </a:lnTo>
                <a:lnTo>
                  <a:pt x="9624" y="9203"/>
                </a:lnTo>
                <a:lnTo>
                  <a:pt x="9612" y="9175"/>
                </a:lnTo>
                <a:lnTo>
                  <a:pt x="9588" y="9127"/>
                </a:lnTo>
                <a:lnTo>
                  <a:pt x="9551" y="9053"/>
                </a:lnTo>
                <a:lnTo>
                  <a:pt x="9531" y="9015"/>
                </a:lnTo>
                <a:lnTo>
                  <a:pt x="9518" y="8988"/>
                </a:lnTo>
                <a:lnTo>
                  <a:pt x="9513" y="8978"/>
                </a:lnTo>
                <a:lnTo>
                  <a:pt x="9510" y="8970"/>
                </a:lnTo>
                <a:lnTo>
                  <a:pt x="9509" y="8965"/>
                </a:lnTo>
                <a:lnTo>
                  <a:pt x="9509" y="8962"/>
                </a:lnTo>
                <a:lnTo>
                  <a:pt x="9510" y="8960"/>
                </a:lnTo>
                <a:lnTo>
                  <a:pt x="9513" y="8960"/>
                </a:lnTo>
                <a:lnTo>
                  <a:pt x="9516" y="8962"/>
                </a:lnTo>
                <a:lnTo>
                  <a:pt x="9521" y="8965"/>
                </a:lnTo>
                <a:lnTo>
                  <a:pt x="9531" y="8976"/>
                </a:lnTo>
                <a:lnTo>
                  <a:pt x="9545" y="8988"/>
                </a:lnTo>
                <a:lnTo>
                  <a:pt x="9579" y="9023"/>
                </a:lnTo>
                <a:lnTo>
                  <a:pt x="9615" y="9057"/>
                </a:lnTo>
                <a:lnTo>
                  <a:pt x="9633" y="9071"/>
                </a:lnTo>
                <a:lnTo>
                  <a:pt x="9649" y="9081"/>
                </a:lnTo>
                <a:lnTo>
                  <a:pt x="9657" y="9085"/>
                </a:lnTo>
                <a:lnTo>
                  <a:pt x="9665" y="9088"/>
                </a:lnTo>
                <a:lnTo>
                  <a:pt x="9670" y="9088"/>
                </a:lnTo>
                <a:lnTo>
                  <a:pt x="9676" y="9088"/>
                </a:lnTo>
                <a:lnTo>
                  <a:pt x="9662" y="9068"/>
                </a:lnTo>
                <a:lnTo>
                  <a:pt x="9651" y="9049"/>
                </a:lnTo>
                <a:lnTo>
                  <a:pt x="9640" y="9030"/>
                </a:lnTo>
                <a:lnTo>
                  <a:pt x="9633" y="9011"/>
                </a:lnTo>
                <a:lnTo>
                  <a:pt x="9629" y="9001"/>
                </a:lnTo>
                <a:lnTo>
                  <a:pt x="9628" y="8991"/>
                </a:lnTo>
                <a:lnTo>
                  <a:pt x="9625" y="8981"/>
                </a:lnTo>
                <a:lnTo>
                  <a:pt x="9624" y="8970"/>
                </a:lnTo>
                <a:lnTo>
                  <a:pt x="9624" y="8960"/>
                </a:lnTo>
                <a:lnTo>
                  <a:pt x="9625" y="8949"/>
                </a:lnTo>
                <a:lnTo>
                  <a:pt x="9626" y="8937"/>
                </a:lnTo>
                <a:lnTo>
                  <a:pt x="9628" y="8925"/>
                </a:lnTo>
                <a:lnTo>
                  <a:pt x="9638" y="8948"/>
                </a:lnTo>
                <a:lnTo>
                  <a:pt x="9651" y="8974"/>
                </a:lnTo>
                <a:lnTo>
                  <a:pt x="9666" y="9004"/>
                </a:lnTo>
                <a:lnTo>
                  <a:pt x="9684" y="9037"/>
                </a:lnTo>
                <a:lnTo>
                  <a:pt x="9724" y="9109"/>
                </a:lnTo>
                <a:lnTo>
                  <a:pt x="9772" y="9189"/>
                </a:lnTo>
                <a:lnTo>
                  <a:pt x="9821" y="9272"/>
                </a:lnTo>
                <a:lnTo>
                  <a:pt x="9873" y="9355"/>
                </a:lnTo>
                <a:lnTo>
                  <a:pt x="9924" y="9434"/>
                </a:lnTo>
                <a:lnTo>
                  <a:pt x="9971" y="9505"/>
                </a:lnTo>
                <a:lnTo>
                  <a:pt x="9994" y="9537"/>
                </a:lnTo>
                <a:lnTo>
                  <a:pt x="10015" y="9566"/>
                </a:lnTo>
                <a:lnTo>
                  <a:pt x="10034" y="9592"/>
                </a:lnTo>
                <a:lnTo>
                  <a:pt x="10052" y="9613"/>
                </a:lnTo>
                <a:lnTo>
                  <a:pt x="10066" y="9630"/>
                </a:lnTo>
                <a:lnTo>
                  <a:pt x="10078" y="9641"/>
                </a:lnTo>
                <a:lnTo>
                  <a:pt x="10087" y="9649"/>
                </a:lnTo>
                <a:lnTo>
                  <a:pt x="10094" y="9650"/>
                </a:lnTo>
                <a:lnTo>
                  <a:pt x="10096" y="9645"/>
                </a:lnTo>
                <a:lnTo>
                  <a:pt x="10095" y="9632"/>
                </a:lnTo>
                <a:lnTo>
                  <a:pt x="10091" y="9615"/>
                </a:lnTo>
                <a:lnTo>
                  <a:pt x="10081" y="9588"/>
                </a:lnTo>
                <a:lnTo>
                  <a:pt x="10068" y="9553"/>
                </a:lnTo>
                <a:lnTo>
                  <a:pt x="10050" y="9510"/>
                </a:lnTo>
                <a:lnTo>
                  <a:pt x="10026" y="9459"/>
                </a:lnTo>
                <a:lnTo>
                  <a:pt x="9998" y="9398"/>
                </a:lnTo>
                <a:lnTo>
                  <a:pt x="10007" y="9397"/>
                </a:lnTo>
                <a:lnTo>
                  <a:pt x="10015" y="9397"/>
                </a:lnTo>
                <a:lnTo>
                  <a:pt x="10024" y="9398"/>
                </a:lnTo>
                <a:lnTo>
                  <a:pt x="10031" y="9401"/>
                </a:lnTo>
                <a:lnTo>
                  <a:pt x="10039" y="9405"/>
                </a:lnTo>
                <a:lnTo>
                  <a:pt x="10047" y="9410"/>
                </a:lnTo>
                <a:lnTo>
                  <a:pt x="10054" y="9416"/>
                </a:lnTo>
                <a:lnTo>
                  <a:pt x="10061" y="9424"/>
                </a:lnTo>
                <a:lnTo>
                  <a:pt x="10075" y="9441"/>
                </a:lnTo>
                <a:lnTo>
                  <a:pt x="10089" y="9462"/>
                </a:lnTo>
                <a:lnTo>
                  <a:pt x="10101" y="9483"/>
                </a:lnTo>
                <a:lnTo>
                  <a:pt x="10113" y="9505"/>
                </a:lnTo>
                <a:lnTo>
                  <a:pt x="10126" y="9527"/>
                </a:lnTo>
                <a:lnTo>
                  <a:pt x="10137" y="9547"/>
                </a:lnTo>
                <a:lnTo>
                  <a:pt x="10150" y="9565"/>
                </a:lnTo>
                <a:lnTo>
                  <a:pt x="10161" y="9579"/>
                </a:lnTo>
                <a:lnTo>
                  <a:pt x="10166" y="9585"/>
                </a:lnTo>
                <a:lnTo>
                  <a:pt x="10173" y="9589"/>
                </a:lnTo>
                <a:lnTo>
                  <a:pt x="10179" y="9593"/>
                </a:lnTo>
                <a:lnTo>
                  <a:pt x="10184" y="9594"/>
                </a:lnTo>
                <a:lnTo>
                  <a:pt x="10191" y="9594"/>
                </a:lnTo>
                <a:lnTo>
                  <a:pt x="10197" y="9593"/>
                </a:lnTo>
                <a:lnTo>
                  <a:pt x="10203" y="9589"/>
                </a:lnTo>
                <a:lnTo>
                  <a:pt x="10210" y="9584"/>
                </a:lnTo>
                <a:lnTo>
                  <a:pt x="10206" y="9573"/>
                </a:lnTo>
                <a:lnTo>
                  <a:pt x="10196" y="9555"/>
                </a:lnTo>
                <a:lnTo>
                  <a:pt x="10183" y="9533"/>
                </a:lnTo>
                <a:lnTo>
                  <a:pt x="10171" y="9510"/>
                </a:lnTo>
                <a:lnTo>
                  <a:pt x="10166" y="9500"/>
                </a:lnTo>
                <a:lnTo>
                  <a:pt x="10161" y="9491"/>
                </a:lnTo>
                <a:lnTo>
                  <a:pt x="10159" y="9483"/>
                </a:lnTo>
                <a:lnTo>
                  <a:pt x="10157" y="9477"/>
                </a:lnTo>
                <a:lnTo>
                  <a:pt x="10157" y="9476"/>
                </a:lnTo>
                <a:lnTo>
                  <a:pt x="10159" y="9473"/>
                </a:lnTo>
                <a:lnTo>
                  <a:pt x="10160" y="9473"/>
                </a:lnTo>
                <a:lnTo>
                  <a:pt x="10163" y="9473"/>
                </a:lnTo>
                <a:lnTo>
                  <a:pt x="10169" y="9475"/>
                </a:lnTo>
                <a:lnTo>
                  <a:pt x="10178" y="9480"/>
                </a:lnTo>
                <a:lnTo>
                  <a:pt x="10193" y="9495"/>
                </a:lnTo>
                <a:lnTo>
                  <a:pt x="10205" y="9506"/>
                </a:lnTo>
                <a:lnTo>
                  <a:pt x="10215" y="9514"/>
                </a:lnTo>
                <a:lnTo>
                  <a:pt x="10222" y="9519"/>
                </a:lnTo>
                <a:lnTo>
                  <a:pt x="10227" y="9519"/>
                </a:lnTo>
                <a:lnTo>
                  <a:pt x="10231" y="9517"/>
                </a:lnTo>
                <a:lnTo>
                  <a:pt x="10233" y="9511"/>
                </a:lnTo>
                <a:lnTo>
                  <a:pt x="10233" y="9504"/>
                </a:lnTo>
                <a:lnTo>
                  <a:pt x="10230" y="9494"/>
                </a:lnTo>
                <a:lnTo>
                  <a:pt x="10226" y="9481"/>
                </a:lnTo>
                <a:lnTo>
                  <a:pt x="10221" y="9466"/>
                </a:lnTo>
                <a:lnTo>
                  <a:pt x="10215" y="9449"/>
                </a:lnTo>
                <a:lnTo>
                  <a:pt x="10199" y="9411"/>
                </a:lnTo>
                <a:lnTo>
                  <a:pt x="10179" y="9366"/>
                </a:lnTo>
                <a:lnTo>
                  <a:pt x="10135" y="9271"/>
                </a:lnTo>
                <a:lnTo>
                  <a:pt x="10086" y="9173"/>
                </a:lnTo>
                <a:lnTo>
                  <a:pt x="10045" y="9088"/>
                </a:lnTo>
                <a:lnTo>
                  <a:pt x="10019" y="9029"/>
                </a:lnTo>
                <a:lnTo>
                  <a:pt x="10030" y="9037"/>
                </a:lnTo>
                <a:lnTo>
                  <a:pt x="10040" y="9046"/>
                </a:lnTo>
                <a:lnTo>
                  <a:pt x="10052" y="9057"/>
                </a:lnTo>
                <a:lnTo>
                  <a:pt x="10063" y="9070"/>
                </a:lnTo>
                <a:lnTo>
                  <a:pt x="10086" y="9098"/>
                </a:lnTo>
                <a:lnTo>
                  <a:pt x="10109" y="9128"/>
                </a:lnTo>
                <a:lnTo>
                  <a:pt x="10151" y="9191"/>
                </a:lnTo>
                <a:lnTo>
                  <a:pt x="10188" y="9248"/>
                </a:lnTo>
                <a:lnTo>
                  <a:pt x="10202" y="9270"/>
                </a:lnTo>
                <a:lnTo>
                  <a:pt x="10213" y="9285"/>
                </a:lnTo>
                <a:lnTo>
                  <a:pt x="10217" y="9290"/>
                </a:lnTo>
                <a:lnTo>
                  <a:pt x="10220" y="9293"/>
                </a:lnTo>
                <a:lnTo>
                  <a:pt x="10222" y="9293"/>
                </a:lnTo>
                <a:lnTo>
                  <a:pt x="10224" y="9291"/>
                </a:lnTo>
                <a:lnTo>
                  <a:pt x="10222" y="9279"/>
                </a:lnTo>
                <a:lnTo>
                  <a:pt x="10216" y="9254"/>
                </a:lnTo>
                <a:lnTo>
                  <a:pt x="10203" y="9216"/>
                </a:lnTo>
                <a:lnTo>
                  <a:pt x="10185" y="9161"/>
                </a:lnTo>
                <a:lnTo>
                  <a:pt x="10198" y="9177"/>
                </a:lnTo>
                <a:lnTo>
                  <a:pt x="10210" y="9194"/>
                </a:lnTo>
                <a:lnTo>
                  <a:pt x="10221" y="9212"/>
                </a:lnTo>
                <a:lnTo>
                  <a:pt x="10233" y="9231"/>
                </a:lnTo>
                <a:lnTo>
                  <a:pt x="10255" y="9270"/>
                </a:lnTo>
                <a:lnTo>
                  <a:pt x="10278" y="9309"/>
                </a:lnTo>
                <a:lnTo>
                  <a:pt x="10290" y="9327"/>
                </a:lnTo>
                <a:lnTo>
                  <a:pt x="10303" y="9345"/>
                </a:lnTo>
                <a:lnTo>
                  <a:pt x="10317" y="9360"/>
                </a:lnTo>
                <a:lnTo>
                  <a:pt x="10331" y="9374"/>
                </a:lnTo>
                <a:lnTo>
                  <a:pt x="10338" y="9380"/>
                </a:lnTo>
                <a:lnTo>
                  <a:pt x="10346" y="9387"/>
                </a:lnTo>
                <a:lnTo>
                  <a:pt x="10354" y="9392"/>
                </a:lnTo>
                <a:lnTo>
                  <a:pt x="10361" y="9396"/>
                </a:lnTo>
                <a:lnTo>
                  <a:pt x="10370" y="9399"/>
                </a:lnTo>
                <a:lnTo>
                  <a:pt x="10379" y="9403"/>
                </a:lnTo>
                <a:lnTo>
                  <a:pt x="10388" y="9405"/>
                </a:lnTo>
                <a:lnTo>
                  <a:pt x="10398" y="9407"/>
                </a:lnTo>
                <a:lnTo>
                  <a:pt x="10380" y="9382"/>
                </a:lnTo>
                <a:lnTo>
                  <a:pt x="10365" y="9360"/>
                </a:lnTo>
                <a:lnTo>
                  <a:pt x="10351" y="9342"/>
                </a:lnTo>
                <a:lnTo>
                  <a:pt x="10341" y="9328"/>
                </a:lnTo>
                <a:lnTo>
                  <a:pt x="10340" y="9323"/>
                </a:lnTo>
                <a:lnTo>
                  <a:pt x="10338" y="9319"/>
                </a:lnTo>
                <a:lnTo>
                  <a:pt x="10341" y="9318"/>
                </a:lnTo>
                <a:lnTo>
                  <a:pt x="10345" y="9318"/>
                </a:lnTo>
                <a:lnTo>
                  <a:pt x="10351" y="9319"/>
                </a:lnTo>
                <a:lnTo>
                  <a:pt x="10361" y="9323"/>
                </a:lnTo>
                <a:lnTo>
                  <a:pt x="10374" y="9329"/>
                </a:lnTo>
                <a:lnTo>
                  <a:pt x="10389" y="9338"/>
                </a:lnTo>
                <a:lnTo>
                  <a:pt x="10390" y="9332"/>
                </a:lnTo>
                <a:lnTo>
                  <a:pt x="10390" y="9324"/>
                </a:lnTo>
                <a:lnTo>
                  <a:pt x="10388" y="9318"/>
                </a:lnTo>
                <a:lnTo>
                  <a:pt x="10384" y="9310"/>
                </a:lnTo>
                <a:lnTo>
                  <a:pt x="10380" y="9303"/>
                </a:lnTo>
                <a:lnTo>
                  <a:pt x="10374" y="9295"/>
                </a:lnTo>
                <a:lnTo>
                  <a:pt x="10368" y="9287"/>
                </a:lnTo>
                <a:lnTo>
                  <a:pt x="10361" y="9280"/>
                </a:lnTo>
                <a:lnTo>
                  <a:pt x="10354" y="9273"/>
                </a:lnTo>
                <a:lnTo>
                  <a:pt x="10346" y="9267"/>
                </a:lnTo>
                <a:lnTo>
                  <a:pt x="10337" y="9262"/>
                </a:lnTo>
                <a:lnTo>
                  <a:pt x="10329" y="9258"/>
                </a:lnTo>
                <a:lnTo>
                  <a:pt x="10322" y="9254"/>
                </a:lnTo>
                <a:lnTo>
                  <a:pt x="10314" y="9252"/>
                </a:lnTo>
                <a:lnTo>
                  <a:pt x="10306" y="9251"/>
                </a:lnTo>
                <a:lnTo>
                  <a:pt x="10300" y="9252"/>
                </a:lnTo>
                <a:lnTo>
                  <a:pt x="10273" y="9220"/>
                </a:lnTo>
                <a:lnTo>
                  <a:pt x="10255" y="9197"/>
                </a:lnTo>
                <a:lnTo>
                  <a:pt x="10244" y="9180"/>
                </a:lnTo>
                <a:lnTo>
                  <a:pt x="10239" y="9170"/>
                </a:lnTo>
                <a:lnTo>
                  <a:pt x="10239" y="9166"/>
                </a:lnTo>
                <a:lnTo>
                  <a:pt x="10240" y="9165"/>
                </a:lnTo>
                <a:lnTo>
                  <a:pt x="10241" y="9164"/>
                </a:lnTo>
                <a:lnTo>
                  <a:pt x="10245" y="9165"/>
                </a:lnTo>
                <a:lnTo>
                  <a:pt x="10255" y="9169"/>
                </a:lnTo>
                <a:lnTo>
                  <a:pt x="10268" y="9177"/>
                </a:lnTo>
                <a:lnTo>
                  <a:pt x="10301" y="9200"/>
                </a:lnTo>
                <a:lnTo>
                  <a:pt x="10340" y="9229"/>
                </a:lnTo>
                <a:lnTo>
                  <a:pt x="10376" y="9258"/>
                </a:lnTo>
                <a:lnTo>
                  <a:pt x="10407" y="9282"/>
                </a:lnTo>
                <a:lnTo>
                  <a:pt x="10390" y="9202"/>
                </a:lnTo>
                <a:lnTo>
                  <a:pt x="10379" y="9146"/>
                </a:lnTo>
                <a:lnTo>
                  <a:pt x="10376" y="9127"/>
                </a:lnTo>
                <a:lnTo>
                  <a:pt x="10375" y="9113"/>
                </a:lnTo>
                <a:lnTo>
                  <a:pt x="10376" y="9107"/>
                </a:lnTo>
                <a:lnTo>
                  <a:pt x="10378" y="9103"/>
                </a:lnTo>
                <a:lnTo>
                  <a:pt x="10380" y="9099"/>
                </a:lnTo>
                <a:lnTo>
                  <a:pt x="10384" y="9098"/>
                </a:lnTo>
                <a:lnTo>
                  <a:pt x="10388" y="9096"/>
                </a:lnTo>
                <a:lnTo>
                  <a:pt x="10393" y="9095"/>
                </a:lnTo>
                <a:lnTo>
                  <a:pt x="10399" y="9096"/>
                </a:lnTo>
                <a:lnTo>
                  <a:pt x="10407" y="9098"/>
                </a:lnTo>
                <a:lnTo>
                  <a:pt x="10424" y="9103"/>
                </a:lnTo>
                <a:lnTo>
                  <a:pt x="10445" y="9112"/>
                </a:lnTo>
                <a:lnTo>
                  <a:pt x="10504" y="9135"/>
                </a:lnTo>
                <a:lnTo>
                  <a:pt x="10585" y="9166"/>
                </a:lnTo>
                <a:lnTo>
                  <a:pt x="10545" y="9117"/>
                </a:lnTo>
                <a:lnTo>
                  <a:pt x="10501" y="9065"/>
                </a:lnTo>
                <a:lnTo>
                  <a:pt x="10461" y="9018"/>
                </a:lnTo>
                <a:lnTo>
                  <a:pt x="10433" y="8979"/>
                </a:lnTo>
                <a:lnTo>
                  <a:pt x="10427" y="8973"/>
                </a:lnTo>
                <a:lnTo>
                  <a:pt x="10425" y="8968"/>
                </a:lnTo>
                <a:lnTo>
                  <a:pt x="10424" y="8963"/>
                </a:lnTo>
                <a:lnTo>
                  <a:pt x="10424" y="8960"/>
                </a:lnTo>
                <a:lnTo>
                  <a:pt x="10425" y="8959"/>
                </a:lnTo>
                <a:lnTo>
                  <a:pt x="10427" y="8959"/>
                </a:lnTo>
                <a:lnTo>
                  <a:pt x="10433" y="8960"/>
                </a:lnTo>
                <a:lnTo>
                  <a:pt x="10440" y="8964"/>
                </a:lnTo>
                <a:lnTo>
                  <a:pt x="10461" y="8978"/>
                </a:lnTo>
                <a:lnTo>
                  <a:pt x="10491" y="9000"/>
                </a:lnTo>
                <a:lnTo>
                  <a:pt x="10532" y="9032"/>
                </a:lnTo>
                <a:lnTo>
                  <a:pt x="10583" y="9074"/>
                </a:lnTo>
                <a:lnTo>
                  <a:pt x="10589" y="9067"/>
                </a:lnTo>
                <a:lnTo>
                  <a:pt x="10592" y="9060"/>
                </a:lnTo>
                <a:lnTo>
                  <a:pt x="10592" y="9051"/>
                </a:lnTo>
                <a:lnTo>
                  <a:pt x="10589" y="9040"/>
                </a:lnTo>
                <a:lnTo>
                  <a:pt x="10584" y="9029"/>
                </a:lnTo>
                <a:lnTo>
                  <a:pt x="10578" y="9018"/>
                </a:lnTo>
                <a:lnTo>
                  <a:pt x="10569" y="9004"/>
                </a:lnTo>
                <a:lnTo>
                  <a:pt x="10557" y="8990"/>
                </a:lnTo>
                <a:lnTo>
                  <a:pt x="10533" y="8962"/>
                </a:lnTo>
                <a:lnTo>
                  <a:pt x="10505" y="8931"/>
                </a:lnTo>
                <a:lnTo>
                  <a:pt x="10476" y="8903"/>
                </a:lnTo>
                <a:lnTo>
                  <a:pt x="10448" y="8875"/>
                </a:lnTo>
                <a:lnTo>
                  <a:pt x="10424" y="8850"/>
                </a:lnTo>
                <a:lnTo>
                  <a:pt x="10403" y="8829"/>
                </a:lnTo>
                <a:lnTo>
                  <a:pt x="10397" y="8820"/>
                </a:lnTo>
                <a:lnTo>
                  <a:pt x="10392" y="8813"/>
                </a:lnTo>
                <a:lnTo>
                  <a:pt x="10389" y="8808"/>
                </a:lnTo>
                <a:lnTo>
                  <a:pt x="10389" y="8804"/>
                </a:lnTo>
                <a:lnTo>
                  <a:pt x="10392" y="8801"/>
                </a:lnTo>
                <a:lnTo>
                  <a:pt x="10398" y="8801"/>
                </a:lnTo>
                <a:lnTo>
                  <a:pt x="10408" y="8804"/>
                </a:lnTo>
                <a:lnTo>
                  <a:pt x="10422" y="8808"/>
                </a:lnTo>
                <a:lnTo>
                  <a:pt x="10439" y="8814"/>
                </a:lnTo>
                <a:lnTo>
                  <a:pt x="10461" y="8824"/>
                </a:lnTo>
                <a:lnTo>
                  <a:pt x="10487" y="8837"/>
                </a:lnTo>
                <a:lnTo>
                  <a:pt x="10519" y="8851"/>
                </a:lnTo>
                <a:lnTo>
                  <a:pt x="10541" y="8864"/>
                </a:lnTo>
                <a:lnTo>
                  <a:pt x="10553" y="8870"/>
                </a:lnTo>
                <a:lnTo>
                  <a:pt x="10557" y="8871"/>
                </a:lnTo>
                <a:lnTo>
                  <a:pt x="10559" y="8870"/>
                </a:lnTo>
                <a:lnTo>
                  <a:pt x="10559" y="8869"/>
                </a:lnTo>
                <a:lnTo>
                  <a:pt x="10559" y="8866"/>
                </a:lnTo>
                <a:lnTo>
                  <a:pt x="10541" y="8844"/>
                </a:lnTo>
                <a:lnTo>
                  <a:pt x="10509" y="8811"/>
                </a:lnTo>
                <a:lnTo>
                  <a:pt x="10491" y="8791"/>
                </a:lnTo>
                <a:lnTo>
                  <a:pt x="10473" y="8771"/>
                </a:lnTo>
                <a:lnTo>
                  <a:pt x="10455" y="8749"/>
                </a:lnTo>
                <a:lnTo>
                  <a:pt x="10439" y="8727"/>
                </a:lnTo>
                <a:lnTo>
                  <a:pt x="10431" y="8717"/>
                </a:lnTo>
                <a:lnTo>
                  <a:pt x="10425" y="8706"/>
                </a:lnTo>
                <a:lnTo>
                  <a:pt x="10420" y="8697"/>
                </a:lnTo>
                <a:lnTo>
                  <a:pt x="10416" y="8687"/>
                </a:lnTo>
                <a:lnTo>
                  <a:pt x="10412" y="8678"/>
                </a:lnTo>
                <a:lnTo>
                  <a:pt x="10411" y="8669"/>
                </a:lnTo>
                <a:lnTo>
                  <a:pt x="10410" y="8661"/>
                </a:lnTo>
                <a:lnTo>
                  <a:pt x="10411" y="8655"/>
                </a:lnTo>
                <a:lnTo>
                  <a:pt x="10435" y="8654"/>
                </a:lnTo>
                <a:lnTo>
                  <a:pt x="10457" y="8655"/>
                </a:lnTo>
                <a:lnTo>
                  <a:pt x="10478" y="8656"/>
                </a:lnTo>
                <a:lnTo>
                  <a:pt x="10499" y="8660"/>
                </a:lnTo>
                <a:lnTo>
                  <a:pt x="10519" y="8665"/>
                </a:lnTo>
                <a:lnTo>
                  <a:pt x="10537" y="8670"/>
                </a:lnTo>
                <a:lnTo>
                  <a:pt x="10556" y="8678"/>
                </a:lnTo>
                <a:lnTo>
                  <a:pt x="10573" y="8687"/>
                </a:lnTo>
                <a:lnTo>
                  <a:pt x="10590" y="8697"/>
                </a:lnTo>
                <a:lnTo>
                  <a:pt x="10608" y="8710"/>
                </a:lnTo>
                <a:lnTo>
                  <a:pt x="10625" y="8722"/>
                </a:lnTo>
                <a:lnTo>
                  <a:pt x="10641" y="8738"/>
                </a:lnTo>
                <a:lnTo>
                  <a:pt x="10659" y="8753"/>
                </a:lnTo>
                <a:lnTo>
                  <a:pt x="10677" y="8771"/>
                </a:lnTo>
                <a:lnTo>
                  <a:pt x="10695" y="8791"/>
                </a:lnTo>
                <a:lnTo>
                  <a:pt x="10714" y="8811"/>
                </a:lnTo>
                <a:lnTo>
                  <a:pt x="10755" y="8837"/>
                </a:lnTo>
                <a:lnTo>
                  <a:pt x="10788" y="8855"/>
                </a:lnTo>
                <a:lnTo>
                  <a:pt x="10812" y="8867"/>
                </a:lnTo>
                <a:lnTo>
                  <a:pt x="10831" y="8874"/>
                </a:lnTo>
                <a:lnTo>
                  <a:pt x="10843" y="8876"/>
                </a:lnTo>
                <a:lnTo>
                  <a:pt x="10848" y="8872"/>
                </a:lnTo>
                <a:lnTo>
                  <a:pt x="10848" y="8864"/>
                </a:lnTo>
                <a:lnTo>
                  <a:pt x="10843" y="8852"/>
                </a:lnTo>
                <a:lnTo>
                  <a:pt x="10832" y="8836"/>
                </a:lnTo>
                <a:lnTo>
                  <a:pt x="10817" y="8815"/>
                </a:lnTo>
                <a:lnTo>
                  <a:pt x="10798" y="8791"/>
                </a:lnTo>
                <a:lnTo>
                  <a:pt x="10775" y="8766"/>
                </a:lnTo>
                <a:lnTo>
                  <a:pt x="10720" y="8704"/>
                </a:lnTo>
                <a:lnTo>
                  <a:pt x="10657" y="8637"/>
                </a:lnTo>
                <a:lnTo>
                  <a:pt x="10587" y="8563"/>
                </a:lnTo>
                <a:lnTo>
                  <a:pt x="10513" y="8488"/>
                </a:lnTo>
                <a:lnTo>
                  <a:pt x="10440" y="8413"/>
                </a:lnTo>
                <a:lnTo>
                  <a:pt x="10373" y="8340"/>
                </a:lnTo>
                <a:lnTo>
                  <a:pt x="10312" y="8275"/>
                </a:lnTo>
                <a:lnTo>
                  <a:pt x="10261" y="8217"/>
                </a:lnTo>
                <a:lnTo>
                  <a:pt x="10240" y="8193"/>
                </a:lnTo>
                <a:lnTo>
                  <a:pt x="10224" y="8171"/>
                </a:lnTo>
                <a:lnTo>
                  <a:pt x="10212" y="8153"/>
                </a:lnTo>
                <a:lnTo>
                  <a:pt x="10205" y="8139"/>
                </a:lnTo>
                <a:lnTo>
                  <a:pt x="10233" y="8155"/>
                </a:lnTo>
                <a:lnTo>
                  <a:pt x="10259" y="8172"/>
                </a:lnTo>
                <a:lnTo>
                  <a:pt x="10287" y="8189"/>
                </a:lnTo>
                <a:lnTo>
                  <a:pt x="10314" y="8208"/>
                </a:lnTo>
                <a:lnTo>
                  <a:pt x="10366" y="8246"/>
                </a:lnTo>
                <a:lnTo>
                  <a:pt x="10418" y="8287"/>
                </a:lnTo>
                <a:lnTo>
                  <a:pt x="10468" y="8329"/>
                </a:lnTo>
                <a:lnTo>
                  <a:pt x="10517" y="8372"/>
                </a:lnTo>
                <a:lnTo>
                  <a:pt x="10564" y="8414"/>
                </a:lnTo>
                <a:lnTo>
                  <a:pt x="10610" y="8457"/>
                </a:lnTo>
                <a:lnTo>
                  <a:pt x="10695" y="8538"/>
                </a:lnTo>
                <a:lnTo>
                  <a:pt x="10774" y="8610"/>
                </a:lnTo>
                <a:lnTo>
                  <a:pt x="10809" y="8641"/>
                </a:lnTo>
                <a:lnTo>
                  <a:pt x="10843" y="8668"/>
                </a:lnTo>
                <a:lnTo>
                  <a:pt x="10858" y="8679"/>
                </a:lnTo>
                <a:lnTo>
                  <a:pt x="10873" y="8689"/>
                </a:lnTo>
                <a:lnTo>
                  <a:pt x="10888" y="8698"/>
                </a:lnTo>
                <a:lnTo>
                  <a:pt x="10902" y="8706"/>
                </a:lnTo>
                <a:lnTo>
                  <a:pt x="10901" y="8687"/>
                </a:lnTo>
                <a:lnTo>
                  <a:pt x="10897" y="8669"/>
                </a:lnTo>
                <a:lnTo>
                  <a:pt x="10890" y="8650"/>
                </a:lnTo>
                <a:lnTo>
                  <a:pt x="10880" y="8631"/>
                </a:lnTo>
                <a:lnTo>
                  <a:pt x="10867" y="8610"/>
                </a:lnTo>
                <a:lnTo>
                  <a:pt x="10851" y="8591"/>
                </a:lnTo>
                <a:lnTo>
                  <a:pt x="10834" y="8572"/>
                </a:lnTo>
                <a:lnTo>
                  <a:pt x="10815" y="8552"/>
                </a:lnTo>
                <a:lnTo>
                  <a:pt x="10794" y="8533"/>
                </a:lnTo>
                <a:lnTo>
                  <a:pt x="10771" y="8513"/>
                </a:lnTo>
                <a:lnTo>
                  <a:pt x="10748" y="8494"/>
                </a:lnTo>
                <a:lnTo>
                  <a:pt x="10725" y="8475"/>
                </a:lnTo>
                <a:lnTo>
                  <a:pt x="10677" y="8437"/>
                </a:lnTo>
                <a:lnTo>
                  <a:pt x="10629" y="8400"/>
                </a:lnTo>
                <a:lnTo>
                  <a:pt x="10584" y="8365"/>
                </a:lnTo>
                <a:lnTo>
                  <a:pt x="10543" y="8330"/>
                </a:lnTo>
                <a:lnTo>
                  <a:pt x="10525" y="8314"/>
                </a:lnTo>
                <a:lnTo>
                  <a:pt x="10510" y="8297"/>
                </a:lnTo>
                <a:lnTo>
                  <a:pt x="10497" y="8282"/>
                </a:lnTo>
                <a:lnTo>
                  <a:pt x="10486" y="8268"/>
                </a:lnTo>
                <a:lnTo>
                  <a:pt x="10478" y="8253"/>
                </a:lnTo>
                <a:lnTo>
                  <a:pt x="10475" y="8240"/>
                </a:lnTo>
                <a:lnTo>
                  <a:pt x="10473" y="8227"/>
                </a:lnTo>
                <a:lnTo>
                  <a:pt x="10475" y="8214"/>
                </a:lnTo>
                <a:lnTo>
                  <a:pt x="10481" y="8203"/>
                </a:lnTo>
                <a:lnTo>
                  <a:pt x="10492" y="8193"/>
                </a:lnTo>
                <a:lnTo>
                  <a:pt x="10508" y="8183"/>
                </a:lnTo>
                <a:lnTo>
                  <a:pt x="10527" y="8174"/>
                </a:lnTo>
                <a:lnTo>
                  <a:pt x="10539" y="8181"/>
                </a:lnTo>
                <a:lnTo>
                  <a:pt x="10550" y="8188"/>
                </a:lnTo>
                <a:lnTo>
                  <a:pt x="10556" y="8190"/>
                </a:lnTo>
                <a:lnTo>
                  <a:pt x="10560" y="8191"/>
                </a:lnTo>
                <a:lnTo>
                  <a:pt x="10561" y="8191"/>
                </a:lnTo>
                <a:lnTo>
                  <a:pt x="10562" y="8190"/>
                </a:lnTo>
                <a:lnTo>
                  <a:pt x="10562" y="8189"/>
                </a:lnTo>
                <a:lnTo>
                  <a:pt x="10562" y="8188"/>
                </a:lnTo>
                <a:lnTo>
                  <a:pt x="10561" y="8183"/>
                </a:lnTo>
                <a:lnTo>
                  <a:pt x="10557" y="8177"/>
                </a:lnTo>
                <a:lnTo>
                  <a:pt x="10547" y="8165"/>
                </a:lnTo>
                <a:lnTo>
                  <a:pt x="10533" y="8149"/>
                </a:lnTo>
                <a:lnTo>
                  <a:pt x="10517" y="8135"/>
                </a:lnTo>
                <a:lnTo>
                  <a:pt x="10501" y="8123"/>
                </a:lnTo>
                <a:lnTo>
                  <a:pt x="10514" y="8118"/>
                </a:lnTo>
                <a:lnTo>
                  <a:pt x="10522" y="8114"/>
                </a:lnTo>
                <a:lnTo>
                  <a:pt x="10523" y="8113"/>
                </a:lnTo>
                <a:lnTo>
                  <a:pt x="10523" y="8111"/>
                </a:lnTo>
                <a:lnTo>
                  <a:pt x="10523" y="8111"/>
                </a:lnTo>
                <a:lnTo>
                  <a:pt x="10522" y="8110"/>
                </a:lnTo>
                <a:lnTo>
                  <a:pt x="10510" y="8107"/>
                </a:lnTo>
                <a:lnTo>
                  <a:pt x="10490" y="8100"/>
                </a:lnTo>
                <a:lnTo>
                  <a:pt x="10490" y="8097"/>
                </a:lnTo>
                <a:lnTo>
                  <a:pt x="10490" y="8095"/>
                </a:lnTo>
                <a:lnTo>
                  <a:pt x="10491" y="8092"/>
                </a:lnTo>
                <a:lnTo>
                  <a:pt x="10494" y="8090"/>
                </a:lnTo>
                <a:lnTo>
                  <a:pt x="10499" y="8087"/>
                </a:lnTo>
                <a:lnTo>
                  <a:pt x="10506" y="8085"/>
                </a:lnTo>
                <a:lnTo>
                  <a:pt x="10525" y="8085"/>
                </a:lnTo>
                <a:lnTo>
                  <a:pt x="10543" y="8085"/>
                </a:lnTo>
                <a:lnTo>
                  <a:pt x="10550" y="8085"/>
                </a:lnTo>
                <a:lnTo>
                  <a:pt x="10555" y="8085"/>
                </a:lnTo>
                <a:lnTo>
                  <a:pt x="10556" y="8085"/>
                </a:lnTo>
                <a:lnTo>
                  <a:pt x="10556" y="8085"/>
                </a:lnTo>
                <a:lnTo>
                  <a:pt x="10556" y="8083"/>
                </a:lnTo>
                <a:lnTo>
                  <a:pt x="10555" y="8083"/>
                </a:lnTo>
                <a:lnTo>
                  <a:pt x="10538" y="8076"/>
                </a:lnTo>
                <a:lnTo>
                  <a:pt x="10499" y="8062"/>
                </a:lnTo>
                <a:lnTo>
                  <a:pt x="10494" y="8065"/>
                </a:lnTo>
                <a:lnTo>
                  <a:pt x="10490" y="8067"/>
                </a:lnTo>
                <a:lnTo>
                  <a:pt x="10485" y="8068"/>
                </a:lnTo>
                <a:lnTo>
                  <a:pt x="10481" y="8069"/>
                </a:lnTo>
                <a:lnTo>
                  <a:pt x="10472" y="8068"/>
                </a:lnTo>
                <a:lnTo>
                  <a:pt x="10466" y="8064"/>
                </a:lnTo>
                <a:lnTo>
                  <a:pt x="10464" y="8063"/>
                </a:lnTo>
                <a:lnTo>
                  <a:pt x="10463" y="8060"/>
                </a:lnTo>
                <a:lnTo>
                  <a:pt x="10462" y="8059"/>
                </a:lnTo>
                <a:lnTo>
                  <a:pt x="10463" y="8058"/>
                </a:lnTo>
                <a:lnTo>
                  <a:pt x="10464" y="8055"/>
                </a:lnTo>
                <a:lnTo>
                  <a:pt x="10468" y="8055"/>
                </a:lnTo>
                <a:lnTo>
                  <a:pt x="10472" y="8054"/>
                </a:lnTo>
                <a:lnTo>
                  <a:pt x="10478" y="8054"/>
                </a:lnTo>
                <a:lnTo>
                  <a:pt x="10477" y="8046"/>
                </a:lnTo>
                <a:lnTo>
                  <a:pt x="10475" y="8040"/>
                </a:lnTo>
                <a:lnTo>
                  <a:pt x="10472" y="8034"/>
                </a:lnTo>
                <a:lnTo>
                  <a:pt x="10468" y="8028"/>
                </a:lnTo>
                <a:lnTo>
                  <a:pt x="10463" y="8023"/>
                </a:lnTo>
                <a:lnTo>
                  <a:pt x="10458" y="8018"/>
                </a:lnTo>
                <a:lnTo>
                  <a:pt x="10453" y="8014"/>
                </a:lnTo>
                <a:lnTo>
                  <a:pt x="10447" y="8009"/>
                </a:lnTo>
                <a:lnTo>
                  <a:pt x="10434" y="8003"/>
                </a:lnTo>
                <a:lnTo>
                  <a:pt x="10418" y="7997"/>
                </a:lnTo>
                <a:lnTo>
                  <a:pt x="10403" y="7992"/>
                </a:lnTo>
                <a:lnTo>
                  <a:pt x="10388" y="7985"/>
                </a:lnTo>
                <a:lnTo>
                  <a:pt x="10373" y="7980"/>
                </a:lnTo>
                <a:lnTo>
                  <a:pt x="10359" y="7974"/>
                </a:lnTo>
                <a:lnTo>
                  <a:pt x="10345" y="7966"/>
                </a:lnTo>
                <a:lnTo>
                  <a:pt x="10333" y="7957"/>
                </a:lnTo>
                <a:lnTo>
                  <a:pt x="10328" y="7952"/>
                </a:lnTo>
                <a:lnTo>
                  <a:pt x="10323" y="7947"/>
                </a:lnTo>
                <a:lnTo>
                  <a:pt x="10319" y="7941"/>
                </a:lnTo>
                <a:lnTo>
                  <a:pt x="10315" y="7934"/>
                </a:lnTo>
                <a:lnTo>
                  <a:pt x="10314" y="7927"/>
                </a:lnTo>
                <a:lnTo>
                  <a:pt x="10312" y="7919"/>
                </a:lnTo>
                <a:lnTo>
                  <a:pt x="10312" y="7910"/>
                </a:lnTo>
                <a:lnTo>
                  <a:pt x="10312" y="7901"/>
                </a:lnTo>
                <a:lnTo>
                  <a:pt x="10324" y="7900"/>
                </a:lnTo>
                <a:lnTo>
                  <a:pt x="10338" y="7901"/>
                </a:lnTo>
                <a:lnTo>
                  <a:pt x="10356" y="7905"/>
                </a:lnTo>
                <a:lnTo>
                  <a:pt x="10375" y="7911"/>
                </a:lnTo>
                <a:lnTo>
                  <a:pt x="10397" y="7920"/>
                </a:lnTo>
                <a:lnTo>
                  <a:pt x="10420" y="7930"/>
                </a:lnTo>
                <a:lnTo>
                  <a:pt x="10444" y="7942"/>
                </a:lnTo>
                <a:lnTo>
                  <a:pt x="10471" y="7955"/>
                </a:lnTo>
                <a:lnTo>
                  <a:pt x="10524" y="7985"/>
                </a:lnTo>
                <a:lnTo>
                  <a:pt x="10579" y="8017"/>
                </a:lnTo>
                <a:lnTo>
                  <a:pt x="10635" y="8050"/>
                </a:lnTo>
                <a:lnTo>
                  <a:pt x="10687" y="8083"/>
                </a:lnTo>
                <a:lnTo>
                  <a:pt x="10737" y="8114"/>
                </a:lnTo>
                <a:lnTo>
                  <a:pt x="10780" y="8139"/>
                </a:lnTo>
                <a:lnTo>
                  <a:pt x="10815" y="8158"/>
                </a:lnTo>
                <a:lnTo>
                  <a:pt x="10839" y="8171"/>
                </a:lnTo>
                <a:lnTo>
                  <a:pt x="10848" y="8174"/>
                </a:lnTo>
                <a:lnTo>
                  <a:pt x="10853" y="8172"/>
                </a:lnTo>
                <a:lnTo>
                  <a:pt x="10854" y="8170"/>
                </a:lnTo>
                <a:lnTo>
                  <a:pt x="10851" y="8163"/>
                </a:lnTo>
                <a:lnTo>
                  <a:pt x="10845" y="8153"/>
                </a:lnTo>
                <a:lnTo>
                  <a:pt x="10834" y="8141"/>
                </a:lnTo>
                <a:lnTo>
                  <a:pt x="10820" y="8124"/>
                </a:lnTo>
                <a:lnTo>
                  <a:pt x="10799" y="8102"/>
                </a:lnTo>
                <a:lnTo>
                  <a:pt x="10836" y="8121"/>
                </a:lnTo>
                <a:lnTo>
                  <a:pt x="10876" y="8141"/>
                </a:lnTo>
                <a:lnTo>
                  <a:pt x="10895" y="8151"/>
                </a:lnTo>
                <a:lnTo>
                  <a:pt x="10915" y="8160"/>
                </a:lnTo>
                <a:lnTo>
                  <a:pt x="10936" y="8169"/>
                </a:lnTo>
                <a:lnTo>
                  <a:pt x="10955" y="8176"/>
                </a:lnTo>
                <a:lnTo>
                  <a:pt x="10985" y="8190"/>
                </a:lnTo>
                <a:lnTo>
                  <a:pt x="11016" y="8205"/>
                </a:lnTo>
                <a:lnTo>
                  <a:pt x="11046" y="8223"/>
                </a:lnTo>
                <a:lnTo>
                  <a:pt x="11076" y="8242"/>
                </a:lnTo>
                <a:lnTo>
                  <a:pt x="11105" y="8264"/>
                </a:lnTo>
                <a:lnTo>
                  <a:pt x="11134" y="8287"/>
                </a:lnTo>
                <a:lnTo>
                  <a:pt x="11163" y="8311"/>
                </a:lnTo>
                <a:lnTo>
                  <a:pt x="11192" y="8337"/>
                </a:lnTo>
                <a:lnTo>
                  <a:pt x="11220" y="8363"/>
                </a:lnTo>
                <a:lnTo>
                  <a:pt x="11248" y="8390"/>
                </a:lnTo>
                <a:lnTo>
                  <a:pt x="11274" y="8419"/>
                </a:lnTo>
                <a:lnTo>
                  <a:pt x="11300" y="8447"/>
                </a:lnTo>
                <a:lnTo>
                  <a:pt x="11352" y="8507"/>
                </a:lnTo>
                <a:lnTo>
                  <a:pt x="11402" y="8567"/>
                </a:lnTo>
                <a:lnTo>
                  <a:pt x="11492" y="8682"/>
                </a:lnTo>
                <a:lnTo>
                  <a:pt x="11572" y="8781"/>
                </a:lnTo>
                <a:lnTo>
                  <a:pt x="11590" y="8802"/>
                </a:lnTo>
                <a:lnTo>
                  <a:pt x="11608" y="8822"/>
                </a:lnTo>
                <a:lnTo>
                  <a:pt x="11624" y="8839"/>
                </a:lnTo>
                <a:lnTo>
                  <a:pt x="11641" y="8856"/>
                </a:lnTo>
                <a:lnTo>
                  <a:pt x="11655" y="8869"/>
                </a:lnTo>
                <a:lnTo>
                  <a:pt x="11669" y="8880"/>
                </a:lnTo>
                <a:lnTo>
                  <a:pt x="11683" y="8889"/>
                </a:lnTo>
                <a:lnTo>
                  <a:pt x="11696" y="8894"/>
                </a:lnTo>
                <a:lnTo>
                  <a:pt x="11689" y="8869"/>
                </a:lnTo>
                <a:lnTo>
                  <a:pt x="11684" y="8847"/>
                </a:lnTo>
                <a:lnTo>
                  <a:pt x="11682" y="8832"/>
                </a:lnTo>
                <a:lnTo>
                  <a:pt x="11681" y="8819"/>
                </a:lnTo>
                <a:lnTo>
                  <a:pt x="11681" y="8810"/>
                </a:lnTo>
                <a:lnTo>
                  <a:pt x="11683" y="8805"/>
                </a:lnTo>
                <a:lnTo>
                  <a:pt x="11684" y="8804"/>
                </a:lnTo>
                <a:lnTo>
                  <a:pt x="11687" y="8802"/>
                </a:lnTo>
                <a:lnTo>
                  <a:pt x="11688" y="8802"/>
                </a:lnTo>
                <a:lnTo>
                  <a:pt x="11691" y="8802"/>
                </a:lnTo>
                <a:lnTo>
                  <a:pt x="11705" y="8806"/>
                </a:lnTo>
                <a:lnTo>
                  <a:pt x="11725" y="8813"/>
                </a:lnTo>
                <a:lnTo>
                  <a:pt x="11737" y="8816"/>
                </a:lnTo>
                <a:lnTo>
                  <a:pt x="11749" y="8819"/>
                </a:lnTo>
                <a:lnTo>
                  <a:pt x="11763" y="8820"/>
                </a:lnTo>
                <a:lnTo>
                  <a:pt x="11780" y="8819"/>
                </a:lnTo>
                <a:lnTo>
                  <a:pt x="11752" y="8795"/>
                </a:lnTo>
                <a:lnTo>
                  <a:pt x="11730" y="8774"/>
                </a:lnTo>
                <a:lnTo>
                  <a:pt x="11723" y="8764"/>
                </a:lnTo>
                <a:lnTo>
                  <a:pt x="11717" y="8757"/>
                </a:lnTo>
                <a:lnTo>
                  <a:pt x="11714" y="8749"/>
                </a:lnTo>
                <a:lnTo>
                  <a:pt x="11712" y="8743"/>
                </a:lnTo>
                <a:lnTo>
                  <a:pt x="11712" y="8739"/>
                </a:lnTo>
                <a:lnTo>
                  <a:pt x="11714" y="8736"/>
                </a:lnTo>
                <a:lnTo>
                  <a:pt x="11715" y="8734"/>
                </a:lnTo>
                <a:lnTo>
                  <a:pt x="11717" y="8731"/>
                </a:lnTo>
                <a:lnTo>
                  <a:pt x="11724" y="8727"/>
                </a:lnTo>
                <a:lnTo>
                  <a:pt x="11733" y="8724"/>
                </a:lnTo>
                <a:lnTo>
                  <a:pt x="11744" y="8721"/>
                </a:lnTo>
                <a:lnTo>
                  <a:pt x="11759" y="8720"/>
                </a:lnTo>
                <a:lnTo>
                  <a:pt x="11777" y="8718"/>
                </a:lnTo>
                <a:lnTo>
                  <a:pt x="11799" y="8718"/>
                </a:lnTo>
                <a:lnTo>
                  <a:pt x="11745" y="8666"/>
                </a:lnTo>
                <a:lnTo>
                  <a:pt x="11706" y="8623"/>
                </a:lnTo>
                <a:lnTo>
                  <a:pt x="11682" y="8589"/>
                </a:lnTo>
                <a:lnTo>
                  <a:pt x="11669" y="8562"/>
                </a:lnTo>
                <a:lnTo>
                  <a:pt x="11668" y="8543"/>
                </a:lnTo>
                <a:lnTo>
                  <a:pt x="11678" y="8531"/>
                </a:lnTo>
                <a:lnTo>
                  <a:pt x="11698" y="8525"/>
                </a:lnTo>
                <a:lnTo>
                  <a:pt x="11728" y="8525"/>
                </a:lnTo>
                <a:lnTo>
                  <a:pt x="11765" y="8531"/>
                </a:lnTo>
                <a:lnTo>
                  <a:pt x="11808" y="8541"/>
                </a:lnTo>
                <a:lnTo>
                  <a:pt x="11859" y="8555"/>
                </a:lnTo>
                <a:lnTo>
                  <a:pt x="11914" y="8573"/>
                </a:lnTo>
                <a:lnTo>
                  <a:pt x="11973" y="8595"/>
                </a:lnTo>
                <a:lnTo>
                  <a:pt x="12037" y="8618"/>
                </a:lnTo>
                <a:lnTo>
                  <a:pt x="12103" y="8643"/>
                </a:lnTo>
                <a:lnTo>
                  <a:pt x="12171" y="8671"/>
                </a:lnTo>
                <a:lnTo>
                  <a:pt x="12307" y="8727"/>
                </a:lnTo>
                <a:lnTo>
                  <a:pt x="12438" y="8785"/>
                </a:lnTo>
                <a:lnTo>
                  <a:pt x="12558" y="8836"/>
                </a:lnTo>
                <a:lnTo>
                  <a:pt x="12659" y="8878"/>
                </a:lnTo>
                <a:lnTo>
                  <a:pt x="12699" y="8894"/>
                </a:lnTo>
                <a:lnTo>
                  <a:pt x="12732" y="8907"/>
                </a:lnTo>
                <a:lnTo>
                  <a:pt x="12757" y="8914"/>
                </a:lnTo>
                <a:lnTo>
                  <a:pt x="12772" y="8918"/>
                </a:lnTo>
                <a:lnTo>
                  <a:pt x="12777" y="8916"/>
                </a:lnTo>
                <a:lnTo>
                  <a:pt x="12771" y="8907"/>
                </a:lnTo>
                <a:lnTo>
                  <a:pt x="12752" y="8892"/>
                </a:lnTo>
                <a:lnTo>
                  <a:pt x="12720" y="8869"/>
                </a:lnTo>
                <a:lnTo>
                  <a:pt x="12660" y="8838"/>
                </a:lnTo>
                <a:lnTo>
                  <a:pt x="12597" y="8805"/>
                </a:lnTo>
                <a:lnTo>
                  <a:pt x="12533" y="8771"/>
                </a:lnTo>
                <a:lnTo>
                  <a:pt x="12466" y="8735"/>
                </a:lnTo>
                <a:lnTo>
                  <a:pt x="12432" y="8716"/>
                </a:lnTo>
                <a:lnTo>
                  <a:pt x="12399" y="8697"/>
                </a:lnTo>
                <a:lnTo>
                  <a:pt x="12366" y="8678"/>
                </a:lnTo>
                <a:lnTo>
                  <a:pt x="12333" y="8656"/>
                </a:lnTo>
                <a:lnTo>
                  <a:pt x="12301" y="8636"/>
                </a:lnTo>
                <a:lnTo>
                  <a:pt x="12269" y="8613"/>
                </a:lnTo>
                <a:lnTo>
                  <a:pt x="12237" y="8590"/>
                </a:lnTo>
                <a:lnTo>
                  <a:pt x="12208" y="8566"/>
                </a:lnTo>
                <a:lnTo>
                  <a:pt x="12227" y="8566"/>
                </a:lnTo>
                <a:lnTo>
                  <a:pt x="12250" y="8569"/>
                </a:lnTo>
                <a:lnTo>
                  <a:pt x="12278" y="8576"/>
                </a:lnTo>
                <a:lnTo>
                  <a:pt x="12308" y="8585"/>
                </a:lnTo>
                <a:lnTo>
                  <a:pt x="12343" y="8596"/>
                </a:lnTo>
                <a:lnTo>
                  <a:pt x="12380" y="8609"/>
                </a:lnTo>
                <a:lnTo>
                  <a:pt x="12419" y="8624"/>
                </a:lnTo>
                <a:lnTo>
                  <a:pt x="12461" y="8641"/>
                </a:lnTo>
                <a:lnTo>
                  <a:pt x="12548" y="8678"/>
                </a:lnTo>
                <a:lnTo>
                  <a:pt x="12637" y="8717"/>
                </a:lnTo>
                <a:lnTo>
                  <a:pt x="12725" y="8758"/>
                </a:lnTo>
                <a:lnTo>
                  <a:pt x="12809" y="8797"/>
                </a:lnTo>
                <a:lnTo>
                  <a:pt x="12884" y="8833"/>
                </a:lnTo>
                <a:lnTo>
                  <a:pt x="12949" y="8864"/>
                </a:lnTo>
                <a:lnTo>
                  <a:pt x="12999" y="8885"/>
                </a:lnTo>
                <a:lnTo>
                  <a:pt x="13030" y="8898"/>
                </a:lnTo>
                <a:lnTo>
                  <a:pt x="13038" y="8900"/>
                </a:lnTo>
                <a:lnTo>
                  <a:pt x="13039" y="8899"/>
                </a:lnTo>
                <a:lnTo>
                  <a:pt x="13036" y="8894"/>
                </a:lnTo>
                <a:lnTo>
                  <a:pt x="13024" y="8886"/>
                </a:lnTo>
                <a:lnTo>
                  <a:pt x="12981" y="8856"/>
                </a:lnTo>
                <a:lnTo>
                  <a:pt x="12904" y="8809"/>
                </a:lnTo>
                <a:lnTo>
                  <a:pt x="12881" y="8794"/>
                </a:lnTo>
                <a:lnTo>
                  <a:pt x="12855" y="8780"/>
                </a:lnTo>
                <a:lnTo>
                  <a:pt x="12828" y="8764"/>
                </a:lnTo>
                <a:lnTo>
                  <a:pt x="12799" y="8749"/>
                </a:lnTo>
                <a:lnTo>
                  <a:pt x="12736" y="8718"/>
                </a:lnTo>
                <a:lnTo>
                  <a:pt x="12669" y="8685"/>
                </a:lnTo>
                <a:lnTo>
                  <a:pt x="12597" y="8654"/>
                </a:lnTo>
                <a:lnTo>
                  <a:pt x="12524" y="8619"/>
                </a:lnTo>
                <a:lnTo>
                  <a:pt x="12447" y="8586"/>
                </a:lnTo>
                <a:lnTo>
                  <a:pt x="12372" y="8552"/>
                </a:lnTo>
                <a:lnTo>
                  <a:pt x="12296" y="8516"/>
                </a:lnTo>
                <a:lnTo>
                  <a:pt x="12223" y="8480"/>
                </a:lnTo>
                <a:lnTo>
                  <a:pt x="12152" y="8445"/>
                </a:lnTo>
                <a:lnTo>
                  <a:pt x="12084" y="8409"/>
                </a:lnTo>
                <a:lnTo>
                  <a:pt x="12054" y="8391"/>
                </a:lnTo>
                <a:lnTo>
                  <a:pt x="12023" y="8373"/>
                </a:lnTo>
                <a:lnTo>
                  <a:pt x="11995" y="8354"/>
                </a:lnTo>
                <a:lnTo>
                  <a:pt x="11968" y="8337"/>
                </a:lnTo>
                <a:lnTo>
                  <a:pt x="11943" y="8319"/>
                </a:lnTo>
                <a:lnTo>
                  <a:pt x="11920" y="8301"/>
                </a:lnTo>
                <a:lnTo>
                  <a:pt x="11898" y="8282"/>
                </a:lnTo>
                <a:lnTo>
                  <a:pt x="11880" y="8264"/>
                </a:lnTo>
                <a:lnTo>
                  <a:pt x="11917" y="8286"/>
                </a:lnTo>
                <a:lnTo>
                  <a:pt x="11976" y="8315"/>
                </a:lnTo>
                <a:lnTo>
                  <a:pt x="12050" y="8352"/>
                </a:lnTo>
                <a:lnTo>
                  <a:pt x="12138" y="8393"/>
                </a:lnTo>
                <a:lnTo>
                  <a:pt x="12232" y="8437"/>
                </a:lnTo>
                <a:lnTo>
                  <a:pt x="12331" y="8482"/>
                </a:lnTo>
                <a:lnTo>
                  <a:pt x="12431" y="8526"/>
                </a:lnTo>
                <a:lnTo>
                  <a:pt x="12526" y="8567"/>
                </a:lnTo>
                <a:lnTo>
                  <a:pt x="12613" y="8605"/>
                </a:lnTo>
                <a:lnTo>
                  <a:pt x="12688" y="8636"/>
                </a:lnTo>
                <a:lnTo>
                  <a:pt x="12745" y="8659"/>
                </a:lnTo>
                <a:lnTo>
                  <a:pt x="12782" y="8671"/>
                </a:lnTo>
                <a:lnTo>
                  <a:pt x="12791" y="8674"/>
                </a:lnTo>
                <a:lnTo>
                  <a:pt x="12794" y="8673"/>
                </a:lnTo>
                <a:lnTo>
                  <a:pt x="12790" y="8668"/>
                </a:lnTo>
                <a:lnTo>
                  <a:pt x="12777" y="8660"/>
                </a:lnTo>
                <a:lnTo>
                  <a:pt x="12727" y="8632"/>
                </a:lnTo>
                <a:lnTo>
                  <a:pt x="12639" y="8586"/>
                </a:lnTo>
                <a:lnTo>
                  <a:pt x="12632" y="8572"/>
                </a:lnTo>
                <a:lnTo>
                  <a:pt x="12628" y="8562"/>
                </a:lnTo>
                <a:lnTo>
                  <a:pt x="12628" y="8558"/>
                </a:lnTo>
                <a:lnTo>
                  <a:pt x="12628" y="8555"/>
                </a:lnTo>
                <a:lnTo>
                  <a:pt x="12628" y="8554"/>
                </a:lnTo>
                <a:lnTo>
                  <a:pt x="12629" y="8553"/>
                </a:lnTo>
                <a:lnTo>
                  <a:pt x="12633" y="8553"/>
                </a:lnTo>
                <a:lnTo>
                  <a:pt x="12639" y="8558"/>
                </a:lnTo>
                <a:lnTo>
                  <a:pt x="12647" y="8564"/>
                </a:lnTo>
                <a:lnTo>
                  <a:pt x="12655" y="8575"/>
                </a:lnTo>
                <a:lnTo>
                  <a:pt x="12687" y="8581"/>
                </a:lnTo>
                <a:lnTo>
                  <a:pt x="12703" y="8582"/>
                </a:lnTo>
                <a:lnTo>
                  <a:pt x="12707" y="8582"/>
                </a:lnTo>
                <a:lnTo>
                  <a:pt x="12708" y="8581"/>
                </a:lnTo>
                <a:lnTo>
                  <a:pt x="12706" y="8578"/>
                </a:lnTo>
                <a:lnTo>
                  <a:pt x="12701" y="8576"/>
                </a:lnTo>
                <a:lnTo>
                  <a:pt x="12661" y="8558"/>
                </a:lnTo>
                <a:lnTo>
                  <a:pt x="12597" y="8531"/>
                </a:lnTo>
                <a:lnTo>
                  <a:pt x="12561" y="8516"/>
                </a:lnTo>
                <a:lnTo>
                  <a:pt x="12522" y="8501"/>
                </a:lnTo>
                <a:lnTo>
                  <a:pt x="12487" y="8484"/>
                </a:lnTo>
                <a:lnTo>
                  <a:pt x="12452" y="8468"/>
                </a:lnTo>
                <a:lnTo>
                  <a:pt x="12423" y="8451"/>
                </a:lnTo>
                <a:lnTo>
                  <a:pt x="12399" y="8436"/>
                </a:lnTo>
                <a:lnTo>
                  <a:pt x="12390" y="8428"/>
                </a:lnTo>
                <a:lnTo>
                  <a:pt x="12382" y="8422"/>
                </a:lnTo>
                <a:lnTo>
                  <a:pt x="12378" y="8414"/>
                </a:lnTo>
                <a:lnTo>
                  <a:pt x="12376" y="8408"/>
                </a:lnTo>
                <a:lnTo>
                  <a:pt x="12456" y="8447"/>
                </a:lnTo>
                <a:lnTo>
                  <a:pt x="12524" y="8480"/>
                </a:lnTo>
                <a:lnTo>
                  <a:pt x="12582" y="8507"/>
                </a:lnTo>
                <a:lnTo>
                  <a:pt x="12633" y="8529"/>
                </a:lnTo>
                <a:lnTo>
                  <a:pt x="12676" y="8547"/>
                </a:lnTo>
                <a:lnTo>
                  <a:pt x="12715" y="8561"/>
                </a:lnTo>
                <a:lnTo>
                  <a:pt x="12749" y="8572"/>
                </a:lnTo>
                <a:lnTo>
                  <a:pt x="12781" y="8581"/>
                </a:lnTo>
                <a:lnTo>
                  <a:pt x="12811" y="8587"/>
                </a:lnTo>
                <a:lnTo>
                  <a:pt x="12843" y="8594"/>
                </a:lnTo>
                <a:lnTo>
                  <a:pt x="12876" y="8599"/>
                </a:lnTo>
                <a:lnTo>
                  <a:pt x="12913" y="8605"/>
                </a:lnTo>
                <a:lnTo>
                  <a:pt x="12954" y="8611"/>
                </a:lnTo>
                <a:lnTo>
                  <a:pt x="13002" y="8619"/>
                </a:lnTo>
                <a:lnTo>
                  <a:pt x="13057" y="8631"/>
                </a:lnTo>
                <a:lnTo>
                  <a:pt x="13122" y="8643"/>
                </a:lnTo>
                <a:lnTo>
                  <a:pt x="13104" y="8629"/>
                </a:lnTo>
                <a:lnTo>
                  <a:pt x="13079" y="8610"/>
                </a:lnTo>
                <a:lnTo>
                  <a:pt x="13047" y="8589"/>
                </a:lnTo>
                <a:lnTo>
                  <a:pt x="13009" y="8563"/>
                </a:lnTo>
                <a:lnTo>
                  <a:pt x="12916" y="8503"/>
                </a:lnTo>
                <a:lnTo>
                  <a:pt x="12806" y="8436"/>
                </a:lnTo>
                <a:lnTo>
                  <a:pt x="12688" y="8362"/>
                </a:lnTo>
                <a:lnTo>
                  <a:pt x="12563" y="8284"/>
                </a:lnTo>
                <a:lnTo>
                  <a:pt x="12438" y="8208"/>
                </a:lnTo>
                <a:lnTo>
                  <a:pt x="12321" y="8134"/>
                </a:lnTo>
                <a:lnTo>
                  <a:pt x="12214" y="8067"/>
                </a:lnTo>
                <a:lnTo>
                  <a:pt x="12125" y="8008"/>
                </a:lnTo>
                <a:lnTo>
                  <a:pt x="12089" y="7984"/>
                </a:lnTo>
                <a:lnTo>
                  <a:pt x="12060" y="7962"/>
                </a:lnTo>
                <a:lnTo>
                  <a:pt x="12037" y="7944"/>
                </a:lnTo>
                <a:lnTo>
                  <a:pt x="12023" y="7930"/>
                </a:lnTo>
                <a:lnTo>
                  <a:pt x="12017" y="7922"/>
                </a:lnTo>
                <a:lnTo>
                  <a:pt x="12021" y="7918"/>
                </a:lnTo>
                <a:lnTo>
                  <a:pt x="12033" y="7919"/>
                </a:lnTo>
                <a:lnTo>
                  <a:pt x="12057" y="7925"/>
                </a:lnTo>
                <a:lnTo>
                  <a:pt x="12092" y="7938"/>
                </a:lnTo>
                <a:lnTo>
                  <a:pt x="12140" y="7957"/>
                </a:lnTo>
                <a:lnTo>
                  <a:pt x="12200" y="7983"/>
                </a:lnTo>
                <a:lnTo>
                  <a:pt x="12274" y="8016"/>
                </a:lnTo>
                <a:lnTo>
                  <a:pt x="12390" y="8071"/>
                </a:lnTo>
                <a:lnTo>
                  <a:pt x="12474" y="8109"/>
                </a:lnTo>
                <a:lnTo>
                  <a:pt x="12530" y="8133"/>
                </a:lnTo>
                <a:lnTo>
                  <a:pt x="12561" y="8144"/>
                </a:lnTo>
                <a:lnTo>
                  <a:pt x="12567" y="8144"/>
                </a:lnTo>
                <a:lnTo>
                  <a:pt x="12568" y="8143"/>
                </a:lnTo>
                <a:lnTo>
                  <a:pt x="12564" y="8139"/>
                </a:lnTo>
                <a:lnTo>
                  <a:pt x="12557" y="8133"/>
                </a:lnTo>
                <a:lnTo>
                  <a:pt x="12527" y="8114"/>
                </a:lnTo>
                <a:lnTo>
                  <a:pt x="12484" y="8088"/>
                </a:lnTo>
                <a:lnTo>
                  <a:pt x="12429" y="8057"/>
                </a:lnTo>
                <a:lnTo>
                  <a:pt x="12366" y="8021"/>
                </a:lnTo>
                <a:lnTo>
                  <a:pt x="12297" y="7981"/>
                </a:lnTo>
                <a:lnTo>
                  <a:pt x="12226" y="7942"/>
                </a:lnTo>
                <a:lnTo>
                  <a:pt x="12156" y="7902"/>
                </a:lnTo>
                <a:lnTo>
                  <a:pt x="12087" y="7866"/>
                </a:lnTo>
                <a:lnTo>
                  <a:pt x="12024" y="7831"/>
                </a:lnTo>
                <a:lnTo>
                  <a:pt x="11971" y="7802"/>
                </a:lnTo>
                <a:lnTo>
                  <a:pt x="12029" y="7821"/>
                </a:lnTo>
                <a:lnTo>
                  <a:pt x="12086" y="7843"/>
                </a:lnTo>
                <a:lnTo>
                  <a:pt x="12142" y="7866"/>
                </a:lnTo>
                <a:lnTo>
                  <a:pt x="12196" y="7891"/>
                </a:lnTo>
                <a:lnTo>
                  <a:pt x="12250" y="7916"/>
                </a:lnTo>
                <a:lnTo>
                  <a:pt x="12303" y="7943"/>
                </a:lnTo>
                <a:lnTo>
                  <a:pt x="12355" y="7970"/>
                </a:lnTo>
                <a:lnTo>
                  <a:pt x="12409" y="7998"/>
                </a:lnTo>
                <a:lnTo>
                  <a:pt x="12461" y="8025"/>
                </a:lnTo>
                <a:lnTo>
                  <a:pt x="12515" y="8053"/>
                </a:lnTo>
                <a:lnTo>
                  <a:pt x="12569" y="8079"/>
                </a:lnTo>
                <a:lnTo>
                  <a:pt x="12624" y="8105"/>
                </a:lnTo>
                <a:lnTo>
                  <a:pt x="12680" y="8129"/>
                </a:lnTo>
                <a:lnTo>
                  <a:pt x="12736" y="8152"/>
                </a:lnTo>
                <a:lnTo>
                  <a:pt x="12766" y="8163"/>
                </a:lnTo>
                <a:lnTo>
                  <a:pt x="12796" y="8174"/>
                </a:lnTo>
                <a:lnTo>
                  <a:pt x="12825" y="8183"/>
                </a:lnTo>
                <a:lnTo>
                  <a:pt x="12856" y="8193"/>
                </a:lnTo>
                <a:lnTo>
                  <a:pt x="12957" y="8236"/>
                </a:lnTo>
                <a:lnTo>
                  <a:pt x="13028" y="8265"/>
                </a:lnTo>
                <a:lnTo>
                  <a:pt x="13071" y="8283"/>
                </a:lnTo>
                <a:lnTo>
                  <a:pt x="13093" y="8291"/>
                </a:lnTo>
                <a:lnTo>
                  <a:pt x="13095" y="8291"/>
                </a:lnTo>
                <a:lnTo>
                  <a:pt x="13093" y="8288"/>
                </a:lnTo>
                <a:lnTo>
                  <a:pt x="13085" y="8283"/>
                </a:lnTo>
                <a:lnTo>
                  <a:pt x="13074" y="8277"/>
                </a:lnTo>
                <a:lnTo>
                  <a:pt x="13041" y="8259"/>
                </a:lnTo>
                <a:lnTo>
                  <a:pt x="12995" y="8235"/>
                </a:lnTo>
                <a:lnTo>
                  <a:pt x="12940" y="8207"/>
                </a:lnTo>
                <a:lnTo>
                  <a:pt x="12879" y="8175"/>
                </a:lnTo>
                <a:lnTo>
                  <a:pt x="12813" y="8141"/>
                </a:lnTo>
                <a:lnTo>
                  <a:pt x="12746" y="8105"/>
                </a:lnTo>
                <a:lnTo>
                  <a:pt x="12682" y="8071"/>
                </a:lnTo>
                <a:lnTo>
                  <a:pt x="12622" y="8039"/>
                </a:lnTo>
                <a:lnTo>
                  <a:pt x="12569" y="8008"/>
                </a:lnTo>
                <a:lnTo>
                  <a:pt x="12527" y="7983"/>
                </a:lnTo>
                <a:lnTo>
                  <a:pt x="12567" y="7997"/>
                </a:lnTo>
                <a:lnTo>
                  <a:pt x="12606" y="8012"/>
                </a:lnTo>
                <a:lnTo>
                  <a:pt x="12647" y="8031"/>
                </a:lnTo>
                <a:lnTo>
                  <a:pt x="12689" y="8050"/>
                </a:lnTo>
                <a:lnTo>
                  <a:pt x="12773" y="8093"/>
                </a:lnTo>
                <a:lnTo>
                  <a:pt x="12857" y="8138"/>
                </a:lnTo>
                <a:lnTo>
                  <a:pt x="12901" y="8160"/>
                </a:lnTo>
                <a:lnTo>
                  <a:pt x="12944" y="8181"/>
                </a:lnTo>
                <a:lnTo>
                  <a:pt x="12986" y="8200"/>
                </a:lnTo>
                <a:lnTo>
                  <a:pt x="13028" y="8218"/>
                </a:lnTo>
                <a:lnTo>
                  <a:pt x="13070" y="8235"/>
                </a:lnTo>
                <a:lnTo>
                  <a:pt x="13112" y="8247"/>
                </a:lnTo>
                <a:lnTo>
                  <a:pt x="13132" y="8253"/>
                </a:lnTo>
                <a:lnTo>
                  <a:pt x="13153" y="8256"/>
                </a:lnTo>
                <a:lnTo>
                  <a:pt x="13172" y="8260"/>
                </a:lnTo>
                <a:lnTo>
                  <a:pt x="13192" y="8263"/>
                </a:lnTo>
                <a:lnTo>
                  <a:pt x="13125" y="8225"/>
                </a:lnTo>
                <a:lnTo>
                  <a:pt x="13023" y="8167"/>
                </a:lnTo>
                <a:lnTo>
                  <a:pt x="12893" y="8096"/>
                </a:lnTo>
                <a:lnTo>
                  <a:pt x="12744" y="8012"/>
                </a:lnTo>
                <a:lnTo>
                  <a:pt x="12582" y="7923"/>
                </a:lnTo>
                <a:lnTo>
                  <a:pt x="12415" y="7829"/>
                </a:lnTo>
                <a:lnTo>
                  <a:pt x="12251" y="7736"/>
                </a:lnTo>
                <a:lnTo>
                  <a:pt x="12097" y="7648"/>
                </a:lnTo>
                <a:lnTo>
                  <a:pt x="12027" y="7606"/>
                </a:lnTo>
                <a:lnTo>
                  <a:pt x="11961" y="7568"/>
                </a:lnTo>
                <a:lnTo>
                  <a:pt x="11902" y="7531"/>
                </a:lnTo>
                <a:lnTo>
                  <a:pt x="11850" y="7499"/>
                </a:lnTo>
                <a:lnTo>
                  <a:pt x="11807" y="7471"/>
                </a:lnTo>
                <a:lnTo>
                  <a:pt x="11772" y="7447"/>
                </a:lnTo>
                <a:lnTo>
                  <a:pt x="11748" y="7428"/>
                </a:lnTo>
                <a:lnTo>
                  <a:pt x="11735" y="7415"/>
                </a:lnTo>
                <a:lnTo>
                  <a:pt x="11734" y="7407"/>
                </a:lnTo>
                <a:lnTo>
                  <a:pt x="11745" y="7406"/>
                </a:lnTo>
                <a:lnTo>
                  <a:pt x="11771" y="7411"/>
                </a:lnTo>
                <a:lnTo>
                  <a:pt x="11812" y="7425"/>
                </a:lnTo>
                <a:lnTo>
                  <a:pt x="11868" y="7446"/>
                </a:lnTo>
                <a:lnTo>
                  <a:pt x="11940" y="7475"/>
                </a:lnTo>
                <a:lnTo>
                  <a:pt x="12031" y="7513"/>
                </a:lnTo>
                <a:lnTo>
                  <a:pt x="12140" y="7561"/>
                </a:lnTo>
                <a:lnTo>
                  <a:pt x="12147" y="7569"/>
                </a:lnTo>
                <a:lnTo>
                  <a:pt x="12156" y="7578"/>
                </a:lnTo>
                <a:lnTo>
                  <a:pt x="12167" y="7588"/>
                </a:lnTo>
                <a:lnTo>
                  <a:pt x="12180" y="7597"/>
                </a:lnTo>
                <a:lnTo>
                  <a:pt x="12210" y="7617"/>
                </a:lnTo>
                <a:lnTo>
                  <a:pt x="12245" y="7636"/>
                </a:lnTo>
                <a:lnTo>
                  <a:pt x="12283" y="7656"/>
                </a:lnTo>
                <a:lnTo>
                  <a:pt x="12321" y="7673"/>
                </a:lnTo>
                <a:lnTo>
                  <a:pt x="12358" y="7690"/>
                </a:lnTo>
                <a:lnTo>
                  <a:pt x="12392" y="7703"/>
                </a:lnTo>
                <a:lnTo>
                  <a:pt x="12422" y="7713"/>
                </a:lnTo>
                <a:lnTo>
                  <a:pt x="12443" y="7718"/>
                </a:lnTo>
                <a:lnTo>
                  <a:pt x="12451" y="7719"/>
                </a:lnTo>
                <a:lnTo>
                  <a:pt x="12456" y="7718"/>
                </a:lnTo>
                <a:lnTo>
                  <a:pt x="12459" y="7717"/>
                </a:lnTo>
                <a:lnTo>
                  <a:pt x="12457" y="7713"/>
                </a:lnTo>
                <a:lnTo>
                  <a:pt x="12454" y="7709"/>
                </a:lnTo>
                <a:lnTo>
                  <a:pt x="12446" y="7701"/>
                </a:lnTo>
                <a:lnTo>
                  <a:pt x="12436" y="7694"/>
                </a:lnTo>
                <a:lnTo>
                  <a:pt x="12420" y="7684"/>
                </a:lnTo>
                <a:lnTo>
                  <a:pt x="12377" y="7657"/>
                </a:lnTo>
                <a:lnTo>
                  <a:pt x="12316" y="7622"/>
                </a:lnTo>
                <a:lnTo>
                  <a:pt x="12266" y="7589"/>
                </a:lnTo>
                <a:lnTo>
                  <a:pt x="12220" y="7555"/>
                </a:lnTo>
                <a:lnTo>
                  <a:pt x="12176" y="7522"/>
                </a:lnTo>
                <a:lnTo>
                  <a:pt x="12133" y="7490"/>
                </a:lnTo>
                <a:lnTo>
                  <a:pt x="12046" y="7424"/>
                </a:lnTo>
                <a:lnTo>
                  <a:pt x="11956" y="7356"/>
                </a:lnTo>
                <a:lnTo>
                  <a:pt x="11907" y="7321"/>
                </a:lnTo>
                <a:lnTo>
                  <a:pt x="11856" y="7284"/>
                </a:lnTo>
                <a:lnTo>
                  <a:pt x="11800" y="7246"/>
                </a:lnTo>
                <a:lnTo>
                  <a:pt x="11740" y="7206"/>
                </a:lnTo>
                <a:lnTo>
                  <a:pt x="11674" y="7164"/>
                </a:lnTo>
                <a:lnTo>
                  <a:pt x="11603" y="7120"/>
                </a:lnTo>
                <a:lnTo>
                  <a:pt x="11524" y="7074"/>
                </a:lnTo>
                <a:lnTo>
                  <a:pt x="11439" y="7025"/>
                </a:lnTo>
                <a:lnTo>
                  <a:pt x="11386" y="6996"/>
                </a:lnTo>
                <a:lnTo>
                  <a:pt x="11339" y="6968"/>
                </a:lnTo>
                <a:lnTo>
                  <a:pt x="11296" y="6943"/>
                </a:lnTo>
                <a:lnTo>
                  <a:pt x="11256" y="6919"/>
                </a:lnTo>
                <a:lnTo>
                  <a:pt x="11222" y="6896"/>
                </a:lnTo>
                <a:lnTo>
                  <a:pt x="11190" y="6874"/>
                </a:lnTo>
                <a:lnTo>
                  <a:pt x="11162" y="6852"/>
                </a:lnTo>
                <a:lnTo>
                  <a:pt x="11138" y="6833"/>
                </a:lnTo>
                <a:lnTo>
                  <a:pt x="11118" y="6815"/>
                </a:lnTo>
                <a:lnTo>
                  <a:pt x="11101" y="6799"/>
                </a:lnTo>
                <a:lnTo>
                  <a:pt x="11088" y="6784"/>
                </a:lnTo>
                <a:lnTo>
                  <a:pt x="11078" y="6768"/>
                </a:lnTo>
                <a:lnTo>
                  <a:pt x="11072" y="6756"/>
                </a:lnTo>
                <a:lnTo>
                  <a:pt x="11068" y="6743"/>
                </a:lnTo>
                <a:lnTo>
                  <a:pt x="11068" y="6731"/>
                </a:lnTo>
                <a:lnTo>
                  <a:pt x="11071" y="6721"/>
                </a:lnTo>
                <a:lnTo>
                  <a:pt x="11077" y="6711"/>
                </a:lnTo>
                <a:lnTo>
                  <a:pt x="11086" y="6703"/>
                </a:lnTo>
                <a:lnTo>
                  <a:pt x="11097" y="6696"/>
                </a:lnTo>
                <a:lnTo>
                  <a:pt x="11113" y="6688"/>
                </a:lnTo>
                <a:lnTo>
                  <a:pt x="11129" y="6683"/>
                </a:lnTo>
                <a:lnTo>
                  <a:pt x="11149" y="6678"/>
                </a:lnTo>
                <a:lnTo>
                  <a:pt x="11172" y="6673"/>
                </a:lnTo>
                <a:lnTo>
                  <a:pt x="11198" y="6669"/>
                </a:lnTo>
                <a:lnTo>
                  <a:pt x="11225" y="6666"/>
                </a:lnTo>
                <a:lnTo>
                  <a:pt x="11255" y="6664"/>
                </a:lnTo>
                <a:lnTo>
                  <a:pt x="11287" y="6663"/>
                </a:lnTo>
                <a:lnTo>
                  <a:pt x="11321" y="6661"/>
                </a:lnTo>
                <a:lnTo>
                  <a:pt x="11398" y="6661"/>
                </a:lnTo>
                <a:lnTo>
                  <a:pt x="11481" y="6663"/>
                </a:lnTo>
                <a:lnTo>
                  <a:pt x="11591" y="6656"/>
                </a:lnTo>
                <a:lnTo>
                  <a:pt x="11701" y="6650"/>
                </a:lnTo>
                <a:lnTo>
                  <a:pt x="11808" y="6645"/>
                </a:lnTo>
                <a:lnTo>
                  <a:pt x="11912" y="6641"/>
                </a:lnTo>
                <a:lnTo>
                  <a:pt x="12015" y="6638"/>
                </a:lnTo>
                <a:lnTo>
                  <a:pt x="12117" y="6636"/>
                </a:lnTo>
                <a:lnTo>
                  <a:pt x="12217" y="6635"/>
                </a:lnTo>
                <a:lnTo>
                  <a:pt x="12315" y="6633"/>
                </a:lnTo>
                <a:lnTo>
                  <a:pt x="12506" y="6635"/>
                </a:lnTo>
                <a:lnTo>
                  <a:pt x="12689" y="6636"/>
                </a:lnTo>
                <a:lnTo>
                  <a:pt x="12867" y="6640"/>
                </a:lnTo>
                <a:lnTo>
                  <a:pt x="13041" y="6644"/>
                </a:lnTo>
                <a:lnTo>
                  <a:pt x="13209" y="6647"/>
                </a:lnTo>
                <a:lnTo>
                  <a:pt x="13370" y="6652"/>
                </a:lnTo>
                <a:lnTo>
                  <a:pt x="13530" y="6656"/>
                </a:lnTo>
                <a:lnTo>
                  <a:pt x="13684" y="6659"/>
                </a:lnTo>
                <a:lnTo>
                  <a:pt x="13834" y="6659"/>
                </a:lnTo>
                <a:lnTo>
                  <a:pt x="13982" y="6658"/>
                </a:lnTo>
                <a:lnTo>
                  <a:pt x="14054" y="6656"/>
                </a:lnTo>
                <a:lnTo>
                  <a:pt x="14127" y="6654"/>
                </a:lnTo>
                <a:lnTo>
                  <a:pt x="14198" y="6650"/>
                </a:lnTo>
                <a:lnTo>
                  <a:pt x="14268" y="6646"/>
                </a:lnTo>
                <a:lnTo>
                  <a:pt x="14128" y="6631"/>
                </a:lnTo>
                <a:lnTo>
                  <a:pt x="13987" y="6617"/>
                </a:lnTo>
                <a:lnTo>
                  <a:pt x="13842" y="6604"/>
                </a:lnTo>
                <a:lnTo>
                  <a:pt x="13696" y="6591"/>
                </a:lnTo>
                <a:lnTo>
                  <a:pt x="13549" y="6581"/>
                </a:lnTo>
                <a:lnTo>
                  <a:pt x="13400" y="6571"/>
                </a:lnTo>
                <a:lnTo>
                  <a:pt x="13249" y="6562"/>
                </a:lnTo>
                <a:lnTo>
                  <a:pt x="13099" y="6553"/>
                </a:lnTo>
                <a:lnTo>
                  <a:pt x="12949" y="6544"/>
                </a:lnTo>
                <a:lnTo>
                  <a:pt x="12797" y="6537"/>
                </a:lnTo>
                <a:lnTo>
                  <a:pt x="12647" y="6528"/>
                </a:lnTo>
                <a:lnTo>
                  <a:pt x="12497" y="6519"/>
                </a:lnTo>
                <a:lnTo>
                  <a:pt x="12347" y="6511"/>
                </a:lnTo>
                <a:lnTo>
                  <a:pt x="12199" y="6501"/>
                </a:lnTo>
                <a:lnTo>
                  <a:pt x="12051" y="6491"/>
                </a:lnTo>
                <a:lnTo>
                  <a:pt x="11905" y="6481"/>
                </a:lnTo>
                <a:lnTo>
                  <a:pt x="12012" y="6476"/>
                </a:lnTo>
                <a:lnTo>
                  <a:pt x="12117" y="6473"/>
                </a:lnTo>
                <a:lnTo>
                  <a:pt x="12224" y="6470"/>
                </a:lnTo>
                <a:lnTo>
                  <a:pt x="12330" y="6470"/>
                </a:lnTo>
                <a:lnTo>
                  <a:pt x="12437" y="6472"/>
                </a:lnTo>
                <a:lnTo>
                  <a:pt x="12544" y="6473"/>
                </a:lnTo>
                <a:lnTo>
                  <a:pt x="12652" y="6477"/>
                </a:lnTo>
                <a:lnTo>
                  <a:pt x="12759" y="6481"/>
                </a:lnTo>
                <a:lnTo>
                  <a:pt x="12974" y="6491"/>
                </a:lnTo>
                <a:lnTo>
                  <a:pt x="13190" y="6505"/>
                </a:lnTo>
                <a:lnTo>
                  <a:pt x="13405" y="6519"/>
                </a:lnTo>
                <a:lnTo>
                  <a:pt x="13620" y="6535"/>
                </a:lnTo>
                <a:lnTo>
                  <a:pt x="13835" y="6551"/>
                </a:lnTo>
                <a:lnTo>
                  <a:pt x="14049" y="6566"/>
                </a:lnTo>
                <a:lnTo>
                  <a:pt x="14263" y="6579"/>
                </a:lnTo>
                <a:lnTo>
                  <a:pt x="14475" y="6590"/>
                </a:lnTo>
                <a:lnTo>
                  <a:pt x="14580" y="6594"/>
                </a:lnTo>
                <a:lnTo>
                  <a:pt x="14686" y="6598"/>
                </a:lnTo>
                <a:lnTo>
                  <a:pt x="14792" y="6599"/>
                </a:lnTo>
                <a:lnTo>
                  <a:pt x="14896" y="6600"/>
                </a:lnTo>
                <a:lnTo>
                  <a:pt x="15001" y="6600"/>
                </a:lnTo>
                <a:lnTo>
                  <a:pt x="15104" y="6599"/>
                </a:lnTo>
                <a:lnTo>
                  <a:pt x="15207" y="6595"/>
                </a:lnTo>
                <a:lnTo>
                  <a:pt x="15310" y="6590"/>
                </a:lnTo>
                <a:lnTo>
                  <a:pt x="15267" y="6581"/>
                </a:lnTo>
                <a:lnTo>
                  <a:pt x="15213" y="6574"/>
                </a:lnTo>
                <a:lnTo>
                  <a:pt x="15151" y="6566"/>
                </a:lnTo>
                <a:lnTo>
                  <a:pt x="15082" y="6558"/>
                </a:lnTo>
                <a:lnTo>
                  <a:pt x="15009" y="6551"/>
                </a:lnTo>
                <a:lnTo>
                  <a:pt x="14933" y="6544"/>
                </a:lnTo>
                <a:lnTo>
                  <a:pt x="14857" y="6538"/>
                </a:lnTo>
                <a:lnTo>
                  <a:pt x="14783" y="6533"/>
                </a:lnTo>
                <a:lnTo>
                  <a:pt x="14711" y="6526"/>
                </a:lnTo>
                <a:lnTo>
                  <a:pt x="14645" y="6521"/>
                </a:lnTo>
                <a:lnTo>
                  <a:pt x="14587" y="6518"/>
                </a:lnTo>
                <a:lnTo>
                  <a:pt x="14537" y="6512"/>
                </a:lnTo>
                <a:lnTo>
                  <a:pt x="14499" y="6509"/>
                </a:lnTo>
                <a:lnTo>
                  <a:pt x="14475" y="6505"/>
                </a:lnTo>
                <a:lnTo>
                  <a:pt x="14467" y="6502"/>
                </a:lnTo>
                <a:lnTo>
                  <a:pt x="14464" y="6501"/>
                </a:lnTo>
                <a:lnTo>
                  <a:pt x="14467" y="6500"/>
                </a:lnTo>
                <a:lnTo>
                  <a:pt x="14472" y="6497"/>
                </a:lnTo>
                <a:lnTo>
                  <a:pt x="14510" y="6500"/>
                </a:lnTo>
                <a:lnTo>
                  <a:pt x="14560" y="6500"/>
                </a:lnTo>
                <a:lnTo>
                  <a:pt x="14618" y="6500"/>
                </a:lnTo>
                <a:lnTo>
                  <a:pt x="14685" y="6497"/>
                </a:lnTo>
                <a:lnTo>
                  <a:pt x="14755" y="6493"/>
                </a:lnTo>
                <a:lnTo>
                  <a:pt x="14826" y="6490"/>
                </a:lnTo>
                <a:lnTo>
                  <a:pt x="14896" y="6484"/>
                </a:lnTo>
                <a:lnTo>
                  <a:pt x="14964" y="6478"/>
                </a:lnTo>
                <a:lnTo>
                  <a:pt x="15023" y="6470"/>
                </a:lnTo>
                <a:lnTo>
                  <a:pt x="15074" y="6463"/>
                </a:lnTo>
                <a:lnTo>
                  <a:pt x="15095" y="6459"/>
                </a:lnTo>
                <a:lnTo>
                  <a:pt x="15113" y="6455"/>
                </a:lnTo>
                <a:lnTo>
                  <a:pt x="15128" y="6450"/>
                </a:lnTo>
                <a:lnTo>
                  <a:pt x="15138" y="6446"/>
                </a:lnTo>
                <a:lnTo>
                  <a:pt x="15144" y="6441"/>
                </a:lnTo>
                <a:lnTo>
                  <a:pt x="15146" y="6436"/>
                </a:lnTo>
                <a:lnTo>
                  <a:pt x="15142" y="6432"/>
                </a:lnTo>
                <a:lnTo>
                  <a:pt x="15133" y="6427"/>
                </a:lnTo>
                <a:lnTo>
                  <a:pt x="15119" y="6422"/>
                </a:lnTo>
                <a:lnTo>
                  <a:pt x="15100" y="6417"/>
                </a:lnTo>
                <a:lnTo>
                  <a:pt x="15073" y="6412"/>
                </a:lnTo>
                <a:lnTo>
                  <a:pt x="15040" y="6407"/>
                </a:lnTo>
                <a:lnTo>
                  <a:pt x="14973" y="6395"/>
                </a:lnTo>
                <a:lnTo>
                  <a:pt x="14911" y="6384"/>
                </a:lnTo>
                <a:lnTo>
                  <a:pt x="14854" y="6374"/>
                </a:lnTo>
                <a:lnTo>
                  <a:pt x="14802" y="6361"/>
                </a:lnTo>
                <a:lnTo>
                  <a:pt x="14776" y="6355"/>
                </a:lnTo>
                <a:lnTo>
                  <a:pt x="14752" y="6346"/>
                </a:lnTo>
                <a:lnTo>
                  <a:pt x="14728" y="6337"/>
                </a:lnTo>
                <a:lnTo>
                  <a:pt x="14704" y="6327"/>
                </a:lnTo>
                <a:lnTo>
                  <a:pt x="14680" y="6315"/>
                </a:lnTo>
                <a:lnTo>
                  <a:pt x="14655" y="6302"/>
                </a:lnTo>
                <a:lnTo>
                  <a:pt x="14633" y="6288"/>
                </a:lnTo>
                <a:lnTo>
                  <a:pt x="14608" y="6272"/>
                </a:lnTo>
                <a:lnTo>
                  <a:pt x="14613" y="6267"/>
                </a:lnTo>
                <a:lnTo>
                  <a:pt x="14618" y="6262"/>
                </a:lnTo>
                <a:lnTo>
                  <a:pt x="14621" y="6257"/>
                </a:lnTo>
                <a:lnTo>
                  <a:pt x="14622" y="6252"/>
                </a:lnTo>
                <a:lnTo>
                  <a:pt x="14622" y="6248"/>
                </a:lnTo>
                <a:lnTo>
                  <a:pt x="14620" y="6244"/>
                </a:lnTo>
                <a:lnTo>
                  <a:pt x="14617" y="6241"/>
                </a:lnTo>
                <a:lnTo>
                  <a:pt x="14612" y="6238"/>
                </a:lnTo>
                <a:lnTo>
                  <a:pt x="14601" y="6232"/>
                </a:lnTo>
                <a:lnTo>
                  <a:pt x="14585" y="6229"/>
                </a:lnTo>
                <a:lnTo>
                  <a:pt x="14566" y="6225"/>
                </a:lnTo>
                <a:lnTo>
                  <a:pt x="14546" y="6222"/>
                </a:lnTo>
                <a:lnTo>
                  <a:pt x="14501" y="6218"/>
                </a:lnTo>
                <a:lnTo>
                  <a:pt x="14459" y="6218"/>
                </a:lnTo>
                <a:lnTo>
                  <a:pt x="14424" y="6218"/>
                </a:lnTo>
                <a:lnTo>
                  <a:pt x="14403" y="6218"/>
                </a:lnTo>
                <a:lnTo>
                  <a:pt x="14405" y="6209"/>
                </a:lnTo>
                <a:lnTo>
                  <a:pt x="14408" y="6202"/>
                </a:lnTo>
                <a:lnTo>
                  <a:pt x="14415" y="6195"/>
                </a:lnTo>
                <a:lnTo>
                  <a:pt x="14424" y="6192"/>
                </a:lnTo>
                <a:lnTo>
                  <a:pt x="14434" y="6189"/>
                </a:lnTo>
                <a:lnTo>
                  <a:pt x="14447" y="6188"/>
                </a:lnTo>
                <a:lnTo>
                  <a:pt x="14461" y="6189"/>
                </a:lnTo>
                <a:lnTo>
                  <a:pt x="14476" y="6189"/>
                </a:lnTo>
                <a:lnTo>
                  <a:pt x="14510" y="6194"/>
                </a:lnTo>
                <a:lnTo>
                  <a:pt x="14548" y="6203"/>
                </a:lnTo>
                <a:lnTo>
                  <a:pt x="14589" y="6212"/>
                </a:lnTo>
                <a:lnTo>
                  <a:pt x="14631" y="6222"/>
                </a:lnTo>
                <a:lnTo>
                  <a:pt x="14672" y="6231"/>
                </a:lnTo>
                <a:lnTo>
                  <a:pt x="14710" y="6239"/>
                </a:lnTo>
                <a:lnTo>
                  <a:pt x="14729" y="6241"/>
                </a:lnTo>
                <a:lnTo>
                  <a:pt x="14746" y="6244"/>
                </a:lnTo>
                <a:lnTo>
                  <a:pt x="14762" y="6245"/>
                </a:lnTo>
                <a:lnTo>
                  <a:pt x="14776" y="6245"/>
                </a:lnTo>
                <a:lnTo>
                  <a:pt x="14789" y="6244"/>
                </a:lnTo>
                <a:lnTo>
                  <a:pt x="14801" y="6241"/>
                </a:lnTo>
                <a:lnTo>
                  <a:pt x="14811" y="6238"/>
                </a:lnTo>
                <a:lnTo>
                  <a:pt x="14818" y="6231"/>
                </a:lnTo>
                <a:lnTo>
                  <a:pt x="14824" y="6223"/>
                </a:lnTo>
                <a:lnTo>
                  <a:pt x="14826" y="6215"/>
                </a:lnTo>
                <a:lnTo>
                  <a:pt x="14826" y="6203"/>
                </a:lnTo>
                <a:lnTo>
                  <a:pt x="14824" y="6189"/>
                </a:lnTo>
                <a:lnTo>
                  <a:pt x="14739" y="6175"/>
                </a:lnTo>
                <a:lnTo>
                  <a:pt x="14701" y="6167"/>
                </a:lnTo>
                <a:lnTo>
                  <a:pt x="14699" y="6166"/>
                </a:lnTo>
                <a:lnTo>
                  <a:pt x="14697" y="6166"/>
                </a:lnTo>
                <a:lnTo>
                  <a:pt x="14697" y="6166"/>
                </a:lnTo>
                <a:lnTo>
                  <a:pt x="14701" y="6165"/>
                </a:lnTo>
                <a:lnTo>
                  <a:pt x="14711" y="6165"/>
                </a:lnTo>
                <a:lnTo>
                  <a:pt x="14728" y="6165"/>
                </a:lnTo>
                <a:lnTo>
                  <a:pt x="14774" y="6165"/>
                </a:lnTo>
                <a:lnTo>
                  <a:pt x="14827" y="6162"/>
                </a:lnTo>
                <a:lnTo>
                  <a:pt x="14855" y="6159"/>
                </a:lnTo>
                <a:lnTo>
                  <a:pt x="14881" y="6153"/>
                </a:lnTo>
                <a:lnTo>
                  <a:pt x="14894" y="6151"/>
                </a:lnTo>
                <a:lnTo>
                  <a:pt x="14905" y="6147"/>
                </a:lnTo>
                <a:lnTo>
                  <a:pt x="14915" y="6143"/>
                </a:lnTo>
                <a:lnTo>
                  <a:pt x="14925" y="6138"/>
                </a:lnTo>
                <a:lnTo>
                  <a:pt x="14891" y="6133"/>
                </a:lnTo>
                <a:lnTo>
                  <a:pt x="14850" y="6124"/>
                </a:lnTo>
                <a:lnTo>
                  <a:pt x="14804" y="6115"/>
                </a:lnTo>
                <a:lnTo>
                  <a:pt x="14757" y="6106"/>
                </a:lnTo>
                <a:lnTo>
                  <a:pt x="14733" y="6103"/>
                </a:lnTo>
                <a:lnTo>
                  <a:pt x="14710" y="6100"/>
                </a:lnTo>
                <a:lnTo>
                  <a:pt x="14689" y="6097"/>
                </a:lnTo>
                <a:lnTo>
                  <a:pt x="14667" y="6096"/>
                </a:lnTo>
                <a:lnTo>
                  <a:pt x="14648" y="6096"/>
                </a:lnTo>
                <a:lnTo>
                  <a:pt x="14630" y="6099"/>
                </a:lnTo>
                <a:lnTo>
                  <a:pt x="14613" y="6101"/>
                </a:lnTo>
                <a:lnTo>
                  <a:pt x="14601" y="6106"/>
                </a:lnTo>
                <a:lnTo>
                  <a:pt x="14576" y="6103"/>
                </a:lnTo>
                <a:lnTo>
                  <a:pt x="14559" y="6099"/>
                </a:lnTo>
                <a:lnTo>
                  <a:pt x="14547" y="6095"/>
                </a:lnTo>
                <a:lnTo>
                  <a:pt x="14541" y="6092"/>
                </a:lnTo>
                <a:lnTo>
                  <a:pt x="14540" y="6090"/>
                </a:lnTo>
                <a:lnTo>
                  <a:pt x="14543" y="6089"/>
                </a:lnTo>
                <a:lnTo>
                  <a:pt x="14550" y="6086"/>
                </a:lnTo>
                <a:lnTo>
                  <a:pt x="14561" y="6085"/>
                </a:lnTo>
                <a:lnTo>
                  <a:pt x="14593" y="6083"/>
                </a:lnTo>
                <a:lnTo>
                  <a:pt x="14634" y="6082"/>
                </a:lnTo>
                <a:lnTo>
                  <a:pt x="14682" y="6082"/>
                </a:lnTo>
                <a:lnTo>
                  <a:pt x="14733" y="6082"/>
                </a:lnTo>
                <a:lnTo>
                  <a:pt x="14784" y="6082"/>
                </a:lnTo>
                <a:lnTo>
                  <a:pt x="14831" y="6081"/>
                </a:lnTo>
                <a:lnTo>
                  <a:pt x="14871" y="6078"/>
                </a:lnTo>
                <a:lnTo>
                  <a:pt x="14900" y="6076"/>
                </a:lnTo>
                <a:lnTo>
                  <a:pt x="14909" y="6075"/>
                </a:lnTo>
                <a:lnTo>
                  <a:pt x="14915" y="6072"/>
                </a:lnTo>
                <a:lnTo>
                  <a:pt x="14916" y="6068"/>
                </a:lnTo>
                <a:lnTo>
                  <a:pt x="14913" y="6066"/>
                </a:lnTo>
                <a:lnTo>
                  <a:pt x="14904" y="6062"/>
                </a:lnTo>
                <a:lnTo>
                  <a:pt x="14890" y="6057"/>
                </a:lnTo>
                <a:lnTo>
                  <a:pt x="14869" y="6052"/>
                </a:lnTo>
                <a:lnTo>
                  <a:pt x="14844" y="6045"/>
                </a:lnTo>
                <a:lnTo>
                  <a:pt x="14739" y="6030"/>
                </a:lnTo>
                <a:lnTo>
                  <a:pt x="14627" y="6016"/>
                </a:lnTo>
                <a:lnTo>
                  <a:pt x="14508" y="6003"/>
                </a:lnTo>
                <a:lnTo>
                  <a:pt x="14384" y="5991"/>
                </a:lnTo>
                <a:lnTo>
                  <a:pt x="14256" y="5979"/>
                </a:lnTo>
                <a:lnTo>
                  <a:pt x="14128" y="5968"/>
                </a:lnTo>
                <a:lnTo>
                  <a:pt x="14000" y="5957"/>
                </a:lnTo>
                <a:lnTo>
                  <a:pt x="13876" y="5946"/>
                </a:lnTo>
                <a:lnTo>
                  <a:pt x="13756" y="5936"/>
                </a:lnTo>
                <a:lnTo>
                  <a:pt x="13644" y="5924"/>
                </a:lnTo>
                <a:lnTo>
                  <a:pt x="13541" y="5913"/>
                </a:lnTo>
                <a:lnTo>
                  <a:pt x="13451" y="5901"/>
                </a:lnTo>
                <a:lnTo>
                  <a:pt x="13409" y="5895"/>
                </a:lnTo>
                <a:lnTo>
                  <a:pt x="13372" y="5889"/>
                </a:lnTo>
                <a:lnTo>
                  <a:pt x="13339" y="5881"/>
                </a:lnTo>
                <a:lnTo>
                  <a:pt x="13308" y="5875"/>
                </a:lnTo>
                <a:lnTo>
                  <a:pt x="13284" y="5867"/>
                </a:lnTo>
                <a:lnTo>
                  <a:pt x="13262" y="5859"/>
                </a:lnTo>
                <a:lnTo>
                  <a:pt x="13247" y="5852"/>
                </a:lnTo>
                <a:lnTo>
                  <a:pt x="13237" y="5843"/>
                </a:lnTo>
                <a:lnTo>
                  <a:pt x="13266" y="5839"/>
                </a:lnTo>
                <a:lnTo>
                  <a:pt x="13294" y="5835"/>
                </a:lnTo>
                <a:lnTo>
                  <a:pt x="13320" y="5833"/>
                </a:lnTo>
                <a:lnTo>
                  <a:pt x="13344" y="5831"/>
                </a:lnTo>
                <a:lnTo>
                  <a:pt x="13367" y="5830"/>
                </a:lnTo>
                <a:lnTo>
                  <a:pt x="13388" y="5830"/>
                </a:lnTo>
                <a:lnTo>
                  <a:pt x="13407" y="5831"/>
                </a:lnTo>
                <a:lnTo>
                  <a:pt x="13427" y="5833"/>
                </a:lnTo>
                <a:lnTo>
                  <a:pt x="13461" y="5837"/>
                </a:lnTo>
                <a:lnTo>
                  <a:pt x="13491" y="5842"/>
                </a:lnTo>
                <a:lnTo>
                  <a:pt x="13521" y="5848"/>
                </a:lnTo>
                <a:lnTo>
                  <a:pt x="13549" y="5854"/>
                </a:lnTo>
                <a:lnTo>
                  <a:pt x="13577" y="5861"/>
                </a:lnTo>
                <a:lnTo>
                  <a:pt x="13605" y="5867"/>
                </a:lnTo>
                <a:lnTo>
                  <a:pt x="13635" y="5871"/>
                </a:lnTo>
                <a:lnTo>
                  <a:pt x="13668" y="5873"/>
                </a:lnTo>
                <a:lnTo>
                  <a:pt x="13686" y="5875"/>
                </a:lnTo>
                <a:lnTo>
                  <a:pt x="13705" y="5875"/>
                </a:lnTo>
                <a:lnTo>
                  <a:pt x="13726" y="5873"/>
                </a:lnTo>
                <a:lnTo>
                  <a:pt x="13747" y="5872"/>
                </a:lnTo>
                <a:lnTo>
                  <a:pt x="13770" y="5870"/>
                </a:lnTo>
                <a:lnTo>
                  <a:pt x="13796" y="5866"/>
                </a:lnTo>
                <a:lnTo>
                  <a:pt x="13823" y="5862"/>
                </a:lnTo>
                <a:lnTo>
                  <a:pt x="13851" y="5857"/>
                </a:lnTo>
                <a:lnTo>
                  <a:pt x="13851" y="5862"/>
                </a:lnTo>
                <a:lnTo>
                  <a:pt x="13851" y="5868"/>
                </a:lnTo>
                <a:lnTo>
                  <a:pt x="13853" y="5873"/>
                </a:lnTo>
                <a:lnTo>
                  <a:pt x="13856" y="5880"/>
                </a:lnTo>
                <a:lnTo>
                  <a:pt x="13859" y="5885"/>
                </a:lnTo>
                <a:lnTo>
                  <a:pt x="13865" y="5889"/>
                </a:lnTo>
                <a:lnTo>
                  <a:pt x="13870" y="5894"/>
                </a:lnTo>
                <a:lnTo>
                  <a:pt x="13876" y="5898"/>
                </a:lnTo>
                <a:lnTo>
                  <a:pt x="13890" y="5904"/>
                </a:lnTo>
                <a:lnTo>
                  <a:pt x="13905" y="5910"/>
                </a:lnTo>
                <a:lnTo>
                  <a:pt x="13922" y="5915"/>
                </a:lnTo>
                <a:lnTo>
                  <a:pt x="13938" y="5918"/>
                </a:lnTo>
                <a:lnTo>
                  <a:pt x="13954" y="5921"/>
                </a:lnTo>
                <a:lnTo>
                  <a:pt x="13968" y="5921"/>
                </a:lnTo>
                <a:lnTo>
                  <a:pt x="13979" y="5921"/>
                </a:lnTo>
                <a:lnTo>
                  <a:pt x="13988" y="5918"/>
                </a:lnTo>
                <a:lnTo>
                  <a:pt x="13992" y="5915"/>
                </a:lnTo>
                <a:lnTo>
                  <a:pt x="13993" y="5914"/>
                </a:lnTo>
                <a:lnTo>
                  <a:pt x="13994" y="5912"/>
                </a:lnTo>
                <a:lnTo>
                  <a:pt x="13994" y="5909"/>
                </a:lnTo>
                <a:lnTo>
                  <a:pt x="13992" y="5905"/>
                </a:lnTo>
                <a:lnTo>
                  <a:pt x="13989" y="5901"/>
                </a:lnTo>
                <a:lnTo>
                  <a:pt x="13984" y="5898"/>
                </a:lnTo>
                <a:lnTo>
                  <a:pt x="13978" y="5894"/>
                </a:lnTo>
                <a:lnTo>
                  <a:pt x="14101" y="5898"/>
                </a:lnTo>
                <a:lnTo>
                  <a:pt x="14187" y="5898"/>
                </a:lnTo>
                <a:lnTo>
                  <a:pt x="14217" y="5898"/>
                </a:lnTo>
                <a:lnTo>
                  <a:pt x="14239" y="5896"/>
                </a:lnTo>
                <a:lnTo>
                  <a:pt x="14256" y="5895"/>
                </a:lnTo>
                <a:lnTo>
                  <a:pt x="14266" y="5893"/>
                </a:lnTo>
                <a:lnTo>
                  <a:pt x="14270" y="5890"/>
                </a:lnTo>
                <a:lnTo>
                  <a:pt x="14270" y="5886"/>
                </a:lnTo>
                <a:lnTo>
                  <a:pt x="14266" y="5884"/>
                </a:lnTo>
                <a:lnTo>
                  <a:pt x="14259" y="5880"/>
                </a:lnTo>
                <a:lnTo>
                  <a:pt x="14238" y="5872"/>
                </a:lnTo>
                <a:lnTo>
                  <a:pt x="14211" y="5863"/>
                </a:lnTo>
                <a:lnTo>
                  <a:pt x="14186" y="5856"/>
                </a:lnTo>
                <a:lnTo>
                  <a:pt x="14165" y="5849"/>
                </a:lnTo>
                <a:lnTo>
                  <a:pt x="14160" y="5845"/>
                </a:lnTo>
                <a:lnTo>
                  <a:pt x="14157" y="5843"/>
                </a:lnTo>
                <a:lnTo>
                  <a:pt x="14160" y="5840"/>
                </a:lnTo>
                <a:lnTo>
                  <a:pt x="14166" y="5839"/>
                </a:lnTo>
                <a:lnTo>
                  <a:pt x="14179" y="5838"/>
                </a:lnTo>
                <a:lnTo>
                  <a:pt x="14198" y="5837"/>
                </a:lnTo>
                <a:lnTo>
                  <a:pt x="14224" y="5837"/>
                </a:lnTo>
                <a:lnTo>
                  <a:pt x="14258" y="5837"/>
                </a:lnTo>
                <a:lnTo>
                  <a:pt x="14351" y="5840"/>
                </a:lnTo>
                <a:lnTo>
                  <a:pt x="14484" y="5847"/>
                </a:lnTo>
                <a:lnTo>
                  <a:pt x="14468" y="5839"/>
                </a:lnTo>
                <a:lnTo>
                  <a:pt x="14448" y="5831"/>
                </a:lnTo>
                <a:lnTo>
                  <a:pt x="14422" y="5824"/>
                </a:lnTo>
                <a:lnTo>
                  <a:pt x="14393" y="5816"/>
                </a:lnTo>
                <a:lnTo>
                  <a:pt x="14360" y="5809"/>
                </a:lnTo>
                <a:lnTo>
                  <a:pt x="14323" y="5801"/>
                </a:lnTo>
                <a:lnTo>
                  <a:pt x="14284" y="5793"/>
                </a:lnTo>
                <a:lnTo>
                  <a:pt x="14240" y="5787"/>
                </a:lnTo>
                <a:lnTo>
                  <a:pt x="14145" y="5773"/>
                </a:lnTo>
                <a:lnTo>
                  <a:pt x="14040" y="5759"/>
                </a:lnTo>
                <a:lnTo>
                  <a:pt x="13928" y="5745"/>
                </a:lnTo>
                <a:lnTo>
                  <a:pt x="13812" y="5732"/>
                </a:lnTo>
                <a:lnTo>
                  <a:pt x="13693" y="5718"/>
                </a:lnTo>
                <a:lnTo>
                  <a:pt x="13572" y="5704"/>
                </a:lnTo>
                <a:lnTo>
                  <a:pt x="13453" y="5691"/>
                </a:lnTo>
                <a:lnTo>
                  <a:pt x="13339" y="5677"/>
                </a:lnTo>
                <a:lnTo>
                  <a:pt x="13229" y="5663"/>
                </a:lnTo>
                <a:lnTo>
                  <a:pt x="13127" y="5649"/>
                </a:lnTo>
                <a:lnTo>
                  <a:pt x="13080" y="5642"/>
                </a:lnTo>
                <a:lnTo>
                  <a:pt x="13037" y="5634"/>
                </a:lnTo>
                <a:lnTo>
                  <a:pt x="12995" y="5627"/>
                </a:lnTo>
                <a:lnTo>
                  <a:pt x="12958" y="5619"/>
                </a:lnTo>
                <a:lnTo>
                  <a:pt x="12971" y="5616"/>
                </a:lnTo>
                <a:lnTo>
                  <a:pt x="12986" y="5615"/>
                </a:lnTo>
                <a:lnTo>
                  <a:pt x="13002" y="5616"/>
                </a:lnTo>
                <a:lnTo>
                  <a:pt x="13019" y="5619"/>
                </a:lnTo>
                <a:lnTo>
                  <a:pt x="13055" y="5627"/>
                </a:lnTo>
                <a:lnTo>
                  <a:pt x="13090" y="5634"/>
                </a:lnTo>
                <a:lnTo>
                  <a:pt x="13107" y="5637"/>
                </a:lnTo>
                <a:lnTo>
                  <a:pt x="13122" y="5638"/>
                </a:lnTo>
                <a:lnTo>
                  <a:pt x="13136" y="5638"/>
                </a:lnTo>
                <a:lnTo>
                  <a:pt x="13149" y="5637"/>
                </a:lnTo>
                <a:lnTo>
                  <a:pt x="13154" y="5634"/>
                </a:lnTo>
                <a:lnTo>
                  <a:pt x="13159" y="5632"/>
                </a:lnTo>
                <a:lnTo>
                  <a:pt x="13163" y="5628"/>
                </a:lnTo>
                <a:lnTo>
                  <a:pt x="13167" y="5624"/>
                </a:lnTo>
                <a:lnTo>
                  <a:pt x="13169" y="5619"/>
                </a:lnTo>
                <a:lnTo>
                  <a:pt x="13172" y="5614"/>
                </a:lnTo>
                <a:lnTo>
                  <a:pt x="13173" y="5606"/>
                </a:lnTo>
                <a:lnTo>
                  <a:pt x="13173" y="5598"/>
                </a:lnTo>
                <a:lnTo>
                  <a:pt x="13116" y="5596"/>
                </a:lnTo>
                <a:lnTo>
                  <a:pt x="13067" y="5592"/>
                </a:lnTo>
                <a:lnTo>
                  <a:pt x="13027" y="5588"/>
                </a:lnTo>
                <a:lnTo>
                  <a:pt x="12994" y="5584"/>
                </a:lnTo>
                <a:lnTo>
                  <a:pt x="12967" y="5579"/>
                </a:lnTo>
                <a:lnTo>
                  <a:pt x="12948" y="5576"/>
                </a:lnTo>
                <a:lnTo>
                  <a:pt x="12935" y="5570"/>
                </a:lnTo>
                <a:lnTo>
                  <a:pt x="12929" y="5565"/>
                </a:lnTo>
                <a:lnTo>
                  <a:pt x="12927" y="5559"/>
                </a:lnTo>
                <a:lnTo>
                  <a:pt x="12931" y="5554"/>
                </a:lnTo>
                <a:lnTo>
                  <a:pt x="12940" y="5548"/>
                </a:lnTo>
                <a:lnTo>
                  <a:pt x="12954" y="5542"/>
                </a:lnTo>
                <a:lnTo>
                  <a:pt x="12972" y="5536"/>
                </a:lnTo>
                <a:lnTo>
                  <a:pt x="12992" y="5530"/>
                </a:lnTo>
                <a:lnTo>
                  <a:pt x="13016" y="5523"/>
                </a:lnTo>
                <a:lnTo>
                  <a:pt x="13044" y="5517"/>
                </a:lnTo>
                <a:lnTo>
                  <a:pt x="13107" y="5504"/>
                </a:lnTo>
                <a:lnTo>
                  <a:pt x="13176" y="5492"/>
                </a:lnTo>
                <a:lnTo>
                  <a:pt x="13249" y="5479"/>
                </a:lnTo>
                <a:lnTo>
                  <a:pt x="13323" y="5467"/>
                </a:lnTo>
                <a:lnTo>
                  <a:pt x="13395" y="5456"/>
                </a:lnTo>
                <a:lnTo>
                  <a:pt x="13462" y="5446"/>
                </a:lnTo>
                <a:lnTo>
                  <a:pt x="13521" y="5436"/>
                </a:lnTo>
                <a:lnTo>
                  <a:pt x="13567" y="5427"/>
                </a:lnTo>
                <a:lnTo>
                  <a:pt x="13586" y="5418"/>
                </a:lnTo>
                <a:lnTo>
                  <a:pt x="13595" y="5411"/>
                </a:lnTo>
                <a:lnTo>
                  <a:pt x="13596" y="5406"/>
                </a:lnTo>
                <a:lnTo>
                  <a:pt x="13588" y="5401"/>
                </a:lnTo>
                <a:lnTo>
                  <a:pt x="13573" y="5399"/>
                </a:lnTo>
                <a:lnTo>
                  <a:pt x="13551" y="5397"/>
                </a:lnTo>
                <a:lnTo>
                  <a:pt x="13523" y="5396"/>
                </a:lnTo>
                <a:lnTo>
                  <a:pt x="13489" y="5396"/>
                </a:lnTo>
                <a:lnTo>
                  <a:pt x="13404" y="5400"/>
                </a:lnTo>
                <a:lnTo>
                  <a:pt x="13299" y="5406"/>
                </a:lnTo>
                <a:lnTo>
                  <a:pt x="13181" y="5414"/>
                </a:lnTo>
                <a:lnTo>
                  <a:pt x="13052" y="5423"/>
                </a:lnTo>
                <a:lnTo>
                  <a:pt x="12917" y="5433"/>
                </a:lnTo>
                <a:lnTo>
                  <a:pt x="12780" y="5443"/>
                </a:lnTo>
                <a:lnTo>
                  <a:pt x="12643" y="5453"/>
                </a:lnTo>
                <a:lnTo>
                  <a:pt x="12513" y="5461"/>
                </a:lnTo>
                <a:lnTo>
                  <a:pt x="12391" y="5467"/>
                </a:lnTo>
                <a:lnTo>
                  <a:pt x="12283" y="5470"/>
                </a:lnTo>
                <a:lnTo>
                  <a:pt x="12236" y="5470"/>
                </a:lnTo>
                <a:lnTo>
                  <a:pt x="12192" y="5470"/>
                </a:lnTo>
                <a:lnTo>
                  <a:pt x="12154" y="5467"/>
                </a:lnTo>
                <a:lnTo>
                  <a:pt x="12122" y="5465"/>
                </a:lnTo>
                <a:lnTo>
                  <a:pt x="12154" y="5452"/>
                </a:lnTo>
                <a:lnTo>
                  <a:pt x="12194" y="5439"/>
                </a:lnTo>
                <a:lnTo>
                  <a:pt x="12242" y="5428"/>
                </a:lnTo>
                <a:lnTo>
                  <a:pt x="12297" y="5416"/>
                </a:lnTo>
                <a:lnTo>
                  <a:pt x="12358" y="5405"/>
                </a:lnTo>
                <a:lnTo>
                  <a:pt x="12426" y="5394"/>
                </a:lnTo>
                <a:lnTo>
                  <a:pt x="12498" y="5382"/>
                </a:lnTo>
                <a:lnTo>
                  <a:pt x="12575" y="5372"/>
                </a:lnTo>
                <a:lnTo>
                  <a:pt x="12739" y="5352"/>
                </a:lnTo>
                <a:lnTo>
                  <a:pt x="12913" y="5331"/>
                </a:lnTo>
                <a:lnTo>
                  <a:pt x="13092" y="5313"/>
                </a:lnTo>
                <a:lnTo>
                  <a:pt x="13270" y="5294"/>
                </a:lnTo>
                <a:lnTo>
                  <a:pt x="13441" y="5278"/>
                </a:lnTo>
                <a:lnTo>
                  <a:pt x="13601" y="5260"/>
                </a:lnTo>
                <a:lnTo>
                  <a:pt x="13744" y="5245"/>
                </a:lnTo>
                <a:lnTo>
                  <a:pt x="13863" y="5228"/>
                </a:lnTo>
                <a:lnTo>
                  <a:pt x="13913" y="5220"/>
                </a:lnTo>
                <a:lnTo>
                  <a:pt x="13955" y="5213"/>
                </a:lnTo>
                <a:lnTo>
                  <a:pt x="13989" y="5205"/>
                </a:lnTo>
                <a:lnTo>
                  <a:pt x="14014" y="5198"/>
                </a:lnTo>
                <a:lnTo>
                  <a:pt x="14029" y="5190"/>
                </a:lnTo>
                <a:lnTo>
                  <a:pt x="14034" y="5182"/>
                </a:lnTo>
                <a:lnTo>
                  <a:pt x="14028" y="5175"/>
                </a:lnTo>
                <a:lnTo>
                  <a:pt x="14010" y="5167"/>
                </a:lnTo>
                <a:lnTo>
                  <a:pt x="13839" y="5163"/>
                </a:lnTo>
                <a:lnTo>
                  <a:pt x="13714" y="5161"/>
                </a:lnTo>
                <a:lnTo>
                  <a:pt x="13629" y="5158"/>
                </a:lnTo>
                <a:lnTo>
                  <a:pt x="13579" y="5157"/>
                </a:lnTo>
                <a:lnTo>
                  <a:pt x="13568" y="5156"/>
                </a:lnTo>
                <a:lnTo>
                  <a:pt x="13563" y="5156"/>
                </a:lnTo>
                <a:lnTo>
                  <a:pt x="13565" y="5154"/>
                </a:lnTo>
                <a:lnTo>
                  <a:pt x="13574" y="5152"/>
                </a:lnTo>
                <a:lnTo>
                  <a:pt x="13610" y="5148"/>
                </a:lnTo>
                <a:lnTo>
                  <a:pt x="13666" y="5143"/>
                </a:lnTo>
                <a:lnTo>
                  <a:pt x="13737" y="5134"/>
                </a:lnTo>
                <a:lnTo>
                  <a:pt x="13821" y="5124"/>
                </a:lnTo>
                <a:lnTo>
                  <a:pt x="13866" y="5117"/>
                </a:lnTo>
                <a:lnTo>
                  <a:pt x="13913" y="5110"/>
                </a:lnTo>
                <a:lnTo>
                  <a:pt x="13960" y="5101"/>
                </a:lnTo>
                <a:lnTo>
                  <a:pt x="14008" y="5092"/>
                </a:lnTo>
                <a:lnTo>
                  <a:pt x="14057" y="5082"/>
                </a:lnTo>
                <a:lnTo>
                  <a:pt x="14104" y="5070"/>
                </a:lnTo>
                <a:lnTo>
                  <a:pt x="14150" y="5058"/>
                </a:lnTo>
                <a:lnTo>
                  <a:pt x="14194" y="5044"/>
                </a:lnTo>
                <a:lnTo>
                  <a:pt x="14238" y="5027"/>
                </a:lnTo>
                <a:lnTo>
                  <a:pt x="14277" y="5010"/>
                </a:lnTo>
                <a:lnTo>
                  <a:pt x="14314" y="4993"/>
                </a:lnTo>
                <a:lnTo>
                  <a:pt x="14347" y="4973"/>
                </a:lnTo>
                <a:lnTo>
                  <a:pt x="14329" y="4958"/>
                </a:lnTo>
                <a:lnTo>
                  <a:pt x="14304" y="4944"/>
                </a:lnTo>
                <a:lnTo>
                  <a:pt x="14272" y="4934"/>
                </a:lnTo>
                <a:lnTo>
                  <a:pt x="14235" y="4925"/>
                </a:lnTo>
                <a:lnTo>
                  <a:pt x="14192" y="4917"/>
                </a:lnTo>
                <a:lnTo>
                  <a:pt x="14145" y="4912"/>
                </a:lnTo>
                <a:lnTo>
                  <a:pt x="14094" y="4907"/>
                </a:lnTo>
                <a:lnTo>
                  <a:pt x="14038" y="4905"/>
                </a:lnTo>
                <a:lnTo>
                  <a:pt x="13980" y="4903"/>
                </a:lnTo>
                <a:lnTo>
                  <a:pt x="13921" y="4903"/>
                </a:lnTo>
                <a:lnTo>
                  <a:pt x="13858" y="4903"/>
                </a:lnTo>
                <a:lnTo>
                  <a:pt x="13795" y="4905"/>
                </a:lnTo>
                <a:lnTo>
                  <a:pt x="13666" y="4910"/>
                </a:lnTo>
                <a:lnTo>
                  <a:pt x="13540" y="4915"/>
                </a:lnTo>
                <a:lnTo>
                  <a:pt x="13421" y="4920"/>
                </a:lnTo>
                <a:lnTo>
                  <a:pt x="13313" y="4924"/>
                </a:lnTo>
                <a:lnTo>
                  <a:pt x="13265" y="4924"/>
                </a:lnTo>
                <a:lnTo>
                  <a:pt x="13220" y="4925"/>
                </a:lnTo>
                <a:lnTo>
                  <a:pt x="13182" y="4924"/>
                </a:lnTo>
                <a:lnTo>
                  <a:pt x="13149" y="4921"/>
                </a:lnTo>
                <a:lnTo>
                  <a:pt x="13122" y="4919"/>
                </a:lnTo>
                <a:lnTo>
                  <a:pt x="13102" y="4914"/>
                </a:lnTo>
                <a:lnTo>
                  <a:pt x="13089" y="4907"/>
                </a:lnTo>
                <a:lnTo>
                  <a:pt x="13085" y="4900"/>
                </a:lnTo>
                <a:lnTo>
                  <a:pt x="13089" y="4889"/>
                </a:lnTo>
                <a:lnTo>
                  <a:pt x="13103" y="4878"/>
                </a:lnTo>
                <a:lnTo>
                  <a:pt x="13126" y="4864"/>
                </a:lnTo>
                <a:lnTo>
                  <a:pt x="13159" y="4847"/>
                </a:lnTo>
                <a:lnTo>
                  <a:pt x="12969" y="4849"/>
                </a:lnTo>
                <a:lnTo>
                  <a:pt x="12822" y="4849"/>
                </a:lnTo>
                <a:lnTo>
                  <a:pt x="12712" y="4847"/>
                </a:lnTo>
                <a:lnTo>
                  <a:pt x="12638" y="4845"/>
                </a:lnTo>
                <a:lnTo>
                  <a:pt x="12613" y="4842"/>
                </a:lnTo>
                <a:lnTo>
                  <a:pt x="12596" y="4841"/>
                </a:lnTo>
                <a:lnTo>
                  <a:pt x="12587" y="4839"/>
                </a:lnTo>
                <a:lnTo>
                  <a:pt x="12585" y="4836"/>
                </a:lnTo>
                <a:lnTo>
                  <a:pt x="12589" y="4832"/>
                </a:lnTo>
                <a:lnTo>
                  <a:pt x="12600" y="4830"/>
                </a:lnTo>
                <a:lnTo>
                  <a:pt x="12617" y="4826"/>
                </a:lnTo>
                <a:lnTo>
                  <a:pt x="12639" y="4822"/>
                </a:lnTo>
                <a:lnTo>
                  <a:pt x="12701" y="4816"/>
                </a:lnTo>
                <a:lnTo>
                  <a:pt x="12781" y="4808"/>
                </a:lnTo>
                <a:lnTo>
                  <a:pt x="12876" y="4799"/>
                </a:lnTo>
                <a:lnTo>
                  <a:pt x="12985" y="4791"/>
                </a:lnTo>
                <a:lnTo>
                  <a:pt x="13103" y="4784"/>
                </a:lnTo>
                <a:lnTo>
                  <a:pt x="13229" y="4777"/>
                </a:lnTo>
                <a:lnTo>
                  <a:pt x="13359" y="4770"/>
                </a:lnTo>
                <a:lnTo>
                  <a:pt x="13491" y="4765"/>
                </a:lnTo>
                <a:lnTo>
                  <a:pt x="13407" y="4752"/>
                </a:lnTo>
                <a:lnTo>
                  <a:pt x="13348" y="4741"/>
                </a:lnTo>
                <a:lnTo>
                  <a:pt x="13327" y="4737"/>
                </a:lnTo>
                <a:lnTo>
                  <a:pt x="13311" y="4732"/>
                </a:lnTo>
                <a:lnTo>
                  <a:pt x="13299" y="4728"/>
                </a:lnTo>
                <a:lnTo>
                  <a:pt x="13294" y="4725"/>
                </a:lnTo>
                <a:lnTo>
                  <a:pt x="13292" y="4721"/>
                </a:lnTo>
                <a:lnTo>
                  <a:pt x="13294" y="4719"/>
                </a:lnTo>
                <a:lnTo>
                  <a:pt x="13300" y="4716"/>
                </a:lnTo>
                <a:lnTo>
                  <a:pt x="13311" y="4715"/>
                </a:lnTo>
                <a:lnTo>
                  <a:pt x="13340" y="4711"/>
                </a:lnTo>
                <a:lnTo>
                  <a:pt x="13381" y="4707"/>
                </a:lnTo>
                <a:lnTo>
                  <a:pt x="13429" y="4706"/>
                </a:lnTo>
                <a:lnTo>
                  <a:pt x="13485" y="4704"/>
                </a:lnTo>
                <a:lnTo>
                  <a:pt x="13545" y="4701"/>
                </a:lnTo>
                <a:lnTo>
                  <a:pt x="13607" y="4699"/>
                </a:lnTo>
                <a:lnTo>
                  <a:pt x="13668" y="4696"/>
                </a:lnTo>
                <a:lnTo>
                  <a:pt x="13728" y="4692"/>
                </a:lnTo>
                <a:lnTo>
                  <a:pt x="13783" y="4687"/>
                </a:lnTo>
                <a:lnTo>
                  <a:pt x="13830" y="4682"/>
                </a:lnTo>
                <a:lnTo>
                  <a:pt x="13884" y="4674"/>
                </a:lnTo>
                <a:lnTo>
                  <a:pt x="13926" y="4669"/>
                </a:lnTo>
                <a:lnTo>
                  <a:pt x="13959" y="4664"/>
                </a:lnTo>
                <a:lnTo>
                  <a:pt x="13983" y="4659"/>
                </a:lnTo>
                <a:lnTo>
                  <a:pt x="13997" y="4655"/>
                </a:lnTo>
                <a:lnTo>
                  <a:pt x="14005" y="4651"/>
                </a:lnTo>
                <a:lnTo>
                  <a:pt x="14003" y="4649"/>
                </a:lnTo>
                <a:lnTo>
                  <a:pt x="13996" y="4646"/>
                </a:lnTo>
                <a:lnTo>
                  <a:pt x="13982" y="4645"/>
                </a:lnTo>
                <a:lnTo>
                  <a:pt x="13963" y="4644"/>
                </a:lnTo>
                <a:lnTo>
                  <a:pt x="13937" y="4643"/>
                </a:lnTo>
                <a:lnTo>
                  <a:pt x="13907" y="4643"/>
                </a:lnTo>
                <a:lnTo>
                  <a:pt x="13834" y="4644"/>
                </a:lnTo>
                <a:lnTo>
                  <a:pt x="13749" y="4645"/>
                </a:lnTo>
                <a:lnTo>
                  <a:pt x="13654" y="4648"/>
                </a:lnTo>
                <a:lnTo>
                  <a:pt x="13556" y="4651"/>
                </a:lnTo>
                <a:lnTo>
                  <a:pt x="13458" y="4655"/>
                </a:lnTo>
                <a:lnTo>
                  <a:pt x="13365" y="4660"/>
                </a:lnTo>
                <a:lnTo>
                  <a:pt x="13281" y="4665"/>
                </a:lnTo>
                <a:lnTo>
                  <a:pt x="13210" y="4669"/>
                </a:lnTo>
                <a:lnTo>
                  <a:pt x="13157" y="4674"/>
                </a:lnTo>
                <a:lnTo>
                  <a:pt x="13125" y="4678"/>
                </a:lnTo>
                <a:lnTo>
                  <a:pt x="13056" y="4676"/>
                </a:lnTo>
                <a:lnTo>
                  <a:pt x="12974" y="4674"/>
                </a:lnTo>
                <a:lnTo>
                  <a:pt x="12885" y="4674"/>
                </a:lnTo>
                <a:lnTo>
                  <a:pt x="12790" y="4676"/>
                </a:lnTo>
                <a:lnTo>
                  <a:pt x="12692" y="4676"/>
                </a:lnTo>
                <a:lnTo>
                  <a:pt x="12594" y="4677"/>
                </a:lnTo>
                <a:lnTo>
                  <a:pt x="12498" y="4677"/>
                </a:lnTo>
                <a:lnTo>
                  <a:pt x="12409" y="4676"/>
                </a:lnTo>
                <a:lnTo>
                  <a:pt x="12329" y="4674"/>
                </a:lnTo>
                <a:lnTo>
                  <a:pt x="12259" y="4671"/>
                </a:lnTo>
                <a:lnTo>
                  <a:pt x="12229" y="4668"/>
                </a:lnTo>
                <a:lnTo>
                  <a:pt x="12204" y="4665"/>
                </a:lnTo>
                <a:lnTo>
                  <a:pt x="12184" y="4662"/>
                </a:lnTo>
                <a:lnTo>
                  <a:pt x="12167" y="4658"/>
                </a:lnTo>
                <a:lnTo>
                  <a:pt x="12156" y="4654"/>
                </a:lnTo>
                <a:lnTo>
                  <a:pt x="12149" y="4649"/>
                </a:lnTo>
                <a:lnTo>
                  <a:pt x="12149" y="4643"/>
                </a:lnTo>
                <a:lnTo>
                  <a:pt x="12154" y="4636"/>
                </a:lnTo>
                <a:lnTo>
                  <a:pt x="12167" y="4629"/>
                </a:lnTo>
                <a:lnTo>
                  <a:pt x="12186" y="4620"/>
                </a:lnTo>
                <a:lnTo>
                  <a:pt x="12212" y="4611"/>
                </a:lnTo>
                <a:lnTo>
                  <a:pt x="12246" y="4601"/>
                </a:lnTo>
                <a:lnTo>
                  <a:pt x="12446" y="4595"/>
                </a:lnTo>
                <a:lnTo>
                  <a:pt x="12633" y="4588"/>
                </a:lnTo>
                <a:lnTo>
                  <a:pt x="12804" y="4581"/>
                </a:lnTo>
                <a:lnTo>
                  <a:pt x="12958" y="4574"/>
                </a:lnTo>
                <a:lnTo>
                  <a:pt x="13092" y="4565"/>
                </a:lnTo>
                <a:lnTo>
                  <a:pt x="13204" y="4557"/>
                </a:lnTo>
                <a:lnTo>
                  <a:pt x="13249" y="4552"/>
                </a:lnTo>
                <a:lnTo>
                  <a:pt x="13290" y="4548"/>
                </a:lnTo>
                <a:lnTo>
                  <a:pt x="13323" y="4545"/>
                </a:lnTo>
                <a:lnTo>
                  <a:pt x="13350" y="4541"/>
                </a:lnTo>
                <a:lnTo>
                  <a:pt x="13369" y="4537"/>
                </a:lnTo>
                <a:lnTo>
                  <a:pt x="13382" y="4532"/>
                </a:lnTo>
                <a:lnTo>
                  <a:pt x="13386" y="4529"/>
                </a:lnTo>
                <a:lnTo>
                  <a:pt x="13382" y="4525"/>
                </a:lnTo>
                <a:lnTo>
                  <a:pt x="13369" y="4522"/>
                </a:lnTo>
                <a:lnTo>
                  <a:pt x="13348" y="4519"/>
                </a:lnTo>
                <a:lnTo>
                  <a:pt x="13317" y="4515"/>
                </a:lnTo>
                <a:lnTo>
                  <a:pt x="13278" y="4513"/>
                </a:lnTo>
                <a:lnTo>
                  <a:pt x="13169" y="4509"/>
                </a:lnTo>
                <a:lnTo>
                  <a:pt x="13022" y="4505"/>
                </a:lnTo>
                <a:lnTo>
                  <a:pt x="12829" y="4504"/>
                </a:lnTo>
                <a:lnTo>
                  <a:pt x="12594" y="4503"/>
                </a:lnTo>
                <a:lnTo>
                  <a:pt x="12625" y="4503"/>
                </a:lnTo>
                <a:lnTo>
                  <a:pt x="12665" y="4501"/>
                </a:lnTo>
                <a:lnTo>
                  <a:pt x="12711" y="4499"/>
                </a:lnTo>
                <a:lnTo>
                  <a:pt x="12759" y="4495"/>
                </a:lnTo>
                <a:lnTo>
                  <a:pt x="12811" y="4491"/>
                </a:lnTo>
                <a:lnTo>
                  <a:pt x="12864" y="4487"/>
                </a:lnTo>
                <a:lnTo>
                  <a:pt x="12913" y="4482"/>
                </a:lnTo>
                <a:lnTo>
                  <a:pt x="12960" y="4478"/>
                </a:lnTo>
                <a:lnTo>
                  <a:pt x="13001" y="4473"/>
                </a:lnTo>
                <a:lnTo>
                  <a:pt x="13036" y="4468"/>
                </a:lnTo>
                <a:lnTo>
                  <a:pt x="13061" y="4464"/>
                </a:lnTo>
                <a:lnTo>
                  <a:pt x="13075" y="4461"/>
                </a:lnTo>
                <a:lnTo>
                  <a:pt x="13078" y="4459"/>
                </a:lnTo>
                <a:lnTo>
                  <a:pt x="13078" y="4458"/>
                </a:lnTo>
                <a:lnTo>
                  <a:pt x="13072" y="4457"/>
                </a:lnTo>
                <a:lnTo>
                  <a:pt x="13065" y="4457"/>
                </a:lnTo>
                <a:lnTo>
                  <a:pt x="13036" y="4455"/>
                </a:lnTo>
                <a:lnTo>
                  <a:pt x="12987" y="4457"/>
                </a:lnTo>
                <a:lnTo>
                  <a:pt x="12865" y="4461"/>
                </a:lnTo>
                <a:lnTo>
                  <a:pt x="12748" y="4463"/>
                </a:lnTo>
                <a:lnTo>
                  <a:pt x="12633" y="4467"/>
                </a:lnTo>
                <a:lnTo>
                  <a:pt x="12522" y="4469"/>
                </a:lnTo>
                <a:lnTo>
                  <a:pt x="12415" y="4472"/>
                </a:lnTo>
                <a:lnTo>
                  <a:pt x="12311" y="4475"/>
                </a:lnTo>
                <a:lnTo>
                  <a:pt x="12210" y="4476"/>
                </a:lnTo>
                <a:lnTo>
                  <a:pt x="12111" y="4476"/>
                </a:lnTo>
                <a:lnTo>
                  <a:pt x="12014" y="4476"/>
                </a:lnTo>
                <a:lnTo>
                  <a:pt x="11920" y="4475"/>
                </a:lnTo>
                <a:lnTo>
                  <a:pt x="11828" y="4472"/>
                </a:lnTo>
                <a:lnTo>
                  <a:pt x="11737" y="4469"/>
                </a:lnTo>
                <a:lnTo>
                  <a:pt x="11647" y="4466"/>
                </a:lnTo>
                <a:lnTo>
                  <a:pt x="11560" y="4459"/>
                </a:lnTo>
                <a:lnTo>
                  <a:pt x="11473" y="4453"/>
                </a:lnTo>
                <a:lnTo>
                  <a:pt x="11386" y="4444"/>
                </a:lnTo>
                <a:lnTo>
                  <a:pt x="11431" y="4418"/>
                </a:lnTo>
                <a:lnTo>
                  <a:pt x="11477" y="4392"/>
                </a:lnTo>
                <a:lnTo>
                  <a:pt x="11523" y="4365"/>
                </a:lnTo>
                <a:lnTo>
                  <a:pt x="11566" y="4340"/>
                </a:lnTo>
                <a:lnTo>
                  <a:pt x="11607" y="4315"/>
                </a:lnTo>
                <a:lnTo>
                  <a:pt x="11642" y="4294"/>
                </a:lnTo>
                <a:lnTo>
                  <a:pt x="11672" y="4273"/>
                </a:lnTo>
                <a:lnTo>
                  <a:pt x="11695" y="4258"/>
                </a:lnTo>
                <a:lnTo>
                  <a:pt x="11703" y="4252"/>
                </a:lnTo>
                <a:lnTo>
                  <a:pt x="11710" y="4247"/>
                </a:lnTo>
                <a:lnTo>
                  <a:pt x="11712" y="4243"/>
                </a:lnTo>
                <a:lnTo>
                  <a:pt x="11714" y="4239"/>
                </a:lnTo>
                <a:lnTo>
                  <a:pt x="11711" y="4238"/>
                </a:lnTo>
                <a:lnTo>
                  <a:pt x="11707" y="4238"/>
                </a:lnTo>
                <a:lnTo>
                  <a:pt x="11698" y="4240"/>
                </a:lnTo>
                <a:lnTo>
                  <a:pt x="11687" y="4243"/>
                </a:lnTo>
                <a:lnTo>
                  <a:pt x="11654" y="4256"/>
                </a:lnTo>
                <a:lnTo>
                  <a:pt x="11605" y="4275"/>
                </a:lnTo>
                <a:lnTo>
                  <a:pt x="11540" y="4303"/>
                </a:lnTo>
                <a:lnTo>
                  <a:pt x="11458" y="4340"/>
                </a:lnTo>
                <a:lnTo>
                  <a:pt x="11458" y="4334"/>
                </a:lnTo>
                <a:lnTo>
                  <a:pt x="11460" y="4328"/>
                </a:lnTo>
                <a:lnTo>
                  <a:pt x="11463" y="4323"/>
                </a:lnTo>
                <a:lnTo>
                  <a:pt x="11467" y="4317"/>
                </a:lnTo>
                <a:lnTo>
                  <a:pt x="11477" y="4304"/>
                </a:lnTo>
                <a:lnTo>
                  <a:pt x="11491" y="4291"/>
                </a:lnTo>
                <a:lnTo>
                  <a:pt x="11506" y="4278"/>
                </a:lnTo>
                <a:lnTo>
                  <a:pt x="11525" y="4266"/>
                </a:lnTo>
                <a:lnTo>
                  <a:pt x="11544" y="4252"/>
                </a:lnTo>
                <a:lnTo>
                  <a:pt x="11565" y="4239"/>
                </a:lnTo>
                <a:lnTo>
                  <a:pt x="11608" y="4215"/>
                </a:lnTo>
                <a:lnTo>
                  <a:pt x="11647" y="4193"/>
                </a:lnTo>
                <a:lnTo>
                  <a:pt x="11682" y="4177"/>
                </a:lnTo>
                <a:lnTo>
                  <a:pt x="11705" y="4165"/>
                </a:lnTo>
                <a:lnTo>
                  <a:pt x="11691" y="4177"/>
                </a:lnTo>
                <a:lnTo>
                  <a:pt x="11682" y="4184"/>
                </a:lnTo>
                <a:lnTo>
                  <a:pt x="11677" y="4192"/>
                </a:lnTo>
                <a:lnTo>
                  <a:pt x="11675" y="4196"/>
                </a:lnTo>
                <a:lnTo>
                  <a:pt x="11677" y="4198"/>
                </a:lnTo>
                <a:lnTo>
                  <a:pt x="11677" y="4200"/>
                </a:lnTo>
                <a:lnTo>
                  <a:pt x="11679" y="4201"/>
                </a:lnTo>
                <a:lnTo>
                  <a:pt x="11681" y="4202"/>
                </a:lnTo>
                <a:lnTo>
                  <a:pt x="11687" y="4202"/>
                </a:lnTo>
                <a:lnTo>
                  <a:pt x="11693" y="4202"/>
                </a:lnTo>
                <a:lnTo>
                  <a:pt x="11701" y="4200"/>
                </a:lnTo>
                <a:lnTo>
                  <a:pt x="11710" y="4197"/>
                </a:lnTo>
                <a:lnTo>
                  <a:pt x="11716" y="4194"/>
                </a:lnTo>
                <a:lnTo>
                  <a:pt x="11724" y="4189"/>
                </a:lnTo>
                <a:lnTo>
                  <a:pt x="11729" y="4186"/>
                </a:lnTo>
                <a:lnTo>
                  <a:pt x="11731" y="4180"/>
                </a:lnTo>
                <a:lnTo>
                  <a:pt x="11733" y="4178"/>
                </a:lnTo>
                <a:lnTo>
                  <a:pt x="11733" y="4175"/>
                </a:lnTo>
                <a:lnTo>
                  <a:pt x="11731" y="4173"/>
                </a:lnTo>
                <a:lnTo>
                  <a:pt x="11730" y="4169"/>
                </a:lnTo>
                <a:lnTo>
                  <a:pt x="11742" y="4170"/>
                </a:lnTo>
                <a:lnTo>
                  <a:pt x="11751" y="4172"/>
                </a:lnTo>
                <a:lnTo>
                  <a:pt x="11758" y="4170"/>
                </a:lnTo>
                <a:lnTo>
                  <a:pt x="11765" y="4169"/>
                </a:lnTo>
                <a:lnTo>
                  <a:pt x="11768" y="4166"/>
                </a:lnTo>
                <a:lnTo>
                  <a:pt x="11772" y="4164"/>
                </a:lnTo>
                <a:lnTo>
                  <a:pt x="11773" y="4160"/>
                </a:lnTo>
                <a:lnTo>
                  <a:pt x="11773" y="4156"/>
                </a:lnTo>
                <a:lnTo>
                  <a:pt x="11772" y="4152"/>
                </a:lnTo>
                <a:lnTo>
                  <a:pt x="11768" y="4147"/>
                </a:lnTo>
                <a:lnTo>
                  <a:pt x="11765" y="4144"/>
                </a:lnTo>
                <a:lnTo>
                  <a:pt x="11759" y="4140"/>
                </a:lnTo>
                <a:lnTo>
                  <a:pt x="11753" y="4135"/>
                </a:lnTo>
                <a:lnTo>
                  <a:pt x="11745" y="4131"/>
                </a:lnTo>
                <a:lnTo>
                  <a:pt x="11737" y="4128"/>
                </a:lnTo>
                <a:lnTo>
                  <a:pt x="11728" y="4126"/>
                </a:lnTo>
                <a:lnTo>
                  <a:pt x="11814" y="4076"/>
                </a:lnTo>
                <a:lnTo>
                  <a:pt x="11905" y="4026"/>
                </a:lnTo>
                <a:lnTo>
                  <a:pt x="11995" y="3977"/>
                </a:lnTo>
                <a:lnTo>
                  <a:pt x="12087" y="3927"/>
                </a:lnTo>
                <a:lnTo>
                  <a:pt x="12177" y="3878"/>
                </a:lnTo>
                <a:lnTo>
                  <a:pt x="12266" y="3828"/>
                </a:lnTo>
                <a:lnTo>
                  <a:pt x="12353" y="3778"/>
                </a:lnTo>
                <a:lnTo>
                  <a:pt x="12436" y="3731"/>
                </a:lnTo>
                <a:lnTo>
                  <a:pt x="12515" y="3684"/>
                </a:lnTo>
                <a:lnTo>
                  <a:pt x="12587" y="3639"/>
                </a:lnTo>
                <a:lnTo>
                  <a:pt x="12622" y="3618"/>
                </a:lnTo>
                <a:lnTo>
                  <a:pt x="12653" y="3596"/>
                </a:lnTo>
                <a:lnTo>
                  <a:pt x="12684" y="3575"/>
                </a:lnTo>
                <a:lnTo>
                  <a:pt x="12712" y="3554"/>
                </a:lnTo>
                <a:lnTo>
                  <a:pt x="12739" y="3535"/>
                </a:lnTo>
                <a:lnTo>
                  <a:pt x="12762" y="3516"/>
                </a:lnTo>
                <a:lnTo>
                  <a:pt x="12783" y="3497"/>
                </a:lnTo>
                <a:lnTo>
                  <a:pt x="12802" y="3479"/>
                </a:lnTo>
                <a:lnTo>
                  <a:pt x="12818" y="3463"/>
                </a:lnTo>
                <a:lnTo>
                  <a:pt x="12832" y="3446"/>
                </a:lnTo>
                <a:lnTo>
                  <a:pt x="12842" y="3431"/>
                </a:lnTo>
                <a:lnTo>
                  <a:pt x="12850" y="3415"/>
                </a:lnTo>
                <a:lnTo>
                  <a:pt x="12801" y="3435"/>
                </a:lnTo>
                <a:lnTo>
                  <a:pt x="12754" y="3454"/>
                </a:lnTo>
                <a:lnTo>
                  <a:pt x="12708" y="3474"/>
                </a:lnTo>
                <a:lnTo>
                  <a:pt x="12662" y="3496"/>
                </a:lnTo>
                <a:lnTo>
                  <a:pt x="12577" y="3538"/>
                </a:lnTo>
                <a:lnTo>
                  <a:pt x="12493" y="3577"/>
                </a:lnTo>
                <a:lnTo>
                  <a:pt x="12452" y="3595"/>
                </a:lnTo>
                <a:lnTo>
                  <a:pt x="12413" y="3610"/>
                </a:lnTo>
                <a:lnTo>
                  <a:pt x="12372" y="3624"/>
                </a:lnTo>
                <a:lnTo>
                  <a:pt x="12333" y="3636"/>
                </a:lnTo>
                <a:lnTo>
                  <a:pt x="12312" y="3641"/>
                </a:lnTo>
                <a:lnTo>
                  <a:pt x="12292" y="3645"/>
                </a:lnTo>
                <a:lnTo>
                  <a:pt x="12273" y="3647"/>
                </a:lnTo>
                <a:lnTo>
                  <a:pt x="12252" y="3648"/>
                </a:lnTo>
                <a:lnTo>
                  <a:pt x="12232" y="3650"/>
                </a:lnTo>
                <a:lnTo>
                  <a:pt x="12213" y="3650"/>
                </a:lnTo>
                <a:lnTo>
                  <a:pt x="12192" y="3650"/>
                </a:lnTo>
                <a:lnTo>
                  <a:pt x="12172" y="3647"/>
                </a:lnTo>
                <a:lnTo>
                  <a:pt x="12206" y="3629"/>
                </a:lnTo>
                <a:lnTo>
                  <a:pt x="12238" y="3613"/>
                </a:lnTo>
                <a:lnTo>
                  <a:pt x="12265" y="3596"/>
                </a:lnTo>
                <a:lnTo>
                  <a:pt x="12288" y="3581"/>
                </a:lnTo>
                <a:lnTo>
                  <a:pt x="12310" y="3566"/>
                </a:lnTo>
                <a:lnTo>
                  <a:pt x="12327" y="3552"/>
                </a:lnTo>
                <a:lnTo>
                  <a:pt x="12344" y="3536"/>
                </a:lnTo>
                <a:lnTo>
                  <a:pt x="12359" y="3522"/>
                </a:lnTo>
                <a:lnTo>
                  <a:pt x="12387" y="3496"/>
                </a:lnTo>
                <a:lnTo>
                  <a:pt x="12415" y="3468"/>
                </a:lnTo>
                <a:lnTo>
                  <a:pt x="12432" y="3454"/>
                </a:lnTo>
                <a:lnTo>
                  <a:pt x="12448" y="3440"/>
                </a:lnTo>
                <a:lnTo>
                  <a:pt x="12468" y="3426"/>
                </a:lnTo>
                <a:lnTo>
                  <a:pt x="12490" y="3410"/>
                </a:lnTo>
                <a:lnTo>
                  <a:pt x="12482" y="3424"/>
                </a:lnTo>
                <a:lnTo>
                  <a:pt x="12478" y="3436"/>
                </a:lnTo>
                <a:lnTo>
                  <a:pt x="12478" y="3443"/>
                </a:lnTo>
                <a:lnTo>
                  <a:pt x="12480" y="3449"/>
                </a:lnTo>
                <a:lnTo>
                  <a:pt x="12485" y="3451"/>
                </a:lnTo>
                <a:lnTo>
                  <a:pt x="12494" y="3451"/>
                </a:lnTo>
                <a:lnTo>
                  <a:pt x="12507" y="3447"/>
                </a:lnTo>
                <a:lnTo>
                  <a:pt x="12521" y="3442"/>
                </a:lnTo>
                <a:lnTo>
                  <a:pt x="12557" y="3427"/>
                </a:lnTo>
                <a:lnTo>
                  <a:pt x="12600" y="3404"/>
                </a:lnTo>
                <a:lnTo>
                  <a:pt x="12650" y="3376"/>
                </a:lnTo>
                <a:lnTo>
                  <a:pt x="12703" y="3344"/>
                </a:lnTo>
                <a:lnTo>
                  <a:pt x="12759" y="3311"/>
                </a:lnTo>
                <a:lnTo>
                  <a:pt x="12816" y="3277"/>
                </a:lnTo>
                <a:lnTo>
                  <a:pt x="12874" y="3245"/>
                </a:lnTo>
                <a:lnTo>
                  <a:pt x="12927" y="3214"/>
                </a:lnTo>
                <a:lnTo>
                  <a:pt x="12954" y="3202"/>
                </a:lnTo>
                <a:lnTo>
                  <a:pt x="12978" y="3189"/>
                </a:lnTo>
                <a:lnTo>
                  <a:pt x="13001" y="3179"/>
                </a:lnTo>
                <a:lnTo>
                  <a:pt x="13023" y="3170"/>
                </a:lnTo>
                <a:lnTo>
                  <a:pt x="13042" y="3162"/>
                </a:lnTo>
                <a:lnTo>
                  <a:pt x="13060" y="3157"/>
                </a:lnTo>
                <a:lnTo>
                  <a:pt x="13074" y="3154"/>
                </a:lnTo>
                <a:lnTo>
                  <a:pt x="13086" y="3154"/>
                </a:lnTo>
                <a:lnTo>
                  <a:pt x="13065" y="3168"/>
                </a:lnTo>
                <a:lnTo>
                  <a:pt x="13046" y="3180"/>
                </a:lnTo>
                <a:lnTo>
                  <a:pt x="13030" y="3190"/>
                </a:lnTo>
                <a:lnTo>
                  <a:pt x="13019" y="3199"/>
                </a:lnTo>
                <a:lnTo>
                  <a:pt x="13011" y="3205"/>
                </a:lnTo>
                <a:lnTo>
                  <a:pt x="13008" y="3212"/>
                </a:lnTo>
                <a:lnTo>
                  <a:pt x="13006" y="3213"/>
                </a:lnTo>
                <a:lnTo>
                  <a:pt x="13005" y="3216"/>
                </a:lnTo>
                <a:lnTo>
                  <a:pt x="13006" y="3217"/>
                </a:lnTo>
                <a:lnTo>
                  <a:pt x="13008" y="3217"/>
                </a:lnTo>
                <a:lnTo>
                  <a:pt x="13011" y="3218"/>
                </a:lnTo>
                <a:lnTo>
                  <a:pt x="13018" y="3217"/>
                </a:lnTo>
                <a:lnTo>
                  <a:pt x="13028" y="3214"/>
                </a:lnTo>
                <a:lnTo>
                  <a:pt x="13039" y="3210"/>
                </a:lnTo>
                <a:lnTo>
                  <a:pt x="13055" y="3204"/>
                </a:lnTo>
                <a:lnTo>
                  <a:pt x="13071" y="3196"/>
                </a:lnTo>
                <a:lnTo>
                  <a:pt x="13089" y="3186"/>
                </a:lnTo>
                <a:lnTo>
                  <a:pt x="13109" y="3176"/>
                </a:lnTo>
                <a:lnTo>
                  <a:pt x="13158" y="3153"/>
                </a:lnTo>
                <a:lnTo>
                  <a:pt x="13201" y="3132"/>
                </a:lnTo>
                <a:lnTo>
                  <a:pt x="13237" y="3112"/>
                </a:lnTo>
                <a:lnTo>
                  <a:pt x="13266" y="3095"/>
                </a:lnTo>
                <a:lnTo>
                  <a:pt x="13290" y="3079"/>
                </a:lnTo>
                <a:lnTo>
                  <a:pt x="13307" y="3067"/>
                </a:lnTo>
                <a:lnTo>
                  <a:pt x="13312" y="3060"/>
                </a:lnTo>
                <a:lnTo>
                  <a:pt x="13317" y="3056"/>
                </a:lnTo>
                <a:lnTo>
                  <a:pt x="13320" y="3053"/>
                </a:lnTo>
                <a:lnTo>
                  <a:pt x="13321" y="3049"/>
                </a:lnTo>
                <a:lnTo>
                  <a:pt x="13320" y="3046"/>
                </a:lnTo>
                <a:lnTo>
                  <a:pt x="13318" y="3045"/>
                </a:lnTo>
                <a:lnTo>
                  <a:pt x="13314" y="3044"/>
                </a:lnTo>
                <a:lnTo>
                  <a:pt x="13309" y="3045"/>
                </a:lnTo>
                <a:lnTo>
                  <a:pt x="13293" y="3049"/>
                </a:lnTo>
                <a:lnTo>
                  <a:pt x="13271" y="3056"/>
                </a:lnTo>
                <a:lnTo>
                  <a:pt x="13242" y="3068"/>
                </a:lnTo>
                <a:lnTo>
                  <a:pt x="13206" y="3086"/>
                </a:lnTo>
                <a:lnTo>
                  <a:pt x="13164" y="3107"/>
                </a:lnTo>
                <a:lnTo>
                  <a:pt x="13114" y="3134"/>
                </a:lnTo>
                <a:lnTo>
                  <a:pt x="13120" y="3128"/>
                </a:lnTo>
                <a:lnTo>
                  <a:pt x="13127" y="3120"/>
                </a:lnTo>
                <a:lnTo>
                  <a:pt x="13136" y="3112"/>
                </a:lnTo>
                <a:lnTo>
                  <a:pt x="13148" y="3104"/>
                </a:lnTo>
                <a:lnTo>
                  <a:pt x="13173" y="3084"/>
                </a:lnTo>
                <a:lnTo>
                  <a:pt x="13204" y="3064"/>
                </a:lnTo>
                <a:lnTo>
                  <a:pt x="13269" y="3021"/>
                </a:lnTo>
                <a:lnTo>
                  <a:pt x="13331" y="2981"/>
                </a:lnTo>
                <a:lnTo>
                  <a:pt x="13355" y="2965"/>
                </a:lnTo>
                <a:lnTo>
                  <a:pt x="13374" y="2951"/>
                </a:lnTo>
                <a:lnTo>
                  <a:pt x="13381" y="2944"/>
                </a:lnTo>
                <a:lnTo>
                  <a:pt x="13386" y="2941"/>
                </a:lnTo>
                <a:lnTo>
                  <a:pt x="13387" y="2937"/>
                </a:lnTo>
                <a:lnTo>
                  <a:pt x="13387" y="2934"/>
                </a:lnTo>
                <a:lnTo>
                  <a:pt x="13383" y="2933"/>
                </a:lnTo>
                <a:lnTo>
                  <a:pt x="13377" y="2933"/>
                </a:lnTo>
                <a:lnTo>
                  <a:pt x="13368" y="2936"/>
                </a:lnTo>
                <a:lnTo>
                  <a:pt x="13355" y="2938"/>
                </a:lnTo>
                <a:lnTo>
                  <a:pt x="13317" y="2950"/>
                </a:lnTo>
                <a:lnTo>
                  <a:pt x="13263" y="2969"/>
                </a:lnTo>
                <a:lnTo>
                  <a:pt x="13283" y="2953"/>
                </a:lnTo>
                <a:lnTo>
                  <a:pt x="13302" y="2938"/>
                </a:lnTo>
                <a:lnTo>
                  <a:pt x="13321" y="2924"/>
                </a:lnTo>
                <a:lnTo>
                  <a:pt x="13341" y="2910"/>
                </a:lnTo>
                <a:lnTo>
                  <a:pt x="13383" y="2882"/>
                </a:lnTo>
                <a:lnTo>
                  <a:pt x="13427" y="2855"/>
                </a:lnTo>
                <a:lnTo>
                  <a:pt x="13517" y="2804"/>
                </a:lnTo>
                <a:lnTo>
                  <a:pt x="13609" y="2755"/>
                </a:lnTo>
                <a:lnTo>
                  <a:pt x="13654" y="2728"/>
                </a:lnTo>
                <a:lnTo>
                  <a:pt x="13699" y="2703"/>
                </a:lnTo>
                <a:lnTo>
                  <a:pt x="13742" y="2675"/>
                </a:lnTo>
                <a:lnTo>
                  <a:pt x="13784" y="2647"/>
                </a:lnTo>
                <a:lnTo>
                  <a:pt x="13803" y="2631"/>
                </a:lnTo>
                <a:lnTo>
                  <a:pt x="13824" y="2616"/>
                </a:lnTo>
                <a:lnTo>
                  <a:pt x="13843" y="2601"/>
                </a:lnTo>
                <a:lnTo>
                  <a:pt x="13861" y="2584"/>
                </a:lnTo>
                <a:lnTo>
                  <a:pt x="13879" y="2568"/>
                </a:lnTo>
                <a:lnTo>
                  <a:pt x="13895" y="2551"/>
                </a:lnTo>
                <a:lnTo>
                  <a:pt x="13910" y="2533"/>
                </a:lnTo>
                <a:lnTo>
                  <a:pt x="13926" y="2514"/>
                </a:lnTo>
                <a:lnTo>
                  <a:pt x="13895" y="2527"/>
                </a:lnTo>
                <a:lnTo>
                  <a:pt x="13866" y="2542"/>
                </a:lnTo>
                <a:lnTo>
                  <a:pt x="13838" y="2557"/>
                </a:lnTo>
                <a:lnTo>
                  <a:pt x="13811" y="2574"/>
                </a:lnTo>
                <a:lnTo>
                  <a:pt x="13763" y="2606"/>
                </a:lnTo>
                <a:lnTo>
                  <a:pt x="13721" y="2634"/>
                </a:lnTo>
                <a:lnTo>
                  <a:pt x="13702" y="2645"/>
                </a:lnTo>
                <a:lnTo>
                  <a:pt x="13684" y="2654"/>
                </a:lnTo>
                <a:lnTo>
                  <a:pt x="13675" y="2658"/>
                </a:lnTo>
                <a:lnTo>
                  <a:pt x="13667" y="2661"/>
                </a:lnTo>
                <a:lnTo>
                  <a:pt x="13660" y="2663"/>
                </a:lnTo>
                <a:lnTo>
                  <a:pt x="13653" y="2664"/>
                </a:lnTo>
                <a:lnTo>
                  <a:pt x="13647" y="2664"/>
                </a:lnTo>
                <a:lnTo>
                  <a:pt x="13640" y="2663"/>
                </a:lnTo>
                <a:lnTo>
                  <a:pt x="13634" y="2662"/>
                </a:lnTo>
                <a:lnTo>
                  <a:pt x="13629" y="2659"/>
                </a:lnTo>
                <a:lnTo>
                  <a:pt x="13624" y="2656"/>
                </a:lnTo>
                <a:lnTo>
                  <a:pt x="13619" y="2649"/>
                </a:lnTo>
                <a:lnTo>
                  <a:pt x="13615" y="2643"/>
                </a:lnTo>
                <a:lnTo>
                  <a:pt x="13611" y="2635"/>
                </a:lnTo>
                <a:lnTo>
                  <a:pt x="13642" y="2625"/>
                </a:lnTo>
                <a:lnTo>
                  <a:pt x="13677" y="2612"/>
                </a:lnTo>
                <a:lnTo>
                  <a:pt x="13714" y="2597"/>
                </a:lnTo>
                <a:lnTo>
                  <a:pt x="13749" y="2580"/>
                </a:lnTo>
                <a:lnTo>
                  <a:pt x="13764" y="2571"/>
                </a:lnTo>
                <a:lnTo>
                  <a:pt x="13778" y="2563"/>
                </a:lnTo>
                <a:lnTo>
                  <a:pt x="13789" y="2554"/>
                </a:lnTo>
                <a:lnTo>
                  <a:pt x="13798" y="2546"/>
                </a:lnTo>
                <a:lnTo>
                  <a:pt x="13802" y="2541"/>
                </a:lnTo>
                <a:lnTo>
                  <a:pt x="13805" y="2537"/>
                </a:lnTo>
                <a:lnTo>
                  <a:pt x="13806" y="2533"/>
                </a:lnTo>
                <a:lnTo>
                  <a:pt x="13807" y="2529"/>
                </a:lnTo>
                <a:lnTo>
                  <a:pt x="13807" y="2526"/>
                </a:lnTo>
                <a:lnTo>
                  <a:pt x="13806" y="2522"/>
                </a:lnTo>
                <a:lnTo>
                  <a:pt x="13805" y="2518"/>
                </a:lnTo>
                <a:lnTo>
                  <a:pt x="13801" y="2514"/>
                </a:lnTo>
                <a:lnTo>
                  <a:pt x="13777" y="2521"/>
                </a:lnTo>
                <a:lnTo>
                  <a:pt x="13761" y="2523"/>
                </a:lnTo>
                <a:lnTo>
                  <a:pt x="13751" y="2524"/>
                </a:lnTo>
                <a:lnTo>
                  <a:pt x="13747" y="2523"/>
                </a:lnTo>
                <a:lnTo>
                  <a:pt x="13749" y="2519"/>
                </a:lnTo>
                <a:lnTo>
                  <a:pt x="13755" y="2514"/>
                </a:lnTo>
                <a:lnTo>
                  <a:pt x="13764" y="2508"/>
                </a:lnTo>
                <a:lnTo>
                  <a:pt x="13777" y="2500"/>
                </a:lnTo>
                <a:lnTo>
                  <a:pt x="13807" y="2481"/>
                </a:lnTo>
                <a:lnTo>
                  <a:pt x="13842" y="2462"/>
                </a:lnTo>
                <a:lnTo>
                  <a:pt x="13858" y="2452"/>
                </a:lnTo>
                <a:lnTo>
                  <a:pt x="13874" y="2442"/>
                </a:lnTo>
                <a:lnTo>
                  <a:pt x="13886" y="2433"/>
                </a:lnTo>
                <a:lnTo>
                  <a:pt x="13896" y="2424"/>
                </a:lnTo>
                <a:lnTo>
                  <a:pt x="13881" y="2424"/>
                </a:lnTo>
                <a:lnTo>
                  <a:pt x="13866" y="2425"/>
                </a:lnTo>
                <a:lnTo>
                  <a:pt x="13851" y="2428"/>
                </a:lnTo>
                <a:lnTo>
                  <a:pt x="13835" y="2431"/>
                </a:lnTo>
                <a:lnTo>
                  <a:pt x="13820" y="2438"/>
                </a:lnTo>
                <a:lnTo>
                  <a:pt x="13805" y="2444"/>
                </a:lnTo>
                <a:lnTo>
                  <a:pt x="13789" y="2452"/>
                </a:lnTo>
                <a:lnTo>
                  <a:pt x="13774" y="2459"/>
                </a:lnTo>
                <a:lnTo>
                  <a:pt x="13744" y="2479"/>
                </a:lnTo>
                <a:lnTo>
                  <a:pt x="13716" y="2499"/>
                </a:lnTo>
                <a:lnTo>
                  <a:pt x="13688" y="2521"/>
                </a:lnTo>
                <a:lnTo>
                  <a:pt x="13663" y="2541"/>
                </a:lnTo>
                <a:lnTo>
                  <a:pt x="13576" y="2574"/>
                </a:lnTo>
                <a:lnTo>
                  <a:pt x="13497" y="2605"/>
                </a:lnTo>
                <a:lnTo>
                  <a:pt x="13428" y="2631"/>
                </a:lnTo>
                <a:lnTo>
                  <a:pt x="13370" y="2654"/>
                </a:lnTo>
                <a:lnTo>
                  <a:pt x="13322" y="2673"/>
                </a:lnTo>
                <a:lnTo>
                  <a:pt x="13286" y="2686"/>
                </a:lnTo>
                <a:lnTo>
                  <a:pt x="13272" y="2691"/>
                </a:lnTo>
                <a:lnTo>
                  <a:pt x="13262" y="2695"/>
                </a:lnTo>
                <a:lnTo>
                  <a:pt x="13255" y="2696"/>
                </a:lnTo>
                <a:lnTo>
                  <a:pt x="13249" y="2696"/>
                </a:lnTo>
                <a:lnTo>
                  <a:pt x="13249" y="2695"/>
                </a:lnTo>
                <a:lnTo>
                  <a:pt x="13251" y="2692"/>
                </a:lnTo>
                <a:lnTo>
                  <a:pt x="13257" y="2687"/>
                </a:lnTo>
                <a:lnTo>
                  <a:pt x="13266" y="2680"/>
                </a:lnTo>
                <a:lnTo>
                  <a:pt x="13295" y="2661"/>
                </a:lnTo>
                <a:lnTo>
                  <a:pt x="13340" y="2634"/>
                </a:lnTo>
                <a:lnTo>
                  <a:pt x="13400" y="2597"/>
                </a:lnTo>
                <a:lnTo>
                  <a:pt x="13475" y="2552"/>
                </a:lnTo>
                <a:lnTo>
                  <a:pt x="13567" y="2498"/>
                </a:lnTo>
                <a:lnTo>
                  <a:pt x="13676" y="2433"/>
                </a:lnTo>
                <a:lnTo>
                  <a:pt x="13718" y="2402"/>
                </a:lnTo>
                <a:lnTo>
                  <a:pt x="13754" y="2375"/>
                </a:lnTo>
                <a:lnTo>
                  <a:pt x="13783" y="2354"/>
                </a:lnTo>
                <a:lnTo>
                  <a:pt x="13806" y="2335"/>
                </a:lnTo>
                <a:lnTo>
                  <a:pt x="13823" y="2319"/>
                </a:lnTo>
                <a:lnTo>
                  <a:pt x="13835" y="2308"/>
                </a:lnTo>
                <a:lnTo>
                  <a:pt x="13842" y="2299"/>
                </a:lnTo>
                <a:lnTo>
                  <a:pt x="13844" y="2293"/>
                </a:lnTo>
                <a:lnTo>
                  <a:pt x="13842" y="2290"/>
                </a:lnTo>
                <a:lnTo>
                  <a:pt x="13835" y="2289"/>
                </a:lnTo>
                <a:lnTo>
                  <a:pt x="13825" y="2291"/>
                </a:lnTo>
                <a:lnTo>
                  <a:pt x="13812" y="2295"/>
                </a:lnTo>
                <a:lnTo>
                  <a:pt x="13775" y="2311"/>
                </a:lnTo>
                <a:lnTo>
                  <a:pt x="13728" y="2332"/>
                </a:lnTo>
                <a:lnTo>
                  <a:pt x="13675" y="2359"/>
                </a:lnTo>
                <a:lnTo>
                  <a:pt x="13615" y="2391"/>
                </a:lnTo>
                <a:lnTo>
                  <a:pt x="13553" y="2424"/>
                </a:lnTo>
                <a:lnTo>
                  <a:pt x="13490" y="2459"/>
                </a:lnTo>
                <a:lnTo>
                  <a:pt x="13429" y="2494"/>
                </a:lnTo>
                <a:lnTo>
                  <a:pt x="13374" y="2527"/>
                </a:lnTo>
                <a:lnTo>
                  <a:pt x="13326" y="2557"/>
                </a:lnTo>
                <a:lnTo>
                  <a:pt x="13286" y="2583"/>
                </a:lnTo>
                <a:lnTo>
                  <a:pt x="13232" y="2610"/>
                </a:lnTo>
                <a:lnTo>
                  <a:pt x="13191" y="2629"/>
                </a:lnTo>
                <a:lnTo>
                  <a:pt x="13163" y="2640"/>
                </a:lnTo>
                <a:lnTo>
                  <a:pt x="13146" y="2647"/>
                </a:lnTo>
                <a:lnTo>
                  <a:pt x="13143" y="2648"/>
                </a:lnTo>
                <a:lnTo>
                  <a:pt x="13140" y="2647"/>
                </a:lnTo>
                <a:lnTo>
                  <a:pt x="13140" y="2645"/>
                </a:lnTo>
                <a:lnTo>
                  <a:pt x="13141" y="2644"/>
                </a:lnTo>
                <a:lnTo>
                  <a:pt x="13148" y="2636"/>
                </a:lnTo>
                <a:lnTo>
                  <a:pt x="13160" y="2626"/>
                </a:lnTo>
                <a:lnTo>
                  <a:pt x="13191" y="2602"/>
                </a:lnTo>
                <a:lnTo>
                  <a:pt x="13221" y="2577"/>
                </a:lnTo>
                <a:lnTo>
                  <a:pt x="13232" y="2566"/>
                </a:lnTo>
                <a:lnTo>
                  <a:pt x="13237" y="2559"/>
                </a:lnTo>
                <a:lnTo>
                  <a:pt x="13237" y="2556"/>
                </a:lnTo>
                <a:lnTo>
                  <a:pt x="13235" y="2555"/>
                </a:lnTo>
                <a:lnTo>
                  <a:pt x="13232" y="2554"/>
                </a:lnTo>
                <a:lnTo>
                  <a:pt x="13225" y="2554"/>
                </a:lnTo>
                <a:lnTo>
                  <a:pt x="13209" y="2557"/>
                </a:lnTo>
                <a:lnTo>
                  <a:pt x="13188" y="2565"/>
                </a:lnTo>
                <a:lnTo>
                  <a:pt x="13162" y="2575"/>
                </a:lnTo>
                <a:lnTo>
                  <a:pt x="13132" y="2588"/>
                </a:lnTo>
                <a:lnTo>
                  <a:pt x="13061" y="2621"/>
                </a:lnTo>
                <a:lnTo>
                  <a:pt x="12980" y="2663"/>
                </a:lnTo>
                <a:lnTo>
                  <a:pt x="12889" y="2710"/>
                </a:lnTo>
                <a:lnTo>
                  <a:pt x="12794" y="2761"/>
                </a:lnTo>
                <a:lnTo>
                  <a:pt x="12697" y="2813"/>
                </a:lnTo>
                <a:lnTo>
                  <a:pt x="12601" y="2864"/>
                </a:lnTo>
                <a:lnTo>
                  <a:pt x="12511" y="2911"/>
                </a:lnTo>
                <a:lnTo>
                  <a:pt x="12431" y="2955"/>
                </a:lnTo>
                <a:lnTo>
                  <a:pt x="12362" y="2989"/>
                </a:lnTo>
                <a:lnTo>
                  <a:pt x="12308" y="3014"/>
                </a:lnTo>
                <a:lnTo>
                  <a:pt x="12288" y="3022"/>
                </a:lnTo>
                <a:lnTo>
                  <a:pt x="12273" y="3027"/>
                </a:lnTo>
                <a:lnTo>
                  <a:pt x="12264" y="3028"/>
                </a:lnTo>
                <a:lnTo>
                  <a:pt x="12260" y="3026"/>
                </a:lnTo>
                <a:lnTo>
                  <a:pt x="12264" y="3020"/>
                </a:lnTo>
                <a:lnTo>
                  <a:pt x="12274" y="3008"/>
                </a:lnTo>
                <a:lnTo>
                  <a:pt x="12291" y="2993"/>
                </a:lnTo>
                <a:lnTo>
                  <a:pt x="12316" y="2971"/>
                </a:lnTo>
                <a:lnTo>
                  <a:pt x="12345" y="2958"/>
                </a:lnTo>
                <a:lnTo>
                  <a:pt x="12387" y="2938"/>
                </a:lnTo>
                <a:lnTo>
                  <a:pt x="12440" y="2913"/>
                </a:lnTo>
                <a:lnTo>
                  <a:pt x="12501" y="2883"/>
                </a:lnTo>
                <a:lnTo>
                  <a:pt x="12567" y="2850"/>
                </a:lnTo>
                <a:lnTo>
                  <a:pt x="12637" y="2816"/>
                </a:lnTo>
                <a:lnTo>
                  <a:pt x="12708" y="2779"/>
                </a:lnTo>
                <a:lnTo>
                  <a:pt x="12778" y="2742"/>
                </a:lnTo>
                <a:lnTo>
                  <a:pt x="12846" y="2705"/>
                </a:lnTo>
                <a:lnTo>
                  <a:pt x="12907" y="2671"/>
                </a:lnTo>
                <a:lnTo>
                  <a:pt x="12960" y="2638"/>
                </a:lnTo>
                <a:lnTo>
                  <a:pt x="13004" y="2608"/>
                </a:lnTo>
                <a:lnTo>
                  <a:pt x="13022" y="2596"/>
                </a:lnTo>
                <a:lnTo>
                  <a:pt x="13036" y="2584"/>
                </a:lnTo>
                <a:lnTo>
                  <a:pt x="13046" y="2574"/>
                </a:lnTo>
                <a:lnTo>
                  <a:pt x="13052" y="2564"/>
                </a:lnTo>
                <a:lnTo>
                  <a:pt x="13055" y="2557"/>
                </a:lnTo>
                <a:lnTo>
                  <a:pt x="13052" y="2551"/>
                </a:lnTo>
                <a:lnTo>
                  <a:pt x="13044" y="2547"/>
                </a:lnTo>
                <a:lnTo>
                  <a:pt x="13032" y="2546"/>
                </a:lnTo>
                <a:lnTo>
                  <a:pt x="13048" y="2535"/>
                </a:lnTo>
                <a:lnTo>
                  <a:pt x="13061" y="2523"/>
                </a:lnTo>
                <a:lnTo>
                  <a:pt x="13070" y="2514"/>
                </a:lnTo>
                <a:lnTo>
                  <a:pt x="13078" y="2505"/>
                </a:lnTo>
                <a:lnTo>
                  <a:pt x="13083" y="2498"/>
                </a:lnTo>
                <a:lnTo>
                  <a:pt x="13086" y="2491"/>
                </a:lnTo>
                <a:lnTo>
                  <a:pt x="13086" y="2485"/>
                </a:lnTo>
                <a:lnTo>
                  <a:pt x="13085" y="2481"/>
                </a:lnTo>
                <a:lnTo>
                  <a:pt x="13083" y="2476"/>
                </a:lnTo>
                <a:lnTo>
                  <a:pt x="13078" y="2473"/>
                </a:lnTo>
                <a:lnTo>
                  <a:pt x="13072" y="2471"/>
                </a:lnTo>
                <a:lnTo>
                  <a:pt x="13065" y="2470"/>
                </a:lnTo>
                <a:lnTo>
                  <a:pt x="13056" y="2468"/>
                </a:lnTo>
                <a:lnTo>
                  <a:pt x="13046" y="2468"/>
                </a:lnTo>
                <a:lnTo>
                  <a:pt x="13036" y="2470"/>
                </a:lnTo>
                <a:lnTo>
                  <a:pt x="13024" y="2471"/>
                </a:lnTo>
                <a:lnTo>
                  <a:pt x="12999" y="2475"/>
                </a:lnTo>
                <a:lnTo>
                  <a:pt x="12972" y="2481"/>
                </a:lnTo>
                <a:lnTo>
                  <a:pt x="12945" y="2490"/>
                </a:lnTo>
                <a:lnTo>
                  <a:pt x="12918" y="2501"/>
                </a:lnTo>
                <a:lnTo>
                  <a:pt x="12906" y="2508"/>
                </a:lnTo>
                <a:lnTo>
                  <a:pt x="12894" y="2513"/>
                </a:lnTo>
                <a:lnTo>
                  <a:pt x="12883" y="2521"/>
                </a:lnTo>
                <a:lnTo>
                  <a:pt x="12873" y="2527"/>
                </a:lnTo>
                <a:lnTo>
                  <a:pt x="12864" y="2535"/>
                </a:lnTo>
                <a:lnTo>
                  <a:pt x="12855" y="2542"/>
                </a:lnTo>
                <a:lnTo>
                  <a:pt x="12848" y="2550"/>
                </a:lnTo>
                <a:lnTo>
                  <a:pt x="12842" y="2557"/>
                </a:lnTo>
                <a:lnTo>
                  <a:pt x="12850" y="2560"/>
                </a:lnTo>
                <a:lnTo>
                  <a:pt x="12856" y="2561"/>
                </a:lnTo>
                <a:lnTo>
                  <a:pt x="12864" y="2561"/>
                </a:lnTo>
                <a:lnTo>
                  <a:pt x="12871" y="2560"/>
                </a:lnTo>
                <a:lnTo>
                  <a:pt x="12888" y="2557"/>
                </a:lnTo>
                <a:lnTo>
                  <a:pt x="12904" y="2551"/>
                </a:lnTo>
                <a:lnTo>
                  <a:pt x="12939" y="2537"/>
                </a:lnTo>
                <a:lnTo>
                  <a:pt x="12968" y="2522"/>
                </a:lnTo>
                <a:lnTo>
                  <a:pt x="12980" y="2515"/>
                </a:lnTo>
                <a:lnTo>
                  <a:pt x="12990" y="2512"/>
                </a:lnTo>
                <a:lnTo>
                  <a:pt x="12996" y="2509"/>
                </a:lnTo>
                <a:lnTo>
                  <a:pt x="12999" y="2510"/>
                </a:lnTo>
                <a:lnTo>
                  <a:pt x="12997" y="2514"/>
                </a:lnTo>
                <a:lnTo>
                  <a:pt x="12992" y="2523"/>
                </a:lnTo>
                <a:lnTo>
                  <a:pt x="12982" y="2537"/>
                </a:lnTo>
                <a:lnTo>
                  <a:pt x="12965" y="2556"/>
                </a:lnTo>
                <a:lnTo>
                  <a:pt x="12953" y="2565"/>
                </a:lnTo>
                <a:lnTo>
                  <a:pt x="12941" y="2570"/>
                </a:lnTo>
                <a:lnTo>
                  <a:pt x="12931" y="2574"/>
                </a:lnTo>
                <a:lnTo>
                  <a:pt x="12921" y="2579"/>
                </a:lnTo>
                <a:lnTo>
                  <a:pt x="12912" y="2584"/>
                </a:lnTo>
                <a:lnTo>
                  <a:pt x="12902" y="2593"/>
                </a:lnTo>
                <a:lnTo>
                  <a:pt x="12892" y="2607"/>
                </a:lnTo>
                <a:lnTo>
                  <a:pt x="12880" y="2628"/>
                </a:lnTo>
                <a:lnTo>
                  <a:pt x="12862" y="2630"/>
                </a:lnTo>
                <a:lnTo>
                  <a:pt x="12841" y="2635"/>
                </a:lnTo>
                <a:lnTo>
                  <a:pt x="12816" y="2644"/>
                </a:lnTo>
                <a:lnTo>
                  <a:pt x="12790" y="2654"/>
                </a:lnTo>
                <a:lnTo>
                  <a:pt x="12760" y="2668"/>
                </a:lnTo>
                <a:lnTo>
                  <a:pt x="12729" y="2684"/>
                </a:lnTo>
                <a:lnTo>
                  <a:pt x="12696" y="2700"/>
                </a:lnTo>
                <a:lnTo>
                  <a:pt x="12661" y="2718"/>
                </a:lnTo>
                <a:lnTo>
                  <a:pt x="12587" y="2757"/>
                </a:lnTo>
                <a:lnTo>
                  <a:pt x="12512" y="2799"/>
                </a:lnTo>
                <a:lnTo>
                  <a:pt x="12438" y="2841"/>
                </a:lnTo>
                <a:lnTo>
                  <a:pt x="12368" y="2882"/>
                </a:lnTo>
                <a:lnTo>
                  <a:pt x="12303" y="2918"/>
                </a:lnTo>
                <a:lnTo>
                  <a:pt x="12247" y="2947"/>
                </a:lnTo>
                <a:lnTo>
                  <a:pt x="12223" y="2960"/>
                </a:lnTo>
                <a:lnTo>
                  <a:pt x="12203" y="2969"/>
                </a:lnTo>
                <a:lnTo>
                  <a:pt x="12185" y="2975"/>
                </a:lnTo>
                <a:lnTo>
                  <a:pt x="12172" y="2979"/>
                </a:lnTo>
                <a:lnTo>
                  <a:pt x="12163" y="2979"/>
                </a:lnTo>
                <a:lnTo>
                  <a:pt x="12158" y="2976"/>
                </a:lnTo>
                <a:lnTo>
                  <a:pt x="12159" y="2969"/>
                </a:lnTo>
                <a:lnTo>
                  <a:pt x="12164" y="2958"/>
                </a:lnTo>
                <a:lnTo>
                  <a:pt x="12176" y="2943"/>
                </a:lnTo>
                <a:lnTo>
                  <a:pt x="12192" y="2923"/>
                </a:lnTo>
                <a:lnTo>
                  <a:pt x="12215" y="2897"/>
                </a:lnTo>
                <a:lnTo>
                  <a:pt x="12245" y="2868"/>
                </a:lnTo>
                <a:lnTo>
                  <a:pt x="12237" y="2866"/>
                </a:lnTo>
                <a:lnTo>
                  <a:pt x="12228" y="2866"/>
                </a:lnTo>
                <a:lnTo>
                  <a:pt x="12217" y="2866"/>
                </a:lnTo>
                <a:lnTo>
                  <a:pt x="12205" y="2867"/>
                </a:lnTo>
                <a:lnTo>
                  <a:pt x="12178" y="2873"/>
                </a:lnTo>
                <a:lnTo>
                  <a:pt x="12148" y="2882"/>
                </a:lnTo>
                <a:lnTo>
                  <a:pt x="12117" y="2895"/>
                </a:lnTo>
                <a:lnTo>
                  <a:pt x="12086" y="2908"/>
                </a:lnTo>
                <a:lnTo>
                  <a:pt x="12055" y="2920"/>
                </a:lnTo>
                <a:lnTo>
                  <a:pt x="12027" y="2934"/>
                </a:lnTo>
                <a:lnTo>
                  <a:pt x="11984" y="2955"/>
                </a:lnTo>
                <a:lnTo>
                  <a:pt x="11963" y="2962"/>
                </a:lnTo>
                <a:lnTo>
                  <a:pt x="11966" y="2960"/>
                </a:lnTo>
                <a:lnTo>
                  <a:pt x="11979" y="2951"/>
                </a:lnTo>
                <a:lnTo>
                  <a:pt x="12003" y="2934"/>
                </a:lnTo>
                <a:lnTo>
                  <a:pt x="12040" y="2910"/>
                </a:lnTo>
                <a:lnTo>
                  <a:pt x="12038" y="2899"/>
                </a:lnTo>
                <a:lnTo>
                  <a:pt x="12042" y="2886"/>
                </a:lnTo>
                <a:lnTo>
                  <a:pt x="12050" y="2873"/>
                </a:lnTo>
                <a:lnTo>
                  <a:pt x="12063" y="2859"/>
                </a:lnTo>
                <a:lnTo>
                  <a:pt x="12078" y="2845"/>
                </a:lnTo>
                <a:lnTo>
                  <a:pt x="12098" y="2830"/>
                </a:lnTo>
                <a:lnTo>
                  <a:pt x="12121" y="2815"/>
                </a:lnTo>
                <a:lnTo>
                  <a:pt x="12148" y="2797"/>
                </a:lnTo>
                <a:lnTo>
                  <a:pt x="12176" y="2780"/>
                </a:lnTo>
                <a:lnTo>
                  <a:pt x="12209" y="2762"/>
                </a:lnTo>
                <a:lnTo>
                  <a:pt x="12243" y="2743"/>
                </a:lnTo>
                <a:lnTo>
                  <a:pt x="12280" y="2723"/>
                </a:lnTo>
                <a:lnTo>
                  <a:pt x="12362" y="2682"/>
                </a:lnTo>
                <a:lnTo>
                  <a:pt x="12450" y="2638"/>
                </a:lnTo>
                <a:lnTo>
                  <a:pt x="12543" y="2592"/>
                </a:lnTo>
                <a:lnTo>
                  <a:pt x="12639" y="2541"/>
                </a:lnTo>
                <a:lnTo>
                  <a:pt x="12740" y="2489"/>
                </a:lnTo>
                <a:lnTo>
                  <a:pt x="12839" y="2434"/>
                </a:lnTo>
                <a:lnTo>
                  <a:pt x="12889" y="2405"/>
                </a:lnTo>
                <a:lnTo>
                  <a:pt x="12939" y="2375"/>
                </a:lnTo>
                <a:lnTo>
                  <a:pt x="12987" y="2345"/>
                </a:lnTo>
                <a:lnTo>
                  <a:pt x="13036" y="2314"/>
                </a:lnTo>
                <a:lnTo>
                  <a:pt x="13083" y="2283"/>
                </a:lnTo>
                <a:lnTo>
                  <a:pt x="13127" y="2251"/>
                </a:lnTo>
                <a:lnTo>
                  <a:pt x="13172" y="2218"/>
                </a:lnTo>
                <a:lnTo>
                  <a:pt x="13214" y="2185"/>
                </a:lnTo>
                <a:lnTo>
                  <a:pt x="13066" y="2266"/>
                </a:lnTo>
                <a:lnTo>
                  <a:pt x="12926" y="2341"/>
                </a:lnTo>
                <a:lnTo>
                  <a:pt x="12796" y="2411"/>
                </a:lnTo>
                <a:lnTo>
                  <a:pt x="12673" y="2475"/>
                </a:lnTo>
                <a:lnTo>
                  <a:pt x="12555" y="2533"/>
                </a:lnTo>
                <a:lnTo>
                  <a:pt x="12445" y="2587"/>
                </a:lnTo>
                <a:lnTo>
                  <a:pt x="12340" y="2635"/>
                </a:lnTo>
                <a:lnTo>
                  <a:pt x="12240" y="2680"/>
                </a:lnTo>
                <a:lnTo>
                  <a:pt x="12144" y="2720"/>
                </a:lnTo>
                <a:lnTo>
                  <a:pt x="12052" y="2756"/>
                </a:lnTo>
                <a:lnTo>
                  <a:pt x="11963" y="2789"/>
                </a:lnTo>
                <a:lnTo>
                  <a:pt x="11878" y="2818"/>
                </a:lnTo>
                <a:lnTo>
                  <a:pt x="11793" y="2845"/>
                </a:lnTo>
                <a:lnTo>
                  <a:pt x="11710" y="2869"/>
                </a:lnTo>
                <a:lnTo>
                  <a:pt x="11627" y="2891"/>
                </a:lnTo>
                <a:lnTo>
                  <a:pt x="11544" y="2911"/>
                </a:lnTo>
                <a:lnTo>
                  <a:pt x="11528" y="2915"/>
                </a:lnTo>
                <a:lnTo>
                  <a:pt x="11514" y="2919"/>
                </a:lnTo>
                <a:lnTo>
                  <a:pt x="11501" y="2922"/>
                </a:lnTo>
                <a:lnTo>
                  <a:pt x="11492" y="2922"/>
                </a:lnTo>
                <a:lnTo>
                  <a:pt x="11486" y="2920"/>
                </a:lnTo>
                <a:lnTo>
                  <a:pt x="11481" y="2919"/>
                </a:lnTo>
                <a:lnTo>
                  <a:pt x="11478" y="2915"/>
                </a:lnTo>
                <a:lnTo>
                  <a:pt x="11477" y="2911"/>
                </a:lnTo>
                <a:lnTo>
                  <a:pt x="11478" y="2906"/>
                </a:lnTo>
                <a:lnTo>
                  <a:pt x="11481" y="2900"/>
                </a:lnTo>
                <a:lnTo>
                  <a:pt x="11484" y="2894"/>
                </a:lnTo>
                <a:lnTo>
                  <a:pt x="11491" y="2886"/>
                </a:lnTo>
                <a:lnTo>
                  <a:pt x="11505" y="2869"/>
                </a:lnTo>
                <a:lnTo>
                  <a:pt x="11524" y="2850"/>
                </a:lnTo>
                <a:lnTo>
                  <a:pt x="11567" y="2810"/>
                </a:lnTo>
                <a:lnTo>
                  <a:pt x="11614" y="2769"/>
                </a:lnTo>
                <a:lnTo>
                  <a:pt x="11654" y="2734"/>
                </a:lnTo>
                <a:lnTo>
                  <a:pt x="11678" y="2710"/>
                </a:lnTo>
                <a:lnTo>
                  <a:pt x="11702" y="2682"/>
                </a:lnTo>
                <a:lnTo>
                  <a:pt x="11719" y="2659"/>
                </a:lnTo>
                <a:lnTo>
                  <a:pt x="11724" y="2649"/>
                </a:lnTo>
                <a:lnTo>
                  <a:pt x="11729" y="2642"/>
                </a:lnTo>
                <a:lnTo>
                  <a:pt x="11733" y="2634"/>
                </a:lnTo>
                <a:lnTo>
                  <a:pt x="11734" y="2628"/>
                </a:lnTo>
                <a:lnTo>
                  <a:pt x="11735" y="2621"/>
                </a:lnTo>
                <a:lnTo>
                  <a:pt x="11734" y="2617"/>
                </a:lnTo>
                <a:lnTo>
                  <a:pt x="11733" y="2613"/>
                </a:lnTo>
                <a:lnTo>
                  <a:pt x="11730" y="2611"/>
                </a:lnTo>
                <a:lnTo>
                  <a:pt x="11726" y="2610"/>
                </a:lnTo>
                <a:lnTo>
                  <a:pt x="11723" y="2610"/>
                </a:lnTo>
                <a:lnTo>
                  <a:pt x="11717" y="2610"/>
                </a:lnTo>
                <a:lnTo>
                  <a:pt x="11711" y="2611"/>
                </a:lnTo>
                <a:lnTo>
                  <a:pt x="11698" y="2615"/>
                </a:lnTo>
                <a:lnTo>
                  <a:pt x="11683" y="2622"/>
                </a:lnTo>
                <a:lnTo>
                  <a:pt x="11667" y="2633"/>
                </a:lnTo>
                <a:lnTo>
                  <a:pt x="11649" y="2644"/>
                </a:lnTo>
                <a:lnTo>
                  <a:pt x="11631" y="2659"/>
                </a:lnTo>
                <a:lnTo>
                  <a:pt x="11614" y="2675"/>
                </a:lnTo>
                <a:lnTo>
                  <a:pt x="11598" y="2692"/>
                </a:lnTo>
                <a:lnTo>
                  <a:pt x="11584" y="2713"/>
                </a:lnTo>
                <a:lnTo>
                  <a:pt x="11539" y="2738"/>
                </a:lnTo>
                <a:lnTo>
                  <a:pt x="11491" y="2766"/>
                </a:lnTo>
                <a:lnTo>
                  <a:pt x="11440" y="2796"/>
                </a:lnTo>
                <a:lnTo>
                  <a:pt x="11384" y="2825"/>
                </a:lnTo>
                <a:lnTo>
                  <a:pt x="11325" y="2857"/>
                </a:lnTo>
                <a:lnTo>
                  <a:pt x="11263" y="2887"/>
                </a:lnTo>
                <a:lnTo>
                  <a:pt x="11198" y="2920"/>
                </a:lnTo>
                <a:lnTo>
                  <a:pt x="11132" y="2952"/>
                </a:lnTo>
                <a:lnTo>
                  <a:pt x="11063" y="2984"/>
                </a:lnTo>
                <a:lnTo>
                  <a:pt x="10992" y="3016"/>
                </a:lnTo>
                <a:lnTo>
                  <a:pt x="10920" y="3048"/>
                </a:lnTo>
                <a:lnTo>
                  <a:pt x="10848" y="3078"/>
                </a:lnTo>
                <a:lnTo>
                  <a:pt x="10775" y="3107"/>
                </a:lnTo>
                <a:lnTo>
                  <a:pt x="10701" y="3135"/>
                </a:lnTo>
                <a:lnTo>
                  <a:pt x="10629" y="3162"/>
                </a:lnTo>
                <a:lnTo>
                  <a:pt x="10555" y="3188"/>
                </a:lnTo>
                <a:lnTo>
                  <a:pt x="10483" y="3210"/>
                </a:lnTo>
                <a:lnTo>
                  <a:pt x="10412" y="3232"/>
                </a:lnTo>
                <a:lnTo>
                  <a:pt x="10343" y="3251"/>
                </a:lnTo>
                <a:lnTo>
                  <a:pt x="10275" y="3267"/>
                </a:lnTo>
                <a:lnTo>
                  <a:pt x="10210" y="3281"/>
                </a:lnTo>
                <a:lnTo>
                  <a:pt x="10147" y="3291"/>
                </a:lnTo>
                <a:lnTo>
                  <a:pt x="10086" y="3297"/>
                </a:lnTo>
                <a:lnTo>
                  <a:pt x="10029" y="3301"/>
                </a:lnTo>
                <a:lnTo>
                  <a:pt x="9975" y="3301"/>
                </a:lnTo>
                <a:lnTo>
                  <a:pt x="9926" y="3297"/>
                </a:lnTo>
                <a:lnTo>
                  <a:pt x="9881" y="3288"/>
                </a:lnTo>
                <a:lnTo>
                  <a:pt x="9839" y="3275"/>
                </a:lnTo>
                <a:lnTo>
                  <a:pt x="9803" y="3258"/>
                </a:lnTo>
                <a:lnTo>
                  <a:pt x="9773" y="3235"/>
                </a:lnTo>
                <a:lnTo>
                  <a:pt x="9747" y="3208"/>
                </a:lnTo>
                <a:lnTo>
                  <a:pt x="9727" y="3175"/>
                </a:lnTo>
                <a:lnTo>
                  <a:pt x="9714" y="3166"/>
                </a:lnTo>
                <a:lnTo>
                  <a:pt x="9705" y="3157"/>
                </a:lnTo>
                <a:lnTo>
                  <a:pt x="9699" y="3148"/>
                </a:lnTo>
                <a:lnTo>
                  <a:pt x="9695" y="3140"/>
                </a:lnTo>
                <a:lnTo>
                  <a:pt x="9694" y="3132"/>
                </a:lnTo>
                <a:lnTo>
                  <a:pt x="9695" y="3124"/>
                </a:lnTo>
                <a:lnTo>
                  <a:pt x="9698" y="3116"/>
                </a:lnTo>
                <a:lnTo>
                  <a:pt x="9704" y="3109"/>
                </a:lnTo>
                <a:lnTo>
                  <a:pt x="9710" y="3101"/>
                </a:lnTo>
                <a:lnTo>
                  <a:pt x="9719" y="3093"/>
                </a:lnTo>
                <a:lnTo>
                  <a:pt x="9730" y="3086"/>
                </a:lnTo>
                <a:lnTo>
                  <a:pt x="9741" y="3078"/>
                </a:lnTo>
                <a:lnTo>
                  <a:pt x="9768" y="3063"/>
                </a:lnTo>
                <a:lnTo>
                  <a:pt x="9797" y="3049"/>
                </a:lnTo>
                <a:lnTo>
                  <a:pt x="9859" y="3021"/>
                </a:lnTo>
                <a:lnTo>
                  <a:pt x="9915" y="2994"/>
                </a:lnTo>
                <a:lnTo>
                  <a:pt x="9927" y="2986"/>
                </a:lnTo>
                <a:lnTo>
                  <a:pt x="9938" y="2980"/>
                </a:lnTo>
                <a:lnTo>
                  <a:pt x="9947" y="2972"/>
                </a:lnTo>
                <a:lnTo>
                  <a:pt x="9955" y="2966"/>
                </a:lnTo>
                <a:lnTo>
                  <a:pt x="9960" y="2960"/>
                </a:lnTo>
                <a:lnTo>
                  <a:pt x="9964" y="2952"/>
                </a:lnTo>
                <a:lnTo>
                  <a:pt x="9965" y="2946"/>
                </a:lnTo>
                <a:lnTo>
                  <a:pt x="9964" y="2938"/>
                </a:lnTo>
                <a:lnTo>
                  <a:pt x="9963" y="2932"/>
                </a:lnTo>
                <a:lnTo>
                  <a:pt x="9961" y="2925"/>
                </a:lnTo>
                <a:lnTo>
                  <a:pt x="9957" y="2920"/>
                </a:lnTo>
                <a:lnTo>
                  <a:pt x="9954" y="2916"/>
                </a:lnTo>
                <a:lnTo>
                  <a:pt x="9950" y="2914"/>
                </a:lnTo>
                <a:lnTo>
                  <a:pt x="9945" y="2911"/>
                </a:lnTo>
                <a:lnTo>
                  <a:pt x="9938" y="2910"/>
                </a:lnTo>
                <a:lnTo>
                  <a:pt x="9933" y="2910"/>
                </a:lnTo>
                <a:lnTo>
                  <a:pt x="9919" y="2910"/>
                </a:lnTo>
                <a:lnTo>
                  <a:pt x="9904" y="2913"/>
                </a:lnTo>
                <a:lnTo>
                  <a:pt x="9889" y="2916"/>
                </a:lnTo>
                <a:lnTo>
                  <a:pt x="9872" y="2920"/>
                </a:lnTo>
                <a:lnTo>
                  <a:pt x="9857" y="2924"/>
                </a:lnTo>
                <a:lnTo>
                  <a:pt x="9840" y="2928"/>
                </a:lnTo>
                <a:lnTo>
                  <a:pt x="9826" y="2930"/>
                </a:lnTo>
                <a:lnTo>
                  <a:pt x="9814" y="2930"/>
                </a:lnTo>
                <a:lnTo>
                  <a:pt x="9808" y="2929"/>
                </a:lnTo>
                <a:lnTo>
                  <a:pt x="9803" y="2928"/>
                </a:lnTo>
                <a:lnTo>
                  <a:pt x="9800" y="2925"/>
                </a:lnTo>
                <a:lnTo>
                  <a:pt x="9796" y="2923"/>
                </a:lnTo>
                <a:lnTo>
                  <a:pt x="9793" y="2918"/>
                </a:lnTo>
                <a:lnTo>
                  <a:pt x="9791" y="2913"/>
                </a:lnTo>
                <a:lnTo>
                  <a:pt x="9789" y="2906"/>
                </a:lnTo>
                <a:lnTo>
                  <a:pt x="9789" y="2899"/>
                </a:lnTo>
                <a:lnTo>
                  <a:pt x="9793" y="2894"/>
                </a:lnTo>
                <a:lnTo>
                  <a:pt x="9798" y="2888"/>
                </a:lnTo>
                <a:lnTo>
                  <a:pt x="9806" y="2883"/>
                </a:lnTo>
                <a:lnTo>
                  <a:pt x="9814" y="2880"/>
                </a:lnTo>
                <a:lnTo>
                  <a:pt x="9834" y="2872"/>
                </a:lnTo>
                <a:lnTo>
                  <a:pt x="9857" y="2867"/>
                </a:lnTo>
                <a:lnTo>
                  <a:pt x="9909" y="2860"/>
                </a:lnTo>
                <a:lnTo>
                  <a:pt x="9960" y="2855"/>
                </a:lnTo>
                <a:lnTo>
                  <a:pt x="9982" y="2854"/>
                </a:lnTo>
                <a:lnTo>
                  <a:pt x="10001" y="2852"/>
                </a:lnTo>
                <a:lnTo>
                  <a:pt x="10008" y="2850"/>
                </a:lnTo>
                <a:lnTo>
                  <a:pt x="10015" y="2848"/>
                </a:lnTo>
                <a:lnTo>
                  <a:pt x="10019" y="2846"/>
                </a:lnTo>
                <a:lnTo>
                  <a:pt x="10022" y="2844"/>
                </a:lnTo>
                <a:lnTo>
                  <a:pt x="10024" y="2841"/>
                </a:lnTo>
                <a:lnTo>
                  <a:pt x="10022" y="2839"/>
                </a:lnTo>
                <a:lnTo>
                  <a:pt x="10020" y="2835"/>
                </a:lnTo>
                <a:lnTo>
                  <a:pt x="10015" y="2831"/>
                </a:lnTo>
                <a:lnTo>
                  <a:pt x="9997" y="2822"/>
                </a:lnTo>
                <a:lnTo>
                  <a:pt x="9968" y="2811"/>
                </a:lnTo>
                <a:lnTo>
                  <a:pt x="9947" y="2803"/>
                </a:lnTo>
                <a:lnTo>
                  <a:pt x="9931" y="2796"/>
                </a:lnTo>
                <a:lnTo>
                  <a:pt x="9921" y="2789"/>
                </a:lnTo>
                <a:lnTo>
                  <a:pt x="9914" y="2783"/>
                </a:lnTo>
                <a:lnTo>
                  <a:pt x="9913" y="2780"/>
                </a:lnTo>
                <a:lnTo>
                  <a:pt x="9912" y="2778"/>
                </a:lnTo>
                <a:lnTo>
                  <a:pt x="9912" y="2775"/>
                </a:lnTo>
                <a:lnTo>
                  <a:pt x="9913" y="2773"/>
                </a:lnTo>
                <a:lnTo>
                  <a:pt x="9915" y="2768"/>
                </a:lnTo>
                <a:lnTo>
                  <a:pt x="9922" y="2764"/>
                </a:lnTo>
                <a:lnTo>
                  <a:pt x="9938" y="2755"/>
                </a:lnTo>
                <a:lnTo>
                  <a:pt x="9959" y="2746"/>
                </a:lnTo>
                <a:lnTo>
                  <a:pt x="9969" y="2741"/>
                </a:lnTo>
                <a:lnTo>
                  <a:pt x="9978" y="2736"/>
                </a:lnTo>
                <a:lnTo>
                  <a:pt x="9987" y="2729"/>
                </a:lnTo>
                <a:lnTo>
                  <a:pt x="9993" y="2723"/>
                </a:lnTo>
                <a:lnTo>
                  <a:pt x="9989" y="2723"/>
                </a:lnTo>
                <a:lnTo>
                  <a:pt x="9983" y="2722"/>
                </a:lnTo>
                <a:lnTo>
                  <a:pt x="9973" y="2718"/>
                </a:lnTo>
                <a:lnTo>
                  <a:pt x="9961" y="2712"/>
                </a:lnTo>
                <a:lnTo>
                  <a:pt x="9932" y="2698"/>
                </a:lnTo>
                <a:lnTo>
                  <a:pt x="9903" y="2678"/>
                </a:lnTo>
                <a:lnTo>
                  <a:pt x="9889" y="2670"/>
                </a:lnTo>
                <a:lnTo>
                  <a:pt x="9877" y="2659"/>
                </a:lnTo>
                <a:lnTo>
                  <a:pt x="9867" y="2649"/>
                </a:lnTo>
                <a:lnTo>
                  <a:pt x="9861" y="2639"/>
                </a:lnTo>
                <a:lnTo>
                  <a:pt x="9858" y="2635"/>
                </a:lnTo>
                <a:lnTo>
                  <a:pt x="9857" y="2630"/>
                </a:lnTo>
                <a:lnTo>
                  <a:pt x="9858" y="2626"/>
                </a:lnTo>
                <a:lnTo>
                  <a:pt x="9859" y="2622"/>
                </a:lnTo>
                <a:lnTo>
                  <a:pt x="9862" y="2619"/>
                </a:lnTo>
                <a:lnTo>
                  <a:pt x="9866" y="2615"/>
                </a:lnTo>
                <a:lnTo>
                  <a:pt x="9871" y="2611"/>
                </a:lnTo>
                <a:lnTo>
                  <a:pt x="9879" y="2608"/>
                </a:lnTo>
                <a:lnTo>
                  <a:pt x="9851" y="2602"/>
                </a:lnTo>
                <a:lnTo>
                  <a:pt x="9824" y="2596"/>
                </a:lnTo>
                <a:lnTo>
                  <a:pt x="9811" y="2593"/>
                </a:lnTo>
                <a:lnTo>
                  <a:pt x="9798" y="2589"/>
                </a:lnTo>
                <a:lnTo>
                  <a:pt x="9788" y="2584"/>
                </a:lnTo>
                <a:lnTo>
                  <a:pt x="9778" y="2579"/>
                </a:lnTo>
                <a:lnTo>
                  <a:pt x="9770" y="2574"/>
                </a:lnTo>
                <a:lnTo>
                  <a:pt x="9765" y="2566"/>
                </a:lnTo>
                <a:lnTo>
                  <a:pt x="9763" y="2563"/>
                </a:lnTo>
                <a:lnTo>
                  <a:pt x="9761" y="2559"/>
                </a:lnTo>
                <a:lnTo>
                  <a:pt x="9760" y="2554"/>
                </a:lnTo>
                <a:lnTo>
                  <a:pt x="9760" y="2550"/>
                </a:lnTo>
                <a:lnTo>
                  <a:pt x="9763" y="2538"/>
                </a:lnTo>
                <a:lnTo>
                  <a:pt x="9768" y="2526"/>
                </a:lnTo>
                <a:lnTo>
                  <a:pt x="9775" y="2512"/>
                </a:lnTo>
                <a:lnTo>
                  <a:pt x="9787" y="2495"/>
                </a:lnTo>
                <a:lnTo>
                  <a:pt x="9793" y="2493"/>
                </a:lnTo>
                <a:lnTo>
                  <a:pt x="9808" y="2489"/>
                </a:lnTo>
                <a:lnTo>
                  <a:pt x="9829" y="2482"/>
                </a:lnTo>
                <a:lnTo>
                  <a:pt x="9849" y="2476"/>
                </a:lnTo>
                <a:lnTo>
                  <a:pt x="9859" y="2472"/>
                </a:lnTo>
                <a:lnTo>
                  <a:pt x="9868" y="2468"/>
                </a:lnTo>
                <a:lnTo>
                  <a:pt x="9875" y="2463"/>
                </a:lnTo>
                <a:lnTo>
                  <a:pt x="9880" y="2458"/>
                </a:lnTo>
                <a:lnTo>
                  <a:pt x="9881" y="2456"/>
                </a:lnTo>
                <a:lnTo>
                  <a:pt x="9881" y="2453"/>
                </a:lnTo>
                <a:lnTo>
                  <a:pt x="9881" y="2451"/>
                </a:lnTo>
                <a:lnTo>
                  <a:pt x="9881" y="2448"/>
                </a:lnTo>
                <a:lnTo>
                  <a:pt x="9876" y="2442"/>
                </a:lnTo>
                <a:lnTo>
                  <a:pt x="9868" y="2435"/>
                </a:lnTo>
                <a:lnTo>
                  <a:pt x="9887" y="2397"/>
                </a:lnTo>
                <a:lnTo>
                  <a:pt x="9910" y="2358"/>
                </a:lnTo>
                <a:lnTo>
                  <a:pt x="9937" y="2316"/>
                </a:lnTo>
                <a:lnTo>
                  <a:pt x="9966" y="2271"/>
                </a:lnTo>
                <a:lnTo>
                  <a:pt x="10000" y="2225"/>
                </a:lnTo>
                <a:lnTo>
                  <a:pt x="10035" y="2179"/>
                </a:lnTo>
                <a:lnTo>
                  <a:pt x="10072" y="2134"/>
                </a:lnTo>
                <a:lnTo>
                  <a:pt x="10110" y="2087"/>
                </a:lnTo>
                <a:lnTo>
                  <a:pt x="10191" y="1994"/>
                </a:lnTo>
                <a:lnTo>
                  <a:pt x="10268" y="1906"/>
                </a:lnTo>
                <a:lnTo>
                  <a:pt x="10342" y="1826"/>
                </a:lnTo>
                <a:lnTo>
                  <a:pt x="10408" y="1756"/>
                </a:lnTo>
                <a:lnTo>
                  <a:pt x="10462" y="1700"/>
                </a:lnTo>
                <a:lnTo>
                  <a:pt x="10497" y="1660"/>
                </a:lnTo>
                <a:lnTo>
                  <a:pt x="10509" y="1647"/>
                </a:lnTo>
                <a:lnTo>
                  <a:pt x="10515" y="1640"/>
                </a:lnTo>
                <a:lnTo>
                  <a:pt x="10514" y="1638"/>
                </a:lnTo>
                <a:lnTo>
                  <a:pt x="10508" y="1642"/>
                </a:lnTo>
                <a:lnTo>
                  <a:pt x="10472" y="1672"/>
                </a:lnTo>
                <a:lnTo>
                  <a:pt x="10403" y="1730"/>
                </a:lnTo>
                <a:lnTo>
                  <a:pt x="10300" y="1820"/>
                </a:lnTo>
                <a:lnTo>
                  <a:pt x="10156" y="1946"/>
                </a:lnTo>
                <a:lnTo>
                  <a:pt x="10101" y="1987"/>
                </a:lnTo>
                <a:lnTo>
                  <a:pt x="10058" y="2019"/>
                </a:lnTo>
                <a:lnTo>
                  <a:pt x="10025" y="2043"/>
                </a:lnTo>
                <a:lnTo>
                  <a:pt x="10001" y="2059"/>
                </a:lnTo>
                <a:lnTo>
                  <a:pt x="9987" y="2066"/>
                </a:lnTo>
                <a:lnTo>
                  <a:pt x="9980" y="2067"/>
                </a:lnTo>
                <a:lnTo>
                  <a:pt x="9983" y="2062"/>
                </a:lnTo>
                <a:lnTo>
                  <a:pt x="9992" y="2051"/>
                </a:lnTo>
                <a:lnTo>
                  <a:pt x="10030" y="2011"/>
                </a:lnTo>
                <a:lnTo>
                  <a:pt x="10091" y="1953"/>
                </a:lnTo>
                <a:lnTo>
                  <a:pt x="10171" y="1878"/>
                </a:lnTo>
                <a:lnTo>
                  <a:pt x="10264" y="1792"/>
                </a:lnTo>
                <a:lnTo>
                  <a:pt x="10365" y="1698"/>
                </a:lnTo>
                <a:lnTo>
                  <a:pt x="10471" y="1600"/>
                </a:lnTo>
                <a:lnTo>
                  <a:pt x="10576" y="1501"/>
                </a:lnTo>
                <a:lnTo>
                  <a:pt x="10677" y="1404"/>
                </a:lnTo>
                <a:lnTo>
                  <a:pt x="10724" y="1358"/>
                </a:lnTo>
                <a:lnTo>
                  <a:pt x="10767" y="1314"/>
                </a:lnTo>
                <a:lnTo>
                  <a:pt x="10808" y="1272"/>
                </a:lnTo>
                <a:lnTo>
                  <a:pt x="10844" y="1234"/>
                </a:lnTo>
                <a:lnTo>
                  <a:pt x="10876" y="1199"/>
                </a:lnTo>
                <a:lnTo>
                  <a:pt x="10902" y="1167"/>
                </a:lnTo>
                <a:lnTo>
                  <a:pt x="10923" y="1141"/>
                </a:lnTo>
                <a:lnTo>
                  <a:pt x="10937" y="1119"/>
                </a:lnTo>
                <a:lnTo>
                  <a:pt x="10808" y="1237"/>
                </a:lnTo>
                <a:lnTo>
                  <a:pt x="10687" y="1349"/>
                </a:lnTo>
                <a:lnTo>
                  <a:pt x="10574" y="1453"/>
                </a:lnTo>
                <a:lnTo>
                  <a:pt x="10472" y="1546"/>
                </a:lnTo>
                <a:lnTo>
                  <a:pt x="10382" y="1628"/>
                </a:lnTo>
                <a:lnTo>
                  <a:pt x="10305" y="1696"/>
                </a:lnTo>
                <a:lnTo>
                  <a:pt x="10243" y="1749"/>
                </a:lnTo>
                <a:lnTo>
                  <a:pt x="10198" y="1785"/>
                </a:lnTo>
                <a:lnTo>
                  <a:pt x="10182" y="1796"/>
                </a:lnTo>
                <a:lnTo>
                  <a:pt x="10170" y="1803"/>
                </a:lnTo>
                <a:lnTo>
                  <a:pt x="10165" y="1805"/>
                </a:lnTo>
                <a:lnTo>
                  <a:pt x="10164" y="1801"/>
                </a:lnTo>
                <a:lnTo>
                  <a:pt x="10168" y="1791"/>
                </a:lnTo>
                <a:lnTo>
                  <a:pt x="10178" y="1777"/>
                </a:lnTo>
                <a:lnTo>
                  <a:pt x="10193" y="1756"/>
                </a:lnTo>
                <a:lnTo>
                  <a:pt x="10215" y="1729"/>
                </a:lnTo>
                <a:lnTo>
                  <a:pt x="10277" y="1656"/>
                </a:lnTo>
                <a:lnTo>
                  <a:pt x="10365" y="1557"/>
                </a:lnTo>
                <a:lnTo>
                  <a:pt x="10480" y="1428"/>
                </a:lnTo>
                <a:lnTo>
                  <a:pt x="10625" y="1271"/>
                </a:lnTo>
                <a:lnTo>
                  <a:pt x="10634" y="1274"/>
                </a:lnTo>
                <a:lnTo>
                  <a:pt x="10643" y="1277"/>
                </a:lnTo>
                <a:lnTo>
                  <a:pt x="10653" y="1277"/>
                </a:lnTo>
                <a:lnTo>
                  <a:pt x="10663" y="1273"/>
                </a:lnTo>
                <a:lnTo>
                  <a:pt x="10674" y="1268"/>
                </a:lnTo>
                <a:lnTo>
                  <a:pt x="10686" y="1262"/>
                </a:lnTo>
                <a:lnTo>
                  <a:pt x="10697" y="1253"/>
                </a:lnTo>
                <a:lnTo>
                  <a:pt x="10710" y="1244"/>
                </a:lnTo>
                <a:lnTo>
                  <a:pt x="10722" y="1232"/>
                </a:lnTo>
                <a:lnTo>
                  <a:pt x="10734" y="1220"/>
                </a:lnTo>
                <a:lnTo>
                  <a:pt x="10746" y="1207"/>
                </a:lnTo>
                <a:lnTo>
                  <a:pt x="10759" y="1193"/>
                </a:lnTo>
                <a:lnTo>
                  <a:pt x="10780" y="1164"/>
                </a:lnTo>
                <a:lnTo>
                  <a:pt x="10801" y="1134"/>
                </a:lnTo>
                <a:lnTo>
                  <a:pt x="10818" y="1106"/>
                </a:lnTo>
                <a:lnTo>
                  <a:pt x="10831" y="1081"/>
                </a:lnTo>
                <a:lnTo>
                  <a:pt x="10836" y="1071"/>
                </a:lnTo>
                <a:lnTo>
                  <a:pt x="10840" y="1061"/>
                </a:lnTo>
                <a:lnTo>
                  <a:pt x="10841" y="1053"/>
                </a:lnTo>
                <a:lnTo>
                  <a:pt x="10841" y="1047"/>
                </a:lnTo>
                <a:lnTo>
                  <a:pt x="10840" y="1041"/>
                </a:lnTo>
                <a:lnTo>
                  <a:pt x="10837" y="1039"/>
                </a:lnTo>
                <a:lnTo>
                  <a:pt x="10832" y="1039"/>
                </a:lnTo>
                <a:lnTo>
                  <a:pt x="10826" y="1041"/>
                </a:lnTo>
                <a:lnTo>
                  <a:pt x="10816" y="1047"/>
                </a:lnTo>
                <a:lnTo>
                  <a:pt x="10804" y="1055"/>
                </a:lnTo>
                <a:lnTo>
                  <a:pt x="10792" y="1066"/>
                </a:lnTo>
                <a:lnTo>
                  <a:pt x="10775" y="1081"/>
                </a:lnTo>
                <a:lnTo>
                  <a:pt x="10752" y="1091"/>
                </a:lnTo>
                <a:lnTo>
                  <a:pt x="10734" y="1100"/>
                </a:lnTo>
                <a:lnTo>
                  <a:pt x="10719" y="1104"/>
                </a:lnTo>
                <a:lnTo>
                  <a:pt x="10709" y="1106"/>
                </a:lnTo>
                <a:lnTo>
                  <a:pt x="10701" y="1105"/>
                </a:lnTo>
                <a:lnTo>
                  <a:pt x="10697" y="1103"/>
                </a:lnTo>
                <a:lnTo>
                  <a:pt x="10696" y="1096"/>
                </a:lnTo>
                <a:lnTo>
                  <a:pt x="10699" y="1089"/>
                </a:lnTo>
                <a:lnTo>
                  <a:pt x="10702" y="1078"/>
                </a:lnTo>
                <a:lnTo>
                  <a:pt x="10709" y="1067"/>
                </a:lnTo>
                <a:lnTo>
                  <a:pt x="10718" y="1054"/>
                </a:lnTo>
                <a:lnTo>
                  <a:pt x="10729" y="1039"/>
                </a:lnTo>
                <a:lnTo>
                  <a:pt x="10755" y="1006"/>
                </a:lnTo>
                <a:lnTo>
                  <a:pt x="10785" y="969"/>
                </a:lnTo>
                <a:lnTo>
                  <a:pt x="10853" y="890"/>
                </a:lnTo>
                <a:lnTo>
                  <a:pt x="10915" y="812"/>
                </a:lnTo>
                <a:lnTo>
                  <a:pt x="10928" y="796"/>
                </a:lnTo>
                <a:lnTo>
                  <a:pt x="10939" y="779"/>
                </a:lnTo>
                <a:lnTo>
                  <a:pt x="10950" y="763"/>
                </a:lnTo>
                <a:lnTo>
                  <a:pt x="10958" y="749"/>
                </a:lnTo>
                <a:lnTo>
                  <a:pt x="10964" y="736"/>
                </a:lnTo>
                <a:lnTo>
                  <a:pt x="10967" y="726"/>
                </a:lnTo>
                <a:lnTo>
                  <a:pt x="10969" y="717"/>
                </a:lnTo>
                <a:lnTo>
                  <a:pt x="10966" y="709"/>
                </a:lnTo>
                <a:lnTo>
                  <a:pt x="10942" y="746"/>
                </a:lnTo>
                <a:lnTo>
                  <a:pt x="10933" y="758"/>
                </a:lnTo>
                <a:lnTo>
                  <a:pt x="10936" y="754"/>
                </a:lnTo>
                <a:lnTo>
                  <a:pt x="10946" y="738"/>
                </a:lnTo>
                <a:lnTo>
                  <a:pt x="10960" y="717"/>
                </a:lnTo>
                <a:lnTo>
                  <a:pt x="10974" y="698"/>
                </a:lnTo>
                <a:lnTo>
                  <a:pt x="10983" y="685"/>
                </a:lnTo>
                <a:lnTo>
                  <a:pt x="10984" y="685"/>
                </a:lnTo>
                <a:lnTo>
                  <a:pt x="10983" y="705"/>
                </a:lnTo>
                <a:lnTo>
                  <a:pt x="10984" y="719"/>
                </a:lnTo>
                <a:lnTo>
                  <a:pt x="10985" y="724"/>
                </a:lnTo>
                <a:lnTo>
                  <a:pt x="10986" y="727"/>
                </a:lnTo>
                <a:lnTo>
                  <a:pt x="10988" y="728"/>
                </a:lnTo>
                <a:lnTo>
                  <a:pt x="10990" y="728"/>
                </a:lnTo>
                <a:lnTo>
                  <a:pt x="10995" y="724"/>
                </a:lnTo>
                <a:lnTo>
                  <a:pt x="11002" y="717"/>
                </a:lnTo>
                <a:lnTo>
                  <a:pt x="11008" y="707"/>
                </a:lnTo>
                <a:lnTo>
                  <a:pt x="11016" y="693"/>
                </a:lnTo>
                <a:lnTo>
                  <a:pt x="11031" y="661"/>
                </a:lnTo>
                <a:lnTo>
                  <a:pt x="11045" y="628"/>
                </a:lnTo>
                <a:lnTo>
                  <a:pt x="11055" y="600"/>
                </a:lnTo>
                <a:lnTo>
                  <a:pt x="11060" y="582"/>
                </a:lnTo>
                <a:lnTo>
                  <a:pt x="11014" y="615"/>
                </a:lnTo>
                <a:lnTo>
                  <a:pt x="10970" y="649"/>
                </a:lnTo>
                <a:lnTo>
                  <a:pt x="10925" y="685"/>
                </a:lnTo>
                <a:lnTo>
                  <a:pt x="10882" y="722"/>
                </a:lnTo>
                <a:lnTo>
                  <a:pt x="10882" y="722"/>
                </a:lnTo>
                <a:lnTo>
                  <a:pt x="10882" y="722"/>
                </a:lnTo>
                <a:lnTo>
                  <a:pt x="10840" y="759"/>
                </a:lnTo>
                <a:lnTo>
                  <a:pt x="10797" y="797"/>
                </a:lnTo>
                <a:lnTo>
                  <a:pt x="10753" y="835"/>
                </a:lnTo>
                <a:lnTo>
                  <a:pt x="10711" y="875"/>
                </a:lnTo>
                <a:lnTo>
                  <a:pt x="10667" y="914"/>
                </a:lnTo>
                <a:lnTo>
                  <a:pt x="10622" y="952"/>
                </a:lnTo>
                <a:lnTo>
                  <a:pt x="10578" y="992"/>
                </a:lnTo>
                <a:lnTo>
                  <a:pt x="10532" y="1031"/>
                </a:lnTo>
                <a:lnTo>
                  <a:pt x="10517" y="1036"/>
                </a:lnTo>
                <a:lnTo>
                  <a:pt x="10508" y="1036"/>
                </a:lnTo>
                <a:lnTo>
                  <a:pt x="10505" y="1031"/>
                </a:lnTo>
                <a:lnTo>
                  <a:pt x="10509" y="1021"/>
                </a:lnTo>
                <a:lnTo>
                  <a:pt x="10517" y="1008"/>
                </a:lnTo>
                <a:lnTo>
                  <a:pt x="10528" y="991"/>
                </a:lnTo>
                <a:lnTo>
                  <a:pt x="10545" y="970"/>
                </a:lnTo>
                <a:lnTo>
                  <a:pt x="10564" y="947"/>
                </a:lnTo>
                <a:lnTo>
                  <a:pt x="10612" y="894"/>
                </a:lnTo>
                <a:lnTo>
                  <a:pt x="10668" y="834"/>
                </a:lnTo>
                <a:lnTo>
                  <a:pt x="10729" y="770"/>
                </a:lnTo>
                <a:lnTo>
                  <a:pt x="10792" y="708"/>
                </a:lnTo>
                <a:lnTo>
                  <a:pt x="10850" y="648"/>
                </a:lnTo>
                <a:lnTo>
                  <a:pt x="10904" y="596"/>
                </a:lnTo>
                <a:lnTo>
                  <a:pt x="10946" y="553"/>
                </a:lnTo>
                <a:lnTo>
                  <a:pt x="10974" y="523"/>
                </a:lnTo>
                <a:lnTo>
                  <a:pt x="10980" y="514"/>
                </a:lnTo>
                <a:lnTo>
                  <a:pt x="10983" y="511"/>
                </a:lnTo>
                <a:lnTo>
                  <a:pt x="10980" y="512"/>
                </a:lnTo>
                <a:lnTo>
                  <a:pt x="10971" y="517"/>
                </a:lnTo>
                <a:lnTo>
                  <a:pt x="10934" y="546"/>
                </a:lnTo>
                <a:lnTo>
                  <a:pt x="10868" y="602"/>
                </a:lnTo>
                <a:lnTo>
                  <a:pt x="10826" y="629"/>
                </a:lnTo>
                <a:lnTo>
                  <a:pt x="10785" y="656"/>
                </a:lnTo>
                <a:lnTo>
                  <a:pt x="10745" y="685"/>
                </a:lnTo>
                <a:lnTo>
                  <a:pt x="10706" y="714"/>
                </a:lnTo>
                <a:lnTo>
                  <a:pt x="10668" y="745"/>
                </a:lnTo>
                <a:lnTo>
                  <a:pt x="10630" y="777"/>
                </a:lnTo>
                <a:lnTo>
                  <a:pt x="10593" y="810"/>
                </a:lnTo>
                <a:lnTo>
                  <a:pt x="10556" y="843"/>
                </a:lnTo>
                <a:lnTo>
                  <a:pt x="10483" y="913"/>
                </a:lnTo>
                <a:lnTo>
                  <a:pt x="10410" y="985"/>
                </a:lnTo>
                <a:lnTo>
                  <a:pt x="10336" y="1061"/>
                </a:lnTo>
                <a:lnTo>
                  <a:pt x="10258" y="1138"/>
                </a:lnTo>
                <a:lnTo>
                  <a:pt x="10178" y="1216"/>
                </a:lnTo>
                <a:lnTo>
                  <a:pt x="10094" y="1296"/>
                </a:lnTo>
                <a:lnTo>
                  <a:pt x="10049" y="1337"/>
                </a:lnTo>
                <a:lnTo>
                  <a:pt x="10005" y="1376"/>
                </a:lnTo>
                <a:lnTo>
                  <a:pt x="9957" y="1417"/>
                </a:lnTo>
                <a:lnTo>
                  <a:pt x="9908" y="1458"/>
                </a:lnTo>
                <a:lnTo>
                  <a:pt x="9857" y="1497"/>
                </a:lnTo>
                <a:lnTo>
                  <a:pt x="9805" y="1538"/>
                </a:lnTo>
                <a:lnTo>
                  <a:pt x="9749" y="1577"/>
                </a:lnTo>
                <a:lnTo>
                  <a:pt x="9693" y="1618"/>
                </a:lnTo>
                <a:lnTo>
                  <a:pt x="9633" y="1658"/>
                </a:lnTo>
                <a:lnTo>
                  <a:pt x="9570" y="1696"/>
                </a:lnTo>
                <a:lnTo>
                  <a:pt x="9505" y="1735"/>
                </a:lnTo>
                <a:lnTo>
                  <a:pt x="9438" y="1773"/>
                </a:lnTo>
                <a:lnTo>
                  <a:pt x="9432" y="1762"/>
                </a:lnTo>
                <a:lnTo>
                  <a:pt x="9428" y="1752"/>
                </a:lnTo>
                <a:lnTo>
                  <a:pt x="9425" y="1740"/>
                </a:lnTo>
                <a:lnTo>
                  <a:pt x="9425" y="1728"/>
                </a:lnTo>
                <a:lnTo>
                  <a:pt x="9428" y="1716"/>
                </a:lnTo>
                <a:lnTo>
                  <a:pt x="9432" y="1703"/>
                </a:lnTo>
                <a:lnTo>
                  <a:pt x="9437" y="1689"/>
                </a:lnTo>
                <a:lnTo>
                  <a:pt x="9444" y="1677"/>
                </a:lnTo>
                <a:lnTo>
                  <a:pt x="9452" y="1663"/>
                </a:lnTo>
                <a:lnTo>
                  <a:pt x="9462" y="1649"/>
                </a:lnTo>
                <a:lnTo>
                  <a:pt x="9474" y="1635"/>
                </a:lnTo>
                <a:lnTo>
                  <a:pt x="9486" y="1621"/>
                </a:lnTo>
                <a:lnTo>
                  <a:pt x="9516" y="1591"/>
                </a:lnTo>
                <a:lnTo>
                  <a:pt x="9549" y="1561"/>
                </a:lnTo>
                <a:lnTo>
                  <a:pt x="9623" y="1497"/>
                </a:lnTo>
                <a:lnTo>
                  <a:pt x="9703" y="1432"/>
                </a:lnTo>
                <a:lnTo>
                  <a:pt x="9745" y="1399"/>
                </a:lnTo>
                <a:lnTo>
                  <a:pt x="9784" y="1366"/>
                </a:lnTo>
                <a:lnTo>
                  <a:pt x="9824" y="1333"/>
                </a:lnTo>
                <a:lnTo>
                  <a:pt x="9859" y="1300"/>
                </a:lnTo>
                <a:lnTo>
                  <a:pt x="9829" y="1352"/>
                </a:lnTo>
                <a:lnTo>
                  <a:pt x="9811" y="1384"/>
                </a:lnTo>
                <a:lnTo>
                  <a:pt x="9806" y="1393"/>
                </a:lnTo>
                <a:lnTo>
                  <a:pt x="9805" y="1397"/>
                </a:lnTo>
                <a:lnTo>
                  <a:pt x="9806" y="1398"/>
                </a:lnTo>
                <a:lnTo>
                  <a:pt x="9811" y="1395"/>
                </a:lnTo>
                <a:lnTo>
                  <a:pt x="9825" y="1380"/>
                </a:lnTo>
                <a:lnTo>
                  <a:pt x="9848" y="1355"/>
                </a:lnTo>
                <a:lnTo>
                  <a:pt x="9877" y="1321"/>
                </a:lnTo>
                <a:lnTo>
                  <a:pt x="9912" y="1283"/>
                </a:lnTo>
                <a:lnTo>
                  <a:pt x="9950" y="1244"/>
                </a:lnTo>
                <a:lnTo>
                  <a:pt x="9989" y="1203"/>
                </a:lnTo>
                <a:lnTo>
                  <a:pt x="10008" y="1184"/>
                </a:lnTo>
                <a:lnTo>
                  <a:pt x="10029" y="1166"/>
                </a:lnTo>
                <a:lnTo>
                  <a:pt x="10048" y="1150"/>
                </a:lnTo>
                <a:lnTo>
                  <a:pt x="10067" y="1134"/>
                </a:lnTo>
                <a:lnTo>
                  <a:pt x="10086" y="1122"/>
                </a:lnTo>
                <a:lnTo>
                  <a:pt x="10103" y="1110"/>
                </a:lnTo>
                <a:lnTo>
                  <a:pt x="10119" y="1103"/>
                </a:lnTo>
                <a:lnTo>
                  <a:pt x="10135" y="1097"/>
                </a:lnTo>
                <a:lnTo>
                  <a:pt x="10149" y="1096"/>
                </a:lnTo>
                <a:lnTo>
                  <a:pt x="10161" y="1097"/>
                </a:lnTo>
                <a:lnTo>
                  <a:pt x="10171" y="1104"/>
                </a:lnTo>
                <a:lnTo>
                  <a:pt x="10179" y="1114"/>
                </a:lnTo>
                <a:lnTo>
                  <a:pt x="10292" y="997"/>
                </a:lnTo>
                <a:lnTo>
                  <a:pt x="10387" y="896"/>
                </a:lnTo>
                <a:lnTo>
                  <a:pt x="10463" y="814"/>
                </a:lnTo>
                <a:lnTo>
                  <a:pt x="10523" y="747"/>
                </a:lnTo>
                <a:lnTo>
                  <a:pt x="10567" y="695"/>
                </a:lnTo>
                <a:lnTo>
                  <a:pt x="10596" y="658"/>
                </a:lnTo>
                <a:lnTo>
                  <a:pt x="10611" y="634"/>
                </a:lnTo>
                <a:lnTo>
                  <a:pt x="10612" y="623"/>
                </a:lnTo>
                <a:lnTo>
                  <a:pt x="10601" y="623"/>
                </a:lnTo>
                <a:lnTo>
                  <a:pt x="10579" y="634"/>
                </a:lnTo>
                <a:lnTo>
                  <a:pt x="10546" y="656"/>
                </a:lnTo>
                <a:lnTo>
                  <a:pt x="10504" y="686"/>
                </a:lnTo>
                <a:lnTo>
                  <a:pt x="10453" y="724"/>
                </a:lnTo>
                <a:lnTo>
                  <a:pt x="10396" y="770"/>
                </a:lnTo>
                <a:lnTo>
                  <a:pt x="10329" y="824"/>
                </a:lnTo>
                <a:lnTo>
                  <a:pt x="10258" y="881"/>
                </a:lnTo>
                <a:lnTo>
                  <a:pt x="10101" y="1012"/>
                </a:lnTo>
                <a:lnTo>
                  <a:pt x="9933" y="1153"/>
                </a:lnTo>
                <a:lnTo>
                  <a:pt x="9758" y="1302"/>
                </a:lnTo>
                <a:lnTo>
                  <a:pt x="9586" y="1449"/>
                </a:lnTo>
                <a:lnTo>
                  <a:pt x="9421" y="1586"/>
                </a:lnTo>
                <a:lnTo>
                  <a:pt x="9274" y="1708"/>
                </a:lnTo>
                <a:lnTo>
                  <a:pt x="9209" y="1762"/>
                </a:lnTo>
                <a:lnTo>
                  <a:pt x="9150" y="1809"/>
                </a:lnTo>
                <a:lnTo>
                  <a:pt x="9100" y="1848"/>
                </a:lnTo>
                <a:lnTo>
                  <a:pt x="9058" y="1880"/>
                </a:lnTo>
                <a:lnTo>
                  <a:pt x="9020" y="1926"/>
                </a:lnTo>
                <a:lnTo>
                  <a:pt x="8996" y="1954"/>
                </a:lnTo>
                <a:lnTo>
                  <a:pt x="8987" y="1962"/>
                </a:lnTo>
                <a:lnTo>
                  <a:pt x="8982" y="1966"/>
                </a:lnTo>
                <a:lnTo>
                  <a:pt x="8978" y="1967"/>
                </a:lnTo>
                <a:lnTo>
                  <a:pt x="8977" y="1963"/>
                </a:lnTo>
                <a:lnTo>
                  <a:pt x="8978" y="1958"/>
                </a:lnTo>
                <a:lnTo>
                  <a:pt x="8981" y="1950"/>
                </a:lnTo>
                <a:lnTo>
                  <a:pt x="8983" y="1940"/>
                </a:lnTo>
                <a:lnTo>
                  <a:pt x="8988" y="1927"/>
                </a:lnTo>
                <a:lnTo>
                  <a:pt x="9002" y="1899"/>
                </a:lnTo>
                <a:lnTo>
                  <a:pt x="9018" y="1866"/>
                </a:lnTo>
                <a:lnTo>
                  <a:pt x="9035" y="1832"/>
                </a:lnTo>
                <a:lnTo>
                  <a:pt x="9052" y="1799"/>
                </a:lnTo>
                <a:lnTo>
                  <a:pt x="9066" y="1768"/>
                </a:lnTo>
                <a:lnTo>
                  <a:pt x="9076" y="1744"/>
                </a:lnTo>
                <a:lnTo>
                  <a:pt x="9079" y="1734"/>
                </a:lnTo>
                <a:lnTo>
                  <a:pt x="9080" y="1728"/>
                </a:lnTo>
                <a:lnTo>
                  <a:pt x="9080" y="1722"/>
                </a:lnTo>
                <a:lnTo>
                  <a:pt x="9079" y="1721"/>
                </a:lnTo>
                <a:lnTo>
                  <a:pt x="9074" y="1724"/>
                </a:lnTo>
                <a:lnTo>
                  <a:pt x="9067" y="1729"/>
                </a:lnTo>
                <a:lnTo>
                  <a:pt x="9057" y="1738"/>
                </a:lnTo>
                <a:lnTo>
                  <a:pt x="9046" y="1752"/>
                </a:lnTo>
                <a:lnTo>
                  <a:pt x="9039" y="1744"/>
                </a:lnTo>
                <a:lnTo>
                  <a:pt x="9033" y="1739"/>
                </a:lnTo>
                <a:lnTo>
                  <a:pt x="9027" y="1736"/>
                </a:lnTo>
                <a:lnTo>
                  <a:pt x="9020" y="1736"/>
                </a:lnTo>
                <a:lnTo>
                  <a:pt x="9013" y="1738"/>
                </a:lnTo>
                <a:lnTo>
                  <a:pt x="9005" y="1740"/>
                </a:lnTo>
                <a:lnTo>
                  <a:pt x="8997" y="1745"/>
                </a:lnTo>
                <a:lnTo>
                  <a:pt x="8990" y="1752"/>
                </a:lnTo>
                <a:lnTo>
                  <a:pt x="8982" y="1759"/>
                </a:lnTo>
                <a:lnTo>
                  <a:pt x="8973" y="1768"/>
                </a:lnTo>
                <a:lnTo>
                  <a:pt x="8965" y="1778"/>
                </a:lnTo>
                <a:lnTo>
                  <a:pt x="8957" y="1789"/>
                </a:lnTo>
                <a:lnTo>
                  <a:pt x="8939" y="1814"/>
                </a:lnTo>
                <a:lnTo>
                  <a:pt x="8922" y="1842"/>
                </a:lnTo>
                <a:lnTo>
                  <a:pt x="8886" y="1903"/>
                </a:lnTo>
                <a:lnTo>
                  <a:pt x="8853" y="1963"/>
                </a:lnTo>
                <a:lnTo>
                  <a:pt x="8838" y="1991"/>
                </a:lnTo>
                <a:lnTo>
                  <a:pt x="8824" y="2017"/>
                </a:lnTo>
                <a:lnTo>
                  <a:pt x="8810" y="2037"/>
                </a:lnTo>
                <a:lnTo>
                  <a:pt x="8799" y="2053"/>
                </a:lnTo>
                <a:lnTo>
                  <a:pt x="8792" y="2062"/>
                </a:lnTo>
                <a:lnTo>
                  <a:pt x="8787" y="2070"/>
                </a:lnTo>
                <a:lnTo>
                  <a:pt x="8783" y="2074"/>
                </a:lnTo>
                <a:lnTo>
                  <a:pt x="8780" y="2075"/>
                </a:lnTo>
                <a:lnTo>
                  <a:pt x="8776" y="2075"/>
                </a:lnTo>
                <a:lnTo>
                  <a:pt x="8774" y="2073"/>
                </a:lnTo>
                <a:lnTo>
                  <a:pt x="8772" y="2070"/>
                </a:lnTo>
                <a:lnTo>
                  <a:pt x="8771" y="2065"/>
                </a:lnTo>
                <a:lnTo>
                  <a:pt x="8768" y="2041"/>
                </a:lnTo>
                <a:lnTo>
                  <a:pt x="8767" y="2020"/>
                </a:lnTo>
                <a:lnTo>
                  <a:pt x="8759" y="2022"/>
                </a:lnTo>
                <a:lnTo>
                  <a:pt x="8753" y="2024"/>
                </a:lnTo>
                <a:lnTo>
                  <a:pt x="8748" y="2028"/>
                </a:lnTo>
                <a:lnTo>
                  <a:pt x="8743" y="2032"/>
                </a:lnTo>
                <a:lnTo>
                  <a:pt x="8739" y="2037"/>
                </a:lnTo>
                <a:lnTo>
                  <a:pt x="8736" y="2042"/>
                </a:lnTo>
                <a:lnTo>
                  <a:pt x="8734" y="2047"/>
                </a:lnTo>
                <a:lnTo>
                  <a:pt x="8732" y="2052"/>
                </a:lnTo>
                <a:lnTo>
                  <a:pt x="8732" y="2059"/>
                </a:lnTo>
                <a:lnTo>
                  <a:pt x="8732" y="2064"/>
                </a:lnTo>
                <a:lnTo>
                  <a:pt x="8734" y="2070"/>
                </a:lnTo>
                <a:lnTo>
                  <a:pt x="8736" y="2075"/>
                </a:lnTo>
                <a:lnTo>
                  <a:pt x="8739" y="2081"/>
                </a:lnTo>
                <a:lnTo>
                  <a:pt x="8744" y="2087"/>
                </a:lnTo>
                <a:lnTo>
                  <a:pt x="8748" y="2092"/>
                </a:lnTo>
                <a:lnTo>
                  <a:pt x="8754" y="2095"/>
                </a:lnTo>
                <a:lnTo>
                  <a:pt x="8741" y="2093"/>
                </a:lnTo>
                <a:lnTo>
                  <a:pt x="8732" y="2088"/>
                </a:lnTo>
                <a:lnTo>
                  <a:pt x="8725" y="2081"/>
                </a:lnTo>
                <a:lnTo>
                  <a:pt x="8720" y="2074"/>
                </a:lnTo>
                <a:lnTo>
                  <a:pt x="8716" y="2065"/>
                </a:lnTo>
                <a:lnTo>
                  <a:pt x="8715" y="2053"/>
                </a:lnTo>
                <a:lnTo>
                  <a:pt x="8716" y="2041"/>
                </a:lnTo>
                <a:lnTo>
                  <a:pt x="8717" y="2028"/>
                </a:lnTo>
                <a:lnTo>
                  <a:pt x="8721" y="2013"/>
                </a:lnTo>
                <a:lnTo>
                  <a:pt x="8726" y="1997"/>
                </a:lnTo>
                <a:lnTo>
                  <a:pt x="8731" y="1981"/>
                </a:lnTo>
                <a:lnTo>
                  <a:pt x="8739" y="1964"/>
                </a:lnTo>
                <a:lnTo>
                  <a:pt x="8755" y="1927"/>
                </a:lnTo>
                <a:lnTo>
                  <a:pt x="8773" y="1889"/>
                </a:lnTo>
                <a:lnTo>
                  <a:pt x="8794" y="1850"/>
                </a:lnTo>
                <a:lnTo>
                  <a:pt x="8813" y="1809"/>
                </a:lnTo>
                <a:lnTo>
                  <a:pt x="8830" y="1770"/>
                </a:lnTo>
                <a:lnTo>
                  <a:pt x="8846" y="1731"/>
                </a:lnTo>
                <a:lnTo>
                  <a:pt x="8852" y="1712"/>
                </a:lnTo>
                <a:lnTo>
                  <a:pt x="8857" y="1694"/>
                </a:lnTo>
                <a:lnTo>
                  <a:pt x="8862" y="1678"/>
                </a:lnTo>
                <a:lnTo>
                  <a:pt x="8865" y="1661"/>
                </a:lnTo>
                <a:lnTo>
                  <a:pt x="8866" y="1646"/>
                </a:lnTo>
                <a:lnTo>
                  <a:pt x="8865" y="1632"/>
                </a:lnTo>
                <a:lnTo>
                  <a:pt x="8864" y="1618"/>
                </a:lnTo>
                <a:lnTo>
                  <a:pt x="8858" y="1607"/>
                </a:lnTo>
                <a:lnTo>
                  <a:pt x="8813" y="1675"/>
                </a:lnTo>
                <a:lnTo>
                  <a:pt x="8777" y="1730"/>
                </a:lnTo>
                <a:lnTo>
                  <a:pt x="8749" y="1768"/>
                </a:lnTo>
                <a:lnTo>
                  <a:pt x="8729" y="1794"/>
                </a:lnTo>
                <a:lnTo>
                  <a:pt x="8721" y="1801"/>
                </a:lnTo>
                <a:lnTo>
                  <a:pt x="8715" y="1805"/>
                </a:lnTo>
                <a:lnTo>
                  <a:pt x="8709" y="1808"/>
                </a:lnTo>
                <a:lnTo>
                  <a:pt x="8706" y="1808"/>
                </a:lnTo>
                <a:lnTo>
                  <a:pt x="8703" y="1804"/>
                </a:lnTo>
                <a:lnTo>
                  <a:pt x="8701" y="1799"/>
                </a:lnTo>
                <a:lnTo>
                  <a:pt x="8701" y="1791"/>
                </a:lnTo>
                <a:lnTo>
                  <a:pt x="8699" y="1782"/>
                </a:lnTo>
                <a:lnTo>
                  <a:pt x="8701" y="1758"/>
                </a:lnTo>
                <a:lnTo>
                  <a:pt x="8703" y="1728"/>
                </a:lnTo>
                <a:lnTo>
                  <a:pt x="8704" y="1692"/>
                </a:lnTo>
                <a:lnTo>
                  <a:pt x="8707" y="1652"/>
                </a:lnTo>
                <a:lnTo>
                  <a:pt x="8707" y="1632"/>
                </a:lnTo>
                <a:lnTo>
                  <a:pt x="8706" y="1612"/>
                </a:lnTo>
                <a:lnTo>
                  <a:pt x="8706" y="1590"/>
                </a:lnTo>
                <a:lnTo>
                  <a:pt x="8703" y="1568"/>
                </a:lnTo>
                <a:lnTo>
                  <a:pt x="8701" y="1548"/>
                </a:lnTo>
                <a:lnTo>
                  <a:pt x="8697" y="1526"/>
                </a:lnTo>
                <a:lnTo>
                  <a:pt x="8690" y="1506"/>
                </a:lnTo>
                <a:lnTo>
                  <a:pt x="8684" y="1486"/>
                </a:lnTo>
                <a:lnTo>
                  <a:pt x="8681" y="1519"/>
                </a:lnTo>
                <a:lnTo>
                  <a:pt x="8679" y="1553"/>
                </a:lnTo>
                <a:lnTo>
                  <a:pt x="8679" y="1588"/>
                </a:lnTo>
                <a:lnTo>
                  <a:pt x="8678" y="1621"/>
                </a:lnTo>
                <a:lnTo>
                  <a:pt x="8678" y="1655"/>
                </a:lnTo>
                <a:lnTo>
                  <a:pt x="8676" y="1688"/>
                </a:lnTo>
                <a:lnTo>
                  <a:pt x="8675" y="1720"/>
                </a:lnTo>
                <a:lnTo>
                  <a:pt x="8673" y="1753"/>
                </a:lnTo>
                <a:lnTo>
                  <a:pt x="8667" y="1784"/>
                </a:lnTo>
                <a:lnTo>
                  <a:pt x="8661" y="1815"/>
                </a:lnTo>
                <a:lnTo>
                  <a:pt x="8657" y="1831"/>
                </a:lnTo>
                <a:lnTo>
                  <a:pt x="8652" y="1845"/>
                </a:lnTo>
                <a:lnTo>
                  <a:pt x="8646" y="1860"/>
                </a:lnTo>
                <a:lnTo>
                  <a:pt x="8639" y="1874"/>
                </a:lnTo>
                <a:lnTo>
                  <a:pt x="8632" y="1888"/>
                </a:lnTo>
                <a:lnTo>
                  <a:pt x="8624" y="1902"/>
                </a:lnTo>
                <a:lnTo>
                  <a:pt x="8615" y="1916"/>
                </a:lnTo>
                <a:lnTo>
                  <a:pt x="8604" y="1929"/>
                </a:lnTo>
                <a:lnTo>
                  <a:pt x="8594" y="1943"/>
                </a:lnTo>
                <a:lnTo>
                  <a:pt x="8581" y="1955"/>
                </a:lnTo>
                <a:lnTo>
                  <a:pt x="8567" y="1968"/>
                </a:lnTo>
                <a:lnTo>
                  <a:pt x="8552" y="1980"/>
                </a:lnTo>
                <a:lnTo>
                  <a:pt x="8548" y="1907"/>
                </a:lnTo>
                <a:lnTo>
                  <a:pt x="8541" y="1850"/>
                </a:lnTo>
                <a:lnTo>
                  <a:pt x="8539" y="1827"/>
                </a:lnTo>
                <a:lnTo>
                  <a:pt x="8535" y="1808"/>
                </a:lnTo>
                <a:lnTo>
                  <a:pt x="8531" y="1791"/>
                </a:lnTo>
                <a:lnTo>
                  <a:pt x="8527" y="1778"/>
                </a:lnTo>
                <a:lnTo>
                  <a:pt x="8524" y="1770"/>
                </a:lnTo>
                <a:lnTo>
                  <a:pt x="8520" y="1763"/>
                </a:lnTo>
                <a:lnTo>
                  <a:pt x="8516" y="1759"/>
                </a:lnTo>
                <a:lnTo>
                  <a:pt x="8513" y="1758"/>
                </a:lnTo>
                <a:lnTo>
                  <a:pt x="8510" y="1759"/>
                </a:lnTo>
                <a:lnTo>
                  <a:pt x="8506" y="1763"/>
                </a:lnTo>
                <a:lnTo>
                  <a:pt x="8502" y="1768"/>
                </a:lnTo>
                <a:lnTo>
                  <a:pt x="8499" y="1776"/>
                </a:lnTo>
                <a:lnTo>
                  <a:pt x="8493" y="1798"/>
                </a:lnTo>
                <a:lnTo>
                  <a:pt x="8489" y="1826"/>
                </a:lnTo>
                <a:lnTo>
                  <a:pt x="8487" y="1857"/>
                </a:lnTo>
                <a:lnTo>
                  <a:pt x="8485" y="1894"/>
                </a:lnTo>
                <a:lnTo>
                  <a:pt x="8487" y="1932"/>
                </a:lnTo>
                <a:lnTo>
                  <a:pt x="8492" y="1973"/>
                </a:lnTo>
                <a:lnTo>
                  <a:pt x="8494" y="1994"/>
                </a:lnTo>
                <a:lnTo>
                  <a:pt x="8498" y="2014"/>
                </a:lnTo>
                <a:lnTo>
                  <a:pt x="8502" y="2034"/>
                </a:lnTo>
                <a:lnTo>
                  <a:pt x="8508" y="2053"/>
                </a:lnTo>
                <a:lnTo>
                  <a:pt x="8499" y="2055"/>
                </a:lnTo>
                <a:lnTo>
                  <a:pt x="8493" y="2052"/>
                </a:lnTo>
                <a:lnTo>
                  <a:pt x="8487" y="2048"/>
                </a:lnTo>
                <a:lnTo>
                  <a:pt x="8482" y="2043"/>
                </a:lnTo>
                <a:lnTo>
                  <a:pt x="8476" y="2036"/>
                </a:lnTo>
                <a:lnTo>
                  <a:pt x="8473" y="2025"/>
                </a:lnTo>
                <a:lnTo>
                  <a:pt x="8469" y="2015"/>
                </a:lnTo>
                <a:lnTo>
                  <a:pt x="8466" y="2004"/>
                </a:lnTo>
                <a:lnTo>
                  <a:pt x="8462" y="1977"/>
                </a:lnTo>
                <a:lnTo>
                  <a:pt x="8460" y="1950"/>
                </a:lnTo>
                <a:lnTo>
                  <a:pt x="8459" y="1922"/>
                </a:lnTo>
                <a:lnTo>
                  <a:pt x="8457" y="1898"/>
                </a:lnTo>
                <a:lnTo>
                  <a:pt x="8457" y="1878"/>
                </a:lnTo>
                <a:lnTo>
                  <a:pt x="8456" y="1862"/>
                </a:lnTo>
                <a:lnTo>
                  <a:pt x="8456" y="1859"/>
                </a:lnTo>
                <a:lnTo>
                  <a:pt x="8455" y="1856"/>
                </a:lnTo>
                <a:lnTo>
                  <a:pt x="8453" y="1856"/>
                </a:lnTo>
                <a:lnTo>
                  <a:pt x="8451" y="1860"/>
                </a:lnTo>
                <a:lnTo>
                  <a:pt x="8447" y="1875"/>
                </a:lnTo>
                <a:lnTo>
                  <a:pt x="8439" y="1904"/>
                </a:lnTo>
                <a:lnTo>
                  <a:pt x="8429" y="1949"/>
                </a:lnTo>
                <a:lnTo>
                  <a:pt x="8417" y="2013"/>
                </a:lnTo>
                <a:lnTo>
                  <a:pt x="8410" y="2028"/>
                </a:lnTo>
                <a:lnTo>
                  <a:pt x="8404" y="2042"/>
                </a:lnTo>
                <a:lnTo>
                  <a:pt x="8399" y="2053"/>
                </a:lnTo>
                <a:lnTo>
                  <a:pt x="8392" y="2062"/>
                </a:lnTo>
                <a:lnTo>
                  <a:pt x="8386" y="2069"/>
                </a:lnTo>
                <a:lnTo>
                  <a:pt x="8380" y="2074"/>
                </a:lnTo>
                <a:lnTo>
                  <a:pt x="8375" y="2076"/>
                </a:lnTo>
                <a:lnTo>
                  <a:pt x="8369" y="2078"/>
                </a:lnTo>
                <a:lnTo>
                  <a:pt x="8364" y="2076"/>
                </a:lnTo>
                <a:lnTo>
                  <a:pt x="8359" y="2074"/>
                </a:lnTo>
                <a:lnTo>
                  <a:pt x="8357" y="2070"/>
                </a:lnTo>
                <a:lnTo>
                  <a:pt x="8353" y="2064"/>
                </a:lnTo>
                <a:lnTo>
                  <a:pt x="8352" y="2056"/>
                </a:lnTo>
                <a:lnTo>
                  <a:pt x="8350" y="2046"/>
                </a:lnTo>
                <a:lnTo>
                  <a:pt x="8350" y="2036"/>
                </a:lnTo>
                <a:lnTo>
                  <a:pt x="8352" y="2023"/>
                </a:lnTo>
                <a:lnTo>
                  <a:pt x="8343" y="1997"/>
                </a:lnTo>
                <a:lnTo>
                  <a:pt x="8334" y="1977"/>
                </a:lnTo>
                <a:lnTo>
                  <a:pt x="8326" y="1962"/>
                </a:lnTo>
                <a:lnTo>
                  <a:pt x="8318" y="1950"/>
                </a:lnTo>
                <a:lnTo>
                  <a:pt x="8312" y="1944"/>
                </a:lnTo>
                <a:lnTo>
                  <a:pt x="8307" y="1941"/>
                </a:lnTo>
                <a:lnTo>
                  <a:pt x="8301" y="1941"/>
                </a:lnTo>
                <a:lnTo>
                  <a:pt x="8297" y="1945"/>
                </a:lnTo>
                <a:lnTo>
                  <a:pt x="8292" y="1953"/>
                </a:lnTo>
                <a:lnTo>
                  <a:pt x="8289" y="1962"/>
                </a:lnTo>
                <a:lnTo>
                  <a:pt x="8287" y="1973"/>
                </a:lnTo>
                <a:lnTo>
                  <a:pt x="8284" y="1987"/>
                </a:lnTo>
                <a:lnTo>
                  <a:pt x="8283" y="2001"/>
                </a:lnTo>
                <a:lnTo>
                  <a:pt x="8282" y="2018"/>
                </a:lnTo>
                <a:lnTo>
                  <a:pt x="8282" y="2034"/>
                </a:lnTo>
                <a:lnTo>
                  <a:pt x="8283" y="2052"/>
                </a:lnTo>
                <a:lnTo>
                  <a:pt x="8284" y="2069"/>
                </a:lnTo>
                <a:lnTo>
                  <a:pt x="8287" y="2087"/>
                </a:lnTo>
                <a:lnTo>
                  <a:pt x="8289" y="2103"/>
                </a:lnTo>
                <a:lnTo>
                  <a:pt x="8292" y="2118"/>
                </a:lnTo>
                <a:lnTo>
                  <a:pt x="8297" y="2134"/>
                </a:lnTo>
                <a:lnTo>
                  <a:pt x="8302" y="2146"/>
                </a:lnTo>
                <a:lnTo>
                  <a:pt x="8307" y="2158"/>
                </a:lnTo>
                <a:lnTo>
                  <a:pt x="8313" y="2165"/>
                </a:lnTo>
                <a:lnTo>
                  <a:pt x="8321" y="2172"/>
                </a:lnTo>
                <a:lnTo>
                  <a:pt x="8329" y="2176"/>
                </a:lnTo>
                <a:lnTo>
                  <a:pt x="8336" y="2174"/>
                </a:lnTo>
                <a:lnTo>
                  <a:pt x="8347" y="2171"/>
                </a:lnTo>
                <a:lnTo>
                  <a:pt x="8357" y="2163"/>
                </a:lnTo>
                <a:lnTo>
                  <a:pt x="8367" y="2150"/>
                </a:lnTo>
                <a:lnTo>
                  <a:pt x="8378" y="2134"/>
                </a:lnTo>
                <a:lnTo>
                  <a:pt x="8391" y="2112"/>
                </a:lnTo>
                <a:lnTo>
                  <a:pt x="8383" y="2140"/>
                </a:lnTo>
                <a:lnTo>
                  <a:pt x="8376" y="2162"/>
                </a:lnTo>
                <a:lnTo>
                  <a:pt x="8372" y="2169"/>
                </a:lnTo>
                <a:lnTo>
                  <a:pt x="8368" y="2177"/>
                </a:lnTo>
                <a:lnTo>
                  <a:pt x="8364" y="2182"/>
                </a:lnTo>
                <a:lnTo>
                  <a:pt x="8361" y="2186"/>
                </a:lnTo>
                <a:lnTo>
                  <a:pt x="8355" y="2190"/>
                </a:lnTo>
                <a:lnTo>
                  <a:pt x="8352" y="2192"/>
                </a:lnTo>
                <a:lnTo>
                  <a:pt x="8348" y="2193"/>
                </a:lnTo>
                <a:lnTo>
                  <a:pt x="8344" y="2195"/>
                </a:lnTo>
                <a:lnTo>
                  <a:pt x="8336" y="2195"/>
                </a:lnTo>
                <a:lnTo>
                  <a:pt x="8330" y="2195"/>
                </a:lnTo>
                <a:lnTo>
                  <a:pt x="8324" y="2193"/>
                </a:lnTo>
                <a:lnTo>
                  <a:pt x="8317" y="2193"/>
                </a:lnTo>
                <a:lnTo>
                  <a:pt x="8315" y="2195"/>
                </a:lnTo>
                <a:lnTo>
                  <a:pt x="8312" y="2196"/>
                </a:lnTo>
                <a:lnTo>
                  <a:pt x="8310" y="2199"/>
                </a:lnTo>
                <a:lnTo>
                  <a:pt x="8307" y="2202"/>
                </a:lnTo>
                <a:lnTo>
                  <a:pt x="8304" y="2213"/>
                </a:lnTo>
                <a:lnTo>
                  <a:pt x="8302" y="2227"/>
                </a:lnTo>
                <a:lnTo>
                  <a:pt x="8301" y="2248"/>
                </a:lnTo>
                <a:lnTo>
                  <a:pt x="8301" y="2276"/>
                </a:lnTo>
                <a:lnTo>
                  <a:pt x="8296" y="2258"/>
                </a:lnTo>
                <a:lnTo>
                  <a:pt x="8290" y="2233"/>
                </a:lnTo>
                <a:lnTo>
                  <a:pt x="8287" y="2202"/>
                </a:lnTo>
                <a:lnTo>
                  <a:pt x="8282" y="2167"/>
                </a:lnTo>
                <a:lnTo>
                  <a:pt x="8271" y="2080"/>
                </a:lnTo>
                <a:lnTo>
                  <a:pt x="8261" y="1980"/>
                </a:lnTo>
                <a:lnTo>
                  <a:pt x="8251" y="1866"/>
                </a:lnTo>
                <a:lnTo>
                  <a:pt x="8241" y="1747"/>
                </a:lnTo>
                <a:lnTo>
                  <a:pt x="8229" y="1623"/>
                </a:lnTo>
                <a:lnTo>
                  <a:pt x="8218" y="1501"/>
                </a:lnTo>
                <a:lnTo>
                  <a:pt x="8206" y="1384"/>
                </a:lnTo>
                <a:lnTo>
                  <a:pt x="8195" y="1277"/>
                </a:lnTo>
                <a:lnTo>
                  <a:pt x="8189" y="1227"/>
                </a:lnTo>
                <a:lnTo>
                  <a:pt x="8182" y="1183"/>
                </a:lnTo>
                <a:lnTo>
                  <a:pt x="8177" y="1141"/>
                </a:lnTo>
                <a:lnTo>
                  <a:pt x="8171" y="1105"/>
                </a:lnTo>
                <a:lnTo>
                  <a:pt x="8164" y="1075"/>
                </a:lnTo>
                <a:lnTo>
                  <a:pt x="8157" y="1049"/>
                </a:lnTo>
                <a:lnTo>
                  <a:pt x="8150" y="1031"/>
                </a:lnTo>
                <a:lnTo>
                  <a:pt x="8144" y="1020"/>
                </a:lnTo>
                <a:lnTo>
                  <a:pt x="8138" y="1015"/>
                </a:lnTo>
                <a:lnTo>
                  <a:pt x="8130" y="1019"/>
                </a:lnTo>
                <a:lnTo>
                  <a:pt x="8124" y="1031"/>
                </a:lnTo>
                <a:lnTo>
                  <a:pt x="8116" y="1053"/>
                </a:lnTo>
                <a:lnTo>
                  <a:pt x="8129" y="1133"/>
                </a:lnTo>
                <a:lnTo>
                  <a:pt x="8138" y="1216"/>
                </a:lnTo>
                <a:lnTo>
                  <a:pt x="8143" y="1259"/>
                </a:lnTo>
                <a:lnTo>
                  <a:pt x="8145" y="1301"/>
                </a:lnTo>
                <a:lnTo>
                  <a:pt x="8148" y="1344"/>
                </a:lnTo>
                <a:lnTo>
                  <a:pt x="8150" y="1388"/>
                </a:lnTo>
                <a:lnTo>
                  <a:pt x="8152" y="1431"/>
                </a:lnTo>
                <a:lnTo>
                  <a:pt x="8150" y="1474"/>
                </a:lnTo>
                <a:lnTo>
                  <a:pt x="8150" y="1518"/>
                </a:lnTo>
                <a:lnTo>
                  <a:pt x="8148" y="1561"/>
                </a:lnTo>
                <a:lnTo>
                  <a:pt x="8145" y="1604"/>
                </a:lnTo>
                <a:lnTo>
                  <a:pt x="8140" y="1647"/>
                </a:lnTo>
                <a:lnTo>
                  <a:pt x="8135" y="1689"/>
                </a:lnTo>
                <a:lnTo>
                  <a:pt x="8127" y="1731"/>
                </a:lnTo>
                <a:lnTo>
                  <a:pt x="8124" y="1715"/>
                </a:lnTo>
                <a:lnTo>
                  <a:pt x="8121" y="1698"/>
                </a:lnTo>
                <a:lnTo>
                  <a:pt x="8119" y="1680"/>
                </a:lnTo>
                <a:lnTo>
                  <a:pt x="8116" y="1663"/>
                </a:lnTo>
                <a:lnTo>
                  <a:pt x="8115" y="1627"/>
                </a:lnTo>
                <a:lnTo>
                  <a:pt x="8113" y="1590"/>
                </a:lnTo>
                <a:lnTo>
                  <a:pt x="8115" y="1514"/>
                </a:lnTo>
                <a:lnTo>
                  <a:pt x="8117" y="1436"/>
                </a:lnTo>
                <a:lnTo>
                  <a:pt x="8117" y="1399"/>
                </a:lnTo>
                <a:lnTo>
                  <a:pt x="8117" y="1361"/>
                </a:lnTo>
                <a:lnTo>
                  <a:pt x="8115" y="1324"/>
                </a:lnTo>
                <a:lnTo>
                  <a:pt x="8111" y="1288"/>
                </a:lnTo>
                <a:lnTo>
                  <a:pt x="8108" y="1272"/>
                </a:lnTo>
                <a:lnTo>
                  <a:pt x="8105" y="1255"/>
                </a:lnTo>
                <a:lnTo>
                  <a:pt x="8099" y="1239"/>
                </a:lnTo>
                <a:lnTo>
                  <a:pt x="8094" y="1222"/>
                </a:lnTo>
                <a:lnTo>
                  <a:pt x="8089" y="1207"/>
                </a:lnTo>
                <a:lnTo>
                  <a:pt x="8082" y="1192"/>
                </a:lnTo>
                <a:lnTo>
                  <a:pt x="8074" y="1178"/>
                </a:lnTo>
                <a:lnTo>
                  <a:pt x="8065" y="1164"/>
                </a:lnTo>
                <a:lnTo>
                  <a:pt x="8060" y="1160"/>
                </a:lnTo>
                <a:lnTo>
                  <a:pt x="8055" y="1159"/>
                </a:lnTo>
                <a:lnTo>
                  <a:pt x="8052" y="1161"/>
                </a:lnTo>
                <a:lnTo>
                  <a:pt x="8050" y="1165"/>
                </a:lnTo>
                <a:lnTo>
                  <a:pt x="8049" y="1173"/>
                </a:lnTo>
                <a:lnTo>
                  <a:pt x="8049" y="1180"/>
                </a:lnTo>
                <a:lnTo>
                  <a:pt x="8049" y="1192"/>
                </a:lnTo>
                <a:lnTo>
                  <a:pt x="8049" y="1204"/>
                </a:lnTo>
                <a:lnTo>
                  <a:pt x="8057" y="1268"/>
                </a:lnTo>
                <a:lnTo>
                  <a:pt x="8069" y="1347"/>
                </a:lnTo>
                <a:lnTo>
                  <a:pt x="8074" y="1390"/>
                </a:lnTo>
                <a:lnTo>
                  <a:pt x="8079" y="1432"/>
                </a:lnTo>
                <a:lnTo>
                  <a:pt x="8083" y="1472"/>
                </a:lnTo>
                <a:lnTo>
                  <a:pt x="8084" y="1510"/>
                </a:lnTo>
                <a:lnTo>
                  <a:pt x="8083" y="1528"/>
                </a:lnTo>
                <a:lnTo>
                  <a:pt x="8082" y="1544"/>
                </a:lnTo>
                <a:lnTo>
                  <a:pt x="8080" y="1558"/>
                </a:lnTo>
                <a:lnTo>
                  <a:pt x="8078" y="1572"/>
                </a:lnTo>
                <a:lnTo>
                  <a:pt x="8073" y="1584"/>
                </a:lnTo>
                <a:lnTo>
                  <a:pt x="8068" y="1594"/>
                </a:lnTo>
                <a:lnTo>
                  <a:pt x="8061" y="1602"/>
                </a:lnTo>
                <a:lnTo>
                  <a:pt x="8055" y="1607"/>
                </a:lnTo>
                <a:lnTo>
                  <a:pt x="8055" y="1594"/>
                </a:lnTo>
                <a:lnTo>
                  <a:pt x="8056" y="1577"/>
                </a:lnTo>
                <a:lnTo>
                  <a:pt x="8055" y="1556"/>
                </a:lnTo>
                <a:lnTo>
                  <a:pt x="8054" y="1533"/>
                </a:lnTo>
                <a:lnTo>
                  <a:pt x="8050" y="1478"/>
                </a:lnTo>
                <a:lnTo>
                  <a:pt x="8045" y="1414"/>
                </a:lnTo>
                <a:lnTo>
                  <a:pt x="8037" y="1347"/>
                </a:lnTo>
                <a:lnTo>
                  <a:pt x="8028" y="1277"/>
                </a:lnTo>
                <a:lnTo>
                  <a:pt x="8018" y="1208"/>
                </a:lnTo>
                <a:lnTo>
                  <a:pt x="8008" y="1143"/>
                </a:lnTo>
                <a:lnTo>
                  <a:pt x="7996" y="1086"/>
                </a:lnTo>
                <a:lnTo>
                  <a:pt x="7986" y="1038"/>
                </a:lnTo>
                <a:lnTo>
                  <a:pt x="7980" y="1019"/>
                </a:lnTo>
                <a:lnTo>
                  <a:pt x="7975" y="1003"/>
                </a:lnTo>
                <a:lnTo>
                  <a:pt x="7971" y="991"/>
                </a:lnTo>
                <a:lnTo>
                  <a:pt x="7966" y="983"/>
                </a:lnTo>
                <a:lnTo>
                  <a:pt x="7961" y="980"/>
                </a:lnTo>
                <a:lnTo>
                  <a:pt x="7957" y="983"/>
                </a:lnTo>
                <a:lnTo>
                  <a:pt x="7953" y="991"/>
                </a:lnTo>
                <a:lnTo>
                  <a:pt x="7950" y="1005"/>
                </a:lnTo>
                <a:lnTo>
                  <a:pt x="7947" y="1024"/>
                </a:lnTo>
                <a:lnTo>
                  <a:pt x="7944" y="1050"/>
                </a:lnTo>
                <a:lnTo>
                  <a:pt x="7943" y="1083"/>
                </a:lnTo>
                <a:lnTo>
                  <a:pt x="7942" y="1123"/>
                </a:lnTo>
                <a:lnTo>
                  <a:pt x="7931" y="1111"/>
                </a:lnTo>
                <a:lnTo>
                  <a:pt x="7922" y="1099"/>
                </a:lnTo>
                <a:lnTo>
                  <a:pt x="7915" y="1086"/>
                </a:lnTo>
                <a:lnTo>
                  <a:pt x="7908" y="1072"/>
                </a:lnTo>
                <a:lnTo>
                  <a:pt x="7902" y="1058"/>
                </a:lnTo>
                <a:lnTo>
                  <a:pt x="7897" y="1044"/>
                </a:lnTo>
                <a:lnTo>
                  <a:pt x="7892" y="1029"/>
                </a:lnTo>
                <a:lnTo>
                  <a:pt x="7888" y="1013"/>
                </a:lnTo>
                <a:lnTo>
                  <a:pt x="7880" y="983"/>
                </a:lnTo>
                <a:lnTo>
                  <a:pt x="7877" y="951"/>
                </a:lnTo>
                <a:lnTo>
                  <a:pt x="7873" y="919"/>
                </a:lnTo>
                <a:lnTo>
                  <a:pt x="7870" y="889"/>
                </a:lnTo>
                <a:lnTo>
                  <a:pt x="7868" y="859"/>
                </a:lnTo>
                <a:lnTo>
                  <a:pt x="7865" y="831"/>
                </a:lnTo>
                <a:lnTo>
                  <a:pt x="7863" y="805"/>
                </a:lnTo>
                <a:lnTo>
                  <a:pt x="7859" y="782"/>
                </a:lnTo>
                <a:lnTo>
                  <a:pt x="7857" y="772"/>
                </a:lnTo>
                <a:lnTo>
                  <a:pt x="7854" y="761"/>
                </a:lnTo>
                <a:lnTo>
                  <a:pt x="7851" y="752"/>
                </a:lnTo>
                <a:lnTo>
                  <a:pt x="7847" y="745"/>
                </a:lnTo>
                <a:lnTo>
                  <a:pt x="7843" y="737"/>
                </a:lnTo>
                <a:lnTo>
                  <a:pt x="7838" y="731"/>
                </a:lnTo>
                <a:lnTo>
                  <a:pt x="7833" y="727"/>
                </a:lnTo>
                <a:lnTo>
                  <a:pt x="7827" y="723"/>
                </a:lnTo>
                <a:lnTo>
                  <a:pt x="7810" y="712"/>
                </a:lnTo>
                <a:lnTo>
                  <a:pt x="7798" y="707"/>
                </a:lnTo>
                <a:lnTo>
                  <a:pt x="7787" y="707"/>
                </a:lnTo>
                <a:lnTo>
                  <a:pt x="7779" y="713"/>
                </a:lnTo>
                <a:lnTo>
                  <a:pt x="7772" y="723"/>
                </a:lnTo>
                <a:lnTo>
                  <a:pt x="7768" y="738"/>
                </a:lnTo>
                <a:lnTo>
                  <a:pt x="7766" y="758"/>
                </a:lnTo>
                <a:lnTo>
                  <a:pt x="7766" y="780"/>
                </a:lnTo>
                <a:lnTo>
                  <a:pt x="7766" y="806"/>
                </a:lnTo>
                <a:lnTo>
                  <a:pt x="7767" y="835"/>
                </a:lnTo>
                <a:lnTo>
                  <a:pt x="7771" y="867"/>
                </a:lnTo>
                <a:lnTo>
                  <a:pt x="7775" y="900"/>
                </a:lnTo>
                <a:lnTo>
                  <a:pt x="7784" y="973"/>
                </a:lnTo>
                <a:lnTo>
                  <a:pt x="7794" y="1048"/>
                </a:lnTo>
                <a:lnTo>
                  <a:pt x="7804" y="1125"/>
                </a:lnTo>
                <a:lnTo>
                  <a:pt x="7813" y="1201"/>
                </a:lnTo>
                <a:lnTo>
                  <a:pt x="7815" y="1236"/>
                </a:lnTo>
                <a:lnTo>
                  <a:pt x="7818" y="1271"/>
                </a:lnTo>
                <a:lnTo>
                  <a:pt x="7819" y="1302"/>
                </a:lnTo>
                <a:lnTo>
                  <a:pt x="7819" y="1332"/>
                </a:lnTo>
                <a:lnTo>
                  <a:pt x="7817" y="1358"/>
                </a:lnTo>
                <a:lnTo>
                  <a:pt x="7813" y="1381"/>
                </a:lnTo>
                <a:lnTo>
                  <a:pt x="7808" y="1402"/>
                </a:lnTo>
                <a:lnTo>
                  <a:pt x="7800" y="1417"/>
                </a:lnTo>
                <a:lnTo>
                  <a:pt x="7790" y="1428"/>
                </a:lnTo>
                <a:lnTo>
                  <a:pt x="7777" y="1435"/>
                </a:lnTo>
                <a:lnTo>
                  <a:pt x="7762" y="1436"/>
                </a:lnTo>
                <a:lnTo>
                  <a:pt x="7744" y="1432"/>
                </a:lnTo>
                <a:lnTo>
                  <a:pt x="7739" y="1436"/>
                </a:lnTo>
                <a:lnTo>
                  <a:pt x="7737" y="1439"/>
                </a:lnTo>
                <a:lnTo>
                  <a:pt x="7735" y="1442"/>
                </a:lnTo>
                <a:lnTo>
                  <a:pt x="7737" y="1445"/>
                </a:lnTo>
                <a:lnTo>
                  <a:pt x="7743" y="1453"/>
                </a:lnTo>
                <a:lnTo>
                  <a:pt x="7751" y="1459"/>
                </a:lnTo>
                <a:lnTo>
                  <a:pt x="7759" y="1467"/>
                </a:lnTo>
                <a:lnTo>
                  <a:pt x="7766" y="1473"/>
                </a:lnTo>
                <a:lnTo>
                  <a:pt x="7767" y="1477"/>
                </a:lnTo>
                <a:lnTo>
                  <a:pt x="7767" y="1479"/>
                </a:lnTo>
                <a:lnTo>
                  <a:pt x="7765" y="1483"/>
                </a:lnTo>
                <a:lnTo>
                  <a:pt x="7759" y="1486"/>
                </a:lnTo>
                <a:lnTo>
                  <a:pt x="7753" y="1482"/>
                </a:lnTo>
                <a:lnTo>
                  <a:pt x="7748" y="1481"/>
                </a:lnTo>
                <a:lnTo>
                  <a:pt x="7744" y="1483"/>
                </a:lnTo>
                <a:lnTo>
                  <a:pt x="7740" y="1486"/>
                </a:lnTo>
                <a:lnTo>
                  <a:pt x="7739" y="1492"/>
                </a:lnTo>
                <a:lnTo>
                  <a:pt x="7738" y="1500"/>
                </a:lnTo>
                <a:lnTo>
                  <a:pt x="7737" y="1509"/>
                </a:lnTo>
                <a:lnTo>
                  <a:pt x="7737" y="1518"/>
                </a:lnTo>
                <a:lnTo>
                  <a:pt x="7737" y="1540"/>
                </a:lnTo>
                <a:lnTo>
                  <a:pt x="7735" y="1563"/>
                </a:lnTo>
                <a:lnTo>
                  <a:pt x="7735" y="1575"/>
                </a:lnTo>
                <a:lnTo>
                  <a:pt x="7734" y="1586"/>
                </a:lnTo>
                <a:lnTo>
                  <a:pt x="7733" y="1596"/>
                </a:lnTo>
                <a:lnTo>
                  <a:pt x="7730" y="1607"/>
                </a:lnTo>
                <a:lnTo>
                  <a:pt x="7726" y="1605"/>
                </a:lnTo>
                <a:lnTo>
                  <a:pt x="7724" y="1602"/>
                </a:lnTo>
                <a:lnTo>
                  <a:pt x="7721" y="1596"/>
                </a:lnTo>
                <a:lnTo>
                  <a:pt x="7719" y="1589"/>
                </a:lnTo>
                <a:lnTo>
                  <a:pt x="7715" y="1567"/>
                </a:lnTo>
                <a:lnTo>
                  <a:pt x="7711" y="1539"/>
                </a:lnTo>
                <a:lnTo>
                  <a:pt x="7706" y="1467"/>
                </a:lnTo>
                <a:lnTo>
                  <a:pt x="7702" y="1379"/>
                </a:lnTo>
                <a:lnTo>
                  <a:pt x="7698" y="1286"/>
                </a:lnTo>
                <a:lnTo>
                  <a:pt x="7692" y="1195"/>
                </a:lnTo>
                <a:lnTo>
                  <a:pt x="7687" y="1153"/>
                </a:lnTo>
                <a:lnTo>
                  <a:pt x="7682" y="1115"/>
                </a:lnTo>
                <a:lnTo>
                  <a:pt x="7678" y="1097"/>
                </a:lnTo>
                <a:lnTo>
                  <a:pt x="7675" y="1082"/>
                </a:lnTo>
                <a:lnTo>
                  <a:pt x="7672" y="1067"/>
                </a:lnTo>
                <a:lnTo>
                  <a:pt x="7666" y="1054"/>
                </a:lnTo>
                <a:lnTo>
                  <a:pt x="7661" y="1036"/>
                </a:lnTo>
                <a:lnTo>
                  <a:pt x="7655" y="1016"/>
                </a:lnTo>
                <a:lnTo>
                  <a:pt x="7650" y="993"/>
                </a:lnTo>
                <a:lnTo>
                  <a:pt x="7645" y="969"/>
                </a:lnTo>
                <a:lnTo>
                  <a:pt x="7635" y="914"/>
                </a:lnTo>
                <a:lnTo>
                  <a:pt x="7624" y="856"/>
                </a:lnTo>
                <a:lnTo>
                  <a:pt x="7614" y="796"/>
                </a:lnTo>
                <a:lnTo>
                  <a:pt x="7605" y="737"/>
                </a:lnTo>
                <a:lnTo>
                  <a:pt x="7598" y="681"/>
                </a:lnTo>
                <a:lnTo>
                  <a:pt x="7590" y="632"/>
                </a:lnTo>
                <a:lnTo>
                  <a:pt x="7582" y="590"/>
                </a:lnTo>
                <a:lnTo>
                  <a:pt x="7576" y="559"/>
                </a:lnTo>
                <a:lnTo>
                  <a:pt x="7573" y="549"/>
                </a:lnTo>
                <a:lnTo>
                  <a:pt x="7570" y="541"/>
                </a:lnTo>
                <a:lnTo>
                  <a:pt x="7567" y="539"/>
                </a:lnTo>
                <a:lnTo>
                  <a:pt x="7566" y="540"/>
                </a:lnTo>
                <a:lnTo>
                  <a:pt x="7563" y="545"/>
                </a:lnTo>
                <a:lnTo>
                  <a:pt x="7561" y="556"/>
                </a:lnTo>
                <a:lnTo>
                  <a:pt x="7559" y="572"/>
                </a:lnTo>
                <a:lnTo>
                  <a:pt x="7558" y="593"/>
                </a:lnTo>
                <a:lnTo>
                  <a:pt x="7556" y="654"/>
                </a:lnTo>
                <a:lnTo>
                  <a:pt x="7553" y="741"/>
                </a:lnTo>
                <a:lnTo>
                  <a:pt x="7551" y="755"/>
                </a:lnTo>
                <a:lnTo>
                  <a:pt x="7547" y="769"/>
                </a:lnTo>
                <a:lnTo>
                  <a:pt x="7545" y="786"/>
                </a:lnTo>
                <a:lnTo>
                  <a:pt x="7544" y="802"/>
                </a:lnTo>
                <a:lnTo>
                  <a:pt x="7544" y="839"/>
                </a:lnTo>
                <a:lnTo>
                  <a:pt x="7547" y="877"/>
                </a:lnTo>
                <a:lnTo>
                  <a:pt x="7551" y="915"/>
                </a:lnTo>
                <a:lnTo>
                  <a:pt x="7557" y="954"/>
                </a:lnTo>
                <a:lnTo>
                  <a:pt x="7563" y="988"/>
                </a:lnTo>
                <a:lnTo>
                  <a:pt x="7570" y="1019"/>
                </a:lnTo>
                <a:lnTo>
                  <a:pt x="7576" y="1044"/>
                </a:lnTo>
                <a:lnTo>
                  <a:pt x="7582" y="1062"/>
                </a:lnTo>
                <a:lnTo>
                  <a:pt x="7585" y="1067"/>
                </a:lnTo>
                <a:lnTo>
                  <a:pt x="7588" y="1071"/>
                </a:lnTo>
                <a:lnTo>
                  <a:pt x="7590" y="1072"/>
                </a:lnTo>
                <a:lnTo>
                  <a:pt x="7591" y="1071"/>
                </a:lnTo>
                <a:lnTo>
                  <a:pt x="7593" y="1066"/>
                </a:lnTo>
                <a:lnTo>
                  <a:pt x="7593" y="1058"/>
                </a:lnTo>
                <a:lnTo>
                  <a:pt x="7593" y="1048"/>
                </a:lnTo>
                <a:lnTo>
                  <a:pt x="7591" y="1034"/>
                </a:lnTo>
                <a:lnTo>
                  <a:pt x="7588" y="994"/>
                </a:lnTo>
                <a:lnTo>
                  <a:pt x="7580" y="938"/>
                </a:lnTo>
                <a:lnTo>
                  <a:pt x="7586" y="950"/>
                </a:lnTo>
                <a:lnTo>
                  <a:pt x="7593" y="963"/>
                </a:lnTo>
                <a:lnTo>
                  <a:pt x="7596" y="977"/>
                </a:lnTo>
                <a:lnTo>
                  <a:pt x="7600" y="991"/>
                </a:lnTo>
                <a:lnTo>
                  <a:pt x="7604" y="1020"/>
                </a:lnTo>
                <a:lnTo>
                  <a:pt x="7607" y="1049"/>
                </a:lnTo>
                <a:lnTo>
                  <a:pt x="7608" y="1077"/>
                </a:lnTo>
                <a:lnTo>
                  <a:pt x="7609" y="1103"/>
                </a:lnTo>
                <a:lnTo>
                  <a:pt x="7609" y="1113"/>
                </a:lnTo>
                <a:lnTo>
                  <a:pt x="7610" y="1122"/>
                </a:lnTo>
                <a:lnTo>
                  <a:pt x="7613" y="1129"/>
                </a:lnTo>
                <a:lnTo>
                  <a:pt x="7616" y="1134"/>
                </a:lnTo>
                <a:lnTo>
                  <a:pt x="7613" y="1236"/>
                </a:lnTo>
                <a:lnTo>
                  <a:pt x="7613" y="1313"/>
                </a:lnTo>
                <a:lnTo>
                  <a:pt x="7614" y="1363"/>
                </a:lnTo>
                <a:lnTo>
                  <a:pt x="7616" y="1389"/>
                </a:lnTo>
                <a:lnTo>
                  <a:pt x="7616" y="1390"/>
                </a:lnTo>
                <a:lnTo>
                  <a:pt x="7614" y="1369"/>
                </a:lnTo>
                <a:lnTo>
                  <a:pt x="7609" y="1323"/>
                </a:lnTo>
                <a:lnTo>
                  <a:pt x="7600" y="1257"/>
                </a:lnTo>
                <a:lnTo>
                  <a:pt x="7584" y="1329"/>
                </a:lnTo>
                <a:lnTo>
                  <a:pt x="7571" y="1377"/>
                </a:lnTo>
                <a:lnTo>
                  <a:pt x="7565" y="1393"/>
                </a:lnTo>
                <a:lnTo>
                  <a:pt x="7561" y="1404"/>
                </a:lnTo>
                <a:lnTo>
                  <a:pt x="7556" y="1412"/>
                </a:lnTo>
                <a:lnTo>
                  <a:pt x="7553" y="1414"/>
                </a:lnTo>
                <a:lnTo>
                  <a:pt x="7549" y="1413"/>
                </a:lnTo>
                <a:lnTo>
                  <a:pt x="7547" y="1409"/>
                </a:lnTo>
                <a:lnTo>
                  <a:pt x="7545" y="1403"/>
                </a:lnTo>
                <a:lnTo>
                  <a:pt x="7543" y="1393"/>
                </a:lnTo>
                <a:lnTo>
                  <a:pt x="7540" y="1367"/>
                </a:lnTo>
                <a:lnTo>
                  <a:pt x="7538" y="1337"/>
                </a:lnTo>
                <a:lnTo>
                  <a:pt x="7534" y="1304"/>
                </a:lnTo>
                <a:lnTo>
                  <a:pt x="7530" y="1269"/>
                </a:lnTo>
                <a:lnTo>
                  <a:pt x="7528" y="1254"/>
                </a:lnTo>
                <a:lnTo>
                  <a:pt x="7525" y="1240"/>
                </a:lnTo>
                <a:lnTo>
                  <a:pt x="7523" y="1227"/>
                </a:lnTo>
                <a:lnTo>
                  <a:pt x="7517" y="1217"/>
                </a:lnTo>
                <a:lnTo>
                  <a:pt x="7514" y="1208"/>
                </a:lnTo>
                <a:lnTo>
                  <a:pt x="7509" y="1203"/>
                </a:lnTo>
                <a:lnTo>
                  <a:pt x="7502" y="1201"/>
                </a:lnTo>
                <a:lnTo>
                  <a:pt x="7495" y="1201"/>
                </a:lnTo>
                <a:lnTo>
                  <a:pt x="7487" y="1206"/>
                </a:lnTo>
                <a:lnTo>
                  <a:pt x="7478" y="1215"/>
                </a:lnTo>
                <a:lnTo>
                  <a:pt x="7468" y="1229"/>
                </a:lnTo>
                <a:lnTo>
                  <a:pt x="7456" y="1246"/>
                </a:lnTo>
                <a:lnTo>
                  <a:pt x="7459" y="1139"/>
                </a:lnTo>
                <a:lnTo>
                  <a:pt x="7461" y="1052"/>
                </a:lnTo>
                <a:lnTo>
                  <a:pt x="7464" y="979"/>
                </a:lnTo>
                <a:lnTo>
                  <a:pt x="7468" y="918"/>
                </a:lnTo>
                <a:lnTo>
                  <a:pt x="7470" y="867"/>
                </a:lnTo>
                <a:lnTo>
                  <a:pt x="7474" y="821"/>
                </a:lnTo>
                <a:lnTo>
                  <a:pt x="7478" y="779"/>
                </a:lnTo>
                <a:lnTo>
                  <a:pt x="7481" y="736"/>
                </a:lnTo>
                <a:lnTo>
                  <a:pt x="7484" y="690"/>
                </a:lnTo>
                <a:lnTo>
                  <a:pt x="7487" y="637"/>
                </a:lnTo>
                <a:lnTo>
                  <a:pt x="7489" y="574"/>
                </a:lnTo>
                <a:lnTo>
                  <a:pt x="7492" y="498"/>
                </a:lnTo>
                <a:lnTo>
                  <a:pt x="7495" y="405"/>
                </a:lnTo>
                <a:lnTo>
                  <a:pt x="7496" y="294"/>
                </a:lnTo>
                <a:lnTo>
                  <a:pt x="7497" y="159"/>
                </a:lnTo>
                <a:lnTo>
                  <a:pt x="7498" y="0"/>
                </a:lnTo>
                <a:lnTo>
                  <a:pt x="7488" y="119"/>
                </a:lnTo>
                <a:lnTo>
                  <a:pt x="7477" y="237"/>
                </a:lnTo>
                <a:lnTo>
                  <a:pt x="7464" y="354"/>
                </a:lnTo>
                <a:lnTo>
                  <a:pt x="7451" y="472"/>
                </a:lnTo>
                <a:lnTo>
                  <a:pt x="7439" y="590"/>
                </a:lnTo>
                <a:lnTo>
                  <a:pt x="7424" y="707"/>
                </a:lnTo>
                <a:lnTo>
                  <a:pt x="7410" y="825"/>
                </a:lnTo>
                <a:lnTo>
                  <a:pt x="7396" y="942"/>
                </a:lnTo>
                <a:lnTo>
                  <a:pt x="7382" y="1059"/>
                </a:lnTo>
                <a:lnTo>
                  <a:pt x="7370" y="1175"/>
                </a:lnTo>
                <a:lnTo>
                  <a:pt x="7357" y="1292"/>
                </a:lnTo>
                <a:lnTo>
                  <a:pt x="7344" y="1409"/>
                </a:lnTo>
                <a:lnTo>
                  <a:pt x="7333" y="1525"/>
                </a:lnTo>
                <a:lnTo>
                  <a:pt x="7321" y="1642"/>
                </a:lnTo>
                <a:lnTo>
                  <a:pt x="7311" y="1758"/>
                </a:lnTo>
                <a:lnTo>
                  <a:pt x="7302" y="1875"/>
                </a:lnTo>
                <a:lnTo>
                  <a:pt x="7305" y="1767"/>
                </a:lnTo>
                <a:lnTo>
                  <a:pt x="7310" y="1649"/>
                </a:lnTo>
                <a:lnTo>
                  <a:pt x="7316" y="1524"/>
                </a:lnTo>
                <a:lnTo>
                  <a:pt x="7324" y="1399"/>
                </a:lnTo>
                <a:lnTo>
                  <a:pt x="7330" y="1277"/>
                </a:lnTo>
                <a:lnTo>
                  <a:pt x="7338" y="1161"/>
                </a:lnTo>
                <a:lnTo>
                  <a:pt x="7343" y="1055"/>
                </a:lnTo>
                <a:lnTo>
                  <a:pt x="7348" y="966"/>
                </a:lnTo>
                <a:lnTo>
                  <a:pt x="7351" y="895"/>
                </a:lnTo>
                <a:lnTo>
                  <a:pt x="7349" y="847"/>
                </a:lnTo>
                <a:lnTo>
                  <a:pt x="7348" y="833"/>
                </a:lnTo>
                <a:lnTo>
                  <a:pt x="7346" y="826"/>
                </a:lnTo>
                <a:lnTo>
                  <a:pt x="7342" y="828"/>
                </a:lnTo>
                <a:lnTo>
                  <a:pt x="7338" y="838"/>
                </a:lnTo>
                <a:lnTo>
                  <a:pt x="7332" y="856"/>
                </a:lnTo>
                <a:lnTo>
                  <a:pt x="7325" y="884"/>
                </a:lnTo>
                <a:lnTo>
                  <a:pt x="7318" y="922"/>
                </a:lnTo>
                <a:lnTo>
                  <a:pt x="7307" y="969"/>
                </a:lnTo>
                <a:lnTo>
                  <a:pt x="7284" y="1099"/>
                </a:lnTo>
                <a:lnTo>
                  <a:pt x="7254" y="1276"/>
                </a:lnTo>
                <a:lnTo>
                  <a:pt x="7251" y="1271"/>
                </a:lnTo>
                <a:lnTo>
                  <a:pt x="7249" y="1265"/>
                </a:lnTo>
                <a:lnTo>
                  <a:pt x="7246" y="1260"/>
                </a:lnTo>
                <a:lnTo>
                  <a:pt x="7245" y="1254"/>
                </a:lnTo>
                <a:lnTo>
                  <a:pt x="7244" y="1243"/>
                </a:lnTo>
                <a:lnTo>
                  <a:pt x="7244" y="1231"/>
                </a:lnTo>
                <a:lnTo>
                  <a:pt x="7247" y="1207"/>
                </a:lnTo>
                <a:lnTo>
                  <a:pt x="7254" y="1183"/>
                </a:lnTo>
                <a:lnTo>
                  <a:pt x="7258" y="1171"/>
                </a:lnTo>
                <a:lnTo>
                  <a:pt x="7260" y="1161"/>
                </a:lnTo>
                <a:lnTo>
                  <a:pt x="7261" y="1152"/>
                </a:lnTo>
                <a:lnTo>
                  <a:pt x="7261" y="1143"/>
                </a:lnTo>
                <a:lnTo>
                  <a:pt x="7260" y="1139"/>
                </a:lnTo>
                <a:lnTo>
                  <a:pt x="7259" y="1136"/>
                </a:lnTo>
                <a:lnTo>
                  <a:pt x="7258" y="1133"/>
                </a:lnTo>
                <a:lnTo>
                  <a:pt x="7255" y="1129"/>
                </a:lnTo>
                <a:lnTo>
                  <a:pt x="7251" y="1128"/>
                </a:lnTo>
                <a:lnTo>
                  <a:pt x="7247" y="1125"/>
                </a:lnTo>
                <a:lnTo>
                  <a:pt x="7244" y="1124"/>
                </a:lnTo>
                <a:lnTo>
                  <a:pt x="7239" y="1123"/>
                </a:lnTo>
                <a:lnTo>
                  <a:pt x="7237" y="1129"/>
                </a:lnTo>
                <a:lnTo>
                  <a:pt x="7237" y="1132"/>
                </a:lnTo>
                <a:lnTo>
                  <a:pt x="7236" y="1131"/>
                </a:lnTo>
                <a:lnTo>
                  <a:pt x="7233" y="1127"/>
                </a:lnTo>
                <a:lnTo>
                  <a:pt x="7228" y="1115"/>
                </a:lnTo>
                <a:lnTo>
                  <a:pt x="7223" y="1100"/>
                </a:lnTo>
                <a:lnTo>
                  <a:pt x="7219" y="1092"/>
                </a:lnTo>
                <a:lnTo>
                  <a:pt x="7217" y="1087"/>
                </a:lnTo>
                <a:lnTo>
                  <a:pt x="7213" y="1082"/>
                </a:lnTo>
                <a:lnTo>
                  <a:pt x="7209" y="1080"/>
                </a:lnTo>
                <a:lnTo>
                  <a:pt x="7208" y="1080"/>
                </a:lnTo>
                <a:lnTo>
                  <a:pt x="7207" y="1080"/>
                </a:lnTo>
                <a:lnTo>
                  <a:pt x="7204" y="1081"/>
                </a:lnTo>
                <a:lnTo>
                  <a:pt x="7203" y="1083"/>
                </a:lnTo>
                <a:lnTo>
                  <a:pt x="7199" y="1091"/>
                </a:lnTo>
                <a:lnTo>
                  <a:pt x="7197" y="1104"/>
                </a:lnTo>
                <a:lnTo>
                  <a:pt x="7170" y="1208"/>
                </a:lnTo>
                <a:lnTo>
                  <a:pt x="7151" y="1279"/>
                </a:lnTo>
                <a:lnTo>
                  <a:pt x="7143" y="1304"/>
                </a:lnTo>
                <a:lnTo>
                  <a:pt x="7137" y="1321"/>
                </a:lnTo>
                <a:lnTo>
                  <a:pt x="7132" y="1333"/>
                </a:lnTo>
                <a:lnTo>
                  <a:pt x="7128" y="1338"/>
                </a:lnTo>
                <a:lnTo>
                  <a:pt x="7125" y="1338"/>
                </a:lnTo>
                <a:lnTo>
                  <a:pt x="7124" y="1332"/>
                </a:lnTo>
                <a:lnTo>
                  <a:pt x="7123" y="1321"/>
                </a:lnTo>
                <a:lnTo>
                  <a:pt x="7123" y="1306"/>
                </a:lnTo>
                <a:lnTo>
                  <a:pt x="7124" y="1263"/>
                </a:lnTo>
                <a:lnTo>
                  <a:pt x="7128" y="1208"/>
                </a:lnTo>
                <a:lnTo>
                  <a:pt x="7133" y="1142"/>
                </a:lnTo>
                <a:lnTo>
                  <a:pt x="7138" y="1071"/>
                </a:lnTo>
                <a:lnTo>
                  <a:pt x="7142" y="994"/>
                </a:lnTo>
                <a:lnTo>
                  <a:pt x="7146" y="919"/>
                </a:lnTo>
                <a:lnTo>
                  <a:pt x="7148" y="847"/>
                </a:lnTo>
                <a:lnTo>
                  <a:pt x="7147" y="780"/>
                </a:lnTo>
                <a:lnTo>
                  <a:pt x="7146" y="751"/>
                </a:lnTo>
                <a:lnTo>
                  <a:pt x="7143" y="723"/>
                </a:lnTo>
                <a:lnTo>
                  <a:pt x="7141" y="700"/>
                </a:lnTo>
                <a:lnTo>
                  <a:pt x="7135" y="680"/>
                </a:lnTo>
                <a:lnTo>
                  <a:pt x="7123" y="713"/>
                </a:lnTo>
                <a:lnTo>
                  <a:pt x="7112" y="747"/>
                </a:lnTo>
                <a:lnTo>
                  <a:pt x="7104" y="784"/>
                </a:lnTo>
                <a:lnTo>
                  <a:pt x="7095" y="821"/>
                </a:lnTo>
                <a:lnTo>
                  <a:pt x="7079" y="895"/>
                </a:lnTo>
                <a:lnTo>
                  <a:pt x="7068" y="969"/>
                </a:lnTo>
                <a:lnTo>
                  <a:pt x="7056" y="1036"/>
                </a:lnTo>
                <a:lnTo>
                  <a:pt x="7044" y="1095"/>
                </a:lnTo>
                <a:lnTo>
                  <a:pt x="7037" y="1120"/>
                </a:lnTo>
                <a:lnTo>
                  <a:pt x="7030" y="1142"/>
                </a:lnTo>
                <a:lnTo>
                  <a:pt x="7026" y="1151"/>
                </a:lnTo>
                <a:lnTo>
                  <a:pt x="7022" y="1160"/>
                </a:lnTo>
                <a:lnTo>
                  <a:pt x="7017" y="1167"/>
                </a:lnTo>
                <a:lnTo>
                  <a:pt x="7013" y="1173"/>
                </a:lnTo>
                <a:lnTo>
                  <a:pt x="7000" y="1151"/>
                </a:lnTo>
                <a:lnTo>
                  <a:pt x="6990" y="1134"/>
                </a:lnTo>
                <a:lnTo>
                  <a:pt x="6983" y="1124"/>
                </a:lnTo>
                <a:lnTo>
                  <a:pt x="6976" y="1119"/>
                </a:lnTo>
                <a:lnTo>
                  <a:pt x="6974" y="1118"/>
                </a:lnTo>
                <a:lnTo>
                  <a:pt x="6971" y="1119"/>
                </a:lnTo>
                <a:lnTo>
                  <a:pt x="6970" y="1120"/>
                </a:lnTo>
                <a:lnTo>
                  <a:pt x="6967" y="1123"/>
                </a:lnTo>
                <a:lnTo>
                  <a:pt x="6963" y="1132"/>
                </a:lnTo>
                <a:lnTo>
                  <a:pt x="6961" y="1143"/>
                </a:lnTo>
                <a:lnTo>
                  <a:pt x="6957" y="1157"/>
                </a:lnTo>
                <a:lnTo>
                  <a:pt x="6952" y="1174"/>
                </a:lnTo>
                <a:lnTo>
                  <a:pt x="6946" y="1192"/>
                </a:lnTo>
                <a:lnTo>
                  <a:pt x="6938" y="1211"/>
                </a:lnTo>
                <a:lnTo>
                  <a:pt x="6928" y="1231"/>
                </a:lnTo>
                <a:lnTo>
                  <a:pt x="6915" y="1250"/>
                </a:lnTo>
                <a:lnTo>
                  <a:pt x="6909" y="1260"/>
                </a:lnTo>
                <a:lnTo>
                  <a:pt x="6900" y="1271"/>
                </a:lnTo>
                <a:lnTo>
                  <a:pt x="6891" y="1279"/>
                </a:lnTo>
                <a:lnTo>
                  <a:pt x="6881" y="1288"/>
                </a:lnTo>
                <a:lnTo>
                  <a:pt x="6878" y="1277"/>
                </a:lnTo>
                <a:lnTo>
                  <a:pt x="6874" y="1268"/>
                </a:lnTo>
                <a:lnTo>
                  <a:pt x="6871" y="1262"/>
                </a:lnTo>
                <a:lnTo>
                  <a:pt x="6867" y="1258"/>
                </a:lnTo>
                <a:lnTo>
                  <a:pt x="6863" y="1255"/>
                </a:lnTo>
                <a:lnTo>
                  <a:pt x="6859" y="1255"/>
                </a:lnTo>
                <a:lnTo>
                  <a:pt x="6855" y="1257"/>
                </a:lnTo>
                <a:lnTo>
                  <a:pt x="6851" y="1260"/>
                </a:lnTo>
                <a:lnTo>
                  <a:pt x="6848" y="1265"/>
                </a:lnTo>
                <a:lnTo>
                  <a:pt x="6845" y="1271"/>
                </a:lnTo>
                <a:lnTo>
                  <a:pt x="6841" y="1278"/>
                </a:lnTo>
                <a:lnTo>
                  <a:pt x="6839" y="1287"/>
                </a:lnTo>
                <a:lnTo>
                  <a:pt x="6834" y="1306"/>
                </a:lnTo>
                <a:lnTo>
                  <a:pt x="6828" y="1329"/>
                </a:lnTo>
                <a:lnTo>
                  <a:pt x="6826" y="1352"/>
                </a:lnTo>
                <a:lnTo>
                  <a:pt x="6823" y="1375"/>
                </a:lnTo>
                <a:lnTo>
                  <a:pt x="6823" y="1398"/>
                </a:lnTo>
                <a:lnTo>
                  <a:pt x="6825" y="1417"/>
                </a:lnTo>
                <a:lnTo>
                  <a:pt x="6826" y="1426"/>
                </a:lnTo>
                <a:lnTo>
                  <a:pt x="6827" y="1434"/>
                </a:lnTo>
                <a:lnTo>
                  <a:pt x="6830" y="1440"/>
                </a:lnTo>
                <a:lnTo>
                  <a:pt x="6832" y="1445"/>
                </a:lnTo>
                <a:lnTo>
                  <a:pt x="6836" y="1448"/>
                </a:lnTo>
                <a:lnTo>
                  <a:pt x="6840" y="1450"/>
                </a:lnTo>
                <a:lnTo>
                  <a:pt x="6845" y="1450"/>
                </a:lnTo>
                <a:lnTo>
                  <a:pt x="6850" y="1448"/>
                </a:lnTo>
                <a:lnTo>
                  <a:pt x="6858" y="1379"/>
                </a:lnTo>
                <a:lnTo>
                  <a:pt x="6862" y="1356"/>
                </a:lnTo>
                <a:lnTo>
                  <a:pt x="6862" y="1369"/>
                </a:lnTo>
                <a:lnTo>
                  <a:pt x="6858" y="1408"/>
                </a:lnTo>
                <a:lnTo>
                  <a:pt x="6851" y="1463"/>
                </a:lnTo>
                <a:lnTo>
                  <a:pt x="6843" y="1525"/>
                </a:lnTo>
                <a:lnTo>
                  <a:pt x="6836" y="1556"/>
                </a:lnTo>
                <a:lnTo>
                  <a:pt x="6830" y="1584"/>
                </a:lnTo>
                <a:lnTo>
                  <a:pt x="6823" y="1609"/>
                </a:lnTo>
                <a:lnTo>
                  <a:pt x="6816" y="1630"/>
                </a:lnTo>
                <a:lnTo>
                  <a:pt x="6821" y="1547"/>
                </a:lnTo>
                <a:lnTo>
                  <a:pt x="6822" y="1506"/>
                </a:lnTo>
                <a:lnTo>
                  <a:pt x="6822" y="1501"/>
                </a:lnTo>
                <a:lnTo>
                  <a:pt x="6822" y="1500"/>
                </a:lnTo>
                <a:lnTo>
                  <a:pt x="6821" y="1498"/>
                </a:lnTo>
                <a:lnTo>
                  <a:pt x="6820" y="1500"/>
                </a:lnTo>
                <a:lnTo>
                  <a:pt x="6817" y="1509"/>
                </a:lnTo>
                <a:lnTo>
                  <a:pt x="6813" y="1523"/>
                </a:lnTo>
                <a:lnTo>
                  <a:pt x="6803" y="1565"/>
                </a:lnTo>
                <a:lnTo>
                  <a:pt x="6790" y="1618"/>
                </a:lnTo>
                <a:lnTo>
                  <a:pt x="6781" y="1647"/>
                </a:lnTo>
                <a:lnTo>
                  <a:pt x="6772" y="1677"/>
                </a:lnTo>
                <a:lnTo>
                  <a:pt x="6764" y="1705"/>
                </a:lnTo>
                <a:lnTo>
                  <a:pt x="6752" y="1733"/>
                </a:lnTo>
                <a:lnTo>
                  <a:pt x="6733" y="1805"/>
                </a:lnTo>
                <a:lnTo>
                  <a:pt x="6722" y="1847"/>
                </a:lnTo>
                <a:lnTo>
                  <a:pt x="6718" y="1857"/>
                </a:lnTo>
                <a:lnTo>
                  <a:pt x="6715" y="1861"/>
                </a:lnTo>
                <a:lnTo>
                  <a:pt x="6714" y="1860"/>
                </a:lnTo>
                <a:lnTo>
                  <a:pt x="6714" y="1852"/>
                </a:lnTo>
                <a:lnTo>
                  <a:pt x="6716" y="1823"/>
                </a:lnTo>
                <a:lnTo>
                  <a:pt x="6722" y="1776"/>
                </a:lnTo>
                <a:lnTo>
                  <a:pt x="6729" y="1715"/>
                </a:lnTo>
                <a:lnTo>
                  <a:pt x="6738" y="1645"/>
                </a:lnTo>
                <a:lnTo>
                  <a:pt x="6748" y="1567"/>
                </a:lnTo>
                <a:lnTo>
                  <a:pt x="6757" y="1487"/>
                </a:lnTo>
                <a:lnTo>
                  <a:pt x="6764" y="1408"/>
                </a:lnTo>
                <a:lnTo>
                  <a:pt x="6769" y="1332"/>
                </a:lnTo>
                <a:lnTo>
                  <a:pt x="6770" y="1296"/>
                </a:lnTo>
                <a:lnTo>
                  <a:pt x="6770" y="1263"/>
                </a:lnTo>
                <a:lnTo>
                  <a:pt x="6769" y="1232"/>
                </a:lnTo>
                <a:lnTo>
                  <a:pt x="6767" y="1206"/>
                </a:lnTo>
                <a:lnTo>
                  <a:pt x="6764" y="1181"/>
                </a:lnTo>
                <a:lnTo>
                  <a:pt x="6760" y="1162"/>
                </a:lnTo>
                <a:lnTo>
                  <a:pt x="6753" y="1147"/>
                </a:lnTo>
                <a:lnTo>
                  <a:pt x="6744" y="1136"/>
                </a:lnTo>
                <a:lnTo>
                  <a:pt x="6734" y="1221"/>
                </a:lnTo>
                <a:lnTo>
                  <a:pt x="6723" y="1307"/>
                </a:lnTo>
                <a:lnTo>
                  <a:pt x="6709" y="1394"/>
                </a:lnTo>
                <a:lnTo>
                  <a:pt x="6694" y="1478"/>
                </a:lnTo>
                <a:lnTo>
                  <a:pt x="6686" y="1519"/>
                </a:lnTo>
                <a:lnTo>
                  <a:pt x="6677" y="1557"/>
                </a:lnTo>
                <a:lnTo>
                  <a:pt x="6668" y="1594"/>
                </a:lnTo>
                <a:lnTo>
                  <a:pt x="6659" y="1630"/>
                </a:lnTo>
                <a:lnTo>
                  <a:pt x="6650" y="1663"/>
                </a:lnTo>
                <a:lnTo>
                  <a:pt x="6640" y="1692"/>
                </a:lnTo>
                <a:lnTo>
                  <a:pt x="6631" y="1720"/>
                </a:lnTo>
                <a:lnTo>
                  <a:pt x="6621" y="1744"/>
                </a:lnTo>
                <a:lnTo>
                  <a:pt x="6609" y="1764"/>
                </a:lnTo>
                <a:lnTo>
                  <a:pt x="6599" y="1782"/>
                </a:lnTo>
                <a:lnTo>
                  <a:pt x="6589" y="1795"/>
                </a:lnTo>
                <a:lnTo>
                  <a:pt x="6578" y="1804"/>
                </a:lnTo>
                <a:lnTo>
                  <a:pt x="6567" y="1808"/>
                </a:lnTo>
                <a:lnTo>
                  <a:pt x="6556" y="1808"/>
                </a:lnTo>
                <a:lnTo>
                  <a:pt x="6546" y="1801"/>
                </a:lnTo>
                <a:lnTo>
                  <a:pt x="6534" y="1790"/>
                </a:lnTo>
                <a:lnTo>
                  <a:pt x="6523" y="1773"/>
                </a:lnTo>
                <a:lnTo>
                  <a:pt x="6511" y="1750"/>
                </a:lnTo>
                <a:lnTo>
                  <a:pt x="6500" y="1721"/>
                </a:lnTo>
                <a:lnTo>
                  <a:pt x="6490" y="1686"/>
                </a:lnTo>
                <a:lnTo>
                  <a:pt x="6478" y="1644"/>
                </a:lnTo>
                <a:lnTo>
                  <a:pt x="6467" y="1594"/>
                </a:lnTo>
                <a:lnTo>
                  <a:pt x="6455" y="1538"/>
                </a:lnTo>
                <a:lnTo>
                  <a:pt x="6445" y="1473"/>
                </a:lnTo>
                <a:lnTo>
                  <a:pt x="6439" y="1484"/>
                </a:lnTo>
                <a:lnTo>
                  <a:pt x="6434" y="1496"/>
                </a:lnTo>
                <a:lnTo>
                  <a:pt x="6431" y="1507"/>
                </a:lnTo>
                <a:lnTo>
                  <a:pt x="6429" y="1520"/>
                </a:lnTo>
                <a:lnTo>
                  <a:pt x="6427" y="1533"/>
                </a:lnTo>
                <a:lnTo>
                  <a:pt x="6427" y="1546"/>
                </a:lnTo>
                <a:lnTo>
                  <a:pt x="6429" y="1560"/>
                </a:lnTo>
                <a:lnTo>
                  <a:pt x="6430" y="1574"/>
                </a:lnTo>
                <a:lnTo>
                  <a:pt x="6435" y="1602"/>
                </a:lnTo>
                <a:lnTo>
                  <a:pt x="6441" y="1631"/>
                </a:lnTo>
                <a:lnTo>
                  <a:pt x="6448" y="1660"/>
                </a:lnTo>
                <a:lnTo>
                  <a:pt x="6455" y="1689"/>
                </a:lnTo>
                <a:lnTo>
                  <a:pt x="6462" y="1719"/>
                </a:lnTo>
                <a:lnTo>
                  <a:pt x="6466" y="1747"/>
                </a:lnTo>
                <a:lnTo>
                  <a:pt x="6466" y="1761"/>
                </a:lnTo>
                <a:lnTo>
                  <a:pt x="6467" y="1773"/>
                </a:lnTo>
                <a:lnTo>
                  <a:pt x="6466" y="1787"/>
                </a:lnTo>
                <a:lnTo>
                  <a:pt x="6463" y="1800"/>
                </a:lnTo>
                <a:lnTo>
                  <a:pt x="6460" y="1812"/>
                </a:lnTo>
                <a:lnTo>
                  <a:pt x="6455" y="1824"/>
                </a:lnTo>
                <a:lnTo>
                  <a:pt x="6450" y="1836"/>
                </a:lnTo>
                <a:lnTo>
                  <a:pt x="6443" y="1847"/>
                </a:lnTo>
                <a:lnTo>
                  <a:pt x="6434" y="1857"/>
                </a:lnTo>
                <a:lnTo>
                  <a:pt x="6424" y="1866"/>
                </a:lnTo>
                <a:lnTo>
                  <a:pt x="6411" y="1876"/>
                </a:lnTo>
                <a:lnTo>
                  <a:pt x="6396" y="1884"/>
                </a:lnTo>
                <a:lnTo>
                  <a:pt x="6389" y="1878"/>
                </a:lnTo>
                <a:lnTo>
                  <a:pt x="6383" y="1871"/>
                </a:lnTo>
                <a:lnTo>
                  <a:pt x="6379" y="1864"/>
                </a:lnTo>
                <a:lnTo>
                  <a:pt x="6375" y="1857"/>
                </a:lnTo>
                <a:lnTo>
                  <a:pt x="6373" y="1852"/>
                </a:lnTo>
                <a:lnTo>
                  <a:pt x="6370" y="1846"/>
                </a:lnTo>
                <a:lnTo>
                  <a:pt x="6369" y="1840"/>
                </a:lnTo>
                <a:lnTo>
                  <a:pt x="6369" y="1834"/>
                </a:lnTo>
                <a:lnTo>
                  <a:pt x="6369" y="1823"/>
                </a:lnTo>
                <a:lnTo>
                  <a:pt x="6371" y="1812"/>
                </a:lnTo>
                <a:lnTo>
                  <a:pt x="6375" y="1801"/>
                </a:lnTo>
                <a:lnTo>
                  <a:pt x="6379" y="1791"/>
                </a:lnTo>
                <a:lnTo>
                  <a:pt x="6383" y="1780"/>
                </a:lnTo>
                <a:lnTo>
                  <a:pt x="6385" y="1770"/>
                </a:lnTo>
                <a:lnTo>
                  <a:pt x="6387" y="1758"/>
                </a:lnTo>
                <a:lnTo>
                  <a:pt x="6387" y="1747"/>
                </a:lnTo>
                <a:lnTo>
                  <a:pt x="6385" y="1740"/>
                </a:lnTo>
                <a:lnTo>
                  <a:pt x="6384" y="1734"/>
                </a:lnTo>
                <a:lnTo>
                  <a:pt x="6380" y="1728"/>
                </a:lnTo>
                <a:lnTo>
                  <a:pt x="6378" y="1721"/>
                </a:lnTo>
                <a:lnTo>
                  <a:pt x="6373" y="1715"/>
                </a:lnTo>
                <a:lnTo>
                  <a:pt x="6367" y="1708"/>
                </a:lnTo>
                <a:lnTo>
                  <a:pt x="6360" y="1701"/>
                </a:lnTo>
                <a:lnTo>
                  <a:pt x="6352" y="1693"/>
                </a:lnTo>
                <a:lnTo>
                  <a:pt x="6350" y="1701"/>
                </a:lnTo>
                <a:lnTo>
                  <a:pt x="6346" y="1706"/>
                </a:lnTo>
                <a:lnTo>
                  <a:pt x="6343" y="1710"/>
                </a:lnTo>
                <a:lnTo>
                  <a:pt x="6341" y="1711"/>
                </a:lnTo>
                <a:lnTo>
                  <a:pt x="6337" y="1711"/>
                </a:lnTo>
                <a:lnTo>
                  <a:pt x="6334" y="1710"/>
                </a:lnTo>
                <a:lnTo>
                  <a:pt x="6332" y="1706"/>
                </a:lnTo>
                <a:lnTo>
                  <a:pt x="6329" y="1701"/>
                </a:lnTo>
                <a:lnTo>
                  <a:pt x="6324" y="1688"/>
                </a:lnTo>
                <a:lnTo>
                  <a:pt x="6319" y="1672"/>
                </a:lnTo>
                <a:lnTo>
                  <a:pt x="6314" y="1651"/>
                </a:lnTo>
                <a:lnTo>
                  <a:pt x="6309" y="1628"/>
                </a:lnTo>
                <a:lnTo>
                  <a:pt x="6299" y="1579"/>
                </a:lnTo>
                <a:lnTo>
                  <a:pt x="6286" y="1532"/>
                </a:lnTo>
                <a:lnTo>
                  <a:pt x="6278" y="1511"/>
                </a:lnTo>
                <a:lnTo>
                  <a:pt x="6271" y="1493"/>
                </a:lnTo>
                <a:lnTo>
                  <a:pt x="6267" y="1486"/>
                </a:lnTo>
                <a:lnTo>
                  <a:pt x="6262" y="1479"/>
                </a:lnTo>
                <a:lnTo>
                  <a:pt x="6257" y="1474"/>
                </a:lnTo>
                <a:lnTo>
                  <a:pt x="6253" y="1470"/>
                </a:lnTo>
                <a:lnTo>
                  <a:pt x="6258" y="1431"/>
                </a:lnTo>
                <a:lnTo>
                  <a:pt x="6259" y="1399"/>
                </a:lnTo>
                <a:lnTo>
                  <a:pt x="6259" y="1385"/>
                </a:lnTo>
                <a:lnTo>
                  <a:pt x="6259" y="1374"/>
                </a:lnTo>
                <a:lnTo>
                  <a:pt x="6258" y="1362"/>
                </a:lnTo>
                <a:lnTo>
                  <a:pt x="6257" y="1353"/>
                </a:lnTo>
                <a:lnTo>
                  <a:pt x="6254" y="1346"/>
                </a:lnTo>
                <a:lnTo>
                  <a:pt x="6252" y="1339"/>
                </a:lnTo>
                <a:lnTo>
                  <a:pt x="6249" y="1335"/>
                </a:lnTo>
                <a:lnTo>
                  <a:pt x="6247" y="1332"/>
                </a:lnTo>
                <a:lnTo>
                  <a:pt x="6243" y="1329"/>
                </a:lnTo>
                <a:lnTo>
                  <a:pt x="6239" y="1328"/>
                </a:lnTo>
                <a:lnTo>
                  <a:pt x="6236" y="1329"/>
                </a:lnTo>
                <a:lnTo>
                  <a:pt x="6233" y="1330"/>
                </a:lnTo>
                <a:lnTo>
                  <a:pt x="6230" y="1333"/>
                </a:lnTo>
                <a:lnTo>
                  <a:pt x="6226" y="1337"/>
                </a:lnTo>
                <a:lnTo>
                  <a:pt x="6224" y="1341"/>
                </a:lnTo>
                <a:lnTo>
                  <a:pt x="6221" y="1347"/>
                </a:lnTo>
                <a:lnTo>
                  <a:pt x="6216" y="1361"/>
                </a:lnTo>
                <a:lnTo>
                  <a:pt x="6213" y="1379"/>
                </a:lnTo>
                <a:lnTo>
                  <a:pt x="6213" y="1389"/>
                </a:lnTo>
                <a:lnTo>
                  <a:pt x="6213" y="1399"/>
                </a:lnTo>
                <a:lnTo>
                  <a:pt x="6215" y="1411"/>
                </a:lnTo>
                <a:lnTo>
                  <a:pt x="6216" y="1423"/>
                </a:lnTo>
                <a:lnTo>
                  <a:pt x="6218" y="1436"/>
                </a:lnTo>
                <a:lnTo>
                  <a:pt x="6222" y="1449"/>
                </a:lnTo>
                <a:lnTo>
                  <a:pt x="6226" y="1463"/>
                </a:lnTo>
                <a:lnTo>
                  <a:pt x="6231" y="1478"/>
                </a:lnTo>
                <a:lnTo>
                  <a:pt x="6225" y="1493"/>
                </a:lnTo>
                <a:lnTo>
                  <a:pt x="6218" y="1502"/>
                </a:lnTo>
                <a:lnTo>
                  <a:pt x="6212" y="1507"/>
                </a:lnTo>
                <a:lnTo>
                  <a:pt x="6207" y="1506"/>
                </a:lnTo>
                <a:lnTo>
                  <a:pt x="6202" y="1501"/>
                </a:lnTo>
                <a:lnTo>
                  <a:pt x="6197" y="1492"/>
                </a:lnTo>
                <a:lnTo>
                  <a:pt x="6192" y="1479"/>
                </a:lnTo>
                <a:lnTo>
                  <a:pt x="6188" y="1462"/>
                </a:lnTo>
                <a:lnTo>
                  <a:pt x="6179" y="1420"/>
                </a:lnTo>
                <a:lnTo>
                  <a:pt x="6171" y="1367"/>
                </a:lnTo>
                <a:lnTo>
                  <a:pt x="6164" y="1307"/>
                </a:lnTo>
                <a:lnTo>
                  <a:pt x="6156" y="1244"/>
                </a:lnTo>
                <a:lnTo>
                  <a:pt x="6148" y="1179"/>
                </a:lnTo>
                <a:lnTo>
                  <a:pt x="6140" y="1114"/>
                </a:lnTo>
                <a:lnTo>
                  <a:pt x="6131" y="1054"/>
                </a:lnTo>
                <a:lnTo>
                  <a:pt x="6120" y="999"/>
                </a:lnTo>
                <a:lnTo>
                  <a:pt x="6114" y="977"/>
                </a:lnTo>
                <a:lnTo>
                  <a:pt x="6108" y="956"/>
                </a:lnTo>
                <a:lnTo>
                  <a:pt x="6101" y="938"/>
                </a:lnTo>
                <a:lnTo>
                  <a:pt x="6095" y="924"/>
                </a:lnTo>
                <a:lnTo>
                  <a:pt x="6087" y="913"/>
                </a:lnTo>
                <a:lnTo>
                  <a:pt x="6078" y="907"/>
                </a:lnTo>
                <a:lnTo>
                  <a:pt x="6071" y="905"/>
                </a:lnTo>
                <a:lnTo>
                  <a:pt x="6061" y="908"/>
                </a:lnTo>
                <a:lnTo>
                  <a:pt x="6043" y="839"/>
                </a:lnTo>
                <a:lnTo>
                  <a:pt x="6029" y="789"/>
                </a:lnTo>
                <a:lnTo>
                  <a:pt x="6020" y="755"/>
                </a:lnTo>
                <a:lnTo>
                  <a:pt x="6015" y="737"/>
                </a:lnTo>
                <a:lnTo>
                  <a:pt x="6013" y="732"/>
                </a:lnTo>
                <a:lnTo>
                  <a:pt x="6013" y="731"/>
                </a:lnTo>
                <a:lnTo>
                  <a:pt x="6013" y="733"/>
                </a:lnTo>
                <a:lnTo>
                  <a:pt x="6013" y="737"/>
                </a:lnTo>
                <a:lnTo>
                  <a:pt x="6016" y="752"/>
                </a:lnTo>
                <a:lnTo>
                  <a:pt x="6021" y="777"/>
                </a:lnTo>
                <a:lnTo>
                  <a:pt x="6026" y="807"/>
                </a:lnTo>
                <a:lnTo>
                  <a:pt x="6033" y="843"/>
                </a:lnTo>
                <a:lnTo>
                  <a:pt x="6039" y="881"/>
                </a:lnTo>
                <a:lnTo>
                  <a:pt x="6045" y="921"/>
                </a:lnTo>
                <a:lnTo>
                  <a:pt x="6050" y="960"/>
                </a:lnTo>
                <a:lnTo>
                  <a:pt x="6053" y="998"/>
                </a:lnTo>
                <a:lnTo>
                  <a:pt x="6054" y="1016"/>
                </a:lnTo>
                <a:lnTo>
                  <a:pt x="6054" y="1033"/>
                </a:lnTo>
                <a:lnTo>
                  <a:pt x="6053" y="1048"/>
                </a:lnTo>
                <a:lnTo>
                  <a:pt x="6052" y="1061"/>
                </a:lnTo>
                <a:lnTo>
                  <a:pt x="6047" y="1050"/>
                </a:lnTo>
                <a:lnTo>
                  <a:pt x="6040" y="1038"/>
                </a:lnTo>
                <a:lnTo>
                  <a:pt x="6035" y="1025"/>
                </a:lnTo>
                <a:lnTo>
                  <a:pt x="6031" y="1010"/>
                </a:lnTo>
                <a:lnTo>
                  <a:pt x="6021" y="980"/>
                </a:lnTo>
                <a:lnTo>
                  <a:pt x="6013" y="949"/>
                </a:lnTo>
                <a:lnTo>
                  <a:pt x="6001" y="886"/>
                </a:lnTo>
                <a:lnTo>
                  <a:pt x="5991" y="833"/>
                </a:lnTo>
                <a:lnTo>
                  <a:pt x="5987" y="814"/>
                </a:lnTo>
                <a:lnTo>
                  <a:pt x="5983" y="801"/>
                </a:lnTo>
                <a:lnTo>
                  <a:pt x="5982" y="797"/>
                </a:lnTo>
                <a:lnTo>
                  <a:pt x="5980" y="796"/>
                </a:lnTo>
                <a:lnTo>
                  <a:pt x="5979" y="796"/>
                </a:lnTo>
                <a:lnTo>
                  <a:pt x="5978" y="798"/>
                </a:lnTo>
                <a:lnTo>
                  <a:pt x="5975" y="812"/>
                </a:lnTo>
                <a:lnTo>
                  <a:pt x="5973" y="838"/>
                </a:lnTo>
                <a:lnTo>
                  <a:pt x="5970" y="876"/>
                </a:lnTo>
                <a:lnTo>
                  <a:pt x="5969" y="927"/>
                </a:lnTo>
                <a:lnTo>
                  <a:pt x="5950" y="922"/>
                </a:lnTo>
                <a:lnTo>
                  <a:pt x="5932" y="917"/>
                </a:lnTo>
                <a:lnTo>
                  <a:pt x="5924" y="914"/>
                </a:lnTo>
                <a:lnTo>
                  <a:pt x="5917" y="913"/>
                </a:lnTo>
                <a:lnTo>
                  <a:pt x="5909" y="912"/>
                </a:lnTo>
                <a:lnTo>
                  <a:pt x="5904" y="913"/>
                </a:lnTo>
                <a:lnTo>
                  <a:pt x="5899" y="914"/>
                </a:lnTo>
                <a:lnTo>
                  <a:pt x="5895" y="917"/>
                </a:lnTo>
                <a:lnTo>
                  <a:pt x="5894" y="922"/>
                </a:lnTo>
                <a:lnTo>
                  <a:pt x="5892" y="928"/>
                </a:lnTo>
                <a:lnTo>
                  <a:pt x="5894" y="937"/>
                </a:lnTo>
                <a:lnTo>
                  <a:pt x="5896" y="949"/>
                </a:lnTo>
                <a:lnTo>
                  <a:pt x="5901" y="963"/>
                </a:lnTo>
                <a:lnTo>
                  <a:pt x="5908" y="979"/>
                </a:lnTo>
                <a:lnTo>
                  <a:pt x="5910" y="966"/>
                </a:lnTo>
                <a:lnTo>
                  <a:pt x="5914" y="957"/>
                </a:lnTo>
                <a:lnTo>
                  <a:pt x="5917" y="952"/>
                </a:lnTo>
                <a:lnTo>
                  <a:pt x="5919" y="950"/>
                </a:lnTo>
                <a:lnTo>
                  <a:pt x="5922" y="951"/>
                </a:lnTo>
                <a:lnTo>
                  <a:pt x="5924" y="954"/>
                </a:lnTo>
                <a:lnTo>
                  <a:pt x="5926" y="960"/>
                </a:lnTo>
                <a:lnTo>
                  <a:pt x="5928" y="968"/>
                </a:lnTo>
                <a:lnTo>
                  <a:pt x="5932" y="992"/>
                </a:lnTo>
                <a:lnTo>
                  <a:pt x="5936" y="1021"/>
                </a:lnTo>
                <a:lnTo>
                  <a:pt x="5940" y="1058"/>
                </a:lnTo>
                <a:lnTo>
                  <a:pt x="5943" y="1097"/>
                </a:lnTo>
                <a:lnTo>
                  <a:pt x="5951" y="1187"/>
                </a:lnTo>
                <a:lnTo>
                  <a:pt x="5960" y="1274"/>
                </a:lnTo>
                <a:lnTo>
                  <a:pt x="5966" y="1314"/>
                </a:lnTo>
                <a:lnTo>
                  <a:pt x="5973" y="1349"/>
                </a:lnTo>
                <a:lnTo>
                  <a:pt x="5977" y="1366"/>
                </a:lnTo>
                <a:lnTo>
                  <a:pt x="5980" y="1380"/>
                </a:lnTo>
                <a:lnTo>
                  <a:pt x="5985" y="1391"/>
                </a:lnTo>
                <a:lnTo>
                  <a:pt x="5989" y="1402"/>
                </a:lnTo>
                <a:lnTo>
                  <a:pt x="5987" y="1411"/>
                </a:lnTo>
                <a:lnTo>
                  <a:pt x="5983" y="1416"/>
                </a:lnTo>
                <a:lnTo>
                  <a:pt x="5980" y="1417"/>
                </a:lnTo>
                <a:lnTo>
                  <a:pt x="5978" y="1416"/>
                </a:lnTo>
                <a:lnTo>
                  <a:pt x="5974" y="1413"/>
                </a:lnTo>
                <a:lnTo>
                  <a:pt x="5971" y="1407"/>
                </a:lnTo>
                <a:lnTo>
                  <a:pt x="5969" y="1398"/>
                </a:lnTo>
                <a:lnTo>
                  <a:pt x="5965" y="1388"/>
                </a:lnTo>
                <a:lnTo>
                  <a:pt x="5960" y="1362"/>
                </a:lnTo>
                <a:lnTo>
                  <a:pt x="5954" y="1329"/>
                </a:lnTo>
                <a:lnTo>
                  <a:pt x="5947" y="1291"/>
                </a:lnTo>
                <a:lnTo>
                  <a:pt x="5940" y="1250"/>
                </a:lnTo>
                <a:lnTo>
                  <a:pt x="5933" y="1206"/>
                </a:lnTo>
                <a:lnTo>
                  <a:pt x="5926" y="1161"/>
                </a:lnTo>
                <a:lnTo>
                  <a:pt x="5917" y="1118"/>
                </a:lnTo>
                <a:lnTo>
                  <a:pt x="5908" y="1076"/>
                </a:lnTo>
                <a:lnTo>
                  <a:pt x="5898" y="1036"/>
                </a:lnTo>
                <a:lnTo>
                  <a:pt x="5887" y="1002"/>
                </a:lnTo>
                <a:lnTo>
                  <a:pt x="5881" y="987"/>
                </a:lnTo>
                <a:lnTo>
                  <a:pt x="5875" y="974"/>
                </a:lnTo>
                <a:lnTo>
                  <a:pt x="5868" y="963"/>
                </a:lnTo>
                <a:lnTo>
                  <a:pt x="5862" y="952"/>
                </a:lnTo>
                <a:lnTo>
                  <a:pt x="5858" y="971"/>
                </a:lnTo>
                <a:lnTo>
                  <a:pt x="5854" y="991"/>
                </a:lnTo>
                <a:lnTo>
                  <a:pt x="5853" y="1010"/>
                </a:lnTo>
                <a:lnTo>
                  <a:pt x="5852" y="1030"/>
                </a:lnTo>
                <a:lnTo>
                  <a:pt x="5852" y="1050"/>
                </a:lnTo>
                <a:lnTo>
                  <a:pt x="5852" y="1071"/>
                </a:lnTo>
                <a:lnTo>
                  <a:pt x="5853" y="1091"/>
                </a:lnTo>
                <a:lnTo>
                  <a:pt x="5856" y="1113"/>
                </a:lnTo>
                <a:lnTo>
                  <a:pt x="5861" y="1155"/>
                </a:lnTo>
                <a:lnTo>
                  <a:pt x="5868" y="1198"/>
                </a:lnTo>
                <a:lnTo>
                  <a:pt x="5877" y="1243"/>
                </a:lnTo>
                <a:lnTo>
                  <a:pt x="5887" y="1286"/>
                </a:lnTo>
                <a:lnTo>
                  <a:pt x="5896" y="1329"/>
                </a:lnTo>
                <a:lnTo>
                  <a:pt x="5905" y="1371"/>
                </a:lnTo>
                <a:lnTo>
                  <a:pt x="5913" y="1413"/>
                </a:lnTo>
                <a:lnTo>
                  <a:pt x="5919" y="1454"/>
                </a:lnTo>
                <a:lnTo>
                  <a:pt x="5920" y="1474"/>
                </a:lnTo>
                <a:lnTo>
                  <a:pt x="5922" y="1493"/>
                </a:lnTo>
                <a:lnTo>
                  <a:pt x="5923" y="1512"/>
                </a:lnTo>
                <a:lnTo>
                  <a:pt x="5923" y="1530"/>
                </a:lnTo>
                <a:lnTo>
                  <a:pt x="5922" y="1548"/>
                </a:lnTo>
                <a:lnTo>
                  <a:pt x="5920" y="1566"/>
                </a:lnTo>
                <a:lnTo>
                  <a:pt x="5917" y="1582"/>
                </a:lnTo>
                <a:lnTo>
                  <a:pt x="5913" y="1599"/>
                </a:lnTo>
                <a:lnTo>
                  <a:pt x="5868" y="1402"/>
                </a:lnTo>
                <a:lnTo>
                  <a:pt x="5830" y="1235"/>
                </a:lnTo>
                <a:lnTo>
                  <a:pt x="5796" y="1100"/>
                </a:lnTo>
                <a:lnTo>
                  <a:pt x="5768" y="993"/>
                </a:lnTo>
                <a:lnTo>
                  <a:pt x="5755" y="951"/>
                </a:lnTo>
                <a:lnTo>
                  <a:pt x="5745" y="915"/>
                </a:lnTo>
                <a:lnTo>
                  <a:pt x="5735" y="886"/>
                </a:lnTo>
                <a:lnTo>
                  <a:pt x="5727" y="863"/>
                </a:lnTo>
                <a:lnTo>
                  <a:pt x="5719" y="848"/>
                </a:lnTo>
                <a:lnTo>
                  <a:pt x="5713" y="839"/>
                </a:lnTo>
                <a:lnTo>
                  <a:pt x="5709" y="837"/>
                </a:lnTo>
                <a:lnTo>
                  <a:pt x="5707" y="839"/>
                </a:lnTo>
                <a:lnTo>
                  <a:pt x="5704" y="849"/>
                </a:lnTo>
                <a:lnTo>
                  <a:pt x="5704" y="865"/>
                </a:lnTo>
                <a:lnTo>
                  <a:pt x="5705" y="885"/>
                </a:lnTo>
                <a:lnTo>
                  <a:pt x="5708" y="913"/>
                </a:lnTo>
                <a:lnTo>
                  <a:pt x="5715" y="983"/>
                </a:lnTo>
                <a:lnTo>
                  <a:pt x="5731" y="1073"/>
                </a:lnTo>
                <a:lnTo>
                  <a:pt x="5750" y="1185"/>
                </a:lnTo>
                <a:lnTo>
                  <a:pt x="5775" y="1316"/>
                </a:lnTo>
                <a:lnTo>
                  <a:pt x="5806" y="1465"/>
                </a:lnTo>
                <a:lnTo>
                  <a:pt x="5843" y="1632"/>
                </a:lnTo>
                <a:lnTo>
                  <a:pt x="5845" y="1649"/>
                </a:lnTo>
                <a:lnTo>
                  <a:pt x="5847" y="1663"/>
                </a:lnTo>
                <a:lnTo>
                  <a:pt x="5848" y="1677"/>
                </a:lnTo>
                <a:lnTo>
                  <a:pt x="5848" y="1688"/>
                </a:lnTo>
                <a:lnTo>
                  <a:pt x="5847" y="1698"/>
                </a:lnTo>
                <a:lnTo>
                  <a:pt x="5845" y="1708"/>
                </a:lnTo>
                <a:lnTo>
                  <a:pt x="5843" y="1716"/>
                </a:lnTo>
                <a:lnTo>
                  <a:pt x="5839" y="1722"/>
                </a:lnTo>
                <a:lnTo>
                  <a:pt x="5835" y="1729"/>
                </a:lnTo>
                <a:lnTo>
                  <a:pt x="5831" y="1733"/>
                </a:lnTo>
                <a:lnTo>
                  <a:pt x="5826" y="1735"/>
                </a:lnTo>
                <a:lnTo>
                  <a:pt x="5821" y="1738"/>
                </a:lnTo>
                <a:lnTo>
                  <a:pt x="5815" y="1739"/>
                </a:lnTo>
                <a:lnTo>
                  <a:pt x="5810" y="1739"/>
                </a:lnTo>
                <a:lnTo>
                  <a:pt x="5803" y="1738"/>
                </a:lnTo>
                <a:lnTo>
                  <a:pt x="5797" y="1735"/>
                </a:lnTo>
                <a:lnTo>
                  <a:pt x="5791" y="1733"/>
                </a:lnTo>
                <a:lnTo>
                  <a:pt x="5783" y="1729"/>
                </a:lnTo>
                <a:lnTo>
                  <a:pt x="5777" y="1724"/>
                </a:lnTo>
                <a:lnTo>
                  <a:pt x="5770" y="1717"/>
                </a:lnTo>
                <a:lnTo>
                  <a:pt x="5764" y="1711"/>
                </a:lnTo>
                <a:lnTo>
                  <a:pt x="5757" y="1705"/>
                </a:lnTo>
                <a:lnTo>
                  <a:pt x="5752" y="1696"/>
                </a:lnTo>
                <a:lnTo>
                  <a:pt x="5746" y="1688"/>
                </a:lnTo>
                <a:lnTo>
                  <a:pt x="5741" y="1678"/>
                </a:lnTo>
                <a:lnTo>
                  <a:pt x="5737" y="1669"/>
                </a:lnTo>
                <a:lnTo>
                  <a:pt x="5732" y="1658"/>
                </a:lnTo>
                <a:lnTo>
                  <a:pt x="5728" y="1647"/>
                </a:lnTo>
                <a:lnTo>
                  <a:pt x="5726" y="1636"/>
                </a:lnTo>
                <a:lnTo>
                  <a:pt x="5723" y="1623"/>
                </a:lnTo>
                <a:lnTo>
                  <a:pt x="5722" y="1610"/>
                </a:lnTo>
                <a:lnTo>
                  <a:pt x="5722" y="1598"/>
                </a:lnTo>
                <a:lnTo>
                  <a:pt x="5717" y="1614"/>
                </a:lnTo>
                <a:lnTo>
                  <a:pt x="5713" y="1630"/>
                </a:lnTo>
                <a:lnTo>
                  <a:pt x="5710" y="1646"/>
                </a:lnTo>
                <a:lnTo>
                  <a:pt x="5709" y="1661"/>
                </a:lnTo>
                <a:lnTo>
                  <a:pt x="5709" y="1675"/>
                </a:lnTo>
                <a:lnTo>
                  <a:pt x="5709" y="1691"/>
                </a:lnTo>
                <a:lnTo>
                  <a:pt x="5709" y="1703"/>
                </a:lnTo>
                <a:lnTo>
                  <a:pt x="5710" y="1717"/>
                </a:lnTo>
                <a:lnTo>
                  <a:pt x="5714" y="1742"/>
                </a:lnTo>
                <a:lnTo>
                  <a:pt x="5719" y="1762"/>
                </a:lnTo>
                <a:lnTo>
                  <a:pt x="5723" y="1780"/>
                </a:lnTo>
                <a:lnTo>
                  <a:pt x="5727" y="1792"/>
                </a:lnTo>
                <a:lnTo>
                  <a:pt x="5729" y="1801"/>
                </a:lnTo>
                <a:lnTo>
                  <a:pt x="5729" y="1804"/>
                </a:lnTo>
                <a:lnTo>
                  <a:pt x="5726" y="1801"/>
                </a:lnTo>
                <a:lnTo>
                  <a:pt x="5717" y="1794"/>
                </a:lnTo>
                <a:lnTo>
                  <a:pt x="5685" y="1756"/>
                </a:lnTo>
                <a:lnTo>
                  <a:pt x="5626" y="1688"/>
                </a:lnTo>
                <a:lnTo>
                  <a:pt x="5610" y="1675"/>
                </a:lnTo>
                <a:lnTo>
                  <a:pt x="5580" y="1655"/>
                </a:lnTo>
                <a:lnTo>
                  <a:pt x="5540" y="1630"/>
                </a:lnTo>
                <a:lnTo>
                  <a:pt x="5490" y="1598"/>
                </a:lnTo>
                <a:lnTo>
                  <a:pt x="5434" y="1563"/>
                </a:lnTo>
                <a:lnTo>
                  <a:pt x="5373" y="1528"/>
                </a:lnTo>
                <a:lnTo>
                  <a:pt x="5310" y="1491"/>
                </a:lnTo>
                <a:lnTo>
                  <a:pt x="5248" y="1455"/>
                </a:lnTo>
                <a:lnTo>
                  <a:pt x="5190" y="1421"/>
                </a:lnTo>
                <a:lnTo>
                  <a:pt x="5135" y="1391"/>
                </a:lnTo>
                <a:lnTo>
                  <a:pt x="5086" y="1367"/>
                </a:lnTo>
                <a:lnTo>
                  <a:pt x="5049" y="1349"/>
                </a:lnTo>
                <a:lnTo>
                  <a:pt x="5034" y="1344"/>
                </a:lnTo>
                <a:lnTo>
                  <a:pt x="5024" y="1341"/>
                </a:lnTo>
                <a:lnTo>
                  <a:pt x="5016" y="1339"/>
                </a:lnTo>
                <a:lnTo>
                  <a:pt x="5012" y="1341"/>
                </a:lnTo>
                <a:lnTo>
                  <a:pt x="5012" y="1344"/>
                </a:lnTo>
                <a:lnTo>
                  <a:pt x="5018" y="1352"/>
                </a:lnTo>
                <a:lnTo>
                  <a:pt x="5026" y="1362"/>
                </a:lnTo>
                <a:lnTo>
                  <a:pt x="5042" y="1375"/>
                </a:lnTo>
                <a:lnTo>
                  <a:pt x="5132" y="1445"/>
                </a:lnTo>
                <a:lnTo>
                  <a:pt x="5201" y="1498"/>
                </a:lnTo>
                <a:lnTo>
                  <a:pt x="5251" y="1537"/>
                </a:lnTo>
                <a:lnTo>
                  <a:pt x="5282" y="1562"/>
                </a:lnTo>
                <a:lnTo>
                  <a:pt x="5293" y="1571"/>
                </a:lnTo>
                <a:lnTo>
                  <a:pt x="5299" y="1577"/>
                </a:lnTo>
                <a:lnTo>
                  <a:pt x="5302" y="1580"/>
                </a:lnTo>
                <a:lnTo>
                  <a:pt x="5300" y="1581"/>
                </a:lnTo>
                <a:lnTo>
                  <a:pt x="5290" y="1576"/>
                </a:lnTo>
                <a:lnTo>
                  <a:pt x="5268" y="1563"/>
                </a:lnTo>
                <a:lnTo>
                  <a:pt x="5239" y="1546"/>
                </a:lnTo>
                <a:lnTo>
                  <a:pt x="5202" y="1523"/>
                </a:lnTo>
                <a:lnTo>
                  <a:pt x="5160" y="1497"/>
                </a:lnTo>
                <a:lnTo>
                  <a:pt x="5116" y="1469"/>
                </a:lnTo>
                <a:lnTo>
                  <a:pt x="5069" y="1441"/>
                </a:lnTo>
                <a:lnTo>
                  <a:pt x="5023" y="1414"/>
                </a:lnTo>
                <a:lnTo>
                  <a:pt x="4978" y="1390"/>
                </a:lnTo>
                <a:lnTo>
                  <a:pt x="4939" y="1371"/>
                </a:lnTo>
                <a:lnTo>
                  <a:pt x="4993" y="1412"/>
                </a:lnTo>
                <a:lnTo>
                  <a:pt x="5041" y="1448"/>
                </a:lnTo>
                <a:lnTo>
                  <a:pt x="5079" y="1478"/>
                </a:lnTo>
                <a:lnTo>
                  <a:pt x="5109" y="1504"/>
                </a:lnTo>
                <a:lnTo>
                  <a:pt x="5132" y="1523"/>
                </a:lnTo>
                <a:lnTo>
                  <a:pt x="5149" y="1538"/>
                </a:lnTo>
                <a:lnTo>
                  <a:pt x="5158" y="1549"/>
                </a:lnTo>
                <a:lnTo>
                  <a:pt x="5161" y="1556"/>
                </a:lnTo>
                <a:lnTo>
                  <a:pt x="5159" y="1558"/>
                </a:lnTo>
                <a:lnTo>
                  <a:pt x="5151" y="1558"/>
                </a:lnTo>
                <a:lnTo>
                  <a:pt x="5139" y="1553"/>
                </a:lnTo>
                <a:lnTo>
                  <a:pt x="5121" y="1546"/>
                </a:lnTo>
                <a:lnTo>
                  <a:pt x="5074" y="1523"/>
                </a:lnTo>
                <a:lnTo>
                  <a:pt x="5014" y="1488"/>
                </a:lnTo>
                <a:lnTo>
                  <a:pt x="4944" y="1448"/>
                </a:lnTo>
                <a:lnTo>
                  <a:pt x="4866" y="1400"/>
                </a:lnTo>
                <a:lnTo>
                  <a:pt x="4786" y="1349"/>
                </a:lnTo>
                <a:lnTo>
                  <a:pt x="4706" y="1297"/>
                </a:lnTo>
                <a:lnTo>
                  <a:pt x="4628" y="1244"/>
                </a:lnTo>
                <a:lnTo>
                  <a:pt x="4557" y="1194"/>
                </a:lnTo>
                <a:lnTo>
                  <a:pt x="4525" y="1171"/>
                </a:lnTo>
                <a:lnTo>
                  <a:pt x="4495" y="1148"/>
                </a:lnTo>
                <a:lnTo>
                  <a:pt x="4470" y="1128"/>
                </a:lnTo>
                <a:lnTo>
                  <a:pt x="4447" y="1109"/>
                </a:lnTo>
                <a:lnTo>
                  <a:pt x="4448" y="1114"/>
                </a:lnTo>
                <a:lnTo>
                  <a:pt x="4450" y="1119"/>
                </a:lnTo>
                <a:lnTo>
                  <a:pt x="4452" y="1125"/>
                </a:lnTo>
                <a:lnTo>
                  <a:pt x="4456" y="1132"/>
                </a:lnTo>
                <a:lnTo>
                  <a:pt x="4467" y="1146"/>
                </a:lnTo>
                <a:lnTo>
                  <a:pt x="4481" y="1162"/>
                </a:lnTo>
                <a:lnTo>
                  <a:pt x="4517" y="1197"/>
                </a:lnTo>
                <a:lnTo>
                  <a:pt x="4557" y="1231"/>
                </a:lnTo>
                <a:lnTo>
                  <a:pt x="4592" y="1262"/>
                </a:lnTo>
                <a:lnTo>
                  <a:pt x="4619" y="1286"/>
                </a:lnTo>
                <a:lnTo>
                  <a:pt x="4627" y="1295"/>
                </a:lnTo>
                <a:lnTo>
                  <a:pt x="4629" y="1300"/>
                </a:lnTo>
                <a:lnTo>
                  <a:pt x="4628" y="1301"/>
                </a:lnTo>
                <a:lnTo>
                  <a:pt x="4625" y="1301"/>
                </a:lnTo>
                <a:lnTo>
                  <a:pt x="4622" y="1301"/>
                </a:lnTo>
                <a:lnTo>
                  <a:pt x="4616" y="1300"/>
                </a:lnTo>
                <a:lnTo>
                  <a:pt x="4597" y="1285"/>
                </a:lnTo>
                <a:lnTo>
                  <a:pt x="4582" y="1276"/>
                </a:lnTo>
                <a:lnTo>
                  <a:pt x="4572" y="1271"/>
                </a:lnTo>
                <a:lnTo>
                  <a:pt x="4565" y="1269"/>
                </a:lnTo>
                <a:lnTo>
                  <a:pt x="4563" y="1269"/>
                </a:lnTo>
                <a:lnTo>
                  <a:pt x="4563" y="1271"/>
                </a:lnTo>
                <a:lnTo>
                  <a:pt x="4563" y="1273"/>
                </a:lnTo>
                <a:lnTo>
                  <a:pt x="4564" y="1276"/>
                </a:lnTo>
                <a:lnTo>
                  <a:pt x="4567" y="1282"/>
                </a:lnTo>
                <a:lnTo>
                  <a:pt x="4573" y="1290"/>
                </a:lnTo>
                <a:lnTo>
                  <a:pt x="4582" y="1299"/>
                </a:lnTo>
                <a:lnTo>
                  <a:pt x="4592" y="1307"/>
                </a:lnTo>
                <a:lnTo>
                  <a:pt x="4604" y="1316"/>
                </a:lnTo>
                <a:lnTo>
                  <a:pt x="4616" y="1324"/>
                </a:lnTo>
                <a:lnTo>
                  <a:pt x="4629" y="1329"/>
                </a:lnTo>
                <a:lnTo>
                  <a:pt x="4643" y="1333"/>
                </a:lnTo>
                <a:lnTo>
                  <a:pt x="4650" y="1333"/>
                </a:lnTo>
                <a:lnTo>
                  <a:pt x="4656" y="1333"/>
                </a:lnTo>
                <a:lnTo>
                  <a:pt x="4662" y="1332"/>
                </a:lnTo>
                <a:lnTo>
                  <a:pt x="4667" y="1329"/>
                </a:lnTo>
                <a:lnTo>
                  <a:pt x="4679" y="1330"/>
                </a:lnTo>
                <a:lnTo>
                  <a:pt x="4688" y="1333"/>
                </a:lnTo>
                <a:lnTo>
                  <a:pt x="4694" y="1337"/>
                </a:lnTo>
                <a:lnTo>
                  <a:pt x="4699" y="1341"/>
                </a:lnTo>
                <a:lnTo>
                  <a:pt x="4706" y="1352"/>
                </a:lnTo>
                <a:lnTo>
                  <a:pt x="4711" y="1365"/>
                </a:lnTo>
                <a:lnTo>
                  <a:pt x="4714" y="1370"/>
                </a:lnTo>
                <a:lnTo>
                  <a:pt x="4718" y="1376"/>
                </a:lnTo>
                <a:lnTo>
                  <a:pt x="4723" y="1381"/>
                </a:lnTo>
                <a:lnTo>
                  <a:pt x="4731" y="1385"/>
                </a:lnTo>
                <a:lnTo>
                  <a:pt x="4740" y="1388"/>
                </a:lnTo>
                <a:lnTo>
                  <a:pt x="4753" y="1390"/>
                </a:lnTo>
                <a:lnTo>
                  <a:pt x="4768" y="1390"/>
                </a:lnTo>
                <a:lnTo>
                  <a:pt x="4787" y="1389"/>
                </a:lnTo>
                <a:lnTo>
                  <a:pt x="4790" y="1395"/>
                </a:lnTo>
                <a:lnTo>
                  <a:pt x="4792" y="1400"/>
                </a:lnTo>
                <a:lnTo>
                  <a:pt x="4792" y="1405"/>
                </a:lnTo>
                <a:lnTo>
                  <a:pt x="4791" y="1409"/>
                </a:lnTo>
                <a:lnTo>
                  <a:pt x="4788" y="1413"/>
                </a:lnTo>
                <a:lnTo>
                  <a:pt x="4785" y="1416"/>
                </a:lnTo>
                <a:lnTo>
                  <a:pt x="4781" y="1418"/>
                </a:lnTo>
                <a:lnTo>
                  <a:pt x="4776" y="1420"/>
                </a:lnTo>
                <a:lnTo>
                  <a:pt x="4751" y="1423"/>
                </a:lnTo>
                <a:lnTo>
                  <a:pt x="4728" y="1426"/>
                </a:lnTo>
                <a:lnTo>
                  <a:pt x="4711" y="1414"/>
                </a:lnTo>
                <a:lnTo>
                  <a:pt x="4697" y="1408"/>
                </a:lnTo>
                <a:lnTo>
                  <a:pt x="4686" y="1404"/>
                </a:lnTo>
                <a:lnTo>
                  <a:pt x="4679" y="1404"/>
                </a:lnTo>
                <a:lnTo>
                  <a:pt x="4676" y="1404"/>
                </a:lnTo>
                <a:lnTo>
                  <a:pt x="4674" y="1405"/>
                </a:lnTo>
                <a:lnTo>
                  <a:pt x="4672" y="1408"/>
                </a:lnTo>
                <a:lnTo>
                  <a:pt x="4671" y="1409"/>
                </a:lnTo>
                <a:lnTo>
                  <a:pt x="4671" y="1416"/>
                </a:lnTo>
                <a:lnTo>
                  <a:pt x="4672" y="1422"/>
                </a:lnTo>
                <a:lnTo>
                  <a:pt x="4676" y="1430"/>
                </a:lnTo>
                <a:lnTo>
                  <a:pt x="4680" y="1437"/>
                </a:lnTo>
                <a:lnTo>
                  <a:pt x="4686" y="1445"/>
                </a:lnTo>
                <a:lnTo>
                  <a:pt x="4693" y="1451"/>
                </a:lnTo>
                <a:lnTo>
                  <a:pt x="4700" y="1456"/>
                </a:lnTo>
                <a:lnTo>
                  <a:pt x="4708" y="1460"/>
                </a:lnTo>
                <a:lnTo>
                  <a:pt x="4712" y="1462"/>
                </a:lnTo>
                <a:lnTo>
                  <a:pt x="4716" y="1463"/>
                </a:lnTo>
                <a:lnTo>
                  <a:pt x="4720" y="1463"/>
                </a:lnTo>
                <a:lnTo>
                  <a:pt x="4723" y="1462"/>
                </a:lnTo>
                <a:lnTo>
                  <a:pt x="4755" y="1492"/>
                </a:lnTo>
                <a:lnTo>
                  <a:pt x="4781" y="1518"/>
                </a:lnTo>
                <a:lnTo>
                  <a:pt x="4801" y="1538"/>
                </a:lnTo>
                <a:lnTo>
                  <a:pt x="4814" y="1553"/>
                </a:lnTo>
                <a:lnTo>
                  <a:pt x="4823" y="1565"/>
                </a:lnTo>
                <a:lnTo>
                  <a:pt x="4825" y="1570"/>
                </a:lnTo>
                <a:lnTo>
                  <a:pt x="4823" y="1572"/>
                </a:lnTo>
                <a:lnTo>
                  <a:pt x="4816" y="1570"/>
                </a:lnTo>
                <a:lnTo>
                  <a:pt x="4806" y="1565"/>
                </a:lnTo>
                <a:lnTo>
                  <a:pt x="4791" y="1554"/>
                </a:lnTo>
                <a:lnTo>
                  <a:pt x="4773" y="1543"/>
                </a:lnTo>
                <a:lnTo>
                  <a:pt x="4751" y="1528"/>
                </a:lnTo>
                <a:lnTo>
                  <a:pt x="4700" y="1491"/>
                </a:lnTo>
                <a:lnTo>
                  <a:pt x="4641" y="1445"/>
                </a:lnTo>
                <a:lnTo>
                  <a:pt x="4574" y="1393"/>
                </a:lnTo>
                <a:lnTo>
                  <a:pt x="4506" y="1337"/>
                </a:lnTo>
                <a:lnTo>
                  <a:pt x="4436" y="1279"/>
                </a:lnTo>
                <a:lnTo>
                  <a:pt x="4368" y="1223"/>
                </a:lnTo>
                <a:lnTo>
                  <a:pt x="4306" y="1169"/>
                </a:lnTo>
                <a:lnTo>
                  <a:pt x="4250" y="1120"/>
                </a:lnTo>
                <a:lnTo>
                  <a:pt x="4204" y="1077"/>
                </a:lnTo>
                <a:lnTo>
                  <a:pt x="4172" y="1044"/>
                </a:lnTo>
                <a:lnTo>
                  <a:pt x="4173" y="1052"/>
                </a:lnTo>
                <a:lnTo>
                  <a:pt x="4177" y="1061"/>
                </a:lnTo>
                <a:lnTo>
                  <a:pt x="4183" y="1071"/>
                </a:lnTo>
                <a:lnTo>
                  <a:pt x="4191" y="1083"/>
                </a:lnTo>
                <a:lnTo>
                  <a:pt x="4214" y="1109"/>
                </a:lnTo>
                <a:lnTo>
                  <a:pt x="4242" y="1138"/>
                </a:lnTo>
                <a:lnTo>
                  <a:pt x="4312" y="1203"/>
                </a:lnTo>
                <a:lnTo>
                  <a:pt x="4387" y="1271"/>
                </a:lnTo>
                <a:lnTo>
                  <a:pt x="4422" y="1302"/>
                </a:lnTo>
                <a:lnTo>
                  <a:pt x="4453" y="1333"/>
                </a:lnTo>
                <a:lnTo>
                  <a:pt x="4467" y="1347"/>
                </a:lnTo>
                <a:lnTo>
                  <a:pt x="4479" y="1361"/>
                </a:lnTo>
                <a:lnTo>
                  <a:pt x="4490" y="1372"/>
                </a:lnTo>
                <a:lnTo>
                  <a:pt x="4498" y="1384"/>
                </a:lnTo>
                <a:lnTo>
                  <a:pt x="4506" y="1394"/>
                </a:lnTo>
                <a:lnTo>
                  <a:pt x="4509" y="1403"/>
                </a:lnTo>
                <a:lnTo>
                  <a:pt x="4511" y="1411"/>
                </a:lnTo>
                <a:lnTo>
                  <a:pt x="4509" y="1416"/>
                </a:lnTo>
                <a:lnTo>
                  <a:pt x="4506" y="1420"/>
                </a:lnTo>
                <a:lnTo>
                  <a:pt x="4499" y="1422"/>
                </a:lnTo>
                <a:lnTo>
                  <a:pt x="4488" y="1423"/>
                </a:lnTo>
                <a:lnTo>
                  <a:pt x="4474" y="1422"/>
                </a:lnTo>
                <a:lnTo>
                  <a:pt x="4437" y="1398"/>
                </a:lnTo>
                <a:lnTo>
                  <a:pt x="4383" y="1362"/>
                </a:lnTo>
                <a:lnTo>
                  <a:pt x="4318" y="1318"/>
                </a:lnTo>
                <a:lnTo>
                  <a:pt x="4242" y="1264"/>
                </a:lnTo>
                <a:lnTo>
                  <a:pt x="4159" y="1206"/>
                </a:lnTo>
                <a:lnTo>
                  <a:pt x="4071" y="1142"/>
                </a:lnTo>
                <a:lnTo>
                  <a:pt x="3981" y="1078"/>
                </a:lnTo>
                <a:lnTo>
                  <a:pt x="3892" y="1015"/>
                </a:lnTo>
                <a:lnTo>
                  <a:pt x="3805" y="954"/>
                </a:lnTo>
                <a:lnTo>
                  <a:pt x="3725" y="898"/>
                </a:lnTo>
                <a:lnTo>
                  <a:pt x="3654" y="849"/>
                </a:lnTo>
                <a:lnTo>
                  <a:pt x="3593" y="808"/>
                </a:lnTo>
                <a:lnTo>
                  <a:pt x="3547" y="779"/>
                </a:lnTo>
                <a:lnTo>
                  <a:pt x="3517" y="763"/>
                </a:lnTo>
                <a:lnTo>
                  <a:pt x="3510" y="760"/>
                </a:lnTo>
                <a:lnTo>
                  <a:pt x="3507" y="761"/>
                </a:lnTo>
                <a:lnTo>
                  <a:pt x="3510" y="766"/>
                </a:lnTo>
                <a:lnTo>
                  <a:pt x="3519" y="777"/>
                </a:lnTo>
                <a:lnTo>
                  <a:pt x="3556" y="803"/>
                </a:lnTo>
                <a:lnTo>
                  <a:pt x="3614" y="848"/>
                </a:lnTo>
                <a:lnTo>
                  <a:pt x="3691" y="907"/>
                </a:lnTo>
                <a:lnTo>
                  <a:pt x="3780" y="977"/>
                </a:lnTo>
                <a:lnTo>
                  <a:pt x="3877" y="1055"/>
                </a:lnTo>
                <a:lnTo>
                  <a:pt x="3978" y="1137"/>
                </a:lnTo>
                <a:lnTo>
                  <a:pt x="4079" y="1221"/>
                </a:lnTo>
                <a:lnTo>
                  <a:pt x="4175" y="1301"/>
                </a:lnTo>
                <a:lnTo>
                  <a:pt x="4260" y="1375"/>
                </a:lnTo>
                <a:lnTo>
                  <a:pt x="4330" y="1440"/>
                </a:lnTo>
                <a:lnTo>
                  <a:pt x="4359" y="1468"/>
                </a:lnTo>
                <a:lnTo>
                  <a:pt x="4382" y="1491"/>
                </a:lnTo>
                <a:lnTo>
                  <a:pt x="4399" y="1511"/>
                </a:lnTo>
                <a:lnTo>
                  <a:pt x="4409" y="1526"/>
                </a:lnTo>
                <a:lnTo>
                  <a:pt x="4413" y="1537"/>
                </a:lnTo>
                <a:lnTo>
                  <a:pt x="4408" y="1540"/>
                </a:lnTo>
                <a:lnTo>
                  <a:pt x="4395" y="1539"/>
                </a:lnTo>
                <a:lnTo>
                  <a:pt x="4373" y="1532"/>
                </a:lnTo>
                <a:lnTo>
                  <a:pt x="4341" y="1518"/>
                </a:lnTo>
                <a:lnTo>
                  <a:pt x="4301" y="1496"/>
                </a:lnTo>
                <a:lnTo>
                  <a:pt x="4248" y="1467"/>
                </a:lnTo>
                <a:lnTo>
                  <a:pt x="4186" y="1428"/>
                </a:lnTo>
                <a:lnTo>
                  <a:pt x="4158" y="1404"/>
                </a:lnTo>
                <a:lnTo>
                  <a:pt x="4130" y="1379"/>
                </a:lnTo>
                <a:lnTo>
                  <a:pt x="4101" y="1355"/>
                </a:lnTo>
                <a:lnTo>
                  <a:pt x="4070" y="1329"/>
                </a:lnTo>
                <a:lnTo>
                  <a:pt x="4038" y="1305"/>
                </a:lnTo>
                <a:lnTo>
                  <a:pt x="4006" y="1281"/>
                </a:lnTo>
                <a:lnTo>
                  <a:pt x="3973" y="1258"/>
                </a:lnTo>
                <a:lnTo>
                  <a:pt x="3939" y="1235"/>
                </a:lnTo>
                <a:lnTo>
                  <a:pt x="3906" y="1213"/>
                </a:lnTo>
                <a:lnTo>
                  <a:pt x="3871" y="1194"/>
                </a:lnTo>
                <a:lnTo>
                  <a:pt x="3837" y="1175"/>
                </a:lnTo>
                <a:lnTo>
                  <a:pt x="3803" y="1159"/>
                </a:lnTo>
                <a:lnTo>
                  <a:pt x="3768" y="1143"/>
                </a:lnTo>
                <a:lnTo>
                  <a:pt x="3735" y="1131"/>
                </a:lnTo>
                <a:lnTo>
                  <a:pt x="3701" y="1120"/>
                </a:lnTo>
                <a:lnTo>
                  <a:pt x="3668" y="1113"/>
                </a:lnTo>
                <a:lnTo>
                  <a:pt x="3833" y="1240"/>
                </a:lnTo>
                <a:lnTo>
                  <a:pt x="3967" y="1347"/>
                </a:lnTo>
                <a:lnTo>
                  <a:pt x="4022" y="1391"/>
                </a:lnTo>
                <a:lnTo>
                  <a:pt x="4070" y="1432"/>
                </a:lnTo>
                <a:lnTo>
                  <a:pt x="4112" y="1467"/>
                </a:lnTo>
                <a:lnTo>
                  <a:pt x="4147" y="1497"/>
                </a:lnTo>
                <a:lnTo>
                  <a:pt x="4175" y="1524"/>
                </a:lnTo>
                <a:lnTo>
                  <a:pt x="4196" y="1544"/>
                </a:lnTo>
                <a:lnTo>
                  <a:pt x="4211" y="1562"/>
                </a:lnTo>
                <a:lnTo>
                  <a:pt x="4220" y="1575"/>
                </a:lnTo>
                <a:lnTo>
                  <a:pt x="4224" y="1582"/>
                </a:lnTo>
                <a:lnTo>
                  <a:pt x="4222" y="1588"/>
                </a:lnTo>
                <a:lnTo>
                  <a:pt x="4214" y="1589"/>
                </a:lnTo>
                <a:lnTo>
                  <a:pt x="4201" y="1585"/>
                </a:lnTo>
                <a:lnTo>
                  <a:pt x="4183" y="1579"/>
                </a:lnTo>
                <a:lnTo>
                  <a:pt x="4161" y="1570"/>
                </a:lnTo>
                <a:lnTo>
                  <a:pt x="4134" y="1556"/>
                </a:lnTo>
                <a:lnTo>
                  <a:pt x="4102" y="1539"/>
                </a:lnTo>
                <a:lnTo>
                  <a:pt x="4027" y="1497"/>
                </a:lnTo>
                <a:lnTo>
                  <a:pt x="3935" y="1445"/>
                </a:lnTo>
                <a:lnTo>
                  <a:pt x="3831" y="1383"/>
                </a:lnTo>
                <a:lnTo>
                  <a:pt x="3714" y="1310"/>
                </a:lnTo>
                <a:lnTo>
                  <a:pt x="3587" y="1231"/>
                </a:lnTo>
                <a:lnTo>
                  <a:pt x="3451" y="1145"/>
                </a:lnTo>
                <a:lnTo>
                  <a:pt x="3480" y="1174"/>
                </a:lnTo>
                <a:lnTo>
                  <a:pt x="3511" y="1201"/>
                </a:lnTo>
                <a:lnTo>
                  <a:pt x="3542" y="1226"/>
                </a:lnTo>
                <a:lnTo>
                  <a:pt x="3571" y="1250"/>
                </a:lnTo>
                <a:lnTo>
                  <a:pt x="3632" y="1297"/>
                </a:lnTo>
                <a:lnTo>
                  <a:pt x="3691" y="1342"/>
                </a:lnTo>
                <a:lnTo>
                  <a:pt x="3721" y="1365"/>
                </a:lnTo>
                <a:lnTo>
                  <a:pt x="3749" y="1389"/>
                </a:lnTo>
                <a:lnTo>
                  <a:pt x="3778" y="1413"/>
                </a:lnTo>
                <a:lnTo>
                  <a:pt x="3806" y="1439"/>
                </a:lnTo>
                <a:lnTo>
                  <a:pt x="3835" y="1467"/>
                </a:lnTo>
                <a:lnTo>
                  <a:pt x="3861" y="1496"/>
                </a:lnTo>
                <a:lnTo>
                  <a:pt x="3888" y="1526"/>
                </a:lnTo>
                <a:lnTo>
                  <a:pt x="3915" y="1561"/>
                </a:lnTo>
                <a:lnTo>
                  <a:pt x="3899" y="1557"/>
                </a:lnTo>
                <a:lnTo>
                  <a:pt x="3882" y="1551"/>
                </a:lnTo>
                <a:lnTo>
                  <a:pt x="3863" y="1542"/>
                </a:lnTo>
                <a:lnTo>
                  <a:pt x="3841" y="1530"/>
                </a:lnTo>
                <a:lnTo>
                  <a:pt x="3818" y="1518"/>
                </a:lnTo>
                <a:lnTo>
                  <a:pt x="3794" y="1502"/>
                </a:lnTo>
                <a:lnTo>
                  <a:pt x="3768" y="1484"/>
                </a:lnTo>
                <a:lnTo>
                  <a:pt x="3742" y="1467"/>
                </a:lnTo>
                <a:lnTo>
                  <a:pt x="3631" y="1384"/>
                </a:lnTo>
                <a:lnTo>
                  <a:pt x="3520" y="1299"/>
                </a:lnTo>
                <a:lnTo>
                  <a:pt x="3469" y="1260"/>
                </a:lnTo>
                <a:lnTo>
                  <a:pt x="3423" y="1229"/>
                </a:lnTo>
                <a:lnTo>
                  <a:pt x="3404" y="1215"/>
                </a:lnTo>
                <a:lnTo>
                  <a:pt x="3385" y="1203"/>
                </a:lnTo>
                <a:lnTo>
                  <a:pt x="3370" y="1194"/>
                </a:lnTo>
                <a:lnTo>
                  <a:pt x="3356" y="1188"/>
                </a:lnTo>
                <a:lnTo>
                  <a:pt x="3344" y="1184"/>
                </a:lnTo>
                <a:lnTo>
                  <a:pt x="3337" y="1183"/>
                </a:lnTo>
                <a:lnTo>
                  <a:pt x="3331" y="1187"/>
                </a:lnTo>
                <a:lnTo>
                  <a:pt x="3329" y="1193"/>
                </a:lnTo>
                <a:lnTo>
                  <a:pt x="3331" y="1203"/>
                </a:lnTo>
                <a:lnTo>
                  <a:pt x="3337" y="1217"/>
                </a:lnTo>
                <a:lnTo>
                  <a:pt x="3345" y="1236"/>
                </a:lnTo>
                <a:lnTo>
                  <a:pt x="3358" y="1260"/>
                </a:lnTo>
                <a:lnTo>
                  <a:pt x="3348" y="1257"/>
                </a:lnTo>
                <a:lnTo>
                  <a:pt x="3338" y="1251"/>
                </a:lnTo>
                <a:lnTo>
                  <a:pt x="3329" y="1245"/>
                </a:lnTo>
                <a:lnTo>
                  <a:pt x="3320" y="1237"/>
                </a:lnTo>
                <a:lnTo>
                  <a:pt x="3302" y="1222"/>
                </a:lnTo>
                <a:lnTo>
                  <a:pt x="3284" y="1204"/>
                </a:lnTo>
                <a:lnTo>
                  <a:pt x="3275" y="1197"/>
                </a:lnTo>
                <a:lnTo>
                  <a:pt x="3267" y="1189"/>
                </a:lnTo>
                <a:lnTo>
                  <a:pt x="3258" y="1183"/>
                </a:lnTo>
                <a:lnTo>
                  <a:pt x="3249" y="1178"/>
                </a:lnTo>
                <a:lnTo>
                  <a:pt x="3239" y="1174"/>
                </a:lnTo>
                <a:lnTo>
                  <a:pt x="3228" y="1171"/>
                </a:lnTo>
                <a:lnTo>
                  <a:pt x="3217" y="1171"/>
                </a:lnTo>
                <a:lnTo>
                  <a:pt x="3205" y="1174"/>
                </a:lnTo>
                <a:lnTo>
                  <a:pt x="3254" y="1215"/>
                </a:lnTo>
                <a:lnTo>
                  <a:pt x="3291" y="1246"/>
                </a:lnTo>
                <a:lnTo>
                  <a:pt x="3320" y="1272"/>
                </a:lnTo>
                <a:lnTo>
                  <a:pt x="3340" y="1292"/>
                </a:lnTo>
                <a:lnTo>
                  <a:pt x="3368" y="1320"/>
                </a:lnTo>
                <a:lnTo>
                  <a:pt x="3385" y="1338"/>
                </a:lnTo>
                <a:lnTo>
                  <a:pt x="3393" y="1347"/>
                </a:lnTo>
                <a:lnTo>
                  <a:pt x="3404" y="1356"/>
                </a:lnTo>
                <a:lnTo>
                  <a:pt x="3418" y="1367"/>
                </a:lnTo>
                <a:lnTo>
                  <a:pt x="3437" y="1383"/>
                </a:lnTo>
                <a:lnTo>
                  <a:pt x="3497" y="1426"/>
                </a:lnTo>
                <a:lnTo>
                  <a:pt x="3598" y="1496"/>
                </a:lnTo>
                <a:lnTo>
                  <a:pt x="3604" y="1510"/>
                </a:lnTo>
                <a:lnTo>
                  <a:pt x="3605" y="1520"/>
                </a:lnTo>
                <a:lnTo>
                  <a:pt x="3604" y="1525"/>
                </a:lnTo>
                <a:lnTo>
                  <a:pt x="3598" y="1526"/>
                </a:lnTo>
                <a:lnTo>
                  <a:pt x="3587" y="1525"/>
                </a:lnTo>
                <a:lnTo>
                  <a:pt x="3575" y="1520"/>
                </a:lnTo>
                <a:lnTo>
                  <a:pt x="3559" y="1511"/>
                </a:lnTo>
                <a:lnTo>
                  <a:pt x="3540" y="1501"/>
                </a:lnTo>
                <a:lnTo>
                  <a:pt x="3496" y="1472"/>
                </a:lnTo>
                <a:lnTo>
                  <a:pt x="3445" y="1436"/>
                </a:lnTo>
                <a:lnTo>
                  <a:pt x="3389" y="1397"/>
                </a:lnTo>
                <a:lnTo>
                  <a:pt x="3331" y="1353"/>
                </a:lnTo>
                <a:lnTo>
                  <a:pt x="3273" y="1310"/>
                </a:lnTo>
                <a:lnTo>
                  <a:pt x="3218" y="1268"/>
                </a:lnTo>
                <a:lnTo>
                  <a:pt x="3168" y="1232"/>
                </a:lnTo>
                <a:lnTo>
                  <a:pt x="3126" y="1202"/>
                </a:lnTo>
                <a:lnTo>
                  <a:pt x="3110" y="1190"/>
                </a:lnTo>
                <a:lnTo>
                  <a:pt x="3096" y="1181"/>
                </a:lnTo>
                <a:lnTo>
                  <a:pt x="3084" y="1175"/>
                </a:lnTo>
                <a:lnTo>
                  <a:pt x="3077" y="1173"/>
                </a:lnTo>
                <a:lnTo>
                  <a:pt x="3073" y="1173"/>
                </a:lnTo>
                <a:lnTo>
                  <a:pt x="3073" y="1176"/>
                </a:lnTo>
                <a:lnTo>
                  <a:pt x="3078" y="1184"/>
                </a:lnTo>
                <a:lnTo>
                  <a:pt x="3087" y="1197"/>
                </a:lnTo>
                <a:lnTo>
                  <a:pt x="3093" y="1206"/>
                </a:lnTo>
                <a:lnTo>
                  <a:pt x="3101" y="1215"/>
                </a:lnTo>
                <a:lnTo>
                  <a:pt x="3112" y="1226"/>
                </a:lnTo>
                <a:lnTo>
                  <a:pt x="3125" y="1237"/>
                </a:lnTo>
                <a:lnTo>
                  <a:pt x="3154" y="1265"/>
                </a:lnTo>
                <a:lnTo>
                  <a:pt x="3190" y="1296"/>
                </a:lnTo>
                <a:lnTo>
                  <a:pt x="3270" y="1363"/>
                </a:lnTo>
                <a:lnTo>
                  <a:pt x="3352" y="1431"/>
                </a:lnTo>
                <a:lnTo>
                  <a:pt x="3390" y="1462"/>
                </a:lnTo>
                <a:lnTo>
                  <a:pt x="3423" y="1491"/>
                </a:lnTo>
                <a:lnTo>
                  <a:pt x="3450" y="1515"/>
                </a:lnTo>
                <a:lnTo>
                  <a:pt x="3469" y="1535"/>
                </a:lnTo>
                <a:lnTo>
                  <a:pt x="3475" y="1543"/>
                </a:lnTo>
                <a:lnTo>
                  <a:pt x="3480" y="1549"/>
                </a:lnTo>
                <a:lnTo>
                  <a:pt x="3482" y="1553"/>
                </a:lnTo>
                <a:lnTo>
                  <a:pt x="3479" y="1557"/>
                </a:lnTo>
                <a:lnTo>
                  <a:pt x="3475" y="1557"/>
                </a:lnTo>
                <a:lnTo>
                  <a:pt x="3466" y="1556"/>
                </a:lnTo>
                <a:lnTo>
                  <a:pt x="3455" y="1552"/>
                </a:lnTo>
                <a:lnTo>
                  <a:pt x="3440" y="1546"/>
                </a:lnTo>
                <a:lnTo>
                  <a:pt x="3421" y="1538"/>
                </a:lnTo>
                <a:lnTo>
                  <a:pt x="3408" y="1535"/>
                </a:lnTo>
                <a:lnTo>
                  <a:pt x="3404" y="1534"/>
                </a:lnTo>
                <a:lnTo>
                  <a:pt x="3402" y="1535"/>
                </a:lnTo>
                <a:lnTo>
                  <a:pt x="3402" y="1537"/>
                </a:lnTo>
                <a:lnTo>
                  <a:pt x="3402" y="1539"/>
                </a:lnTo>
                <a:lnTo>
                  <a:pt x="3407" y="1547"/>
                </a:lnTo>
                <a:lnTo>
                  <a:pt x="3417" y="1556"/>
                </a:lnTo>
                <a:lnTo>
                  <a:pt x="3430" y="1567"/>
                </a:lnTo>
                <a:lnTo>
                  <a:pt x="3445" y="1580"/>
                </a:lnTo>
                <a:lnTo>
                  <a:pt x="3480" y="1609"/>
                </a:lnTo>
                <a:lnTo>
                  <a:pt x="3516" y="1638"/>
                </a:lnTo>
                <a:lnTo>
                  <a:pt x="3533" y="1651"/>
                </a:lnTo>
                <a:lnTo>
                  <a:pt x="3547" y="1664"/>
                </a:lnTo>
                <a:lnTo>
                  <a:pt x="3557" y="1674"/>
                </a:lnTo>
                <a:lnTo>
                  <a:pt x="3563" y="1682"/>
                </a:lnTo>
                <a:lnTo>
                  <a:pt x="3554" y="1679"/>
                </a:lnTo>
                <a:lnTo>
                  <a:pt x="3545" y="1675"/>
                </a:lnTo>
                <a:lnTo>
                  <a:pt x="3535" y="1670"/>
                </a:lnTo>
                <a:lnTo>
                  <a:pt x="3525" y="1664"/>
                </a:lnTo>
                <a:lnTo>
                  <a:pt x="3505" y="1651"/>
                </a:lnTo>
                <a:lnTo>
                  <a:pt x="3484" y="1636"/>
                </a:lnTo>
                <a:lnTo>
                  <a:pt x="3440" y="1600"/>
                </a:lnTo>
                <a:lnTo>
                  <a:pt x="3395" y="1562"/>
                </a:lnTo>
                <a:lnTo>
                  <a:pt x="3373" y="1546"/>
                </a:lnTo>
                <a:lnTo>
                  <a:pt x="3351" y="1529"/>
                </a:lnTo>
                <a:lnTo>
                  <a:pt x="3330" y="1515"/>
                </a:lnTo>
                <a:lnTo>
                  <a:pt x="3310" y="1502"/>
                </a:lnTo>
                <a:lnTo>
                  <a:pt x="3300" y="1498"/>
                </a:lnTo>
                <a:lnTo>
                  <a:pt x="3291" y="1495"/>
                </a:lnTo>
                <a:lnTo>
                  <a:pt x="3282" y="1492"/>
                </a:lnTo>
                <a:lnTo>
                  <a:pt x="3273" y="1490"/>
                </a:lnTo>
                <a:lnTo>
                  <a:pt x="3264" y="1490"/>
                </a:lnTo>
                <a:lnTo>
                  <a:pt x="3256" y="1490"/>
                </a:lnTo>
                <a:lnTo>
                  <a:pt x="3249" y="1491"/>
                </a:lnTo>
                <a:lnTo>
                  <a:pt x="3241" y="1495"/>
                </a:lnTo>
                <a:lnTo>
                  <a:pt x="3250" y="1500"/>
                </a:lnTo>
                <a:lnTo>
                  <a:pt x="3261" y="1509"/>
                </a:lnTo>
                <a:lnTo>
                  <a:pt x="3275" y="1519"/>
                </a:lnTo>
                <a:lnTo>
                  <a:pt x="3289" y="1532"/>
                </a:lnTo>
                <a:lnTo>
                  <a:pt x="3324" y="1561"/>
                </a:lnTo>
                <a:lnTo>
                  <a:pt x="3362" y="1598"/>
                </a:lnTo>
                <a:lnTo>
                  <a:pt x="3447" y="1680"/>
                </a:lnTo>
                <a:lnTo>
                  <a:pt x="3535" y="1767"/>
                </a:lnTo>
                <a:lnTo>
                  <a:pt x="3576" y="1808"/>
                </a:lnTo>
                <a:lnTo>
                  <a:pt x="3615" y="1845"/>
                </a:lnTo>
                <a:lnTo>
                  <a:pt x="3650" y="1878"/>
                </a:lnTo>
                <a:lnTo>
                  <a:pt x="3679" y="1903"/>
                </a:lnTo>
                <a:lnTo>
                  <a:pt x="3691" y="1912"/>
                </a:lnTo>
                <a:lnTo>
                  <a:pt x="3701" y="1920"/>
                </a:lnTo>
                <a:lnTo>
                  <a:pt x="3708" y="1925"/>
                </a:lnTo>
                <a:lnTo>
                  <a:pt x="3715" y="1927"/>
                </a:lnTo>
                <a:lnTo>
                  <a:pt x="3717" y="1927"/>
                </a:lnTo>
                <a:lnTo>
                  <a:pt x="3719" y="1924"/>
                </a:lnTo>
                <a:lnTo>
                  <a:pt x="3717" y="1917"/>
                </a:lnTo>
                <a:lnTo>
                  <a:pt x="3712" y="1907"/>
                </a:lnTo>
                <a:lnTo>
                  <a:pt x="3677" y="1873"/>
                </a:lnTo>
                <a:lnTo>
                  <a:pt x="3649" y="1845"/>
                </a:lnTo>
                <a:lnTo>
                  <a:pt x="3637" y="1833"/>
                </a:lnTo>
                <a:lnTo>
                  <a:pt x="3629" y="1823"/>
                </a:lnTo>
                <a:lnTo>
                  <a:pt x="3624" y="1815"/>
                </a:lnTo>
                <a:lnTo>
                  <a:pt x="3623" y="1812"/>
                </a:lnTo>
                <a:lnTo>
                  <a:pt x="3623" y="1810"/>
                </a:lnTo>
                <a:lnTo>
                  <a:pt x="3624" y="1809"/>
                </a:lnTo>
                <a:lnTo>
                  <a:pt x="3626" y="1809"/>
                </a:lnTo>
                <a:lnTo>
                  <a:pt x="3628" y="1810"/>
                </a:lnTo>
                <a:lnTo>
                  <a:pt x="3636" y="1814"/>
                </a:lnTo>
                <a:lnTo>
                  <a:pt x="3647" y="1820"/>
                </a:lnTo>
                <a:lnTo>
                  <a:pt x="3680" y="1846"/>
                </a:lnTo>
                <a:lnTo>
                  <a:pt x="3731" y="1885"/>
                </a:lnTo>
                <a:lnTo>
                  <a:pt x="3754" y="1903"/>
                </a:lnTo>
                <a:lnTo>
                  <a:pt x="3772" y="1918"/>
                </a:lnTo>
                <a:lnTo>
                  <a:pt x="3786" y="1932"/>
                </a:lnTo>
                <a:lnTo>
                  <a:pt x="3796" y="1945"/>
                </a:lnTo>
                <a:lnTo>
                  <a:pt x="3804" y="1957"/>
                </a:lnTo>
                <a:lnTo>
                  <a:pt x="3810" y="1968"/>
                </a:lnTo>
                <a:lnTo>
                  <a:pt x="3814" y="1980"/>
                </a:lnTo>
                <a:lnTo>
                  <a:pt x="3819" y="1991"/>
                </a:lnTo>
                <a:lnTo>
                  <a:pt x="3823" y="2002"/>
                </a:lnTo>
                <a:lnTo>
                  <a:pt x="3828" y="2014"/>
                </a:lnTo>
                <a:lnTo>
                  <a:pt x="3836" y="2027"/>
                </a:lnTo>
                <a:lnTo>
                  <a:pt x="3845" y="2041"/>
                </a:lnTo>
                <a:lnTo>
                  <a:pt x="3857" y="2056"/>
                </a:lnTo>
                <a:lnTo>
                  <a:pt x="3874" y="2074"/>
                </a:lnTo>
                <a:lnTo>
                  <a:pt x="3894" y="2093"/>
                </a:lnTo>
                <a:lnTo>
                  <a:pt x="3921" y="2115"/>
                </a:lnTo>
                <a:lnTo>
                  <a:pt x="3935" y="2132"/>
                </a:lnTo>
                <a:lnTo>
                  <a:pt x="3952" y="2153"/>
                </a:lnTo>
                <a:lnTo>
                  <a:pt x="3969" y="2172"/>
                </a:lnTo>
                <a:lnTo>
                  <a:pt x="3989" y="2192"/>
                </a:lnTo>
                <a:lnTo>
                  <a:pt x="4026" y="2229"/>
                </a:lnTo>
                <a:lnTo>
                  <a:pt x="4056" y="2260"/>
                </a:lnTo>
                <a:lnTo>
                  <a:pt x="4068" y="2271"/>
                </a:lnTo>
                <a:lnTo>
                  <a:pt x="4074" y="2280"/>
                </a:lnTo>
                <a:lnTo>
                  <a:pt x="4076" y="2283"/>
                </a:lnTo>
                <a:lnTo>
                  <a:pt x="4078" y="2285"/>
                </a:lnTo>
                <a:lnTo>
                  <a:pt x="4076" y="2286"/>
                </a:lnTo>
                <a:lnTo>
                  <a:pt x="4075" y="2285"/>
                </a:lnTo>
                <a:lnTo>
                  <a:pt x="4068" y="2281"/>
                </a:lnTo>
                <a:lnTo>
                  <a:pt x="4052" y="2272"/>
                </a:lnTo>
                <a:lnTo>
                  <a:pt x="4029" y="2258"/>
                </a:lnTo>
                <a:lnTo>
                  <a:pt x="4000" y="2237"/>
                </a:lnTo>
                <a:lnTo>
                  <a:pt x="3920" y="2173"/>
                </a:lnTo>
                <a:lnTo>
                  <a:pt x="3843" y="2113"/>
                </a:lnTo>
                <a:lnTo>
                  <a:pt x="3771" y="2059"/>
                </a:lnTo>
                <a:lnTo>
                  <a:pt x="3702" y="2006"/>
                </a:lnTo>
                <a:lnTo>
                  <a:pt x="3635" y="1957"/>
                </a:lnTo>
                <a:lnTo>
                  <a:pt x="3568" y="1911"/>
                </a:lnTo>
                <a:lnTo>
                  <a:pt x="3505" y="1866"/>
                </a:lnTo>
                <a:lnTo>
                  <a:pt x="3441" y="1823"/>
                </a:lnTo>
                <a:lnTo>
                  <a:pt x="3377" y="1780"/>
                </a:lnTo>
                <a:lnTo>
                  <a:pt x="3314" y="1738"/>
                </a:lnTo>
                <a:lnTo>
                  <a:pt x="3249" y="1696"/>
                </a:lnTo>
                <a:lnTo>
                  <a:pt x="3184" y="1652"/>
                </a:lnTo>
                <a:lnTo>
                  <a:pt x="3115" y="1609"/>
                </a:lnTo>
                <a:lnTo>
                  <a:pt x="3045" y="1563"/>
                </a:lnTo>
                <a:lnTo>
                  <a:pt x="2971" y="1515"/>
                </a:lnTo>
                <a:lnTo>
                  <a:pt x="2893" y="1464"/>
                </a:lnTo>
                <a:lnTo>
                  <a:pt x="2920" y="1492"/>
                </a:lnTo>
                <a:lnTo>
                  <a:pt x="2957" y="1525"/>
                </a:lnTo>
                <a:lnTo>
                  <a:pt x="3002" y="1563"/>
                </a:lnTo>
                <a:lnTo>
                  <a:pt x="3053" y="1605"/>
                </a:lnTo>
                <a:lnTo>
                  <a:pt x="3176" y="1702"/>
                </a:lnTo>
                <a:lnTo>
                  <a:pt x="3319" y="1812"/>
                </a:lnTo>
                <a:lnTo>
                  <a:pt x="3474" y="1930"/>
                </a:lnTo>
                <a:lnTo>
                  <a:pt x="3636" y="2053"/>
                </a:lnTo>
                <a:lnTo>
                  <a:pt x="3716" y="2116"/>
                </a:lnTo>
                <a:lnTo>
                  <a:pt x="3796" y="2178"/>
                </a:lnTo>
                <a:lnTo>
                  <a:pt x="3874" y="2239"/>
                </a:lnTo>
                <a:lnTo>
                  <a:pt x="3949" y="2300"/>
                </a:lnTo>
                <a:lnTo>
                  <a:pt x="4020" y="2360"/>
                </a:lnTo>
                <a:lnTo>
                  <a:pt x="4088" y="2417"/>
                </a:lnTo>
                <a:lnTo>
                  <a:pt x="4149" y="2472"/>
                </a:lnTo>
                <a:lnTo>
                  <a:pt x="4205" y="2524"/>
                </a:lnTo>
                <a:lnTo>
                  <a:pt x="4253" y="2574"/>
                </a:lnTo>
                <a:lnTo>
                  <a:pt x="4294" y="2620"/>
                </a:lnTo>
                <a:lnTo>
                  <a:pt x="4326" y="2661"/>
                </a:lnTo>
                <a:lnTo>
                  <a:pt x="4349" y="2698"/>
                </a:lnTo>
                <a:lnTo>
                  <a:pt x="4360" y="2729"/>
                </a:lnTo>
                <a:lnTo>
                  <a:pt x="4362" y="2756"/>
                </a:lnTo>
                <a:lnTo>
                  <a:pt x="4350" y="2776"/>
                </a:lnTo>
                <a:lnTo>
                  <a:pt x="4326" y="2790"/>
                </a:lnTo>
                <a:lnTo>
                  <a:pt x="4288" y="2797"/>
                </a:lnTo>
                <a:lnTo>
                  <a:pt x="4234" y="2797"/>
                </a:lnTo>
                <a:lnTo>
                  <a:pt x="4166" y="2789"/>
                </a:lnTo>
                <a:lnTo>
                  <a:pt x="4082" y="2773"/>
                </a:lnTo>
                <a:lnTo>
                  <a:pt x="3995" y="2756"/>
                </a:lnTo>
                <a:lnTo>
                  <a:pt x="3901" y="2737"/>
                </a:lnTo>
                <a:lnTo>
                  <a:pt x="3800" y="2715"/>
                </a:lnTo>
                <a:lnTo>
                  <a:pt x="3696" y="2695"/>
                </a:lnTo>
                <a:lnTo>
                  <a:pt x="3645" y="2686"/>
                </a:lnTo>
                <a:lnTo>
                  <a:pt x="3594" y="2680"/>
                </a:lnTo>
                <a:lnTo>
                  <a:pt x="3544" y="2675"/>
                </a:lnTo>
                <a:lnTo>
                  <a:pt x="3496" y="2672"/>
                </a:lnTo>
                <a:lnTo>
                  <a:pt x="3473" y="2672"/>
                </a:lnTo>
                <a:lnTo>
                  <a:pt x="3450" y="2672"/>
                </a:lnTo>
                <a:lnTo>
                  <a:pt x="3428" y="2673"/>
                </a:lnTo>
                <a:lnTo>
                  <a:pt x="3407" y="2675"/>
                </a:lnTo>
                <a:lnTo>
                  <a:pt x="3386" y="2677"/>
                </a:lnTo>
                <a:lnTo>
                  <a:pt x="3366" y="2681"/>
                </a:lnTo>
                <a:lnTo>
                  <a:pt x="3347" y="2685"/>
                </a:lnTo>
                <a:lnTo>
                  <a:pt x="3329" y="2691"/>
                </a:lnTo>
                <a:lnTo>
                  <a:pt x="3344" y="2696"/>
                </a:lnTo>
                <a:lnTo>
                  <a:pt x="3366" y="2701"/>
                </a:lnTo>
                <a:lnTo>
                  <a:pt x="3391" y="2706"/>
                </a:lnTo>
                <a:lnTo>
                  <a:pt x="3421" y="2713"/>
                </a:lnTo>
                <a:lnTo>
                  <a:pt x="3489" y="2724"/>
                </a:lnTo>
                <a:lnTo>
                  <a:pt x="3568" y="2736"/>
                </a:lnTo>
                <a:lnTo>
                  <a:pt x="3654" y="2748"/>
                </a:lnTo>
                <a:lnTo>
                  <a:pt x="3743" y="2761"/>
                </a:lnTo>
                <a:lnTo>
                  <a:pt x="3832" y="2774"/>
                </a:lnTo>
                <a:lnTo>
                  <a:pt x="3917" y="2787"/>
                </a:lnTo>
                <a:lnTo>
                  <a:pt x="3994" y="2799"/>
                </a:lnTo>
                <a:lnTo>
                  <a:pt x="4060" y="2812"/>
                </a:lnTo>
                <a:lnTo>
                  <a:pt x="4087" y="2818"/>
                </a:lnTo>
                <a:lnTo>
                  <a:pt x="4110" y="2825"/>
                </a:lnTo>
                <a:lnTo>
                  <a:pt x="4129" y="2831"/>
                </a:lnTo>
                <a:lnTo>
                  <a:pt x="4143" y="2838"/>
                </a:lnTo>
                <a:lnTo>
                  <a:pt x="4150" y="2844"/>
                </a:lnTo>
                <a:lnTo>
                  <a:pt x="4152" y="2850"/>
                </a:lnTo>
                <a:lnTo>
                  <a:pt x="4148" y="2857"/>
                </a:lnTo>
                <a:lnTo>
                  <a:pt x="4136" y="2863"/>
                </a:lnTo>
                <a:lnTo>
                  <a:pt x="4117" y="2869"/>
                </a:lnTo>
                <a:lnTo>
                  <a:pt x="4090" y="2876"/>
                </a:lnTo>
                <a:lnTo>
                  <a:pt x="4056" y="2881"/>
                </a:lnTo>
                <a:lnTo>
                  <a:pt x="4012" y="2887"/>
                </a:lnTo>
                <a:lnTo>
                  <a:pt x="3995" y="2888"/>
                </a:lnTo>
                <a:lnTo>
                  <a:pt x="3983" y="2890"/>
                </a:lnTo>
                <a:lnTo>
                  <a:pt x="3977" y="2892"/>
                </a:lnTo>
                <a:lnTo>
                  <a:pt x="3975" y="2894"/>
                </a:lnTo>
                <a:lnTo>
                  <a:pt x="3977" y="2896"/>
                </a:lnTo>
                <a:lnTo>
                  <a:pt x="3983" y="2897"/>
                </a:lnTo>
                <a:lnTo>
                  <a:pt x="3994" y="2900"/>
                </a:lnTo>
                <a:lnTo>
                  <a:pt x="4006" y="2902"/>
                </a:lnTo>
                <a:lnTo>
                  <a:pt x="4042" y="2908"/>
                </a:lnTo>
                <a:lnTo>
                  <a:pt x="4088" y="2914"/>
                </a:lnTo>
                <a:lnTo>
                  <a:pt x="4140" y="2922"/>
                </a:lnTo>
                <a:lnTo>
                  <a:pt x="4197" y="2929"/>
                </a:lnTo>
                <a:lnTo>
                  <a:pt x="4257" y="2939"/>
                </a:lnTo>
                <a:lnTo>
                  <a:pt x="4317" y="2951"/>
                </a:lnTo>
                <a:lnTo>
                  <a:pt x="4346" y="2957"/>
                </a:lnTo>
                <a:lnTo>
                  <a:pt x="4373" y="2964"/>
                </a:lnTo>
                <a:lnTo>
                  <a:pt x="4400" y="2970"/>
                </a:lnTo>
                <a:lnTo>
                  <a:pt x="4425" y="2978"/>
                </a:lnTo>
                <a:lnTo>
                  <a:pt x="4448" y="2986"/>
                </a:lnTo>
                <a:lnTo>
                  <a:pt x="4469" y="2994"/>
                </a:lnTo>
                <a:lnTo>
                  <a:pt x="4487" y="3003"/>
                </a:lnTo>
                <a:lnTo>
                  <a:pt x="4502" y="3013"/>
                </a:lnTo>
                <a:lnTo>
                  <a:pt x="4513" y="3023"/>
                </a:lnTo>
                <a:lnTo>
                  <a:pt x="4522" y="3034"/>
                </a:lnTo>
                <a:lnTo>
                  <a:pt x="4527" y="3045"/>
                </a:lnTo>
                <a:lnTo>
                  <a:pt x="4527" y="3056"/>
                </a:lnTo>
                <a:lnTo>
                  <a:pt x="4517" y="3050"/>
                </a:lnTo>
                <a:lnTo>
                  <a:pt x="4502" y="3045"/>
                </a:lnTo>
                <a:lnTo>
                  <a:pt x="4483" y="3041"/>
                </a:lnTo>
                <a:lnTo>
                  <a:pt x="4462" y="3037"/>
                </a:lnTo>
                <a:lnTo>
                  <a:pt x="4416" y="3031"/>
                </a:lnTo>
                <a:lnTo>
                  <a:pt x="4372" y="3026"/>
                </a:lnTo>
                <a:lnTo>
                  <a:pt x="4352" y="3023"/>
                </a:lnTo>
                <a:lnTo>
                  <a:pt x="4334" y="3021"/>
                </a:lnTo>
                <a:lnTo>
                  <a:pt x="4320" y="3017"/>
                </a:lnTo>
                <a:lnTo>
                  <a:pt x="4310" y="3013"/>
                </a:lnTo>
                <a:lnTo>
                  <a:pt x="4306" y="3011"/>
                </a:lnTo>
                <a:lnTo>
                  <a:pt x="4304" y="3009"/>
                </a:lnTo>
                <a:lnTo>
                  <a:pt x="4304" y="3007"/>
                </a:lnTo>
                <a:lnTo>
                  <a:pt x="4306" y="3004"/>
                </a:lnTo>
                <a:lnTo>
                  <a:pt x="4308" y="3000"/>
                </a:lnTo>
                <a:lnTo>
                  <a:pt x="4313" y="2998"/>
                </a:lnTo>
                <a:lnTo>
                  <a:pt x="4320" y="2994"/>
                </a:lnTo>
                <a:lnTo>
                  <a:pt x="4329" y="2990"/>
                </a:lnTo>
                <a:lnTo>
                  <a:pt x="4280" y="2993"/>
                </a:lnTo>
                <a:lnTo>
                  <a:pt x="4246" y="2997"/>
                </a:lnTo>
                <a:lnTo>
                  <a:pt x="4234" y="2999"/>
                </a:lnTo>
                <a:lnTo>
                  <a:pt x="4225" y="3002"/>
                </a:lnTo>
                <a:lnTo>
                  <a:pt x="4220" y="3003"/>
                </a:lnTo>
                <a:lnTo>
                  <a:pt x="4218" y="3007"/>
                </a:lnTo>
                <a:lnTo>
                  <a:pt x="4218" y="3009"/>
                </a:lnTo>
                <a:lnTo>
                  <a:pt x="4220" y="3012"/>
                </a:lnTo>
                <a:lnTo>
                  <a:pt x="4224" y="3014"/>
                </a:lnTo>
                <a:lnTo>
                  <a:pt x="4232" y="3018"/>
                </a:lnTo>
                <a:lnTo>
                  <a:pt x="4251" y="3025"/>
                </a:lnTo>
                <a:lnTo>
                  <a:pt x="4276" y="3031"/>
                </a:lnTo>
                <a:lnTo>
                  <a:pt x="4340" y="3045"/>
                </a:lnTo>
                <a:lnTo>
                  <a:pt x="4410" y="3059"/>
                </a:lnTo>
                <a:lnTo>
                  <a:pt x="4475" y="3070"/>
                </a:lnTo>
                <a:lnTo>
                  <a:pt x="4522" y="3079"/>
                </a:lnTo>
                <a:lnTo>
                  <a:pt x="4551" y="3106"/>
                </a:lnTo>
                <a:lnTo>
                  <a:pt x="4571" y="3126"/>
                </a:lnTo>
                <a:lnTo>
                  <a:pt x="4581" y="3143"/>
                </a:lnTo>
                <a:lnTo>
                  <a:pt x="4579" y="3154"/>
                </a:lnTo>
                <a:lnTo>
                  <a:pt x="4571" y="3162"/>
                </a:lnTo>
                <a:lnTo>
                  <a:pt x="4553" y="3165"/>
                </a:lnTo>
                <a:lnTo>
                  <a:pt x="4527" y="3165"/>
                </a:lnTo>
                <a:lnTo>
                  <a:pt x="4494" y="3160"/>
                </a:lnTo>
                <a:lnTo>
                  <a:pt x="4456" y="3152"/>
                </a:lnTo>
                <a:lnTo>
                  <a:pt x="4410" y="3142"/>
                </a:lnTo>
                <a:lnTo>
                  <a:pt x="4360" y="3129"/>
                </a:lnTo>
                <a:lnTo>
                  <a:pt x="4304" y="3112"/>
                </a:lnTo>
                <a:lnTo>
                  <a:pt x="4246" y="3095"/>
                </a:lnTo>
                <a:lnTo>
                  <a:pt x="4183" y="3074"/>
                </a:lnTo>
                <a:lnTo>
                  <a:pt x="4118" y="3053"/>
                </a:lnTo>
                <a:lnTo>
                  <a:pt x="4050" y="3031"/>
                </a:lnTo>
                <a:lnTo>
                  <a:pt x="3911" y="2981"/>
                </a:lnTo>
                <a:lnTo>
                  <a:pt x="3770" y="2932"/>
                </a:lnTo>
                <a:lnTo>
                  <a:pt x="3632" y="2881"/>
                </a:lnTo>
                <a:lnTo>
                  <a:pt x="3502" y="2832"/>
                </a:lnTo>
                <a:lnTo>
                  <a:pt x="3386" y="2790"/>
                </a:lnTo>
                <a:lnTo>
                  <a:pt x="3287" y="2754"/>
                </a:lnTo>
                <a:lnTo>
                  <a:pt x="3212" y="2727"/>
                </a:lnTo>
                <a:lnTo>
                  <a:pt x="3163" y="2712"/>
                </a:lnTo>
                <a:lnTo>
                  <a:pt x="3116" y="2696"/>
                </a:lnTo>
                <a:lnTo>
                  <a:pt x="3095" y="2687"/>
                </a:lnTo>
                <a:lnTo>
                  <a:pt x="3093" y="2686"/>
                </a:lnTo>
                <a:lnTo>
                  <a:pt x="3092" y="2685"/>
                </a:lnTo>
                <a:lnTo>
                  <a:pt x="3093" y="2684"/>
                </a:lnTo>
                <a:lnTo>
                  <a:pt x="3095" y="2684"/>
                </a:lnTo>
                <a:lnTo>
                  <a:pt x="3101" y="2684"/>
                </a:lnTo>
                <a:lnTo>
                  <a:pt x="3110" y="2684"/>
                </a:lnTo>
                <a:lnTo>
                  <a:pt x="3137" y="2686"/>
                </a:lnTo>
                <a:lnTo>
                  <a:pt x="3168" y="2690"/>
                </a:lnTo>
                <a:lnTo>
                  <a:pt x="3186" y="2690"/>
                </a:lnTo>
                <a:lnTo>
                  <a:pt x="3203" y="2691"/>
                </a:lnTo>
                <a:lnTo>
                  <a:pt x="3218" y="2691"/>
                </a:lnTo>
                <a:lnTo>
                  <a:pt x="3232" y="2690"/>
                </a:lnTo>
                <a:lnTo>
                  <a:pt x="3221" y="2682"/>
                </a:lnTo>
                <a:lnTo>
                  <a:pt x="3208" y="2676"/>
                </a:lnTo>
                <a:lnTo>
                  <a:pt x="3195" y="2670"/>
                </a:lnTo>
                <a:lnTo>
                  <a:pt x="3182" y="2664"/>
                </a:lnTo>
                <a:lnTo>
                  <a:pt x="3157" y="2656"/>
                </a:lnTo>
                <a:lnTo>
                  <a:pt x="3130" y="2649"/>
                </a:lnTo>
                <a:lnTo>
                  <a:pt x="3102" y="2644"/>
                </a:lnTo>
                <a:lnTo>
                  <a:pt x="3074" y="2642"/>
                </a:lnTo>
                <a:lnTo>
                  <a:pt x="3046" y="2639"/>
                </a:lnTo>
                <a:lnTo>
                  <a:pt x="3017" y="2638"/>
                </a:lnTo>
                <a:lnTo>
                  <a:pt x="2958" y="2638"/>
                </a:lnTo>
                <a:lnTo>
                  <a:pt x="2898" y="2636"/>
                </a:lnTo>
                <a:lnTo>
                  <a:pt x="2868" y="2635"/>
                </a:lnTo>
                <a:lnTo>
                  <a:pt x="2839" y="2633"/>
                </a:lnTo>
                <a:lnTo>
                  <a:pt x="2808" y="2629"/>
                </a:lnTo>
                <a:lnTo>
                  <a:pt x="2779" y="2622"/>
                </a:lnTo>
                <a:lnTo>
                  <a:pt x="2756" y="2622"/>
                </a:lnTo>
                <a:lnTo>
                  <a:pt x="2741" y="2622"/>
                </a:lnTo>
                <a:lnTo>
                  <a:pt x="2732" y="2624"/>
                </a:lnTo>
                <a:lnTo>
                  <a:pt x="2729" y="2628"/>
                </a:lnTo>
                <a:lnTo>
                  <a:pt x="2733" y="2631"/>
                </a:lnTo>
                <a:lnTo>
                  <a:pt x="2743" y="2636"/>
                </a:lnTo>
                <a:lnTo>
                  <a:pt x="2757" y="2642"/>
                </a:lnTo>
                <a:lnTo>
                  <a:pt x="2776" y="2649"/>
                </a:lnTo>
                <a:lnTo>
                  <a:pt x="2827" y="2666"/>
                </a:lnTo>
                <a:lnTo>
                  <a:pt x="2891" y="2685"/>
                </a:lnTo>
                <a:lnTo>
                  <a:pt x="2966" y="2706"/>
                </a:lnTo>
                <a:lnTo>
                  <a:pt x="3047" y="2731"/>
                </a:lnTo>
                <a:lnTo>
                  <a:pt x="3133" y="2756"/>
                </a:lnTo>
                <a:lnTo>
                  <a:pt x="3218" y="2782"/>
                </a:lnTo>
                <a:lnTo>
                  <a:pt x="3300" y="2808"/>
                </a:lnTo>
                <a:lnTo>
                  <a:pt x="3376" y="2835"/>
                </a:lnTo>
                <a:lnTo>
                  <a:pt x="3409" y="2848"/>
                </a:lnTo>
                <a:lnTo>
                  <a:pt x="3441" y="2860"/>
                </a:lnTo>
                <a:lnTo>
                  <a:pt x="3469" y="2873"/>
                </a:lnTo>
                <a:lnTo>
                  <a:pt x="3493" y="2886"/>
                </a:lnTo>
                <a:lnTo>
                  <a:pt x="3514" y="2897"/>
                </a:lnTo>
                <a:lnTo>
                  <a:pt x="3529" y="2909"/>
                </a:lnTo>
                <a:lnTo>
                  <a:pt x="3539" y="2919"/>
                </a:lnTo>
                <a:lnTo>
                  <a:pt x="3544" y="2929"/>
                </a:lnTo>
                <a:lnTo>
                  <a:pt x="3559" y="2944"/>
                </a:lnTo>
                <a:lnTo>
                  <a:pt x="3567" y="2956"/>
                </a:lnTo>
                <a:lnTo>
                  <a:pt x="3568" y="2964"/>
                </a:lnTo>
                <a:lnTo>
                  <a:pt x="3562" y="2969"/>
                </a:lnTo>
                <a:lnTo>
                  <a:pt x="3551" y="2970"/>
                </a:lnTo>
                <a:lnTo>
                  <a:pt x="3534" y="2969"/>
                </a:lnTo>
                <a:lnTo>
                  <a:pt x="3512" y="2965"/>
                </a:lnTo>
                <a:lnTo>
                  <a:pt x="3484" y="2958"/>
                </a:lnTo>
                <a:lnTo>
                  <a:pt x="3452" y="2950"/>
                </a:lnTo>
                <a:lnTo>
                  <a:pt x="3417" y="2939"/>
                </a:lnTo>
                <a:lnTo>
                  <a:pt x="3379" y="2927"/>
                </a:lnTo>
                <a:lnTo>
                  <a:pt x="3335" y="2913"/>
                </a:lnTo>
                <a:lnTo>
                  <a:pt x="3242" y="2881"/>
                </a:lnTo>
                <a:lnTo>
                  <a:pt x="3140" y="2845"/>
                </a:lnTo>
                <a:lnTo>
                  <a:pt x="3035" y="2807"/>
                </a:lnTo>
                <a:lnTo>
                  <a:pt x="2926" y="2768"/>
                </a:lnTo>
                <a:lnTo>
                  <a:pt x="2821" y="2729"/>
                </a:lnTo>
                <a:lnTo>
                  <a:pt x="2719" y="2694"/>
                </a:lnTo>
                <a:lnTo>
                  <a:pt x="2625" y="2663"/>
                </a:lnTo>
                <a:lnTo>
                  <a:pt x="2543" y="2638"/>
                </a:lnTo>
                <a:lnTo>
                  <a:pt x="2506" y="2628"/>
                </a:lnTo>
                <a:lnTo>
                  <a:pt x="2474" y="2620"/>
                </a:lnTo>
                <a:lnTo>
                  <a:pt x="2446" y="2613"/>
                </a:lnTo>
                <a:lnTo>
                  <a:pt x="2423" y="2611"/>
                </a:lnTo>
                <a:lnTo>
                  <a:pt x="2413" y="2607"/>
                </a:lnTo>
                <a:lnTo>
                  <a:pt x="2401" y="2602"/>
                </a:lnTo>
                <a:lnTo>
                  <a:pt x="2385" y="2594"/>
                </a:lnTo>
                <a:lnTo>
                  <a:pt x="2367" y="2585"/>
                </a:lnTo>
                <a:lnTo>
                  <a:pt x="2329" y="2563"/>
                </a:lnTo>
                <a:lnTo>
                  <a:pt x="2286" y="2537"/>
                </a:lnTo>
                <a:lnTo>
                  <a:pt x="2189" y="2479"/>
                </a:lnTo>
                <a:lnTo>
                  <a:pt x="2094" y="2423"/>
                </a:lnTo>
                <a:lnTo>
                  <a:pt x="2071" y="2410"/>
                </a:lnTo>
                <a:lnTo>
                  <a:pt x="2050" y="2400"/>
                </a:lnTo>
                <a:lnTo>
                  <a:pt x="2030" y="2389"/>
                </a:lnTo>
                <a:lnTo>
                  <a:pt x="2011" y="2382"/>
                </a:lnTo>
                <a:lnTo>
                  <a:pt x="1994" y="2375"/>
                </a:lnTo>
                <a:lnTo>
                  <a:pt x="1979" y="2372"/>
                </a:lnTo>
                <a:lnTo>
                  <a:pt x="1966" y="2369"/>
                </a:lnTo>
                <a:lnTo>
                  <a:pt x="1955" y="2369"/>
                </a:lnTo>
                <a:lnTo>
                  <a:pt x="1947" y="2372"/>
                </a:lnTo>
                <a:lnTo>
                  <a:pt x="1941" y="2378"/>
                </a:lnTo>
                <a:lnTo>
                  <a:pt x="1938" y="2386"/>
                </a:lnTo>
                <a:lnTo>
                  <a:pt x="1940" y="2397"/>
                </a:lnTo>
                <a:lnTo>
                  <a:pt x="1943" y="2412"/>
                </a:lnTo>
                <a:lnTo>
                  <a:pt x="1950" y="2430"/>
                </a:lnTo>
                <a:lnTo>
                  <a:pt x="1961" y="2453"/>
                </a:lnTo>
                <a:lnTo>
                  <a:pt x="1976" y="2479"/>
                </a:lnTo>
                <a:lnTo>
                  <a:pt x="1988" y="2481"/>
                </a:lnTo>
                <a:lnTo>
                  <a:pt x="1998" y="2484"/>
                </a:lnTo>
                <a:lnTo>
                  <a:pt x="2010" y="2487"/>
                </a:lnTo>
                <a:lnTo>
                  <a:pt x="2020" y="2491"/>
                </a:lnTo>
                <a:lnTo>
                  <a:pt x="2039" y="2500"/>
                </a:lnTo>
                <a:lnTo>
                  <a:pt x="2057" y="2512"/>
                </a:lnTo>
                <a:lnTo>
                  <a:pt x="2075" y="2524"/>
                </a:lnTo>
                <a:lnTo>
                  <a:pt x="2092" y="2537"/>
                </a:lnTo>
                <a:lnTo>
                  <a:pt x="2109" y="2551"/>
                </a:lnTo>
                <a:lnTo>
                  <a:pt x="2125" y="2565"/>
                </a:lnTo>
                <a:lnTo>
                  <a:pt x="2143" y="2579"/>
                </a:lnTo>
                <a:lnTo>
                  <a:pt x="2160" y="2592"/>
                </a:lnTo>
                <a:lnTo>
                  <a:pt x="2178" y="2605"/>
                </a:lnTo>
                <a:lnTo>
                  <a:pt x="2197" y="2616"/>
                </a:lnTo>
                <a:lnTo>
                  <a:pt x="2216" y="2625"/>
                </a:lnTo>
                <a:lnTo>
                  <a:pt x="2236" y="2633"/>
                </a:lnTo>
                <a:lnTo>
                  <a:pt x="2248" y="2636"/>
                </a:lnTo>
                <a:lnTo>
                  <a:pt x="2258" y="2639"/>
                </a:lnTo>
                <a:lnTo>
                  <a:pt x="2271" y="2640"/>
                </a:lnTo>
                <a:lnTo>
                  <a:pt x="2282" y="2642"/>
                </a:lnTo>
                <a:lnTo>
                  <a:pt x="2277" y="2645"/>
                </a:lnTo>
                <a:lnTo>
                  <a:pt x="2271" y="2649"/>
                </a:lnTo>
                <a:lnTo>
                  <a:pt x="2260" y="2652"/>
                </a:lnTo>
                <a:lnTo>
                  <a:pt x="2250" y="2656"/>
                </a:lnTo>
                <a:lnTo>
                  <a:pt x="2227" y="2659"/>
                </a:lnTo>
                <a:lnTo>
                  <a:pt x="2207" y="2662"/>
                </a:lnTo>
                <a:lnTo>
                  <a:pt x="2198" y="2664"/>
                </a:lnTo>
                <a:lnTo>
                  <a:pt x="2192" y="2666"/>
                </a:lnTo>
                <a:lnTo>
                  <a:pt x="2188" y="2667"/>
                </a:lnTo>
                <a:lnTo>
                  <a:pt x="2188" y="2670"/>
                </a:lnTo>
                <a:lnTo>
                  <a:pt x="2192" y="2671"/>
                </a:lnTo>
                <a:lnTo>
                  <a:pt x="2199" y="2673"/>
                </a:lnTo>
                <a:lnTo>
                  <a:pt x="2213" y="2677"/>
                </a:lnTo>
                <a:lnTo>
                  <a:pt x="2231" y="2680"/>
                </a:lnTo>
                <a:lnTo>
                  <a:pt x="2252" y="2680"/>
                </a:lnTo>
                <a:lnTo>
                  <a:pt x="2269" y="2681"/>
                </a:lnTo>
                <a:lnTo>
                  <a:pt x="2285" y="2682"/>
                </a:lnTo>
                <a:lnTo>
                  <a:pt x="2297" y="2684"/>
                </a:lnTo>
                <a:lnTo>
                  <a:pt x="2308" y="2686"/>
                </a:lnTo>
                <a:lnTo>
                  <a:pt x="2316" y="2689"/>
                </a:lnTo>
                <a:lnTo>
                  <a:pt x="2323" y="2692"/>
                </a:lnTo>
                <a:lnTo>
                  <a:pt x="2328" y="2696"/>
                </a:lnTo>
                <a:lnTo>
                  <a:pt x="2332" y="2700"/>
                </a:lnTo>
                <a:lnTo>
                  <a:pt x="2334" y="2705"/>
                </a:lnTo>
                <a:lnTo>
                  <a:pt x="2336" y="2709"/>
                </a:lnTo>
                <a:lnTo>
                  <a:pt x="2336" y="2714"/>
                </a:lnTo>
                <a:lnTo>
                  <a:pt x="2336" y="2726"/>
                </a:lnTo>
                <a:lnTo>
                  <a:pt x="2333" y="2737"/>
                </a:lnTo>
                <a:lnTo>
                  <a:pt x="2332" y="2748"/>
                </a:lnTo>
                <a:lnTo>
                  <a:pt x="2333" y="2760"/>
                </a:lnTo>
                <a:lnTo>
                  <a:pt x="2334" y="2765"/>
                </a:lnTo>
                <a:lnTo>
                  <a:pt x="2337" y="2770"/>
                </a:lnTo>
                <a:lnTo>
                  <a:pt x="2341" y="2775"/>
                </a:lnTo>
                <a:lnTo>
                  <a:pt x="2347" y="2780"/>
                </a:lnTo>
                <a:lnTo>
                  <a:pt x="2353" y="2785"/>
                </a:lnTo>
                <a:lnTo>
                  <a:pt x="2362" y="2789"/>
                </a:lnTo>
                <a:lnTo>
                  <a:pt x="2374" y="2793"/>
                </a:lnTo>
                <a:lnTo>
                  <a:pt x="2387" y="2797"/>
                </a:lnTo>
                <a:lnTo>
                  <a:pt x="2403" y="2801"/>
                </a:lnTo>
                <a:lnTo>
                  <a:pt x="2421" y="2803"/>
                </a:lnTo>
                <a:lnTo>
                  <a:pt x="2443" y="2804"/>
                </a:lnTo>
                <a:lnTo>
                  <a:pt x="2467" y="2806"/>
                </a:lnTo>
                <a:lnTo>
                  <a:pt x="2472" y="2804"/>
                </a:lnTo>
                <a:lnTo>
                  <a:pt x="2474" y="2802"/>
                </a:lnTo>
                <a:lnTo>
                  <a:pt x="2473" y="2798"/>
                </a:lnTo>
                <a:lnTo>
                  <a:pt x="2472" y="2793"/>
                </a:lnTo>
                <a:lnTo>
                  <a:pt x="2463" y="2783"/>
                </a:lnTo>
                <a:lnTo>
                  <a:pt x="2450" y="2770"/>
                </a:lnTo>
                <a:lnTo>
                  <a:pt x="2436" y="2757"/>
                </a:lnTo>
                <a:lnTo>
                  <a:pt x="2425" y="2745"/>
                </a:lnTo>
                <a:lnTo>
                  <a:pt x="2420" y="2738"/>
                </a:lnTo>
                <a:lnTo>
                  <a:pt x="2416" y="2733"/>
                </a:lnTo>
                <a:lnTo>
                  <a:pt x="2413" y="2729"/>
                </a:lnTo>
                <a:lnTo>
                  <a:pt x="2413" y="2726"/>
                </a:lnTo>
                <a:lnTo>
                  <a:pt x="2421" y="2729"/>
                </a:lnTo>
                <a:lnTo>
                  <a:pt x="2431" y="2736"/>
                </a:lnTo>
                <a:lnTo>
                  <a:pt x="2446" y="2742"/>
                </a:lnTo>
                <a:lnTo>
                  <a:pt x="2463" y="2750"/>
                </a:lnTo>
                <a:lnTo>
                  <a:pt x="2502" y="2766"/>
                </a:lnTo>
                <a:lnTo>
                  <a:pt x="2547" y="2783"/>
                </a:lnTo>
                <a:lnTo>
                  <a:pt x="2589" y="2798"/>
                </a:lnTo>
                <a:lnTo>
                  <a:pt x="2625" y="2811"/>
                </a:lnTo>
                <a:lnTo>
                  <a:pt x="2649" y="2820"/>
                </a:lnTo>
                <a:lnTo>
                  <a:pt x="2657" y="2825"/>
                </a:lnTo>
                <a:lnTo>
                  <a:pt x="2636" y="2829"/>
                </a:lnTo>
                <a:lnTo>
                  <a:pt x="2618" y="2830"/>
                </a:lnTo>
                <a:lnTo>
                  <a:pt x="2614" y="2831"/>
                </a:lnTo>
                <a:lnTo>
                  <a:pt x="2612" y="2832"/>
                </a:lnTo>
                <a:lnTo>
                  <a:pt x="2611" y="2835"/>
                </a:lnTo>
                <a:lnTo>
                  <a:pt x="2611" y="2838"/>
                </a:lnTo>
                <a:lnTo>
                  <a:pt x="2612" y="2841"/>
                </a:lnTo>
                <a:lnTo>
                  <a:pt x="2614" y="2845"/>
                </a:lnTo>
                <a:lnTo>
                  <a:pt x="2618" y="2850"/>
                </a:lnTo>
                <a:lnTo>
                  <a:pt x="2625" y="2857"/>
                </a:lnTo>
                <a:lnTo>
                  <a:pt x="2628" y="2860"/>
                </a:lnTo>
                <a:lnTo>
                  <a:pt x="2631" y="2863"/>
                </a:lnTo>
                <a:lnTo>
                  <a:pt x="2635" y="2866"/>
                </a:lnTo>
                <a:lnTo>
                  <a:pt x="2639" y="2867"/>
                </a:lnTo>
                <a:lnTo>
                  <a:pt x="2646" y="2867"/>
                </a:lnTo>
                <a:lnTo>
                  <a:pt x="2654" y="2866"/>
                </a:lnTo>
                <a:lnTo>
                  <a:pt x="2669" y="2858"/>
                </a:lnTo>
                <a:lnTo>
                  <a:pt x="2685" y="2849"/>
                </a:lnTo>
                <a:lnTo>
                  <a:pt x="2692" y="2845"/>
                </a:lnTo>
                <a:lnTo>
                  <a:pt x="2700" y="2843"/>
                </a:lnTo>
                <a:lnTo>
                  <a:pt x="2706" y="2841"/>
                </a:lnTo>
                <a:lnTo>
                  <a:pt x="2714" y="2843"/>
                </a:lnTo>
                <a:lnTo>
                  <a:pt x="2718" y="2844"/>
                </a:lnTo>
                <a:lnTo>
                  <a:pt x="2720" y="2846"/>
                </a:lnTo>
                <a:lnTo>
                  <a:pt x="2724" y="2850"/>
                </a:lnTo>
                <a:lnTo>
                  <a:pt x="2727" y="2854"/>
                </a:lnTo>
                <a:lnTo>
                  <a:pt x="2733" y="2866"/>
                </a:lnTo>
                <a:lnTo>
                  <a:pt x="2739" y="2882"/>
                </a:lnTo>
                <a:lnTo>
                  <a:pt x="2738" y="2886"/>
                </a:lnTo>
                <a:lnTo>
                  <a:pt x="2739" y="2890"/>
                </a:lnTo>
                <a:lnTo>
                  <a:pt x="2743" y="2894"/>
                </a:lnTo>
                <a:lnTo>
                  <a:pt x="2751" y="2899"/>
                </a:lnTo>
                <a:lnTo>
                  <a:pt x="2771" y="2909"/>
                </a:lnTo>
                <a:lnTo>
                  <a:pt x="2799" y="2920"/>
                </a:lnTo>
                <a:lnTo>
                  <a:pt x="2870" y="2944"/>
                </a:lnTo>
                <a:lnTo>
                  <a:pt x="2946" y="2969"/>
                </a:lnTo>
                <a:lnTo>
                  <a:pt x="2980" y="2980"/>
                </a:lnTo>
                <a:lnTo>
                  <a:pt x="3008" y="2992"/>
                </a:lnTo>
                <a:lnTo>
                  <a:pt x="3021" y="2997"/>
                </a:lnTo>
                <a:lnTo>
                  <a:pt x="3030" y="3002"/>
                </a:lnTo>
                <a:lnTo>
                  <a:pt x="3037" y="3006"/>
                </a:lnTo>
                <a:lnTo>
                  <a:pt x="3042" y="3011"/>
                </a:lnTo>
                <a:lnTo>
                  <a:pt x="3045" y="3014"/>
                </a:lnTo>
                <a:lnTo>
                  <a:pt x="3044" y="3017"/>
                </a:lnTo>
                <a:lnTo>
                  <a:pt x="3039" y="3021"/>
                </a:lnTo>
                <a:lnTo>
                  <a:pt x="3031" y="3023"/>
                </a:lnTo>
                <a:lnTo>
                  <a:pt x="3018" y="3025"/>
                </a:lnTo>
                <a:lnTo>
                  <a:pt x="3002" y="3026"/>
                </a:lnTo>
                <a:lnTo>
                  <a:pt x="2981" y="3027"/>
                </a:lnTo>
                <a:lnTo>
                  <a:pt x="2956" y="3027"/>
                </a:lnTo>
                <a:lnTo>
                  <a:pt x="2934" y="3025"/>
                </a:lnTo>
                <a:lnTo>
                  <a:pt x="2921" y="3022"/>
                </a:lnTo>
                <a:lnTo>
                  <a:pt x="2919" y="3020"/>
                </a:lnTo>
                <a:lnTo>
                  <a:pt x="2919" y="3018"/>
                </a:lnTo>
                <a:lnTo>
                  <a:pt x="2920" y="3017"/>
                </a:lnTo>
                <a:lnTo>
                  <a:pt x="2923" y="3016"/>
                </a:lnTo>
                <a:lnTo>
                  <a:pt x="2933" y="3013"/>
                </a:lnTo>
                <a:lnTo>
                  <a:pt x="2948" y="3012"/>
                </a:lnTo>
                <a:lnTo>
                  <a:pt x="2967" y="3011"/>
                </a:lnTo>
                <a:lnTo>
                  <a:pt x="2988" y="3012"/>
                </a:lnTo>
                <a:lnTo>
                  <a:pt x="2971" y="3012"/>
                </a:lnTo>
                <a:lnTo>
                  <a:pt x="2956" y="3009"/>
                </a:lnTo>
                <a:lnTo>
                  <a:pt x="2942" y="3006"/>
                </a:lnTo>
                <a:lnTo>
                  <a:pt x="2926" y="2999"/>
                </a:lnTo>
                <a:lnTo>
                  <a:pt x="2898" y="2985"/>
                </a:lnTo>
                <a:lnTo>
                  <a:pt x="2872" y="2969"/>
                </a:lnTo>
                <a:lnTo>
                  <a:pt x="2846" y="2952"/>
                </a:lnTo>
                <a:lnTo>
                  <a:pt x="2822" y="2941"/>
                </a:lnTo>
                <a:lnTo>
                  <a:pt x="2811" y="2937"/>
                </a:lnTo>
                <a:lnTo>
                  <a:pt x="2800" y="2934"/>
                </a:lnTo>
                <a:lnTo>
                  <a:pt x="2795" y="2934"/>
                </a:lnTo>
                <a:lnTo>
                  <a:pt x="2790" y="2936"/>
                </a:lnTo>
                <a:lnTo>
                  <a:pt x="2785" y="2937"/>
                </a:lnTo>
                <a:lnTo>
                  <a:pt x="2780" y="2939"/>
                </a:lnTo>
                <a:lnTo>
                  <a:pt x="2783" y="2947"/>
                </a:lnTo>
                <a:lnTo>
                  <a:pt x="2784" y="2953"/>
                </a:lnTo>
                <a:lnTo>
                  <a:pt x="2784" y="2961"/>
                </a:lnTo>
                <a:lnTo>
                  <a:pt x="2784" y="2966"/>
                </a:lnTo>
                <a:lnTo>
                  <a:pt x="2783" y="2972"/>
                </a:lnTo>
                <a:lnTo>
                  <a:pt x="2781" y="2978"/>
                </a:lnTo>
                <a:lnTo>
                  <a:pt x="2780" y="2983"/>
                </a:lnTo>
                <a:lnTo>
                  <a:pt x="2776" y="2986"/>
                </a:lnTo>
                <a:lnTo>
                  <a:pt x="2774" y="2990"/>
                </a:lnTo>
                <a:lnTo>
                  <a:pt x="2770" y="2994"/>
                </a:lnTo>
                <a:lnTo>
                  <a:pt x="2765" y="2997"/>
                </a:lnTo>
                <a:lnTo>
                  <a:pt x="2760" y="3000"/>
                </a:lnTo>
                <a:lnTo>
                  <a:pt x="2748" y="3004"/>
                </a:lnTo>
                <a:lnTo>
                  <a:pt x="2735" y="3007"/>
                </a:lnTo>
                <a:lnTo>
                  <a:pt x="2721" y="3008"/>
                </a:lnTo>
                <a:lnTo>
                  <a:pt x="2705" y="3009"/>
                </a:lnTo>
                <a:lnTo>
                  <a:pt x="2688" y="3008"/>
                </a:lnTo>
                <a:lnTo>
                  <a:pt x="2671" y="3006"/>
                </a:lnTo>
                <a:lnTo>
                  <a:pt x="2653" y="3003"/>
                </a:lnTo>
                <a:lnTo>
                  <a:pt x="2634" y="2999"/>
                </a:lnTo>
                <a:lnTo>
                  <a:pt x="2614" y="2994"/>
                </a:lnTo>
                <a:lnTo>
                  <a:pt x="2597" y="2989"/>
                </a:lnTo>
                <a:lnTo>
                  <a:pt x="2592" y="2984"/>
                </a:lnTo>
                <a:lnTo>
                  <a:pt x="2586" y="2976"/>
                </a:lnTo>
                <a:lnTo>
                  <a:pt x="2580" y="2970"/>
                </a:lnTo>
                <a:lnTo>
                  <a:pt x="2572" y="2964"/>
                </a:lnTo>
                <a:lnTo>
                  <a:pt x="2565" y="2957"/>
                </a:lnTo>
                <a:lnTo>
                  <a:pt x="2556" y="2952"/>
                </a:lnTo>
                <a:lnTo>
                  <a:pt x="2547" y="2947"/>
                </a:lnTo>
                <a:lnTo>
                  <a:pt x="2537" y="2942"/>
                </a:lnTo>
                <a:lnTo>
                  <a:pt x="2528" y="2938"/>
                </a:lnTo>
                <a:lnTo>
                  <a:pt x="2518" y="2936"/>
                </a:lnTo>
                <a:lnTo>
                  <a:pt x="2509" y="2934"/>
                </a:lnTo>
                <a:lnTo>
                  <a:pt x="2500" y="2933"/>
                </a:lnTo>
                <a:lnTo>
                  <a:pt x="2491" y="2934"/>
                </a:lnTo>
                <a:lnTo>
                  <a:pt x="2483" y="2938"/>
                </a:lnTo>
                <a:lnTo>
                  <a:pt x="2477" y="2942"/>
                </a:lnTo>
                <a:lnTo>
                  <a:pt x="2471" y="2950"/>
                </a:lnTo>
                <a:lnTo>
                  <a:pt x="2555" y="2992"/>
                </a:lnTo>
                <a:lnTo>
                  <a:pt x="2643" y="3034"/>
                </a:lnTo>
                <a:lnTo>
                  <a:pt x="2733" y="3076"/>
                </a:lnTo>
                <a:lnTo>
                  <a:pt x="2825" y="3115"/>
                </a:lnTo>
                <a:lnTo>
                  <a:pt x="2918" y="3156"/>
                </a:lnTo>
                <a:lnTo>
                  <a:pt x="3009" y="3195"/>
                </a:lnTo>
                <a:lnTo>
                  <a:pt x="3100" y="3235"/>
                </a:lnTo>
                <a:lnTo>
                  <a:pt x="3188" y="3274"/>
                </a:lnTo>
                <a:lnTo>
                  <a:pt x="3272" y="3314"/>
                </a:lnTo>
                <a:lnTo>
                  <a:pt x="3352" y="3353"/>
                </a:lnTo>
                <a:lnTo>
                  <a:pt x="3390" y="3373"/>
                </a:lnTo>
                <a:lnTo>
                  <a:pt x="3427" y="3393"/>
                </a:lnTo>
                <a:lnTo>
                  <a:pt x="3461" y="3413"/>
                </a:lnTo>
                <a:lnTo>
                  <a:pt x="3494" y="3433"/>
                </a:lnTo>
                <a:lnTo>
                  <a:pt x="3525" y="3454"/>
                </a:lnTo>
                <a:lnTo>
                  <a:pt x="3554" y="3474"/>
                </a:lnTo>
                <a:lnTo>
                  <a:pt x="3581" y="3494"/>
                </a:lnTo>
                <a:lnTo>
                  <a:pt x="3605" y="3515"/>
                </a:lnTo>
                <a:lnTo>
                  <a:pt x="3627" y="3535"/>
                </a:lnTo>
                <a:lnTo>
                  <a:pt x="3647" y="3557"/>
                </a:lnTo>
                <a:lnTo>
                  <a:pt x="3664" y="3578"/>
                </a:lnTo>
                <a:lnTo>
                  <a:pt x="3678" y="3600"/>
                </a:lnTo>
                <a:lnTo>
                  <a:pt x="3637" y="3582"/>
                </a:lnTo>
                <a:lnTo>
                  <a:pt x="3596" y="3567"/>
                </a:lnTo>
                <a:lnTo>
                  <a:pt x="3558" y="3554"/>
                </a:lnTo>
                <a:lnTo>
                  <a:pt x="3519" y="3543"/>
                </a:lnTo>
                <a:lnTo>
                  <a:pt x="3444" y="3522"/>
                </a:lnTo>
                <a:lnTo>
                  <a:pt x="3368" y="3503"/>
                </a:lnTo>
                <a:lnTo>
                  <a:pt x="3330" y="3492"/>
                </a:lnTo>
                <a:lnTo>
                  <a:pt x="3292" y="3479"/>
                </a:lnTo>
                <a:lnTo>
                  <a:pt x="3254" y="3465"/>
                </a:lnTo>
                <a:lnTo>
                  <a:pt x="3214" y="3449"/>
                </a:lnTo>
                <a:lnTo>
                  <a:pt x="3175" y="3428"/>
                </a:lnTo>
                <a:lnTo>
                  <a:pt x="3134" y="3407"/>
                </a:lnTo>
                <a:lnTo>
                  <a:pt x="3114" y="3394"/>
                </a:lnTo>
                <a:lnTo>
                  <a:pt x="3092" y="3380"/>
                </a:lnTo>
                <a:lnTo>
                  <a:pt x="3070" y="3365"/>
                </a:lnTo>
                <a:lnTo>
                  <a:pt x="3049" y="3349"/>
                </a:lnTo>
                <a:lnTo>
                  <a:pt x="3061" y="3352"/>
                </a:lnTo>
                <a:lnTo>
                  <a:pt x="3072" y="3352"/>
                </a:lnTo>
                <a:lnTo>
                  <a:pt x="3081" y="3352"/>
                </a:lnTo>
                <a:lnTo>
                  <a:pt x="3088" y="3349"/>
                </a:lnTo>
                <a:lnTo>
                  <a:pt x="3095" y="3347"/>
                </a:lnTo>
                <a:lnTo>
                  <a:pt x="3098" y="3343"/>
                </a:lnTo>
                <a:lnTo>
                  <a:pt x="3102" y="3338"/>
                </a:lnTo>
                <a:lnTo>
                  <a:pt x="3105" y="3333"/>
                </a:lnTo>
                <a:lnTo>
                  <a:pt x="3105" y="3326"/>
                </a:lnTo>
                <a:lnTo>
                  <a:pt x="3106" y="3320"/>
                </a:lnTo>
                <a:lnTo>
                  <a:pt x="3105" y="3312"/>
                </a:lnTo>
                <a:lnTo>
                  <a:pt x="3104" y="3305"/>
                </a:lnTo>
                <a:lnTo>
                  <a:pt x="3097" y="3289"/>
                </a:lnTo>
                <a:lnTo>
                  <a:pt x="3090" y="3274"/>
                </a:lnTo>
                <a:lnTo>
                  <a:pt x="3081" y="3260"/>
                </a:lnTo>
                <a:lnTo>
                  <a:pt x="3070" y="3249"/>
                </a:lnTo>
                <a:lnTo>
                  <a:pt x="3065" y="3244"/>
                </a:lnTo>
                <a:lnTo>
                  <a:pt x="3060" y="3240"/>
                </a:lnTo>
                <a:lnTo>
                  <a:pt x="3055" y="3237"/>
                </a:lnTo>
                <a:lnTo>
                  <a:pt x="3050" y="3236"/>
                </a:lnTo>
                <a:lnTo>
                  <a:pt x="3045" y="3236"/>
                </a:lnTo>
                <a:lnTo>
                  <a:pt x="3041" y="3237"/>
                </a:lnTo>
                <a:lnTo>
                  <a:pt x="3037" y="3240"/>
                </a:lnTo>
                <a:lnTo>
                  <a:pt x="3033" y="3244"/>
                </a:lnTo>
                <a:lnTo>
                  <a:pt x="3031" y="3250"/>
                </a:lnTo>
                <a:lnTo>
                  <a:pt x="3030" y="3258"/>
                </a:lnTo>
                <a:lnTo>
                  <a:pt x="3028" y="3268"/>
                </a:lnTo>
                <a:lnTo>
                  <a:pt x="3028" y="3279"/>
                </a:lnTo>
                <a:lnTo>
                  <a:pt x="3030" y="3286"/>
                </a:lnTo>
                <a:lnTo>
                  <a:pt x="3028" y="3292"/>
                </a:lnTo>
                <a:lnTo>
                  <a:pt x="3026" y="3296"/>
                </a:lnTo>
                <a:lnTo>
                  <a:pt x="3021" y="3300"/>
                </a:lnTo>
                <a:lnTo>
                  <a:pt x="3009" y="3305"/>
                </a:lnTo>
                <a:lnTo>
                  <a:pt x="2997" y="3309"/>
                </a:lnTo>
                <a:lnTo>
                  <a:pt x="2985" y="3311"/>
                </a:lnTo>
                <a:lnTo>
                  <a:pt x="2977" y="3314"/>
                </a:lnTo>
                <a:lnTo>
                  <a:pt x="2976" y="3315"/>
                </a:lnTo>
                <a:lnTo>
                  <a:pt x="2977" y="3317"/>
                </a:lnTo>
                <a:lnTo>
                  <a:pt x="2980" y="3321"/>
                </a:lnTo>
                <a:lnTo>
                  <a:pt x="2986" y="3324"/>
                </a:lnTo>
                <a:lnTo>
                  <a:pt x="3077" y="3393"/>
                </a:lnTo>
                <a:lnTo>
                  <a:pt x="3138" y="3440"/>
                </a:lnTo>
                <a:lnTo>
                  <a:pt x="3158" y="3456"/>
                </a:lnTo>
                <a:lnTo>
                  <a:pt x="3171" y="3468"/>
                </a:lnTo>
                <a:lnTo>
                  <a:pt x="3175" y="3473"/>
                </a:lnTo>
                <a:lnTo>
                  <a:pt x="3176" y="3475"/>
                </a:lnTo>
                <a:lnTo>
                  <a:pt x="3176" y="3478"/>
                </a:lnTo>
                <a:lnTo>
                  <a:pt x="3175" y="3479"/>
                </a:lnTo>
                <a:lnTo>
                  <a:pt x="3167" y="3478"/>
                </a:lnTo>
                <a:lnTo>
                  <a:pt x="3152" y="3473"/>
                </a:lnTo>
                <a:lnTo>
                  <a:pt x="3132" y="3464"/>
                </a:lnTo>
                <a:lnTo>
                  <a:pt x="3104" y="3451"/>
                </a:lnTo>
                <a:lnTo>
                  <a:pt x="3027" y="3415"/>
                </a:lnTo>
                <a:lnTo>
                  <a:pt x="2925" y="3368"/>
                </a:lnTo>
                <a:lnTo>
                  <a:pt x="2884" y="3343"/>
                </a:lnTo>
                <a:lnTo>
                  <a:pt x="2863" y="3329"/>
                </a:lnTo>
                <a:lnTo>
                  <a:pt x="2859" y="3325"/>
                </a:lnTo>
                <a:lnTo>
                  <a:pt x="2858" y="3324"/>
                </a:lnTo>
                <a:lnTo>
                  <a:pt x="2859" y="3323"/>
                </a:lnTo>
                <a:lnTo>
                  <a:pt x="2864" y="3324"/>
                </a:lnTo>
                <a:lnTo>
                  <a:pt x="2882" y="3328"/>
                </a:lnTo>
                <a:lnTo>
                  <a:pt x="2907" y="3330"/>
                </a:lnTo>
                <a:lnTo>
                  <a:pt x="2921" y="3331"/>
                </a:lnTo>
                <a:lnTo>
                  <a:pt x="2937" y="3331"/>
                </a:lnTo>
                <a:lnTo>
                  <a:pt x="2952" y="3330"/>
                </a:lnTo>
                <a:lnTo>
                  <a:pt x="2967" y="3328"/>
                </a:lnTo>
                <a:lnTo>
                  <a:pt x="2969" y="3325"/>
                </a:lnTo>
                <a:lnTo>
                  <a:pt x="2970" y="3323"/>
                </a:lnTo>
                <a:lnTo>
                  <a:pt x="2970" y="3320"/>
                </a:lnTo>
                <a:lnTo>
                  <a:pt x="2970" y="3317"/>
                </a:lnTo>
                <a:lnTo>
                  <a:pt x="2967" y="3311"/>
                </a:lnTo>
                <a:lnTo>
                  <a:pt x="2963" y="3303"/>
                </a:lnTo>
                <a:lnTo>
                  <a:pt x="2956" y="3297"/>
                </a:lnTo>
                <a:lnTo>
                  <a:pt x="2948" y="3291"/>
                </a:lnTo>
                <a:lnTo>
                  <a:pt x="2939" y="3284"/>
                </a:lnTo>
                <a:lnTo>
                  <a:pt x="2929" y="3278"/>
                </a:lnTo>
                <a:lnTo>
                  <a:pt x="2919" y="3273"/>
                </a:lnTo>
                <a:lnTo>
                  <a:pt x="2909" y="3268"/>
                </a:lnTo>
                <a:lnTo>
                  <a:pt x="2898" y="3265"/>
                </a:lnTo>
                <a:lnTo>
                  <a:pt x="2890" y="3263"/>
                </a:lnTo>
                <a:lnTo>
                  <a:pt x="2881" y="3261"/>
                </a:lnTo>
                <a:lnTo>
                  <a:pt x="2873" y="3263"/>
                </a:lnTo>
                <a:lnTo>
                  <a:pt x="2870" y="3264"/>
                </a:lnTo>
                <a:lnTo>
                  <a:pt x="2867" y="3265"/>
                </a:lnTo>
                <a:lnTo>
                  <a:pt x="2865" y="3268"/>
                </a:lnTo>
                <a:lnTo>
                  <a:pt x="2863" y="3270"/>
                </a:lnTo>
                <a:lnTo>
                  <a:pt x="2853" y="3274"/>
                </a:lnTo>
                <a:lnTo>
                  <a:pt x="2841" y="3278"/>
                </a:lnTo>
                <a:lnTo>
                  <a:pt x="2827" y="3279"/>
                </a:lnTo>
                <a:lnTo>
                  <a:pt x="2812" y="3281"/>
                </a:lnTo>
                <a:lnTo>
                  <a:pt x="2795" y="3281"/>
                </a:lnTo>
                <a:lnTo>
                  <a:pt x="2777" y="3281"/>
                </a:lnTo>
                <a:lnTo>
                  <a:pt x="2758" y="3279"/>
                </a:lnTo>
                <a:lnTo>
                  <a:pt x="2739" y="3277"/>
                </a:lnTo>
                <a:lnTo>
                  <a:pt x="2699" y="3272"/>
                </a:lnTo>
                <a:lnTo>
                  <a:pt x="2659" y="3265"/>
                </a:lnTo>
                <a:lnTo>
                  <a:pt x="2620" y="3258"/>
                </a:lnTo>
                <a:lnTo>
                  <a:pt x="2583" y="3250"/>
                </a:lnTo>
                <a:lnTo>
                  <a:pt x="2551" y="3245"/>
                </a:lnTo>
                <a:lnTo>
                  <a:pt x="2527" y="3240"/>
                </a:lnTo>
                <a:lnTo>
                  <a:pt x="2516" y="3239"/>
                </a:lnTo>
                <a:lnTo>
                  <a:pt x="2509" y="3237"/>
                </a:lnTo>
                <a:lnTo>
                  <a:pt x="2504" y="3237"/>
                </a:lnTo>
                <a:lnTo>
                  <a:pt x="2502" y="3239"/>
                </a:lnTo>
                <a:lnTo>
                  <a:pt x="2502" y="3240"/>
                </a:lnTo>
                <a:lnTo>
                  <a:pt x="2506" y="3244"/>
                </a:lnTo>
                <a:lnTo>
                  <a:pt x="2514" y="3247"/>
                </a:lnTo>
                <a:lnTo>
                  <a:pt x="2524" y="3253"/>
                </a:lnTo>
                <a:lnTo>
                  <a:pt x="2557" y="3268"/>
                </a:lnTo>
                <a:lnTo>
                  <a:pt x="2606" y="3288"/>
                </a:lnTo>
                <a:lnTo>
                  <a:pt x="2595" y="3295"/>
                </a:lnTo>
                <a:lnTo>
                  <a:pt x="2583" y="3300"/>
                </a:lnTo>
                <a:lnTo>
                  <a:pt x="2570" y="3301"/>
                </a:lnTo>
                <a:lnTo>
                  <a:pt x="2556" y="3301"/>
                </a:lnTo>
                <a:lnTo>
                  <a:pt x="2542" y="3298"/>
                </a:lnTo>
                <a:lnTo>
                  <a:pt x="2525" y="3295"/>
                </a:lnTo>
                <a:lnTo>
                  <a:pt x="2510" y="3289"/>
                </a:lnTo>
                <a:lnTo>
                  <a:pt x="2494" y="3282"/>
                </a:lnTo>
                <a:lnTo>
                  <a:pt x="2477" y="3274"/>
                </a:lnTo>
                <a:lnTo>
                  <a:pt x="2459" y="3265"/>
                </a:lnTo>
                <a:lnTo>
                  <a:pt x="2441" y="3255"/>
                </a:lnTo>
                <a:lnTo>
                  <a:pt x="2423" y="3244"/>
                </a:lnTo>
                <a:lnTo>
                  <a:pt x="2387" y="3221"/>
                </a:lnTo>
                <a:lnTo>
                  <a:pt x="2350" y="3196"/>
                </a:lnTo>
                <a:lnTo>
                  <a:pt x="2313" y="3172"/>
                </a:lnTo>
                <a:lnTo>
                  <a:pt x="2277" y="3149"/>
                </a:lnTo>
                <a:lnTo>
                  <a:pt x="2259" y="3139"/>
                </a:lnTo>
                <a:lnTo>
                  <a:pt x="2243" y="3130"/>
                </a:lnTo>
                <a:lnTo>
                  <a:pt x="2226" y="3121"/>
                </a:lnTo>
                <a:lnTo>
                  <a:pt x="2211" y="3114"/>
                </a:lnTo>
                <a:lnTo>
                  <a:pt x="2196" y="3109"/>
                </a:lnTo>
                <a:lnTo>
                  <a:pt x="2180" y="3104"/>
                </a:lnTo>
                <a:lnTo>
                  <a:pt x="2167" y="3101"/>
                </a:lnTo>
                <a:lnTo>
                  <a:pt x="2155" y="3100"/>
                </a:lnTo>
                <a:lnTo>
                  <a:pt x="2142" y="3101"/>
                </a:lnTo>
                <a:lnTo>
                  <a:pt x="2132" y="3104"/>
                </a:lnTo>
                <a:lnTo>
                  <a:pt x="2122" y="3109"/>
                </a:lnTo>
                <a:lnTo>
                  <a:pt x="2114" y="3116"/>
                </a:lnTo>
                <a:lnTo>
                  <a:pt x="2091" y="3105"/>
                </a:lnTo>
                <a:lnTo>
                  <a:pt x="2058" y="3090"/>
                </a:lnTo>
                <a:lnTo>
                  <a:pt x="2017" y="3070"/>
                </a:lnTo>
                <a:lnTo>
                  <a:pt x="1971" y="3050"/>
                </a:lnTo>
                <a:lnTo>
                  <a:pt x="1922" y="3028"/>
                </a:lnTo>
                <a:lnTo>
                  <a:pt x="1871" y="3008"/>
                </a:lnTo>
                <a:lnTo>
                  <a:pt x="1822" y="2989"/>
                </a:lnTo>
                <a:lnTo>
                  <a:pt x="1778" y="2971"/>
                </a:lnTo>
                <a:lnTo>
                  <a:pt x="1738" y="2958"/>
                </a:lnTo>
                <a:lnTo>
                  <a:pt x="1708" y="2950"/>
                </a:lnTo>
                <a:lnTo>
                  <a:pt x="1698" y="2947"/>
                </a:lnTo>
                <a:lnTo>
                  <a:pt x="1689" y="2946"/>
                </a:lnTo>
                <a:lnTo>
                  <a:pt x="1684" y="2946"/>
                </a:lnTo>
                <a:lnTo>
                  <a:pt x="1682" y="2948"/>
                </a:lnTo>
                <a:lnTo>
                  <a:pt x="1685" y="2953"/>
                </a:lnTo>
                <a:lnTo>
                  <a:pt x="1692" y="2960"/>
                </a:lnTo>
                <a:lnTo>
                  <a:pt x="1703" y="2967"/>
                </a:lnTo>
                <a:lnTo>
                  <a:pt x="1719" y="2979"/>
                </a:lnTo>
                <a:lnTo>
                  <a:pt x="1768" y="3008"/>
                </a:lnTo>
                <a:lnTo>
                  <a:pt x="1838" y="3048"/>
                </a:lnTo>
                <a:lnTo>
                  <a:pt x="1808" y="3042"/>
                </a:lnTo>
                <a:lnTo>
                  <a:pt x="1769" y="3032"/>
                </a:lnTo>
                <a:lnTo>
                  <a:pt x="1717" y="3017"/>
                </a:lnTo>
                <a:lnTo>
                  <a:pt x="1654" y="2998"/>
                </a:lnTo>
                <a:lnTo>
                  <a:pt x="1584" y="2975"/>
                </a:lnTo>
                <a:lnTo>
                  <a:pt x="1505" y="2948"/>
                </a:lnTo>
                <a:lnTo>
                  <a:pt x="1420" y="2919"/>
                </a:lnTo>
                <a:lnTo>
                  <a:pt x="1330" y="2886"/>
                </a:lnTo>
                <a:lnTo>
                  <a:pt x="1136" y="2816"/>
                </a:lnTo>
                <a:lnTo>
                  <a:pt x="933" y="2741"/>
                </a:lnTo>
                <a:lnTo>
                  <a:pt x="730" y="2666"/>
                </a:lnTo>
                <a:lnTo>
                  <a:pt x="535" y="2593"/>
                </a:lnTo>
                <a:lnTo>
                  <a:pt x="358" y="2528"/>
                </a:lnTo>
                <a:lnTo>
                  <a:pt x="208" y="2473"/>
                </a:lnTo>
                <a:lnTo>
                  <a:pt x="144" y="2451"/>
                </a:lnTo>
                <a:lnTo>
                  <a:pt x="92" y="2433"/>
                </a:lnTo>
                <a:lnTo>
                  <a:pt x="50" y="2419"/>
                </a:lnTo>
                <a:lnTo>
                  <a:pt x="19" y="2410"/>
                </a:lnTo>
                <a:lnTo>
                  <a:pt x="3" y="2406"/>
                </a:lnTo>
                <a:lnTo>
                  <a:pt x="0" y="2410"/>
                </a:lnTo>
                <a:lnTo>
                  <a:pt x="13" y="2419"/>
                </a:lnTo>
                <a:lnTo>
                  <a:pt x="43" y="2434"/>
                </a:lnTo>
                <a:lnTo>
                  <a:pt x="90" y="2457"/>
                </a:lnTo>
                <a:lnTo>
                  <a:pt x="155" y="2489"/>
                </a:lnTo>
                <a:lnTo>
                  <a:pt x="242" y="2528"/>
                </a:lnTo>
                <a:lnTo>
                  <a:pt x="348" y="2575"/>
                </a:lnTo>
                <a:lnTo>
                  <a:pt x="233" y="2536"/>
                </a:lnTo>
                <a:lnTo>
                  <a:pt x="146" y="2505"/>
                </a:lnTo>
                <a:lnTo>
                  <a:pt x="85" y="2485"/>
                </a:lnTo>
                <a:lnTo>
                  <a:pt x="50" y="2475"/>
                </a:lnTo>
                <a:lnTo>
                  <a:pt x="37" y="2472"/>
                </a:lnTo>
                <a:lnTo>
                  <a:pt x="46" y="2479"/>
                </a:lnTo>
                <a:lnTo>
                  <a:pt x="73" y="2491"/>
                </a:lnTo>
                <a:lnTo>
                  <a:pt x="117" y="2510"/>
                </a:lnTo>
                <a:lnTo>
                  <a:pt x="251" y="2565"/>
                </a:lnTo>
                <a:lnTo>
                  <a:pt x="433" y="2639"/>
                </a:lnTo>
                <a:lnTo>
                  <a:pt x="646" y="2726"/>
                </a:lnTo>
                <a:lnTo>
                  <a:pt x="877" y="2820"/>
                </a:lnTo>
                <a:lnTo>
                  <a:pt x="1113" y="2916"/>
                </a:lnTo>
                <a:lnTo>
                  <a:pt x="1337" y="3011"/>
                </a:lnTo>
                <a:lnTo>
                  <a:pt x="1439" y="3054"/>
                </a:lnTo>
                <a:lnTo>
                  <a:pt x="1535" y="3096"/>
                </a:lnTo>
                <a:lnTo>
                  <a:pt x="1619" y="3134"/>
                </a:lnTo>
                <a:lnTo>
                  <a:pt x="1691" y="3167"/>
                </a:lnTo>
                <a:lnTo>
                  <a:pt x="1750" y="3196"/>
                </a:lnTo>
                <a:lnTo>
                  <a:pt x="1793" y="3221"/>
                </a:lnTo>
                <a:lnTo>
                  <a:pt x="1819" y="3239"/>
                </a:lnTo>
                <a:lnTo>
                  <a:pt x="1825" y="3250"/>
                </a:lnTo>
                <a:lnTo>
                  <a:pt x="1810" y="3254"/>
                </a:lnTo>
                <a:lnTo>
                  <a:pt x="1771" y="3249"/>
                </a:lnTo>
                <a:lnTo>
                  <a:pt x="1709" y="3236"/>
                </a:lnTo>
                <a:lnTo>
                  <a:pt x="1619" y="3214"/>
                </a:lnTo>
                <a:lnTo>
                  <a:pt x="1610" y="3205"/>
                </a:lnTo>
                <a:lnTo>
                  <a:pt x="1600" y="3196"/>
                </a:lnTo>
                <a:lnTo>
                  <a:pt x="1589" y="3190"/>
                </a:lnTo>
                <a:lnTo>
                  <a:pt x="1579" y="3184"/>
                </a:lnTo>
                <a:lnTo>
                  <a:pt x="1556" y="3172"/>
                </a:lnTo>
                <a:lnTo>
                  <a:pt x="1532" y="3163"/>
                </a:lnTo>
                <a:lnTo>
                  <a:pt x="1509" y="3156"/>
                </a:lnTo>
                <a:lnTo>
                  <a:pt x="1485" y="3147"/>
                </a:lnTo>
                <a:lnTo>
                  <a:pt x="1462" y="3137"/>
                </a:lnTo>
                <a:lnTo>
                  <a:pt x="1439" y="3125"/>
                </a:lnTo>
                <a:lnTo>
                  <a:pt x="1422" y="3128"/>
                </a:lnTo>
                <a:lnTo>
                  <a:pt x="1408" y="3130"/>
                </a:lnTo>
                <a:lnTo>
                  <a:pt x="1398" y="3134"/>
                </a:lnTo>
                <a:lnTo>
                  <a:pt x="1389" y="3138"/>
                </a:lnTo>
                <a:lnTo>
                  <a:pt x="1383" y="3140"/>
                </a:lnTo>
                <a:lnTo>
                  <a:pt x="1379" y="3146"/>
                </a:lnTo>
                <a:lnTo>
                  <a:pt x="1378" y="3149"/>
                </a:lnTo>
                <a:lnTo>
                  <a:pt x="1378" y="3153"/>
                </a:lnTo>
                <a:lnTo>
                  <a:pt x="1380" y="3158"/>
                </a:lnTo>
                <a:lnTo>
                  <a:pt x="1384" y="3163"/>
                </a:lnTo>
                <a:lnTo>
                  <a:pt x="1391" y="3167"/>
                </a:lnTo>
                <a:lnTo>
                  <a:pt x="1397" y="3172"/>
                </a:lnTo>
                <a:lnTo>
                  <a:pt x="1415" y="3184"/>
                </a:lnTo>
                <a:lnTo>
                  <a:pt x="1438" y="3194"/>
                </a:lnTo>
                <a:lnTo>
                  <a:pt x="1489" y="3216"/>
                </a:lnTo>
                <a:lnTo>
                  <a:pt x="1543" y="3236"/>
                </a:lnTo>
                <a:lnTo>
                  <a:pt x="1592" y="3254"/>
                </a:lnTo>
                <a:lnTo>
                  <a:pt x="1624" y="3268"/>
                </a:lnTo>
                <a:lnTo>
                  <a:pt x="1624" y="3274"/>
                </a:lnTo>
                <a:lnTo>
                  <a:pt x="1625" y="3281"/>
                </a:lnTo>
                <a:lnTo>
                  <a:pt x="1629" y="3288"/>
                </a:lnTo>
                <a:lnTo>
                  <a:pt x="1633" y="3296"/>
                </a:lnTo>
                <a:lnTo>
                  <a:pt x="1643" y="3311"/>
                </a:lnTo>
                <a:lnTo>
                  <a:pt x="1657" y="3328"/>
                </a:lnTo>
                <a:lnTo>
                  <a:pt x="1672" y="3344"/>
                </a:lnTo>
                <a:lnTo>
                  <a:pt x="1690" y="3361"/>
                </a:lnTo>
                <a:lnTo>
                  <a:pt x="1708" y="3377"/>
                </a:lnTo>
                <a:lnTo>
                  <a:pt x="1726" y="3393"/>
                </a:lnTo>
                <a:lnTo>
                  <a:pt x="1757" y="3418"/>
                </a:lnTo>
                <a:lnTo>
                  <a:pt x="1778" y="3436"/>
                </a:lnTo>
                <a:lnTo>
                  <a:pt x="1780" y="3438"/>
                </a:lnTo>
                <a:lnTo>
                  <a:pt x="1782" y="3441"/>
                </a:lnTo>
                <a:lnTo>
                  <a:pt x="1782" y="3442"/>
                </a:lnTo>
                <a:lnTo>
                  <a:pt x="1780" y="3443"/>
                </a:lnTo>
                <a:lnTo>
                  <a:pt x="1773" y="3441"/>
                </a:lnTo>
                <a:lnTo>
                  <a:pt x="1757" y="3436"/>
                </a:lnTo>
                <a:lnTo>
                  <a:pt x="1742" y="3429"/>
                </a:lnTo>
                <a:lnTo>
                  <a:pt x="1726" y="3423"/>
                </a:lnTo>
                <a:lnTo>
                  <a:pt x="1712" y="3418"/>
                </a:lnTo>
                <a:lnTo>
                  <a:pt x="1696" y="3415"/>
                </a:lnTo>
                <a:lnTo>
                  <a:pt x="1667" y="3409"/>
                </a:lnTo>
                <a:lnTo>
                  <a:pt x="1638" y="3407"/>
                </a:lnTo>
                <a:lnTo>
                  <a:pt x="1607" y="3403"/>
                </a:lnTo>
                <a:lnTo>
                  <a:pt x="1573" y="3400"/>
                </a:lnTo>
                <a:lnTo>
                  <a:pt x="1535" y="3394"/>
                </a:lnTo>
                <a:lnTo>
                  <a:pt x="1490" y="3385"/>
                </a:lnTo>
                <a:lnTo>
                  <a:pt x="1466" y="3379"/>
                </a:lnTo>
                <a:lnTo>
                  <a:pt x="1439" y="3371"/>
                </a:lnTo>
                <a:lnTo>
                  <a:pt x="1411" y="3363"/>
                </a:lnTo>
                <a:lnTo>
                  <a:pt x="1380" y="3352"/>
                </a:lnTo>
                <a:lnTo>
                  <a:pt x="1347" y="3340"/>
                </a:lnTo>
                <a:lnTo>
                  <a:pt x="1312" y="3326"/>
                </a:lnTo>
                <a:lnTo>
                  <a:pt x="1273" y="3310"/>
                </a:lnTo>
                <a:lnTo>
                  <a:pt x="1233" y="3291"/>
                </a:lnTo>
                <a:lnTo>
                  <a:pt x="1189" y="3270"/>
                </a:lnTo>
                <a:lnTo>
                  <a:pt x="1142" y="3246"/>
                </a:lnTo>
                <a:lnTo>
                  <a:pt x="1091" y="3221"/>
                </a:lnTo>
                <a:lnTo>
                  <a:pt x="1038" y="3191"/>
                </a:lnTo>
                <a:lnTo>
                  <a:pt x="981" y="3158"/>
                </a:lnTo>
                <a:lnTo>
                  <a:pt x="919" y="3124"/>
                </a:lnTo>
                <a:lnTo>
                  <a:pt x="855" y="3084"/>
                </a:lnTo>
                <a:lnTo>
                  <a:pt x="786" y="3042"/>
                </a:lnTo>
                <a:lnTo>
                  <a:pt x="778" y="3055"/>
                </a:lnTo>
                <a:lnTo>
                  <a:pt x="776" y="3068"/>
                </a:lnTo>
                <a:lnTo>
                  <a:pt x="778" y="3082"/>
                </a:lnTo>
                <a:lnTo>
                  <a:pt x="787" y="3096"/>
                </a:lnTo>
                <a:lnTo>
                  <a:pt x="798" y="3111"/>
                </a:lnTo>
                <a:lnTo>
                  <a:pt x="815" y="3126"/>
                </a:lnTo>
                <a:lnTo>
                  <a:pt x="835" y="3142"/>
                </a:lnTo>
                <a:lnTo>
                  <a:pt x="860" y="3158"/>
                </a:lnTo>
                <a:lnTo>
                  <a:pt x="886" y="3175"/>
                </a:lnTo>
                <a:lnTo>
                  <a:pt x="917" y="3193"/>
                </a:lnTo>
                <a:lnTo>
                  <a:pt x="950" y="3209"/>
                </a:lnTo>
                <a:lnTo>
                  <a:pt x="984" y="3227"/>
                </a:lnTo>
                <a:lnTo>
                  <a:pt x="1061" y="3263"/>
                </a:lnTo>
                <a:lnTo>
                  <a:pt x="1142" y="3298"/>
                </a:lnTo>
                <a:lnTo>
                  <a:pt x="1228" y="3334"/>
                </a:lnTo>
                <a:lnTo>
                  <a:pt x="1313" y="3368"/>
                </a:lnTo>
                <a:lnTo>
                  <a:pt x="1396" y="3403"/>
                </a:lnTo>
                <a:lnTo>
                  <a:pt x="1476" y="3435"/>
                </a:lnTo>
                <a:lnTo>
                  <a:pt x="1549" y="3464"/>
                </a:lnTo>
                <a:lnTo>
                  <a:pt x="1612" y="3492"/>
                </a:lnTo>
                <a:lnTo>
                  <a:pt x="1639" y="3505"/>
                </a:lnTo>
                <a:lnTo>
                  <a:pt x="1663" y="3517"/>
                </a:lnTo>
                <a:lnTo>
                  <a:pt x="1684" y="3529"/>
                </a:lnTo>
                <a:lnTo>
                  <a:pt x="1701" y="3539"/>
                </a:lnTo>
                <a:lnTo>
                  <a:pt x="1685" y="3535"/>
                </a:lnTo>
                <a:lnTo>
                  <a:pt x="1673" y="3535"/>
                </a:lnTo>
                <a:lnTo>
                  <a:pt x="1670" y="3535"/>
                </a:lnTo>
                <a:lnTo>
                  <a:pt x="1666" y="3536"/>
                </a:lnTo>
                <a:lnTo>
                  <a:pt x="1664" y="3538"/>
                </a:lnTo>
                <a:lnTo>
                  <a:pt x="1663" y="3540"/>
                </a:lnTo>
                <a:lnTo>
                  <a:pt x="1664" y="3545"/>
                </a:lnTo>
                <a:lnTo>
                  <a:pt x="1670" y="3550"/>
                </a:lnTo>
                <a:lnTo>
                  <a:pt x="1676" y="3557"/>
                </a:lnTo>
                <a:lnTo>
                  <a:pt x="1685" y="3563"/>
                </a:lnTo>
                <a:lnTo>
                  <a:pt x="1695" y="3568"/>
                </a:lnTo>
                <a:lnTo>
                  <a:pt x="1708" y="3573"/>
                </a:lnTo>
                <a:lnTo>
                  <a:pt x="1719" y="3577"/>
                </a:lnTo>
                <a:lnTo>
                  <a:pt x="1732" y="3578"/>
                </a:lnTo>
                <a:lnTo>
                  <a:pt x="1738" y="3578"/>
                </a:lnTo>
                <a:lnTo>
                  <a:pt x="1743" y="3578"/>
                </a:lnTo>
                <a:lnTo>
                  <a:pt x="1750" y="3577"/>
                </a:lnTo>
                <a:lnTo>
                  <a:pt x="1755" y="3576"/>
                </a:lnTo>
                <a:lnTo>
                  <a:pt x="1760" y="3572"/>
                </a:lnTo>
                <a:lnTo>
                  <a:pt x="1765" y="3569"/>
                </a:lnTo>
                <a:lnTo>
                  <a:pt x="1769" y="3564"/>
                </a:lnTo>
                <a:lnTo>
                  <a:pt x="1773" y="3559"/>
                </a:lnTo>
                <a:lnTo>
                  <a:pt x="1803" y="3576"/>
                </a:lnTo>
                <a:lnTo>
                  <a:pt x="1821" y="3586"/>
                </a:lnTo>
                <a:lnTo>
                  <a:pt x="1826" y="3589"/>
                </a:lnTo>
                <a:lnTo>
                  <a:pt x="1829" y="3590"/>
                </a:lnTo>
                <a:lnTo>
                  <a:pt x="1829" y="3591"/>
                </a:lnTo>
                <a:lnTo>
                  <a:pt x="1827" y="3591"/>
                </a:lnTo>
                <a:lnTo>
                  <a:pt x="1819" y="3590"/>
                </a:lnTo>
                <a:lnTo>
                  <a:pt x="1803" y="3589"/>
                </a:lnTo>
                <a:lnTo>
                  <a:pt x="1796" y="3589"/>
                </a:lnTo>
                <a:lnTo>
                  <a:pt x="1787" y="3590"/>
                </a:lnTo>
                <a:lnTo>
                  <a:pt x="1777" y="3591"/>
                </a:lnTo>
                <a:lnTo>
                  <a:pt x="1768" y="3594"/>
                </a:lnTo>
                <a:lnTo>
                  <a:pt x="1773" y="3603"/>
                </a:lnTo>
                <a:lnTo>
                  <a:pt x="1777" y="3610"/>
                </a:lnTo>
                <a:lnTo>
                  <a:pt x="1782" y="3615"/>
                </a:lnTo>
                <a:lnTo>
                  <a:pt x="1787" y="3620"/>
                </a:lnTo>
                <a:lnTo>
                  <a:pt x="1792" y="3624"/>
                </a:lnTo>
                <a:lnTo>
                  <a:pt x="1797" y="3627"/>
                </a:lnTo>
                <a:lnTo>
                  <a:pt x="1801" y="3628"/>
                </a:lnTo>
                <a:lnTo>
                  <a:pt x="1806" y="3629"/>
                </a:lnTo>
                <a:lnTo>
                  <a:pt x="1811" y="3629"/>
                </a:lnTo>
                <a:lnTo>
                  <a:pt x="1815" y="3628"/>
                </a:lnTo>
                <a:lnTo>
                  <a:pt x="1820" y="3627"/>
                </a:lnTo>
                <a:lnTo>
                  <a:pt x="1825" y="3624"/>
                </a:lnTo>
                <a:lnTo>
                  <a:pt x="1834" y="3619"/>
                </a:lnTo>
                <a:lnTo>
                  <a:pt x="1844" y="3611"/>
                </a:lnTo>
                <a:lnTo>
                  <a:pt x="1863" y="3596"/>
                </a:lnTo>
                <a:lnTo>
                  <a:pt x="1883" y="3581"/>
                </a:lnTo>
                <a:lnTo>
                  <a:pt x="1894" y="3576"/>
                </a:lnTo>
                <a:lnTo>
                  <a:pt x="1904" y="3572"/>
                </a:lnTo>
                <a:lnTo>
                  <a:pt x="1909" y="3572"/>
                </a:lnTo>
                <a:lnTo>
                  <a:pt x="1915" y="3572"/>
                </a:lnTo>
                <a:lnTo>
                  <a:pt x="1920" y="3572"/>
                </a:lnTo>
                <a:lnTo>
                  <a:pt x="1927" y="3575"/>
                </a:lnTo>
                <a:lnTo>
                  <a:pt x="1943" y="3580"/>
                </a:lnTo>
                <a:lnTo>
                  <a:pt x="1959" y="3586"/>
                </a:lnTo>
                <a:lnTo>
                  <a:pt x="1970" y="3591"/>
                </a:lnTo>
                <a:lnTo>
                  <a:pt x="1980" y="3597"/>
                </a:lnTo>
                <a:lnTo>
                  <a:pt x="1989" y="3603"/>
                </a:lnTo>
                <a:lnTo>
                  <a:pt x="1996" y="3608"/>
                </a:lnTo>
                <a:lnTo>
                  <a:pt x="2001" y="3613"/>
                </a:lnTo>
                <a:lnTo>
                  <a:pt x="2004" y="3618"/>
                </a:lnTo>
                <a:lnTo>
                  <a:pt x="2007" y="3622"/>
                </a:lnTo>
                <a:lnTo>
                  <a:pt x="2010" y="3627"/>
                </a:lnTo>
                <a:lnTo>
                  <a:pt x="2010" y="3631"/>
                </a:lnTo>
                <a:lnTo>
                  <a:pt x="2010" y="3634"/>
                </a:lnTo>
                <a:lnTo>
                  <a:pt x="2007" y="3642"/>
                </a:lnTo>
                <a:lnTo>
                  <a:pt x="2004" y="3650"/>
                </a:lnTo>
                <a:lnTo>
                  <a:pt x="2002" y="3655"/>
                </a:lnTo>
                <a:lnTo>
                  <a:pt x="2001" y="3660"/>
                </a:lnTo>
                <a:lnTo>
                  <a:pt x="2001" y="3662"/>
                </a:lnTo>
                <a:lnTo>
                  <a:pt x="2002" y="3665"/>
                </a:lnTo>
                <a:lnTo>
                  <a:pt x="2004" y="3666"/>
                </a:lnTo>
                <a:lnTo>
                  <a:pt x="2008" y="3667"/>
                </a:lnTo>
                <a:lnTo>
                  <a:pt x="2021" y="3670"/>
                </a:lnTo>
                <a:lnTo>
                  <a:pt x="2039" y="3671"/>
                </a:lnTo>
                <a:lnTo>
                  <a:pt x="2067" y="3673"/>
                </a:lnTo>
                <a:lnTo>
                  <a:pt x="2103" y="3671"/>
                </a:lnTo>
                <a:lnTo>
                  <a:pt x="2108" y="3681"/>
                </a:lnTo>
                <a:lnTo>
                  <a:pt x="2109" y="3690"/>
                </a:lnTo>
                <a:lnTo>
                  <a:pt x="2108" y="3698"/>
                </a:lnTo>
                <a:lnTo>
                  <a:pt x="2103" y="3703"/>
                </a:lnTo>
                <a:lnTo>
                  <a:pt x="2096" y="3708"/>
                </a:lnTo>
                <a:lnTo>
                  <a:pt x="2086" y="3711"/>
                </a:lnTo>
                <a:lnTo>
                  <a:pt x="2075" y="3712"/>
                </a:lnTo>
                <a:lnTo>
                  <a:pt x="2059" y="3713"/>
                </a:lnTo>
                <a:lnTo>
                  <a:pt x="2043" y="3712"/>
                </a:lnTo>
                <a:lnTo>
                  <a:pt x="2024" y="3709"/>
                </a:lnTo>
                <a:lnTo>
                  <a:pt x="2003" y="3706"/>
                </a:lnTo>
                <a:lnTo>
                  <a:pt x="1979" y="3702"/>
                </a:lnTo>
                <a:lnTo>
                  <a:pt x="1928" y="3689"/>
                </a:lnTo>
                <a:lnTo>
                  <a:pt x="1868" y="3673"/>
                </a:lnTo>
                <a:lnTo>
                  <a:pt x="1803" y="3652"/>
                </a:lnTo>
                <a:lnTo>
                  <a:pt x="1733" y="3628"/>
                </a:lnTo>
                <a:lnTo>
                  <a:pt x="1659" y="3601"/>
                </a:lnTo>
                <a:lnTo>
                  <a:pt x="1582" y="3572"/>
                </a:lnTo>
                <a:lnTo>
                  <a:pt x="1500" y="3541"/>
                </a:lnTo>
                <a:lnTo>
                  <a:pt x="1417" y="3507"/>
                </a:lnTo>
                <a:lnTo>
                  <a:pt x="1333" y="3473"/>
                </a:lnTo>
                <a:lnTo>
                  <a:pt x="1248" y="3436"/>
                </a:lnTo>
                <a:lnTo>
                  <a:pt x="1230" y="3424"/>
                </a:lnTo>
                <a:lnTo>
                  <a:pt x="1207" y="3412"/>
                </a:lnTo>
                <a:lnTo>
                  <a:pt x="1179" y="3396"/>
                </a:lnTo>
                <a:lnTo>
                  <a:pt x="1147" y="3382"/>
                </a:lnTo>
                <a:lnTo>
                  <a:pt x="1074" y="3349"/>
                </a:lnTo>
                <a:lnTo>
                  <a:pt x="990" y="3315"/>
                </a:lnTo>
                <a:lnTo>
                  <a:pt x="898" y="3279"/>
                </a:lnTo>
                <a:lnTo>
                  <a:pt x="804" y="3244"/>
                </a:lnTo>
                <a:lnTo>
                  <a:pt x="711" y="3210"/>
                </a:lnTo>
                <a:lnTo>
                  <a:pt x="623" y="3179"/>
                </a:lnTo>
                <a:lnTo>
                  <a:pt x="544" y="3152"/>
                </a:lnTo>
                <a:lnTo>
                  <a:pt x="478" y="3130"/>
                </a:lnTo>
                <a:lnTo>
                  <a:pt x="427" y="3115"/>
                </a:lnTo>
                <a:lnTo>
                  <a:pt x="397" y="3107"/>
                </a:lnTo>
                <a:lnTo>
                  <a:pt x="392" y="3107"/>
                </a:lnTo>
                <a:lnTo>
                  <a:pt x="392" y="3109"/>
                </a:lnTo>
                <a:lnTo>
                  <a:pt x="401" y="3114"/>
                </a:lnTo>
                <a:lnTo>
                  <a:pt x="416" y="3120"/>
                </a:lnTo>
                <a:lnTo>
                  <a:pt x="471" y="3143"/>
                </a:lnTo>
                <a:lnTo>
                  <a:pt x="563" y="3177"/>
                </a:lnTo>
                <a:lnTo>
                  <a:pt x="672" y="3219"/>
                </a:lnTo>
                <a:lnTo>
                  <a:pt x="782" y="3263"/>
                </a:lnTo>
                <a:lnTo>
                  <a:pt x="890" y="3307"/>
                </a:lnTo>
                <a:lnTo>
                  <a:pt x="998" y="3353"/>
                </a:lnTo>
                <a:lnTo>
                  <a:pt x="1105" y="3399"/>
                </a:lnTo>
                <a:lnTo>
                  <a:pt x="1212" y="3446"/>
                </a:lnTo>
                <a:lnTo>
                  <a:pt x="1318" y="3493"/>
                </a:lnTo>
                <a:lnTo>
                  <a:pt x="1424" y="3540"/>
                </a:lnTo>
                <a:lnTo>
                  <a:pt x="1629" y="3636"/>
                </a:lnTo>
                <a:lnTo>
                  <a:pt x="1827" y="3731"/>
                </a:lnTo>
                <a:lnTo>
                  <a:pt x="2020" y="3825"/>
                </a:lnTo>
                <a:lnTo>
                  <a:pt x="2203" y="3917"/>
                </a:lnTo>
                <a:lnTo>
                  <a:pt x="2376" y="4005"/>
                </a:lnTo>
                <a:lnTo>
                  <a:pt x="2539" y="4089"/>
                </a:lnTo>
                <a:lnTo>
                  <a:pt x="2690" y="4166"/>
                </a:lnTo>
                <a:lnTo>
                  <a:pt x="2827" y="4238"/>
                </a:lnTo>
                <a:lnTo>
                  <a:pt x="2951" y="4301"/>
                </a:lnTo>
                <a:lnTo>
                  <a:pt x="3058" y="4356"/>
                </a:lnTo>
                <a:lnTo>
                  <a:pt x="3148" y="4402"/>
                </a:lnTo>
                <a:lnTo>
                  <a:pt x="3221" y="4435"/>
                </a:lnTo>
                <a:lnTo>
                  <a:pt x="3226" y="4433"/>
                </a:lnTo>
                <a:lnTo>
                  <a:pt x="3231" y="4430"/>
                </a:lnTo>
                <a:lnTo>
                  <a:pt x="3239" y="4429"/>
                </a:lnTo>
                <a:lnTo>
                  <a:pt x="3245" y="4427"/>
                </a:lnTo>
                <a:lnTo>
                  <a:pt x="3261" y="4427"/>
                </a:lnTo>
                <a:lnTo>
                  <a:pt x="3279" y="4429"/>
                </a:lnTo>
                <a:lnTo>
                  <a:pt x="3298" y="4430"/>
                </a:lnTo>
                <a:lnTo>
                  <a:pt x="3317" y="4434"/>
                </a:lnTo>
                <a:lnTo>
                  <a:pt x="3335" y="4439"/>
                </a:lnTo>
                <a:lnTo>
                  <a:pt x="3353" y="4445"/>
                </a:lnTo>
                <a:lnTo>
                  <a:pt x="3367" y="4452"/>
                </a:lnTo>
                <a:lnTo>
                  <a:pt x="3380" y="4458"/>
                </a:lnTo>
                <a:lnTo>
                  <a:pt x="3384" y="4462"/>
                </a:lnTo>
                <a:lnTo>
                  <a:pt x="3388" y="4464"/>
                </a:lnTo>
                <a:lnTo>
                  <a:pt x="3390" y="4468"/>
                </a:lnTo>
                <a:lnTo>
                  <a:pt x="3391" y="4472"/>
                </a:lnTo>
                <a:lnTo>
                  <a:pt x="3391" y="4476"/>
                </a:lnTo>
                <a:lnTo>
                  <a:pt x="3390" y="4480"/>
                </a:lnTo>
                <a:lnTo>
                  <a:pt x="3388" y="4482"/>
                </a:lnTo>
                <a:lnTo>
                  <a:pt x="3382" y="4486"/>
                </a:lnTo>
                <a:lnTo>
                  <a:pt x="3377" y="4489"/>
                </a:lnTo>
                <a:lnTo>
                  <a:pt x="3368" y="4491"/>
                </a:lnTo>
                <a:lnTo>
                  <a:pt x="3359" y="4495"/>
                </a:lnTo>
                <a:lnTo>
                  <a:pt x="3348" y="4497"/>
                </a:lnTo>
                <a:lnTo>
                  <a:pt x="3317" y="4489"/>
                </a:lnTo>
                <a:lnTo>
                  <a:pt x="3319" y="4489"/>
                </a:lnTo>
                <a:lnTo>
                  <a:pt x="3340" y="4497"/>
                </a:lnTo>
                <a:lnTo>
                  <a:pt x="3375" y="4513"/>
                </a:lnTo>
                <a:lnTo>
                  <a:pt x="3394" y="4523"/>
                </a:lnTo>
                <a:lnTo>
                  <a:pt x="3412" y="4533"/>
                </a:lnTo>
                <a:lnTo>
                  <a:pt x="3430" y="4546"/>
                </a:lnTo>
                <a:lnTo>
                  <a:pt x="3445" y="4557"/>
                </a:lnTo>
                <a:lnTo>
                  <a:pt x="3452" y="4564"/>
                </a:lnTo>
                <a:lnTo>
                  <a:pt x="3458" y="4570"/>
                </a:lnTo>
                <a:lnTo>
                  <a:pt x="3461" y="4576"/>
                </a:lnTo>
                <a:lnTo>
                  <a:pt x="3465" y="4583"/>
                </a:lnTo>
                <a:lnTo>
                  <a:pt x="3466" y="4590"/>
                </a:lnTo>
                <a:lnTo>
                  <a:pt x="3466" y="4597"/>
                </a:lnTo>
                <a:lnTo>
                  <a:pt x="3465" y="4603"/>
                </a:lnTo>
                <a:lnTo>
                  <a:pt x="3463" y="4609"/>
                </a:lnTo>
                <a:lnTo>
                  <a:pt x="3468" y="4607"/>
                </a:lnTo>
                <a:lnTo>
                  <a:pt x="3474" y="4604"/>
                </a:lnTo>
                <a:lnTo>
                  <a:pt x="3482" y="4603"/>
                </a:lnTo>
                <a:lnTo>
                  <a:pt x="3491" y="4602"/>
                </a:lnTo>
                <a:lnTo>
                  <a:pt x="3511" y="4602"/>
                </a:lnTo>
                <a:lnTo>
                  <a:pt x="3534" y="4604"/>
                </a:lnTo>
                <a:lnTo>
                  <a:pt x="3559" y="4608"/>
                </a:lnTo>
                <a:lnTo>
                  <a:pt x="3586" y="4615"/>
                </a:lnTo>
                <a:lnTo>
                  <a:pt x="3614" y="4622"/>
                </a:lnTo>
                <a:lnTo>
                  <a:pt x="3641" y="4631"/>
                </a:lnTo>
                <a:lnTo>
                  <a:pt x="3665" y="4640"/>
                </a:lnTo>
                <a:lnTo>
                  <a:pt x="3689" y="4650"/>
                </a:lnTo>
                <a:lnTo>
                  <a:pt x="3710" y="4662"/>
                </a:lnTo>
                <a:lnTo>
                  <a:pt x="3726" y="4672"/>
                </a:lnTo>
                <a:lnTo>
                  <a:pt x="3733" y="4678"/>
                </a:lnTo>
                <a:lnTo>
                  <a:pt x="3738" y="4683"/>
                </a:lnTo>
                <a:lnTo>
                  <a:pt x="3742" y="4688"/>
                </a:lnTo>
                <a:lnTo>
                  <a:pt x="3744" y="4693"/>
                </a:lnTo>
                <a:lnTo>
                  <a:pt x="3744" y="4699"/>
                </a:lnTo>
                <a:lnTo>
                  <a:pt x="3743" y="4704"/>
                </a:lnTo>
                <a:lnTo>
                  <a:pt x="3740" y="4709"/>
                </a:lnTo>
                <a:lnTo>
                  <a:pt x="3735" y="4713"/>
                </a:lnTo>
                <a:lnTo>
                  <a:pt x="3715" y="4701"/>
                </a:lnTo>
                <a:lnTo>
                  <a:pt x="3694" y="4691"/>
                </a:lnTo>
                <a:lnTo>
                  <a:pt x="3675" y="4682"/>
                </a:lnTo>
                <a:lnTo>
                  <a:pt x="3655" y="4674"/>
                </a:lnTo>
                <a:lnTo>
                  <a:pt x="3617" y="4660"/>
                </a:lnTo>
                <a:lnTo>
                  <a:pt x="3579" y="4650"/>
                </a:lnTo>
                <a:lnTo>
                  <a:pt x="3542" y="4640"/>
                </a:lnTo>
                <a:lnTo>
                  <a:pt x="3503" y="4631"/>
                </a:lnTo>
                <a:lnTo>
                  <a:pt x="3465" y="4622"/>
                </a:lnTo>
                <a:lnTo>
                  <a:pt x="3424" y="4611"/>
                </a:lnTo>
                <a:lnTo>
                  <a:pt x="3433" y="4607"/>
                </a:lnTo>
                <a:lnTo>
                  <a:pt x="3440" y="4603"/>
                </a:lnTo>
                <a:lnTo>
                  <a:pt x="3446" y="4599"/>
                </a:lnTo>
                <a:lnTo>
                  <a:pt x="3450" y="4595"/>
                </a:lnTo>
                <a:lnTo>
                  <a:pt x="3451" y="4592"/>
                </a:lnTo>
                <a:lnTo>
                  <a:pt x="3452" y="4587"/>
                </a:lnTo>
                <a:lnTo>
                  <a:pt x="3452" y="4583"/>
                </a:lnTo>
                <a:lnTo>
                  <a:pt x="3451" y="4579"/>
                </a:lnTo>
                <a:lnTo>
                  <a:pt x="3449" y="4574"/>
                </a:lnTo>
                <a:lnTo>
                  <a:pt x="3446" y="4570"/>
                </a:lnTo>
                <a:lnTo>
                  <a:pt x="3442" y="4566"/>
                </a:lnTo>
                <a:lnTo>
                  <a:pt x="3437" y="4562"/>
                </a:lnTo>
                <a:lnTo>
                  <a:pt x="3426" y="4556"/>
                </a:lnTo>
                <a:lnTo>
                  <a:pt x="3412" y="4551"/>
                </a:lnTo>
                <a:lnTo>
                  <a:pt x="3396" y="4548"/>
                </a:lnTo>
                <a:lnTo>
                  <a:pt x="3381" y="4547"/>
                </a:lnTo>
                <a:lnTo>
                  <a:pt x="3373" y="4547"/>
                </a:lnTo>
                <a:lnTo>
                  <a:pt x="3366" y="4548"/>
                </a:lnTo>
                <a:lnTo>
                  <a:pt x="3358" y="4550"/>
                </a:lnTo>
                <a:lnTo>
                  <a:pt x="3352" y="4551"/>
                </a:lnTo>
                <a:lnTo>
                  <a:pt x="3345" y="4555"/>
                </a:lnTo>
                <a:lnTo>
                  <a:pt x="3339" y="4559"/>
                </a:lnTo>
                <a:lnTo>
                  <a:pt x="3334" y="4562"/>
                </a:lnTo>
                <a:lnTo>
                  <a:pt x="3329" y="4569"/>
                </a:lnTo>
                <a:lnTo>
                  <a:pt x="3325" y="4575"/>
                </a:lnTo>
                <a:lnTo>
                  <a:pt x="3321" y="4581"/>
                </a:lnTo>
                <a:lnTo>
                  <a:pt x="3319" y="4590"/>
                </a:lnTo>
                <a:lnTo>
                  <a:pt x="3317" y="4599"/>
                </a:lnTo>
                <a:lnTo>
                  <a:pt x="3368" y="4615"/>
                </a:lnTo>
                <a:lnTo>
                  <a:pt x="3413" y="4630"/>
                </a:lnTo>
                <a:lnTo>
                  <a:pt x="3452" y="4645"/>
                </a:lnTo>
                <a:lnTo>
                  <a:pt x="3487" y="4659"/>
                </a:lnTo>
                <a:lnTo>
                  <a:pt x="3516" y="4674"/>
                </a:lnTo>
                <a:lnTo>
                  <a:pt x="3540" y="4688"/>
                </a:lnTo>
                <a:lnTo>
                  <a:pt x="3559" y="4702"/>
                </a:lnTo>
                <a:lnTo>
                  <a:pt x="3575" y="4716"/>
                </a:lnTo>
                <a:lnTo>
                  <a:pt x="3586" y="4730"/>
                </a:lnTo>
                <a:lnTo>
                  <a:pt x="3593" y="4743"/>
                </a:lnTo>
                <a:lnTo>
                  <a:pt x="3595" y="4757"/>
                </a:lnTo>
                <a:lnTo>
                  <a:pt x="3595" y="4770"/>
                </a:lnTo>
                <a:lnTo>
                  <a:pt x="3590" y="4784"/>
                </a:lnTo>
                <a:lnTo>
                  <a:pt x="3582" y="4797"/>
                </a:lnTo>
                <a:lnTo>
                  <a:pt x="3571" y="4809"/>
                </a:lnTo>
                <a:lnTo>
                  <a:pt x="3557" y="4823"/>
                </a:lnTo>
                <a:lnTo>
                  <a:pt x="3539" y="4836"/>
                </a:lnTo>
                <a:lnTo>
                  <a:pt x="3519" y="4849"/>
                </a:lnTo>
                <a:lnTo>
                  <a:pt x="3497" y="4863"/>
                </a:lnTo>
                <a:lnTo>
                  <a:pt x="3472" y="4875"/>
                </a:lnTo>
                <a:lnTo>
                  <a:pt x="3445" y="4889"/>
                </a:lnTo>
                <a:lnTo>
                  <a:pt x="3416" y="4902"/>
                </a:lnTo>
                <a:lnTo>
                  <a:pt x="3385" y="4916"/>
                </a:lnTo>
                <a:lnTo>
                  <a:pt x="3352" y="4929"/>
                </a:lnTo>
                <a:lnTo>
                  <a:pt x="3282" y="4957"/>
                </a:lnTo>
                <a:lnTo>
                  <a:pt x="3208" y="4985"/>
                </a:lnTo>
                <a:lnTo>
                  <a:pt x="3130" y="5014"/>
                </a:lnTo>
                <a:lnTo>
                  <a:pt x="3051" y="5045"/>
                </a:lnTo>
                <a:lnTo>
                  <a:pt x="3036" y="5049"/>
                </a:lnTo>
                <a:lnTo>
                  <a:pt x="3018" y="5054"/>
                </a:lnTo>
                <a:lnTo>
                  <a:pt x="2998" y="5058"/>
                </a:lnTo>
                <a:lnTo>
                  <a:pt x="2975" y="5061"/>
                </a:lnTo>
                <a:lnTo>
                  <a:pt x="2921" y="5068"/>
                </a:lnTo>
                <a:lnTo>
                  <a:pt x="2862" y="5074"/>
                </a:lnTo>
                <a:lnTo>
                  <a:pt x="2797" y="5079"/>
                </a:lnTo>
                <a:lnTo>
                  <a:pt x="2729" y="5084"/>
                </a:lnTo>
                <a:lnTo>
                  <a:pt x="2662" y="5089"/>
                </a:lnTo>
                <a:lnTo>
                  <a:pt x="2595" y="5093"/>
                </a:lnTo>
                <a:lnTo>
                  <a:pt x="2533" y="5097"/>
                </a:lnTo>
                <a:lnTo>
                  <a:pt x="2476" y="5102"/>
                </a:lnTo>
                <a:lnTo>
                  <a:pt x="2427" y="5106"/>
                </a:lnTo>
                <a:lnTo>
                  <a:pt x="2390" y="5111"/>
                </a:lnTo>
                <a:lnTo>
                  <a:pt x="2376" y="5114"/>
                </a:lnTo>
                <a:lnTo>
                  <a:pt x="2365" y="5116"/>
                </a:lnTo>
                <a:lnTo>
                  <a:pt x="2359" y="5119"/>
                </a:lnTo>
                <a:lnTo>
                  <a:pt x="2355" y="5121"/>
                </a:lnTo>
                <a:lnTo>
                  <a:pt x="2356" y="5125"/>
                </a:lnTo>
                <a:lnTo>
                  <a:pt x="2362" y="5128"/>
                </a:lnTo>
                <a:lnTo>
                  <a:pt x="2373" y="5131"/>
                </a:lnTo>
                <a:lnTo>
                  <a:pt x="2388" y="5135"/>
                </a:lnTo>
                <a:lnTo>
                  <a:pt x="2434" y="5133"/>
                </a:lnTo>
                <a:lnTo>
                  <a:pt x="2483" y="5129"/>
                </a:lnTo>
                <a:lnTo>
                  <a:pt x="2534" y="5124"/>
                </a:lnTo>
                <a:lnTo>
                  <a:pt x="2586" y="5119"/>
                </a:lnTo>
                <a:lnTo>
                  <a:pt x="2637" y="5114"/>
                </a:lnTo>
                <a:lnTo>
                  <a:pt x="2686" y="5110"/>
                </a:lnTo>
                <a:lnTo>
                  <a:pt x="2729" y="5106"/>
                </a:lnTo>
                <a:lnTo>
                  <a:pt x="2767" y="5105"/>
                </a:lnTo>
                <a:lnTo>
                  <a:pt x="2783" y="5106"/>
                </a:lnTo>
                <a:lnTo>
                  <a:pt x="2797" y="5106"/>
                </a:lnTo>
                <a:lnTo>
                  <a:pt x="2807" y="5108"/>
                </a:lnTo>
                <a:lnTo>
                  <a:pt x="2816" y="5110"/>
                </a:lnTo>
                <a:lnTo>
                  <a:pt x="2821" y="5114"/>
                </a:lnTo>
                <a:lnTo>
                  <a:pt x="2823" y="5117"/>
                </a:lnTo>
                <a:lnTo>
                  <a:pt x="2823" y="5122"/>
                </a:lnTo>
                <a:lnTo>
                  <a:pt x="2820" y="5128"/>
                </a:lnTo>
                <a:lnTo>
                  <a:pt x="2812" y="5135"/>
                </a:lnTo>
                <a:lnTo>
                  <a:pt x="2799" y="5143"/>
                </a:lnTo>
                <a:lnTo>
                  <a:pt x="2784" y="5153"/>
                </a:lnTo>
                <a:lnTo>
                  <a:pt x="2763" y="5163"/>
                </a:lnTo>
                <a:lnTo>
                  <a:pt x="2739" y="5175"/>
                </a:lnTo>
                <a:lnTo>
                  <a:pt x="2710" y="5189"/>
                </a:lnTo>
                <a:lnTo>
                  <a:pt x="2676" y="5203"/>
                </a:lnTo>
                <a:lnTo>
                  <a:pt x="2636" y="5219"/>
                </a:lnTo>
                <a:lnTo>
                  <a:pt x="2611" y="5228"/>
                </a:lnTo>
                <a:lnTo>
                  <a:pt x="2580" y="5241"/>
                </a:lnTo>
                <a:lnTo>
                  <a:pt x="2547" y="5255"/>
                </a:lnTo>
                <a:lnTo>
                  <a:pt x="2513" y="5271"/>
                </a:lnTo>
                <a:lnTo>
                  <a:pt x="2477" y="5289"/>
                </a:lnTo>
                <a:lnTo>
                  <a:pt x="2443" y="5307"/>
                </a:lnTo>
                <a:lnTo>
                  <a:pt x="2409" y="5324"/>
                </a:lnTo>
                <a:lnTo>
                  <a:pt x="2381" y="5340"/>
                </a:lnTo>
                <a:lnTo>
                  <a:pt x="2357" y="5355"/>
                </a:lnTo>
                <a:lnTo>
                  <a:pt x="2341" y="5367"/>
                </a:lnTo>
                <a:lnTo>
                  <a:pt x="2334" y="5372"/>
                </a:lnTo>
                <a:lnTo>
                  <a:pt x="2330" y="5376"/>
                </a:lnTo>
                <a:lnTo>
                  <a:pt x="2329" y="5380"/>
                </a:lnTo>
                <a:lnTo>
                  <a:pt x="2330" y="5381"/>
                </a:lnTo>
                <a:lnTo>
                  <a:pt x="2334" y="5382"/>
                </a:lnTo>
                <a:lnTo>
                  <a:pt x="2341" y="5382"/>
                </a:lnTo>
                <a:lnTo>
                  <a:pt x="2351" y="5380"/>
                </a:lnTo>
                <a:lnTo>
                  <a:pt x="2364" y="5377"/>
                </a:lnTo>
                <a:lnTo>
                  <a:pt x="2399" y="5367"/>
                </a:lnTo>
                <a:lnTo>
                  <a:pt x="2449" y="5349"/>
                </a:lnTo>
                <a:lnTo>
                  <a:pt x="2426" y="5363"/>
                </a:lnTo>
                <a:lnTo>
                  <a:pt x="2399" y="5380"/>
                </a:lnTo>
                <a:lnTo>
                  <a:pt x="2374" y="5399"/>
                </a:lnTo>
                <a:lnTo>
                  <a:pt x="2353" y="5415"/>
                </a:lnTo>
                <a:lnTo>
                  <a:pt x="2346" y="5422"/>
                </a:lnTo>
                <a:lnTo>
                  <a:pt x="2341" y="5427"/>
                </a:lnTo>
                <a:lnTo>
                  <a:pt x="2338" y="5428"/>
                </a:lnTo>
                <a:lnTo>
                  <a:pt x="2338" y="5429"/>
                </a:lnTo>
                <a:lnTo>
                  <a:pt x="2338" y="5430"/>
                </a:lnTo>
                <a:lnTo>
                  <a:pt x="2339" y="5430"/>
                </a:lnTo>
                <a:lnTo>
                  <a:pt x="2346" y="5429"/>
                </a:lnTo>
                <a:lnTo>
                  <a:pt x="2356" y="5425"/>
                </a:lnTo>
                <a:lnTo>
                  <a:pt x="2371" y="5418"/>
                </a:lnTo>
                <a:lnTo>
                  <a:pt x="2392" y="5408"/>
                </a:lnTo>
                <a:lnTo>
                  <a:pt x="2479" y="5376"/>
                </a:lnTo>
                <a:lnTo>
                  <a:pt x="2543" y="5355"/>
                </a:lnTo>
                <a:lnTo>
                  <a:pt x="2566" y="5348"/>
                </a:lnTo>
                <a:lnTo>
                  <a:pt x="2584" y="5344"/>
                </a:lnTo>
                <a:lnTo>
                  <a:pt x="2597" y="5341"/>
                </a:lnTo>
                <a:lnTo>
                  <a:pt x="2606" y="5341"/>
                </a:lnTo>
                <a:lnTo>
                  <a:pt x="2609" y="5343"/>
                </a:lnTo>
                <a:lnTo>
                  <a:pt x="2609" y="5346"/>
                </a:lnTo>
                <a:lnTo>
                  <a:pt x="2607" y="5352"/>
                </a:lnTo>
                <a:lnTo>
                  <a:pt x="2599" y="5358"/>
                </a:lnTo>
                <a:lnTo>
                  <a:pt x="2575" y="5374"/>
                </a:lnTo>
                <a:lnTo>
                  <a:pt x="2541" y="5396"/>
                </a:lnTo>
                <a:lnTo>
                  <a:pt x="2499" y="5422"/>
                </a:lnTo>
                <a:lnTo>
                  <a:pt x="2449" y="5450"/>
                </a:lnTo>
                <a:lnTo>
                  <a:pt x="2397" y="5478"/>
                </a:lnTo>
                <a:lnTo>
                  <a:pt x="2343" y="5508"/>
                </a:lnTo>
                <a:lnTo>
                  <a:pt x="2290" y="5536"/>
                </a:lnTo>
                <a:lnTo>
                  <a:pt x="2240" y="5564"/>
                </a:lnTo>
                <a:lnTo>
                  <a:pt x="2196" y="5588"/>
                </a:lnTo>
                <a:lnTo>
                  <a:pt x="2159" y="5609"/>
                </a:lnTo>
                <a:lnTo>
                  <a:pt x="2100" y="5632"/>
                </a:lnTo>
                <a:lnTo>
                  <a:pt x="2048" y="5653"/>
                </a:lnTo>
                <a:lnTo>
                  <a:pt x="2002" y="5675"/>
                </a:lnTo>
                <a:lnTo>
                  <a:pt x="1962" y="5695"/>
                </a:lnTo>
                <a:lnTo>
                  <a:pt x="1946" y="5704"/>
                </a:lnTo>
                <a:lnTo>
                  <a:pt x="1931" y="5713"/>
                </a:lnTo>
                <a:lnTo>
                  <a:pt x="1918" y="5722"/>
                </a:lnTo>
                <a:lnTo>
                  <a:pt x="1906" y="5731"/>
                </a:lnTo>
                <a:lnTo>
                  <a:pt x="1898" y="5739"/>
                </a:lnTo>
                <a:lnTo>
                  <a:pt x="1890" y="5746"/>
                </a:lnTo>
                <a:lnTo>
                  <a:pt x="1885" y="5753"/>
                </a:lnTo>
                <a:lnTo>
                  <a:pt x="1881" y="5759"/>
                </a:lnTo>
                <a:lnTo>
                  <a:pt x="1880" y="5764"/>
                </a:lnTo>
                <a:lnTo>
                  <a:pt x="1880" y="5769"/>
                </a:lnTo>
                <a:lnTo>
                  <a:pt x="1882" y="5774"/>
                </a:lnTo>
                <a:lnTo>
                  <a:pt x="1887" y="5778"/>
                </a:lnTo>
                <a:lnTo>
                  <a:pt x="1895" y="5781"/>
                </a:lnTo>
                <a:lnTo>
                  <a:pt x="1904" y="5783"/>
                </a:lnTo>
                <a:lnTo>
                  <a:pt x="1915" y="5784"/>
                </a:lnTo>
                <a:lnTo>
                  <a:pt x="1928" y="5784"/>
                </a:lnTo>
                <a:lnTo>
                  <a:pt x="1945" y="5784"/>
                </a:lnTo>
                <a:lnTo>
                  <a:pt x="1962" y="5783"/>
                </a:lnTo>
                <a:lnTo>
                  <a:pt x="1983" y="5781"/>
                </a:lnTo>
                <a:lnTo>
                  <a:pt x="2006" y="5778"/>
                </a:lnTo>
                <a:lnTo>
                  <a:pt x="2059" y="5769"/>
                </a:lnTo>
                <a:lnTo>
                  <a:pt x="2122" y="5755"/>
                </a:lnTo>
                <a:lnTo>
                  <a:pt x="2132" y="5753"/>
                </a:lnTo>
                <a:lnTo>
                  <a:pt x="2146" y="5747"/>
                </a:lnTo>
                <a:lnTo>
                  <a:pt x="2161" y="5741"/>
                </a:lnTo>
                <a:lnTo>
                  <a:pt x="2180" y="5732"/>
                </a:lnTo>
                <a:lnTo>
                  <a:pt x="2221" y="5714"/>
                </a:lnTo>
                <a:lnTo>
                  <a:pt x="2260" y="5698"/>
                </a:lnTo>
                <a:lnTo>
                  <a:pt x="2277" y="5690"/>
                </a:lnTo>
                <a:lnTo>
                  <a:pt x="2292" y="5686"/>
                </a:lnTo>
                <a:lnTo>
                  <a:pt x="2300" y="5685"/>
                </a:lnTo>
                <a:lnTo>
                  <a:pt x="2305" y="5684"/>
                </a:lnTo>
                <a:lnTo>
                  <a:pt x="2310" y="5684"/>
                </a:lnTo>
                <a:lnTo>
                  <a:pt x="2313" y="5685"/>
                </a:lnTo>
                <a:lnTo>
                  <a:pt x="2315" y="5686"/>
                </a:lnTo>
                <a:lnTo>
                  <a:pt x="2316" y="5689"/>
                </a:lnTo>
                <a:lnTo>
                  <a:pt x="2316" y="5693"/>
                </a:lnTo>
                <a:lnTo>
                  <a:pt x="2315" y="5698"/>
                </a:lnTo>
                <a:lnTo>
                  <a:pt x="2306" y="5711"/>
                </a:lnTo>
                <a:lnTo>
                  <a:pt x="2292" y="5728"/>
                </a:lnTo>
                <a:lnTo>
                  <a:pt x="2245" y="5763"/>
                </a:lnTo>
                <a:lnTo>
                  <a:pt x="2210" y="5791"/>
                </a:lnTo>
                <a:lnTo>
                  <a:pt x="2184" y="5814"/>
                </a:lnTo>
                <a:lnTo>
                  <a:pt x="2169" y="5830"/>
                </a:lnTo>
                <a:lnTo>
                  <a:pt x="2161" y="5843"/>
                </a:lnTo>
                <a:lnTo>
                  <a:pt x="2162" y="5852"/>
                </a:lnTo>
                <a:lnTo>
                  <a:pt x="2171" y="5856"/>
                </a:lnTo>
                <a:lnTo>
                  <a:pt x="2188" y="5856"/>
                </a:lnTo>
                <a:lnTo>
                  <a:pt x="2211" y="5852"/>
                </a:lnTo>
                <a:lnTo>
                  <a:pt x="2240" y="5844"/>
                </a:lnTo>
                <a:lnTo>
                  <a:pt x="2274" y="5835"/>
                </a:lnTo>
                <a:lnTo>
                  <a:pt x="2314" y="5823"/>
                </a:lnTo>
                <a:lnTo>
                  <a:pt x="2406" y="5791"/>
                </a:lnTo>
                <a:lnTo>
                  <a:pt x="2511" y="5751"/>
                </a:lnTo>
                <a:lnTo>
                  <a:pt x="2623" y="5708"/>
                </a:lnTo>
                <a:lnTo>
                  <a:pt x="2741" y="5662"/>
                </a:lnTo>
                <a:lnTo>
                  <a:pt x="2858" y="5618"/>
                </a:lnTo>
                <a:lnTo>
                  <a:pt x="2969" y="5576"/>
                </a:lnTo>
                <a:lnTo>
                  <a:pt x="3021" y="5556"/>
                </a:lnTo>
                <a:lnTo>
                  <a:pt x="3069" y="5540"/>
                </a:lnTo>
                <a:lnTo>
                  <a:pt x="3115" y="5525"/>
                </a:lnTo>
                <a:lnTo>
                  <a:pt x="3157" y="5511"/>
                </a:lnTo>
                <a:lnTo>
                  <a:pt x="3194" y="5500"/>
                </a:lnTo>
                <a:lnTo>
                  <a:pt x="3224" y="5493"/>
                </a:lnTo>
                <a:lnTo>
                  <a:pt x="3250" y="5489"/>
                </a:lnTo>
                <a:lnTo>
                  <a:pt x="3269" y="5488"/>
                </a:lnTo>
                <a:lnTo>
                  <a:pt x="3250" y="5493"/>
                </a:lnTo>
                <a:lnTo>
                  <a:pt x="3224" y="5500"/>
                </a:lnTo>
                <a:lnTo>
                  <a:pt x="3193" y="5513"/>
                </a:lnTo>
                <a:lnTo>
                  <a:pt x="3156" y="5528"/>
                </a:lnTo>
                <a:lnTo>
                  <a:pt x="3115" y="5546"/>
                </a:lnTo>
                <a:lnTo>
                  <a:pt x="3070" y="5567"/>
                </a:lnTo>
                <a:lnTo>
                  <a:pt x="3022" y="5590"/>
                </a:lnTo>
                <a:lnTo>
                  <a:pt x="2970" y="5615"/>
                </a:lnTo>
                <a:lnTo>
                  <a:pt x="2862" y="5670"/>
                </a:lnTo>
                <a:lnTo>
                  <a:pt x="2747" y="5730"/>
                </a:lnTo>
                <a:lnTo>
                  <a:pt x="2632" y="5791"/>
                </a:lnTo>
                <a:lnTo>
                  <a:pt x="2523" y="5851"/>
                </a:lnTo>
                <a:lnTo>
                  <a:pt x="2421" y="5908"/>
                </a:lnTo>
                <a:lnTo>
                  <a:pt x="2332" y="5959"/>
                </a:lnTo>
                <a:lnTo>
                  <a:pt x="2262" y="6002"/>
                </a:lnTo>
                <a:lnTo>
                  <a:pt x="2212" y="6034"/>
                </a:lnTo>
                <a:lnTo>
                  <a:pt x="2197" y="6045"/>
                </a:lnTo>
                <a:lnTo>
                  <a:pt x="2189" y="6053"/>
                </a:lnTo>
                <a:lnTo>
                  <a:pt x="2189" y="6055"/>
                </a:lnTo>
                <a:lnTo>
                  <a:pt x="2198" y="6055"/>
                </a:lnTo>
                <a:lnTo>
                  <a:pt x="2215" y="6050"/>
                </a:lnTo>
                <a:lnTo>
                  <a:pt x="2241" y="6040"/>
                </a:lnTo>
                <a:lnTo>
                  <a:pt x="2278" y="6025"/>
                </a:lnTo>
                <a:lnTo>
                  <a:pt x="2325" y="6003"/>
                </a:lnTo>
                <a:lnTo>
                  <a:pt x="2384" y="5983"/>
                </a:lnTo>
                <a:lnTo>
                  <a:pt x="2425" y="5971"/>
                </a:lnTo>
                <a:lnTo>
                  <a:pt x="2437" y="5969"/>
                </a:lnTo>
                <a:lnTo>
                  <a:pt x="2446" y="5968"/>
                </a:lnTo>
                <a:lnTo>
                  <a:pt x="2451" y="5968"/>
                </a:lnTo>
                <a:lnTo>
                  <a:pt x="2453" y="5970"/>
                </a:lnTo>
                <a:lnTo>
                  <a:pt x="2451" y="5974"/>
                </a:lnTo>
                <a:lnTo>
                  <a:pt x="2446" y="5979"/>
                </a:lnTo>
                <a:lnTo>
                  <a:pt x="2439" y="5985"/>
                </a:lnTo>
                <a:lnTo>
                  <a:pt x="2429" y="5993"/>
                </a:lnTo>
                <a:lnTo>
                  <a:pt x="2401" y="6011"/>
                </a:lnTo>
                <a:lnTo>
                  <a:pt x="2367" y="6034"/>
                </a:lnTo>
                <a:lnTo>
                  <a:pt x="2328" y="6059"/>
                </a:lnTo>
                <a:lnTo>
                  <a:pt x="2286" y="6086"/>
                </a:lnTo>
                <a:lnTo>
                  <a:pt x="2243" y="6115"/>
                </a:lnTo>
                <a:lnTo>
                  <a:pt x="2201" y="6145"/>
                </a:lnTo>
                <a:lnTo>
                  <a:pt x="2181" y="6159"/>
                </a:lnTo>
                <a:lnTo>
                  <a:pt x="2162" y="6174"/>
                </a:lnTo>
                <a:lnTo>
                  <a:pt x="2146" y="6188"/>
                </a:lnTo>
                <a:lnTo>
                  <a:pt x="2131" y="6202"/>
                </a:lnTo>
                <a:lnTo>
                  <a:pt x="2117" y="6215"/>
                </a:lnTo>
                <a:lnTo>
                  <a:pt x="2105" y="6227"/>
                </a:lnTo>
                <a:lnTo>
                  <a:pt x="2096" y="6239"/>
                </a:lnTo>
                <a:lnTo>
                  <a:pt x="2090" y="6250"/>
                </a:lnTo>
                <a:lnTo>
                  <a:pt x="2101" y="6254"/>
                </a:lnTo>
                <a:lnTo>
                  <a:pt x="2114" y="6257"/>
                </a:lnTo>
                <a:lnTo>
                  <a:pt x="2128" y="6258"/>
                </a:lnTo>
                <a:lnTo>
                  <a:pt x="2141" y="6258"/>
                </a:lnTo>
                <a:lnTo>
                  <a:pt x="2155" y="6257"/>
                </a:lnTo>
                <a:lnTo>
                  <a:pt x="2169" y="6254"/>
                </a:lnTo>
                <a:lnTo>
                  <a:pt x="2184" y="6250"/>
                </a:lnTo>
                <a:lnTo>
                  <a:pt x="2198" y="6245"/>
                </a:lnTo>
                <a:lnTo>
                  <a:pt x="2229" y="6234"/>
                </a:lnTo>
                <a:lnTo>
                  <a:pt x="2260" y="6220"/>
                </a:lnTo>
                <a:lnTo>
                  <a:pt x="2294" y="6203"/>
                </a:lnTo>
                <a:lnTo>
                  <a:pt x="2327" y="6184"/>
                </a:lnTo>
                <a:lnTo>
                  <a:pt x="2393" y="6143"/>
                </a:lnTo>
                <a:lnTo>
                  <a:pt x="2459" y="6101"/>
                </a:lnTo>
                <a:lnTo>
                  <a:pt x="2492" y="6082"/>
                </a:lnTo>
                <a:lnTo>
                  <a:pt x="2524" y="6063"/>
                </a:lnTo>
                <a:lnTo>
                  <a:pt x="2555" y="6047"/>
                </a:lnTo>
                <a:lnTo>
                  <a:pt x="2585" y="6033"/>
                </a:lnTo>
                <a:lnTo>
                  <a:pt x="2607" y="6029"/>
                </a:lnTo>
                <a:lnTo>
                  <a:pt x="2623" y="6025"/>
                </a:lnTo>
                <a:lnTo>
                  <a:pt x="2637" y="6024"/>
                </a:lnTo>
                <a:lnTo>
                  <a:pt x="2646" y="6024"/>
                </a:lnTo>
                <a:lnTo>
                  <a:pt x="2651" y="6025"/>
                </a:lnTo>
                <a:lnTo>
                  <a:pt x="2654" y="6027"/>
                </a:lnTo>
                <a:lnTo>
                  <a:pt x="2654" y="6031"/>
                </a:lnTo>
                <a:lnTo>
                  <a:pt x="2650" y="6035"/>
                </a:lnTo>
                <a:lnTo>
                  <a:pt x="2635" y="6048"/>
                </a:lnTo>
                <a:lnTo>
                  <a:pt x="2611" y="6064"/>
                </a:lnTo>
                <a:lnTo>
                  <a:pt x="2580" y="6083"/>
                </a:lnTo>
                <a:lnTo>
                  <a:pt x="2544" y="6106"/>
                </a:lnTo>
                <a:lnTo>
                  <a:pt x="2506" y="6129"/>
                </a:lnTo>
                <a:lnTo>
                  <a:pt x="2465" y="6155"/>
                </a:lnTo>
                <a:lnTo>
                  <a:pt x="2426" y="6180"/>
                </a:lnTo>
                <a:lnTo>
                  <a:pt x="2389" y="6206"/>
                </a:lnTo>
                <a:lnTo>
                  <a:pt x="2373" y="6218"/>
                </a:lnTo>
                <a:lnTo>
                  <a:pt x="2356" y="6230"/>
                </a:lnTo>
                <a:lnTo>
                  <a:pt x="2342" y="6243"/>
                </a:lnTo>
                <a:lnTo>
                  <a:pt x="2330" y="6254"/>
                </a:lnTo>
                <a:lnTo>
                  <a:pt x="2320" y="6266"/>
                </a:lnTo>
                <a:lnTo>
                  <a:pt x="2311" y="6276"/>
                </a:lnTo>
                <a:lnTo>
                  <a:pt x="2306" y="6286"/>
                </a:lnTo>
                <a:lnTo>
                  <a:pt x="2304" y="6296"/>
                </a:lnTo>
                <a:lnTo>
                  <a:pt x="2325" y="6281"/>
                </a:lnTo>
                <a:lnTo>
                  <a:pt x="2350" y="6267"/>
                </a:lnTo>
                <a:lnTo>
                  <a:pt x="2375" y="6255"/>
                </a:lnTo>
                <a:lnTo>
                  <a:pt x="2402" y="6245"/>
                </a:lnTo>
                <a:lnTo>
                  <a:pt x="2429" y="6236"/>
                </a:lnTo>
                <a:lnTo>
                  <a:pt x="2457" y="6229"/>
                </a:lnTo>
                <a:lnTo>
                  <a:pt x="2486" y="6222"/>
                </a:lnTo>
                <a:lnTo>
                  <a:pt x="2514" y="6217"/>
                </a:lnTo>
                <a:lnTo>
                  <a:pt x="2571" y="6208"/>
                </a:lnTo>
                <a:lnTo>
                  <a:pt x="2627" y="6203"/>
                </a:lnTo>
                <a:lnTo>
                  <a:pt x="2681" y="6198"/>
                </a:lnTo>
                <a:lnTo>
                  <a:pt x="2728" y="6194"/>
                </a:lnTo>
                <a:lnTo>
                  <a:pt x="2640" y="6241"/>
                </a:lnTo>
                <a:lnTo>
                  <a:pt x="2557" y="6285"/>
                </a:lnTo>
                <a:lnTo>
                  <a:pt x="2479" y="6323"/>
                </a:lnTo>
                <a:lnTo>
                  <a:pt x="2406" y="6357"/>
                </a:lnTo>
                <a:lnTo>
                  <a:pt x="2370" y="6372"/>
                </a:lnTo>
                <a:lnTo>
                  <a:pt x="2333" y="6386"/>
                </a:lnTo>
                <a:lnTo>
                  <a:pt x="2297" y="6400"/>
                </a:lnTo>
                <a:lnTo>
                  <a:pt x="2262" y="6414"/>
                </a:lnTo>
                <a:lnTo>
                  <a:pt x="2226" y="6426"/>
                </a:lnTo>
                <a:lnTo>
                  <a:pt x="2190" y="6437"/>
                </a:lnTo>
                <a:lnTo>
                  <a:pt x="2153" y="6449"/>
                </a:lnTo>
                <a:lnTo>
                  <a:pt x="2117" y="6459"/>
                </a:lnTo>
                <a:lnTo>
                  <a:pt x="2078" y="6468"/>
                </a:lnTo>
                <a:lnTo>
                  <a:pt x="2040" y="6477"/>
                </a:lnTo>
                <a:lnTo>
                  <a:pt x="1999" y="6486"/>
                </a:lnTo>
                <a:lnTo>
                  <a:pt x="1959" y="6493"/>
                </a:lnTo>
                <a:lnTo>
                  <a:pt x="1871" y="6509"/>
                </a:lnTo>
                <a:lnTo>
                  <a:pt x="1777" y="6523"/>
                </a:lnTo>
                <a:lnTo>
                  <a:pt x="1673" y="6535"/>
                </a:lnTo>
                <a:lnTo>
                  <a:pt x="1561" y="6547"/>
                </a:lnTo>
                <a:lnTo>
                  <a:pt x="1438" y="6560"/>
                </a:lnTo>
                <a:lnTo>
                  <a:pt x="1303" y="6571"/>
                </a:lnTo>
                <a:lnTo>
                  <a:pt x="1237" y="6575"/>
                </a:lnTo>
                <a:lnTo>
                  <a:pt x="1198" y="6579"/>
                </a:lnTo>
                <a:lnTo>
                  <a:pt x="1188" y="6581"/>
                </a:lnTo>
                <a:lnTo>
                  <a:pt x="1184" y="6584"/>
                </a:lnTo>
                <a:lnTo>
                  <a:pt x="1186" y="6585"/>
                </a:lnTo>
                <a:lnTo>
                  <a:pt x="1192" y="6586"/>
                </a:lnTo>
                <a:lnTo>
                  <a:pt x="1217" y="6590"/>
                </a:lnTo>
                <a:lnTo>
                  <a:pt x="1258" y="6593"/>
                </a:lnTo>
                <a:lnTo>
                  <a:pt x="1312" y="6595"/>
                </a:lnTo>
                <a:lnTo>
                  <a:pt x="1375" y="6598"/>
                </a:lnTo>
                <a:lnTo>
                  <a:pt x="1444" y="6598"/>
                </a:lnTo>
                <a:lnTo>
                  <a:pt x="1518" y="6599"/>
                </a:lnTo>
                <a:lnTo>
                  <a:pt x="1592" y="6598"/>
                </a:lnTo>
                <a:lnTo>
                  <a:pt x="1664" y="6596"/>
                </a:lnTo>
                <a:lnTo>
                  <a:pt x="1732" y="6595"/>
                </a:lnTo>
                <a:lnTo>
                  <a:pt x="1791" y="6591"/>
                </a:lnTo>
                <a:lnTo>
                  <a:pt x="1816" y="6589"/>
                </a:lnTo>
                <a:lnTo>
                  <a:pt x="1839" y="6588"/>
                </a:lnTo>
                <a:lnTo>
                  <a:pt x="1857" y="6584"/>
                </a:lnTo>
                <a:lnTo>
                  <a:pt x="1872" y="6581"/>
                </a:lnTo>
                <a:lnTo>
                  <a:pt x="1894" y="6577"/>
                </a:lnTo>
                <a:lnTo>
                  <a:pt x="1910" y="6575"/>
                </a:lnTo>
                <a:lnTo>
                  <a:pt x="1920" y="6575"/>
                </a:lnTo>
                <a:lnTo>
                  <a:pt x="1927" y="6576"/>
                </a:lnTo>
                <a:lnTo>
                  <a:pt x="1928" y="6577"/>
                </a:lnTo>
                <a:lnTo>
                  <a:pt x="1928" y="6580"/>
                </a:lnTo>
                <a:lnTo>
                  <a:pt x="1927" y="6581"/>
                </a:lnTo>
                <a:lnTo>
                  <a:pt x="1924" y="6584"/>
                </a:lnTo>
                <a:lnTo>
                  <a:pt x="1918" y="6590"/>
                </a:lnTo>
                <a:lnTo>
                  <a:pt x="1908" y="6596"/>
                </a:lnTo>
                <a:lnTo>
                  <a:pt x="1880" y="6614"/>
                </a:lnTo>
                <a:lnTo>
                  <a:pt x="1845" y="6633"/>
                </a:lnTo>
                <a:lnTo>
                  <a:pt x="1806" y="6655"/>
                </a:lnTo>
                <a:lnTo>
                  <a:pt x="1766" y="6677"/>
                </a:lnTo>
                <a:lnTo>
                  <a:pt x="1774" y="6672"/>
                </a:lnTo>
                <a:lnTo>
                  <a:pt x="1779" y="6668"/>
                </a:lnTo>
                <a:lnTo>
                  <a:pt x="1780" y="6666"/>
                </a:lnTo>
                <a:lnTo>
                  <a:pt x="1782" y="6665"/>
                </a:lnTo>
                <a:lnTo>
                  <a:pt x="1780" y="6664"/>
                </a:lnTo>
                <a:lnTo>
                  <a:pt x="1779" y="6665"/>
                </a:lnTo>
                <a:lnTo>
                  <a:pt x="1761" y="6672"/>
                </a:lnTo>
                <a:lnTo>
                  <a:pt x="1720" y="6691"/>
                </a:lnTo>
                <a:lnTo>
                  <a:pt x="1710" y="6691"/>
                </a:lnTo>
                <a:lnTo>
                  <a:pt x="1699" y="6693"/>
                </a:lnTo>
                <a:lnTo>
                  <a:pt x="1687" y="6697"/>
                </a:lnTo>
                <a:lnTo>
                  <a:pt x="1676" y="6702"/>
                </a:lnTo>
                <a:lnTo>
                  <a:pt x="1672" y="6705"/>
                </a:lnTo>
                <a:lnTo>
                  <a:pt x="1670" y="6707"/>
                </a:lnTo>
                <a:lnTo>
                  <a:pt x="1667" y="6711"/>
                </a:lnTo>
                <a:lnTo>
                  <a:pt x="1667" y="6714"/>
                </a:lnTo>
                <a:lnTo>
                  <a:pt x="1668" y="6716"/>
                </a:lnTo>
                <a:lnTo>
                  <a:pt x="1672" y="6719"/>
                </a:lnTo>
                <a:lnTo>
                  <a:pt x="1677" y="6721"/>
                </a:lnTo>
                <a:lnTo>
                  <a:pt x="1685" y="6724"/>
                </a:lnTo>
                <a:lnTo>
                  <a:pt x="1701" y="6716"/>
                </a:lnTo>
                <a:lnTo>
                  <a:pt x="1718" y="6706"/>
                </a:lnTo>
                <a:lnTo>
                  <a:pt x="1703" y="6717"/>
                </a:lnTo>
                <a:lnTo>
                  <a:pt x="1691" y="6726"/>
                </a:lnTo>
                <a:lnTo>
                  <a:pt x="1648" y="6754"/>
                </a:lnTo>
                <a:lnTo>
                  <a:pt x="1602" y="6785"/>
                </a:lnTo>
                <a:lnTo>
                  <a:pt x="1557" y="6815"/>
                </a:lnTo>
                <a:lnTo>
                  <a:pt x="1517" y="6843"/>
                </a:lnTo>
                <a:lnTo>
                  <a:pt x="1561" y="6814"/>
                </a:lnTo>
                <a:lnTo>
                  <a:pt x="1605" y="6785"/>
                </a:lnTo>
                <a:lnTo>
                  <a:pt x="1648" y="6756"/>
                </a:lnTo>
                <a:lnTo>
                  <a:pt x="1691" y="6726"/>
                </a:lnTo>
                <a:lnTo>
                  <a:pt x="1713" y="6728"/>
                </a:lnTo>
                <a:lnTo>
                  <a:pt x="1729" y="6728"/>
                </a:lnTo>
                <a:lnTo>
                  <a:pt x="1743" y="6726"/>
                </a:lnTo>
                <a:lnTo>
                  <a:pt x="1752" y="6724"/>
                </a:lnTo>
                <a:lnTo>
                  <a:pt x="1759" y="6722"/>
                </a:lnTo>
                <a:lnTo>
                  <a:pt x="1763" y="6720"/>
                </a:lnTo>
                <a:lnTo>
                  <a:pt x="1764" y="6719"/>
                </a:lnTo>
                <a:lnTo>
                  <a:pt x="1763" y="6717"/>
                </a:lnTo>
                <a:lnTo>
                  <a:pt x="1759" y="6717"/>
                </a:lnTo>
                <a:lnTo>
                  <a:pt x="1755" y="6719"/>
                </a:lnTo>
                <a:lnTo>
                  <a:pt x="1747" y="6721"/>
                </a:lnTo>
                <a:lnTo>
                  <a:pt x="1741" y="6725"/>
                </a:lnTo>
                <a:lnTo>
                  <a:pt x="1732" y="6731"/>
                </a:lnTo>
                <a:lnTo>
                  <a:pt x="1723" y="6742"/>
                </a:lnTo>
                <a:lnTo>
                  <a:pt x="1714" y="6753"/>
                </a:lnTo>
                <a:lnTo>
                  <a:pt x="1705" y="6768"/>
                </a:lnTo>
                <a:lnTo>
                  <a:pt x="1671" y="6781"/>
                </a:lnTo>
                <a:lnTo>
                  <a:pt x="1640" y="6794"/>
                </a:lnTo>
                <a:lnTo>
                  <a:pt x="1611" y="6805"/>
                </a:lnTo>
                <a:lnTo>
                  <a:pt x="1584" y="6818"/>
                </a:lnTo>
                <a:lnTo>
                  <a:pt x="1559" y="6828"/>
                </a:lnTo>
                <a:lnTo>
                  <a:pt x="1536" y="6840"/>
                </a:lnTo>
                <a:lnTo>
                  <a:pt x="1515" y="6850"/>
                </a:lnTo>
                <a:lnTo>
                  <a:pt x="1496" y="6860"/>
                </a:lnTo>
                <a:lnTo>
                  <a:pt x="1496" y="6859"/>
                </a:lnTo>
                <a:lnTo>
                  <a:pt x="1496" y="6857"/>
                </a:lnTo>
                <a:lnTo>
                  <a:pt x="1495" y="6857"/>
                </a:lnTo>
                <a:lnTo>
                  <a:pt x="1493" y="6856"/>
                </a:lnTo>
                <a:lnTo>
                  <a:pt x="1484" y="6855"/>
                </a:lnTo>
                <a:lnTo>
                  <a:pt x="1471" y="6855"/>
                </a:lnTo>
                <a:lnTo>
                  <a:pt x="1470" y="6852"/>
                </a:lnTo>
                <a:lnTo>
                  <a:pt x="1468" y="6851"/>
                </a:lnTo>
                <a:lnTo>
                  <a:pt x="1465" y="6849"/>
                </a:lnTo>
                <a:lnTo>
                  <a:pt x="1462" y="6847"/>
                </a:lnTo>
                <a:lnTo>
                  <a:pt x="1452" y="6846"/>
                </a:lnTo>
                <a:lnTo>
                  <a:pt x="1440" y="6845"/>
                </a:lnTo>
                <a:lnTo>
                  <a:pt x="1410" y="6846"/>
                </a:lnTo>
                <a:lnTo>
                  <a:pt x="1373" y="6849"/>
                </a:lnTo>
                <a:lnTo>
                  <a:pt x="1335" y="6851"/>
                </a:lnTo>
                <a:lnTo>
                  <a:pt x="1295" y="6854"/>
                </a:lnTo>
                <a:lnTo>
                  <a:pt x="1277" y="6854"/>
                </a:lnTo>
                <a:lnTo>
                  <a:pt x="1261" y="6854"/>
                </a:lnTo>
                <a:lnTo>
                  <a:pt x="1245" y="6852"/>
                </a:lnTo>
                <a:lnTo>
                  <a:pt x="1233" y="6850"/>
                </a:lnTo>
                <a:lnTo>
                  <a:pt x="1237" y="6855"/>
                </a:lnTo>
                <a:lnTo>
                  <a:pt x="1242" y="6860"/>
                </a:lnTo>
                <a:lnTo>
                  <a:pt x="1248" y="6864"/>
                </a:lnTo>
                <a:lnTo>
                  <a:pt x="1253" y="6868"/>
                </a:lnTo>
                <a:lnTo>
                  <a:pt x="1267" y="6875"/>
                </a:lnTo>
                <a:lnTo>
                  <a:pt x="1284" y="6880"/>
                </a:lnTo>
                <a:lnTo>
                  <a:pt x="1300" y="6884"/>
                </a:lnTo>
                <a:lnTo>
                  <a:pt x="1318" y="6885"/>
                </a:lnTo>
                <a:lnTo>
                  <a:pt x="1337" y="6887"/>
                </a:lnTo>
                <a:lnTo>
                  <a:pt x="1356" y="6888"/>
                </a:lnTo>
                <a:lnTo>
                  <a:pt x="1375" y="6887"/>
                </a:lnTo>
                <a:lnTo>
                  <a:pt x="1394" y="6885"/>
                </a:lnTo>
                <a:lnTo>
                  <a:pt x="1414" y="6883"/>
                </a:lnTo>
                <a:lnTo>
                  <a:pt x="1430" y="6880"/>
                </a:lnTo>
                <a:lnTo>
                  <a:pt x="1461" y="6874"/>
                </a:lnTo>
                <a:lnTo>
                  <a:pt x="1484" y="6868"/>
                </a:lnTo>
                <a:lnTo>
                  <a:pt x="1463" y="6879"/>
                </a:lnTo>
                <a:lnTo>
                  <a:pt x="1445" y="6889"/>
                </a:lnTo>
                <a:lnTo>
                  <a:pt x="1430" y="6901"/>
                </a:lnTo>
                <a:lnTo>
                  <a:pt x="1415" y="6911"/>
                </a:lnTo>
                <a:close/>
                <a:moveTo>
                  <a:pt x="3347" y="3194"/>
                </a:moveTo>
                <a:lnTo>
                  <a:pt x="3347" y="3194"/>
                </a:lnTo>
                <a:lnTo>
                  <a:pt x="3348" y="3194"/>
                </a:lnTo>
                <a:lnTo>
                  <a:pt x="3347" y="3194"/>
                </a:lnTo>
                <a:lnTo>
                  <a:pt x="3347" y="3194"/>
                </a:lnTo>
                <a:lnTo>
                  <a:pt x="3340" y="3198"/>
                </a:lnTo>
                <a:lnTo>
                  <a:pt x="3334" y="3199"/>
                </a:lnTo>
                <a:lnTo>
                  <a:pt x="3328" y="3199"/>
                </a:lnTo>
                <a:lnTo>
                  <a:pt x="3321" y="3195"/>
                </a:lnTo>
                <a:lnTo>
                  <a:pt x="3314" y="3191"/>
                </a:lnTo>
                <a:lnTo>
                  <a:pt x="3307" y="3186"/>
                </a:lnTo>
                <a:lnTo>
                  <a:pt x="3300" y="3181"/>
                </a:lnTo>
                <a:lnTo>
                  <a:pt x="3293" y="3175"/>
                </a:lnTo>
                <a:lnTo>
                  <a:pt x="3282" y="3163"/>
                </a:lnTo>
                <a:lnTo>
                  <a:pt x="3274" y="3154"/>
                </a:lnTo>
                <a:lnTo>
                  <a:pt x="3273" y="3152"/>
                </a:lnTo>
                <a:lnTo>
                  <a:pt x="3272" y="3152"/>
                </a:lnTo>
                <a:lnTo>
                  <a:pt x="3273" y="3153"/>
                </a:lnTo>
                <a:lnTo>
                  <a:pt x="3275" y="3157"/>
                </a:lnTo>
                <a:lnTo>
                  <a:pt x="3281" y="3156"/>
                </a:lnTo>
                <a:lnTo>
                  <a:pt x="3287" y="3156"/>
                </a:lnTo>
                <a:lnTo>
                  <a:pt x="3295" y="3157"/>
                </a:lnTo>
                <a:lnTo>
                  <a:pt x="3303" y="3160"/>
                </a:lnTo>
                <a:lnTo>
                  <a:pt x="3321" y="3167"/>
                </a:lnTo>
                <a:lnTo>
                  <a:pt x="3339" y="3176"/>
                </a:lnTo>
                <a:lnTo>
                  <a:pt x="3353" y="3186"/>
                </a:lnTo>
                <a:lnTo>
                  <a:pt x="3361" y="3193"/>
                </a:lnTo>
                <a:lnTo>
                  <a:pt x="3362" y="3194"/>
                </a:lnTo>
                <a:lnTo>
                  <a:pt x="3362" y="3195"/>
                </a:lnTo>
                <a:lnTo>
                  <a:pt x="3361" y="3196"/>
                </a:lnTo>
                <a:lnTo>
                  <a:pt x="3359" y="3196"/>
                </a:lnTo>
                <a:lnTo>
                  <a:pt x="3354" y="3196"/>
                </a:lnTo>
                <a:lnTo>
                  <a:pt x="3347" y="3194"/>
                </a:lnTo>
                <a:close/>
                <a:moveTo>
                  <a:pt x="9375" y="8740"/>
                </a:moveTo>
                <a:lnTo>
                  <a:pt x="9383" y="8741"/>
                </a:lnTo>
                <a:lnTo>
                  <a:pt x="9390" y="8743"/>
                </a:lnTo>
                <a:lnTo>
                  <a:pt x="9382" y="8741"/>
                </a:lnTo>
                <a:lnTo>
                  <a:pt x="9375" y="8740"/>
                </a:lnTo>
                <a:lnTo>
                  <a:pt x="9364" y="8718"/>
                </a:lnTo>
                <a:lnTo>
                  <a:pt x="9358" y="8703"/>
                </a:lnTo>
                <a:lnTo>
                  <a:pt x="9355" y="8698"/>
                </a:lnTo>
                <a:lnTo>
                  <a:pt x="9355" y="8694"/>
                </a:lnTo>
                <a:lnTo>
                  <a:pt x="9355" y="8692"/>
                </a:lnTo>
                <a:lnTo>
                  <a:pt x="9356" y="8690"/>
                </a:lnTo>
                <a:lnTo>
                  <a:pt x="9360" y="8690"/>
                </a:lnTo>
                <a:lnTo>
                  <a:pt x="9367" y="8697"/>
                </a:lnTo>
                <a:lnTo>
                  <a:pt x="9375" y="8704"/>
                </a:lnTo>
                <a:lnTo>
                  <a:pt x="9387" y="8716"/>
                </a:lnTo>
                <a:lnTo>
                  <a:pt x="9411" y="8745"/>
                </a:lnTo>
                <a:lnTo>
                  <a:pt x="9435" y="8777"/>
                </a:lnTo>
                <a:lnTo>
                  <a:pt x="9447" y="8794"/>
                </a:lnTo>
                <a:lnTo>
                  <a:pt x="9456" y="8809"/>
                </a:lnTo>
                <a:lnTo>
                  <a:pt x="9463" y="8822"/>
                </a:lnTo>
                <a:lnTo>
                  <a:pt x="9468" y="8833"/>
                </a:lnTo>
                <a:lnTo>
                  <a:pt x="9461" y="8829"/>
                </a:lnTo>
                <a:lnTo>
                  <a:pt x="9453" y="8825"/>
                </a:lnTo>
                <a:lnTo>
                  <a:pt x="9447" y="8820"/>
                </a:lnTo>
                <a:lnTo>
                  <a:pt x="9442" y="8814"/>
                </a:lnTo>
                <a:lnTo>
                  <a:pt x="9432" y="8801"/>
                </a:lnTo>
                <a:lnTo>
                  <a:pt x="9423" y="8786"/>
                </a:lnTo>
                <a:lnTo>
                  <a:pt x="9414" y="8772"/>
                </a:lnTo>
                <a:lnTo>
                  <a:pt x="9404" y="8758"/>
                </a:lnTo>
                <a:lnTo>
                  <a:pt x="9397" y="8752"/>
                </a:lnTo>
                <a:lnTo>
                  <a:pt x="9391" y="8746"/>
                </a:lnTo>
                <a:lnTo>
                  <a:pt x="9384" y="8743"/>
                </a:lnTo>
                <a:lnTo>
                  <a:pt x="9375" y="8740"/>
                </a:lnTo>
                <a:close/>
                <a:moveTo>
                  <a:pt x="14077" y="6467"/>
                </a:moveTo>
                <a:lnTo>
                  <a:pt x="14080" y="6465"/>
                </a:lnTo>
                <a:lnTo>
                  <a:pt x="14081" y="6465"/>
                </a:lnTo>
                <a:lnTo>
                  <a:pt x="14072" y="6468"/>
                </a:lnTo>
                <a:lnTo>
                  <a:pt x="14077" y="6467"/>
                </a:lnTo>
                <a:close/>
                <a:moveTo>
                  <a:pt x="10426" y="3272"/>
                </a:moveTo>
                <a:lnTo>
                  <a:pt x="10420" y="3277"/>
                </a:lnTo>
                <a:lnTo>
                  <a:pt x="10413" y="3282"/>
                </a:lnTo>
                <a:lnTo>
                  <a:pt x="10421" y="3277"/>
                </a:lnTo>
                <a:lnTo>
                  <a:pt x="10427" y="3272"/>
                </a:lnTo>
                <a:lnTo>
                  <a:pt x="10438" y="3270"/>
                </a:lnTo>
                <a:lnTo>
                  <a:pt x="10445" y="3272"/>
                </a:lnTo>
                <a:lnTo>
                  <a:pt x="10452" y="3273"/>
                </a:lnTo>
                <a:lnTo>
                  <a:pt x="10455" y="3274"/>
                </a:lnTo>
                <a:lnTo>
                  <a:pt x="10455" y="3277"/>
                </a:lnTo>
                <a:lnTo>
                  <a:pt x="10455" y="3278"/>
                </a:lnTo>
                <a:lnTo>
                  <a:pt x="10454" y="3281"/>
                </a:lnTo>
                <a:lnTo>
                  <a:pt x="10453" y="3283"/>
                </a:lnTo>
                <a:lnTo>
                  <a:pt x="10447" y="3289"/>
                </a:lnTo>
                <a:lnTo>
                  <a:pt x="10436" y="3297"/>
                </a:lnTo>
                <a:lnTo>
                  <a:pt x="10426" y="3293"/>
                </a:lnTo>
                <a:lnTo>
                  <a:pt x="10415" y="3292"/>
                </a:lnTo>
                <a:lnTo>
                  <a:pt x="10402" y="3292"/>
                </a:lnTo>
                <a:lnTo>
                  <a:pt x="10389" y="3293"/>
                </a:lnTo>
                <a:lnTo>
                  <a:pt x="10360" y="3298"/>
                </a:lnTo>
                <a:lnTo>
                  <a:pt x="10331" y="3306"/>
                </a:lnTo>
                <a:lnTo>
                  <a:pt x="10303" y="3315"/>
                </a:lnTo>
                <a:lnTo>
                  <a:pt x="10275" y="3321"/>
                </a:lnTo>
                <a:lnTo>
                  <a:pt x="10261" y="3324"/>
                </a:lnTo>
                <a:lnTo>
                  <a:pt x="10249" y="3325"/>
                </a:lnTo>
                <a:lnTo>
                  <a:pt x="10238" y="3325"/>
                </a:lnTo>
                <a:lnTo>
                  <a:pt x="10227" y="3323"/>
                </a:lnTo>
                <a:lnTo>
                  <a:pt x="10241" y="3317"/>
                </a:lnTo>
                <a:lnTo>
                  <a:pt x="10262" y="3311"/>
                </a:lnTo>
                <a:lnTo>
                  <a:pt x="10289" y="3302"/>
                </a:lnTo>
                <a:lnTo>
                  <a:pt x="10317" y="3295"/>
                </a:lnTo>
                <a:lnTo>
                  <a:pt x="10347" y="3287"/>
                </a:lnTo>
                <a:lnTo>
                  <a:pt x="10376" y="3281"/>
                </a:lnTo>
                <a:lnTo>
                  <a:pt x="10403" y="3274"/>
                </a:lnTo>
                <a:lnTo>
                  <a:pt x="10426" y="3272"/>
                </a:lnTo>
                <a:close/>
                <a:moveTo>
                  <a:pt x="9677" y="1743"/>
                </a:moveTo>
                <a:lnTo>
                  <a:pt x="9677" y="1744"/>
                </a:lnTo>
                <a:lnTo>
                  <a:pt x="9676" y="1744"/>
                </a:lnTo>
                <a:lnTo>
                  <a:pt x="9680" y="1743"/>
                </a:lnTo>
                <a:lnTo>
                  <a:pt x="9681" y="1743"/>
                </a:lnTo>
                <a:lnTo>
                  <a:pt x="9680" y="1743"/>
                </a:lnTo>
                <a:lnTo>
                  <a:pt x="9677" y="1743"/>
                </a:lnTo>
                <a:close/>
                <a:moveTo>
                  <a:pt x="2645" y="3314"/>
                </a:moveTo>
                <a:lnTo>
                  <a:pt x="2643" y="3316"/>
                </a:lnTo>
                <a:lnTo>
                  <a:pt x="2643" y="3317"/>
                </a:lnTo>
                <a:lnTo>
                  <a:pt x="2643" y="3317"/>
                </a:lnTo>
                <a:lnTo>
                  <a:pt x="2645" y="3314"/>
                </a:lnTo>
                <a:lnTo>
                  <a:pt x="2683" y="3329"/>
                </a:lnTo>
                <a:lnTo>
                  <a:pt x="2725" y="3345"/>
                </a:lnTo>
                <a:lnTo>
                  <a:pt x="2770" y="3362"/>
                </a:lnTo>
                <a:lnTo>
                  <a:pt x="2813" y="3380"/>
                </a:lnTo>
                <a:lnTo>
                  <a:pt x="2834" y="3390"/>
                </a:lnTo>
                <a:lnTo>
                  <a:pt x="2854" y="3401"/>
                </a:lnTo>
                <a:lnTo>
                  <a:pt x="2874" y="3413"/>
                </a:lnTo>
                <a:lnTo>
                  <a:pt x="2892" y="3426"/>
                </a:lnTo>
                <a:lnTo>
                  <a:pt x="2909" y="3440"/>
                </a:lnTo>
                <a:lnTo>
                  <a:pt x="2924" y="3455"/>
                </a:lnTo>
                <a:lnTo>
                  <a:pt x="2938" y="3471"/>
                </a:lnTo>
                <a:lnTo>
                  <a:pt x="2949" y="3491"/>
                </a:lnTo>
                <a:lnTo>
                  <a:pt x="2935" y="3482"/>
                </a:lnTo>
                <a:lnTo>
                  <a:pt x="2915" y="3470"/>
                </a:lnTo>
                <a:lnTo>
                  <a:pt x="2890" y="3459"/>
                </a:lnTo>
                <a:lnTo>
                  <a:pt x="2862" y="3446"/>
                </a:lnTo>
                <a:lnTo>
                  <a:pt x="2797" y="3418"/>
                </a:lnTo>
                <a:lnTo>
                  <a:pt x="2732" y="3390"/>
                </a:lnTo>
                <a:lnTo>
                  <a:pt x="2701" y="3376"/>
                </a:lnTo>
                <a:lnTo>
                  <a:pt x="2674" y="3362"/>
                </a:lnTo>
                <a:lnTo>
                  <a:pt x="2651" y="3351"/>
                </a:lnTo>
                <a:lnTo>
                  <a:pt x="2634" y="3339"/>
                </a:lnTo>
                <a:lnTo>
                  <a:pt x="2628" y="3334"/>
                </a:lnTo>
                <a:lnTo>
                  <a:pt x="2623" y="3330"/>
                </a:lnTo>
                <a:lnTo>
                  <a:pt x="2622" y="3325"/>
                </a:lnTo>
                <a:lnTo>
                  <a:pt x="2621" y="3323"/>
                </a:lnTo>
                <a:lnTo>
                  <a:pt x="2623" y="3319"/>
                </a:lnTo>
                <a:lnTo>
                  <a:pt x="2628" y="3316"/>
                </a:lnTo>
                <a:lnTo>
                  <a:pt x="2635" y="3315"/>
                </a:lnTo>
                <a:lnTo>
                  <a:pt x="2645" y="3314"/>
                </a:lnTo>
                <a:close/>
                <a:moveTo>
                  <a:pt x="2584" y="3342"/>
                </a:moveTo>
                <a:lnTo>
                  <a:pt x="2576" y="3342"/>
                </a:lnTo>
                <a:lnTo>
                  <a:pt x="2570" y="3342"/>
                </a:lnTo>
                <a:lnTo>
                  <a:pt x="2578" y="3342"/>
                </a:lnTo>
                <a:lnTo>
                  <a:pt x="2584" y="3342"/>
                </a:lnTo>
                <a:lnTo>
                  <a:pt x="2617" y="3363"/>
                </a:lnTo>
                <a:lnTo>
                  <a:pt x="2643" y="3380"/>
                </a:lnTo>
                <a:lnTo>
                  <a:pt x="2653" y="3387"/>
                </a:lnTo>
                <a:lnTo>
                  <a:pt x="2660" y="3394"/>
                </a:lnTo>
                <a:lnTo>
                  <a:pt x="2665" y="3400"/>
                </a:lnTo>
                <a:lnTo>
                  <a:pt x="2668" y="3404"/>
                </a:lnTo>
                <a:lnTo>
                  <a:pt x="2669" y="3405"/>
                </a:lnTo>
                <a:lnTo>
                  <a:pt x="2668" y="3408"/>
                </a:lnTo>
                <a:lnTo>
                  <a:pt x="2668" y="3409"/>
                </a:lnTo>
                <a:lnTo>
                  <a:pt x="2665" y="3409"/>
                </a:lnTo>
                <a:lnTo>
                  <a:pt x="2659" y="3410"/>
                </a:lnTo>
                <a:lnTo>
                  <a:pt x="2650" y="3410"/>
                </a:lnTo>
                <a:lnTo>
                  <a:pt x="2621" y="3407"/>
                </a:lnTo>
                <a:lnTo>
                  <a:pt x="2575" y="3398"/>
                </a:lnTo>
                <a:lnTo>
                  <a:pt x="2556" y="3389"/>
                </a:lnTo>
                <a:lnTo>
                  <a:pt x="2538" y="3381"/>
                </a:lnTo>
                <a:lnTo>
                  <a:pt x="2524" y="3373"/>
                </a:lnTo>
                <a:lnTo>
                  <a:pt x="2513" y="3365"/>
                </a:lnTo>
                <a:lnTo>
                  <a:pt x="2504" y="3357"/>
                </a:lnTo>
                <a:lnTo>
                  <a:pt x="2497" y="3351"/>
                </a:lnTo>
                <a:lnTo>
                  <a:pt x="2495" y="3343"/>
                </a:lnTo>
                <a:lnTo>
                  <a:pt x="2495" y="3338"/>
                </a:lnTo>
                <a:lnTo>
                  <a:pt x="2495" y="3335"/>
                </a:lnTo>
                <a:lnTo>
                  <a:pt x="2496" y="3333"/>
                </a:lnTo>
                <a:lnTo>
                  <a:pt x="2499" y="3330"/>
                </a:lnTo>
                <a:lnTo>
                  <a:pt x="2501" y="3329"/>
                </a:lnTo>
                <a:lnTo>
                  <a:pt x="2509" y="3326"/>
                </a:lnTo>
                <a:lnTo>
                  <a:pt x="2519" y="3326"/>
                </a:lnTo>
                <a:lnTo>
                  <a:pt x="2532" y="3326"/>
                </a:lnTo>
                <a:lnTo>
                  <a:pt x="2547" y="3330"/>
                </a:lnTo>
                <a:lnTo>
                  <a:pt x="2564" y="3334"/>
                </a:lnTo>
                <a:lnTo>
                  <a:pt x="2584" y="3342"/>
                </a:lnTo>
                <a:close/>
                <a:moveTo>
                  <a:pt x="1873" y="6604"/>
                </a:moveTo>
                <a:lnTo>
                  <a:pt x="1898" y="6588"/>
                </a:lnTo>
                <a:lnTo>
                  <a:pt x="1901" y="6585"/>
                </a:lnTo>
                <a:lnTo>
                  <a:pt x="1891" y="6591"/>
                </a:lnTo>
                <a:lnTo>
                  <a:pt x="1871" y="6604"/>
                </a:lnTo>
                <a:lnTo>
                  <a:pt x="1847" y="6621"/>
                </a:lnTo>
                <a:lnTo>
                  <a:pt x="1824" y="6636"/>
                </a:lnTo>
                <a:lnTo>
                  <a:pt x="1806" y="6649"/>
                </a:lnTo>
                <a:lnTo>
                  <a:pt x="1801" y="6652"/>
                </a:lnTo>
                <a:lnTo>
                  <a:pt x="1819" y="6641"/>
                </a:lnTo>
                <a:lnTo>
                  <a:pt x="1836" y="6628"/>
                </a:lnTo>
                <a:lnTo>
                  <a:pt x="1855" y="6616"/>
                </a:lnTo>
                <a:lnTo>
                  <a:pt x="1873" y="6604"/>
                </a:lnTo>
                <a:close/>
                <a:moveTo>
                  <a:pt x="5459" y="1627"/>
                </a:moveTo>
                <a:lnTo>
                  <a:pt x="5459" y="1627"/>
                </a:lnTo>
                <a:lnTo>
                  <a:pt x="5462" y="1626"/>
                </a:lnTo>
                <a:lnTo>
                  <a:pt x="5461" y="1626"/>
                </a:lnTo>
                <a:lnTo>
                  <a:pt x="5459" y="1627"/>
                </a:lnTo>
                <a:close/>
                <a:moveTo>
                  <a:pt x="10229" y="1251"/>
                </a:moveTo>
                <a:lnTo>
                  <a:pt x="10226" y="1254"/>
                </a:lnTo>
                <a:lnTo>
                  <a:pt x="10224" y="1258"/>
                </a:lnTo>
                <a:lnTo>
                  <a:pt x="10221" y="1260"/>
                </a:lnTo>
                <a:lnTo>
                  <a:pt x="10229" y="1251"/>
                </a:lnTo>
                <a:close/>
                <a:moveTo>
                  <a:pt x="5867" y="853"/>
                </a:moveTo>
                <a:lnTo>
                  <a:pt x="5872" y="853"/>
                </a:lnTo>
                <a:lnTo>
                  <a:pt x="5878" y="858"/>
                </a:lnTo>
                <a:lnTo>
                  <a:pt x="5889" y="865"/>
                </a:lnTo>
                <a:lnTo>
                  <a:pt x="5899" y="873"/>
                </a:lnTo>
                <a:lnTo>
                  <a:pt x="5906" y="881"/>
                </a:lnTo>
                <a:lnTo>
                  <a:pt x="5915" y="893"/>
                </a:lnTo>
                <a:lnTo>
                  <a:pt x="5919" y="898"/>
                </a:lnTo>
                <a:lnTo>
                  <a:pt x="5923" y="901"/>
                </a:lnTo>
                <a:lnTo>
                  <a:pt x="5926" y="903"/>
                </a:lnTo>
                <a:lnTo>
                  <a:pt x="5927" y="903"/>
                </a:lnTo>
                <a:lnTo>
                  <a:pt x="5929" y="903"/>
                </a:lnTo>
                <a:lnTo>
                  <a:pt x="5931" y="901"/>
                </a:lnTo>
                <a:lnTo>
                  <a:pt x="5915" y="887"/>
                </a:lnTo>
                <a:lnTo>
                  <a:pt x="5899" y="873"/>
                </a:lnTo>
                <a:lnTo>
                  <a:pt x="5890" y="865"/>
                </a:lnTo>
                <a:lnTo>
                  <a:pt x="5881" y="857"/>
                </a:lnTo>
                <a:lnTo>
                  <a:pt x="5877" y="854"/>
                </a:lnTo>
                <a:lnTo>
                  <a:pt x="5873" y="853"/>
                </a:lnTo>
                <a:lnTo>
                  <a:pt x="5870" y="852"/>
                </a:lnTo>
                <a:lnTo>
                  <a:pt x="5867" y="853"/>
                </a:lnTo>
                <a:close/>
                <a:moveTo>
                  <a:pt x="2105" y="6446"/>
                </a:moveTo>
                <a:lnTo>
                  <a:pt x="2099" y="6450"/>
                </a:lnTo>
                <a:lnTo>
                  <a:pt x="2092" y="6453"/>
                </a:lnTo>
                <a:lnTo>
                  <a:pt x="2099" y="6450"/>
                </a:lnTo>
                <a:lnTo>
                  <a:pt x="2105" y="6446"/>
                </a:lnTo>
                <a:close/>
                <a:moveTo>
                  <a:pt x="6640" y="1687"/>
                </a:moveTo>
                <a:lnTo>
                  <a:pt x="6641" y="1683"/>
                </a:lnTo>
                <a:lnTo>
                  <a:pt x="6641" y="1679"/>
                </a:lnTo>
                <a:lnTo>
                  <a:pt x="6640" y="1680"/>
                </a:lnTo>
                <a:lnTo>
                  <a:pt x="6640" y="1682"/>
                </a:lnTo>
                <a:lnTo>
                  <a:pt x="6640" y="1684"/>
                </a:lnTo>
                <a:lnTo>
                  <a:pt x="6640" y="1687"/>
                </a:lnTo>
                <a:close/>
                <a:moveTo>
                  <a:pt x="10634" y="8603"/>
                </a:moveTo>
                <a:lnTo>
                  <a:pt x="10634" y="8604"/>
                </a:lnTo>
                <a:lnTo>
                  <a:pt x="10634" y="8604"/>
                </a:lnTo>
                <a:lnTo>
                  <a:pt x="10635" y="8605"/>
                </a:lnTo>
                <a:lnTo>
                  <a:pt x="10636" y="8605"/>
                </a:lnTo>
                <a:lnTo>
                  <a:pt x="10635" y="8605"/>
                </a:lnTo>
                <a:lnTo>
                  <a:pt x="10634" y="8603"/>
                </a:lnTo>
                <a:close/>
                <a:moveTo>
                  <a:pt x="1401" y="6919"/>
                </a:moveTo>
                <a:lnTo>
                  <a:pt x="1378" y="6902"/>
                </a:lnTo>
                <a:lnTo>
                  <a:pt x="1364" y="6893"/>
                </a:lnTo>
                <a:lnTo>
                  <a:pt x="1360" y="6892"/>
                </a:lnTo>
                <a:lnTo>
                  <a:pt x="1356" y="6893"/>
                </a:lnTo>
                <a:lnTo>
                  <a:pt x="1355" y="6894"/>
                </a:lnTo>
                <a:lnTo>
                  <a:pt x="1354" y="6898"/>
                </a:lnTo>
                <a:lnTo>
                  <a:pt x="1352" y="6907"/>
                </a:lnTo>
                <a:lnTo>
                  <a:pt x="1352" y="6920"/>
                </a:lnTo>
                <a:lnTo>
                  <a:pt x="1351" y="6927"/>
                </a:lnTo>
                <a:lnTo>
                  <a:pt x="1349" y="6934"/>
                </a:lnTo>
                <a:lnTo>
                  <a:pt x="1346" y="6941"/>
                </a:lnTo>
                <a:lnTo>
                  <a:pt x="1342" y="6948"/>
                </a:lnTo>
                <a:lnTo>
                  <a:pt x="1333" y="6954"/>
                </a:lnTo>
                <a:lnTo>
                  <a:pt x="1328" y="6959"/>
                </a:lnTo>
                <a:lnTo>
                  <a:pt x="1326" y="6962"/>
                </a:lnTo>
                <a:lnTo>
                  <a:pt x="1326" y="6963"/>
                </a:lnTo>
                <a:lnTo>
                  <a:pt x="1333" y="6962"/>
                </a:lnTo>
                <a:lnTo>
                  <a:pt x="1346" y="6955"/>
                </a:lnTo>
                <a:lnTo>
                  <a:pt x="1363" y="6948"/>
                </a:lnTo>
                <a:lnTo>
                  <a:pt x="1379" y="6938"/>
                </a:lnTo>
                <a:lnTo>
                  <a:pt x="1387" y="6933"/>
                </a:lnTo>
                <a:lnTo>
                  <a:pt x="1393" y="6927"/>
                </a:lnTo>
                <a:lnTo>
                  <a:pt x="1398" y="6924"/>
                </a:lnTo>
                <a:lnTo>
                  <a:pt x="1401" y="6919"/>
                </a:lnTo>
                <a:close/>
                <a:moveTo>
                  <a:pt x="1021" y="7172"/>
                </a:moveTo>
                <a:lnTo>
                  <a:pt x="990" y="7179"/>
                </a:lnTo>
                <a:lnTo>
                  <a:pt x="958" y="7188"/>
                </a:lnTo>
                <a:lnTo>
                  <a:pt x="927" y="7197"/>
                </a:lnTo>
                <a:lnTo>
                  <a:pt x="897" y="7206"/>
                </a:lnTo>
                <a:lnTo>
                  <a:pt x="866" y="7216"/>
                </a:lnTo>
                <a:lnTo>
                  <a:pt x="835" y="7227"/>
                </a:lnTo>
                <a:lnTo>
                  <a:pt x="805" y="7237"/>
                </a:lnTo>
                <a:lnTo>
                  <a:pt x="774" y="7247"/>
                </a:lnTo>
                <a:lnTo>
                  <a:pt x="783" y="7253"/>
                </a:lnTo>
                <a:lnTo>
                  <a:pt x="792" y="7257"/>
                </a:lnTo>
                <a:lnTo>
                  <a:pt x="801" y="7261"/>
                </a:lnTo>
                <a:lnTo>
                  <a:pt x="810" y="7263"/>
                </a:lnTo>
                <a:lnTo>
                  <a:pt x="820" y="7265"/>
                </a:lnTo>
                <a:lnTo>
                  <a:pt x="829" y="7266"/>
                </a:lnTo>
                <a:lnTo>
                  <a:pt x="839" y="7265"/>
                </a:lnTo>
                <a:lnTo>
                  <a:pt x="849" y="7265"/>
                </a:lnTo>
                <a:lnTo>
                  <a:pt x="870" y="7261"/>
                </a:lnTo>
                <a:lnTo>
                  <a:pt x="889" y="7255"/>
                </a:lnTo>
                <a:lnTo>
                  <a:pt x="909" y="7246"/>
                </a:lnTo>
                <a:lnTo>
                  <a:pt x="928" y="7237"/>
                </a:lnTo>
                <a:lnTo>
                  <a:pt x="946" y="7227"/>
                </a:lnTo>
                <a:lnTo>
                  <a:pt x="963" y="7215"/>
                </a:lnTo>
                <a:lnTo>
                  <a:pt x="979" y="7205"/>
                </a:lnTo>
                <a:lnTo>
                  <a:pt x="992" y="7195"/>
                </a:lnTo>
                <a:lnTo>
                  <a:pt x="1012" y="7179"/>
                </a:lnTo>
                <a:lnTo>
                  <a:pt x="1021" y="7172"/>
                </a:lnTo>
                <a:close/>
                <a:moveTo>
                  <a:pt x="5936" y="847"/>
                </a:moveTo>
                <a:lnTo>
                  <a:pt x="5931" y="857"/>
                </a:lnTo>
                <a:lnTo>
                  <a:pt x="5928" y="866"/>
                </a:lnTo>
                <a:lnTo>
                  <a:pt x="5928" y="877"/>
                </a:lnTo>
                <a:lnTo>
                  <a:pt x="5928" y="887"/>
                </a:lnTo>
                <a:lnTo>
                  <a:pt x="5931" y="896"/>
                </a:lnTo>
                <a:lnTo>
                  <a:pt x="5935" y="905"/>
                </a:lnTo>
                <a:lnTo>
                  <a:pt x="5937" y="909"/>
                </a:lnTo>
                <a:lnTo>
                  <a:pt x="5941" y="913"/>
                </a:lnTo>
                <a:lnTo>
                  <a:pt x="5943" y="915"/>
                </a:lnTo>
                <a:lnTo>
                  <a:pt x="5949" y="918"/>
                </a:lnTo>
                <a:lnTo>
                  <a:pt x="5947" y="900"/>
                </a:lnTo>
                <a:lnTo>
                  <a:pt x="5946" y="881"/>
                </a:lnTo>
                <a:lnTo>
                  <a:pt x="5945" y="872"/>
                </a:lnTo>
                <a:lnTo>
                  <a:pt x="5942" y="863"/>
                </a:lnTo>
                <a:lnTo>
                  <a:pt x="5940" y="856"/>
                </a:lnTo>
                <a:lnTo>
                  <a:pt x="5936" y="847"/>
                </a:lnTo>
                <a:close/>
                <a:moveTo>
                  <a:pt x="7384" y="833"/>
                </a:moveTo>
                <a:lnTo>
                  <a:pt x="7382" y="834"/>
                </a:lnTo>
                <a:lnTo>
                  <a:pt x="7382" y="835"/>
                </a:lnTo>
                <a:lnTo>
                  <a:pt x="7386" y="833"/>
                </a:lnTo>
                <a:lnTo>
                  <a:pt x="7388" y="833"/>
                </a:lnTo>
                <a:lnTo>
                  <a:pt x="7386" y="833"/>
                </a:lnTo>
                <a:lnTo>
                  <a:pt x="7384" y="833"/>
                </a:lnTo>
                <a:close/>
                <a:moveTo>
                  <a:pt x="14373" y="6520"/>
                </a:moveTo>
                <a:lnTo>
                  <a:pt x="14371" y="6519"/>
                </a:lnTo>
                <a:lnTo>
                  <a:pt x="14370" y="6519"/>
                </a:lnTo>
                <a:lnTo>
                  <a:pt x="14371" y="6519"/>
                </a:lnTo>
                <a:lnTo>
                  <a:pt x="14373" y="6519"/>
                </a:lnTo>
                <a:lnTo>
                  <a:pt x="14373" y="6519"/>
                </a:lnTo>
                <a:lnTo>
                  <a:pt x="14373" y="6520"/>
                </a:lnTo>
                <a:close/>
                <a:moveTo>
                  <a:pt x="14315" y="6136"/>
                </a:moveTo>
                <a:lnTo>
                  <a:pt x="14303" y="6136"/>
                </a:lnTo>
                <a:lnTo>
                  <a:pt x="14296" y="6133"/>
                </a:lnTo>
                <a:lnTo>
                  <a:pt x="14299" y="6132"/>
                </a:lnTo>
                <a:lnTo>
                  <a:pt x="14313" y="6131"/>
                </a:lnTo>
                <a:lnTo>
                  <a:pt x="14314" y="6131"/>
                </a:lnTo>
                <a:lnTo>
                  <a:pt x="14315" y="6132"/>
                </a:lnTo>
                <a:lnTo>
                  <a:pt x="14315" y="6134"/>
                </a:lnTo>
                <a:lnTo>
                  <a:pt x="14315" y="6136"/>
                </a:lnTo>
                <a:close/>
                <a:moveTo>
                  <a:pt x="14250" y="6194"/>
                </a:moveTo>
                <a:lnTo>
                  <a:pt x="14248" y="6194"/>
                </a:lnTo>
                <a:lnTo>
                  <a:pt x="14247" y="6194"/>
                </a:lnTo>
                <a:lnTo>
                  <a:pt x="14247" y="6193"/>
                </a:lnTo>
                <a:lnTo>
                  <a:pt x="14248" y="6192"/>
                </a:lnTo>
                <a:lnTo>
                  <a:pt x="14250" y="6188"/>
                </a:lnTo>
                <a:lnTo>
                  <a:pt x="14253" y="6183"/>
                </a:lnTo>
                <a:lnTo>
                  <a:pt x="14254" y="6188"/>
                </a:lnTo>
                <a:lnTo>
                  <a:pt x="14257" y="6192"/>
                </a:lnTo>
                <a:lnTo>
                  <a:pt x="14257" y="6194"/>
                </a:lnTo>
                <a:lnTo>
                  <a:pt x="14257" y="6194"/>
                </a:lnTo>
                <a:lnTo>
                  <a:pt x="14254" y="6195"/>
                </a:lnTo>
                <a:lnTo>
                  <a:pt x="14250" y="6194"/>
                </a:lnTo>
                <a:close/>
                <a:moveTo>
                  <a:pt x="14105" y="6160"/>
                </a:moveTo>
                <a:lnTo>
                  <a:pt x="14101" y="6157"/>
                </a:lnTo>
                <a:lnTo>
                  <a:pt x="14099" y="6153"/>
                </a:lnTo>
                <a:lnTo>
                  <a:pt x="14099" y="6150"/>
                </a:lnTo>
                <a:lnTo>
                  <a:pt x="14099" y="6146"/>
                </a:lnTo>
                <a:lnTo>
                  <a:pt x="14100" y="6142"/>
                </a:lnTo>
                <a:lnTo>
                  <a:pt x="14101" y="6139"/>
                </a:lnTo>
                <a:lnTo>
                  <a:pt x="14104" y="6138"/>
                </a:lnTo>
                <a:lnTo>
                  <a:pt x="14108" y="6138"/>
                </a:lnTo>
                <a:lnTo>
                  <a:pt x="14108" y="6150"/>
                </a:lnTo>
                <a:lnTo>
                  <a:pt x="14105" y="6160"/>
                </a:lnTo>
                <a:close/>
                <a:moveTo>
                  <a:pt x="14089" y="6482"/>
                </a:moveTo>
                <a:lnTo>
                  <a:pt x="14096" y="6481"/>
                </a:lnTo>
                <a:lnTo>
                  <a:pt x="14103" y="6481"/>
                </a:lnTo>
                <a:lnTo>
                  <a:pt x="14096" y="6482"/>
                </a:lnTo>
                <a:lnTo>
                  <a:pt x="14089" y="6482"/>
                </a:lnTo>
                <a:close/>
                <a:moveTo>
                  <a:pt x="14042" y="6483"/>
                </a:moveTo>
                <a:lnTo>
                  <a:pt x="14035" y="6484"/>
                </a:lnTo>
                <a:lnTo>
                  <a:pt x="14031" y="6486"/>
                </a:lnTo>
                <a:lnTo>
                  <a:pt x="14029" y="6486"/>
                </a:lnTo>
                <a:lnTo>
                  <a:pt x="14028" y="6484"/>
                </a:lnTo>
                <a:lnTo>
                  <a:pt x="14031" y="6482"/>
                </a:lnTo>
                <a:lnTo>
                  <a:pt x="14039" y="6477"/>
                </a:lnTo>
                <a:lnTo>
                  <a:pt x="14049" y="6472"/>
                </a:lnTo>
                <a:lnTo>
                  <a:pt x="14062" y="6468"/>
                </a:lnTo>
                <a:lnTo>
                  <a:pt x="14067" y="6467"/>
                </a:lnTo>
                <a:lnTo>
                  <a:pt x="14073" y="6465"/>
                </a:lnTo>
                <a:lnTo>
                  <a:pt x="14079" y="6465"/>
                </a:lnTo>
                <a:lnTo>
                  <a:pt x="14082" y="6465"/>
                </a:lnTo>
                <a:lnTo>
                  <a:pt x="14082" y="6470"/>
                </a:lnTo>
                <a:lnTo>
                  <a:pt x="14082" y="6474"/>
                </a:lnTo>
                <a:lnTo>
                  <a:pt x="14081" y="6477"/>
                </a:lnTo>
                <a:lnTo>
                  <a:pt x="14080" y="6478"/>
                </a:lnTo>
                <a:lnTo>
                  <a:pt x="14076" y="6479"/>
                </a:lnTo>
                <a:lnTo>
                  <a:pt x="14070" y="6478"/>
                </a:lnTo>
                <a:lnTo>
                  <a:pt x="14065" y="6477"/>
                </a:lnTo>
                <a:lnTo>
                  <a:pt x="14057" y="6477"/>
                </a:lnTo>
                <a:lnTo>
                  <a:pt x="14053" y="6477"/>
                </a:lnTo>
                <a:lnTo>
                  <a:pt x="14049" y="6478"/>
                </a:lnTo>
                <a:lnTo>
                  <a:pt x="14045" y="6481"/>
                </a:lnTo>
                <a:lnTo>
                  <a:pt x="14042" y="6483"/>
                </a:lnTo>
                <a:close/>
                <a:moveTo>
                  <a:pt x="13805" y="6465"/>
                </a:moveTo>
                <a:lnTo>
                  <a:pt x="13787" y="6467"/>
                </a:lnTo>
                <a:lnTo>
                  <a:pt x="13777" y="6467"/>
                </a:lnTo>
                <a:lnTo>
                  <a:pt x="13773" y="6467"/>
                </a:lnTo>
                <a:lnTo>
                  <a:pt x="13772" y="6467"/>
                </a:lnTo>
                <a:lnTo>
                  <a:pt x="13772" y="6465"/>
                </a:lnTo>
                <a:lnTo>
                  <a:pt x="13773" y="6464"/>
                </a:lnTo>
                <a:lnTo>
                  <a:pt x="13778" y="6462"/>
                </a:lnTo>
                <a:lnTo>
                  <a:pt x="13787" y="6459"/>
                </a:lnTo>
                <a:lnTo>
                  <a:pt x="13800" y="6455"/>
                </a:lnTo>
                <a:lnTo>
                  <a:pt x="13815" y="6451"/>
                </a:lnTo>
                <a:lnTo>
                  <a:pt x="13831" y="6449"/>
                </a:lnTo>
                <a:lnTo>
                  <a:pt x="13849" y="6446"/>
                </a:lnTo>
                <a:lnTo>
                  <a:pt x="13868" y="6444"/>
                </a:lnTo>
                <a:lnTo>
                  <a:pt x="13886" y="6442"/>
                </a:lnTo>
                <a:lnTo>
                  <a:pt x="13904" y="6442"/>
                </a:lnTo>
                <a:lnTo>
                  <a:pt x="13919" y="6444"/>
                </a:lnTo>
                <a:lnTo>
                  <a:pt x="13926" y="6445"/>
                </a:lnTo>
                <a:lnTo>
                  <a:pt x="13932" y="6448"/>
                </a:lnTo>
                <a:lnTo>
                  <a:pt x="13937" y="6450"/>
                </a:lnTo>
                <a:lnTo>
                  <a:pt x="13942" y="6453"/>
                </a:lnTo>
                <a:lnTo>
                  <a:pt x="13960" y="6467"/>
                </a:lnTo>
                <a:lnTo>
                  <a:pt x="13972" y="6477"/>
                </a:lnTo>
                <a:lnTo>
                  <a:pt x="13975" y="6481"/>
                </a:lnTo>
                <a:lnTo>
                  <a:pt x="13977" y="6484"/>
                </a:lnTo>
                <a:lnTo>
                  <a:pt x="13978" y="6487"/>
                </a:lnTo>
                <a:lnTo>
                  <a:pt x="13978" y="6490"/>
                </a:lnTo>
                <a:lnTo>
                  <a:pt x="13977" y="6491"/>
                </a:lnTo>
                <a:lnTo>
                  <a:pt x="13975" y="6492"/>
                </a:lnTo>
                <a:lnTo>
                  <a:pt x="13972" y="6493"/>
                </a:lnTo>
                <a:lnTo>
                  <a:pt x="13968" y="6493"/>
                </a:lnTo>
                <a:lnTo>
                  <a:pt x="13958" y="6492"/>
                </a:lnTo>
                <a:lnTo>
                  <a:pt x="13944" y="6490"/>
                </a:lnTo>
                <a:lnTo>
                  <a:pt x="13910" y="6483"/>
                </a:lnTo>
                <a:lnTo>
                  <a:pt x="13874" y="6474"/>
                </a:lnTo>
                <a:lnTo>
                  <a:pt x="13856" y="6470"/>
                </a:lnTo>
                <a:lnTo>
                  <a:pt x="13837" y="6468"/>
                </a:lnTo>
                <a:lnTo>
                  <a:pt x="13820" y="6465"/>
                </a:lnTo>
                <a:lnTo>
                  <a:pt x="13805" y="6465"/>
                </a:lnTo>
                <a:close/>
                <a:moveTo>
                  <a:pt x="13747" y="6285"/>
                </a:moveTo>
                <a:lnTo>
                  <a:pt x="13746" y="6285"/>
                </a:lnTo>
                <a:lnTo>
                  <a:pt x="13747" y="6283"/>
                </a:lnTo>
                <a:lnTo>
                  <a:pt x="13749" y="6282"/>
                </a:lnTo>
                <a:lnTo>
                  <a:pt x="13750" y="6282"/>
                </a:lnTo>
                <a:lnTo>
                  <a:pt x="13749" y="6283"/>
                </a:lnTo>
                <a:lnTo>
                  <a:pt x="13747" y="6285"/>
                </a:lnTo>
                <a:close/>
                <a:moveTo>
                  <a:pt x="13642" y="6451"/>
                </a:moveTo>
                <a:lnTo>
                  <a:pt x="13545" y="6448"/>
                </a:lnTo>
                <a:lnTo>
                  <a:pt x="13448" y="6442"/>
                </a:lnTo>
                <a:lnTo>
                  <a:pt x="13350" y="6436"/>
                </a:lnTo>
                <a:lnTo>
                  <a:pt x="13252" y="6430"/>
                </a:lnTo>
                <a:lnTo>
                  <a:pt x="13154" y="6423"/>
                </a:lnTo>
                <a:lnTo>
                  <a:pt x="13056" y="6417"/>
                </a:lnTo>
                <a:lnTo>
                  <a:pt x="12958" y="6412"/>
                </a:lnTo>
                <a:lnTo>
                  <a:pt x="12861" y="6407"/>
                </a:lnTo>
                <a:lnTo>
                  <a:pt x="12895" y="6404"/>
                </a:lnTo>
                <a:lnTo>
                  <a:pt x="12940" y="6402"/>
                </a:lnTo>
                <a:lnTo>
                  <a:pt x="12994" y="6400"/>
                </a:lnTo>
                <a:lnTo>
                  <a:pt x="13053" y="6400"/>
                </a:lnTo>
                <a:lnTo>
                  <a:pt x="13118" y="6400"/>
                </a:lnTo>
                <a:lnTo>
                  <a:pt x="13186" y="6402"/>
                </a:lnTo>
                <a:lnTo>
                  <a:pt x="13255" y="6404"/>
                </a:lnTo>
                <a:lnTo>
                  <a:pt x="13323" y="6407"/>
                </a:lnTo>
                <a:lnTo>
                  <a:pt x="13388" y="6411"/>
                </a:lnTo>
                <a:lnTo>
                  <a:pt x="13451" y="6414"/>
                </a:lnTo>
                <a:lnTo>
                  <a:pt x="13507" y="6418"/>
                </a:lnTo>
                <a:lnTo>
                  <a:pt x="13556" y="6425"/>
                </a:lnTo>
                <a:lnTo>
                  <a:pt x="13577" y="6427"/>
                </a:lnTo>
                <a:lnTo>
                  <a:pt x="13596" y="6430"/>
                </a:lnTo>
                <a:lnTo>
                  <a:pt x="13611" y="6434"/>
                </a:lnTo>
                <a:lnTo>
                  <a:pt x="13624" y="6437"/>
                </a:lnTo>
                <a:lnTo>
                  <a:pt x="13634" y="6440"/>
                </a:lnTo>
                <a:lnTo>
                  <a:pt x="13640" y="6444"/>
                </a:lnTo>
                <a:lnTo>
                  <a:pt x="13643" y="6448"/>
                </a:lnTo>
                <a:lnTo>
                  <a:pt x="13642" y="6451"/>
                </a:lnTo>
                <a:close/>
                <a:moveTo>
                  <a:pt x="12841" y="5609"/>
                </a:moveTo>
                <a:lnTo>
                  <a:pt x="12828" y="5607"/>
                </a:lnTo>
                <a:lnTo>
                  <a:pt x="12820" y="5607"/>
                </a:lnTo>
                <a:lnTo>
                  <a:pt x="12816" y="5606"/>
                </a:lnTo>
                <a:lnTo>
                  <a:pt x="12816" y="5605"/>
                </a:lnTo>
                <a:lnTo>
                  <a:pt x="12824" y="5602"/>
                </a:lnTo>
                <a:lnTo>
                  <a:pt x="12839" y="5601"/>
                </a:lnTo>
                <a:lnTo>
                  <a:pt x="12861" y="5601"/>
                </a:lnTo>
                <a:lnTo>
                  <a:pt x="12883" y="5602"/>
                </a:lnTo>
                <a:lnTo>
                  <a:pt x="12894" y="5604"/>
                </a:lnTo>
                <a:lnTo>
                  <a:pt x="12904" y="5605"/>
                </a:lnTo>
                <a:lnTo>
                  <a:pt x="12913" y="5607"/>
                </a:lnTo>
                <a:lnTo>
                  <a:pt x="12921" y="5611"/>
                </a:lnTo>
                <a:lnTo>
                  <a:pt x="12901" y="5609"/>
                </a:lnTo>
                <a:lnTo>
                  <a:pt x="12881" y="5606"/>
                </a:lnTo>
                <a:lnTo>
                  <a:pt x="12871" y="5605"/>
                </a:lnTo>
                <a:lnTo>
                  <a:pt x="12861" y="5605"/>
                </a:lnTo>
                <a:lnTo>
                  <a:pt x="12851" y="5606"/>
                </a:lnTo>
                <a:lnTo>
                  <a:pt x="12841" y="5609"/>
                </a:lnTo>
                <a:close/>
                <a:moveTo>
                  <a:pt x="12706" y="5576"/>
                </a:moveTo>
                <a:lnTo>
                  <a:pt x="12713" y="5570"/>
                </a:lnTo>
                <a:lnTo>
                  <a:pt x="12720" y="5567"/>
                </a:lnTo>
                <a:lnTo>
                  <a:pt x="12727" y="5565"/>
                </a:lnTo>
                <a:lnTo>
                  <a:pt x="12734" y="5564"/>
                </a:lnTo>
                <a:lnTo>
                  <a:pt x="12739" y="5565"/>
                </a:lnTo>
                <a:lnTo>
                  <a:pt x="12741" y="5568"/>
                </a:lnTo>
                <a:lnTo>
                  <a:pt x="12741" y="5569"/>
                </a:lnTo>
                <a:lnTo>
                  <a:pt x="12741" y="5572"/>
                </a:lnTo>
                <a:lnTo>
                  <a:pt x="12740" y="5574"/>
                </a:lnTo>
                <a:lnTo>
                  <a:pt x="12738" y="5577"/>
                </a:lnTo>
                <a:lnTo>
                  <a:pt x="12746" y="5581"/>
                </a:lnTo>
                <a:lnTo>
                  <a:pt x="12753" y="5583"/>
                </a:lnTo>
                <a:lnTo>
                  <a:pt x="12757" y="5586"/>
                </a:lnTo>
                <a:lnTo>
                  <a:pt x="12758" y="5588"/>
                </a:lnTo>
                <a:lnTo>
                  <a:pt x="12758" y="5590"/>
                </a:lnTo>
                <a:lnTo>
                  <a:pt x="12757" y="5591"/>
                </a:lnTo>
                <a:lnTo>
                  <a:pt x="12754" y="5591"/>
                </a:lnTo>
                <a:lnTo>
                  <a:pt x="12749" y="5592"/>
                </a:lnTo>
                <a:lnTo>
                  <a:pt x="12739" y="5591"/>
                </a:lnTo>
                <a:lnTo>
                  <a:pt x="12727" y="5587"/>
                </a:lnTo>
                <a:lnTo>
                  <a:pt x="12721" y="5586"/>
                </a:lnTo>
                <a:lnTo>
                  <a:pt x="12716" y="5583"/>
                </a:lnTo>
                <a:lnTo>
                  <a:pt x="12711" y="5579"/>
                </a:lnTo>
                <a:lnTo>
                  <a:pt x="12706" y="5576"/>
                </a:lnTo>
                <a:close/>
                <a:moveTo>
                  <a:pt x="12758" y="5504"/>
                </a:moveTo>
                <a:lnTo>
                  <a:pt x="12791" y="5509"/>
                </a:lnTo>
                <a:lnTo>
                  <a:pt x="12842" y="5514"/>
                </a:lnTo>
                <a:lnTo>
                  <a:pt x="12869" y="5517"/>
                </a:lnTo>
                <a:lnTo>
                  <a:pt x="12892" y="5517"/>
                </a:lnTo>
                <a:lnTo>
                  <a:pt x="12902" y="5517"/>
                </a:lnTo>
                <a:lnTo>
                  <a:pt x="12911" y="5516"/>
                </a:lnTo>
                <a:lnTo>
                  <a:pt x="12918" y="5513"/>
                </a:lnTo>
                <a:lnTo>
                  <a:pt x="12923" y="5511"/>
                </a:lnTo>
                <a:lnTo>
                  <a:pt x="12908" y="5514"/>
                </a:lnTo>
                <a:lnTo>
                  <a:pt x="12887" y="5520"/>
                </a:lnTo>
                <a:lnTo>
                  <a:pt x="12860" y="5525"/>
                </a:lnTo>
                <a:lnTo>
                  <a:pt x="12832" y="5528"/>
                </a:lnTo>
                <a:lnTo>
                  <a:pt x="12818" y="5528"/>
                </a:lnTo>
                <a:lnTo>
                  <a:pt x="12805" y="5528"/>
                </a:lnTo>
                <a:lnTo>
                  <a:pt x="12794" y="5527"/>
                </a:lnTo>
                <a:lnTo>
                  <a:pt x="12782" y="5526"/>
                </a:lnTo>
                <a:lnTo>
                  <a:pt x="12773" y="5522"/>
                </a:lnTo>
                <a:lnTo>
                  <a:pt x="12766" y="5518"/>
                </a:lnTo>
                <a:lnTo>
                  <a:pt x="12763" y="5514"/>
                </a:lnTo>
                <a:lnTo>
                  <a:pt x="12760" y="5512"/>
                </a:lnTo>
                <a:lnTo>
                  <a:pt x="12759" y="5508"/>
                </a:lnTo>
                <a:lnTo>
                  <a:pt x="12758" y="5504"/>
                </a:lnTo>
                <a:close/>
                <a:moveTo>
                  <a:pt x="13006" y="5494"/>
                </a:moveTo>
                <a:lnTo>
                  <a:pt x="12997" y="5499"/>
                </a:lnTo>
                <a:lnTo>
                  <a:pt x="12990" y="5503"/>
                </a:lnTo>
                <a:lnTo>
                  <a:pt x="12982" y="5506"/>
                </a:lnTo>
                <a:lnTo>
                  <a:pt x="12973" y="5507"/>
                </a:lnTo>
                <a:lnTo>
                  <a:pt x="12957" y="5509"/>
                </a:lnTo>
                <a:lnTo>
                  <a:pt x="12939" y="5508"/>
                </a:lnTo>
                <a:lnTo>
                  <a:pt x="12955" y="5504"/>
                </a:lnTo>
                <a:lnTo>
                  <a:pt x="12972" y="5500"/>
                </a:lnTo>
                <a:lnTo>
                  <a:pt x="12988" y="5497"/>
                </a:lnTo>
                <a:lnTo>
                  <a:pt x="13006" y="5494"/>
                </a:lnTo>
                <a:close/>
                <a:moveTo>
                  <a:pt x="12957" y="5817"/>
                </a:moveTo>
                <a:lnTo>
                  <a:pt x="12954" y="5817"/>
                </a:lnTo>
                <a:lnTo>
                  <a:pt x="12957" y="5817"/>
                </a:lnTo>
                <a:lnTo>
                  <a:pt x="12957" y="5817"/>
                </a:lnTo>
                <a:close/>
                <a:moveTo>
                  <a:pt x="12944" y="5797"/>
                </a:moveTo>
                <a:lnTo>
                  <a:pt x="12943" y="5801"/>
                </a:lnTo>
                <a:lnTo>
                  <a:pt x="12943" y="5805"/>
                </a:lnTo>
                <a:lnTo>
                  <a:pt x="12944" y="5807"/>
                </a:lnTo>
                <a:lnTo>
                  <a:pt x="12946" y="5811"/>
                </a:lnTo>
                <a:lnTo>
                  <a:pt x="12951" y="5815"/>
                </a:lnTo>
                <a:lnTo>
                  <a:pt x="12957" y="5817"/>
                </a:lnTo>
                <a:lnTo>
                  <a:pt x="12951" y="5817"/>
                </a:lnTo>
                <a:lnTo>
                  <a:pt x="12948" y="5815"/>
                </a:lnTo>
                <a:lnTo>
                  <a:pt x="12944" y="5814"/>
                </a:lnTo>
                <a:lnTo>
                  <a:pt x="12941" y="5810"/>
                </a:lnTo>
                <a:lnTo>
                  <a:pt x="12940" y="5807"/>
                </a:lnTo>
                <a:lnTo>
                  <a:pt x="12940" y="5803"/>
                </a:lnTo>
                <a:lnTo>
                  <a:pt x="12941" y="5801"/>
                </a:lnTo>
                <a:lnTo>
                  <a:pt x="12944" y="5797"/>
                </a:lnTo>
                <a:close/>
                <a:moveTo>
                  <a:pt x="13097" y="5830"/>
                </a:moveTo>
                <a:lnTo>
                  <a:pt x="13075" y="5828"/>
                </a:lnTo>
                <a:lnTo>
                  <a:pt x="13053" y="5826"/>
                </a:lnTo>
                <a:lnTo>
                  <a:pt x="13032" y="5825"/>
                </a:lnTo>
                <a:lnTo>
                  <a:pt x="13010" y="5821"/>
                </a:lnTo>
                <a:lnTo>
                  <a:pt x="13032" y="5823"/>
                </a:lnTo>
                <a:lnTo>
                  <a:pt x="13053" y="5825"/>
                </a:lnTo>
                <a:lnTo>
                  <a:pt x="13075" y="5828"/>
                </a:lnTo>
                <a:lnTo>
                  <a:pt x="13097" y="5830"/>
                </a:lnTo>
                <a:close/>
                <a:moveTo>
                  <a:pt x="12476" y="6255"/>
                </a:moveTo>
                <a:lnTo>
                  <a:pt x="12476" y="6252"/>
                </a:lnTo>
                <a:lnTo>
                  <a:pt x="12479" y="6249"/>
                </a:lnTo>
                <a:lnTo>
                  <a:pt x="12478" y="6253"/>
                </a:lnTo>
                <a:lnTo>
                  <a:pt x="12476" y="6255"/>
                </a:lnTo>
                <a:close/>
                <a:moveTo>
                  <a:pt x="11968" y="4864"/>
                </a:moveTo>
                <a:lnTo>
                  <a:pt x="11991" y="4858"/>
                </a:lnTo>
                <a:lnTo>
                  <a:pt x="12015" y="4853"/>
                </a:lnTo>
                <a:lnTo>
                  <a:pt x="12038" y="4850"/>
                </a:lnTo>
                <a:lnTo>
                  <a:pt x="12063" y="4849"/>
                </a:lnTo>
                <a:lnTo>
                  <a:pt x="12111" y="4849"/>
                </a:lnTo>
                <a:lnTo>
                  <a:pt x="12158" y="4850"/>
                </a:lnTo>
                <a:lnTo>
                  <a:pt x="12147" y="4854"/>
                </a:lnTo>
                <a:lnTo>
                  <a:pt x="12136" y="4858"/>
                </a:lnTo>
                <a:lnTo>
                  <a:pt x="12125" y="4860"/>
                </a:lnTo>
                <a:lnTo>
                  <a:pt x="12114" y="4863"/>
                </a:lnTo>
                <a:lnTo>
                  <a:pt x="12089" y="4865"/>
                </a:lnTo>
                <a:lnTo>
                  <a:pt x="12066" y="4867"/>
                </a:lnTo>
                <a:lnTo>
                  <a:pt x="12017" y="4865"/>
                </a:lnTo>
                <a:lnTo>
                  <a:pt x="11968" y="4864"/>
                </a:lnTo>
                <a:close/>
                <a:moveTo>
                  <a:pt x="12018" y="6435"/>
                </a:moveTo>
                <a:lnTo>
                  <a:pt x="12021" y="6435"/>
                </a:lnTo>
                <a:lnTo>
                  <a:pt x="12023" y="6435"/>
                </a:lnTo>
                <a:lnTo>
                  <a:pt x="12019" y="6436"/>
                </a:lnTo>
                <a:lnTo>
                  <a:pt x="12018" y="6435"/>
                </a:lnTo>
                <a:close/>
                <a:moveTo>
                  <a:pt x="12028" y="4622"/>
                </a:moveTo>
                <a:lnTo>
                  <a:pt x="12027" y="4622"/>
                </a:lnTo>
                <a:lnTo>
                  <a:pt x="12024" y="4621"/>
                </a:lnTo>
                <a:lnTo>
                  <a:pt x="12028" y="4622"/>
                </a:lnTo>
                <a:lnTo>
                  <a:pt x="12028" y="4622"/>
                </a:lnTo>
                <a:close/>
                <a:moveTo>
                  <a:pt x="12060" y="4760"/>
                </a:moveTo>
                <a:lnTo>
                  <a:pt x="12070" y="4756"/>
                </a:lnTo>
                <a:lnTo>
                  <a:pt x="12078" y="4755"/>
                </a:lnTo>
                <a:lnTo>
                  <a:pt x="12083" y="4756"/>
                </a:lnTo>
                <a:lnTo>
                  <a:pt x="12087" y="4758"/>
                </a:lnTo>
                <a:lnTo>
                  <a:pt x="12089" y="4761"/>
                </a:lnTo>
                <a:lnTo>
                  <a:pt x="12092" y="4765"/>
                </a:lnTo>
                <a:lnTo>
                  <a:pt x="12097" y="4767"/>
                </a:lnTo>
                <a:lnTo>
                  <a:pt x="12103" y="4770"/>
                </a:lnTo>
                <a:lnTo>
                  <a:pt x="12082" y="4772"/>
                </a:lnTo>
                <a:lnTo>
                  <a:pt x="12065" y="4775"/>
                </a:lnTo>
                <a:lnTo>
                  <a:pt x="12061" y="4775"/>
                </a:lnTo>
                <a:lnTo>
                  <a:pt x="12059" y="4775"/>
                </a:lnTo>
                <a:lnTo>
                  <a:pt x="12057" y="4775"/>
                </a:lnTo>
                <a:lnTo>
                  <a:pt x="12056" y="4774"/>
                </a:lnTo>
                <a:lnTo>
                  <a:pt x="12056" y="4771"/>
                </a:lnTo>
                <a:lnTo>
                  <a:pt x="12056" y="4769"/>
                </a:lnTo>
                <a:lnTo>
                  <a:pt x="12057" y="4765"/>
                </a:lnTo>
                <a:lnTo>
                  <a:pt x="12060" y="4760"/>
                </a:lnTo>
                <a:close/>
                <a:moveTo>
                  <a:pt x="12192" y="4770"/>
                </a:moveTo>
                <a:lnTo>
                  <a:pt x="12177" y="4771"/>
                </a:lnTo>
                <a:lnTo>
                  <a:pt x="12159" y="4770"/>
                </a:lnTo>
                <a:lnTo>
                  <a:pt x="12144" y="4769"/>
                </a:lnTo>
                <a:lnTo>
                  <a:pt x="12138" y="4767"/>
                </a:lnTo>
                <a:lnTo>
                  <a:pt x="12152" y="4761"/>
                </a:lnTo>
                <a:lnTo>
                  <a:pt x="12172" y="4752"/>
                </a:lnTo>
                <a:lnTo>
                  <a:pt x="12177" y="4752"/>
                </a:lnTo>
                <a:lnTo>
                  <a:pt x="12182" y="4751"/>
                </a:lnTo>
                <a:lnTo>
                  <a:pt x="12186" y="4751"/>
                </a:lnTo>
                <a:lnTo>
                  <a:pt x="12190" y="4752"/>
                </a:lnTo>
                <a:lnTo>
                  <a:pt x="12192" y="4755"/>
                </a:lnTo>
                <a:lnTo>
                  <a:pt x="12194" y="4758"/>
                </a:lnTo>
                <a:lnTo>
                  <a:pt x="12194" y="4763"/>
                </a:lnTo>
                <a:lnTo>
                  <a:pt x="12192" y="4770"/>
                </a:lnTo>
                <a:close/>
                <a:moveTo>
                  <a:pt x="12139" y="4723"/>
                </a:moveTo>
                <a:lnTo>
                  <a:pt x="12139" y="4724"/>
                </a:lnTo>
                <a:lnTo>
                  <a:pt x="12138" y="4724"/>
                </a:lnTo>
                <a:lnTo>
                  <a:pt x="12139" y="4723"/>
                </a:lnTo>
                <a:lnTo>
                  <a:pt x="12139" y="4723"/>
                </a:lnTo>
                <a:close/>
                <a:moveTo>
                  <a:pt x="12359" y="4818"/>
                </a:moveTo>
                <a:lnTo>
                  <a:pt x="12384" y="4821"/>
                </a:lnTo>
                <a:lnTo>
                  <a:pt x="12401" y="4822"/>
                </a:lnTo>
                <a:lnTo>
                  <a:pt x="12410" y="4823"/>
                </a:lnTo>
                <a:lnTo>
                  <a:pt x="12419" y="4825"/>
                </a:lnTo>
                <a:lnTo>
                  <a:pt x="12429" y="4828"/>
                </a:lnTo>
                <a:lnTo>
                  <a:pt x="12441" y="4833"/>
                </a:lnTo>
                <a:lnTo>
                  <a:pt x="12417" y="4837"/>
                </a:lnTo>
                <a:lnTo>
                  <a:pt x="12391" y="4842"/>
                </a:lnTo>
                <a:lnTo>
                  <a:pt x="12366" y="4847"/>
                </a:lnTo>
                <a:lnTo>
                  <a:pt x="12345" y="4850"/>
                </a:lnTo>
                <a:lnTo>
                  <a:pt x="12338" y="4850"/>
                </a:lnTo>
                <a:lnTo>
                  <a:pt x="12331" y="4850"/>
                </a:lnTo>
                <a:lnTo>
                  <a:pt x="12329" y="4850"/>
                </a:lnTo>
                <a:lnTo>
                  <a:pt x="12327" y="4849"/>
                </a:lnTo>
                <a:lnTo>
                  <a:pt x="12327" y="4847"/>
                </a:lnTo>
                <a:lnTo>
                  <a:pt x="12327" y="4846"/>
                </a:lnTo>
                <a:lnTo>
                  <a:pt x="12330" y="4842"/>
                </a:lnTo>
                <a:lnTo>
                  <a:pt x="12335" y="4836"/>
                </a:lnTo>
                <a:lnTo>
                  <a:pt x="12345" y="4828"/>
                </a:lnTo>
                <a:lnTo>
                  <a:pt x="12359" y="4818"/>
                </a:lnTo>
                <a:close/>
                <a:moveTo>
                  <a:pt x="12405" y="4743"/>
                </a:moveTo>
                <a:lnTo>
                  <a:pt x="12409" y="4747"/>
                </a:lnTo>
                <a:lnTo>
                  <a:pt x="12409" y="4749"/>
                </a:lnTo>
                <a:lnTo>
                  <a:pt x="12408" y="4752"/>
                </a:lnTo>
                <a:lnTo>
                  <a:pt x="12405" y="4753"/>
                </a:lnTo>
                <a:lnTo>
                  <a:pt x="12401" y="4753"/>
                </a:lnTo>
                <a:lnTo>
                  <a:pt x="12398" y="4753"/>
                </a:lnTo>
                <a:lnTo>
                  <a:pt x="12394" y="4751"/>
                </a:lnTo>
                <a:lnTo>
                  <a:pt x="12391" y="4748"/>
                </a:lnTo>
                <a:lnTo>
                  <a:pt x="12394" y="4744"/>
                </a:lnTo>
                <a:lnTo>
                  <a:pt x="12398" y="4743"/>
                </a:lnTo>
                <a:lnTo>
                  <a:pt x="12401" y="4743"/>
                </a:lnTo>
                <a:lnTo>
                  <a:pt x="12405" y="4743"/>
                </a:lnTo>
                <a:close/>
                <a:moveTo>
                  <a:pt x="12399" y="5023"/>
                </a:moveTo>
                <a:lnTo>
                  <a:pt x="12400" y="5022"/>
                </a:lnTo>
                <a:lnTo>
                  <a:pt x="12401" y="5022"/>
                </a:lnTo>
                <a:lnTo>
                  <a:pt x="12400" y="5022"/>
                </a:lnTo>
                <a:lnTo>
                  <a:pt x="12399" y="5023"/>
                </a:lnTo>
                <a:close/>
                <a:moveTo>
                  <a:pt x="12324" y="5217"/>
                </a:moveTo>
                <a:lnTo>
                  <a:pt x="12325" y="5215"/>
                </a:lnTo>
                <a:lnTo>
                  <a:pt x="12325" y="5214"/>
                </a:lnTo>
                <a:lnTo>
                  <a:pt x="12326" y="5215"/>
                </a:lnTo>
                <a:lnTo>
                  <a:pt x="12324" y="5217"/>
                </a:lnTo>
                <a:close/>
                <a:moveTo>
                  <a:pt x="12285" y="4959"/>
                </a:moveTo>
                <a:lnTo>
                  <a:pt x="12285" y="4961"/>
                </a:lnTo>
                <a:lnTo>
                  <a:pt x="12284" y="4961"/>
                </a:lnTo>
                <a:lnTo>
                  <a:pt x="12284" y="4959"/>
                </a:lnTo>
                <a:lnTo>
                  <a:pt x="12284" y="4957"/>
                </a:lnTo>
                <a:lnTo>
                  <a:pt x="12285" y="4959"/>
                </a:lnTo>
                <a:lnTo>
                  <a:pt x="12285" y="4959"/>
                </a:lnTo>
                <a:close/>
                <a:moveTo>
                  <a:pt x="11836" y="6598"/>
                </a:moveTo>
                <a:lnTo>
                  <a:pt x="11804" y="6596"/>
                </a:lnTo>
                <a:lnTo>
                  <a:pt x="11772" y="6596"/>
                </a:lnTo>
                <a:lnTo>
                  <a:pt x="11739" y="6598"/>
                </a:lnTo>
                <a:lnTo>
                  <a:pt x="11707" y="6600"/>
                </a:lnTo>
                <a:lnTo>
                  <a:pt x="11714" y="6596"/>
                </a:lnTo>
                <a:lnTo>
                  <a:pt x="11724" y="6593"/>
                </a:lnTo>
                <a:lnTo>
                  <a:pt x="11737" y="6590"/>
                </a:lnTo>
                <a:lnTo>
                  <a:pt x="11751" y="6589"/>
                </a:lnTo>
                <a:lnTo>
                  <a:pt x="11784" y="6588"/>
                </a:lnTo>
                <a:lnTo>
                  <a:pt x="11816" y="6589"/>
                </a:lnTo>
                <a:lnTo>
                  <a:pt x="11842" y="6590"/>
                </a:lnTo>
                <a:lnTo>
                  <a:pt x="11859" y="6593"/>
                </a:lnTo>
                <a:lnTo>
                  <a:pt x="11860" y="6594"/>
                </a:lnTo>
                <a:lnTo>
                  <a:pt x="11861" y="6594"/>
                </a:lnTo>
                <a:lnTo>
                  <a:pt x="11860" y="6595"/>
                </a:lnTo>
                <a:lnTo>
                  <a:pt x="11859" y="6595"/>
                </a:lnTo>
                <a:lnTo>
                  <a:pt x="11850" y="6596"/>
                </a:lnTo>
                <a:lnTo>
                  <a:pt x="11836" y="6598"/>
                </a:lnTo>
                <a:close/>
                <a:moveTo>
                  <a:pt x="11608" y="6598"/>
                </a:moveTo>
                <a:lnTo>
                  <a:pt x="11613" y="6595"/>
                </a:lnTo>
                <a:lnTo>
                  <a:pt x="11617" y="6593"/>
                </a:lnTo>
                <a:lnTo>
                  <a:pt x="11622" y="6591"/>
                </a:lnTo>
                <a:lnTo>
                  <a:pt x="11627" y="6591"/>
                </a:lnTo>
                <a:lnTo>
                  <a:pt x="11637" y="6591"/>
                </a:lnTo>
                <a:lnTo>
                  <a:pt x="11649" y="6595"/>
                </a:lnTo>
                <a:lnTo>
                  <a:pt x="11639" y="6596"/>
                </a:lnTo>
                <a:lnTo>
                  <a:pt x="11628" y="6596"/>
                </a:lnTo>
                <a:lnTo>
                  <a:pt x="11618" y="6598"/>
                </a:lnTo>
                <a:lnTo>
                  <a:pt x="11608" y="6598"/>
                </a:lnTo>
                <a:close/>
                <a:moveTo>
                  <a:pt x="11938" y="6586"/>
                </a:moveTo>
                <a:lnTo>
                  <a:pt x="11930" y="6589"/>
                </a:lnTo>
                <a:lnTo>
                  <a:pt x="11922" y="6590"/>
                </a:lnTo>
                <a:lnTo>
                  <a:pt x="11930" y="6588"/>
                </a:lnTo>
                <a:lnTo>
                  <a:pt x="11938" y="6586"/>
                </a:lnTo>
                <a:close/>
                <a:moveTo>
                  <a:pt x="11942" y="6582"/>
                </a:moveTo>
                <a:lnTo>
                  <a:pt x="11942" y="6582"/>
                </a:lnTo>
                <a:lnTo>
                  <a:pt x="11940" y="6584"/>
                </a:lnTo>
                <a:lnTo>
                  <a:pt x="11940" y="6582"/>
                </a:lnTo>
                <a:lnTo>
                  <a:pt x="11942" y="6582"/>
                </a:lnTo>
                <a:close/>
                <a:moveTo>
                  <a:pt x="12196" y="6595"/>
                </a:moveTo>
                <a:lnTo>
                  <a:pt x="12175" y="6602"/>
                </a:lnTo>
                <a:lnTo>
                  <a:pt x="12148" y="6607"/>
                </a:lnTo>
                <a:lnTo>
                  <a:pt x="12120" y="6610"/>
                </a:lnTo>
                <a:lnTo>
                  <a:pt x="12089" y="6610"/>
                </a:lnTo>
                <a:lnTo>
                  <a:pt x="12074" y="6610"/>
                </a:lnTo>
                <a:lnTo>
                  <a:pt x="12060" y="6609"/>
                </a:lnTo>
                <a:lnTo>
                  <a:pt x="12046" y="6607"/>
                </a:lnTo>
                <a:lnTo>
                  <a:pt x="12033" y="6604"/>
                </a:lnTo>
                <a:lnTo>
                  <a:pt x="12023" y="6600"/>
                </a:lnTo>
                <a:lnTo>
                  <a:pt x="12013" y="6595"/>
                </a:lnTo>
                <a:lnTo>
                  <a:pt x="12005" y="6590"/>
                </a:lnTo>
                <a:lnTo>
                  <a:pt x="11999" y="6582"/>
                </a:lnTo>
                <a:lnTo>
                  <a:pt x="12010" y="6586"/>
                </a:lnTo>
                <a:lnTo>
                  <a:pt x="12023" y="6590"/>
                </a:lnTo>
                <a:lnTo>
                  <a:pt x="12035" y="6593"/>
                </a:lnTo>
                <a:lnTo>
                  <a:pt x="12047" y="6595"/>
                </a:lnTo>
                <a:lnTo>
                  <a:pt x="12071" y="6599"/>
                </a:lnTo>
                <a:lnTo>
                  <a:pt x="12097" y="6600"/>
                </a:lnTo>
                <a:lnTo>
                  <a:pt x="12121" y="6600"/>
                </a:lnTo>
                <a:lnTo>
                  <a:pt x="12147" y="6599"/>
                </a:lnTo>
                <a:lnTo>
                  <a:pt x="12171" y="6598"/>
                </a:lnTo>
                <a:lnTo>
                  <a:pt x="12196" y="6595"/>
                </a:lnTo>
                <a:close/>
                <a:moveTo>
                  <a:pt x="11453" y="6622"/>
                </a:moveTo>
                <a:lnTo>
                  <a:pt x="11449" y="6627"/>
                </a:lnTo>
                <a:lnTo>
                  <a:pt x="11445" y="6630"/>
                </a:lnTo>
                <a:lnTo>
                  <a:pt x="11441" y="6633"/>
                </a:lnTo>
                <a:lnTo>
                  <a:pt x="11437" y="6635"/>
                </a:lnTo>
                <a:lnTo>
                  <a:pt x="11427" y="6637"/>
                </a:lnTo>
                <a:lnTo>
                  <a:pt x="11417" y="6637"/>
                </a:lnTo>
                <a:lnTo>
                  <a:pt x="11391" y="6635"/>
                </a:lnTo>
                <a:lnTo>
                  <a:pt x="11362" y="6631"/>
                </a:lnTo>
                <a:lnTo>
                  <a:pt x="11362" y="6627"/>
                </a:lnTo>
                <a:lnTo>
                  <a:pt x="11363" y="6624"/>
                </a:lnTo>
                <a:lnTo>
                  <a:pt x="11365" y="6621"/>
                </a:lnTo>
                <a:lnTo>
                  <a:pt x="11366" y="6618"/>
                </a:lnTo>
                <a:lnTo>
                  <a:pt x="11372" y="6613"/>
                </a:lnTo>
                <a:lnTo>
                  <a:pt x="11379" y="6609"/>
                </a:lnTo>
                <a:lnTo>
                  <a:pt x="11388" y="6605"/>
                </a:lnTo>
                <a:lnTo>
                  <a:pt x="11398" y="6603"/>
                </a:lnTo>
                <a:lnTo>
                  <a:pt x="11407" y="6602"/>
                </a:lnTo>
                <a:lnTo>
                  <a:pt x="11417" y="6600"/>
                </a:lnTo>
                <a:lnTo>
                  <a:pt x="11427" y="6600"/>
                </a:lnTo>
                <a:lnTo>
                  <a:pt x="11436" y="6602"/>
                </a:lnTo>
                <a:lnTo>
                  <a:pt x="11444" y="6603"/>
                </a:lnTo>
                <a:lnTo>
                  <a:pt x="11451" y="6605"/>
                </a:lnTo>
                <a:lnTo>
                  <a:pt x="11455" y="6608"/>
                </a:lnTo>
                <a:lnTo>
                  <a:pt x="11458" y="6612"/>
                </a:lnTo>
                <a:lnTo>
                  <a:pt x="11458" y="6614"/>
                </a:lnTo>
                <a:lnTo>
                  <a:pt x="11456" y="6617"/>
                </a:lnTo>
                <a:lnTo>
                  <a:pt x="11455" y="6619"/>
                </a:lnTo>
                <a:lnTo>
                  <a:pt x="11453" y="6622"/>
                </a:lnTo>
                <a:close/>
                <a:moveTo>
                  <a:pt x="11286" y="6514"/>
                </a:moveTo>
                <a:lnTo>
                  <a:pt x="11301" y="6507"/>
                </a:lnTo>
                <a:lnTo>
                  <a:pt x="11316" y="6502"/>
                </a:lnTo>
                <a:lnTo>
                  <a:pt x="11333" y="6498"/>
                </a:lnTo>
                <a:lnTo>
                  <a:pt x="11349" y="6496"/>
                </a:lnTo>
                <a:lnTo>
                  <a:pt x="11366" y="6496"/>
                </a:lnTo>
                <a:lnTo>
                  <a:pt x="11383" y="6497"/>
                </a:lnTo>
                <a:lnTo>
                  <a:pt x="11399" y="6498"/>
                </a:lnTo>
                <a:lnTo>
                  <a:pt x="11416" y="6502"/>
                </a:lnTo>
                <a:lnTo>
                  <a:pt x="11400" y="6509"/>
                </a:lnTo>
                <a:lnTo>
                  <a:pt x="11384" y="6514"/>
                </a:lnTo>
                <a:lnTo>
                  <a:pt x="11369" y="6518"/>
                </a:lnTo>
                <a:lnTo>
                  <a:pt x="11352" y="6519"/>
                </a:lnTo>
                <a:lnTo>
                  <a:pt x="11335" y="6520"/>
                </a:lnTo>
                <a:lnTo>
                  <a:pt x="11319" y="6519"/>
                </a:lnTo>
                <a:lnTo>
                  <a:pt x="11302" y="6516"/>
                </a:lnTo>
                <a:lnTo>
                  <a:pt x="11286" y="6514"/>
                </a:lnTo>
                <a:close/>
                <a:moveTo>
                  <a:pt x="11241" y="3069"/>
                </a:moveTo>
                <a:lnTo>
                  <a:pt x="11245" y="3070"/>
                </a:lnTo>
                <a:lnTo>
                  <a:pt x="11248" y="3073"/>
                </a:lnTo>
                <a:lnTo>
                  <a:pt x="11245" y="3073"/>
                </a:lnTo>
                <a:lnTo>
                  <a:pt x="11244" y="3072"/>
                </a:lnTo>
                <a:lnTo>
                  <a:pt x="11242" y="3070"/>
                </a:lnTo>
                <a:lnTo>
                  <a:pt x="11241" y="3069"/>
                </a:lnTo>
                <a:close/>
                <a:moveTo>
                  <a:pt x="11305" y="2887"/>
                </a:moveTo>
                <a:lnTo>
                  <a:pt x="11304" y="2888"/>
                </a:lnTo>
                <a:lnTo>
                  <a:pt x="11302" y="2890"/>
                </a:lnTo>
                <a:lnTo>
                  <a:pt x="11302" y="2888"/>
                </a:lnTo>
                <a:lnTo>
                  <a:pt x="11305" y="2887"/>
                </a:lnTo>
                <a:close/>
                <a:moveTo>
                  <a:pt x="11380" y="8389"/>
                </a:moveTo>
                <a:lnTo>
                  <a:pt x="11379" y="8387"/>
                </a:lnTo>
                <a:lnTo>
                  <a:pt x="11377" y="8385"/>
                </a:lnTo>
                <a:lnTo>
                  <a:pt x="11379" y="8386"/>
                </a:lnTo>
                <a:lnTo>
                  <a:pt x="11380" y="8386"/>
                </a:lnTo>
                <a:lnTo>
                  <a:pt x="11380" y="8387"/>
                </a:lnTo>
                <a:lnTo>
                  <a:pt x="11380" y="8389"/>
                </a:lnTo>
                <a:close/>
                <a:moveTo>
                  <a:pt x="11413" y="7340"/>
                </a:moveTo>
                <a:lnTo>
                  <a:pt x="11407" y="7339"/>
                </a:lnTo>
                <a:lnTo>
                  <a:pt x="11398" y="7333"/>
                </a:lnTo>
                <a:lnTo>
                  <a:pt x="11405" y="7336"/>
                </a:lnTo>
                <a:lnTo>
                  <a:pt x="11413" y="7340"/>
                </a:lnTo>
                <a:close/>
                <a:moveTo>
                  <a:pt x="11482" y="8190"/>
                </a:moveTo>
                <a:lnTo>
                  <a:pt x="11482" y="8190"/>
                </a:lnTo>
                <a:lnTo>
                  <a:pt x="11482" y="8191"/>
                </a:lnTo>
                <a:lnTo>
                  <a:pt x="11481" y="8191"/>
                </a:lnTo>
                <a:lnTo>
                  <a:pt x="11482" y="8190"/>
                </a:lnTo>
                <a:close/>
                <a:moveTo>
                  <a:pt x="11594" y="8344"/>
                </a:moveTo>
                <a:lnTo>
                  <a:pt x="11594" y="8345"/>
                </a:lnTo>
                <a:lnTo>
                  <a:pt x="11594" y="8345"/>
                </a:lnTo>
                <a:lnTo>
                  <a:pt x="11593" y="8343"/>
                </a:lnTo>
                <a:lnTo>
                  <a:pt x="11594" y="8344"/>
                </a:lnTo>
                <a:close/>
                <a:moveTo>
                  <a:pt x="11766" y="7621"/>
                </a:moveTo>
                <a:lnTo>
                  <a:pt x="11767" y="7622"/>
                </a:lnTo>
                <a:lnTo>
                  <a:pt x="11767" y="7622"/>
                </a:lnTo>
                <a:lnTo>
                  <a:pt x="11766" y="7622"/>
                </a:lnTo>
                <a:lnTo>
                  <a:pt x="11765" y="7622"/>
                </a:lnTo>
                <a:lnTo>
                  <a:pt x="11766" y="7621"/>
                </a:lnTo>
                <a:close/>
                <a:moveTo>
                  <a:pt x="11844" y="8260"/>
                </a:moveTo>
                <a:lnTo>
                  <a:pt x="11842" y="8261"/>
                </a:lnTo>
                <a:lnTo>
                  <a:pt x="11842" y="8261"/>
                </a:lnTo>
                <a:lnTo>
                  <a:pt x="11842" y="8260"/>
                </a:lnTo>
                <a:lnTo>
                  <a:pt x="11841" y="8259"/>
                </a:lnTo>
                <a:lnTo>
                  <a:pt x="11842" y="8259"/>
                </a:lnTo>
                <a:lnTo>
                  <a:pt x="11844" y="8260"/>
                </a:lnTo>
                <a:close/>
                <a:moveTo>
                  <a:pt x="11851" y="7932"/>
                </a:moveTo>
                <a:lnTo>
                  <a:pt x="11851" y="7933"/>
                </a:lnTo>
                <a:lnTo>
                  <a:pt x="11851" y="7932"/>
                </a:lnTo>
                <a:lnTo>
                  <a:pt x="11850" y="7932"/>
                </a:lnTo>
                <a:lnTo>
                  <a:pt x="11851" y="7932"/>
                </a:lnTo>
                <a:close/>
                <a:moveTo>
                  <a:pt x="12330" y="8342"/>
                </a:moveTo>
                <a:lnTo>
                  <a:pt x="12329" y="8342"/>
                </a:lnTo>
                <a:lnTo>
                  <a:pt x="12329" y="8340"/>
                </a:lnTo>
                <a:lnTo>
                  <a:pt x="12329" y="8340"/>
                </a:lnTo>
                <a:lnTo>
                  <a:pt x="12330" y="8342"/>
                </a:lnTo>
                <a:close/>
                <a:moveTo>
                  <a:pt x="10677" y="3226"/>
                </a:moveTo>
                <a:lnTo>
                  <a:pt x="10667" y="3227"/>
                </a:lnTo>
                <a:lnTo>
                  <a:pt x="10658" y="3230"/>
                </a:lnTo>
                <a:lnTo>
                  <a:pt x="10649" y="3233"/>
                </a:lnTo>
                <a:lnTo>
                  <a:pt x="10640" y="3237"/>
                </a:lnTo>
                <a:lnTo>
                  <a:pt x="10624" y="3245"/>
                </a:lnTo>
                <a:lnTo>
                  <a:pt x="10606" y="3254"/>
                </a:lnTo>
                <a:lnTo>
                  <a:pt x="10589" y="3261"/>
                </a:lnTo>
                <a:lnTo>
                  <a:pt x="10571" y="3269"/>
                </a:lnTo>
                <a:lnTo>
                  <a:pt x="10562" y="3270"/>
                </a:lnTo>
                <a:lnTo>
                  <a:pt x="10553" y="3273"/>
                </a:lnTo>
                <a:lnTo>
                  <a:pt x="10543" y="3273"/>
                </a:lnTo>
                <a:lnTo>
                  <a:pt x="10533" y="3273"/>
                </a:lnTo>
                <a:lnTo>
                  <a:pt x="10570" y="3254"/>
                </a:lnTo>
                <a:lnTo>
                  <a:pt x="10618" y="3232"/>
                </a:lnTo>
                <a:lnTo>
                  <a:pt x="10641" y="3223"/>
                </a:lnTo>
                <a:lnTo>
                  <a:pt x="10660" y="3218"/>
                </a:lnTo>
                <a:lnTo>
                  <a:pt x="10667" y="3218"/>
                </a:lnTo>
                <a:lnTo>
                  <a:pt x="10673" y="3218"/>
                </a:lnTo>
                <a:lnTo>
                  <a:pt x="10674" y="3219"/>
                </a:lnTo>
                <a:lnTo>
                  <a:pt x="10676" y="3221"/>
                </a:lnTo>
                <a:lnTo>
                  <a:pt x="10677" y="3223"/>
                </a:lnTo>
                <a:lnTo>
                  <a:pt x="10677" y="3226"/>
                </a:lnTo>
                <a:close/>
                <a:moveTo>
                  <a:pt x="10667" y="3365"/>
                </a:moveTo>
                <a:lnTo>
                  <a:pt x="10669" y="3365"/>
                </a:lnTo>
                <a:lnTo>
                  <a:pt x="10671" y="3366"/>
                </a:lnTo>
                <a:lnTo>
                  <a:pt x="10669" y="3365"/>
                </a:lnTo>
                <a:lnTo>
                  <a:pt x="10667" y="3365"/>
                </a:lnTo>
                <a:close/>
                <a:moveTo>
                  <a:pt x="10398" y="8030"/>
                </a:moveTo>
                <a:lnTo>
                  <a:pt x="10407" y="8036"/>
                </a:lnTo>
                <a:lnTo>
                  <a:pt x="10418" y="8041"/>
                </a:lnTo>
                <a:lnTo>
                  <a:pt x="10429" y="8046"/>
                </a:lnTo>
                <a:lnTo>
                  <a:pt x="10436" y="8049"/>
                </a:lnTo>
                <a:lnTo>
                  <a:pt x="10440" y="8051"/>
                </a:lnTo>
                <a:lnTo>
                  <a:pt x="10441" y="8053"/>
                </a:lnTo>
                <a:lnTo>
                  <a:pt x="10443" y="8054"/>
                </a:lnTo>
                <a:lnTo>
                  <a:pt x="10441" y="8055"/>
                </a:lnTo>
                <a:lnTo>
                  <a:pt x="10435" y="8058"/>
                </a:lnTo>
                <a:lnTo>
                  <a:pt x="10421" y="8062"/>
                </a:lnTo>
                <a:lnTo>
                  <a:pt x="10411" y="8053"/>
                </a:lnTo>
                <a:lnTo>
                  <a:pt x="10406" y="8046"/>
                </a:lnTo>
                <a:lnTo>
                  <a:pt x="10401" y="8039"/>
                </a:lnTo>
                <a:lnTo>
                  <a:pt x="10398" y="8030"/>
                </a:lnTo>
                <a:close/>
                <a:moveTo>
                  <a:pt x="10355" y="8788"/>
                </a:moveTo>
                <a:lnTo>
                  <a:pt x="10360" y="8799"/>
                </a:lnTo>
                <a:lnTo>
                  <a:pt x="10361" y="8804"/>
                </a:lnTo>
                <a:lnTo>
                  <a:pt x="10361" y="8805"/>
                </a:lnTo>
                <a:lnTo>
                  <a:pt x="10360" y="8806"/>
                </a:lnTo>
                <a:lnTo>
                  <a:pt x="10359" y="8806"/>
                </a:lnTo>
                <a:lnTo>
                  <a:pt x="10356" y="8805"/>
                </a:lnTo>
                <a:lnTo>
                  <a:pt x="10343" y="8796"/>
                </a:lnTo>
                <a:lnTo>
                  <a:pt x="10327" y="8778"/>
                </a:lnTo>
                <a:lnTo>
                  <a:pt x="10306" y="8757"/>
                </a:lnTo>
                <a:lnTo>
                  <a:pt x="10287" y="8734"/>
                </a:lnTo>
                <a:lnTo>
                  <a:pt x="10272" y="8713"/>
                </a:lnTo>
                <a:lnTo>
                  <a:pt x="10263" y="8697"/>
                </a:lnTo>
                <a:lnTo>
                  <a:pt x="10271" y="8701"/>
                </a:lnTo>
                <a:lnTo>
                  <a:pt x="10278" y="8706"/>
                </a:lnTo>
                <a:lnTo>
                  <a:pt x="10285" y="8711"/>
                </a:lnTo>
                <a:lnTo>
                  <a:pt x="10291" y="8716"/>
                </a:lnTo>
                <a:lnTo>
                  <a:pt x="10303" y="8730"/>
                </a:lnTo>
                <a:lnTo>
                  <a:pt x="10313" y="8744"/>
                </a:lnTo>
                <a:lnTo>
                  <a:pt x="10324" y="8758"/>
                </a:lnTo>
                <a:lnTo>
                  <a:pt x="10334" y="8771"/>
                </a:lnTo>
                <a:lnTo>
                  <a:pt x="10340" y="8776"/>
                </a:lnTo>
                <a:lnTo>
                  <a:pt x="10345" y="8781"/>
                </a:lnTo>
                <a:lnTo>
                  <a:pt x="10350" y="8785"/>
                </a:lnTo>
                <a:lnTo>
                  <a:pt x="10355" y="8788"/>
                </a:lnTo>
                <a:close/>
                <a:moveTo>
                  <a:pt x="10366" y="8851"/>
                </a:moveTo>
                <a:lnTo>
                  <a:pt x="10365" y="8851"/>
                </a:lnTo>
                <a:lnTo>
                  <a:pt x="10365" y="8850"/>
                </a:lnTo>
                <a:lnTo>
                  <a:pt x="10366" y="8851"/>
                </a:lnTo>
                <a:close/>
                <a:moveTo>
                  <a:pt x="10448" y="8810"/>
                </a:moveTo>
                <a:lnTo>
                  <a:pt x="10444" y="8805"/>
                </a:lnTo>
                <a:lnTo>
                  <a:pt x="10440" y="8801"/>
                </a:lnTo>
                <a:lnTo>
                  <a:pt x="10444" y="8806"/>
                </a:lnTo>
                <a:lnTo>
                  <a:pt x="10448" y="8810"/>
                </a:lnTo>
                <a:close/>
                <a:moveTo>
                  <a:pt x="10322" y="9281"/>
                </a:moveTo>
                <a:lnTo>
                  <a:pt x="10322" y="9293"/>
                </a:lnTo>
                <a:lnTo>
                  <a:pt x="10320" y="9295"/>
                </a:lnTo>
                <a:lnTo>
                  <a:pt x="10317" y="9293"/>
                </a:lnTo>
                <a:lnTo>
                  <a:pt x="10304" y="9289"/>
                </a:lnTo>
                <a:lnTo>
                  <a:pt x="10305" y="9284"/>
                </a:lnTo>
                <a:lnTo>
                  <a:pt x="10308" y="9281"/>
                </a:lnTo>
                <a:lnTo>
                  <a:pt x="10310" y="9280"/>
                </a:lnTo>
                <a:lnTo>
                  <a:pt x="10314" y="9279"/>
                </a:lnTo>
                <a:lnTo>
                  <a:pt x="10319" y="9280"/>
                </a:lnTo>
                <a:lnTo>
                  <a:pt x="10322" y="9281"/>
                </a:lnTo>
                <a:close/>
                <a:moveTo>
                  <a:pt x="10138" y="9121"/>
                </a:moveTo>
                <a:lnTo>
                  <a:pt x="10138" y="9119"/>
                </a:lnTo>
                <a:lnTo>
                  <a:pt x="10140" y="9118"/>
                </a:lnTo>
                <a:lnTo>
                  <a:pt x="10140" y="9119"/>
                </a:lnTo>
                <a:lnTo>
                  <a:pt x="10141" y="9119"/>
                </a:lnTo>
                <a:lnTo>
                  <a:pt x="10143" y="9122"/>
                </a:lnTo>
                <a:lnTo>
                  <a:pt x="10146" y="9124"/>
                </a:lnTo>
                <a:lnTo>
                  <a:pt x="10142" y="9123"/>
                </a:lnTo>
                <a:lnTo>
                  <a:pt x="10138" y="9121"/>
                </a:lnTo>
                <a:close/>
                <a:moveTo>
                  <a:pt x="9654" y="8760"/>
                </a:moveTo>
                <a:lnTo>
                  <a:pt x="9652" y="8752"/>
                </a:lnTo>
                <a:lnTo>
                  <a:pt x="9648" y="8743"/>
                </a:lnTo>
                <a:lnTo>
                  <a:pt x="9652" y="8746"/>
                </a:lnTo>
                <a:lnTo>
                  <a:pt x="9654" y="8752"/>
                </a:lnTo>
                <a:lnTo>
                  <a:pt x="9656" y="8753"/>
                </a:lnTo>
                <a:lnTo>
                  <a:pt x="9656" y="8755"/>
                </a:lnTo>
                <a:lnTo>
                  <a:pt x="9656" y="8758"/>
                </a:lnTo>
                <a:lnTo>
                  <a:pt x="9654" y="8760"/>
                </a:lnTo>
                <a:close/>
                <a:moveTo>
                  <a:pt x="9619" y="8906"/>
                </a:moveTo>
                <a:lnTo>
                  <a:pt x="9615" y="8906"/>
                </a:lnTo>
                <a:lnTo>
                  <a:pt x="9611" y="8904"/>
                </a:lnTo>
                <a:lnTo>
                  <a:pt x="9609" y="8903"/>
                </a:lnTo>
                <a:lnTo>
                  <a:pt x="9605" y="8900"/>
                </a:lnTo>
                <a:lnTo>
                  <a:pt x="9600" y="8894"/>
                </a:lnTo>
                <a:lnTo>
                  <a:pt x="9596" y="8888"/>
                </a:lnTo>
                <a:lnTo>
                  <a:pt x="9593" y="8880"/>
                </a:lnTo>
                <a:lnTo>
                  <a:pt x="9592" y="8872"/>
                </a:lnTo>
                <a:lnTo>
                  <a:pt x="9592" y="8869"/>
                </a:lnTo>
                <a:lnTo>
                  <a:pt x="9593" y="8866"/>
                </a:lnTo>
                <a:lnTo>
                  <a:pt x="9595" y="8864"/>
                </a:lnTo>
                <a:lnTo>
                  <a:pt x="9596" y="8862"/>
                </a:lnTo>
                <a:lnTo>
                  <a:pt x="9606" y="8865"/>
                </a:lnTo>
                <a:lnTo>
                  <a:pt x="9612" y="8869"/>
                </a:lnTo>
                <a:lnTo>
                  <a:pt x="9616" y="8872"/>
                </a:lnTo>
                <a:lnTo>
                  <a:pt x="9617" y="8878"/>
                </a:lnTo>
                <a:lnTo>
                  <a:pt x="9617" y="8889"/>
                </a:lnTo>
                <a:lnTo>
                  <a:pt x="9619" y="8906"/>
                </a:lnTo>
                <a:close/>
                <a:moveTo>
                  <a:pt x="9615" y="1792"/>
                </a:moveTo>
                <a:lnTo>
                  <a:pt x="9626" y="1781"/>
                </a:lnTo>
                <a:lnTo>
                  <a:pt x="9639" y="1768"/>
                </a:lnTo>
                <a:lnTo>
                  <a:pt x="9653" y="1756"/>
                </a:lnTo>
                <a:lnTo>
                  <a:pt x="9668" y="1747"/>
                </a:lnTo>
                <a:lnTo>
                  <a:pt x="9676" y="1743"/>
                </a:lnTo>
                <a:lnTo>
                  <a:pt x="9684" y="1740"/>
                </a:lnTo>
                <a:lnTo>
                  <a:pt x="9691" y="1738"/>
                </a:lnTo>
                <a:lnTo>
                  <a:pt x="9699" y="1738"/>
                </a:lnTo>
                <a:lnTo>
                  <a:pt x="9705" y="1739"/>
                </a:lnTo>
                <a:lnTo>
                  <a:pt x="9713" y="1740"/>
                </a:lnTo>
                <a:lnTo>
                  <a:pt x="9718" y="1745"/>
                </a:lnTo>
                <a:lnTo>
                  <a:pt x="9724" y="1750"/>
                </a:lnTo>
                <a:lnTo>
                  <a:pt x="9717" y="1752"/>
                </a:lnTo>
                <a:lnTo>
                  <a:pt x="9710" y="1753"/>
                </a:lnTo>
                <a:lnTo>
                  <a:pt x="9702" y="1757"/>
                </a:lnTo>
                <a:lnTo>
                  <a:pt x="9693" y="1762"/>
                </a:lnTo>
                <a:lnTo>
                  <a:pt x="9675" y="1775"/>
                </a:lnTo>
                <a:lnTo>
                  <a:pt x="9656" y="1787"/>
                </a:lnTo>
                <a:lnTo>
                  <a:pt x="9639" y="1799"/>
                </a:lnTo>
                <a:lnTo>
                  <a:pt x="9626" y="1805"/>
                </a:lnTo>
                <a:lnTo>
                  <a:pt x="9621" y="1806"/>
                </a:lnTo>
                <a:lnTo>
                  <a:pt x="9617" y="1804"/>
                </a:lnTo>
                <a:lnTo>
                  <a:pt x="9615" y="1800"/>
                </a:lnTo>
                <a:lnTo>
                  <a:pt x="9615" y="1792"/>
                </a:lnTo>
                <a:close/>
                <a:moveTo>
                  <a:pt x="9814" y="1619"/>
                </a:moveTo>
                <a:lnTo>
                  <a:pt x="9837" y="1599"/>
                </a:lnTo>
                <a:lnTo>
                  <a:pt x="9859" y="1576"/>
                </a:lnTo>
                <a:lnTo>
                  <a:pt x="9882" y="1552"/>
                </a:lnTo>
                <a:lnTo>
                  <a:pt x="9907" y="1528"/>
                </a:lnTo>
                <a:lnTo>
                  <a:pt x="9929" y="1505"/>
                </a:lnTo>
                <a:lnTo>
                  <a:pt x="9952" y="1482"/>
                </a:lnTo>
                <a:lnTo>
                  <a:pt x="9975" y="1462"/>
                </a:lnTo>
                <a:lnTo>
                  <a:pt x="9997" y="1444"/>
                </a:lnTo>
                <a:lnTo>
                  <a:pt x="9983" y="1464"/>
                </a:lnTo>
                <a:lnTo>
                  <a:pt x="9964" y="1488"/>
                </a:lnTo>
                <a:lnTo>
                  <a:pt x="9942" y="1516"/>
                </a:lnTo>
                <a:lnTo>
                  <a:pt x="9918" y="1544"/>
                </a:lnTo>
                <a:lnTo>
                  <a:pt x="9866" y="1602"/>
                </a:lnTo>
                <a:lnTo>
                  <a:pt x="9816" y="1651"/>
                </a:lnTo>
                <a:lnTo>
                  <a:pt x="9794" y="1672"/>
                </a:lnTo>
                <a:lnTo>
                  <a:pt x="9778" y="1687"/>
                </a:lnTo>
                <a:lnTo>
                  <a:pt x="9770" y="1693"/>
                </a:lnTo>
                <a:lnTo>
                  <a:pt x="9765" y="1697"/>
                </a:lnTo>
                <a:lnTo>
                  <a:pt x="9761" y="1698"/>
                </a:lnTo>
                <a:lnTo>
                  <a:pt x="9759" y="1700"/>
                </a:lnTo>
                <a:lnTo>
                  <a:pt x="9758" y="1697"/>
                </a:lnTo>
                <a:lnTo>
                  <a:pt x="9759" y="1694"/>
                </a:lnTo>
                <a:lnTo>
                  <a:pt x="9763" y="1688"/>
                </a:lnTo>
                <a:lnTo>
                  <a:pt x="9768" y="1679"/>
                </a:lnTo>
                <a:lnTo>
                  <a:pt x="9786" y="1655"/>
                </a:lnTo>
                <a:lnTo>
                  <a:pt x="9814" y="1619"/>
                </a:lnTo>
                <a:close/>
                <a:moveTo>
                  <a:pt x="9808" y="1624"/>
                </a:moveTo>
                <a:lnTo>
                  <a:pt x="9807" y="1626"/>
                </a:lnTo>
                <a:lnTo>
                  <a:pt x="9801" y="1633"/>
                </a:lnTo>
                <a:lnTo>
                  <a:pt x="9805" y="1628"/>
                </a:lnTo>
                <a:lnTo>
                  <a:pt x="9808" y="1624"/>
                </a:lnTo>
                <a:close/>
                <a:moveTo>
                  <a:pt x="9764" y="1725"/>
                </a:moveTo>
                <a:lnTo>
                  <a:pt x="9764" y="1720"/>
                </a:lnTo>
                <a:lnTo>
                  <a:pt x="9764" y="1715"/>
                </a:lnTo>
                <a:lnTo>
                  <a:pt x="9766" y="1719"/>
                </a:lnTo>
                <a:lnTo>
                  <a:pt x="9768" y="1721"/>
                </a:lnTo>
                <a:lnTo>
                  <a:pt x="9768" y="1722"/>
                </a:lnTo>
                <a:lnTo>
                  <a:pt x="9764" y="1725"/>
                </a:lnTo>
                <a:close/>
                <a:moveTo>
                  <a:pt x="9498" y="1820"/>
                </a:moveTo>
                <a:lnTo>
                  <a:pt x="9500" y="1814"/>
                </a:lnTo>
                <a:lnTo>
                  <a:pt x="9503" y="1810"/>
                </a:lnTo>
                <a:lnTo>
                  <a:pt x="9507" y="1806"/>
                </a:lnTo>
                <a:lnTo>
                  <a:pt x="9509" y="1805"/>
                </a:lnTo>
                <a:lnTo>
                  <a:pt x="9512" y="1805"/>
                </a:lnTo>
                <a:lnTo>
                  <a:pt x="9516" y="1806"/>
                </a:lnTo>
                <a:lnTo>
                  <a:pt x="9518" y="1810"/>
                </a:lnTo>
                <a:lnTo>
                  <a:pt x="9522" y="1814"/>
                </a:lnTo>
                <a:lnTo>
                  <a:pt x="9510" y="1824"/>
                </a:lnTo>
                <a:lnTo>
                  <a:pt x="9503" y="1829"/>
                </a:lnTo>
                <a:lnTo>
                  <a:pt x="9500" y="1829"/>
                </a:lnTo>
                <a:lnTo>
                  <a:pt x="9499" y="1828"/>
                </a:lnTo>
                <a:lnTo>
                  <a:pt x="9498" y="1826"/>
                </a:lnTo>
                <a:lnTo>
                  <a:pt x="9498" y="1820"/>
                </a:lnTo>
                <a:close/>
                <a:moveTo>
                  <a:pt x="9496" y="8866"/>
                </a:moveTo>
                <a:lnTo>
                  <a:pt x="9498" y="8870"/>
                </a:lnTo>
                <a:lnTo>
                  <a:pt x="9502" y="8875"/>
                </a:lnTo>
                <a:lnTo>
                  <a:pt x="9499" y="8872"/>
                </a:lnTo>
                <a:lnTo>
                  <a:pt x="9496" y="8870"/>
                </a:lnTo>
                <a:lnTo>
                  <a:pt x="9496" y="8869"/>
                </a:lnTo>
                <a:lnTo>
                  <a:pt x="9496" y="8866"/>
                </a:lnTo>
                <a:close/>
                <a:moveTo>
                  <a:pt x="9335" y="1888"/>
                </a:moveTo>
                <a:lnTo>
                  <a:pt x="9314" y="1882"/>
                </a:lnTo>
                <a:lnTo>
                  <a:pt x="9299" y="1878"/>
                </a:lnTo>
                <a:lnTo>
                  <a:pt x="9288" y="1875"/>
                </a:lnTo>
                <a:lnTo>
                  <a:pt x="9280" y="1874"/>
                </a:lnTo>
                <a:lnTo>
                  <a:pt x="9275" y="1875"/>
                </a:lnTo>
                <a:lnTo>
                  <a:pt x="9272" y="1876"/>
                </a:lnTo>
                <a:lnTo>
                  <a:pt x="9270" y="1880"/>
                </a:lnTo>
                <a:lnTo>
                  <a:pt x="9269" y="1884"/>
                </a:lnTo>
                <a:lnTo>
                  <a:pt x="9269" y="1890"/>
                </a:lnTo>
                <a:lnTo>
                  <a:pt x="9267" y="1897"/>
                </a:lnTo>
                <a:lnTo>
                  <a:pt x="9263" y="1904"/>
                </a:lnTo>
                <a:lnTo>
                  <a:pt x="9260" y="1912"/>
                </a:lnTo>
                <a:lnTo>
                  <a:pt x="9252" y="1921"/>
                </a:lnTo>
                <a:lnTo>
                  <a:pt x="9242" y="1931"/>
                </a:lnTo>
                <a:lnTo>
                  <a:pt x="9226" y="1940"/>
                </a:lnTo>
                <a:lnTo>
                  <a:pt x="9207" y="1950"/>
                </a:lnTo>
                <a:lnTo>
                  <a:pt x="9210" y="1930"/>
                </a:lnTo>
                <a:lnTo>
                  <a:pt x="9214" y="1910"/>
                </a:lnTo>
                <a:lnTo>
                  <a:pt x="9218" y="1892"/>
                </a:lnTo>
                <a:lnTo>
                  <a:pt x="9223" y="1875"/>
                </a:lnTo>
                <a:lnTo>
                  <a:pt x="9228" y="1860"/>
                </a:lnTo>
                <a:lnTo>
                  <a:pt x="9234" y="1847"/>
                </a:lnTo>
                <a:lnTo>
                  <a:pt x="9241" y="1836"/>
                </a:lnTo>
                <a:lnTo>
                  <a:pt x="9248" y="1826"/>
                </a:lnTo>
                <a:lnTo>
                  <a:pt x="9253" y="1822"/>
                </a:lnTo>
                <a:lnTo>
                  <a:pt x="9257" y="1819"/>
                </a:lnTo>
                <a:lnTo>
                  <a:pt x="9262" y="1817"/>
                </a:lnTo>
                <a:lnTo>
                  <a:pt x="9267" y="1814"/>
                </a:lnTo>
                <a:lnTo>
                  <a:pt x="9272" y="1813"/>
                </a:lnTo>
                <a:lnTo>
                  <a:pt x="9279" y="1813"/>
                </a:lnTo>
                <a:lnTo>
                  <a:pt x="9284" y="1813"/>
                </a:lnTo>
                <a:lnTo>
                  <a:pt x="9290" y="1813"/>
                </a:lnTo>
                <a:lnTo>
                  <a:pt x="9304" y="1817"/>
                </a:lnTo>
                <a:lnTo>
                  <a:pt x="9318" y="1824"/>
                </a:lnTo>
                <a:lnTo>
                  <a:pt x="9335" y="1834"/>
                </a:lnTo>
                <a:lnTo>
                  <a:pt x="9351" y="1848"/>
                </a:lnTo>
                <a:lnTo>
                  <a:pt x="9354" y="1850"/>
                </a:lnTo>
                <a:lnTo>
                  <a:pt x="9354" y="1852"/>
                </a:lnTo>
                <a:lnTo>
                  <a:pt x="9353" y="1854"/>
                </a:lnTo>
                <a:lnTo>
                  <a:pt x="9351" y="1856"/>
                </a:lnTo>
                <a:lnTo>
                  <a:pt x="9345" y="1860"/>
                </a:lnTo>
                <a:lnTo>
                  <a:pt x="9337" y="1864"/>
                </a:lnTo>
                <a:lnTo>
                  <a:pt x="9331" y="1869"/>
                </a:lnTo>
                <a:lnTo>
                  <a:pt x="9327" y="1874"/>
                </a:lnTo>
                <a:lnTo>
                  <a:pt x="9327" y="1876"/>
                </a:lnTo>
                <a:lnTo>
                  <a:pt x="9327" y="1880"/>
                </a:lnTo>
                <a:lnTo>
                  <a:pt x="9331" y="1884"/>
                </a:lnTo>
                <a:lnTo>
                  <a:pt x="9335" y="1888"/>
                </a:lnTo>
                <a:close/>
                <a:moveTo>
                  <a:pt x="9176" y="2005"/>
                </a:moveTo>
                <a:lnTo>
                  <a:pt x="9179" y="1995"/>
                </a:lnTo>
                <a:lnTo>
                  <a:pt x="9182" y="1986"/>
                </a:lnTo>
                <a:lnTo>
                  <a:pt x="9181" y="1982"/>
                </a:lnTo>
                <a:lnTo>
                  <a:pt x="9181" y="1978"/>
                </a:lnTo>
                <a:lnTo>
                  <a:pt x="9178" y="1976"/>
                </a:lnTo>
                <a:lnTo>
                  <a:pt x="9176" y="1972"/>
                </a:lnTo>
                <a:lnTo>
                  <a:pt x="9184" y="1973"/>
                </a:lnTo>
                <a:lnTo>
                  <a:pt x="9191" y="1976"/>
                </a:lnTo>
                <a:lnTo>
                  <a:pt x="9192" y="1977"/>
                </a:lnTo>
                <a:lnTo>
                  <a:pt x="9192" y="1978"/>
                </a:lnTo>
                <a:lnTo>
                  <a:pt x="9192" y="1981"/>
                </a:lnTo>
                <a:lnTo>
                  <a:pt x="9191" y="1982"/>
                </a:lnTo>
                <a:lnTo>
                  <a:pt x="9184" y="1992"/>
                </a:lnTo>
                <a:lnTo>
                  <a:pt x="9176" y="2005"/>
                </a:lnTo>
                <a:close/>
                <a:moveTo>
                  <a:pt x="9164" y="2022"/>
                </a:moveTo>
                <a:lnTo>
                  <a:pt x="9162" y="2018"/>
                </a:lnTo>
                <a:lnTo>
                  <a:pt x="9160" y="2015"/>
                </a:lnTo>
                <a:lnTo>
                  <a:pt x="9159" y="2014"/>
                </a:lnTo>
                <a:lnTo>
                  <a:pt x="9160" y="2011"/>
                </a:lnTo>
                <a:lnTo>
                  <a:pt x="9164" y="2010"/>
                </a:lnTo>
                <a:lnTo>
                  <a:pt x="9172" y="2010"/>
                </a:lnTo>
                <a:lnTo>
                  <a:pt x="9168" y="2015"/>
                </a:lnTo>
                <a:lnTo>
                  <a:pt x="9164" y="2022"/>
                </a:lnTo>
                <a:close/>
                <a:moveTo>
                  <a:pt x="9154" y="1906"/>
                </a:moveTo>
                <a:lnTo>
                  <a:pt x="9156" y="1902"/>
                </a:lnTo>
                <a:lnTo>
                  <a:pt x="9159" y="1901"/>
                </a:lnTo>
                <a:lnTo>
                  <a:pt x="9162" y="1901"/>
                </a:lnTo>
                <a:lnTo>
                  <a:pt x="9164" y="1902"/>
                </a:lnTo>
                <a:lnTo>
                  <a:pt x="9160" y="1904"/>
                </a:lnTo>
                <a:lnTo>
                  <a:pt x="9154" y="1906"/>
                </a:lnTo>
                <a:close/>
                <a:moveTo>
                  <a:pt x="9221" y="1795"/>
                </a:moveTo>
                <a:lnTo>
                  <a:pt x="9220" y="1795"/>
                </a:lnTo>
                <a:lnTo>
                  <a:pt x="9219" y="1794"/>
                </a:lnTo>
                <a:lnTo>
                  <a:pt x="9221" y="1795"/>
                </a:lnTo>
                <a:close/>
                <a:moveTo>
                  <a:pt x="9342" y="1734"/>
                </a:moveTo>
                <a:lnTo>
                  <a:pt x="9340" y="1738"/>
                </a:lnTo>
                <a:lnTo>
                  <a:pt x="9340" y="1743"/>
                </a:lnTo>
                <a:lnTo>
                  <a:pt x="9337" y="1742"/>
                </a:lnTo>
                <a:lnTo>
                  <a:pt x="9336" y="1740"/>
                </a:lnTo>
                <a:lnTo>
                  <a:pt x="9336" y="1738"/>
                </a:lnTo>
                <a:lnTo>
                  <a:pt x="9337" y="1736"/>
                </a:lnTo>
                <a:lnTo>
                  <a:pt x="9340" y="1734"/>
                </a:lnTo>
                <a:lnTo>
                  <a:pt x="9342" y="1734"/>
                </a:lnTo>
                <a:close/>
                <a:moveTo>
                  <a:pt x="9097" y="2098"/>
                </a:moveTo>
                <a:lnTo>
                  <a:pt x="9081" y="2112"/>
                </a:lnTo>
                <a:lnTo>
                  <a:pt x="9069" y="2121"/>
                </a:lnTo>
                <a:lnTo>
                  <a:pt x="9063" y="2122"/>
                </a:lnTo>
                <a:lnTo>
                  <a:pt x="9061" y="2123"/>
                </a:lnTo>
                <a:lnTo>
                  <a:pt x="9058" y="2123"/>
                </a:lnTo>
                <a:lnTo>
                  <a:pt x="9056" y="2122"/>
                </a:lnTo>
                <a:lnTo>
                  <a:pt x="9055" y="2120"/>
                </a:lnTo>
                <a:lnTo>
                  <a:pt x="9055" y="2117"/>
                </a:lnTo>
                <a:lnTo>
                  <a:pt x="9055" y="2113"/>
                </a:lnTo>
                <a:lnTo>
                  <a:pt x="9056" y="2108"/>
                </a:lnTo>
                <a:lnTo>
                  <a:pt x="9060" y="2098"/>
                </a:lnTo>
                <a:lnTo>
                  <a:pt x="9066" y="2085"/>
                </a:lnTo>
                <a:lnTo>
                  <a:pt x="9074" y="2070"/>
                </a:lnTo>
                <a:lnTo>
                  <a:pt x="9083" y="2055"/>
                </a:lnTo>
                <a:lnTo>
                  <a:pt x="9093" y="2039"/>
                </a:lnTo>
                <a:lnTo>
                  <a:pt x="9103" y="2024"/>
                </a:lnTo>
                <a:lnTo>
                  <a:pt x="9113" y="2010"/>
                </a:lnTo>
                <a:lnTo>
                  <a:pt x="9122" y="1999"/>
                </a:lnTo>
                <a:lnTo>
                  <a:pt x="9132" y="1988"/>
                </a:lnTo>
                <a:lnTo>
                  <a:pt x="9140" y="1981"/>
                </a:lnTo>
                <a:lnTo>
                  <a:pt x="9126" y="2006"/>
                </a:lnTo>
                <a:lnTo>
                  <a:pt x="9107" y="2043"/>
                </a:lnTo>
                <a:lnTo>
                  <a:pt x="9099" y="2062"/>
                </a:lnTo>
                <a:lnTo>
                  <a:pt x="9094" y="2079"/>
                </a:lnTo>
                <a:lnTo>
                  <a:pt x="9093" y="2087"/>
                </a:lnTo>
                <a:lnTo>
                  <a:pt x="9093" y="2092"/>
                </a:lnTo>
                <a:lnTo>
                  <a:pt x="9094" y="2095"/>
                </a:lnTo>
                <a:lnTo>
                  <a:pt x="9097" y="2098"/>
                </a:lnTo>
                <a:close/>
                <a:moveTo>
                  <a:pt x="8987" y="8640"/>
                </a:moveTo>
                <a:lnTo>
                  <a:pt x="8990" y="8640"/>
                </a:lnTo>
                <a:lnTo>
                  <a:pt x="8991" y="8642"/>
                </a:lnTo>
                <a:lnTo>
                  <a:pt x="8990" y="8641"/>
                </a:lnTo>
                <a:lnTo>
                  <a:pt x="8987" y="8640"/>
                </a:lnTo>
                <a:close/>
                <a:moveTo>
                  <a:pt x="8661" y="1876"/>
                </a:moveTo>
                <a:lnTo>
                  <a:pt x="8661" y="1871"/>
                </a:lnTo>
                <a:lnTo>
                  <a:pt x="8664" y="1870"/>
                </a:lnTo>
                <a:lnTo>
                  <a:pt x="8666" y="1870"/>
                </a:lnTo>
                <a:lnTo>
                  <a:pt x="8671" y="1869"/>
                </a:lnTo>
                <a:lnTo>
                  <a:pt x="8670" y="1873"/>
                </a:lnTo>
                <a:lnTo>
                  <a:pt x="8667" y="1875"/>
                </a:lnTo>
                <a:lnTo>
                  <a:pt x="8665" y="1876"/>
                </a:lnTo>
                <a:lnTo>
                  <a:pt x="8661" y="1876"/>
                </a:lnTo>
                <a:close/>
                <a:moveTo>
                  <a:pt x="8552" y="2092"/>
                </a:moveTo>
                <a:lnTo>
                  <a:pt x="8553" y="2090"/>
                </a:lnTo>
                <a:lnTo>
                  <a:pt x="8554" y="2089"/>
                </a:lnTo>
                <a:lnTo>
                  <a:pt x="8555" y="2089"/>
                </a:lnTo>
                <a:lnTo>
                  <a:pt x="8558" y="2090"/>
                </a:lnTo>
                <a:lnTo>
                  <a:pt x="8554" y="2092"/>
                </a:lnTo>
                <a:lnTo>
                  <a:pt x="8552" y="2092"/>
                </a:lnTo>
                <a:close/>
                <a:moveTo>
                  <a:pt x="8469" y="8703"/>
                </a:moveTo>
                <a:lnTo>
                  <a:pt x="8471" y="8698"/>
                </a:lnTo>
                <a:lnTo>
                  <a:pt x="8474" y="8692"/>
                </a:lnTo>
                <a:lnTo>
                  <a:pt x="8479" y="8688"/>
                </a:lnTo>
                <a:lnTo>
                  <a:pt x="8485" y="8683"/>
                </a:lnTo>
                <a:lnTo>
                  <a:pt x="8485" y="8687"/>
                </a:lnTo>
                <a:lnTo>
                  <a:pt x="8485" y="8690"/>
                </a:lnTo>
                <a:lnTo>
                  <a:pt x="8483" y="8693"/>
                </a:lnTo>
                <a:lnTo>
                  <a:pt x="8480" y="8696"/>
                </a:lnTo>
                <a:lnTo>
                  <a:pt x="8474" y="8699"/>
                </a:lnTo>
                <a:lnTo>
                  <a:pt x="8469" y="8703"/>
                </a:lnTo>
                <a:close/>
                <a:moveTo>
                  <a:pt x="8417" y="2216"/>
                </a:moveTo>
                <a:lnTo>
                  <a:pt x="8415" y="2215"/>
                </a:lnTo>
                <a:lnTo>
                  <a:pt x="8415" y="2215"/>
                </a:lnTo>
                <a:lnTo>
                  <a:pt x="8417" y="2214"/>
                </a:lnTo>
                <a:lnTo>
                  <a:pt x="8418" y="2215"/>
                </a:lnTo>
                <a:lnTo>
                  <a:pt x="8417" y="2216"/>
                </a:lnTo>
                <a:lnTo>
                  <a:pt x="8417" y="2216"/>
                </a:lnTo>
                <a:close/>
                <a:moveTo>
                  <a:pt x="8292" y="8780"/>
                </a:moveTo>
                <a:lnTo>
                  <a:pt x="8293" y="8777"/>
                </a:lnTo>
                <a:lnTo>
                  <a:pt x="8293" y="8776"/>
                </a:lnTo>
                <a:lnTo>
                  <a:pt x="8293" y="8776"/>
                </a:lnTo>
                <a:lnTo>
                  <a:pt x="8294" y="8777"/>
                </a:lnTo>
                <a:lnTo>
                  <a:pt x="8293" y="8777"/>
                </a:lnTo>
                <a:lnTo>
                  <a:pt x="8292" y="8780"/>
                </a:lnTo>
                <a:close/>
                <a:moveTo>
                  <a:pt x="8171" y="1496"/>
                </a:moveTo>
                <a:lnTo>
                  <a:pt x="8168" y="1491"/>
                </a:lnTo>
                <a:lnTo>
                  <a:pt x="8168" y="1488"/>
                </a:lnTo>
                <a:lnTo>
                  <a:pt x="8169" y="1487"/>
                </a:lnTo>
                <a:lnTo>
                  <a:pt x="8175" y="1490"/>
                </a:lnTo>
                <a:lnTo>
                  <a:pt x="8172" y="1492"/>
                </a:lnTo>
                <a:lnTo>
                  <a:pt x="8171" y="1496"/>
                </a:lnTo>
                <a:close/>
                <a:moveTo>
                  <a:pt x="8130" y="1866"/>
                </a:moveTo>
                <a:lnTo>
                  <a:pt x="8127" y="1847"/>
                </a:lnTo>
                <a:lnTo>
                  <a:pt x="8122" y="1819"/>
                </a:lnTo>
                <a:lnTo>
                  <a:pt x="8120" y="1806"/>
                </a:lnTo>
                <a:lnTo>
                  <a:pt x="8120" y="1795"/>
                </a:lnTo>
                <a:lnTo>
                  <a:pt x="8120" y="1790"/>
                </a:lnTo>
                <a:lnTo>
                  <a:pt x="8121" y="1787"/>
                </a:lnTo>
                <a:lnTo>
                  <a:pt x="8124" y="1785"/>
                </a:lnTo>
                <a:lnTo>
                  <a:pt x="8126" y="1784"/>
                </a:lnTo>
                <a:lnTo>
                  <a:pt x="8129" y="1780"/>
                </a:lnTo>
                <a:lnTo>
                  <a:pt x="8131" y="1780"/>
                </a:lnTo>
                <a:lnTo>
                  <a:pt x="8133" y="1781"/>
                </a:lnTo>
                <a:lnTo>
                  <a:pt x="8134" y="1784"/>
                </a:lnTo>
                <a:lnTo>
                  <a:pt x="8135" y="1794"/>
                </a:lnTo>
                <a:lnTo>
                  <a:pt x="8134" y="1809"/>
                </a:lnTo>
                <a:lnTo>
                  <a:pt x="8131" y="1842"/>
                </a:lnTo>
                <a:lnTo>
                  <a:pt x="8130" y="1866"/>
                </a:lnTo>
                <a:close/>
                <a:moveTo>
                  <a:pt x="8117" y="1939"/>
                </a:moveTo>
                <a:lnTo>
                  <a:pt x="8119" y="1927"/>
                </a:lnTo>
                <a:lnTo>
                  <a:pt x="8124" y="1917"/>
                </a:lnTo>
                <a:lnTo>
                  <a:pt x="8127" y="1911"/>
                </a:lnTo>
                <a:lnTo>
                  <a:pt x="8129" y="1907"/>
                </a:lnTo>
                <a:lnTo>
                  <a:pt x="8131" y="1918"/>
                </a:lnTo>
                <a:lnTo>
                  <a:pt x="8133" y="1930"/>
                </a:lnTo>
                <a:lnTo>
                  <a:pt x="8133" y="1934"/>
                </a:lnTo>
                <a:lnTo>
                  <a:pt x="8130" y="1938"/>
                </a:lnTo>
                <a:lnTo>
                  <a:pt x="8125" y="1939"/>
                </a:lnTo>
                <a:lnTo>
                  <a:pt x="8117" y="1939"/>
                </a:lnTo>
                <a:close/>
                <a:moveTo>
                  <a:pt x="7800" y="1553"/>
                </a:moveTo>
                <a:lnTo>
                  <a:pt x="7795" y="1551"/>
                </a:lnTo>
                <a:lnTo>
                  <a:pt x="7791" y="1548"/>
                </a:lnTo>
                <a:lnTo>
                  <a:pt x="7787" y="1548"/>
                </a:lnTo>
                <a:lnTo>
                  <a:pt x="7784" y="1548"/>
                </a:lnTo>
                <a:lnTo>
                  <a:pt x="7779" y="1552"/>
                </a:lnTo>
                <a:lnTo>
                  <a:pt x="7775" y="1557"/>
                </a:lnTo>
                <a:lnTo>
                  <a:pt x="7771" y="1563"/>
                </a:lnTo>
                <a:lnTo>
                  <a:pt x="7767" y="1570"/>
                </a:lnTo>
                <a:lnTo>
                  <a:pt x="7762" y="1575"/>
                </a:lnTo>
                <a:lnTo>
                  <a:pt x="7757" y="1579"/>
                </a:lnTo>
                <a:lnTo>
                  <a:pt x="7754" y="1570"/>
                </a:lnTo>
                <a:lnTo>
                  <a:pt x="7754" y="1562"/>
                </a:lnTo>
                <a:lnTo>
                  <a:pt x="7754" y="1556"/>
                </a:lnTo>
                <a:lnTo>
                  <a:pt x="7756" y="1549"/>
                </a:lnTo>
                <a:lnTo>
                  <a:pt x="7758" y="1544"/>
                </a:lnTo>
                <a:lnTo>
                  <a:pt x="7762" y="1540"/>
                </a:lnTo>
                <a:lnTo>
                  <a:pt x="7766" y="1537"/>
                </a:lnTo>
                <a:lnTo>
                  <a:pt x="7770" y="1534"/>
                </a:lnTo>
                <a:lnTo>
                  <a:pt x="7775" y="1533"/>
                </a:lnTo>
                <a:lnTo>
                  <a:pt x="7779" y="1532"/>
                </a:lnTo>
                <a:lnTo>
                  <a:pt x="7784" y="1533"/>
                </a:lnTo>
                <a:lnTo>
                  <a:pt x="7787" y="1534"/>
                </a:lnTo>
                <a:lnTo>
                  <a:pt x="7791" y="1537"/>
                </a:lnTo>
                <a:lnTo>
                  <a:pt x="7795" y="1540"/>
                </a:lnTo>
                <a:lnTo>
                  <a:pt x="7798" y="1546"/>
                </a:lnTo>
                <a:lnTo>
                  <a:pt x="7800" y="1553"/>
                </a:lnTo>
                <a:close/>
                <a:moveTo>
                  <a:pt x="7791" y="1484"/>
                </a:moveTo>
                <a:lnTo>
                  <a:pt x="7791" y="1491"/>
                </a:lnTo>
                <a:lnTo>
                  <a:pt x="7790" y="1493"/>
                </a:lnTo>
                <a:lnTo>
                  <a:pt x="7787" y="1495"/>
                </a:lnTo>
                <a:lnTo>
                  <a:pt x="7785" y="1493"/>
                </a:lnTo>
                <a:lnTo>
                  <a:pt x="7780" y="1488"/>
                </a:lnTo>
                <a:lnTo>
                  <a:pt x="7772" y="1482"/>
                </a:lnTo>
                <a:lnTo>
                  <a:pt x="7777" y="1484"/>
                </a:lnTo>
                <a:lnTo>
                  <a:pt x="7781" y="1486"/>
                </a:lnTo>
                <a:lnTo>
                  <a:pt x="7786" y="1486"/>
                </a:lnTo>
                <a:lnTo>
                  <a:pt x="7791" y="1484"/>
                </a:lnTo>
                <a:close/>
                <a:moveTo>
                  <a:pt x="7747" y="1515"/>
                </a:moveTo>
                <a:lnTo>
                  <a:pt x="7747" y="1512"/>
                </a:lnTo>
                <a:lnTo>
                  <a:pt x="7749" y="1510"/>
                </a:lnTo>
                <a:lnTo>
                  <a:pt x="7751" y="1516"/>
                </a:lnTo>
                <a:lnTo>
                  <a:pt x="7751" y="1520"/>
                </a:lnTo>
                <a:lnTo>
                  <a:pt x="7749" y="1519"/>
                </a:lnTo>
                <a:lnTo>
                  <a:pt x="7747" y="1515"/>
                </a:lnTo>
                <a:close/>
                <a:moveTo>
                  <a:pt x="7651" y="1689"/>
                </a:moveTo>
                <a:lnTo>
                  <a:pt x="7651" y="1688"/>
                </a:lnTo>
                <a:lnTo>
                  <a:pt x="7651" y="1688"/>
                </a:lnTo>
                <a:lnTo>
                  <a:pt x="7651" y="1689"/>
                </a:lnTo>
                <a:close/>
                <a:moveTo>
                  <a:pt x="7600" y="1784"/>
                </a:moveTo>
                <a:lnTo>
                  <a:pt x="7604" y="1775"/>
                </a:lnTo>
                <a:lnTo>
                  <a:pt x="7607" y="1766"/>
                </a:lnTo>
                <a:lnTo>
                  <a:pt x="7609" y="1757"/>
                </a:lnTo>
                <a:lnTo>
                  <a:pt x="7610" y="1747"/>
                </a:lnTo>
                <a:lnTo>
                  <a:pt x="7612" y="1729"/>
                </a:lnTo>
                <a:lnTo>
                  <a:pt x="7610" y="1710"/>
                </a:lnTo>
                <a:lnTo>
                  <a:pt x="7609" y="1691"/>
                </a:lnTo>
                <a:lnTo>
                  <a:pt x="7605" y="1670"/>
                </a:lnTo>
                <a:lnTo>
                  <a:pt x="7602" y="1651"/>
                </a:lnTo>
                <a:lnTo>
                  <a:pt x="7596" y="1632"/>
                </a:lnTo>
                <a:lnTo>
                  <a:pt x="7588" y="1594"/>
                </a:lnTo>
                <a:lnTo>
                  <a:pt x="7581" y="1556"/>
                </a:lnTo>
                <a:lnTo>
                  <a:pt x="7580" y="1538"/>
                </a:lnTo>
                <a:lnTo>
                  <a:pt x="7580" y="1519"/>
                </a:lnTo>
                <a:lnTo>
                  <a:pt x="7581" y="1510"/>
                </a:lnTo>
                <a:lnTo>
                  <a:pt x="7582" y="1501"/>
                </a:lnTo>
                <a:lnTo>
                  <a:pt x="7585" y="1493"/>
                </a:lnTo>
                <a:lnTo>
                  <a:pt x="7588" y="1484"/>
                </a:lnTo>
                <a:lnTo>
                  <a:pt x="7594" y="1479"/>
                </a:lnTo>
                <a:lnTo>
                  <a:pt x="7599" y="1478"/>
                </a:lnTo>
                <a:lnTo>
                  <a:pt x="7604" y="1478"/>
                </a:lnTo>
                <a:lnTo>
                  <a:pt x="7609" y="1481"/>
                </a:lnTo>
                <a:lnTo>
                  <a:pt x="7612" y="1484"/>
                </a:lnTo>
                <a:lnTo>
                  <a:pt x="7616" y="1490"/>
                </a:lnTo>
                <a:lnTo>
                  <a:pt x="7618" y="1497"/>
                </a:lnTo>
                <a:lnTo>
                  <a:pt x="7621" y="1506"/>
                </a:lnTo>
                <a:lnTo>
                  <a:pt x="7624" y="1528"/>
                </a:lnTo>
                <a:lnTo>
                  <a:pt x="7626" y="1553"/>
                </a:lnTo>
                <a:lnTo>
                  <a:pt x="7627" y="1581"/>
                </a:lnTo>
                <a:lnTo>
                  <a:pt x="7626" y="1612"/>
                </a:lnTo>
                <a:lnTo>
                  <a:pt x="7624" y="1642"/>
                </a:lnTo>
                <a:lnTo>
                  <a:pt x="7622" y="1673"/>
                </a:lnTo>
                <a:lnTo>
                  <a:pt x="7618" y="1702"/>
                </a:lnTo>
                <a:lnTo>
                  <a:pt x="7614" y="1729"/>
                </a:lnTo>
                <a:lnTo>
                  <a:pt x="7610" y="1750"/>
                </a:lnTo>
                <a:lnTo>
                  <a:pt x="7607" y="1768"/>
                </a:lnTo>
                <a:lnTo>
                  <a:pt x="7605" y="1775"/>
                </a:lnTo>
                <a:lnTo>
                  <a:pt x="7603" y="1780"/>
                </a:lnTo>
                <a:lnTo>
                  <a:pt x="7602" y="1782"/>
                </a:lnTo>
                <a:lnTo>
                  <a:pt x="7600" y="1784"/>
                </a:lnTo>
                <a:close/>
                <a:moveTo>
                  <a:pt x="7491" y="1549"/>
                </a:moveTo>
                <a:lnTo>
                  <a:pt x="7493" y="1547"/>
                </a:lnTo>
                <a:lnTo>
                  <a:pt x="7496" y="1543"/>
                </a:lnTo>
                <a:lnTo>
                  <a:pt x="7496" y="1546"/>
                </a:lnTo>
                <a:lnTo>
                  <a:pt x="7495" y="1547"/>
                </a:lnTo>
                <a:lnTo>
                  <a:pt x="7492" y="1548"/>
                </a:lnTo>
                <a:lnTo>
                  <a:pt x="7491" y="1549"/>
                </a:lnTo>
                <a:close/>
                <a:moveTo>
                  <a:pt x="7472" y="2048"/>
                </a:moveTo>
                <a:lnTo>
                  <a:pt x="7472" y="2047"/>
                </a:lnTo>
                <a:lnTo>
                  <a:pt x="7473" y="2045"/>
                </a:lnTo>
                <a:lnTo>
                  <a:pt x="7473" y="2047"/>
                </a:lnTo>
                <a:lnTo>
                  <a:pt x="7474" y="2048"/>
                </a:lnTo>
                <a:lnTo>
                  <a:pt x="7473" y="2048"/>
                </a:lnTo>
                <a:lnTo>
                  <a:pt x="7472" y="2048"/>
                </a:lnTo>
                <a:close/>
                <a:moveTo>
                  <a:pt x="7422" y="1216"/>
                </a:moveTo>
                <a:lnTo>
                  <a:pt x="7423" y="1213"/>
                </a:lnTo>
                <a:lnTo>
                  <a:pt x="7423" y="1213"/>
                </a:lnTo>
                <a:lnTo>
                  <a:pt x="7424" y="1215"/>
                </a:lnTo>
                <a:lnTo>
                  <a:pt x="7424" y="1217"/>
                </a:lnTo>
                <a:lnTo>
                  <a:pt x="7423" y="1216"/>
                </a:lnTo>
                <a:lnTo>
                  <a:pt x="7422" y="1216"/>
                </a:lnTo>
                <a:close/>
                <a:moveTo>
                  <a:pt x="7328" y="8984"/>
                </a:moveTo>
                <a:lnTo>
                  <a:pt x="7330" y="8990"/>
                </a:lnTo>
                <a:lnTo>
                  <a:pt x="7330" y="8995"/>
                </a:lnTo>
                <a:lnTo>
                  <a:pt x="7329" y="8990"/>
                </a:lnTo>
                <a:lnTo>
                  <a:pt x="7328" y="8984"/>
                </a:lnTo>
                <a:close/>
                <a:moveTo>
                  <a:pt x="7249" y="1380"/>
                </a:moveTo>
                <a:lnTo>
                  <a:pt x="7249" y="1377"/>
                </a:lnTo>
                <a:lnTo>
                  <a:pt x="7249" y="1376"/>
                </a:lnTo>
                <a:lnTo>
                  <a:pt x="7250" y="1375"/>
                </a:lnTo>
                <a:lnTo>
                  <a:pt x="7253" y="1375"/>
                </a:lnTo>
                <a:lnTo>
                  <a:pt x="7256" y="1383"/>
                </a:lnTo>
                <a:lnTo>
                  <a:pt x="7258" y="1384"/>
                </a:lnTo>
                <a:lnTo>
                  <a:pt x="7255" y="1383"/>
                </a:lnTo>
                <a:lnTo>
                  <a:pt x="7249" y="1380"/>
                </a:lnTo>
                <a:close/>
                <a:moveTo>
                  <a:pt x="6992" y="9542"/>
                </a:moveTo>
                <a:lnTo>
                  <a:pt x="6980" y="9538"/>
                </a:lnTo>
                <a:lnTo>
                  <a:pt x="6972" y="9537"/>
                </a:lnTo>
                <a:lnTo>
                  <a:pt x="6977" y="9534"/>
                </a:lnTo>
                <a:lnTo>
                  <a:pt x="6985" y="9533"/>
                </a:lnTo>
                <a:lnTo>
                  <a:pt x="6989" y="9533"/>
                </a:lnTo>
                <a:lnTo>
                  <a:pt x="6992" y="9534"/>
                </a:lnTo>
                <a:lnTo>
                  <a:pt x="6993" y="9537"/>
                </a:lnTo>
                <a:lnTo>
                  <a:pt x="6992" y="9542"/>
                </a:lnTo>
                <a:close/>
                <a:moveTo>
                  <a:pt x="6878" y="9571"/>
                </a:moveTo>
                <a:lnTo>
                  <a:pt x="6879" y="9573"/>
                </a:lnTo>
                <a:lnTo>
                  <a:pt x="6879" y="9573"/>
                </a:lnTo>
                <a:lnTo>
                  <a:pt x="6879" y="9575"/>
                </a:lnTo>
                <a:lnTo>
                  <a:pt x="6878" y="9571"/>
                </a:lnTo>
                <a:close/>
                <a:moveTo>
                  <a:pt x="6855" y="9408"/>
                </a:moveTo>
                <a:lnTo>
                  <a:pt x="6855" y="9407"/>
                </a:lnTo>
                <a:lnTo>
                  <a:pt x="6855" y="9407"/>
                </a:lnTo>
                <a:lnTo>
                  <a:pt x="6855" y="9407"/>
                </a:lnTo>
                <a:lnTo>
                  <a:pt x="6855" y="9408"/>
                </a:lnTo>
                <a:close/>
                <a:moveTo>
                  <a:pt x="6804" y="1638"/>
                </a:moveTo>
                <a:lnTo>
                  <a:pt x="6806" y="1637"/>
                </a:lnTo>
                <a:lnTo>
                  <a:pt x="6806" y="1638"/>
                </a:lnTo>
                <a:lnTo>
                  <a:pt x="6806" y="1640"/>
                </a:lnTo>
                <a:lnTo>
                  <a:pt x="6806" y="1640"/>
                </a:lnTo>
                <a:lnTo>
                  <a:pt x="6804" y="1638"/>
                </a:lnTo>
                <a:close/>
                <a:moveTo>
                  <a:pt x="6785" y="1784"/>
                </a:moveTo>
                <a:lnTo>
                  <a:pt x="6786" y="1776"/>
                </a:lnTo>
                <a:lnTo>
                  <a:pt x="6789" y="1762"/>
                </a:lnTo>
                <a:lnTo>
                  <a:pt x="6792" y="1749"/>
                </a:lnTo>
                <a:lnTo>
                  <a:pt x="6794" y="1743"/>
                </a:lnTo>
                <a:lnTo>
                  <a:pt x="6793" y="1750"/>
                </a:lnTo>
                <a:lnTo>
                  <a:pt x="6792" y="1766"/>
                </a:lnTo>
                <a:lnTo>
                  <a:pt x="6790" y="1773"/>
                </a:lnTo>
                <a:lnTo>
                  <a:pt x="6789" y="1780"/>
                </a:lnTo>
                <a:lnTo>
                  <a:pt x="6788" y="1782"/>
                </a:lnTo>
                <a:lnTo>
                  <a:pt x="6788" y="1784"/>
                </a:lnTo>
                <a:lnTo>
                  <a:pt x="6786" y="1784"/>
                </a:lnTo>
                <a:lnTo>
                  <a:pt x="6785" y="1784"/>
                </a:lnTo>
                <a:close/>
                <a:moveTo>
                  <a:pt x="6672" y="1809"/>
                </a:moveTo>
                <a:lnTo>
                  <a:pt x="6665" y="1799"/>
                </a:lnTo>
                <a:lnTo>
                  <a:pt x="6663" y="1791"/>
                </a:lnTo>
                <a:lnTo>
                  <a:pt x="6663" y="1789"/>
                </a:lnTo>
                <a:lnTo>
                  <a:pt x="6664" y="1787"/>
                </a:lnTo>
                <a:lnTo>
                  <a:pt x="6665" y="1786"/>
                </a:lnTo>
                <a:lnTo>
                  <a:pt x="6669" y="1785"/>
                </a:lnTo>
                <a:lnTo>
                  <a:pt x="6669" y="1791"/>
                </a:lnTo>
                <a:lnTo>
                  <a:pt x="6672" y="1796"/>
                </a:lnTo>
                <a:lnTo>
                  <a:pt x="6673" y="1799"/>
                </a:lnTo>
                <a:lnTo>
                  <a:pt x="6673" y="1801"/>
                </a:lnTo>
                <a:lnTo>
                  <a:pt x="6673" y="1805"/>
                </a:lnTo>
                <a:lnTo>
                  <a:pt x="6672" y="1809"/>
                </a:lnTo>
                <a:close/>
                <a:moveTo>
                  <a:pt x="6399" y="10336"/>
                </a:moveTo>
                <a:lnTo>
                  <a:pt x="6402" y="10332"/>
                </a:lnTo>
                <a:lnTo>
                  <a:pt x="6407" y="10329"/>
                </a:lnTo>
                <a:lnTo>
                  <a:pt x="6393" y="10348"/>
                </a:lnTo>
                <a:lnTo>
                  <a:pt x="6393" y="10346"/>
                </a:lnTo>
                <a:lnTo>
                  <a:pt x="6398" y="10339"/>
                </a:lnTo>
                <a:lnTo>
                  <a:pt x="6399" y="10336"/>
                </a:lnTo>
                <a:close/>
                <a:moveTo>
                  <a:pt x="6364" y="10559"/>
                </a:moveTo>
                <a:lnTo>
                  <a:pt x="6355" y="10565"/>
                </a:lnTo>
                <a:lnTo>
                  <a:pt x="6348" y="10573"/>
                </a:lnTo>
                <a:lnTo>
                  <a:pt x="6342" y="10582"/>
                </a:lnTo>
                <a:lnTo>
                  <a:pt x="6337" y="10592"/>
                </a:lnTo>
                <a:lnTo>
                  <a:pt x="6333" y="10602"/>
                </a:lnTo>
                <a:lnTo>
                  <a:pt x="6329" y="10614"/>
                </a:lnTo>
                <a:lnTo>
                  <a:pt x="6327" y="10627"/>
                </a:lnTo>
                <a:lnTo>
                  <a:pt x="6324" y="10639"/>
                </a:lnTo>
                <a:lnTo>
                  <a:pt x="6320" y="10663"/>
                </a:lnTo>
                <a:lnTo>
                  <a:pt x="6317" y="10686"/>
                </a:lnTo>
                <a:lnTo>
                  <a:pt x="6314" y="10697"/>
                </a:lnTo>
                <a:lnTo>
                  <a:pt x="6311" y="10707"/>
                </a:lnTo>
                <a:lnTo>
                  <a:pt x="6308" y="10714"/>
                </a:lnTo>
                <a:lnTo>
                  <a:pt x="6304" y="10721"/>
                </a:lnTo>
                <a:lnTo>
                  <a:pt x="6310" y="10688"/>
                </a:lnTo>
                <a:lnTo>
                  <a:pt x="6319" y="10642"/>
                </a:lnTo>
                <a:lnTo>
                  <a:pt x="6331" y="10591"/>
                </a:lnTo>
                <a:lnTo>
                  <a:pt x="6343" y="10544"/>
                </a:lnTo>
                <a:lnTo>
                  <a:pt x="6348" y="10525"/>
                </a:lnTo>
                <a:lnTo>
                  <a:pt x="6353" y="10509"/>
                </a:lnTo>
                <a:lnTo>
                  <a:pt x="6359" y="10499"/>
                </a:lnTo>
                <a:lnTo>
                  <a:pt x="6362" y="10495"/>
                </a:lnTo>
                <a:lnTo>
                  <a:pt x="6364" y="10495"/>
                </a:lnTo>
                <a:lnTo>
                  <a:pt x="6365" y="10498"/>
                </a:lnTo>
                <a:lnTo>
                  <a:pt x="6365" y="10502"/>
                </a:lnTo>
                <a:lnTo>
                  <a:pt x="6366" y="10508"/>
                </a:lnTo>
                <a:lnTo>
                  <a:pt x="6366" y="10529"/>
                </a:lnTo>
                <a:lnTo>
                  <a:pt x="6364" y="10559"/>
                </a:lnTo>
                <a:close/>
                <a:moveTo>
                  <a:pt x="6320" y="10572"/>
                </a:moveTo>
                <a:lnTo>
                  <a:pt x="6320" y="10573"/>
                </a:lnTo>
                <a:lnTo>
                  <a:pt x="6319" y="10573"/>
                </a:lnTo>
                <a:lnTo>
                  <a:pt x="6320" y="10572"/>
                </a:lnTo>
                <a:lnTo>
                  <a:pt x="6320" y="10572"/>
                </a:lnTo>
                <a:close/>
                <a:moveTo>
                  <a:pt x="6257" y="11006"/>
                </a:moveTo>
                <a:lnTo>
                  <a:pt x="6250" y="11016"/>
                </a:lnTo>
                <a:lnTo>
                  <a:pt x="6244" y="11033"/>
                </a:lnTo>
                <a:lnTo>
                  <a:pt x="6238" y="11054"/>
                </a:lnTo>
                <a:lnTo>
                  <a:pt x="6230" y="11080"/>
                </a:lnTo>
                <a:lnTo>
                  <a:pt x="6216" y="11137"/>
                </a:lnTo>
                <a:lnTo>
                  <a:pt x="6203" y="11194"/>
                </a:lnTo>
                <a:lnTo>
                  <a:pt x="6192" y="11243"/>
                </a:lnTo>
                <a:lnTo>
                  <a:pt x="6184" y="11271"/>
                </a:lnTo>
                <a:lnTo>
                  <a:pt x="6183" y="11273"/>
                </a:lnTo>
                <a:lnTo>
                  <a:pt x="6183" y="11274"/>
                </a:lnTo>
                <a:lnTo>
                  <a:pt x="6183" y="11273"/>
                </a:lnTo>
                <a:lnTo>
                  <a:pt x="6182" y="11269"/>
                </a:lnTo>
                <a:lnTo>
                  <a:pt x="6183" y="11254"/>
                </a:lnTo>
                <a:lnTo>
                  <a:pt x="6185" y="11229"/>
                </a:lnTo>
                <a:lnTo>
                  <a:pt x="6194" y="11175"/>
                </a:lnTo>
                <a:lnTo>
                  <a:pt x="6208" y="11105"/>
                </a:lnTo>
                <a:lnTo>
                  <a:pt x="6225" y="11030"/>
                </a:lnTo>
                <a:lnTo>
                  <a:pt x="6241" y="10964"/>
                </a:lnTo>
                <a:lnTo>
                  <a:pt x="6248" y="10937"/>
                </a:lnTo>
                <a:lnTo>
                  <a:pt x="6254" y="10915"/>
                </a:lnTo>
                <a:lnTo>
                  <a:pt x="6258" y="10909"/>
                </a:lnTo>
                <a:lnTo>
                  <a:pt x="6261" y="10903"/>
                </a:lnTo>
                <a:lnTo>
                  <a:pt x="6262" y="10900"/>
                </a:lnTo>
                <a:lnTo>
                  <a:pt x="6263" y="10899"/>
                </a:lnTo>
                <a:lnTo>
                  <a:pt x="6264" y="10901"/>
                </a:lnTo>
                <a:lnTo>
                  <a:pt x="6266" y="10907"/>
                </a:lnTo>
                <a:lnTo>
                  <a:pt x="6266" y="10914"/>
                </a:lnTo>
                <a:lnTo>
                  <a:pt x="6266" y="10926"/>
                </a:lnTo>
                <a:lnTo>
                  <a:pt x="6262" y="10959"/>
                </a:lnTo>
                <a:lnTo>
                  <a:pt x="6257" y="11006"/>
                </a:lnTo>
                <a:close/>
                <a:moveTo>
                  <a:pt x="6472" y="1785"/>
                </a:moveTo>
                <a:lnTo>
                  <a:pt x="6476" y="1786"/>
                </a:lnTo>
                <a:lnTo>
                  <a:pt x="6480" y="1789"/>
                </a:lnTo>
                <a:lnTo>
                  <a:pt x="6483" y="1791"/>
                </a:lnTo>
                <a:lnTo>
                  <a:pt x="6486" y="1794"/>
                </a:lnTo>
                <a:lnTo>
                  <a:pt x="6490" y="1801"/>
                </a:lnTo>
                <a:lnTo>
                  <a:pt x="6494" y="1809"/>
                </a:lnTo>
                <a:lnTo>
                  <a:pt x="6497" y="1817"/>
                </a:lnTo>
                <a:lnTo>
                  <a:pt x="6501" y="1824"/>
                </a:lnTo>
                <a:lnTo>
                  <a:pt x="6508" y="1831"/>
                </a:lnTo>
                <a:lnTo>
                  <a:pt x="6514" y="1834"/>
                </a:lnTo>
                <a:lnTo>
                  <a:pt x="6500" y="1833"/>
                </a:lnTo>
                <a:lnTo>
                  <a:pt x="6488" y="1831"/>
                </a:lnTo>
                <a:lnTo>
                  <a:pt x="6481" y="1827"/>
                </a:lnTo>
                <a:lnTo>
                  <a:pt x="6474" y="1822"/>
                </a:lnTo>
                <a:lnTo>
                  <a:pt x="6473" y="1819"/>
                </a:lnTo>
                <a:lnTo>
                  <a:pt x="6471" y="1815"/>
                </a:lnTo>
                <a:lnTo>
                  <a:pt x="6471" y="1812"/>
                </a:lnTo>
                <a:lnTo>
                  <a:pt x="6469" y="1808"/>
                </a:lnTo>
                <a:lnTo>
                  <a:pt x="6469" y="1798"/>
                </a:lnTo>
                <a:lnTo>
                  <a:pt x="6472" y="1785"/>
                </a:lnTo>
                <a:close/>
                <a:moveTo>
                  <a:pt x="6204" y="9262"/>
                </a:moveTo>
                <a:lnTo>
                  <a:pt x="6206" y="9254"/>
                </a:lnTo>
                <a:lnTo>
                  <a:pt x="6208" y="9247"/>
                </a:lnTo>
                <a:lnTo>
                  <a:pt x="6208" y="9242"/>
                </a:lnTo>
                <a:lnTo>
                  <a:pt x="6208" y="9239"/>
                </a:lnTo>
                <a:lnTo>
                  <a:pt x="6208" y="9235"/>
                </a:lnTo>
                <a:lnTo>
                  <a:pt x="6207" y="9233"/>
                </a:lnTo>
                <a:lnTo>
                  <a:pt x="6210" y="9231"/>
                </a:lnTo>
                <a:lnTo>
                  <a:pt x="6212" y="9231"/>
                </a:lnTo>
                <a:lnTo>
                  <a:pt x="6213" y="9233"/>
                </a:lnTo>
                <a:lnTo>
                  <a:pt x="6215" y="9234"/>
                </a:lnTo>
                <a:lnTo>
                  <a:pt x="6215" y="9238"/>
                </a:lnTo>
                <a:lnTo>
                  <a:pt x="6213" y="9243"/>
                </a:lnTo>
                <a:lnTo>
                  <a:pt x="6208" y="9254"/>
                </a:lnTo>
                <a:lnTo>
                  <a:pt x="6204" y="9262"/>
                </a:lnTo>
                <a:close/>
                <a:moveTo>
                  <a:pt x="6220" y="1638"/>
                </a:moveTo>
                <a:lnTo>
                  <a:pt x="6222" y="1632"/>
                </a:lnTo>
                <a:lnTo>
                  <a:pt x="6225" y="1624"/>
                </a:lnTo>
                <a:lnTo>
                  <a:pt x="6226" y="1616"/>
                </a:lnTo>
                <a:lnTo>
                  <a:pt x="6226" y="1608"/>
                </a:lnTo>
                <a:lnTo>
                  <a:pt x="6225" y="1593"/>
                </a:lnTo>
                <a:lnTo>
                  <a:pt x="6222" y="1580"/>
                </a:lnTo>
                <a:lnTo>
                  <a:pt x="6221" y="1574"/>
                </a:lnTo>
                <a:lnTo>
                  <a:pt x="6221" y="1575"/>
                </a:lnTo>
                <a:lnTo>
                  <a:pt x="6226" y="1588"/>
                </a:lnTo>
                <a:lnTo>
                  <a:pt x="6235" y="1612"/>
                </a:lnTo>
                <a:lnTo>
                  <a:pt x="6241" y="1623"/>
                </a:lnTo>
                <a:lnTo>
                  <a:pt x="6247" y="1631"/>
                </a:lnTo>
                <a:lnTo>
                  <a:pt x="6248" y="1637"/>
                </a:lnTo>
                <a:lnTo>
                  <a:pt x="6248" y="1642"/>
                </a:lnTo>
                <a:lnTo>
                  <a:pt x="6247" y="1644"/>
                </a:lnTo>
                <a:lnTo>
                  <a:pt x="6245" y="1644"/>
                </a:lnTo>
                <a:lnTo>
                  <a:pt x="6243" y="1645"/>
                </a:lnTo>
                <a:lnTo>
                  <a:pt x="6240" y="1645"/>
                </a:lnTo>
                <a:lnTo>
                  <a:pt x="6231" y="1642"/>
                </a:lnTo>
                <a:lnTo>
                  <a:pt x="6220" y="1638"/>
                </a:lnTo>
                <a:close/>
                <a:moveTo>
                  <a:pt x="6249" y="1632"/>
                </a:moveTo>
                <a:lnTo>
                  <a:pt x="6250" y="1636"/>
                </a:lnTo>
                <a:lnTo>
                  <a:pt x="6250" y="1637"/>
                </a:lnTo>
                <a:lnTo>
                  <a:pt x="6249" y="1636"/>
                </a:lnTo>
                <a:lnTo>
                  <a:pt x="6248" y="1635"/>
                </a:lnTo>
                <a:lnTo>
                  <a:pt x="6245" y="1630"/>
                </a:lnTo>
                <a:lnTo>
                  <a:pt x="6243" y="1626"/>
                </a:lnTo>
                <a:lnTo>
                  <a:pt x="6247" y="1628"/>
                </a:lnTo>
                <a:lnTo>
                  <a:pt x="6249" y="1632"/>
                </a:lnTo>
                <a:close/>
                <a:moveTo>
                  <a:pt x="6207" y="8904"/>
                </a:moveTo>
                <a:lnTo>
                  <a:pt x="6208" y="8900"/>
                </a:lnTo>
                <a:lnTo>
                  <a:pt x="6213" y="8892"/>
                </a:lnTo>
                <a:lnTo>
                  <a:pt x="6213" y="8895"/>
                </a:lnTo>
                <a:lnTo>
                  <a:pt x="6212" y="8899"/>
                </a:lnTo>
                <a:lnTo>
                  <a:pt x="6211" y="8902"/>
                </a:lnTo>
                <a:lnTo>
                  <a:pt x="6207" y="8904"/>
                </a:lnTo>
                <a:close/>
                <a:moveTo>
                  <a:pt x="6045" y="9219"/>
                </a:moveTo>
                <a:lnTo>
                  <a:pt x="6047" y="9215"/>
                </a:lnTo>
                <a:lnTo>
                  <a:pt x="6049" y="9211"/>
                </a:lnTo>
                <a:lnTo>
                  <a:pt x="6055" y="9212"/>
                </a:lnTo>
                <a:lnTo>
                  <a:pt x="6057" y="9214"/>
                </a:lnTo>
                <a:lnTo>
                  <a:pt x="6054" y="9216"/>
                </a:lnTo>
                <a:lnTo>
                  <a:pt x="6045" y="9219"/>
                </a:lnTo>
                <a:close/>
                <a:moveTo>
                  <a:pt x="6179" y="1707"/>
                </a:moveTo>
                <a:lnTo>
                  <a:pt x="6176" y="1705"/>
                </a:lnTo>
                <a:lnTo>
                  <a:pt x="6176" y="1702"/>
                </a:lnTo>
                <a:lnTo>
                  <a:pt x="6178" y="1700"/>
                </a:lnTo>
                <a:lnTo>
                  <a:pt x="6179" y="1697"/>
                </a:lnTo>
                <a:lnTo>
                  <a:pt x="6179" y="1702"/>
                </a:lnTo>
                <a:lnTo>
                  <a:pt x="6179" y="1707"/>
                </a:lnTo>
                <a:close/>
                <a:moveTo>
                  <a:pt x="5927" y="1717"/>
                </a:moveTo>
                <a:lnTo>
                  <a:pt x="5923" y="1714"/>
                </a:lnTo>
                <a:lnTo>
                  <a:pt x="5920" y="1711"/>
                </a:lnTo>
                <a:lnTo>
                  <a:pt x="5918" y="1706"/>
                </a:lnTo>
                <a:lnTo>
                  <a:pt x="5917" y="1701"/>
                </a:lnTo>
                <a:lnTo>
                  <a:pt x="5917" y="1691"/>
                </a:lnTo>
                <a:lnTo>
                  <a:pt x="5917" y="1678"/>
                </a:lnTo>
                <a:lnTo>
                  <a:pt x="5920" y="1658"/>
                </a:lnTo>
                <a:lnTo>
                  <a:pt x="5920" y="1646"/>
                </a:lnTo>
                <a:lnTo>
                  <a:pt x="5922" y="1656"/>
                </a:lnTo>
                <a:lnTo>
                  <a:pt x="5926" y="1666"/>
                </a:lnTo>
                <a:lnTo>
                  <a:pt x="5929" y="1677"/>
                </a:lnTo>
                <a:lnTo>
                  <a:pt x="5935" y="1686"/>
                </a:lnTo>
                <a:lnTo>
                  <a:pt x="5937" y="1694"/>
                </a:lnTo>
                <a:lnTo>
                  <a:pt x="5938" y="1702"/>
                </a:lnTo>
                <a:lnTo>
                  <a:pt x="5937" y="1706"/>
                </a:lnTo>
                <a:lnTo>
                  <a:pt x="5935" y="1710"/>
                </a:lnTo>
                <a:lnTo>
                  <a:pt x="5931" y="1714"/>
                </a:lnTo>
                <a:lnTo>
                  <a:pt x="5927" y="1717"/>
                </a:lnTo>
                <a:close/>
                <a:moveTo>
                  <a:pt x="5715" y="7122"/>
                </a:moveTo>
                <a:lnTo>
                  <a:pt x="5715" y="7120"/>
                </a:lnTo>
                <a:lnTo>
                  <a:pt x="5717" y="7120"/>
                </a:lnTo>
                <a:lnTo>
                  <a:pt x="5717" y="7120"/>
                </a:lnTo>
                <a:lnTo>
                  <a:pt x="5718" y="7120"/>
                </a:lnTo>
                <a:lnTo>
                  <a:pt x="5719" y="7121"/>
                </a:lnTo>
                <a:lnTo>
                  <a:pt x="5723" y="7122"/>
                </a:lnTo>
                <a:lnTo>
                  <a:pt x="5719" y="7122"/>
                </a:lnTo>
                <a:lnTo>
                  <a:pt x="5715" y="7122"/>
                </a:lnTo>
                <a:close/>
                <a:moveTo>
                  <a:pt x="5337" y="8796"/>
                </a:moveTo>
                <a:lnTo>
                  <a:pt x="5328" y="8794"/>
                </a:lnTo>
                <a:lnTo>
                  <a:pt x="5326" y="8791"/>
                </a:lnTo>
                <a:lnTo>
                  <a:pt x="5327" y="8788"/>
                </a:lnTo>
                <a:lnTo>
                  <a:pt x="5330" y="8785"/>
                </a:lnTo>
                <a:lnTo>
                  <a:pt x="5335" y="8782"/>
                </a:lnTo>
                <a:lnTo>
                  <a:pt x="5341" y="8778"/>
                </a:lnTo>
                <a:lnTo>
                  <a:pt x="5346" y="8773"/>
                </a:lnTo>
                <a:lnTo>
                  <a:pt x="5349" y="8768"/>
                </a:lnTo>
                <a:lnTo>
                  <a:pt x="5346" y="8787"/>
                </a:lnTo>
                <a:lnTo>
                  <a:pt x="5344" y="8799"/>
                </a:lnTo>
                <a:lnTo>
                  <a:pt x="5342" y="8801"/>
                </a:lnTo>
                <a:lnTo>
                  <a:pt x="5341" y="8801"/>
                </a:lnTo>
                <a:lnTo>
                  <a:pt x="5339" y="8800"/>
                </a:lnTo>
                <a:lnTo>
                  <a:pt x="5337" y="8796"/>
                </a:lnTo>
                <a:close/>
                <a:moveTo>
                  <a:pt x="5247" y="8843"/>
                </a:moveTo>
                <a:lnTo>
                  <a:pt x="5261" y="8833"/>
                </a:lnTo>
                <a:lnTo>
                  <a:pt x="5285" y="8815"/>
                </a:lnTo>
                <a:lnTo>
                  <a:pt x="5298" y="8806"/>
                </a:lnTo>
                <a:lnTo>
                  <a:pt x="5308" y="8799"/>
                </a:lnTo>
                <a:lnTo>
                  <a:pt x="5316" y="8795"/>
                </a:lnTo>
                <a:lnTo>
                  <a:pt x="5318" y="8795"/>
                </a:lnTo>
                <a:lnTo>
                  <a:pt x="5309" y="8800"/>
                </a:lnTo>
                <a:lnTo>
                  <a:pt x="5300" y="8805"/>
                </a:lnTo>
                <a:lnTo>
                  <a:pt x="5291" y="8813"/>
                </a:lnTo>
                <a:lnTo>
                  <a:pt x="5282" y="8819"/>
                </a:lnTo>
                <a:lnTo>
                  <a:pt x="5275" y="8827"/>
                </a:lnTo>
                <a:lnTo>
                  <a:pt x="5266" y="8833"/>
                </a:lnTo>
                <a:lnTo>
                  <a:pt x="5257" y="8839"/>
                </a:lnTo>
                <a:lnTo>
                  <a:pt x="5247" y="8843"/>
                </a:lnTo>
                <a:close/>
                <a:moveTo>
                  <a:pt x="5587" y="2104"/>
                </a:moveTo>
                <a:lnTo>
                  <a:pt x="5586" y="2103"/>
                </a:lnTo>
                <a:lnTo>
                  <a:pt x="5587" y="2104"/>
                </a:lnTo>
                <a:lnTo>
                  <a:pt x="5587" y="2104"/>
                </a:lnTo>
                <a:close/>
                <a:moveTo>
                  <a:pt x="5518" y="1701"/>
                </a:moveTo>
                <a:lnTo>
                  <a:pt x="5519" y="1691"/>
                </a:lnTo>
                <a:lnTo>
                  <a:pt x="5522" y="1680"/>
                </a:lnTo>
                <a:lnTo>
                  <a:pt x="5526" y="1670"/>
                </a:lnTo>
                <a:lnTo>
                  <a:pt x="5530" y="1659"/>
                </a:lnTo>
                <a:lnTo>
                  <a:pt x="5531" y="1665"/>
                </a:lnTo>
                <a:lnTo>
                  <a:pt x="5532" y="1672"/>
                </a:lnTo>
                <a:lnTo>
                  <a:pt x="5531" y="1677"/>
                </a:lnTo>
                <a:lnTo>
                  <a:pt x="5531" y="1682"/>
                </a:lnTo>
                <a:lnTo>
                  <a:pt x="5528" y="1687"/>
                </a:lnTo>
                <a:lnTo>
                  <a:pt x="5526" y="1692"/>
                </a:lnTo>
                <a:lnTo>
                  <a:pt x="5522" y="1696"/>
                </a:lnTo>
                <a:lnTo>
                  <a:pt x="5518" y="1701"/>
                </a:lnTo>
                <a:close/>
                <a:moveTo>
                  <a:pt x="5485" y="7209"/>
                </a:moveTo>
                <a:lnTo>
                  <a:pt x="5488" y="7207"/>
                </a:lnTo>
                <a:lnTo>
                  <a:pt x="5489" y="7207"/>
                </a:lnTo>
                <a:lnTo>
                  <a:pt x="5491" y="7209"/>
                </a:lnTo>
                <a:lnTo>
                  <a:pt x="5494" y="7209"/>
                </a:lnTo>
                <a:lnTo>
                  <a:pt x="5489" y="7209"/>
                </a:lnTo>
                <a:lnTo>
                  <a:pt x="5485" y="7209"/>
                </a:lnTo>
                <a:close/>
                <a:moveTo>
                  <a:pt x="5458" y="1646"/>
                </a:moveTo>
                <a:lnTo>
                  <a:pt x="5453" y="1644"/>
                </a:lnTo>
                <a:lnTo>
                  <a:pt x="5451" y="1640"/>
                </a:lnTo>
                <a:lnTo>
                  <a:pt x="5449" y="1637"/>
                </a:lnTo>
                <a:lnTo>
                  <a:pt x="5451" y="1633"/>
                </a:lnTo>
                <a:lnTo>
                  <a:pt x="5452" y="1631"/>
                </a:lnTo>
                <a:lnTo>
                  <a:pt x="5454" y="1628"/>
                </a:lnTo>
                <a:lnTo>
                  <a:pt x="5458" y="1627"/>
                </a:lnTo>
                <a:lnTo>
                  <a:pt x="5462" y="1626"/>
                </a:lnTo>
                <a:lnTo>
                  <a:pt x="5459" y="1632"/>
                </a:lnTo>
                <a:lnTo>
                  <a:pt x="5458" y="1646"/>
                </a:lnTo>
                <a:close/>
                <a:moveTo>
                  <a:pt x="5383" y="1810"/>
                </a:moveTo>
                <a:lnTo>
                  <a:pt x="5386" y="1810"/>
                </a:lnTo>
                <a:lnTo>
                  <a:pt x="5397" y="1813"/>
                </a:lnTo>
                <a:lnTo>
                  <a:pt x="5403" y="1814"/>
                </a:lnTo>
                <a:lnTo>
                  <a:pt x="5410" y="1815"/>
                </a:lnTo>
                <a:lnTo>
                  <a:pt x="5416" y="1815"/>
                </a:lnTo>
                <a:lnTo>
                  <a:pt x="5421" y="1814"/>
                </a:lnTo>
                <a:lnTo>
                  <a:pt x="5416" y="1817"/>
                </a:lnTo>
                <a:lnTo>
                  <a:pt x="5411" y="1818"/>
                </a:lnTo>
                <a:lnTo>
                  <a:pt x="5406" y="1818"/>
                </a:lnTo>
                <a:lnTo>
                  <a:pt x="5402" y="1818"/>
                </a:lnTo>
                <a:lnTo>
                  <a:pt x="5397" y="1818"/>
                </a:lnTo>
                <a:lnTo>
                  <a:pt x="5392" y="1815"/>
                </a:lnTo>
                <a:lnTo>
                  <a:pt x="5387" y="1814"/>
                </a:lnTo>
                <a:lnTo>
                  <a:pt x="5383" y="1810"/>
                </a:lnTo>
                <a:close/>
                <a:moveTo>
                  <a:pt x="5175" y="8436"/>
                </a:moveTo>
                <a:lnTo>
                  <a:pt x="5175" y="8432"/>
                </a:lnTo>
                <a:lnTo>
                  <a:pt x="5177" y="8429"/>
                </a:lnTo>
                <a:lnTo>
                  <a:pt x="5179" y="8427"/>
                </a:lnTo>
                <a:lnTo>
                  <a:pt x="5183" y="8424"/>
                </a:lnTo>
                <a:lnTo>
                  <a:pt x="5191" y="8421"/>
                </a:lnTo>
                <a:lnTo>
                  <a:pt x="5197" y="8415"/>
                </a:lnTo>
                <a:lnTo>
                  <a:pt x="5197" y="8419"/>
                </a:lnTo>
                <a:lnTo>
                  <a:pt x="5196" y="8422"/>
                </a:lnTo>
                <a:lnTo>
                  <a:pt x="5193" y="8426"/>
                </a:lnTo>
                <a:lnTo>
                  <a:pt x="5190" y="8429"/>
                </a:lnTo>
                <a:lnTo>
                  <a:pt x="5182" y="8435"/>
                </a:lnTo>
                <a:lnTo>
                  <a:pt x="5175" y="8436"/>
                </a:lnTo>
                <a:close/>
                <a:moveTo>
                  <a:pt x="5151" y="8651"/>
                </a:moveTo>
                <a:lnTo>
                  <a:pt x="5154" y="8647"/>
                </a:lnTo>
                <a:lnTo>
                  <a:pt x="5158" y="8646"/>
                </a:lnTo>
                <a:lnTo>
                  <a:pt x="5161" y="8645"/>
                </a:lnTo>
                <a:lnTo>
                  <a:pt x="5164" y="8645"/>
                </a:lnTo>
                <a:lnTo>
                  <a:pt x="5172" y="8647"/>
                </a:lnTo>
                <a:lnTo>
                  <a:pt x="5178" y="8651"/>
                </a:lnTo>
                <a:lnTo>
                  <a:pt x="5165" y="8650"/>
                </a:lnTo>
                <a:lnTo>
                  <a:pt x="5151" y="8651"/>
                </a:lnTo>
                <a:close/>
                <a:moveTo>
                  <a:pt x="4540" y="9057"/>
                </a:moveTo>
                <a:lnTo>
                  <a:pt x="4544" y="9054"/>
                </a:lnTo>
                <a:lnTo>
                  <a:pt x="4548" y="9051"/>
                </a:lnTo>
                <a:lnTo>
                  <a:pt x="4549" y="9049"/>
                </a:lnTo>
                <a:lnTo>
                  <a:pt x="4551" y="9048"/>
                </a:lnTo>
                <a:lnTo>
                  <a:pt x="4553" y="9048"/>
                </a:lnTo>
                <a:lnTo>
                  <a:pt x="4555" y="9049"/>
                </a:lnTo>
                <a:lnTo>
                  <a:pt x="4549" y="9053"/>
                </a:lnTo>
                <a:lnTo>
                  <a:pt x="4540" y="9057"/>
                </a:lnTo>
                <a:close/>
                <a:moveTo>
                  <a:pt x="4456" y="9130"/>
                </a:moveTo>
                <a:lnTo>
                  <a:pt x="4447" y="9138"/>
                </a:lnTo>
                <a:lnTo>
                  <a:pt x="4436" y="9149"/>
                </a:lnTo>
                <a:lnTo>
                  <a:pt x="4420" y="9160"/>
                </a:lnTo>
                <a:lnTo>
                  <a:pt x="4405" y="9172"/>
                </a:lnTo>
                <a:lnTo>
                  <a:pt x="4390" y="9182"/>
                </a:lnTo>
                <a:lnTo>
                  <a:pt x="4374" y="9191"/>
                </a:lnTo>
                <a:lnTo>
                  <a:pt x="4360" y="9197"/>
                </a:lnTo>
                <a:lnTo>
                  <a:pt x="4349" y="9201"/>
                </a:lnTo>
                <a:lnTo>
                  <a:pt x="4359" y="9187"/>
                </a:lnTo>
                <a:lnTo>
                  <a:pt x="4380" y="9165"/>
                </a:lnTo>
                <a:lnTo>
                  <a:pt x="4404" y="9140"/>
                </a:lnTo>
                <a:lnTo>
                  <a:pt x="4428" y="9114"/>
                </a:lnTo>
                <a:lnTo>
                  <a:pt x="4439" y="9104"/>
                </a:lnTo>
                <a:lnTo>
                  <a:pt x="4450" y="9096"/>
                </a:lnTo>
                <a:lnTo>
                  <a:pt x="4459" y="9091"/>
                </a:lnTo>
                <a:lnTo>
                  <a:pt x="4465" y="9090"/>
                </a:lnTo>
                <a:lnTo>
                  <a:pt x="4466" y="9090"/>
                </a:lnTo>
                <a:lnTo>
                  <a:pt x="4467" y="9091"/>
                </a:lnTo>
                <a:lnTo>
                  <a:pt x="4469" y="9095"/>
                </a:lnTo>
                <a:lnTo>
                  <a:pt x="4469" y="9099"/>
                </a:lnTo>
                <a:lnTo>
                  <a:pt x="4465" y="9110"/>
                </a:lnTo>
                <a:lnTo>
                  <a:pt x="4456" y="9130"/>
                </a:lnTo>
                <a:close/>
                <a:moveTo>
                  <a:pt x="5163" y="7909"/>
                </a:moveTo>
                <a:lnTo>
                  <a:pt x="5164" y="7909"/>
                </a:lnTo>
                <a:lnTo>
                  <a:pt x="5164" y="7910"/>
                </a:lnTo>
                <a:lnTo>
                  <a:pt x="5163" y="7910"/>
                </a:lnTo>
                <a:lnTo>
                  <a:pt x="5163" y="7909"/>
                </a:lnTo>
                <a:close/>
                <a:moveTo>
                  <a:pt x="4031" y="9263"/>
                </a:moveTo>
                <a:lnTo>
                  <a:pt x="4033" y="9259"/>
                </a:lnTo>
                <a:lnTo>
                  <a:pt x="4033" y="9259"/>
                </a:lnTo>
                <a:lnTo>
                  <a:pt x="4032" y="9261"/>
                </a:lnTo>
                <a:lnTo>
                  <a:pt x="4031" y="9263"/>
                </a:lnTo>
                <a:lnTo>
                  <a:pt x="4027" y="9266"/>
                </a:lnTo>
                <a:lnTo>
                  <a:pt x="4024" y="9266"/>
                </a:lnTo>
                <a:lnTo>
                  <a:pt x="4023" y="9266"/>
                </a:lnTo>
                <a:lnTo>
                  <a:pt x="4023" y="9266"/>
                </a:lnTo>
                <a:lnTo>
                  <a:pt x="4024" y="9262"/>
                </a:lnTo>
                <a:lnTo>
                  <a:pt x="4027" y="9258"/>
                </a:lnTo>
                <a:lnTo>
                  <a:pt x="4029" y="9254"/>
                </a:lnTo>
                <a:lnTo>
                  <a:pt x="4032" y="9253"/>
                </a:lnTo>
                <a:lnTo>
                  <a:pt x="4032" y="9256"/>
                </a:lnTo>
                <a:lnTo>
                  <a:pt x="4031" y="9263"/>
                </a:lnTo>
                <a:close/>
                <a:moveTo>
                  <a:pt x="4197" y="8762"/>
                </a:moveTo>
                <a:lnTo>
                  <a:pt x="4201" y="8754"/>
                </a:lnTo>
                <a:lnTo>
                  <a:pt x="4205" y="8749"/>
                </a:lnTo>
                <a:lnTo>
                  <a:pt x="4208" y="8749"/>
                </a:lnTo>
                <a:lnTo>
                  <a:pt x="4210" y="8749"/>
                </a:lnTo>
                <a:lnTo>
                  <a:pt x="4211" y="8752"/>
                </a:lnTo>
                <a:lnTo>
                  <a:pt x="4214" y="8755"/>
                </a:lnTo>
                <a:lnTo>
                  <a:pt x="4209" y="8755"/>
                </a:lnTo>
                <a:lnTo>
                  <a:pt x="4205" y="8757"/>
                </a:lnTo>
                <a:lnTo>
                  <a:pt x="4201" y="8758"/>
                </a:lnTo>
                <a:lnTo>
                  <a:pt x="4197" y="8762"/>
                </a:lnTo>
                <a:close/>
                <a:moveTo>
                  <a:pt x="4968" y="7944"/>
                </a:moveTo>
                <a:lnTo>
                  <a:pt x="4967" y="7943"/>
                </a:lnTo>
                <a:lnTo>
                  <a:pt x="4965" y="7943"/>
                </a:lnTo>
                <a:lnTo>
                  <a:pt x="4965" y="7942"/>
                </a:lnTo>
                <a:lnTo>
                  <a:pt x="4967" y="7941"/>
                </a:lnTo>
                <a:lnTo>
                  <a:pt x="4968" y="7942"/>
                </a:lnTo>
                <a:lnTo>
                  <a:pt x="4968" y="7944"/>
                </a:lnTo>
                <a:close/>
                <a:moveTo>
                  <a:pt x="4721" y="8107"/>
                </a:moveTo>
                <a:lnTo>
                  <a:pt x="4726" y="8102"/>
                </a:lnTo>
                <a:lnTo>
                  <a:pt x="4731" y="8097"/>
                </a:lnTo>
                <a:lnTo>
                  <a:pt x="4726" y="8102"/>
                </a:lnTo>
                <a:lnTo>
                  <a:pt x="4721" y="8107"/>
                </a:lnTo>
                <a:close/>
                <a:moveTo>
                  <a:pt x="5238" y="1875"/>
                </a:moveTo>
                <a:lnTo>
                  <a:pt x="5240" y="1874"/>
                </a:lnTo>
                <a:lnTo>
                  <a:pt x="5242" y="1875"/>
                </a:lnTo>
                <a:lnTo>
                  <a:pt x="5243" y="1876"/>
                </a:lnTo>
                <a:lnTo>
                  <a:pt x="5244" y="1879"/>
                </a:lnTo>
                <a:lnTo>
                  <a:pt x="5242" y="1876"/>
                </a:lnTo>
                <a:lnTo>
                  <a:pt x="5238" y="1875"/>
                </a:lnTo>
                <a:close/>
                <a:moveTo>
                  <a:pt x="5123" y="1784"/>
                </a:moveTo>
                <a:lnTo>
                  <a:pt x="5118" y="1777"/>
                </a:lnTo>
                <a:lnTo>
                  <a:pt x="5113" y="1771"/>
                </a:lnTo>
                <a:lnTo>
                  <a:pt x="5107" y="1764"/>
                </a:lnTo>
                <a:lnTo>
                  <a:pt x="5100" y="1758"/>
                </a:lnTo>
                <a:lnTo>
                  <a:pt x="5085" y="1748"/>
                </a:lnTo>
                <a:lnTo>
                  <a:pt x="5069" y="1736"/>
                </a:lnTo>
                <a:lnTo>
                  <a:pt x="5030" y="1716"/>
                </a:lnTo>
                <a:lnTo>
                  <a:pt x="4992" y="1696"/>
                </a:lnTo>
                <a:lnTo>
                  <a:pt x="4973" y="1686"/>
                </a:lnTo>
                <a:lnTo>
                  <a:pt x="4956" y="1677"/>
                </a:lnTo>
                <a:lnTo>
                  <a:pt x="4942" y="1665"/>
                </a:lnTo>
                <a:lnTo>
                  <a:pt x="4930" y="1655"/>
                </a:lnTo>
                <a:lnTo>
                  <a:pt x="4925" y="1650"/>
                </a:lnTo>
                <a:lnTo>
                  <a:pt x="4921" y="1644"/>
                </a:lnTo>
                <a:lnTo>
                  <a:pt x="4918" y="1638"/>
                </a:lnTo>
                <a:lnTo>
                  <a:pt x="4916" y="1632"/>
                </a:lnTo>
                <a:lnTo>
                  <a:pt x="4914" y="1626"/>
                </a:lnTo>
                <a:lnTo>
                  <a:pt x="4916" y="1619"/>
                </a:lnTo>
                <a:lnTo>
                  <a:pt x="4917" y="1613"/>
                </a:lnTo>
                <a:lnTo>
                  <a:pt x="4920" y="1607"/>
                </a:lnTo>
                <a:lnTo>
                  <a:pt x="4954" y="1630"/>
                </a:lnTo>
                <a:lnTo>
                  <a:pt x="5004" y="1666"/>
                </a:lnTo>
                <a:lnTo>
                  <a:pt x="5060" y="1708"/>
                </a:lnTo>
                <a:lnTo>
                  <a:pt x="5113" y="1750"/>
                </a:lnTo>
                <a:lnTo>
                  <a:pt x="5136" y="1770"/>
                </a:lnTo>
                <a:lnTo>
                  <a:pt x="5155" y="1786"/>
                </a:lnTo>
                <a:lnTo>
                  <a:pt x="5169" y="1799"/>
                </a:lnTo>
                <a:lnTo>
                  <a:pt x="5177" y="1808"/>
                </a:lnTo>
                <a:lnTo>
                  <a:pt x="5178" y="1810"/>
                </a:lnTo>
                <a:lnTo>
                  <a:pt x="5177" y="1812"/>
                </a:lnTo>
                <a:lnTo>
                  <a:pt x="5174" y="1810"/>
                </a:lnTo>
                <a:lnTo>
                  <a:pt x="5169" y="1809"/>
                </a:lnTo>
                <a:lnTo>
                  <a:pt x="5151" y="1800"/>
                </a:lnTo>
                <a:lnTo>
                  <a:pt x="5123" y="1784"/>
                </a:lnTo>
                <a:close/>
                <a:moveTo>
                  <a:pt x="4875" y="1557"/>
                </a:moveTo>
                <a:lnTo>
                  <a:pt x="4876" y="1552"/>
                </a:lnTo>
                <a:lnTo>
                  <a:pt x="4876" y="1546"/>
                </a:lnTo>
                <a:lnTo>
                  <a:pt x="4876" y="1540"/>
                </a:lnTo>
                <a:lnTo>
                  <a:pt x="4874" y="1537"/>
                </a:lnTo>
                <a:lnTo>
                  <a:pt x="4869" y="1526"/>
                </a:lnTo>
                <a:lnTo>
                  <a:pt x="4861" y="1519"/>
                </a:lnTo>
                <a:lnTo>
                  <a:pt x="4851" y="1511"/>
                </a:lnTo>
                <a:lnTo>
                  <a:pt x="4841" y="1504"/>
                </a:lnTo>
                <a:lnTo>
                  <a:pt x="4828" y="1497"/>
                </a:lnTo>
                <a:lnTo>
                  <a:pt x="4815" y="1490"/>
                </a:lnTo>
                <a:lnTo>
                  <a:pt x="4804" y="1483"/>
                </a:lnTo>
                <a:lnTo>
                  <a:pt x="4793" y="1478"/>
                </a:lnTo>
                <a:lnTo>
                  <a:pt x="4783" y="1472"/>
                </a:lnTo>
                <a:lnTo>
                  <a:pt x="4776" y="1465"/>
                </a:lnTo>
                <a:lnTo>
                  <a:pt x="4773" y="1462"/>
                </a:lnTo>
                <a:lnTo>
                  <a:pt x="4772" y="1459"/>
                </a:lnTo>
                <a:lnTo>
                  <a:pt x="4771" y="1455"/>
                </a:lnTo>
                <a:lnTo>
                  <a:pt x="4771" y="1451"/>
                </a:lnTo>
                <a:lnTo>
                  <a:pt x="4771" y="1448"/>
                </a:lnTo>
                <a:lnTo>
                  <a:pt x="4773" y="1444"/>
                </a:lnTo>
                <a:lnTo>
                  <a:pt x="4776" y="1440"/>
                </a:lnTo>
                <a:lnTo>
                  <a:pt x="4779" y="1436"/>
                </a:lnTo>
                <a:lnTo>
                  <a:pt x="4790" y="1449"/>
                </a:lnTo>
                <a:lnTo>
                  <a:pt x="4805" y="1462"/>
                </a:lnTo>
                <a:lnTo>
                  <a:pt x="4823" y="1477"/>
                </a:lnTo>
                <a:lnTo>
                  <a:pt x="4843" y="1492"/>
                </a:lnTo>
                <a:lnTo>
                  <a:pt x="4886" y="1523"/>
                </a:lnTo>
                <a:lnTo>
                  <a:pt x="4927" y="1549"/>
                </a:lnTo>
                <a:lnTo>
                  <a:pt x="4942" y="1561"/>
                </a:lnTo>
                <a:lnTo>
                  <a:pt x="4955" y="1571"/>
                </a:lnTo>
                <a:lnTo>
                  <a:pt x="4959" y="1575"/>
                </a:lnTo>
                <a:lnTo>
                  <a:pt x="4962" y="1577"/>
                </a:lnTo>
                <a:lnTo>
                  <a:pt x="4962" y="1580"/>
                </a:lnTo>
                <a:lnTo>
                  <a:pt x="4962" y="1581"/>
                </a:lnTo>
                <a:lnTo>
                  <a:pt x="4959" y="1582"/>
                </a:lnTo>
                <a:lnTo>
                  <a:pt x="4954" y="1581"/>
                </a:lnTo>
                <a:lnTo>
                  <a:pt x="4946" y="1580"/>
                </a:lnTo>
                <a:lnTo>
                  <a:pt x="4937" y="1577"/>
                </a:lnTo>
                <a:lnTo>
                  <a:pt x="4912" y="1570"/>
                </a:lnTo>
                <a:lnTo>
                  <a:pt x="4875" y="1557"/>
                </a:lnTo>
                <a:close/>
                <a:moveTo>
                  <a:pt x="4807" y="7442"/>
                </a:moveTo>
                <a:lnTo>
                  <a:pt x="4809" y="7439"/>
                </a:lnTo>
                <a:lnTo>
                  <a:pt x="4810" y="7437"/>
                </a:lnTo>
                <a:lnTo>
                  <a:pt x="4810" y="7439"/>
                </a:lnTo>
                <a:lnTo>
                  <a:pt x="4810" y="7440"/>
                </a:lnTo>
                <a:lnTo>
                  <a:pt x="4809" y="7442"/>
                </a:lnTo>
                <a:lnTo>
                  <a:pt x="4807" y="7442"/>
                </a:lnTo>
                <a:close/>
                <a:moveTo>
                  <a:pt x="4802" y="1672"/>
                </a:moveTo>
                <a:lnTo>
                  <a:pt x="4801" y="1670"/>
                </a:lnTo>
                <a:lnTo>
                  <a:pt x="4802" y="1670"/>
                </a:lnTo>
                <a:lnTo>
                  <a:pt x="4802" y="1670"/>
                </a:lnTo>
                <a:lnTo>
                  <a:pt x="4802" y="1672"/>
                </a:lnTo>
                <a:close/>
                <a:moveTo>
                  <a:pt x="4231" y="7667"/>
                </a:moveTo>
                <a:lnTo>
                  <a:pt x="4231" y="7662"/>
                </a:lnTo>
                <a:lnTo>
                  <a:pt x="4233" y="7658"/>
                </a:lnTo>
                <a:lnTo>
                  <a:pt x="4232" y="7662"/>
                </a:lnTo>
                <a:lnTo>
                  <a:pt x="4231" y="7667"/>
                </a:lnTo>
                <a:close/>
                <a:moveTo>
                  <a:pt x="4143" y="7960"/>
                </a:moveTo>
                <a:lnTo>
                  <a:pt x="4134" y="7961"/>
                </a:lnTo>
                <a:lnTo>
                  <a:pt x="4129" y="7961"/>
                </a:lnTo>
                <a:lnTo>
                  <a:pt x="4127" y="7960"/>
                </a:lnTo>
                <a:lnTo>
                  <a:pt x="4126" y="7958"/>
                </a:lnTo>
                <a:lnTo>
                  <a:pt x="4126" y="7957"/>
                </a:lnTo>
                <a:lnTo>
                  <a:pt x="4126" y="7955"/>
                </a:lnTo>
                <a:lnTo>
                  <a:pt x="4129" y="7952"/>
                </a:lnTo>
                <a:lnTo>
                  <a:pt x="4134" y="7950"/>
                </a:lnTo>
                <a:lnTo>
                  <a:pt x="4139" y="7948"/>
                </a:lnTo>
                <a:lnTo>
                  <a:pt x="4147" y="7948"/>
                </a:lnTo>
                <a:lnTo>
                  <a:pt x="4148" y="7953"/>
                </a:lnTo>
                <a:lnTo>
                  <a:pt x="4148" y="7957"/>
                </a:lnTo>
                <a:lnTo>
                  <a:pt x="4145" y="7958"/>
                </a:lnTo>
                <a:lnTo>
                  <a:pt x="4143" y="7960"/>
                </a:lnTo>
                <a:close/>
                <a:moveTo>
                  <a:pt x="3875" y="7555"/>
                </a:moveTo>
                <a:lnTo>
                  <a:pt x="3877" y="7551"/>
                </a:lnTo>
                <a:lnTo>
                  <a:pt x="3877" y="7546"/>
                </a:lnTo>
                <a:lnTo>
                  <a:pt x="3877" y="7551"/>
                </a:lnTo>
                <a:lnTo>
                  <a:pt x="3875" y="7555"/>
                </a:lnTo>
                <a:close/>
                <a:moveTo>
                  <a:pt x="3841" y="7403"/>
                </a:moveTo>
                <a:lnTo>
                  <a:pt x="3842" y="7402"/>
                </a:lnTo>
                <a:lnTo>
                  <a:pt x="3842" y="7403"/>
                </a:lnTo>
                <a:lnTo>
                  <a:pt x="3843" y="7405"/>
                </a:lnTo>
                <a:lnTo>
                  <a:pt x="3843" y="7407"/>
                </a:lnTo>
                <a:lnTo>
                  <a:pt x="3842" y="7406"/>
                </a:lnTo>
                <a:lnTo>
                  <a:pt x="3841" y="7403"/>
                </a:lnTo>
                <a:close/>
                <a:moveTo>
                  <a:pt x="3719" y="7416"/>
                </a:moveTo>
                <a:lnTo>
                  <a:pt x="3719" y="7415"/>
                </a:lnTo>
                <a:lnTo>
                  <a:pt x="3720" y="7414"/>
                </a:lnTo>
                <a:lnTo>
                  <a:pt x="3720" y="7415"/>
                </a:lnTo>
                <a:lnTo>
                  <a:pt x="3719" y="7416"/>
                </a:lnTo>
                <a:close/>
                <a:moveTo>
                  <a:pt x="3543" y="5065"/>
                </a:moveTo>
                <a:lnTo>
                  <a:pt x="3542" y="5065"/>
                </a:lnTo>
                <a:lnTo>
                  <a:pt x="3539" y="5064"/>
                </a:lnTo>
                <a:lnTo>
                  <a:pt x="3543" y="5064"/>
                </a:lnTo>
                <a:lnTo>
                  <a:pt x="3543" y="5065"/>
                </a:lnTo>
                <a:close/>
                <a:moveTo>
                  <a:pt x="3253" y="7281"/>
                </a:moveTo>
                <a:lnTo>
                  <a:pt x="3250" y="7283"/>
                </a:lnTo>
                <a:lnTo>
                  <a:pt x="3244" y="7281"/>
                </a:lnTo>
                <a:lnTo>
                  <a:pt x="3249" y="7279"/>
                </a:lnTo>
                <a:lnTo>
                  <a:pt x="3251" y="7277"/>
                </a:lnTo>
                <a:lnTo>
                  <a:pt x="3253" y="7279"/>
                </a:lnTo>
                <a:lnTo>
                  <a:pt x="3253" y="7281"/>
                </a:lnTo>
                <a:close/>
                <a:moveTo>
                  <a:pt x="3146" y="7332"/>
                </a:moveTo>
                <a:lnTo>
                  <a:pt x="3138" y="7333"/>
                </a:lnTo>
                <a:lnTo>
                  <a:pt x="3129" y="7335"/>
                </a:lnTo>
                <a:lnTo>
                  <a:pt x="3125" y="7335"/>
                </a:lnTo>
                <a:lnTo>
                  <a:pt x="3121" y="7333"/>
                </a:lnTo>
                <a:lnTo>
                  <a:pt x="3118" y="7332"/>
                </a:lnTo>
                <a:lnTo>
                  <a:pt x="3115" y="7330"/>
                </a:lnTo>
                <a:lnTo>
                  <a:pt x="3121" y="7325"/>
                </a:lnTo>
                <a:lnTo>
                  <a:pt x="3128" y="7319"/>
                </a:lnTo>
                <a:lnTo>
                  <a:pt x="3134" y="7316"/>
                </a:lnTo>
                <a:lnTo>
                  <a:pt x="3140" y="7313"/>
                </a:lnTo>
                <a:lnTo>
                  <a:pt x="3143" y="7313"/>
                </a:lnTo>
                <a:lnTo>
                  <a:pt x="3144" y="7313"/>
                </a:lnTo>
                <a:lnTo>
                  <a:pt x="3146" y="7314"/>
                </a:lnTo>
                <a:lnTo>
                  <a:pt x="3147" y="7316"/>
                </a:lnTo>
                <a:lnTo>
                  <a:pt x="3148" y="7322"/>
                </a:lnTo>
                <a:lnTo>
                  <a:pt x="3146" y="7332"/>
                </a:lnTo>
                <a:close/>
                <a:moveTo>
                  <a:pt x="3054" y="6012"/>
                </a:moveTo>
                <a:lnTo>
                  <a:pt x="3053" y="6008"/>
                </a:lnTo>
                <a:lnTo>
                  <a:pt x="3050" y="6005"/>
                </a:lnTo>
                <a:lnTo>
                  <a:pt x="3054" y="6005"/>
                </a:lnTo>
                <a:lnTo>
                  <a:pt x="3055" y="6006"/>
                </a:lnTo>
                <a:lnTo>
                  <a:pt x="3054" y="6008"/>
                </a:lnTo>
                <a:lnTo>
                  <a:pt x="3054" y="6012"/>
                </a:lnTo>
                <a:close/>
                <a:moveTo>
                  <a:pt x="2804" y="6061"/>
                </a:moveTo>
                <a:lnTo>
                  <a:pt x="2818" y="6054"/>
                </a:lnTo>
                <a:lnTo>
                  <a:pt x="2842" y="6044"/>
                </a:lnTo>
                <a:lnTo>
                  <a:pt x="2872" y="6031"/>
                </a:lnTo>
                <a:lnTo>
                  <a:pt x="2905" y="6019"/>
                </a:lnTo>
                <a:lnTo>
                  <a:pt x="2938" y="6006"/>
                </a:lnTo>
                <a:lnTo>
                  <a:pt x="2965" y="5997"/>
                </a:lnTo>
                <a:lnTo>
                  <a:pt x="2985" y="5991"/>
                </a:lnTo>
                <a:lnTo>
                  <a:pt x="2994" y="5989"/>
                </a:lnTo>
                <a:lnTo>
                  <a:pt x="2990" y="5993"/>
                </a:lnTo>
                <a:lnTo>
                  <a:pt x="2983" y="5997"/>
                </a:lnTo>
                <a:lnTo>
                  <a:pt x="2974" y="6003"/>
                </a:lnTo>
                <a:lnTo>
                  <a:pt x="2961" y="6008"/>
                </a:lnTo>
                <a:lnTo>
                  <a:pt x="2932" y="6022"/>
                </a:lnTo>
                <a:lnTo>
                  <a:pt x="2897" y="6035"/>
                </a:lnTo>
                <a:lnTo>
                  <a:pt x="2864" y="6048"/>
                </a:lnTo>
                <a:lnTo>
                  <a:pt x="2835" y="6057"/>
                </a:lnTo>
                <a:lnTo>
                  <a:pt x="2823" y="6061"/>
                </a:lnTo>
                <a:lnTo>
                  <a:pt x="2814" y="6062"/>
                </a:lnTo>
                <a:lnTo>
                  <a:pt x="2808" y="6062"/>
                </a:lnTo>
                <a:lnTo>
                  <a:pt x="2804" y="6061"/>
                </a:lnTo>
                <a:close/>
                <a:moveTo>
                  <a:pt x="2904" y="5879"/>
                </a:moveTo>
                <a:lnTo>
                  <a:pt x="2901" y="5877"/>
                </a:lnTo>
                <a:lnTo>
                  <a:pt x="2897" y="5873"/>
                </a:lnTo>
                <a:lnTo>
                  <a:pt x="2902" y="5876"/>
                </a:lnTo>
                <a:lnTo>
                  <a:pt x="2905" y="5877"/>
                </a:lnTo>
                <a:lnTo>
                  <a:pt x="2905" y="5879"/>
                </a:lnTo>
                <a:lnTo>
                  <a:pt x="2904" y="5879"/>
                </a:lnTo>
                <a:close/>
                <a:moveTo>
                  <a:pt x="2752" y="5933"/>
                </a:moveTo>
                <a:lnTo>
                  <a:pt x="2751" y="5931"/>
                </a:lnTo>
                <a:lnTo>
                  <a:pt x="2752" y="5928"/>
                </a:lnTo>
                <a:lnTo>
                  <a:pt x="2752" y="5931"/>
                </a:lnTo>
                <a:lnTo>
                  <a:pt x="2752" y="5933"/>
                </a:lnTo>
                <a:close/>
                <a:moveTo>
                  <a:pt x="2370" y="7460"/>
                </a:moveTo>
                <a:lnTo>
                  <a:pt x="2370" y="7458"/>
                </a:lnTo>
                <a:lnTo>
                  <a:pt x="2371" y="7457"/>
                </a:lnTo>
                <a:lnTo>
                  <a:pt x="2370" y="7458"/>
                </a:lnTo>
                <a:lnTo>
                  <a:pt x="2370" y="7460"/>
                </a:lnTo>
                <a:close/>
                <a:moveTo>
                  <a:pt x="2369" y="7466"/>
                </a:moveTo>
                <a:lnTo>
                  <a:pt x="2369" y="7465"/>
                </a:lnTo>
                <a:lnTo>
                  <a:pt x="2367" y="7462"/>
                </a:lnTo>
                <a:lnTo>
                  <a:pt x="2370" y="7465"/>
                </a:lnTo>
                <a:lnTo>
                  <a:pt x="2369" y="7466"/>
                </a:lnTo>
                <a:close/>
                <a:moveTo>
                  <a:pt x="2151" y="7457"/>
                </a:moveTo>
                <a:lnTo>
                  <a:pt x="2139" y="7461"/>
                </a:lnTo>
                <a:lnTo>
                  <a:pt x="2133" y="7463"/>
                </a:lnTo>
                <a:lnTo>
                  <a:pt x="2129" y="7463"/>
                </a:lnTo>
                <a:lnTo>
                  <a:pt x="2128" y="7462"/>
                </a:lnTo>
                <a:lnTo>
                  <a:pt x="2129" y="7460"/>
                </a:lnTo>
                <a:lnTo>
                  <a:pt x="2134" y="7456"/>
                </a:lnTo>
                <a:lnTo>
                  <a:pt x="2141" y="7451"/>
                </a:lnTo>
                <a:lnTo>
                  <a:pt x="2147" y="7446"/>
                </a:lnTo>
                <a:lnTo>
                  <a:pt x="2166" y="7435"/>
                </a:lnTo>
                <a:lnTo>
                  <a:pt x="2185" y="7426"/>
                </a:lnTo>
                <a:lnTo>
                  <a:pt x="2194" y="7424"/>
                </a:lnTo>
                <a:lnTo>
                  <a:pt x="2202" y="7423"/>
                </a:lnTo>
                <a:lnTo>
                  <a:pt x="2210" y="7423"/>
                </a:lnTo>
                <a:lnTo>
                  <a:pt x="2215" y="7425"/>
                </a:lnTo>
                <a:lnTo>
                  <a:pt x="2198" y="7433"/>
                </a:lnTo>
                <a:lnTo>
                  <a:pt x="2180" y="7442"/>
                </a:lnTo>
                <a:lnTo>
                  <a:pt x="2162" y="7449"/>
                </a:lnTo>
                <a:lnTo>
                  <a:pt x="2151" y="7457"/>
                </a:lnTo>
                <a:close/>
                <a:moveTo>
                  <a:pt x="2203" y="7663"/>
                </a:moveTo>
                <a:lnTo>
                  <a:pt x="2203" y="7662"/>
                </a:lnTo>
                <a:lnTo>
                  <a:pt x="2204" y="7662"/>
                </a:lnTo>
                <a:lnTo>
                  <a:pt x="2203" y="7663"/>
                </a:lnTo>
                <a:lnTo>
                  <a:pt x="2203" y="7663"/>
                </a:lnTo>
                <a:close/>
                <a:moveTo>
                  <a:pt x="2181" y="7667"/>
                </a:moveTo>
                <a:lnTo>
                  <a:pt x="2194" y="7668"/>
                </a:lnTo>
                <a:lnTo>
                  <a:pt x="2201" y="7668"/>
                </a:lnTo>
                <a:lnTo>
                  <a:pt x="2198" y="7672"/>
                </a:lnTo>
                <a:lnTo>
                  <a:pt x="2196" y="7675"/>
                </a:lnTo>
                <a:lnTo>
                  <a:pt x="2193" y="7676"/>
                </a:lnTo>
                <a:lnTo>
                  <a:pt x="2190" y="7676"/>
                </a:lnTo>
                <a:lnTo>
                  <a:pt x="2188" y="7676"/>
                </a:lnTo>
                <a:lnTo>
                  <a:pt x="2185" y="7673"/>
                </a:lnTo>
                <a:lnTo>
                  <a:pt x="2183" y="7671"/>
                </a:lnTo>
                <a:lnTo>
                  <a:pt x="2181" y="7667"/>
                </a:lnTo>
                <a:close/>
                <a:moveTo>
                  <a:pt x="2122" y="7572"/>
                </a:moveTo>
                <a:lnTo>
                  <a:pt x="2119" y="7570"/>
                </a:lnTo>
                <a:lnTo>
                  <a:pt x="2117" y="7569"/>
                </a:lnTo>
                <a:lnTo>
                  <a:pt x="2114" y="7569"/>
                </a:lnTo>
                <a:lnTo>
                  <a:pt x="2111" y="7569"/>
                </a:lnTo>
                <a:lnTo>
                  <a:pt x="2117" y="7566"/>
                </a:lnTo>
                <a:lnTo>
                  <a:pt x="2122" y="7565"/>
                </a:lnTo>
                <a:lnTo>
                  <a:pt x="2123" y="7565"/>
                </a:lnTo>
                <a:lnTo>
                  <a:pt x="2124" y="7566"/>
                </a:lnTo>
                <a:lnTo>
                  <a:pt x="2123" y="7569"/>
                </a:lnTo>
                <a:lnTo>
                  <a:pt x="2122" y="7572"/>
                </a:lnTo>
                <a:close/>
                <a:moveTo>
                  <a:pt x="2122" y="7537"/>
                </a:moveTo>
                <a:lnTo>
                  <a:pt x="2114" y="7542"/>
                </a:lnTo>
                <a:lnTo>
                  <a:pt x="2111" y="7542"/>
                </a:lnTo>
                <a:lnTo>
                  <a:pt x="2113" y="7538"/>
                </a:lnTo>
                <a:lnTo>
                  <a:pt x="2118" y="7530"/>
                </a:lnTo>
                <a:lnTo>
                  <a:pt x="2119" y="7535"/>
                </a:lnTo>
                <a:lnTo>
                  <a:pt x="2122" y="7537"/>
                </a:lnTo>
                <a:close/>
                <a:moveTo>
                  <a:pt x="2094" y="6747"/>
                </a:moveTo>
                <a:lnTo>
                  <a:pt x="2099" y="6748"/>
                </a:lnTo>
                <a:lnTo>
                  <a:pt x="2104" y="6749"/>
                </a:lnTo>
                <a:lnTo>
                  <a:pt x="2109" y="6749"/>
                </a:lnTo>
                <a:lnTo>
                  <a:pt x="2115" y="6749"/>
                </a:lnTo>
                <a:lnTo>
                  <a:pt x="2125" y="6748"/>
                </a:lnTo>
                <a:lnTo>
                  <a:pt x="2137" y="6747"/>
                </a:lnTo>
                <a:lnTo>
                  <a:pt x="2148" y="6745"/>
                </a:lnTo>
                <a:lnTo>
                  <a:pt x="2159" y="6745"/>
                </a:lnTo>
                <a:lnTo>
                  <a:pt x="2164" y="6747"/>
                </a:lnTo>
                <a:lnTo>
                  <a:pt x="2169" y="6749"/>
                </a:lnTo>
                <a:lnTo>
                  <a:pt x="2173" y="6752"/>
                </a:lnTo>
                <a:lnTo>
                  <a:pt x="2178" y="6756"/>
                </a:lnTo>
                <a:lnTo>
                  <a:pt x="2167" y="6762"/>
                </a:lnTo>
                <a:lnTo>
                  <a:pt x="2157" y="6766"/>
                </a:lnTo>
                <a:lnTo>
                  <a:pt x="2145" y="6768"/>
                </a:lnTo>
                <a:lnTo>
                  <a:pt x="2132" y="6770"/>
                </a:lnTo>
                <a:lnTo>
                  <a:pt x="2125" y="6768"/>
                </a:lnTo>
                <a:lnTo>
                  <a:pt x="2119" y="6768"/>
                </a:lnTo>
                <a:lnTo>
                  <a:pt x="2114" y="6766"/>
                </a:lnTo>
                <a:lnTo>
                  <a:pt x="2109" y="6763"/>
                </a:lnTo>
                <a:lnTo>
                  <a:pt x="2104" y="6761"/>
                </a:lnTo>
                <a:lnTo>
                  <a:pt x="2100" y="6757"/>
                </a:lnTo>
                <a:lnTo>
                  <a:pt x="2096" y="6752"/>
                </a:lnTo>
                <a:lnTo>
                  <a:pt x="2094" y="6747"/>
                </a:lnTo>
                <a:close/>
                <a:moveTo>
                  <a:pt x="2054" y="6609"/>
                </a:moveTo>
                <a:lnTo>
                  <a:pt x="2026" y="6619"/>
                </a:lnTo>
                <a:lnTo>
                  <a:pt x="1993" y="6632"/>
                </a:lnTo>
                <a:lnTo>
                  <a:pt x="1956" y="6647"/>
                </a:lnTo>
                <a:lnTo>
                  <a:pt x="1919" y="6663"/>
                </a:lnTo>
                <a:lnTo>
                  <a:pt x="1901" y="6669"/>
                </a:lnTo>
                <a:lnTo>
                  <a:pt x="1883" y="6674"/>
                </a:lnTo>
                <a:lnTo>
                  <a:pt x="1866" y="6679"/>
                </a:lnTo>
                <a:lnTo>
                  <a:pt x="1850" y="6682"/>
                </a:lnTo>
                <a:lnTo>
                  <a:pt x="1835" y="6684"/>
                </a:lnTo>
                <a:lnTo>
                  <a:pt x="1822" y="6683"/>
                </a:lnTo>
                <a:lnTo>
                  <a:pt x="1817" y="6683"/>
                </a:lnTo>
                <a:lnTo>
                  <a:pt x="1811" y="6680"/>
                </a:lnTo>
                <a:lnTo>
                  <a:pt x="1807" y="6679"/>
                </a:lnTo>
                <a:lnTo>
                  <a:pt x="1802" y="6675"/>
                </a:lnTo>
                <a:lnTo>
                  <a:pt x="1810" y="6677"/>
                </a:lnTo>
                <a:lnTo>
                  <a:pt x="1817" y="6677"/>
                </a:lnTo>
                <a:lnTo>
                  <a:pt x="1825" y="6674"/>
                </a:lnTo>
                <a:lnTo>
                  <a:pt x="1835" y="6673"/>
                </a:lnTo>
                <a:lnTo>
                  <a:pt x="1857" y="6666"/>
                </a:lnTo>
                <a:lnTo>
                  <a:pt x="1881" y="6656"/>
                </a:lnTo>
                <a:lnTo>
                  <a:pt x="1934" y="6635"/>
                </a:lnTo>
                <a:lnTo>
                  <a:pt x="1987" y="6610"/>
                </a:lnTo>
                <a:lnTo>
                  <a:pt x="2011" y="6600"/>
                </a:lnTo>
                <a:lnTo>
                  <a:pt x="2031" y="6591"/>
                </a:lnTo>
                <a:lnTo>
                  <a:pt x="2049" y="6585"/>
                </a:lnTo>
                <a:lnTo>
                  <a:pt x="2063" y="6581"/>
                </a:lnTo>
                <a:lnTo>
                  <a:pt x="2067" y="6580"/>
                </a:lnTo>
                <a:lnTo>
                  <a:pt x="2071" y="6581"/>
                </a:lnTo>
                <a:lnTo>
                  <a:pt x="2072" y="6582"/>
                </a:lnTo>
                <a:lnTo>
                  <a:pt x="2072" y="6585"/>
                </a:lnTo>
                <a:lnTo>
                  <a:pt x="2071" y="6589"/>
                </a:lnTo>
                <a:lnTo>
                  <a:pt x="2067" y="6595"/>
                </a:lnTo>
                <a:lnTo>
                  <a:pt x="2062" y="6602"/>
                </a:lnTo>
                <a:lnTo>
                  <a:pt x="2054" y="6609"/>
                </a:lnTo>
                <a:close/>
                <a:moveTo>
                  <a:pt x="1962" y="6800"/>
                </a:moveTo>
                <a:lnTo>
                  <a:pt x="1952" y="6792"/>
                </a:lnTo>
                <a:lnTo>
                  <a:pt x="1946" y="6785"/>
                </a:lnTo>
                <a:lnTo>
                  <a:pt x="1942" y="6780"/>
                </a:lnTo>
                <a:lnTo>
                  <a:pt x="1942" y="6775"/>
                </a:lnTo>
                <a:lnTo>
                  <a:pt x="1943" y="6770"/>
                </a:lnTo>
                <a:lnTo>
                  <a:pt x="1948" y="6766"/>
                </a:lnTo>
                <a:lnTo>
                  <a:pt x="1955" y="6763"/>
                </a:lnTo>
                <a:lnTo>
                  <a:pt x="1962" y="6759"/>
                </a:lnTo>
                <a:lnTo>
                  <a:pt x="1980" y="6756"/>
                </a:lnTo>
                <a:lnTo>
                  <a:pt x="2002" y="6753"/>
                </a:lnTo>
                <a:lnTo>
                  <a:pt x="2024" y="6750"/>
                </a:lnTo>
                <a:lnTo>
                  <a:pt x="2041" y="6749"/>
                </a:lnTo>
                <a:lnTo>
                  <a:pt x="2038" y="6754"/>
                </a:lnTo>
                <a:lnTo>
                  <a:pt x="2034" y="6758"/>
                </a:lnTo>
                <a:lnTo>
                  <a:pt x="2029" y="6762"/>
                </a:lnTo>
                <a:lnTo>
                  <a:pt x="2024" y="6764"/>
                </a:lnTo>
                <a:lnTo>
                  <a:pt x="2012" y="6768"/>
                </a:lnTo>
                <a:lnTo>
                  <a:pt x="2001" y="6772"/>
                </a:lnTo>
                <a:lnTo>
                  <a:pt x="1989" y="6775"/>
                </a:lnTo>
                <a:lnTo>
                  <a:pt x="1978" y="6780"/>
                </a:lnTo>
                <a:lnTo>
                  <a:pt x="1974" y="6784"/>
                </a:lnTo>
                <a:lnTo>
                  <a:pt x="1969" y="6789"/>
                </a:lnTo>
                <a:lnTo>
                  <a:pt x="1965" y="6794"/>
                </a:lnTo>
                <a:lnTo>
                  <a:pt x="1962" y="6800"/>
                </a:lnTo>
                <a:close/>
                <a:moveTo>
                  <a:pt x="1919" y="6835"/>
                </a:moveTo>
                <a:lnTo>
                  <a:pt x="1932" y="6831"/>
                </a:lnTo>
                <a:lnTo>
                  <a:pt x="1945" y="6829"/>
                </a:lnTo>
                <a:lnTo>
                  <a:pt x="1957" y="6828"/>
                </a:lnTo>
                <a:lnTo>
                  <a:pt x="1970" y="6828"/>
                </a:lnTo>
                <a:lnTo>
                  <a:pt x="1983" y="6827"/>
                </a:lnTo>
                <a:lnTo>
                  <a:pt x="1996" y="6824"/>
                </a:lnTo>
                <a:lnTo>
                  <a:pt x="2002" y="6823"/>
                </a:lnTo>
                <a:lnTo>
                  <a:pt x="2008" y="6820"/>
                </a:lnTo>
                <a:lnTo>
                  <a:pt x="2013" y="6818"/>
                </a:lnTo>
                <a:lnTo>
                  <a:pt x="2020" y="6814"/>
                </a:lnTo>
                <a:lnTo>
                  <a:pt x="2020" y="6820"/>
                </a:lnTo>
                <a:lnTo>
                  <a:pt x="2018" y="6826"/>
                </a:lnTo>
                <a:lnTo>
                  <a:pt x="2016" y="6829"/>
                </a:lnTo>
                <a:lnTo>
                  <a:pt x="2012" y="6833"/>
                </a:lnTo>
                <a:lnTo>
                  <a:pt x="2006" y="6835"/>
                </a:lnTo>
                <a:lnTo>
                  <a:pt x="1999" y="6836"/>
                </a:lnTo>
                <a:lnTo>
                  <a:pt x="1992" y="6837"/>
                </a:lnTo>
                <a:lnTo>
                  <a:pt x="1984" y="6837"/>
                </a:lnTo>
                <a:lnTo>
                  <a:pt x="1966" y="6836"/>
                </a:lnTo>
                <a:lnTo>
                  <a:pt x="1950" y="6833"/>
                </a:lnTo>
                <a:lnTo>
                  <a:pt x="1933" y="6833"/>
                </a:lnTo>
                <a:lnTo>
                  <a:pt x="1919" y="6835"/>
                </a:lnTo>
                <a:close/>
                <a:moveTo>
                  <a:pt x="1881" y="6800"/>
                </a:moveTo>
                <a:lnTo>
                  <a:pt x="1881" y="6800"/>
                </a:lnTo>
                <a:lnTo>
                  <a:pt x="1881" y="6801"/>
                </a:lnTo>
                <a:lnTo>
                  <a:pt x="1880" y="6800"/>
                </a:lnTo>
                <a:lnTo>
                  <a:pt x="1881" y="6800"/>
                </a:lnTo>
                <a:close/>
                <a:moveTo>
                  <a:pt x="1872" y="6799"/>
                </a:moveTo>
                <a:lnTo>
                  <a:pt x="1877" y="6800"/>
                </a:lnTo>
                <a:lnTo>
                  <a:pt x="1880" y="6801"/>
                </a:lnTo>
                <a:lnTo>
                  <a:pt x="1881" y="6804"/>
                </a:lnTo>
                <a:lnTo>
                  <a:pt x="1881" y="6808"/>
                </a:lnTo>
                <a:lnTo>
                  <a:pt x="1877" y="6803"/>
                </a:lnTo>
                <a:lnTo>
                  <a:pt x="1872" y="6799"/>
                </a:lnTo>
                <a:close/>
                <a:moveTo>
                  <a:pt x="1812" y="6852"/>
                </a:moveTo>
                <a:lnTo>
                  <a:pt x="1791" y="6849"/>
                </a:lnTo>
                <a:lnTo>
                  <a:pt x="1777" y="6845"/>
                </a:lnTo>
                <a:lnTo>
                  <a:pt x="1771" y="6842"/>
                </a:lnTo>
                <a:lnTo>
                  <a:pt x="1769" y="6841"/>
                </a:lnTo>
                <a:lnTo>
                  <a:pt x="1769" y="6838"/>
                </a:lnTo>
                <a:lnTo>
                  <a:pt x="1770" y="6837"/>
                </a:lnTo>
                <a:lnTo>
                  <a:pt x="1777" y="6833"/>
                </a:lnTo>
                <a:lnTo>
                  <a:pt x="1788" y="6828"/>
                </a:lnTo>
                <a:lnTo>
                  <a:pt x="1803" y="6823"/>
                </a:lnTo>
                <a:lnTo>
                  <a:pt x="1824" y="6817"/>
                </a:lnTo>
                <a:lnTo>
                  <a:pt x="1840" y="6814"/>
                </a:lnTo>
                <a:lnTo>
                  <a:pt x="1845" y="6815"/>
                </a:lnTo>
                <a:lnTo>
                  <a:pt x="1841" y="6818"/>
                </a:lnTo>
                <a:lnTo>
                  <a:pt x="1834" y="6823"/>
                </a:lnTo>
                <a:lnTo>
                  <a:pt x="1824" y="6829"/>
                </a:lnTo>
                <a:lnTo>
                  <a:pt x="1815" y="6837"/>
                </a:lnTo>
                <a:lnTo>
                  <a:pt x="1811" y="6841"/>
                </a:lnTo>
                <a:lnTo>
                  <a:pt x="1810" y="6845"/>
                </a:lnTo>
                <a:lnTo>
                  <a:pt x="1810" y="6849"/>
                </a:lnTo>
                <a:lnTo>
                  <a:pt x="1812" y="6852"/>
                </a:lnTo>
                <a:close/>
                <a:moveTo>
                  <a:pt x="1891" y="7565"/>
                </a:moveTo>
                <a:lnTo>
                  <a:pt x="1887" y="7563"/>
                </a:lnTo>
                <a:lnTo>
                  <a:pt x="1887" y="7563"/>
                </a:lnTo>
                <a:lnTo>
                  <a:pt x="1889" y="7561"/>
                </a:lnTo>
                <a:lnTo>
                  <a:pt x="1892" y="7561"/>
                </a:lnTo>
                <a:lnTo>
                  <a:pt x="1891" y="7563"/>
                </a:lnTo>
                <a:lnTo>
                  <a:pt x="1891" y="7565"/>
                </a:lnTo>
                <a:close/>
                <a:moveTo>
                  <a:pt x="1532" y="7045"/>
                </a:moveTo>
                <a:lnTo>
                  <a:pt x="1535" y="7043"/>
                </a:lnTo>
                <a:lnTo>
                  <a:pt x="1537" y="7042"/>
                </a:lnTo>
                <a:lnTo>
                  <a:pt x="1535" y="7043"/>
                </a:lnTo>
                <a:lnTo>
                  <a:pt x="1532" y="7045"/>
                </a:lnTo>
                <a:close/>
                <a:moveTo>
                  <a:pt x="1504" y="7337"/>
                </a:moveTo>
                <a:lnTo>
                  <a:pt x="1504" y="7336"/>
                </a:lnTo>
                <a:lnTo>
                  <a:pt x="1505" y="7333"/>
                </a:lnTo>
                <a:lnTo>
                  <a:pt x="1507" y="7336"/>
                </a:lnTo>
                <a:lnTo>
                  <a:pt x="1507" y="7337"/>
                </a:lnTo>
                <a:lnTo>
                  <a:pt x="1505" y="7337"/>
                </a:lnTo>
                <a:lnTo>
                  <a:pt x="1504" y="7337"/>
                </a:lnTo>
                <a:close/>
                <a:moveTo>
                  <a:pt x="1445" y="7225"/>
                </a:moveTo>
                <a:lnTo>
                  <a:pt x="1415" y="7232"/>
                </a:lnTo>
                <a:lnTo>
                  <a:pt x="1384" y="7238"/>
                </a:lnTo>
                <a:lnTo>
                  <a:pt x="1355" y="7246"/>
                </a:lnTo>
                <a:lnTo>
                  <a:pt x="1324" y="7255"/>
                </a:lnTo>
                <a:lnTo>
                  <a:pt x="1265" y="7274"/>
                </a:lnTo>
                <a:lnTo>
                  <a:pt x="1205" y="7294"/>
                </a:lnTo>
                <a:lnTo>
                  <a:pt x="1145" y="7317"/>
                </a:lnTo>
                <a:lnTo>
                  <a:pt x="1086" y="7341"/>
                </a:lnTo>
                <a:lnTo>
                  <a:pt x="1028" y="7367"/>
                </a:lnTo>
                <a:lnTo>
                  <a:pt x="970" y="7391"/>
                </a:lnTo>
                <a:lnTo>
                  <a:pt x="913" y="7417"/>
                </a:lnTo>
                <a:lnTo>
                  <a:pt x="857" y="7442"/>
                </a:lnTo>
                <a:lnTo>
                  <a:pt x="801" y="7466"/>
                </a:lnTo>
                <a:lnTo>
                  <a:pt x="746" y="7489"/>
                </a:lnTo>
                <a:lnTo>
                  <a:pt x="692" y="7510"/>
                </a:lnTo>
                <a:lnTo>
                  <a:pt x="639" y="7530"/>
                </a:lnTo>
                <a:lnTo>
                  <a:pt x="613" y="7538"/>
                </a:lnTo>
                <a:lnTo>
                  <a:pt x="587" y="7546"/>
                </a:lnTo>
                <a:lnTo>
                  <a:pt x="562" y="7552"/>
                </a:lnTo>
                <a:lnTo>
                  <a:pt x="536" y="7559"/>
                </a:lnTo>
                <a:lnTo>
                  <a:pt x="548" y="7552"/>
                </a:lnTo>
                <a:lnTo>
                  <a:pt x="576" y="7537"/>
                </a:lnTo>
                <a:lnTo>
                  <a:pt x="616" y="7517"/>
                </a:lnTo>
                <a:lnTo>
                  <a:pt x="667" y="7490"/>
                </a:lnTo>
                <a:lnTo>
                  <a:pt x="727" y="7461"/>
                </a:lnTo>
                <a:lnTo>
                  <a:pt x="795" y="7428"/>
                </a:lnTo>
                <a:lnTo>
                  <a:pt x="869" y="7393"/>
                </a:lnTo>
                <a:lnTo>
                  <a:pt x="945" y="7359"/>
                </a:lnTo>
                <a:lnTo>
                  <a:pt x="1023" y="7326"/>
                </a:lnTo>
                <a:lnTo>
                  <a:pt x="1099" y="7295"/>
                </a:lnTo>
                <a:lnTo>
                  <a:pt x="1137" y="7281"/>
                </a:lnTo>
                <a:lnTo>
                  <a:pt x="1174" y="7267"/>
                </a:lnTo>
                <a:lnTo>
                  <a:pt x="1210" y="7256"/>
                </a:lnTo>
                <a:lnTo>
                  <a:pt x="1244" y="7246"/>
                </a:lnTo>
                <a:lnTo>
                  <a:pt x="1277" y="7235"/>
                </a:lnTo>
                <a:lnTo>
                  <a:pt x="1309" y="7228"/>
                </a:lnTo>
                <a:lnTo>
                  <a:pt x="1338" y="7223"/>
                </a:lnTo>
                <a:lnTo>
                  <a:pt x="1365" y="7219"/>
                </a:lnTo>
                <a:lnTo>
                  <a:pt x="1389" y="7216"/>
                </a:lnTo>
                <a:lnTo>
                  <a:pt x="1411" y="7218"/>
                </a:lnTo>
                <a:lnTo>
                  <a:pt x="1430" y="7220"/>
                </a:lnTo>
                <a:lnTo>
                  <a:pt x="1445" y="7225"/>
                </a:lnTo>
                <a:close/>
                <a:moveTo>
                  <a:pt x="1366" y="7475"/>
                </a:moveTo>
                <a:lnTo>
                  <a:pt x="1365" y="7474"/>
                </a:lnTo>
                <a:lnTo>
                  <a:pt x="1365" y="7472"/>
                </a:lnTo>
                <a:lnTo>
                  <a:pt x="1366" y="7474"/>
                </a:lnTo>
                <a:lnTo>
                  <a:pt x="1366" y="7475"/>
                </a:lnTo>
                <a:close/>
                <a:moveTo>
                  <a:pt x="1333" y="7544"/>
                </a:moveTo>
                <a:lnTo>
                  <a:pt x="1319" y="7549"/>
                </a:lnTo>
                <a:lnTo>
                  <a:pt x="1302" y="7558"/>
                </a:lnTo>
                <a:lnTo>
                  <a:pt x="1280" y="7569"/>
                </a:lnTo>
                <a:lnTo>
                  <a:pt x="1259" y="7580"/>
                </a:lnTo>
                <a:lnTo>
                  <a:pt x="1239" y="7591"/>
                </a:lnTo>
                <a:lnTo>
                  <a:pt x="1220" y="7596"/>
                </a:lnTo>
                <a:lnTo>
                  <a:pt x="1214" y="7597"/>
                </a:lnTo>
                <a:lnTo>
                  <a:pt x="1207" y="7597"/>
                </a:lnTo>
                <a:lnTo>
                  <a:pt x="1205" y="7596"/>
                </a:lnTo>
                <a:lnTo>
                  <a:pt x="1202" y="7594"/>
                </a:lnTo>
                <a:lnTo>
                  <a:pt x="1200" y="7592"/>
                </a:lnTo>
                <a:lnTo>
                  <a:pt x="1198" y="7589"/>
                </a:lnTo>
                <a:lnTo>
                  <a:pt x="1210" y="7579"/>
                </a:lnTo>
                <a:lnTo>
                  <a:pt x="1228" y="7566"/>
                </a:lnTo>
                <a:lnTo>
                  <a:pt x="1252" y="7551"/>
                </a:lnTo>
                <a:lnTo>
                  <a:pt x="1279" y="7537"/>
                </a:lnTo>
                <a:lnTo>
                  <a:pt x="1291" y="7532"/>
                </a:lnTo>
                <a:lnTo>
                  <a:pt x="1303" y="7527"/>
                </a:lnTo>
                <a:lnTo>
                  <a:pt x="1313" y="7524"/>
                </a:lnTo>
                <a:lnTo>
                  <a:pt x="1322" y="7523"/>
                </a:lnTo>
                <a:lnTo>
                  <a:pt x="1326" y="7523"/>
                </a:lnTo>
                <a:lnTo>
                  <a:pt x="1330" y="7524"/>
                </a:lnTo>
                <a:lnTo>
                  <a:pt x="1332" y="7526"/>
                </a:lnTo>
                <a:lnTo>
                  <a:pt x="1333" y="7527"/>
                </a:lnTo>
                <a:lnTo>
                  <a:pt x="1335" y="7531"/>
                </a:lnTo>
                <a:lnTo>
                  <a:pt x="1336" y="7533"/>
                </a:lnTo>
                <a:lnTo>
                  <a:pt x="1335" y="7538"/>
                </a:lnTo>
                <a:lnTo>
                  <a:pt x="1333" y="7544"/>
                </a:lnTo>
                <a:close/>
                <a:moveTo>
                  <a:pt x="1000" y="7574"/>
                </a:moveTo>
                <a:lnTo>
                  <a:pt x="997" y="7568"/>
                </a:lnTo>
                <a:lnTo>
                  <a:pt x="996" y="7561"/>
                </a:lnTo>
                <a:lnTo>
                  <a:pt x="996" y="7558"/>
                </a:lnTo>
                <a:lnTo>
                  <a:pt x="997" y="7554"/>
                </a:lnTo>
                <a:lnTo>
                  <a:pt x="1000" y="7551"/>
                </a:lnTo>
                <a:lnTo>
                  <a:pt x="1004" y="7549"/>
                </a:lnTo>
                <a:lnTo>
                  <a:pt x="1007" y="7547"/>
                </a:lnTo>
                <a:lnTo>
                  <a:pt x="1012" y="7546"/>
                </a:lnTo>
                <a:lnTo>
                  <a:pt x="1035" y="7546"/>
                </a:lnTo>
                <a:lnTo>
                  <a:pt x="1057" y="7547"/>
                </a:lnTo>
                <a:lnTo>
                  <a:pt x="1046" y="7554"/>
                </a:lnTo>
                <a:lnTo>
                  <a:pt x="1025" y="7565"/>
                </a:lnTo>
                <a:lnTo>
                  <a:pt x="1015" y="7570"/>
                </a:lnTo>
                <a:lnTo>
                  <a:pt x="1006" y="7574"/>
                </a:lnTo>
                <a:lnTo>
                  <a:pt x="1004" y="7575"/>
                </a:lnTo>
                <a:lnTo>
                  <a:pt x="1001" y="7577"/>
                </a:lnTo>
                <a:lnTo>
                  <a:pt x="1000" y="7575"/>
                </a:lnTo>
                <a:lnTo>
                  <a:pt x="1000" y="7574"/>
                </a:lnTo>
                <a:close/>
                <a:moveTo>
                  <a:pt x="671" y="7549"/>
                </a:moveTo>
                <a:lnTo>
                  <a:pt x="670" y="7546"/>
                </a:lnTo>
                <a:lnTo>
                  <a:pt x="671" y="7544"/>
                </a:lnTo>
                <a:lnTo>
                  <a:pt x="674" y="7541"/>
                </a:lnTo>
                <a:lnTo>
                  <a:pt x="677" y="7538"/>
                </a:lnTo>
                <a:lnTo>
                  <a:pt x="688" y="7533"/>
                </a:lnTo>
                <a:lnTo>
                  <a:pt x="697" y="7530"/>
                </a:lnTo>
                <a:lnTo>
                  <a:pt x="692" y="7536"/>
                </a:lnTo>
                <a:lnTo>
                  <a:pt x="685" y="7541"/>
                </a:lnTo>
                <a:lnTo>
                  <a:pt x="679" y="7545"/>
                </a:lnTo>
                <a:lnTo>
                  <a:pt x="671" y="7549"/>
                </a:lnTo>
                <a:close/>
                <a:moveTo>
                  <a:pt x="933" y="7305"/>
                </a:moveTo>
                <a:lnTo>
                  <a:pt x="942" y="7302"/>
                </a:lnTo>
                <a:lnTo>
                  <a:pt x="944" y="7302"/>
                </a:lnTo>
                <a:lnTo>
                  <a:pt x="939" y="7304"/>
                </a:lnTo>
                <a:lnTo>
                  <a:pt x="930" y="7309"/>
                </a:lnTo>
                <a:lnTo>
                  <a:pt x="905" y="7319"/>
                </a:lnTo>
                <a:lnTo>
                  <a:pt x="888" y="7327"/>
                </a:lnTo>
                <a:lnTo>
                  <a:pt x="894" y="7325"/>
                </a:lnTo>
                <a:lnTo>
                  <a:pt x="908" y="7317"/>
                </a:lnTo>
                <a:lnTo>
                  <a:pt x="923" y="7311"/>
                </a:lnTo>
                <a:lnTo>
                  <a:pt x="933" y="7305"/>
                </a:lnTo>
                <a:close/>
                <a:moveTo>
                  <a:pt x="1380" y="7144"/>
                </a:moveTo>
                <a:lnTo>
                  <a:pt x="1383" y="7143"/>
                </a:lnTo>
                <a:lnTo>
                  <a:pt x="1384" y="7143"/>
                </a:lnTo>
                <a:lnTo>
                  <a:pt x="1389" y="7145"/>
                </a:lnTo>
                <a:lnTo>
                  <a:pt x="1391" y="7148"/>
                </a:lnTo>
                <a:lnTo>
                  <a:pt x="1391" y="7149"/>
                </a:lnTo>
                <a:lnTo>
                  <a:pt x="1388" y="7149"/>
                </a:lnTo>
                <a:lnTo>
                  <a:pt x="1386" y="7149"/>
                </a:lnTo>
                <a:lnTo>
                  <a:pt x="1383" y="7149"/>
                </a:lnTo>
                <a:lnTo>
                  <a:pt x="1380" y="7146"/>
                </a:lnTo>
                <a:lnTo>
                  <a:pt x="1380" y="7144"/>
                </a:lnTo>
                <a:close/>
                <a:moveTo>
                  <a:pt x="2707" y="6044"/>
                </a:moveTo>
                <a:lnTo>
                  <a:pt x="2709" y="6043"/>
                </a:lnTo>
                <a:lnTo>
                  <a:pt x="2710" y="6041"/>
                </a:lnTo>
                <a:lnTo>
                  <a:pt x="2709" y="6043"/>
                </a:lnTo>
                <a:lnTo>
                  <a:pt x="2707" y="6044"/>
                </a:lnTo>
                <a:close/>
                <a:moveTo>
                  <a:pt x="2905" y="5483"/>
                </a:moveTo>
                <a:lnTo>
                  <a:pt x="2902" y="5480"/>
                </a:lnTo>
                <a:lnTo>
                  <a:pt x="2901" y="5478"/>
                </a:lnTo>
                <a:lnTo>
                  <a:pt x="2901" y="5478"/>
                </a:lnTo>
                <a:lnTo>
                  <a:pt x="2902" y="5476"/>
                </a:lnTo>
                <a:lnTo>
                  <a:pt x="2906" y="5476"/>
                </a:lnTo>
                <a:lnTo>
                  <a:pt x="2909" y="5478"/>
                </a:lnTo>
                <a:lnTo>
                  <a:pt x="2906" y="5480"/>
                </a:lnTo>
                <a:lnTo>
                  <a:pt x="2905" y="5483"/>
                </a:lnTo>
                <a:close/>
                <a:moveTo>
                  <a:pt x="2737" y="5312"/>
                </a:moveTo>
                <a:lnTo>
                  <a:pt x="2714" y="5307"/>
                </a:lnTo>
                <a:lnTo>
                  <a:pt x="2700" y="5302"/>
                </a:lnTo>
                <a:lnTo>
                  <a:pt x="2696" y="5299"/>
                </a:lnTo>
                <a:lnTo>
                  <a:pt x="2695" y="5297"/>
                </a:lnTo>
                <a:lnTo>
                  <a:pt x="2695" y="5294"/>
                </a:lnTo>
                <a:lnTo>
                  <a:pt x="2696" y="5293"/>
                </a:lnTo>
                <a:lnTo>
                  <a:pt x="2704" y="5288"/>
                </a:lnTo>
                <a:lnTo>
                  <a:pt x="2716" y="5284"/>
                </a:lnTo>
                <a:lnTo>
                  <a:pt x="2733" y="5279"/>
                </a:lnTo>
                <a:lnTo>
                  <a:pt x="2753" y="5274"/>
                </a:lnTo>
                <a:lnTo>
                  <a:pt x="2775" y="5269"/>
                </a:lnTo>
                <a:lnTo>
                  <a:pt x="2798" y="5264"/>
                </a:lnTo>
                <a:lnTo>
                  <a:pt x="2821" y="5257"/>
                </a:lnTo>
                <a:lnTo>
                  <a:pt x="2842" y="5250"/>
                </a:lnTo>
                <a:lnTo>
                  <a:pt x="2862" y="5242"/>
                </a:lnTo>
                <a:lnTo>
                  <a:pt x="2878" y="5232"/>
                </a:lnTo>
                <a:lnTo>
                  <a:pt x="2884" y="5227"/>
                </a:lnTo>
                <a:lnTo>
                  <a:pt x="2890" y="5222"/>
                </a:lnTo>
                <a:lnTo>
                  <a:pt x="2893" y="5217"/>
                </a:lnTo>
                <a:lnTo>
                  <a:pt x="2896" y="5210"/>
                </a:lnTo>
                <a:lnTo>
                  <a:pt x="2897" y="5217"/>
                </a:lnTo>
                <a:lnTo>
                  <a:pt x="2898" y="5223"/>
                </a:lnTo>
                <a:lnTo>
                  <a:pt x="2897" y="5229"/>
                </a:lnTo>
                <a:lnTo>
                  <a:pt x="2896" y="5233"/>
                </a:lnTo>
                <a:lnTo>
                  <a:pt x="2893" y="5238"/>
                </a:lnTo>
                <a:lnTo>
                  <a:pt x="2891" y="5242"/>
                </a:lnTo>
                <a:lnTo>
                  <a:pt x="2887" y="5246"/>
                </a:lnTo>
                <a:lnTo>
                  <a:pt x="2882" y="5248"/>
                </a:lnTo>
                <a:lnTo>
                  <a:pt x="2870" y="5254"/>
                </a:lnTo>
                <a:lnTo>
                  <a:pt x="2856" y="5259"/>
                </a:lnTo>
                <a:lnTo>
                  <a:pt x="2842" y="5261"/>
                </a:lnTo>
                <a:lnTo>
                  <a:pt x="2827" y="5264"/>
                </a:lnTo>
                <a:lnTo>
                  <a:pt x="2811" y="5268"/>
                </a:lnTo>
                <a:lnTo>
                  <a:pt x="2795" y="5270"/>
                </a:lnTo>
                <a:lnTo>
                  <a:pt x="2780" y="5274"/>
                </a:lnTo>
                <a:lnTo>
                  <a:pt x="2766" y="5278"/>
                </a:lnTo>
                <a:lnTo>
                  <a:pt x="2760" y="5282"/>
                </a:lnTo>
                <a:lnTo>
                  <a:pt x="2755" y="5284"/>
                </a:lnTo>
                <a:lnTo>
                  <a:pt x="2749" y="5288"/>
                </a:lnTo>
                <a:lnTo>
                  <a:pt x="2746" y="5292"/>
                </a:lnTo>
                <a:lnTo>
                  <a:pt x="2742" y="5296"/>
                </a:lnTo>
                <a:lnTo>
                  <a:pt x="2739" y="5301"/>
                </a:lnTo>
                <a:lnTo>
                  <a:pt x="2737" y="5306"/>
                </a:lnTo>
                <a:lnTo>
                  <a:pt x="2737" y="5312"/>
                </a:lnTo>
                <a:close/>
                <a:moveTo>
                  <a:pt x="2831" y="5570"/>
                </a:moveTo>
                <a:lnTo>
                  <a:pt x="2832" y="5570"/>
                </a:lnTo>
                <a:lnTo>
                  <a:pt x="2834" y="5570"/>
                </a:lnTo>
                <a:lnTo>
                  <a:pt x="2834" y="5572"/>
                </a:lnTo>
                <a:lnTo>
                  <a:pt x="2832" y="5570"/>
                </a:lnTo>
                <a:lnTo>
                  <a:pt x="2831" y="5570"/>
                </a:lnTo>
                <a:close/>
                <a:moveTo>
                  <a:pt x="3717" y="3610"/>
                </a:moveTo>
                <a:lnTo>
                  <a:pt x="3714" y="3613"/>
                </a:lnTo>
                <a:lnTo>
                  <a:pt x="3710" y="3615"/>
                </a:lnTo>
                <a:lnTo>
                  <a:pt x="3707" y="3615"/>
                </a:lnTo>
                <a:lnTo>
                  <a:pt x="3703" y="3615"/>
                </a:lnTo>
                <a:lnTo>
                  <a:pt x="3697" y="3614"/>
                </a:lnTo>
                <a:lnTo>
                  <a:pt x="3691" y="3610"/>
                </a:lnTo>
                <a:lnTo>
                  <a:pt x="3691" y="3608"/>
                </a:lnTo>
                <a:lnTo>
                  <a:pt x="3691" y="3604"/>
                </a:lnTo>
                <a:lnTo>
                  <a:pt x="3693" y="3601"/>
                </a:lnTo>
                <a:lnTo>
                  <a:pt x="3696" y="3599"/>
                </a:lnTo>
                <a:lnTo>
                  <a:pt x="3702" y="3595"/>
                </a:lnTo>
                <a:lnTo>
                  <a:pt x="3710" y="3591"/>
                </a:lnTo>
                <a:lnTo>
                  <a:pt x="3714" y="3591"/>
                </a:lnTo>
                <a:lnTo>
                  <a:pt x="3717" y="3591"/>
                </a:lnTo>
                <a:lnTo>
                  <a:pt x="3720" y="3592"/>
                </a:lnTo>
                <a:lnTo>
                  <a:pt x="3721" y="3594"/>
                </a:lnTo>
                <a:lnTo>
                  <a:pt x="3722" y="3596"/>
                </a:lnTo>
                <a:lnTo>
                  <a:pt x="3722" y="3600"/>
                </a:lnTo>
                <a:lnTo>
                  <a:pt x="3720" y="3605"/>
                </a:lnTo>
                <a:lnTo>
                  <a:pt x="3717" y="3610"/>
                </a:lnTo>
                <a:close/>
                <a:moveTo>
                  <a:pt x="3692" y="3748"/>
                </a:moveTo>
                <a:lnTo>
                  <a:pt x="3688" y="3744"/>
                </a:lnTo>
                <a:lnTo>
                  <a:pt x="3682" y="3741"/>
                </a:lnTo>
                <a:lnTo>
                  <a:pt x="3674" y="3737"/>
                </a:lnTo>
                <a:lnTo>
                  <a:pt x="3666" y="3736"/>
                </a:lnTo>
                <a:lnTo>
                  <a:pt x="3646" y="3731"/>
                </a:lnTo>
                <a:lnTo>
                  <a:pt x="3623" y="3726"/>
                </a:lnTo>
                <a:lnTo>
                  <a:pt x="3601" y="3720"/>
                </a:lnTo>
                <a:lnTo>
                  <a:pt x="3581" y="3713"/>
                </a:lnTo>
                <a:lnTo>
                  <a:pt x="3572" y="3708"/>
                </a:lnTo>
                <a:lnTo>
                  <a:pt x="3566" y="3703"/>
                </a:lnTo>
                <a:lnTo>
                  <a:pt x="3559" y="3697"/>
                </a:lnTo>
                <a:lnTo>
                  <a:pt x="3556" y="3690"/>
                </a:lnTo>
                <a:lnTo>
                  <a:pt x="3572" y="3693"/>
                </a:lnTo>
                <a:lnTo>
                  <a:pt x="3593" y="3698"/>
                </a:lnTo>
                <a:lnTo>
                  <a:pt x="3617" y="3706"/>
                </a:lnTo>
                <a:lnTo>
                  <a:pt x="3641" y="3713"/>
                </a:lnTo>
                <a:lnTo>
                  <a:pt x="3663" y="3722"/>
                </a:lnTo>
                <a:lnTo>
                  <a:pt x="3680" y="3731"/>
                </a:lnTo>
                <a:lnTo>
                  <a:pt x="3687" y="3735"/>
                </a:lnTo>
                <a:lnTo>
                  <a:pt x="3691" y="3740"/>
                </a:lnTo>
                <a:lnTo>
                  <a:pt x="3693" y="3744"/>
                </a:lnTo>
                <a:lnTo>
                  <a:pt x="3692" y="3748"/>
                </a:lnTo>
                <a:close/>
                <a:moveTo>
                  <a:pt x="3472" y="3673"/>
                </a:moveTo>
                <a:lnTo>
                  <a:pt x="3464" y="3669"/>
                </a:lnTo>
                <a:lnTo>
                  <a:pt x="3444" y="3661"/>
                </a:lnTo>
                <a:lnTo>
                  <a:pt x="3424" y="3653"/>
                </a:lnTo>
                <a:lnTo>
                  <a:pt x="3421" y="3652"/>
                </a:lnTo>
                <a:lnTo>
                  <a:pt x="3430" y="3651"/>
                </a:lnTo>
                <a:lnTo>
                  <a:pt x="3440" y="3650"/>
                </a:lnTo>
                <a:lnTo>
                  <a:pt x="3451" y="3650"/>
                </a:lnTo>
                <a:lnTo>
                  <a:pt x="3463" y="3651"/>
                </a:lnTo>
                <a:lnTo>
                  <a:pt x="3468" y="3652"/>
                </a:lnTo>
                <a:lnTo>
                  <a:pt x="3472" y="3653"/>
                </a:lnTo>
                <a:lnTo>
                  <a:pt x="3474" y="3655"/>
                </a:lnTo>
                <a:lnTo>
                  <a:pt x="3477" y="3657"/>
                </a:lnTo>
                <a:lnTo>
                  <a:pt x="3478" y="3660"/>
                </a:lnTo>
                <a:lnTo>
                  <a:pt x="3477" y="3664"/>
                </a:lnTo>
                <a:lnTo>
                  <a:pt x="3475" y="3667"/>
                </a:lnTo>
                <a:lnTo>
                  <a:pt x="3472" y="3673"/>
                </a:lnTo>
                <a:close/>
                <a:moveTo>
                  <a:pt x="3334" y="3639"/>
                </a:moveTo>
                <a:lnTo>
                  <a:pt x="3335" y="3638"/>
                </a:lnTo>
                <a:lnTo>
                  <a:pt x="3335" y="3638"/>
                </a:lnTo>
                <a:lnTo>
                  <a:pt x="3337" y="3639"/>
                </a:lnTo>
                <a:lnTo>
                  <a:pt x="3337" y="3641"/>
                </a:lnTo>
                <a:lnTo>
                  <a:pt x="3335" y="3641"/>
                </a:lnTo>
                <a:lnTo>
                  <a:pt x="3334" y="3639"/>
                </a:lnTo>
                <a:close/>
                <a:moveTo>
                  <a:pt x="3239" y="3515"/>
                </a:moveTo>
                <a:lnTo>
                  <a:pt x="3232" y="3517"/>
                </a:lnTo>
                <a:lnTo>
                  <a:pt x="3227" y="3517"/>
                </a:lnTo>
                <a:lnTo>
                  <a:pt x="3222" y="3517"/>
                </a:lnTo>
                <a:lnTo>
                  <a:pt x="3218" y="3516"/>
                </a:lnTo>
                <a:lnTo>
                  <a:pt x="3216" y="3515"/>
                </a:lnTo>
                <a:lnTo>
                  <a:pt x="3213" y="3512"/>
                </a:lnTo>
                <a:lnTo>
                  <a:pt x="3212" y="3510"/>
                </a:lnTo>
                <a:lnTo>
                  <a:pt x="3210" y="3506"/>
                </a:lnTo>
                <a:lnTo>
                  <a:pt x="3212" y="3499"/>
                </a:lnTo>
                <a:lnTo>
                  <a:pt x="3214" y="3493"/>
                </a:lnTo>
                <a:lnTo>
                  <a:pt x="3216" y="3491"/>
                </a:lnTo>
                <a:lnTo>
                  <a:pt x="3218" y="3488"/>
                </a:lnTo>
                <a:lnTo>
                  <a:pt x="3222" y="3487"/>
                </a:lnTo>
                <a:lnTo>
                  <a:pt x="3224" y="3485"/>
                </a:lnTo>
                <a:lnTo>
                  <a:pt x="3228" y="3493"/>
                </a:lnTo>
                <a:lnTo>
                  <a:pt x="3236" y="3501"/>
                </a:lnTo>
                <a:lnTo>
                  <a:pt x="3239" y="3505"/>
                </a:lnTo>
                <a:lnTo>
                  <a:pt x="3240" y="3508"/>
                </a:lnTo>
                <a:lnTo>
                  <a:pt x="3241" y="3512"/>
                </a:lnTo>
                <a:lnTo>
                  <a:pt x="3239" y="3515"/>
                </a:lnTo>
                <a:close/>
                <a:moveTo>
                  <a:pt x="3228" y="3932"/>
                </a:moveTo>
                <a:lnTo>
                  <a:pt x="3230" y="3932"/>
                </a:lnTo>
                <a:lnTo>
                  <a:pt x="3230" y="3932"/>
                </a:lnTo>
                <a:lnTo>
                  <a:pt x="3233" y="3934"/>
                </a:lnTo>
                <a:lnTo>
                  <a:pt x="3236" y="3936"/>
                </a:lnTo>
                <a:lnTo>
                  <a:pt x="3236" y="3936"/>
                </a:lnTo>
                <a:lnTo>
                  <a:pt x="3228" y="3932"/>
                </a:lnTo>
                <a:close/>
                <a:moveTo>
                  <a:pt x="3231" y="4197"/>
                </a:moveTo>
                <a:lnTo>
                  <a:pt x="3232" y="4196"/>
                </a:lnTo>
                <a:lnTo>
                  <a:pt x="3233" y="4196"/>
                </a:lnTo>
                <a:lnTo>
                  <a:pt x="3233" y="4196"/>
                </a:lnTo>
                <a:lnTo>
                  <a:pt x="3235" y="4198"/>
                </a:lnTo>
                <a:lnTo>
                  <a:pt x="3232" y="4197"/>
                </a:lnTo>
                <a:lnTo>
                  <a:pt x="3231" y="4197"/>
                </a:lnTo>
                <a:close/>
                <a:moveTo>
                  <a:pt x="3152" y="3858"/>
                </a:moveTo>
                <a:lnTo>
                  <a:pt x="3161" y="3862"/>
                </a:lnTo>
                <a:lnTo>
                  <a:pt x="3168" y="3865"/>
                </a:lnTo>
                <a:lnTo>
                  <a:pt x="3177" y="3866"/>
                </a:lnTo>
                <a:lnTo>
                  <a:pt x="3186" y="3866"/>
                </a:lnTo>
                <a:lnTo>
                  <a:pt x="3194" y="3867"/>
                </a:lnTo>
                <a:lnTo>
                  <a:pt x="3203" y="3870"/>
                </a:lnTo>
                <a:lnTo>
                  <a:pt x="3210" y="3872"/>
                </a:lnTo>
                <a:lnTo>
                  <a:pt x="3218" y="3878"/>
                </a:lnTo>
                <a:lnTo>
                  <a:pt x="3210" y="3879"/>
                </a:lnTo>
                <a:lnTo>
                  <a:pt x="3202" y="3880"/>
                </a:lnTo>
                <a:lnTo>
                  <a:pt x="3191" y="3879"/>
                </a:lnTo>
                <a:lnTo>
                  <a:pt x="3182" y="3876"/>
                </a:lnTo>
                <a:lnTo>
                  <a:pt x="3174" y="3874"/>
                </a:lnTo>
                <a:lnTo>
                  <a:pt x="3166" y="3870"/>
                </a:lnTo>
                <a:lnTo>
                  <a:pt x="3158" y="3865"/>
                </a:lnTo>
                <a:lnTo>
                  <a:pt x="3152" y="3858"/>
                </a:lnTo>
                <a:close/>
                <a:moveTo>
                  <a:pt x="3160" y="3515"/>
                </a:moveTo>
                <a:lnTo>
                  <a:pt x="3161" y="3516"/>
                </a:lnTo>
                <a:lnTo>
                  <a:pt x="3162" y="3517"/>
                </a:lnTo>
                <a:lnTo>
                  <a:pt x="3160" y="3517"/>
                </a:lnTo>
                <a:lnTo>
                  <a:pt x="3160" y="3517"/>
                </a:lnTo>
                <a:lnTo>
                  <a:pt x="3158" y="3516"/>
                </a:lnTo>
                <a:lnTo>
                  <a:pt x="3160" y="3515"/>
                </a:lnTo>
                <a:close/>
                <a:moveTo>
                  <a:pt x="3106" y="3517"/>
                </a:moveTo>
                <a:lnTo>
                  <a:pt x="3107" y="3517"/>
                </a:lnTo>
                <a:lnTo>
                  <a:pt x="3110" y="3517"/>
                </a:lnTo>
                <a:lnTo>
                  <a:pt x="3109" y="3517"/>
                </a:lnTo>
                <a:lnTo>
                  <a:pt x="3106" y="3517"/>
                </a:lnTo>
                <a:close/>
                <a:moveTo>
                  <a:pt x="3090" y="4091"/>
                </a:moveTo>
                <a:lnTo>
                  <a:pt x="3087" y="4091"/>
                </a:lnTo>
                <a:lnTo>
                  <a:pt x="3086" y="4090"/>
                </a:lnTo>
                <a:lnTo>
                  <a:pt x="3088" y="4090"/>
                </a:lnTo>
                <a:lnTo>
                  <a:pt x="3091" y="4090"/>
                </a:lnTo>
                <a:lnTo>
                  <a:pt x="3090" y="4091"/>
                </a:lnTo>
                <a:close/>
                <a:moveTo>
                  <a:pt x="3065" y="4090"/>
                </a:moveTo>
                <a:lnTo>
                  <a:pt x="3065" y="4090"/>
                </a:lnTo>
                <a:lnTo>
                  <a:pt x="3065" y="4089"/>
                </a:lnTo>
                <a:lnTo>
                  <a:pt x="3068" y="4089"/>
                </a:lnTo>
                <a:lnTo>
                  <a:pt x="3068" y="4090"/>
                </a:lnTo>
                <a:lnTo>
                  <a:pt x="3068" y="4090"/>
                </a:lnTo>
                <a:lnTo>
                  <a:pt x="3065" y="4090"/>
                </a:lnTo>
                <a:close/>
                <a:moveTo>
                  <a:pt x="3036" y="4154"/>
                </a:moveTo>
                <a:lnTo>
                  <a:pt x="2983" y="4146"/>
                </a:lnTo>
                <a:lnTo>
                  <a:pt x="2929" y="4137"/>
                </a:lnTo>
                <a:lnTo>
                  <a:pt x="2874" y="4124"/>
                </a:lnTo>
                <a:lnTo>
                  <a:pt x="2820" y="4110"/>
                </a:lnTo>
                <a:lnTo>
                  <a:pt x="2765" y="4094"/>
                </a:lnTo>
                <a:lnTo>
                  <a:pt x="2711" y="4075"/>
                </a:lnTo>
                <a:lnTo>
                  <a:pt x="2658" y="4056"/>
                </a:lnTo>
                <a:lnTo>
                  <a:pt x="2606" y="4035"/>
                </a:lnTo>
                <a:lnTo>
                  <a:pt x="2555" y="4014"/>
                </a:lnTo>
                <a:lnTo>
                  <a:pt x="2505" y="3991"/>
                </a:lnTo>
                <a:lnTo>
                  <a:pt x="2458" y="3969"/>
                </a:lnTo>
                <a:lnTo>
                  <a:pt x="2415" y="3946"/>
                </a:lnTo>
                <a:lnTo>
                  <a:pt x="2373" y="3925"/>
                </a:lnTo>
                <a:lnTo>
                  <a:pt x="2334" y="3903"/>
                </a:lnTo>
                <a:lnTo>
                  <a:pt x="2299" y="3883"/>
                </a:lnTo>
                <a:lnTo>
                  <a:pt x="2268" y="3862"/>
                </a:lnTo>
                <a:lnTo>
                  <a:pt x="2241" y="3844"/>
                </a:lnTo>
                <a:lnTo>
                  <a:pt x="2218" y="3828"/>
                </a:lnTo>
                <a:lnTo>
                  <a:pt x="2201" y="3814"/>
                </a:lnTo>
                <a:lnTo>
                  <a:pt x="2188" y="3802"/>
                </a:lnTo>
                <a:lnTo>
                  <a:pt x="2181" y="3792"/>
                </a:lnTo>
                <a:lnTo>
                  <a:pt x="2180" y="3786"/>
                </a:lnTo>
                <a:lnTo>
                  <a:pt x="2185" y="3783"/>
                </a:lnTo>
                <a:lnTo>
                  <a:pt x="2197" y="3783"/>
                </a:lnTo>
                <a:lnTo>
                  <a:pt x="2216" y="3787"/>
                </a:lnTo>
                <a:lnTo>
                  <a:pt x="2241" y="3795"/>
                </a:lnTo>
                <a:lnTo>
                  <a:pt x="2274" y="3807"/>
                </a:lnTo>
                <a:lnTo>
                  <a:pt x="2315" y="3824"/>
                </a:lnTo>
                <a:lnTo>
                  <a:pt x="2365" y="3846"/>
                </a:lnTo>
                <a:lnTo>
                  <a:pt x="2422" y="3872"/>
                </a:lnTo>
                <a:lnTo>
                  <a:pt x="2488" y="3906"/>
                </a:lnTo>
                <a:lnTo>
                  <a:pt x="2565" y="3944"/>
                </a:lnTo>
                <a:lnTo>
                  <a:pt x="2576" y="3954"/>
                </a:lnTo>
                <a:lnTo>
                  <a:pt x="2586" y="3960"/>
                </a:lnTo>
                <a:lnTo>
                  <a:pt x="2597" y="3965"/>
                </a:lnTo>
                <a:lnTo>
                  <a:pt x="2606" y="3968"/>
                </a:lnTo>
                <a:lnTo>
                  <a:pt x="2613" y="3968"/>
                </a:lnTo>
                <a:lnTo>
                  <a:pt x="2621" y="3967"/>
                </a:lnTo>
                <a:lnTo>
                  <a:pt x="2627" y="3964"/>
                </a:lnTo>
                <a:lnTo>
                  <a:pt x="2632" y="3960"/>
                </a:lnTo>
                <a:lnTo>
                  <a:pt x="2635" y="3955"/>
                </a:lnTo>
                <a:lnTo>
                  <a:pt x="2636" y="3950"/>
                </a:lnTo>
                <a:lnTo>
                  <a:pt x="2635" y="3945"/>
                </a:lnTo>
                <a:lnTo>
                  <a:pt x="2631" y="3939"/>
                </a:lnTo>
                <a:lnTo>
                  <a:pt x="2626" y="3934"/>
                </a:lnTo>
                <a:lnTo>
                  <a:pt x="2618" y="3928"/>
                </a:lnTo>
                <a:lnTo>
                  <a:pt x="2607" y="3923"/>
                </a:lnTo>
                <a:lnTo>
                  <a:pt x="2593" y="3921"/>
                </a:lnTo>
                <a:lnTo>
                  <a:pt x="2589" y="3917"/>
                </a:lnTo>
                <a:lnTo>
                  <a:pt x="2588" y="3913"/>
                </a:lnTo>
                <a:lnTo>
                  <a:pt x="2586" y="3911"/>
                </a:lnTo>
                <a:lnTo>
                  <a:pt x="2588" y="3909"/>
                </a:lnTo>
                <a:lnTo>
                  <a:pt x="2593" y="3908"/>
                </a:lnTo>
                <a:lnTo>
                  <a:pt x="2602" y="3908"/>
                </a:lnTo>
                <a:lnTo>
                  <a:pt x="2614" y="3912"/>
                </a:lnTo>
                <a:lnTo>
                  <a:pt x="2628" y="3916"/>
                </a:lnTo>
                <a:lnTo>
                  <a:pt x="2646" y="3922"/>
                </a:lnTo>
                <a:lnTo>
                  <a:pt x="2665" y="3928"/>
                </a:lnTo>
                <a:lnTo>
                  <a:pt x="2705" y="3944"/>
                </a:lnTo>
                <a:lnTo>
                  <a:pt x="2743" y="3960"/>
                </a:lnTo>
                <a:lnTo>
                  <a:pt x="2774" y="3976"/>
                </a:lnTo>
                <a:lnTo>
                  <a:pt x="2794" y="3987"/>
                </a:lnTo>
                <a:lnTo>
                  <a:pt x="2817" y="3993"/>
                </a:lnTo>
                <a:lnTo>
                  <a:pt x="2848" y="4000"/>
                </a:lnTo>
                <a:lnTo>
                  <a:pt x="2881" y="4007"/>
                </a:lnTo>
                <a:lnTo>
                  <a:pt x="2911" y="4018"/>
                </a:lnTo>
                <a:lnTo>
                  <a:pt x="2925" y="4024"/>
                </a:lnTo>
                <a:lnTo>
                  <a:pt x="2937" y="4030"/>
                </a:lnTo>
                <a:lnTo>
                  <a:pt x="2941" y="4034"/>
                </a:lnTo>
                <a:lnTo>
                  <a:pt x="2946" y="4038"/>
                </a:lnTo>
                <a:lnTo>
                  <a:pt x="2948" y="4042"/>
                </a:lnTo>
                <a:lnTo>
                  <a:pt x="2951" y="4047"/>
                </a:lnTo>
                <a:lnTo>
                  <a:pt x="2952" y="4051"/>
                </a:lnTo>
                <a:lnTo>
                  <a:pt x="2953" y="4056"/>
                </a:lnTo>
                <a:lnTo>
                  <a:pt x="2952" y="4062"/>
                </a:lnTo>
                <a:lnTo>
                  <a:pt x="2951" y="4067"/>
                </a:lnTo>
                <a:lnTo>
                  <a:pt x="2948" y="4074"/>
                </a:lnTo>
                <a:lnTo>
                  <a:pt x="2944" y="4080"/>
                </a:lnTo>
                <a:lnTo>
                  <a:pt x="2938" y="4088"/>
                </a:lnTo>
                <a:lnTo>
                  <a:pt x="2932" y="4095"/>
                </a:lnTo>
                <a:lnTo>
                  <a:pt x="2942" y="4099"/>
                </a:lnTo>
                <a:lnTo>
                  <a:pt x="2951" y="4102"/>
                </a:lnTo>
                <a:lnTo>
                  <a:pt x="2958" y="4102"/>
                </a:lnTo>
                <a:lnTo>
                  <a:pt x="2966" y="4102"/>
                </a:lnTo>
                <a:lnTo>
                  <a:pt x="2972" y="4100"/>
                </a:lnTo>
                <a:lnTo>
                  <a:pt x="2979" y="4099"/>
                </a:lnTo>
                <a:lnTo>
                  <a:pt x="2984" y="4095"/>
                </a:lnTo>
                <a:lnTo>
                  <a:pt x="2989" y="4093"/>
                </a:lnTo>
                <a:lnTo>
                  <a:pt x="3000" y="4085"/>
                </a:lnTo>
                <a:lnTo>
                  <a:pt x="3011" y="4076"/>
                </a:lnTo>
                <a:lnTo>
                  <a:pt x="3017" y="4072"/>
                </a:lnTo>
                <a:lnTo>
                  <a:pt x="3023" y="4068"/>
                </a:lnTo>
                <a:lnTo>
                  <a:pt x="3030" y="4065"/>
                </a:lnTo>
                <a:lnTo>
                  <a:pt x="3037" y="4062"/>
                </a:lnTo>
                <a:lnTo>
                  <a:pt x="3032" y="4070"/>
                </a:lnTo>
                <a:lnTo>
                  <a:pt x="3030" y="4077"/>
                </a:lnTo>
                <a:lnTo>
                  <a:pt x="3030" y="4085"/>
                </a:lnTo>
                <a:lnTo>
                  <a:pt x="3031" y="4091"/>
                </a:lnTo>
                <a:lnTo>
                  <a:pt x="3039" y="4103"/>
                </a:lnTo>
                <a:lnTo>
                  <a:pt x="3049" y="4114"/>
                </a:lnTo>
                <a:lnTo>
                  <a:pt x="3054" y="4119"/>
                </a:lnTo>
                <a:lnTo>
                  <a:pt x="3058" y="4124"/>
                </a:lnTo>
                <a:lnTo>
                  <a:pt x="3060" y="4130"/>
                </a:lnTo>
                <a:lnTo>
                  <a:pt x="3060" y="4133"/>
                </a:lnTo>
                <a:lnTo>
                  <a:pt x="3059" y="4138"/>
                </a:lnTo>
                <a:lnTo>
                  <a:pt x="3055" y="4144"/>
                </a:lnTo>
                <a:lnTo>
                  <a:pt x="3047" y="4149"/>
                </a:lnTo>
                <a:lnTo>
                  <a:pt x="3036" y="4154"/>
                </a:lnTo>
                <a:close/>
                <a:moveTo>
                  <a:pt x="2218" y="3735"/>
                </a:moveTo>
                <a:lnTo>
                  <a:pt x="2202" y="3735"/>
                </a:lnTo>
                <a:lnTo>
                  <a:pt x="2185" y="3734"/>
                </a:lnTo>
                <a:lnTo>
                  <a:pt x="2169" y="3731"/>
                </a:lnTo>
                <a:lnTo>
                  <a:pt x="2152" y="3727"/>
                </a:lnTo>
                <a:lnTo>
                  <a:pt x="2155" y="3723"/>
                </a:lnTo>
                <a:lnTo>
                  <a:pt x="2157" y="3720"/>
                </a:lnTo>
                <a:lnTo>
                  <a:pt x="2161" y="3717"/>
                </a:lnTo>
                <a:lnTo>
                  <a:pt x="2165" y="3716"/>
                </a:lnTo>
                <a:lnTo>
                  <a:pt x="2175" y="3713"/>
                </a:lnTo>
                <a:lnTo>
                  <a:pt x="2185" y="3715"/>
                </a:lnTo>
                <a:lnTo>
                  <a:pt x="2196" y="3718"/>
                </a:lnTo>
                <a:lnTo>
                  <a:pt x="2206" y="3722"/>
                </a:lnTo>
                <a:lnTo>
                  <a:pt x="2213" y="3729"/>
                </a:lnTo>
                <a:lnTo>
                  <a:pt x="2218" y="3735"/>
                </a:lnTo>
                <a:close/>
                <a:moveTo>
                  <a:pt x="2132" y="3422"/>
                </a:moveTo>
                <a:lnTo>
                  <a:pt x="2104" y="3405"/>
                </a:lnTo>
                <a:lnTo>
                  <a:pt x="2076" y="3391"/>
                </a:lnTo>
                <a:lnTo>
                  <a:pt x="2047" y="3379"/>
                </a:lnTo>
                <a:lnTo>
                  <a:pt x="2018" y="3366"/>
                </a:lnTo>
                <a:lnTo>
                  <a:pt x="1990" y="3352"/>
                </a:lnTo>
                <a:lnTo>
                  <a:pt x="1964" y="3335"/>
                </a:lnTo>
                <a:lnTo>
                  <a:pt x="1951" y="3326"/>
                </a:lnTo>
                <a:lnTo>
                  <a:pt x="1938" y="3316"/>
                </a:lnTo>
                <a:lnTo>
                  <a:pt x="1928" y="3306"/>
                </a:lnTo>
                <a:lnTo>
                  <a:pt x="1917" y="3293"/>
                </a:lnTo>
                <a:lnTo>
                  <a:pt x="1938" y="3300"/>
                </a:lnTo>
                <a:lnTo>
                  <a:pt x="1964" y="3309"/>
                </a:lnTo>
                <a:lnTo>
                  <a:pt x="1993" y="3321"/>
                </a:lnTo>
                <a:lnTo>
                  <a:pt x="2025" y="3335"/>
                </a:lnTo>
                <a:lnTo>
                  <a:pt x="2057" y="3352"/>
                </a:lnTo>
                <a:lnTo>
                  <a:pt x="2089" y="3368"/>
                </a:lnTo>
                <a:lnTo>
                  <a:pt x="2119" y="3385"/>
                </a:lnTo>
                <a:lnTo>
                  <a:pt x="2147" y="3401"/>
                </a:lnTo>
                <a:lnTo>
                  <a:pt x="2171" y="3417"/>
                </a:lnTo>
                <a:lnTo>
                  <a:pt x="2190" y="3429"/>
                </a:lnTo>
                <a:lnTo>
                  <a:pt x="2203" y="3438"/>
                </a:lnTo>
                <a:lnTo>
                  <a:pt x="2208" y="3446"/>
                </a:lnTo>
                <a:lnTo>
                  <a:pt x="2208" y="3447"/>
                </a:lnTo>
                <a:lnTo>
                  <a:pt x="2206" y="3447"/>
                </a:lnTo>
                <a:lnTo>
                  <a:pt x="2201" y="3447"/>
                </a:lnTo>
                <a:lnTo>
                  <a:pt x="2192" y="3445"/>
                </a:lnTo>
                <a:lnTo>
                  <a:pt x="2169" y="3437"/>
                </a:lnTo>
                <a:lnTo>
                  <a:pt x="2132" y="3422"/>
                </a:lnTo>
                <a:close/>
                <a:moveTo>
                  <a:pt x="2049" y="3143"/>
                </a:moveTo>
                <a:lnTo>
                  <a:pt x="2050" y="3143"/>
                </a:lnTo>
                <a:lnTo>
                  <a:pt x="2050" y="3144"/>
                </a:lnTo>
                <a:lnTo>
                  <a:pt x="2049" y="3144"/>
                </a:lnTo>
                <a:lnTo>
                  <a:pt x="2049" y="3143"/>
                </a:lnTo>
                <a:close/>
                <a:moveTo>
                  <a:pt x="2383" y="3343"/>
                </a:moveTo>
                <a:lnTo>
                  <a:pt x="2385" y="3345"/>
                </a:lnTo>
                <a:lnTo>
                  <a:pt x="2387" y="3348"/>
                </a:lnTo>
                <a:lnTo>
                  <a:pt x="2388" y="3352"/>
                </a:lnTo>
                <a:lnTo>
                  <a:pt x="2388" y="3354"/>
                </a:lnTo>
                <a:lnTo>
                  <a:pt x="2387" y="3358"/>
                </a:lnTo>
                <a:lnTo>
                  <a:pt x="2385" y="3362"/>
                </a:lnTo>
                <a:lnTo>
                  <a:pt x="2383" y="3366"/>
                </a:lnTo>
                <a:lnTo>
                  <a:pt x="2380" y="3370"/>
                </a:lnTo>
                <a:lnTo>
                  <a:pt x="2375" y="3366"/>
                </a:lnTo>
                <a:lnTo>
                  <a:pt x="2371" y="3362"/>
                </a:lnTo>
                <a:lnTo>
                  <a:pt x="2370" y="3359"/>
                </a:lnTo>
                <a:lnTo>
                  <a:pt x="2370" y="3356"/>
                </a:lnTo>
                <a:lnTo>
                  <a:pt x="2371" y="3353"/>
                </a:lnTo>
                <a:lnTo>
                  <a:pt x="2374" y="3349"/>
                </a:lnTo>
                <a:lnTo>
                  <a:pt x="2378" y="3347"/>
                </a:lnTo>
                <a:lnTo>
                  <a:pt x="2383" y="3343"/>
                </a:lnTo>
                <a:close/>
                <a:moveTo>
                  <a:pt x="2491" y="3569"/>
                </a:moveTo>
                <a:lnTo>
                  <a:pt x="2494" y="3575"/>
                </a:lnTo>
                <a:lnTo>
                  <a:pt x="2496" y="3580"/>
                </a:lnTo>
                <a:lnTo>
                  <a:pt x="2500" y="3583"/>
                </a:lnTo>
                <a:lnTo>
                  <a:pt x="2504" y="3587"/>
                </a:lnTo>
                <a:lnTo>
                  <a:pt x="2492" y="3583"/>
                </a:lnTo>
                <a:lnTo>
                  <a:pt x="2485" y="3581"/>
                </a:lnTo>
                <a:lnTo>
                  <a:pt x="2483" y="3580"/>
                </a:lnTo>
                <a:lnTo>
                  <a:pt x="2483" y="3577"/>
                </a:lnTo>
                <a:lnTo>
                  <a:pt x="2486" y="3575"/>
                </a:lnTo>
                <a:lnTo>
                  <a:pt x="2491" y="3569"/>
                </a:lnTo>
                <a:close/>
                <a:moveTo>
                  <a:pt x="2565" y="3629"/>
                </a:moveTo>
                <a:lnTo>
                  <a:pt x="2561" y="3629"/>
                </a:lnTo>
                <a:lnTo>
                  <a:pt x="2558" y="3628"/>
                </a:lnTo>
                <a:lnTo>
                  <a:pt x="2556" y="3627"/>
                </a:lnTo>
                <a:lnTo>
                  <a:pt x="2555" y="3624"/>
                </a:lnTo>
                <a:lnTo>
                  <a:pt x="2556" y="3618"/>
                </a:lnTo>
                <a:lnTo>
                  <a:pt x="2557" y="3610"/>
                </a:lnTo>
                <a:lnTo>
                  <a:pt x="2561" y="3620"/>
                </a:lnTo>
                <a:lnTo>
                  <a:pt x="2565" y="3629"/>
                </a:lnTo>
                <a:close/>
                <a:moveTo>
                  <a:pt x="2775" y="3451"/>
                </a:moveTo>
                <a:lnTo>
                  <a:pt x="2788" y="3457"/>
                </a:lnTo>
                <a:lnTo>
                  <a:pt x="2802" y="3465"/>
                </a:lnTo>
                <a:lnTo>
                  <a:pt x="2808" y="3469"/>
                </a:lnTo>
                <a:lnTo>
                  <a:pt x="2809" y="3471"/>
                </a:lnTo>
                <a:lnTo>
                  <a:pt x="2809" y="3473"/>
                </a:lnTo>
                <a:lnTo>
                  <a:pt x="2808" y="3474"/>
                </a:lnTo>
                <a:lnTo>
                  <a:pt x="2804" y="3474"/>
                </a:lnTo>
                <a:lnTo>
                  <a:pt x="2800" y="3474"/>
                </a:lnTo>
                <a:lnTo>
                  <a:pt x="2799" y="3470"/>
                </a:lnTo>
                <a:lnTo>
                  <a:pt x="2797" y="3466"/>
                </a:lnTo>
                <a:lnTo>
                  <a:pt x="2793" y="3464"/>
                </a:lnTo>
                <a:lnTo>
                  <a:pt x="2790" y="3461"/>
                </a:lnTo>
                <a:lnTo>
                  <a:pt x="2783" y="3456"/>
                </a:lnTo>
                <a:lnTo>
                  <a:pt x="2775" y="3451"/>
                </a:lnTo>
                <a:close/>
                <a:moveTo>
                  <a:pt x="2707" y="3423"/>
                </a:moveTo>
                <a:lnTo>
                  <a:pt x="2723" y="3428"/>
                </a:lnTo>
                <a:lnTo>
                  <a:pt x="2738" y="3435"/>
                </a:lnTo>
                <a:lnTo>
                  <a:pt x="2753" y="3441"/>
                </a:lnTo>
                <a:lnTo>
                  <a:pt x="2767" y="3447"/>
                </a:lnTo>
                <a:lnTo>
                  <a:pt x="2748" y="3440"/>
                </a:lnTo>
                <a:lnTo>
                  <a:pt x="2733" y="3435"/>
                </a:lnTo>
                <a:lnTo>
                  <a:pt x="2719" y="3429"/>
                </a:lnTo>
                <a:lnTo>
                  <a:pt x="2707" y="3423"/>
                </a:lnTo>
                <a:close/>
                <a:moveTo>
                  <a:pt x="2700" y="3711"/>
                </a:moveTo>
                <a:lnTo>
                  <a:pt x="2688" y="3712"/>
                </a:lnTo>
                <a:lnTo>
                  <a:pt x="2679" y="3713"/>
                </a:lnTo>
                <a:lnTo>
                  <a:pt x="2674" y="3712"/>
                </a:lnTo>
                <a:lnTo>
                  <a:pt x="2672" y="3711"/>
                </a:lnTo>
                <a:lnTo>
                  <a:pt x="2671" y="3708"/>
                </a:lnTo>
                <a:lnTo>
                  <a:pt x="2672" y="3704"/>
                </a:lnTo>
                <a:lnTo>
                  <a:pt x="2673" y="3699"/>
                </a:lnTo>
                <a:lnTo>
                  <a:pt x="2676" y="3695"/>
                </a:lnTo>
                <a:lnTo>
                  <a:pt x="2678" y="3690"/>
                </a:lnTo>
                <a:lnTo>
                  <a:pt x="2679" y="3687"/>
                </a:lnTo>
                <a:lnTo>
                  <a:pt x="2681" y="3681"/>
                </a:lnTo>
                <a:lnTo>
                  <a:pt x="2681" y="3678"/>
                </a:lnTo>
                <a:lnTo>
                  <a:pt x="2679" y="3675"/>
                </a:lnTo>
                <a:lnTo>
                  <a:pt x="2674" y="3673"/>
                </a:lnTo>
                <a:lnTo>
                  <a:pt x="2668" y="3671"/>
                </a:lnTo>
                <a:lnTo>
                  <a:pt x="2657" y="3671"/>
                </a:lnTo>
                <a:lnTo>
                  <a:pt x="2674" y="3670"/>
                </a:lnTo>
                <a:lnTo>
                  <a:pt x="2691" y="3671"/>
                </a:lnTo>
                <a:lnTo>
                  <a:pt x="2706" y="3674"/>
                </a:lnTo>
                <a:lnTo>
                  <a:pt x="2721" y="3679"/>
                </a:lnTo>
                <a:lnTo>
                  <a:pt x="2735" y="3684"/>
                </a:lnTo>
                <a:lnTo>
                  <a:pt x="2747" y="3690"/>
                </a:lnTo>
                <a:lnTo>
                  <a:pt x="2757" y="3698"/>
                </a:lnTo>
                <a:lnTo>
                  <a:pt x="2765" y="3704"/>
                </a:lnTo>
                <a:lnTo>
                  <a:pt x="2770" y="3711"/>
                </a:lnTo>
                <a:lnTo>
                  <a:pt x="2771" y="3716"/>
                </a:lnTo>
                <a:lnTo>
                  <a:pt x="2771" y="3718"/>
                </a:lnTo>
                <a:lnTo>
                  <a:pt x="2770" y="3720"/>
                </a:lnTo>
                <a:lnTo>
                  <a:pt x="2767" y="3722"/>
                </a:lnTo>
                <a:lnTo>
                  <a:pt x="2765" y="3723"/>
                </a:lnTo>
                <a:lnTo>
                  <a:pt x="2756" y="3723"/>
                </a:lnTo>
                <a:lnTo>
                  <a:pt x="2742" y="3722"/>
                </a:lnTo>
                <a:lnTo>
                  <a:pt x="2723" y="3717"/>
                </a:lnTo>
                <a:lnTo>
                  <a:pt x="2700" y="3711"/>
                </a:lnTo>
                <a:close/>
                <a:moveTo>
                  <a:pt x="2835" y="3703"/>
                </a:moveTo>
                <a:lnTo>
                  <a:pt x="2830" y="3712"/>
                </a:lnTo>
                <a:lnTo>
                  <a:pt x="2821" y="3720"/>
                </a:lnTo>
                <a:lnTo>
                  <a:pt x="2823" y="3713"/>
                </a:lnTo>
                <a:lnTo>
                  <a:pt x="2827" y="3706"/>
                </a:lnTo>
                <a:lnTo>
                  <a:pt x="2828" y="3703"/>
                </a:lnTo>
                <a:lnTo>
                  <a:pt x="2831" y="3701"/>
                </a:lnTo>
                <a:lnTo>
                  <a:pt x="2834" y="3701"/>
                </a:lnTo>
                <a:lnTo>
                  <a:pt x="2835" y="3703"/>
                </a:lnTo>
                <a:close/>
                <a:moveTo>
                  <a:pt x="1864" y="3550"/>
                </a:moveTo>
                <a:lnTo>
                  <a:pt x="1862" y="3549"/>
                </a:lnTo>
                <a:lnTo>
                  <a:pt x="1862" y="3548"/>
                </a:lnTo>
                <a:lnTo>
                  <a:pt x="1862" y="3547"/>
                </a:lnTo>
                <a:lnTo>
                  <a:pt x="1863" y="3545"/>
                </a:lnTo>
                <a:lnTo>
                  <a:pt x="1868" y="3543"/>
                </a:lnTo>
                <a:lnTo>
                  <a:pt x="1876" y="3540"/>
                </a:lnTo>
                <a:lnTo>
                  <a:pt x="1885" y="3539"/>
                </a:lnTo>
                <a:lnTo>
                  <a:pt x="1892" y="3538"/>
                </a:lnTo>
                <a:lnTo>
                  <a:pt x="1898" y="3539"/>
                </a:lnTo>
                <a:lnTo>
                  <a:pt x="1900" y="3540"/>
                </a:lnTo>
                <a:lnTo>
                  <a:pt x="1904" y="3541"/>
                </a:lnTo>
                <a:lnTo>
                  <a:pt x="1906" y="3544"/>
                </a:lnTo>
                <a:lnTo>
                  <a:pt x="1900" y="3543"/>
                </a:lnTo>
                <a:lnTo>
                  <a:pt x="1895" y="3541"/>
                </a:lnTo>
                <a:lnTo>
                  <a:pt x="1890" y="3541"/>
                </a:lnTo>
                <a:lnTo>
                  <a:pt x="1885" y="3541"/>
                </a:lnTo>
                <a:lnTo>
                  <a:pt x="1878" y="3543"/>
                </a:lnTo>
                <a:lnTo>
                  <a:pt x="1873" y="3544"/>
                </a:lnTo>
                <a:lnTo>
                  <a:pt x="1869" y="3547"/>
                </a:lnTo>
                <a:lnTo>
                  <a:pt x="1864" y="3550"/>
                </a:lnTo>
                <a:close/>
                <a:moveTo>
                  <a:pt x="1763" y="3493"/>
                </a:moveTo>
                <a:lnTo>
                  <a:pt x="1784" y="3497"/>
                </a:lnTo>
                <a:lnTo>
                  <a:pt x="1806" y="3499"/>
                </a:lnTo>
                <a:lnTo>
                  <a:pt x="1816" y="3501"/>
                </a:lnTo>
                <a:lnTo>
                  <a:pt x="1827" y="3503"/>
                </a:lnTo>
                <a:lnTo>
                  <a:pt x="1838" y="3506"/>
                </a:lnTo>
                <a:lnTo>
                  <a:pt x="1848" y="3511"/>
                </a:lnTo>
                <a:lnTo>
                  <a:pt x="1847" y="3515"/>
                </a:lnTo>
                <a:lnTo>
                  <a:pt x="1843" y="3517"/>
                </a:lnTo>
                <a:lnTo>
                  <a:pt x="1838" y="3520"/>
                </a:lnTo>
                <a:lnTo>
                  <a:pt x="1831" y="3521"/>
                </a:lnTo>
                <a:lnTo>
                  <a:pt x="1817" y="3521"/>
                </a:lnTo>
                <a:lnTo>
                  <a:pt x="1801" y="3519"/>
                </a:lnTo>
                <a:lnTo>
                  <a:pt x="1785" y="3515"/>
                </a:lnTo>
                <a:lnTo>
                  <a:pt x="1773" y="3508"/>
                </a:lnTo>
                <a:lnTo>
                  <a:pt x="1768" y="3505"/>
                </a:lnTo>
                <a:lnTo>
                  <a:pt x="1764" y="3501"/>
                </a:lnTo>
                <a:lnTo>
                  <a:pt x="1763" y="3497"/>
                </a:lnTo>
                <a:lnTo>
                  <a:pt x="1763" y="3493"/>
                </a:lnTo>
                <a:close/>
                <a:moveTo>
                  <a:pt x="1719" y="3552"/>
                </a:moveTo>
                <a:lnTo>
                  <a:pt x="1717" y="3552"/>
                </a:lnTo>
                <a:lnTo>
                  <a:pt x="1714" y="3550"/>
                </a:lnTo>
                <a:lnTo>
                  <a:pt x="1712" y="3548"/>
                </a:lnTo>
                <a:lnTo>
                  <a:pt x="1710" y="3545"/>
                </a:lnTo>
                <a:lnTo>
                  <a:pt x="1715" y="3545"/>
                </a:lnTo>
                <a:lnTo>
                  <a:pt x="1719" y="3547"/>
                </a:lnTo>
                <a:lnTo>
                  <a:pt x="1720" y="3549"/>
                </a:lnTo>
                <a:lnTo>
                  <a:pt x="1719" y="3552"/>
                </a:lnTo>
                <a:close/>
                <a:moveTo>
                  <a:pt x="1258" y="2943"/>
                </a:moveTo>
                <a:lnTo>
                  <a:pt x="1266" y="2944"/>
                </a:lnTo>
                <a:lnTo>
                  <a:pt x="1272" y="2948"/>
                </a:lnTo>
                <a:lnTo>
                  <a:pt x="1265" y="2946"/>
                </a:lnTo>
                <a:lnTo>
                  <a:pt x="1258" y="2943"/>
                </a:lnTo>
                <a:close/>
                <a:moveTo>
                  <a:pt x="3647" y="3347"/>
                </a:moveTo>
                <a:lnTo>
                  <a:pt x="3647" y="3342"/>
                </a:lnTo>
                <a:lnTo>
                  <a:pt x="3646" y="3335"/>
                </a:lnTo>
                <a:lnTo>
                  <a:pt x="3646" y="3333"/>
                </a:lnTo>
                <a:lnTo>
                  <a:pt x="3647" y="3331"/>
                </a:lnTo>
                <a:lnTo>
                  <a:pt x="3649" y="3330"/>
                </a:lnTo>
                <a:lnTo>
                  <a:pt x="3651" y="3331"/>
                </a:lnTo>
                <a:lnTo>
                  <a:pt x="3655" y="3333"/>
                </a:lnTo>
                <a:lnTo>
                  <a:pt x="3657" y="3335"/>
                </a:lnTo>
                <a:lnTo>
                  <a:pt x="3659" y="3338"/>
                </a:lnTo>
                <a:lnTo>
                  <a:pt x="3659" y="3340"/>
                </a:lnTo>
                <a:lnTo>
                  <a:pt x="3657" y="3343"/>
                </a:lnTo>
                <a:lnTo>
                  <a:pt x="3655" y="3345"/>
                </a:lnTo>
                <a:lnTo>
                  <a:pt x="3651" y="3347"/>
                </a:lnTo>
                <a:lnTo>
                  <a:pt x="3647" y="3347"/>
                </a:lnTo>
                <a:close/>
                <a:moveTo>
                  <a:pt x="3654" y="3454"/>
                </a:moveTo>
                <a:lnTo>
                  <a:pt x="3651" y="3455"/>
                </a:lnTo>
                <a:lnTo>
                  <a:pt x="3647" y="3454"/>
                </a:lnTo>
                <a:lnTo>
                  <a:pt x="3643" y="3452"/>
                </a:lnTo>
                <a:lnTo>
                  <a:pt x="3641" y="3451"/>
                </a:lnTo>
                <a:lnTo>
                  <a:pt x="3656" y="3452"/>
                </a:lnTo>
                <a:lnTo>
                  <a:pt x="3659" y="3452"/>
                </a:lnTo>
                <a:lnTo>
                  <a:pt x="3655" y="3452"/>
                </a:lnTo>
                <a:lnTo>
                  <a:pt x="3654" y="3454"/>
                </a:lnTo>
                <a:close/>
                <a:moveTo>
                  <a:pt x="3491" y="3297"/>
                </a:moveTo>
                <a:lnTo>
                  <a:pt x="3459" y="3282"/>
                </a:lnTo>
                <a:lnTo>
                  <a:pt x="3436" y="3269"/>
                </a:lnTo>
                <a:lnTo>
                  <a:pt x="3419" y="3259"/>
                </a:lnTo>
                <a:lnTo>
                  <a:pt x="3409" y="3251"/>
                </a:lnTo>
                <a:lnTo>
                  <a:pt x="3407" y="3247"/>
                </a:lnTo>
                <a:lnTo>
                  <a:pt x="3405" y="3245"/>
                </a:lnTo>
                <a:lnTo>
                  <a:pt x="3405" y="3244"/>
                </a:lnTo>
                <a:lnTo>
                  <a:pt x="3407" y="3242"/>
                </a:lnTo>
                <a:lnTo>
                  <a:pt x="3412" y="3240"/>
                </a:lnTo>
                <a:lnTo>
                  <a:pt x="3422" y="3240"/>
                </a:lnTo>
                <a:lnTo>
                  <a:pt x="3433" y="3241"/>
                </a:lnTo>
                <a:lnTo>
                  <a:pt x="3449" y="3245"/>
                </a:lnTo>
                <a:lnTo>
                  <a:pt x="3465" y="3249"/>
                </a:lnTo>
                <a:lnTo>
                  <a:pt x="3483" y="3255"/>
                </a:lnTo>
                <a:lnTo>
                  <a:pt x="3501" y="3261"/>
                </a:lnTo>
                <a:lnTo>
                  <a:pt x="3519" y="3269"/>
                </a:lnTo>
                <a:lnTo>
                  <a:pt x="3537" y="3278"/>
                </a:lnTo>
                <a:lnTo>
                  <a:pt x="3552" y="3287"/>
                </a:lnTo>
                <a:lnTo>
                  <a:pt x="3577" y="3300"/>
                </a:lnTo>
                <a:lnTo>
                  <a:pt x="3596" y="3310"/>
                </a:lnTo>
                <a:lnTo>
                  <a:pt x="3609" y="3317"/>
                </a:lnTo>
                <a:lnTo>
                  <a:pt x="3618" y="3324"/>
                </a:lnTo>
                <a:lnTo>
                  <a:pt x="3621" y="3325"/>
                </a:lnTo>
                <a:lnTo>
                  <a:pt x="3622" y="3328"/>
                </a:lnTo>
                <a:lnTo>
                  <a:pt x="3622" y="3329"/>
                </a:lnTo>
                <a:lnTo>
                  <a:pt x="3621" y="3329"/>
                </a:lnTo>
                <a:lnTo>
                  <a:pt x="3617" y="3330"/>
                </a:lnTo>
                <a:lnTo>
                  <a:pt x="3610" y="3330"/>
                </a:lnTo>
                <a:lnTo>
                  <a:pt x="3587" y="3325"/>
                </a:lnTo>
                <a:lnTo>
                  <a:pt x="3558" y="3317"/>
                </a:lnTo>
                <a:lnTo>
                  <a:pt x="3524" y="3307"/>
                </a:lnTo>
                <a:lnTo>
                  <a:pt x="3491" y="3297"/>
                </a:lnTo>
                <a:close/>
                <a:moveTo>
                  <a:pt x="3521" y="3362"/>
                </a:moveTo>
                <a:lnTo>
                  <a:pt x="3524" y="3363"/>
                </a:lnTo>
                <a:lnTo>
                  <a:pt x="3524" y="3366"/>
                </a:lnTo>
                <a:lnTo>
                  <a:pt x="3524" y="3365"/>
                </a:lnTo>
                <a:lnTo>
                  <a:pt x="3521" y="3362"/>
                </a:lnTo>
                <a:close/>
                <a:moveTo>
                  <a:pt x="3185" y="3068"/>
                </a:moveTo>
                <a:lnTo>
                  <a:pt x="3196" y="3076"/>
                </a:lnTo>
                <a:lnTo>
                  <a:pt x="3207" y="3084"/>
                </a:lnTo>
                <a:lnTo>
                  <a:pt x="3210" y="3090"/>
                </a:lnTo>
                <a:lnTo>
                  <a:pt x="3214" y="3095"/>
                </a:lnTo>
                <a:lnTo>
                  <a:pt x="3217" y="3101"/>
                </a:lnTo>
                <a:lnTo>
                  <a:pt x="3218" y="3107"/>
                </a:lnTo>
                <a:lnTo>
                  <a:pt x="3210" y="3097"/>
                </a:lnTo>
                <a:lnTo>
                  <a:pt x="3203" y="3087"/>
                </a:lnTo>
                <a:lnTo>
                  <a:pt x="3194" y="3077"/>
                </a:lnTo>
                <a:lnTo>
                  <a:pt x="3185" y="3068"/>
                </a:lnTo>
                <a:close/>
                <a:moveTo>
                  <a:pt x="3148" y="3144"/>
                </a:moveTo>
                <a:lnTo>
                  <a:pt x="3138" y="3146"/>
                </a:lnTo>
                <a:lnTo>
                  <a:pt x="3134" y="3146"/>
                </a:lnTo>
                <a:lnTo>
                  <a:pt x="3133" y="3143"/>
                </a:lnTo>
                <a:lnTo>
                  <a:pt x="3135" y="3139"/>
                </a:lnTo>
                <a:lnTo>
                  <a:pt x="3138" y="3134"/>
                </a:lnTo>
                <a:lnTo>
                  <a:pt x="3142" y="3128"/>
                </a:lnTo>
                <a:lnTo>
                  <a:pt x="3143" y="3125"/>
                </a:lnTo>
                <a:lnTo>
                  <a:pt x="3143" y="3123"/>
                </a:lnTo>
                <a:lnTo>
                  <a:pt x="3143" y="3119"/>
                </a:lnTo>
                <a:lnTo>
                  <a:pt x="3142" y="3116"/>
                </a:lnTo>
                <a:lnTo>
                  <a:pt x="3148" y="3121"/>
                </a:lnTo>
                <a:lnTo>
                  <a:pt x="3153" y="3129"/>
                </a:lnTo>
                <a:lnTo>
                  <a:pt x="3154" y="3133"/>
                </a:lnTo>
                <a:lnTo>
                  <a:pt x="3154" y="3137"/>
                </a:lnTo>
                <a:lnTo>
                  <a:pt x="3153" y="3140"/>
                </a:lnTo>
                <a:lnTo>
                  <a:pt x="3148" y="3144"/>
                </a:lnTo>
                <a:close/>
                <a:moveTo>
                  <a:pt x="3100" y="3067"/>
                </a:moveTo>
                <a:lnTo>
                  <a:pt x="3093" y="3062"/>
                </a:lnTo>
                <a:lnTo>
                  <a:pt x="3086" y="3056"/>
                </a:lnTo>
                <a:lnTo>
                  <a:pt x="3100" y="3059"/>
                </a:lnTo>
                <a:lnTo>
                  <a:pt x="3109" y="3060"/>
                </a:lnTo>
                <a:lnTo>
                  <a:pt x="3110" y="3062"/>
                </a:lnTo>
                <a:lnTo>
                  <a:pt x="3109" y="3063"/>
                </a:lnTo>
                <a:lnTo>
                  <a:pt x="3106" y="3064"/>
                </a:lnTo>
                <a:lnTo>
                  <a:pt x="3100" y="3067"/>
                </a:lnTo>
                <a:close/>
                <a:moveTo>
                  <a:pt x="2823" y="3042"/>
                </a:moveTo>
                <a:lnTo>
                  <a:pt x="2823" y="3042"/>
                </a:lnTo>
                <a:lnTo>
                  <a:pt x="2822" y="3041"/>
                </a:lnTo>
                <a:lnTo>
                  <a:pt x="2823" y="3041"/>
                </a:lnTo>
                <a:lnTo>
                  <a:pt x="2823" y="3042"/>
                </a:lnTo>
                <a:close/>
                <a:moveTo>
                  <a:pt x="2842" y="2908"/>
                </a:moveTo>
                <a:lnTo>
                  <a:pt x="2841" y="2900"/>
                </a:lnTo>
                <a:lnTo>
                  <a:pt x="2841" y="2894"/>
                </a:lnTo>
                <a:lnTo>
                  <a:pt x="2844" y="2888"/>
                </a:lnTo>
                <a:lnTo>
                  <a:pt x="2846" y="2886"/>
                </a:lnTo>
                <a:lnTo>
                  <a:pt x="2850" y="2883"/>
                </a:lnTo>
                <a:lnTo>
                  <a:pt x="2855" y="2883"/>
                </a:lnTo>
                <a:lnTo>
                  <a:pt x="2860" y="2883"/>
                </a:lnTo>
                <a:lnTo>
                  <a:pt x="2865" y="2885"/>
                </a:lnTo>
                <a:lnTo>
                  <a:pt x="2878" y="2890"/>
                </a:lnTo>
                <a:lnTo>
                  <a:pt x="2890" y="2895"/>
                </a:lnTo>
                <a:lnTo>
                  <a:pt x="2898" y="2902"/>
                </a:lnTo>
                <a:lnTo>
                  <a:pt x="2904" y="2908"/>
                </a:lnTo>
                <a:lnTo>
                  <a:pt x="2888" y="2908"/>
                </a:lnTo>
                <a:lnTo>
                  <a:pt x="2868" y="2908"/>
                </a:lnTo>
                <a:lnTo>
                  <a:pt x="2850" y="2908"/>
                </a:lnTo>
                <a:lnTo>
                  <a:pt x="2842" y="2908"/>
                </a:lnTo>
                <a:close/>
                <a:moveTo>
                  <a:pt x="2235" y="2593"/>
                </a:moveTo>
                <a:lnTo>
                  <a:pt x="2236" y="2591"/>
                </a:lnTo>
                <a:lnTo>
                  <a:pt x="2238" y="2588"/>
                </a:lnTo>
                <a:lnTo>
                  <a:pt x="2240" y="2591"/>
                </a:lnTo>
                <a:lnTo>
                  <a:pt x="2241" y="2592"/>
                </a:lnTo>
                <a:lnTo>
                  <a:pt x="2239" y="2593"/>
                </a:lnTo>
                <a:lnTo>
                  <a:pt x="2235" y="2593"/>
                </a:lnTo>
                <a:close/>
                <a:moveTo>
                  <a:pt x="4343" y="2874"/>
                </a:moveTo>
                <a:lnTo>
                  <a:pt x="4352" y="2872"/>
                </a:lnTo>
                <a:lnTo>
                  <a:pt x="4358" y="2869"/>
                </a:lnTo>
                <a:lnTo>
                  <a:pt x="4359" y="2874"/>
                </a:lnTo>
                <a:lnTo>
                  <a:pt x="4359" y="2877"/>
                </a:lnTo>
                <a:lnTo>
                  <a:pt x="4358" y="2878"/>
                </a:lnTo>
                <a:lnTo>
                  <a:pt x="4357" y="2878"/>
                </a:lnTo>
                <a:lnTo>
                  <a:pt x="4350" y="2876"/>
                </a:lnTo>
                <a:lnTo>
                  <a:pt x="4343" y="2874"/>
                </a:lnTo>
                <a:close/>
                <a:moveTo>
                  <a:pt x="3885" y="2205"/>
                </a:moveTo>
                <a:lnTo>
                  <a:pt x="3877" y="2201"/>
                </a:lnTo>
                <a:lnTo>
                  <a:pt x="3869" y="2196"/>
                </a:lnTo>
                <a:lnTo>
                  <a:pt x="3863" y="2191"/>
                </a:lnTo>
                <a:lnTo>
                  <a:pt x="3859" y="2187"/>
                </a:lnTo>
                <a:lnTo>
                  <a:pt x="3857" y="2185"/>
                </a:lnTo>
                <a:lnTo>
                  <a:pt x="3857" y="2182"/>
                </a:lnTo>
                <a:lnTo>
                  <a:pt x="3859" y="2179"/>
                </a:lnTo>
                <a:lnTo>
                  <a:pt x="3860" y="2177"/>
                </a:lnTo>
                <a:lnTo>
                  <a:pt x="3865" y="2172"/>
                </a:lnTo>
                <a:lnTo>
                  <a:pt x="3875" y="2167"/>
                </a:lnTo>
                <a:lnTo>
                  <a:pt x="3879" y="2167"/>
                </a:lnTo>
                <a:lnTo>
                  <a:pt x="3883" y="2167"/>
                </a:lnTo>
                <a:lnTo>
                  <a:pt x="3885" y="2168"/>
                </a:lnTo>
                <a:lnTo>
                  <a:pt x="3889" y="2169"/>
                </a:lnTo>
                <a:lnTo>
                  <a:pt x="3893" y="2174"/>
                </a:lnTo>
                <a:lnTo>
                  <a:pt x="3896" y="2181"/>
                </a:lnTo>
                <a:lnTo>
                  <a:pt x="3897" y="2188"/>
                </a:lnTo>
                <a:lnTo>
                  <a:pt x="3896" y="2195"/>
                </a:lnTo>
                <a:lnTo>
                  <a:pt x="3893" y="2199"/>
                </a:lnTo>
                <a:lnTo>
                  <a:pt x="3892" y="2201"/>
                </a:lnTo>
                <a:lnTo>
                  <a:pt x="3889" y="2204"/>
                </a:lnTo>
                <a:lnTo>
                  <a:pt x="3885" y="2205"/>
                </a:lnTo>
                <a:close/>
                <a:moveTo>
                  <a:pt x="3860" y="2196"/>
                </a:moveTo>
                <a:lnTo>
                  <a:pt x="3860" y="2195"/>
                </a:lnTo>
                <a:lnTo>
                  <a:pt x="3860" y="2195"/>
                </a:lnTo>
                <a:lnTo>
                  <a:pt x="3861" y="2196"/>
                </a:lnTo>
                <a:lnTo>
                  <a:pt x="3860" y="2196"/>
                </a:lnTo>
                <a:close/>
                <a:moveTo>
                  <a:pt x="3828" y="2150"/>
                </a:moveTo>
                <a:lnTo>
                  <a:pt x="3810" y="2140"/>
                </a:lnTo>
                <a:lnTo>
                  <a:pt x="3810" y="2140"/>
                </a:lnTo>
                <a:lnTo>
                  <a:pt x="3808" y="2139"/>
                </a:lnTo>
                <a:lnTo>
                  <a:pt x="3808" y="2139"/>
                </a:lnTo>
                <a:lnTo>
                  <a:pt x="3778" y="2121"/>
                </a:lnTo>
                <a:lnTo>
                  <a:pt x="3759" y="2109"/>
                </a:lnTo>
                <a:lnTo>
                  <a:pt x="3750" y="2104"/>
                </a:lnTo>
                <a:lnTo>
                  <a:pt x="3750" y="2104"/>
                </a:lnTo>
                <a:lnTo>
                  <a:pt x="3757" y="2108"/>
                </a:lnTo>
                <a:lnTo>
                  <a:pt x="3770" y="2116"/>
                </a:lnTo>
                <a:lnTo>
                  <a:pt x="3786" y="2126"/>
                </a:lnTo>
                <a:lnTo>
                  <a:pt x="3806" y="2137"/>
                </a:lnTo>
                <a:lnTo>
                  <a:pt x="3791" y="2123"/>
                </a:lnTo>
                <a:lnTo>
                  <a:pt x="3778" y="2111"/>
                </a:lnTo>
                <a:lnTo>
                  <a:pt x="3771" y="2102"/>
                </a:lnTo>
                <a:lnTo>
                  <a:pt x="3767" y="2095"/>
                </a:lnTo>
                <a:lnTo>
                  <a:pt x="3766" y="2093"/>
                </a:lnTo>
                <a:lnTo>
                  <a:pt x="3766" y="2092"/>
                </a:lnTo>
                <a:lnTo>
                  <a:pt x="3766" y="2090"/>
                </a:lnTo>
                <a:lnTo>
                  <a:pt x="3767" y="2089"/>
                </a:lnTo>
                <a:lnTo>
                  <a:pt x="3770" y="2089"/>
                </a:lnTo>
                <a:lnTo>
                  <a:pt x="3775" y="2092"/>
                </a:lnTo>
                <a:lnTo>
                  <a:pt x="3782" y="2095"/>
                </a:lnTo>
                <a:lnTo>
                  <a:pt x="3789" y="2099"/>
                </a:lnTo>
                <a:lnTo>
                  <a:pt x="3798" y="2106"/>
                </a:lnTo>
                <a:lnTo>
                  <a:pt x="3805" y="2113"/>
                </a:lnTo>
                <a:lnTo>
                  <a:pt x="3813" y="2122"/>
                </a:lnTo>
                <a:lnTo>
                  <a:pt x="3819" y="2131"/>
                </a:lnTo>
                <a:lnTo>
                  <a:pt x="3824" y="2140"/>
                </a:lnTo>
                <a:lnTo>
                  <a:pt x="3828" y="2150"/>
                </a:lnTo>
                <a:close/>
                <a:moveTo>
                  <a:pt x="3714" y="2064"/>
                </a:moveTo>
                <a:lnTo>
                  <a:pt x="3729" y="2061"/>
                </a:lnTo>
                <a:lnTo>
                  <a:pt x="3743" y="2059"/>
                </a:lnTo>
                <a:lnTo>
                  <a:pt x="3739" y="2064"/>
                </a:lnTo>
                <a:lnTo>
                  <a:pt x="3736" y="2067"/>
                </a:lnTo>
                <a:lnTo>
                  <a:pt x="3734" y="2070"/>
                </a:lnTo>
                <a:lnTo>
                  <a:pt x="3730" y="2071"/>
                </a:lnTo>
                <a:lnTo>
                  <a:pt x="3724" y="2069"/>
                </a:lnTo>
                <a:lnTo>
                  <a:pt x="3714" y="2064"/>
                </a:lnTo>
                <a:close/>
                <a:moveTo>
                  <a:pt x="4061" y="1875"/>
                </a:moveTo>
                <a:lnTo>
                  <a:pt x="4068" y="1876"/>
                </a:lnTo>
                <a:lnTo>
                  <a:pt x="4074" y="1876"/>
                </a:lnTo>
                <a:lnTo>
                  <a:pt x="4071" y="1878"/>
                </a:lnTo>
                <a:lnTo>
                  <a:pt x="4068" y="1878"/>
                </a:lnTo>
                <a:lnTo>
                  <a:pt x="4065" y="1876"/>
                </a:lnTo>
                <a:lnTo>
                  <a:pt x="4061" y="1875"/>
                </a:lnTo>
                <a:close/>
                <a:moveTo>
                  <a:pt x="3553" y="1672"/>
                </a:moveTo>
                <a:lnTo>
                  <a:pt x="3553" y="1670"/>
                </a:lnTo>
                <a:lnTo>
                  <a:pt x="3554" y="1670"/>
                </a:lnTo>
                <a:lnTo>
                  <a:pt x="3553" y="1672"/>
                </a:lnTo>
                <a:close/>
                <a:moveTo>
                  <a:pt x="3571" y="1426"/>
                </a:moveTo>
                <a:lnTo>
                  <a:pt x="3559" y="1420"/>
                </a:lnTo>
                <a:lnTo>
                  <a:pt x="3552" y="1416"/>
                </a:lnTo>
                <a:lnTo>
                  <a:pt x="3549" y="1413"/>
                </a:lnTo>
                <a:lnTo>
                  <a:pt x="3549" y="1409"/>
                </a:lnTo>
                <a:lnTo>
                  <a:pt x="3551" y="1404"/>
                </a:lnTo>
                <a:lnTo>
                  <a:pt x="3554" y="1397"/>
                </a:lnTo>
                <a:lnTo>
                  <a:pt x="3566" y="1405"/>
                </a:lnTo>
                <a:lnTo>
                  <a:pt x="3571" y="1411"/>
                </a:lnTo>
                <a:lnTo>
                  <a:pt x="3572" y="1417"/>
                </a:lnTo>
                <a:lnTo>
                  <a:pt x="3571" y="1426"/>
                </a:lnTo>
                <a:close/>
                <a:moveTo>
                  <a:pt x="3460" y="1295"/>
                </a:moveTo>
                <a:lnTo>
                  <a:pt x="3459" y="1295"/>
                </a:lnTo>
                <a:lnTo>
                  <a:pt x="3460" y="1293"/>
                </a:lnTo>
                <a:lnTo>
                  <a:pt x="3460" y="1295"/>
                </a:lnTo>
                <a:close/>
                <a:moveTo>
                  <a:pt x="3829" y="1390"/>
                </a:moveTo>
                <a:lnTo>
                  <a:pt x="3822" y="1388"/>
                </a:lnTo>
                <a:lnTo>
                  <a:pt x="3818" y="1386"/>
                </a:lnTo>
                <a:lnTo>
                  <a:pt x="3817" y="1385"/>
                </a:lnTo>
                <a:lnTo>
                  <a:pt x="3819" y="1384"/>
                </a:lnTo>
                <a:lnTo>
                  <a:pt x="3828" y="1384"/>
                </a:lnTo>
                <a:lnTo>
                  <a:pt x="3838" y="1386"/>
                </a:lnTo>
                <a:lnTo>
                  <a:pt x="3841" y="1393"/>
                </a:lnTo>
                <a:lnTo>
                  <a:pt x="3843" y="1397"/>
                </a:lnTo>
                <a:lnTo>
                  <a:pt x="3843" y="1399"/>
                </a:lnTo>
                <a:lnTo>
                  <a:pt x="3842" y="1399"/>
                </a:lnTo>
                <a:lnTo>
                  <a:pt x="3837" y="1395"/>
                </a:lnTo>
                <a:lnTo>
                  <a:pt x="3829" y="1390"/>
                </a:lnTo>
                <a:close/>
                <a:moveTo>
                  <a:pt x="3813" y="1385"/>
                </a:moveTo>
                <a:lnTo>
                  <a:pt x="3813" y="1384"/>
                </a:lnTo>
                <a:lnTo>
                  <a:pt x="3813" y="1383"/>
                </a:lnTo>
                <a:lnTo>
                  <a:pt x="3813" y="1384"/>
                </a:lnTo>
                <a:lnTo>
                  <a:pt x="3813" y="1385"/>
                </a:lnTo>
                <a:close/>
                <a:moveTo>
                  <a:pt x="10229" y="1251"/>
                </a:moveTo>
                <a:lnTo>
                  <a:pt x="10233" y="1243"/>
                </a:lnTo>
                <a:lnTo>
                  <a:pt x="10238" y="1234"/>
                </a:lnTo>
                <a:lnTo>
                  <a:pt x="10244" y="1225"/>
                </a:lnTo>
                <a:lnTo>
                  <a:pt x="10253" y="1215"/>
                </a:lnTo>
                <a:lnTo>
                  <a:pt x="10271" y="1194"/>
                </a:lnTo>
                <a:lnTo>
                  <a:pt x="10291" y="1173"/>
                </a:lnTo>
                <a:lnTo>
                  <a:pt x="10315" y="1152"/>
                </a:lnTo>
                <a:lnTo>
                  <a:pt x="10340" y="1132"/>
                </a:lnTo>
                <a:lnTo>
                  <a:pt x="10362" y="1114"/>
                </a:lnTo>
                <a:lnTo>
                  <a:pt x="10385" y="1097"/>
                </a:lnTo>
                <a:lnTo>
                  <a:pt x="10406" y="1086"/>
                </a:lnTo>
                <a:lnTo>
                  <a:pt x="10424" y="1077"/>
                </a:lnTo>
                <a:lnTo>
                  <a:pt x="10431" y="1073"/>
                </a:lnTo>
                <a:lnTo>
                  <a:pt x="10436" y="1072"/>
                </a:lnTo>
                <a:lnTo>
                  <a:pt x="10441" y="1072"/>
                </a:lnTo>
                <a:lnTo>
                  <a:pt x="10444" y="1073"/>
                </a:lnTo>
                <a:lnTo>
                  <a:pt x="10447" y="1076"/>
                </a:lnTo>
                <a:lnTo>
                  <a:pt x="10447" y="1080"/>
                </a:lnTo>
                <a:lnTo>
                  <a:pt x="10444" y="1086"/>
                </a:lnTo>
                <a:lnTo>
                  <a:pt x="10440" y="1094"/>
                </a:lnTo>
                <a:lnTo>
                  <a:pt x="10434" y="1103"/>
                </a:lnTo>
                <a:lnTo>
                  <a:pt x="10426" y="1114"/>
                </a:lnTo>
                <a:lnTo>
                  <a:pt x="10416" y="1128"/>
                </a:lnTo>
                <a:lnTo>
                  <a:pt x="10403" y="1143"/>
                </a:lnTo>
                <a:lnTo>
                  <a:pt x="10376" y="1164"/>
                </a:lnTo>
                <a:lnTo>
                  <a:pt x="10346" y="1185"/>
                </a:lnTo>
                <a:lnTo>
                  <a:pt x="10341" y="1189"/>
                </a:lnTo>
                <a:lnTo>
                  <a:pt x="10336" y="1190"/>
                </a:lnTo>
                <a:lnTo>
                  <a:pt x="10333" y="1192"/>
                </a:lnTo>
                <a:lnTo>
                  <a:pt x="10332" y="1190"/>
                </a:lnTo>
                <a:lnTo>
                  <a:pt x="10337" y="1183"/>
                </a:lnTo>
                <a:lnTo>
                  <a:pt x="10355" y="1165"/>
                </a:lnTo>
                <a:lnTo>
                  <a:pt x="10352" y="1162"/>
                </a:lnTo>
                <a:lnTo>
                  <a:pt x="10348" y="1161"/>
                </a:lnTo>
                <a:lnTo>
                  <a:pt x="10345" y="1161"/>
                </a:lnTo>
                <a:lnTo>
                  <a:pt x="10340" y="1164"/>
                </a:lnTo>
                <a:lnTo>
                  <a:pt x="10326" y="1171"/>
                </a:lnTo>
                <a:lnTo>
                  <a:pt x="10309" y="1184"/>
                </a:lnTo>
                <a:lnTo>
                  <a:pt x="10272" y="1218"/>
                </a:lnTo>
                <a:lnTo>
                  <a:pt x="10235" y="1257"/>
                </a:lnTo>
                <a:lnTo>
                  <a:pt x="10205" y="1287"/>
                </a:lnTo>
                <a:lnTo>
                  <a:pt x="10189" y="1304"/>
                </a:lnTo>
                <a:lnTo>
                  <a:pt x="10194" y="1295"/>
                </a:lnTo>
                <a:lnTo>
                  <a:pt x="10229" y="1251"/>
                </a:lnTo>
                <a:close/>
                <a:moveTo>
                  <a:pt x="10380" y="1258"/>
                </a:moveTo>
                <a:lnTo>
                  <a:pt x="10379" y="1268"/>
                </a:lnTo>
                <a:lnTo>
                  <a:pt x="10375" y="1278"/>
                </a:lnTo>
                <a:lnTo>
                  <a:pt x="10371" y="1287"/>
                </a:lnTo>
                <a:lnTo>
                  <a:pt x="10365" y="1297"/>
                </a:lnTo>
                <a:lnTo>
                  <a:pt x="10359" y="1306"/>
                </a:lnTo>
                <a:lnTo>
                  <a:pt x="10351" y="1315"/>
                </a:lnTo>
                <a:lnTo>
                  <a:pt x="10342" y="1324"/>
                </a:lnTo>
                <a:lnTo>
                  <a:pt x="10332" y="1333"/>
                </a:lnTo>
                <a:lnTo>
                  <a:pt x="10312" y="1348"/>
                </a:lnTo>
                <a:lnTo>
                  <a:pt x="10290" y="1362"/>
                </a:lnTo>
                <a:lnTo>
                  <a:pt x="10268" y="1374"/>
                </a:lnTo>
                <a:lnTo>
                  <a:pt x="10248" y="1383"/>
                </a:lnTo>
                <a:lnTo>
                  <a:pt x="10255" y="1377"/>
                </a:lnTo>
                <a:lnTo>
                  <a:pt x="10266" y="1370"/>
                </a:lnTo>
                <a:lnTo>
                  <a:pt x="10275" y="1361"/>
                </a:lnTo>
                <a:lnTo>
                  <a:pt x="10285" y="1351"/>
                </a:lnTo>
                <a:lnTo>
                  <a:pt x="10305" y="1328"/>
                </a:lnTo>
                <a:lnTo>
                  <a:pt x="10324" y="1305"/>
                </a:lnTo>
                <a:lnTo>
                  <a:pt x="10342" y="1283"/>
                </a:lnTo>
                <a:lnTo>
                  <a:pt x="10359" y="1265"/>
                </a:lnTo>
                <a:lnTo>
                  <a:pt x="10365" y="1260"/>
                </a:lnTo>
                <a:lnTo>
                  <a:pt x="10371" y="1257"/>
                </a:lnTo>
                <a:lnTo>
                  <a:pt x="10374" y="1255"/>
                </a:lnTo>
                <a:lnTo>
                  <a:pt x="10376" y="1255"/>
                </a:lnTo>
                <a:lnTo>
                  <a:pt x="10379" y="1257"/>
                </a:lnTo>
                <a:lnTo>
                  <a:pt x="10380" y="1258"/>
                </a:lnTo>
                <a:close/>
                <a:moveTo>
                  <a:pt x="10490" y="1164"/>
                </a:moveTo>
                <a:lnTo>
                  <a:pt x="10491" y="1161"/>
                </a:lnTo>
                <a:lnTo>
                  <a:pt x="10495" y="1159"/>
                </a:lnTo>
                <a:lnTo>
                  <a:pt x="10501" y="1155"/>
                </a:lnTo>
                <a:lnTo>
                  <a:pt x="10509" y="1152"/>
                </a:lnTo>
                <a:lnTo>
                  <a:pt x="10523" y="1147"/>
                </a:lnTo>
                <a:lnTo>
                  <a:pt x="10531" y="1146"/>
                </a:lnTo>
                <a:lnTo>
                  <a:pt x="10522" y="1151"/>
                </a:lnTo>
                <a:lnTo>
                  <a:pt x="10514" y="1159"/>
                </a:lnTo>
                <a:lnTo>
                  <a:pt x="10506" y="1165"/>
                </a:lnTo>
                <a:lnTo>
                  <a:pt x="10500" y="1173"/>
                </a:lnTo>
                <a:lnTo>
                  <a:pt x="10490" y="1187"/>
                </a:lnTo>
                <a:lnTo>
                  <a:pt x="10482" y="1198"/>
                </a:lnTo>
                <a:lnTo>
                  <a:pt x="10481" y="1201"/>
                </a:lnTo>
                <a:lnTo>
                  <a:pt x="10480" y="1203"/>
                </a:lnTo>
                <a:lnTo>
                  <a:pt x="10478" y="1203"/>
                </a:lnTo>
                <a:lnTo>
                  <a:pt x="10478" y="1201"/>
                </a:lnTo>
                <a:lnTo>
                  <a:pt x="10482" y="1188"/>
                </a:lnTo>
                <a:lnTo>
                  <a:pt x="10490" y="1164"/>
                </a:lnTo>
                <a:close/>
                <a:moveTo>
                  <a:pt x="10531" y="1129"/>
                </a:moveTo>
                <a:lnTo>
                  <a:pt x="10539" y="1125"/>
                </a:lnTo>
                <a:lnTo>
                  <a:pt x="10543" y="1123"/>
                </a:lnTo>
                <a:lnTo>
                  <a:pt x="10545" y="1122"/>
                </a:lnTo>
                <a:lnTo>
                  <a:pt x="10545" y="1120"/>
                </a:lnTo>
                <a:lnTo>
                  <a:pt x="10543" y="1119"/>
                </a:lnTo>
                <a:lnTo>
                  <a:pt x="10543" y="1117"/>
                </a:lnTo>
                <a:lnTo>
                  <a:pt x="10545" y="1114"/>
                </a:lnTo>
                <a:lnTo>
                  <a:pt x="10550" y="1109"/>
                </a:lnTo>
                <a:lnTo>
                  <a:pt x="10555" y="1111"/>
                </a:lnTo>
                <a:lnTo>
                  <a:pt x="10557" y="1113"/>
                </a:lnTo>
                <a:lnTo>
                  <a:pt x="10559" y="1115"/>
                </a:lnTo>
                <a:lnTo>
                  <a:pt x="10559" y="1119"/>
                </a:lnTo>
                <a:lnTo>
                  <a:pt x="10555" y="1125"/>
                </a:lnTo>
                <a:lnTo>
                  <a:pt x="10547" y="1132"/>
                </a:lnTo>
                <a:lnTo>
                  <a:pt x="10539" y="1137"/>
                </a:lnTo>
                <a:lnTo>
                  <a:pt x="10533" y="1138"/>
                </a:lnTo>
                <a:lnTo>
                  <a:pt x="10531" y="1138"/>
                </a:lnTo>
                <a:lnTo>
                  <a:pt x="10529" y="1137"/>
                </a:lnTo>
                <a:lnTo>
                  <a:pt x="10529" y="1133"/>
                </a:lnTo>
                <a:lnTo>
                  <a:pt x="10531" y="1129"/>
                </a:lnTo>
                <a:close/>
                <a:moveTo>
                  <a:pt x="10798" y="876"/>
                </a:moveTo>
                <a:lnTo>
                  <a:pt x="10807" y="871"/>
                </a:lnTo>
                <a:lnTo>
                  <a:pt x="10817" y="862"/>
                </a:lnTo>
                <a:lnTo>
                  <a:pt x="10826" y="851"/>
                </a:lnTo>
                <a:lnTo>
                  <a:pt x="10836" y="840"/>
                </a:lnTo>
                <a:lnTo>
                  <a:pt x="10845" y="833"/>
                </a:lnTo>
                <a:lnTo>
                  <a:pt x="10853" y="828"/>
                </a:lnTo>
                <a:lnTo>
                  <a:pt x="10855" y="828"/>
                </a:lnTo>
                <a:lnTo>
                  <a:pt x="10858" y="829"/>
                </a:lnTo>
                <a:lnTo>
                  <a:pt x="10860" y="831"/>
                </a:lnTo>
                <a:lnTo>
                  <a:pt x="10862" y="837"/>
                </a:lnTo>
                <a:lnTo>
                  <a:pt x="10857" y="837"/>
                </a:lnTo>
                <a:lnTo>
                  <a:pt x="10850" y="838"/>
                </a:lnTo>
                <a:lnTo>
                  <a:pt x="10844" y="840"/>
                </a:lnTo>
                <a:lnTo>
                  <a:pt x="10837" y="845"/>
                </a:lnTo>
                <a:lnTo>
                  <a:pt x="10826" y="856"/>
                </a:lnTo>
                <a:lnTo>
                  <a:pt x="10816" y="868"/>
                </a:lnTo>
                <a:lnTo>
                  <a:pt x="10807" y="880"/>
                </a:lnTo>
                <a:lnTo>
                  <a:pt x="10801" y="886"/>
                </a:lnTo>
                <a:lnTo>
                  <a:pt x="10799" y="886"/>
                </a:lnTo>
                <a:lnTo>
                  <a:pt x="10798" y="886"/>
                </a:lnTo>
                <a:lnTo>
                  <a:pt x="10798" y="882"/>
                </a:lnTo>
                <a:lnTo>
                  <a:pt x="10798" y="876"/>
                </a:lnTo>
                <a:close/>
                <a:moveTo>
                  <a:pt x="11739" y="3088"/>
                </a:moveTo>
                <a:lnTo>
                  <a:pt x="11739" y="3090"/>
                </a:lnTo>
                <a:lnTo>
                  <a:pt x="11738" y="3091"/>
                </a:lnTo>
                <a:lnTo>
                  <a:pt x="11738" y="3090"/>
                </a:lnTo>
                <a:lnTo>
                  <a:pt x="11739" y="3088"/>
                </a:lnTo>
                <a:close/>
                <a:moveTo>
                  <a:pt x="11739" y="3083"/>
                </a:moveTo>
                <a:lnTo>
                  <a:pt x="11739" y="3084"/>
                </a:lnTo>
                <a:lnTo>
                  <a:pt x="11740" y="3086"/>
                </a:lnTo>
                <a:lnTo>
                  <a:pt x="11738" y="3084"/>
                </a:lnTo>
                <a:lnTo>
                  <a:pt x="11739" y="3083"/>
                </a:lnTo>
                <a:close/>
                <a:moveTo>
                  <a:pt x="11823" y="3906"/>
                </a:moveTo>
                <a:lnTo>
                  <a:pt x="11833" y="3904"/>
                </a:lnTo>
                <a:lnTo>
                  <a:pt x="11841" y="3900"/>
                </a:lnTo>
                <a:lnTo>
                  <a:pt x="11849" y="3894"/>
                </a:lnTo>
                <a:lnTo>
                  <a:pt x="11856" y="3889"/>
                </a:lnTo>
                <a:lnTo>
                  <a:pt x="11864" y="3884"/>
                </a:lnTo>
                <a:lnTo>
                  <a:pt x="11870" y="3880"/>
                </a:lnTo>
                <a:lnTo>
                  <a:pt x="11874" y="3879"/>
                </a:lnTo>
                <a:lnTo>
                  <a:pt x="11878" y="3878"/>
                </a:lnTo>
                <a:lnTo>
                  <a:pt x="11882" y="3878"/>
                </a:lnTo>
                <a:lnTo>
                  <a:pt x="11886" y="3879"/>
                </a:lnTo>
                <a:lnTo>
                  <a:pt x="11878" y="3881"/>
                </a:lnTo>
                <a:lnTo>
                  <a:pt x="11869" y="3886"/>
                </a:lnTo>
                <a:lnTo>
                  <a:pt x="11860" y="3894"/>
                </a:lnTo>
                <a:lnTo>
                  <a:pt x="11851" y="3902"/>
                </a:lnTo>
                <a:lnTo>
                  <a:pt x="11844" y="3907"/>
                </a:lnTo>
                <a:lnTo>
                  <a:pt x="11836" y="3911"/>
                </a:lnTo>
                <a:lnTo>
                  <a:pt x="11832" y="3911"/>
                </a:lnTo>
                <a:lnTo>
                  <a:pt x="11828" y="3911"/>
                </a:lnTo>
                <a:lnTo>
                  <a:pt x="11826" y="3908"/>
                </a:lnTo>
                <a:lnTo>
                  <a:pt x="11823" y="3906"/>
                </a:lnTo>
                <a:close/>
                <a:moveTo>
                  <a:pt x="11833" y="3765"/>
                </a:moveTo>
                <a:lnTo>
                  <a:pt x="11833" y="3767"/>
                </a:lnTo>
                <a:lnTo>
                  <a:pt x="11832" y="3767"/>
                </a:lnTo>
                <a:lnTo>
                  <a:pt x="11832" y="3765"/>
                </a:lnTo>
                <a:lnTo>
                  <a:pt x="11831" y="3764"/>
                </a:lnTo>
                <a:lnTo>
                  <a:pt x="11832" y="3764"/>
                </a:lnTo>
                <a:lnTo>
                  <a:pt x="11833" y="3765"/>
                </a:lnTo>
                <a:close/>
                <a:moveTo>
                  <a:pt x="11975" y="3041"/>
                </a:moveTo>
                <a:lnTo>
                  <a:pt x="11979" y="3046"/>
                </a:lnTo>
                <a:lnTo>
                  <a:pt x="11981" y="3050"/>
                </a:lnTo>
                <a:lnTo>
                  <a:pt x="11981" y="3053"/>
                </a:lnTo>
                <a:lnTo>
                  <a:pt x="11980" y="3055"/>
                </a:lnTo>
                <a:lnTo>
                  <a:pt x="11973" y="3060"/>
                </a:lnTo>
                <a:lnTo>
                  <a:pt x="11965" y="3065"/>
                </a:lnTo>
                <a:lnTo>
                  <a:pt x="11954" y="3069"/>
                </a:lnTo>
                <a:lnTo>
                  <a:pt x="11947" y="3076"/>
                </a:lnTo>
                <a:lnTo>
                  <a:pt x="11944" y="3079"/>
                </a:lnTo>
                <a:lnTo>
                  <a:pt x="11942" y="3083"/>
                </a:lnTo>
                <a:lnTo>
                  <a:pt x="11942" y="3087"/>
                </a:lnTo>
                <a:lnTo>
                  <a:pt x="11943" y="3092"/>
                </a:lnTo>
                <a:lnTo>
                  <a:pt x="11915" y="3097"/>
                </a:lnTo>
                <a:lnTo>
                  <a:pt x="11903" y="3097"/>
                </a:lnTo>
                <a:lnTo>
                  <a:pt x="11902" y="3096"/>
                </a:lnTo>
                <a:lnTo>
                  <a:pt x="11905" y="3095"/>
                </a:lnTo>
                <a:lnTo>
                  <a:pt x="11908" y="3092"/>
                </a:lnTo>
                <a:lnTo>
                  <a:pt x="11915" y="3088"/>
                </a:lnTo>
                <a:lnTo>
                  <a:pt x="11931" y="3081"/>
                </a:lnTo>
                <a:lnTo>
                  <a:pt x="11949" y="3069"/>
                </a:lnTo>
                <a:lnTo>
                  <a:pt x="11958" y="3063"/>
                </a:lnTo>
                <a:lnTo>
                  <a:pt x="11965" y="3056"/>
                </a:lnTo>
                <a:lnTo>
                  <a:pt x="11971" y="3049"/>
                </a:lnTo>
                <a:lnTo>
                  <a:pt x="11975" y="3041"/>
                </a:lnTo>
                <a:close/>
                <a:moveTo>
                  <a:pt x="12028" y="3837"/>
                </a:moveTo>
                <a:lnTo>
                  <a:pt x="12035" y="3829"/>
                </a:lnTo>
                <a:lnTo>
                  <a:pt x="12038" y="3827"/>
                </a:lnTo>
                <a:lnTo>
                  <a:pt x="12038" y="3828"/>
                </a:lnTo>
                <a:lnTo>
                  <a:pt x="12036" y="3833"/>
                </a:lnTo>
                <a:lnTo>
                  <a:pt x="12031" y="3838"/>
                </a:lnTo>
                <a:lnTo>
                  <a:pt x="12024" y="3846"/>
                </a:lnTo>
                <a:lnTo>
                  <a:pt x="12015" y="3852"/>
                </a:lnTo>
                <a:lnTo>
                  <a:pt x="12007" y="3857"/>
                </a:lnTo>
                <a:lnTo>
                  <a:pt x="12004" y="3855"/>
                </a:lnTo>
                <a:lnTo>
                  <a:pt x="12003" y="3852"/>
                </a:lnTo>
                <a:lnTo>
                  <a:pt x="12001" y="3851"/>
                </a:lnTo>
                <a:lnTo>
                  <a:pt x="12001" y="3848"/>
                </a:lnTo>
                <a:lnTo>
                  <a:pt x="12003" y="3844"/>
                </a:lnTo>
                <a:lnTo>
                  <a:pt x="12007" y="3841"/>
                </a:lnTo>
                <a:lnTo>
                  <a:pt x="12012" y="3838"/>
                </a:lnTo>
                <a:lnTo>
                  <a:pt x="12017" y="3837"/>
                </a:lnTo>
                <a:lnTo>
                  <a:pt x="12023" y="3836"/>
                </a:lnTo>
                <a:lnTo>
                  <a:pt x="12028" y="3837"/>
                </a:lnTo>
                <a:close/>
                <a:moveTo>
                  <a:pt x="12031" y="3306"/>
                </a:moveTo>
                <a:lnTo>
                  <a:pt x="12031" y="3307"/>
                </a:lnTo>
                <a:lnTo>
                  <a:pt x="12031" y="3307"/>
                </a:lnTo>
                <a:lnTo>
                  <a:pt x="12029" y="3307"/>
                </a:lnTo>
                <a:lnTo>
                  <a:pt x="12028" y="3306"/>
                </a:lnTo>
                <a:lnTo>
                  <a:pt x="12029" y="3306"/>
                </a:lnTo>
                <a:lnTo>
                  <a:pt x="12031" y="3306"/>
                </a:lnTo>
                <a:close/>
                <a:moveTo>
                  <a:pt x="12057" y="3734"/>
                </a:moveTo>
                <a:lnTo>
                  <a:pt x="12063" y="3732"/>
                </a:lnTo>
                <a:lnTo>
                  <a:pt x="12069" y="3731"/>
                </a:lnTo>
                <a:lnTo>
                  <a:pt x="12075" y="3730"/>
                </a:lnTo>
                <a:lnTo>
                  <a:pt x="12082" y="3731"/>
                </a:lnTo>
                <a:lnTo>
                  <a:pt x="12094" y="3732"/>
                </a:lnTo>
                <a:lnTo>
                  <a:pt x="12107" y="3736"/>
                </a:lnTo>
                <a:lnTo>
                  <a:pt x="12112" y="3739"/>
                </a:lnTo>
                <a:lnTo>
                  <a:pt x="12116" y="3741"/>
                </a:lnTo>
                <a:lnTo>
                  <a:pt x="12119" y="3744"/>
                </a:lnTo>
                <a:lnTo>
                  <a:pt x="12120" y="3746"/>
                </a:lnTo>
                <a:lnTo>
                  <a:pt x="12120" y="3748"/>
                </a:lnTo>
                <a:lnTo>
                  <a:pt x="12119" y="3750"/>
                </a:lnTo>
                <a:lnTo>
                  <a:pt x="12115" y="3751"/>
                </a:lnTo>
                <a:lnTo>
                  <a:pt x="12108" y="3753"/>
                </a:lnTo>
                <a:lnTo>
                  <a:pt x="12083" y="3758"/>
                </a:lnTo>
                <a:lnTo>
                  <a:pt x="12056" y="3764"/>
                </a:lnTo>
                <a:lnTo>
                  <a:pt x="12050" y="3764"/>
                </a:lnTo>
                <a:lnTo>
                  <a:pt x="12046" y="3764"/>
                </a:lnTo>
                <a:lnTo>
                  <a:pt x="12043" y="3763"/>
                </a:lnTo>
                <a:lnTo>
                  <a:pt x="12041" y="3760"/>
                </a:lnTo>
                <a:lnTo>
                  <a:pt x="12042" y="3757"/>
                </a:lnTo>
                <a:lnTo>
                  <a:pt x="12045" y="3750"/>
                </a:lnTo>
                <a:lnTo>
                  <a:pt x="12050" y="3744"/>
                </a:lnTo>
                <a:lnTo>
                  <a:pt x="12057" y="3734"/>
                </a:lnTo>
                <a:close/>
                <a:moveTo>
                  <a:pt x="12056" y="3786"/>
                </a:moveTo>
                <a:lnTo>
                  <a:pt x="12052" y="3786"/>
                </a:lnTo>
                <a:lnTo>
                  <a:pt x="12051" y="3785"/>
                </a:lnTo>
                <a:lnTo>
                  <a:pt x="12050" y="3783"/>
                </a:lnTo>
                <a:lnTo>
                  <a:pt x="12051" y="3782"/>
                </a:lnTo>
                <a:lnTo>
                  <a:pt x="12052" y="3779"/>
                </a:lnTo>
                <a:lnTo>
                  <a:pt x="12056" y="3776"/>
                </a:lnTo>
                <a:lnTo>
                  <a:pt x="12056" y="3781"/>
                </a:lnTo>
                <a:lnTo>
                  <a:pt x="12056" y="3786"/>
                </a:lnTo>
                <a:close/>
                <a:moveTo>
                  <a:pt x="12055" y="3825"/>
                </a:moveTo>
                <a:lnTo>
                  <a:pt x="12051" y="3824"/>
                </a:lnTo>
                <a:lnTo>
                  <a:pt x="12050" y="3824"/>
                </a:lnTo>
                <a:lnTo>
                  <a:pt x="12049" y="3823"/>
                </a:lnTo>
                <a:lnTo>
                  <a:pt x="12049" y="3820"/>
                </a:lnTo>
                <a:lnTo>
                  <a:pt x="12052" y="3816"/>
                </a:lnTo>
                <a:lnTo>
                  <a:pt x="12059" y="3811"/>
                </a:lnTo>
                <a:lnTo>
                  <a:pt x="12066" y="3809"/>
                </a:lnTo>
                <a:lnTo>
                  <a:pt x="12075" y="3807"/>
                </a:lnTo>
                <a:lnTo>
                  <a:pt x="12079" y="3809"/>
                </a:lnTo>
                <a:lnTo>
                  <a:pt x="12083" y="3810"/>
                </a:lnTo>
                <a:lnTo>
                  <a:pt x="12087" y="3814"/>
                </a:lnTo>
                <a:lnTo>
                  <a:pt x="12089" y="3818"/>
                </a:lnTo>
                <a:lnTo>
                  <a:pt x="12070" y="3822"/>
                </a:lnTo>
                <a:lnTo>
                  <a:pt x="12055" y="3825"/>
                </a:lnTo>
                <a:close/>
                <a:moveTo>
                  <a:pt x="12172" y="3744"/>
                </a:moveTo>
                <a:lnTo>
                  <a:pt x="12175" y="3748"/>
                </a:lnTo>
                <a:lnTo>
                  <a:pt x="12176" y="3750"/>
                </a:lnTo>
                <a:lnTo>
                  <a:pt x="12175" y="3753"/>
                </a:lnTo>
                <a:lnTo>
                  <a:pt x="12172" y="3755"/>
                </a:lnTo>
                <a:lnTo>
                  <a:pt x="12164" y="3760"/>
                </a:lnTo>
                <a:lnTo>
                  <a:pt x="12157" y="3764"/>
                </a:lnTo>
                <a:lnTo>
                  <a:pt x="12156" y="3760"/>
                </a:lnTo>
                <a:lnTo>
                  <a:pt x="12156" y="3757"/>
                </a:lnTo>
                <a:lnTo>
                  <a:pt x="12156" y="3754"/>
                </a:lnTo>
                <a:lnTo>
                  <a:pt x="12158" y="3750"/>
                </a:lnTo>
                <a:lnTo>
                  <a:pt x="12159" y="3749"/>
                </a:lnTo>
                <a:lnTo>
                  <a:pt x="12163" y="3746"/>
                </a:lnTo>
                <a:lnTo>
                  <a:pt x="12167" y="3745"/>
                </a:lnTo>
                <a:lnTo>
                  <a:pt x="12172" y="3744"/>
                </a:lnTo>
                <a:close/>
                <a:moveTo>
                  <a:pt x="12243" y="3678"/>
                </a:moveTo>
                <a:lnTo>
                  <a:pt x="12254" y="3684"/>
                </a:lnTo>
                <a:lnTo>
                  <a:pt x="12261" y="3690"/>
                </a:lnTo>
                <a:lnTo>
                  <a:pt x="12266" y="3695"/>
                </a:lnTo>
                <a:lnTo>
                  <a:pt x="12268" y="3701"/>
                </a:lnTo>
                <a:lnTo>
                  <a:pt x="12265" y="3706"/>
                </a:lnTo>
                <a:lnTo>
                  <a:pt x="12261" y="3709"/>
                </a:lnTo>
                <a:lnTo>
                  <a:pt x="12256" y="3713"/>
                </a:lnTo>
                <a:lnTo>
                  <a:pt x="12249" y="3717"/>
                </a:lnTo>
                <a:lnTo>
                  <a:pt x="12231" y="3725"/>
                </a:lnTo>
                <a:lnTo>
                  <a:pt x="12209" y="3731"/>
                </a:lnTo>
                <a:lnTo>
                  <a:pt x="12189" y="3737"/>
                </a:lnTo>
                <a:lnTo>
                  <a:pt x="12172" y="3744"/>
                </a:lnTo>
                <a:lnTo>
                  <a:pt x="12175" y="3737"/>
                </a:lnTo>
                <a:lnTo>
                  <a:pt x="12177" y="3732"/>
                </a:lnTo>
                <a:lnTo>
                  <a:pt x="12181" y="3727"/>
                </a:lnTo>
                <a:lnTo>
                  <a:pt x="12186" y="3723"/>
                </a:lnTo>
                <a:lnTo>
                  <a:pt x="12196" y="3718"/>
                </a:lnTo>
                <a:lnTo>
                  <a:pt x="12208" y="3712"/>
                </a:lnTo>
                <a:lnTo>
                  <a:pt x="12219" y="3707"/>
                </a:lnTo>
                <a:lnTo>
                  <a:pt x="12229" y="3699"/>
                </a:lnTo>
                <a:lnTo>
                  <a:pt x="12235" y="3695"/>
                </a:lnTo>
                <a:lnTo>
                  <a:pt x="12238" y="3690"/>
                </a:lnTo>
                <a:lnTo>
                  <a:pt x="12241" y="3684"/>
                </a:lnTo>
                <a:lnTo>
                  <a:pt x="12243" y="3678"/>
                </a:lnTo>
                <a:close/>
                <a:moveTo>
                  <a:pt x="12614" y="3076"/>
                </a:moveTo>
                <a:lnTo>
                  <a:pt x="12613" y="3078"/>
                </a:lnTo>
                <a:lnTo>
                  <a:pt x="12611" y="3079"/>
                </a:lnTo>
                <a:lnTo>
                  <a:pt x="12611" y="3078"/>
                </a:lnTo>
                <a:lnTo>
                  <a:pt x="12611" y="3077"/>
                </a:lnTo>
                <a:lnTo>
                  <a:pt x="12611" y="3077"/>
                </a:lnTo>
                <a:lnTo>
                  <a:pt x="12614" y="3076"/>
                </a:lnTo>
                <a:close/>
                <a:moveTo>
                  <a:pt x="12629" y="3370"/>
                </a:moveTo>
                <a:lnTo>
                  <a:pt x="12628" y="3371"/>
                </a:lnTo>
                <a:lnTo>
                  <a:pt x="12627" y="3373"/>
                </a:lnTo>
                <a:lnTo>
                  <a:pt x="12628" y="3371"/>
                </a:lnTo>
                <a:lnTo>
                  <a:pt x="12629" y="3370"/>
                </a:lnTo>
                <a:close/>
                <a:moveTo>
                  <a:pt x="12713" y="3166"/>
                </a:moveTo>
                <a:lnTo>
                  <a:pt x="12741" y="3154"/>
                </a:lnTo>
                <a:lnTo>
                  <a:pt x="12769" y="3143"/>
                </a:lnTo>
                <a:lnTo>
                  <a:pt x="12797" y="3132"/>
                </a:lnTo>
                <a:lnTo>
                  <a:pt x="12825" y="3118"/>
                </a:lnTo>
                <a:lnTo>
                  <a:pt x="12880" y="3091"/>
                </a:lnTo>
                <a:lnTo>
                  <a:pt x="12935" y="3060"/>
                </a:lnTo>
                <a:lnTo>
                  <a:pt x="12988" y="3030"/>
                </a:lnTo>
                <a:lnTo>
                  <a:pt x="13042" y="2998"/>
                </a:lnTo>
                <a:lnTo>
                  <a:pt x="13094" y="2965"/>
                </a:lnTo>
                <a:lnTo>
                  <a:pt x="13146" y="2932"/>
                </a:lnTo>
                <a:lnTo>
                  <a:pt x="13247" y="2867"/>
                </a:lnTo>
                <a:lnTo>
                  <a:pt x="13346" y="2806"/>
                </a:lnTo>
                <a:lnTo>
                  <a:pt x="13395" y="2776"/>
                </a:lnTo>
                <a:lnTo>
                  <a:pt x="13442" y="2751"/>
                </a:lnTo>
                <a:lnTo>
                  <a:pt x="13466" y="2740"/>
                </a:lnTo>
                <a:lnTo>
                  <a:pt x="13489" y="2728"/>
                </a:lnTo>
                <a:lnTo>
                  <a:pt x="13513" y="2718"/>
                </a:lnTo>
                <a:lnTo>
                  <a:pt x="13536" y="2708"/>
                </a:lnTo>
                <a:lnTo>
                  <a:pt x="13541" y="2705"/>
                </a:lnTo>
                <a:lnTo>
                  <a:pt x="13540" y="2706"/>
                </a:lnTo>
                <a:lnTo>
                  <a:pt x="13535" y="2712"/>
                </a:lnTo>
                <a:lnTo>
                  <a:pt x="13525" y="2719"/>
                </a:lnTo>
                <a:lnTo>
                  <a:pt x="13493" y="2743"/>
                </a:lnTo>
                <a:lnTo>
                  <a:pt x="13444" y="2778"/>
                </a:lnTo>
                <a:lnTo>
                  <a:pt x="13384" y="2818"/>
                </a:lnTo>
                <a:lnTo>
                  <a:pt x="13316" y="2866"/>
                </a:lnTo>
                <a:lnTo>
                  <a:pt x="13241" y="2915"/>
                </a:lnTo>
                <a:lnTo>
                  <a:pt x="13162" y="2966"/>
                </a:lnTo>
                <a:lnTo>
                  <a:pt x="13080" y="3016"/>
                </a:lnTo>
                <a:lnTo>
                  <a:pt x="13001" y="3063"/>
                </a:lnTo>
                <a:lnTo>
                  <a:pt x="12963" y="3084"/>
                </a:lnTo>
                <a:lnTo>
                  <a:pt x="12927" y="3105"/>
                </a:lnTo>
                <a:lnTo>
                  <a:pt x="12892" y="3123"/>
                </a:lnTo>
                <a:lnTo>
                  <a:pt x="12860" y="3139"/>
                </a:lnTo>
                <a:lnTo>
                  <a:pt x="12829" y="3153"/>
                </a:lnTo>
                <a:lnTo>
                  <a:pt x="12801" y="3165"/>
                </a:lnTo>
                <a:lnTo>
                  <a:pt x="12777" y="3174"/>
                </a:lnTo>
                <a:lnTo>
                  <a:pt x="12755" y="3180"/>
                </a:lnTo>
                <a:lnTo>
                  <a:pt x="12739" y="3181"/>
                </a:lnTo>
                <a:lnTo>
                  <a:pt x="12726" y="3180"/>
                </a:lnTo>
                <a:lnTo>
                  <a:pt x="12717" y="3175"/>
                </a:lnTo>
                <a:lnTo>
                  <a:pt x="12713" y="3166"/>
                </a:lnTo>
                <a:close/>
                <a:moveTo>
                  <a:pt x="12729" y="2919"/>
                </a:moveTo>
                <a:lnTo>
                  <a:pt x="12729" y="2920"/>
                </a:lnTo>
                <a:lnTo>
                  <a:pt x="12730" y="2920"/>
                </a:lnTo>
                <a:lnTo>
                  <a:pt x="12727" y="2920"/>
                </a:lnTo>
                <a:lnTo>
                  <a:pt x="12729" y="2919"/>
                </a:lnTo>
                <a:close/>
                <a:moveTo>
                  <a:pt x="12750" y="2846"/>
                </a:moveTo>
                <a:lnTo>
                  <a:pt x="12780" y="2826"/>
                </a:lnTo>
                <a:lnTo>
                  <a:pt x="12810" y="2806"/>
                </a:lnTo>
                <a:lnTo>
                  <a:pt x="12842" y="2787"/>
                </a:lnTo>
                <a:lnTo>
                  <a:pt x="12873" y="2765"/>
                </a:lnTo>
                <a:lnTo>
                  <a:pt x="12874" y="2769"/>
                </a:lnTo>
                <a:lnTo>
                  <a:pt x="12874" y="2773"/>
                </a:lnTo>
                <a:lnTo>
                  <a:pt x="12874" y="2776"/>
                </a:lnTo>
                <a:lnTo>
                  <a:pt x="12873" y="2780"/>
                </a:lnTo>
                <a:lnTo>
                  <a:pt x="12867" y="2789"/>
                </a:lnTo>
                <a:lnTo>
                  <a:pt x="12861" y="2799"/>
                </a:lnTo>
                <a:lnTo>
                  <a:pt x="12851" y="2810"/>
                </a:lnTo>
                <a:lnTo>
                  <a:pt x="12839" y="2821"/>
                </a:lnTo>
                <a:lnTo>
                  <a:pt x="12827" y="2830"/>
                </a:lnTo>
                <a:lnTo>
                  <a:pt x="12814" y="2840"/>
                </a:lnTo>
                <a:lnTo>
                  <a:pt x="12801" y="2848"/>
                </a:lnTo>
                <a:lnTo>
                  <a:pt x="12788" y="2855"/>
                </a:lnTo>
                <a:lnTo>
                  <a:pt x="12776" y="2860"/>
                </a:lnTo>
                <a:lnTo>
                  <a:pt x="12766" y="2863"/>
                </a:lnTo>
                <a:lnTo>
                  <a:pt x="12762" y="2864"/>
                </a:lnTo>
                <a:lnTo>
                  <a:pt x="12758" y="2863"/>
                </a:lnTo>
                <a:lnTo>
                  <a:pt x="12754" y="2863"/>
                </a:lnTo>
                <a:lnTo>
                  <a:pt x="12752" y="2862"/>
                </a:lnTo>
                <a:lnTo>
                  <a:pt x="12750" y="2859"/>
                </a:lnTo>
                <a:lnTo>
                  <a:pt x="12749" y="2855"/>
                </a:lnTo>
                <a:lnTo>
                  <a:pt x="12749" y="2852"/>
                </a:lnTo>
                <a:lnTo>
                  <a:pt x="12750" y="2846"/>
                </a:lnTo>
                <a:close/>
                <a:moveTo>
                  <a:pt x="13075" y="2764"/>
                </a:moveTo>
                <a:lnTo>
                  <a:pt x="13079" y="2771"/>
                </a:lnTo>
                <a:lnTo>
                  <a:pt x="13080" y="2776"/>
                </a:lnTo>
                <a:lnTo>
                  <a:pt x="13081" y="2782"/>
                </a:lnTo>
                <a:lnTo>
                  <a:pt x="13080" y="2785"/>
                </a:lnTo>
                <a:lnTo>
                  <a:pt x="13078" y="2789"/>
                </a:lnTo>
                <a:lnTo>
                  <a:pt x="13075" y="2792"/>
                </a:lnTo>
                <a:lnTo>
                  <a:pt x="13071" y="2794"/>
                </a:lnTo>
                <a:lnTo>
                  <a:pt x="13067" y="2797"/>
                </a:lnTo>
                <a:lnTo>
                  <a:pt x="13057" y="2799"/>
                </a:lnTo>
                <a:lnTo>
                  <a:pt x="13046" y="2801"/>
                </a:lnTo>
                <a:lnTo>
                  <a:pt x="13034" y="2801"/>
                </a:lnTo>
                <a:lnTo>
                  <a:pt x="13023" y="2799"/>
                </a:lnTo>
                <a:lnTo>
                  <a:pt x="13033" y="2792"/>
                </a:lnTo>
                <a:lnTo>
                  <a:pt x="13051" y="2778"/>
                </a:lnTo>
                <a:lnTo>
                  <a:pt x="13060" y="2770"/>
                </a:lnTo>
                <a:lnTo>
                  <a:pt x="13067" y="2765"/>
                </a:lnTo>
                <a:lnTo>
                  <a:pt x="13071" y="2764"/>
                </a:lnTo>
                <a:lnTo>
                  <a:pt x="13074" y="2762"/>
                </a:lnTo>
                <a:lnTo>
                  <a:pt x="13075" y="2762"/>
                </a:lnTo>
                <a:lnTo>
                  <a:pt x="13075" y="2764"/>
                </a:lnTo>
                <a:close/>
                <a:moveTo>
                  <a:pt x="13404" y="2740"/>
                </a:moveTo>
                <a:lnTo>
                  <a:pt x="13405" y="2742"/>
                </a:lnTo>
                <a:lnTo>
                  <a:pt x="13405" y="2745"/>
                </a:lnTo>
                <a:lnTo>
                  <a:pt x="13402" y="2747"/>
                </a:lnTo>
                <a:lnTo>
                  <a:pt x="13398" y="2751"/>
                </a:lnTo>
                <a:lnTo>
                  <a:pt x="13390" y="2757"/>
                </a:lnTo>
                <a:lnTo>
                  <a:pt x="13382" y="2762"/>
                </a:lnTo>
                <a:lnTo>
                  <a:pt x="13386" y="2755"/>
                </a:lnTo>
                <a:lnTo>
                  <a:pt x="13391" y="2750"/>
                </a:lnTo>
                <a:lnTo>
                  <a:pt x="13397" y="2743"/>
                </a:lnTo>
                <a:lnTo>
                  <a:pt x="13404" y="2740"/>
                </a:lnTo>
                <a:close/>
                <a:moveTo>
                  <a:pt x="13230" y="2986"/>
                </a:moveTo>
                <a:lnTo>
                  <a:pt x="13234" y="2985"/>
                </a:lnTo>
                <a:lnTo>
                  <a:pt x="13239" y="2983"/>
                </a:lnTo>
                <a:lnTo>
                  <a:pt x="13234" y="2985"/>
                </a:lnTo>
                <a:lnTo>
                  <a:pt x="13230" y="2986"/>
                </a:lnTo>
                <a:close/>
                <a:moveTo>
                  <a:pt x="13179" y="3021"/>
                </a:moveTo>
                <a:lnTo>
                  <a:pt x="13173" y="3025"/>
                </a:lnTo>
                <a:lnTo>
                  <a:pt x="13187" y="3016"/>
                </a:lnTo>
                <a:lnTo>
                  <a:pt x="13209" y="3000"/>
                </a:lnTo>
                <a:lnTo>
                  <a:pt x="13224" y="2990"/>
                </a:lnTo>
                <a:lnTo>
                  <a:pt x="13214" y="2999"/>
                </a:lnTo>
                <a:lnTo>
                  <a:pt x="13202" y="3008"/>
                </a:lnTo>
                <a:lnTo>
                  <a:pt x="13197" y="3012"/>
                </a:lnTo>
                <a:lnTo>
                  <a:pt x="13191" y="3016"/>
                </a:lnTo>
                <a:lnTo>
                  <a:pt x="13186" y="3018"/>
                </a:lnTo>
                <a:lnTo>
                  <a:pt x="13179" y="3021"/>
                </a:lnTo>
                <a:close/>
                <a:moveTo>
                  <a:pt x="12766" y="3246"/>
                </a:moveTo>
                <a:lnTo>
                  <a:pt x="12764" y="3249"/>
                </a:lnTo>
                <a:lnTo>
                  <a:pt x="12763" y="3250"/>
                </a:lnTo>
                <a:lnTo>
                  <a:pt x="12762" y="3250"/>
                </a:lnTo>
                <a:lnTo>
                  <a:pt x="12759" y="3249"/>
                </a:lnTo>
                <a:lnTo>
                  <a:pt x="12757" y="3247"/>
                </a:lnTo>
                <a:lnTo>
                  <a:pt x="12753" y="3246"/>
                </a:lnTo>
                <a:lnTo>
                  <a:pt x="12755" y="3245"/>
                </a:lnTo>
                <a:lnTo>
                  <a:pt x="12760" y="3244"/>
                </a:lnTo>
                <a:lnTo>
                  <a:pt x="12764" y="3245"/>
                </a:lnTo>
                <a:lnTo>
                  <a:pt x="12766" y="3246"/>
                </a:lnTo>
                <a:close/>
                <a:moveTo>
                  <a:pt x="12331" y="3665"/>
                </a:moveTo>
                <a:lnTo>
                  <a:pt x="12327" y="3665"/>
                </a:lnTo>
                <a:lnTo>
                  <a:pt x="12325" y="3664"/>
                </a:lnTo>
                <a:lnTo>
                  <a:pt x="12322" y="3662"/>
                </a:lnTo>
                <a:lnTo>
                  <a:pt x="12322" y="3659"/>
                </a:lnTo>
                <a:lnTo>
                  <a:pt x="12326" y="3662"/>
                </a:lnTo>
                <a:lnTo>
                  <a:pt x="12331" y="3665"/>
                </a:lnTo>
                <a:close/>
                <a:moveTo>
                  <a:pt x="12666" y="3540"/>
                </a:moveTo>
                <a:lnTo>
                  <a:pt x="12664" y="3541"/>
                </a:lnTo>
                <a:lnTo>
                  <a:pt x="12662" y="3541"/>
                </a:lnTo>
                <a:lnTo>
                  <a:pt x="12662" y="3540"/>
                </a:lnTo>
                <a:lnTo>
                  <a:pt x="12662" y="3536"/>
                </a:lnTo>
                <a:lnTo>
                  <a:pt x="12664" y="3539"/>
                </a:lnTo>
                <a:lnTo>
                  <a:pt x="12666" y="3540"/>
                </a:lnTo>
                <a:close/>
                <a:moveTo>
                  <a:pt x="12414" y="4508"/>
                </a:moveTo>
                <a:lnTo>
                  <a:pt x="12405" y="4511"/>
                </a:lnTo>
                <a:lnTo>
                  <a:pt x="12400" y="4515"/>
                </a:lnTo>
                <a:lnTo>
                  <a:pt x="12398" y="4518"/>
                </a:lnTo>
                <a:lnTo>
                  <a:pt x="12398" y="4520"/>
                </a:lnTo>
                <a:lnTo>
                  <a:pt x="12398" y="4523"/>
                </a:lnTo>
                <a:lnTo>
                  <a:pt x="12398" y="4525"/>
                </a:lnTo>
                <a:lnTo>
                  <a:pt x="12382" y="4519"/>
                </a:lnTo>
                <a:lnTo>
                  <a:pt x="12375" y="4514"/>
                </a:lnTo>
                <a:lnTo>
                  <a:pt x="12375" y="4511"/>
                </a:lnTo>
                <a:lnTo>
                  <a:pt x="12376" y="4510"/>
                </a:lnTo>
                <a:lnTo>
                  <a:pt x="12377" y="4509"/>
                </a:lnTo>
                <a:lnTo>
                  <a:pt x="12381" y="4509"/>
                </a:lnTo>
                <a:lnTo>
                  <a:pt x="12399" y="4508"/>
                </a:lnTo>
                <a:lnTo>
                  <a:pt x="12414" y="4508"/>
                </a:lnTo>
                <a:close/>
                <a:moveTo>
                  <a:pt x="12389" y="4506"/>
                </a:moveTo>
                <a:lnTo>
                  <a:pt x="12396" y="4501"/>
                </a:lnTo>
                <a:lnTo>
                  <a:pt x="12406" y="4499"/>
                </a:lnTo>
                <a:lnTo>
                  <a:pt x="12415" y="4499"/>
                </a:lnTo>
                <a:lnTo>
                  <a:pt x="12426" y="4500"/>
                </a:lnTo>
                <a:lnTo>
                  <a:pt x="12446" y="4503"/>
                </a:lnTo>
                <a:lnTo>
                  <a:pt x="12466" y="4504"/>
                </a:lnTo>
                <a:lnTo>
                  <a:pt x="12455" y="4504"/>
                </a:lnTo>
                <a:lnTo>
                  <a:pt x="12429" y="4506"/>
                </a:lnTo>
                <a:lnTo>
                  <a:pt x="12417" y="4506"/>
                </a:lnTo>
                <a:lnTo>
                  <a:pt x="12404" y="4508"/>
                </a:lnTo>
                <a:lnTo>
                  <a:pt x="12394" y="4508"/>
                </a:lnTo>
                <a:lnTo>
                  <a:pt x="12389" y="4506"/>
                </a:lnTo>
                <a:close/>
                <a:moveTo>
                  <a:pt x="12502" y="4496"/>
                </a:moveTo>
                <a:lnTo>
                  <a:pt x="12504" y="4495"/>
                </a:lnTo>
                <a:lnTo>
                  <a:pt x="12507" y="4494"/>
                </a:lnTo>
                <a:lnTo>
                  <a:pt x="12510" y="4494"/>
                </a:lnTo>
                <a:lnTo>
                  <a:pt x="12512" y="4494"/>
                </a:lnTo>
                <a:lnTo>
                  <a:pt x="12518" y="4496"/>
                </a:lnTo>
                <a:lnTo>
                  <a:pt x="12525" y="4499"/>
                </a:lnTo>
                <a:lnTo>
                  <a:pt x="12533" y="4503"/>
                </a:lnTo>
                <a:lnTo>
                  <a:pt x="12539" y="4504"/>
                </a:lnTo>
                <a:lnTo>
                  <a:pt x="12548" y="4505"/>
                </a:lnTo>
                <a:lnTo>
                  <a:pt x="12555" y="4503"/>
                </a:lnTo>
                <a:lnTo>
                  <a:pt x="12534" y="4504"/>
                </a:lnTo>
                <a:lnTo>
                  <a:pt x="12515" y="4505"/>
                </a:lnTo>
                <a:lnTo>
                  <a:pt x="12507" y="4505"/>
                </a:lnTo>
                <a:lnTo>
                  <a:pt x="12502" y="4504"/>
                </a:lnTo>
                <a:lnTo>
                  <a:pt x="12501" y="4503"/>
                </a:lnTo>
                <a:lnTo>
                  <a:pt x="12501" y="4500"/>
                </a:lnTo>
                <a:lnTo>
                  <a:pt x="12501" y="4499"/>
                </a:lnTo>
                <a:lnTo>
                  <a:pt x="12502" y="4496"/>
                </a:lnTo>
                <a:close/>
                <a:moveTo>
                  <a:pt x="12502" y="4747"/>
                </a:moveTo>
                <a:lnTo>
                  <a:pt x="12493" y="4748"/>
                </a:lnTo>
                <a:lnTo>
                  <a:pt x="12483" y="4747"/>
                </a:lnTo>
                <a:lnTo>
                  <a:pt x="12493" y="4747"/>
                </a:lnTo>
                <a:lnTo>
                  <a:pt x="12502" y="4747"/>
                </a:lnTo>
                <a:close/>
                <a:moveTo>
                  <a:pt x="12504" y="4747"/>
                </a:moveTo>
                <a:lnTo>
                  <a:pt x="12503" y="4747"/>
                </a:lnTo>
                <a:lnTo>
                  <a:pt x="12502" y="4747"/>
                </a:lnTo>
                <a:lnTo>
                  <a:pt x="12499" y="4747"/>
                </a:lnTo>
                <a:lnTo>
                  <a:pt x="12504" y="4747"/>
                </a:lnTo>
                <a:close/>
                <a:moveTo>
                  <a:pt x="12510" y="4747"/>
                </a:moveTo>
                <a:lnTo>
                  <a:pt x="12516" y="4748"/>
                </a:lnTo>
                <a:lnTo>
                  <a:pt x="12517" y="4748"/>
                </a:lnTo>
                <a:lnTo>
                  <a:pt x="12515" y="4748"/>
                </a:lnTo>
                <a:lnTo>
                  <a:pt x="12510" y="4747"/>
                </a:lnTo>
                <a:lnTo>
                  <a:pt x="12510" y="4747"/>
                </a:lnTo>
                <a:close/>
                <a:moveTo>
                  <a:pt x="12880" y="4734"/>
                </a:moveTo>
                <a:lnTo>
                  <a:pt x="12894" y="4733"/>
                </a:lnTo>
                <a:lnTo>
                  <a:pt x="12908" y="4733"/>
                </a:lnTo>
                <a:lnTo>
                  <a:pt x="12921" y="4734"/>
                </a:lnTo>
                <a:lnTo>
                  <a:pt x="12935" y="4737"/>
                </a:lnTo>
                <a:lnTo>
                  <a:pt x="12921" y="4737"/>
                </a:lnTo>
                <a:lnTo>
                  <a:pt x="12904" y="4738"/>
                </a:lnTo>
                <a:lnTo>
                  <a:pt x="12898" y="4738"/>
                </a:lnTo>
                <a:lnTo>
                  <a:pt x="12890" y="4738"/>
                </a:lnTo>
                <a:lnTo>
                  <a:pt x="12885" y="4737"/>
                </a:lnTo>
                <a:lnTo>
                  <a:pt x="12880" y="4734"/>
                </a:lnTo>
                <a:close/>
                <a:moveTo>
                  <a:pt x="13037" y="4739"/>
                </a:moveTo>
                <a:lnTo>
                  <a:pt x="13025" y="4743"/>
                </a:lnTo>
                <a:lnTo>
                  <a:pt x="13016" y="4744"/>
                </a:lnTo>
                <a:lnTo>
                  <a:pt x="13006" y="4744"/>
                </a:lnTo>
                <a:lnTo>
                  <a:pt x="12996" y="4744"/>
                </a:lnTo>
                <a:lnTo>
                  <a:pt x="12976" y="4741"/>
                </a:lnTo>
                <a:lnTo>
                  <a:pt x="12954" y="4737"/>
                </a:lnTo>
                <a:lnTo>
                  <a:pt x="12968" y="4737"/>
                </a:lnTo>
                <a:lnTo>
                  <a:pt x="12988" y="4738"/>
                </a:lnTo>
                <a:lnTo>
                  <a:pt x="13011" y="4739"/>
                </a:lnTo>
                <a:lnTo>
                  <a:pt x="13037" y="4739"/>
                </a:lnTo>
                <a:close/>
                <a:moveTo>
                  <a:pt x="13163" y="4714"/>
                </a:moveTo>
                <a:lnTo>
                  <a:pt x="13183" y="4724"/>
                </a:lnTo>
                <a:lnTo>
                  <a:pt x="13192" y="4729"/>
                </a:lnTo>
                <a:lnTo>
                  <a:pt x="13192" y="4730"/>
                </a:lnTo>
                <a:lnTo>
                  <a:pt x="13191" y="4732"/>
                </a:lnTo>
                <a:lnTo>
                  <a:pt x="13188" y="4732"/>
                </a:lnTo>
                <a:lnTo>
                  <a:pt x="13183" y="4732"/>
                </a:lnTo>
                <a:lnTo>
                  <a:pt x="13171" y="4732"/>
                </a:lnTo>
                <a:lnTo>
                  <a:pt x="13155" y="4730"/>
                </a:lnTo>
                <a:lnTo>
                  <a:pt x="13139" y="4730"/>
                </a:lnTo>
                <a:lnTo>
                  <a:pt x="13122" y="4733"/>
                </a:lnTo>
                <a:lnTo>
                  <a:pt x="13135" y="4729"/>
                </a:lnTo>
                <a:lnTo>
                  <a:pt x="13146" y="4725"/>
                </a:lnTo>
                <a:lnTo>
                  <a:pt x="13157" y="4720"/>
                </a:lnTo>
                <a:lnTo>
                  <a:pt x="13163" y="4714"/>
                </a:lnTo>
                <a:close/>
                <a:moveTo>
                  <a:pt x="12917" y="5134"/>
                </a:moveTo>
                <a:lnTo>
                  <a:pt x="12918" y="5136"/>
                </a:lnTo>
                <a:lnTo>
                  <a:pt x="12918" y="5138"/>
                </a:lnTo>
                <a:lnTo>
                  <a:pt x="12917" y="5138"/>
                </a:lnTo>
                <a:lnTo>
                  <a:pt x="12916" y="5135"/>
                </a:lnTo>
                <a:lnTo>
                  <a:pt x="12917" y="5135"/>
                </a:lnTo>
                <a:lnTo>
                  <a:pt x="12917" y="5134"/>
                </a:lnTo>
                <a:close/>
                <a:moveTo>
                  <a:pt x="13359" y="5820"/>
                </a:moveTo>
                <a:lnTo>
                  <a:pt x="13362" y="5821"/>
                </a:lnTo>
                <a:lnTo>
                  <a:pt x="13365" y="5825"/>
                </a:lnTo>
                <a:lnTo>
                  <a:pt x="13363" y="5826"/>
                </a:lnTo>
                <a:lnTo>
                  <a:pt x="13360" y="5825"/>
                </a:lnTo>
                <a:lnTo>
                  <a:pt x="13359" y="5824"/>
                </a:lnTo>
                <a:lnTo>
                  <a:pt x="13359" y="5820"/>
                </a:lnTo>
                <a:close/>
                <a:moveTo>
                  <a:pt x="13415" y="5825"/>
                </a:moveTo>
                <a:lnTo>
                  <a:pt x="13404" y="5824"/>
                </a:lnTo>
                <a:lnTo>
                  <a:pt x="13393" y="5823"/>
                </a:lnTo>
                <a:lnTo>
                  <a:pt x="13405" y="5823"/>
                </a:lnTo>
                <a:lnTo>
                  <a:pt x="13415" y="5825"/>
                </a:lnTo>
                <a:close/>
                <a:moveTo>
                  <a:pt x="14481" y="6153"/>
                </a:moveTo>
                <a:lnTo>
                  <a:pt x="14478" y="6155"/>
                </a:lnTo>
                <a:lnTo>
                  <a:pt x="14477" y="6155"/>
                </a:lnTo>
                <a:lnTo>
                  <a:pt x="14476" y="6153"/>
                </a:lnTo>
                <a:lnTo>
                  <a:pt x="14473" y="6152"/>
                </a:lnTo>
                <a:lnTo>
                  <a:pt x="14477" y="6153"/>
                </a:lnTo>
                <a:lnTo>
                  <a:pt x="14481" y="6153"/>
                </a:lnTo>
                <a:close/>
                <a:moveTo>
                  <a:pt x="14575" y="6157"/>
                </a:moveTo>
                <a:lnTo>
                  <a:pt x="14616" y="6156"/>
                </a:lnTo>
                <a:lnTo>
                  <a:pt x="14629" y="6159"/>
                </a:lnTo>
                <a:lnTo>
                  <a:pt x="14635" y="6160"/>
                </a:lnTo>
                <a:lnTo>
                  <a:pt x="14634" y="6161"/>
                </a:lnTo>
                <a:lnTo>
                  <a:pt x="14629" y="6161"/>
                </a:lnTo>
                <a:lnTo>
                  <a:pt x="14607" y="6161"/>
                </a:lnTo>
                <a:lnTo>
                  <a:pt x="14579" y="6160"/>
                </a:lnTo>
                <a:lnTo>
                  <a:pt x="14552" y="6159"/>
                </a:lnTo>
                <a:lnTo>
                  <a:pt x="14537" y="6157"/>
                </a:lnTo>
                <a:lnTo>
                  <a:pt x="14542" y="6156"/>
                </a:lnTo>
                <a:lnTo>
                  <a:pt x="14575" y="6157"/>
                </a:lnTo>
                <a:close/>
                <a:moveTo>
                  <a:pt x="14496" y="6240"/>
                </a:moveTo>
                <a:lnTo>
                  <a:pt x="14496" y="6241"/>
                </a:lnTo>
                <a:lnTo>
                  <a:pt x="14495" y="6240"/>
                </a:lnTo>
                <a:lnTo>
                  <a:pt x="14496" y="6240"/>
                </a:lnTo>
                <a:lnTo>
                  <a:pt x="14496" y="6240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86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0B117205-C31D-0C4E-8FED-1B96BE9EE823}"/>
              </a:ext>
            </a:extLst>
          </p:cNvPr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444108" y="477014"/>
            <a:ext cx="6155882" cy="6119971"/>
          </a:xfrm>
          <a:custGeom>
            <a:avLst/>
            <a:gdLst>
              <a:gd name="T0" fmla="*/ 6057 w 13960"/>
              <a:gd name="T1" fmla="*/ 12691 h 13958"/>
              <a:gd name="T2" fmla="*/ 9009 w 13960"/>
              <a:gd name="T3" fmla="*/ 12096 h 13958"/>
              <a:gd name="T4" fmla="*/ 12478 w 13960"/>
              <a:gd name="T5" fmla="*/ 7953 h 13958"/>
              <a:gd name="T6" fmla="*/ 8022 w 13960"/>
              <a:gd name="T7" fmla="*/ 2341 h 13958"/>
              <a:gd name="T8" fmla="*/ 4315 w 13960"/>
              <a:gd name="T9" fmla="*/ 3048 h 13958"/>
              <a:gd name="T10" fmla="*/ 12083 w 13960"/>
              <a:gd name="T11" fmla="*/ 10180 h 13958"/>
              <a:gd name="T12" fmla="*/ 2961 w 13960"/>
              <a:gd name="T13" fmla="*/ 10817 h 13958"/>
              <a:gd name="T14" fmla="*/ 2533 w 13960"/>
              <a:gd name="T15" fmla="*/ 4988 h 13958"/>
              <a:gd name="T16" fmla="*/ 6250 w 13960"/>
              <a:gd name="T17" fmla="*/ 2648 h 13958"/>
              <a:gd name="T18" fmla="*/ 7193 w 13960"/>
              <a:gd name="T19" fmla="*/ 12334 h 13958"/>
              <a:gd name="T20" fmla="*/ 4755 w 13960"/>
              <a:gd name="T21" fmla="*/ 12680 h 13958"/>
              <a:gd name="T22" fmla="*/ 8953 w 13960"/>
              <a:gd name="T23" fmla="*/ 11905 h 13958"/>
              <a:gd name="T24" fmla="*/ 5435 w 13960"/>
              <a:gd name="T25" fmla="*/ 12521 h 13958"/>
              <a:gd name="T26" fmla="*/ 8889 w 13960"/>
              <a:gd name="T27" fmla="*/ 11905 h 13958"/>
              <a:gd name="T28" fmla="*/ 7778 w 13960"/>
              <a:gd name="T29" fmla="*/ 11938 h 13958"/>
              <a:gd name="T30" fmla="*/ 7312 w 13960"/>
              <a:gd name="T31" fmla="*/ 11941 h 13958"/>
              <a:gd name="T32" fmla="*/ 7162 w 13960"/>
              <a:gd name="T33" fmla="*/ 12172 h 13958"/>
              <a:gd name="T34" fmla="*/ 7268 w 13960"/>
              <a:gd name="T35" fmla="*/ 12186 h 13958"/>
              <a:gd name="T36" fmla="*/ 9839 w 13960"/>
              <a:gd name="T37" fmla="*/ 11665 h 13958"/>
              <a:gd name="T38" fmla="*/ 8950 w 13960"/>
              <a:gd name="T39" fmla="*/ 11737 h 13958"/>
              <a:gd name="T40" fmla="*/ 9340 w 13960"/>
              <a:gd name="T41" fmla="*/ 11632 h 13958"/>
              <a:gd name="T42" fmla="*/ 8807 w 13960"/>
              <a:gd name="T43" fmla="*/ 11873 h 13958"/>
              <a:gd name="T44" fmla="*/ 10247 w 13960"/>
              <a:gd name="T45" fmla="*/ 11462 h 13958"/>
              <a:gd name="T46" fmla="*/ 8834 w 13960"/>
              <a:gd name="T47" fmla="*/ 11969 h 13958"/>
              <a:gd name="T48" fmla="*/ 9873 w 13960"/>
              <a:gd name="T49" fmla="*/ 11241 h 13958"/>
              <a:gd name="T50" fmla="*/ 5493 w 13960"/>
              <a:gd name="T51" fmla="*/ 12507 h 13958"/>
              <a:gd name="T52" fmla="*/ 7524 w 13960"/>
              <a:gd name="T53" fmla="*/ 12210 h 13958"/>
              <a:gd name="T54" fmla="*/ 8890 w 13960"/>
              <a:gd name="T55" fmla="*/ 11877 h 13958"/>
              <a:gd name="T56" fmla="*/ 9758 w 13960"/>
              <a:gd name="T57" fmla="*/ 11025 h 13958"/>
              <a:gd name="T58" fmla="*/ 5853 w 13960"/>
              <a:gd name="T59" fmla="*/ 12499 h 13958"/>
              <a:gd name="T60" fmla="*/ 7712 w 13960"/>
              <a:gd name="T61" fmla="*/ 12106 h 13958"/>
              <a:gd name="T62" fmla="*/ 9169 w 13960"/>
              <a:gd name="T63" fmla="*/ 11955 h 13958"/>
              <a:gd name="T64" fmla="*/ 10471 w 13960"/>
              <a:gd name="T65" fmla="*/ 11756 h 13958"/>
              <a:gd name="T66" fmla="*/ 3874 w 13960"/>
              <a:gd name="T67" fmla="*/ 3311 h 13958"/>
              <a:gd name="T68" fmla="*/ 4443 w 13960"/>
              <a:gd name="T69" fmla="*/ 11292 h 13958"/>
              <a:gd name="T70" fmla="*/ 4475 w 13960"/>
              <a:gd name="T71" fmla="*/ 12703 h 13958"/>
              <a:gd name="T72" fmla="*/ 3985 w 13960"/>
              <a:gd name="T73" fmla="*/ 12678 h 13958"/>
              <a:gd name="T74" fmla="*/ 2645 w 13960"/>
              <a:gd name="T75" fmla="*/ 5236 h 13958"/>
              <a:gd name="T76" fmla="*/ 4033 w 13960"/>
              <a:gd name="T77" fmla="*/ 11305 h 13958"/>
              <a:gd name="T78" fmla="*/ 4154 w 13960"/>
              <a:gd name="T79" fmla="*/ 12130 h 13958"/>
              <a:gd name="T80" fmla="*/ 3308 w 13960"/>
              <a:gd name="T81" fmla="*/ 7164 h 13958"/>
              <a:gd name="T82" fmla="*/ 3623 w 13960"/>
              <a:gd name="T83" fmla="*/ 11504 h 13958"/>
              <a:gd name="T84" fmla="*/ 2892 w 13960"/>
              <a:gd name="T85" fmla="*/ 5100 h 13958"/>
              <a:gd name="T86" fmla="*/ 2989 w 13960"/>
              <a:gd name="T87" fmla="*/ 8251 h 13958"/>
              <a:gd name="T88" fmla="*/ 2549 w 13960"/>
              <a:gd name="T89" fmla="*/ 8409 h 13958"/>
              <a:gd name="T90" fmla="*/ 3012 w 13960"/>
              <a:gd name="T91" fmla="*/ 10532 h 13958"/>
              <a:gd name="T92" fmla="*/ 3962 w 13960"/>
              <a:gd name="T93" fmla="*/ 12698 h 13958"/>
              <a:gd name="T94" fmla="*/ 5076 w 13960"/>
              <a:gd name="T95" fmla="*/ 12718 h 13958"/>
              <a:gd name="T96" fmla="*/ 5806 w 13960"/>
              <a:gd name="T97" fmla="*/ 12589 h 13958"/>
              <a:gd name="T98" fmla="*/ 6855 w 13960"/>
              <a:gd name="T99" fmla="*/ 12465 h 13958"/>
              <a:gd name="T100" fmla="*/ 8175 w 13960"/>
              <a:gd name="T101" fmla="*/ 12316 h 13958"/>
              <a:gd name="T102" fmla="*/ 9172 w 13960"/>
              <a:gd name="T103" fmla="*/ 12009 h 13958"/>
              <a:gd name="T104" fmla="*/ 10244 w 13960"/>
              <a:gd name="T105" fmla="*/ 11805 h 13958"/>
              <a:gd name="T106" fmla="*/ 11987 w 13960"/>
              <a:gd name="T107" fmla="*/ 10064 h 13958"/>
              <a:gd name="T108" fmla="*/ 11725 w 13960"/>
              <a:gd name="T109" fmla="*/ 9808 h 13958"/>
              <a:gd name="T110" fmla="*/ 11929 w 13960"/>
              <a:gd name="T111" fmla="*/ 7528 h 13958"/>
              <a:gd name="T112" fmla="*/ 12339 w 13960"/>
              <a:gd name="T113" fmla="*/ 7943 h 13958"/>
              <a:gd name="T114" fmla="*/ 11688 w 13960"/>
              <a:gd name="T115" fmla="*/ 4514 h 13958"/>
              <a:gd name="T116" fmla="*/ 11487 w 13960"/>
              <a:gd name="T117" fmla="*/ 9755 h 13958"/>
              <a:gd name="T118" fmla="*/ 6420 w 13960"/>
              <a:gd name="T119" fmla="*/ 2458 h 13958"/>
              <a:gd name="T120" fmla="*/ 5145 w 13960"/>
              <a:gd name="T121" fmla="*/ 2969 h 13958"/>
              <a:gd name="T122" fmla="*/ 4020 w 13960"/>
              <a:gd name="T123" fmla="*/ 3306 h 13958"/>
              <a:gd name="T124" fmla="*/ 2896 w 13960"/>
              <a:gd name="T125" fmla="*/ 4094 h 139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960" h="13958">
                <a:moveTo>
                  <a:pt x="2266" y="7051"/>
                </a:moveTo>
                <a:lnTo>
                  <a:pt x="2315" y="7103"/>
                </a:lnTo>
                <a:lnTo>
                  <a:pt x="2292" y="7057"/>
                </a:lnTo>
                <a:lnTo>
                  <a:pt x="2342" y="7061"/>
                </a:lnTo>
                <a:lnTo>
                  <a:pt x="2376" y="7037"/>
                </a:lnTo>
                <a:lnTo>
                  <a:pt x="2380" y="7064"/>
                </a:lnTo>
                <a:lnTo>
                  <a:pt x="2338" y="7108"/>
                </a:lnTo>
                <a:lnTo>
                  <a:pt x="2330" y="7165"/>
                </a:lnTo>
                <a:lnTo>
                  <a:pt x="2314" y="7321"/>
                </a:lnTo>
                <a:lnTo>
                  <a:pt x="2342" y="7336"/>
                </a:lnTo>
                <a:lnTo>
                  <a:pt x="2346" y="7384"/>
                </a:lnTo>
                <a:lnTo>
                  <a:pt x="2371" y="7384"/>
                </a:lnTo>
                <a:lnTo>
                  <a:pt x="2357" y="7342"/>
                </a:lnTo>
                <a:lnTo>
                  <a:pt x="2417" y="7348"/>
                </a:lnTo>
                <a:lnTo>
                  <a:pt x="2450" y="7312"/>
                </a:lnTo>
                <a:lnTo>
                  <a:pt x="2393" y="7295"/>
                </a:lnTo>
                <a:lnTo>
                  <a:pt x="2364" y="7269"/>
                </a:lnTo>
                <a:lnTo>
                  <a:pt x="2440" y="7253"/>
                </a:lnTo>
                <a:lnTo>
                  <a:pt x="2479" y="7228"/>
                </a:lnTo>
                <a:lnTo>
                  <a:pt x="2366" y="7232"/>
                </a:lnTo>
                <a:lnTo>
                  <a:pt x="2425" y="7223"/>
                </a:lnTo>
                <a:lnTo>
                  <a:pt x="2399" y="7153"/>
                </a:lnTo>
                <a:lnTo>
                  <a:pt x="2467" y="7101"/>
                </a:lnTo>
                <a:lnTo>
                  <a:pt x="2471" y="7034"/>
                </a:lnTo>
                <a:lnTo>
                  <a:pt x="2613" y="6999"/>
                </a:lnTo>
                <a:lnTo>
                  <a:pt x="2622" y="7047"/>
                </a:lnTo>
                <a:lnTo>
                  <a:pt x="2676" y="7024"/>
                </a:lnTo>
                <a:lnTo>
                  <a:pt x="2651" y="7094"/>
                </a:lnTo>
                <a:lnTo>
                  <a:pt x="2664" y="7171"/>
                </a:lnTo>
                <a:lnTo>
                  <a:pt x="2564" y="7191"/>
                </a:lnTo>
                <a:lnTo>
                  <a:pt x="2576" y="7242"/>
                </a:lnTo>
                <a:lnTo>
                  <a:pt x="2626" y="7206"/>
                </a:lnTo>
                <a:lnTo>
                  <a:pt x="2676" y="7266"/>
                </a:lnTo>
                <a:lnTo>
                  <a:pt x="2630" y="7267"/>
                </a:lnTo>
                <a:lnTo>
                  <a:pt x="2645" y="7284"/>
                </a:lnTo>
                <a:lnTo>
                  <a:pt x="2739" y="7241"/>
                </a:lnTo>
                <a:lnTo>
                  <a:pt x="2669" y="7308"/>
                </a:lnTo>
                <a:lnTo>
                  <a:pt x="2655" y="7327"/>
                </a:lnTo>
                <a:lnTo>
                  <a:pt x="2658" y="7354"/>
                </a:lnTo>
                <a:lnTo>
                  <a:pt x="2599" y="7345"/>
                </a:lnTo>
                <a:lnTo>
                  <a:pt x="2590" y="7335"/>
                </a:lnTo>
                <a:lnTo>
                  <a:pt x="2513" y="7313"/>
                </a:lnTo>
                <a:lnTo>
                  <a:pt x="2394" y="7386"/>
                </a:lnTo>
                <a:lnTo>
                  <a:pt x="2440" y="7461"/>
                </a:lnTo>
                <a:lnTo>
                  <a:pt x="2381" y="7545"/>
                </a:lnTo>
                <a:lnTo>
                  <a:pt x="2389" y="7653"/>
                </a:lnTo>
                <a:lnTo>
                  <a:pt x="2378" y="7748"/>
                </a:lnTo>
                <a:lnTo>
                  <a:pt x="2458" y="7867"/>
                </a:lnTo>
                <a:lnTo>
                  <a:pt x="2549" y="8008"/>
                </a:lnTo>
                <a:lnTo>
                  <a:pt x="2515" y="8163"/>
                </a:lnTo>
                <a:lnTo>
                  <a:pt x="2578" y="8292"/>
                </a:lnTo>
                <a:lnTo>
                  <a:pt x="2500" y="8354"/>
                </a:lnTo>
                <a:lnTo>
                  <a:pt x="2357" y="8349"/>
                </a:lnTo>
                <a:lnTo>
                  <a:pt x="2409" y="8373"/>
                </a:lnTo>
                <a:lnTo>
                  <a:pt x="2460" y="8386"/>
                </a:lnTo>
                <a:lnTo>
                  <a:pt x="2445" y="8463"/>
                </a:lnTo>
                <a:lnTo>
                  <a:pt x="2397" y="8482"/>
                </a:lnTo>
                <a:lnTo>
                  <a:pt x="2479" y="8875"/>
                </a:lnTo>
                <a:lnTo>
                  <a:pt x="2569" y="9301"/>
                </a:lnTo>
                <a:lnTo>
                  <a:pt x="2567" y="9447"/>
                </a:lnTo>
                <a:lnTo>
                  <a:pt x="2506" y="9528"/>
                </a:lnTo>
                <a:lnTo>
                  <a:pt x="2481" y="9567"/>
                </a:lnTo>
                <a:lnTo>
                  <a:pt x="2646" y="9571"/>
                </a:lnTo>
                <a:lnTo>
                  <a:pt x="2614" y="9635"/>
                </a:lnTo>
                <a:lnTo>
                  <a:pt x="2637" y="9746"/>
                </a:lnTo>
                <a:lnTo>
                  <a:pt x="2651" y="9926"/>
                </a:lnTo>
                <a:lnTo>
                  <a:pt x="2677" y="10093"/>
                </a:lnTo>
                <a:lnTo>
                  <a:pt x="2762" y="10208"/>
                </a:lnTo>
                <a:lnTo>
                  <a:pt x="2816" y="10319"/>
                </a:lnTo>
                <a:lnTo>
                  <a:pt x="2860" y="10493"/>
                </a:lnTo>
                <a:lnTo>
                  <a:pt x="2911" y="10677"/>
                </a:lnTo>
                <a:lnTo>
                  <a:pt x="2956" y="10735"/>
                </a:lnTo>
                <a:lnTo>
                  <a:pt x="2916" y="10796"/>
                </a:lnTo>
                <a:lnTo>
                  <a:pt x="2938" y="10887"/>
                </a:lnTo>
                <a:lnTo>
                  <a:pt x="2968" y="10954"/>
                </a:lnTo>
                <a:lnTo>
                  <a:pt x="2981" y="10896"/>
                </a:lnTo>
                <a:lnTo>
                  <a:pt x="3022" y="10875"/>
                </a:lnTo>
                <a:lnTo>
                  <a:pt x="3009" y="11137"/>
                </a:lnTo>
                <a:lnTo>
                  <a:pt x="3168" y="11250"/>
                </a:lnTo>
                <a:lnTo>
                  <a:pt x="3389" y="11493"/>
                </a:lnTo>
                <a:lnTo>
                  <a:pt x="3501" y="12015"/>
                </a:lnTo>
                <a:lnTo>
                  <a:pt x="3698" y="12017"/>
                </a:lnTo>
                <a:lnTo>
                  <a:pt x="3775" y="12075"/>
                </a:lnTo>
                <a:lnTo>
                  <a:pt x="3776" y="12115"/>
                </a:lnTo>
                <a:lnTo>
                  <a:pt x="3745" y="12178"/>
                </a:lnTo>
                <a:lnTo>
                  <a:pt x="3758" y="12275"/>
                </a:lnTo>
                <a:lnTo>
                  <a:pt x="3805" y="12257"/>
                </a:lnTo>
                <a:lnTo>
                  <a:pt x="3791" y="12396"/>
                </a:lnTo>
                <a:lnTo>
                  <a:pt x="3870" y="12530"/>
                </a:lnTo>
                <a:lnTo>
                  <a:pt x="3851" y="12569"/>
                </a:lnTo>
                <a:lnTo>
                  <a:pt x="3822" y="12597"/>
                </a:lnTo>
                <a:lnTo>
                  <a:pt x="3836" y="12629"/>
                </a:lnTo>
                <a:lnTo>
                  <a:pt x="3843" y="12659"/>
                </a:lnTo>
                <a:lnTo>
                  <a:pt x="3864" y="12710"/>
                </a:lnTo>
                <a:lnTo>
                  <a:pt x="3917" y="12664"/>
                </a:lnTo>
                <a:lnTo>
                  <a:pt x="3906" y="12721"/>
                </a:lnTo>
                <a:lnTo>
                  <a:pt x="3889" y="12785"/>
                </a:lnTo>
                <a:lnTo>
                  <a:pt x="3913" y="12819"/>
                </a:lnTo>
                <a:lnTo>
                  <a:pt x="3903" y="12853"/>
                </a:lnTo>
                <a:lnTo>
                  <a:pt x="3896" y="12889"/>
                </a:lnTo>
                <a:lnTo>
                  <a:pt x="3896" y="12918"/>
                </a:lnTo>
                <a:lnTo>
                  <a:pt x="3947" y="12885"/>
                </a:lnTo>
                <a:lnTo>
                  <a:pt x="3997" y="12878"/>
                </a:lnTo>
                <a:lnTo>
                  <a:pt x="3959" y="12911"/>
                </a:lnTo>
                <a:lnTo>
                  <a:pt x="4042" y="12877"/>
                </a:lnTo>
                <a:lnTo>
                  <a:pt x="4053" y="12904"/>
                </a:lnTo>
                <a:lnTo>
                  <a:pt x="4039" y="12899"/>
                </a:lnTo>
                <a:lnTo>
                  <a:pt x="3987" y="12934"/>
                </a:lnTo>
                <a:lnTo>
                  <a:pt x="3921" y="12936"/>
                </a:lnTo>
                <a:lnTo>
                  <a:pt x="3977" y="12978"/>
                </a:lnTo>
                <a:lnTo>
                  <a:pt x="4074" y="12964"/>
                </a:lnTo>
                <a:lnTo>
                  <a:pt x="4089" y="12984"/>
                </a:lnTo>
                <a:lnTo>
                  <a:pt x="4112" y="12966"/>
                </a:lnTo>
                <a:lnTo>
                  <a:pt x="4187" y="12942"/>
                </a:lnTo>
                <a:lnTo>
                  <a:pt x="4302" y="12934"/>
                </a:lnTo>
                <a:lnTo>
                  <a:pt x="4329" y="12922"/>
                </a:lnTo>
                <a:lnTo>
                  <a:pt x="4343" y="12913"/>
                </a:lnTo>
                <a:lnTo>
                  <a:pt x="4434" y="12903"/>
                </a:lnTo>
                <a:lnTo>
                  <a:pt x="4446" y="12938"/>
                </a:lnTo>
                <a:lnTo>
                  <a:pt x="4490" y="12995"/>
                </a:lnTo>
                <a:lnTo>
                  <a:pt x="4494" y="12920"/>
                </a:lnTo>
                <a:lnTo>
                  <a:pt x="4535" y="12868"/>
                </a:lnTo>
                <a:lnTo>
                  <a:pt x="4597" y="12917"/>
                </a:lnTo>
                <a:lnTo>
                  <a:pt x="4686" y="12848"/>
                </a:lnTo>
                <a:lnTo>
                  <a:pt x="4809" y="12833"/>
                </a:lnTo>
                <a:lnTo>
                  <a:pt x="4857" y="12838"/>
                </a:lnTo>
                <a:lnTo>
                  <a:pt x="4905" y="12844"/>
                </a:lnTo>
                <a:lnTo>
                  <a:pt x="4988" y="12826"/>
                </a:lnTo>
                <a:lnTo>
                  <a:pt x="4965" y="12910"/>
                </a:lnTo>
                <a:lnTo>
                  <a:pt x="5242" y="13040"/>
                </a:lnTo>
                <a:lnTo>
                  <a:pt x="5535" y="12987"/>
                </a:lnTo>
                <a:lnTo>
                  <a:pt x="5987" y="12903"/>
                </a:lnTo>
                <a:lnTo>
                  <a:pt x="6426" y="12824"/>
                </a:lnTo>
                <a:lnTo>
                  <a:pt x="6446" y="12740"/>
                </a:lnTo>
                <a:lnTo>
                  <a:pt x="6481" y="12692"/>
                </a:lnTo>
                <a:lnTo>
                  <a:pt x="6407" y="12690"/>
                </a:lnTo>
                <a:lnTo>
                  <a:pt x="6324" y="12727"/>
                </a:lnTo>
                <a:lnTo>
                  <a:pt x="6332" y="12672"/>
                </a:lnTo>
                <a:lnTo>
                  <a:pt x="6315" y="12644"/>
                </a:lnTo>
                <a:lnTo>
                  <a:pt x="6304" y="12676"/>
                </a:lnTo>
                <a:lnTo>
                  <a:pt x="6249" y="12684"/>
                </a:lnTo>
                <a:lnTo>
                  <a:pt x="6240" y="12719"/>
                </a:lnTo>
                <a:lnTo>
                  <a:pt x="6254" y="12740"/>
                </a:lnTo>
                <a:lnTo>
                  <a:pt x="6206" y="12713"/>
                </a:lnTo>
                <a:lnTo>
                  <a:pt x="6150" y="12699"/>
                </a:lnTo>
                <a:lnTo>
                  <a:pt x="6226" y="12780"/>
                </a:lnTo>
                <a:lnTo>
                  <a:pt x="6217" y="12813"/>
                </a:lnTo>
                <a:lnTo>
                  <a:pt x="6160" y="12775"/>
                </a:lnTo>
                <a:lnTo>
                  <a:pt x="6146" y="12794"/>
                </a:lnTo>
                <a:lnTo>
                  <a:pt x="6106" y="12783"/>
                </a:lnTo>
                <a:lnTo>
                  <a:pt x="6080" y="12820"/>
                </a:lnTo>
                <a:lnTo>
                  <a:pt x="6066" y="12810"/>
                </a:lnTo>
                <a:lnTo>
                  <a:pt x="6045" y="12807"/>
                </a:lnTo>
                <a:lnTo>
                  <a:pt x="6055" y="12752"/>
                </a:lnTo>
                <a:lnTo>
                  <a:pt x="6057" y="12691"/>
                </a:lnTo>
                <a:lnTo>
                  <a:pt x="6010" y="12724"/>
                </a:lnTo>
                <a:lnTo>
                  <a:pt x="6011" y="12787"/>
                </a:lnTo>
                <a:lnTo>
                  <a:pt x="5941" y="12807"/>
                </a:lnTo>
                <a:lnTo>
                  <a:pt x="5970" y="12829"/>
                </a:lnTo>
                <a:lnTo>
                  <a:pt x="5920" y="12862"/>
                </a:lnTo>
                <a:lnTo>
                  <a:pt x="5829" y="12876"/>
                </a:lnTo>
                <a:lnTo>
                  <a:pt x="5812" y="12869"/>
                </a:lnTo>
                <a:lnTo>
                  <a:pt x="5793" y="12882"/>
                </a:lnTo>
                <a:lnTo>
                  <a:pt x="5788" y="12875"/>
                </a:lnTo>
                <a:lnTo>
                  <a:pt x="5755" y="12892"/>
                </a:lnTo>
                <a:lnTo>
                  <a:pt x="5659" y="12910"/>
                </a:lnTo>
                <a:lnTo>
                  <a:pt x="5569" y="12891"/>
                </a:lnTo>
                <a:lnTo>
                  <a:pt x="5473" y="12915"/>
                </a:lnTo>
                <a:lnTo>
                  <a:pt x="5389" y="12903"/>
                </a:lnTo>
                <a:lnTo>
                  <a:pt x="5374" y="12914"/>
                </a:lnTo>
                <a:lnTo>
                  <a:pt x="5386" y="12948"/>
                </a:lnTo>
                <a:lnTo>
                  <a:pt x="5268" y="12938"/>
                </a:lnTo>
                <a:lnTo>
                  <a:pt x="5130" y="12964"/>
                </a:lnTo>
                <a:lnTo>
                  <a:pt x="5056" y="12836"/>
                </a:lnTo>
                <a:lnTo>
                  <a:pt x="5150" y="12791"/>
                </a:lnTo>
                <a:lnTo>
                  <a:pt x="5217" y="12759"/>
                </a:lnTo>
                <a:lnTo>
                  <a:pt x="5310" y="12774"/>
                </a:lnTo>
                <a:lnTo>
                  <a:pt x="5406" y="12731"/>
                </a:lnTo>
                <a:lnTo>
                  <a:pt x="5456" y="12746"/>
                </a:lnTo>
                <a:lnTo>
                  <a:pt x="5537" y="12687"/>
                </a:lnTo>
                <a:lnTo>
                  <a:pt x="5607" y="12680"/>
                </a:lnTo>
                <a:lnTo>
                  <a:pt x="5563" y="12704"/>
                </a:lnTo>
                <a:lnTo>
                  <a:pt x="5549" y="12740"/>
                </a:lnTo>
                <a:lnTo>
                  <a:pt x="5607" y="12721"/>
                </a:lnTo>
                <a:lnTo>
                  <a:pt x="5645" y="12682"/>
                </a:lnTo>
                <a:lnTo>
                  <a:pt x="5747" y="12661"/>
                </a:lnTo>
                <a:lnTo>
                  <a:pt x="5765" y="12689"/>
                </a:lnTo>
                <a:lnTo>
                  <a:pt x="5843" y="12661"/>
                </a:lnTo>
                <a:lnTo>
                  <a:pt x="5983" y="12617"/>
                </a:lnTo>
                <a:lnTo>
                  <a:pt x="6043" y="12616"/>
                </a:lnTo>
                <a:lnTo>
                  <a:pt x="6109" y="12616"/>
                </a:lnTo>
                <a:lnTo>
                  <a:pt x="6168" y="12612"/>
                </a:lnTo>
                <a:lnTo>
                  <a:pt x="6277" y="12566"/>
                </a:lnTo>
                <a:lnTo>
                  <a:pt x="6315" y="12587"/>
                </a:lnTo>
                <a:lnTo>
                  <a:pt x="6341" y="12563"/>
                </a:lnTo>
                <a:lnTo>
                  <a:pt x="6383" y="12551"/>
                </a:lnTo>
                <a:lnTo>
                  <a:pt x="6347" y="12580"/>
                </a:lnTo>
                <a:lnTo>
                  <a:pt x="6408" y="12606"/>
                </a:lnTo>
                <a:lnTo>
                  <a:pt x="6450" y="12598"/>
                </a:lnTo>
                <a:lnTo>
                  <a:pt x="6469" y="12586"/>
                </a:lnTo>
                <a:lnTo>
                  <a:pt x="6429" y="12588"/>
                </a:lnTo>
                <a:lnTo>
                  <a:pt x="6437" y="12545"/>
                </a:lnTo>
                <a:lnTo>
                  <a:pt x="6458" y="12550"/>
                </a:lnTo>
                <a:lnTo>
                  <a:pt x="6474" y="12556"/>
                </a:lnTo>
                <a:lnTo>
                  <a:pt x="6463" y="12522"/>
                </a:lnTo>
                <a:lnTo>
                  <a:pt x="6478" y="12526"/>
                </a:lnTo>
                <a:lnTo>
                  <a:pt x="6494" y="12523"/>
                </a:lnTo>
                <a:lnTo>
                  <a:pt x="6567" y="12519"/>
                </a:lnTo>
                <a:lnTo>
                  <a:pt x="6600" y="12522"/>
                </a:lnTo>
                <a:lnTo>
                  <a:pt x="6594" y="12537"/>
                </a:lnTo>
                <a:lnTo>
                  <a:pt x="6608" y="12551"/>
                </a:lnTo>
                <a:lnTo>
                  <a:pt x="6609" y="12564"/>
                </a:lnTo>
                <a:lnTo>
                  <a:pt x="6600" y="12606"/>
                </a:lnTo>
                <a:lnTo>
                  <a:pt x="6622" y="12597"/>
                </a:lnTo>
                <a:lnTo>
                  <a:pt x="6634" y="12591"/>
                </a:lnTo>
                <a:lnTo>
                  <a:pt x="6678" y="12583"/>
                </a:lnTo>
                <a:lnTo>
                  <a:pt x="6650" y="12568"/>
                </a:lnTo>
                <a:lnTo>
                  <a:pt x="6625" y="12519"/>
                </a:lnTo>
                <a:lnTo>
                  <a:pt x="6654" y="12507"/>
                </a:lnTo>
                <a:lnTo>
                  <a:pt x="6682" y="12530"/>
                </a:lnTo>
                <a:lnTo>
                  <a:pt x="6664" y="12554"/>
                </a:lnTo>
                <a:lnTo>
                  <a:pt x="6714" y="12554"/>
                </a:lnTo>
                <a:lnTo>
                  <a:pt x="6755" y="12513"/>
                </a:lnTo>
                <a:lnTo>
                  <a:pt x="6699" y="12503"/>
                </a:lnTo>
                <a:lnTo>
                  <a:pt x="6711" y="12486"/>
                </a:lnTo>
                <a:lnTo>
                  <a:pt x="6817" y="12480"/>
                </a:lnTo>
                <a:lnTo>
                  <a:pt x="6937" y="12460"/>
                </a:lnTo>
                <a:lnTo>
                  <a:pt x="6984" y="12484"/>
                </a:lnTo>
                <a:lnTo>
                  <a:pt x="7049" y="12458"/>
                </a:lnTo>
                <a:lnTo>
                  <a:pt x="7053" y="12438"/>
                </a:lnTo>
                <a:lnTo>
                  <a:pt x="7068" y="12470"/>
                </a:lnTo>
                <a:lnTo>
                  <a:pt x="7040" y="12503"/>
                </a:lnTo>
                <a:lnTo>
                  <a:pt x="7081" y="12499"/>
                </a:lnTo>
                <a:lnTo>
                  <a:pt x="7097" y="12467"/>
                </a:lnTo>
                <a:lnTo>
                  <a:pt x="7120" y="12480"/>
                </a:lnTo>
                <a:lnTo>
                  <a:pt x="7130" y="12443"/>
                </a:lnTo>
                <a:lnTo>
                  <a:pt x="7111" y="12419"/>
                </a:lnTo>
                <a:lnTo>
                  <a:pt x="7163" y="12429"/>
                </a:lnTo>
                <a:lnTo>
                  <a:pt x="7211" y="12414"/>
                </a:lnTo>
                <a:lnTo>
                  <a:pt x="7226" y="12447"/>
                </a:lnTo>
                <a:lnTo>
                  <a:pt x="7249" y="12430"/>
                </a:lnTo>
                <a:lnTo>
                  <a:pt x="7272" y="12407"/>
                </a:lnTo>
                <a:lnTo>
                  <a:pt x="7324" y="12396"/>
                </a:lnTo>
                <a:lnTo>
                  <a:pt x="7283" y="12434"/>
                </a:lnTo>
                <a:lnTo>
                  <a:pt x="7321" y="12434"/>
                </a:lnTo>
                <a:lnTo>
                  <a:pt x="7362" y="12412"/>
                </a:lnTo>
                <a:lnTo>
                  <a:pt x="7356" y="12381"/>
                </a:lnTo>
                <a:lnTo>
                  <a:pt x="7376" y="12384"/>
                </a:lnTo>
                <a:lnTo>
                  <a:pt x="7381" y="12372"/>
                </a:lnTo>
                <a:lnTo>
                  <a:pt x="7426" y="12376"/>
                </a:lnTo>
                <a:lnTo>
                  <a:pt x="7455" y="12351"/>
                </a:lnTo>
                <a:lnTo>
                  <a:pt x="7491" y="12337"/>
                </a:lnTo>
                <a:lnTo>
                  <a:pt x="7498" y="12322"/>
                </a:lnTo>
                <a:lnTo>
                  <a:pt x="7497" y="12346"/>
                </a:lnTo>
                <a:lnTo>
                  <a:pt x="7469" y="12379"/>
                </a:lnTo>
                <a:lnTo>
                  <a:pt x="7511" y="12363"/>
                </a:lnTo>
                <a:lnTo>
                  <a:pt x="7552" y="12381"/>
                </a:lnTo>
                <a:lnTo>
                  <a:pt x="7567" y="12390"/>
                </a:lnTo>
                <a:lnTo>
                  <a:pt x="7582" y="12363"/>
                </a:lnTo>
                <a:lnTo>
                  <a:pt x="7595" y="12353"/>
                </a:lnTo>
                <a:lnTo>
                  <a:pt x="7633" y="12355"/>
                </a:lnTo>
                <a:lnTo>
                  <a:pt x="7660" y="12334"/>
                </a:lnTo>
                <a:lnTo>
                  <a:pt x="7707" y="12326"/>
                </a:lnTo>
                <a:lnTo>
                  <a:pt x="7714" y="12320"/>
                </a:lnTo>
                <a:lnTo>
                  <a:pt x="7715" y="12304"/>
                </a:lnTo>
                <a:lnTo>
                  <a:pt x="7813" y="12328"/>
                </a:lnTo>
                <a:lnTo>
                  <a:pt x="7837" y="12342"/>
                </a:lnTo>
                <a:lnTo>
                  <a:pt x="7864" y="12314"/>
                </a:lnTo>
                <a:lnTo>
                  <a:pt x="7831" y="12293"/>
                </a:lnTo>
                <a:lnTo>
                  <a:pt x="7884" y="12292"/>
                </a:lnTo>
                <a:lnTo>
                  <a:pt x="7930" y="12275"/>
                </a:lnTo>
                <a:lnTo>
                  <a:pt x="7939" y="12275"/>
                </a:lnTo>
                <a:lnTo>
                  <a:pt x="7926" y="12281"/>
                </a:lnTo>
                <a:lnTo>
                  <a:pt x="7934" y="12293"/>
                </a:lnTo>
                <a:lnTo>
                  <a:pt x="7935" y="12300"/>
                </a:lnTo>
                <a:lnTo>
                  <a:pt x="7972" y="12293"/>
                </a:lnTo>
                <a:lnTo>
                  <a:pt x="8034" y="12252"/>
                </a:lnTo>
                <a:lnTo>
                  <a:pt x="8018" y="12288"/>
                </a:lnTo>
                <a:lnTo>
                  <a:pt x="8042" y="12270"/>
                </a:lnTo>
                <a:lnTo>
                  <a:pt x="8084" y="12251"/>
                </a:lnTo>
                <a:lnTo>
                  <a:pt x="8094" y="12274"/>
                </a:lnTo>
                <a:lnTo>
                  <a:pt x="8075" y="12337"/>
                </a:lnTo>
                <a:lnTo>
                  <a:pt x="8157" y="12330"/>
                </a:lnTo>
                <a:lnTo>
                  <a:pt x="8162" y="12356"/>
                </a:lnTo>
                <a:lnTo>
                  <a:pt x="8213" y="12308"/>
                </a:lnTo>
                <a:lnTo>
                  <a:pt x="8171" y="12280"/>
                </a:lnTo>
                <a:lnTo>
                  <a:pt x="8191" y="12246"/>
                </a:lnTo>
                <a:lnTo>
                  <a:pt x="8208" y="12264"/>
                </a:lnTo>
                <a:lnTo>
                  <a:pt x="8213" y="12256"/>
                </a:lnTo>
                <a:lnTo>
                  <a:pt x="8296" y="12247"/>
                </a:lnTo>
                <a:lnTo>
                  <a:pt x="8270" y="12211"/>
                </a:lnTo>
                <a:lnTo>
                  <a:pt x="8442" y="12194"/>
                </a:lnTo>
                <a:lnTo>
                  <a:pt x="8574" y="12163"/>
                </a:lnTo>
                <a:lnTo>
                  <a:pt x="8662" y="12187"/>
                </a:lnTo>
                <a:lnTo>
                  <a:pt x="8721" y="12157"/>
                </a:lnTo>
                <a:lnTo>
                  <a:pt x="8720" y="12173"/>
                </a:lnTo>
                <a:lnTo>
                  <a:pt x="8717" y="12206"/>
                </a:lnTo>
                <a:lnTo>
                  <a:pt x="8779" y="12167"/>
                </a:lnTo>
                <a:lnTo>
                  <a:pt x="8804" y="12181"/>
                </a:lnTo>
                <a:lnTo>
                  <a:pt x="8838" y="12131"/>
                </a:lnTo>
                <a:lnTo>
                  <a:pt x="8855" y="12168"/>
                </a:lnTo>
                <a:lnTo>
                  <a:pt x="8890" y="12162"/>
                </a:lnTo>
                <a:lnTo>
                  <a:pt x="8923" y="12140"/>
                </a:lnTo>
                <a:lnTo>
                  <a:pt x="8948" y="12176"/>
                </a:lnTo>
                <a:lnTo>
                  <a:pt x="8958" y="12135"/>
                </a:lnTo>
                <a:lnTo>
                  <a:pt x="9011" y="12146"/>
                </a:lnTo>
                <a:lnTo>
                  <a:pt x="9042" y="12111"/>
                </a:lnTo>
                <a:lnTo>
                  <a:pt x="9001" y="12117"/>
                </a:lnTo>
                <a:lnTo>
                  <a:pt x="8949" y="12090"/>
                </a:lnTo>
                <a:lnTo>
                  <a:pt x="9009" y="12096"/>
                </a:lnTo>
                <a:lnTo>
                  <a:pt x="9079" y="12073"/>
                </a:lnTo>
                <a:lnTo>
                  <a:pt x="9080" y="12120"/>
                </a:lnTo>
                <a:lnTo>
                  <a:pt x="9153" y="12120"/>
                </a:lnTo>
                <a:lnTo>
                  <a:pt x="9176" y="12073"/>
                </a:lnTo>
                <a:lnTo>
                  <a:pt x="9211" y="12045"/>
                </a:lnTo>
                <a:lnTo>
                  <a:pt x="9200" y="12056"/>
                </a:lnTo>
                <a:lnTo>
                  <a:pt x="9220" y="12070"/>
                </a:lnTo>
                <a:lnTo>
                  <a:pt x="9258" y="12084"/>
                </a:lnTo>
                <a:lnTo>
                  <a:pt x="9258" y="12115"/>
                </a:lnTo>
                <a:lnTo>
                  <a:pt x="9228" y="12169"/>
                </a:lnTo>
                <a:lnTo>
                  <a:pt x="9211" y="12185"/>
                </a:lnTo>
                <a:lnTo>
                  <a:pt x="9267" y="12154"/>
                </a:lnTo>
                <a:lnTo>
                  <a:pt x="9304" y="12146"/>
                </a:lnTo>
                <a:lnTo>
                  <a:pt x="9336" y="12150"/>
                </a:lnTo>
                <a:lnTo>
                  <a:pt x="9379" y="12125"/>
                </a:lnTo>
                <a:lnTo>
                  <a:pt x="9462" y="12129"/>
                </a:lnTo>
                <a:lnTo>
                  <a:pt x="9536" y="12055"/>
                </a:lnTo>
                <a:lnTo>
                  <a:pt x="9600" y="12075"/>
                </a:lnTo>
                <a:lnTo>
                  <a:pt x="9657" y="12064"/>
                </a:lnTo>
                <a:lnTo>
                  <a:pt x="9592" y="12053"/>
                </a:lnTo>
                <a:lnTo>
                  <a:pt x="9598" y="12033"/>
                </a:lnTo>
                <a:lnTo>
                  <a:pt x="9602" y="12011"/>
                </a:lnTo>
                <a:lnTo>
                  <a:pt x="9623" y="11992"/>
                </a:lnTo>
                <a:lnTo>
                  <a:pt x="9658" y="12029"/>
                </a:lnTo>
                <a:lnTo>
                  <a:pt x="9695" y="12003"/>
                </a:lnTo>
                <a:lnTo>
                  <a:pt x="9700" y="12050"/>
                </a:lnTo>
                <a:lnTo>
                  <a:pt x="9703" y="12028"/>
                </a:lnTo>
                <a:lnTo>
                  <a:pt x="9745" y="12000"/>
                </a:lnTo>
                <a:lnTo>
                  <a:pt x="9793" y="11983"/>
                </a:lnTo>
                <a:lnTo>
                  <a:pt x="9811" y="11989"/>
                </a:lnTo>
                <a:lnTo>
                  <a:pt x="9788" y="12028"/>
                </a:lnTo>
                <a:lnTo>
                  <a:pt x="9836" y="11980"/>
                </a:lnTo>
                <a:lnTo>
                  <a:pt x="9805" y="11959"/>
                </a:lnTo>
                <a:lnTo>
                  <a:pt x="9857" y="11938"/>
                </a:lnTo>
                <a:lnTo>
                  <a:pt x="9891" y="11955"/>
                </a:lnTo>
                <a:lnTo>
                  <a:pt x="9866" y="11963"/>
                </a:lnTo>
                <a:lnTo>
                  <a:pt x="9918" y="11996"/>
                </a:lnTo>
                <a:lnTo>
                  <a:pt x="9959" y="11936"/>
                </a:lnTo>
                <a:lnTo>
                  <a:pt x="10005" y="11922"/>
                </a:lnTo>
                <a:lnTo>
                  <a:pt x="9988" y="11969"/>
                </a:lnTo>
                <a:lnTo>
                  <a:pt x="10025" y="11973"/>
                </a:lnTo>
                <a:lnTo>
                  <a:pt x="10020" y="12024"/>
                </a:lnTo>
                <a:lnTo>
                  <a:pt x="10058" y="12052"/>
                </a:lnTo>
                <a:lnTo>
                  <a:pt x="10043" y="12001"/>
                </a:lnTo>
                <a:lnTo>
                  <a:pt x="10066" y="11969"/>
                </a:lnTo>
                <a:lnTo>
                  <a:pt x="10034" y="11964"/>
                </a:lnTo>
                <a:lnTo>
                  <a:pt x="10022" y="11950"/>
                </a:lnTo>
                <a:lnTo>
                  <a:pt x="10081" y="11922"/>
                </a:lnTo>
                <a:lnTo>
                  <a:pt x="10119" y="11907"/>
                </a:lnTo>
                <a:lnTo>
                  <a:pt x="10129" y="11953"/>
                </a:lnTo>
                <a:lnTo>
                  <a:pt x="10162" y="11944"/>
                </a:lnTo>
                <a:lnTo>
                  <a:pt x="10170" y="11920"/>
                </a:lnTo>
                <a:lnTo>
                  <a:pt x="10197" y="11906"/>
                </a:lnTo>
                <a:lnTo>
                  <a:pt x="10188" y="11883"/>
                </a:lnTo>
                <a:lnTo>
                  <a:pt x="10219" y="11879"/>
                </a:lnTo>
                <a:lnTo>
                  <a:pt x="10229" y="11898"/>
                </a:lnTo>
                <a:lnTo>
                  <a:pt x="10206" y="11917"/>
                </a:lnTo>
                <a:lnTo>
                  <a:pt x="10233" y="11933"/>
                </a:lnTo>
                <a:lnTo>
                  <a:pt x="10277" y="11947"/>
                </a:lnTo>
                <a:lnTo>
                  <a:pt x="10297" y="11934"/>
                </a:lnTo>
                <a:lnTo>
                  <a:pt x="10257" y="11912"/>
                </a:lnTo>
                <a:lnTo>
                  <a:pt x="10325" y="11920"/>
                </a:lnTo>
                <a:lnTo>
                  <a:pt x="10351" y="11889"/>
                </a:lnTo>
                <a:lnTo>
                  <a:pt x="10404" y="11877"/>
                </a:lnTo>
                <a:lnTo>
                  <a:pt x="10455" y="11851"/>
                </a:lnTo>
                <a:lnTo>
                  <a:pt x="10481" y="11882"/>
                </a:lnTo>
                <a:lnTo>
                  <a:pt x="10511" y="11902"/>
                </a:lnTo>
                <a:lnTo>
                  <a:pt x="10527" y="11884"/>
                </a:lnTo>
                <a:lnTo>
                  <a:pt x="10522" y="11856"/>
                </a:lnTo>
                <a:lnTo>
                  <a:pt x="10573" y="11819"/>
                </a:lnTo>
                <a:lnTo>
                  <a:pt x="10629" y="11781"/>
                </a:lnTo>
                <a:lnTo>
                  <a:pt x="10632" y="11796"/>
                </a:lnTo>
                <a:lnTo>
                  <a:pt x="10632" y="11798"/>
                </a:lnTo>
                <a:lnTo>
                  <a:pt x="10609" y="11810"/>
                </a:lnTo>
                <a:lnTo>
                  <a:pt x="10618" y="11823"/>
                </a:lnTo>
                <a:lnTo>
                  <a:pt x="10550" y="11851"/>
                </a:lnTo>
                <a:lnTo>
                  <a:pt x="10573" y="11860"/>
                </a:lnTo>
                <a:lnTo>
                  <a:pt x="10595" y="11864"/>
                </a:lnTo>
                <a:lnTo>
                  <a:pt x="10645" y="11847"/>
                </a:lnTo>
                <a:lnTo>
                  <a:pt x="10650" y="11870"/>
                </a:lnTo>
                <a:lnTo>
                  <a:pt x="10637" y="11874"/>
                </a:lnTo>
                <a:lnTo>
                  <a:pt x="10653" y="11879"/>
                </a:lnTo>
                <a:lnTo>
                  <a:pt x="10653" y="11879"/>
                </a:lnTo>
                <a:lnTo>
                  <a:pt x="10682" y="11991"/>
                </a:lnTo>
                <a:lnTo>
                  <a:pt x="11287" y="11983"/>
                </a:lnTo>
                <a:lnTo>
                  <a:pt x="10878" y="13507"/>
                </a:lnTo>
                <a:lnTo>
                  <a:pt x="11342" y="13507"/>
                </a:lnTo>
                <a:lnTo>
                  <a:pt x="12159" y="11999"/>
                </a:lnTo>
                <a:lnTo>
                  <a:pt x="12159" y="11995"/>
                </a:lnTo>
                <a:lnTo>
                  <a:pt x="12157" y="11983"/>
                </a:lnTo>
                <a:lnTo>
                  <a:pt x="12824" y="11975"/>
                </a:lnTo>
                <a:lnTo>
                  <a:pt x="12293" y="13958"/>
                </a:lnTo>
                <a:lnTo>
                  <a:pt x="12895" y="13958"/>
                </a:lnTo>
                <a:lnTo>
                  <a:pt x="13960" y="11995"/>
                </a:lnTo>
                <a:lnTo>
                  <a:pt x="13805" y="10896"/>
                </a:lnTo>
                <a:lnTo>
                  <a:pt x="13612" y="9798"/>
                </a:lnTo>
                <a:lnTo>
                  <a:pt x="13177" y="9853"/>
                </a:lnTo>
                <a:lnTo>
                  <a:pt x="12442" y="9953"/>
                </a:lnTo>
                <a:lnTo>
                  <a:pt x="12401" y="9915"/>
                </a:lnTo>
                <a:lnTo>
                  <a:pt x="12409" y="9872"/>
                </a:lnTo>
                <a:lnTo>
                  <a:pt x="12372" y="9860"/>
                </a:lnTo>
                <a:lnTo>
                  <a:pt x="12336" y="9820"/>
                </a:lnTo>
                <a:lnTo>
                  <a:pt x="12403" y="9785"/>
                </a:lnTo>
                <a:lnTo>
                  <a:pt x="12363" y="9718"/>
                </a:lnTo>
                <a:lnTo>
                  <a:pt x="12224" y="9760"/>
                </a:lnTo>
                <a:lnTo>
                  <a:pt x="12223" y="9807"/>
                </a:lnTo>
                <a:lnTo>
                  <a:pt x="12284" y="9818"/>
                </a:lnTo>
                <a:lnTo>
                  <a:pt x="12303" y="9846"/>
                </a:lnTo>
                <a:lnTo>
                  <a:pt x="12260" y="9865"/>
                </a:lnTo>
                <a:lnTo>
                  <a:pt x="12269" y="9887"/>
                </a:lnTo>
                <a:lnTo>
                  <a:pt x="12215" y="9911"/>
                </a:lnTo>
                <a:lnTo>
                  <a:pt x="12219" y="9962"/>
                </a:lnTo>
                <a:lnTo>
                  <a:pt x="12222" y="9979"/>
                </a:lnTo>
                <a:lnTo>
                  <a:pt x="12212" y="9968"/>
                </a:lnTo>
                <a:lnTo>
                  <a:pt x="12186" y="9921"/>
                </a:lnTo>
                <a:lnTo>
                  <a:pt x="12170" y="9882"/>
                </a:lnTo>
                <a:lnTo>
                  <a:pt x="12093" y="9891"/>
                </a:lnTo>
                <a:lnTo>
                  <a:pt x="12059" y="9879"/>
                </a:lnTo>
                <a:lnTo>
                  <a:pt x="11992" y="9918"/>
                </a:lnTo>
                <a:lnTo>
                  <a:pt x="11952" y="9887"/>
                </a:lnTo>
                <a:lnTo>
                  <a:pt x="11914" y="9898"/>
                </a:lnTo>
                <a:lnTo>
                  <a:pt x="11924" y="9943"/>
                </a:lnTo>
                <a:lnTo>
                  <a:pt x="11888" y="9912"/>
                </a:lnTo>
                <a:lnTo>
                  <a:pt x="11865" y="9887"/>
                </a:lnTo>
                <a:lnTo>
                  <a:pt x="11846" y="9905"/>
                </a:lnTo>
                <a:lnTo>
                  <a:pt x="11813" y="9956"/>
                </a:lnTo>
                <a:lnTo>
                  <a:pt x="11747" y="9962"/>
                </a:lnTo>
                <a:lnTo>
                  <a:pt x="11801" y="9911"/>
                </a:lnTo>
                <a:lnTo>
                  <a:pt x="11900" y="9802"/>
                </a:lnTo>
                <a:lnTo>
                  <a:pt x="11921" y="9775"/>
                </a:lnTo>
                <a:lnTo>
                  <a:pt x="11843" y="9738"/>
                </a:lnTo>
                <a:lnTo>
                  <a:pt x="11883" y="9658"/>
                </a:lnTo>
                <a:lnTo>
                  <a:pt x="11939" y="9640"/>
                </a:lnTo>
                <a:lnTo>
                  <a:pt x="11991" y="9602"/>
                </a:lnTo>
                <a:lnTo>
                  <a:pt x="12083" y="9637"/>
                </a:lnTo>
                <a:lnTo>
                  <a:pt x="12212" y="9570"/>
                </a:lnTo>
                <a:lnTo>
                  <a:pt x="12218" y="9611"/>
                </a:lnTo>
                <a:lnTo>
                  <a:pt x="12212" y="9671"/>
                </a:lnTo>
                <a:lnTo>
                  <a:pt x="12252" y="9671"/>
                </a:lnTo>
                <a:lnTo>
                  <a:pt x="12250" y="9643"/>
                </a:lnTo>
                <a:lnTo>
                  <a:pt x="12299" y="9640"/>
                </a:lnTo>
                <a:lnTo>
                  <a:pt x="12395" y="9683"/>
                </a:lnTo>
                <a:lnTo>
                  <a:pt x="12403" y="9536"/>
                </a:lnTo>
                <a:lnTo>
                  <a:pt x="12590" y="9539"/>
                </a:lnTo>
                <a:lnTo>
                  <a:pt x="12651" y="9424"/>
                </a:lnTo>
                <a:lnTo>
                  <a:pt x="12748" y="9388"/>
                </a:lnTo>
                <a:lnTo>
                  <a:pt x="12744" y="9225"/>
                </a:lnTo>
                <a:lnTo>
                  <a:pt x="12673" y="9119"/>
                </a:lnTo>
                <a:lnTo>
                  <a:pt x="12678" y="8990"/>
                </a:lnTo>
                <a:lnTo>
                  <a:pt x="12595" y="8869"/>
                </a:lnTo>
                <a:lnTo>
                  <a:pt x="12657" y="8662"/>
                </a:lnTo>
                <a:lnTo>
                  <a:pt x="12597" y="8343"/>
                </a:lnTo>
                <a:lnTo>
                  <a:pt x="12499" y="8300"/>
                </a:lnTo>
                <a:lnTo>
                  <a:pt x="12478" y="8120"/>
                </a:lnTo>
                <a:lnTo>
                  <a:pt x="12478" y="7953"/>
                </a:lnTo>
                <a:lnTo>
                  <a:pt x="12392" y="7866"/>
                </a:lnTo>
                <a:lnTo>
                  <a:pt x="12483" y="7850"/>
                </a:lnTo>
                <a:lnTo>
                  <a:pt x="12475" y="7746"/>
                </a:lnTo>
                <a:lnTo>
                  <a:pt x="12406" y="7748"/>
                </a:lnTo>
                <a:lnTo>
                  <a:pt x="12466" y="7682"/>
                </a:lnTo>
                <a:lnTo>
                  <a:pt x="12543" y="7508"/>
                </a:lnTo>
                <a:lnTo>
                  <a:pt x="12539" y="7388"/>
                </a:lnTo>
                <a:lnTo>
                  <a:pt x="12502" y="7407"/>
                </a:lnTo>
                <a:lnTo>
                  <a:pt x="12461" y="7414"/>
                </a:lnTo>
                <a:lnTo>
                  <a:pt x="12448" y="7463"/>
                </a:lnTo>
                <a:lnTo>
                  <a:pt x="12255" y="7448"/>
                </a:lnTo>
                <a:lnTo>
                  <a:pt x="12195" y="7400"/>
                </a:lnTo>
                <a:lnTo>
                  <a:pt x="12181" y="7348"/>
                </a:lnTo>
                <a:lnTo>
                  <a:pt x="12192" y="7266"/>
                </a:lnTo>
                <a:lnTo>
                  <a:pt x="12094" y="7205"/>
                </a:lnTo>
                <a:lnTo>
                  <a:pt x="12075" y="7084"/>
                </a:lnTo>
                <a:lnTo>
                  <a:pt x="12127" y="6910"/>
                </a:lnTo>
                <a:lnTo>
                  <a:pt x="12064" y="6866"/>
                </a:lnTo>
                <a:lnTo>
                  <a:pt x="12126" y="6810"/>
                </a:lnTo>
                <a:lnTo>
                  <a:pt x="12096" y="6745"/>
                </a:lnTo>
                <a:lnTo>
                  <a:pt x="12099" y="6689"/>
                </a:lnTo>
                <a:lnTo>
                  <a:pt x="12116" y="6632"/>
                </a:lnTo>
                <a:lnTo>
                  <a:pt x="12220" y="6617"/>
                </a:lnTo>
                <a:lnTo>
                  <a:pt x="12245" y="6467"/>
                </a:lnTo>
                <a:lnTo>
                  <a:pt x="12204" y="6334"/>
                </a:lnTo>
                <a:lnTo>
                  <a:pt x="12171" y="6318"/>
                </a:lnTo>
                <a:lnTo>
                  <a:pt x="12248" y="6310"/>
                </a:lnTo>
                <a:lnTo>
                  <a:pt x="12219" y="6253"/>
                </a:lnTo>
                <a:lnTo>
                  <a:pt x="12209" y="6212"/>
                </a:lnTo>
                <a:lnTo>
                  <a:pt x="12301" y="6173"/>
                </a:lnTo>
                <a:lnTo>
                  <a:pt x="12417" y="6170"/>
                </a:lnTo>
                <a:lnTo>
                  <a:pt x="12171" y="6120"/>
                </a:lnTo>
                <a:lnTo>
                  <a:pt x="12138" y="6017"/>
                </a:lnTo>
                <a:lnTo>
                  <a:pt x="12130" y="5819"/>
                </a:lnTo>
                <a:lnTo>
                  <a:pt x="12074" y="5549"/>
                </a:lnTo>
                <a:lnTo>
                  <a:pt x="12015" y="5488"/>
                </a:lnTo>
                <a:lnTo>
                  <a:pt x="11973" y="5427"/>
                </a:lnTo>
                <a:lnTo>
                  <a:pt x="11992" y="5310"/>
                </a:lnTo>
                <a:lnTo>
                  <a:pt x="12004" y="5189"/>
                </a:lnTo>
                <a:lnTo>
                  <a:pt x="11906" y="5142"/>
                </a:lnTo>
                <a:lnTo>
                  <a:pt x="11959" y="5074"/>
                </a:lnTo>
                <a:lnTo>
                  <a:pt x="12201" y="5050"/>
                </a:lnTo>
                <a:lnTo>
                  <a:pt x="12156" y="4957"/>
                </a:lnTo>
                <a:lnTo>
                  <a:pt x="12051" y="4968"/>
                </a:lnTo>
                <a:lnTo>
                  <a:pt x="11970" y="5012"/>
                </a:lnTo>
                <a:lnTo>
                  <a:pt x="11942" y="4958"/>
                </a:lnTo>
                <a:lnTo>
                  <a:pt x="11869" y="4967"/>
                </a:lnTo>
                <a:lnTo>
                  <a:pt x="11931" y="4837"/>
                </a:lnTo>
                <a:lnTo>
                  <a:pt x="11889" y="4685"/>
                </a:lnTo>
                <a:lnTo>
                  <a:pt x="11730" y="4589"/>
                </a:lnTo>
                <a:lnTo>
                  <a:pt x="11739" y="4422"/>
                </a:lnTo>
                <a:lnTo>
                  <a:pt x="11656" y="4399"/>
                </a:lnTo>
                <a:lnTo>
                  <a:pt x="11602" y="4323"/>
                </a:lnTo>
                <a:lnTo>
                  <a:pt x="11702" y="4299"/>
                </a:lnTo>
                <a:lnTo>
                  <a:pt x="11705" y="4207"/>
                </a:lnTo>
                <a:lnTo>
                  <a:pt x="11647" y="4221"/>
                </a:lnTo>
                <a:lnTo>
                  <a:pt x="11682" y="4187"/>
                </a:lnTo>
                <a:lnTo>
                  <a:pt x="11705" y="4063"/>
                </a:lnTo>
                <a:lnTo>
                  <a:pt x="11646" y="3948"/>
                </a:lnTo>
                <a:lnTo>
                  <a:pt x="11598" y="3894"/>
                </a:lnTo>
                <a:lnTo>
                  <a:pt x="11588" y="3810"/>
                </a:lnTo>
                <a:lnTo>
                  <a:pt x="11560" y="3531"/>
                </a:lnTo>
                <a:lnTo>
                  <a:pt x="11486" y="3274"/>
                </a:lnTo>
                <a:lnTo>
                  <a:pt x="11437" y="3319"/>
                </a:lnTo>
                <a:lnTo>
                  <a:pt x="11488" y="3367"/>
                </a:lnTo>
                <a:lnTo>
                  <a:pt x="11521" y="3543"/>
                </a:lnTo>
                <a:lnTo>
                  <a:pt x="11534" y="3727"/>
                </a:lnTo>
                <a:lnTo>
                  <a:pt x="11560" y="3920"/>
                </a:lnTo>
                <a:lnTo>
                  <a:pt x="11414" y="3945"/>
                </a:lnTo>
                <a:lnTo>
                  <a:pt x="11411" y="3802"/>
                </a:lnTo>
                <a:lnTo>
                  <a:pt x="11325" y="3680"/>
                </a:lnTo>
                <a:lnTo>
                  <a:pt x="11244" y="3545"/>
                </a:lnTo>
                <a:lnTo>
                  <a:pt x="11172" y="3427"/>
                </a:lnTo>
                <a:lnTo>
                  <a:pt x="11193" y="3303"/>
                </a:lnTo>
                <a:lnTo>
                  <a:pt x="11269" y="3334"/>
                </a:lnTo>
                <a:lnTo>
                  <a:pt x="11279" y="3347"/>
                </a:lnTo>
                <a:lnTo>
                  <a:pt x="11314" y="3335"/>
                </a:lnTo>
                <a:lnTo>
                  <a:pt x="11337" y="3295"/>
                </a:lnTo>
                <a:lnTo>
                  <a:pt x="11200" y="3250"/>
                </a:lnTo>
                <a:lnTo>
                  <a:pt x="11165" y="3190"/>
                </a:lnTo>
                <a:lnTo>
                  <a:pt x="11256" y="3129"/>
                </a:lnTo>
                <a:lnTo>
                  <a:pt x="11205" y="3023"/>
                </a:lnTo>
                <a:lnTo>
                  <a:pt x="11157" y="3056"/>
                </a:lnTo>
                <a:lnTo>
                  <a:pt x="11036" y="3101"/>
                </a:lnTo>
                <a:lnTo>
                  <a:pt x="10980" y="3180"/>
                </a:lnTo>
                <a:lnTo>
                  <a:pt x="10966" y="3203"/>
                </a:lnTo>
                <a:lnTo>
                  <a:pt x="10952" y="3208"/>
                </a:lnTo>
                <a:lnTo>
                  <a:pt x="10929" y="3199"/>
                </a:lnTo>
                <a:lnTo>
                  <a:pt x="10893" y="3185"/>
                </a:lnTo>
                <a:lnTo>
                  <a:pt x="11003" y="3050"/>
                </a:lnTo>
                <a:lnTo>
                  <a:pt x="11195" y="2984"/>
                </a:lnTo>
                <a:lnTo>
                  <a:pt x="11079" y="2978"/>
                </a:lnTo>
                <a:lnTo>
                  <a:pt x="11031" y="2969"/>
                </a:lnTo>
                <a:lnTo>
                  <a:pt x="10976" y="2880"/>
                </a:lnTo>
                <a:lnTo>
                  <a:pt x="10928" y="2834"/>
                </a:lnTo>
                <a:lnTo>
                  <a:pt x="10921" y="2789"/>
                </a:lnTo>
                <a:lnTo>
                  <a:pt x="10869" y="2732"/>
                </a:lnTo>
                <a:lnTo>
                  <a:pt x="10888" y="2349"/>
                </a:lnTo>
                <a:lnTo>
                  <a:pt x="10705" y="2083"/>
                </a:lnTo>
                <a:lnTo>
                  <a:pt x="11022" y="2006"/>
                </a:lnTo>
                <a:lnTo>
                  <a:pt x="11298" y="1977"/>
                </a:lnTo>
                <a:lnTo>
                  <a:pt x="11016" y="1961"/>
                </a:lnTo>
                <a:lnTo>
                  <a:pt x="10722" y="2027"/>
                </a:lnTo>
                <a:lnTo>
                  <a:pt x="10487" y="2065"/>
                </a:lnTo>
                <a:lnTo>
                  <a:pt x="10261" y="2136"/>
                </a:lnTo>
                <a:lnTo>
                  <a:pt x="10150" y="2199"/>
                </a:lnTo>
                <a:lnTo>
                  <a:pt x="10141" y="2168"/>
                </a:lnTo>
                <a:lnTo>
                  <a:pt x="10127" y="2144"/>
                </a:lnTo>
                <a:lnTo>
                  <a:pt x="9970" y="2025"/>
                </a:lnTo>
                <a:lnTo>
                  <a:pt x="9946" y="2037"/>
                </a:lnTo>
                <a:lnTo>
                  <a:pt x="9942" y="2104"/>
                </a:lnTo>
                <a:lnTo>
                  <a:pt x="9864" y="2182"/>
                </a:lnTo>
                <a:lnTo>
                  <a:pt x="9718" y="2227"/>
                </a:lnTo>
                <a:lnTo>
                  <a:pt x="9635" y="1944"/>
                </a:lnTo>
                <a:lnTo>
                  <a:pt x="9617" y="1683"/>
                </a:lnTo>
                <a:lnTo>
                  <a:pt x="9710" y="1534"/>
                </a:lnTo>
                <a:lnTo>
                  <a:pt x="9819" y="1501"/>
                </a:lnTo>
                <a:lnTo>
                  <a:pt x="9358" y="1580"/>
                </a:lnTo>
                <a:lnTo>
                  <a:pt x="8921" y="1680"/>
                </a:lnTo>
                <a:lnTo>
                  <a:pt x="8746" y="1698"/>
                </a:lnTo>
                <a:lnTo>
                  <a:pt x="8572" y="1739"/>
                </a:lnTo>
                <a:lnTo>
                  <a:pt x="8559" y="1777"/>
                </a:lnTo>
                <a:lnTo>
                  <a:pt x="8529" y="1808"/>
                </a:lnTo>
                <a:lnTo>
                  <a:pt x="8644" y="1786"/>
                </a:lnTo>
                <a:lnTo>
                  <a:pt x="8695" y="1762"/>
                </a:lnTo>
                <a:lnTo>
                  <a:pt x="8740" y="1762"/>
                </a:lnTo>
                <a:lnTo>
                  <a:pt x="8707" y="1733"/>
                </a:lnTo>
                <a:lnTo>
                  <a:pt x="8777" y="1743"/>
                </a:lnTo>
                <a:lnTo>
                  <a:pt x="8807" y="1726"/>
                </a:lnTo>
                <a:lnTo>
                  <a:pt x="8819" y="1720"/>
                </a:lnTo>
                <a:lnTo>
                  <a:pt x="8819" y="1736"/>
                </a:lnTo>
                <a:lnTo>
                  <a:pt x="8846" y="1716"/>
                </a:lnTo>
                <a:lnTo>
                  <a:pt x="8851" y="1720"/>
                </a:lnTo>
                <a:lnTo>
                  <a:pt x="8867" y="1738"/>
                </a:lnTo>
                <a:lnTo>
                  <a:pt x="8926" y="1712"/>
                </a:lnTo>
                <a:lnTo>
                  <a:pt x="8907" y="1716"/>
                </a:lnTo>
                <a:lnTo>
                  <a:pt x="8916" y="1707"/>
                </a:lnTo>
                <a:lnTo>
                  <a:pt x="9075" y="1669"/>
                </a:lnTo>
                <a:lnTo>
                  <a:pt x="9303" y="1642"/>
                </a:lnTo>
                <a:lnTo>
                  <a:pt x="9531" y="1641"/>
                </a:lnTo>
                <a:lnTo>
                  <a:pt x="9607" y="1931"/>
                </a:lnTo>
                <a:lnTo>
                  <a:pt x="9643" y="2135"/>
                </a:lnTo>
                <a:lnTo>
                  <a:pt x="9546" y="2244"/>
                </a:lnTo>
                <a:lnTo>
                  <a:pt x="9316" y="2243"/>
                </a:lnTo>
                <a:lnTo>
                  <a:pt x="9164" y="2183"/>
                </a:lnTo>
                <a:lnTo>
                  <a:pt x="8689" y="2263"/>
                </a:lnTo>
                <a:lnTo>
                  <a:pt x="8312" y="2321"/>
                </a:lnTo>
                <a:lnTo>
                  <a:pt x="8306" y="2341"/>
                </a:lnTo>
                <a:lnTo>
                  <a:pt x="8270" y="2314"/>
                </a:lnTo>
                <a:lnTo>
                  <a:pt x="8237" y="2331"/>
                </a:lnTo>
                <a:lnTo>
                  <a:pt x="8269" y="2333"/>
                </a:lnTo>
                <a:lnTo>
                  <a:pt x="8213" y="2369"/>
                </a:lnTo>
                <a:lnTo>
                  <a:pt x="8144" y="2368"/>
                </a:lnTo>
                <a:lnTo>
                  <a:pt x="8085" y="2386"/>
                </a:lnTo>
                <a:lnTo>
                  <a:pt x="8022" y="2341"/>
                </a:lnTo>
                <a:lnTo>
                  <a:pt x="8024" y="2328"/>
                </a:lnTo>
                <a:lnTo>
                  <a:pt x="8038" y="2349"/>
                </a:lnTo>
                <a:lnTo>
                  <a:pt x="7972" y="2420"/>
                </a:lnTo>
                <a:lnTo>
                  <a:pt x="7846" y="2425"/>
                </a:lnTo>
                <a:lnTo>
                  <a:pt x="7367" y="2463"/>
                </a:lnTo>
                <a:lnTo>
                  <a:pt x="6944" y="2462"/>
                </a:lnTo>
                <a:lnTo>
                  <a:pt x="6947" y="2410"/>
                </a:lnTo>
                <a:lnTo>
                  <a:pt x="6972" y="2369"/>
                </a:lnTo>
                <a:lnTo>
                  <a:pt x="6937" y="2387"/>
                </a:lnTo>
                <a:lnTo>
                  <a:pt x="6906" y="2377"/>
                </a:lnTo>
                <a:lnTo>
                  <a:pt x="6905" y="2395"/>
                </a:lnTo>
                <a:lnTo>
                  <a:pt x="6904" y="2417"/>
                </a:lnTo>
                <a:lnTo>
                  <a:pt x="6892" y="2416"/>
                </a:lnTo>
                <a:lnTo>
                  <a:pt x="6872" y="2402"/>
                </a:lnTo>
                <a:lnTo>
                  <a:pt x="6812" y="2440"/>
                </a:lnTo>
                <a:lnTo>
                  <a:pt x="6781" y="2490"/>
                </a:lnTo>
                <a:lnTo>
                  <a:pt x="6893" y="2488"/>
                </a:lnTo>
                <a:lnTo>
                  <a:pt x="6930" y="2559"/>
                </a:lnTo>
                <a:lnTo>
                  <a:pt x="6886" y="2510"/>
                </a:lnTo>
                <a:lnTo>
                  <a:pt x="6800" y="2549"/>
                </a:lnTo>
                <a:lnTo>
                  <a:pt x="6746" y="2459"/>
                </a:lnTo>
                <a:lnTo>
                  <a:pt x="6811" y="2406"/>
                </a:lnTo>
                <a:lnTo>
                  <a:pt x="6804" y="2363"/>
                </a:lnTo>
                <a:lnTo>
                  <a:pt x="6781" y="2335"/>
                </a:lnTo>
                <a:lnTo>
                  <a:pt x="6752" y="2354"/>
                </a:lnTo>
                <a:lnTo>
                  <a:pt x="6783" y="2391"/>
                </a:lnTo>
                <a:lnTo>
                  <a:pt x="6705" y="2440"/>
                </a:lnTo>
                <a:lnTo>
                  <a:pt x="6672" y="2415"/>
                </a:lnTo>
                <a:lnTo>
                  <a:pt x="6676" y="2406"/>
                </a:lnTo>
                <a:lnTo>
                  <a:pt x="6691" y="2400"/>
                </a:lnTo>
                <a:lnTo>
                  <a:pt x="6700" y="2405"/>
                </a:lnTo>
                <a:lnTo>
                  <a:pt x="6725" y="2423"/>
                </a:lnTo>
                <a:lnTo>
                  <a:pt x="6713" y="2392"/>
                </a:lnTo>
                <a:lnTo>
                  <a:pt x="6706" y="2353"/>
                </a:lnTo>
                <a:lnTo>
                  <a:pt x="6716" y="2335"/>
                </a:lnTo>
                <a:lnTo>
                  <a:pt x="6735" y="2316"/>
                </a:lnTo>
                <a:lnTo>
                  <a:pt x="6714" y="2312"/>
                </a:lnTo>
                <a:lnTo>
                  <a:pt x="6672" y="2336"/>
                </a:lnTo>
                <a:lnTo>
                  <a:pt x="6662" y="2319"/>
                </a:lnTo>
                <a:lnTo>
                  <a:pt x="6655" y="2347"/>
                </a:lnTo>
                <a:lnTo>
                  <a:pt x="6672" y="2356"/>
                </a:lnTo>
                <a:lnTo>
                  <a:pt x="6632" y="2369"/>
                </a:lnTo>
                <a:lnTo>
                  <a:pt x="6618" y="2368"/>
                </a:lnTo>
                <a:lnTo>
                  <a:pt x="6637" y="2331"/>
                </a:lnTo>
                <a:lnTo>
                  <a:pt x="6594" y="2375"/>
                </a:lnTo>
                <a:lnTo>
                  <a:pt x="6672" y="2388"/>
                </a:lnTo>
                <a:lnTo>
                  <a:pt x="6617" y="2398"/>
                </a:lnTo>
                <a:lnTo>
                  <a:pt x="6561" y="2395"/>
                </a:lnTo>
                <a:lnTo>
                  <a:pt x="6547" y="2415"/>
                </a:lnTo>
                <a:lnTo>
                  <a:pt x="6576" y="2416"/>
                </a:lnTo>
                <a:lnTo>
                  <a:pt x="6571" y="2434"/>
                </a:lnTo>
                <a:lnTo>
                  <a:pt x="6529" y="2433"/>
                </a:lnTo>
                <a:lnTo>
                  <a:pt x="6514" y="2397"/>
                </a:lnTo>
                <a:lnTo>
                  <a:pt x="6496" y="2377"/>
                </a:lnTo>
                <a:lnTo>
                  <a:pt x="6483" y="2391"/>
                </a:lnTo>
                <a:lnTo>
                  <a:pt x="6476" y="2373"/>
                </a:lnTo>
                <a:lnTo>
                  <a:pt x="6474" y="2411"/>
                </a:lnTo>
                <a:lnTo>
                  <a:pt x="6464" y="2430"/>
                </a:lnTo>
                <a:lnTo>
                  <a:pt x="6429" y="2434"/>
                </a:lnTo>
                <a:lnTo>
                  <a:pt x="6383" y="2440"/>
                </a:lnTo>
                <a:lnTo>
                  <a:pt x="6356" y="2452"/>
                </a:lnTo>
                <a:lnTo>
                  <a:pt x="6357" y="2416"/>
                </a:lnTo>
                <a:lnTo>
                  <a:pt x="6317" y="2461"/>
                </a:lnTo>
                <a:lnTo>
                  <a:pt x="6302" y="2442"/>
                </a:lnTo>
                <a:lnTo>
                  <a:pt x="6210" y="2475"/>
                </a:lnTo>
                <a:lnTo>
                  <a:pt x="6169" y="2499"/>
                </a:lnTo>
                <a:lnTo>
                  <a:pt x="6153" y="2500"/>
                </a:lnTo>
                <a:lnTo>
                  <a:pt x="6120" y="2499"/>
                </a:lnTo>
                <a:lnTo>
                  <a:pt x="6151" y="2561"/>
                </a:lnTo>
                <a:lnTo>
                  <a:pt x="6127" y="2537"/>
                </a:lnTo>
                <a:lnTo>
                  <a:pt x="6076" y="2527"/>
                </a:lnTo>
                <a:lnTo>
                  <a:pt x="6025" y="2537"/>
                </a:lnTo>
                <a:lnTo>
                  <a:pt x="5996" y="2528"/>
                </a:lnTo>
                <a:lnTo>
                  <a:pt x="6007" y="2510"/>
                </a:lnTo>
                <a:lnTo>
                  <a:pt x="5979" y="2512"/>
                </a:lnTo>
                <a:lnTo>
                  <a:pt x="5960" y="2531"/>
                </a:lnTo>
                <a:lnTo>
                  <a:pt x="5870" y="2588"/>
                </a:lnTo>
                <a:lnTo>
                  <a:pt x="5802" y="2603"/>
                </a:lnTo>
                <a:lnTo>
                  <a:pt x="5844" y="2591"/>
                </a:lnTo>
                <a:lnTo>
                  <a:pt x="5840" y="2541"/>
                </a:lnTo>
                <a:lnTo>
                  <a:pt x="5798" y="2573"/>
                </a:lnTo>
                <a:lnTo>
                  <a:pt x="5766" y="2574"/>
                </a:lnTo>
                <a:lnTo>
                  <a:pt x="5766" y="2584"/>
                </a:lnTo>
                <a:lnTo>
                  <a:pt x="5766" y="2592"/>
                </a:lnTo>
                <a:lnTo>
                  <a:pt x="5791" y="2594"/>
                </a:lnTo>
                <a:lnTo>
                  <a:pt x="5741" y="2605"/>
                </a:lnTo>
                <a:lnTo>
                  <a:pt x="5723" y="2610"/>
                </a:lnTo>
                <a:lnTo>
                  <a:pt x="5715" y="2620"/>
                </a:lnTo>
                <a:lnTo>
                  <a:pt x="5653" y="2621"/>
                </a:lnTo>
                <a:lnTo>
                  <a:pt x="5570" y="2631"/>
                </a:lnTo>
                <a:lnTo>
                  <a:pt x="5324" y="2647"/>
                </a:lnTo>
                <a:lnTo>
                  <a:pt x="5224" y="2751"/>
                </a:lnTo>
                <a:lnTo>
                  <a:pt x="5217" y="2784"/>
                </a:lnTo>
                <a:lnTo>
                  <a:pt x="5217" y="2812"/>
                </a:lnTo>
                <a:lnTo>
                  <a:pt x="5200" y="2816"/>
                </a:lnTo>
                <a:lnTo>
                  <a:pt x="5191" y="2802"/>
                </a:lnTo>
                <a:lnTo>
                  <a:pt x="5154" y="2838"/>
                </a:lnTo>
                <a:lnTo>
                  <a:pt x="5127" y="2831"/>
                </a:lnTo>
                <a:lnTo>
                  <a:pt x="5089" y="2776"/>
                </a:lnTo>
                <a:lnTo>
                  <a:pt x="5141" y="2746"/>
                </a:lnTo>
                <a:lnTo>
                  <a:pt x="5094" y="2720"/>
                </a:lnTo>
                <a:lnTo>
                  <a:pt x="5060" y="2733"/>
                </a:lnTo>
                <a:lnTo>
                  <a:pt x="5066" y="2773"/>
                </a:lnTo>
                <a:lnTo>
                  <a:pt x="5037" y="2807"/>
                </a:lnTo>
                <a:lnTo>
                  <a:pt x="5060" y="2835"/>
                </a:lnTo>
                <a:lnTo>
                  <a:pt x="5037" y="2845"/>
                </a:lnTo>
                <a:lnTo>
                  <a:pt x="5024" y="2832"/>
                </a:lnTo>
                <a:lnTo>
                  <a:pt x="5005" y="2818"/>
                </a:lnTo>
                <a:lnTo>
                  <a:pt x="5000" y="2801"/>
                </a:lnTo>
                <a:lnTo>
                  <a:pt x="4986" y="2806"/>
                </a:lnTo>
                <a:lnTo>
                  <a:pt x="4972" y="2853"/>
                </a:lnTo>
                <a:lnTo>
                  <a:pt x="4928" y="2846"/>
                </a:lnTo>
                <a:lnTo>
                  <a:pt x="4937" y="2826"/>
                </a:lnTo>
                <a:lnTo>
                  <a:pt x="4941" y="2829"/>
                </a:lnTo>
                <a:lnTo>
                  <a:pt x="4885" y="2804"/>
                </a:lnTo>
                <a:lnTo>
                  <a:pt x="4782" y="2877"/>
                </a:lnTo>
                <a:lnTo>
                  <a:pt x="4732" y="2857"/>
                </a:lnTo>
                <a:lnTo>
                  <a:pt x="4698" y="2830"/>
                </a:lnTo>
                <a:lnTo>
                  <a:pt x="4768" y="2820"/>
                </a:lnTo>
                <a:lnTo>
                  <a:pt x="4790" y="2788"/>
                </a:lnTo>
                <a:lnTo>
                  <a:pt x="4773" y="2771"/>
                </a:lnTo>
                <a:lnTo>
                  <a:pt x="4770" y="2756"/>
                </a:lnTo>
                <a:lnTo>
                  <a:pt x="4792" y="2769"/>
                </a:lnTo>
                <a:lnTo>
                  <a:pt x="4792" y="2757"/>
                </a:lnTo>
                <a:lnTo>
                  <a:pt x="4744" y="2689"/>
                </a:lnTo>
                <a:lnTo>
                  <a:pt x="4790" y="2635"/>
                </a:lnTo>
                <a:lnTo>
                  <a:pt x="4804" y="2631"/>
                </a:lnTo>
                <a:lnTo>
                  <a:pt x="4781" y="2624"/>
                </a:lnTo>
                <a:lnTo>
                  <a:pt x="4786" y="2615"/>
                </a:lnTo>
                <a:lnTo>
                  <a:pt x="4797" y="2596"/>
                </a:lnTo>
                <a:lnTo>
                  <a:pt x="4749" y="2628"/>
                </a:lnTo>
                <a:lnTo>
                  <a:pt x="4739" y="2578"/>
                </a:lnTo>
                <a:lnTo>
                  <a:pt x="4721" y="2494"/>
                </a:lnTo>
                <a:lnTo>
                  <a:pt x="4712" y="2449"/>
                </a:lnTo>
                <a:lnTo>
                  <a:pt x="4713" y="2528"/>
                </a:lnTo>
                <a:lnTo>
                  <a:pt x="4707" y="2601"/>
                </a:lnTo>
                <a:lnTo>
                  <a:pt x="4700" y="2622"/>
                </a:lnTo>
                <a:lnTo>
                  <a:pt x="4722" y="2615"/>
                </a:lnTo>
                <a:lnTo>
                  <a:pt x="4704" y="2654"/>
                </a:lnTo>
                <a:lnTo>
                  <a:pt x="4737" y="2718"/>
                </a:lnTo>
                <a:lnTo>
                  <a:pt x="4700" y="2801"/>
                </a:lnTo>
                <a:lnTo>
                  <a:pt x="4587" y="2813"/>
                </a:lnTo>
                <a:lnTo>
                  <a:pt x="4614" y="2864"/>
                </a:lnTo>
                <a:lnTo>
                  <a:pt x="4642" y="2880"/>
                </a:lnTo>
                <a:lnTo>
                  <a:pt x="4503" y="2845"/>
                </a:lnTo>
                <a:lnTo>
                  <a:pt x="4376" y="2900"/>
                </a:lnTo>
                <a:lnTo>
                  <a:pt x="4503" y="2915"/>
                </a:lnTo>
                <a:lnTo>
                  <a:pt x="4396" y="2978"/>
                </a:lnTo>
                <a:lnTo>
                  <a:pt x="4488" y="3049"/>
                </a:lnTo>
                <a:lnTo>
                  <a:pt x="4458" y="3135"/>
                </a:lnTo>
                <a:lnTo>
                  <a:pt x="4436" y="3155"/>
                </a:lnTo>
                <a:lnTo>
                  <a:pt x="4351" y="3110"/>
                </a:lnTo>
                <a:lnTo>
                  <a:pt x="4444" y="3074"/>
                </a:lnTo>
                <a:lnTo>
                  <a:pt x="4436" y="3017"/>
                </a:lnTo>
                <a:lnTo>
                  <a:pt x="4315" y="3048"/>
                </a:lnTo>
                <a:lnTo>
                  <a:pt x="4340" y="3018"/>
                </a:lnTo>
                <a:lnTo>
                  <a:pt x="4287" y="2958"/>
                </a:lnTo>
                <a:lnTo>
                  <a:pt x="4223" y="2984"/>
                </a:lnTo>
                <a:lnTo>
                  <a:pt x="4187" y="2943"/>
                </a:lnTo>
                <a:lnTo>
                  <a:pt x="4103" y="2938"/>
                </a:lnTo>
                <a:lnTo>
                  <a:pt x="4079" y="2943"/>
                </a:lnTo>
                <a:lnTo>
                  <a:pt x="4042" y="2930"/>
                </a:lnTo>
                <a:lnTo>
                  <a:pt x="4010" y="3013"/>
                </a:lnTo>
                <a:lnTo>
                  <a:pt x="3981" y="3077"/>
                </a:lnTo>
                <a:lnTo>
                  <a:pt x="3919" y="3037"/>
                </a:lnTo>
                <a:lnTo>
                  <a:pt x="3883" y="3093"/>
                </a:lnTo>
                <a:lnTo>
                  <a:pt x="3824" y="3116"/>
                </a:lnTo>
                <a:lnTo>
                  <a:pt x="3854" y="3087"/>
                </a:lnTo>
                <a:lnTo>
                  <a:pt x="3834" y="3067"/>
                </a:lnTo>
                <a:lnTo>
                  <a:pt x="3805" y="3074"/>
                </a:lnTo>
                <a:lnTo>
                  <a:pt x="3795" y="3120"/>
                </a:lnTo>
                <a:lnTo>
                  <a:pt x="3757" y="3105"/>
                </a:lnTo>
                <a:lnTo>
                  <a:pt x="3772" y="3008"/>
                </a:lnTo>
                <a:lnTo>
                  <a:pt x="3725" y="3004"/>
                </a:lnTo>
                <a:lnTo>
                  <a:pt x="3655" y="3016"/>
                </a:lnTo>
                <a:lnTo>
                  <a:pt x="3584" y="3037"/>
                </a:lnTo>
                <a:lnTo>
                  <a:pt x="3640" y="3077"/>
                </a:lnTo>
                <a:lnTo>
                  <a:pt x="3633" y="3135"/>
                </a:lnTo>
                <a:lnTo>
                  <a:pt x="3688" y="3174"/>
                </a:lnTo>
                <a:lnTo>
                  <a:pt x="3753" y="3195"/>
                </a:lnTo>
                <a:lnTo>
                  <a:pt x="3694" y="3200"/>
                </a:lnTo>
                <a:lnTo>
                  <a:pt x="3684" y="3237"/>
                </a:lnTo>
                <a:lnTo>
                  <a:pt x="3726" y="3249"/>
                </a:lnTo>
                <a:lnTo>
                  <a:pt x="3656" y="3242"/>
                </a:lnTo>
                <a:lnTo>
                  <a:pt x="3649" y="3263"/>
                </a:lnTo>
                <a:lnTo>
                  <a:pt x="3595" y="3209"/>
                </a:lnTo>
                <a:lnTo>
                  <a:pt x="3278" y="1967"/>
                </a:lnTo>
                <a:lnTo>
                  <a:pt x="2673" y="1975"/>
                </a:lnTo>
                <a:lnTo>
                  <a:pt x="3082" y="451"/>
                </a:lnTo>
                <a:lnTo>
                  <a:pt x="2618" y="451"/>
                </a:lnTo>
                <a:lnTo>
                  <a:pt x="1801" y="1959"/>
                </a:lnTo>
                <a:lnTo>
                  <a:pt x="1801" y="1963"/>
                </a:lnTo>
                <a:lnTo>
                  <a:pt x="1803" y="1975"/>
                </a:lnTo>
                <a:lnTo>
                  <a:pt x="1136" y="1983"/>
                </a:lnTo>
                <a:lnTo>
                  <a:pt x="1667" y="0"/>
                </a:lnTo>
                <a:lnTo>
                  <a:pt x="1065" y="0"/>
                </a:lnTo>
                <a:lnTo>
                  <a:pt x="0" y="1963"/>
                </a:lnTo>
                <a:lnTo>
                  <a:pt x="0" y="1963"/>
                </a:lnTo>
                <a:lnTo>
                  <a:pt x="155" y="3063"/>
                </a:lnTo>
                <a:lnTo>
                  <a:pt x="348" y="4160"/>
                </a:lnTo>
                <a:lnTo>
                  <a:pt x="1124" y="4058"/>
                </a:lnTo>
                <a:lnTo>
                  <a:pt x="1862" y="3956"/>
                </a:lnTo>
                <a:lnTo>
                  <a:pt x="1901" y="2678"/>
                </a:lnTo>
                <a:lnTo>
                  <a:pt x="2002" y="3335"/>
                </a:lnTo>
                <a:lnTo>
                  <a:pt x="2068" y="3648"/>
                </a:lnTo>
                <a:lnTo>
                  <a:pt x="2446" y="3609"/>
                </a:lnTo>
                <a:lnTo>
                  <a:pt x="3149" y="3533"/>
                </a:lnTo>
                <a:lnTo>
                  <a:pt x="3093" y="3555"/>
                </a:lnTo>
                <a:lnTo>
                  <a:pt x="3030" y="3587"/>
                </a:lnTo>
                <a:lnTo>
                  <a:pt x="3089" y="3647"/>
                </a:lnTo>
                <a:lnTo>
                  <a:pt x="3110" y="3766"/>
                </a:lnTo>
                <a:lnTo>
                  <a:pt x="2962" y="3716"/>
                </a:lnTo>
                <a:lnTo>
                  <a:pt x="2823" y="3822"/>
                </a:lnTo>
                <a:lnTo>
                  <a:pt x="2833" y="3773"/>
                </a:lnTo>
                <a:lnTo>
                  <a:pt x="2777" y="3754"/>
                </a:lnTo>
                <a:lnTo>
                  <a:pt x="2718" y="3806"/>
                </a:lnTo>
                <a:lnTo>
                  <a:pt x="2721" y="3673"/>
                </a:lnTo>
                <a:lnTo>
                  <a:pt x="2692" y="3632"/>
                </a:lnTo>
                <a:lnTo>
                  <a:pt x="2594" y="3688"/>
                </a:lnTo>
                <a:lnTo>
                  <a:pt x="2511" y="3670"/>
                </a:lnTo>
                <a:lnTo>
                  <a:pt x="2448" y="3692"/>
                </a:lnTo>
                <a:lnTo>
                  <a:pt x="2521" y="3757"/>
                </a:lnTo>
                <a:lnTo>
                  <a:pt x="2544" y="3799"/>
                </a:lnTo>
                <a:lnTo>
                  <a:pt x="2478" y="3894"/>
                </a:lnTo>
                <a:lnTo>
                  <a:pt x="2595" y="3945"/>
                </a:lnTo>
                <a:lnTo>
                  <a:pt x="2632" y="3998"/>
                </a:lnTo>
                <a:lnTo>
                  <a:pt x="2648" y="4016"/>
                </a:lnTo>
                <a:lnTo>
                  <a:pt x="2561" y="4023"/>
                </a:lnTo>
                <a:lnTo>
                  <a:pt x="2544" y="4044"/>
                </a:lnTo>
                <a:lnTo>
                  <a:pt x="2467" y="3948"/>
                </a:lnTo>
                <a:lnTo>
                  <a:pt x="2383" y="3895"/>
                </a:lnTo>
                <a:lnTo>
                  <a:pt x="2322" y="3951"/>
                </a:lnTo>
                <a:lnTo>
                  <a:pt x="2366" y="4026"/>
                </a:lnTo>
                <a:lnTo>
                  <a:pt x="2296" y="4070"/>
                </a:lnTo>
                <a:lnTo>
                  <a:pt x="2292" y="4151"/>
                </a:lnTo>
                <a:lnTo>
                  <a:pt x="2329" y="4309"/>
                </a:lnTo>
                <a:lnTo>
                  <a:pt x="2310" y="4469"/>
                </a:lnTo>
                <a:lnTo>
                  <a:pt x="2383" y="4510"/>
                </a:lnTo>
                <a:lnTo>
                  <a:pt x="2381" y="4594"/>
                </a:lnTo>
                <a:lnTo>
                  <a:pt x="2408" y="4616"/>
                </a:lnTo>
                <a:lnTo>
                  <a:pt x="2388" y="4631"/>
                </a:lnTo>
                <a:lnTo>
                  <a:pt x="2407" y="4681"/>
                </a:lnTo>
                <a:lnTo>
                  <a:pt x="2415" y="4781"/>
                </a:lnTo>
                <a:lnTo>
                  <a:pt x="2453" y="4960"/>
                </a:lnTo>
                <a:lnTo>
                  <a:pt x="2492" y="5134"/>
                </a:lnTo>
                <a:lnTo>
                  <a:pt x="2451" y="5161"/>
                </a:lnTo>
                <a:lnTo>
                  <a:pt x="2408" y="5163"/>
                </a:lnTo>
                <a:lnTo>
                  <a:pt x="2400" y="5257"/>
                </a:lnTo>
                <a:lnTo>
                  <a:pt x="2464" y="5289"/>
                </a:lnTo>
                <a:lnTo>
                  <a:pt x="2485" y="5401"/>
                </a:lnTo>
                <a:lnTo>
                  <a:pt x="2547" y="5453"/>
                </a:lnTo>
                <a:lnTo>
                  <a:pt x="2532" y="5545"/>
                </a:lnTo>
                <a:lnTo>
                  <a:pt x="2569" y="5623"/>
                </a:lnTo>
                <a:lnTo>
                  <a:pt x="2469" y="5731"/>
                </a:lnTo>
                <a:lnTo>
                  <a:pt x="2532" y="5773"/>
                </a:lnTo>
                <a:lnTo>
                  <a:pt x="2511" y="5838"/>
                </a:lnTo>
                <a:lnTo>
                  <a:pt x="2579" y="5863"/>
                </a:lnTo>
                <a:lnTo>
                  <a:pt x="2572" y="5915"/>
                </a:lnTo>
                <a:lnTo>
                  <a:pt x="2485" y="5935"/>
                </a:lnTo>
                <a:lnTo>
                  <a:pt x="2590" y="5987"/>
                </a:lnTo>
                <a:lnTo>
                  <a:pt x="2491" y="6061"/>
                </a:lnTo>
                <a:lnTo>
                  <a:pt x="2476" y="6002"/>
                </a:lnTo>
                <a:lnTo>
                  <a:pt x="2437" y="6036"/>
                </a:lnTo>
                <a:lnTo>
                  <a:pt x="2449" y="6069"/>
                </a:lnTo>
                <a:lnTo>
                  <a:pt x="2427" y="6101"/>
                </a:lnTo>
                <a:lnTo>
                  <a:pt x="2465" y="6155"/>
                </a:lnTo>
                <a:lnTo>
                  <a:pt x="2473" y="6143"/>
                </a:lnTo>
                <a:lnTo>
                  <a:pt x="2486" y="6119"/>
                </a:lnTo>
                <a:lnTo>
                  <a:pt x="2543" y="6077"/>
                </a:lnTo>
                <a:lnTo>
                  <a:pt x="2551" y="6206"/>
                </a:lnTo>
                <a:lnTo>
                  <a:pt x="2602" y="6112"/>
                </a:lnTo>
                <a:lnTo>
                  <a:pt x="2626" y="6161"/>
                </a:lnTo>
                <a:lnTo>
                  <a:pt x="2614" y="6235"/>
                </a:lnTo>
                <a:lnTo>
                  <a:pt x="2627" y="6250"/>
                </a:lnTo>
                <a:lnTo>
                  <a:pt x="2669" y="6245"/>
                </a:lnTo>
                <a:lnTo>
                  <a:pt x="2682" y="6291"/>
                </a:lnTo>
                <a:lnTo>
                  <a:pt x="2695" y="6333"/>
                </a:lnTo>
                <a:lnTo>
                  <a:pt x="2576" y="6487"/>
                </a:lnTo>
                <a:lnTo>
                  <a:pt x="2476" y="6579"/>
                </a:lnTo>
                <a:lnTo>
                  <a:pt x="2301" y="6654"/>
                </a:lnTo>
                <a:lnTo>
                  <a:pt x="2394" y="6720"/>
                </a:lnTo>
                <a:lnTo>
                  <a:pt x="2343" y="6726"/>
                </a:lnTo>
                <a:lnTo>
                  <a:pt x="2308" y="6753"/>
                </a:lnTo>
                <a:lnTo>
                  <a:pt x="2346" y="6777"/>
                </a:lnTo>
                <a:lnTo>
                  <a:pt x="2370" y="6794"/>
                </a:lnTo>
                <a:lnTo>
                  <a:pt x="2434" y="6740"/>
                </a:lnTo>
                <a:lnTo>
                  <a:pt x="2530" y="6751"/>
                </a:lnTo>
                <a:lnTo>
                  <a:pt x="2485" y="6710"/>
                </a:lnTo>
                <a:lnTo>
                  <a:pt x="2446" y="6664"/>
                </a:lnTo>
                <a:lnTo>
                  <a:pt x="2500" y="6650"/>
                </a:lnTo>
                <a:lnTo>
                  <a:pt x="2553" y="6628"/>
                </a:lnTo>
                <a:lnTo>
                  <a:pt x="2553" y="6717"/>
                </a:lnTo>
                <a:lnTo>
                  <a:pt x="2581" y="6772"/>
                </a:lnTo>
                <a:lnTo>
                  <a:pt x="2546" y="6808"/>
                </a:lnTo>
                <a:lnTo>
                  <a:pt x="2514" y="6780"/>
                </a:lnTo>
                <a:lnTo>
                  <a:pt x="2464" y="6810"/>
                </a:lnTo>
                <a:lnTo>
                  <a:pt x="2518" y="6840"/>
                </a:lnTo>
                <a:lnTo>
                  <a:pt x="2562" y="6899"/>
                </a:lnTo>
                <a:lnTo>
                  <a:pt x="2374" y="6980"/>
                </a:lnTo>
                <a:lnTo>
                  <a:pt x="2315" y="6968"/>
                </a:lnTo>
                <a:lnTo>
                  <a:pt x="2304" y="6935"/>
                </a:lnTo>
                <a:lnTo>
                  <a:pt x="2281" y="6977"/>
                </a:lnTo>
                <a:lnTo>
                  <a:pt x="2267" y="7008"/>
                </a:lnTo>
                <a:lnTo>
                  <a:pt x="2237" y="7017"/>
                </a:lnTo>
                <a:lnTo>
                  <a:pt x="2266" y="7051"/>
                </a:lnTo>
                <a:close/>
                <a:moveTo>
                  <a:pt x="12093" y="10176"/>
                </a:moveTo>
                <a:lnTo>
                  <a:pt x="12092" y="10185"/>
                </a:lnTo>
                <a:lnTo>
                  <a:pt x="12084" y="10186"/>
                </a:lnTo>
                <a:lnTo>
                  <a:pt x="12075" y="10184"/>
                </a:lnTo>
                <a:lnTo>
                  <a:pt x="12083" y="10180"/>
                </a:lnTo>
                <a:lnTo>
                  <a:pt x="12091" y="10175"/>
                </a:lnTo>
                <a:lnTo>
                  <a:pt x="12092" y="10176"/>
                </a:lnTo>
                <a:lnTo>
                  <a:pt x="12093" y="10176"/>
                </a:lnTo>
                <a:close/>
                <a:moveTo>
                  <a:pt x="12088" y="10339"/>
                </a:moveTo>
                <a:lnTo>
                  <a:pt x="12088" y="10348"/>
                </a:lnTo>
                <a:lnTo>
                  <a:pt x="12085" y="10348"/>
                </a:lnTo>
                <a:lnTo>
                  <a:pt x="12084" y="10349"/>
                </a:lnTo>
                <a:lnTo>
                  <a:pt x="12074" y="10350"/>
                </a:lnTo>
                <a:lnTo>
                  <a:pt x="12077" y="10340"/>
                </a:lnTo>
                <a:lnTo>
                  <a:pt x="12082" y="10339"/>
                </a:lnTo>
                <a:lnTo>
                  <a:pt x="12088" y="10339"/>
                </a:lnTo>
                <a:close/>
                <a:moveTo>
                  <a:pt x="12084" y="10446"/>
                </a:moveTo>
                <a:lnTo>
                  <a:pt x="12084" y="10471"/>
                </a:lnTo>
                <a:lnTo>
                  <a:pt x="12079" y="10459"/>
                </a:lnTo>
                <a:lnTo>
                  <a:pt x="12084" y="10446"/>
                </a:lnTo>
                <a:close/>
                <a:moveTo>
                  <a:pt x="12078" y="10643"/>
                </a:moveTo>
                <a:lnTo>
                  <a:pt x="12078" y="10658"/>
                </a:lnTo>
                <a:lnTo>
                  <a:pt x="12071" y="10657"/>
                </a:lnTo>
                <a:lnTo>
                  <a:pt x="12066" y="10652"/>
                </a:lnTo>
                <a:lnTo>
                  <a:pt x="12073" y="10644"/>
                </a:lnTo>
                <a:lnTo>
                  <a:pt x="12078" y="10643"/>
                </a:lnTo>
                <a:close/>
                <a:moveTo>
                  <a:pt x="12068" y="10994"/>
                </a:moveTo>
                <a:lnTo>
                  <a:pt x="12068" y="11006"/>
                </a:lnTo>
                <a:lnTo>
                  <a:pt x="12046" y="11020"/>
                </a:lnTo>
                <a:lnTo>
                  <a:pt x="12023" y="11033"/>
                </a:lnTo>
                <a:lnTo>
                  <a:pt x="12022" y="11031"/>
                </a:lnTo>
                <a:lnTo>
                  <a:pt x="12019" y="11011"/>
                </a:lnTo>
                <a:lnTo>
                  <a:pt x="12037" y="11001"/>
                </a:lnTo>
                <a:lnTo>
                  <a:pt x="12057" y="10989"/>
                </a:lnTo>
                <a:lnTo>
                  <a:pt x="12064" y="10992"/>
                </a:lnTo>
                <a:lnTo>
                  <a:pt x="12068" y="10994"/>
                </a:lnTo>
                <a:close/>
                <a:moveTo>
                  <a:pt x="12061" y="11211"/>
                </a:moveTo>
                <a:lnTo>
                  <a:pt x="12060" y="11227"/>
                </a:lnTo>
                <a:lnTo>
                  <a:pt x="12057" y="11231"/>
                </a:lnTo>
                <a:lnTo>
                  <a:pt x="12052" y="11236"/>
                </a:lnTo>
                <a:lnTo>
                  <a:pt x="12049" y="11208"/>
                </a:lnTo>
                <a:lnTo>
                  <a:pt x="12055" y="11210"/>
                </a:lnTo>
                <a:lnTo>
                  <a:pt x="12061" y="11211"/>
                </a:lnTo>
                <a:close/>
                <a:moveTo>
                  <a:pt x="11950" y="10577"/>
                </a:moveTo>
                <a:lnTo>
                  <a:pt x="11950" y="10574"/>
                </a:lnTo>
                <a:lnTo>
                  <a:pt x="11973" y="10564"/>
                </a:lnTo>
                <a:lnTo>
                  <a:pt x="11989" y="10564"/>
                </a:lnTo>
                <a:lnTo>
                  <a:pt x="11970" y="10572"/>
                </a:lnTo>
                <a:lnTo>
                  <a:pt x="11950" y="10577"/>
                </a:lnTo>
                <a:close/>
                <a:moveTo>
                  <a:pt x="11938" y="10501"/>
                </a:moveTo>
                <a:lnTo>
                  <a:pt x="11934" y="10483"/>
                </a:lnTo>
                <a:lnTo>
                  <a:pt x="11931" y="10466"/>
                </a:lnTo>
                <a:lnTo>
                  <a:pt x="11959" y="10480"/>
                </a:lnTo>
                <a:lnTo>
                  <a:pt x="11938" y="10501"/>
                </a:lnTo>
                <a:close/>
                <a:moveTo>
                  <a:pt x="11931" y="10465"/>
                </a:moveTo>
                <a:lnTo>
                  <a:pt x="11928" y="10447"/>
                </a:lnTo>
                <a:lnTo>
                  <a:pt x="11925" y="10432"/>
                </a:lnTo>
                <a:lnTo>
                  <a:pt x="11928" y="10427"/>
                </a:lnTo>
                <a:lnTo>
                  <a:pt x="11944" y="10451"/>
                </a:lnTo>
                <a:lnTo>
                  <a:pt x="11931" y="10465"/>
                </a:lnTo>
                <a:close/>
                <a:moveTo>
                  <a:pt x="11915" y="10383"/>
                </a:moveTo>
                <a:lnTo>
                  <a:pt x="11908" y="10352"/>
                </a:lnTo>
                <a:lnTo>
                  <a:pt x="11901" y="10329"/>
                </a:lnTo>
                <a:lnTo>
                  <a:pt x="11911" y="10327"/>
                </a:lnTo>
                <a:lnTo>
                  <a:pt x="11921" y="10327"/>
                </a:lnTo>
                <a:lnTo>
                  <a:pt x="11931" y="10345"/>
                </a:lnTo>
                <a:lnTo>
                  <a:pt x="11914" y="10350"/>
                </a:lnTo>
                <a:lnTo>
                  <a:pt x="11919" y="10371"/>
                </a:lnTo>
                <a:lnTo>
                  <a:pt x="11915" y="10383"/>
                </a:lnTo>
                <a:close/>
                <a:moveTo>
                  <a:pt x="11700" y="10329"/>
                </a:moveTo>
                <a:lnTo>
                  <a:pt x="11637" y="10335"/>
                </a:lnTo>
                <a:lnTo>
                  <a:pt x="11568" y="10343"/>
                </a:lnTo>
                <a:lnTo>
                  <a:pt x="11570" y="10307"/>
                </a:lnTo>
                <a:lnTo>
                  <a:pt x="11552" y="10292"/>
                </a:lnTo>
                <a:lnTo>
                  <a:pt x="11576" y="10246"/>
                </a:lnTo>
                <a:lnTo>
                  <a:pt x="11577" y="10255"/>
                </a:lnTo>
                <a:lnTo>
                  <a:pt x="11598" y="10270"/>
                </a:lnTo>
                <a:lnTo>
                  <a:pt x="11644" y="10247"/>
                </a:lnTo>
                <a:lnTo>
                  <a:pt x="11626" y="10294"/>
                </a:lnTo>
                <a:lnTo>
                  <a:pt x="11644" y="10312"/>
                </a:lnTo>
                <a:lnTo>
                  <a:pt x="11686" y="10317"/>
                </a:lnTo>
                <a:lnTo>
                  <a:pt x="11700" y="10329"/>
                </a:lnTo>
                <a:close/>
                <a:moveTo>
                  <a:pt x="11521" y="10348"/>
                </a:moveTo>
                <a:lnTo>
                  <a:pt x="11496" y="10350"/>
                </a:lnTo>
                <a:lnTo>
                  <a:pt x="11501" y="10289"/>
                </a:lnTo>
                <a:lnTo>
                  <a:pt x="11510" y="10326"/>
                </a:lnTo>
                <a:lnTo>
                  <a:pt x="11516" y="10338"/>
                </a:lnTo>
                <a:lnTo>
                  <a:pt x="11521" y="10348"/>
                </a:lnTo>
                <a:close/>
                <a:moveTo>
                  <a:pt x="11451" y="10355"/>
                </a:moveTo>
                <a:lnTo>
                  <a:pt x="11338" y="10368"/>
                </a:lnTo>
                <a:lnTo>
                  <a:pt x="11344" y="10363"/>
                </a:lnTo>
                <a:lnTo>
                  <a:pt x="11338" y="10366"/>
                </a:lnTo>
                <a:lnTo>
                  <a:pt x="11288" y="10349"/>
                </a:lnTo>
                <a:lnTo>
                  <a:pt x="11287" y="10303"/>
                </a:lnTo>
                <a:lnTo>
                  <a:pt x="11325" y="10334"/>
                </a:lnTo>
                <a:lnTo>
                  <a:pt x="11381" y="10341"/>
                </a:lnTo>
                <a:lnTo>
                  <a:pt x="11400" y="10335"/>
                </a:lnTo>
                <a:lnTo>
                  <a:pt x="11315" y="10297"/>
                </a:lnTo>
                <a:lnTo>
                  <a:pt x="11390" y="10292"/>
                </a:lnTo>
                <a:lnTo>
                  <a:pt x="11444" y="10345"/>
                </a:lnTo>
                <a:lnTo>
                  <a:pt x="11447" y="10329"/>
                </a:lnTo>
                <a:lnTo>
                  <a:pt x="11451" y="10355"/>
                </a:lnTo>
                <a:close/>
                <a:moveTo>
                  <a:pt x="11269" y="10376"/>
                </a:moveTo>
                <a:lnTo>
                  <a:pt x="11209" y="10382"/>
                </a:lnTo>
                <a:lnTo>
                  <a:pt x="11233" y="10364"/>
                </a:lnTo>
                <a:lnTo>
                  <a:pt x="11254" y="10357"/>
                </a:lnTo>
                <a:lnTo>
                  <a:pt x="11260" y="10368"/>
                </a:lnTo>
                <a:lnTo>
                  <a:pt x="11269" y="10376"/>
                </a:lnTo>
                <a:close/>
                <a:moveTo>
                  <a:pt x="10611" y="11715"/>
                </a:moveTo>
                <a:lnTo>
                  <a:pt x="10616" y="11734"/>
                </a:lnTo>
                <a:lnTo>
                  <a:pt x="10581" y="11737"/>
                </a:lnTo>
                <a:lnTo>
                  <a:pt x="10578" y="11729"/>
                </a:lnTo>
                <a:lnTo>
                  <a:pt x="10598" y="11724"/>
                </a:lnTo>
                <a:lnTo>
                  <a:pt x="10611" y="11715"/>
                </a:lnTo>
                <a:close/>
                <a:moveTo>
                  <a:pt x="3307" y="3515"/>
                </a:moveTo>
                <a:lnTo>
                  <a:pt x="3303" y="3539"/>
                </a:lnTo>
                <a:lnTo>
                  <a:pt x="3298" y="3567"/>
                </a:lnTo>
                <a:lnTo>
                  <a:pt x="3230" y="3553"/>
                </a:lnTo>
                <a:lnTo>
                  <a:pt x="3162" y="3589"/>
                </a:lnTo>
                <a:lnTo>
                  <a:pt x="3181" y="3545"/>
                </a:lnTo>
                <a:lnTo>
                  <a:pt x="3171" y="3530"/>
                </a:lnTo>
                <a:lnTo>
                  <a:pt x="3307" y="3515"/>
                </a:lnTo>
                <a:close/>
                <a:moveTo>
                  <a:pt x="3423" y="3502"/>
                </a:moveTo>
                <a:lnTo>
                  <a:pt x="3483" y="3496"/>
                </a:lnTo>
                <a:lnTo>
                  <a:pt x="3456" y="3517"/>
                </a:lnTo>
                <a:lnTo>
                  <a:pt x="3423" y="3502"/>
                </a:lnTo>
                <a:close/>
                <a:moveTo>
                  <a:pt x="3584" y="3485"/>
                </a:moveTo>
                <a:lnTo>
                  <a:pt x="3615" y="3482"/>
                </a:lnTo>
                <a:lnTo>
                  <a:pt x="3628" y="3503"/>
                </a:lnTo>
                <a:lnTo>
                  <a:pt x="3649" y="3538"/>
                </a:lnTo>
                <a:lnTo>
                  <a:pt x="3626" y="3708"/>
                </a:lnTo>
                <a:lnTo>
                  <a:pt x="3627" y="3643"/>
                </a:lnTo>
                <a:lnTo>
                  <a:pt x="3596" y="3578"/>
                </a:lnTo>
                <a:lnTo>
                  <a:pt x="3533" y="3533"/>
                </a:lnTo>
                <a:lnTo>
                  <a:pt x="3564" y="3506"/>
                </a:lnTo>
                <a:lnTo>
                  <a:pt x="3584" y="3485"/>
                </a:lnTo>
                <a:close/>
                <a:moveTo>
                  <a:pt x="3632" y="3352"/>
                </a:moveTo>
                <a:lnTo>
                  <a:pt x="3631" y="3345"/>
                </a:lnTo>
                <a:lnTo>
                  <a:pt x="3633" y="3347"/>
                </a:lnTo>
                <a:lnTo>
                  <a:pt x="3632" y="3349"/>
                </a:lnTo>
                <a:lnTo>
                  <a:pt x="3632" y="3352"/>
                </a:lnTo>
                <a:close/>
                <a:moveTo>
                  <a:pt x="2409" y="7057"/>
                </a:moveTo>
                <a:lnTo>
                  <a:pt x="2409" y="7057"/>
                </a:lnTo>
                <a:lnTo>
                  <a:pt x="2409" y="7057"/>
                </a:lnTo>
                <a:close/>
                <a:moveTo>
                  <a:pt x="2669" y="7129"/>
                </a:moveTo>
                <a:lnTo>
                  <a:pt x="2677" y="7112"/>
                </a:lnTo>
                <a:lnTo>
                  <a:pt x="2697" y="7115"/>
                </a:lnTo>
                <a:lnTo>
                  <a:pt x="2687" y="7127"/>
                </a:lnTo>
                <a:lnTo>
                  <a:pt x="2669" y="7129"/>
                </a:lnTo>
                <a:close/>
                <a:moveTo>
                  <a:pt x="2411" y="7714"/>
                </a:moveTo>
                <a:lnTo>
                  <a:pt x="2422" y="7726"/>
                </a:lnTo>
                <a:lnTo>
                  <a:pt x="2435" y="7736"/>
                </a:lnTo>
                <a:lnTo>
                  <a:pt x="2413" y="7729"/>
                </a:lnTo>
                <a:lnTo>
                  <a:pt x="2411" y="7714"/>
                </a:lnTo>
                <a:close/>
                <a:moveTo>
                  <a:pt x="2468" y="7718"/>
                </a:moveTo>
                <a:lnTo>
                  <a:pt x="2462" y="7701"/>
                </a:lnTo>
                <a:lnTo>
                  <a:pt x="2460" y="7677"/>
                </a:lnTo>
                <a:lnTo>
                  <a:pt x="2476" y="7689"/>
                </a:lnTo>
                <a:lnTo>
                  <a:pt x="2468" y="7718"/>
                </a:lnTo>
                <a:close/>
                <a:moveTo>
                  <a:pt x="2961" y="10817"/>
                </a:moveTo>
                <a:lnTo>
                  <a:pt x="2953" y="10800"/>
                </a:lnTo>
                <a:lnTo>
                  <a:pt x="2980" y="10800"/>
                </a:lnTo>
                <a:lnTo>
                  <a:pt x="2971" y="10810"/>
                </a:lnTo>
                <a:lnTo>
                  <a:pt x="2961" y="10817"/>
                </a:lnTo>
                <a:close/>
                <a:moveTo>
                  <a:pt x="3814" y="12430"/>
                </a:moveTo>
                <a:lnTo>
                  <a:pt x="3806" y="12435"/>
                </a:lnTo>
                <a:lnTo>
                  <a:pt x="3794" y="12432"/>
                </a:lnTo>
                <a:lnTo>
                  <a:pt x="3808" y="12426"/>
                </a:lnTo>
                <a:lnTo>
                  <a:pt x="3814" y="12430"/>
                </a:lnTo>
                <a:close/>
                <a:moveTo>
                  <a:pt x="3829" y="12448"/>
                </a:moveTo>
                <a:lnTo>
                  <a:pt x="3826" y="12440"/>
                </a:lnTo>
                <a:lnTo>
                  <a:pt x="3842" y="12440"/>
                </a:lnTo>
                <a:lnTo>
                  <a:pt x="3834" y="12447"/>
                </a:lnTo>
                <a:lnTo>
                  <a:pt x="3829" y="12448"/>
                </a:lnTo>
                <a:close/>
                <a:moveTo>
                  <a:pt x="3852" y="12620"/>
                </a:moveTo>
                <a:lnTo>
                  <a:pt x="3854" y="12601"/>
                </a:lnTo>
                <a:lnTo>
                  <a:pt x="3882" y="12597"/>
                </a:lnTo>
                <a:lnTo>
                  <a:pt x="3871" y="12612"/>
                </a:lnTo>
                <a:lnTo>
                  <a:pt x="3852" y="12620"/>
                </a:lnTo>
                <a:close/>
                <a:moveTo>
                  <a:pt x="3989" y="12897"/>
                </a:moveTo>
                <a:lnTo>
                  <a:pt x="3991" y="12892"/>
                </a:lnTo>
                <a:lnTo>
                  <a:pt x="3999" y="12890"/>
                </a:lnTo>
                <a:lnTo>
                  <a:pt x="3996" y="12897"/>
                </a:lnTo>
                <a:lnTo>
                  <a:pt x="3989" y="12897"/>
                </a:lnTo>
                <a:close/>
                <a:moveTo>
                  <a:pt x="6399" y="12723"/>
                </a:moveTo>
                <a:lnTo>
                  <a:pt x="6412" y="12717"/>
                </a:lnTo>
                <a:lnTo>
                  <a:pt x="6420" y="12740"/>
                </a:lnTo>
                <a:lnTo>
                  <a:pt x="6394" y="12751"/>
                </a:lnTo>
                <a:lnTo>
                  <a:pt x="6399" y="12723"/>
                </a:lnTo>
                <a:close/>
                <a:moveTo>
                  <a:pt x="6338" y="12766"/>
                </a:moveTo>
                <a:lnTo>
                  <a:pt x="6364" y="12747"/>
                </a:lnTo>
                <a:lnTo>
                  <a:pt x="6371" y="12779"/>
                </a:lnTo>
                <a:lnTo>
                  <a:pt x="6341" y="12797"/>
                </a:lnTo>
                <a:lnTo>
                  <a:pt x="6338" y="12766"/>
                </a:lnTo>
                <a:close/>
                <a:moveTo>
                  <a:pt x="6304" y="12759"/>
                </a:moveTo>
                <a:lnTo>
                  <a:pt x="6297" y="12802"/>
                </a:lnTo>
                <a:lnTo>
                  <a:pt x="6302" y="12770"/>
                </a:lnTo>
                <a:lnTo>
                  <a:pt x="6287" y="12749"/>
                </a:lnTo>
                <a:lnTo>
                  <a:pt x="6304" y="12759"/>
                </a:lnTo>
                <a:close/>
                <a:moveTo>
                  <a:pt x="6148" y="12813"/>
                </a:moveTo>
                <a:lnTo>
                  <a:pt x="6137" y="12826"/>
                </a:lnTo>
                <a:lnTo>
                  <a:pt x="6117" y="12819"/>
                </a:lnTo>
                <a:lnTo>
                  <a:pt x="6133" y="12816"/>
                </a:lnTo>
                <a:lnTo>
                  <a:pt x="6148" y="12813"/>
                </a:lnTo>
                <a:close/>
                <a:moveTo>
                  <a:pt x="5177" y="12974"/>
                </a:moveTo>
                <a:lnTo>
                  <a:pt x="5153" y="12984"/>
                </a:lnTo>
                <a:lnTo>
                  <a:pt x="5132" y="12970"/>
                </a:lnTo>
                <a:lnTo>
                  <a:pt x="5155" y="12973"/>
                </a:lnTo>
                <a:lnTo>
                  <a:pt x="5177" y="12974"/>
                </a:lnTo>
                <a:close/>
                <a:moveTo>
                  <a:pt x="9070" y="12110"/>
                </a:moveTo>
                <a:lnTo>
                  <a:pt x="9072" y="12101"/>
                </a:lnTo>
                <a:lnTo>
                  <a:pt x="9088" y="12104"/>
                </a:lnTo>
                <a:lnTo>
                  <a:pt x="9077" y="12108"/>
                </a:lnTo>
                <a:lnTo>
                  <a:pt x="9070" y="12110"/>
                </a:lnTo>
                <a:close/>
                <a:moveTo>
                  <a:pt x="10556" y="11855"/>
                </a:moveTo>
                <a:lnTo>
                  <a:pt x="10555" y="11849"/>
                </a:lnTo>
                <a:lnTo>
                  <a:pt x="10553" y="11840"/>
                </a:lnTo>
                <a:lnTo>
                  <a:pt x="10561" y="11847"/>
                </a:lnTo>
                <a:lnTo>
                  <a:pt x="10556" y="11855"/>
                </a:lnTo>
                <a:close/>
                <a:moveTo>
                  <a:pt x="12164" y="6128"/>
                </a:moveTo>
                <a:lnTo>
                  <a:pt x="12152" y="6138"/>
                </a:lnTo>
                <a:lnTo>
                  <a:pt x="12139" y="6147"/>
                </a:lnTo>
                <a:lnTo>
                  <a:pt x="12141" y="6133"/>
                </a:lnTo>
                <a:lnTo>
                  <a:pt x="12164" y="6128"/>
                </a:lnTo>
                <a:close/>
                <a:moveTo>
                  <a:pt x="11872" y="5012"/>
                </a:moveTo>
                <a:lnTo>
                  <a:pt x="11872" y="5018"/>
                </a:lnTo>
                <a:lnTo>
                  <a:pt x="11872" y="5012"/>
                </a:lnTo>
                <a:lnTo>
                  <a:pt x="11877" y="5018"/>
                </a:lnTo>
                <a:lnTo>
                  <a:pt x="11872" y="5012"/>
                </a:lnTo>
                <a:close/>
                <a:moveTo>
                  <a:pt x="8594" y="1780"/>
                </a:moveTo>
                <a:lnTo>
                  <a:pt x="8585" y="1784"/>
                </a:lnTo>
                <a:lnTo>
                  <a:pt x="8580" y="1772"/>
                </a:lnTo>
                <a:lnTo>
                  <a:pt x="8597" y="1766"/>
                </a:lnTo>
                <a:lnTo>
                  <a:pt x="8594" y="1780"/>
                </a:lnTo>
                <a:close/>
                <a:moveTo>
                  <a:pt x="8638" y="1756"/>
                </a:moveTo>
                <a:lnTo>
                  <a:pt x="8620" y="1766"/>
                </a:lnTo>
                <a:lnTo>
                  <a:pt x="8615" y="1750"/>
                </a:lnTo>
                <a:lnTo>
                  <a:pt x="8639" y="1742"/>
                </a:lnTo>
                <a:lnTo>
                  <a:pt x="8638" y="1756"/>
                </a:lnTo>
                <a:close/>
                <a:moveTo>
                  <a:pt x="8674" y="1766"/>
                </a:moveTo>
                <a:lnTo>
                  <a:pt x="8666" y="1738"/>
                </a:lnTo>
                <a:lnTo>
                  <a:pt x="8665" y="1750"/>
                </a:lnTo>
                <a:lnTo>
                  <a:pt x="8672" y="1757"/>
                </a:lnTo>
                <a:lnTo>
                  <a:pt x="8674" y="1766"/>
                </a:lnTo>
                <a:close/>
                <a:moveTo>
                  <a:pt x="8776" y="1725"/>
                </a:moveTo>
                <a:lnTo>
                  <a:pt x="8785" y="1719"/>
                </a:lnTo>
                <a:lnTo>
                  <a:pt x="8799" y="1721"/>
                </a:lnTo>
                <a:lnTo>
                  <a:pt x="8787" y="1724"/>
                </a:lnTo>
                <a:lnTo>
                  <a:pt x="8776" y="1725"/>
                </a:lnTo>
                <a:close/>
                <a:moveTo>
                  <a:pt x="9475" y="1607"/>
                </a:moveTo>
                <a:lnTo>
                  <a:pt x="9493" y="1600"/>
                </a:lnTo>
                <a:lnTo>
                  <a:pt x="9507" y="1607"/>
                </a:lnTo>
                <a:lnTo>
                  <a:pt x="9490" y="1607"/>
                </a:lnTo>
                <a:lnTo>
                  <a:pt x="9475" y="1607"/>
                </a:lnTo>
                <a:close/>
                <a:moveTo>
                  <a:pt x="9552" y="1616"/>
                </a:moveTo>
                <a:lnTo>
                  <a:pt x="9550" y="1607"/>
                </a:lnTo>
                <a:lnTo>
                  <a:pt x="9550" y="1599"/>
                </a:lnTo>
                <a:lnTo>
                  <a:pt x="9558" y="1605"/>
                </a:lnTo>
                <a:lnTo>
                  <a:pt x="9552" y="1616"/>
                </a:lnTo>
                <a:close/>
                <a:moveTo>
                  <a:pt x="9574" y="1697"/>
                </a:moveTo>
                <a:lnTo>
                  <a:pt x="9589" y="1687"/>
                </a:lnTo>
                <a:lnTo>
                  <a:pt x="9593" y="1697"/>
                </a:lnTo>
                <a:lnTo>
                  <a:pt x="9603" y="1697"/>
                </a:lnTo>
                <a:lnTo>
                  <a:pt x="9574" y="1697"/>
                </a:lnTo>
                <a:close/>
                <a:moveTo>
                  <a:pt x="6873" y="2461"/>
                </a:moveTo>
                <a:lnTo>
                  <a:pt x="6863" y="2470"/>
                </a:lnTo>
                <a:lnTo>
                  <a:pt x="6850" y="2463"/>
                </a:lnTo>
                <a:lnTo>
                  <a:pt x="6863" y="2452"/>
                </a:lnTo>
                <a:lnTo>
                  <a:pt x="6873" y="2461"/>
                </a:lnTo>
                <a:close/>
                <a:moveTo>
                  <a:pt x="6794" y="2337"/>
                </a:moveTo>
                <a:lnTo>
                  <a:pt x="6802" y="2342"/>
                </a:lnTo>
                <a:lnTo>
                  <a:pt x="6802" y="2351"/>
                </a:lnTo>
                <a:lnTo>
                  <a:pt x="6794" y="2345"/>
                </a:lnTo>
                <a:lnTo>
                  <a:pt x="6794" y="2337"/>
                </a:lnTo>
                <a:close/>
                <a:moveTo>
                  <a:pt x="6664" y="2372"/>
                </a:moveTo>
                <a:lnTo>
                  <a:pt x="6668" y="2361"/>
                </a:lnTo>
                <a:lnTo>
                  <a:pt x="6678" y="2369"/>
                </a:lnTo>
                <a:lnTo>
                  <a:pt x="6671" y="2370"/>
                </a:lnTo>
                <a:lnTo>
                  <a:pt x="6664" y="2372"/>
                </a:lnTo>
                <a:close/>
                <a:moveTo>
                  <a:pt x="3647" y="3188"/>
                </a:moveTo>
                <a:lnTo>
                  <a:pt x="3647" y="3172"/>
                </a:lnTo>
                <a:lnTo>
                  <a:pt x="3659" y="3153"/>
                </a:lnTo>
                <a:lnTo>
                  <a:pt x="3677" y="3166"/>
                </a:lnTo>
                <a:lnTo>
                  <a:pt x="3647" y="3188"/>
                </a:lnTo>
                <a:close/>
                <a:moveTo>
                  <a:pt x="3712" y="3079"/>
                </a:moveTo>
                <a:lnTo>
                  <a:pt x="3688" y="3067"/>
                </a:lnTo>
                <a:lnTo>
                  <a:pt x="3715" y="3036"/>
                </a:lnTo>
                <a:lnTo>
                  <a:pt x="3724" y="3059"/>
                </a:lnTo>
                <a:lnTo>
                  <a:pt x="3712" y="3079"/>
                </a:lnTo>
                <a:close/>
                <a:moveTo>
                  <a:pt x="2515" y="5271"/>
                </a:moveTo>
                <a:lnTo>
                  <a:pt x="2488" y="5259"/>
                </a:lnTo>
                <a:lnTo>
                  <a:pt x="2511" y="5237"/>
                </a:lnTo>
                <a:lnTo>
                  <a:pt x="2514" y="5254"/>
                </a:lnTo>
                <a:lnTo>
                  <a:pt x="2515" y="5271"/>
                </a:lnTo>
                <a:close/>
                <a:moveTo>
                  <a:pt x="2548" y="5792"/>
                </a:moveTo>
                <a:lnTo>
                  <a:pt x="2539" y="5781"/>
                </a:lnTo>
                <a:lnTo>
                  <a:pt x="2542" y="5768"/>
                </a:lnTo>
                <a:lnTo>
                  <a:pt x="2552" y="5775"/>
                </a:lnTo>
                <a:lnTo>
                  <a:pt x="2548" y="5792"/>
                </a:lnTo>
                <a:close/>
                <a:moveTo>
                  <a:pt x="2519" y="4811"/>
                </a:moveTo>
                <a:lnTo>
                  <a:pt x="2487" y="4672"/>
                </a:lnTo>
                <a:lnTo>
                  <a:pt x="2521" y="4517"/>
                </a:lnTo>
                <a:lnTo>
                  <a:pt x="2448" y="4365"/>
                </a:lnTo>
                <a:lnTo>
                  <a:pt x="2557" y="4369"/>
                </a:lnTo>
                <a:lnTo>
                  <a:pt x="2584" y="4387"/>
                </a:lnTo>
                <a:lnTo>
                  <a:pt x="2519" y="4394"/>
                </a:lnTo>
                <a:lnTo>
                  <a:pt x="2579" y="4602"/>
                </a:lnTo>
                <a:lnTo>
                  <a:pt x="2533" y="4776"/>
                </a:lnTo>
                <a:lnTo>
                  <a:pt x="2625" y="4860"/>
                </a:lnTo>
                <a:lnTo>
                  <a:pt x="2613" y="4953"/>
                </a:lnTo>
                <a:lnTo>
                  <a:pt x="2656" y="4980"/>
                </a:lnTo>
                <a:lnTo>
                  <a:pt x="2660" y="5027"/>
                </a:lnTo>
                <a:lnTo>
                  <a:pt x="2593" y="5021"/>
                </a:lnTo>
                <a:lnTo>
                  <a:pt x="2637" y="5078"/>
                </a:lnTo>
                <a:lnTo>
                  <a:pt x="2533" y="4988"/>
                </a:lnTo>
                <a:lnTo>
                  <a:pt x="2519" y="4811"/>
                </a:lnTo>
                <a:close/>
                <a:moveTo>
                  <a:pt x="2464" y="4546"/>
                </a:moveTo>
                <a:lnTo>
                  <a:pt x="2477" y="4559"/>
                </a:lnTo>
                <a:lnTo>
                  <a:pt x="2482" y="4585"/>
                </a:lnTo>
                <a:lnTo>
                  <a:pt x="2465" y="4567"/>
                </a:lnTo>
                <a:lnTo>
                  <a:pt x="2464" y="4546"/>
                </a:lnTo>
                <a:close/>
                <a:moveTo>
                  <a:pt x="2618" y="4763"/>
                </a:moveTo>
                <a:lnTo>
                  <a:pt x="2613" y="4790"/>
                </a:lnTo>
                <a:lnTo>
                  <a:pt x="2579" y="4812"/>
                </a:lnTo>
                <a:lnTo>
                  <a:pt x="2576" y="4788"/>
                </a:lnTo>
                <a:lnTo>
                  <a:pt x="2618" y="4763"/>
                </a:lnTo>
                <a:close/>
                <a:moveTo>
                  <a:pt x="2865" y="4211"/>
                </a:moveTo>
                <a:lnTo>
                  <a:pt x="2869" y="4256"/>
                </a:lnTo>
                <a:lnTo>
                  <a:pt x="2825" y="4233"/>
                </a:lnTo>
                <a:lnTo>
                  <a:pt x="2872" y="4235"/>
                </a:lnTo>
                <a:lnTo>
                  <a:pt x="2865" y="4211"/>
                </a:lnTo>
                <a:close/>
                <a:moveTo>
                  <a:pt x="2918" y="3972"/>
                </a:moveTo>
                <a:lnTo>
                  <a:pt x="2929" y="3900"/>
                </a:lnTo>
                <a:lnTo>
                  <a:pt x="2923" y="3875"/>
                </a:lnTo>
                <a:lnTo>
                  <a:pt x="2968" y="3981"/>
                </a:lnTo>
                <a:lnTo>
                  <a:pt x="2918" y="3972"/>
                </a:lnTo>
                <a:close/>
                <a:moveTo>
                  <a:pt x="3016" y="4186"/>
                </a:moveTo>
                <a:lnTo>
                  <a:pt x="3070" y="4168"/>
                </a:lnTo>
                <a:lnTo>
                  <a:pt x="3091" y="4198"/>
                </a:lnTo>
                <a:lnTo>
                  <a:pt x="3040" y="4220"/>
                </a:lnTo>
                <a:lnTo>
                  <a:pt x="3016" y="4186"/>
                </a:lnTo>
                <a:close/>
                <a:moveTo>
                  <a:pt x="2998" y="4152"/>
                </a:moveTo>
                <a:lnTo>
                  <a:pt x="3022" y="4137"/>
                </a:lnTo>
                <a:lnTo>
                  <a:pt x="3054" y="4137"/>
                </a:lnTo>
                <a:lnTo>
                  <a:pt x="3030" y="4150"/>
                </a:lnTo>
                <a:lnTo>
                  <a:pt x="2998" y="4152"/>
                </a:lnTo>
                <a:close/>
                <a:moveTo>
                  <a:pt x="3249" y="4392"/>
                </a:moveTo>
                <a:lnTo>
                  <a:pt x="3191" y="4408"/>
                </a:lnTo>
                <a:lnTo>
                  <a:pt x="3149" y="4431"/>
                </a:lnTo>
                <a:lnTo>
                  <a:pt x="3194" y="4354"/>
                </a:lnTo>
                <a:lnTo>
                  <a:pt x="3249" y="4392"/>
                </a:lnTo>
                <a:close/>
                <a:moveTo>
                  <a:pt x="3177" y="4299"/>
                </a:moveTo>
                <a:lnTo>
                  <a:pt x="3182" y="4266"/>
                </a:lnTo>
                <a:lnTo>
                  <a:pt x="3214" y="4271"/>
                </a:lnTo>
                <a:lnTo>
                  <a:pt x="3196" y="4285"/>
                </a:lnTo>
                <a:lnTo>
                  <a:pt x="3177" y="4299"/>
                </a:lnTo>
                <a:close/>
                <a:moveTo>
                  <a:pt x="3736" y="8039"/>
                </a:moveTo>
                <a:lnTo>
                  <a:pt x="3757" y="8034"/>
                </a:lnTo>
                <a:lnTo>
                  <a:pt x="3768" y="8060"/>
                </a:lnTo>
                <a:lnTo>
                  <a:pt x="3750" y="8049"/>
                </a:lnTo>
                <a:lnTo>
                  <a:pt x="3736" y="8039"/>
                </a:lnTo>
                <a:close/>
                <a:moveTo>
                  <a:pt x="3777" y="8132"/>
                </a:moveTo>
                <a:lnTo>
                  <a:pt x="3771" y="8138"/>
                </a:lnTo>
                <a:lnTo>
                  <a:pt x="3763" y="8134"/>
                </a:lnTo>
                <a:lnTo>
                  <a:pt x="3768" y="8125"/>
                </a:lnTo>
                <a:lnTo>
                  <a:pt x="3777" y="8132"/>
                </a:lnTo>
                <a:close/>
                <a:moveTo>
                  <a:pt x="3713" y="7824"/>
                </a:moveTo>
                <a:lnTo>
                  <a:pt x="3731" y="7812"/>
                </a:lnTo>
                <a:lnTo>
                  <a:pt x="3748" y="7827"/>
                </a:lnTo>
                <a:lnTo>
                  <a:pt x="3729" y="7825"/>
                </a:lnTo>
                <a:lnTo>
                  <a:pt x="3713" y="7824"/>
                </a:lnTo>
                <a:close/>
                <a:moveTo>
                  <a:pt x="3637" y="7486"/>
                </a:moveTo>
                <a:lnTo>
                  <a:pt x="3624" y="7493"/>
                </a:lnTo>
                <a:lnTo>
                  <a:pt x="3615" y="7490"/>
                </a:lnTo>
                <a:lnTo>
                  <a:pt x="3627" y="7481"/>
                </a:lnTo>
                <a:lnTo>
                  <a:pt x="3637" y="7486"/>
                </a:lnTo>
                <a:close/>
                <a:moveTo>
                  <a:pt x="3087" y="4116"/>
                </a:moveTo>
                <a:lnTo>
                  <a:pt x="3082" y="4093"/>
                </a:lnTo>
                <a:lnTo>
                  <a:pt x="3093" y="4077"/>
                </a:lnTo>
                <a:lnTo>
                  <a:pt x="3166" y="4080"/>
                </a:lnTo>
                <a:lnTo>
                  <a:pt x="3087" y="4116"/>
                </a:lnTo>
                <a:close/>
                <a:moveTo>
                  <a:pt x="4264" y="11515"/>
                </a:moveTo>
                <a:lnTo>
                  <a:pt x="4327" y="11488"/>
                </a:lnTo>
                <a:lnTo>
                  <a:pt x="4390" y="11504"/>
                </a:lnTo>
                <a:lnTo>
                  <a:pt x="4311" y="11520"/>
                </a:lnTo>
                <a:lnTo>
                  <a:pt x="4264" y="11515"/>
                </a:lnTo>
                <a:close/>
                <a:moveTo>
                  <a:pt x="4317" y="11459"/>
                </a:moveTo>
                <a:lnTo>
                  <a:pt x="4299" y="11454"/>
                </a:lnTo>
                <a:lnTo>
                  <a:pt x="4287" y="11449"/>
                </a:lnTo>
                <a:lnTo>
                  <a:pt x="4304" y="11442"/>
                </a:lnTo>
                <a:lnTo>
                  <a:pt x="4317" y="11459"/>
                </a:lnTo>
                <a:close/>
                <a:moveTo>
                  <a:pt x="4287" y="11283"/>
                </a:moveTo>
                <a:lnTo>
                  <a:pt x="4307" y="11276"/>
                </a:lnTo>
                <a:lnTo>
                  <a:pt x="4320" y="11285"/>
                </a:lnTo>
                <a:lnTo>
                  <a:pt x="4302" y="11282"/>
                </a:lnTo>
                <a:lnTo>
                  <a:pt x="4287" y="11283"/>
                </a:lnTo>
                <a:close/>
                <a:moveTo>
                  <a:pt x="4306" y="10759"/>
                </a:moveTo>
                <a:lnTo>
                  <a:pt x="4297" y="10763"/>
                </a:lnTo>
                <a:lnTo>
                  <a:pt x="4285" y="10758"/>
                </a:lnTo>
                <a:lnTo>
                  <a:pt x="4298" y="10751"/>
                </a:lnTo>
                <a:lnTo>
                  <a:pt x="4306" y="10759"/>
                </a:lnTo>
                <a:close/>
                <a:moveTo>
                  <a:pt x="4008" y="7988"/>
                </a:moveTo>
                <a:lnTo>
                  <a:pt x="4005" y="8011"/>
                </a:lnTo>
                <a:lnTo>
                  <a:pt x="3997" y="7993"/>
                </a:lnTo>
                <a:lnTo>
                  <a:pt x="3967" y="7992"/>
                </a:lnTo>
                <a:lnTo>
                  <a:pt x="4008" y="7988"/>
                </a:lnTo>
                <a:close/>
                <a:moveTo>
                  <a:pt x="3945" y="7717"/>
                </a:moveTo>
                <a:lnTo>
                  <a:pt x="3961" y="7718"/>
                </a:lnTo>
                <a:lnTo>
                  <a:pt x="3959" y="7732"/>
                </a:lnTo>
                <a:lnTo>
                  <a:pt x="3953" y="7726"/>
                </a:lnTo>
                <a:lnTo>
                  <a:pt x="3945" y="7717"/>
                </a:lnTo>
                <a:close/>
                <a:moveTo>
                  <a:pt x="3524" y="4149"/>
                </a:moveTo>
                <a:lnTo>
                  <a:pt x="3564" y="4172"/>
                </a:lnTo>
                <a:lnTo>
                  <a:pt x="3516" y="4178"/>
                </a:lnTo>
                <a:lnTo>
                  <a:pt x="3547" y="4168"/>
                </a:lnTo>
                <a:lnTo>
                  <a:pt x="3524" y="4149"/>
                </a:lnTo>
                <a:close/>
                <a:moveTo>
                  <a:pt x="3563" y="3592"/>
                </a:moveTo>
                <a:lnTo>
                  <a:pt x="3595" y="3623"/>
                </a:lnTo>
                <a:lnTo>
                  <a:pt x="3554" y="3648"/>
                </a:lnTo>
                <a:lnTo>
                  <a:pt x="3548" y="3619"/>
                </a:lnTo>
                <a:lnTo>
                  <a:pt x="3563" y="3592"/>
                </a:lnTo>
                <a:close/>
                <a:moveTo>
                  <a:pt x="3792" y="4066"/>
                </a:moveTo>
                <a:lnTo>
                  <a:pt x="3784" y="4091"/>
                </a:lnTo>
                <a:lnTo>
                  <a:pt x="3748" y="4081"/>
                </a:lnTo>
                <a:lnTo>
                  <a:pt x="3772" y="4074"/>
                </a:lnTo>
                <a:lnTo>
                  <a:pt x="3792" y="4066"/>
                </a:lnTo>
                <a:close/>
                <a:moveTo>
                  <a:pt x="3721" y="3787"/>
                </a:moveTo>
                <a:lnTo>
                  <a:pt x="3730" y="3781"/>
                </a:lnTo>
                <a:lnTo>
                  <a:pt x="3740" y="3773"/>
                </a:lnTo>
                <a:lnTo>
                  <a:pt x="3738" y="3788"/>
                </a:lnTo>
                <a:lnTo>
                  <a:pt x="3721" y="3787"/>
                </a:lnTo>
                <a:close/>
                <a:moveTo>
                  <a:pt x="4762" y="3311"/>
                </a:moveTo>
                <a:lnTo>
                  <a:pt x="4716" y="3324"/>
                </a:lnTo>
                <a:lnTo>
                  <a:pt x="4732" y="3272"/>
                </a:lnTo>
                <a:lnTo>
                  <a:pt x="4728" y="3306"/>
                </a:lnTo>
                <a:lnTo>
                  <a:pt x="4762" y="3311"/>
                </a:lnTo>
                <a:close/>
                <a:moveTo>
                  <a:pt x="5421" y="2864"/>
                </a:moveTo>
                <a:lnTo>
                  <a:pt x="5424" y="2874"/>
                </a:lnTo>
                <a:lnTo>
                  <a:pt x="5424" y="2890"/>
                </a:lnTo>
                <a:lnTo>
                  <a:pt x="5403" y="2881"/>
                </a:lnTo>
                <a:lnTo>
                  <a:pt x="5421" y="2864"/>
                </a:lnTo>
                <a:close/>
                <a:moveTo>
                  <a:pt x="5457" y="2804"/>
                </a:moveTo>
                <a:lnTo>
                  <a:pt x="5484" y="2822"/>
                </a:lnTo>
                <a:lnTo>
                  <a:pt x="5447" y="2863"/>
                </a:lnTo>
                <a:lnTo>
                  <a:pt x="5444" y="2820"/>
                </a:lnTo>
                <a:lnTo>
                  <a:pt x="5457" y="2804"/>
                </a:lnTo>
                <a:close/>
                <a:moveTo>
                  <a:pt x="5715" y="2824"/>
                </a:moveTo>
                <a:lnTo>
                  <a:pt x="5721" y="2825"/>
                </a:lnTo>
                <a:lnTo>
                  <a:pt x="5726" y="2827"/>
                </a:lnTo>
                <a:lnTo>
                  <a:pt x="5718" y="2830"/>
                </a:lnTo>
                <a:lnTo>
                  <a:pt x="5715" y="2824"/>
                </a:lnTo>
                <a:close/>
                <a:moveTo>
                  <a:pt x="5756" y="2794"/>
                </a:moveTo>
                <a:lnTo>
                  <a:pt x="5833" y="2750"/>
                </a:lnTo>
                <a:lnTo>
                  <a:pt x="5933" y="2736"/>
                </a:lnTo>
                <a:lnTo>
                  <a:pt x="5817" y="2784"/>
                </a:lnTo>
                <a:lnTo>
                  <a:pt x="5756" y="2794"/>
                </a:lnTo>
                <a:close/>
                <a:moveTo>
                  <a:pt x="5729" y="2680"/>
                </a:moveTo>
                <a:lnTo>
                  <a:pt x="5746" y="2670"/>
                </a:lnTo>
                <a:lnTo>
                  <a:pt x="5761" y="2672"/>
                </a:lnTo>
                <a:lnTo>
                  <a:pt x="5743" y="2680"/>
                </a:lnTo>
                <a:lnTo>
                  <a:pt x="5729" y="2680"/>
                </a:lnTo>
                <a:close/>
                <a:moveTo>
                  <a:pt x="5855" y="2696"/>
                </a:moveTo>
                <a:lnTo>
                  <a:pt x="5859" y="2686"/>
                </a:lnTo>
                <a:lnTo>
                  <a:pt x="5876" y="2675"/>
                </a:lnTo>
                <a:lnTo>
                  <a:pt x="5867" y="2704"/>
                </a:lnTo>
                <a:lnTo>
                  <a:pt x="5855" y="2696"/>
                </a:lnTo>
                <a:close/>
                <a:moveTo>
                  <a:pt x="6243" y="2643"/>
                </a:moveTo>
                <a:lnTo>
                  <a:pt x="6255" y="2639"/>
                </a:lnTo>
                <a:lnTo>
                  <a:pt x="6241" y="2658"/>
                </a:lnTo>
                <a:lnTo>
                  <a:pt x="6250" y="2648"/>
                </a:lnTo>
                <a:lnTo>
                  <a:pt x="6243" y="2643"/>
                </a:lnTo>
                <a:close/>
                <a:moveTo>
                  <a:pt x="6244" y="2628"/>
                </a:moveTo>
                <a:lnTo>
                  <a:pt x="6245" y="2620"/>
                </a:lnTo>
                <a:lnTo>
                  <a:pt x="6248" y="2612"/>
                </a:lnTo>
                <a:lnTo>
                  <a:pt x="6249" y="2619"/>
                </a:lnTo>
                <a:lnTo>
                  <a:pt x="6244" y="2628"/>
                </a:lnTo>
                <a:close/>
                <a:moveTo>
                  <a:pt x="11558" y="10122"/>
                </a:moveTo>
                <a:lnTo>
                  <a:pt x="11584" y="10128"/>
                </a:lnTo>
                <a:lnTo>
                  <a:pt x="11561" y="10139"/>
                </a:lnTo>
                <a:lnTo>
                  <a:pt x="11537" y="10134"/>
                </a:lnTo>
                <a:lnTo>
                  <a:pt x="11558" y="10122"/>
                </a:lnTo>
                <a:close/>
                <a:moveTo>
                  <a:pt x="11538" y="10087"/>
                </a:moveTo>
                <a:lnTo>
                  <a:pt x="11566" y="10074"/>
                </a:lnTo>
                <a:lnTo>
                  <a:pt x="11572" y="10097"/>
                </a:lnTo>
                <a:lnTo>
                  <a:pt x="11557" y="10079"/>
                </a:lnTo>
                <a:lnTo>
                  <a:pt x="11538" y="10087"/>
                </a:lnTo>
                <a:close/>
                <a:moveTo>
                  <a:pt x="11545" y="10182"/>
                </a:moveTo>
                <a:lnTo>
                  <a:pt x="11593" y="10166"/>
                </a:lnTo>
                <a:lnTo>
                  <a:pt x="11642" y="10196"/>
                </a:lnTo>
                <a:lnTo>
                  <a:pt x="11557" y="10224"/>
                </a:lnTo>
                <a:lnTo>
                  <a:pt x="11545" y="10182"/>
                </a:lnTo>
                <a:close/>
                <a:moveTo>
                  <a:pt x="11645" y="10086"/>
                </a:moveTo>
                <a:lnTo>
                  <a:pt x="11619" y="10094"/>
                </a:lnTo>
                <a:lnTo>
                  <a:pt x="11609" y="10068"/>
                </a:lnTo>
                <a:lnTo>
                  <a:pt x="11614" y="10065"/>
                </a:lnTo>
                <a:lnTo>
                  <a:pt x="11645" y="10086"/>
                </a:lnTo>
                <a:close/>
                <a:moveTo>
                  <a:pt x="11604" y="10051"/>
                </a:moveTo>
                <a:lnTo>
                  <a:pt x="11612" y="10044"/>
                </a:lnTo>
                <a:lnTo>
                  <a:pt x="11621" y="10046"/>
                </a:lnTo>
                <a:lnTo>
                  <a:pt x="11613" y="10050"/>
                </a:lnTo>
                <a:lnTo>
                  <a:pt x="11604" y="10051"/>
                </a:lnTo>
                <a:close/>
                <a:moveTo>
                  <a:pt x="11702" y="10143"/>
                </a:moveTo>
                <a:lnTo>
                  <a:pt x="11689" y="10184"/>
                </a:lnTo>
                <a:lnTo>
                  <a:pt x="11650" y="10195"/>
                </a:lnTo>
                <a:lnTo>
                  <a:pt x="11672" y="10168"/>
                </a:lnTo>
                <a:lnTo>
                  <a:pt x="11702" y="10143"/>
                </a:lnTo>
                <a:close/>
                <a:moveTo>
                  <a:pt x="11689" y="10101"/>
                </a:moveTo>
                <a:lnTo>
                  <a:pt x="11700" y="10112"/>
                </a:lnTo>
                <a:lnTo>
                  <a:pt x="11697" y="10122"/>
                </a:lnTo>
                <a:lnTo>
                  <a:pt x="11686" y="10112"/>
                </a:lnTo>
                <a:lnTo>
                  <a:pt x="11689" y="10101"/>
                </a:lnTo>
                <a:close/>
                <a:moveTo>
                  <a:pt x="9951" y="11768"/>
                </a:moveTo>
                <a:lnTo>
                  <a:pt x="9932" y="11765"/>
                </a:lnTo>
                <a:lnTo>
                  <a:pt x="9915" y="11756"/>
                </a:lnTo>
                <a:lnTo>
                  <a:pt x="9937" y="11759"/>
                </a:lnTo>
                <a:lnTo>
                  <a:pt x="9951" y="11768"/>
                </a:lnTo>
                <a:close/>
                <a:moveTo>
                  <a:pt x="9819" y="11880"/>
                </a:moveTo>
                <a:lnTo>
                  <a:pt x="9817" y="11880"/>
                </a:lnTo>
                <a:lnTo>
                  <a:pt x="9817" y="11880"/>
                </a:lnTo>
                <a:lnTo>
                  <a:pt x="9819" y="11880"/>
                </a:lnTo>
                <a:lnTo>
                  <a:pt x="9819" y="11880"/>
                </a:lnTo>
                <a:close/>
                <a:moveTo>
                  <a:pt x="9656" y="11971"/>
                </a:moveTo>
                <a:lnTo>
                  <a:pt x="9649" y="11969"/>
                </a:lnTo>
                <a:lnTo>
                  <a:pt x="9644" y="11969"/>
                </a:lnTo>
                <a:lnTo>
                  <a:pt x="9653" y="11968"/>
                </a:lnTo>
                <a:lnTo>
                  <a:pt x="9656" y="11971"/>
                </a:lnTo>
                <a:close/>
                <a:moveTo>
                  <a:pt x="9626" y="11913"/>
                </a:moveTo>
                <a:lnTo>
                  <a:pt x="9597" y="11892"/>
                </a:lnTo>
                <a:lnTo>
                  <a:pt x="9623" y="11884"/>
                </a:lnTo>
                <a:lnTo>
                  <a:pt x="9609" y="11896"/>
                </a:lnTo>
                <a:lnTo>
                  <a:pt x="9626" y="11913"/>
                </a:lnTo>
                <a:close/>
                <a:moveTo>
                  <a:pt x="9474" y="11982"/>
                </a:moveTo>
                <a:lnTo>
                  <a:pt x="9467" y="11992"/>
                </a:lnTo>
                <a:lnTo>
                  <a:pt x="9461" y="12004"/>
                </a:lnTo>
                <a:lnTo>
                  <a:pt x="9453" y="11986"/>
                </a:lnTo>
                <a:lnTo>
                  <a:pt x="9474" y="11982"/>
                </a:lnTo>
                <a:close/>
                <a:moveTo>
                  <a:pt x="9344" y="11964"/>
                </a:moveTo>
                <a:lnTo>
                  <a:pt x="9337" y="11964"/>
                </a:lnTo>
                <a:lnTo>
                  <a:pt x="9333" y="11962"/>
                </a:lnTo>
                <a:lnTo>
                  <a:pt x="9340" y="11961"/>
                </a:lnTo>
                <a:lnTo>
                  <a:pt x="9344" y="11964"/>
                </a:lnTo>
                <a:close/>
                <a:moveTo>
                  <a:pt x="9321" y="11973"/>
                </a:moveTo>
                <a:lnTo>
                  <a:pt x="9323" y="11987"/>
                </a:lnTo>
                <a:lnTo>
                  <a:pt x="9326" y="12000"/>
                </a:lnTo>
                <a:lnTo>
                  <a:pt x="9314" y="11990"/>
                </a:lnTo>
                <a:lnTo>
                  <a:pt x="9321" y="11973"/>
                </a:lnTo>
                <a:close/>
                <a:moveTo>
                  <a:pt x="8990" y="11943"/>
                </a:moveTo>
                <a:lnTo>
                  <a:pt x="8992" y="11940"/>
                </a:lnTo>
                <a:lnTo>
                  <a:pt x="8993" y="11938"/>
                </a:lnTo>
                <a:lnTo>
                  <a:pt x="8993" y="11941"/>
                </a:lnTo>
                <a:lnTo>
                  <a:pt x="8990" y="11943"/>
                </a:lnTo>
                <a:close/>
                <a:moveTo>
                  <a:pt x="9000" y="11997"/>
                </a:moveTo>
                <a:lnTo>
                  <a:pt x="8991" y="12003"/>
                </a:lnTo>
                <a:lnTo>
                  <a:pt x="8982" y="12004"/>
                </a:lnTo>
                <a:lnTo>
                  <a:pt x="8991" y="12000"/>
                </a:lnTo>
                <a:lnTo>
                  <a:pt x="9000" y="11997"/>
                </a:lnTo>
                <a:close/>
                <a:moveTo>
                  <a:pt x="8903" y="12140"/>
                </a:moveTo>
                <a:lnTo>
                  <a:pt x="8899" y="12136"/>
                </a:lnTo>
                <a:lnTo>
                  <a:pt x="8900" y="12134"/>
                </a:lnTo>
                <a:lnTo>
                  <a:pt x="8902" y="12130"/>
                </a:lnTo>
                <a:lnTo>
                  <a:pt x="8903" y="12140"/>
                </a:lnTo>
                <a:close/>
                <a:moveTo>
                  <a:pt x="8830" y="12059"/>
                </a:moveTo>
                <a:lnTo>
                  <a:pt x="8825" y="12060"/>
                </a:lnTo>
                <a:lnTo>
                  <a:pt x="8823" y="12052"/>
                </a:lnTo>
                <a:lnTo>
                  <a:pt x="8827" y="12055"/>
                </a:lnTo>
                <a:lnTo>
                  <a:pt x="8830" y="12059"/>
                </a:lnTo>
                <a:close/>
                <a:moveTo>
                  <a:pt x="8666" y="12104"/>
                </a:moveTo>
                <a:lnTo>
                  <a:pt x="8661" y="12103"/>
                </a:lnTo>
                <a:lnTo>
                  <a:pt x="8658" y="12098"/>
                </a:lnTo>
                <a:lnTo>
                  <a:pt x="8665" y="12098"/>
                </a:lnTo>
                <a:lnTo>
                  <a:pt x="8666" y="12104"/>
                </a:lnTo>
                <a:close/>
                <a:moveTo>
                  <a:pt x="8474" y="12139"/>
                </a:moveTo>
                <a:lnTo>
                  <a:pt x="8462" y="12131"/>
                </a:lnTo>
                <a:lnTo>
                  <a:pt x="8451" y="12124"/>
                </a:lnTo>
                <a:lnTo>
                  <a:pt x="8470" y="12122"/>
                </a:lnTo>
                <a:lnTo>
                  <a:pt x="8474" y="12139"/>
                </a:lnTo>
                <a:close/>
                <a:moveTo>
                  <a:pt x="8460" y="12066"/>
                </a:moveTo>
                <a:lnTo>
                  <a:pt x="8462" y="12057"/>
                </a:lnTo>
                <a:lnTo>
                  <a:pt x="8470" y="12059"/>
                </a:lnTo>
                <a:lnTo>
                  <a:pt x="8465" y="12062"/>
                </a:lnTo>
                <a:lnTo>
                  <a:pt x="8460" y="12066"/>
                </a:lnTo>
                <a:close/>
                <a:moveTo>
                  <a:pt x="8431" y="11995"/>
                </a:moveTo>
                <a:lnTo>
                  <a:pt x="8396" y="12011"/>
                </a:lnTo>
                <a:lnTo>
                  <a:pt x="8415" y="11971"/>
                </a:lnTo>
                <a:lnTo>
                  <a:pt x="8419" y="11986"/>
                </a:lnTo>
                <a:lnTo>
                  <a:pt x="8431" y="11995"/>
                </a:lnTo>
                <a:close/>
                <a:moveTo>
                  <a:pt x="8441" y="12115"/>
                </a:moveTo>
                <a:lnTo>
                  <a:pt x="8423" y="12112"/>
                </a:lnTo>
                <a:lnTo>
                  <a:pt x="8419" y="12096"/>
                </a:lnTo>
                <a:lnTo>
                  <a:pt x="8436" y="12101"/>
                </a:lnTo>
                <a:lnTo>
                  <a:pt x="8441" y="12115"/>
                </a:lnTo>
                <a:close/>
                <a:moveTo>
                  <a:pt x="8242" y="12048"/>
                </a:moveTo>
                <a:lnTo>
                  <a:pt x="8224" y="12085"/>
                </a:lnTo>
                <a:lnTo>
                  <a:pt x="8213" y="12034"/>
                </a:lnTo>
                <a:lnTo>
                  <a:pt x="8203" y="11990"/>
                </a:lnTo>
                <a:lnTo>
                  <a:pt x="8242" y="12048"/>
                </a:lnTo>
                <a:close/>
                <a:moveTo>
                  <a:pt x="7828" y="12122"/>
                </a:moveTo>
                <a:lnTo>
                  <a:pt x="7822" y="12113"/>
                </a:lnTo>
                <a:lnTo>
                  <a:pt x="7829" y="12104"/>
                </a:lnTo>
                <a:lnTo>
                  <a:pt x="7831" y="12111"/>
                </a:lnTo>
                <a:lnTo>
                  <a:pt x="7828" y="12122"/>
                </a:lnTo>
                <a:close/>
                <a:moveTo>
                  <a:pt x="7772" y="12228"/>
                </a:moveTo>
                <a:lnTo>
                  <a:pt x="7773" y="12229"/>
                </a:lnTo>
                <a:lnTo>
                  <a:pt x="7776" y="12230"/>
                </a:lnTo>
                <a:lnTo>
                  <a:pt x="7771" y="12230"/>
                </a:lnTo>
                <a:lnTo>
                  <a:pt x="7772" y="12228"/>
                </a:lnTo>
                <a:close/>
                <a:moveTo>
                  <a:pt x="7768" y="12078"/>
                </a:moveTo>
                <a:lnTo>
                  <a:pt x="7742" y="12069"/>
                </a:lnTo>
                <a:lnTo>
                  <a:pt x="7730" y="12067"/>
                </a:lnTo>
                <a:lnTo>
                  <a:pt x="7770" y="12067"/>
                </a:lnTo>
                <a:lnTo>
                  <a:pt x="7768" y="12078"/>
                </a:lnTo>
                <a:close/>
                <a:moveTo>
                  <a:pt x="7778" y="12106"/>
                </a:moveTo>
                <a:lnTo>
                  <a:pt x="7770" y="12102"/>
                </a:lnTo>
                <a:lnTo>
                  <a:pt x="7771" y="12089"/>
                </a:lnTo>
                <a:lnTo>
                  <a:pt x="7780" y="12096"/>
                </a:lnTo>
                <a:lnTo>
                  <a:pt x="7778" y="12106"/>
                </a:lnTo>
                <a:close/>
                <a:moveTo>
                  <a:pt x="7347" y="12397"/>
                </a:moveTo>
                <a:lnTo>
                  <a:pt x="7340" y="12393"/>
                </a:lnTo>
                <a:lnTo>
                  <a:pt x="7337" y="12388"/>
                </a:lnTo>
                <a:lnTo>
                  <a:pt x="7344" y="12386"/>
                </a:lnTo>
                <a:lnTo>
                  <a:pt x="7347" y="12397"/>
                </a:lnTo>
                <a:close/>
                <a:moveTo>
                  <a:pt x="7191" y="12351"/>
                </a:moveTo>
                <a:lnTo>
                  <a:pt x="7151" y="12341"/>
                </a:lnTo>
                <a:lnTo>
                  <a:pt x="7179" y="12323"/>
                </a:lnTo>
                <a:lnTo>
                  <a:pt x="7193" y="12334"/>
                </a:lnTo>
                <a:lnTo>
                  <a:pt x="7191" y="12351"/>
                </a:lnTo>
                <a:close/>
                <a:moveTo>
                  <a:pt x="7079" y="12256"/>
                </a:moveTo>
                <a:lnTo>
                  <a:pt x="7064" y="12256"/>
                </a:lnTo>
                <a:lnTo>
                  <a:pt x="7058" y="12247"/>
                </a:lnTo>
                <a:lnTo>
                  <a:pt x="7073" y="12250"/>
                </a:lnTo>
                <a:lnTo>
                  <a:pt x="7079" y="12256"/>
                </a:lnTo>
                <a:close/>
                <a:moveTo>
                  <a:pt x="7031" y="12364"/>
                </a:moveTo>
                <a:lnTo>
                  <a:pt x="7005" y="12381"/>
                </a:lnTo>
                <a:lnTo>
                  <a:pt x="6990" y="12377"/>
                </a:lnTo>
                <a:lnTo>
                  <a:pt x="7009" y="12365"/>
                </a:lnTo>
                <a:lnTo>
                  <a:pt x="7021" y="12346"/>
                </a:lnTo>
                <a:lnTo>
                  <a:pt x="7003" y="12336"/>
                </a:lnTo>
                <a:lnTo>
                  <a:pt x="7022" y="12326"/>
                </a:lnTo>
                <a:lnTo>
                  <a:pt x="7032" y="12358"/>
                </a:lnTo>
                <a:lnTo>
                  <a:pt x="7031" y="12364"/>
                </a:lnTo>
                <a:close/>
                <a:moveTo>
                  <a:pt x="6941" y="12449"/>
                </a:moveTo>
                <a:lnTo>
                  <a:pt x="6939" y="12447"/>
                </a:lnTo>
                <a:lnTo>
                  <a:pt x="6941" y="12447"/>
                </a:lnTo>
                <a:lnTo>
                  <a:pt x="6941" y="12448"/>
                </a:lnTo>
                <a:lnTo>
                  <a:pt x="6941" y="12449"/>
                </a:lnTo>
                <a:close/>
                <a:moveTo>
                  <a:pt x="6907" y="12374"/>
                </a:moveTo>
                <a:lnTo>
                  <a:pt x="6888" y="12353"/>
                </a:lnTo>
                <a:lnTo>
                  <a:pt x="6893" y="12341"/>
                </a:lnTo>
                <a:lnTo>
                  <a:pt x="6914" y="12356"/>
                </a:lnTo>
                <a:lnTo>
                  <a:pt x="6907" y="12374"/>
                </a:lnTo>
                <a:close/>
                <a:moveTo>
                  <a:pt x="6807" y="12363"/>
                </a:moveTo>
                <a:lnTo>
                  <a:pt x="6812" y="12365"/>
                </a:lnTo>
                <a:lnTo>
                  <a:pt x="6818" y="12368"/>
                </a:lnTo>
                <a:lnTo>
                  <a:pt x="6813" y="12368"/>
                </a:lnTo>
                <a:lnTo>
                  <a:pt x="6807" y="12363"/>
                </a:lnTo>
                <a:close/>
                <a:moveTo>
                  <a:pt x="6751" y="12242"/>
                </a:moveTo>
                <a:lnTo>
                  <a:pt x="6735" y="12251"/>
                </a:lnTo>
                <a:lnTo>
                  <a:pt x="6720" y="12260"/>
                </a:lnTo>
                <a:lnTo>
                  <a:pt x="6729" y="12239"/>
                </a:lnTo>
                <a:lnTo>
                  <a:pt x="6751" y="12242"/>
                </a:lnTo>
                <a:close/>
                <a:moveTo>
                  <a:pt x="6748" y="12355"/>
                </a:moveTo>
                <a:lnTo>
                  <a:pt x="6753" y="12359"/>
                </a:lnTo>
                <a:lnTo>
                  <a:pt x="6747" y="12365"/>
                </a:lnTo>
                <a:lnTo>
                  <a:pt x="6749" y="12360"/>
                </a:lnTo>
                <a:lnTo>
                  <a:pt x="6748" y="12355"/>
                </a:lnTo>
                <a:close/>
                <a:moveTo>
                  <a:pt x="6311" y="12500"/>
                </a:moveTo>
                <a:lnTo>
                  <a:pt x="6313" y="12502"/>
                </a:lnTo>
                <a:lnTo>
                  <a:pt x="6311" y="12502"/>
                </a:lnTo>
                <a:lnTo>
                  <a:pt x="6311" y="12500"/>
                </a:lnTo>
                <a:lnTo>
                  <a:pt x="6311" y="12500"/>
                </a:lnTo>
                <a:close/>
                <a:moveTo>
                  <a:pt x="6277" y="12376"/>
                </a:moveTo>
                <a:lnTo>
                  <a:pt x="6278" y="12360"/>
                </a:lnTo>
                <a:lnTo>
                  <a:pt x="6282" y="12351"/>
                </a:lnTo>
                <a:lnTo>
                  <a:pt x="6281" y="12365"/>
                </a:lnTo>
                <a:lnTo>
                  <a:pt x="6277" y="12376"/>
                </a:lnTo>
                <a:close/>
                <a:moveTo>
                  <a:pt x="6115" y="12428"/>
                </a:moveTo>
                <a:lnTo>
                  <a:pt x="6108" y="12430"/>
                </a:lnTo>
                <a:lnTo>
                  <a:pt x="6100" y="12430"/>
                </a:lnTo>
                <a:lnTo>
                  <a:pt x="6106" y="12426"/>
                </a:lnTo>
                <a:lnTo>
                  <a:pt x="6115" y="12428"/>
                </a:lnTo>
                <a:close/>
                <a:moveTo>
                  <a:pt x="6040" y="12391"/>
                </a:moveTo>
                <a:lnTo>
                  <a:pt x="6045" y="12370"/>
                </a:lnTo>
                <a:lnTo>
                  <a:pt x="6078" y="12362"/>
                </a:lnTo>
                <a:lnTo>
                  <a:pt x="6059" y="12384"/>
                </a:lnTo>
                <a:lnTo>
                  <a:pt x="6040" y="12391"/>
                </a:lnTo>
                <a:close/>
                <a:moveTo>
                  <a:pt x="5989" y="12447"/>
                </a:moveTo>
                <a:lnTo>
                  <a:pt x="5993" y="12453"/>
                </a:lnTo>
                <a:lnTo>
                  <a:pt x="5983" y="12454"/>
                </a:lnTo>
                <a:lnTo>
                  <a:pt x="5987" y="12451"/>
                </a:lnTo>
                <a:lnTo>
                  <a:pt x="5989" y="12447"/>
                </a:lnTo>
                <a:close/>
                <a:moveTo>
                  <a:pt x="5965" y="12447"/>
                </a:moveTo>
                <a:lnTo>
                  <a:pt x="5973" y="12446"/>
                </a:lnTo>
                <a:lnTo>
                  <a:pt x="5965" y="12447"/>
                </a:lnTo>
                <a:lnTo>
                  <a:pt x="5973" y="12442"/>
                </a:lnTo>
                <a:lnTo>
                  <a:pt x="5965" y="12447"/>
                </a:lnTo>
                <a:close/>
                <a:moveTo>
                  <a:pt x="5979" y="12383"/>
                </a:moveTo>
                <a:lnTo>
                  <a:pt x="5968" y="12381"/>
                </a:lnTo>
                <a:lnTo>
                  <a:pt x="5960" y="12373"/>
                </a:lnTo>
                <a:lnTo>
                  <a:pt x="5984" y="12373"/>
                </a:lnTo>
                <a:lnTo>
                  <a:pt x="5979" y="12383"/>
                </a:lnTo>
                <a:close/>
                <a:moveTo>
                  <a:pt x="5830" y="12532"/>
                </a:moveTo>
                <a:lnTo>
                  <a:pt x="5859" y="12541"/>
                </a:lnTo>
                <a:lnTo>
                  <a:pt x="5845" y="12549"/>
                </a:lnTo>
                <a:lnTo>
                  <a:pt x="5844" y="12536"/>
                </a:lnTo>
                <a:lnTo>
                  <a:pt x="5830" y="12532"/>
                </a:lnTo>
                <a:close/>
                <a:moveTo>
                  <a:pt x="5777" y="12498"/>
                </a:moveTo>
                <a:lnTo>
                  <a:pt x="5785" y="12481"/>
                </a:lnTo>
                <a:lnTo>
                  <a:pt x="5816" y="12476"/>
                </a:lnTo>
                <a:lnTo>
                  <a:pt x="5798" y="12493"/>
                </a:lnTo>
                <a:lnTo>
                  <a:pt x="5777" y="12498"/>
                </a:lnTo>
                <a:close/>
                <a:moveTo>
                  <a:pt x="5803" y="12555"/>
                </a:moveTo>
                <a:lnTo>
                  <a:pt x="5797" y="12552"/>
                </a:lnTo>
                <a:lnTo>
                  <a:pt x="5799" y="12545"/>
                </a:lnTo>
                <a:lnTo>
                  <a:pt x="5802" y="12550"/>
                </a:lnTo>
                <a:lnTo>
                  <a:pt x="5803" y="12555"/>
                </a:lnTo>
                <a:close/>
                <a:moveTo>
                  <a:pt x="5733" y="12488"/>
                </a:moveTo>
                <a:lnTo>
                  <a:pt x="5729" y="12491"/>
                </a:lnTo>
                <a:lnTo>
                  <a:pt x="5729" y="12486"/>
                </a:lnTo>
                <a:lnTo>
                  <a:pt x="5732" y="12488"/>
                </a:lnTo>
                <a:lnTo>
                  <a:pt x="5733" y="12488"/>
                </a:lnTo>
                <a:close/>
                <a:moveTo>
                  <a:pt x="5729" y="12531"/>
                </a:moveTo>
                <a:lnTo>
                  <a:pt x="5746" y="12523"/>
                </a:lnTo>
                <a:lnTo>
                  <a:pt x="5752" y="12535"/>
                </a:lnTo>
                <a:lnTo>
                  <a:pt x="5769" y="12546"/>
                </a:lnTo>
                <a:lnTo>
                  <a:pt x="5729" y="12531"/>
                </a:lnTo>
                <a:close/>
                <a:moveTo>
                  <a:pt x="5419" y="12546"/>
                </a:moveTo>
                <a:lnTo>
                  <a:pt x="5354" y="12556"/>
                </a:lnTo>
                <a:lnTo>
                  <a:pt x="5261" y="12575"/>
                </a:lnTo>
                <a:lnTo>
                  <a:pt x="5361" y="12538"/>
                </a:lnTo>
                <a:lnTo>
                  <a:pt x="5419" y="12546"/>
                </a:lnTo>
                <a:close/>
                <a:moveTo>
                  <a:pt x="5403" y="12589"/>
                </a:moveTo>
                <a:lnTo>
                  <a:pt x="5397" y="12586"/>
                </a:lnTo>
                <a:lnTo>
                  <a:pt x="5393" y="12578"/>
                </a:lnTo>
                <a:lnTo>
                  <a:pt x="5398" y="12583"/>
                </a:lnTo>
                <a:lnTo>
                  <a:pt x="5403" y="12589"/>
                </a:lnTo>
                <a:close/>
                <a:moveTo>
                  <a:pt x="5380" y="12628"/>
                </a:moveTo>
                <a:lnTo>
                  <a:pt x="5368" y="12631"/>
                </a:lnTo>
                <a:lnTo>
                  <a:pt x="5356" y="12626"/>
                </a:lnTo>
                <a:lnTo>
                  <a:pt x="5366" y="12625"/>
                </a:lnTo>
                <a:lnTo>
                  <a:pt x="5380" y="12628"/>
                </a:lnTo>
                <a:close/>
                <a:moveTo>
                  <a:pt x="5011" y="12643"/>
                </a:moveTo>
                <a:lnTo>
                  <a:pt x="5025" y="12633"/>
                </a:lnTo>
                <a:lnTo>
                  <a:pt x="5030" y="12625"/>
                </a:lnTo>
                <a:lnTo>
                  <a:pt x="5057" y="12628"/>
                </a:lnTo>
                <a:lnTo>
                  <a:pt x="5011" y="12643"/>
                </a:lnTo>
                <a:close/>
                <a:moveTo>
                  <a:pt x="4871" y="12574"/>
                </a:moveTo>
                <a:lnTo>
                  <a:pt x="4835" y="12586"/>
                </a:lnTo>
                <a:lnTo>
                  <a:pt x="4833" y="12569"/>
                </a:lnTo>
                <a:lnTo>
                  <a:pt x="4885" y="12554"/>
                </a:lnTo>
                <a:lnTo>
                  <a:pt x="4894" y="12512"/>
                </a:lnTo>
                <a:lnTo>
                  <a:pt x="4932" y="12591"/>
                </a:lnTo>
                <a:lnTo>
                  <a:pt x="4871" y="12574"/>
                </a:lnTo>
                <a:close/>
                <a:moveTo>
                  <a:pt x="4894" y="12643"/>
                </a:moveTo>
                <a:lnTo>
                  <a:pt x="4893" y="12647"/>
                </a:lnTo>
                <a:lnTo>
                  <a:pt x="4886" y="12645"/>
                </a:lnTo>
                <a:lnTo>
                  <a:pt x="4890" y="12644"/>
                </a:lnTo>
                <a:lnTo>
                  <a:pt x="4894" y="12643"/>
                </a:lnTo>
                <a:close/>
                <a:moveTo>
                  <a:pt x="4863" y="12620"/>
                </a:moveTo>
                <a:lnTo>
                  <a:pt x="4858" y="12619"/>
                </a:lnTo>
                <a:lnTo>
                  <a:pt x="4855" y="12620"/>
                </a:lnTo>
                <a:lnTo>
                  <a:pt x="4866" y="12603"/>
                </a:lnTo>
                <a:lnTo>
                  <a:pt x="4863" y="12620"/>
                </a:lnTo>
                <a:close/>
                <a:moveTo>
                  <a:pt x="4876" y="12648"/>
                </a:moveTo>
                <a:lnTo>
                  <a:pt x="4862" y="12654"/>
                </a:lnTo>
                <a:lnTo>
                  <a:pt x="4851" y="12650"/>
                </a:lnTo>
                <a:lnTo>
                  <a:pt x="4863" y="12649"/>
                </a:lnTo>
                <a:lnTo>
                  <a:pt x="4876" y="12648"/>
                </a:lnTo>
                <a:close/>
                <a:moveTo>
                  <a:pt x="4823" y="12708"/>
                </a:moveTo>
                <a:lnTo>
                  <a:pt x="4815" y="12710"/>
                </a:lnTo>
                <a:lnTo>
                  <a:pt x="4823" y="12708"/>
                </a:lnTo>
                <a:lnTo>
                  <a:pt x="4815" y="12713"/>
                </a:lnTo>
                <a:lnTo>
                  <a:pt x="4823" y="12708"/>
                </a:lnTo>
                <a:close/>
                <a:moveTo>
                  <a:pt x="4783" y="12677"/>
                </a:moveTo>
                <a:lnTo>
                  <a:pt x="4801" y="12662"/>
                </a:lnTo>
                <a:lnTo>
                  <a:pt x="4814" y="12668"/>
                </a:lnTo>
                <a:lnTo>
                  <a:pt x="4804" y="12676"/>
                </a:lnTo>
                <a:lnTo>
                  <a:pt x="4783" y="12677"/>
                </a:lnTo>
                <a:close/>
                <a:moveTo>
                  <a:pt x="4813" y="12642"/>
                </a:moveTo>
                <a:lnTo>
                  <a:pt x="4772" y="12656"/>
                </a:lnTo>
                <a:lnTo>
                  <a:pt x="4755" y="12680"/>
                </a:lnTo>
                <a:lnTo>
                  <a:pt x="4791" y="12634"/>
                </a:lnTo>
                <a:lnTo>
                  <a:pt x="4813" y="12642"/>
                </a:lnTo>
                <a:close/>
                <a:moveTo>
                  <a:pt x="4709" y="12601"/>
                </a:moveTo>
                <a:lnTo>
                  <a:pt x="4734" y="12607"/>
                </a:lnTo>
                <a:lnTo>
                  <a:pt x="4735" y="12639"/>
                </a:lnTo>
                <a:lnTo>
                  <a:pt x="4716" y="12626"/>
                </a:lnTo>
                <a:lnTo>
                  <a:pt x="4709" y="12601"/>
                </a:lnTo>
                <a:close/>
                <a:moveTo>
                  <a:pt x="4693" y="12552"/>
                </a:moveTo>
                <a:lnTo>
                  <a:pt x="4709" y="12551"/>
                </a:lnTo>
                <a:lnTo>
                  <a:pt x="4722" y="12550"/>
                </a:lnTo>
                <a:lnTo>
                  <a:pt x="4714" y="12566"/>
                </a:lnTo>
                <a:lnTo>
                  <a:pt x="4693" y="12552"/>
                </a:lnTo>
                <a:close/>
                <a:moveTo>
                  <a:pt x="4722" y="12690"/>
                </a:moveTo>
                <a:lnTo>
                  <a:pt x="4717" y="12692"/>
                </a:lnTo>
                <a:lnTo>
                  <a:pt x="4712" y="12690"/>
                </a:lnTo>
                <a:lnTo>
                  <a:pt x="4717" y="12687"/>
                </a:lnTo>
                <a:lnTo>
                  <a:pt x="4722" y="12690"/>
                </a:lnTo>
                <a:close/>
                <a:moveTo>
                  <a:pt x="4750" y="12477"/>
                </a:moveTo>
                <a:lnTo>
                  <a:pt x="4741" y="12474"/>
                </a:lnTo>
                <a:lnTo>
                  <a:pt x="4734" y="12467"/>
                </a:lnTo>
                <a:lnTo>
                  <a:pt x="4751" y="12465"/>
                </a:lnTo>
                <a:lnTo>
                  <a:pt x="4750" y="12477"/>
                </a:lnTo>
                <a:close/>
                <a:moveTo>
                  <a:pt x="4770" y="12503"/>
                </a:moveTo>
                <a:lnTo>
                  <a:pt x="4758" y="12507"/>
                </a:lnTo>
                <a:lnTo>
                  <a:pt x="4742" y="12513"/>
                </a:lnTo>
                <a:lnTo>
                  <a:pt x="4749" y="12503"/>
                </a:lnTo>
                <a:lnTo>
                  <a:pt x="4770" y="12503"/>
                </a:lnTo>
                <a:close/>
                <a:moveTo>
                  <a:pt x="4754" y="12575"/>
                </a:moveTo>
                <a:lnTo>
                  <a:pt x="4772" y="12588"/>
                </a:lnTo>
                <a:lnTo>
                  <a:pt x="4748" y="12600"/>
                </a:lnTo>
                <a:lnTo>
                  <a:pt x="4746" y="12587"/>
                </a:lnTo>
                <a:lnTo>
                  <a:pt x="4754" y="12575"/>
                </a:lnTo>
                <a:close/>
                <a:moveTo>
                  <a:pt x="4728" y="12470"/>
                </a:moveTo>
                <a:lnTo>
                  <a:pt x="4722" y="12477"/>
                </a:lnTo>
                <a:lnTo>
                  <a:pt x="4720" y="12468"/>
                </a:lnTo>
                <a:lnTo>
                  <a:pt x="4726" y="12467"/>
                </a:lnTo>
                <a:lnTo>
                  <a:pt x="4728" y="12470"/>
                </a:lnTo>
                <a:close/>
                <a:moveTo>
                  <a:pt x="4150" y="8372"/>
                </a:moveTo>
                <a:lnTo>
                  <a:pt x="4143" y="8391"/>
                </a:lnTo>
                <a:lnTo>
                  <a:pt x="4121" y="8403"/>
                </a:lnTo>
                <a:lnTo>
                  <a:pt x="4130" y="8382"/>
                </a:lnTo>
                <a:lnTo>
                  <a:pt x="4150" y="8372"/>
                </a:lnTo>
                <a:close/>
                <a:moveTo>
                  <a:pt x="4104" y="8309"/>
                </a:moveTo>
                <a:lnTo>
                  <a:pt x="4126" y="8306"/>
                </a:lnTo>
                <a:lnTo>
                  <a:pt x="4144" y="8305"/>
                </a:lnTo>
                <a:lnTo>
                  <a:pt x="4127" y="8319"/>
                </a:lnTo>
                <a:lnTo>
                  <a:pt x="4104" y="8309"/>
                </a:lnTo>
                <a:close/>
                <a:moveTo>
                  <a:pt x="4797" y="12470"/>
                </a:moveTo>
                <a:lnTo>
                  <a:pt x="4790" y="12477"/>
                </a:lnTo>
                <a:lnTo>
                  <a:pt x="4783" y="12475"/>
                </a:lnTo>
                <a:lnTo>
                  <a:pt x="4791" y="12468"/>
                </a:lnTo>
                <a:lnTo>
                  <a:pt x="4797" y="12470"/>
                </a:lnTo>
                <a:close/>
                <a:moveTo>
                  <a:pt x="4802" y="12518"/>
                </a:moveTo>
                <a:lnTo>
                  <a:pt x="4793" y="12523"/>
                </a:lnTo>
                <a:lnTo>
                  <a:pt x="4786" y="12527"/>
                </a:lnTo>
                <a:lnTo>
                  <a:pt x="4788" y="12516"/>
                </a:lnTo>
                <a:lnTo>
                  <a:pt x="4802" y="12518"/>
                </a:lnTo>
                <a:close/>
                <a:moveTo>
                  <a:pt x="4837" y="12657"/>
                </a:moveTo>
                <a:lnTo>
                  <a:pt x="4837" y="12653"/>
                </a:lnTo>
                <a:lnTo>
                  <a:pt x="4846" y="12652"/>
                </a:lnTo>
                <a:lnTo>
                  <a:pt x="4841" y="12654"/>
                </a:lnTo>
                <a:lnTo>
                  <a:pt x="4837" y="12657"/>
                </a:lnTo>
                <a:close/>
                <a:moveTo>
                  <a:pt x="4843" y="12719"/>
                </a:moveTo>
                <a:lnTo>
                  <a:pt x="4842" y="12708"/>
                </a:lnTo>
                <a:lnTo>
                  <a:pt x="4848" y="12703"/>
                </a:lnTo>
                <a:lnTo>
                  <a:pt x="4852" y="12710"/>
                </a:lnTo>
                <a:lnTo>
                  <a:pt x="4843" y="12719"/>
                </a:lnTo>
                <a:close/>
                <a:moveTo>
                  <a:pt x="4127" y="7974"/>
                </a:moveTo>
                <a:lnTo>
                  <a:pt x="4122" y="7959"/>
                </a:lnTo>
                <a:lnTo>
                  <a:pt x="4126" y="7936"/>
                </a:lnTo>
                <a:lnTo>
                  <a:pt x="4149" y="7952"/>
                </a:lnTo>
                <a:lnTo>
                  <a:pt x="4127" y="7974"/>
                </a:lnTo>
                <a:close/>
                <a:moveTo>
                  <a:pt x="4173" y="8007"/>
                </a:moveTo>
                <a:lnTo>
                  <a:pt x="4160" y="8012"/>
                </a:lnTo>
                <a:lnTo>
                  <a:pt x="4145" y="8018"/>
                </a:lnTo>
                <a:lnTo>
                  <a:pt x="4157" y="7994"/>
                </a:lnTo>
                <a:lnTo>
                  <a:pt x="4173" y="8007"/>
                </a:lnTo>
                <a:close/>
                <a:moveTo>
                  <a:pt x="4797" y="12113"/>
                </a:moveTo>
                <a:lnTo>
                  <a:pt x="4782" y="12112"/>
                </a:lnTo>
                <a:lnTo>
                  <a:pt x="4768" y="12108"/>
                </a:lnTo>
                <a:lnTo>
                  <a:pt x="4786" y="12103"/>
                </a:lnTo>
                <a:lnTo>
                  <a:pt x="4797" y="12113"/>
                </a:lnTo>
                <a:close/>
                <a:moveTo>
                  <a:pt x="4381" y="7840"/>
                </a:moveTo>
                <a:lnTo>
                  <a:pt x="4368" y="7844"/>
                </a:lnTo>
                <a:lnTo>
                  <a:pt x="4353" y="7848"/>
                </a:lnTo>
                <a:lnTo>
                  <a:pt x="4366" y="7831"/>
                </a:lnTo>
                <a:lnTo>
                  <a:pt x="4381" y="7840"/>
                </a:lnTo>
                <a:close/>
                <a:moveTo>
                  <a:pt x="4266" y="7281"/>
                </a:moveTo>
                <a:lnTo>
                  <a:pt x="4279" y="7281"/>
                </a:lnTo>
                <a:lnTo>
                  <a:pt x="4281" y="7299"/>
                </a:lnTo>
                <a:lnTo>
                  <a:pt x="4273" y="7288"/>
                </a:lnTo>
                <a:lnTo>
                  <a:pt x="4266" y="7281"/>
                </a:lnTo>
                <a:close/>
                <a:moveTo>
                  <a:pt x="11214" y="9975"/>
                </a:moveTo>
                <a:lnTo>
                  <a:pt x="11200" y="9972"/>
                </a:lnTo>
                <a:lnTo>
                  <a:pt x="11186" y="9971"/>
                </a:lnTo>
                <a:lnTo>
                  <a:pt x="11205" y="9962"/>
                </a:lnTo>
                <a:lnTo>
                  <a:pt x="11214" y="9975"/>
                </a:lnTo>
                <a:close/>
                <a:moveTo>
                  <a:pt x="11239" y="10096"/>
                </a:moveTo>
                <a:lnTo>
                  <a:pt x="11225" y="10100"/>
                </a:lnTo>
                <a:lnTo>
                  <a:pt x="11213" y="10101"/>
                </a:lnTo>
                <a:lnTo>
                  <a:pt x="11222" y="10089"/>
                </a:lnTo>
                <a:lnTo>
                  <a:pt x="11239" y="10096"/>
                </a:lnTo>
                <a:close/>
                <a:moveTo>
                  <a:pt x="11270" y="10074"/>
                </a:moveTo>
                <a:lnTo>
                  <a:pt x="11263" y="10079"/>
                </a:lnTo>
                <a:lnTo>
                  <a:pt x="11254" y="10077"/>
                </a:lnTo>
                <a:lnTo>
                  <a:pt x="11260" y="10075"/>
                </a:lnTo>
                <a:lnTo>
                  <a:pt x="11270" y="10074"/>
                </a:lnTo>
                <a:close/>
                <a:moveTo>
                  <a:pt x="11396" y="10013"/>
                </a:moveTo>
                <a:lnTo>
                  <a:pt x="11368" y="10044"/>
                </a:lnTo>
                <a:lnTo>
                  <a:pt x="11375" y="10030"/>
                </a:lnTo>
                <a:lnTo>
                  <a:pt x="11349" y="10012"/>
                </a:lnTo>
                <a:lnTo>
                  <a:pt x="11396" y="10013"/>
                </a:lnTo>
                <a:close/>
                <a:moveTo>
                  <a:pt x="11497" y="10219"/>
                </a:moveTo>
                <a:lnTo>
                  <a:pt x="11477" y="10246"/>
                </a:lnTo>
                <a:lnTo>
                  <a:pt x="11437" y="10264"/>
                </a:lnTo>
                <a:lnTo>
                  <a:pt x="11451" y="10236"/>
                </a:lnTo>
                <a:lnTo>
                  <a:pt x="11497" y="10219"/>
                </a:lnTo>
                <a:close/>
                <a:moveTo>
                  <a:pt x="11440" y="10320"/>
                </a:moveTo>
                <a:lnTo>
                  <a:pt x="11440" y="10310"/>
                </a:lnTo>
                <a:lnTo>
                  <a:pt x="11439" y="10299"/>
                </a:lnTo>
                <a:lnTo>
                  <a:pt x="11449" y="10306"/>
                </a:lnTo>
                <a:lnTo>
                  <a:pt x="11440" y="10320"/>
                </a:lnTo>
                <a:close/>
                <a:moveTo>
                  <a:pt x="11460" y="10212"/>
                </a:moveTo>
                <a:lnTo>
                  <a:pt x="11464" y="10210"/>
                </a:lnTo>
                <a:lnTo>
                  <a:pt x="11468" y="10213"/>
                </a:lnTo>
                <a:lnTo>
                  <a:pt x="11456" y="10219"/>
                </a:lnTo>
                <a:lnTo>
                  <a:pt x="11460" y="10212"/>
                </a:lnTo>
                <a:close/>
                <a:moveTo>
                  <a:pt x="11664" y="10270"/>
                </a:moveTo>
                <a:lnTo>
                  <a:pt x="11674" y="10264"/>
                </a:lnTo>
                <a:lnTo>
                  <a:pt x="11689" y="10270"/>
                </a:lnTo>
                <a:lnTo>
                  <a:pt x="11675" y="10273"/>
                </a:lnTo>
                <a:lnTo>
                  <a:pt x="11664" y="10270"/>
                </a:lnTo>
                <a:close/>
                <a:moveTo>
                  <a:pt x="10388" y="11640"/>
                </a:moveTo>
                <a:lnTo>
                  <a:pt x="10370" y="11637"/>
                </a:lnTo>
                <a:lnTo>
                  <a:pt x="10375" y="11618"/>
                </a:lnTo>
                <a:lnTo>
                  <a:pt x="10383" y="11622"/>
                </a:lnTo>
                <a:lnTo>
                  <a:pt x="10388" y="11640"/>
                </a:lnTo>
                <a:close/>
                <a:moveTo>
                  <a:pt x="9891" y="11851"/>
                </a:moveTo>
                <a:lnTo>
                  <a:pt x="9881" y="11852"/>
                </a:lnTo>
                <a:lnTo>
                  <a:pt x="9886" y="11863"/>
                </a:lnTo>
                <a:lnTo>
                  <a:pt x="9864" y="11857"/>
                </a:lnTo>
                <a:lnTo>
                  <a:pt x="9891" y="11851"/>
                </a:lnTo>
                <a:close/>
                <a:moveTo>
                  <a:pt x="9248" y="11948"/>
                </a:moveTo>
                <a:lnTo>
                  <a:pt x="9243" y="11941"/>
                </a:lnTo>
                <a:lnTo>
                  <a:pt x="9242" y="11935"/>
                </a:lnTo>
                <a:lnTo>
                  <a:pt x="9253" y="11936"/>
                </a:lnTo>
                <a:lnTo>
                  <a:pt x="9248" y="11948"/>
                </a:lnTo>
                <a:close/>
                <a:moveTo>
                  <a:pt x="9009" y="11933"/>
                </a:moveTo>
                <a:lnTo>
                  <a:pt x="9011" y="11926"/>
                </a:lnTo>
                <a:lnTo>
                  <a:pt x="9016" y="11926"/>
                </a:lnTo>
                <a:lnTo>
                  <a:pt x="9014" y="11931"/>
                </a:lnTo>
                <a:lnTo>
                  <a:pt x="9009" y="11933"/>
                </a:lnTo>
                <a:close/>
                <a:moveTo>
                  <a:pt x="8948" y="11911"/>
                </a:moveTo>
                <a:lnTo>
                  <a:pt x="8948" y="11907"/>
                </a:lnTo>
                <a:lnTo>
                  <a:pt x="8953" y="11905"/>
                </a:lnTo>
                <a:lnTo>
                  <a:pt x="8951" y="11908"/>
                </a:lnTo>
                <a:lnTo>
                  <a:pt x="8948" y="11911"/>
                </a:lnTo>
                <a:close/>
                <a:moveTo>
                  <a:pt x="8852" y="12009"/>
                </a:moveTo>
                <a:lnTo>
                  <a:pt x="8849" y="12019"/>
                </a:lnTo>
                <a:lnTo>
                  <a:pt x="8841" y="12023"/>
                </a:lnTo>
                <a:lnTo>
                  <a:pt x="8841" y="12010"/>
                </a:lnTo>
                <a:lnTo>
                  <a:pt x="8852" y="12009"/>
                </a:lnTo>
                <a:close/>
                <a:moveTo>
                  <a:pt x="8804" y="12037"/>
                </a:moveTo>
                <a:lnTo>
                  <a:pt x="8800" y="12037"/>
                </a:lnTo>
                <a:lnTo>
                  <a:pt x="8797" y="12033"/>
                </a:lnTo>
                <a:lnTo>
                  <a:pt x="8806" y="12031"/>
                </a:lnTo>
                <a:lnTo>
                  <a:pt x="8804" y="12037"/>
                </a:lnTo>
                <a:close/>
                <a:moveTo>
                  <a:pt x="8624" y="12110"/>
                </a:moveTo>
                <a:lnTo>
                  <a:pt x="8627" y="12107"/>
                </a:lnTo>
                <a:lnTo>
                  <a:pt x="8628" y="12111"/>
                </a:lnTo>
                <a:lnTo>
                  <a:pt x="8625" y="12110"/>
                </a:lnTo>
                <a:lnTo>
                  <a:pt x="8624" y="12110"/>
                </a:lnTo>
                <a:close/>
                <a:moveTo>
                  <a:pt x="8611" y="12045"/>
                </a:moveTo>
                <a:lnTo>
                  <a:pt x="8602" y="12037"/>
                </a:lnTo>
                <a:lnTo>
                  <a:pt x="8616" y="12027"/>
                </a:lnTo>
                <a:lnTo>
                  <a:pt x="8624" y="12033"/>
                </a:lnTo>
                <a:lnTo>
                  <a:pt x="8611" y="12045"/>
                </a:lnTo>
                <a:close/>
                <a:moveTo>
                  <a:pt x="8567" y="12014"/>
                </a:moveTo>
                <a:lnTo>
                  <a:pt x="8567" y="12017"/>
                </a:lnTo>
                <a:lnTo>
                  <a:pt x="8567" y="12020"/>
                </a:lnTo>
                <a:lnTo>
                  <a:pt x="8566" y="12019"/>
                </a:lnTo>
                <a:lnTo>
                  <a:pt x="8567" y="12014"/>
                </a:lnTo>
                <a:close/>
                <a:moveTo>
                  <a:pt x="8548" y="11922"/>
                </a:moveTo>
                <a:lnTo>
                  <a:pt x="8550" y="11912"/>
                </a:lnTo>
                <a:lnTo>
                  <a:pt x="8560" y="11926"/>
                </a:lnTo>
                <a:lnTo>
                  <a:pt x="8554" y="11925"/>
                </a:lnTo>
                <a:lnTo>
                  <a:pt x="8548" y="11922"/>
                </a:lnTo>
                <a:close/>
                <a:moveTo>
                  <a:pt x="8525" y="11832"/>
                </a:moveTo>
                <a:lnTo>
                  <a:pt x="8539" y="11813"/>
                </a:lnTo>
                <a:lnTo>
                  <a:pt x="8560" y="11823"/>
                </a:lnTo>
                <a:lnTo>
                  <a:pt x="8548" y="11831"/>
                </a:lnTo>
                <a:lnTo>
                  <a:pt x="8525" y="11832"/>
                </a:lnTo>
                <a:close/>
                <a:moveTo>
                  <a:pt x="8465" y="11944"/>
                </a:moveTo>
                <a:lnTo>
                  <a:pt x="8478" y="11931"/>
                </a:lnTo>
                <a:lnTo>
                  <a:pt x="8488" y="11936"/>
                </a:lnTo>
                <a:lnTo>
                  <a:pt x="8481" y="11944"/>
                </a:lnTo>
                <a:lnTo>
                  <a:pt x="8465" y="11944"/>
                </a:lnTo>
                <a:close/>
                <a:moveTo>
                  <a:pt x="8247" y="11878"/>
                </a:moveTo>
                <a:lnTo>
                  <a:pt x="8224" y="11857"/>
                </a:lnTo>
                <a:lnTo>
                  <a:pt x="8252" y="11852"/>
                </a:lnTo>
                <a:lnTo>
                  <a:pt x="8234" y="11863"/>
                </a:lnTo>
                <a:lnTo>
                  <a:pt x="8247" y="11878"/>
                </a:lnTo>
                <a:close/>
                <a:moveTo>
                  <a:pt x="8245" y="11929"/>
                </a:moveTo>
                <a:lnTo>
                  <a:pt x="8237" y="11926"/>
                </a:lnTo>
                <a:lnTo>
                  <a:pt x="8236" y="11921"/>
                </a:lnTo>
                <a:lnTo>
                  <a:pt x="8241" y="11924"/>
                </a:lnTo>
                <a:lnTo>
                  <a:pt x="8245" y="11929"/>
                </a:lnTo>
                <a:close/>
                <a:moveTo>
                  <a:pt x="8129" y="12182"/>
                </a:moveTo>
                <a:lnTo>
                  <a:pt x="8125" y="12177"/>
                </a:lnTo>
                <a:lnTo>
                  <a:pt x="8124" y="12169"/>
                </a:lnTo>
                <a:lnTo>
                  <a:pt x="8130" y="12174"/>
                </a:lnTo>
                <a:lnTo>
                  <a:pt x="8129" y="12182"/>
                </a:lnTo>
                <a:close/>
                <a:moveTo>
                  <a:pt x="7911" y="12027"/>
                </a:moveTo>
                <a:lnTo>
                  <a:pt x="7906" y="12022"/>
                </a:lnTo>
                <a:lnTo>
                  <a:pt x="7898" y="12015"/>
                </a:lnTo>
                <a:lnTo>
                  <a:pt x="7908" y="12017"/>
                </a:lnTo>
                <a:lnTo>
                  <a:pt x="7911" y="12027"/>
                </a:lnTo>
                <a:close/>
                <a:moveTo>
                  <a:pt x="7856" y="12106"/>
                </a:moveTo>
                <a:lnTo>
                  <a:pt x="7863" y="12101"/>
                </a:lnTo>
                <a:lnTo>
                  <a:pt x="7868" y="12096"/>
                </a:lnTo>
                <a:lnTo>
                  <a:pt x="7870" y="12104"/>
                </a:lnTo>
                <a:lnTo>
                  <a:pt x="7856" y="12106"/>
                </a:lnTo>
                <a:close/>
                <a:moveTo>
                  <a:pt x="7808" y="12032"/>
                </a:moveTo>
                <a:lnTo>
                  <a:pt x="7805" y="12032"/>
                </a:lnTo>
                <a:lnTo>
                  <a:pt x="7807" y="12031"/>
                </a:lnTo>
                <a:lnTo>
                  <a:pt x="7807" y="12031"/>
                </a:lnTo>
                <a:lnTo>
                  <a:pt x="7808" y="12032"/>
                </a:lnTo>
                <a:close/>
                <a:moveTo>
                  <a:pt x="7701" y="12038"/>
                </a:moveTo>
                <a:lnTo>
                  <a:pt x="7677" y="12036"/>
                </a:lnTo>
                <a:lnTo>
                  <a:pt x="7646" y="12032"/>
                </a:lnTo>
                <a:lnTo>
                  <a:pt x="7674" y="12019"/>
                </a:lnTo>
                <a:lnTo>
                  <a:pt x="7701" y="12038"/>
                </a:lnTo>
                <a:close/>
                <a:moveTo>
                  <a:pt x="7360" y="12309"/>
                </a:moveTo>
                <a:lnTo>
                  <a:pt x="7354" y="12304"/>
                </a:lnTo>
                <a:lnTo>
                  <a:pt x="7361" y="12298"/>
                </a:lnTo>
                <a:lnTo>
                  <a:pt x="7357" y="12304"/>
                </a:lnTo>
                <a:lnTo>
                  <a:pt x="7360" y="12309"/>
                </a:lnTo>
                <a:close/>
                <a:moveTo>
                  <a:pt x="7247" y="12335"/>
                </a:moveTo>
                <a:lnTo>
                  <a:pt x="7241" y="12330"/>
                </a:lnTo>
                <a:lnTo>
                  <a:pt x="7231" y="12331"/>
                </a:lnTo>
                <a:lnTo>
                  <a:pt x="7258" y="12320"/>
                </a:lnTo>
                <a:lnTo>
                  <a:pt x="7247" y="12335"/>
                </a:lnTo>
                <a:close/>
                <a:moveTo>
                  <a:pt x="7078" y="12298"/>
                </a:moveTo>
                <a:lnTo>
                  <a:pt x="7060" y="12293"/>
                </a:lnTo>
                <a:lnTo>
                  <a:pt x="7072" y="12276"/>
                </a:lnTo>
                <a:lnTo>
                  <a:pt x="7068" y="12286"/>
                </a:lnTo>
                <a:lnTo>
                  <a:pt x="7078" y="12298"/>
                </a:lnTo>
                <a:close/>
                <a:moveTo>
                  <a:pt x="6896" y="12288"/>
                </a:moveTo>
                <a:lnTo>
                  <a:pt x="6890" y="12278"/>
                </a:lnTo>
                <a:lnTo>
                  <a:pt x="6900" y="12278"/>
                </a:lnTo>
                <a:lnTo>
                  <a:pt x="6892" y="12280"/>
                </a:lnTo>
                <a:lnTo>
                  <a:pt x="6896" y="12288"/>
                </a:lnTo>
                <a:close/>
                <a:moveTo>
                  <a:pt x="6513" y="12322"/>
                </a:moveTo>
                <a:lnTo>
                  <a:pt x="6505" y="12325"/>
                </a:lnTo>
                <a:lnTo>
                  <a:pt x="6500" y="12318"/>
                </a:lnTo>
                <a:lnTo>
                  <a:pt x="6506" y="12316"/>
                </a:lnTo>
                <a:lnTo>
                  <a:pt x="6513" y="12322"/>
                </a:lnTo>
                <a:close/>
                <a:moveTo>
                  <a:pt x="6322" y="12332"/>
                </a:moveTo>
                <a:lnTo>
                  <a:pt x="6308" y="12337"/>
                </a:lnTo>
                <a:lnTo>
                  <a:pt x="6297" y="12334"/>
                </a:lnTo>
                <a:lnTo>
                  <a:pt x="6309" y="12326"/>
                </a:lnTo>
                <a:lnTo>
                  <a:pt x="6322" y="12332"/>
                </a:lnTo>
                <a:close/>
                <a:moveTo>
                  <a:pt x="6062" y="12275"/>
                </a:moveTo>
                <a:lnTo>
                  <a:pt x="6061" y="12281"/>
                </a:lnTo>
                <a:lnTo>
                  <a:pt x="6054" y="12276"/>
                </a:lnTo>
                <a:lnTo>
                  <a:pt x="6059" y="12276"/>
                </a:lnTo>
                <a:lnTo>
                  <a:pt x="6062" y="12275"/>
                </a:lnTo>
                <a:close/>
                <a:moveTo>
                  <a:pt x="5983" y="12159"/>
                </a:moveTo>
                <a:lnTo>
                  <a:pt x="5983" y="12159"/>
                </a:lnTo>
                <a:lnTo>
                  <a:pt x="5984" y="12159"/>
                </a:lnTo>
                <a:lnTo>
                  <a:pt x="5984" y="12159"/>
                </a:lnTo>
                <a:lnTo>
                  <a:pt x="5983" y="12159"/>
                </a:lnTo>
                <a:close/>
                <a:moveTo>
                  <a:pt x="5980" y="12295"/>
                </a:moveTo>
                <a:lnTo>
                  <a:pt x="5971" y="12298"/>
                </a:lnTo>
                <a:lnTo>
                  <a:pt x="5961" y="12295"/>
                </a:lnTo>
                <a:lnTo>
                  <a:pt x="5970" y="12294"/>
                </a:lnTo>
                <a:lnTo>
                  <a:pt x="5980" y="12295"/>
                </a:lnTo>
                <a:close/>
                <a:moveTo>
                  <a:pt x="5924" y="12325"/>
                </a:moveTo>
                <a:lnTo>
                  <a:pt x="5912" y="12321"/>
                </a:lnTo>
                <a:lnTo>
                  <a:pt x="5900" y="12318"/>
                </a:lnTo>
                <a:lnTo>
                  <a:pt x="5913" y="12309"/>
                </a:lnTo>
                <a:lnTo>
                  <a:pt x="5924" y="12325"/>
                </a:lnTo>
                <a:close/>
                <a:moveTo>
                  <a:pt x="5849" y="12416"/>
                </a:moveTo>
                <a:lnTo>
                  <a:pt x="5859" y="12419"/>
                </a:lnTo>
                <a:lnTo>
                  <a:pt x="5866" y="12426"/>
                </a:lnTo>
                <a:lnTo>
                  <a:pt x="5859" y="12424"/>
                </a:lnTo>
                <a:lnTo>
                  <a:pt x="5849" y="12416"/>
                </a:lnTo>
                <a:close/>
                <a:moveTo>
                  <a:pt x="5764" y="12412"/>
                </a:moveTo>
                <a:lnTo>
                  <a:pt x="5759" y="12407"/>
                </a:lnTo>
                <a:lnTo>
                  <a:pt x="5759" y="12404"/>
                </a:lnTo>
                <a:lnTo>
                  <a:pt x="5766" y="12407"/>
                </a:lnTo>
                <a:lnTo>
                  <a:pt x="5764" y="12412"/>
                </a:lnTo>
                <a:close/>
                <a:moveTo>
                  <a:pt x="5540" y="12334"/>
                </a:moveTo>
                <a:lnTo>
                  <a:pt x="5533" y="12335"/>
                </a:lnTo>
                <a:lnTo>
                  <a:pt x="5528" y="12330"/>
                </a:lnTo>
                <a:lnTo>
                  <a:pt x="5536" y="12328"/>
                </a:lnTo>
                <a:lnTo>
                  <a:pt x="5540" y="12334"/>
                </a:lnTo>
                <a:close/>
                <a:moveTo>
                  <a:pt x="5498" y="12579"/>
                </a:moveTo>
                <a:lnTo>
                  <a:pt x="5499" y="12579"/>
                </a:lnTo>
                <a:lnTo>
                  <a:pt x="5501" y="12579"/>
                </a:lnTo>
                <a:lnTo>
                  <a:pt x="5499" y="12579"/>
                </a:lnTo>
                <a:lnTo>
                  <a:pt x="5498" y="12579"/>
                </a:lnTo>
                <a:close/>
                <a:moveTo>
                  <a:pt x="5430" y="12508"/>
                </a:moveTo>
                <a:lnTo>
                  <a:pt x="5429" y="12491"/>
                </a:lnTo>
                <a:lnTo>
                  <a:pt x="5429" y="12474"/>
                </a:lnTo>
                <a:lnTo>
                  <a:pt x="5444" y="12493"/>
                </a:lnTo>
                <a:lnTo>
                  <a:pt x="5430" y="12508"/>
                </a:lnTo>
                <a:close/>
                <a:moveTo>
                  <a:pt x="5449" y="12512"/>
                </a:moveTo>
                <a:lnTo>
                  <a:pt x="5449" y="12522"/>
                </a:lnTo>
                <a:lnTo>
                  <a:pt x="5435" y="12521"/>
                </a:lnTo>
                <a:lnTo>
                  <a:pt x="5443" y="12517"/>
                </a:lnTo>
                <a:lnTo>
                  <a:pt x="5449" y="12512"/>
                </a:lnTo>
                <a:close/>
                <a:moveTo>
                  <a:pt x="5235" y="12523"/>
                </a:moveTo>
                <a:lnTo>
                  <a:pt x="5237" y="12524"/>
                </a:lnTo>
                <a:lnTo>
                  <a:pt x="5238" y="12524"/>
                </a:lnTo>
                <a:lnTo>
                  <a:pt x="5235" y="12524"/>
                </a:lnTo>
                <a:lnTo>
                  <a:pt x="5235" y="12523"/>
                </a:lnTo>
                <a:close/>
                <a:moveTo>
                  <a:pt x="5048" y="12570"/>
                </a:moveTo>
                <a:lnTo>
                  <a:pt x="5043" y="12615"/>
                </a:lnTo>
                <a:lnTo>
                  <a:pt x="5015" y="12594"/>
                </a:lnTo>
                <a:lnTo>
                  <a:pt x="5018" y="12582"/>
                </a:lnTo>
                <a:lnTo>
                  <a:pt x="5043" y="12577"/>
                </a:lnTo>
                <a:lnTo>
                  <a:pt x="5030" y="12563"/>
                </a:lnTo>
                <a:lnTo>
                  <a:pt x="5048" y="12570"/>
                </a:lnTo>
                <a:close/>
                <a:moveTo>
                  <a:pt x="9854" y="11103"/>
                </a:moveTo>
                <a:lnTo>
                  <a:pt x="9856" y="11103"/>
                </a:lnTo>
                <a:lnTo>
                  <a:pt x="9856" y="11103"/>
                </a:lnTo>
                <a:lnTo>
                  <a:pt x="9856" y="11103"/>
                </a:lnTo>
                <a:lnTo>
                  <a:pt x="9854" y="11103"/>
                </a:lnTo>
                <a:close/>
                <a:moveTo>
                  <a:pt x="10128" y="10924"/>
                </a:moveTo>
                <a:lnTo>
                  <a:pt x="10129" y="10923"/>
                </a:lnTo>
                <a:lnTo>
                  <a:pt x="10132" y="10924"/>
                </a:lnTo>
                <a:lnTo>
                  <a:pt x="10129" y="10927"/>
                </a:lnTo>
                <a:lnTo>
                  <a:pt x="10128" y="10924"/>
                </a:lnTo>
                <a:close/>
                <a:moveTo>
                  <a:pt x="11120" y="10078"/>
                </a:moveTo>
                <a:lnTo>
                  <a:pt x="11104" y="10078"/>
                </a:lnTo>
                <a:lnTo>
                  <a:pt x="11090" y="10078"/>
                </a:lnTo>
                <a:lnTo>
                  <a:pt x="11110" y="10075"/>
                </a:lnTo>
                <a:lnTo>
                  <a:pt x="11120" y="10078"/>
                </a:lnTo>
                <a:close/>
                <a:moveTo>
                  <a:pt x="11135" y="10126"/>
                </a:moveTo>
                <a:lnTo>
                  <a:pt x="11132" y="10131"/>
                </a:lnTo>
                <a:lnTo>
                  <a:pt x="11125" y="10129"/>
                </a:lnTo>
                <a:lnTo>
                  <a:pt x="11130" y="10128"/>
                </a:lnTo>
                <a:lnTo>
                  <a:pt x="11135" y="10126"/>
                </a:lnTo>
                <a:close/>
                <a:moveTo>
                  <a:pt x="11133" y="10278"/>
                </a:moveTo>
                <a:lnTo>
                  <a:pt x="11203" y="10288"/>
                </a:lnTo>
                <a:lnTo>
                  <a:pt x="11219" y="10316"/>
                </a:lnTo>
                <a:lnTo>
                  <a:pt x="11160" y="10299"/>
                </a:lnTo>
                <a:lnTo>
                  <a:pt x="11133" y="10278"/>
                </a:lnTo>
                <a:close/>
                <a:moveTo>
                  <a:pt x="11189" y="10375"/>
                </a:moveTo>
                <a:lnTo>
                  <a:pt x="11169" y="10350"/>
                </a:lnTo>
                <a:lnTo>
                  <a:pt x="11167" y="10330"/>
                </a:lnTo>
                <a:lnTo>
                  <a:pt x="11188" y="10348"/>
                </a:lnTo>
                <a:lnTo>
                  <a:pt x="11189" y="10375"/>
                </a:lnTo>
                <a:close/>
                <a:moveTo>
                  <a:pt x="10463" y="11318"/>
                </a:moveTo>
                <a:lnTo>
                  <a:pt x="10463" y="11314"/>
                </a:lnTo>
                <a:lnTo>
                  <a:pt x="10468" y="11320"/>
                </a:lnTo>
                <a:lnTo>
                  <a:pt x="10467" y="11320"/>
                </a:lnTo>
                <a:lnTo>
                  <a:pt x="10463" y="11318"/>
                </a:lnTo>
                <a:close/>
                <a:moveTo>
                  <a:pt x="10347" y="11507"/>
                </a:moveTo>
                <a:lnTo>
                  <a:pt x="10339" y="11514"/>
                </a:lnTo>
                <a:lnTo>
                  <a:pt x="10334" y="11513"/>
                </a:lnTo>
                <a:lnTo>
                  <a:pt x="10341" y="11511"/>
                </a:lnTo>
                <a:lnTo>
                  <a:pt x="10347" y="11507"/>
                </a:lnTo>
                <a:close/>
                <a:moveTo>
                  <a:pt x="10313" y="11504"/>
                </a:moveTo>
                <a:lnTo>
                  <a:pt x="10310" y="11502"/>
                </a:lnTo>
                <a:lnTo>
                  <a:pt x="10306" y="11502"/>
                </a:lnTo>
                <a:lnTo>
                  <a:pt x="10310" y="11501"/>
                </a:lnTo>
                <a:lnTo>
                  <a:pt x="10313" y="11504"/>
                </a:lnTo>
                <a:close/>
                <a:moveTo>
                  <a:pt x="10189" y="11607"/>
                </a:moveTo>
                <a:lnTo>
                  <a:pt x="10189" y="11607"/>
                </a:lnTo>
                <a:lnTo>
                  <a:pt x="10189" y="11607"/>
                </a:lnTo>
                <a:lnTo>
                  <a:pt x="10187" y="11609"/>
                </a:lnTo>
                <a:lnTo>
                  <a:pt x="10189" y="11607"/>
                </a:lnTo>
                <a:close/>
                <a:moveTo>
                  <a:pt x="10118" y="11546"/>
                </a:moveTo>
                <a:lnTo>
                  <a:pt x="10080" y="11532"/>
                </a:lnTo>
                <a:lnTo>
                  <a:pt x="10091" y="11514"/>
                </a:lnTo>
                <a:lnTo>
                  <a:pt x="10137" y="11535"/>
                </a:lnTo>
                <a:lnTo>
                  <a:pt x="10118" y="11546"/>
                </a:lnTo>
                <a:close/>
                <a:moveTo>
                  <a:pt x="10128" y="11586"/>
                </a:moveTo>
                <a:lnTo>
                  <a:pt x="10126" y="11579"/>
                </a:lnTo>
                <a:lnTo>
                  <a:pt x="10127" y="11571"/>
                </a:lnTo>
                <a:lnTo>
                  <a:pt x="10128" y="11579"/>
                </a:lnTo>
                <a:lnTo>
                  <a:pt x="10128" y="11586"/>
                </a:lnTo>
                <a:close/>
                <a:moveTo>
                  <a:pt x="10127" y="11566"/>
                </a:moveTo>
                <a:lnTo>
                  <a:pt x="10123" y="11562"/>
                </a:lnTo>
                <a:lnTo>
                  <a:pt x="10126" y="11556"/>
                </a:lnTo>
                <a:lnTo>
                  <a:pt x="10127" y="11561"/>
                </a:lnTo>
                <a:lnTo>
                  <a:pt x="10127" y="11566"/>
                </a:lnTo>
                <a:close/>
                <a:moveTo>
                  <a:pt x="10048" y="11705"/>
                </a:moveTo>
                <a:lnTo>
                  <a:pt x="10019" y="11705"/>
                </a:lnTo>
                <a:lnTo>
                  <a:pt x="10007" y="11678"/>
                </a:lnTo>
                <a:lnTo>
                  <a:pt x="10038" y="11686"/>
                </a:lnTo>
                <a:lnTo>
                  <a:pt x="10048" y="11705"/>
                </a:lnTo>
                <a:close/>
                <a:moveTo>
                  <a:pt x="9563" y="11901"/>
                </a:moveTo>
                <a:lnTo>
                  <a:pt x="9549" y="11893"/>
                </a:lnTo>
                <a:lnTo>
                  <a:pt x="9546" y="11877"/>
                </a:lnTo>
                <a:lnTo>
                  <a:pt x="9566" y="11883"/>
                </a:lnTo>
                <a:lnTo>
                  <a:pt x="9563" y="11901"/>
                </a:lnTo>
                <a:close/>
                <a:moveTo>
                  <a:pt x="9350" y="11931"/>
                </a:moveTo>
                <a:lnTo>
                  <a:pt x="9345" y="11935"/>
                </a:lnTo>
                <a:lnTo>
                  <a:pt x="9339" y="11935"/>
                </a:lnTo>
                <a:lnTo>
                  <a:pt x="9341" y="11930"/>
                </a:lnTo>
                <a:lnTo>
                  <a:pt x="9350" y="11931"/>
                </a:lnTo>
                <a:close/>
                <a:moveTo>
                  <a:pt x="9341" y="11829"/>
                </a:moveTo>
                <a:lnTo>
                  <a:pt x="9340" y="11836"/>
                </a:lnTo>
                <a:lnTo>
                  <a:pt x="9333" y="11835"/>
                </a:lnTo>
                <a:lnTo>
                  <a:pt x="9337" y="11832"/>
                </a:lnTo>
                <a:lnTo>
                  <a:pt x="9341" y="11829"/>
                </a:lnTo>
                <a:close/>
                <a:moveTo>
                  <a:pt x="9281" y="11897"/>
                </a:moveTo>
                <a:lnTo>
                  <a:pt x="9286" y="11896"/>
                </a:lnTo>
                <a:lnTo>
                  <a:pt x="9279" y="11899"/>
                </a:lnTo>
                <a:lnTo>
                  <a:pt x="9279" y="11894"/>
                </a:lnTo>
                <a:lnTo>
                  <a:pt x="9281" y="11897"/>
                </a:lnTo>
                <a:close/>
                <a:moveTo>
                  <a:pt x="9280" y="11911"/>
                </a:moveTo>
                <a:lnTo>
                  <a:pt x="9280" y="11911"/>
                </a:lnTo>
                <a:lnTo>
                  <a:pt x="9280" y="11910"/>
                </a:lnTo>
                <a:lnTo>
                  <a:pt x="9281" y="11910"/>
                </a:lnTo>
                <a:lnTo>
                  <a:pt x="9280" y="11911"/>
                </a:lnTo>
                <a:close/>
                <a:moveTo>
                  <a:pt x="9268" y="11840"/>
                </a:moveTo>
                <a:lnTo>
                  <a:pt x="9254" y="11850"/>
                </a:lnTo>
                <a:lnTo>
                  <a:pt x="9242" y="11854"/>
                </a:lnTo>
                <a:lnTo>
                  <a:pt x="9270" y="11836"/>
                </a:lnTo>
                <a:lnTo>
                  <a:pt x="9268" y="11840"/>
                </a:lnTo>
                <a:close/>
                <a:moveTo>
                  <a:pt x="9228" y="11860"/>
                </a:moveTo>
                <a:lnTo>
                  <a:pt x="9200" y="11865"/>
                </a:lnTo>
                <a:lnTo>
                  <a:pt x="9201" y="11837"/>
                </a:lnTo>
                <a:lnTo>
                  <a:pt x="9224" y="11829"/>
                </a:lnTo>
                <a:lnTo>
                  <a:pt x="9228" y="11860"/>
                </a:lnTo>
                <a:close/>
                <a:moveTo>
                  <a:pt x="9114" y="11758"/>
                </a:moveTo>
                <a:lnTo>
                  <a:pt x="9083" y="11775"/>
                </a:lnTo>
                <a:lnTo>
                  <a:pt x="9098" y="11759"/>
                </a:lnTo>
                <a:lnTo>
                  <a:pt x="9104" y="11739"/>
                </a:lnTo>
                <a:lnTo>
                  <a:pt x="9114" y="11758"/>
                </a:lnTo>
                <a:close/>
                <a:moveTo>
                  <a:pt x="9113" y="11924"/>
                </a:moveTo>
                <a:lnTo>
                  <a:pt x="9112" y="11915"/>
                </a:lnTo>
                <a:lnTo>
                  <a:pt x="9123" y="11913"/>
                </a:lnTo>
                <a:lnTo>
                  <a:pt x="9121" y="11919"/>
                </a:lnTo>
                <a:lnTo>
                  <a:pt x="9113" y="11924"/>
                </a:lnTo>
                <a:close/>
                <a:moveTo>
                  <a:pt x="9000" y="11840"/>
                </a:moveTo>
                <a:lnTo>
                  <a:pt x="8996" y="11846"/>
                </a:lnTo>
                <a:lnTo>
                  <a:pt x="8992" y="11850"/>
                </a:lnTo>
                <a:lnTo>
                  <a:pt x="8992" y="11842"/>
                </a:lnTo>
                <a:lnTo>
                  <a:pt x="9000" y="11840"/>
                </a:lnTo>
                <a:close/>
                <a:moveTo>
                  <a:pt x="8931" y="11866"/>
                </a:moveTo>
                <a:lnTo>
                  <a:pt x="8937" y="11861"/>
                </a:lnTo>
                <a:lnTo>
                  <a:pt x="8946" y="11863"/>
                </a:lnTo>
                <a:lnTo>
                  <a:pt x="8940" y="11865"/>
                </a:lnTo>
                <a:lnTo>
                  <a:pt x="8931" y="11866"/>
                </a:lnTo>
                <a:close/>
                <a:moveTo>
                  <a:pt x="8892" y="11810"/>
                </a:moveTo>
                <a:lnTo>
                  <a:pt x="8876" y="11822"/>
                </a:lnTo>
                <a:lnTo>
                  <a:pt x="8855" y="11812"/>
                </a:lnTo>
                <a:lnTo>
                  <a:pt x="8872" y="11808"/>
                </a:lnTo>
                <a:lnTo>
                  <a:pt x="8892" y="11810"/>
                </a:lnTo>
                <a:close/>
                <a:moveTo>
                  <a:pt x="8912" y="12031"/>
                </a:moveTo>
                <a:lnTo>
                  <a:pt x="8906" y="12025"/>
                </a:lnTo>
                <a:lnTo>
                  <a:pt x="8904" y="12018"/>
                </a:lnTo>
                <a:lnTo>
                  <a:pt x="8918" y="12019"/>
                </a:lnTo>
                <a:lnTo>
                  <a:pt x="8912" y="12031"/>
                </a:lnTo>
                <a:close/>
                <a:moveTo>
                  <a:pt x="8890" y="11934"/>
                </a:moveTo>
                <a:lnTo>
                  <a:pt x="8881" y="11935"/>
                </a:lnTo>
                <a:lnTo>
                  <a:pt x="8888" y="11926"/>
                </a:lnTo>
                <a:lnTo>
                  <a:pt x="8895" y="11930"/>
                </a:lnTo>
                <a:lnTo>
                  <a:pt x="8890" y="11934"/>
                </a:lnTo>
                <a:close/>
                <a:moveTo>
                  <a:pt x="8889" y="11905"/>
                </a:moveTo>
                <a:lnTo>
                  <a:pt x="8865" y="11912"/>
                </a:lnTo>
                <a:lnTo>
                  <a:pt x="8857" y="11896"/>
                </a:lnTo>
                <a:lnTo>
                  <a:pt x="8876" y="11902"/>
                </a:lnTo>
                <a:lnTo>
                  <a:pt x="8889" y="11905"/>
                </a:lnTo>
                <a:close/>
                <a:moveTo>
                  <a:pt x="8667" y="11995"/>
                </a:moveTo>
                <a:lnTo>
                  <a:pt x="8665" y="11996"/>
                </a:lnTo>
                <a:lnTo>
                  <a:pt x="8661" y="11994"/>
                </a:lnTo>
                <a:lnTo>
                  <a:pt x="8667" y="11991"/>
                </a:lnTo>
                <a:lnTo>
                  <a:pt x="8667" y="11995"/>
                </a:lnTo>
                <a:close/>
                <a:moveTo>
                  <a:pt x="8675" y="12024"/>
                </a:moveTo>
                <a:lnTo>
                  <a:pt x="8674" y="12029"/>
                </a:lnTo>
                <a:lnTo>
                  <a:pt x="8669" y="12025"/>
                </a:lnTo>
                <a:lnTo>
                  <a:pt x="8672" y="12024"/>
                </a:lnTo>
                <a:lnTo>
                  <a:pt x="8675" y="12024"/>
                </a:lnTo>
                <a:close/>
                <a:moveTo>
                  <a:pt x="8373" y="11977"/>
                </a:moveTo>
                <a:lnTo>
                  <a:pt x="8363" y="11978"/>
                </a:lnTo>
                <a:lnTo>
                  <a:pt x="8360" y="11972"/>
                </a:lnTo>
                <a:lnTo>
                  <a:pt x="8368" y="11975"/>
                </a:lnTo>
                <a:lnTo>
                  <a:pt x="8373" y="11977"/>
                </a:lnTo>
                <a:close/>
                <a:moveTo>
                  <a:pt x="8321" y="11992"/>
                </a:moveTo>
                <a:lnTo>
                  <a:pt x="8311" y="11989"/>
                </a:lnTo>
                <a:lnTo>
                  <a:pt x="8304" y="11986"/>
                </a:lnTo>
                <a:lnTo>
                  <a:pt x="8315" y="11983"/>
                </a:lnTo>
                <a:lnTo>
                  <a:pt x="8321" y="11992"/>
                </a:lnTo>
                <a:close/>
                <a:moveTo>
                  <a:pt x="8055" y="12055"/>
                </a:moveTo>
                <a:lnTo>
                  <a:pt x="8040" y="12047"/>
                </a:lnTo>
                <a:lnTo>
                  <a:pt x="8057" y="12051"/>
                </a:lnTo>
                <a:lnTo>
                  <a:pt x="8057" y="12053"/>
                </a:lnTo>
                <a:lnTo>
                  <a:pt x="8055" y="12055"/>
                </a:lnTo>
                <a:close/>
                <a:moveTo>
                  <a:pt x="8079" y="12023"/>
                </a:moveTo>
                <a:lnTo>
                  <a:pt x="8084" y="12029"/>
                </a:lnTo>
                <a:lnTo>
                  <a:pt x="8089" y="12037"/>
                </a:lnTo>
                <a:lnTo>
                  <a:pt x="8083" y="12031"/>
                </a:lnTo>
                <a:lnTo>
                  <a:pt x="8079" y="12023"/>
                </a:lnTo>
                <a:close/>
                <a:moveTo>
                  <a:pt x="8083" y="12001"/>
                </a:moveTo>
                <a:lnTo>
                  <a:pt x="8083" y="11980"/>
                </a:lnTo>
                <a:lnTo>
                  <a:pt x="8052" y="11976"/>
                </a:lnTo>
                <a:lnTo>
                  <a:pt x="8075" y="11931"/>
                </a:lnTo>
                <a:lnTo>
                  <a:pt x="8083" y="12001"/>
                </a:lnTo>
                <a:close/>
                <a:moveTo>
                  <a:pt x="7817" y="11971"/>
                </a:moveTo>
                <a:lnTo>
                  <a:pt x="7798" y="11997"/>
                </a:lnTo>
                <a:lnTo>
                  <a:pt x="7768" y="12004"/>
                </a:lnTo>
                <a:lnTo>
                  <a:pt x="7780" y="11973"/>
                </a:lnTo>
                <a:lnTo>
                  <a:pt x="7817" y="11971"/>
                </a:lnTo>
                <a:close/>
                <a:moveTo>
                  <a:pt x="7775" y="12034"/>
                </a:moveTo>
                <a:lnTo>
                  <a:pt x="7782" y="12032"/>
                </a:lnTo>
                <a:lnTo>
                  <a:pt x="7790" y="12029"/>
                </a:lnTo>
                <a:lnTo>
                  <a:pt x="7785" y="12036"/>
                </a:lnTo>
                <a:lnTo>
                  <a:pt x="7775" y="12034"/>
                </a:lnTo>
                <a:close/>
                <a:moveTo>
                  <a:pt x="7633" y="12148"/>
                </a:moveTo>
                <a:lnTo>
                  <a:pt x="7629" y="12139"/>
                </a:lnTo>
                <a:lnTo>
                  <a:pt x="7637" y="12138"/>
                </a:lnTo>
                <a:lnTo>
                  <a:pt x="7640" y="12145"/>
                </a:lnTo>
                <a:lnTo>
                  <a:pt x="7633" y="12148"/>
                </a:lnTo>
                <a:close/>
                <a:moveTo>
                  <a:pt x="7608" y="12136"/>
                </a:moveTo>
                <a:lnTo>
                  <a:pt x="7607" y="12131"/>
                </a:lnTo>
                <a:lnTo>
                  <a:pt x="7612" y="12126"/>
                </a:lnTo>
                <a:lnTo>
                  <a:pt x="7615" y="12131"/>
                </a:lnTo>
                <a:lnTo>
                  <a:pt x="7608" y="12136"/>
                </a:lnTo>
                <a:close/>
                <a:moveTo>
                  <a:pt x="7626" y="12194"/>
                </a:moveTo>
                <a:lnTo>
                  <a:pt x="7626" y="12197"/>
                </a:lnTo>
                <a:lnTo>
                  <a:pt x="7624" y="12202"/>
                </a:lnTo>
                <a:lnTo>
                  <a:pt x="7621" y="12196"/>
                </a:lnTo>
                <a:lnTo>
                  <a:pt x="7626" y="12194"/>
                </a:lnTo>
                <a:close/>
                <a:moveTo>
                  <a:pt x="7349" y="12265"/>
                </a:moveTo>
                <a:lnTo>
                  <a:pt x="7351" y="12271"/>
                </a:lnTo>
                <a:lnTo>
                  <a:pt x="7349" y="12279"/>
                </a:lnTo>
                <a:lnTo>
                  <a:pt x="7349" y="12272"/>
                </a:lnTo>
                <a:lnTo>
                  <a:pt x="7349" y="12265"/>
                </a:lnTo>
                <a:close/>
                <a:moveTo>
                  <a:pt x="7349" y="12265"/>
                </a:moveTo>
                <a:lnTo>
                  <a:pt x="7353" y="12253"/>
                </a:lnTo>
                <a:lnTo>
                  <a:pt x="7366" y="12248"/>
                </a:lnTo>
                <a:lnTo>
                  <a:pt x="7358" y="12257"/>
                </a:lnTo>
                <a:lnTo>
                  <a:pt x="7349" y="12265"/>
                </a:lnTo>
                <a:close/>
                <a:moveTo>
                  <a:pt x="7368" y="12218"/>
                </a:moveTo>
                <a:lnTo>
                  <a:pt x="7377" y="12214"/>
                </a:lnTo>
                <a:lnTo>
                  <a:pt x="7385" y="12220"/>
                </a:lnTo>
                <a:lnTo>
                  <a:pt x="7377" y="12219"/>
                </a:lnTo>
                <a:lnTo>
                  <a:pt x="7368" y="12218"/>
                </a:lnTo>
                <a:close/>
                <a:moveTo>
                  <a:pt x="7361" y="12205"/>
                </a:moveTo>
                <a:lnTo>
                  <a:pt x="7342" y="12204"/>
                </a:lnTo>
                <a:lnTo>
                  <a:pt x="7348" y="12195"/>
                </a:lnTo>
                <a:lnTo>
                  <a:pt x="7357" y="12197"/>
                </a:lnTo>
                <a:lnTo>
                  <a:pt x="7361" y="12205"/>
                </a:lnTo>
                <a:close/>
                <a:moveTo>
                  <a:pt x="7004" y="12250"/>
                </a:moveTo>
                <a:lnTo>
                  <a:pt x="7002" y="12242"/>
                </a:lnTo>
                <a:lnTo>
                  <a:pt x="7008" y="12239"/>
                </a:lnTo>
                <a:lnTo>
                  <a:pt x="7011" y="12246"/>
                </a:lnTo>
                <a:lnTo>
                  <a:pt x="7004" y="12250"/>
                </a:lnTo>
                <a:close/>
                <a:moveTo>
                  <a:pt x="6860" y="12279"/>
                </a:moveTo>
                <a:lnTo>
                  <a:pt x="6853" y="12293"/>
                </a:lnTo>
                <a:lnTo>
                  <a:pt x="6849" y="12267"/>
                </a:lnTo>
                <a:lnTo>
                  <a:pt x="6862" y="12270"/>
                </a:lnTo>
                <a:lnTo>
                  <a:pt x="6860" y="12279"/>
                </a:lnTo>
                <a:close/>
                <a:moveTo>
                  <a:pt x="6814" y="12205"/>
                </a:moveTo>
                <a:lnTo>
                  <a:pt x="6818" y="12199"/>
                </a:lnTo>
                <a:lnTo>
                  <a:pt x="6807" y="12195"/>
                </a:lnTo>
                <a:lnTo>
                  <a:pt x="6827" y="12208"/>
                </a:lnTo>
                <a:lnTo>
                  <a:pt x="6814" y="12205"/>
                </a:lnTo>
                <a:close/>
                <a:moveTo>
                  <a:pt x="6761" y="12140"/>
                </a:moveTo>
                <a:lnTo>
                  <a:pt x="6752" y="12143"/>
                </a:lnTo>
                <a:lnTo>
                  <a:pt x="6748" y="12131"/>
                </a:lnTo>
                <a:lnTo>
                  <a:pt x="6758" y="12130"/>
                </a:lnTo>
                <a:lnTo>
                  <a:pt x="6761" y="12140"/>
                </a:lnTo>
                <a:close/>
                <a:moveTo>
                  <a:pt x="5844" y="12406"/>
                </a:moveTo>
                <a:lnTo>
                  <a:pt x="5834" y="12404"/>
                </a:lnTo>
                <a:lnTo>
                  <a:pt x="5847" y="12396"/>
                </a:lnTo>
                <a:lnTo>
                  <a:pt x="5839" y="12401"/>
                </a:lnTo>
                <a:lnTo>
                  <a:pt x="5844" y="12406"/>
                </a:lnTo>
                <a:close/>
                <a:moveTo>
                  <a:pt x="5845" y="12458"/>
                </a:moveTo>
                <a:lnTo>
                  <a:pt x="5841" y="12457"/>
                </a:lnTo>
                <a:lnTo>
                  <a:pt x="5843" y="12452"/>
                </a:lnTo>
                <a:lnTo>
                  <a:pt x="5844" y="12454"/>
                </a:lnTo>
                <a:lnTo>
                  <a:pt x="5845" y="12458"/>
                </a:lnTo>
                <a:close/>
                <a:moveTo>
                  <a:pt x="5709" y="12250"/>
                </a:moveTo>
                <a:lnTo>
                  <a:pt x="5708" y="12255"/>
                </a:lnTo>
                <a:lnTo>
                  <a:pt x="5700" y="12252"/>
                </a:lnTo>
                <a:lnTo>
                  <a:pt x="5705" y="12251"/>
                </a:lnTo>
                <a:lnTo>
                  <a:pt x="5709" y="12250"/>
                </a:lnTo>
                <a:close/>
                <a:moveTo>
                  <a:pt x="5336" y="12354"/>
                </a:moveTo>
                <a:lnTo>
                  <a:pt x="5336" y="12355"/>
                </a:lnTo>
                <a:lnTo>
                  <a:pt x="5336" y="12354"/>
                </a:lnTo>
                <a:lnTo>
                  <a:pt x="5336" y="12355"/>
                </a:lnTo>
                <a:lnTo>
                  <a:pt x="5336" y="12354"/>
                </a:lnTo>
                <a:close/>
                <a:moveTo>
                  <a:pt x="5373" y="12252"/>
                </a:moveTo>
                <a:lnTo>
                  <a:pt x="5372" y="12243"/>
                </a:lnTo>
                <a:lnTo>
                  <a:pt x="5391" y="12236"/>
                </a:lnTo>
                <a:lnTo>
                  <a:pt x="5384" y="12244"/>
                </a:lnTo>
                <a:lnTo>
                  <a:pt x="5373" y="12252"/>
                </a:lnTo>
                <a:close/>
                <a:moveTo>
                  <a:pt x="5337" y="12270"/>
                </a:moveTo>
                <a:lnTo>
                  <a:pt x="5349" y="12266"/>
                </a:lnTo>
                <a:lnTo>
                  <a:pt x="5360" y="12269"/>
                </a:lnTo>
                <a:lnTo>
                  <a:pt x="5349" y="12272"/>
                </a:lnTo>
                <a:lnTo>
                  <a:pt x="5337" y="12270"/>
                </a:lnTo>
                <a:close/>
                <a:moveTo>
                  <a:pt x="5438" y="12446"/>
                </a:moveTo>
                <a:lnTo>
                  <a:pt x="5434" y="12447"/>
                </a:lnTo>
                <a:lnTo>
                  <a:pt x="5429" y="12448"/>
                </a:lnTo>
                <a:lnTo>
                  <a:pt x="5433" y="12443"/>
                </a:lnTo>
                <a:lnTo>
                  <a:pt x="5438" y="12446"/>
                </a:lnTo>
                <a:close/>
                <a:moveTo>
                  <a:pt x="5448" y="12350"/>
                </a:moveTo>
                <a:lnTo>
                  <a:pt x="5461" y="12355"/>
                </a:lnTo>
                <a:lnTo>
                  <a:pt x="5452" y="12370"/>
                </a:lnTo>
                <a:lnTo>
                  <a:pt x="5443" y="12358"/>
                </a:lnTo>
                <a:lnTo>
                  <a:pt x="5448" y="12350"/>
                </a:lnTo>
                <a:close/>
                <a:moveTo>
                  <a:pt x="5442" y="12248"/>
                </a:moveTo>
                <a:lnTo>
                  <a:pt x="5445" y="12248"/>
                </a:lnTo>
                <a:lnTo>
                  <a:pt x="5442" y="12248"/>
                </a:lnTo>
                <a:lnTo>
                  <a:pt x="5445" y="12244"/>
                </a:lnTo>
                <a:lnTo>
                  <a:pt x="5442" y="12248"/>
                </a:lnTo>
                <a:close/>
                <a:moveTo>
                  <a:pt x="8181" y="11804"/>
                </a:moveTo>
                <a:lnTo>
                  <a:pt x="8171" y="11807"/>
                </a:lnTo>
                <a:lnTo>
                  <a:pt x="8150" y="11807"/>
                </a:lnTo>
                <a:lnTo>
                  <a:pt x="8166" y="11800"/>
                </a:lnTo>
                <a:lnTo>
                  <a:pt x="8181" y="11804"/>
                </a:lnTo>
                <a:close/>
                <a:moveTo>
                  <a:pt x="7778" y="11938"/>
                </a:moveTo>
                <a:lnTo>
                  <a:pt x="7777" y="11943"/>
                </a:lnTo>
                <a:lnTo>
                  <a:pt x="7770" y="11925"/>
                </a:lnTo>
                <a:lnTo>
                  <a:pt x="7775" y="11931"/>
                </a:lnTo>
                <a:lnTo>
                  <a:pt x="7778" y="11938"/>
                </a:lnTo>
                <a:close/>
                <a:moveTo>
                  <a:pt x="7745" y="11938"/>
                </a:moveTo>
                <a:lnTo>
                  <a:pt x="7745" y="11936"/>
                </a:lnTo>
                <a:lnTo>
                  <a:pt x="7744" y="11936"/>
                </a:lnTo>
                <a:lnTo>
                  <a:pt x="7747" y="11936"/>
                </a:lnTo>
                <a:lnTo>
                  <a:pt x="7745" y="11938"/>
                </a:lnTo>
                <a:close/>
                <a:moveTo>
                  <a:pt x="7632" y="11990"/>
                </a:moveTo>
                <a:lnTo>
                  <a:pt x="7638" y="11996"/>
                </a:lnTo>
                <a:lnTo>
                  <a:pt x="7636" y="12003"/>
                </a:lnTo>
                <a:lnTo>
                  <a:pt x="7629" y="11997"/>
                </a:lnTo>
                <a:lnTo>
                  <a:pt x="7632" y="11990"/>
                </a:lnTo>
                <a:close/>
                <a:moveTo>
                  <a:pt x="7503" y="12081"/>
                </a:moveTo>
                <a:lnTo>
                  <a:pt x="7483" y="12079"/>
                </a:lnTo>
                <a:lnTo>
                  <a:pt x="7465" y="12065"/>
                </a:lnTo>
                <a:lnTo>
                  <a:pt x="7483" y="12047"/>
                </a:lnTo>
                <a:lnTo>
                  <a:pt x="7503" y="12081"/>
                </a:lnTo>
                <a:close/>
                <a:moveTo>
                  <a:pt x="6921" y="12218"/>
                </a:moveTo>
                <a:lnTo>
                  <a:pt x="6919" y="12224"/>
                </a:lnTo>
                <a:lnTo>
                  <a:pt x="6918" y="12216"/>
                </a:lnTo>
                <a:lnTo>
                  <a:pt x="6920" y="12218"/>
                </a:lnTo>
                <a:lnTo>
                  <a:pt x="6921" y="12218"/>
                </a:lnTo>
                <a:close/>
                <a:moveTo>
                  <a:pt x="8065" y="11854"/>
                </a:moveTo>
                <a:lnTo>
                  <a:pt x="8069" y="11850"/>
                </a:lnTo>
                <a:lnTo>
                  <a:pt x="8071" y="11855"/>
                </a:lnTo>
                <a:lnTo>
                  <a:pt x="8068" y="11855"/>
                </a:lnTo>
                <a:lnTo>
                  <a:pt x="8065" y="11854"/>
                </a:lnTo>
                <a:close/>
                <a:moveTo>
                  <a:pt x="8098" y="11831"/>
                </a:moveTo>
                <a:lnTo>
                  <a:pt x="8099" y="11829"/>
                </a:lnTo>
                <a:lnTo>
                  <a:pt x="8099" y="11831"/>
                </a:lnTo>
                <a:lnTo>
                  <a:pt x="8098" y="11831"/>
                </a:lnTo>
                <a:lnTo>
                  <a:pt x="8098" y="11831"/>
                </a:lnTo>
                <a:close/>
                <a:moveTo>
                  <a:pt x="8119" y="11767"/>
                </a:moveTo>
                <a:lnTo>
                  <a:pt x="8122" y="11767"/>
                </a:lnTo>
                <a:lnTo>
                  <a:pt x="8126" y="11770"/>
                </a:lnTo>
                <a:lnTo>
                  <a:pt x="8117" y="11773"/>
                </a:lnTo>
                <a:lnTo>
                  <a:pt x="8119" y="11767"/>
                </a:lnTo>
                <a:close/>
                <a:moveTo>
                  <a:pt x="8070" y="11846"/>
                </a:moveTo>
                <a:lnTo>
                  <a:pt x="8064" y="11843"/>
                </a:lnTo>
                <a:lnTo>
                  <a:pt x="8068" y="11836"/>
                </a:lnTo>
                <a:lnTo>
                  <a:pt x="8069" y="11841"/>
                </a:lnTo>
                <a:lnTo>
                  <a:pt x="8070" y="11846"/>
                </a:lnTo>
                <a:close/>
                <a:moveTo>
                  <a:pt x="8083" y="11840"/>
                </a:moveTo>
                <a:lnTo>
                  <a:pt x="8088" y="11828"/>
                </a:lnTo>
                <a:lnTo>
                  <a:pt x="8087" y="11822"/>
                </a:lnTo>
                <a:lnTo>
                  <a:pt x="8096" y="11836"/>
                </a:lnTo>
                <a:lnTo>
                  <a:pt x="8083" y="11840"/>
                </a:lnTo>
                <a:close/>
                <a:moveTo>
                  <a:pt x="8115" y="11824"/>
                </a:moveTo>
                <a:lnTo>
                  <a:pt x="8115" y="11818"/>
                </a:lnTo>
                <a:lnTo>
                  <a:pt x="8120" y="11817"/>
                </a:lnTo>
                <a:lnTo>
                  <a:pt x="8117" y="11821"/>
                </a:lnTo>
                <a:lnTo>
                  <a:pt x="8115" y="11824"/>
                </a:lnTo>
                <a:close/>
                <a:moveTo>
                  <a:pt x="8143" y="11808"/>
                </a:moveTo>
                <a:lnTo>
                  <a:pt x="8145" y="11808"/>
                </a:lnTo>
                <a:lnTo>
                  <a:pt x="8144" y="11809"/>
                </a:lnTo>
                <a:lnTo>
                  <a:pt x="8143" y="11809"/>
                </a:lnTo>
                <a:lnTo>
                  <a:pt x="8143" y="11808"/>
                </a:lnTo>
                <a:close/>
                <a:moveTo>
                  <a:pt x="8154" y="11770"/>
                </a:moveTo>
                <a:lnTo>
                  <a:pt x="8163" y="11770"/>
                </a:lnTo>
                <a:lnTo>
                  <a:pt x="8169" y="11773"/>
                </a:lnTo>
                <a:lnTo>
                  <a:pt x="8163" y="11772"/>
                </a:lnTo>
                <a:lnTo>
                  <a:pt x="8154" y="11770"/>
                </a:lnTo>
                <a:close/>
                <a:moveTo>
                  <a:pt x="8322" y="11781"/>
                </a:moveTo>
                <a:lnTo>
                  <a:pt x="8311" y="11772"/>
                </a:lnTo>
                <a:lnTo>
                  <a:pt x="8316" y="11759"/>
                </a:lnTo>
                <a:lnTo>
                  <a:pt x="8321" y="11768"/>
                </a:lnTo>
                <a:lnTo>
                  <a:pt x="8322" y="11781"/>
                </a:lnTo>
                <a:close/>
                <a:moveTo>
                  <a:pt x="8325" y="11639"/>
                </a:moveTo>
                <a:lnTo>
                  <a:pt x="8329" y="11639"/>
                </a:lnTo>
                <a:lnTo>
                  <a:pt x="8330" y="11641"/>
                </a:lnTo>
                <a:lnTo>
                  <a:pt x="8327" y="11640"/>
                </a:lnTo>
                <a:lnTo>
                  <a:pt x="8325" y="11639"/>
                </a:lnTo>
                <a:close/>
                <a:moveTo>
                  <a:pt x="7413" y="12041"/>
                </a:moveTo>
                <a:lnTo>
                  <a:pt x="7421" y="12029"/>
                </a:lnTo>
                <a:lnTo>
                  <a:pt x="7440" y="12033"/>
                </a:lnTo>
                <a:lnTo>
                  <a:pt x="7427" y="12039"/>
                </a:lnTo>
                <a:lnTo>
                  <a:pt x="7413" y="12041"/>
                </a:lnTo>
                <a:close/>
                <a:moveTo>
                  <a:pt x="7032" y="11999"/>
                </a:moveTo>
                <a:lnTo>
                  <a:pt x="7037" y="11995"/>
                </a:lnTo>
                <a:lnTo>
                  <a:pt x="7037" y="12004"/>
                </a:lnTo>
                <a:lnTo>
                  <a:pt x="7035" y="12001"/>
                </a:lnTo>
                <a:lnTo>
                  <a:pt x="7032" y="11999"/>
                </a:lnTo>
                <a:close/>
                <a:moveTo>
                  <a:pt x="7012" y="12029"/>
                </a:moveTo>
                <a:lnTo>
                  <a:pt x="7005" y="12022"/>
                </a:lnTo>
                <a:lnTo>
                  <a:pt x="7005" y="12014"/>
                </a:lnTo>
                <a:lnTo>
                  <a:pt x="7011" y="12020"/>
                </a:lnTo>
                <a:lnTo>
                  <a:pt x="7012" y="12029"/>
                </a:lnTo>
                <a:close/>
                <a:moveTo>
                  <a:pt x="7014" y="12033"/>
                </a:moveTo>
                <a:lnTo>
                  <a:pt x="7021" y="12038"/>
                </a:lnTo>
                <a:lnTo>
                  <a:pt x="7014" y="12042"/>
                </a:lnTo>
                <a:lnTo>
                  <a:pt x="7016" y="12038"/>
                </a:lnTo>
                <a:lnTo>
                  <a:pt x="7014" y="12033"/>
                </a:lnTo>
                <a:close/>
                <a:moveTo>
                  <a:pt x="6834" y="12075"/>
                </a:moveTo>
                <a:lnTo>
                  <a:pt x="6786" y="12055"/>
                </a:lnTo>
                <a:lnTo>
                  <a:pt x="6800" y="12029"/>
                </a:lnTo>
                <a:lnTo>
                  <a:pt x="6837" y="12057"/>
                </a:lnTo>
                <a:lnTo>
                  <a:pt x="6834" y="12075"/>
                </a:lnTo>
                <a:close/>
                <a:moveTo>
                  <a:pt x="7449" y="12003"/>
                </a:moveTo>
                <a:lnTo>
                  <a:pt x="7449" y="12003"/>
                </a:lnTo>
                <a:lnTo>
                  <a:pt x="7449" y="12003"/>
                </a:lnTo>
                <a:lnTo>
                  <a:pt x="7445" y="12005"/>
                </a:lnTo>
                <a:lnTo>
                  <a:pt x="7449" y="12003"/>
                </a:lnTo>
                <a:close/>
                <a:moveTo>
                  <a:pt x="7442" y="12015"/>
                </a:moveTo>
                <a:lnTo>
                  <a:pt x="7440" y="12010"/>
                </a:lnTo>
                <a:lnTo>
                  <a:pt x="7444" y="12008"/>
                </a:lnTo>
                <a:lnTo>
                  <a:pt x="7445" y="12014"/>
                </a:lnTo>
                <a:lnTo>
                  <a:pt x="7442" y="12015"/>
                </a:lnTo>
                <a:close/>
                <a:moveTo>
                  <a:pt x="6949" y="12075"/>
                </a:moveTo>
                <a:lnTo>
                  <a:pt x="6948" y="12076"/>
                </a:lnTo>
                <a:lnTo>
                  <a:pt x="6948" y="12074"/>
                </a:lnTo>
                <a:lnTo>
                  <a:pt x="6949" y="12075"/>
                </a:lnTo>
                <a:lnTo>
                  <a:pt x="6949" y="12075"/>
                </a:lnTo>
                <a:close/>
                <a:moveTo>
                  <a:pt x="6939" y="12126"/>
                </a:moveTo>
                <a:lnTo>
                  <a:pt x="6932" y="12126"/>
                </a:lnTo>
                <a:lnTo>
                  <a:pt x="6928" y="12121"/>
                </a:lnTo>
                <a:lnTo>
                  <a:pt x="6933" y="12122"/>
                </a:lnTo>
                <a:lnTo>
                  <a:pt x="6939" y="12126"/>
                </a:lnTo>
                <a:close/>
                <a:moveTo>
                  <a:pt x="7505" y="11933"/>
                </a:moveTo>
                <a:lnTo>
                  <a:pt x="7500" y="11935"/>
                </a:lnTo>
                <a:lnTo>
                  <a:pt x="7492" y="11938"/>
                </a:lnTo>
                <a:lnTo>
                  <a:pt x="7498" y="11931"/>
                </a:lnTo>
                <a:lnTo>
                  <a:pt x="7505" y="11933"/>
                </a:lnTo>
                <a:close/>
                <a:moveTo>
                  <a:pt x="7460" y="11896"/>
                </a:moveTo>
                <a:lnTo>
                  <a:pt x="7456" y="11898"/>
                </a:lnTo>
                <a:lnTo>
                  <a:pt x="7452" y="11898"/>
                </a:lnTo>
                <a:lnTo>
                  <a:pt x="7456" y="11897"/>
                </a:lnTo>
                <a:lnTo>
                  <a:pt x="7460" y="11896"/>
                </a:lnTo>
                <a:close/>
                <a:moveTo>
                  <a:pt x="7365" y="11972"/>
                </a:moveTo>
                <a:lnTo>
                  <a:pt x="7353" y="11986"/>
                </a:lnTo>
                <a:lnTo>
                  <a:pt x="7339" y="11987"/>
                </a:lnTo>
                <a:lnTo>
                  <a:pt x="7349" y="11975"/>
                </a:lnTo>
                <a:lnTo>
                  <a:pt x="7365" y="11972"/>
                </a:lnTo>
                <a:close/>
                <a:moveTo>
                  <a:pt x="7208" y="12085"/>
                </a:moveTo>
                <a:lnTo>
                  <a:pt x="7207" y="12088"/>
                </a:lnTo>
                <a:lnTo>
                  <a:pt x="7205" y="12088"/>
                </a:lnTo>
                <a:lnTo>
                  <a:pt x="7207" y="12087"/>
                </a:lnTo>
                <a:lnTo>
                  <a:pt x="7208" y="12085"/>
                </a:lnTo>
                <a:close/>
                <a:moveTo>
                  <a:pt x="7281" y="11919"/>
                </a:moveTo>
                <a:lnTo>
                  <a:pt x="7281" y="11919"/>
                </a:lnTo>
                <a:lnTo>
                  <a:pt x="7281" y="11919"/>
                </a:lnTo>
                <a:lnTo>
                  <a:pt x="7281" y="11919"/>
                </a:lnTo>
                <a:lnTo>
                  <a:pt x="7281" y="11919"/>
                </a:lnTo>
                <a:close/>
                <a:moveTo>
                  <a:pt x="7291" y="11947"/>
                </a:moveTo>
                <a:lnTo>
                  <a:pt x="7293" y="11952"/>
                </a:lnTo>
                <a:lnTo>
                  <a:pt x="7287" y="11953"/>
                </a:lnTo>
                <a:lnTo>
                  <a:pt x="7289" y="11950"/>
                </a:lnTo>
                <a:lnTo>
                  <a:pt x="7291" y="11947"/>
                </a:lnTo>
                <a:close/>
                <a:moveTo>
                  <a:pt x="7330" y="12003"/>
                </a:moveTo>
                <a:lnTo>
                  <a:pt x="7329" y="12004"/>
                </a:lnTo>
                <a:lnTo>
                  <a:pt x="7326" y="12004"/>
                </a:lnTo>
                <a:lnTo>
                  <a:pt x="7329" y="12004"/>
                </a:lnTo>
                <a:lnTo>
                  <a:pt x="7330" y="12003"/>
                </a:lnTo>
                <a:close/>
                <a:moveTo>
                  <a:pt x="7312" y="11941"/>
                </a:moveTo>
                <a:lnTo>
                  <a:pt x="7312" y="11931"/>
                </a:lnTo>
                <a:lnTo>
                  <a:pt x="7320" y="11930"/>
                </a:lnTo>
                <a:lnTo>
                  <a:pt x="7315" y="11935"/>
                </a:lnTo>
                <a:lnTo>
                  <a:pt x="7312" y="11941"/>
                </a:lnTo>
                <a:close/>
                <a:moveTo>
                  <a:pt x="6980" y="12024"/>
                </a:moveTo>
                <a:lnTo>
                  <a:pt x="6976" y="12025"/>
                </a:lnTo>
                <a:lnTo>
                  <a:pt x="6972" y="12027"/>
                </a:lnTo>
                <a:lnTo>
                  <a:pt x="6986" y="12018"/>
                </a:lnTo>
                <a:lnTo>
                  <a:pt x="6980" y="12024"/>
                </a:lnTo>
                <a:close/>
                <a:moveTo>
                  <a:pt x="7186" y="12028"/>
                </a:moveTo>
                <a:lnTo>
                  <a:pt x="7180" y="12032"/>
                </a:lnTo>
                <a:lnTo>
                  <a:pt x="7171" y="12032"/>
                </a:lnTo>
                <a:lnTo>
                  <a:pt x="7179" y="12029"/>
                </a:lnTo>
                <a:lnTo>
                  <a:pt x="7186" y="12028"/>
                </a:lnTo>
                <a:close/>
                <a:moveTo>
                  <a:pt x="7428" y="12001"/>
                </a:moveTo>
                <a:lnTo>
                  <a:pt x="7433" y="11996"/>
                </a:lnTo>
                <a:lnTo>
                  <a:pt x="7440" y="11997"/>
                </a:lnTo>
                <a:lnTo>
                  <a:pt x="7433" y="12000"/>
                </a:lnTo>
                <a:lnTo>
                  <a:pt x="7428" y="12001"/>
                </a:lnTo>
                <a:close/>
                <a:moveTo>
                  <a:pt x="7430" y="11976"/>
                </a:moveTo>
                <a:lnTo>
                  <a:pt x="7417" y="11969"/>
                </a:lnTo>
                <a:lnTo>
                  <a:pt x="7422" y="11958"/>
                </a:lnTo>
                <a:lnTo>
                  <a:pt x="7430" y="11966"/>
                </a:lnTo>
                <a:lnTo>
                  <a:pt x="7430" y="11976"/>
                </a:lnTo>
                <a:close/>
                <a:moveTo>
                  <a:pt x="7413" y="11934"/>
                </a:moveTo>
                <a:lnTo>
                  <a:pt x="7404" y="11935"/>
                </a:lnTo>
                <a:lnTo>
                  <a:pt x="7395" y="11933"/>
                </a:lnTo>
                <a:lnTo>
                  <a:pt x="7407" y="11933"/>
                </a:lnTo>
                <a:lnTo>
                  <a:pt x="7413" y="11934"/>
                </a:lnTo>
                <a:close/>
                <a:moveTo>
                  <a:pt x="6960" y="11609"/>
                </a:moveTo>
                <a:lnTo>
                  <a:pt x="6955" y="11600"/>
                </a:lnTo>
                <a:lnTo>
                  <a:pt x="6948" y="11590"/>
                </a:lnTo>
                <a:lnTo>
                  <a:pt x="6965" y="11598"/>
                </a:lnTo>
                <a:lnTo>
                  <a:pt x="6960" y="11609"/>
                </a:lnTo>
                <a:close/>
                <a:moveTo>
                  <a:pt x="6919" y="12019"/>
                </a:moveTo>
                <a:lnTo>
                  <a:pt x="6919" y="12019"/>
                </a:lnTo>
                <a:lnTo>
                  <a:pt x="6919" y="12019"/>
                </a:lnTo>
                <a:lnTo>
                  <a:pt x="6919" y="12019"/>
                </a:lnTo>
                <a:lnTo>
                  <a:pt x="6919" y="12019"/>
                </a:lnTo>
                <a:close/>
                <a:moveTo>
                  <a:pt x="7323" y="12041"/>
                </a:moveTo>
                <a:lnTo>
                  <a:pt x="7331" y="12039"/>
                </a:lnTo>
                <a:lnTo>
                  <a:pt x="7340" y="12041"/>
                </a:lnTo>
                <a:lnTo>
                  <a:pt x="7334" y="12048"/>
                </a:lnTo>
                <a:lnTo>
                  <a:pt x="7323" y="12041"/>
                </a:lnTo>
                <a:close/>
                <a:moveTo>
                  <a:pt x="7354" y="12036"/>
                </a:moveTo>
                <a:lnTo>
                  <a:pt x="7362" y="12032"/>
                </a:lnTo>
                <a:lnTo>
                  <a:pt x="7368" y="12034"/>
                </a:lnTo>
                <a:lnTo>
                  <a:pt x="7362" y="12037"/>
                </a:lnTo>
                <a:lnTo>
                  <a:pt x="7354" y="12036"/>
                </a:lnTo>
                <a:close/>
                <a:moveTo>
                  <a:pt x="7370" y="11997"/>
                </a:moveTo>
                <a:lnTo>
                  <a:pt x="7370" y="11987"/>
                </a:lnTo>
                <a:lnTo>
                  <a:pt x="7380" y="11986"/>
                </a:lnTo>
                <a:lnTo>
                  <a:pt x="7375" y="11991"/>
                </a:lnTo>
                <a:lnTo>
                  <a:pt x="7370" y="11997"/>
                </a:lnTo>
                <a:close/>
                <a:moveTo>
                  <a:pt x="7468" y="12013"/>
                </a:moveTo>
                <a:lnTo>
                  <a:pt x="7473" y="12015"/>
                </a:lnTo>
                <a:lnTo>
                  <a:pt x="7475" y="12019"/>
                </a:lnTo>
                <a:lnTo>
                  <a:pt x="7460" y="12020"/>
                </a:lnTo>
                <a:lnTo>
                  <a:pt x="7468" y="12013"/>
                </a:lnTo>
                <a:close/>
                <a:moveTo>
                  <a:pt x="7456" y="11927"/>
                </a:moveTo>
                <a:lnTo>
                  <a:pt x="7456" y="11925"/>
                </a:lnTo>
                <a:lnTo>
                  <a:pt x="7458" y="11922"/>
                </a:lnTo>
                <a:lnTo>
                  <a:pt x="7458" y="11925"/>
                </a:lnTo>
                <a:lnTo>
                  <a:pt x="7456" y="11927"/>
                </a:lnTo>
                <a:close/>
                <a:moveTo>
                  <a:pt x="6938" y="12098"/>
                </a:moveTo>
                <a:lnTo>
                  <a:pt x="6953" y="12096"/>
                </a:lnTo>
                <a:lnTo>
                  <a:pt x="6963" y="12102"/>
                </a:lnTo>
                <a:lnTo>
                  <a:pt x="6952" y="12102"/>
                </a:lnTo>
                <a:lnTo>
                  <a:pt x="6938" y="12098"/>
                </a:lnTo>
                <a:close/>
                <a:moveTo>
                  <a:pt x="7185" y="12120"/>
                </a:moveTo>
                <a:lnTo>
                  <a:pt x="7185" y="12120"/>
                </a:lnTo>
                <a:lnTo>
                  <a:pt x="7185" y="12120"/>
                </a:lnTo>
                <a:lnTo>
                  <a:pt x="7185" y="12121"/>
                </a:lnTo>
                <a:lnTo>
                  <a:pt x="7185" y="12120"/>
                </a:lnTo>
                <a:close/>
                <a:moveTo>
                  <a:pt x="7218" y="12146"/>
                </a:moveTo>
                <a:lnTo>
                  <a:pt x="7226" y="12148"/>
                </a:lnTo>
                <a:lnTo>
                  <a:pt x="7233" y="12158"/>
                </a:lnTo>
                <a:lnTo>
                  <a:pt x="7225" y="12154"/>
                </a:lnTo>
                <a:lnTo>
                  <a:pt x="7218" y="12146"/>
                </a:lnTo>
                <a:close/>
                <a:moveTo>
                  <a:pt x="7246" y="12146"/>
                </a:moveTo>
                <a:lnTo>
                  <a:pt x="7236" y="12135"/>
                </a:lnTo>
                <a:lnTo>
                  <a:pt x="7247" y="12125"/>
                </a:lnTo>
                <a:lnTo>
                  <a:pt x="7251" y="12132"/>
                </a:lnTo>
                <a:lnTo>
                  <a:pt x="7246" y="12146"/>
                </a:lnTo>
                <a:close/>
                <a:moveTo>
                  <a:pt x="7342" y="12069"/>
                </a:moveTo>
                <a:lnTo>
                  <a:pt x="7342" y="12069"/>
                </a:lnTo>
                <a:lnTo>
                  <a:pt x="7342" y="12069"/>
                </a:lnTo>
                <a:lnTo>
                  <a:pt x="7342" y="12069"/>
                </a:lnTo>
                <a:lnTo>
                  <a:pt x="7342" y="12069"/>
                </a:lnTo>
                <a:close/>
                <a:moveTo>
                  <a:pt x="7463" y="11980"/>
                </a:moveTo>
                <a:lnTo>
                  <a:pt x="7472" y="11991"/>
                </a:lnTo>
                <a:lnTo>
                  <a:pt x="7478" y="11999"/>
                </a:lnTo>
                <a:lnTo>
                  <a:pt x="7465" y="12000"/>
                </a:lnTo>
                <a:lnTo>
                  <a:pt x="7463" y="11980"/>
                </a:lnTo>
                <a:close/>
                <a:moveTo>
                  <a:pt x="7813" y="11841"/>
                </a:moveTo>
                <a:lnTo>
                  <a:pt x="7813" y="11842"/>
                </a:lnTo>
                <a:lnTo>
                  <a:pt x="7813" y="11841"/>
                </a:lnTo>
                <a:lnTo>
                  <a:pt x="7815" y="11845"/>
                </a:lnTo>
                <a:lnTo>
                  <a:pt x="7813" y="11841"/>
                </a:lnTo>
                <a:close/>
                <a:moveTo>
                  <a:pt x="7814" y="11837"/>
                </a:moveTo>
                <a:lnTo>
                  <a:pt x="7817" y="11831"/>
                </a:lnTo>
                <a:lnTo>
                  <a:pt x="7822" y="11829"/>
                </a:lnTo>
                <a:lnTo>
                  <a:pt x="7819" y="11835"/>
                </a:lnTo>
                <a:lnTo>
                  <a:pt x="7814" y="11837"/>
                </a:lnTo>
                <a:close/>
                <a:moveTo>
                  <a:pt x="7840" y="11865"/>
                </a:moveTo>
                <a:lnTo>
                  <a:pt x="7831" y="11866"/>
                </a:lnTo>
                <a:lnTo>
                  <a:pt x="7831" y="11859"/>
                </a:lnTo>
                <a:lnTo>
                  <a:pt x="7838" y="11861"/>
                </a:lnTo>
                <a:lnTo>
                  <a:pt x="7840" y="11865"/>
                </a:lnTo>
                <a:close/>
                <a:moveTo>
                  <a:pt x="5852" y="11814"/>
                </a:moveTo>
                <a:lnTo>
                  <a:pt x="5853" y="11809"/>
                </a:lnTo>
                <a:lnTo>
                  <a:pt x="5859" y="11814"/>
                </a:lnTo>
                <a:lnTo>
                  <a:pt x="5855" y="11814"/>
                </a:lnTo>
                <a:lnTo>
                  <a:pt x="5852" y="11814"/>
                </a:lnTo>
                <a:close/>
                <a:moveTo>
                  <a:pt x="6446" y="12130"/>
                </a:moveTo>
                <a:lnTo>
                  <a:pt x="6446" y="12127"/>
                </a:lnTo>
                <a:lnTo>
                  <a:pt x="6449" y="12126"/>
                </a:lnTo>
                <a:lnTo>
                  <a:pt x="6450" y="12130"/>
                </a:lnTo>
                <a:lnTo>
                  <a:pt x="6446" y="12130"/>
                </a:lnTo>
                <a:close/>
                <a:moveTo>
                  <a:pt x="6566" y="12094"/>
                </a:moveTo>
                <a:lnTo>
                  <a:pt x="6569" y="12089"/>
                </a:lnTo>
                <a:lnTo>
                  <a:pt x="6575" y="12090"/>
                </a:lnTo>
                <a:lnTo>
                  <a:pt x="6572" y="12096"/>
                </a:lnTo>
                <a:lnTo>
                  <a:pt x="6566" y="12094"/>
                </a:lnTo>
                <a:close/>
                <a:moveTo>
                  <a:pt x="6923" y="12140"/>
                </a:moveTo>
                <a:lnTo>
                  <a:pt x="6923" y="12148"/>
                </a:lnTo>
                <a:lnTo>
                  <a:pt x="6927" y="12154"/>
                </a:lnTo>
                <a:lnTo>
                  <a:pt x="6919" y="12149"/>
                </a:lnTo>
                <a:lnTo>
                  <a:pt x="6923" y="12140"/>
                </a:lnTo>
                <a:close/>
                <a:moveTo>
                  <a:pt x="6949" y="12190"/>
                </a:moveTo>
                <a:lnTo>
                  <a:pt x="6965" y="12190"/>
                </a:lnTo>
                <a:lnTo>
                  <a:pt x="6974" y="12196"/>
                </a:lnTo>
                <a:lnTo>
                  <a:pt x="6958" y="12197"/>
                </a:lnTo>
                <a:lnTo>
                  <a:pt x="6949" y="12190"/>
                </a:lnTo>
                <a:close/>
                <a:moveTo>
                  <a:pt x="7005" y="12097"/>
                </a:moveTo>
                <a:lnTo>
                  <a:pt x="7017" y="12089"/>
                </a:lnTo>
                <a:lnTo>
                  <a:pt x="7018" y="12104"/>
                </a:lnTo>
                <a:lnTo>
                  <a:pt x="7011" y="12101"/>
                </a:lnTo>
                <a:lnTo>
                  <a:pt x="7005" y="12097"/>
                </a:lnTo>
                <a:close/>
                <a:moveTo>
                  <a:pt x="7022" y="12144"/>
                </a:moveTo>
                <a:lnTo>
                  <a:pt x="7021" y="12148"/>
                </a:lnTo>
                <a:lnTo>
                  <a:pt x="7016" y="12148"/>
                </a:lnTo>
                <a:lnTo>
                  <a:pt x="7019" y="12145"/>
                </a:lnTo>
                <a:lnTo>
                  <a:pt x="7022" y="12144"/>
                </a:lnTo>
                <a:close/>
                <a:moveTo>
                  <a:pt x="7030" y="12046"/>
                </a:moveTo>
                <a:lnTo>
                  <a:pt x="7033" y="12050"/>
                </a:lnTo>
                <a:lnTo>
                  <a:pt x="7030" y="12055"/>
                </a:lnTo>
                <a:lnTo>
                  <a:pt x="7030" y="12051"/>
                </a:lnTo>
                <a:lnTo>
                  <a:pt x="7030" y="12046"/>
                </a:lnTo>
                <a:close/>
                <a:moveTo>
                  <a:pt x="7157" y="12092"/>
                </a:moveTo>
                <a:lnTo>
                  <a:pt x="7170" y="12098"/>
                </a:lnTo>
                <a:lnTo>
                  <a:pt x="7154" y="12097"/>
                </a:lnTo>
                <a:lnTo>
                  <a:pt x="7146" y="12102"/>
                </a:lnTo>
                <a:lnTo>
                  <a:pt x="7157" y="12092"/>
                </a:lnTo>
                <a:close/>
                <a:moveTo>
                  <a:pt x="7162" y="12172"/>
                </a:moveTo>
                <a:lnTo>
                  <a:pt x="7177" y="12152"/>
                </a:lnTo>
                <a:lnTo>
                  <a:pt x="7190" y="12139"/>
                </a:lnTo>
                <a:lnTo>
                  <a:pt x="7182" y="12167"/>
                </a:lnTo>
                <a:lnTo>
                  <a:pt x="7162" y="12172"/>
                </a:lnTo>
                <a:close/>
                <a:moveTo>
                  <a:pt x="7211" y="12219"/>
                </a:moveTo>
                <a:lnTo>
                  <a:pt x="7214" y="12222"/>
                </a:lnTo>
                <a:lnTo>
                  <a:pt x="7217" y="12224"/>
                </a:lnTo>
                <a:lnTo>
                  <a:pt x="7211" y="12224"/>
                </a:lnTo>
                <a:lnTo>
                  <a:pt x="7211" y="12219"/>
                </a:lnTo>
                <a:close/>
                <a:moveTo>
                  <a:pt x="7286" y="12106"/>
                </a:moveTo>
                <a:lnTo>
                  <a:pt x="7282" y="12111"/>
                </a:lnTo>
                <a:lnTo>
                  <a:pt x="7277" y="12110"/>
                </a:lnTo>
                <a:lnTo>
                  <a:pt x="7282" y="12108"/>
                </a:lnTo>
                <a:lnTo>
                  <a:pt x="7286" y="12106"/>
                </a:lnTo>
                <a:close/>
                <a:moveTo>
                  <a:pt x="7396" y="12057"/>
                </a:moveTo>
                <a:lnTo>
                  <a:pt x="7414" y="12050"/>
                </a:lnTo>
                <a:lnTo>
                  <a:pt x="7410" y="12066"/>
                </a:lnTo>
                <a:lnTo>
                  <a:pt x="7394" y="12073"/>
                </a:lnTo>
                <a:lnTo>
                  <a:pt x="7396" y="12057"/>
                </a:lnTo>
                <a:close/>
                <a:moveTo>
                  <a:pt x="7603" y="12033"/>
                </a:moveTo>
                <a:lnTo>
                  <a:pt x="7615" y="12028"/>
                </a:lnTo>
                <a:lnTo>
                  <a:pt x="7622" y="12041"/>
                </a:lnTo>
                <a:lnTo>
                  <a:pt x="7609" y="12047"/>
                </a:lnTo>
                <a:lnTo>
                  <a:pt x="7603" y="12033"/>
                </a:lnTo>
                <a:close/>
                <a:moveTo>
                  <a:pt x="7878" y="11911"/>
                </a:moveTo>
                <a:lnTo>
                  <a:pt x="7871" y="11902"/>
                </a:lnTo>
                <a:lnTo>
                  <a:pt x="7893" y="11893"/>
                </a:lnTo>
                <a:lnTo>
                  <a:pt x="7899" y="11899"/>
                </a:lnTo>
                <a:lnTo>
                  <a:pt x="7878" y="11911"/>
                </a:lnTo>
                <a:close/>
                <a:moveTo>
                  <a:pt x="8074" y="11906"/>
                </a:moveTo>
                <a:lnTo>
                  <a:pt x="8073" y="11906"/>
                </a:lnTo>
                <a:lnTo>
                  <a:pt x="8073" y="11905"/>
                </a:lnTo>
                <a:lnTo>
                  <a:pt x="8074" y="11905"/>
                </a:lnTo>
                <a:lnTo>
                  <a:pt x="8074" y="11906"/>
                </a:lnTo>
                <a:close/>
                <a:moveTo>
                  <a:pt x="8139" y="11896"/>
                </a:moveTo>
                <a:lnTo>
                  <a:pt x="8134" y="11896"/>
                </a:lnTo>
                <a:lnTo>
                  <a:pt x="8139" y="11896"/>
                </a:lnTo>
                <a:lnTo>
                  <a:pt x="8133" y="11898"/>
                </a:lnTo>
                <a:lnTo>
                  <a:pt x="8139" y="11896"/>
                </a:lnTo>
                <a:close/>
                <a:moveTo>
                  <a:pt x="8251" y="11771"/>
                </a:moveTo>
                <a:lnTo>
                  <a:pt x="8248" y="11780"/>
                </a:lnTo>
                <a:lnTo>
                  <a:pt x="8239" y="11785"/>
                </a:lnTo>
                <a:lnTo>
                  <a:pt x="8246" y="11779"/>
                </a:lnTo>
                <a:lnTo>
                  <a:pt x="8251" y="11771"/>
                </a:lnTo>
                <a:close/>
                <a:moveTo>
                  <a:pt x="8276" y="11748"/>
                </a:moveTo>
                <a:lnTo>
                  <a:pt x="8274" y="11740"/>
                </a:lnTo>
                <a:lnTo>
                  <a:pt x="8275" y="11733"/>
                </a:lnTo>
                <a:lnTo>
                  <a:pt x="8279" y="11747"/>
                </a:lnTo>
                <a:lnTo>
                  <a:pt x="8276" y="11748"/>
                </a:lnTo>
                <a:close/>
                <a:moveTo>
                  <a:pt x="5793" y="12227"/>
                </a:moveTo>
                <a:lnTo>
                  <a:pt x="5798" y="12232"/>
                </a:lnTo>
                <a:lnTo>
                  <a:pt x="5803" y="12236"/>
                </a:lnTo>
                <a:lnTo>
                  <a:pt x="5789" y="12232"/>
                </a:lnTo>
                <a:lnTo>
                  <a:pt x="5793" y="12227"/>
                </a:lnTo>
                <a:close/>
                <a:moveTo>
                  <a:pt x="5796" y="12279"/>
                </a:moveTo>
                <a:lnTo>
                  <a:pt x="5817" y="12271"/>
                </a:lnTo>
                <a:lnTo>
                  <a:pt x="5822" y="12281"/>
                </a:lnTo>
                <a:lnTo>
                  <a:pt x="5803" y="12288"/>
                </a:lnTo>
                <a:lnTo>
                  <a:pt x="5796" y="12279"/>
                </a:lnTo>
                <a:close/>
                <a:moveTo>
                  <a:pt x="5831" y="12360"/>
                </a:moveTo>
                <a:lnTo>
                  <a:pt x="5829" y="12367"/>
                </a:lnTo>
                <a:lnTo>
                  <a:pt x="5834" y="12374"/>
                </a:lnTo>
                <a:lnTo>
                  <a:pt x="5824" y="12368"/>
                </a:lnTo>
                <a:lnTo>
                  <a:pt x="5831" y="12360"/>
                </a:lnTo>
                <a:close/>
                <a:moveTo>
                  <a:pt x="5882" y="12280"/>
                </a:moveTo>
                <a:lnTo>
                  <a:pt x="5890" y="12281"/>
                </a:lnTo>
                <a:lnTo>
                  <a:pt x="5896" y="12284"/>
                </a:lnTo>
                <a:lnTo>
                  <a:pt x="5890" y="12285"/>
                </a:lnTo>
                <a:lnTo>
                  <a:pt x="5882" y="12280"/>
                </a:lnTo>
                <a:close/>
                <a:moveTo>
                  <a:pt x="5941" y="12154"/>
                </a:moveTo>
                <a:lnTo>
                  <a:pt x="5941" y="12155"/>
                </a:lnTo>
                <a:lnTo>
                  <a:pt x="5941" y="12154"/>
                </a:lnTo>
                <a:lnTo>
                  <a:pt x="5942" y="12154"/>
                </a:lnTo>
                <a:lnTo>
                  <a:pt x="5941" y="12154"/>
                </a:lnTo>
                <a:close/>
                <a:moveTo>
                  <a:pt x="6100" y="12320"/>
                </a:moveTo>
                <a:lnTo>
                  <a:pt x="6108" y="12334"/>
                </a:lnTo>
                <a:lnTo>
                  <a:pt x="6091" y="12344"/>
                </a:lnTo>
                <a:lnTo>
                  <a:pt x="6089" y="12328"/>
                </a:lnTo>
                <a:lnTo>
                  <a:pt x="6100" y="12320"/>
                </a:lnTo>
                <a:close/>
                <a:moveTo>
                  <a:pt x="6106" y="12138"/>
                </a:moveTo>
                <a:lnTo>
                  <a:pt x="6106" y="12138"/>
                </a:lnTo>
                <a:lnTo>
                  <a:pt x="6106" y="12138"/>
                </a:lnTo>
                <a:lnTo>
                  <a:pt x="6106" y="12138"/>
                </a:lnTo>
                <a:lnTo>
                  <a:pt x="6106" y="12138"/>
                </a:lnTo>
                <a:close/>
                <a:moveTo>
                  <a:pt x="6106" y="12139"/>
                </a:moveTo>
                <a:lnTo>
                  <a:pt x="6108" y="12144"/>
                </a:lnTo>
                <a:lnTo>
                  <a:pt x="6104" y="12141"/>
                </a:lnTo>
                <a:lnTo>
                  <a:pt x="6105" y="12140"/>
                </a:lnTo>
                <a:lnTo>
                  <a:pt x="6106" y="12139"/>
                </a:lnTo>
                <a:close/>
                <a:moveTo>
                  <a:pt x="6297" y="12159"/>
                </a:moveTo>
                <a:lnTo>
                  <a:pt x="6306" y="12157"/>
                </a:lnTo>
                <a:lnTo>
                  <a:pt x="6305" y="12164"/>
                </a:lnTo>
                <a:lnTo>
                  <a:pt x="6297" y="12162"/>
                </a:lnTo>
                <a:lnTo>
                  <a:pt x="6297" y="12159"/>
                </a:lnTo>
                <a:close/>
                <a:moveTo>
                  <a:pt x="6444" y="12314"/>
                </a:moveTo>
                <a:lnTo>
                  <a:pt x="6445" y="12327"/>
                </a:lnTo>
                <a:lnTo>
                  <a:pt x="6430" y="12326"/>
                </a:lnTo>
                <a:lnTo>
                  <a:pt x="6437" y="12320"/>
                </a:lnTo>
                <a:lnTo>
                  <a:pt x="6444" y="12314"/>
                </a:lnTo>
                <a:close/>
                <a:moveTo>
                  <a:pt x="6686" y="12323"/>
                </a:moveTo>
                <a:lnTo>
                  <a:pt x="6702" y="12332"/>
                </a:lnTo>
                <a:lnTo>
                  <a:pt x="6711" y="12346"/>
                </a:lnTo>
                <a:lnTo>
                  <a:pt x="6699" y="12341"/>
                </a:lnTo>
                <a:lnTo>
                  <a:pt x="6686" y="12323"/>
                </a:lnTo>
                <a:close/>
                <a:moveTo>
                  <a:pt x="6850" y="12255"/>
                </a:moveTo>
                <a:lnTo>
                  <a:pt x="6850" y="12255"/>
                </a:lnTo>
                <a:lnTo>
                  <a:pt x="6850" y="12255"/>
                </a:lnTo>
                <a:lnTo>
                  <a:pt x="6850" y="12255"/>
                </a:lnTo>
                <a:lnTo>
                  <a:pt x="6850" y="12255"/>
                </a:lnTo>
                <a:close/>
                <a:moveTo>
                  <a:pt x="6854" y="12253"/>
                </a:moveTo>
                <a:lnTo>
                  <a:pt x="6853" y="12243"/>
                </a:lnTo>
                <a:lnTo>
                  <a:pt x="6854" y="12236"/>
                </a:lnTo>
                <a:lnTo>
                  <a:pt x="6868" y="12247"/>
                </a:lnTo>
                <a:lnTo>
                  <a:pt x="6854" y="12253"/>
                </a:lnTo>
                <a:close/>
                <a:moveTo>
                  <a:pt x="6862" y="12169"/>
                </a:moveTo>
                <a:lnTo>
                  <a:pt x="6876" y="12167"/>
                </a:lnTo>
                <a:lnTo>
                  <a:pt x="6886" y="12176"/>
                </a:lnTo>
                <a:lnTo>
                  <a:pt x="6872" y="12180"/>
                </a:lnTo>
                <a:lnTo>
                  <a:pt x="6862" y="12169"/>
                </a:lnTo>
                <a:close/>
                <a:moveTo>
                  <a:pt x="6974" y="12302"/>
                </a:moveTo>
                <a:lnTo>
                  <a:pt x="6965" y="12299"/>
                </a:lnTo>
                <a:lnTo>
                  <a:pt x="6969" y="12295"/>
                </a:lnTo>
                <a:lnTo>
                  <a:pt x="6981" y="12298"/>
                </a:lnTo>
                <a:lnTo>
                  <a:pt x="6974" y="12302"/>
                </a:lnTo>
                <a:close/>
                <a:moveTo>
                  <a:pt x="7027" y="12237"/>
                </a:moveTo>
                <a:lnTo>
                  <a:pt x="7030" y="12232"/>
                </a:lnTo>
                <a:lnTo>
                  <a:pt x="7036" y="12228"/>
                </a:lnTo>
                <a:lnTo>
                  <a:pt x="7033" y="12233"/>
                </a:lnTo>
                <a:lnTo>
                  <a:pt x="7027" y="12237"/>
                </a:lnTo>
                <a:close/>
                <a:moveTo>
                  <a:pt x="7056" y="12181"/>
                </a:moveTo>
                <a:lnTo>
                  <a:pt x="7036" y="12195"/>
                </a:lnTo>
                <a:lnTo>
                  <a:pt x="7021" y="12183"/>
                </a:lnTo>
                <a:lnTo>
                  <a:pt x="7040" y="12177"/>
                </a:lnTo>
                <a:lnTo>
                  <a:pt x="7056" y="12181"/>
                </a:lnTo>
                <a:close/>
                <a:moveTo>
                  <a:pt x="7030" y="12060"/>
                </a:moveTo>
                <a:lnTo>
                  <a:pt x="7033" y="12056"/>
                </a:lnTo>
                <a:lnTo>
                  <a:pt x="7040" y="12052"/>
                </a:lnTo>
                <a:lnTo>
                  <a:pt x="7041" y="12061"/>
                </a:lnTo>
                <a:lnTo>
                  <a:pt x="7030" y="12060"/>
                </a:lnTo>
                <a:close/>
                <a:moveTo>
                  <a:pt x="7077" y="12078"/>
                </a:moveTo>
                <a:lnTo>
                  <a:pt x="7069" y="12089"/>
                </a:lnTo>
                <a:lnTo>
                  <a:pt x="7058" y="12090"/>
                </a:lnTo>
                <a:lnTo>
                  <a:pt x="7064" y="12081"/>
                </a:lnTo>
                <a:lnTo>
                  <a:pt x="7077" y="12078"/>
                </a:lnTo>
                <a:close/>
                <a:moveTo>
                  <a:pt x="7082" y="12134"/>
                </a:moveTo>
                <a:lnTo>
                  <a:pt x="7087" y="12139"/>
                </a:lnTo>
                <a:lnTo>
                  <a:pt x="7076" y="12139"/>
                </a:lnTo>
                <a:lnTo>
                  <a:pt x="7079" y="12135"/>
                </a:lnTo>
                <a:lnTo>
                  <a:pt x="7082" y="12134"/>
                </a:lnTo>
                <a:close/>
                <a:moveTo>
                  <a:pt x="7245" y="12271"/>
                </a:moveTo>
                <a:lnTo>
                  <a:pt x="7244" y="12276"/>
                </a:lnTo>
                <a:lnTo>
                  <a:pt x="7235" y="12274"/>
                </a:lnTo>
                <a:lnTo>
                  <a:pt x="7240" y="12272"/>
                </a:lnTo>
                <a:lnTo>
                  <a:pt x="7245" y="12271"/>
                </a:lnTo>
                <a:close/>
                <a:moveTo>
                  <a:pt x="7268" y="12186"/>
                </a:moveTo>
                <a:lnTo>
                  <a:pt x="7286" y="12171"/>
                </a:lnTo>
                <a:lnTo>
                  <a:pt x="7307" y="12173"/>
                </a:lnTo>
                <a:lnTo>
                  <a:pt x="7289" y="12186"/>
                </a:lnTo>
                <a:lnTo>
                  <a:pt x="7268" y="12186"/>
                </a:lnTo>
                <a:close/>
                <a:moveTo>
                  <a:pt x="7326" y="12241"/>
                </a:moveTo>
                <a:lnTo>
                  <a:pt x="7325" y="12237"/>
                </a:lnTo>
                <a:lnTo>
                  <a:pt x="7329" y="12237"/>
                </a:lnTo>
                <a:lnTo>
                  <a:pt x="7328" y="12241"/>
                </a:lnTo>
                <a:lnTo>
                  <a:pt x="7326" y="12241"/>
                </a:lnTo>
                <a:close/>
                <a:moveTo>
                  <a:pt x="7374" y="12188"/>
                </a:moveTo>
                <a:lnTo>
                  <a:pt x="7371" y="12188"/>
                </a:lnTo>
                <a:lnTo>
                  <a:pt x="7368" y="12188"/>
                </a:lnTo>
                <a:lnTo>
                  <a:pt x="7371" y="12188"/>
                </a:lnTo>
                <a:lnTo>
                  <a:pt x="7374" y="12188"/>
                </a:lnTo>
                <a:close/>
                <a:moveTo>
                  <a:pt x="7371" y="12143"/>
                </a:moveTo>
                <a:lnTo>
                  <a:pt x="7389" y="12140"/>
                </a:lnTo>
                <a:lnTo>
                  <a:pt x="7400" y="12140"/>
                </a:lnTo>
                <a:lnTo>
                  <a:pt x="7384" y="12157"/>
                </a:lnTo>
                <a:lnTo>
                  <a:pt x="7371" y="12143"/>
                </a:lnTo>
                <a:close/>
                <a:moveTo>
                  <a:pt x="7405" y="12146"/>
                </a:moveTo>
                <a:lnTo>
                  <a:pt x="7414" y="12144"/>
                </a:lnTo>
                <a:lnTo>
                  <a:pt x="7421" y="12143"/>
                </a:lnTo>
                <a:lnTo>
                  <a:pt x="7416" y="12152"/>
                </a:lnTo>
                <a:lnTo>
                  <a:pt x="7405" y="12146"/>
                </a:lnTo>
                <a:close/>
                <a:moveTo>
                  <a:pt x="7436" y="12136"/>
                </a:moveTo>
                <a:lnTo>
                  <a:pt x="7445" y="12131"/>
                </a:lnTo>
                <a:lnTo>
                  <a:pt x="7456" y="12131"/>
                </a:lnTo>
                <a:lnTo>
                  <a:pt x="7447" y="12140"/>
                </a:lnTo>
                <a:lnTo>
                  <a:pt x="7436" y="12136"/>
                </a:lnTo>
                <a:close/>
                <a:moveTo>
                  <a:pt x="7477" y="12150"/>
                </a:moveTo>
                <a:lnTo>
                  <a:pt x="7478" y="12140"/>
                </a:lnTo>
                <a:lnTo>
                  <a:pt x="7486" y="12146"/>
                </a:lnTo>
                <a:lnTo>
                  <a:pt x="7480" y="12148"/>
                </a:lnTo>
                <a:lnTo>
                  <a:pt x="7477" y="12150"/>
                </a:lnTo>
                <a:close/>
                <a:moveTo>
                  <a:pt x="7463" y="12125"/>
                </a:moveTo>
                <a:lnTo>
                  <a:pt x="7459" y="12103"/>
                </a:lnTo>
                <a:lnTo>
                  <a:pt x="7480" y="12088"/>
                </a:lnTo>
                <a:lnTo>
                  <a:pt x="7498" y="12118"/>
                </a:lnTo>
                <a:lnTo>
                  <a:pt x="7463" y="12125"/>
                </a:lnTo>
                <a:close/>
                <a:moveTo>
                  <a:pt x="7707" y="11906"/>
                </a:moveTo>
                <a:lnTo>
                  <a:pt x="7707" y="11916"/>
                </a:lnTo>
                <a:lnTo>
                  <a:pt x="7689" y="11919"/>
                </a:lnTo>
                <a:lnTo>
                  <a:pt x="7696" y="11907"/>
                </a:lnTo>
                <a:lnTo>
                  <a:pt x="7707" y="11906"/>
                </a:lnTo>
                <a:close/>
                <a:moveTo>
                  <a:pt x="7868" y="11991"/>
                </a:moveTo>
                <a:lnTo>
                  <a:pt x="7863" y="12000"/>
                </a:lnTo>
                <a:lnTo>
                  <a:pt x="7852" y="12006"/>
                </a:lnTo>
                <a:lnTo>
                  <a:pt x="7852" y="11991"/>
                </a:lnTo>
                <a:lnTo>
                  <a:pt x="7868" y="11991"/>
                </a:lnTo>
                <a:close/>
                <a:moveTo>
                  <a:pt x="7902" y="11936"/>
                </a:moveTo>
                <a:lnTo>
                  <a:pt x="7906" y="11934"/>
                </a:lnTo>
                <a:lnTo>
                  <a:pt x="7907" y="11936"/>
                </a:lnTo>
                <a:lnTo>
                  <a:pt x="7919" y="11939"/>
                </a:lnTo>
                <a:lnTo>
                  <a:pt x="7902" y="11936"/>
                </a:lnTo>
                <a:close/>
                <a:moveTo>
                  <a:pt x="7926" y="11977"/>
                </a:moveTo>
                <a:lnTo>
                  <a:pt x="7921" y="11971"/>
                </a:lnTo>
                <a:lnTo>
                  <a:pt x="7926" y="11963"/>
                </a:lnTo>
                <a:lnTo>
                  <a:pt x="7935" y="11971"/>
                </a:lnTo>
                <a:lnTo>
                  <a:pt x="7926" y="11977"/>
                </a:lnTo>
                <a:close/>
                <a:moveTo>
                  <a:pt x="8187" y="12056"/>
                </a:moveTo>
                <a:lnTo>
                  <a:pt x="8186" y="12050"/>
                </a:lnTo>
                <a:lnTo>
                  <a:pt x="8192" y="12045"/>
                </a:lnTo>
                <a:lnTo>
                  <a:pt x="8194" y="12052"/>
                </a:lnTo>
                <a:lnTo>
                  <a:pt x="8187" y="12056"/>
                </a:lnTo>
                <a:close/>
                <a:moveTo>
                  <a:pt x="8139" y="11958"/>
                </a:moveTo>
                <a:lnTo>
                  <a:pt x="8148" y="11952"/>
                </a:lnTo>
                <a:lnTo>
                  <a:pt x="8155" y="11958"/>
                </a:lnTo>
                <a:lnTo>
                  <a:pt x="8148" y="11958"/>
                </a:lnTo>
                <a:lnTo>
                  <a:pt x="8139" y="11958"/>
                </a:lnTo>
                <a:close/>
                <a:moveTo>
                  <a:pt x="8197" y="11833"/>
                </a:moveTo>
                <a:lnTo>
                  <a:pt x="8200" y="11812"/>
                </a:lnTo>
                <a:lnTo>
                  <a:pt x="8208" y="11801"/>
                </a:lnTo>
                <a:lnTo>
                  <a:pt x="8217" y="11795"/>
                </a:lnTo>
                <a:lnTo>
                  <a:pt x="8197" y="11833"/>
                </a:lnTo>
                <a:close/>
                <a:moveTo>
                  <a:pt x="8254" y="11821"/>
                </a:moveTo>
                <a:lnTo>
                  <a:pt x="8257" y="11819"/>
                </a:lnTo>
                <a:lnTo>
                  <a:pt x="8261" y="11819"/>
                </a:lnTo>
                <a:lnTo>
                  <a:pt x="8256" y="11823"/>
                </a:lnTo>
                <a:lnTo>
                  <a:pt x="8254" y="11821"/>
                </a:lnTo>
                <a:close/>
                <a:moveTo>
                  <a:pt x="8278" y="11835"/>
                </a:moveTo>
                <a:lnTo>
                  <a:pt x="8274" y="11821"/>
                </a:lnTo>
                <a:lnTo>
                  <a:pt x="8293" y="11822"/>
                </a:lnTo>
                <a:lnTo>
                  <a:pt x="8287" y="11831"/>
                </a:lnTo>
                <a:lnTo>
                  <a:pt x="8278" y="11835"/>
                </a:lnTo>
                <a:close/>
                <a:moveTo>
                  <a:pt x="8327" y="11851"/>
                </a:moveTo>
                <a:lnTo>
                  <a:pt x="8362" y="11814"/>
                </a:lnTo>
                <a:lnTo>
                  <a:pt x="8380" y="11803"/>
                </a:lnTo>
                <a:lnTo>
                  <a:pt x="8363" y="11851"/>
                </a:lnTo>
                <a:lnTo>
                  <a:pt x="8327" y="11851"/>
                </a:lnTo>
                <a:close/>
                <a:moveTo>
                  <a:pt x="8364" y="11888"/>
                </a:moveTo>
                <a:lnTo>
                  <a:pt x="8371" y="11869"/>
                </a:lnTo>
                <a:lnTo>
                  <a:pt x="8390" y="11884"/>
                </a:lnTo>
                <a:lnTo>
                  <a:pt x="8368" y="11894"/>
                </a:lnTo>
                <a:lnTo>
                  <a:pt x="8364" y="11888"/>
                </a:lnTo>
                <a:close/>
                <a:moveTo>
                  <a:pt x="8380" y="11847"/>
                </a:moveTo>
                <a:lnTo>
                  <a:pt x="8383" y="11842"/>
                </a:lnTo>
                <a:lnTo>
                  <a:pt x="8388" y="11840"/>
                </a:lnTo>
                <a:lnTo>
                  <a:pt x="8386" y="11846"/>
                </a:lnTo>
                <a:lnTo>
                  <a:pt x="8380" y="11847"/>
                </a:lnTo>
                <a:close/>
                <a:moveTo>
                  <a:pt x="8334" y="11884"/>
                </a:moveTo>
                <a:lnTo>
                  <a:pt x="8338" y="11888"/>
                </a:lnTo>
                <a:lnTo>
                  <a:pt x="8338" y="11892"/>
                </a:lnTo>
                <a:lnTo>
                  <a:pt x="8334" y="11888"/>
                </a:lnTo>
                <a:lnTo>
                  <a:pt x="8334" y="11884"/>
                </a:lnTo>
                <a:close/>
                <a:moveTo>
                  <a:pt x="8346" y="11941"/>
                </a:moveTo>
                <a:lnTo>
                  <a:pt x="8352" y="11948"/>
                </a:lnTo>
                <a:lnTo>
                  <a:pt x="8354" y="11957"/>
                </a:lnTo>
                <a:lnTo>
                  <a:pt x="8341" y="11954"/>
                </a:lnTo>
                <a:lnTo>
                  <a:pt x="8346" y="11941"/>
                </a:lnTo>
                <a:close/>
                <a:moveTo>
                  <a:pt x="8359" y="11966"/>
                </a:moveTo>
                <a:lnTo>
                  <a:pt x="8358" y="11966"/>
                </a:lnTo>
                <a:lnTo>
                  <a:pt x="8359" y="11966"/>
                </a:lnTo>
                <a:lnTo>
                  <a:pt x="8359" y="11966"/>
                </a:lnTo>
                <a:lnTo>
                  <a:pt x="8359" y="11966"/>
                </a:lnTo>
                <a:close/>
                <a:moveTo>
                  <a:pt x="8397" y="11784"/>
                </a:moveTo>
                <a:lnTo>
                  <a:pt x="8381" y="11770"/>
                </a:lnTo>
                <a:lnTo>
                  <a:pt x="8395" y="11777"/>
                </a:lnTo>
                <a:lnTo>
                  <a:pt x="8400" y="11779"/>
                </a:lnTo>
                <a:lnTo>
                  <a:pt x="8397" y="11784"/>
                </a:lnTo>
                <a:close/>
                <a:moveTo>
                  <a:pt x="8462" y="11873"/>
                </a:moveTo>
                <a:lnTo>
                  <a:pt x="8450" y="11866"/>
                </a:lnTo>
                <a:lnTo>
                  <a:pt x="8450" y="11854"/>
                </a:lnTo>
                <a:lnTo>
                  <a:pt x="8462" y="11861"/>
                </a:lnTo>
                <a:lnTo>
                  <a:pt x="8462" y="11873"/>
                </a:lnTo>
                <a:close/>
                <a:moveTo>
                  <a:pt x="8411" y="11749"/>
                </a:moveTo>
                <a:lnTo>
                  <a:pt x="8390" y="11759"/>
                </a:lnTo>
                <a:lnTo>
                  <a:pt x="8386" y="11747"/>
                </a:lnTo>
                <a:lnTo>
                  <a:pt x="8402" y="11731"/>
                </a:lnTo>
                <a:lnTo>
                  <a:pt x="8411" y="11749"/>
                </a:lnTo>
                <a:close/>
                <a:moveTo>
                  <a:pt x="8437" y="11636"/>
                </a:moveTo>
                <a:lnTo>
                  <a:pt x="8473" y="11623"/>
                </a:lnTo>
                <a:lnTo>
                  <a:pt x="8474" y="11636"/>
                </a:lnTo>
                <a:lnTo>
                  <a:pt x="8462" y="11654"/>
                </a:lnTo>
                <a:lnTo>
                  <a:pt x="8437" y="11636"/>
                </a:lnTo>
                <a:close/>
                <a:moveTo>
                  <a:pt x="9367" y="11306"/>
                </a:moveTo>
                <a:lnTo>
                  <a:pt x="9372" y="11311"/>
                </a:lnTo>
                <a:lnTo>
                  <a:pt x="9375" y="11319"/>
                </a:lnTo>
                <a:lnTo>
                  <a:pt x="9364" y="11311"/>
                </a:lnTo>
                <a:lnTo>
                  <a:pt x="9367" y="11306"/>
                </a:lnTo>
                <a:close/>
                <a:moveTo>
                  <a:pt x="10257" y="11665"/>
                </a:moveTo>
                <a:lnTo>
                  <a:pt x="10244" y="11659"/>
                </a:lnTo>
                <a:lnTo>
                  <a:pt x="10252" y="11653"/>
                </a:lnTo>
                <a:lnTo>
                  <a:pt x="10248" y="11650"/>
                </a:lnTo>
                <a:lnTo>
                  <a:pt x="10257" y="11665"/>
                </a:lnTo>
                <a:close/>
                <a:moveTo>
                  <a:pt x="10264" y="11672"/>
                </a:moveTo>
                <a:lnTo>
                  <a:pt x="10264" y="11672"/>
                </a:lnTo>
                <a:lnTo>
                  <a:pt x="10264" y="11672"/>
                </a:lnTo>
                <a:lnTo>
                  <a:pt x="10264" y="11672"/>
                </a:lnTo>
                <a:lnTo>
                  <a:pt x="10264" y="11672"/>
                </a:lnTo>
                <a:close/>
                <a:moveTo>
                  <a:pt x="10226" y="11597"/>
                </a:moveTo>
                <a:lnTo>
                  <a:pt x="10224" y="11597"/>
                </a:lnTo>
                <a:lnTo>
                  <a:pt x="10231" y="11595"/>
                </a:lnTo>
                <a:lnTo>
                  <a:pt x="10227" y="11603"/>
                </a:lnTo>
                <a:lnTo>
                  <a:pt x="10226" y="11597"/>
                </a:lnTo>
                <a:close/>
                <a:moveTo>
                  <a:pt x="9839" y="11665"/>
                </a:moveTo>
                <a:lnTo>
                  <a:pt x="9849" y="11665"/>
                </a:lnTo>
                <a:lnTo>
                  <a:pt x="9845" y="11659"/>
                </a:lnTo>
                <a:lnTo>
                  <a:pt x="9854" y="11664"/>
                </a:lnTo>
                <a:lnTo>
                  <a:pt x="9839" y="11665"/>
                </a:lnTo>
                <a:close/>
                <a:moveTo>
                  <a:pt x="9764" y="11743"/>
                </a:moveTo>
                <a:lnTo>
                  <a:pt x="9760" y="11743"/>
                </a:lnTo>
                <a:lnTo>
                  <a:pt x="9756" y="11743"/>
                </a:lnTo>
                <a:lnTo>
                  <a:pt x="9760" y="11740"/>
                </a:lnTo>
                <a:lnTo>
                  <a:pt x="9764" y="11743"/>
                </a:lnTo>
                <a:close/>
                <a:moveTo>
                  <a:pt x="9569" y="11765"/>
                </a:moveTo>
                <a:lnTo>
                  <a:pt x="9560" y="11762"/>
                </a:lnTo>
                <a:lnTo>
                  <a:pt x="9551" y="11761"/>
                </a:lnTo>
                <a:lnTo>
                  <a:pt x="9573" y="11761"/>
                </a:lnTo>
                <a:lnTo>
                  <a:pt x="9569" y="11765"/>
                </a:lnTo>
                <a:close/>
                <a:moveTo>
                  <a:pt x="9545" y="11759"/>
                </a:moveTo>
                <a:lnTo>
                  <a:pt x="9526" y="11757"/>
                </a:lnTo>
                <a:lnTo>
                  <a:pt x="9542" y="11756"/>
                </a:lnTo>
                <a:lnTo>
                  <a:pt x="9524" y="11743"/>
                </a:lnTo>
                <a:lnTo>
                  <a:pt x="9545" y="11759"/>
                </a:lnTo>
                <a:close/>
                <a:moveTo>
                  <a:pt x="9165" y="11784"/>
                </a:moveTo>
                <a:lnTo>
                  <a:pt x="9165" y="11770"/>
                </a:lnTo>
                <a:lnTo>
                  <a:pt x="9179" y="11772"/>
                </a:lnTo>
                <a:lnTo>
                  <a:pt x="9174" y="11781"/>
                </a:lnTo>
                <a:lnTo>
                  <a:pt x="9165" y="11784"/>
                </a:lnTo>
                <a:close/>
                <a:moveTo>
                  <a:pt x="8990" y="11753"/>
                </a:moveTo>
                <a:lnTo>
                  <a:pt x="8984" y="11770"/>
                </a:lnTo>
                <a:lnTo>
                  <a:pt x="8958" y="11775"/>
                </a:lnTo>
                <a:lnTo>
                  <a:pt x="8981" y="11747"/>
                </a:lnTo>
                <a:lnTo>
                  <a:pt x="8990" y="11753"/>
                </a:lnTo>
                <a:close/>
                <a:moveTo>
                  <a:pt x="8672" y="11959"/>
                </a:moveTo>
                <a:lnTo>
                  <a:pt x="8665" y="11955"/>
                </a:lnTo>
                <a:lnTo>
                  <a:pt x="8661" y="11948"/>
                </a:lnTo>
                <a:lnTo>
                  <a:pt x="8666" y="11954"/>
                </a:lnTo>
                <a:lnTo>
                  <a:pt x="8672" y="11959"/>
                </a:lnTo>
                <a:close/>
                <a:moveTo>
                  <a:pt x="8670" y="11913"/>
                </a:moveTo>
                <a:lnTo>
                  <a:pt x="8644" y="11919"/>
                </a:lnTo>
                <a:lnTo>
                  <a:pt x="8633" y="11888"/>
                </a:lnTo>
                <a:lnTo>
                  <a:pt x="8666" y="11891"/>
                </a:lnTo>
                <a:lnTo>
                  <a:pt x="8670" y="11913"/>
                </a:lnTo>
                <a:close/>
                <a:moveTo>
                  <a:pt x="8646" y="11954"/>
                </a:moveTo>
                <a:lnTo>
                  <a:pt x="8651" y="11952"/>
                </a:lnTo>
                <a:lnTo>
                  <a:pt x="8657" y="11950"/>
                </a:lnTo>
                <a:lnTo>
                  <a:pt x="8652" y="11955"/>
                </a:lnTo>
                <a:lnTo>
                  <a:pt x="8646" y="11954"/>
                </a:lnTo>
                <a:close/>
                <a:moveTo>
                  <a:pt x="8653" y="11957"/>
                </a:moveTo>
                <a:lnTo>
                  <a:pt x="8651" y="11962"/>
                </a:lnTo>
                <a:lnTo>
                  <a:pt x="8648" y="11966"/>
                </a:lnTo>
                <a:lnTo>
                  <a:pt x="8647" y="11961"/>
                </a:lnTo>
                <a:lnTo>
                  <a:pt x="8653" y="11957"/>
                </a:lnTo>
                <a:close/>
                <a:moveTo>
                  <a:pt x="8939" y="11590"/>
                </a:moveTo>
                <a:lnTo>
                  <a:pt x="8948" y="11597"/>
                </a:lnTo>
                <a:lnTo>
                  <a:pt x="8932" y="11621"/>
                </a:lnTo>
                <a:lnTo>
                  <a:pt x="8932" y="11603"/>
                </a:lnTo>
                <a:lnTo>
                  <a:pt x="8939" y="11590"/>
                </a:lnTo>
                <a:close/>
                <a:moveTo>
                  <a:pt x="8974" y="11580"/>
                </a:moveTo>
                <a:lnTo>
                  <a:pt x="8976" y="11583"/>
                </a:lnTo>
                <a:lnTo>
                  <a:pt x="8972" y="11584"/>
                </a:lnTo>
                <a:lnTo>
                  <a:pt x="8973" y="11581"/>
                </a:lnTo>
                <a:lnTo>
                  <a:pt x="8974" y="11580"/>
                </a:lnTo>
                <a:close/>
                <a:moveTo>
                  <a:pt x="9378" y="11325"/>
                </a:moveTo>
                <a:lnTo>
                  <a:pt x="9373" y="11324"/>
                </a:lnTo>
                <a:lnTo>
                  <a:pt x="9377" y="11319"/>
                </a:lnTo>
                <a:lnTo>
                  <a:pt x="9378" y="11323"/>
                </a:lnTo>
                <a:lnTo>
                  <a:pt x="9378" y="11325"/>
                </a:lnTo>
                <a:close/>
                <a:moveTo>
                  <a:pt x="9775" y="11660"/>
                </a:moveTo>
                <a:lnTo>
                  <a:pt x="9773" y="11654"/>
                </a:lnTo>
                <a:lnTo>
                  <a:pt x="9773" y="11647"/>
                </a:lnTo>
                <a:lnTo>
                  <a:pt x="9778" y="11651"/>
                </a:lnTo>
                <a:lnTo>
                  <a:pt x="9775" y="11660"/>
                </a:lnTo>
                <a:close/>
                <a:moveTo>
                  <a:pt x="9559" y="11733"/>
                </a:moveTo>
                <a:lnTo>
                  <a:pt x="9560" y="11733"/>
                </a:lnTo>
                <a:lnTo>
                  <a:pt x="9560" y="11734"/>
                </a:lnTo>
                <a:lnTo>
                  <a:pt x="9559" y="11734"/>
                </a:lnTo>
                <a:lnTo>
                  <a:pt x="9559" y="11733"/>
                </a:lnTo>
                <a:close/>
                <a:moveTo>
                  <a:pt x="9556" y="11730"/>
                </a:moveTo>
                <a:lnTo>
                  <a:pt x="9549" y="11725"/>
                </a:lnTo>
                <a:lnTo>
                  <a:pt x="9537" y="11729"/>
                </a:lnTo>
                <a:lnTo>
                  <a:pt x="9559" y="11714"/>
                </a:lnTo>
                <a:lnTo>
                  <a:pt x="9556" y="11730"/>
                </a:lnTo>
                <a:close/>
                <a:moveTo>
                  <a:pt x="8782" y="11341"/>
                </a:moveTo>
                <a:lnTo>
                  <a:pt x="8774" y="11348"/>
                </a:lnTo>
                <a:lnTo>
                  <a:pt x="8758" y="11355"/>
                </a:lnTo>
                <a:lnTo>
                  <a:pt x="8763" y="11344"/>
                </a:lnTo>
                <a:lnTo>
                  <a:pt x="8782" y="11341"/>
                </a:lnTo>
                <a:close/>
                <a:moveTo>
                  <a:pt x="8661" y="11612"/>
                </a:moveTo>
                <a:lnTo>
                  <a:pt x="8655" y="11581"/>
                </a:lnTo>
                <a:lnTo>
                  <a:pt x="8671" y="11566"/>
                </a:lnTo>
                <a:lnTo>
                  <a:pt x="8672" y="11586"/>
                </a:lnTo>
                <a:lnTo>
                  <a:pt x="8661" y="11612"/>
                </a:lnTo>
                <a:close/>
                <a:moveTo>
                  <a:pt x="8704" y="11645"/>
                </a:moveTo>
                <a:lnTo>
                  <a:pt x="8700" y="11642"/>
                </a:lnTo>
                <a:lnTo>
                  <a:pt x="8706" y="11636"/>
                </a:lnTo>
                <a:lnTo>
                  <a:pt x="8707" y="11645"/>
                </a:lnTo>
                <a:lnTo>
                  <a:pt x="8704" y="11645"/>
                </a:lnTo>
                <a:close/>
                <a:moveTo>
                  <a:pt x="8699" y="11619"/>
                </a:moveTo>
                <a:lnTo>
                  <a:pt x="8698" y="11617"/>
                </a:lnTo>
                <a:lnTo>
                  <a:pt x="8697" y="11614"/>
                </a:lnTo>
                <a:lnTo>
                  <a:pt x="8700" y="11617"/>
                </a:lnTo>
                <a:lnTo>
                  <a:pt x="8699" y="11619"/>
                </a:lnTo>
                <a:close/>
                <a:moveTo>
                  <a:pt x="8721" y="11667"/>
                </a:moveTo>
                <a:lnTo>
                  <a:pt x="8711" y="11661"/>
                </a:lnTo>
                <a:lnTo>
                  <a:pt x="8707" y="11653"/>
                </a:lnTo>
                <a:lnTo>
                  <a:pt x="8720" y="11658"/>
                </a:lnTo>
                <a:lnTo>
                  <a:pt x="8721" y="11667"/>
                </a:lnTo>
                <a:close/>
                <a:moveTo>
                  <a:pt x="8688" y="11598"/>
                </a:moveTo>
                <a:lnTo>
                  <a:pt x="8683" y="11586"/>
                </a:lnTo>
                <a:lnTo>
                  <a:pt x="8693" y="11584"/>
                </a:lnTo>
                <a:lnTo>
                  <a:pt x="8692" y="11590"/>
                </a:lnTo>
                <a:lnTo>
                  <a:pt x="8688" y="11598"/>
                </a:lnTo>
                <a:close/>
                <a:moveTo>
                  <a:pt x="8729" y="11653"/>
                </a:moveTo>
                <a:lnTo>
                  <a:pt x="8723" y="11650"/>
                </a:lnTo>
                <a:lnTo>
                  <a:pt x="8723" y="11645"/>
                </a:lnTo>
                <a:lnTo>
                  <a:pt x="8729" y="11647"/>
                </a:lnTo>
                <a:lnTo>
                  <a:pt x="8729" y="11653"/>
                </a:lnTo>
                <a:close/>
                <a:moveTo>
                  <a:pt x="8767" y="11653"/>
                </a:moveTo>
                <a:lnTo>
                  <a:pt x="8765" y="11660"/>
                </a:lnTo>
                <a:lnTo>
                  <a:pt x="8765" y="11669"/>
                </a:lnTo>
                <a:lnTo>
                  <a:pt x="8757" y="11665"/>
                </a:lnTo>
                <a:lnTo>
                  <a:pt x="8767" y="11653"/>
                </a:lnTo>
                <a:close/>
                <a:moveTo>
                  <a:pt x="8804" y="11751"/>
                </a:moveTo>
                <a:lnTo>
                  <a:pt x="8810" y="11759"/>
                </a:lnTo>
                <a:lnTo>
                  <a:pt x="8800" y="11767"/>
                </a:lnTo>
                <a:lnTo>
                  <a:pt x="8801" y="11759"/>
                </a:lnTo>
                <a:lnTo>
                  <a:pt x="8804" y="11751"/>
                </a:lnTo>
                <a:close/>
                <a:moveTo>
                  <a:pt x="8788" y="11707"/>
                </a:moveTo>
                <a:lnTo>
                  <a:pt x="8800" y="11703"/>
                </a:lnTo>
                <a:lnTo>
                  <a:pt x="8810" y="11711"/>
                </a:lnTo>
                <a:lnTo>
                  <a:pt x="8800" y="11709"/>
                </a:lnTo>
                <a:lnTo>
                  <a:pt x="8788" y="11707"/>
                </a:lnTo>
                <a:close/>
                <a:moveTo>
                  <a:pt x="8876" y="11677"/>
                </a:moveTo>
                <a:lnTo>
                  <a:pt x="8876" y="11677"/>
                </a:lnTo>
                <a:lnTo>
                  <a:pt x="8876" y="11674"/>
                </a:lnTo>
                <a:lnTo>
                  <a:pt x="8879" y="11677"/>
                </a:lnTo>
                <a:lnTo>
                  <a:pt x="8876" y="11677"/>
                </a:lnTo>
                <a:close/>
                <a:moveTo>
                  <a:pt x="8675" y="11544"/>
                </a:moveTo>
                <a:lnTo>
                  <a:pt x="8675" y="11546"/>
                </a:lnTo>
                <a:lnTo>
                  <a:pt x="8675" y="11544"/>
                </a:lnTo>
                <a:lnTo>
                  <a:pt x="8683" y="11544"/>
                </a:lnTo>
                <a:lnTo>
                  <a:pt x="8675" y="11544"/>
                </a:lnTo>
                <a:close/>
                <a:moveTo>
                  <a:pt x="8665" y="11724"/>
                </a:moveTo>
                <a:lnTo>
                  <a:pt x="8671" y="11729"/>
                </a:lnTo>
                <a:lnTo>
                  <a:pt x="8676" y="11735"/>
                </a:lnTo>
                <a:lnTo>
                  <a:pt x="8660" y="11731"/>
                </a:lnTo>
                <a:lnTo>
                  <a:pt x="8665" y="11724"/>
                </a:lnTo>
                <a:close/>
                <a:moveTo>
                  <a:pt x="8704" y="11770"/>
                </a:moveTo>
                <a:lnTo>
                  <a:pt x="8704" y="11767"/>
                </a:lnTo>
                <a:lnTo>
                  <a:pt x="8725" y="11779"/>
                </a:lnTo>
                <a:lnTo>
                  <a:pt x="8712" y="11785"/>
                </a:lnTo>
                <a:lnTo>
                  <a:pt x="8704" y="11770"/>
                </a:lnTo>
                <a:close/>
                <a:moveTo>
                  <a:pt x="8839" y="11693"/>
                </a:moveTo>
                <a:lnTo>
                  <a:pt x="8849" y="11701"/>
                </a:lnTo>
                <a:lnTo>
                  <a:pt x="8864" y="11707"/>
                </a:lnTo>
                <a:lnTo>
                  <a:pt x="8848" y="11720"/>
                </a:lnTo>
                <a:lnTo>
                  <a:pt x="8839" y="11693"/>
                </a:lnTo>
                <a:close/>
                <a:moveTo>
                  <a:pt x="8950" y="11737"/>
                </a:moveTo>
                <a:lnTo>
                  <a:pt x="8956" y="11735"/>
                </a:lnTo>
                <a:lnTo>
                  <a:pt x="8962" y="11735"/>
                </a:lnTo>
                <a:lnTo>
                  <a:pt x="8951" y="11742"/>
                </a:lnTo>
                <a:lnTo>
                  <a:pt x="8950" y="11737"/>
                </a:lnTo>
                <a:close/>
                <a:moveTo>
                  <a:pt x="9020" y="11664"/>
                </a:moveTo>
                <a:lnTo>
                  <a:pt x="9019" y="11665"/>
                </a:lnTo>
                <a:lnTo>
                  <a:pt x="9019" y="11668"/>
                </a:lnTo>
                <a:lnTo>
                  <a:pt x="9016" y="11665"/>
                </a:lnTo>
                <a:lnTo>
                  <a:pt x="9020" y="11664"/>
                </a:lnTo>
                <a:close/>
                <a:moveTo>
                  <a:pt x="9090" y="11705"/>
                </a:moveTo>
                <a:lnTo>
                  <a:pt x="9095" y="11707"/>
                </a:lnTo>
                <a:lnTo>
                  <a:pt x="9102" y="11716"/>
                </a:lnTo>
                <a:lnTo>
                  <a:pt x="9091" y="11710"/>
                </a:lnTo>
                <a:lnTo>
                  <a:pt x="9090" y="11705"/>
                </a:lnTo>
                <a:close/>
                <a:moveTo>
                  <a:pt x="9158" y="11678"/>
                </a:moveTo>
                <a:lnTo>
                  <a:pt x="9165" y="11684"/>
                </a:lnTo>
                <a:lnTo>
                  <a:pt x="9154" y="11688"/>
                </a:lnTo>
                <a:lnTo>
                  <a:pt x="9156" y="11683"/>
                </a:lnTo>
                <a:lnTo>
                  <a:pt x="9158" y="11678"/>
                </a:lnTo>
                <a:close/>
                <a:moveTo>
                  <a:pt x="9190" y="11701"/>
                </a:moveTo>
                <a:lnTo>
                  <a:pt x="9190" y="11702"/>
                </a:lnTo>
                <a:lnTo>
                  <a:pt x="9187" y="11705"/>
                </a:lnTo>
                <a:lnTo>
                  <a:pt x="9188" y="11702"/>
                </a:lnTo>
                <a:lnTo>
                  <a:pt x="9190" y="11701"/>
                </a:lnTo>
                <a:close/>
                <a:moveTo>
                  <a:pt x="9221" y="11752"/>
                </a:moveTo>
                <a:lnTo>
                  <a:pt x="9229" y="11754"/>
                </a:lnTo>
                <a:lnTo>
                  <a:pt x="9228" y="11759"/>
                </a:lnTo>
                <a:lnTo>
                  <a:pt x="9224" y="11757"/>
                </a:lnTo>
                <a:lnTo>
                  <a:pt x="9221" y="11752"/>
                </a:lnTo>
                <a:close/>
                <a:moveTo>
                  <a:pt x="9219" y="11724"/>
                </a:moveTo>
                <a:lnTo>
                  <a:pt x="9225" y="11724"/>
                </a:lnTo>
                <a:lnTo>
                  <a:pt x="9228" y="11731"/>
                </a:lnTo>
                <a:lnTo>
                  <a:pt x="9223" y="11730"/>
                </a:lnTo>
                <a:lnTo>
                  <a:pt x="9219" y="11724"/>
                </a:lnTo>
                <a:close/>
                <a:moveTo>
                  <a:pt x="9224" y="11710"/>
                </a:moveTo>
                <a:lnTo>
                  <a:pt x="9218" y="11692"/>
                </a:lnTo>
                <a:lnTo>
                  <a:pt x="9235" y="11687"/>
                </a:lnTo>
                <a:lnTo>
                  <a:pt x="9230" y="11697"/>
                </a:lnTo>
                <a:lnTo>
                  <a:pt x="9224" y="11710"/>
                </a:lnTo>
                <a:close/>
                <a:moveTo>
                  <a:pt x="9466" y="11524"/>
                </a:moveTo>
                <a:lnTo>
                  <a:pt x="9468" y="11523"/>
                </a:lnTo>
                <a:lnTo>
                  <a:pt x="9467" y="11525"/>
                </a:lnTo>
                <a:lnTo>
                  <a:pt x="9467" y="11524"/>
                </a:lnTo>
                <a:lnTo>
                  <a:pt x="9466" y="11524"/>
                </a:lnTo>
                <a:close/>
                <a:moveTo>
                  <a:pt x="9489" y="11141"/>
                </a:moveTo>
                <a:lnTo>
                  <a:pt x="9489" y="11148"/>
                </a:lnTo>
                <a:lnTo>
                  <a:pt x="9482" y="11147"/>
                </a:lnTo>
                <a:lnTo>
                  <a:pt x="9486" y="11145"/>
                </a:lnTo>
                <a:lnTo>
                  <a:pt x="9489" y="11141"/>
                </a:lnTo>
                <a:close/>
                <a:moveTo>
                  <a:pt x="9754" y="11523"/>
                </a:moveTo>
                <a:lnTo>
                  <a:pt x="9751" y="11520"/>
                </a:lnTo>
                <a:lnTo>
                  <a:pt x="9754" y="11518"/>
                </a:lnTo>
                <a:lnTo>
                  <a:pt x="9754" y="11520"/>
                </a:lnTo>
                <a:lnTo>
                  <a:pt x="9754" y="11523"/>
                </a:lnTo>
                <a:close/>
                <a:moveTo>
                  <a:pt x="9626" y="11702"/>
                </a:moveTo>
                <a:lnTo>
                  <a:pt x="9614" y="11697"/>
                </a:lnTo>
                <a:lnTo>
                  <a:pt x="9605" y="11686"/>
                </a:lnTo>
                <a:lnTo>
                  <a:pt x="9631" y="11695"/>
                </a:lnTo>
                <a:lnTo>
                  <a:pt x="9626" y="11702"/>
                </a:lnTo>
                <a:close/>
                <a:moveTo>
                  <a:pt x="9532" y="11679"/>
                </a:moveTo>
                <a:lnTo>
                  <a:pt x="9541" y="11674"/>
                </a:lnTo>
                <a:lnTo>
                  <a:pt x="9527" y="11668"/>
                </a:lnTo>
                <a:lnTo>
                  <a:pt x="9555" y="11683"/>
                </a:lnTo>
                <a:lnTo>
                  <a:pt x="9532" y="11679"/>
                </a:lnTo>
                <a:close/>
                <a:moveTo>
                  <a:pt x="9723" y="11553"/>
                </a:moveTo>
                <a:lnTo>
                  <a:pt x="9727" y="11542"/>
                </a:lnTo>
                <a:lnTo>
                  <a:pt x="9738" y="11535"/>
                </a:lnTo>
                <a:lnTo>
                  <a:pt x="9741" y="11552"/>
                </a:lnTo>
                <a:lnTo>
                  <a:pt x="9723" y="11553"/>
                </a:lnTo>
                <a:close/>
                <a:moveTo>
                  <a:pt x="9502" y="11527"/>
                </a:moveTo>
                <a:lnTo>
                  <a:pt x="9505" y="11535"/>
                </a:lnTo>
                <a:lnTo>
                  <a:pt x="9504" y="11542"/>
                </a:lnTo>
                <a:lnTo>
                  <a:pt x="9495" y="11534"/>
                </a:lnTo>
                <a:lnTo>
                  <a:pt x="9502" y="11527"/>
                </a:lnTo>
                <a:close/>
                <a:moveTo>
                  <a:pt x="9609" y="11612"/>
                </a:moveTo>
                <a:lnTo>
                  <a:pt x="9619" y="11622"/>
                </a:lnTo>
                <a:lnTo>
                  <a:pt x="9607" y="11628"/>
                </a:lnTo>
                <a:lnTo>
                  <a:pt x="9607" y="11621"/>
                </a:lnTo>
                <a:lnTo>
                  <a:pt x="9609" y="11612"/>
                </a:lnTo>
                <a:close/>
                <a:moveTo>
                  <a:pt x="9535" y="11609"/>
                </a:moveTo>
                <a:lnTo>
                  <a:pt x="9537" y="11621"/>
                </a:lnTo>
                <a:lnTo>
                  <a:pt x="9542" y="11633"/>
                </a:lnTo>
                <a:lnTo>
                  <a:pt x="9523" y="11631"/>
                </a:lnTo>
                <a:lnTo>
                  <a:pt x="9535" y="11609"/>
                </a:lnTo>
                <a:close/>
                <a:moveTo>
                  <a:pt x="9572" y="11651"/>
                </a:moveTo>
                <a:lnTo>
                  <a:pt x="9572" y="11636"/>
                </a:lnTo>
                <a:lnTo>
                  <a:pt x="9586" y="11625"/>
                </a:lnTo>
                <a:lnTo>
                  <a:pt x="9592" y="11640"/>
                </a:lnTo>
                <a:lnTo>
                  <a:pt x="9572" y="11651"/>
                </a:lnTo>
                <a:close/>
                <a:moveTo>
                  <a:pt x="9631" y="11637"/>
                </a:moveTo>
                <a:lnTo>
                  <a:pt x="9638" y="11639"/>
                </a:lnTo>
                <a:lnTo>
                  <a:pt x="9643" y="11644"/>
                </a:lnTo>
                <a:lnTo>
                  <a:pt x="9635" y="11640"/>
                </a:lnTo>
                <a:lnTo>
                  <a:pt x="9631" y="11637"/>
                </a:lnTo>
                <a:close/>
                <a:moveTo>
                  <a:pt x="9644" y="11558"/>
                </a:moveTo>
                <a:lnTo>
                  <a:pt x="9645" y="11560"/>
                </a:lnTo>
                <a:lnTo>
                  <a:pt x="9647" y="11561"/>
                </a:lnTo>
                <a:lnTo>
                  <a:pt x="9644" y="11561"/>
                </a:lnTo>
                <a:lnTo>
                  <a:pt x="9644" y="11558"/>
                </a:lnTo>
                <a:close/>
                <a:moveTo>
                  <a:pt x="9493" y="11535"/>
                </a:moveTo>
                <a:lnTo>
                  <a:pt x="9490" y="11533"/>
                </a:lnTo>
                <a:lnTo>
                  <a:pt x="9493" y="11535"/>
                </a:lnTo>
                <a:lnTo>
                  <a:pt x="9489" y="11534"/>
                </a:lnTo>
                <a:lnTo>
                  <a:pt x="9493" y="11535"/>
                </a:lnTo>
                <a:close/>
                <a:moveTo>
                  <a:pt x="9552" y="11698"/>
                </a:moveTo>
                <a:lnTo>
                  <a:pt x="9555" y="11698"/>
                </a:lnTo>
                <a:lnTo>
                  <a:pt x="9556" y="11698"/>
                </a:lnTo>
                <a:lnTo>
                  <a:pt x="9551" y="11701"/>
                </a:lnTo>
                <a:lnTo>
                  <a:pt x="9552" y="11698"/>
                </a:lnTo>
                <a:close/>
                <a:moveTo>
                  <a:pt x="9644" y="11646"/>
                </a:moveTo>
                <a:lnTo>
                  <a:pt x="9638" y="11646"/>
                </a:lnTo>
                <a:lnTo>
                  <a:pt x="9644" y="11646"/>
                </a:lnTo>
                <a:lnTo>
                  <a:pt x="9642" y="11649"/>
                </a:lnTo>
                <a:lnTo>
                  <a:pt x="9644" y="11646"/>
                </a:lnTo>
                <a:close/>
                <a:moveTo>
                  <a:pt x="9665" y="11681"/>
                </a:moveTo>
                <a:lnTo>
                  <a:pt x="9654" y="11674"/>
                </a:lnTo>
                <a:lnTo>
                  <a:pt x="9662" y="11660"/>
                </a:lnTo>
                <a:lnTo>
                  <a:pt x="9663" y="11670"/>
                </a:lnTo>
                <a:lnTo>
                  <a:pt x="9665" y="11681"/>
                </a:lnTo>
                <a:close/>
                <a:moveTo>
                  <a:pt x="9666" y="11586"/>
                </a:moveTo>
                <a:lnTo>
                  <a:pt x="9645" y="11580"/>
                </a:lnTo>
                <a:lnTo>
                  <a:pt x="9645" y="11572"/>
                </a:lnTo>
                <a:lnTo>
                  <a:pt x="9658" y="11576"/>
                </a:lnTo>
                <a:lnTo>
                  <a:pt x="9666" y="11586"/>
                </a:lnTo>
                <a:close/>
                <a:moveTo>
                  <a:pt x="9751" y="11678"/>
                </a:moveTo>
                <a:lnTo>
                  <a:pt x="9759" y="11683"/>
                </a:lnTo>
                <a:lnTo>
                  <a:pt x="9768" y="11688"/>
                </a:lnTo>
                <a:lnTo>
                  <a:pt x="9751" y="11687"/>
                </a:lnTo>
                <a:lnTo>
                  <a:pt x="9751" y="11678"/>
                </a:lnTo>
                <a:close/>
                <a:moveTo>
                  <a:pt x="9728" y="11478"/>
                </a:moveTo>
                <a:lnTo>
                  <a:pt x="9737" y="11474"/>
                </a:lnTo>
                <a:lnTo>
                  <a:pt x="9747" y="11479"/>
                </a:lnTo>
                <a:lnTo>
                  <a:pt x="9738" y="11483"/>
                </a:lnTo>
                <a:lnTo>
                  <a:pt x="9728" y="11478"/>
                </a:lnTo>
                <a:close/>
                <a:moveTo>
                  <a:pt x="9406" y="11339"/>
                </a:moveTo>
                <a:lnTo>
                  <a:pt x="9401" y="11342"/>
                </a:lnTo>
                <a:lnTo>
                  <a:pt x="9396" y="11346"/>
                </a:lnTo>
                <a:lnTo>
                  <a:pt x="9398" y="11337"/>
                </a:lnTo>
                <a:lnTo>
                  <a:pt x="9406" y="11339"/>
                </a:lnTo>
                <a:close/>
                <a:moveTo>
                  <a:pt x="9419" y="11688"/>
                </a:moveTo>
                <a:lnTo>
                  <a:pt x="9419" y="11688"/>
                </a:lnTo>
                <a:lnTo>
                  <a:pt x="9419" y="11688"/>
                </a:lnTo>
                <a:lnTo>
                  <a:pt x="9419" y="11688"/>
                </a:lnTo>
                <a:lnTo>
                  <a:pt x="9419" y="11688"/>
                </a:lnTo>
                <a:close/>
                <a:moveTo>
                  <a:pt x="9347" y="11668"/>
                </a:moveTo>
                <a:lnTo>
                  <a:pt x="9341" y="11663"/>
                </a:lnTo>
                <a:lnTo>
                  <a:pt x="9339" y="11655"/>
                </a:lnTo>
                <a:lnTo>
                  <a:pt x="9346" y="11661"/>
                </a:lnTo>
                <a:lnTo>
                  <a:pt x="9347" y="11668"/>
                </a:lnTo>
                <a:close/>
                <a:moveTo>
                  <a:pt x="9354" y="11566"/>
                </a:moveTo>
                <a:lnTo>
                  <a:pt x="9358" y="11570"/>
                </a:lnTo>
                <a:lnTo>
                  <a:pt x="9356" y="11572"/>
                </a:lnTo>
                <a:lnTo>
                  <a:pt x="9353" y="11569"/>
                </a:lnTo>
                <a:lnTo>
                  <a:pt x="9354" y="11566"/>
                </a:lnTo>
                <a:close/>
                <a:moveTo>
                  <a:pt x="9340" y="11632"/>
                </a:moveTo>
                <a:lnTo>
                  <a:pt x="9342" y="11622"/>
                </a:lnTo>
                <a:lnTo>
                  <a:pt x="9354" y="11617"/>
                </a:lnTo>
                <a:lnTo>
                  <a:pt x="9356" y="11632"/>
                </a:lnTo>
                <a:lnTo>
                  <a:pt x="9340" y="11632"/>
                </a:lnTo>
                <a:close/>
                <a:moveTo>
                  <a:pt x="9386" y="11627"/>
                </a:moveTo>
                <a:lnTo>
                  <a:pt x="9386" y="11628"/>
                </a:lnTo>
                <a:lnTo>
                  <a:pt x="9386" y="11627"/>
                </a:lnTo>
                <a:lnTo>
                  <a:pt x="9387" y="11628"/>
                </a:lnTo>
                <a:lnTo>
                  <a:pt x="9386" y="11627"/>
                </a:lnTo>
                <a:close/>
                <a:moveTo>
                  <a:pt x="9398" y="11613"/>
                </a:moveTo>
                <a:lnTo>
                  <a:pt x="9405" y="11613"/>
                </a:lnTo>
                <a:lnTo>
                  <a:pt x="9412" y="11612"/>
                </a:lnTo>
                <a:lnTo>
                  <a:pt x="9406" y="11618"/>
                </a:lnTo>
                <a:lnTo>
                  <a:pt x="9398" y="11613"/>
                </a:lnTo>
                <a:close/>
                <a:moveTo>
                  <a:pt x="9368" y="11478"/>
                </a:moveTo>
                <a:lnTo>
                  <a:pt x="9358" y="11490"/>
                </a:lnTo>
                <a:lnTo>
                  <a:pt x="9344" y="11484"/>
                </a:lnTo>
                <a:lnTo>
                  <a:pt x="9350" y="11469"/>
                </a:lnTo>
                <a:lnTo>
                  <a:pt x="9368" y="11478"/>
                </a:lnTo>
                <a:close/>
                <a:moveTo>
                  <a:pt x="9332" y="11493"/>
                </a:moveTo>
                <a:lnTo>
                  <a:pt x="9328" y="11505"/>
                </a:lnTo>
                <a:lnTo>
                  <a:pt x="9340" y="11515"/>
                </a:lnTo>
                <a:lnTo>
                  <a:pt x="9322" y="11519"/>
                </a:lnTo>
                <a:lnTo>
                  <a:pt x="9332" y="11493"/>
                </a:lnTo>
                <a:close/>
                <a:moveTo>
                  <a:pt x="9309" y="11687"/>
                </a:moveTo>
                <a:lnTo>
                  <a:pt x="9307" y="11686"/>
                </a:lnTo>
                <a:lnTo>
                  <a:pt x="9307" y="11684"/>
                </a:lnTo>
                <a:lnTo>
                  <a:pt x="9308" y="11686"/>
                </a:lnTo>
                <a:lnTo>
                  <a:pt x="9309" y="11687"/>
                </a:lnTo>
                <a:close/>
                <a:moveTo>
                  <a:pt x="9368" y="11675"/>
                </a:moveTo>
                <a:lnTo>
                  <a:pt x="9379" y="11681"/>
                </a:lnTo>
                <a:lnTo>
                  <a:pt x="9388" y="11687"/>
                </a:lnTo>
                <a:lnTo>
                  <a:pt x="9372" y="11691"/>
                </a:lnTo>
                <a:lnTo>
                  <a:pt x="9368" y="11675"/>
                </a:lnTo>
                <a:close/>
                <a:moveTo>
                  <a:pt x="9379" y="11697"/>
                </a:moveTo>
                <a:lnTo>
                  <a:pt x="9391" y="11695"/>
                </a:lnTo>
                <a:lnTo>
                  <a:pt x="9395" y="11710"/>
                </a:lnTo>
                <a:lnTo>
                  <a:pt x="9382" y="11707"/>
                </a:lnTo>
                <a:lnTo>
                  <a:pt x="9379" y="11697"/>
                </a:lnTo>
                <a:close/>
                <a:moveTo>
                  <a:pt x="9445" y="11608"/>
                </a:moveTo>
                <a:lnTo>
                  <a:pt x="9472" y="11603"/>
                </a:lnTo>
                <a:lnTo>
                  <a:pt x="9476" y="11623"/>
                </a:lnTo>
                <a:lnTo>
                  <a:pt x="9458" y="11623"/>
                </a:lnTo>
                <a:lnTo>
                  <a:pt x="9445" y="11608"/>
                </a:lnTo>
                <a:close/>
                <a:moveTo>
                  <a:pt x="9504" y="11672"/>
                </a:moveTo>
                <a:lnTo>
                  <a:pt x="9513" y="11665"/>
                </a:lnTo>
                <a:lnTo>
                  <a:pt x="9517" y="11669"/>
                </a:lnTo>
                <a:lnTo>
                  <a:pt x="9512" y="11670"/>
                </a:lnTo>
                <a:lnTo>
                  <a:pt x="9504" y="11672"/>
                </a:lnTo>
                <a:close/>
                <a:moveTo>
                  <a:pt x="9582" y="11721"/>
                </a:moveTo>
                <a:lnTo>
                  <a:pt x="9582" y="11721"/>
                </a:lnTo>
                <a:lnTo>
                  <a:pt x="9582" y="11721"/>
                </a:lnTo>
                <a:lnTo>
                  <a:pt x="9582" y="11721"/>
                </a:lnTo>
                <a:lnTo>
                  <a:pt x="9582" y="11721"/>
                </a:lnTo>
                <a:close/>
                <a:moveTo>
                  <a:pt x="9593" y="11726"/>
                </a:moveTo>
                <a:lnTo>
                  <a:pt x="9589" y="11721"/>
                </a:lnTo>
                <a:lnTo>
                  <a:pt x="9594" y="11723"/>
                </a:lnTo>
                <a:lnTo>
                  <a:pt x="9596" y="11726"/>
                </a:lnTo>
                <a:lnTo>
                  <a:pt x="9593" y="11726"/>
                </a:lnTo>
                <a:close/>
                <a:moveTo>
                  <a:pt x="9630" y="11665"/>
                </a:moveTo>
                <a:lnTo>
                  <a:pt x="9624" y="11659"/>
                </a:lnTo>
                <a:lnTo>
                  <a:pt x="9639" y="11658"/>
                </a:lnTo>
                <a:lnTo>
                  <a:pt x="9649" y="11659"/>
                </a:lnTo>
                <a:lnTo>
                  <a:pt x="9630" y="11665"/>
                </a:lnTo>
                <a:close/>
                <a:moveTo>
                  <a:pt x="9663" y="11748"/>
                </a:moveTo>
                <a:lnTo>
                  <a:pt x="9675" y="11744"/>
                </a:lnTo>
                <a:lnTo>
                  <a:pt x="9690" y="11749"/>
                </a:lnTo>
                <a:lnTo>
                  <a:pt x="9675" y="11753"/>
                </a:lnTo>
                <a:lnTo>
                  <a:pt x="9663" y="11748"/>
                </a:lnTo>
                <a:close/>
                <a:moveTo>
                  <a:pt x="9681" y="11737"/>
                </a:moveTo>
                <a:lnTo>
                  <a:pt x="9677" y="11724"/>
                </a:lnTo>
                <a:lnTo>
                  <a:pt x="9691" y="11716"/>
                </a:lnTo>
                <a:lnTo>
                  <a:pt x="9693" y="11735"/>
                </a:lnTo>
                <a:lnTo>
                  <a:pt x="9681" y="11737"/>
                </a:lnTo>
                <a:close/>
                <a:moveTo>
                  <a:pt x="9421" y="11460"/>
                </a:moveTo>
                <a:lnTo>
                  <a:pt x="9442" y="11490"/>
                </a:lnTo>
                <a:lnTo>
                  <a:pt x="9474" y="11506"/>
                </a:lnTo>
                <a:lnTo>
                  <a:pt x="9425" y="11497"/>
                </a:lnTo>
                <a:lnTo>
                  <a:pt x="9421" y="11460"/>
                </a:lnTo>
                <a:close/>
                <a:moveTo>
                  <a:pt x="9289" y="11254"/>
                </a:moveTo>
                <a:lnTo>
                  <a:pt x="9298" y="11248"/>
                </a:lnTo>
                <a:lnTo>
                  <a:pt x="9305" y="11244"/>
                </a:lnTo>
                <a:lnTo>
                  <a:pt x="9299" y="11253"/>
                </a:lnTo>
                <a:lnTo>
                  <a:pt x="9289" y="11254"/>
                </a:lnTo>
                <a:close/>
                <a:moveTo>
                  <a:pt x="9216" y="11266"/>
                </a:moveTo>
                <a:lnTo>
                  <a:pt x="9207" y="11272"/>
                </a:lnTo>
                <a:lnTo>
                  <a:pt x="9193" y="11268"/>
                </a:lnTo>
                <a:lnTo>
                  <a:pt x="9206" y="11259"/>
                </a:lnTo>
                <a:lnTo>
                  <a:pt x="9216" y="11266"/>
                </a:lnTo>
                <a:close/>
                <a:moveTo>
                  <a:pt x="9162" y="11663"/>
                </a:moveTo>
                <a:lnTo>
                  <a:pt x="9160" y="11654"/>
                </a:lnTo>
                <a:lnTo>
                  <a:pt x="9149" y="11655"/>
                </a:lnTo>
                <a:lnTo>
                  <a:pt x="9153" y="11650"/>
                </a:lnTo>
                <a:lnTo>
                  <a:pt x="9162" y="11663"/>
                </a:lnTo>
                <a:close/>
                <a:moveTo>
                  <a:pt x="9005" y="11316"/>
                </a:moveTo>
                <a:lnTo>
                  <a:pt x="9010" y="11322"/>
                </a:lnTo>
                <a:lnTo>
                  <a:pt x="9007" y="11328"/>
                </a:lnTo>
                <a:lnTo>
                  <a:pt x="9006" y="11323"/>
                </a:lnTo>
                <a:lnTo>
                  <a:pt x="9005" y="11316"/>
                </a:lnTo>
                <a:close/>
                <a:moveTo>
                  <a:pt x="8986" y="11565"/>
                </a:moveTo>
                <a:lnTo>
                  <a:pt x="8982" y="11566"/>
                </a:lnTo>
                <a:lnTo>
                  <a:pt x="8986" y="11565"/>
                </a:lnTo>
                <a:lnTo>
                  <a:pt x="8982" y="11571"/>
                </a:lnTo>
                <a:lnTo>
                  <a:pt x="8986" y="11565"/>
                </a:lnTo>
                <a:close/>
                <a:moveTo>
                  <a:pt x="8948" y="11686"/>
                </a:moveTo>
                <a:lnTo>
                  <a:pt x="8939" y="11693"/>
                </a:lnTo>
                <a:lnTo>
                  <a:pt x="8930" y="11682"/>
                </a:lnTo>
                <a:lnTo>
                  <a:pt x="8937" y="11684"/>
                </a:lnTo>
                <a:lnTo>
                  <a:pt x="8948" y="11686"/>
                </a:lnTo>
                <a:close/>
                <a:moveTo>
                  <a:pt x="8759" y="11397"/>
                </a:moveTo>
                <a:lnTo>
                  <a:pt x="8753" y="11403"/>
                </a:lnTo>
                <a:lnTo>
                  <a:pt x="8740" y="11399"/>
                </a:lnTo>
                <a:lnTo>
                  <a:pt x="8750" y="11390"/>
                </a:lnTo>
                <a:lnTo>
                  <a:pt x="8759" y="11397"/>
                </a:lnTo>
                <a:close/>
                <a:moveTo>
                  <a:pt x="8674" y="11490"/>
                </a:moveTo>
                <a:lnTo>
                  <a:pt x="8675" y="11502"/>
                </a:lnTo>
                <a:lnTo>
                  <a:pt x="8662" y="11505"/>
                </a:lnTo>
                <a:lnTo>
                  <a:pt x="8667" y="11497"/>
                </a:lnTo>
                <a:lnTo>
                  <a:pt x="8674" y="11490"/>
                </a:lnTo>
                <a:close/>
                <a:moveTo>
                  <a:pt x="8627" y="11514"/>
                </a:moveTo>
                <a:lnTo>
                  <a:pt x="8604" y="11513"/>
                </a:lnTo>
                <a:lnTo>
                  <a:pt x="8596" y="11490"/>
                </a:lnTo>
                <a:lnTo>
                  <a:pt x="8613" y="11500"/>
                </a:lnTo>
                <a:lnTo>
                  <a:pt x="8627" y="11514"/>
                </a:lnTo>
                <a:close/>
                <a:moveTo>
                  <a:pt x="8648" y="11743"/>
                </a:moveTo>
                <a:lnTo>
                  <a:pt x="8629" y="11745"/>
                </a:lnTo>
                <a:lnTo>
                  <a:pt x="8610" y="11749"/>
                </a:lnTo>
                <a:lnTo>
                  <a:pt x="8627" y="11734"/>
                </a:lnTo>
                <a:lnTo>
                  <a:pt x="8648" y="11743"/>
                </a:lnTo>
                <a:close/>
                <a:moveTo>
                  <a:pt x="8656" y="11838"/>
                </a:moveTo>
                <a:lnTo>
                  <a:pt x="8647" y="11851"/>
                </a:lnTo>
                <a:lnTo>
                  <a:pt x="8630" y="11836"/>
                </a:lnTo>
                <a:lnTo>
                  <a:pt x="8643" y="11837"/>
                </a:lnTo>
                <a:lnTo>
                  <a:pt x="8656" y="11838"/>
                </a:lnTo>
                <a:close/>
                <a:moveTo>
                  <a:pt x="8671" y="11859"/>
                </a:moveTo>
                <a:lnTo>
                  <a:pt x="8684" y="11861"/>
                </a:lnTo>
                <a:lnTo>
                  <a:pt x="8695" y="11863"/>
                </a:lnTo>
                <a:lnTo>
                  <a:pt x="8680" y="11868"/>
                </a:lnTo>
                <a:lnTo>
                  <a:pt x="8671" y="11859"/>
                </a:lnTo>
                <a:close/>
                <a:moveTo>
                  <a:pt x="8737" y="11938"/>
                </a:moveTo>
                <a:lnTo>
                  <a:pt x="8736" y="11939"/>
                </a:lnTo>
                <a:lnTo>
                  <a:pt x="8736" y="11938"/>
                </a:lnTo>
                <a:lnTo>
                  <a:pt x="8736" y="11938"/>
                </a:lnTo>
                <a:lnTo>
                  <a:pt x="8737" y="11938"/>
                </a:lnTo>
                <a:close/>
                <a:moveTo>
                  <a:pt x="8786" y="11771"/>
                </a:moveTo>
                <a:lnTo>
                  <a:pt x="8787" y="11775"/>
                </a:lnTo>
                <a:lnTo>
                  <a:pt x="8783" y="11781"/>
                </a:lnTo>
                <a:lnTo>
                  <a:pt x="8782" y="11776"/>
                </a:lnTo>
                <a:lnTo>
                  <a:pt x="8786" y="11771"/>
                </a:lnTo>
                <a:close/>
                <a:moveTo>
                  <a:pt x="8783" y="11791"/>
                </a:moveTo>
                <a:lnTo>
                  <a:pt x="8781" y="11803"/>
                </a:lnTo>
                <a:lnTo>
                  <a:pt x="8768" y="11805"/>
                </a:lnTo>
                <a:lnTo>
                  <a:pt x="8776" y="11798"/>
                </a:lnTo>
                <a:lnTo>
                  <a:pt x="8783" y="11791"/>
                </a:lnTo>
                <a:close/>
                <a:moveTo>
                  <a:pt x="8807" y="11873"/>
                </a:moveTo>
                <a:lnTo>
                  <a:pt x="8804" y="11875"/>
                </a:lnTo>
                <a:lnTo>
                  <a:pt x="8799" y="11878"/>
                </a:lnTo>
                <a:lnTo>
                  <a:pt x="8804" y="11874"/>
                </a:lnTo>
                <a:lnTo>
                  <a:pt x="8807" y="11873"/>
                </a:lnTo>
                <a:close/>
                <a:moveTo>
                  <a:pt x="8824" y="11905"/>
                </a:moveTo>
                <a:lnTo>
                  <a:pt x="8830" y="11902"/>
                </a:lnTo>
                <a:lnTo>
                  <a:pt x="8832" y="11907"/>
                </a:lnTo>
                <a:lnTo>
                  <a:pt x="8825" y="11908"/>
                </a:lnTo>
                <a:lnTo>
                  <a:pt x="8824" y="11905"/>
                </a:lnTo>
                <a:close/>
                <a:moveTo>
                  <a:pt x="8888" y="11702"/>
                </a:moveTo>
                <a:lnTo>
                  <a:pt x="8889" y="11703"/>
                </a:lnTo>
                <a:lnTo>
                  <a:pt x="8888" y="11702"/>
                </a:lnTo>
                <a:lnTo>
                  <a:pt x="8890" y="11703"/>
                </a:lnTo>
                <a:lnTo>
                  <a:pt x="8888" y="11702"/>
                </a:lnTo>
                <a:close/>
                <a:moveTo>
                  <a:pt x="8907" y="11742"/>
                </a:moveTo>
                <a:lnTo>
                  <a:pt x="8916" y="11742"/>
                </a:lnTo>
                <a:lnTo>
                  <a:pt x="8922" y="11751"/>
                </a:lnTo>
                <a:lnTo>
                  <a:pt x="8912" y="11749"/>
                </a:lnTo>
                <a:lnTo>
                  <a:pt x="8907" y="11742"/>
                </a:lnTo>
                <a:close/>
                <a:moveTo>
                  <a:pt x="8926" y="11798"/>
                </a:moveTo>
                <a:lnTo>
                  <a:pt x="8926" y="11804"/>
                </a:lnTo>
                <a:lnTo>
                  <a:pt x="8916" y="11808"/>
                </a:lnTo>
                <a:lnTo>
                  <a:pt x="8920" y="11801"/>
                </a:lnTo>
                <a:lnTo>
                  <a:pt x="8926" y="11798"/>
                </a:lnTo>
                <a:close/>
                <a:moveTo>
                  <a:pt x="9027" y="11703"/>
                </a:moveTo>
                <a:lnTo>
                  <a:pt x="9053" y="11701"/>
                </a:lnTo>
                <a:lnTo>
                  <a:pt x="9076" y="11702"/>
                </a:lnTo>
                <a:lnTo>
                  <a:pt x="9051" y="11710"/>
                </a:lnTo>
                <a:lnTo>
                  <a:pt x="9027" y="11703"/>
                </a:lnTo>
                <a:close/>
                <a:moveTo>
                  <a:pt x="9147" y="11725"/>
                </a:moveTo>
                <a:lnTo>
                  <a:pt x="9163" y="11711"/>
                </a:lnTo>
                <a:lnTo>
                  <a:pt x="9177" y="11719"/>
                </a:lnTo>
                <a:lnTo>
                  <a:pt x="9162" y="11731"/>
                </a:lnTo>
                <a:lnTo>
                  <a:pt x="9147" y="11725"/>
                </a:lnTo>
                <a:close/>
                <a:moveTo>
                  <a:pt x="9186" y="11782"/>
                </a:moveTo>
                <a:lnTo>
                  <a:pt x="9187" y="11782"/>
                </a:lnTo>
                <a:lnTo>
                  <a:pt x="9186" y="11782"/>
                </a:lnTo>
                <a:lnTo>
                  <a:pt x="9187" y="11780"/>
                </a:lnTo>
                <a:lnTo>
                  <a:pt x="9186" y="11782"/>
                </a:lnTo>
                <a:close/>
                <a:moveTo>
                  <a:pt x="9251" y="11815"/>
                </a:moveTo>
                <a:lnTo>
                  <a:pt x="9254" y="11810"/>
                </a:lnTo>
                <a:lnTo>
                  <a:pt x="9261" y="11807"/>
                </a:lnTo>
                <a:lnTo>
                  <a:pt x="9258" y="11817"/>
                </a:lnTo>
                <a:lnTo>
                  <a:pt x="9251" y="11815"/>
                </a:lnTo>
                <a:close/>
                <a:moveTo>
                  <a:pt x="9232" y="11669"/>
                </a:moveTo>
                <a:lnTo>
                  <a:pt x="9216" y="11674"/>
                </a:lnTo>
                <a:lnTo>
                  <a:pt x="9244" y="11644"/>
                </a:lnTo>
                <a:lnTo>
                  <a:pt x="9242" y="11653"/>
                </a:lnTo>
                <a:lnTo>
                  <a:pt x="9232" y="11669"/>
                </a:lnTo>
                <a:close/>
                <a:moveTo>
                  <a:pt x="9260" y="11644"/>
                </a:moveTo>
                <a:lnTo>
                  <a:pt x="9271" y="11637"/>
                </a:lnTo>
                <a:lnTo>
                  <a:pt x="9223" y="11639"/>
                </a:lnTo>
                <a:lnTo>
                  <a:pt x="9262" y="11633"/>
                </a:lnTo>
                <a:lnTo>
                  <a:pt x="9260" y="11644"/>
                </a:lnTo>
                <a:close/>
                <a:moveTo>
                  <a:pt x="9295" y="11759"/>
                </a:moveTo>
                <a:lnTo>
                  <a:pt x="9298" y="11772"/>
                </a:lnTo>
                <a:lnTo>
                  <a:pt x="9294" y="11777"/>
                </a:lnTo>
                <a:lnTo>
                  <a:pt x="9289" y="11768"/>
                </a:lnTo>
                <a:lnTo>
                  <a:pt x="9295" y="11759"/>
                </a:lnTo>
                <a:close/>
                <a:moveTo>
                  <a:pt x="9337" y="11711"/>
                </a:moveTo>
                <a:lnTo>
                  <a:pt x="9337" y="11714"/>
                </a:lnTo>
                <a:lnTo>
                  <a:pt x="9337" y="11711"/>
                </a:lnTo>
                <a:lnTo>
                  <a:pt x="9339" y="11715"/>
                </a:lnTo>
                <a:lnTo>
                  <a:pt x="9337" y="11711"/>
                </a:lnTo>
                <a:close/>
                <a:moveTo>
                  <a:pt x="9605" y="11753"/>
                </a:moveTo>
                <a:lnTo>
                  <a:pt x="9617" y="11758"/>
                </a:lnTo>
                <a:lnTo>
                  <a:pt x="9610" y="11768"/>
                </a:lnTo>
                <a:lnTo>
                  <a:pt x="9602" y="11761"/>
                </a:lnTo>
                <a:lnTo>
                  <a:pt x="9605" y="11753"/>
                </a:lnTo>
                <a:close/>
                <a:moveTo>
                  <a:pt x="9615" y="11775"/>
                </a:moveTo>
                <a:lnTo>
                  <a:pt x="9615" y="11780"/>
                </a:lnTo>
                <a:lnTo>
                  <a:pt x="9614" y="11785"/>
                </a:lnTo>
                <a:lnTo>
                  <a:pt x="9610" y="11777"/>
                </a:lnTo>
                <a:lnTo>
                  <a:pt x="9615" y="11775"/>
                </a:lnTo>
                <a:close/>
                <a:moveTo>
                  <a:pt x="9719" y="11669"/>
                </a:moveTo>
                <a:lnTo>
                  <a:pt x="9731" y="11667"/>
                </a:lnTo>
                <a:lnTo>
                  <a:pt x="9740" y="11673"/>
                </a:lnTo>
                <a:lnTo>
                  <a:pt x="9729" y="11672"/>
                </a:lnTo>
                <a:lnTo>
                  <a:pt x="9719" y="11669"/>
                </a:lnTo>
                <a:close/>
                <a:moveTo>
                  <a:pt x="9746" y="11717"/>
                </a:moveTo>
                <a:lnTo>
                  <a:pt x="9745" y="11724"/>
                </a:lnTo>
                <a:lnTo>
                  <a:pt x="9746" y="11728"/>
                </a:lnTo>
                <a:lnTo>
                  <a:pt x="9741" y="11721"/>
                </a:lnTo>
                <a:lnTo>
                  <a:pt x="9746" y="11717"/>
                </a:lnTo>
                <a:close/>
                <a:moveTo>
                  <a:pt x="9780" y="11724"/>
                </a:moveTo>
                <a:lnTo>
                  <a:pt x="9784" y="11728"/>
                </a:lnTo>
                <a:lnTo>
                  <a:pt x="9777" y="11733"/>
                </a:lnTo>
                <a:lnTo>
                  <a:pt x="9775" y="11728"/>
                </a:lnTo>
                <a:lnTo>
                  <a:pt x="9780" y="11724"/>
                </a:lnTo>
                <a:close/>
                <a:moveTo>
                  <a:pt x="9819" y="11617"/>
                </a:moveTo>
                <a:lnTo>
                  <a:pt x="9822" y="11614"/>
                </a:lnTo>
                <a:lnTo>
                  <a:pt x="9825" y="11612"/>
                </a:lnTo>
                <a:lnTo>
                  <a:pt x="9825" y="11618"/>
                </a:lnTo>
                <a:lnTo>
                  <a:pt x="9819" y="11617"/>
                </a:lnTo>
                <a:close/>
                <a:moveTo>
                  <a:pt x="9826" y="11510"/>
                </a:moveTo>
                <a:lnTo>
                  <a:pt x="9787" y="11521"/>
                </a:lnTo>
                <a:lnTo>
                  <a:pt x="9783" y="11513"/>
                </a:lnTo>
                <a:lnTo>
                  <a:pt x="9806" y="11510"/>
                </a:lnTo>
                <a:lnTo>
                  <a:pt x="9826" y="11510"/>
                </a:lnTo>
                <a:close/>
                <a:moveTo>
                  <a:pt x="9927" y="11162"/>
                </a:moveTo>
                <a:lnTo>
                  <a:pt x="9943" y="11169"/>
                </a:lnTo>
                <a:lnTo>
                  <a:pt x="9924" y="11179"/>
                </a:lnTo>
                <a:lnTo>
                  <a:pt x="9914" y="11168"/>
                </a:lnTo>
                <a:lnTo>
                  <a:pt x="9927" y="11162"/>
                </a:lnTo>
                <a:close/>
                <a:moveTo>
                  <a:pt x="10327" y="11397"/>
                </a:moveTo>
                <a:lnTo>
                  <a:pt x="10320" y="11399"/>
                </a:lnTo>
                <a:lnTo>
                  <a:pt x="10317" y="11386"/>
                </a:lnTo>
                <a:lnTo>
                  <a:pt x="10327" y="11397"/>
                </a:lnTo>
                <a:close/>
                <a:moveTo>
                  <a:pt x="10241" y="11474"/>
                </a:moveTo>
                <a:lnTo>
                  <a:pt x="10240" y="11478"/>
                </a:lnTo>
                <a:lnTo>
                  <a:pt x="10238" y="11482"/>
                </a:lnTo>
                <a:lnTo>
                  <a:pt x="10236" y="11476"/>
                </a:lnTo>
                <a:lnTo>
                  <a:pt x="10241" y="11474"/>
                </a:lnTo>
                <a:close/>
                <a:moveTo>
                  <a:pt x="10084" y="11395"/>
                </a:moveTo>
                <a:lnTo>
                  <a:pt x="10071" y="11395"/>
                </a:lnTo>
                <a:lnTo>
                  <a:pt x="10062" y="11390"/>
                </a:lnTo>
                <a:lnTo>
                  <a:pt x="10073" y="11394"/>
                </a:lnTo>
                <a:lnTo>
                  <a:pt x="10084" y="11395"/>
                </a:lnTo>
                <a:close/>
                <a:moveTo>
                  <a:pt x="9952" y="11510"/>
                </a:moveTo>
                <a:lnTo>
                  <a:pt x="9942" y="11505"/>
                </a:lnTo>
                <a:lnTo>
                  <a:pt x="9933" y="11500"/>
                </a:lnTo>
                <a:lnTo>
                  <a:pt x="9950" y="11496"/>
                </a:lnTo>
                <a:lnTo>
                  <a:pt x="9952" y="11510"/>
                </a:lnTo>
                <a:close/>
                <a:moveTo>
                  <a:pt x="10029" y="11173"/>
                </a:moveTo>
                <a:lnTo>
                  <a:pt x="10029" y="11171"/>
                </a:lnTo>
                <a:lnTo>
                  <a:pt x="10029" y="11173"/>
                </a:lnTo>
                <a:lnTo>
                  <a:pt x="10027" y="11171"/>
                </a:lnTo>
                <a:lnTo>
                  <a:pt x="10029" y="11173"/>
                </a:lnTo>
                <a:close/>
                <a:moveTo>
                  <a:pt x="10005" y="11192"/>
                </a:moveTo>
                <a:lnTo>
                  <a:pt x="10011" y="11194"/>
                </a:lnTo>
                <a:lnTo>
                  <a:pt x="10007" y="11201"/>
                </a:lnTo>
                <a:lnTo>
                  <a:pt x="10001" y="11198"/>
                </a:lnTo>
                <a:lnTo>
                  <a:pt x="10005" y="11192"/>
                </a:lnTo>
                <a:close/>
                <a:moveTo>
                  <a:pt x="10041" y="11385"/>
                </a:moveTo>
                <a:lnTo>
                  <a:pt x="10048" y="11381"/>
                </a:lnTo>
                <a:lnTo>
                  <a:pt x="10058" y="11388"/>
                </a:lnTo>
                <a:lnTo>
                  <a:pt x="10049" y="11389"/>
                </a:lnTo>
                <a:lnTo>
                  <a:pt x="10041" y="11385"/>
                </a:lnTo>
                <a:close/>
                <a:moveTo>
                  <a:pt x="10044" y="11379"/>
                </a:moveTo>
                <a:lnTo>
                  <a:pt x="10045" y="11379"/>
                </a:lnTo>
                <a:lnTo>
                  <a:pt x="10044" y="11379"/>
                </a:lnTo>
                <a:lnTo>
                  <a:pt x="10044" y="11376"/>
                </a:lnTo>
                <a:lnTo>
                  <a:pt x="10044" y="11379"/>
                </a:lnTo>
                <a:close/>
                <a:moveTo>
                  <a:pt x="10179" y="11096"/>
                </a:moveTo>
                <a:lnTo>
                  <a:pt x="10185" y="11098"/>
                </a:lnTo>
                <a:lnTo>
                  <a:pt x="10190" y="11100"/>
                </a:lnTo>
                <a:lnTo>
                  <a:pt x="10184" y="11101"/>
                </a:lnTo>
                <a:lnTo>
                  <a:pt x="10179" y="11096"/>
                </a:lnTo>
                <a:close/>
                <a:moveTo>
                  <a:pt x="10239" y="11383"/>
                </a:moveTo>
                <a:lnTo>
                  <a:pt x="10244" y="11385"/>
                </a:lnTo>
                <a:lnTo>
                  <a:pt x="10239" y="11388"/>
                </a:lnTo>
                <a:lnTo>
                  <a:pt x="10239" y="11385"/>
                </a:lnTo>
                <a:lnTo>
                  <a:pt x="10239" y="11383"/>
                </a:lnTo>
                <a:close/>
                <a:moveTo>
                  <a:pt x="10245" y="11468"/>
                </a:moveTo>
                <a:lnTo>
                  <a:pt x="10247" y="11462"/>
                </a:lnTo>
                <a:lnTo>
                  <a:pt x="10253" y="11464"/>
                </a:lnTo>
                <a:lnTo>
                  <a:pt x="10249" y="11467"/>
                </a:lnTo>
                <a:lnTo>
                  <a:pt x="10245" y="11468"/>
                </a:lnTo>
                <a:close/>
                <a:moveTo>
                  <a:pt x="10038" y="11147"/>
                </a:moveTo>
                <a:lnTo>
                  <a:pt x="10038" y="11146"/>
                </a:lnTo>
                <a:lnTo>
                  <a:pt x="10038" y="11147"/>
                </a:lnTo>
                <a:lnTo>
                  <a:pt x="10038" y="11146"/>
                </a:lnTo>
                <a:lnTo>
                  <a:pt x="10038" y="11147"/>
                </a:lnTo>
                <a:close/>
                <a:moveTo>
                  <a:pt x="9959" y="11238"/>
                </a:moveTo>
                <a:lnTo>
                  <a:pt x="9988" y="11221"/>
                </a:lnTo>
                <a:lnTo>
                  <a:pt x="10026" y="11267"/>
                </a:lnTo>
                <a:lnTo>
                  <a:pt x="10030" y="11319"/>
                </a:lnTo>
                <a:lnTo>
                  <a:pt x="10040" y="11375"/>
                </a:lnTo>
                <a:lnTo>
                  <a:pt x="9988" y="11281"/>
                </a:lnTo>
                <a:lnTo>
                  <a:pt x="9959" y="11238"/>
                </a:lnTo>
                <a:close/>
                <a:moveTo>
                  <a:pt x="9933" y="11351"/>
                </a:moveTo>
                <a:lnTo>
                  <a:pt x="9936" y="11350"/>
                </a:lnTo>
                <a:lnTo>
                  <a:pt x="9932" y="11352"/>
                </a:lnTo>
                <a:lnTo>
                  <a:pt x="9932" y="11351"/>
                </a:lnTo>
                <a:lnTo>
                  <a:pt x="9933" y="11351"/>
                </a:lnTo>
                <a:close/>
                <a:moveTo>
                  <a:pt x="9922" y="11357"/>
                </a:moveTo>
                <a:lnTo>
                  <a:pt x="9922" y="11357"/>
                </a:lnTo>
                <a:lnTo>
                  <a:pt x="9922" y="11357"/>
                </a:lnTo>
                <a:lnTo>
                  <a:pt x="9922" y="11357"/>
                </a:lnTo>
                <a:lnTo>
                  <a:pt x="9922" y="11357"/>
                </a:lnTo>
                <a:close/>
                <a:moveTo>
                  <a:pt x="9843" y="11516"/>
                </a:moveTo>
                <a:lnTo>
                  <a:pt x="9870" y="11507"/>
                </a:lnTo>
                <a:lnTo>
                  <a:pt x="9892" y="11505"/>
                </a:lnTo>
                <a:lnTo>
                  <a:pt x="9873" y="11519"/>
                </a:lnTo>
                <a:lnTo>
                  <a:pt x="9843" y="11516"/>
                </a:lnTo>
                <a:close/>
                <a:moveTo>
                  <a:pt x="9918" y="11612"/>
                </a:moveTo>
                <a:lnTo>
                  <a:pt x="9929" y="11619"/>
                </a:lnTo>
                <a:lnTo>
                  <a:pt x="9913" y="11630"/>
                </a:lnTo>
                <a:lnTo>
                  <a:pt x="9909" y="11618"/>
                </a:lnTo>
                <a:lnTo>
                  <a:pt x="9918" y="11612"/>
                </a:lnTo>
                <a:close/>
                <a:moveTo>
                  <a:pt x="9985" y="11654"/>
                </a:moveTo>
                <a:lnTo>
                  <a:pt x="9987" y="11644"/>
                </a:lnTo>
                <a:lnTo>
                  <a:pt x="10001" y="11626"/>
                </a:lnTo>
                <a:lnTo>
                  <a:pt x="10003" y="11642"/>
                </a:lnTo>
                <a:lnTo>
                  <a:pt x="9985" y="11654"/>
                </a:lnTo>
                <a:close/>
                <a:moveTo>
                  <a:pt x="9997" y="11524"/>
                </a:moveTo>
                <a:lnTo>
                  <a:pt x="10003" y="11527"/>
                </a:lnTo>
                <a:lnTo>
                  <a:pt x="9997" y="11534"/>
                </a:lnTo>
                <a:lnTo>
                  <a:pt x="9997" y="11529"/>
                </a:lnTo>
                <a:lnTo>
                  <a:pt x="9997" y="11524"/>
                </a:lnTo>
                <a:close/>
                <a:moveTo>
                  <a:pt x="10008" y="11560"/>
                </a:moveTo>
                <a:lnTo>
                  <a:pt x="10020" y="11569"/>
                </a:lnTo>
                <a:lnTo>
                  <a:pt x="10007" y="11571"/>
                </a:lnTo>
                <a:lnTo>
                  <a:pt x="10008" y="11566"/>
                </a:lnTo>
                <a:lnTo>
                  <a:pt x="10008" y="11560"/>
                </a:lnTo>
                <a:close/>
                <a:moveTo>
                  <a:pt x="10010" y="11556"/>
                </a:moveTo>
                <a:lnTo>
                  <a:pt x="10010" y="11549"/>
                </a:lnTo>
                <a:lnTo>
                  <a:pt x="10021" y="11544"/>
                </a:lnTo>
                <a:lnTo>
                  <a:pt x="10030" y="11558"/>
                </a:lnTo>
                <a:lnTo>
                  <a:pt x="10010" y="11556"/>
                </a:lnTo>
                <a:close/>
                <a:moveTo>
                  <a:pt x="10087" y="11495"/>
                </a:moveTo>
                <a:lnTo>
                  <a:pt x="10082" y="11496"/>
                </a:lnTo>
                <a:lnTo>
                  <a:pt x="10077" y="11496"/>
                </a:lnTo>
                <a:lnTo>
                  <a:pt x="10081" y="11492"/>
                </a:lnTo>
                <a:lnTo>
                  <a:pt x="10087" y="11495"/>
                </a:lnTo>
                <a:close/>
                <a:moveTo>
                  <a:pt x="10176" y="11484"/>
                </a:moveTo>
                <a:lnTo>
                  <a:pt x="10193" y="11497"/>
                </a:lnTo>
                <a:lnTo>
                  <a:pt x="10184" y="11510"/>
                </a:lnTo>
                <a:lnTo>
                  <a:pt x="10176" y="11490"/>
                </a:lnTo>
                <a:lnTo>
                  <a:pt x="10176" y="11484"/>
                </a:lnTo>
                <a:close/>
                <a:moveTo>
                  <a:pt x="10275" y="11455"/>
                </a:moveTo>
                <a:lnTo>
                  <a:pt x="10275" y="11458"/>
                </a:lnTo>
                <a:lnTo>
                  <a:pt x="10273" y="11460"/>
                </a:lnTo>
                <a:lnTo>
                  <a:pt x="10271" y="11456"/>
                </a:lnTo>
                <a:lnTo>
                  <a:pt x="10275" y="11455"/>
                </a:lnTo>
                <a:close/>
                <a:moveTo>
                  <a:pt x="10341" y="11431"/>
                </a:moveTo>
                <a:lnTo>
                  <a:pt x="10331" y="11432"/>
                </a:lnTo>
                <a:lnTo>
                  <a:pt x="10327" y="11425"/>
                </a:lnTo>
                <a:lnTo>
                  <a:pt x="10351" y="11422"/>
                </a:lnTo>
                <a:lnTo>
                  <a:pt x="10341" y="11431"/>
                </a:lnTo>
                <a:close/>
                <a:moveTo>
                  <a:pt x="10098" y="10994"/>
                </a:moveTo>
                <a:lnTo>
                  <a:pt x="10091" y="10994"/>
                </a:lnTo>
                <a:lnTo>
                  <a:pt x="10086" y="10993"/>
                </a:lnTo>
                <a:lnTo>
                  <a:pt x="10098" y="10984"/>
                </a:lnTo>
                <a:lnTo>
                  <a:pt x="10098" y="10994"/>
                </a:lnTo>
                <a:close/>
                <a:moveTo>
                  <a:pt x="9912" y="10994"/>
                </a:moveTo>
                <a:lnTo>
                  <a:pt x="9913" y="10991"/>
                </a:lnTo>
                <a:lnTo>
                  <a:pt x="9913" y="10994"/>
                </a:lnTo>
                <a:lnTo>
                  <a:pt x="9913" y="10994"/>
                </a:lnTo>
                <a:lnTo>
                  <a:pt x="9912" y="10994"/>
                </a:lnTo>
                <a:close/>
                <a:moveTo>
                  <a:pt x="9907" y="11255"/>
                </a:moveTo>
                <a:lnTo>
                  <a:pt x="9901" y="11248"/>
                </a:lnTo>
                <a:lnTo>
                  <a:pt x="9900" y="11244"/>
                </a:lnTo>
                <a:lnTo>
                  <a:pt x="9910" y="11250"/>
                </a:lnTo>
                <a:lnTo>
                  <a:pt x="9907" y="11255"/>
                </a:lnTo>
                <a:close/>
                <a:moveTo>
                  <a:pt x="9659" y="10965"/>
                </a:moveTo>
                <a:lnTo>
                  <a:pt x="9649" y="10958"/>
                </a:lnTo>
                <a:lnTo>
                  <a:pt x="9657" y="10954"/>
                </a:lnTo>
                <a:lnTo>
                  <a:pt x="9663" y="10960"/>
                </a:lnTo>
                <a:lnTo>
                  <a:pt x="9659" y="10965"/>
                </a:lnTo>
                <a:close/>
                <a:moveTo>
                  <a:pt x="9633" y="10988"/>
                </a:moveTo>
                <a:lnTo>
                  <a:pt x="9642" y="10987"/>
                </a:lnTo>
                <a:lnTo>
                  <a:pt x="9631" y="11003"/>
                </a:lnTo>
                <a:lnTo>
                  <a:pt x="9624" y="10993"/>
                </a:lnTo>
                <a:lnTo>
                  <a:pt x="9633" y="10988"/>
                </a:lnTo>
                <a:close/>
                <a:moveTo>
                  <a:pt x="9591" y="10853"/>
                </a:moveTo>
                <a:lnTo>
                  <a:pt x="9578" y="10852"/>
                </a:lnTo>
                <a:lnTo>
                  <a:pt x="9565" y="10851"/>
                </a:lnTo>
                <a:lnTo>
                  <a:pt x="9577" y="10843"/>
                </a:lnTo>
                <a:lnTo>
                  <a:pt x="9591" y="10853"/>
                </a:lnTo>
                <a:close/>
                <a:moveTo>
                  <a:pt x="8984" y="11544"/>
                </a:moveTo>
                <a:lnTo>
                  <a:pt x="8977" y="11552"/>
                </a:lnTo>
                <a:lnTo>
                  <a:pt x="8969" y="11562"/>
                </a:lnTo>
                <a:lnTo>
                  <a:pt x="8939" y="11549"/>
                </a:lnTo>
                <a:lnTo>
                  <a:pt x="8984" y="11544"/>
                </a:lnTo>
                <a:close/>
                <a:moveTo>
                  <a:pt x="8735" y="11356"/>
                </a:moveTo>
                <a:lnTo>
                  <a:pt x="8716" y="11375"/>
                </a:lnTo>
                <a:lnTo>
                  <a:pt x="8699" y="11362"/>
                </a:lnTo>
                <a:lnTo>
                  <a:pt x="8735" y="11356"/>
                </a:lnTo>
                <a:close/>
                <a:moveTo>
                  <a:pt x="8502" y="11618"/>
                </a:moveTo>
                <a:lnTo>
                  <a:pt x="8525" y="11618"/>
                </a:lnTo>
                <a:lnTo>
                  <a:pt x="8541" y="11625"/>
                </a:lnTo>
                <a:lnTo>
                  <a:pt x="8512" y="11630"/>
                </a:lnTo>
                <a:lnTo>
                  <a:pt x="8502" y="11618"/>
                </a:lnTo>
                <a:close/>
                <a:moveTo>
                  <a:pt x="8559" y="11730"/>
                </a:moveTo>
                <a:lnTo>
                  <a:pt x="8551" y="11731"/>
                </a:lnTo>
                <a:lnTo>
                  <a:pt x="8559" y="11730"/>
                </a:lnTo>
                <a:lnTo>
                  <a:pt x="8553" y="11733"/>
                </a:lnTo>
                <a:lnTo>
                  <a:pt x="8559" y="11730"/>
                </a:lnTo>
                <a:close/>
                <a:moveTo>
                  <a:pt x="8605" y="11758"/>
                </a:moveTo>
                <a:lnTo>
                  <a:pt x="8586" y="11766"/>
                </a:lnTo>
                <a:lnTo>
                  <a:pt x="8572" y="11749"/>
                </a:lnTo>
                <a:lnTo>
                  <a:pt x="8590" y="11749"/>
                </a:lnTo>
                <a:lnTo>
                  <a:pt x="8605" y="11758"/>
                </a:lnTo>
                <a:close/>
                <a:moveTo>
                  <a:pt x="8660" y="11994"/>
                </a:moveTo>
                <a:lnTo>
                  <a:pt x="8658" y="12005"/>
                </a:lnTo>
                <a:lnTo>
                  <a:pt x="8644" y="12006"/>
                </a:lnTo>
                <a:lnTo>
                  <a:pt x="8650" y="11999"/>
                </a:lnTo>
                <a:lnTo>
                  <a:pt x="8660" y="11994"/>
                </a:lnTo>
                <a:close/>
                <a:moveTo>
                  <a:pt x="8658" y="12010"/>
                </a:moveTo>
                <a:lnTo>
                  <a:pt x="8664" y="12011"/>
                </a:lnTo>
                <a:lnTo>
                  <a:pt x="8662" y="12014"/>
                </a:lnTo>
                <a:lnTo>
                  <a:pt x="8661" y="12013"/>
                </a:lnTo>
                <a:lnTo>
                  <a:pt x="8658" y="12010"/>
                </a:lnTo>
                <a:close/>
                <a:moveTo>
                  <a:pt x="8745" y="12000"/>
                </a:moveTo>
                <a:lnTo>
                  <a:pt x="8743" y="11995"/>
                </a:lnTo>
                <a:lnTo>
                  <a:pt x="8746" y="11989"/>
                </a:lnTo>
                <a:lnTo>
                  <a:pt x="8749" y="11994"/>
                </a:lnTo>
                <a:lnTo>
                  <a:pt x="8745" y="12000"/>
                </a:lnTo>
                <a:close/>
                <a:moveTo>
                  <a:pt x="8741" y="11936"/>
                </a:moveTo>
                <a:lnTo>
                  <a:pt x="8753" y="11931"/>
                </a:lnTo>
                <a:lnTo>
                  <a:pt x="8765" y="11935"/>
                </a:lnTo>
                <a:lnTo>
                  <a:pt x="8754" y="11938"/>
                </a:lnTo>
                <a:lnTo>
                  <a:pt x="8741" y="11936"/>
                </a:lnTo>
                <a:close/>
                <a:moveTo>
                  <a:pt x="8797" y="11926"/>
                </a:moveTo>
                <a:lnTo>
                  <a:pt x="8783" y="11929"/>
                </a:lnTo>
                <a:lnTo>
                  <a:pt x="8785" y="11915"/>
                </a:lnTo>
                <a:lnTo>
                  <a:pt x="8790" y="11917"/>
                </a:lnTo>
                <a:lnTo>
                  <a:pt x="8797" y="11926"/>
                </a:lnTo>
                <a:close/>
                <a:moveTo>
                  <a:pt x="8834" y="11969"/>
                </a:moveTo>
                <a:lnTo>
                  <a:pt x="8838" y="11964"/>
                </a:lnTo>
                <a:lnTo>
                  <a:pt x="8842" y="11971"/>
                </a:lnTo>
                <a:lnTo>
                  <a:pt x="8839" y="11972"/>
                </a:lnTo>
                <a:lnTo>
                  <a:pt x="8834" y="11969"/>
                </a:lnTo>
                <a:close/>
                <a:moveTo>
                  <a:pt x="9300" y="11798"/>
                </a:moveTo>
                <a:lnTo>
                  <a:pt x="9308" y="11800"/>
                </a:lnTo>
                <a:lnTo>
                  <a:pt x="9285" y="11808"/>
                </a:lnTo>
                <a:lnTo>
                  <a:pt x="9294" y="11804"/>
                </a:lnTo>
                <a:lnTo>
                  <a:pt x="9300" y="11798"/>
                </a:lnTo>
                <a:close/>
                <a:moveTo>
                  <a:pt x="9346" y="11818"/>
                </a:moveTo>
                <a:lnTo>
                  <a:pt x="9347" y="11808"/>
                </a:lnTo>
                <a:lnTo>
                  <a:pt x="9349" y="11801"/>
                </a:lnTo>
                <a:lnTo>
                  <a:pt x="9358" y="11808"/>
                </a:lnTo>
                <a:lnTo>
                  <a:pt x="9346" y="11818"/>
                </a:lnTo>
                <a:close/>
                <a:moveTo>
                  <a:pt x="9373" y="11807"/>
                </a:moveTo>
                <a:lnTo>
                  <a:pt x="9387" y="11805"/>
                </a:lnTo>
                <a:lnTo>
                  <a:pt x="9402" y="11808"/>
                </a:lnTo>
                <a:lnTo>
                  <a:pt x="9391" y="11813"/>
                </a:lnTo>
                <a:lnTo>
                  <a:pt x="9373" y="11807"/>
                </a:lnTo>
                <a:close/>
                <a:moveTo>
                  <a:pt x="9454" y="11810"/>
                </a:moveTo>
                <a:lnTo>
                  <a:pt x="9457" y="11793"/>
                </a:lnTo>
                <a:lnTo>
                  <a:pt x="9466" y="11804"/>
                </a:lnTo>
                <a:lnTo>
                  <a:pt x="9470" y="11804"/>
                </a:lnTo>
                <a:lnTo>
                  <a:pt x="9454" y="11810"/>
                </a:lnTo>
                <a:close/>
                <a:moveTo>
                  <a:pt x="9461" y="11723"/>
                </a:moveTo>
                <a:lnTo>
                  <a:pt x="9474" y="11712"/>
                </a:lnTo>
                <a:lnTo>
                  <a:pt x="9494" y="11730"/>
                </a:lnTo>
                <a:lnTo>
                  <a:pt x="9471" y="11733"/>
                </a:lnTo>
                <a:lnTo>
                  <a:pt x="9461" y="11723"/>
                </a:lnTo>
                <a:close/>
                <a:moveTo>
                  <a:pt x="9522" y="11789"/>
                </a:moveTo>
                <a:lnTo>
                  <a:pt x="9537" y="11777"/>
                </a:lnTo>
                <a:lnTo>
                  <a:pt x="9561" y="11780"/>
                </a:lnTo>
                <a:lnTo>
                  <a:pt x="9542" y="11789"/>
                </a:lnTo>
                <a:lnTo>
                  <a:pt x="9522" y="11789"/>
                </a:lnTo>
                <a:close/>
                <a:moveTo>
                  <a:pt x="9597" y="11779"/>
                </a:moveTo>
                <a:lnTo>
                  <a:pt x="9597" y="11780"/>
                </a:lnTo>
                <a:lnTo>
                  <a:pt x="9598" y="11780"/>
                </a:lnTo>
                <a:lnTo>
                  <a:pt x="9597" y="11780"/>
                </a:lnTo>
                <a:lnTo>
                  <a:pt x="9597" y="11779"/>
                </a:lnTo>
                <a:close/>
                <a:moveTo>
                  <a:pt x="9687" y="11887"/>
                </a:moveTo>
                <a:lnTo>
                  <a:pt x="9676" y="11883"/>
                </a:lnTo>
                <a:lnTo>
                  <a:pt x="9665" y="11882"/>
                </a:lnTo>
                <a:lnTo>
                  <a:pt x="9676" y="11880"/>
                </a:lnTo>
                <a:lnTo>
                  <a:pt x="9687" y="11887"/>
                </a:lnTo>
                <a:close/>
                <a:moveTo>
                  <a:pt x="9742" y="11831"/>
                </a:moveTo>
                <a:lnTo>
                  <a:pt x="9740" y="11832"/>
                </a:lnTo>
                <a:lnTo>
                  <a:pt x="9737" y="11828"/>
                </a:lnTo>
                <a:lnTo>
                  <a:pt x="9738" y="11827"/>
                </a:lnTo>
                <a:lnTo>
                  <a:pt x="9742" y="11831"/>
                </a:lnTo>
                <a:close/>
                <a:moveTo>
                  <a:pt x="9738" y="11751"/>
                </a:moveTo>
                <a:lnTo>
                  <a:pt x="9733" y="11757"/>
                </a:lnTo>
                <a:lnTo>
                  <a:pt x="9732" y="11731"/>
                </a:lnTo>
                <a:lnTo>
                  <a:pt x="9741" y="11745"/>
                </a:lnTo>
                <a:lnTo>
                  <a:pt x="9738" y="11751"/>
                </a:lnTo>
                <a:close/>
                <a:moveTo>
                  <a:pt x="9772" y="11761"/>
                </a:moveTo>
                <a:lnTo>
                  <a:pt x="9766" y="11758"/>
                </a:lnTo>
                <a:lnTo>
                  <a:pt x="9759" y="11756"/>
                </a:lnTo>
                <a:lnTo>
                  <a:pt x="9773" y="11752"/>
                </a:lnTo>
                <a:lnTo>
                  <a:pt x="9772" y="11761"/>
                </a:lnTo>
                <a:close/>
                <a:moveTo>
                  <a:pt x="9806" y="11669"/>
                </a:moveTo>
                <a:lnTo>
                  <a:pt x="9812" y="11668"/>
                </a:lnTo>
                <a:lnTo>
                  <a:pt x="9821" y="11668"/>
                </a:lnTo>
                <a:lnTo>
                  <a:pt x="9810" y="11678"/>
                </a:lnTo>
                <a:lnTo>
                  <a:pt x="9806" y="11669"/>
                </a:lnTo>
                <a:close/>
                <a:moveTo>
                  <a:pt x="9862" y="11702"/>
                </a:moveTo>
                <a:lnTo>
                  <a:pt x="9862" y="11697"/>
                </a:lnTo>
                <a:lnTo>
                  <a:pt x="9864" y="11691"/>
                </a:lnTo>
                <a:lnTo>
                  <a:pt x="9871" y="11701"/>
                </a:lnTo>
                <a:lnTo>
                  <a:pt x="9862" y="11702"/>
                </a:lnTo>
                <a:close/>
                <a:moveTo>
                  <a:pt x="9886" y="11600"/>
                </a:moveTo>
                <a:lnTo>
                  <a:pt x="9889" y="11600"/>
                </a:lnTo>
                <a:lnTo>
                  <a:pt x="9886" y="11602"/>
                </a:lnTo>
                <a:lnTo>
                  <a:pt x="9886" y="11602"/>
                </a:lnTo>
                <a:lnTo>
                  <a:pt x="9886" y="11600"/>
                </a:lnTo>
                <a:close/>
                <a:moveTo>
                  <a:pt x="9909" y="11435"/>
                </a:moveTo>
                <a:lnTo>
                  <a:pt x="9922" y="11430"/>
                </a:lnTo>
                <a:lnTo>
                  <a:pt x="9915" y="11439"/>
                </a:lnTo>
                <a:lnTo>
                  <a:pt x="9912" y="11437"/>
                </a:lnTo>
                <a:lnTo>
                  <a:pt x="9909" y="11435"/>
                </a:lnTo>
                <a:close/>
                <a:moveTo>
                  <a:pt x="9957" y="11555"/>
                </a:moveTo>
                <a:lnTo>
                  <a:pt x="9954" y="11562"/>
                </a:lnTo>
                <a:lnTo>
                  <a:pt x="9947" y="11566"/>
                </a:lnTo>
                <a:lnTo>
                  <a:pt x="9947" y="11560"/>
                </a:lnTo>
                <a:lnTo>
                  <a:pt x="9957" y="11555"/>
                </a:lnTo>
                <a:close/>
                <a:moveTo>
                  <a:pt x="10012" y="11702"/>
                </a:moveTo>
                <a:lnTo>
                  <a:pt x="10005" y="11706"/>
                </a:lnTo>
                <a:lnTo>
                  <a:pt x="9997" y="11707"/>
                </a:lnTo>
                <a:lnTo>
                  <a:pt x="10003" y="11705"/>
                </a:lnTo>
                <a:lnTo>
                  <a:pt x="10012" y="11702"/>
                </a:lnTo>
                <a:close/>
                <a:moveTo>
                  <a:pt x="10262" y="11709"/>
                </a:moveTo>
                <a:lnTo>
                  <a:pt x="10273" y="11720"/>
                </a:lnTo>
                <a:lnTo>
                  <a:pt x="10264" y="11731"/>
                </a:lnTo>
                <a:lnTo>
                  <a:pt x="10263" y="11719"/>
                </a:lnTo>
                <a:lnTo>
                  <a:pt x="10262" y="11709"/>
                </a:lnTo>
                <a:close/>
                <a:moveTo>
                  <a:pt x="10252" y="11577"/>
                </a:moveTo>
                <a:lnTo>
                  <a:pt x="10263" y="11569"/>
                </a:lnTo>
                <a:lnTo>
                  <a:pt x="10280" y="11571"/>
                </a:lnTo>
                <a:lnTo>
                  <a:pt x="10267" y="11580"/>
                </a:lnTo>
                <a:lnTo>
                  <a:pt x="10252" y="11577"/>
                </a:lnTo>
                <a:close/>
                <a:moveTo>
                  <a:pt x="10300" y="11607"/>
                </a:moveTo>
                <a:lnTo>
                  <a:pt x="10294" y="11604"/>
                </a:lnTo>
                <a:lnTo>
                  <a:pt x="10287" y="11598"/>
                </a:lnTo>
                <a:lnTo>
                  <a:pt x="10295" y="11599"/>
                </a:lnTo>
                <a:lnTo>
                  <a:pt x="10300" y="11607"/>
                </a:lnTo>
                <a:close/>
                <a:moveTo>
                  <a:pt x="10306" y="11502"/>
                </a:moveTo>
                <a:lnTo>
                  <a:pt x="10304" y="11506"/>
                </a:lnTo>
                <a:lnTo>
                  <a:pt x="10300" y="11505"/>
                </a:lnTo>
                <a:lnTo>
                  <a:pt x="10303" y="11504"/>
                </a:lnTo>
                <a:lnTo>
                  <a:pt x="10306" y="11502"/>
                </a:lnTo>
                <a:close/>
                <a:moveTo>
                  <a:pt x="10396" y="11459"/>
                </a:moveTo>
                <a:lnTo>
                  <a:pt x="10382" y="11453"/>
                </a:lnTo>
                <a:lnTo>
                  <a:pt x="10356" y="11448"/>
                </a:lnTo>
                <a:lnTo>
                  <a:pt x="10370" y="11432"/>
                </a:lnTo>
                <a:lnTo>
                  <a:pt x="10396" y="11459"/>
                </a:lnTo>
                <a:close/>
                <a:moveTo>
                  <a:pt x="10434" y="11513"/>
                </a:moveTo>
                <a:lnTo>
                  <a:pt x="10430" y="11521"/>
                </a:lnTo>
                <a:lnTo>
                  <a:pt x="10425" y="11532"/>
                </a:lnTo>
                <a:lnTo>
                  <a:pt x="10417" y="11518"/>
                </a:lnTo>
                <a:lnTo>
                  <a:pt x="10434" y="11513"/>
                </a:lnTo>
                <a:close/>
                <a:moveTo>
                  <a:pt x="10448" y="11288"/>
                </a:moveTo>
                <a:lnTo>
                  <a:pt x="10448" y="11290"/>
                </a:lnTo>
                <a:lnTo>
                  <a:pt x="10448" y="11288"/>
                </a:lnTo>
                <a:lnTo>
                  <a:pt x="10448" y="11290"/>
                </a:lnTo>
                <a:lnTo>
                  <a:pt x="10448" y="11288"/>
                </a:lnTo>
                <a:close/>
                <a:moveTo>
                  <a:pt x="11146" y="10329"/>
                </a:moveTo>
                <a:lnTo>
                  <a:pt x="11151" y="10321"/>
                </a:lnTo>
                <a:lnTo>
                  <a:pt x="11158" y="10319"/>
                </a:lnTo>
                <a:lnTo>
                  <a:pt x="11152" y="10324"/>
                </a:lnTo>
                <a:lnTo>
                  <a:pt x="11146" y="10329"/>
                </a:lnTo>
                <a:close/>
                <a:moveTo>
                  <a:pt x="11193" y="10336"/>
                </a:moveTo>
                <a:lnTo>
                  <a:pt x="11198" y="10327"/>
                </a:lnTo>
                <a:lnTo>
                  <a:pt x="11214" y="10329"/>
                </a:lnTo>
                <a:lnTo>
                  <a:pt x="11207" y="10336"/>
                </a:lnTo>
                <a:lnTo>
                  <a:pt x="11193" y="10336"/>
                </a:lnTo>
                <a:close/>
                <a:moveTo>
                  <a:pt x="10157" y="10935"/>
                </a:moveTo>
                <a:lnTo>
                  <a:pt x="10147" y="10936"/>
                </a:lnTo>
                <a:lnTo>
                  <a:pt x="10134" y="10926"/>
                </a:lnTo>
                <a:lnTo>
                  <a:pt x="10147" y="10931"/>
                </a:lnTo>
                <a:lnTo>
                  <a:pt x="10157" y="10935"/>
                </a:lnTo>
                <a:close/>
                <a:moveTo>
                  <a:pt x="10103" y="10970"/>
                </a:moveTo>
                <a:lnTo>
                  <a:pt x="10101" y="10973"/>
                </a:lnTo>
                <a:lnTo>
                  <a:pt x="10098" y="10970"/>
                </a:lnTo>
                <a:lnTo>
                  <a:pt x="10100" y="10970"/>
                </a:lnTo>
                <a:lnTo>
                  <a:pt x="10103" y="10970"/>
                </a:lnTo>
                <a:close/>
                <a:moveTo>
                  <a:pt x="9886" y="10969"/>
                </a:moveTo>
                <a:lnTo>
                  <a:pt x="9903" y="10964"/>
                </a:lnTo>
                <a:lnTo>
                  <a:pt x="9915" y="10969"/>
                </a:lnTo>
                <a:lnTo>
                  <a:pt x="9886" y="10987"/>
                </a:lnTo>
                <a:lnTo>
                  <a:pt x="9886" y="10969"/>
                </a:lnTo>
                <a:close/>
                <a:moveTo>
                  <a:pt x="9872" y="11141"/>
                </a:moveTo>
                <a:lnTo>
                  <a:pt x="9887" y="11148"/>
                </a:lnTo>
                <a:lnTo>
                  <a:pt x="9878" y="11159"/>
                </a:lnTo>
                <a:lnTo>
                  <a:pt x="9862" y="11150"/>
                </a:lnTo>
                <a:lnTo>
                  <a:pt x="9872" y="11141"/>
                </a:lnTo>
                <a:close/>
                <a:moveTo>
                  <a:pt x="9873" y="11241"/>
                </a:moveTo>
                <a:lnTo>
                  <a:pt x="9870" y="11249"/>
                </a:lnTo>
                <a:lnTo>
                  <a:pt x="9861" y="11255"/>
                </a:lnTo>
                <a:lnTo>
                  <a:pt x="9867" y="11248"/>
                </a:lnTo>
                <a:lnTo>
                  <a:pt x="9873" y="11241"/>
                </a:lnTo>
                <a:close/>
                <a:moveTo>
                  <a:pt x="9845" y="11157"/>
                </a:moveTo>
                <a:lnTo>
                  <a:pt x="9850" y="11155"/>
                </a:lnTo>
                <a:lnTo>
                  <a:pt x="9854" y="11160"/>
                </a:lnTo>
                <a:lnTo>
                  <a:pt x="9848" y="11159"/>
                </a:lnTo>
                <a:lnTo>
                  <a:pt x="9845" y="11157"/>
                </a:lnTo>
                <a:close/>
                <a:moveTo>
                  <a:pt x="9741" y="11049"/>
                </a:moveTo>
                <a:lnTo>
                  <a:pt x="9699" y="11047"/>
                </a:lnTo>
                <a:lnTo>
                  <a:pt x="9687" y="11040"/>
                </a:lnTo>
                <a:lnTo>
                  <a:pt x="9733" y="11036"/>
                </a:lnTo>
                <a:lnTo>
                  <a:pt x="9741" y="11049"/>
                </a:lnTo>
                <a:close/>
                <a:moveTo>
                  <a:pt x="9685" y="10994"/>
                </a:moveTo>
                <a:lnTo>
                  <a:pt x="9694" y="10984"/>
                </a:lnTo>
                <a:lnTo>
                  <a:pt x="9705" y="10978"/>
                </a:lnTo>
                <a:lnTo>
                  <a:pt x="9695" y="10987"/>
                </a:lnTo>
                <a:lnTo>
                  <a:pt x="9685" y="10994"/>
                </a:lnTo>
                <a:close/>
                <a:moveTo>
                  <a:pt x="9365" y="11327"/>
                </a:moveTo>
                <a:lnTo>
                  <a:pt x="9360" y="11339"/>
                </a:lnTo>
                <a:lnTo>
                  <a:pt x="9345" y="11342"/>
                </a:lnTo>
                <a:lnTo>
                  <a:pt x="9345" y="11329"/>
                </a:lnTo>
                <a:lnTo>
                  <a:pt x="9365" y="11327"/>
                </a:lnTo>
                <a:close/>
                <a:moveTo>
                  <a:pt x="9123" y="11323"/>
                </a:moveTo>
                <a:lnTo>
                  <a:pt x="9128" y="11325"/>
                </a:lnTo>
                <a:lnTo>
                  <a:pt x="9133" y="11329"/>
                </a:lnTo>
                <a:lnTo>
                  <a:pt x="9121" y="11328"/>
                </a:lnTo>
                <a:lnTo>
                  <a:pt x="9123" y="11323"/>
                </a:lnTo>
                <a:close/>
                <a:moveTo>
                  <a:pt x="9144" y="11418"/>
                </a:moveTo>
                <a:lnTo>
                  <a:pt x="9144" y="11421"/>
                </a:lnTo>
                <a:lnTo>
                  <a:pt x="9141" y="11422"/>
                </a:lnTo>
                <a:lnTo>
                  <a:pt x="9142" y="11420"/>
                </a:lnTo>
                <a:lnTo>
                  <a:pt x="9144" y="11418"/>
                </a:lnTo>
                <a:close/>
                <a:moveTo>
                  <a:pt x="9046" y="11229"/>
                </a:moveTo>
                <a:lnTo>
                  <a:pt x="9047" y="11208"/>
                </a:lnTo>
                <a:lnTo>
                  <a:pt x="9065" y="11206"/>
                </a:lnTo>
                <a:lnTo>
                  <a:pt x="9066" y="11229"/>
                </a:lnTo>
                <a:lnTo>
                  <a:pt x="9046" y="11229"/>
                </a:lnTo>
                <a:close/>
                <a:moveTo>
                  <a:pt x="8940" y="11394"/>
                </a:moveTo>
                <a:lnTo>
                  <a:pt x="8950" y="11390"/>
                </a:lnTo>
                <a:lnTo>
                  <a:pt x="8965" y="11392"/>
                </a:lnTo>
                <a:lnTo>
                  <a:pt x="8953" y="11390"/>
                </a:lnTo>
                <a:lnTo>
                  <a:pt x="8940" y="11394"/>
                </a:lnTo>
                <a:close/>
                <a:moveTo>
                  <a:pt x="8819" y="11392"/>
                </a:moveTo>
                <a:lnTo>
                  <a:pt x="8815" y="11393"/>
                </a:lnTo>
                <a:lnTo>
                  <a:pt x="8809" y="11394"/>
                </a:lnTo>
                <a:lnTo>
                  <a:pt x="8818" y="11383"/>
                </a:lnTo>
                <a:lnTo>
                  <a:pt x="8819" y="11392"/>
                </a:lnTo>
                <a:close/>
                <a:moveTo>
                  <a:pt x="5032" y="12546"/>
                </a:moveTo>
                <a:lnTo>
                  <a:pt x="5033" y="12545"/>
                </a:lnTo>
                <a:lnTo>
                  <a:pt x="5037" y="12544"/>
                </a:lnTo>
                <a:lnTo>
                  <a:pt x="5035" y="12546"/>
                </a:lnTo>
                <a:lnTo>
                  <a:pt x="5032" y="12546"/>
                </a:lnTo>
                <a:close/>
                <a:moveTo>
                  <a:pt x="5001" y="12573"/>
                </a:moveTo>
                <a:lnTo>
                  <a:pt x="4998" y="12569"/>
                </a:lnTo>
                <a:lnTo>
                  <a:pt x="4995" y="12566"/>
                </a:lnTo>
                <a:lnTo>
                  <a:pt x="5002" y="12565"/>
                </a:lnTo>
                <a:lnTo>
                  <a:pt x="5001" y="12573"/>
                </a:lnTo>
                <a:close/>
                <a:moveTo>
                  <a:pt x="5095" y="12451"/>
                </a:moveTo>
                <a:lnTo>
                  <a:pt x="5081" y="12467"/>
                </a:lnTo>
                <a:lnTo>
                  <a:pt x="5065" y="12452"/>
                </a:lnTo>
                <a:lnTo>
                  <a:pt x="5080" y="12451"/>
                </a:lnTo>
                <a:lnTo>
                  <a:pt x="5095" y="12451"/>
                </a:lnTo>
                <a:close/>
                <a:moveTo>
                  <a:pt x="4963" y="12391"/>
                </a:moveTo>
                <a:lnTo>
                  <a:pt x="4965" y="12390"/>
                </a:lnTo>
                <a:lnTo>
                  <a:pt x="4969" y="12391"/>
                </a:lnTo>
                <a:lnTo>
                  <a:pt x="4965" y="12397"/>
                </a:lnTo>
                <a:lnTo>
                  <a:pt x="4963" y="12391"/>
                </a:lnTo>
                <a:close/>
                <a:moveTo>
                  <a:pt x="5051" y="12537"/>
                </a:moveTo>
                <a:lnTo>
                  <a:pt x="5051" y="12537"/>
                </a:lnTo>
                <a:lnTo>
                  <a:pt x="5051" y="12537"/>
                </a:lnTo>
                <a:lnTo>
                  <a:pt x="5051" y="12537"/>
                </a:lnTo>
                <a:lnTo>
                  <a:pt x="5051" y="12537"/>
                </a:lnTo>
                <a:close/>
                <a:moveTo>
                  <a:pt x="5035" y="12494"/>
                </a:moveTo>
                <a:lnTo>
                  <a:pt x="5061" y="12481"/>
                </a:lnTo>
                <a:lnTo>
                  <a:pt x="5090" y="12488"/>
                </a:lnTo>
                <a:lnTo>
                  <a:pt x="5062" y="12491"/>
                </a:lnTo>
                <a:lnTo>
                  <a:pt x="5035" y="12494"/>
                </a:lnTo>
                <a:close/>
                <a:moveTo>
                  <a:pt x="5039" y="12003"/>
                </a:moveTo>
                <a:lnTo>
                  <a:pt x="5024" y="12005"/>
                </a:lnTo>
                <a:lnTo>
                  <a:pt x="5012" y="11991"/>
                </a:lnTo>
                <a:lnTo>
                  <a:pt x="5026" y="11994"/>
                </a:lnTo>
                <a:lnTo>
                  <a:pt x="5039" y="12003"/>
                </a:lnTo>
                <a:close/>
                <a:moveTo>
                  <a:pt x="4777" y="11660"/>
                </a:moveTo>
                <a:lnTo>
                  <a:pt x="4770" y="11658"/>
                </a:lnTo>
                <a:lnTo>
                  <a:pt x="4769" y="11651"/>
                </a:lnTo>
                <a:lnTo>
                  <a:pt x="4774" y="11655"/>
                </a:lnTo>
                <a:lnTo>
                  <a:pt x="4777" y="11660"/>
                </a:lnTo>
                <a:close/>
                <a:moveTo>
                  <a:pt x="4770" y="11668"/>
                </a:moveTo>
                <a:lnTo>
                  <a:pt x="4776" y="11664"/>
                </a:lnTo>
                <a:lnTo>
                  <a:pt x="4779" y="11667"/>
                </a:lnTo>
                <a:lnTo>
                  <a:pt x="4773" y="11669"/>
                </a:lnTo>
                <a:lnTo>
                  <a:pt x="4770" y="11668"/>
                </a:lnTo>
                <a:close/>
                <a:moveTo>
                  <a:pt x="4933" y="12530"/>
                </a:moveTo>
                <a:lnTo>
                  <a:pt x="4926" y="12526"/>
                </a:lnTo>
                <a:lnTo>
                  <a:pt x="4918" y="12522"/>
                </a:lnTo>
                <a:lnTo>
                  <a:pt x="4930" y="12521"/>
                </a:lnTo>
                <a:lnTo>
                  <a:pt x="4933" y="12530"/>
                </a:lnTo>
                <a:close/>
                <a:moveTo>
                  <a:pt x="5061" y="12552"/>
                </a:moveTo>
                <a:lnTo>
                  <a:pt x="5062" y="12541"/>
                </a:lnTo>
                <a:lnTo>
                  <a:pt x="5067" y="12528"/>
                </a:lnTo>
                <a:lnTo>
                  <a:pt x="5074" y="12533"/>
                </a:lnTo>
                <a:lnTo>
                  <a:pt x="5061" y="12552"/>
                </a:lnTo>
                <a:close/>
                <a:moveTo>
                  <a:pt x="5094" y="12514"/>
                </a:moveTo>
                <a:lnTo>
                  <a:pt x="5095" y="12516"/>
                </a:lnTo>
                <a:lnTo>
                  <a:pt x="5091" y="12516"/>
                </a:lnTo>
                <a:lnTo>
                  <a:pt x="5093" y="12516"/>
                </a:lnTo>
                <a:lnTo>
                  <a:pt x="5094" y="12514"/>
                </a:lnTo>
                <a:close/>
                <a:moveTo>
                  <a:pt x="5177" y="12597"/>
                </a:moveTo>
                <a:lnTo>
                  <a:pt x="5183" y="12588"/>
                </a:lnTo>
                <a:lnTo>
                  <a:pt x="5196" y="12580"/>
                </a:lnTo>
                <a:lnTo>
                  <a:pt x="5192" y="12600"/>
                </a:lnTo>
                <a:lnTo>
                  <a:pt x="5177" y="12597"/>
                </a:lnTo>
                <a:close/>
                <a:moveTo>
                  <a:pt x="5203" y="12470"/>
                </a:moveTo>
                <a:lnTo>
                  <a:pt x="5201" y="12462"/>
                </a:lnTo>
                <a:lnTo>
                  <a:pt x="5198" y="12452"/>
                </a:lnTo>
                <a:lnTo>
                  <a:pt x="5209" y="12460"/>
                </a:lnTo>
                <a:lnTo>
                  <a:pt x="5203" y="12470"/>
                </a:lnTo>
                <a:close/>
                <a:moveTo>
                  <a:pt x="5202" y="12471"/>
                </a:moveTo>
                <a:lnTo>
                  <a:pt x="5200" y="12480"/>
                </a:lnTo>
                <a:lnTo>
                  <a:pt x="5187" y="12479"/>
                </a:lnTo>
                <a:lnTo>
                  <a:pt x="5193" y="12471"/>
                </a:lnTo>
                <a:lnTo>
                  <a:pt x="5202" y="12471"/>
                </a:lnTo>
                <a:close/>
                <a:moveTo>
                  <a:pt x="5249" y="12542"/>
                </a:moveTo>
                <a:lnTo>
                  <a:pt x="5251" y="12535"/>
                </a:lnTo>
                <a:lnTo>
                  <a:pt x="5251" y="12531"/>
                </a:lnTo>
                <a:lnTo>
                  <a:pt x="5258" y="12540"/>
                </a:lnTo>
                <a:lnTo>
                  <a:pt x="5249" y="12542"/>
                </a:lnTo>
                <a:close/>
                <a:moveTo>
                  <a:pt x="5251" y="12530"/>
                </a:moveTo>
                <a:lnTo>
                  <a:pt x="5257" y="12510"/>
                </a:lnTo>
                <a:lnTo>
                  <a:pt x="5257" y="12491"/>
                </a:lnTo>
                <a:lnTo>
                  <a:pt x="5277" y="12507"/>
                </a:lnTo>
                <a:lnTo>
                  <a:pt x="5251" y="12530"/>
                </a:lnTo>
                <a:close/>
                <a:moveTo>
                  <a:pt x="5337" y="12508"/>
                </a:moveTo>
                <a:lnTo>
                  <a:pt x="5330" y="12523"/>
                </a:lnTo>
                <a:lnTo>
                  <a:pt x="5323" y="12538"/>
                </a:lnTo>
                <a:lnTo>
                  <a:pt x="5317" y="12521"/>
                </a:lnTo>
                <a:lnTo>
                  <a:pt x="5337" y="12508"/>
                </a:lnTo>
                <a:close/>
                <a:moveTo>
                  <a:pt x="5366" y="12523"/>
                </a:moveTo>
                <a:lnTo>
                  <a:pt x="5384" y="12519"/>
                </a:lnTo>
                <a:lnTo>
                  <a:pt x="5382" y="12496"/>
                </a:lnTo>
                <a:lnTo>
                  <a:pt x="5401" y="12507"/>
                </a:lnTo>
                <a:lnTo>
                  <a:pt x="5366" y="12523"/>
                </a:lnTo>
                <a:close/>
                <a:moveTo>
                  <a:pt x="5414" y="12397"/>
                </a:moveTo>
                <a:lnTo>
                  <a:pt x="5417" y="12397"/>
                </a:lnTo>
                <a:lnTo>
                  <a:pt x="5416" y="12409"/>
                </a:lnTo>
                <a:lnTo>
                  <a:pt x="5414" y="12397"/>
                </a:lnTo>
                <a:close/>
                <a:moveTo>
                  <a:pt x="5442" y="12467"/>
                </a:moveTo>
                <a:lnTo>
                  <a:pt x="5452" y="12439"/>
                </a:lnTo>
                <a:lnTo>
                  <a:pt x="5480" y="12404"/>
                </a:lnTo>
                <a:lnTo>
                  <a:pt x="5475" y="12432"/>
                </a:lnTo>
                <a:lnTo>
                  <a:pt x="5442" y="12467"/>
                </a:lnTo>
                <a:close/>
                <a:moveTo>
                  <a:pt x="5498" y="12503"/>
                </a:moveTo>
                <a:lnTo>
                  <a:pt x="5493" y="12507"/>
                </a:lnTo>
                <a:lnTo>
                  <a:pt x="5484" y="12513"/>
                </a:lnTo>
                <a:lnTo>
                  <a:pt x="5486" y="12493"/>
                </a:lnTo>
                <a:lnTo>
                  <a:pt x="5498" y="12503"/>
                </a:lnTo>
                <a:close/>
                <a:moveTo>
                  <a:pt x="5572" y="12247"/>
                </a:moveTo>
                <a:lnTo>
                  <a:pt x="5572" y="12247"/>
                </a:lnTo>
                <a:lnTo>
                  <a:pt x="5572" y="12247"/>
                </a:lnTo>
                <a:lnTo>
                  <a:pt x="5574" y="12246"/>
                </a:lnTo>
                <a:lnTo>
                  <a:pt x="5572" y="12247"/>
                </a:lnTo>
                <a:close/>
                <a:moveTo>
                  <a:pt x="5682" y="12269"/>
                </a:moveTo>
                <a:lnTo>
                  <a:pt x="5689" y="12247"/>
                </a:lnTo>
                <a:lnTo>
                  <a:pt x="5695" y="12266"/>
                </a:lnTo>
                <a:lnTo>
                  <a:pt x="5698" y="12269"/>
                </a:lnTo>
                <a:lnTo>
                  <a:pt x="5682" y="12269"/>
                </a:lnTo>
                <a:close/>
                <a:moveTo>
                  <a:pt x="5723" y="12321"/>
                </a:moveTo>
                <a:lnTo>
                  <a:pt x="5714" y="12325"/>
                </a:lnTo>
                <a:lnTo>
                  <a:pt x="5705" y="12322"/>
                </a:lnTo>
                <a:lnTo>
                  <a:pt x="5713" y="12320"/>
                </a:lnTo>
                <a:lnTo>
                  <a:pt x="5723" y="12321"/>
                </a:lnTo>
                <a:close/>
                <a:moveTo>
                  <a:pt x="5773" y="12426"/>
                </a:moveTo>
                <a:lnTo>
                  <a:pt x="5780" y="12437"/>
                </a:lnTo>
                <a:lnTo>
                  <a:pt x="5768" y="12448"/>
                </a:lnTo>
                <a:lnTo>
                  <a:pt x="5765" y="12440"/>
                </a:lnTo>
                <a:lnTo>
                  <a:pt x="5773" y="12426"/>
                </a:lnTo>
                <a:close/>
                <a:moveTo>
                  <a:pt x="5787" y="12437"/>
                </a:moveTo>
                <a:lnTo>
                  <a:pt x="5787" y="12435"/>
                </a:lnTo>
                <a:lnTo>
                  <a:pt x="5787" y="12433"/>
                </a:lnTo>
                <a:lnTo>
                  <a:pt x="5788" y="12435"/>
                </a:lnTo>
                <a:lnTo>
                  <a:pt x="5787" y="12437"/>
                </a:lnTo>
                <a:close/>
                <a:moveTo>
                  <a:pt x="5761" y="12350"/>
                </a:moveTo>
                <a:lnTo>
                  <a:pt x="5754" y="12340"/>
                </a:lnTo>
                <a:lnTo>
                  <a:pt x="5777" y="12336"/>
                </a:lnTo>
                <a:lnTo>
                  <a:pt x="5773" y="12346"/>
                </a:lnTo>
                <a:lnTo>
                  <a:pt x="5761" y="12350"/>
                </a:lnTo>
                <a:close/>
                <a:moveTo>
                  <a:pt x="5794" y="12442"/>
                </a:moveTo>
                <a:lnTo>
                  <a:pt x="5797" y="12434"/>
                </a:lnTo>
                <a:lnTo>
                  <a:pt x="5806" y="12432"/>
                </a:lnTo>
                <a:lnTo>
                  <a:pt x="5815" y="12448"/>
                </a:lnTo>
                <a:lnTo>
                  <a:pt x="5794" y="12442"/>
                </a:lnTo>
                <a:close/>
                <a:moveTo>
                  <a:pt x="5880" y="12433"/>
                </a:moveTo>
                <a:lnTo>
                  <a:pt x="5878" y="12435"/>
                </a:lnTo>
                <a:lnTo>
                  <a:pt x="5877" y="12439"/>
                </a:lnTo>
                <a:lnTo>
                  <a:pt x="5875" y="12433"/>
                </a:lnTo>
                <a:lnTo>
                  <a:pt x="5880" y="12433"/>
                </a:lnTo>
                <a:close/>
                <a:moveTo>
                  <a:pt x="6030" y="12146"/>
                </a:moveTo>
                <a:lnTo>
                  <a:pt x="6030" y="12153"/>
                </a:lnTo>
                <a:lnTo>
                  <a:pt x="6029" y="12160"/>
                </a:lnTo>
                <a:lnTo>
                  <a:pt x="6019" y="12160"/>
                </a:lnTo>
                <a:lnTo>
                  <a:pt x="6030" y="12146"/>
                </a:lnTo>
                <a:close/>
                <a:moveTo>
                  <a:pt x="6166" y="12334"/>
                </a:moveTo>
                <a:lnTo>
                  <a:pt x="6159" y="12335"/>
                </a:lnTo>
                <a:lnTo>
                  <a:pt x="6147" y="12328"/>
                </a:lnTo>
                <a:lnTo>
                  <a:pt x="6160" y="12327"/>
                </a:lnTo>
                <a:lnTo>
                  <a:pt x="6166" y="12334"/>
                </a:lnTo>
                <a:close/>
                <a:moveTo>
                  <a:pt x="6156" y="12299"/>
                </a:moveTo>
                <a:lnTo>
                  <a:pt x="6157" y="12293"/>
                </a:lnTo>
                <a:lnTo>
                  <a:pt x="6159" y="12285"/>
                </a:lnTo>
                <a:lnTo>
                  <a:pt x="6162" y="12295"/>
                </a:lnTo>
                <a:lnTo>
                  <a:pt x="6156" y="12299"/>
                </a:lnTo>
                <a:close/>
                <a:moveTo>
                  <a:pt x="6356" y="12429"/>
                </a:moveTo>
                <a:lnTo>
                  <a:pt x="6352" y="12434"/>
                </a:lnTo>
                <a:lnTo>
                  <a:pt x="6346" y="12425"/>
                </a:lnTo>
                <a:lnTo>
                  <a:pt x="6351" y="12426"/>
                </a:lnTo>
                <a:lnTo>
                  <a:pt x="6356" y="12429"/>
                </a:lnTo>
                <a:close/>
                <a:moveTo>
                  <a:pt x="6406" y="12312"/>
                </a:moveTo>
                <a:lnTo>
                  <a:pt x="6415" y="12306"/>
                </a:lnTo>
                <a:lnTo>
                  <a:pt x="6416" y="12297"/>
                </a:lnTo>
                <a:lnTo>
                  <a:pt x="6422" y="12306"/>
                </a:lnTo>
                <a:lnTo>
                  <a:pt x="6406" y="12312"/>
                </a:lnTo>
                <a:close/>
                <a:moveTo>
                  <a:pt x="6464" y="12421"/>
                </a:moveTo>
                <a:lnTo>
                  <a:pt x="6474" y="12414"/>
                </a:lnTo>
                <a:lnTo>
                  <a:pt x="6485" y="12411"/>
                </a:lnTo>
                <a:lnTo>
                  <a:pt x="6472" y="12428"/>
                </a:lnTo>
                <a:lnTo>
                  <a:pt x="6464" y="12421"/>
                </a:lnTo>
                <a:close/>
                <a:moveTo>
                  <a:pt x="6502" y="12230"/>
                </a:moveTo>
                <a:lnTo>
                  <a:pt x="6477" y="12232"/>
                </a:lnTo>
                <a:lnTo>
                  <a:pt x="6464" y="12222"/>
                </a:lnTo>
                <a:lnTo>
                  <a:pt x="6485" y="12223"/>
                </a:lnTo>
                <a:lnTo>
                  <a:pt x="6502" y="12230"/>
                </a:lnTo>
                <a:close/>
                <a:moveTo>
                  <a:pt x="6678" y="12365"/>
                </a:moveTo>
                <a:lnTo>
                  <a:pt x="6681" y="12360"/>
                </a:lnTo>
                <a:lnTo>
                  <a:pt x="6688" y="12360"/>
                </a:lnTo>
                <a:lnTo>
                  <a:pt x="6683" y="12372"/>
                </a:lnTo>
                <a:lnTo>
                  <a:pt x="6678" y="12365"/>
                </a:lnTo>
                <a:close/>
                <a:moveTo>
                  <a:pt x="6709" y="12117"/>
                </a:moveTo>
                <a:lnTo>
                  <a:pt x="6710" y="12112"/>
                </a:lnTo>
                <a:lnTo>
                  <a:pt x="6724" y="12110"/>
                </a:lnTo>
                <a:lnTo>
                  <a:pt x="6718" y="12117"/>
                </a:lnTo>
                <a:lnTo>
                  <a:pt x="6709" y="12117"/>
                </a:lnTo>
                <a:close/>
                <a:moveTo>
                  <a:pt x="6789" y="12234"/>
                </a:moveTo>
                <a:lnTo>
                  <a:pt x="6790" y="12234"/>
                </a:lnTo>
                <a:lnTo>
                  <a:pt x="6790" y="12234"/>
                </a:lnTo>
                <a:lnTo>
                  <a:pt x="6790" y="12236"/>
                </a:lnTo>
                <a:lnTo>
                  <a:pt x="6789" y="12234"/>
                </a:lnTo>
                <a:close/>
                <a:moveTo>
                  <a:pt x="6831" y="12323"/>
                </a:moveTo>
                <a:lnTo>
                  <a:pt x="6837" y="12322"/>
                </a:lnTo>
                <a:lnTo>
                  <a:pt x="6845" y="12321"/>
                </a:lnTo>
                <a:lnTo>
                  <a:pt x="6839" y="12326"/>
                </a:lnTo>
                <a:lnTo>
                  <a:pt x="6831" y="12323"/>
                </a:lnTo>
                <a:close/>
                <a:moveTo>
                  <a:pt x="6884" y="12239"/>
                </a:moveTo>
                <a:lnTo>
                  <a:pt x="6891" y="12232"/>
                </a:lnTo>
                <a:lnTo>
                  <a:pt x="6898" y="12233"/>
                </a:lnTo>
                <a:lnTo>
                  <a:pt x="6888" y="12233"/>
                </a:lnTo>
                <a:lnTo>
                  <a:pt x="6884" y="12239"/>
                </a:lnTo>
                <a:close/>
                <a:moveTo>
                  <a:pt x="7053" y="12265"/>
                </a:moveTo>
                <a:lnTo>
                  <a:pt x="7051" y="12264"/>
                </a:lnTo>
                <a:lnTo>
                  <a:pt x="7054" y="12264"/>
                </a:lnTo>
                <a:lnTo>
                  <a:pt x="7054" y="12264"/>
                </a:lnTo>
                <a:lnTo>
                  <a:pt x="7053" y="12265"/>
                </a:lnTo>
                <a:close/>
                <a:moveTo>
                  <a:pt x="7120" y="12304"/>
                </a:moveTo>
                <a:lnTo>
                  <a:pt x="7118" y="12308"/>
                </a:lnTo>
                <a:lnTo>
                  <a:pt x="7115" y="12306"/>
                </a:lnTo>
                <a:lnTo>
                  <a:pt x="7118" y="12306"/>
                </a:lnTo>
                <a:lnTo>
                  <a:pt x="7120" y="12304"/>
                </a:lnTo>
                <a:close/>
                <a:moveTo>
                  <a:pt x="7123" y="12317"/>
                </a:moveTo>
                <a:lnTo>
                  <a:pt x="7124" y="12320"/>
                </a:lnTo>
                <a:lnTo>
                  <a:pt x="7126" y="12323"/>
                </a:lnTo>
                <a:lnTo>
                  <a:pt x="7121" y="12321"/>
                </a:lnTo>
                <a:lnTo>
                  <a:pt x="7123" y="12317"/>
                </a:lnTo>
                <a:close/>
                <a:moveTo>
                  <a:pt x="7165" y="12304"/>
                </a:moveTo>
                <a:lnTo>
                  <a:pt x="7174" y="12307"/>
                </a:lnTo>
                <a:lnTo>
                  <a:pt x="7171" y="12311"/>
                </a:lnTo>
                <a:lnTo>
                  <a:pt x="7166" y="12309"/>
                </a:lnTo>
                <a:lnTo>
                  <a:pt x="7165" y="12304"/>
                </a:lnTo>
                <a:close/>
                <a:moveTo>
                  <a:pt x="7227" y="12298"/>
                </a:moveTo>
                <a:lnTo>
                  <a:pt x="7250" y="12295"/>
                </a:lnTo>
                <a:lnTo>
                  <a:pt x="7269" y="12304"/>
                </a:lnTo>
                <a:lnTo>
                  <a:pt x="7244" y="12306"/>
                </a:lnTo>
                <a:lnTo>
                  <a:pt x="7227" y="12298"/>
                </a:lnTo>
                <a:close/>
                <a:moveTo>
                  <a:pt x="7272" y="12325"/>
                </a:moveTo>
                <a:lnTo>
                  <a:pt x="7273" y="12325"/>
                </a:lnTo>
                <a:lnTo>
                  <a:pt x="7273" y="12325"/>
                </a:lnTo>
                <a:lnTo>
                  <a:pt x="7272" y="12325"/>
                </a:lnTo>
                <a:lnTo>
                  <a:pt x="7272" y="12325"/>
                </a:lnTo>
                <a:close/>
                <a:moveTo>
                  <a:pt x="7268" y="12288"/>
                </a:moveTo>
                <a:lnTo>
                  <a:pt x="7269" y="12284"/>
                </a:lnTo>
                <a:lnTo>
                  <a:pt x="7275" y="12283"/>
                </a:lnTo>
                <a:lnTo>
                  <a:pt x="7281" y="12285"/>
                </a:lnTo>
                <a:lnTo>
                  <a:pt x="7268" y="12288"/>
                </a:lnTo>
                <a:close/>
                <a:moveTo>
                  <a:pt x="7277" y="12220"/>
                </a:moveTo>
                <a:lnTo>
                  <a:pt x="7268" y="12199"/>
                </a:lnTo>
                <a:lnTo>
                  <a:pt x="7287" y="12213"/>
                </a:lnTo>
                <a:lnTo>
                  <a:pt x="7281" y="12224"/>
                </a:lnTo>
                <a:lnTo>
                  <a:pt x="7277" y="12220"/>
                </a:lnTo>
                <a:close/>
                <a:moveTo>
                  <a:pt x="7377" y="12194"/>
                </a:moveTo>
                <a:lnTo>
                  <a:pt x="7381" y="12194"/>
                </a:lnTo>
                <a:lnTo>
                  <a:pt x="7377" y="12194"/>
                </a:lnTo>
                <a:lnTo>
                  <a:pt x="7380" y="12191"/>
                </a:lnTo>
                <a:lnTo>
                  <a:pt x="7377" y="12194"/>
                </a:lnTo>
                <a:close/>
                <a:moveTo>
                  <a:pt x="7487" y="12219"/>
                </a:moveTo>
                <a:lnTo>
                  <a:pt x="7486" y="12218"/>
                </a:lnTo>
                <a:lnTo>
                  <a:pt x="7484" y="12218"/>
                </a:lnTo>
                <a:lnTo>
                  <a:pt x="7488" y="12216"/>
                </a:lnTo>
                <a:lnTo>
                  <a:pt x="7487" y="12219"/>
                </a:lnTo>
                <a:close/>
                <a:moveTo>
                  <a:pt x="7529" y="12218"/>
                </a:moveTo>
                <a:lnTo>
                  <a:pt x="7524" y="12210"/>
                </a:lnTo>
                <a:lnTo>
                  <a:pt x="7521" y="12204"/>
                </a:lnTo>
                <a:lnTo>
                  <a:pt x="7530" y="12211"/>
                </a:lnTo>
                <a:lnTo>
                  <a:pt x="7529" y="12218"/>
                </a:lnTo>
                <a:close/>
                <a:moveTo>
                  <a:pt x="7526" y="12220"/>
                </a:moveTo>
                <a:lnTo>
                  <a:pt x="7525" y="12220"/>
                </a:lnTo>
                <a:lnTo>
                  <a:pt x="7526" y="12220"/>
                </a:lnTo>
                <a:lnTo>
                  <a:pt x="7525" y="12222"/>
                </a:lnTo>
                <a:lnTo>
                  <a:pt x="7526" y="12220"/>
                </a:lnTo>
                <a:close/>
                <a:moveTo>
                  <a:pt x="7559" y="12145"/>
                </a:moveTo>
                <a:lnTo>
                  <a:pt x="7528" y="12159"/>
                </a:lnTo>
                <a:lnTo>
                  <a:pt x="7501" y="12158"/>
                </a:lnTo>
                <a:lnTo>
                  <a:pt x="7548" y="12145"/>
                </a:lnTo>
                <a:lnTo>
                  <a:pt x="7559" y="12145"/>
                </a:lnTo>
                <a:close/>
                <a:moveTo>
                  <a:pt x="7540" y="12062"/>
                </a:moveTo>
                <a:lnTo>
                  <a:pt x="7544" y="12062"/>
                </a:lnTo>
                <a:lnTo>
                  <a:pt x="7547" y="12062"/>
                </a:lnTo>
                <a:lnTo>
                  <a:pt x="7540" y="12065"/>
                </a:lnTo>
                <a:lnTo>
                  <a:pt x="7540" y="12062"/>
                </a:lnTo>
                <a:close/>
                <a:moveTo>
                  <a:pt x="7635" y="12244"/>
                </a:moveTo>
                <a:lnTo>
                  <a:pt x="7628" y="12248"/>
                </a:lnTo>
                <a:lnTo>
                  <a:pt x="7621" y="12248"/>
                </a:lnTo>
                <a:lnTo>
                  <a:pt x="7627" y="12244"/>
                </a:lnTo>
                <a:lnTo>
                  <a:pt x="7635" y="12244"/>
                </a:lnTo>
                <a:close/>
                <a:moveTo>
                  <a:pt x="7638" y="12118"/>
                </a:moveTo>
                <a:lnTo>
                  <a:pt x="7631" y="12113"/>
                </a:lnTo>
                <a:lnTo>
                  <a:pt x="7628" y="12107"/>
                </a:lnTo>
                <a:lnTo>
                  <a:pt x="7637" y="12107"/>
                </a:lnTo>
                <a:lnTo>
                  <a:pt x="7638" y="12118"/>
                </a:lnTo>
                <a:close/>
                <a:moveTo>
                  <a:pt x="7702" y="11961"/>
                </a:moveTo>
                <a:lnTo>
                  <a:pt x="7694" y="11964"/>
                </a:lnTo>
                <a:lnTo>
                  <a:pt x="7687" y="11963"/>
                </a:lnTo>
                <a:lnTo>
                  <a:pt x="7696" y="11963"/>
                </a:lnTo>
                <a:lnTo>
                  <a:pt x="7702" y="11961"/>
                </a:lnTo>
                <a:close/>
                <a:moveTo>
                  <a:pt x="7958" y="11982"/>
                </a:moveTo>
                <a:lnTo>
                  <a:pt x="7968" y="11977"/>
                </a:lnTo>
                <a:lnTo>
                  <a:pt x="7978" y="11975"/>
                </a:lnTo>
                <a:lnTo>
                  <a:pt x="7973" y="11997"/>
                </a:lnTo>
                <a:lnTo>
                  <a:pt x="7958" y="11982"/>
                </a:lnTo>
                <a:close/>
                <a:moveTo>
                  <a:pt x="7984" y="11955"/>
                </a:moveTo>
                <a:lnTo>
                  <a:pt x="7985" y="11943"/>
                </a:lnTo>
                <a:lnTo>
                  <a:pt x="7981" y="11930"/>
                </a:lnTo>
                <a:lnTo>
                  <a:pt x="7992" y="11949"/>
                </a:lnTo>
                <a:lnTo>
                  <a:pt x="7984" y="11955"/>
                </a:lnTo>
                <a:close/>
                <a:moveTo>
                  <a:pt x="7972" y="11897"/>
                </a:moveTo>
                <a:lnTo>
                  <a:pt x="7980" y="11891"/>
                </a:lnTo>
                <a:lnTo>
                  <a:pt x="7989" y="11897"/>
                </a:lnTo>
                <a:lnTo>
                  <a:pt x="7980" y="11896"/>
                </a:lnTo>
                <a:lnTo>
                  <a:pt x="7972" y="11897"/>
                </a:lnTo>
                <a:close/>
                <a:moveTo>
                  <a:pt x="8036" y="12166"/>
                </a:moveTo>
                <a:lnTo>
                  <a:pt x="8037" y="12166"/>
                </a:lnTo>
                <a:lnTo>
                  <a:pt x="8037" y="12167"/>
                </a:lnTo>
                <a:lnTo>
                  <a:pt x="8036" y="12166"/>
                </a:lnTo>
                <a:lnTo>
                  <a:pt x="8036" y="12166"/>
                </a:lnTo>
                <a:close/>
                <a:moveTo>
                  <a:pt x="8071" y="12132"/>
                </a:moveTo>
                <a:lnTo>
                  <a:pt x="8075" y="12134"/>
                </a:lnTo>
                <a:lnTo>
                  <a:pt x="8070" y="12134"/>
                </a:lnTo>
                <a:lnTo>
                  <a:pt x="8071" y="12134"/>
                </a:lnTo>
                <a:lnTo>
                  <a:pt x="8071" y="12132"/>
                </a:lnTo>
                <a:close/>
                <a:moveTo>
                  <a:pt x="8082" y="12065"/>
                </a:moveTo>
                <a:lnTo>
                  <a:pt x="8111" y="12064"/>
                </a:lnTo>
                <a:lnTo>
                  <a:pt x="8099" y="12084"/>
                </a:lnTo>
                <a:lnTo>
                  <a:pt x="8093" y="12073"/>
                </a:lnTo>
                <a:lnTo>
                  <a:pt x="8082" y="12065"/>
                </a:lnTo>
                <a:close/>
                <a:moveTo>
                  <a:pt x="8108" y="12031"/>
                </a:moveTo>
                <a:lnTo>
                  <a:pt x="8112" y="12020"/>
                </a:lnTo>
                <a:lnTo>
                  <a:pt x="8107" y="12011"/>
                </a:lnTo>
                <a:lnTo>
                  <a:pt x="8130" y="12025"/>
                </a:lnTo>
                <a:lnTo>
                  <a:pt x="8108" y="12031"/>
                </a:lnTo>
                <a:close/>
                <a:moveTo>
                  <a:pt x="8185" y="11949"/>
                </a:moveTo>
                <a:lnTo>
                  <a:pt x="8171" y="11955"/>
                </a:lnTo>
                <a:lnTo>
                  <a:pt x="8157" y="11941"/>
                </a:lnTo>
                <a:lnTo>
                  <a:pt x="8175" y="11936"/>
                </a:lnTo>
                <a:lnTo>
                  <a:pt x="8185" y="11949"/>
                </a:lnTo>
                <a:close/>
                <a:moveTo>
                  <a:pt x="8175" y="11906"/>
                </a:moveTo>
                <a:lnTo>
                  <a:pt x="8168" y="11907"/>
                </a:lnTo>
                <a:lnTo>
                  <a:pt x="8159" y="11907"/>
                </a:lnTo>
                <a:lnTo>
                  <a:pt x="8177" y="11899"/>
                </a:lnTo>
                <a:lnTo>
                  <a:pt x="8175" y="11906"/>
                </a:lnTo>
                <a:close/>
                <a:moveTo>
                  <a:pt x="8270" y="11913"/>
                </a:moveTo>
                <a:lnTo>
                  <a:pt x="8307" y="11873"/>
                </a:lnTo>
                <a:lnTo>
                  <a:pt x="8315" y="11892"/>
                </a:lnTo>
                <a:lnTo>
                  <a:pt x="8299" y="11913"/>
                </a:lnTo>
                <a:lnTo>
                  <a:pt x="8270" y="11913"/>
                </a:lnTo>
                <a:close/>
                <a:moveTo>
                  <a:pt x="8353" y="12075"/>
                </a:moveTo>
                <a:lnTo>
                  <a:pt x="8352" y="12064"/>
                </a:lnTo>
                <a:lnTo>
                  <a:pt x="8363" y="12059"/>
                </a:lnTo>
                <a:lnTo>
                  <a:pt x="8362" y="12067"/>
                </a:lnTo>
                <a:lnTo>
                  <a:pt x="8353" y="12075"/>
                </a:lnTo>
                <a:close/>
                <a:moveTo>
                  <a:pt x="8354" y="12022"/>
                </a:moveTo>
                <a:lnTo>
                  <a:pt x="8339" y="12008"/>
                </a:lnTo>
                <a:lnTo>
                  <a:pt x="8330" y="11990"/>
                </a:lnTo>
                <a:lnTo>
                  <a:pt x="8362" y="11994"/>
                </a:lnTo>
                <a:lnTo>
                  <a:pt x="8354" y="12022"/>
                </a:lnTo>
                <a:close/>
                <a:moveTo>
                  <a:pt x="8451" y="11786"/>
                </a:moveTo>
                <a:lnTo>
                  <a:pt x="8453" y="11777"/>
                </a:lnTo>
                <a:lnTo>
                  <a:pt x="8461" y="11771"/>
                </a:lnTo>
                <a:lnTo>
                  <a:pt x="8467" y="11779"/>
                </a:lnTo>
                <a:lnTo>
                  <a:pt x="8451" y="11786"/>
                </a:lnTo>
                <a:close/>
                <a:moveTo>
                  <a:pt x="8511" y="11794"/>
                </a:moveTo>
                <a:lnTo>
                  <a:pt x="8515" y="11766"/>
                </a:lnTo>
                <a:lnTo>
                  <a:pt x="8555" y="11775"/>
                </a:lnTo>
                <a:lnTo>
                  <a:pt x="8530" y="11784"/>
                </a:lnTo>
                <a:lnTo>
                  <a:pt x="8511" y="11794"/>
                </a:lnTo>
                <a:close/>
                <a:moveTo>
                  <a:pt x="8585" y="11827"/>
                </a:moveTo>
                <a:lnTo>
                  <a:pt x="8605" y="11832"/>
                </a:lnTo>
                <a:lnTo>
                  <a:pt x="8601" y="11850"/>
                </a:lnTo>
                <a:lnTo>
                  <a:pt x="8587" y="11841"/>
                </a:lnTo>
                <a:lnTo>
                  <a:pt x="8585" y="11827"/>
                </a:lnTo>
                <a:close/>
                <a:moveTo>
                  <a:pt x="8664" y="12060"/>
                </a:moveTo>
                <a:lnTo>
                  <a:pt x="8670" y="12061"/>
                </a:lnTo>
                <a:lnTo>
                  <a:pt x="8671" y="12065"/>
                </a:lnTo>
                <a:lnTo>
                  <a:pt x="8665" y="12062"/>
                </a:lnTo>
                <a:lnTo>
                  <a:pt x="8664" y="12060"/>
                </a:lnTo>
                <a:close/>
                <a:moveTo>
                  <a:pt x="8694" y="12029"/>
                </a:moveTo>
                <a:lnTo>
                  <a:pt x="8698" y="12024"/>
                </a:lnTo>
                <a:lnTo>
                  <a:pt x="8702" y="12025"/>
                </a:lnTo>
                <a:lnTo>
                  <a:pt x="8697" y="12034"/>
                </a:lnTo>
                <a:lnTo>
                  <a:pt x="8694" y="12029"/>
                </a:lnTo>
                <a:close/>
                <a:moveTo>
                  <a:pt x="8712" y="12017"/>
                </a:moveTo>
                <a:lnTo>
                  <a:pt x="8725" y="12006"/>
                </a:lnTo>
                <a:lnTo>
                  <a:pt x="8730" y="12028"/>
                </a:lnTo>
                <a:lnTo>
                  <a:pt x="8721" y="12022"/>
                </a:lnTo>
                <a:lnTo>
                  <a:pt x="8712" y="12017"/>
                </a:lnTo>
                <a:close/>
                <a:moveTo>
                  <a:pt x="8725" y="12001"/>
                </a:moveTo>
                <a:lnTo>
                  <a:pt x="8715" y="12000"/>
                </a:lnTo>
                <a:lnTo>
                  <a:pt x="8716" y="11992"/>
                </a:lnTo>
                <a:lnTo>
                  <a:pt x="8722" y="11996"/>
                </a:lnTo>
                <a:lnTo>
                  <a:pt x="8725" y="12001"/>
                </a:lnTo>
                <a:close/>
                <a:moveTo>
                  <a:pt x="8786" y="12033"/>
                </a:moveTo>
                <a:lnTo>
                  <a:pt x="8779" y="12038"/>
                </a:lnTo>
                <a:lnTo>
                  <a:pt x="8772" y="12046"/>
                </a:lnTo>
                <a:lnTo>
                  <a:pt x="8774" y="12034"/>
                </a:lnTo>
                <a:lnTo>
                  <a:pt x="8786" y="12033"/>
                </a:lnTo>
                <a:close/>
                <a:moveTo>
                  <a:pt x="8782" y="12059"/>
                </a:moveTo>
                <a:lnTo>
                  <a:pt x="8791" y="12060"/>
                </a:lnTo>
                <a:lnTo>
                  <a:pt x="8796" y="12050"/>
                </a:lnTo>
                <a:lnTo>
                  <a:pt x="8791" y="12062"/>
                </a:lnTo>
                <a:lnTo>
                  <a:pt x="8782" y="12059"/>
                </a:lnTo>
                <a:close/>
                <a:moveTo>
                  <a:pt x="8783" y="12005"/>
                </a:moveTo>
                <a:lnTo>
                  <a:pt x="8791" y="12006"/>
                </a:lnTo>
                <a:lnTo>
                  <a:pt x="8797" y="12014"/>
                </a:lnTo>
                <a:lnTo>
                  <a:pt x="8785" y="12011"/>
                </a:lnTo>
                <a:lnTo>
                  <a:pt x="8783" y="12005"/>
                </a:lnTo>
                <a:close/>
                <a:moveTo>
                  <a:pt x="8876" y="11962"/>
                </a:moveTo>
                <a:lnTo>
                  <a:pt x="8875" y="11962"/>
                </a:lnTo>
                <a:lnTo>
                  <a:pt x="8876" y="11962"/>
                </a:lnTo>
                <a:lnTo>
                  <a:pt x="8875" y="11963"/>
                </a:lnTo>
                <a:lnTo>
                  <a:pt x="8876" y="11962"/>
                </a:lnTo>
                <a:close/>
                <a:moveTo>
                  <a:pt x="8880" y="12050"/>
                </a:moveTo>
                <a:lnTo>
                  <a:pt x="8893" y="12046"/>
                </a:lnTo>
                <a:lnTo>
                  <a:pt x="8904" y="12053"/>
                </a:lnTo>
                <a:lnTo>
                  <a:pt x="8892" y="12051"/>
                </a:lnTo>
                <a:lnTo>
                  <a:pt x="8880" y="12050"/>
                </a:lnTo>
                <a:close/>
                <a:moveTo>
                  <a:pt x="8911" y="11873"/>
                </a:moveTo>
                <a:lnTo>
                  <a:pt x="8890" y="11877"/>
                </a:lnTo>
                <a:lnTo>
                  <a:pt x="8898" y="11866"/>
                </a:lnTo>
                <a:lnTo>
                  <a:pt x="8907" y="11849"/>
                </a:lnTo>
                <a:lnTo>
                  <a:pt x="8911" y="11873"/>
                </a:lnTo>
                <a:close/>
                <a:moveTo>
                  <a:pt x="9047" y="11864"/>
                </a:moveTo>
                <a:lnTo>
                  <a:pt x="9051" y="11864"/>
                </a:lnTo>
                <a:lnTo>
                  <a:pt x="9047" y="11864"/>
                </a:lnTo>
                <a:lnTo>
                  <a:pt x="9052" y="11861"/>
                </a:lnTo>
                <a:lnTo>
                  <a:pt x="9047" y="11864"/>
                </a:lnTo>
                <a:close/>
                <a:moveTo>
                  <a:pt x="9062" y="11810"/>
                </a:moveTo>
                <a:lnTo>
                  <a:pt x="9079" y="11817"/>
                </a:lnTo>
                <a:lnTo>
                  <a:pt x="9090" y="11832"/>
                </a:lnTo>
                <a:lnTo>
                  <a:pt x="9074" y="11826"/>
                </a:lnTo>
                <a:lnTo>
                  <a:pt x="9062" y="11810"/>
                </a:lnTo>
                <a:close/>
                <a:moveTo>
                  <a:pt x="9093" y="11856"/>
                </a:moveTo>
                <a:lnTo>
                  <a:pt x="9099" y="11859"/>
                </a:lnTo>
                <a:lnTo>
                  <a:pt x="9104" y="11861"/>
                </a:lnTo>
                <a:lnTo>
                  <a:pt x="9094" y="11863"/>
                </a:lnTo>
                <a:lnTo>
                  <a:pt x="9093" y="11856"/>
                </a:lnTo>
                <a:close/>
                <a:moveTo>
                  <a:pt x="9149" y="11812"/>
                </a:moveTo>
                <a:lnTo>
                  <a:pt x="9151" y="11821"/>
                </a:lnTo>
                <a:lnTo>
                  <a:pt x="9155" y="11827"/>
                </a:lnTo>
                <a:lnTo>
                  <a:pt x="9142" y="11824"/>
                </a:lnTo>
                <a:lnTo>
                  <a:pt x="9149" y="11812"/>
                </a:lnTo>
                <a:close/>
                <a:moveTo>
                  <a:pt x="9323" y="11841"/>
                </a:moveTo>
                <a:lnTo>
                  <a:pt x="9330" y="11837"/>
                </a:lnTo>
                <a:lnTo>
                  <a:pt x="9322" y="11843"/>
                </a:lnTo>
                <a:lnTo>
                  <a:pt x="9311" y="11838"/>
                </a:lnTo>
                <a:lnTo>
                  <a:pt x="9323" y="11841"/>
                </a:lnTo>
                <a:close/>
                <a:moveTo>
                  <a:pt x="9341" y="11855"/>
                </a:moveTo>
                <a:lnTo>
                  <a:pt x="9346" y="11845"/>
                </a:lnTo>
                <a:lnTo>
                  <a:pt x="9358" y="11840"/>
                </a:lnTo>
                <a:lnTo>
                  <a:pt x="9351" y="11850"/>
                </a:lnTo>
                <a:lnTo>
                  <a:pt x="9341" y="11855"/>
                </a:lnTo>
                <a:close/>
                <a:moveTo>
                  <a:pt x="9375" y="11888"/>
                </a:moveTo>
                <a:lnTo>
                  <a:pt x="9372" y="11892"/>
                </a:lnTo>
                <a:lnTo>
                  <a:pt x="9368" y="11901"/>
                </a:lnTo>
                <a:lnTo>
                  <a:pt x="9363" y="11891"/>
                </a:lnTo>
                <a:lnTo>
                  <a:pt x="9375" y="11888"/>
                </a:lnTo>
                <a:close/>
                <a:moveTo>
                  <a:pt x="9412" y="11943"/>
                </a:moveTo>
                <a:lnTo>
                  <a:pt x="9417" y="11943"/>
                </a:lnTo>
                <a:lnTo>
                  <a:pt x="9423" y="11941"/>
                </a:lnTo>
                <a:lnTo>
                  <a:pt x="9416" y="11947"/>
                </a:lnTo>
                <a:lnTo>
                  <a:pt x="9412" y="11943"/>
                </a:lnTo>
                <a:close/>
                <a:moveTo>
                  <a:pt x="9444" y="11868"/>
                </a:moveTo>
                <a:lnTo>
                  <a:pt x="9430" y="11877"/>
                </a:lnTo>
                <a:lnTo>
                  <a:pt x="9414" y="11866"/>
                </a:lnTo>
                <a:lnTo>
                  <a:pt x="9434" y="11863"/>
                </a:lnTo>
                <a:lnTo>
                  <a:pt x="9444" y="11868"/>
                </a:lnTo>
                <a:close/>
                <a:moveTo>
                  <a:pt x="9439" y="11893"/>
                </a:moveTo>
                <a:lnTo>
                  <a:pt x="9438" y="11901"/>
                </a:lnTo>
                <a:lnTo>
                  <a:pt x="9434" y="11905"/>
                </a:lnTo>
                <a:lnTo>
                  <a:pt x="9434" y="11896"/>
                </a:lnTo>
                <a:lnTo>
                  <a:pt x="9439" y="11893"/>
                </a:lnTo>
                <a:close/>
                <a:moveTo>
                  <a:pt x="9447" y="11924"/>
                </a:moveTo>
                <a:lnTo>
                  <a:pt x="9447" y="11931"/>
                </a:lnTo>
                <a:lnTo>
                  <a:pt x="9449" y="11939"/>
                </a:lnTo>
                <a:lnTo>
                  <a:pt x="9434" y="11933"/>
                </a:lnTo>
                <a:lnTo>
                  <a:pt x="9447" y="11924"/>
                </a:lnTo>
                <a:close/>
                <a:moveTo>
                  <a:pt x="9491" y="11933"/>
                </a:moveTo>
                <a:lnTo>
                  <a:pt x="9481" y="11927"/>
                </a:lnTo>
                <a:lnTo>
                  <a:pt x="9470" y="11925"/>
                </a:lnTo>
                <a:lnTo>
                  <a:pt x="9485" y="11916"/>
                </a:lnTo>
                <a:lnTo>
                  <a:pt x="9491" y="11933"/>
                </a:lnTo>
                <a:close/>
                <a:moveTo>
                  <a:pt x="9577" y="11852"/>
                </a:moveTo>
                <a:lnTo>
                  <a:pt x="9568" y="11849"/>
                </a:lnTo>
                <a:lnTo>
                  <a:pt x="9566" y="11847"/>
                </a:lnTo>
                <a:lnTo>
                  <a:pt x="9578" y="11845"/>
                </a:lnTo>
                <a:lnTo>
                  <a:pt x="9577" y="11852"/>
                </a:lnTo>
                <a:close/>
                <a:moveTo>
                  <a:pt x="9609" y="11857"/>
                </a:moveTo>
                <a:lnTo>
                  <a:pt x="9603" y="11860"/>
                </a:lnTo>
                <a:lnTo>
                  <a:pt x="9600" y="11856"/>
                </a:lnTo>
                <a:lnTo>
                  <a:pt x="9605" y="11855"/>
                </a:lnTo>
                <a:lnTo>
                  <a:pt x="9609" y="11857"/>
                </a:lnTo>
                <a:close/>
                <a:moveTo>
                  <a:pt x="9659" y="11883"/>
                </a:moveTo>
                <a:lnTo>
                  <a:pt x="9656" y="11885"/>
                </a:lnTo>
                <a:lnTo>
                  <a:pt x="9652" y="11887"/>
                </a:lnTo>
                <a:lnTo>
                  <a:pt x="9656" y="11885"/>
                </a:lnTo>
                <a:lnTo>
                  <a:pt x="9659" y="11883"/>
                </a:lnTo>
                <a:close/>
                <a:moveTo>
                  <a:pt x="9714" y="11884"/>
                </a:moveTo>
                <a:lnTo>
                  <a:pt x="9693" y="11888"/>
                </a:lnTo>
                <a:lnTo>
                  <a:pt x="9704" y="11889"/>
                </a:lnTo>
                <a:lnTo>
                  <a:pt x="9705" y="11878"/>
                </a:lnTo>
                <a:lnTo>
                  <a:pt x="9714" y="11884"/>
                </a:lnTo>
                <a:close/>
                <a:moveTo>
                  <a:pt x="9765" y="11813"/>
                </a:moveTo>
                <a:lnTo>
                  <a:pt x="9769" y="11815"/>
                </a:lnTo>
                <a:lnTo>
                  <a:pt x="9769" y="11821"/>
                </a:lnTo>
                <a:lnTo>
                  <a:pt x="9764" y="11817"/>
                </a:lnTo>
                <a:lnTo>
                  <a:pt x="9765" y="11813"/>
                </a:lnTo>
                <a:close/>
                <a:moveTo>
                  <a:pt x="9792" y="11809"/>
                </a:moveTo>
                <a:lnTo>
                  <a:pt x="9778" y="11801"/>
                </a:lnTo>
                <a:lnTo>
                  <a:pt x="9793" y="11796"/>
                </a:lnTo>
                <a:lnTo>
                  <a:pt x="9797" y="11805"/>
                </a:lnTo>
                <a:lnTo>
                  <a:pt x="9792" y="11809"/>
                </a:lnTo>
                <a:close/>
                <a:moveTo>
                  <a:pt x="9899" y="11684"/>
                </a:moveTo>
                <a:lnTo>
                  <a:pt x="9907" y="11675"/>
                </a:lnTo>
                <a:lnTo>
                  <a:pt x="9921" y="11682"/>
                </a:lnTo>
                <a:lnTo>
                  <a:pt x="9909" y="11688"/>
                </a:lnTo>
                <a:lnTo>
                  <a:pt x="9899" y="11684"/>
                </a:lnTo>
                <a:close/>
                <a:moveTo>
                  <a:pt x="9973" y="11691"/>
                </a:moveTo>
                <a:lnTo>
                  <a:pt x="9969" y="11701"/>
                </a:lnTo>
                <a:lnTo>
                  <a:pt x="9970" y="11712"/>
                </a:lnTo>
                <a:lnTo>
                  <a:pt x="9960" y="11702"/>
                </a:lnTo>
                <a:lnTo>
                  <a:pt x="9973" y="11691"/>
                </a:lnTo>
                <a:close/>
                <a:moveTo>
                  <a:pt x="10143" y="11691"/>
                </a:moveTo>
                <a:lnTo>
                  <a:pt x="10150" y="11700"/>
                </a:lnTo>
                <a:lnTo>
                  <a:pt x="10129" y="11710"/>
                </a:lnTo>
                <a:lnTo>
                  <a:pt x="10137" y="11700"/>
                </a:lnTo>
                <a:lnTo>
                  <a:pt x="10143" y="11691"/>
                </a:lnTo>
                <a:close/>
                <a:moveTo>
                  <a:pt x="10267" y="11761"/>
                </a:moveTo>
                <a:lnTo>
                  <a:pt x="10275" y="11753"/>
                </a:lnTo>
                <a:lnTo>
                  <a:pt x="10282" y="11753"/>
                </a:lnTo>
                <a:lnTo>
                  <a:pt x="10275" y="11762"/>
                </a:lnTo>
                <a:lnTo>
                  <a:pt x="10267" y="11761"/>
                </a:lnTo>
                <a:close/>
                <a:moveTo>
                  <a:pt x="10343" y="11548"/>
                </a:moveTo>
                <a:lnTo>
                  <a:pt x="10350" y="11552"/>
                </a:lnTo>
                <a:lnTo>
                  <a:pt x="10352" y="11561"/>
                </a:lnTo>
                <a:lnTo>
                  <a:pt x="10338" y="11560"/>
                </a:lnTo>
                <a:lnTo>
                  <a:pt x="10343" y="11548"/>
                </a:lnTo>
                <a:close/>
                <a:moveTo>
                  <a:pt x="10369" y="11563"/>
                </a:moveTo>
                <a:lnTo>
                  <a:pt x="10378" y="11552"/>
                </a:lnTo>
                <a:lnTo>
                  <a:pt x="10387" y="11543"/>
                </a:lnTo>
                <a:lnTo>
                  <a:pt x="10388" y="11562"/>
                </a:lnTo>
                <a:lnTo>
                  <a:pt x="10369" y="11563"/>
                </a:lnTo>
                <a:close/>
                <a:moveTo>
                  <a:pt x="10382" y="11537"/>
                </a:moveTo>
                <a:lnTo>
                  <a:pt x="10376" y="11535"/>
                </a:lnTo>
                <a:lnTo>
                  <a:pt x="10373" y="11533"/>
                </a:lnTo>
                <a:lnTo>
                  <a:pt x="10378" y="11534"/>
                </a:lnTo>
                <a:lnTo>
                  <a:pt x="10382" y="11537"/>
                </a:lnTo>
                <a:close/>
                <a:moveTo>
                  <a:pt x="10404" y="11499"/>
                </a:moveTo>
                <a:lnTo>
                  <a:pt x="10406" y="11497"/>
                </a:lnTo>
                <a:lnTo>
                  <a:pt x="10408" y="11496"/>
                </a:lnTo>
                <a:lnTo>
                  <a:pt x="10406" y="11502"/>
                </a:lnTo>
                <a:lnTo>
                  <a:pt x="10404" y="11499"/>
                </a:lnTo>
                <a:close/>
                <a:moveTo>
                  <a:pt x="10434" y="11586"/>
                </a:moveTo>
                <a:lnTo>
                  <a:pt x="10453" y="11585"/>
                </a:lnTo>
                <a:lnTo>
                  <a:pt x="10452" y="11600"/>
                </a:lnTo>
                <a:lnTo>
                  <a:pt x="10452" y="11605"/>
                </a:lnTo>
                <a:lnTo>
                  <a:pt x="10434" y="11586"/>
                </a:lnTo>
                <a:close/>
                <a:moveTo>
                  <a:pt x="10471" y="11609"/>
                </a:moveTo>
                <a:lnTo>
                  <a:pt x="10471" y="11617"/>
                </a:lnTo>
                <a:lnTo>
                  <a:pt x="10457" y="11619"/>
                </a:lnTo>
                <a:lnTo>
                  <a:pt x="10463" y="11614"/>
                </a:lnTo>
                <a:lnTo>
                  <a:pt x="10471" y="11609"/>
                </a:lnTo>
                <a:close/>
                <a:moveTo>
                  <a:pt x="10510" y="11417"/>
                </a:moveTo>
                <a:lnTo>
                  <a:pt x="10518" y="11411"/>
                </a:lnTo>
                <a:lnTo>
                  <a:pt x="10514" y="11421"/>
                </a:lnTo>
                <a:lnTo>
                  <a:pt x="10513" y="11420"/>
                </a:lnTo>
                <a:lnTo>
                  <a:pt x="10510" y="11417"/>
                </a:lnTo>
                <a:close/>
                <a:moveTo>
                  <a:pt x="9826" y="11002"/>
                </a:moveTo>
                <a:lnTo>
                  <a:pt x="9821" y="10998"/>
                </a:lnTo>
                <a:lnTo>
                  <a:pt x="9834" y="10994"/>
                </a:lnTo>
                <a:lnTo>
                  <a:pt x="9830" y="10998"/>
                </a:lnTo>
                <a:lnTo>
                  <a:pt x="9826" y="11002"/>
                </a:lnTo>
                <a:close/>
                <a:moveTo>
                  <a:pt x="9764" y="11024"/>
                </a:moveTo>
                <a:lnTo>
                  <a:pt x="9758" y="11025"/>
                </a:lnTo>
                <a:lnTo>
                  <a:pt x="9751" y="11020"/>
                </a:lnTo>
                <a:lnTo>
                  <a:pt x="9761" y="11015"/>
                </a:lnTo>
                <a:lnTo>
                  <a:pt x="9764" y="11024"/>
                </a:lnTo>
                <a:close/>
                <a:moveTo>
                  <a:pt x="8871" y="11184"/>
                </a:moveTo>
                <a:lnTo>
                  <a:pt x="8862" y="11183"/>
                </a:lnTo>
                <a:lnTo>
                  <a:pt x="8866" y="11175"/>
                </a:lnTo>
                <a:lnTo>
                  <a:pt x="8870" y="11179"/>
                </a:lnTo>
                <a:lnTo>
                  <a:pt x="8871" y="11184"/>
                </a:lnTo>
                <a:close/>
                <a:moveTo>
                  <a:pt x="5880" y="2784"/>
                </a:moveTo>
                <a:lnTo>
                  <a:pt x="5885" y="2776"/>
                </a:lnTo>
                <a:lnTo>
                  <a:pt x="5898" y="2776"/>
                </a:lnTo>
                <a:lnTo>
                  <a:pt x="5889" y="2780"/>
                </a:lnTo>
                <a:lnTo>
                  <a:pt x="5880" y="2784"/>
                </a:lnTo>
                <a:close/>
                <a:moveTo>
                  <a:pt x="5689" y="2894"/>
                </a:moveTo>
                <a:lnTo>
                  <a:pt x="5701" y="2888"/>
                </a:lnTo>
                <a:lnTo>
                  <a:pt x="5710" y="2887"/>
                </a:lnTo>
                <a:lnTo>
                  <a:pt x="5701" y="2896"/>
                </a:lnTo>
                <a:lnTo>
                  <a:pt x="5689" y="2894"/>
                </a:lnTo>
                <a:close/>
                <a:moveTo>
                  <a:pt x="5477" y="3091"/>
                </a:moveTo>
                <a:lnTo>
                  <a:pt x="5500" y="3087"/>
                </a:lnTo>
                <a:lnTo>
                  <a:pt x="5510" y="3105"/>
                </a:lnTo>
                <a:lnTo>
                  <a:pt x="5494" y="3097"/>
                </a:lnTo>
                <a:lnTo>
                  <a:pt x="5477" y="3091"/>
                </a:lnTo>
                <a:close/>
                <a:moveTo>
                  <a:pt x="5430" y="3051"/>
                </a:moveTo>
                <a:lnTo>
                  <a:pt x="5420" y="3056"/>
                </a:lnTo>
                <a:lnTo>
                  <a:pt x="5409" y="3067"/>
                </a:lnTo>
                <a:lnTo>
                  <a:pt x="5421" y="3050"/>
                </a:lnTo>
                <a:lnTo>
                  <a:pt x="5430" y="3051"/>
                </a:lnTo>
                <a:close/>
                <a:moveTo>
                  <a:pt x="3883" y="3502"/>
                </a:moveTo>
                <a:lnTo>
                  <a:pt x="3897" y="3502"/>
                </a:lnTo>
                <a:lnTo>
                  <a:pt x="3896" y="3515"/>
                </a:lnTo>
                <a:lnTo>
                  <a:pt x="3889" y="3508"/>
                </a:lnTo>
                <a:lnTo>
                  <a:pt x="3883" y="3502"/>
                </a:lnTo>
                <a:close/>
                <a:moveTo>
                  <a:pt x="4897" y="12414"/>
                </a:moveTo>
                <a:lnTo>
                  <a:pt x="4893" y="12426"/>
                </a:lnTo>
                <a:lnTo>
                  <a:pt x="4895" y="12432"/>
                </a:lnTo>
                <a:lnTo>
                  <a:pt x="4881" y="12428"/>
                </a:lnTo>
                <a:lnTo>
                  <a:pt x="4897" y="12414"/>
                </a:lnTo>
                <a:close/>
                <a:moveTo>
                  <a:pt x="4933" y="12630"/>
                </a:moveTo>
                <a:lnTo>
                  <a:pt x="4940" y="12628"/>
                </a:lnTo>
                <a:lnTo>
                  <a:pt x="4947" y="12633"/>
                </a:lnTo>
                <a:lnTo>
                  <a:pt x="4941" y="12634"/>
                </a:lnTo>
                <a:lnTo>
                  <a:pt x="4933" y="12630"/>
                </a:lnTo>
                <a:close/>
                <a:moveTo>
                  <a:pt x="4964" y="12670"/>
                </a:moveTo>
                <a:lnTo>
                  <a:pt x="4958" y="12673"/>
                </a:lnTo>
                <a:lnTo>
                  <a:pt x="4949" y="12673"/>
                </a:lnTo>
                <a:lnTo>
                  <a:pt x="4956" y="12671"/>
                </a:lnTo>
                <a:lnTo>
                  <a:pt x="4964" y="12670"/>
                </a:lnTo>
                <a:close/>
                <a:moveTo>
                  <a:pt x="4979" y="12694"/>
                </a:moveTo>
                <a:lnTo>
                  <a:pt x="4978" y="12695"/>
                </a:lnTo>
                <a:lnTo>
                  <a:pt x="4977" y="12695"/>
                </a:lnTo>
                <a:lnTo>
                  <a:pt x="4978" y="12694"/>
                </a:lnTo>
                <a:lnTo>
                  <a:pt x="4979" y="12694"/>
                </a:lnTo>
                <a:close/>
                <a:moveTo>
                  <a:pt x="5070" y="12596"/>
                </a:moveTo>
                <a:lnTo>
                  <a:pt x="5072" y="12588"/>
                </a:lnTo>
                <a:lnTo>
                  <a:pt x="5085" y="12598"/>
                </a:lnTo>
                <a:lnTo>
                  <a:pt x="5077" y="12596"/>
                </a:lnTo>
                <a:lnTo>
                  <a:pt x="5070" y="12596"/>
                </a:lnTo>
                <a:close/>
                <a:moveTo>
                  <a:pt x="5082" y="12589"/>
                </a:moveTo>
                <a:lnTo>
                  <a:pt x="5082" y="12566"/>
                </a:lnTo>
                <a:lnTo>
                  <a:pt x="5116" y="12569"/>
                </a:lnTo>
                <a:lnTo>
                  <a:pt x="5102" y="12588"/>
                </a:lnTo>
                <a:lnTo>
                  <a:pt x="5082" y="12589"/>
                </a:lnTo>
                <a:close/>
                <a:moveTo>
                  <a:pt x="5123" y="12608"/>
                </a:moveTo>
                <a:lnTo>
                  <a:pt x="5118" y="12608"/>
                </a:lnTo>
                <a:lnTo>
                  <a:pt x="5112" y="12606"/>
                </a:lnTo>
                <a:lnTo>
                  <a:pt x="5119" y="12602"/>
                </a:lnTo>
                <a:lnTo>
                  <a:pt x="5123" y="12608"/>
                </a:lnTo>
                <a:close/>
                <a:moveTo>
                  <a:pt x="5112" y="12542"/>
                </a:moveTo>
                <a:lnTo>
                  <a:pt x="5140" y="12523"/>
                </a:lnTo>
                <a:lnTo>
                  <a:pt x="5165" y="12558"/>
                </a:lnTo>
                <a:lnTo>
                  <a:pt x="5139" y="12551"/>
                </a:lnTo>
                <a:lnTo>
                  <a:pt x="5112" y="12542"/>
                </a:lnTo>
                <a:close/>
                <a:moveTo>
                  <a:pt x="5254" y="12619"/>
                </a:moveTo>
                <a:lnTo>
                  <a:pt x="5247" y="12628"/>
                </a:lnTo>
                <a:lnTo>
                  <a:pt x="5234" y="12625"/>
                </a:lnTo>
                <a:lnTo>
                  <a:pt x="5244" y="12622"/>
                </a:lnTo>
                <a:lnTo>
                  <a:pt x="5254" y="12619"/>
                </a:lnTo>
                <a:close/>
                <a:moveTo>
                  <a:pt x="5290" y="12625"/>
                </a:moveTo>
                <a:lnTo>
                  <a:pt x="5286" y="12617"/>
                </a:lnTo>
                <a:lnTo>
                  <a:pt x="5282" y="12608"/>
                </a:lnTo>
                <a:lnTo>
                  <a:pt x="5291" y="12617"/>
                </a:lnTo>
                <a:lnTo>
                  <a:pt x="5290" y="12625"/>
                </a:lnTo>
                <a:close/>
                <a:moveTo>
                  <a:pt x="5308" y="12579"/>
                </a:moveTo>
                <a:lnTo>
                  <a:pt x="5314" y="12566"/>
                </a:lnTo>
                <a:lnTo>
                  <a:pt x="5318" y="12584"/>
                </a:lnTo>
                <a:lnTo>
                  <a:pt x="5313" y="12582"/>
                </a:lnTo>
                <a:lnTo>
                  <a:pt x="5308" y="12579"/>
                </a:lnTo>
                <a:close/>
                <a:moveTo>
                  <a:pt x="5347" y="12620"/>
                </a:moveTo>
                <a:lnTo>
                  <a:pt x="5346" y="12615"/>
                </a:lnTo>
                <a:lnTo>
                  <a:pt x="5349" y="12610"/>
                </a:lnTo>
                <a:lnTo>
                  <a:pt x="5349" y="12614"/>
                </a:lnTo>
                <a:lnTo>
                  <a:pt x="5347" y="12620"/>
                </a:lnTo>
                <a:close/>
                <a:moveTo>
                  <a:pt x="5342" y="12635"/>
                </a:moveTo>
                <a:lnTo>
                  <a:pt x="5342" y="12638"/>
                </a:lnTo>
                <a:lnTo>
                  <a:pt x="5342" y="12635"/>
                </a:lnTo>
                <a:lnTo>
                  <a:pt x="5355" y="12639"/>
                </a:lnTo>
                <a:lnTo>
                  <a:pt x="5342" y="12635"/>
                </a:lnTo>
                <a:close/>
                <a:moveTo>
                  <a:pt x="5512" y="12542"/>
                </a:moveTo>
                <a:lnTo>
                  <a:pt x="5518" y="12536"/>
                </a:lnTo>
                <a:lnTo>
                  <a:pt x="5532" y="12535"/>
                </a:lnTo>
                <a:lnTo>
                  <a:pt x="5522" y="12540"/>
                </a:lnTo>
                <a:lnTo>
                  <a:pt x="5512" y="12542"/>
                </a:lnTo>
                <a:close/>
                <a:moveTo>
                  <a:pt x="5527" y="12517"/>
                </a:moveTo>
                <a:lnTo>
                  <a:pt x="5518" y="12512"/>
                </a:lnTo>
                <a:lnTo>
                  <a:pt x="5521" y="12498"/>
                </a:lnTo>
                <a:lnTo>
                  <a:pt x="5532" y="12504"/>
                </a:lnTo>
                <a:lnTo>
                  <a:pt x="5527" y="12517"/>
                </a:lnTo>
                <a:close/>
                <a:moveTo>
                  <a:pt x="5540" y="12285"/>
                </a:moveTo>
                <a:lnTo>
                  <a:pt x="5513" y="12267"/>
                </a:lnTo>
                <a:lnTo>
                  <a:pt x="5538" y="12266"/>
                </a:lnTo>
                <a:lnTo>
                  <a:pt x="5554" y="12279"/>
                </a:lnTo>
                <a:lnTo>
                  <a:pt x="5540" y="12285"/>
                </a:lnTo>
                <a:close/>
                <a:moveTo>
                  <a:pt x="5564" y="12292"/>
                </a:moveTo>
                <a:lnTo>
                  <a:pt x="5568" y="12295"/>
                </a:lnTo>
                <a:lnTo>
                  <a:pt x="5569" y="12304"/>
                </a:lnTo>
                <a:lnTo>
                  <a:pt x="5556" y="12300"/>
                </a:lnTo>
                <a:lnTo>
                  <a:pt x="5564" y="12292"/>
                </a:lnTo>
                <a:close/>
                <a:moveTo>
                  <a:pt x="5586" y="12258"/>
                </a:moveTo>
                <a:lnTo>
                  <a:pt x="5598" y="12257"/>
                </a:lnTo>
                <a:lnTo>
                  <a:pt x="5608" y="12252"/>
                </a:lnTo>
                <a:lnTo>
                  <a:pt x="5593" y="12271"/>
                </a:lnTo>
                <a:lnTo>
                  <a:pt x="5586" y="12258"/>
                </a:lnTo>
                <a:close/>
                <a:moveTo>
                  <a:pt x="5592" y="12281"/>
                </a:moveTo>
                <a:lnTo>
                  <a:pt x="5584" y="12285"/>
                </a:lnTo>
                <a:lnTo>
                  <a:pt x="5592" y="12281"/>
                </a:lnTo>
                <a:lnTo>
                  <a:pt x="5586" y="12289"/>
                </a:lnTo>
                <a:lnTo>
                  <a:pt x="5592" y="12281"/>
                </a:lnTo>
                <a:close/>
                <a:moveTo>
                  <a:pt x="5603" y="12294"/>
                </a:moveTo>
                <a:lnTo>
                  <a:pt x="5620" y="12279"/>
                </a:lnTo>
                <a:lnTo>
                  <a:pt x="5640" y="12295"/>
                </a:lnTo>
                <a:lnTo>
                  <a:pt x="5607" y="12303"/>
                </a:lnTo>
                <a:lnTo>
                  <a:pt x="5603" y="12294"/>
                </a:lnTo>
                <a:close/>
                <a:moveTo>
                  <a:pt x="5638" y="12317"/>
                </a:moveTo>
                <a:lnTo>
                  <a:pt x="5649" y="12311"/>
                </a:lnTo>
                <a:lnTo>
                  <a:pt x="5662" y="12311"/>
                </a:lnTo>
                <a:lnTo>
                  <a:pt x="5650" y="12317"/>
                </a:lnTo>
                <a:lnTo>
                  <a:pt x="5638" y="12317"/>
                </a:lnTo>
                <a:close/>
                <a:moveTo>
                  <a:pt x="5700" y="12351"/>
                </a:moveTo>
                <a:lnTo>
                  <a:pt x="5722" y="12346"/>
                </a:lnTo>
                <a:lnTo>
                  <a:pt x="5723" y="12353"/>
                </a:lnTo>
                <a:lnTo>
                  <a:pt x="5708" y="12356"/>
                </a:lnTo>
                <a:lnTo>
                  <a:pt x="5700" y="12351"/>
                </a:lnTo>
                <a:close/>
                <a:moveTo>
                  <a:pt x="5738" y="12463"/>
                </a:moveTo>
                <a:lnTo>
                  <a:pt x="5747" y="12465"/>
                </a:lnTo>
                <a:lnTo>
                  <a:pt x="5756" y="12465"/>
                </a:lnTo>
                <a:lnTo>
                  <a:pt x="5746" y="12470"/>
                </a:lnTo>
                <a:lnTo>
                  <a:pt x="5738" y="12463"/>
                </a:lnTo>
                <a:close/>
                <a:moveTo>
                  <a:pt x="5813" y="12538"/>
                </a:moveTo>
                <a:lnTo>
                  <a:pt x="5816" y="12538"/>
                </a:lnTo>
                <a:lnTo>
                  <a:pt x="5820" y="12545"/>
                </a:lnTo>
                <a:lnTo>
                  <a:pt x="5815" y="12549"/>
                </a:lnTo>
                <a:lnTo>
                  <a:pt x="5813" y="12538"/>
                </a:lnTo>
                <a:close/>
                <a:moveTo>
                  <a:pt x="5847" y="12509"/>
                </a:moveTo>
                <a:lnTo>
                  <a:pt x="5853" y="12499"/>
                </a:lnTo>
                <a:lnTo>
                  <a:pt x="5864" y="12513"/>
                </a:lnTo>
                <a:lnTo>
                  <a:pt x="5855" y="12516"/>
                </a:lnTo>
                <a:lnTo>
                  <a:pt x="5847" y="12509"/>
                </a:lnTo>
                <a:close/>
                <a:moveTo>
                  <a:pt x="5878" y="12480"/>
                </a:moveTo>
                <a:lnTo>
                  <a:pt x="5868" y="12467"/>
                </a:lnTo>
                <a:lnTo>
                  <a:pt x="5884" y="12452"/>
                </a:lnTo>
                <a:lnTo>
                  <a:pt x="5886" y="12465"/>
                </a:lnTo>
                <a:lnTo>
                  <a:pt x="5878" y="12480"/>
                </a:lnTo>
                <a:close/>
                <a:moveTo>
                  <a:pt x="5875" y="12378"/>
                </a:moveTo>
                <a:lnTo>
                  <a:pt x="5886" y="12377"/>
                </a:lnTo>
                <a:lnTo>
                  <a:pt x="5899" y="12378"/>
                </a:lnTo>
                <a:lnTo>
                  <a:pt x="5884" y="12390"/>
                </a:lnTo>
                <a:lnTo>
                  <a:pt x="5875" y="12378"/>
                </a:lnTo>
                <a:close/>
                <a:moveTo>
                  <a:pt x="5905" y="12430"/>
                </a:moveTo>
                <a:lnTo>
                  <a:pt x="5909" y="12443"/>
                </a:lnTo>
                <a:lnTo>
                  <a:pt x="5901" y="12437"/>
                </a:lnTo>
                <a:lnTo>
                  <a:pt x="5905" y="12430"/>
                </a:lnTo>
                <a:close/>
                <a:moveTo>
                  <a:pt x="5924" y="12461"/>
                </a:moveTo>
                <a:lnTo>
                  <a:pt x="5919" y="12472"/>
                </a:lnTo>
                <a:lnTo>
                  <a:pt x="5909" y="12466"/>
                </a:lnTo>
                <a:lnTo>
                  <a:pt x="5918" y="12463"/>
                </a:lnTo>
                <a:lnTo>
                  <a:pt x="5924" y="12461"/>
                </a:lnTo>
                <a:close/>
                <a:moveTo>
                  <a:pt x="5904" y="12367"/>
                </a:moveTo>
                <a:lnTo>
                  <a:pt x="5917" y="12368"/>
                </a:lnTo>
                <a:lnTo>
                  <a:pt x="5920" y="12379"/>
                </a:lnTo>
                <a:lnTo>
                  <a:pt x="5908" y="12376"/>
                </a:lnTo>
                <a:lnTo>
                  <a:pt x="5904" y="12367"/>
                </a:lnTo>
                <a:close/>
                <a:moveTo>
                  <a:pt x="5943" y="12348"/>
                </a:moveTo>
                <a:lnTo>
                  <a:pt x="5946" y="12354"/>
                </a:lnTo>
                <a:lnTo>
                  <a:pt x="5951" y="12359"/>
                </a:lnTo>
                <a:lnTo>
                  <a:pt x="5942" y="12356"/>
                </a:lnTo>
                <a:lnTo>
                  <a:pt x="5943" y="12348"/>
                </a:lnTo>
                <a:close/>
                <a:moveTo>
                  <a:pt x="5964" y="12270"/>
                </a:moveTo>
                <a:lnTo>
                  <a:pt x="5966" y="12266"/>
                </a:lnTo>
                <a:lnTo>
                  <a:pt x="5969" y="12269"/>
                </a:lnTo>
                <a:lnTo>
                  <a:pt x="5966" y="12270"/>
                </a:lnTo>
                <a:lnTo>
                  <a:pt x="5964" y="12270"/>
                </a:lnTo>
                <a:close/>
                <a:moveTo>
                  <a:pt x="5993" y="12181"/>
                </a:moveTo>
                <a:lnTo>
                  <a:pt x="5999" y="12176"/>
                </a:lnTo>
                <a:lnTo>
                  <a:pt x="6006" y="12183"/>
                </a:lnTo>
                <a:lnTo>
                  <a:pt x="5998" y="12187"/>
                </a:lnTo>
                <a:lnTo>
                  <a:pt x="5993" y="12181"/>
                </a:lnTo>
                <a:close/>
                <a:moveTo>
                  <a:pt x="6176" y="12396"/>
                </a:moveTo>
                <a:lnTo>
                  <a:pt x="6169" y="12407"/>
                </a:lnTo>
                <a:lnTo>
                  <a:pt x="6165" y="12421"/>
                </a:lnTo>
                <a:lnTo>
                  <a:pt x="6157" y="12411"/>
                </a:lnTo>
                <a:lnTo>
                  <a:pt x="6176" y="12396"/>
                </a:lnTo>
                <a:close/>
                <a:moveTo>
                  <a:pt x="6199" y="12238"/>
                </a:moveTo>
                <a:lnTo>
                  <a:pt x="6224" y="12222"/>
                </a:lnTo>
                <a:lnTo>
                  <a:pt x="6190" y="12244"/>
                </a:lnTo>
                <a:lnTo>
                  <a:pt x="6187" y="12248"/>
                </a:lnTo>
                <a:lnTo>
                  <a:pt x="6199" y="12238"/>
                </a:lnTo>
                <a:close/>
                <a:moveTo>
                  <a:pt x="6241" y="12471"/>
                </a:moveTo>
                <a:lnTo>
                  <a:pt x="6248" y="12472"/>
                </a:lnTo>
                <a:lnTo>
                  <a:pt x="6245" y="12480"/>
                </a:lnTo>
                <a:lnTo>
                  <a:pt x="6234" y="12475"/>
                </a:lnTo>
                <a:lnTo>
                  <a:pt x="6241" y="12471"/>
                </a:lnTo>
                <a:close/>
                <a:moveTo>
                  <a:pt x="6255" y="12348"/>
                </a:moveTo>
                <a:lnTo>
                  <a:pt x="6258" y="12339"/>
                </a:lnTo>
                <a:lnTo>
                  <a:pt x="6259" y="12331"/>
                </a:lnTo>
                <a:lnTo>
                  <a:pt x="6267" y="12339"/>
                </a:lnTo>
                <a:lnTo>
                  <a:pt x="6255" y="12348"/>
                </a:lnTo>
                <a:close/>
                <a:moveTo>
                  <a:pt x="6254" y="12326"/>
                </a:moveTo>
                <a:lnTo>
                  <a:pt x="6255" y="12313"/>
                </a:lnTo>
                <a:lnTo>
                  <a:pt x="6272" y="12309"/>
                </a:lnTo>
                <a:lnTo>
                  <a:pt x="6271" y="12321"/>
                </a:lnTo>
                <a:lnTo>
                  <a:pt x="6254" y="12326"/>
                </a:lnTo>
                <a:close/>
                <a:moveTo>
                  <a:pt x="6232" y="12265"/>
                </a:moveTo>
                <a:lnTo>
                  <a:pt x="6246" y="12261"/>
                </a:lnTo>
                <a:lnTo>
                  <a:pt x="6262" y="12267"/>
                </a:lnTo>
                <a:lnTo>
                  <a:pt x="6249" y="12267"/>
                </a:lnTo>
                <a:lnTo>
                  <a:pt x="6232" y="12265"/>
                </a:lnTo>
                <a:close/>
                <a:moveTo>
                  <a:pt x="6376" y="12239"/>
                </a:moveTo>
                <a:lnTo>
                  <a:pt x="6359" y="12237"/>
                </a:lnTo>
                <a:lnTo>
                  <a:pt x="6341" y="12232"/>
                </a:lnTo>
                <a:lnTo>
                  <a:pt x="6367" y="12227"/>
                </a:lnTo>
                <a:lnTo>
                  <a:pt x="6376" y="12239"/>
                </a:lnTo>
                <a:close/>
                <a:moveTo>
                  <a:pt x="6476" y="12444"/>
                </a:moveTo>
                <a:lnTo>
                  <a:pt x="6488" y="12439"/>
                </a:lnTo>
                <a:lnTo>
                  <a:pt x="6496" y="12446"/>
                </a:lnTo>
                <a:lnTo>
                  <a:pt x="6486" y="12447"/>
                </a:lnTo>
                <a:lnTo>
                  <a:pt x="6476" y="12444"/>
                </a:lnTo>
                <a:close/>
                <a:moveTo>
                  <a:pt x="6608" y="12424"/>
                </a:moveTo>
                <a:lnTo>
                  <a:pt x="6611" y="12424"/>
                </a:lnTo>
                <a:lnTo>
                  <a:pt x="6612" y="12425"/>
                </a:lnTo>
                <a:lnTo>
                  <a:pt x="6609" y="12424"/>
                </a:lnTo>
                <a:lnTo>
                  <a:pt x="6608" y="12424"/>
                </a:lnTo>
                <a:close/>
                <a:moveTo>
                  <a:pt x="6617" y="12412"/>
                </a:moveTo>
                <a:lnTo>
                  <a:pt x="6620" y="12412"/>
                </a:lnTo>
                <a:lnTo>
                  <a:pt x="6622" y="12414"/>
                </a:lnTo>
                <a:lnTo>
                  <a:pt x="6620" y="12416"/>
                </a:lnTo>
                <a:lnTo>
                  <a:pt x="6617" y="12412"/>
                </a:lnTo>
                <a:close/>
                <a:moveTo>
                  <a:pt x="6713" y="12390"/>
                </a:moveTo>
                <a:lnTo>
                  <a:pt x="6721" y="12379"/>
                </a:lnTo>
                <a:lnTo>
                  <a:pt x="6741" y="12382"/>
                </a:lnTo>
                <a:lnTo>
                  <a:pt x="6727" y="12390"/>
                </a:lnTo>
                <a:lnTo>
                  <a:pt x="6713" y="12390"/>
                </a:lnTo>
                <a:close/>
                <a:moveTo>
                  <a:pt x="6944" y="12349"/>
                </a:moveTo>
                <a:lnTo>
                  <a:pt x="6953" y="12349"/>
                </a:lnTo>
                <a:lnTo>
                  <a:pt x="6956" y="12359"/>
                </a:lnTo>
                <a:lnTo>
                  <a:pt x="6949" y="12356"/>
                </a:lnTo>
                <a:lnTo>
                  <a:pt x="6944" y="12349"/>
                </a:lnTo>
                <a:close/>
                <a:moveTo>
                  <a:pt x="7068" y="12206"/>
                </a:moveTo>
                <a:lnTo>
                  <a:pt x="7059" y="12214"/>
                </a:lnTo>
                <a:lnTo>
                  <a:pt x="7050" y="12216"/>
                </a:lnTo>
                <a:lnTo>
                  <a:pt x="7058" y="12209"/>
                </a:lnTo>
                <a:lnTo>
                  <a:pt x="7068" y="12206"/>
                </a:lnTo>
                <a:close/>
                <a:moveTo>
                  <a:pt x="7087" y="12197"/>
                </a:moveTo>
                <a:lnTo>
                  <a:pt x="7098" y="12187"/>
                </a:lnTo>
                <a:lnTo>
                  <a:pt x="7114" y="12181"/>
                </a:lnTo>
                <a:lnTo>
                  <a:pt x="7105" y="12197"/>
                </a:lnTo>
                <a:lnTo>
                  <a:pt x="7087" y="12197"/>
                </a:lnTo>
                <a:close/>
                <a:moveTo>
                  <a:pt x="7293" y="12335"/>
                </a:moveTo>
                <a:lnTo>
                  <a:pt x="7275" y="12336"/>
                </a:lnTo>
                <a:lnTo>
                  <a:pt x="7297" y="12328"/>
                </a:lnTo>
                <a:lnTo>
                  <a:pt x="7320" y="12299"/>
                </a:lnTo>
                <a:lnTo>
                  <a:pt x="7293" y="12335"/>
                </a:lnTo>
                <a:close/>
                <a:moveTo>
                  <a:pt x="7358" y="12294"/>
                </a:moveTo>
                <a:lnTo>
                  <a:pt x="7361" y="12289"/>
                </a:lnTo>
                <a:lnTo>
                  <a:pt x="7366" y="12283"/>
                </a:lnTo>
                <a:lnTo>
                  <a:pt x="7365" y="12292"/>
                </a:lnTo>
                <a:lnTo>
                  <a:pt x="7358" y="12294"/>
                </a:lnTo>
                <a:close/>
                <a:moveTo>
                  <a:pt x="7400" y="12265"/>
                </a:moveTo>
                <a:lnTo>
                  <a:pt x="7437" y="12257"/>
                </a:lnTo>
                <a:lnTo>
                  <a:pt x="7466" y="12256"/>
                </a:lnTo>
                <a:lnTo>
                  <a:pt x="7435" y="12274"/>
                </a:lnTo>
                <a:lnTo>
                  <a:pt x="7400" y="12265"/>
                </a:lnTo>
                <a:close/>
                <a:moveTo>
                  <a:pt x="7496" y="12244"/>
                </a:moveTo>
                <a:lnTo>
                  <a:pt x="7505" y="12242"/>
                </a:lnTo>
                <a:lnTo>
                  <a:pt x="7510" y="12247"/>
                </a:lnTo>
                <a:lnTo>
                  <a:pt x="7501" y="12250"/>
                </a:lnTo>
                <a:lnTo>
                  <a:pt x="7496" y="12244"/>
                </a:lnTo>
                <a:close/>
                <a:moveTo>
                  <a:pt x="7507" y="12239"/>
                </a:moveTo>
                <a:lnTo>
                  <a:pt x="7511" y="12234"/>
                </a:lnTo>
                <a:lnTo>
                  <a:pt x="7516" y="12236"/>
                </a:lnTo>
                <a:lnTo>
                  <a:pt x="7511" y="12237"/>
                </a:lnTo>
                <a:lnTo>
                  <a:pt x="7507" y="12239"/>
                </a:lnTo>
                <a:close/>
                <a:moveTo>
                  <a:pt x="7572" y="12205"/>
                </a:moveTo>
                <a:lnTo>
                  <a:pt x="7585" y="12208"/>
                </a:lnTo>
                <a:lnTo>
                  <a:pt x="7580" y="12218"/>
                </a:lnTo>
                <a:lnTo>
                  <a:pt x="7573" y="12211"/>
                </a:lnTo>
                <a:lnTo>
                  <a:pt x="7572" y="12205"/>
                </a:lnTo>
                <a:close/>
                <a:moveTo>
                  <a:pt x="7557" y="12108"/>
                </a:moveTo>
                <a:lnTo>
                  <a:pt x="7533" y="12111"/>
                </a:lnTo>
                <a:lnTo>
                  <a:pt x="7545" y="12093"/>
                </a:lnTo>
                <a:lnTo>
                  <a:pt x="7553" y="12101"/>
                </a:lnTo>
                <a:lnTo>
                  <a:pt x="7557" y="12108"/>
                </a:lnTo>
                <a:close/>
                <a:moveTo>
                  <a:pt x="7661" y="12194"/>
                </a:moveTo>
                <a:lnTo>
                  <a:pt x="7696" y="12181"/>
                </a:lnTo>
                <a:lnTo>
                  <a:pt x="7719" y="12186"/>
                </a:lnTo>
                <a:lnTo>
                  <a:pt x="7694" y="12202"/>
                </a:lnTo>
                <a:lnTo>
                  <a:pt x="7661" y="12194"/>
                </a:lnTo>
                <a:close/>
                <a:moveTo>
                  <a:pt x="7706" y="12116"/>
                </a:moveTo>
                <a:lnTo>
                  <a:pt x="7708" y="12110"/>
                </a:lnTo>
                <a:lnTo>
                  <a:pt x="7712" y="12106"/>
                </a:lnTo>
                <a:lnTo>
                  <a:pt x="7712" y="12112"/>
                </a:lnTo>
                <a:lnTo>
                  <a:pt x="7706" y="12116"/>
                </a:lnTo>
                <a:close/>
                <a:moveTo>
                  <a:pt x="7675" y="12000"/>
                </a:moveTo>
                <a:lnTo>
                  <a:pt x="7694" y="11996"/>
                </a:lnTo>
                <a:lnTo>
                  <a:pt x="7720" y="12009"/>
                </a:lnTo>
                <a:lnTo>
                  <a:pt x="7696" y="12011"/>
                </a:lnTo>
                <a:lnTo>
                  <a:pt x="7675" y="12000"/>
                </a:lnTo>
                <a:close/>
                <a:moveTo>
                  <a:pt x="7801" y="12092"/>
                </a:moveTo>
                <a:lnTo>
                  <a:pt x="7803" y="12090"/>
                </a:lnTo>
                <a:lnTo>
                  <a:pt x="7804" y="12089"/>
                </a:lnTo>
                <a:lnTo>
                  <a:pt x="7803" y="12097"/>
                </a:lnTo>
                <a:lnTo>
                  <a:pt x="7801" y="12092"/>
                </a:lnTo>
                <a:close/>
                <a:moveTo>
                  <a:pt x="7826" y="12083"/>
                </a:moveTo>
                <a:lnTo>
                  <a:pt x="7833" y="12069"/>
                </a:lnTo>
                <a:lnTo>
                  <a:pt x="7842" y="12075"/>
                </a:lnTo>
                <a:lnTo>
                  <a:pt x="7832" y="12078"/>
                </a:lnTo>
                <a:lnTo>
                  <a:pt x="7826" y="12083"/>
                </a:lnTo>
                <a:close/>
                <a:moveTo>
                  <a:pt x="7906" y="12205"/>
                </a:moveTo>
                <a:lnTo>
                  <a:pt x="7891" y="12205"/>
                </a:lnTo>
                <a:lnTo>
                  <a:pt x="7883" y="12186"/>
                </a:lnTo>
                <a:lnTo>
                  <a:pt x="7930" y="12190"/>
                </a:lnTo>
                <a:lnTo>
                  <a:pt x="7906" y="12205"/>
                </a:lnTo>
                <a:close/>
                <a:moveTo>
                  <a:pt x="7936" y="12211"/>
                </a:moveTo>
                <a:lnTo>
                  <a:pt x="7940" y="12222"/>
                </a:lnTo>
                <a:lnTo>
                  <a:pt x="7944" y="12232"/>
                </a:lnTo>
                <a:lnTo>
                  <a:pt x="7930" y="12224"/>
                </a:lnTo>
                <a:lnTo>
                  <a:pt x="7936" y="12211"/>
                </a:lnTo>
                <a:close/>
                <a:moveTo>
                  <a:pt x="7964" y="12168"/>
                </a:moveTo>
                <a:lnTo>
                  <a:pt x="7966" y="12168"/>
                </a:lnTo>
                <a:lnTo>
                  <a:pt x="7968" y="12167"/>
                </a:lnTo>
                <a:lnTo>
                  <a:pt x="7972" y="12173"/>
                </a:lnTo>
                <a:lnTo>
                  <a:pt x="7964" y="12168"/>
                </a:lnTo>
                <a:close/>
                <a:moveTo>
                  <a:pt x="7966" y="12061"/>
                </a:moveTo>
                <a:lnTo>
                  <a:pt x="7976" y="12057"/>
                </a:lnTo>
                <a:lnTo>
                  <a:pt x="7986" y="12066"/>
                </a:lnTo>
                <a:lnTo>
                  <a:pt x="7976" y="12066"/>
                </a:lnTo>
                <a:lnTo>
                  <a:pt x="7966" y="12061"/>
                </a:lnTo>
                <a:close/>
                <a:moveTo>
                  <a:pt x="7972" y="12046"/>
                </a:moveTo>
                <a:lnTo>
                  <a:pt x="7972" y="12046"/>
                </a:lnTo>
                <a:lnTo>
                  <a:pt x="7972" y="12046"/>
                </a:lnTo>
                <a:lnTo>
                  <a:pt x="7975" y="12043"/>
                </a:lnTo>
                <a:lnTo>
                  <a:pt x="7972" y="12046"/>
                </a:lnTo>
                <a:close/>
                <a:moveTo>
                  <a:pt x="7977" y="12031"/>
                </a:moveTo>
                <a:lnTo>
                  <a:pt x="7985" y="12000"/>
                </a:lnTo>
                <a:lnTo>
                  <a:pt x="8012" y="12017"/>
                </a:lnTo>
                <a:lnTo>
                  <a:pt x="7995" y="12006"/>
                </a:lnTo>
                <a:lnTo>
                  <a:pt x="7977" y="12031"/>
                </a:lnTo>
                <a:close/>
                <a:moveTo>
                  <a:pt x="8014" y="12039"/>
                </a:moveTo>
                <a:lnTo>
                  <a:pt x="8009" y="12039"/>
                </a:lnTo>
                <a:lnTo>
                  <a:pt x="8004" y="12039"/>
                </a:lnTo>
                <a:lnTo>
                  <a:pt x="8010" y="12037"/>
                </a:lnTo>
                <a:lnTo>
                  <a:pt x="8014" y="12039"/>
                </a:lnTo>
                <a:close/>
                <a:moveTo>
                  <a:pt x="7996" y="12045"/>
                </a:moveTo>
                <a:lnTo>
                  <a:pt x="8005" y="12046"/>
                </a:lnTo>
                <a:lnTo>
                  <a:pt x="8017" y="12045"/>
                </a:lnTo>
                <a:lnTo>
                  <a:pt x="7998" y="12053"/>
                </a:lnTo>
                <a:lnTo>
                  <a:pt x="7996" y="12045"/>
                </a:lnTo>
                <a:close/>
                <a:moveTo>
                  <a:pt x="8029" y="12190"/>
                </a:moveTo>
                <a:lnTo>
                  <a:pt x="8029" y="12188"/>
                </a:lnTo>
                <a:lnTo>
                  <a:pt x="8032" y="12186"/>
                </a:lnTo>
                <a:lnTo>
                  <a:pt x="8032" y="12188"/>
                </a:lnTo>
                <a:lnTo>
                  <a:pt x="8029" y="12190"/>
                </a:lnTo>
                <a:close/>
                <a:moveTo>
                  <a:pt x="8042" y="12163"/>
                </a:moveTo>
                <a:lnTo>
                  <a:pt x="8046" y="12160"/>
                </a:lnTo>
                <a:lnTo>
                  <a:pt x="8047" y="12164"/>
                </a:lnTo>
                <a:lnTo>
                  <a:pt x="8045" y="12163"/>
                </a:lnTo>
                <a:lnTo>
                  <a:pt x="8042" y="12163"/>
                </a:lnTo>
                <a:close/>
                <a:moveTo>
                  <a:pt x="8070" y="12163"/>
                </a:moveTo>
                <a:lnTo>
                  <a:pt x="8079" y="12169"/>
                </a:lnTo>
                <a:lnTo>
                  <a:pt x="8071" y="12177"/>
                </a:lnTo>
                <a:lnTo>
                  <a:pt x="8066" y="12173"/>
                </a:lnTo>
                <a:lnTo>
                  <a:pt x="8070" y="12163"/>
                </a:lnTo>
                <a:close/>
                <a:moveTo>
                  <a:pt x="8125" y="12149"/>
                </a:moveTo>
                <a:lnTo>
                  <a:pt x="8122" y="12139"/>
                </a:lnTo>
                <a:lnTo>
                  <a:pt x="8143" y="12129"/>
                </a:lnTo>
                <a:lnTo>
                  <a:pt x="8138" y="12143"/>
                </a:lnTo>
                <a:lnTo>
                  <a:pt x="8125" y="12149"/>
                </a:lnTo>
                <a:close/>
                <a:moveTo>
                  <a:pt x="8186" y="12197"/>
                </a:moveTo>
                <a:lnTo>
                  <a:pt x="8182" y="12194"/>
                </a:lnTo>
                <a:lnTo>
                  <a:pt x="8181" y="12188"/>
                </a:lnTo>
                <a:lnTo>
                  <a:pt x="8185" y="12192"/>
                </a:lnTo>
                <a:lnTo>
                  <a:pt x="8186" y="12197"/>
                </a:lnTo>
                <a:close/>
                <a:moveTo>
                  <a:pt x="8232" y="11973"/>
                </a:moveTo>
                <a:lnTo>
                  <a:pt x="8223" y="11941"/>
                </a:lnTo>
                <a:lnTo>
                  <a:pt x="8276" y="11947"/>
                </a:lnTo>
                <a:lnTo>
                  <a:pt x="8256" y="11962"/>
                </a:lnTo>
                <a:lnTo>
                  <a:pt x="8232" y="11973"/>
                </a:lnTo>
                <a:close/>
                <a:moveTo>
                  <a:pt x="8301" y="12024"/>
                </a:moveTo>
                <a:lnTo>
                  <a:pt x="8306" y="12032"/>
                </a:lnTo>
                <a:lnTo>
                  <a:pt x="8292" y="12029"/>
                </a:lnTo>
                <a:lnTo>
                  <a:pt x="8297" y="12027"/>
                </a:lnTo>
                <a:lnTo>
                  <a:pt x="8301" y="12024"/>
                </a:lnTo>
                <a:close/>
                <a:moveTo>
                  <a:pt x="8336" y="12096"/>
                </a:moveTo>
                <a:lnTo>
                  <a:pt x="8343" y="12096"/>
                </a:lnTo>
                <a:lnTo>
                  <a:pt x="8341" y="12103"/>
                </a:lnTo>
                <a:lnTo>
                  <a:pt x="8336" y="12102"/>
                </a:lnTo>
                <a:lnTo>
                  <a:pt x="8336" y="12096"/>
                </a:lnTo>
                <a:close/>
                <a:moveTo>
                  <a:pt x="8369" y="12112"/>
                </a:moveTo>
                <a:lnTo>
                  <a:pt x="8363" y="12107"/>
                </a:lnTo>
                <a:lnTo>
                  <a:pt x="8377" y="12108"/>
                </a:lnTo>
                <a:lnTo>
                  <a:pt x="8376" y="12120"/>
                </a:lnTo>
                <a:lnTo>
                  <a:pt x="8369" y="12112"/>
                </a:lnTo>
                <a:close/>
                <a:moveTo>
                  <a:pt x="8448" y="11962"/>
                </a:moveTo>
                <a:lnTo>
                  <a:pt x="8446" y="11967"/>
                </a:lnTo>
                <a:lnTo>
                  <a:pt x="8439" y="11962"/>
                </a:lnTo>
                <a:lnTo>
                  <a:pt x="8443" y="11962"/>
                </a:lnTo>
                <a:lnTo>
                  <a:pt x="8448" y="11962"/>
                </a:lnTo>
                <a:close/>
                <a:moveTo>
                  <a:pt x="8462" y="11980"/>
                </a:moveTo>
                <a:lnTo>
                  <a:pt x="8473" y="11955"/>
                </a:lnTo>
                <a:lnTo>
                  <a:pt x="8473" y="11967"/>
                </a:lnTo>
                <a:lnTo>
                  <a:pt x="8478" y="11978"/>
                </a:lnTo>
                <a:lnTo>
                  <a:pt x="8462" y="11980"/>
                </a:lnTo>
                <a:close/>
                <a:moveTo>
                  <a:pt x="8522" y="11927"/>
                </a:moveTo>
                <a:lnTo>
                  <a:pt x="8527" y="11934"/>
                </a:lnTo>
                <a:lnTo>
                  <a:pt x="8517" y="11936"/>
                </a:lnTo>
                <a:lnTo>
                  <a:pt x="8520" y="11931"/>
                </a:lnTo>
                <a:lnTo>
                  <a:pt x="8522" y="11927"/>
                </a:lnTo>
                <a:close/>
                <a:moveTo>
                  <a:pt x="8577" y="11924"/>
                </a:moveTo>
                <a:lnTo>
                  <a:pt x="8600" y="11920"/>
                </a:lnTo>
                <a:lnTo>
                  <a:pt x="8606" y="11935"/>
                </a:lnTo>
                <a:lnTo>
                  <a:pt x="8577" y="11930"/>
                </a:lnTo>
                <a:lnTo>
                  <a:pt x="8577" y="11924"/>
                </a:lnTo>
                <a:close/>
                <a:moveTo>
                  <a:pt x="8704" y="12074"/>
                </a:moveTo>
                <a:lnTo>
                  <a:pt x="8712" y="12053"/>
                </a:lnTo>
                <a:lnTo>
                  <a:pt x="8725" y="12070"/>
                </a:lnTo>
                <a:lnTo>
                  <a:pt x="8740" y="12084"/>
                </a:lnTo>
                <a:lnTo>
                  <a:pt x="8704" y="12074"/>
                </a:lnTo>
                <a:close/>
                <a:moveTo>
                  <a:pt x="8928" y="11925"/>
                </a:moveTo>
                <a:lnTo>
                  <a:pt x="8942" y="11912"/>
                </a:lnTo>
                <a:lnTo>
                  <a:pt x="8953" y="11926"/>
                </a:lnTo>
                <a:lnTo>
                  <a:pt x="8942" y="11926"/>
                </a:lnTo>
                <a:lnTo>
                  <a:pt x="8928" y="11925"/>
                </a:lnTo>
                <a:close/>
                <a:moveTo>
                  <a:pt x="8973" y="11944"/>
                </a:moveTo>
                <a:lnTo>
                  <a:pt x="8984" y="11957"/>
                </a:lnTo>
                <a:lnTo>
                  <a:pt x="8963" y="11947"/>
                </a:lnTo>
                <a:lnTo>
                  <a:pt x="8974" y="11949"/>
                </a:lnTo>
                <a:lnTo>
                  <a:pt x="8973" y="11944"/>
                </a:lnTo>
                <a:close/>
                <a:moveTo>
                  <a:pt x="9025" y="11995"/>
                </a:moveTo>
                <a:lnTo>
                  <a:pt x="9028" y="11992"/>
                </a:lnTo>
                <a:lnTo>
                  <a:pt x="9029" y="11991"/>
                </a:lnTo>
                <a:lnTo>
                  <a:pt x="9028" y="11995"/>
                </a:lnTo>
                <a:lnTo>
                  <a:pt x="9025" y="11995"/>
                </a:lnTo>
                <a:close/>
                <a:moveTo>
                  <a:pt x="9113" y="12001"/>
                </a:moveTo>
                <a:lnTo>
                  <a:pt x="9113" y="11992"/>
                </a:lnTo>
                <a:lnTo>
                  <a:pt x="9122" y="11994"/>
                </a:lnTo>
                <a:lnTo>
                  <a:pt x="9121" y="11999"/>
                </a:lnTo>
                <a:lnTo>
                  <a:pt x="9113" y="12001"/>
                </a:lnTo>
                <a:close/>
                <a:moveTo>
                  <a:pt x="9142" y="11933"/>
                </a:moveTo>
                <a:lnTo>
                  <a:pt x="9139" y="11929"/>
                </a:lnTo>
                <a:lnTo>
                  <a:pt x="9137" y="11922"/>
                </a:lnTo>
                <a:lnTo>
                  <a:pt x="9145" y="11929"/>
                </a:lnTo>
                <a:lnTo>
                  <a:pt x="9142" y="11933"/>
                </a:lnTo>
                <a:close/>
                <a:moveTo>
                  <a:pt x="9169" y="11949"/>
                </a:moveTo>
                <a:lnTo>
                  <a:pt x="9169" y="11952"/>
                </a:lnTo>
                <a:lnTo>
                  <a:pt x="9169" y="11955"/>
                </a:lnTo>
                <a:lnTo>
                  <a:pt x="9167" y="11953"/>
                </a:lnTo>
                <a:lnTo>
                  <a:pt x="9169" y="11949"/>
                </a:lnTo>
                <a:close/>
                <a:moveTo>
                  <a:pt x="9238" y="11986"/>
                </a:moveTo>
                <a:lnTo>
                  <a:pt x="9247" y="11985"/>
                </a:lnTo>
                <a:lnTo>
                  <a:pt x="9239" y="11992"/>
                </a:lnTo>
                <a:lnTo>
                  <a:pt x="9238" y="11986"/>
                </a:lnTo>
                <a:close/>
                <a:moveTo>
                  <a:pt x="9296" y="11978"/>
                </a:moveTo>
                <a:lnTo>
                  <a:pt x="9295" y="11981"/>
                </a:lnTo>
                <a:lnTo>
                  <a:pt x="9294" y="11981"/>
                </a:lnTo>
                <a:lnTo>
                  <a:pt x="9294" y="11977"/>
                </a:lnTo>
                <a:lnTo>
                  <a:pt x="9296" y="11978"/>
                </a:lnTo>
                <a:close/>
                <a:moveTo>
                  <a:pt x="9302" y="12033"/>
                </a:moveTo>
                <a:lnTo>
                  <a:pt x="9304" y="12037"/>
                </a:lnTo>
                <a:lnTo>
                  <a:pt x="9309" y="12041"/>
                </a:lnTo>
                <a:lnTo>
                  <a:pt x="9299" y="12039"/>
                </a:lnTo>
                <a:lnTo>
                  <a:pt x="9302" y="12033"/>
                </a:lnTo>
                <a:close/>
                <a:moveTo>
                  <a:pt x="9312" y="11940"/>
                </a:moveTo>
                <a:lnTo>
                  <a:pt x="9304" y="11941"/>
                </a:lnTo>
                <a:lnTo>
                  <a:pt x="9305" y="11938"/>
                </a:lnTo>
                <a:lnTo>
                  <a:pt x="9317" y="11938"/>
                </a:lnTo>
                <a:lnTo>
                  <a:pt x="9312" y="11940"/>
                </a:lnTo>
                <a:close/>
                <a:moveTo>
                  <a:pt x="9356" y="11958"/>
                </a:moveTo>
                <a:lnTo>
                  <a:pt x="9365" y="11952"/>
                </a:lnTo>
                <a:lnTo>
                  <a:pt x="9374" y="11941"/>
                </a:lnTo>
                <a:lnTo>
                  <a:pt x="9369" y="11958"/>
                </a:lnTo>
                <a:lnTo>
                  <a:pt x="9356" y="11958"/>
                </a:lnTo>
                <a:close/>
                <a:moveTo>
                  <a:pt x="9381" y="11976"/>
                </a:moveTo>
                <a:lnTo>
                  <a:pt x="9377" y="11976"/>
                </a:lnTo>
                <a:lnTo>
                  <a:pt x="9373" y="11973"/>
                </a:lnTo>
                <a:lnTo>
                  <a:pt x="9377" y="11975"/>
                </a:lnTo>
                <a:lnTo>
                  <a:pt x="9381" y="11976"/>
                </a:lnTo>
                <a:close/>
                <a:moveTo>
                  <a:pt x="9384" y="11975"/>
                </a:moveTo>
                <a:lnTo>
                  <a:pt x="9411" y="11961"/>
                </a:lnTo>
                <a:lnTo>
                  <a:pt x="9433" y="11943"/>
                </a:lnTo>
                <a:lnTo>
                  <a:pt x="9434" y="11959"/>
                </a:lnTo>
                <a:lnTo>
                  <a:pt x="9384" y="11975"/>
                </a:lnTo>
                <a:close/>
                <a:moveTo>
                  <a:pt x="9498" y="11855"/>
                </a:moveTo>
                <a:lnTo>
                  <a:pt x="9508" y="11843"/>
                </a:lnTo>
                <a:lnTo>
                  <a:pt x="9521" y="11850"/>
                </a:lnTo>
                <a:lnTo>
                  <a:pt x="9509" y="11855"/>
                </a:lnTo>
                <a:lnTo>
                  <a:pt x="9498" y="11855"/>
                </a:lnTo>
                <a:close/>
                <a:moveTo>
                  <a:pt x="9540" y="11913"/>
                </a:moveTo>
                <a:lnTo>
                  <a:pt x="9542" y="11916"/>
                </a:lnTo>
                <a:lnTo>
                  <a:pt x="9542" y="11920"/>
                </a:lnTo>
                <a:lnTo>
                  <a:pt x="9537" y="11917"/>
                </a:lnTo>
                <a:lnTo>
                  <a:pt x="9540" y="11913"/>
                </a:lnTo>
                <a:close/>
                <a:moveTo>
                  <a:pt x="9727" y="11897"/>
                </a:moveTo>
                <a:lnTo>
                  <a:pt x="9740" y="11903"/>
                </a:lnTo>
                <a:lnTo>
                  <a:pt x="9745" y="11916"/>
                </a:lnTo>
                <a:lnTo>
                  <a:pt x="9732" y="11910"/>
                </a:lnTo>
                <a:lnTo>
                  <a:pt x="9727" y="11897"/>
                </a:lnTo>
                <a:close/>
                <a:moveTo>
                  <a:pt x="9743" y="11883"/>
                </a:moveTo>
                <a:lnTo>
                  <a:pt x="9743" y="11859"/>
                </a:lnTo>
                <a:lnTo>
                  <a:pt x="9761" y="11847"/>
                </a:lnTo>
                <a:lnTo>
                  <a:pt x="9761" y="11863"/>
                </a:lnTo>
                <a:lnTo>
                  <a:pt x="9743" y="11883"/>
                </a:lnTo>
                <a:close/>
                <a:moveTo>
                  <a:pt x="9910" y="11809"/>
                </a:moveTo>
                <a:lnTo>
                  <a:pt x="9890" y="11832"/>
                </a:lnTo>
                <a:lnTo>
                  <a:pt x="9878" y="11798"/>
                </a:lnTo>
                <a:lnTo>
                  <a:pt x="9900" y="11790"/>
                </a:lnTo>
                <a:lnTo>
                  <a:pt x="9910" y="11809"/>
                </a:lnTo>
                <a:close/>
                <a:moveTo>
                  <a:pt x="9945" y="11725"/>
                </a:moveTo>
                <a:lnTo>
                  <a:pt x="9922" y="11720"/>
                </a:lnTo>
                <a:lnTo>
                  <a:pt x="9915" y="11707"/>
                </a:lnTo>
                <a:lnTo>
                  <a:pt x="9940" y="11702"/>
                </a:lnTo>
                <a:lnTo>
                  <a:pt x="9945" y="11725"/>
                </a:lnTo>
                <a:close/>
                <a:moveTo>
                  <a:pt x="9940" y="11664"/>
                </a:moveTo>
                <a:lnTo>
                  <a:pt x="9952" y="11661"/>
                </a:lnTo>
                <a:lnTo>
                  <a:pt x="9954" y="11675"/>
                </a:lnTo>
                <a:lnTo>
                  <a:pt x="9947" y="11669"/>
                </a:lnTo>
                <a:lnTo>
                  <a:pt x="9940" y="11664"/>
                </a:lnTo>
                <a:close/>
                <a:moveTo>
                  <a:pt x="9999" y="11779"/>
                </a:moveTo>
                <a:lnTo>
                  <a:pt x="10008" y="11782"/>
                </a:lnTo>
                <a:lnTo>
                  <a:pt x="10016" y="11786"/>
                </a:lnTo>
                <a:lnTo>
                  <a:pt x="10003" y="11789"/>
                </a:lnTo>
                <a:lnTo>
                  <a:pt x="9999" y="11779"/>
                </a:lnTo>
                <a:close/>
                <a:moveTo>
                  <a:pt x="10064" y="11689"/>
                </a:moveTo>
                <a:lnTo>
                  <a:pt x="10068" y="11686"/>
                </a:lnTo>
                <a:lnTo>
                  <a:pt x="10072" y="11692"/>
                </a:lnTo>
                <a:lnTo>
                  <a:pt x="10068" y="11691"/>
                </a:lnTo>
                <a:lnTo>
                  <a:pt x="10064" y="11689"/>
                </a:lnTo>
                <a:close/>
                <a:moveTo>
                  <a:pt x="10064" y="11650"/>
                </a:moveTo>
                <a:lnTo>
                  <a:pt x="10062" y="11646"/>
                </a:lnTo>
                <a:lnTo>
                  <a:pt x="10061" y="11642"/>
                </a:lnTo>
                <a:lnTo>
                  <a:pt x="10067" y="11645"/>
                </a:lnTo>
                <a:lnTo>
                  <a:pt x="10064" y="11650"/>
                </a:lnTo>
                <a:close/>
                <a:moveTo>
                  <a:pt x="10059" y="11599"/>
                </a:moveTo>
                <a:lnTo>
                  <a:pt x="10061" y="11599"/>
                </a:lnTo>
                <a:lnTo>
                  <a:pt x="10063" y="11598"/>
                </a:lnTo>
                <a:lnTo>
                  <a:pt x="10062" y="11600"/>
                </a:lnTo>
                <a:lnTo>
                  <a:pt x="10059" y="11599"/>
                </a:lnTo>
                <a:close/>
                <a:moveTo>
                  <a:pt x="10112" y="11705"/>
                </a:moveTo>
                <a:lnTo>
                  <a:pt x="10118" y="11707"/>
                </a:lnTo>
                <a:lnTo>
                  <a:pt x="10112" y="11714"/>
                </a:lnTo>
                <a:lnTo>
                  <a:pt x="10106" y="11711"/>
                </a:lnTo>
                <a:lnTo>
                  <a:pt x="10112" y="11705"/>
                </a:lnTo>
                <a:close/>
                <a:moveTo>
                  <a:pt x="10123" y="11737"/>
                </a:moveTo>
                <a:lnTo>
                  <a:pt x="10122" y="11745"/>
                </a:lnTo>
                <a:lnTo>
                  <a:pt x="10117" y="11737"/>
                </a:lnTo>
                <a:lnTo>
                  <a:pt x="10120" y="11737"/>
                </a:lnTo>
                <a:lnTo>
                  <a:pt x="10123" y="11737"/>
                </a:lnTo>
                <a:close/>
                <a:moveTo>
                  <a:pt x="10160" y="11604"/>
                </a:moveTo>
                <a:lnTo>
                  <a:pt x="10157" y="11599"/>
                </a:lnTo>
                <a:lnTo>
                  <a:pt x="10157" y="11593"/>
                </a:lnTo>
                <a:lnTo>
                  <a:pt x="10169" y="11602"/>
                </a:lnTo>
                <a:lnTo>
                  <a:pt x="10160" y="11604"/>
                </a:lnTo>
                <a:close/>
                <a:moveTo>
                  <a:pt x="10190" y="11681"/>
                </a:moveTo>
                <a:lnTo>
                  <a:pt x="10185" y="11684"/>
                </a:lnTo>
                <a:lnTo>
                  <a:pt x="10179" y="11683"/>
                </a:lnTo>
                <a:lnTo>
                  <a:pt x="10185" y="11682"/>
                </a:lnTo>
                <a:lnTo>
                  <a:pt x="10190" y="11681"/>
                </a:lnTo>
                <a:close/>
                <a:moveTo>
                  <a:pt x="10245" y="11781"/>
                </a:moveTo>
                <a:lnTo>
                  <a:pt x="10241" y="11782"/>
                </a:lnTo>
                <a:lnTo>
                  <a:pt x="10245" y="11781"/>
                </a:lnTo>
                <a:lnTo>
                  <a:pt x="10244" y="11787"/>
                </a:lnTo>
                <a:lnTo>
                  <a:pt x="10245" y="11781"/>
                </a:lnTo>
                <a:close/>
                <a:moveTo>
                  <a:pt x="10308" y="11781"/>
                </a:moveTo>
                <a:lnTo>
                  <a:pt x="10308" y="11775"/>
                </a:lnTo>
                <a:lnTo>
                  <a:pt x="10308" y="11770"/>
                </a:lnTo>
                <a:lnTo>
                  <a:pt x="10310" y="11775"/>
                </a:lnTo>
                <a:lnTo>
                  <a:pt x="10308" y="11781"/>
                </a:lnTo>
                <a:close/>
                <a:moveTo>
                  <a:pt x="10306" y="11608"/>
                </a:moveTo>
                <a:lnTo>
                  <a:pt x="10322" y="11594"/>
                </a:lnTo>
                <a:lnTo>
                  <a:pt x="10337" y="11580"/>
                </a:lnTo>
                <a:lnTo>
                  <a:pt x="10343" y="11604"/>
                </a:lnTo>
                <a:lnTo>
                  <a:pt x="10306" y="11608"/>
                </a:lnTo>
                <a:close/>
                <a:moveTo>
                  <a:pt x="10359" y="11639"/>
                </a:moveTo>
                <a:lnTo>
                  <a:pt x="10361" y="11639"/>
                </a:lnTo>
                <a:lnTo>
                  <a:pt x="10361" y="11641"/>
                </a:lnTo>
                <a:lnTo>
                  <a:pt x="10359" y="11640"/>
                </a:lnTo>
                <a:lnTo>
                  <a:pt x="10359" y="11639"/>
                </a:lnTo>
                <a:close/>
                <a:moveTo>
                  <a:pt x="10388" y="11585"/>
                </a:moveTo>
                <a:lnTo>
                  <a:pt x="10401" y="11593"/>
                </a:lnTo>
                <a:lnTo>
                  <a:pt x="10418" y="11593"/>
                </a:lnTo>
                <a:lnTo>
                  <a:pt x="10399" y="11608"/>
                </a:lnTo>
                <a:lnTo>
                  <a:pt x="10388" y="11585"/>
                </a:lnTo>
                <a:close/>
                <a:moveTo>
                  <a:pt x="10453" y="11709"/>
                </a:moveTo>
                <a:lnTo>
                  <a:pt x="10463" y="11711"/>
                </a:lnTo>
                <a:lnTo>
                  <a:pt x="10455" y="11715"/>
                </a:lnTo>
                <a:lnTo>
                  <a:pt x="10453" y="11709"/>
                </a:lnTo>
                <a:close/>
                <a:moveTo>
                  <a:pt x="10469" y="11768"/>
                </a:moveTo>
                <a:lnTo>
                  <a:pt x="10468" y="11785"/>
                </a:lnTo>
                <a:lnTo>
                  <a:pt x="10464" y="11781"/>
                </a:lnTo>
                <a:lnTo>
                  <a:pt x="10464" y="11771"/>
                </a:lnTo>
                <a:lnTo>
                  <a:pt x="10469" y="11768"/>
                </a:lnTo>
                <a:close/>
                <a:moveTo>
                  <a:pt x="10481" y="11787"/>
                </a:moveTo>
                <a:lnTo>
                  <a:pt x="10483" y="11785"/>
                </a:lnTo>
                <a:lnTo>
                  <a:pt x="10483" y="11780"/>
                </a:lnTo>
                <a:lnTo>
                  <a:pt x="10490" y="11786"/>
                </a:lnTo>
                <a:lnTo>
                  <a:pt x="10481" y="11787"/>
                </a:lnTo>
                <a:close/>
                <a:moveTo>
                  <a:pt x="10471" y="11756"/>
                </a:moveTo>
                <a:lnTo>
                  <a:pt x="10474" y="11747"/>
                </a:lnTo>
                <a:lnTo>
                  <a:pt x="10488" y="11761"/>
                </a:lnTo>
                <a:lnTo>
                  <a:pt x="10486" y="11761"/>
                </a:lnTo>
                <a:lnTo>
                  <a:pt x="10471" y="11756"/>
                </a:lnTo>
                <a:close/>
                <a:moveTo>
                  <a:pt x="10454" y="11650"/>
                </a:moveTo>
                <a:lnTo>
                  <a:pt x="10458" y="11636"/>
                </a:lnTo>
                <a:lnTo>
                  <a:pt x="10477" y="11625"/>
                </a:lnTo>
                <a:lnTo>
                  <a:pt x="10488" y="11639"/>
                </a:lnTo>
                <a:lnTo>
                  <a:pt x="10454" y="11650"/>
                </a:lnTo>
                <a:close/>
                <a:moveTo>
                  <a:pt x="10510" y="11687"/>
                </a:moveTo>
                <a:lnTo>
                  <a:pt x="10520" y="11691"/>
                </a:lnTo>
                <a:lnTo>
                  <a:pt x="10505" y="11701"/>
                </a:lnTo>
                <a:lnTo>
                  <a:pt x="10506" y="11696"/>
                </a:lnTo>
                <a:lnTo>
                  <a:pt x="10510" y="11687"/>
                </a:lnTo>
                <a:close/>
                <a:moveTo>
                  <a:pt x="10534" y="11547"/>
                </a:moveTo>
                <a:lnTo>
                  <a:pt x="10509" y="11541"/>
                </a:lnTo>
                <a:lnTo>
                  <a:pt x="10506" y="11513"/>
                </a:lnTo>
                <a:lnTo>
                  <a:pt x="10534" y="11521"/>
                </a:lnTo>
                <a:lnTo>
                  <a:pt x="10534" y="11547"/>
                </a:lnTo>
                <a:close/>
                <a:moveTo>
                  <a:pt x="11723" y="10261"/>
                </a:moveTo>
                <a:lnTo>
                  <a:pt x="11701" y="10266"/>
                </a:lnTo>
                <a:lnTo>
                  <a:pt x="11682" y="10247"/>
                </a:lnTo>
                <a:lnTo>
                  <a:pt x="11716" y="10218"/>
                </a:lnTo>
                <a:lnTo>
                  <a:pt x="11723" y="10261"/>
                </a:lnTo>
                <a:close/>
                <a:moveTo>
                  <a:pt x="11614" y="10125"/>
                </a:moveTo>
                <a:lnTo>
                  <a:pt x="11622" y="10139"/>
                </a:lnTo>
                <a:lnTo>
                  <a:pt x="11610" y="10161"/>
                </a:lnTo>
                <a:lnTo>
                  <a:pt x="11607" y="10143"/>
                </a:lnTo>
                <a:lnTo>
                  <a:pt x="11614" y="10125"/>
                </a:lnTo>
                <a:close/>
                <a:moveTo>
                  <a:pt x="11421" y="9820"/>
                </a:moveTo>
                <a:lnTo>
                  <a:pt x="11421" y="9820"/>
                </a:lnTo>
                <a:lnTo>
                  <a:pt x="11421" y="9820"/>
                </a:lnTo>
                <a:lnTo>
                  <a:pt x="11421" y="9820"/>
                </a:lnTo>
                <a:lnTo>
                  <a:pt x="11421" y="9820"/>
                </a:lnTo>
                <a:close/>
                <a:moveTo>
                  <a:pt x="9496" y="2564"/>
                </a:moveTo>
                <a:lnTo>
                  <a:pt x="9521" y="2556"/>
                </a:lnTo>
                <a:lnTo>
                  <a:pt x="9549" y="2561"/>
                </a:lnTo>
                <a:lnTo>
                  <a:pt x="9522" y="2569"/>
                </a:lnTo>
                <a:lnTo>
                  <a:pt x="9496" y="2564"/>
                </a:lnTo>
                <a:close/>
                <a:moveTo>
                  <a:pt x="8944" y="11203"/>
                </a:moveTo>
                <a:lnTo>
                  <a:pt x="8950" y="11202"/>
                </a:lnTo>
                <a:lnTo>
                  <a:pt x="8954" y="11207"/>
                </a:lnTo>
                <a:lnTo>
                  <a:pt x="8946" y="11210"/>
                </a:lnTo>
                <a:lnTo>
                  <a:pt x="8944" y="11203"/>
                </a:lnTo>
                <a:close/>
                <a:moveTo>
                  <a:pt x="6435" y="2570"/>
                </a:moveTo>
                <a:lnTo>
                  <a:pt x="6435" y="2564"/>
                </a:lnTo>
                <a:lnTo>
                  <a:pt x="6443" y="2561"/>
                </a:lnTo>
                <a:lnTo>
                  <a:pt x="6439" y="2565"/>
                </a:lnTo>
                <a:lnTo>
                  <a:pt x="6435" y="2570"/>
                </a:lnTo>
                <a:close/>
                <a:moveTo>
                  <a:pt x="6282" y="2614"/>
                </a:moveTo>
                <a:lnTo>
                  <a:pt x="6268" y="2615"/>
                </a:lnTo>
                <a:lnTo>
                  <a:pt x="6255" y="2597"/>
                </a:lnTo>
                <a:lnTo>
                  <a:pt x="6285" y="2593"/>
                </a:lnTo>
                <a:lnTo>
                  <a:pt x="6282" y="2614"/>
                </a:lnTo>
                <a:close/>
                <a:moveTo>
                  <a:pt x="6157" y="2729"/>
                </a:moveTo>
                <a:lnTo>
                  <a:pt x="6151" y="2732"/>
                </a:lnTo>
                <a:lnTo>
                  <a:pt x="6143" y="2728"/>
                </a:lnTo>
                <a:lnTo>
                  <a:pt x="6156" y="2723"/>
                </a:lnTo>
                <a:lnTo>
                  <a:pt x="6157" y="2729"/>
                </a:lnTo>
                <a:close/>
                <a:moveTo>
                  <a:pt x="5960" y="2832"/>
                </a:moveTo>
                <a:lnTo>
                  <a:pt x="5974" y="2825"/>
                </a:lnTo>
                <a:lnTo>
                  <a:pt x="5994" y="2820"/>
                </a:lnTo>
                <a:lnTo>
                  <a:pt x="5970" y="2848"/>
                </a:lnTo>
                <a:lnTo>
                  <a:pt x="5960" y="2832"/>
                </a:lnTo>
                <a:close/>
                <a:moveTo>
                  <a:pt x="5945" y="2743"/>
                </a:moveTo>
                <a:lnTo>
                  <a:pt x="5971" y="2738"/>
                </a:lnTo>
                <a:lnTo>
                  <a:pt x="5989" y="2752"/>
                </a:lnTo>
                <a:lnTo>
                  <a:pt x="5959" y="2759"/>
                </a:lnTo>
                <a:lnTo>
                  <a:pt x="5945" y="2743"/>
                </a:lnTo>
                <a:close/>
                <a:moveTo>
                  <a:pt x="5756" y="2864"/>
                </a:moveTo>
                <a:lnTo>
                  <a:pt x="5752" y="2872"/>
                </a:lnTo>
                <a:lnTo>
                  <a:pt x="5740" y="2872"/>
                </a:lnTo>
                <a:lnTo>
                  <a:pt x="5747" y="2864"/>
                </a:lnTo>
                <a:lnTo>
                  <a:pt x="5756" y="2864"/>
                </a:lnTo>
                <a:close/>
                <a:moveTo>
                  <a:pt x="5687" y="2709"/>
                </a:moveTo>
                <a:lnTo>
                  <a:pt x="5677" y="2710"/>
                </a:lnTo>
                <a:lnTo>
                  <a:pt x="5668" y="2708"/>
                </a:lnTo>
                <a:lnTo>
                  <a:pt x="5687" y="2699"/>
                </a:lnTo>
                <a:lnTo>
                  <a:pt x="5687" y="2709"/>
                </a:lnTo>
                <a:close/>
                <a:moveTo>
                  <a:pt x="5703" y="2880"/>
                </a:moveTo>
                <a:lnTo>
                  <a:pt x="5675" y="2882"/>
                </a:lnTo>
                <a:lnTo>
                  <a:pt x="5668" y="2863"/>
                </a:lnTo>
                <a:lnTo>
                  <a:pt x="5687" y="2867"/>
                </a:lnTo>
                <a:lnTo>
                  <a:pt x="5703" y="2880"/>
                </a:lnTo>
                <a:close/>
                <a:moveTo>
                  <a:pt x="5652" y="3111"/>
                </a:moveTo>
                <a:lnTo>
                  <a:pt x="5607" y="3100"/>
                </a:lnTo>
                <a:lnTo>
                  <a:pt x="5575" y="3073"/>
                </a:lnTo>
                <a:lnTo>
                  <a:pt x="5630" y="3083"/>
                </a:lnTo>
                <a:lnTo>
                  <a:pt x="5652" y="3111"/>
                </a:lnTo>
                <a:close/>
                <a:moveTo>
                  <a:pt x="5529" y="2908"/>
                </a:moveTo>
                <a:lnTo>
                  <a:pt x="5531" y="2939"/>
                </a:lnTo>
                <a:lnTo>
                  <a:pt x="5554" y="2966"/>
                </a:lnTo>
                <a:lnTo>
                  <a:pt x="5494" y="2969"/>
                </a:lnTo>
                <a:lnTo>
                  <a:pt x="5435" y="2952"/>
                </a:lnTo>
                <a:lnTo>
                  <a:pt x="5512" y="2878"/>
                </a:lnTo>
                <a:lnTo>
                  <a:pt x="5529" y="2908"/>
                </a:lnTo>
                <a:close/>
                <a:moveTo>
                  <a:pt x="5428" y="2934"/>
                </a:moveTo>
                <a:lnTo>
                  <a:pt x="5407" y="2962"/>
                </a:lnTo>
                <a:lnTo>
                  <a:pt x="5364" y="2950"/>
                </a:lnTo>
                <a:lnTo>
                  <a:pt x="5397" y="2941"/>
                </a:lnTo>
                <a:lnTo>
                  <a:pt x="5428" y="2934"/>
                </a:lnTo>
                <a:close/>
                <a:moveTo>
                  <a:pt x="5391" y="2980"/>
                </a:moveTo>
                <a:lnTo>
                  <a:pt x="5368" y="2986"/>
                </a:lnTo>
                <a:lnTo>
                  <a:pt x="5345" y="2976"/>
                </a:lnTo>
                <a:lnTo>
                  <a:pt x="5391" y="2980"/>
                </a:lnTo>
                <a:close/>
                <a:moveTo>
                  <a:pt x="4956" y="3151"/>
                </a:moveTo>
                <a:lnTo>
                  <a:pt x="4979" y="3143"/>
                </a:lnTo>
                <a:lnTo>
                  <a:pt x="5005" y="3149"/>
                </a:lnTo>
                <a:lnTo>
                  <a:pt x="4982" y="3157"/>
                </a:lnTo>
                <a:lnTo>
                  <a:pt x="4956" y="3151"/>
                </a:lnTo>
                <a:close/>
                <a:moveTo>
                  <a:pt x="4923" y="3153"/>
                </a:moveTo>
                <a:lnTo>
                  <a:pt x="4913" y="3127"/>
                </a:lnTo>
                <a:lnTo>
                  <a:pt x="4960" y="3115"/>
                </a:lnTo>
                <a:lnTo>
                  <a:pt x="4926" y="3134"/>
                </a:lnTo>
                <a:lnTo>
                  <a:pt x="4923" y="3153"/>
                </a:lnTo>
                <a:close/>
                <a:moveTo>
                  <a:pt x="4846" y="3056"/>
                </a:moveTo>
                <a:lnTo>
                  <a:pt x="4828" y="3036"/>
                </a:lnTo>
                <a:lnTo>
                  <a:pt x="4811" y="3017"/>
                </a:lnTo>
                <a:lnTo>
                  <a:pt x="4851" y="3018"/>
                </a:lnTo>
                <a:lnTo>
                  <a:pt x="4846" y="3056"/>
                </a:lnTo>
                <a:close/>
                <a:moveTo>
                  <a:pt x="4867" y="3153"/>
                </a:moveTo>
                <a:lnTo>
                  <a:pt x="4851" y="3165"/>
                </a:lnTo>
                <a:lnTo>
                  <a:pt x="4832" y="3153"/>
                </a:lnTo>
                <a:lnTo>
                  <a:pt x="4852" y="3153"/>
                </a:lnTo>
                <a:lnTo>
                  <a:pt x="4867" y="3153"/>
                </a:lnTo>
                <a:close/>
                <a:moveTo>
                  <a:pt x="4699" y="3264"/>
                </a:moveTo>
                <a:lnTo>
                  <a:pt x="4685" y="3259"/>
                </a:lnTo>
                <a:lnTo>
                  <a:pt x="4680" y="3250"/>
                </a:lnTo>
                <a:lnTo>
                  <a:pt x="4697" y="3251"/>
                </a:lnTo>
                <a:lnTo>
                  <a:pt x="4699" y="3264"/>
                </a:lnTo>
                <a:close/>
                <a:moveTo>
                  <a:pt x="4599" y="3191"/>
                </a:moveTo>
                <a:lnTo>
                  <a:pt x="4587" y="3176"/>
                </a:lnTo>
                <a:lnTo>
                  <a:pt x="4607" y="3165"/>
                </a:lnTo>
                <a:lnTo>
                  <a:pt x="4604" y="3180"/>
                </a:lnTo>
                <a:lnTo>
                  <a:pt x="4599" y="3191"/>
                </a:lnTo>
                <a:close/>
                <a:moveTo>
                  <a:pt x="4559" y="3208"/>
                </a:moveTo>
                <a:lnTo>
                  <a:pt x="4558" y="3193"/>
                </a:lnTo>
                <a:lnTo>
                  <a:pt x="4557" y="3181"/>
                </a:lnTo>
                <a:lnTo>
                  <a:pt x="4573" y="3193"/>
                </a:lnTo>
                <a:lnTo>
                  <a:pt x="4559" y="3208"/>
                </a:lnTo>
                <a:close/>
                <a:moveTo>
                  <a:pt x="3955" y="3278"/>
                </a:moveTo>
                <a:lnTo>
                  <a:pt x="3957" y="3295"/>
                </a:lnTo>
                <a:lnTo>
                  <a:pt x="3959" y="3312"/>
                </a:lnTo>
                <a:lnTo>
                  <a:pt x="3944" y="3296"/>
                </a:lnTo>
                <a:lnTo>
                  <a:pt x="3955" y="3278"/>
                </a:lnTo>
                <a:close/>
                <a:moveTo>
                  <a:pt x="3959" y="3334"/>
                </a:moveTo>
                <a:lnTo>
                  <a:pt x="3969" y="3337"/>
                </a:lnTo>
                <a:lnTo>
                  <a:pt x="3972" y="3343"/>
                </a:lnTo>
                <a:lnTo>
                  <a:pt x="3961" y="3342"/>
                </a:lnTo>
                <a:lnTo>
                  <a:pt x="3959" y="3334"/>
                </a:lnTo>
                <a:close/>
                <a:moveTo>
                  <a:pt x="3935" y="3228"/>
                </a:moveTo>
                <a:lnTo>
                  <a:pt x="3910" y="3203"/>
                </a:lnTo>
                <a:lnTo>
                  <a:pt x="3887" y="3174"/>
                </a:lnTo>
                <a:lnTo>
                  <a:pt x="3934" y="3172"/>
                </a:lnTo>
                <a:lnTo>
                  <a:pt x="3935" y="3228"/>
                </a:lnTo>
                <a:close/>
                <a:moveTo>
                  <a:pt x="3854" y="3323"/>
                </a:moveTo>
                <a:lnTo>
                  <a:pt x="3866" y="3303"/>
                </a:lnTo>
                <a:lnTo>
                  <a:pt x="3894" y="3298"/>
                </a:lnTo>
                <a:lnTo>
                  <a:pt x="3874" y="3311"/>
                </a:lnTo>
                <a:lnTo>
                  <a:pt x="3854" y="3323"/>
                </a:lnTo>
                <a:close/>
                <a:moveTo>
                  <a:pt x="3870" y="3386"/>
                </a:moveTo>
                <a:lnTo>
                  <a:pt x="3882" y="3404"/>
                </a:lnTo>
                <a:lnTo>
                  <a:pt x="3860" y="3405"/>
                </a:lnTo>
                <a:lnTo>
                  <a:pt x="3873" y="3398"/>
                </a:lnTo>
                <a:lnTo>
                  <a:pt x="3870" y="3386"/>
                </a:lnTo>
                <a:close/>
                <a:moveTo>
                  <a:pt x="4362" y="7656"/>
                </a:moveTo>
                <a:lnTo>
                  <a:pt x="4378" y="7654"/>
                </a:lnTo>
                <a:lnTo>
                  <a:pt x="4394" y="7653"/>
                </a:lnTo>
                <a:lnTo>
                  <a:pt x="4380" y="7664"/>
                </a:lnTo>
                <a:lnTo>
                  <a:pt x="4362" y="7656"/>
                </a:lnTo>
                <a:close/>
                <a:moveTo>
                  <a:pt x="4126" y="7131"/>
                </a:moveTo>
                <a:lnTo>
                  <a:pt x="4110" y="7115"/>
                </a:lnTo>
                <a:lnTo>
                  <a:pt x="4127" y="7102"/>
                </a:lnTo>
                <a:lnTo>
                  <a:pt x="4131" y="7118"/>
                </a:lnTo>
                <a:lnTo>
                  <a:pt x="4126" y="7131"/>
                </a:lnTo>
                <a:close/>
                <a:moveTo>
                  <a:pt x="4124" y="7372"/>
                </a:moveTo>
                <a:lnTo>
                  <a:pt x="4118" y="7345"/>
                </a:lnTo>
                <a:lnTo>
                  <a:pt x="4113" y="7317"/>
                </a:lnTo>
                <a:lnTo>
                  <a:pt x="4143" y="7345"/>
                </a:lnTo>
                <a:lnTo>
                  <a:pt x="4124" y="7372"/>
                </a:lnTo>
                <a:close/>
                <a:moveTo>
                  <a:pt x="3525" y="3746"/>
                </a:moveTo>
                <a:lnTo>
                  <a:pt x="3556" y="3726"/>
                </a:lnTo>
                <a:lnTo>
                  <a:pt x="3582" y="3740"/>
                </a:lnTo>
                <a:lnTo>
                  <a:pt x="3553" y="3750"/>
                </a:lnTo>
                <a:lnTo>
                  <a:pt x="3525" y="3746"/>
                </a:lnTo>
                <a:close/>
                <a:moveTo>
                  <a:pt x="3552" y="3696"/>
                </a:moveTo>
                <a:lnTo>
                  <a:pt x="3559" y="3699"/>
                </a:lnTo>
                <a:lnTo>
                  <a:pt x="3570" y="3708"/>
                </a:lnTo>
                <a:lnTo>
                  <a:pt x="3531" y="3704"/>
                </a:lnTo>
                <a:lnTo>
                  <a:pt x="3552" y="3696"/>
                </a:lnTo>
                <a:close/>
                <a:moveTo>
                  <a:pt x="3506" y="3642"/>
                </a:moveTo>
                <a:lnTo>
                  <a:pt x="3524" y="3632"/>
                </a:lnTo>
                <a:lnTo>
                  <a:pt x="3529" y="3645"/>
                </a:lnTo>
                <a:lnTo>
                  <a:pt x="3519" y="3643"/>
                </a:lnTo>
                <a:lnTo>
                  <a:pt x="3506" y="3642"/>
                </a:lnTo>
                <a:close/>
                <a:moveTo>
                  <a:pt x="3514" y="3664"/>
                </a:moveTo>
                <a:lnTo>
                  <a:pt x="3510" y="3684"/>
                </a:lnTo>
                <a:lnTo>
                  <a:pt x="3521" y="3699"/>
                </a:lnTo>
                <a:lnTo>
                  <a:pt x="3484" y="3690"/>
                </a:lnTo>
                <a:lnTo>
                  <a:pt x="3514" y="3664"/>
                </a:lnTo>
                <a:close/>
                <a:moveTo>
                  <a:pt x="3426" y="3786"/>
                </a:moveTo>
                <a:lnTo>
                  <a:pt x="3407" y="3762"/>
                </a:lnTo>
                <a:lnTo>
                  <a:pt x="3460" y="3754"/>
                </a:lnTo>
                <a:lnTo>
                  <a:pt x="3441" y="3772"/>
                </a:lnTo>
                <a:lnTo>
                  <a:pt x="3426" y="3786"/>
                </a:lnTo>
                <a:close/>
                <a:moveTo>
                  <a:pt x="3452" y="3856"/>
                </a:moveTo>
                <a:lnTo>
                  <a:pt x="3440" y="3862"/>
                </a:lnTo>
                <a:lnTo>
                  <a:pt x="3422" y="3857"/>
                </a:lnTo>
                <a:lnTo>
                  <a:pt x="3436" y="3857"/>
                </a:lnTo>
                <a:lnTo>
                  <a:pt x="3452" y="3856"/>
                </a:lnTo>
                <a:close/>
                <a:moveTo>
                  <a:pt x="3514" y="4178"/>
                </a:moveTo>
                <a:lnTo>
                  <a:pt x="3494" y="4177"/>
                </a:lnTo>
                <a:lnTo>
                  <a:pt x="3470" y="4175"/>
                </a:lnTo>
                <a:lnTo>
                  <a:pt x="3497" y="4166"/>
                </a:lnTo>
                <a:lnTo>
                  <a:pt x="3514" y="4178"/>
                </a:lnTo>
                <a:close/>
                <a:moveTo>
                  <a:pt x="4023" y="7363"/>
                </a:moveTo>
                <a:lnTo>
                  <a:pt x="4010" y="7404"/>
                </a:lnTo>
                <a:lnTo>
                  <a:pt x="3999" y="7444"/>
                </a:lnTo>
                <a:lnTo>
                  <a:pt x="3969" y="7387"/>
                </a:lnTo>
                <a:lnTo>
                  <a:pt x="4023" y="7363"/>
                </a:lnTo>
                <a:close/>
                <a:moveTo>
                  <a:pt x="4038" y="7747"/>
                </a:moveTo>
                <a:lnTo>
                  <a:pt x="4038" y="7750"/>
                </a:lnTo>
                <a:lnTo>
                  <a:pt x="4038" y="7752"/>
                </a:lnTo>
                <a:lnTo>
                  <a:pt x="4015" y="7748"/>
                </a:lnTo>
                <a:lnTo>
                  <a:pt x="4038" y="7747"/>
                </a:lnTo>
                <a:close/>
                <a:moveTo>
                  <a:pt x="4754" y="12382"/>
                </a:moveTo>
                <a:lnTo>
                  <a:pt x="4767" y="12388"/>
                </a:lnTo>
                <a:lnTo>
                  <a:pt x="4776" y="12397"/>
                </a:lnTo>
                <a:lnTo>
                  <a:pt x="4755" y="12393"/>
                </a:lnTo>
                <a:lnTo>
                  <a:pt x="4754" y="12382"/>
                </a:lnTo>
                <a:close/>
                <a:moveTo>
                  <a:pt x="4754" y="12414"/>
                </a:moveTo>
                <a:lnTo>
                  <a:pt x="4742" y="12423"/>
                </a:lnTo>
                <a:lnTo>
                  <a:pt x="4731" y="12419"/>
                </a:lnTo>
                <a:lnTo>
                  <a:pt x="4740" y="12411"/>
                </a:lnTo>
                <a:lnTo>
                  <a:pt x="4754" y="12414"/>
                </a:lnTo>
                <a:close/>
                <a:moveTo>
                  <a:pt x="4730" y="12398"/>
                </a:moveTo>
                <a:lnTo>
                  <a:pt x="4670" y="12397"/>
                </a:lnTo>
                <a:lnTo>
                  <a:pt x="4647" y="12421"/>
                </a:lnTo>
                <a:lnTo>
                  <a:pt x="4662" y="12378"/>
                </a:lnTo>
                <a:lnTo>
                  <a:pt x="4730" y="12398"/>
                </a:lnTo>
                <a:close/>
                <a:moveTo>
                  <a:pt x="4546" y="12685"/>
                </a:moveTo>
                <a:lnTo>
                  <a:pt x="4518" y="12691"/>
                </a:lnTo>
                <a:lnTo>
                  <a:pt x="4569" y="12663"/>
                </a:lnTo>
                <a:lnTo>
                  <a:pt x="4593" y="12680"/>
                </a:lnTo>
                <a:lnTo>
                  <a:pt x="4546" y="12685"/>
                </a:lnTo>
                <a:close/>
                <a:moveTo>
                  <a:pt x="4579" y="12759"/>
                </a:moveTo>
                <a:lnTo>
                  <a:pt x="4578" y="12777"/>
                </a:lnTo>
                <a:lnTo>
                  <a:pt x="4562" y="12777"/>
                </a:lnTo>
                <a:lnTo>
                  <a:pt x="4569" y="12769"/>
                </a:lnTo>
                <a:lnTo>
                  <a:pt x="4579" y="12759"/>
                </a:lnTo>
                <a:close/>
                <a:moveTo>
                  <a:pt x="4340" y="11925"/>
                </a:moveTo>
                <a:lnTo>
                  <a:pt x="4371" y="11940"/>
                </a:lnTo>
                <a:lnTo>
                  <a:pt x="4336" y="11948"/>
                </a:lnTo>
                <a:lnTo>
                  <a:pt x="4351" y="11938"/>
                </a:lnTo>
                <a:lnTo>
                  <a:pt x="4340" y="11925"/>
                </a:lnTo>
                <a:close/>
                <a:moveTo>
                  <a:pt x="4604" y="11950"/>
                </a:moveTo>
                <a:lnTo>
                  <a:pt x="4553" y="11935"/>
                </a:lnTo>
                <a:lnTo>
                  <a:pt x="4549" y="11999"/>
                </a:lnTo>
                <a:lnTo>
                  <a:pt x="4541" y="11908"/>
                </a:lnTo>
                <a:lnTo>
                  <a:pt x="4604" y="11950"/>
                </a:lnTo>
                <a:close/>
                <a:moveTo>
                  <a:pt x="4638" y="12057"/>
                </a:moveTo>
                <a:lnTo>
                  <a:pt x="4621" y="12065"/>
                </a:lnTo>
                <a:lnTo>
                  <a:pt x="4609" y="12042"/>
                </a:lnTo>
                <a:lnTo>
                  <a:pt x="4623" y="12050"/>
                </a:lnTo>
                <a:lnTo>
                  <a:pt x="4638" y="12057"/>
                </a:lnTo>
                <a:close/>
                <a:moveTo>
                  <a:pt x="4550" y="12022"/>
                </a:moveTo>
                <a:lnTo>
                  <a:pt x="4586" y="12032"/>
                </a:lnTo>
                <a:lnTo>
                  <a:pt x="4604" y="12062"/>
                </a:lnTo>
                <a:lnTo>
                  <a:pt x="4549" y="12066"/>
                </a:lnTo>
                <a:lnTo>
                  <a:pt x="4550" y="12022"/>
                </a:lnTo>
                <a:close/>
                <a:moveTo>
                  <a:pt x="4595" y="12020"/>
                </a:moveTo>
                <a:lnTo>
                  <a:pt x="4587" y="12011"/>
                </a:lnTo>
                <a:lnTo>
                  <a:pt x="4588" y="12004"/>
                </a:lnTo>
                <a:lnTo>
                  <a:pt x="4595" y="12013"/>
                </a:lnTo>
                <a:lnTo>
                  <a:pt x="4595" y="12020"/>
                </a:lnTo>
                <a:close/>
                <a:moveTo>
                  <a:pt x="4544" y="11654"/>
                </a:moveTo>
                <a:lnTo>
                  <a:pt x="4545" y="11655"/>
                </a:lnTo>
                <a:lnTo>
                  <a:pt x="4511" y="11669"/>
                </a:lnTo>
                <a:lnTo>
                  <a:pt x="4525" y="11659"/>
                </a:lnTo>
                <a:lnTo>
                  <a:pt x="4544" y="11654"/>
                </a:lnTo>
                <a:close/>
                <a:moveTo>
                  <a:pt x="4513" y="11654"/>
                </a:moveTo>
                <a:lnTo>
                  <a:pt x="4516" y="11646"/>
                </a:lnTo>
                <a:lnTo>
                  <a:pt x="4520" y="11640"/>
                </a:lnTo>
                <a:lnTo>
                  <a:pt x="4520" y="11649"/>
                </a:lnTo>
                <a:lnTo>
                  <a:pt x="4513" y="11654"/>
                </a:lnTo>
                <a:close/>
                <a:moveTo>
                  <a:pt x="4595" y="11877"/>
                </a:moveTo>
                <a:lnTo>
                  <a:pt x="4587" y="11880"/>
                </a:lnTo>
                <a:lnTo>
                  <a:pt x="4579" y="11882"/>
                </a:lnTo>
                <a:lnTo>
                  <a:pt x="4587" y="11879"/>
                </a:lnTo>
                <a:lnTo>
                  <a:pt x="4595" y="11877"/>
                </a:lnTo>
                <a:close/>
                <a:moveTo>
                  <a:pt x="4546" y="11827"/>
                </a:moveTo>
                <a:lnTo>
                  <a:pt x="4550" y="11837"/>
                </a:lnTo>
                <a:lnTo>
                  <a:pt x="4536" y="11835"/>
                </a:lnTo>
                <a:lnTo>
                  <a:pt x="4541" y="11831"/>
                </a:lnTo>
                <a:lnTo>
                  <a:pt x="4546" y="11827"/>
                </a:lnTo>
                <a:close/>
                <a:moveTo>
                  <a:pt x="4555" y="11619"/>
                </a:moveTo>
                <a:lnTo>
                  <a:pt x="4541" y="11608"/>
                </a:lnTo>
                <a:lnTo>
                  <a:pt x="4541" y="11575"/>
                </a:lnTo>
                <a:lnTo>
                  <a:pt x="4572" y="11580"/>
                </a:lnTo>
                <a:lnTo>
                  <a:pt x="4555" y="11619"/>
                </a:lnTo>
                <a:close/>
                <a:moveTo>
                  <a:pt x="4486" y="11166"/>
                </a:moveTo>
                <a:lnTo>
                  <a:pt x="4472" y="11160"/>
                </a:lnTo>
                <a:lnTo>
                  <a:pt x="4456" y="11152"/>
                </a:lnTo>
                <a:lnTo>
                  <a:pt x="4494" y="11141"/>
                </a:lnTo>
                <a:lnTo>
                  <a:pt x="4486" y="11166"/>
                </a:lnTo>
                <a:close/>
                <a:moveTo>
                  <a:pt x="4489" y="11472"/>
                </a:moveTo>
                <a:lnTo>
                  <a:pt x="4474" y="11432"/>
                </a:lnTo>
                <a:lnTo>
                  <a:pt x="4474" y="11407"/>
                </a:lnTo>
                <a:lnTo>
                  <a:pt x="4504" y="11456"/>
                </a:lnTo>
                <a:lnTo>
                  <a:pt x="4489" y="11472"/>
                </a:lnTo>
                <a:close/>
                <a:moveTo>
                  <a:pt x="4458" y="11304"/>
                </a:moveTo>
                <a:lnTo>
                  <a:pt x="4444" y="11302"/>
                </a:lnTo>
                <a:lnTo>
                  <a:pt x="4430" y="11302"/>
                </a:lnTo>
                <a:lnTo>
                  <a:pt x="4443" y="11292"/>
                </a:lnTo>
                <a:lnTo>
                  <a:pt x="4458" y="11304"/>
                </a:lnTo>
                <a:close/>
                <a:moveTo>
                  <a:pt x="4492" y="11541"/>
                </a:moveTo>
                <a:lnTo>
                  <a:pt x="4471" y="11567"/>
                </a:lnTo>
                <a:lnTo>
                  <a:pt x="4458" y="11599"/>
                </a:lnTo>
                <a:lnTo>
                  <a:pt x="4452" y="11566"/>
                </a:lnTo>
                <a:lnTo>
                  <a:pt x="4492" y="11541"/>
                </a:lnTo>
                <a:close/>
                <a:moveTo>
                  <a:pt x="4420" y="11440"/>
                </a:moveTo>
                <a:lnTo>
                  <a:pt x="4419" y="11425"/>
                </a:lnTo>
                <a:lnTo>
                  <a:pt x="4438" y="11422"/>
                </a:lnTo>
                <a:lnTo>
                  <a:pt x="4429" y="11431"/>
                </a:lnTo>
                <a:lnTo>
                  <a:pt x="4420" y="11440"/>
                </a:lnTo>
                <a:close/>
                <a:moveTo>
                  <a:pt x="4572" y="12183"/>
                </a:moveTo>
                <a:lnTo>
                  <a:pt x="4621" y="12106"/>
                </a:lnTo>
                <a:lnTo>
                  <a:pt x="4595" y="12130"/>
                </a:lnTo>
                <a:lnTo>
                  <a:pt x="4599" y="12191"/>
                </a:lnTo>
                <a:lnTo>
                  <a:pt x="4574" y="12195"/>
                </a:lnTo>
                <a:lnTo>
                  <a:pt x="4549" y="12237"/>
                </a:lnTo>
                <a:lnTo>
                  <a:pt x="4572" y="12183"/>
                </a:lnTo>
                <a:close/>
                <a:moveTo>
                  <a:pt x="4644" y="12070"/>
                </a:moveTo>
                <a:lnTo>
                  <a:pt x="4655" y="12073"/>
                </a:lnTo>
                <a:lnTo>
                  <a:pt x="4658" y="12087"/>
                </a:lnTo>
                <a:lnTo>
                  <a:pt x="4651" y="12078"/>
                </a:lnTo>
                <a:lnTo>
                  <a:pt x="4644" y="12070"/>
                </a:lnTo>
                <a:close/>
                <a:moveTo>
                  <a:pt x="4689" y="12323"/>
                </a:moveTo>
                <a:lnTo>
                  <a:pt x="4679" y="12313"/>
                </a:lnTo>
                <a:lnTo>
                  <a:pt x="4679" y="12297"/>
                </a:lnTo>
                <a:lnTo>
                  <a:pt x="4693" y="12314"/>
                </a:lnTo>
                <a:lnTo>
                  <a:pt x="4689" y="12323"/>
                </a:lnTo>
                <a:close/>
                <a:moveTo>
                  <a:pt x="4702" y="12344"/>
                </a:moveTo>
                <a:lnTo>
                  <a:pt x="4675" y="12350"/>
                </a:lnTo>
                <a:lnTo>
                  <a:pt x="4653" y="12345"/>
                </a:lnTo>
                <a:lnTo>
                  <a:pt x="4678" y="12332"/>
                </a:lnTo>
                <a:lnTo>
                  <a:pt x="4702" y="12344"/>
                </a:lnTo>
                <a:close/>
                <a:moveTo>
                  <a:pt x="4656" y="12144"/>
                </a:moveTo>
                <a:lnTo>
                  <a:pt x="4648" y="12131"/>
                </a:lnTo>
                <a:lnTo>
                  <a:pt x="4662" y="12135"/>
                </a:lnTo>
                <a:lnTo>
                  <a:pt x="4672" y="12135"/>
                </a:lnTo>
                <a:lnTo>
                  <a:pt x="4656" y="12144"/>
                </a:lnTo>
                <a:close/>
                <a:moveTo>
                  <a:pt x="4672" y="12556"/>
                </a:moveTo>
                <a:lnTo>
                  <a:pt x="4632" y="12526"/>
                </a:lnTo>
                <a:lnTo>
                  <a:pt x="4615" y="12491"/>
                </a:lnTo>
                <a:lnTo>
                  <a:pt x="4662" y="12514"/>
                </a:lnTo>
                <a:lnTo>
                  <a:pt x="4672" y="12556"/>
                </a:lnTo>
                <a:close/>
                <a:moveTo>
                  <a:pt x="4684" y="12645"/>
                </a:moveTo>
                <a:lnTo>
                  <a:pt x="4666" y="12640"/>
                </a:lnTo>
                <a:lnTo>
                  <a:pt x="4684" y="12624"/>
                </a:lnTo>
                <a:lnTo>
                  <a:pt x="4683" y="12638"/>
                </a:lnTo>
                <a:lnTo>
                  <a:pt x="4684" y="12645"/>
                </a:lnTo>
                <a:close/>
                <a:moveTo>
                  <a:pt x="4571" y="12662"/>
                </a:moveTo>
                <a:lnTo>
                  <a:pt x="4569" y="12644"/>
                </a:lnTo>
                <a:lnTo>
                  <a:pt x="4540" y="12620"/>
                </a:lnTo>
                <a:lnTo>
                  <a:pt x="4595" y="12617"/>
                </a:lnTo>
                <a:lnTo>
                  <a:pt x="4571" y="12662"/>
                </a:lnTo>
                <a:close/>
                <a:moveTo>
                  <a:pt x="4478" y="12276"/>
                </a:moveTo>
                <a:lnTo>
                  <a:pt x="4493" y="12276"/>
                </a:lnTo>
                <a:lnTo>
                  <a:pt x="4508" y="12285"/>
                </a:lnTo>
                <a:lnTo>
                  <a:pt x="4472" y="12290"/>
                </a:lnTo>
                <a:lnTo>
                  <a:pt x="4478" y="12276"/>
                </a:lnTo>
                <a:close/>
                <a:moveTo>
                  <a:pt x="4436" y="12027"/>
                </a:moveTo>
                <a:lnTo>
                  <a:pt x="4452" y="12023"/>
                </a:lnTo>
                <a:lnTo>
                  <a:pt x="4447" y="12033"/>
                </a:lnTo>
                <a:lnTo>
                  <a:pt x="4443" y="12027"/>
                </a:lnTo>
                <a:lnTo>
                  <a:pt x="4436" y="12027"/>
                </a:lnTo>
                <a:close/>
                <a:moveTo>
                  <a:pt x="4522" y="12326"/>
                </a:moveTo>
                <a:lnTo>
                  <a:pt x="4520" y="12332"/>
                </a:lnTo>
                <a:lnTo>
                  <a:pt x="4504" y="12336"/>
                </a:lnTo>
                <a:lnTo>
                  <a:pt x="4508" y="12318"/>
                </a:lnTo>
                <a:lnTo>
                  <a:pt x="4522" y="12326"/>
                </a:lnTo>
                <a:close/>
                <a:moveTo>
                  <a:pt x="4565" y="12437"/>
                </a:moveTo>
                <a:lnTo>
                  <a:pt x="4548" y="12430"/>
                </a:lnTo>
                <a:lnTo>
                  <a:pt x="4536" y="12419"/>
                </a:lnTo>
                <a:lnTo>
                  <a:pt x="4554" y="12424"/>
                </a:lnTo>
                <a:lnTo>
                  <a:pt x="4565" y="12437"/>
                </a:lnTo>
                <a:close/>
                <a:moveTo>
                  <a:pt x="4540" y="12367"/>
                </a:moveTo>
                <a:lnTo>
                  <a:pt x="4557" y="12341"/>
                </a:lnTo>
                <a:lnTo>
                  <a:pt x="4572" y="12358"/>
                </a:lnTo>
                <a:lnTo>
                  <a:pt x="4553" y="12358"/>
                </a:lnTo>
                <a:lnTo>
                  <a:pt x="4540" y="12367"/>
                </a:lnTo>
                <a:close/>
                <a:moveTo>
                  <a:pt x="4596" y="12598"/>
                </a:moveTo>
                <a:lnTo>
                  <a:pt x="4582" y="12588"/>
                </a:lnTo>
                <a:lnTo>
                  <a:pt x="4567" y="12577"/>
                </a:lnTo>
                <a:lnTo>
                  <a:pt x="4588" y="12580"/>
                </a:lnTo>
                <a:lnTo>
                  <a:pt x="4596" y="12598"/>
                </a:lnTo>
                <a:close/>
                <a:moveTo>
                  <a:pt x="4539" y="12471"/>
                </a:moveTo>
                <a:lnTo>
                  <a:pt x="4548" y="12480"/>
                </a:lnTo>
                <a:lnTo>
                  <a:pt x="4543" y="12491"/>
                </a:lnTo>
                <a:lnTo>
                  <a:pt x="4534" y="12481"/>
                </a:lnTo>
                <a:lnTo>
                  <a:pt x="4539" y="12471"/>
                </a:lnTo>
                <a:close/>
                <a:moveTo>
                  <a:pt x="4597" y="12598"/>
                </a:moveTo>
                <a:lnTo>
                  <a:pt x="4610" y="12594"/>
                </a:lnTo>
                <a:lnTo>
                  <a:pt x="4618" y="12601"/>
                </a:lnTo>
                <a:lnTo>
                  <a:pt x="4606" y="12603"/>
                </a:lnTo>
                <a:lnTo>
                  <a:pt x="4597" y="12598"/>
                </a:lnTo>
                <a:close/>
                <a:moveTo>
                  <a:pt x="4607" y="12572"/>
                </a:moveTo>
                <a:lnTo>
                  <a:pt x="4610" y="12564"/>
                </a:lnTo>
                <a:lnTo>
                  <a:pt x="4629" y="12566"/>
                </a:lnTo>
                <a:lnTo>
                  <a:pt x="4619" y="12573"/>
                </a:lnTo>
                <a:lnTo>
                  <a:pt x="4607" y="12572"/>
                </a:lnTo>
                <a:close/>
                <a:moveTo>
                  <a:pt x="4651" y="12652"/>
                </a:moveTo>
                <a:lnTo>
                  <a:pt x="4638" y="12649"/>
                </a:lnTo>
                <a:lnTo>
                  <a:pt x="4633" y="12638"/>
                </a:lnTo>
                <a:lnTo>
                  <a:pt x="4642" y="12645"/>
                </a:lnTo>
                <a:lnTo>
                  <a:pt x="4651" y="12652"/>
                </a:lnTo>
                <a:close/>
                <a:moveTo>
                  <a:pt x="4428" y="11947"/>
                </a:moveTo>
                <a:lnTo>
                  <a:pt x="4380" y="11919"/>
                </a:lnTo>
                <a:lnTo>
                  <a:pt x="4405" y="11941"/>
                </a:lnTo>
                <a:lnTo>
                  <a:pt x="4466" y="11933"/>
                </a:lnTo>
                <a:lnTo>
                  <a:pt x="4428" y="11947"/>
                </a:lnTo>
                <a:close/>
                <a:moveTo>
                  <a:pt x="4471" y="12383"/>
                </a:moveTo>
                <a:lnTo>
                  <a:pt x="4457" y="12395"/>
                </a:lnTo>
                <a:lnTo>
                  <a:pt x="4434" y="12402"/>
                </a:lnTo>
                <a:lnTo>
                  <a:pt x="4444" y="12377"/>
                </a:lnTo>
                <a:lnTo>
                  <a:pt x="4471" y="12383"/>
                </a:lnTo>
                <a:close/>
                <a:moveTo>
                  <a:pt x="4392" y="11950"/>
                </a:moveTo>
                <a:lnTo>
                  <a:pt x="4397" y="11955"/>
                </a:lnTo>
                <a:lnTo>
                  <a:pt x="4396" y="11961"/>
                </a:lnTo>
                <a:lnTo>
                  <a:pt x="4394" y="11958"/>
                </a:lnTo>
                <a:lnTo>
                  <a:pt x="4392" y="11950"/>
                </a:lnTo>
                <a:close/>
                <a:moveTo>
                  <a:pt x="4382" y="11688"/>
                </a:moveTo>
                <a:lnTo>
                  <a:pt x="4390" y="11742"/>
                </a:lnTo>
                <a:lnTo>
                  <a:pt x="4354" y="11691"/>
                </a:lnTo>
                <a:lnTo>
                  <a:pt x="4381" y="11640"/>
                </a:lnTo>
                <a:lnTo>
                  <a:pt x="4382" y="11688"/>
                </a:lnTo>
                <a:close/>
                <a:moveTo>
                  <a:pt x="4331" y="11625"/>
                </a:moveTo>
                <a:lnTo>
                  <a:pt x="4327" y="11600"/>
                </a:lnTo>
                <a:lnTo>
                  <a:pt x="4353" y="11599"/>
                </a:lnTo>
                <a:lnTo>
                  <a:pt x="4362" y="11622"/>
                </a:lnTo>
                <a:lnTo>
                  <a:pt x="4331" y="11625"/>
                </a:lnTo>
                <a:close/>
                <a:moveTo>
                  <a:pt x="4376" y="11819"/>
                </a:moveTo>
                <a:lnTo>
                  <a:pt x="4376" y="11832"/>
                </a:lnTo>
                <a:lnTo>
                  <a:pt x="4371" y="11849"/>
                </a:lnTo>
                <a:lnTo>
                  <a:pt x="4349" y="11836"/>
                </a:lnTo>
                <a:lnTo>
                  <a:pt x="4376" y="11819"/>
                </a:lnTo>
                <a:close/>
                <a:moveTo>
                  <a:pt x="4362" y="12103"/>
                </a:moveTo>
                <a:lnTo>
                  <a:pt x="4366" y="12110"/>
                </a:lnTo>
                <a:lnTo>
                  <a:pt x="4357" y="12117"/>
                </a:lnTo>
                <a:lnTo>
                  <a:pt x="4357" y="12106"/>
                </a:lnTo>
                <a:lnTo>
                  <a:pt x="4362" y="12103"/>
                </a:lnTo>
                <a:close/>
                <a:moveTo>
                  <a:pt x="4432" y="12566"/>
                </a:moveTo>
                <a:lnTo>
                  <a:pt x="4439" y="12578"/>
                </a:lnTo>
                <a:lnTo>
                  <a:pt x="4423" y="12592"/>
                </a:lnTo>
                <a:lnTo>
                  <a:pt x="4425" y="12580"/>
                </a:lnTo>
                <a:lnTo>
                  <a:pt x="4432" y="12566"/>
                </a:lnTo>
                <a:close/>
                <a:moveTo>
                  <a:pt x="4460" y="12642"/>
                </a:moveTo>
                <a:lnTo>
                  <a:pt x="4450" y="12635"/>
                </a:lnTo>
                <a:lnTo>
                  <a:pt x="4446" y="12624"/>
                </a:lnTo>
                <a:lnTo>
                  <a:pt x="4461" y="12631"/>
                </a:lnTo>
                <a:lnTo>
                  <a:pt x="4460" y="12642"/>
                </a:lnTo>
                <a:close/>
                <a:moveTo>
                  <a:pt x="4465" y="12717"/>
                </a:moveTo>
                <a:lnTo>
                  <a:pt x="4475" y="12722"/>
                </a:lnTo>
                <a:lnTo>
                  <a:pt x="4479" y="12714"/>
                </a:lnTo>
                <a:lnTo>
                  <a:pt x="4494" y="12729"/>
                </a:lnTo>
                <a:lnTo>
                  <a:pt x="4465" y="12717"/>
                </a:lnTo>
                <a:close/>
                <a:moveTo>
                  <a:pt x="4490" y="12685"/>
                </a:moveTo>
                <a:lnTo>
                  <a:pt x="4475" y="12703"/>
                </a:lnTo>
                <a:lnTo>
                  <a:pt x="4483" y="12678"/>
                </a:lnTo>
                <a:lnTo>
                  <a:pt x="4502" y="12681"/>
                </a:lnTo>
                <a:lnTo>
                  <a:pt x="4490" y="12685"/>
                </a:lnTo>
                <a:close/>
                <a:moveTo>
                  <a:pt x="4462" y="12596"/>
                </a:moveTo>
                <a:lnTo>
                  <a:pt x="4460" y="12582"/>
                </a:lnTo>
                <a:lnTo>
                  <a:pt x="4465" y="12574"/>
                </a:lnTo>
                <a:lnTo>
                  <a:pt x="4474" y="12586"/>
                </a:lnTo>
                <a:lnTo>
                  <a:pt x="4462" y="12596"/>
                </a:lnTo>
                <a:close/>
                <a:moveTo>
                  <a:pt x="4483" y="12649"/>
                </a:moveTo>
                <a:lnTo>
                  <a:pt x="4479" y="12659"/>
                </a:lnTo>
                <a:lnTo>
                  <a:pt x="4475" y="12657"/>
                </a:lnTo>
                <a:lnTo>
                  <a:pt x="4476" y="12650"/>
                </a:lnTo>
                <a:lnTo>
                  <a:pt x="4483" y="12649"/>
                </a:lnTo>
                <a:close/>
                <a:moveTo>
                  <a:pt x="4458" y="12566"/>
                </a:moveTo>
                <a:lnTo>
                  <a:pt x="4465" y="12563"/>
                </a:lnTo>
                <a:lnTo>
                  <a:pt x="4471" y="12563"/>
                </a:lnTo>
                <a:lnTo>
                  <a:pt x="4465" y="12568"/>
                </a:lnTo>
                <a:lnTo>
                  <a:pt x="4458" y="12566"/>
                </a:lnTo>
                <a:close/>
                <a:moveTo>
                  <a:pt x="4458" y="12526"/>
                </a:moveTo>
                <a:lnTo>
                  <a:pt x="4470" y="12521"/>
                </a:lnTo>
                <a:lnTo>
                  <a:pt x="4472" y="12526"/>
                </a:lnTo>
                <a:lnTo>
                  <a:pt x="4465" y="12526"/>
                </a:lnTo>
                <a:lnTo>
                  <a:pt x="4458" y="12526"/>
                </a:lnTo>
                <a:close/>
                <a:moveTo>
                  <a:pt x="4453" y="12489"/>
                </a:moveTo>
                <a:lnTo>
                  <a:pt x="4447" y="12488"/>
                </a:lnTo>
                <a:lnTo>
                  <a:pt x="4443" y="12482"/>
                </a:lnTo>
                <a:lnTo>
                  <a:pt x="4455" y="12484"/>
                </a:lnTo>
                <a:lnTo>
                  <a:pt x="4453" y="12489"/>
                </a:lnTo>
                <a:close/>
                <a:moveTo>
                  <a:pt x="4469" y="12495"/>
                </a:moveTo>
                <a:lnTo>
                  <a:pt x="4460" y="12448"/>
                </a:lnTo>
                <a:lnTo>
                  <a:pt x="4423" y="12412"/>
                </a:lnTo>
                <a:lnTo>
                  <a:pt x="4464" y="12435"/>
                </a:lnTo>
                <a:lnTo>
                  <a:pt x="4529" y="12449"/>
                </a:lnTo>
                <a:lnTo>
                  <a:pt x="4506" y="12488"/>
                </a:lnTo>
                <a:lnTo>
                  <a:pt x="4469" y="12495"/>
                </a:lnTo>
                <a:close/>
                <a:moveTo>
                  <a:pt x="4522" y="12629"/>
                </a:moveTo>
                <a:lnTo>
                  <a:pt x="4521" y="12634"/>
                </a:lnTo>
                <a:lnTo>
                  <a:pt x="4516" y="12638"/>
                </a:lnTo>
                <a:lnTo>
                  <a:pt x="4513" y="12630"/>
                </a:lnTo>
                <a:lnTo>
                  <a:pt x="4522" y="12629"/>
                </a:lnTo>
                <a:close/>
                <a:moveTo>
                  <a:pt x="4497" y="12532"/>
                </a:moveTo>
                <a:lnTo>
                  <a:pt x="4500" y="12542"/>
                </a:lnTo>
                <a:lnTo>
                  <a:pt x="4506" y="12554"/>
                </a:lnTo>
                <a:lnTo>
                  <a:pt x="4485" y="12544"/>
                </a:lnTo>
                <a:lnTo>
                  <a:pt x="4497" y="12532"/>
                </a:lnTo>
                <a:close/>
                <a:moveTo>
                  <a:pt x="4532" y="12782"/>
                </a:moveTo>
                <a:lnTo>
                  <a:pt x="4522" y="12783"/>
                </a:lnTo>
                <a:lnTo>
                  <a:pt x="4527" y="12766"/>
                </a:lnTo>
                <a:lnTo>
                  <a:pt x="4530" y="12774"/>
                </a:lnTo>
                <a:lnTo>
                  <a:pt x="4532" y="12782"/>
                </a:lnTo>
                <a:close/>
                <a:moveTo>
                  <a:pt x="4616" y="12710"/>
                </a:moveTo>
                <a:lnTo>
                  <a:pt x="4597" y="12714"/>
                </a:lnTo>
                <a:lnTo>
                  <a:pt x="4585" y="12703"/>
                </a:lnTo>
                <a:lnTo>
                  <a:pt x="4602" y="12703"/>
                </a:lnTo>
                <a:lnTo>
                  <a:pt x="4616" y="12710"/>
                </a:lnTo>
                <a:close/>
                <a:moveTo>
                  <a:pt x="4610" y="12678"/>
                </a:moveTo>
                <a:lnTo>
                  <a:pt x="4624" y="12664"/>
                </a:lnTo>
                <a:lnTo>
                  <a:pt x="4643" y="12671"/>
                </a:lnTo>
                <a:lnTo>
                  <a:pt x="4632" y="12682"/>
                </a:lnTo>
                <a:lnTo>
                  <a:pt x="4610" y="12678"/>
                </a:lnTo>
                <a:close/>
                <a:moveTo>
                  <a:pt x="4619" y="12695"/>
                </a:moveTo>
                <a:lnTo>
                  <a:pt x="4652" y="12694"/>
                </a:lnTo>
                <a:lnTo>
                  <a:pt x="4674" y="12680"/>
                </a:lnTo>
                <a:lnTo>
                  <a:pt x="4669" y="12703"/>
                </a:lnTo>
                <a:lnTo>
                  <a:pt x="4619" y="12695"/>
                </a:lnTo>
                <a:close/>
                <a:moveTo>
                  <a:pt x="4676" y="12656"/>
                </a:moveTo>
                <a:lnTo>
                  <a:pt x="4683" y="12650"/>
                </a:lnTo>
                <a:lnTo>
                  <a:pt x="4685" y="12653"/>
                </a:lnTo>
                <a:lnTo>
                  <a:pt x="4694" y="12650"/>
                </a:lnTo>
                <a:lnTo>
                  <a:pt x="4676" y="12656"/>
                </a:lnTo>
                <a:close/>
                <a:moveTo>
                  <a:pt x="4628" y="11982"/>
                </a:moveTo>
                <a:lnTo>
                  <a:pt x="4621" y="11959"/>
                </a:lnTo>
                <a:lnTo>
                  <a:pt x="4655" y="11973"/>
                </a:lnTo>
                <a:lnTo>
                  <a:pt x="4641" y="11978"/>
                </a:lnTo>
                <a:lnTo>
                  <a:pt x="4628" y="11982"/>
                </a:lnTo>
                <a:close/>
                <a:moveTo>
                  <a:pt x="4155" y="9173"/>
                </a:moveTo>
                <a:lnTo>
                  <a:pt x="4102" y="9184"/>
                </a:lnTo>
                <a:lnTo>
                  <a:pt x="4135" y="9155"/>
                </a:lnTo>
                <a:lnTo>
                  <a:pt x="4152" y="9158"/>
                </a:lnTo>
                <a:lnTo>
                  <a:pt x="4155" y="9173"/>
                </a:lnTo>
                <a:close/>
                <a:moveTo>
                  <a:pt x="3921" y="7911"/>
                </a:moveTo>
                <a:lnTo>
                  <a:pt x="3915" y="7903"/>
                </a:lnTo>
                <a:lnTo>
                  <a:pt x="3907" y="7894"/>
                </a:lnTo>
                <a:lnTo>
                  <a:pt x="3925" y="7894"/>
                </a:lnTo>
                <a:lnTo>
                  <a:pt x="3921" y="7911"/>
                </a:lnTo>
                <a:close/>
                <a:moveTo>
                  <a:pt x="3795" y="7330"/>
                </a:moveTo>
                <a:lnTo>
                  <a:pt x="3770" y="7330"/>
                </a:lnTo>
                <a:lnTo>
                  <a:pt x="3772" y="7300"/>
                </a:lnTo>
                <a:lnTo>
                  <a:pt x="3785" y="7318"/>
                </a:lnTo>
                <a:lnTo>
                  <a:pt x="3795" y="7330"/>
                </a:lnTo>
                <a:close/>
                <a:moveTo>
                  <a:pt x="3798" y="7397"/>
                </a:moveTo>
                <a:lnTo>
                  <a:pt x="3794" y="7368"/>
                </a:lnTo>
                <a:lnTo>
                  <a:pt x="3820" y="7398"/>
                </a:lnTo>
                <a:lnTo>
                  <a:pt x="3794" y="7430"/>
                </a:lnTo>
                <a:lnTo>
                  <a:pt x="3798" y="7397"/>
                </a:lnTo>
                <a:close/>
                <a:moveTo>
                  <a:pt x="4394" y="11014"/>
                </a:moveTo>
                <a:lnTo>
                  <a:pt x="4404" y="11047"/>
                </a:lnTo>
                <a:lnTo>
                  <a:pt x="4373" y="11062"/>
                </a:lnTo>
                <a:lnTo>
                  <a:pt x="4367" y="11029"/>
                </a:lnTo>
                <a:lnTo>
                  <a:pt x="4394" y="11014"/>
                </a:lnTo>
                <a:close/>
                <a:moveTo>
                  <a:pt x="4425" y="11062"/>
                </a:moveTo>
                <a:lnTo>
                  <a:pt x="4425" y="11082"/>
                </a:lnTo>
                <a:lnTo>
                  <a:pt x="4401" y="11073"/>
                </a:lnTo>
                <a:lnTo>
                  <a:pt x="4411" y="11061"/>
                </a:lnTo>
                <a:lnTo>
                  <a:pt x="4425" y="11062"/>
                </a:lnTo>
                <a:close/>
                <a:moveTo>
                  <a:pt x="4461" y="11225"/>
                </a:moveTo>
                <a:lnTo>
                  <a:pt x="4428" y="11253"/>
                </a:lnTo>
                <a:lnTo>
                  <a:pt x="4345" y="11245"/>
                </a:lnTo>
                <a:lnTo>
                  <a:pt x="4404" y="11232"/>
                </a:lnTo>
                <a:lnTo>
                  <a:pt x="4461" y="11225"/>
                </a:lnTo>
                <a:close/>
                <a:moveTo>
                  <a:pt x="4360" y="11319"/>
                </a:moveTo>
                <a:lnTo>
                  <a:pt x="4374" y="11322"/>
                </a:lnTo>
                <a:lnTo>
                  <a:pt x="4366" y="11356"/>
                </a:lnTo>
                <a:lnTo>
                  <a:pt x="4346" y="11339"/>
                </a:lnTo>
                <a:lnTo>
                  <a:pt x="4360" y="11319"/>
                </a:lnTo>
                <a:close/>
                <a:moveTo>
                  <a:pt x="4313" y="11650"/>
                </a:moveTo>
                <a:lnTo>
                  <a:pt x="4318" y="11701"/>
                </a:lnTo>
                <a:lnTo>
                  <a:pt x="4313" y="11768"/>
                </a:lnTo>
                <a:lnTo>
                  <a:pt x="4281" y="11702"/>
                </a:lnTo>
                <a:lnTo>
                  <a:pt x="4313" y="11650"/>
                </a:lnTo>
                <a:close/>
                <a:moveTo>
                  <a:pt x="4155" y="11249"/>
                </a:moveTo>
                <a:lnTo>
                  <a:pt x="4160" y="11197"/>
                </a:lnTo>
                <a:lnTo>
                  <a:pt x="4196" y="11224"/>
                </a:lnTo>
                <a:lnTo>
                  <a:pt x="4169" y="11226"/>
                </a:lnTo>
                <a:lnTo>
                  <a:pt x="4155" y="11249"/>
                </a:lnTo>
                <a:close/>
                <a:moveTo>
                  <a:pt x="4223" y="12721"/>
                </a:moveTo>
                <a:lnTo>
                  <a:pt x="4256" y="12726"/>
                </a:lnTo>
                <a:lnTo>
                  <a:pt x="4274" y="12707"/>
                </a:lnTo>
                <a:lnTo>
                  <a:pt x="4264" y="12755"/>
                </a:lnTo>
                <a:lnTo>
                  <a:pt x="4223" y="12721"/>
                </a:lnTo>
                <a:close/>
                <a:moveTo>
                  <a:pt x="4270" y="12692"/>
                </a:moveTo>
                <a:lnTo>
                  <a:pt x="4229" y="12698"/>
                </a:lnTo>
                <a:lnTo>
                  <a:pt x="4171" y="12710"/>
                </a:lnTo>
                <a:lnTo>
                  <a:pt x="4222" y="12691"/>
                </a:lnTo>
                <a:lnTo>
                  <a:pt x="4228" y="12670"/>
                </a:lnTo>
                <a:lnTo>
                  <a:pt x="4329" y="12686"/>
                </a:lnTo>
                <a:lnTo>
                  <a:pt x="4270" y="12692"/>
                </a:lnTo>
                <a:close/>
                <a:moveTo>
                  <a:pt x="4199" y="12710"/>
                </a:moveTo>
                <a:lnTo>
                  <a:pt x="4201" y="12722"/>
                </a:lnTo>
                <a:lnTo>
                  <a:pt x="4202" y="12731"/>
                </a:lnTo>
                <a:lnTo>
                  <a:pt x="4195" y="12723"/>
                </a:lnTo>
                <a:lnTo>
                  <a:pt x="4199" y="12710"/>
                </a:lnTo>
                <a:close/>
                <a:moveTo>
                  <a:pt x="4204" y="12745"/>
                </a:moveTo>
                <a:lnTo>
                  <a:pt x="4199" y="12756"/>
                </a:lnTo>
                <a:lnTo>
                  <a:pt x="4185" y="12761"/>
                </a:lnTo>
                <a:lnTo>
                  <a:pt x="4187" y="12742"/>
                </a:lnTo>
                <a:lnTo>
                  <a:pt x="4204" y="12745"/>
                </a:lnTo>
                <a:close/>
                <a:moveTo>
                  <a:pt x="4048" y="12749"/>
                </a:moveTo>
                <a:lnTo>
                  <a:pt x="4075" y="12736"/>
                </a:lnTo>
                <a:lnTo>
                  <a:pt x="4039" y="12737"/>
                </a:lnTo>
                <a:lnTo>
                  <a:pt x="4080" y="12722"/>
                </a:lnTo>
                <a:lnTo>
                  <a:pt x="4048" y="12749"/>
                </a:lnTo>
                <a:close/>
                <a:moveTo>
                  <a:pt x="3991" y="12708"/>
                </a:moveTo>
                <a:lnTo>
                  <a:pt x="3981" y="12696"/>
                </a:lnTo>
                <a:lnTo>
                  <a:pt x="3985" y="12678"/>
                </a:lnTo>
                <a:lnTo>
                  <a:pt x="4017" y="12682"/>
                </a:lnTo>
                <a:lnTo>
                  <a:pt x="3991" y="12708"/>
                </a:lnTo>
                <a:close/>
                <a:moveTo>
                  <a:pt x="4022" y="12719"/>
                </a:moveTo>
                <a:lnTo>
                  <a:pt x="4010" y="12722"/>
                </a:lnTo>
                <a:lnTo>
                  <a:pt x="4009" y="12713"/>
                </a:lnTo>
                <a:lnTo>
                  <a:pt x="4015" y="12715"/>
                </a:lnTo>
                <a:lnTo>
                  <a:pt x="4022" y="12719"/>
                </a:lnTo>
                <a:close/>
                <a:moveTo>
                  <a:pt x="4006" y="12747"/>
                </a:moveTo>
                <a:lnTo>
                  <a:pt x="3981" y="12742"/>
                </a:lnTo>
                <a:lnTo>
                  <a:pt x="3982" y="12726"/>
                </a:lnTo>
                <a:lnTo>
                  <a:pt x="3994" y="12736"/>
                </a:lnTo>
                <a:lnTo>
                  <a:pt x="4006" y="12747"/>
                </a:lnTo>
                <a:close/>
                <a:moveTo>
                  <a:pt x="4001" y="12639"/>
                </a:moveTo>
                <a:lnTo>
                  <a:pt x="3990" y="12644"/>
                </a:lnTo>
                <a:lnTo>
                  <a:pt x="4000" y="12594"/>
                </a:lnTo>
                <a:lnTo>
                  <a:pt x="4017" y="12611"/>
                </a:lnTo>
                <a:lnTo>
                  <a:pt x="4001" y="12639"/>
                </a:lnTo>
                <a:close/>
                <a:moveTo>
                  <a:pt x="3948" y="12519"/>
                </a:moveTo>
                <a:lnTo>
                  <a:pt x="3961" y="12510"/>
                </a:lnTo>
                <a:lnTo>
                  <a:pt x="3963" y="12535"/>
                </a:lnTo>
                <a:lnTo>
                  <a:pt x="3962" y="12522"/>
                </a:lnTo>
                <a:lnTo>
                  <a:pt x="3948" y="12519"/>
                </a:lnTo>
                <a:close/>
                <a:moveTo>
                  <a:pt x="3641" y="11404"/>
                </a:moveTo>
                <a:lnTo>
                  <a:pt x="3702" y="11360"/>
                </a:lnTo>
                <a:lnTo>
                  <a:pt x="3734" y="11398"/>
                </a:lnTo>
                <a:lnTo>
                  <a:pt x="3688" y="11386"/>
                </a:lnTo>
                <a:lnTo>
                  <a:pt x="3641" y="11404"/>
                </a:lnTo>
                <a:close/>
                <a:moveTo>
                  <a:pt x="3677" y="11549"/>
                </a:moveTo>
                <a:lnTo>
                  <a:pt x="3671" y="11543"/>
                </a:lnTo>
                <a:lnTo>
                  <a:pt x="3670" y="11534"/>
                </a:lnTo>
                <a:lnTo>
                  <a:pt x="3674" y="11542"/>
                </a:lnTo>
                <a:lnTo>
                  <a:pt x="3677" y="11549"/>
                </a:lnTo>
                <a:close/>
                <a:moveTo>
                  <a:pt x="3573" y="11546"/>
                </a:moveTo>
                <a:lnTo>
                  <a:pt x="3567" y="11546"/>
                </a:lnTo>
                <a:lnTo>
                  <a:pt x="3561" y="11543"/>
                </a:lnTo>
                <a:lnTo>
                  <a:pt x="3573" y="11535"/>
                </a:lnTo>
                <a:lnTo>
                  <a:pt x="3573" y="11546"/>
                </a:lnTo>
                <a:close/>
                <a:moveTo>
                  <a:pt x="3582" y="11585"/>
                </a:moveTo>
                <a:lnTo>
                  <a:pt x="3561" y="11585"/>
                </a:lnTo>
                <a:lnTo>
                  <a:pt x="3562" y="11572"/>
                </a:lnTo>
                <a:lnTo>
                  <a:pt x="3571" y="11577"/>
                </a:lnTo>
                <a:lnTo>
                  <a:pt x="3582" y="11585"/>
                </a:lnTo>
                <a:close/>
                <a:moveTo>
                  <a:pt x="3568" y="11496"/>
                </a:moveTo>
                <a:lnTo>
                  <a:pt x="3539" y="11495"/>
                </a:lnTo>
                <a:lnTo>
                  <a:pt x="3608" y="11451"/>
                </a:lnTo>
                <a:lnTo>
                  <a:pt x="3598" y="11504"/>
                </a:lnTo>
                <a:lnTo>
                  <a:pt x="3568" y="11496"/>
                </a:lnTo>
                <a:close/>
                <a:moveTo>
                  <a:pt x="2961" y="8800"/>
                </a:moveTo>
                <a:lnTo>
                  <a:pt x="2979" y="8766"/>
                </a:lnTo>
                <a:lnTo>
                  <a:pt x="3023" y="8754"/>
                </a:lnTo>
                <a:lnTo>
                  <a:pt x="3008" y="8785"/>
                </a:lnTo>
                <a:lnTo>
                  <a:pt x="2961" y="8800"/>
                </a:lnTo>
                <a:close/>
                <a:moveTo>
                  <a:pt x="3394" y="11138"/>
                </a:moveTo>
                <a:lnTo>
                  <a:pt x="3386" y="11141"/>
                </a:lnTo>
                <a:lnTo>
                  <a:pt x="3394" y="11138"/>
                </a:lnTo>
                <a:lnTo>
                  <a:pt x="3387" y="11148"/>
                </a:lnTo>
                <a:lnTo>
                  <a:pt x="3394" y="11138"/>
                </a:lnTo>
                <a:close/>
                <a:moveTo>
                  <a:pt x="2998" y="8614"/>
                </a:moveTo>
                <a:lnTo>
                  <a:pt x="3031" y="8623"/>
                </a:lnTo>
                <a:lnTo>
                  <a:pt x="3079" y="8654"/>
                </a:lnTo>
                <a:lnTo>
                  <a:pt x="3011" y="8665"/>
                </a:lnTo>
                <a:lnTo>
                  <a:pt x="2998" y="8614"/>
                </a:lnTo>
                <a:close/>
                <a:moveTo>
                  <a:pt x="2752" y="8328"/>
                </a:moveTo>
                <a:lnTo>
                  <a:pt x="2814" y="8376"/>
                </a:lnTo>
                <a:lnTo>
                  <a:pt x="2747" y="8391"/>
                </a:lnTo>
                <a:lnTo>
                  <a:pt x="2767" y="8357"/>
                </a:lnTo>
                <a:lnTo>
                  <a:pt x="2752" y="8328"/>
                </a:lnTo>
                <a:close/>
                <a:moveTo>
                  <a:pt x="2831" y="8413"/>
                </a:moveTo>
                <a:lnTo>
                  <a:pt x="2819" y="8432"/>
                </a:lnTo>
                <a:lnTo>
                  <a:pt x="2795" y="8417"/>
                </a:lnTo>
                <a:lnTo>
                  <a:pt x="2812" y="8415"/>
                </a:lnTo>
                <a:lnTo>
                  <a:pt x="2831" y="8413"/>
                </a:lnTo>
                <a:close/>
                <a:moveTo>
                  <a:pt x="2781" y="8181"/>
                </a:moveTo>
                <a:lnTo>
                  <a:pt x="2772" y="8165"/>
                </a:lnTo>
                <a:lnTo>
                  <a:pt x="2765" y="8148"/>
                </a:lnTo>
                <a:lnTo>
                  <a:pt x="2803" y="8162"/>
                </a:lnTo>
                <a:lnTo>
                  <a:pt x="2781" y="8181"/>
                </a:lnTo>
                <a:close/>
                <a:moveTo>
                  <a:pt x="2769" y="8092"/>
                </a:moveTo>
                <a:lnTo>
                  <a:pt x="2779" y="8068"/>
                </a:lnTo>
                <a:lnTo>
                  <a:pt x="2798" y="8072"/>
                </a:lnTo>
                <a:lnTo>
                  <a:pt x="2784" y="8082"/>
                </a:lnTo>
                <a:lnTo>
                  <a:pt x="2769" y="8092"/>
                </a:lnTo>
                <a:close/>
                <a:moveTo>
                  <a:pt x="2851" y="8204"/>
                </a:moveTo>
                <a:lnTo>
                  <a:pt x="2827" y="8166"/>
                </a:lnTo>
                <a:lnTo>
                  <a:pt x="2811" y="8116"/>
                </a:lnTo>
                <a:lnTo>
                  <a:pt x="2884" y="8167"/>
                </a:lnTo>
                <a:lnTo>
                  <a:pt x="2851" y="8204"/>
                </a:lnTo>
                <a:close/>
                <a:moveTo>
                  <a:pt x="2930" y="8258"/>
                </a:moveTo>
                <a:lnTo>
                  <a:pt x="2934" y="8273"/>
                </a:lnTo>
                <a:lnTo>
                  <a:pt x="2909" y="8274"/>
                </a:lnTo>
                <a:lnTo>
                  <a:pt x="2920" y="8265"/>
                </a:lnTo>
                <a:lnTo>
                  <a:pt x="2930" y="8258"/>
                </a:lnTo>
                <a:close/>
                <a:moveTo>
                  <a:pt x="2811" y="7942"/>
                </a:moveTo>
                <a:lnTo>
                  <a:pt x="2825" y="7934"/>
                </a:lnTo>
                <a:lnTo>
                  <a:pt x="2833" y="7947"/>
                </a:lnTo>
                <a:lnTo>
                  <a:pt x="2822" y="7945"/>
                </a:lnTo>
                <a:lnTo>
                  <a:pt x="2811" y="7942"/>
                </a:lnTo>
                <a:close/>
                <a:moveTo>
                  <a:pt x="2862" y="8125"/>
                </a:moveTo>
                <a:lnTo>
                  <a:pt x="2858" y="8102"/>
                </a:lnTo>
                <a:lnTo>
                  <a:pt x="2892" y="8104"/>
                </a:lnTo>
                <a:lnTo>
                  <a:pt x="2876" y="8116"/>
                </a:lnTo>
                <a:lnTo>
                  <a:pt x="2862" y="8125"/>
                </a:lnTo>
                <a:close/>
                <a:moveTo>
                  <a:pt x="2845" y="7962"/>
                </a:moveTo>
                <a:lnTo>
                  <a:pt x="2847" y="7975"/>
                </a:lnTo>
                <a:lnTo>
                  <a:pt x="2851" y="7988"/>
                </a:lnTo>
                <a:lnTo>
                  <a:pt x="2839" y="7980"/>
                </a:lnTo>
                <a:lnTo>
                  <a:pt x="2845" y="7962"/>
                </a:lnTo>
                <a:close/>
                <a:moveTo>
                  <a:pt x="2779" y="7868"/>
                </a:moveTo>
                <a:lnTo>
                  <a:pt x="2788" y="7832"/>
                </a:lnTo>
                <a:lnTo>
                  <a:pt x="2825" y="7815"/>
                </a:lnTo>
                <a:lnTo>
                  <a:pt x="2816" y="7857"/>
                </a:lnTo>
                <a:lnTo>
                  <a:pt x="2779" y="7868"/>
                </a:lnTo>
                <a:close/>
                <a:moveTo>
                  <a:pt x="2803" y="7987"/>
                </a:moveTo>
                <a:lnTo>
                  <a:pt x="2779" y="7984"/>
                </a:lnTo>
                <a:lnTo>
                  <a:pt x="2783" y="7960"/>
                </a:lnTo>
                <a:lnTo>
                  <a:pt x="2793" y="7973"/>
                </a:lnTo>
                <a:lnTo>
                  <a:pt x="2803" y="7987"/>
                </a:lnTo>
                <a:close/>
                <a:moveTo>
                  <a:pt x="2890" y="8403"/>
                </a:moveTo>
                <a:lnTo>
                  <a:pt x="2896" y="8422"/>
                </a:lnTo>
                <a:lnTo>
                  <a:pt x="2882" y="8436"/>
                </a:lnTo>
                <a:lnTo>
                  <a:pt x="2860" y="8435"/>
                </a:lnTo>
                <a:lnTo>
                  <a:pt x="2890" y="8403"/>
                </a:lnTo>
                <a:close/>
                <a:moveTo>
                  <a:pt x="2886" y="8367"/>
                </a:moveTo>
                <a:lnTo>
                  <a:pt x="2887" y="8334"/>
                </a:lnTo>
                <a:lnTo>
                  <a:pt x="2912" y="8307"/>
                </a:lnTo>
                <a:lnTo>
                  <a:pt x="2918" y="8353"/>
                </a:lnTo>
                <a:lnTo>
                  <a:pt x="2886" y="8367"/>
                </a:lnTo>
                <a:close/>
                <a:moveTo>
                  <a:pt x="2946" y="8417"/>
                </a:moveTo>
                <a:lnTo>
                  <a:pt x="2979" y="8419"/>
                </a:lnTo>
                <a:lnTo>
                  <a:pt x="2963" y="8443"/>
                </a:lnTo>
                <a:lnTo>
                  <a:pt x="2937" y="8435"/>
                </a:lnTo>
                <a:lnTo>
                  <a:pt x="2946" y="8417"/>
                </a:lnTo>
                <a:close/>
                <a:moveTo>
                  <a:pt x="2988" y="8474"/>
                </a:moveTo>
                <a:lnTo>
                  <a:pt x="3036" y="8488"/>
                </a:lnTo>
                <a:lnTo>
                  <a:pt x="3075" y="8510"/>
                </a:lnTo>
                <a:lnTo>
                  <a:pt x="3017" y="8507"/>
                </a:lnTo>
                <a:lnTo>
                  <a:pt x="2988" y="8474"/>
                </a:lnTo>
                <a:close/>
                <a:moveTo>
                  <a:pt x="3145" y="7871"/>
                </a:moveTo>
                <a:lnTo>
                  <a:pt x="3148" y="7889"/>
                </a:lnTo>
                <a:lnTo>
                  <a:pt x="3139" y="7914"/>
                </a:lnTo>
                <a:lnTo>
                  <a:pt x="3131" y="7890"/>
                </a:lnTo>
                <a:lnTo>
                  <a:pt x="3145" y="7871"/>
                </a:lnTo>
                <a:close/>
                <a:moveTo>
                  <a:pt x="3037" y="7285"/>
                </a:moveTo>
                <a:lnTo>
                  <a:pt x="3044" y="7275"/>
                </a:lnTo>
                <a:lnTo>
                  <a:pt x="3058" y="7279"/>
                </a:lnTo>
                <a:lnTo>
                  <a:pt x="3046" y="7289"/>
                </a:lnTo>
                <a:lnTo>
                  <a:pt x="3037" y="7285"/>
                </a:lnTo>
                <a:close/>
                <a:moveTo>
                  <a:pt x="2784" y="5220"/>
                </a:moveTo>
                <a:lnTo>
                  <a:pt x="2788" y="5236"/>
                </a:lnTo>
                <a:lnTo>
                  <a:pt x="2693" y="5296"/>
                </a:lnTo>
                <a:lnTo>
                  <a:pt x="2662" y="5245"/>
                </a:lnTo>
                <a:lnTo>
                  <a:pt x="2784" y="5220"/>
                </a:lnTo>
                <a:close/>
                <a:moveTo>
                  <a:pt x="2593" y="5254"/>
                </a:moveTo>
                <a:lnTo>
                  <a:pt x="2599" y="5217"/>
                </a:lnTo>
                <a:lnTo>
                  <a:pt x="2645" y="5236"/>
                </a:lnTo>
                <a:lnTo>
                  <a:pt x="2621" y="5251"/>
                </a:lnTo>
                <a:lnTo>
                  <a:pt x="2593" y="5254"/>
                </a:lnTo>
                <a:close/>
                <a:moveTo>
                  <a:pt x="3301" y="7332"/>
                </a:moveTo>
                <a:lnTo>
                  <a:pt x="3265" y="7317"/>
                </a:lnTo>
                <a:lnTo>
                  <a:pt x="3283" y="7289"/>
                </a:lnTo>
                <a:lnTo>
                  <a:pt x="3283" y="7312"/>
                </a:lnTo>
                <a:lnTo>
                  <a:pt x="3301" y="7332"/>
                </a:lnTo>
                <a:close/>
                <a:moveTo>
                  <a:pt x="3307" y="7531"/>
                </a:moveTo>
                <a:lnTo>
                  <a:pt x="3357" y="7587"/>
                </a:lnTo>
                <a:lnTo>
                  <a:pt x="3284" y="7625"/>
                </a:lnTo>
                <a:lnTo>
                  <a:pt x="3330" y="7574"/>
                </a:lnTo>
                <a:lnTo>
                  <a:pt x="3307" y="7531"/>
                </a:lnTo>
                <a:close/>
                <a:moveTo>
                  <a:pt x="3520" y="7458"/>
                </a:moveTo>
                <a:lnTo>
                  <a:pt x="3443" y="7482"/>
                </a:lnTo>
                <a:lnTo>
                  <a:pt x="3349" y="7519"/>
                </a:lnTo>
                <a:lnTo>
                  <a:pt x="3403" y="7460"/>
                </a:lnTo>
                <a:lnTo>
                  <a:pt x="3520" y="7458"/>
                </a:lnTo>
                <a:close/>
                <a:moveTo>
                  <a:pt x="3002" y="4425"/>
                </a:moveTo>
                <a:lnTo>
                  <a:pt x="3009" y="4406"/>
                </a:lnTo>
                <a:lnTo>
                  <a:pt x="3028" y="4406"/>
                </a:lnTo>
                <a:lnTo>
                  <a:pt x="3017" y="4413"/>
                </a:lnTo>
                <a:lnTo>
                  <a:pt x="3002" y="4425"/>
                </a:lnTo>
                <a:close/>
                <a:moveTo>
                  <a:pt x="3669" y="8137"/>
                </a:moveTo>
                <a:lnTo>
                  <a:pt x="3651" y="8148"/>
                </a:lnTo>
                <a:lnTo>
                  <a:pt x="3629" y="8148"/>
                </a:lnTo>
                <a:lnTo>
                  <a:pt x="3650" y="8142"/>
                </a:lnTo>
                <a:lnTo>
                  <a:pt x="3669" y="8137"/>
                </a:lnTo>
                <a:close/>
                <a:moveTo>
                  <a:pt x="3087" y="4691"/>
                </a:moveTo>
                <a:lnTo>
                  <a:pt x="3105" y="4705"/>
                </a:lnTo>
                <a:lnTo>
                  <a:pt x="3120" y="4718"/>
                </a:lnTo>
                <a:lnTo>
                  <a:pt x="3098" y="4721"/>
                </a:lnTo>
                <a:lnTo>
                  <a:pt x="3087" y="4691"/>
                </a:lnTo>
                <a:close/>
                <a:moveTo>
                  <a:pt x="4121" y="11126"/>
                </a:moveTo>
                <a:lnTo>
                  <a:pt x="4111" y="11143"/>
                </a:lnTo>
                <a:lnTo>
                  <a:pt x="4093" y="11141"/>
                </a:lnTo>
                <a:lnTo>
                  <a:pt x="4106" y="11134"/>
                </a:lnTo>
                <a:lnTo>
                  <a:pt x="4121" y="11126"/>
                </a:lnTo>
                <a:close/>
                <a:moveTo>
                  <a:pt x="4301" y="11996"/>
                </a:moveTo>
                <a:lnTo>
                  <a:pt x="4202" y="12036"/>
                </a:lnTo>
                <a:lnTo>
                  <a:pt x="4144" y="12036"/>
                </a:lnTo>
                <a:lnTo>
                  <a:pt x="4219" y="11977"/>
                </a:lnTo>
                <a:lnTo>
                  <a:pt x="4301" y="11996"/>
                </a:lnTo>
                <a:close/>
                <a:moveTo>
                  <a:pt x="4275" y="12608"/>
                </a:moveTo>
                <a:lnTo>
                  <a:pt x="4247" y="12593"/>
                </a:lnTo>
                <a:lnTo>
                  <a:pt x="4312" y="12591"/>
                </a:lnTo>
                <a:lnTo>
                  <a:pt x="4270" y="12642"/>
                </a:lnTo>
                <a:lnTo>
                  <a:pt x="4275" y="12608"/>
                </a:lnTo>
                <a:close/>
                <a:moveTo>
                  <a:pt x="4201" y="12645"/>
                </a:moveTo>
                <a:lnTo>
                  <a:pt x="4225" y="12647"/>
                </a:lnTo>
                <a:lnTo>
                  <a:pt x="4219" y="12663"/>
                </a:lnTo>
                <a:lnTo>
                  <a:pt x="4215" y="12652"/>
                </a:lnTo>
                <a:lnTo>
                  <a:pt x="4201" y="12645"/>
                </a:lnTo>
                <a:close/>
                <a:moveTo>
                  <a:pt x="4201" y="12586"/>
                </a:moveTo>
                <a:lnTo>
                  <a:pt x="4195" y="12570"/>
                </a:lnTo>
                <a:lnTo>
                  <a:pt x="4215" y="12559"/>
                </a:lnTo>
                <a:lnTo>
                  <a:pt x="4209" y="12573"/>
                </a:lnTo>
                <a:lnTo>
                  <a:pt x="4201" y="12586"/>
                </a:lnTo>
                <a:close/>
                <a:moveTo>
                  <a:pt x="4180" y="12549"/>
                </a:moveTo>
                <a:lnTo>
                  <a:pt x="4143" y="12508"/>
                </a:lnTo>
                <a:lnTo>
                  <a:pt x="4096" y="12480"/>
                </a:lnTo>
                <a:lnTo>
                  <a:pt x="4153" y="12486"/>
                </a:lnTo>
                <a:lnTo>
                  <a:pt x="4180" y="12531"/>
                </a:lnTo>
                <a:lnTo>
                  <a:pt x="4229" y="12541"/>
                </a:lnTo>
                <a:lnTo>
                  <a:pt x="4180" y="12549"/>
                </a:lnTo>
                <a:close/>
                <a:moveTo>
                  <a:pt x="4130" y="12606"/>
                </a:moveTo>
                <a:lnTo>
                  <a:pt x="4168" y="12601"/>
                </a:lnTo>
                <a:lnTo>
                  <a:pt x="4176" y="12610"/>
                </a:lnTo>
                <a:lnTo>
                  <a:pt x="4144" y="12635"/>
                </a:lnTo>
                <a:lnTo>
                  <a:pt x="4130" y="12606"/>
                </a:lnTo>
                <a:close/>
                <a:moveTo>
                  <a:pt x="3953" y="12444"/>
                </a:moveTo>
                <a:lnTo>
                  <a:pt x="3964" y="12434"/>
                </a:lnTo>
                <a:lnTo>
                  <a:pt x="3972" y="12442"/>
                </a:lnTo>
                <a:lnTo>
                  <a:pt x="3963" y="12443"/>
                </a:lnTo>
                <a:lnTo>
                  <a:pt x="3953" y="12444"/>
                </a:lnTo>
                <a:close/>
                <a:moveTo>
                  <a:pt x="3975" y="12490"/>
                </a:moveTo>
                <a:lnTo>
                  <a:pt x="3958" y="12495"/>
                </a:lnTo>
                <a:lnTo>
                  <a:pt x="3940" y="12493"/>
                </a:lnTo>
                <a:lnTo>
                  <a:pt x="3953" y="12485"/>
                </a:lnTo>
                <a:lnTo>
                  <a:pt x="3975" y="12490"/>
                </a:lnTo>
                <a:close/>
                <a:moveTo>
                  <a:pt x="4025" y="12524"/>
                </a:moveTo>
                <a:lnTo>
                  <a:pt x="4008" y="12535"/>
                </a:lnTo>
                <a:lnTo>
                  <a:pt x="3987" y="12540"/>
                </a:lnTo>
                <a:lnTo>
                  <a:pt x="4000" y="12528"/>
                </a:lnTo>
                <a:lnTo>
                  <a:pt x="4025" y="12524"/>
                </a:lnTo>
                <a:close/>
                <a:moveTo>
                  <a:pt x="3934" y="12052"/>
                </a:moveTo>
                <a:lnTo>
                  <a:pt x="3943" y="12069"/>
                </a:lnTo>
                <a:lnTo>
                  <a:pt x="3920" y="12076"/>
                </a:lnTo>
                <a:lnTo>
                  <a:pt x="3927" y="12064"/>
                </a:lnTo>
                <a:lnTo>
                  <a:pt x="3934" y="12052"/>
                </a:lnTo>
                <a:close/>
                <a:moveTo>
                  <a:pt x="3907" y="12015"/>
                </a:moveTo>
                <a:lnTo>
                  <a:pt x="3896" y="12015"/>
                </a:lnTo>
                <a:lnTo>
                  <a:pt x="3925" y="12006"/>
                </a:lnTo>
                <a:lnTo>
                  <a:pt x="3921" y="12010"/>
                </a:lnTo>
                <a:lnTo>
                  <a:pt x="3907" y="12015"/>
                </a:lnTo>
                <a:close/>
                <a:moveTo>
                  <a:pt x="3859" y="11613"/>
                </a:moveTo>
                <a:lnTo>
                  <a:pt x="4003" y="11583"/>
                </a:lnTo>
                <a:lnTo>
                  <a:pt x="4181" y="11588"/>
                </a:lnTo>
                <a:lnTo>
                  <a:pt x="4118" y="11635"/>
                </a:lnTo>
                <a:lnTo>
                  <a:pt x="4070" y="11679"/>
                </a:lnTo>
                <a:lnTo>
                  <a:pt x="4011" y="11655"/>
                </a:lnTo>
                <a:lnTo>
                  <a:pt x="3959" y="11626"/>
                </a:lnTo>
                <a:lnTo>
                  <a:pt x="3926" y="11603"/>
                </a:lnTo>
                <a:lnTo>
                  <a:pt x="3859" y="11613"/>
                </a:lnTo>
                <a:close/>
                <a:moveTo>
                  <a:pt x="3829" y="11463"/>
                </a:moveTo>
                <a:lnTo>
                  <a:pt x="3831" y="11453"/>
                </a:lnTo>
                <a:lnTo>
                  <a:pt x="3837" y="11463"/>
                </a:lnTo>
                <a:lnTo>
                  <a:pt x="3833" y="11463"/>
                </a:lnTo>
                <a:lnTo>
                  <a:pt x="3829" y="11463"/>
                </a:lnTo>
                <a:close/>
                <a:moveTo>
                  <a:pt x="3803" y="11045"/>
                </a:moveTo>
                <a:lnTo>
                  <a:pt x="3812" y="11052"/>
                </a:lnTo>
                <a:lnTo>
                  <a:pt x="3810" y="11059"/>
                </a:lnTo>
                <a:lnTo>
                  <a:pt x="3801" y="11052"/>
                </a:lnTo>
                <a:lnTo>
                  <a:pt x="3803" y="11045"/>
                </a:lnTo>
                <a:close/>
                <a:moveTo>
                  <a:pt x="3380" y="8489"/>
                </a:moveTo>
                <a:lnTo>
                  <a:pt x="3384" y="8478"/>
                </a:lnTo>
                <a:lnTo>
                  <a:pt x="3418" y="8488"/>
                </a:lnTo>
                <a:lnTo>
                  <a:pt x="3399" y="8494"/>
                </a:lnTo>
                <a:lnTo>
                  <a:pt x="3380" y="8489"/>
                </a:lnTo>
                <a:close/>
                <a:moveTo>
                  <a:pt x="3440" y="8743"/>
                </a:moveTo>
                <a:lnTo>
                  <a:pt x="3463" y="8704"/>
                </a:lnTo>
                <a:lnTo>
                  <a:pt x="3511" y="8701"/>
                </a:lnTo>
                <a:lnTo>
                  <a:pt x="3480" y="8743"/>
                </a:lnTo>
                <a:lnTo>
                  <a:pt x="3440" y="8743"/>
                </a:lnTo>
                <a:close/>
                <a:moveTo>
                  <a:pt x="3422" y="8274"/>
                </a:moveTo>
                <a:lnTo>
                  <a:pt x="3432" y="8267"/>
                </a:lnTo>
                <a:lnTo>
                  <a:pt x="3438" y="8274"/>
                </a:lnTo>
                <a:lnTo>
                  <a:pt x="3431" y="8274"/>
                </a:lnTo>
                <a:lnTo>
                  <a:pt x="3422" y="8274"/>
                </a:lnTo>
                <a:close/>
                <a:moveTo>
                  <a:pt x="3941" y="11145"/>
                </a:moveTo>
                <a:lnTo>
                  <a:pt x="3919" y="11182"/>
                </a:lnTo>
                <a:lnTo>
                  <a:pt x="3917" y="11220"/>
                </a:lnTo>
                <a:lnTo>
                  <a:pt x="3897" y="11159"/>
                </a:lnTo>
                <a:lnTo>
                  <a:pt x="3941" y="11145"/>
                </a:lnTo>
                <a:close/>
                <a:moveTo>
                  <a:pt x="3395" y="7951"/>
                </a:moveTo>
                <a:lnTo>
                  <a:pt x="3404" y="7955"/>
                </a:lnTo>
                <a:lnTo>
                  <a:pt x="3414" y="7959"/>
                </a:lnTo>
                <a:lnTo>
                  <a:pt x="3401" y="7965"/>
                </a:lnTo>
                <a:lnTo>
                  <a:pt x="3395" y="7951"/>
                </a:lnTo>
                <a:close/>
                <a:moveTo>
                  <a:pt x="3978" y="11400"/>
                </a:moveTo>
                <a:lnTo>
                  <a:pt x="3954" y="11403"/>
                </a:lnTo>
                <a:lnTo>
                  <a:pt x="3987" y="11378"/>
                </a:lnTo>
                <a:lnTo>
                  <a:pt x="4000" y="11379"/>
                </a:lnTo>
                <a:lnTo>
                  <a:pt x="3978" y="11400"/>
                </a:lnTo>
                <a:close/>
                <a:moveTo>
                  <a:pt x="3997" y="11532"/>
                </a:moveTo>
                <a:lnTo>
                  <a:pt x="3977" y="11520"/>
                </a:lnTo>
                <a:lnTo>
                  <a:pt x="3953" y="11505"/>
                </a:lnTo>
                <a:lnTo>
                  <a:pt x="3976" y="11488"/>
                </a:lnTo>
                <a:lnTo>
                  <a:pt x="3997" y="11532"/>
                </a:lnTo>
                <a:close/>
                <a:moveTo>
                  <a:pt x="4006" y="11456"/>
                </a:moveTo>
                <a:lnTo>
                  <a:pt x="4085" y="11456"/>
                </a:lnTo>
                <a:lnTo>
                  <a:pt x="4145" y="11435"/>
                </a:lnTo>
                <a:lnTo>
                  <a:pt x="4090" y="11481"/>
                </a:lnTo>
                <a:lnTo>
                  <a:pt x="4006" y="11456"/>
                </a:lnTo>
                <a:close/>
                <a:moveTo>
                  <a:pt x="4013" y="11314"/>
                </a:moveTo>
                <a:lnTo>
                  <a:pt x="4033" y="11305"/>
                </a:lnTo>
                <a:lnTo>
                  <a:pt x="4050" y="11300"/>
                </a:lnTo>
                <a:lnTo>
                  <a:pt x="4046" y="11319"/>
                </a:lnTo>
                <a:lnTo>
                  <a:pt x="4013" y="11314"/>
                </a:lnTo>
                <a:close/>
                <a:moveTo>
                  <a:pt x="4073" y="11427"/>
                </a:moveTo>
                <a:lnTo>
                  <a:pt x="4075" y="11453"/>
                </a:lnTo>
                <a:lnTo>
                  <a:pt x="4038" y="11454"/>
                </a:lnTo>
                <a:lnTo>
                  <a:pt x="4053" y="11435"/>
                </a:lnTo>
                <a:lnTo>
                  <a:pt x="4073" y="11427"/>
                </a:lnTo>
                <a:close/>
                <a:moveTo>
                  <a:pt x="4094" y="11408"/>
                </a:moveTo>
                <a:lnTo>
                  <a:pt x="4098" y="11408"/>
                </a:lnTo>
                <a:lnTo>
                  <a:pt x="4094" y="11408"/>
                </a:lnTo>
                <a:lnTo>
                  <a:pt x="4097" y="11403"/>
                </a:lnTo>
                <a:lnTo>
                  <a:pt x="4094" y="11408"/>
                </a:lnTo>
                <a:close/>
                <a:moveTo>
                  <a:pt x="4084" y="11539"/>
                </a:moveTo>
                <a:lnTo>
                  <a:pt x="4130" y="11519"/>
                </a:lnTo>
                <a:lnTo>
                  <a:pt x="4172" y="11524"/>
                </a:lnTo>
                <a:lnTo>
                  <a:pt x="4121" y="11542"/>
                </a:lnTo>
                <a:lnTo>
                  <a:pt x="4084" y="11539"/>
                </a:lnTo>
                <a:close/>
                <a:moveTo>
                  <a:pt x="4096" y="11269"/>
                </a:moveTo>
                <a:lnTo>
                  <a:pt x="4116" y="11267"/>
                </a:lnTo>
                <a:lnTo>
                  <a:pt x="4134" y="11277"/>
                </a:lnTo>
                <a:lnTo>
                  <a:pt x="4111" y="11281"/>
                </a:lnTo>
                <a:lnTo>
                  <a:pt x="4096" y="11269"/>
                </a:lnTo>
                <a:close/>
                <a:moveTo>
                  <a:pt x="3562" y="7825"/>
                </a:moveTo>
                <a:lnTo>
                  <a:pt x="3544" y="7818"/>
                </a:lnTo>
                <a:lnTo>
                  <a:pt x="3557" y="7812"/>
                </a:lnTo>
                <a:lnTo>
                  <a:pt x="3562" y="7825"/>
                </a:lnTo>
                <a:close/>
                <a:moveTo>
                  <a:pt x="4078" y="11160"/>
                </a:moveTo>
                <a:lnTo>
                  <a:pt x="4028" y="11189"/>
                </a:lnTo>
                <a:lnTo>
                  <a:pt x="4025" y="11132"/>
                </a:lnTo>
                <a:lnTo>
                  <a:pt x="3996" y="11109"/>
                </a:lnTo>
                <a:lnTo>
                  <a:pt x="4078" y="11160"/>
                </a:lnTo>
                <a:close/>
                <a:moveTo>
                  <a:pt x="3449" y="7526"/>
                </a:moveTo>
                <a:lnTo>
                  <a:pt x="3459" y="7513"/>
                </a:lnTo>
                <a:lnTo>
                  <a:pt x="3483" y="7503"/>
                </a:lnTo>
                <a:lnTo>
                  <a:pt x="3469" y="7523"/>
                </a:lnTo>
                <a:lnTo>
                  <a:pt x="3449" y="7526"/>
                </a:lnTo>
                <a:close/>
                <a:moveTo>
                  <a:pt x="3516" y="7811"/>
                </a:moveTo>
                <a:lnTo>
                  <a:pt x="3486" y="7836"/>
                </a:lnTo>
                <a:lnTo>
                  <a:pt x="3459" y="7807"/>
                </a:lnTo>
                <a:lnTo>
                  <a:pt x="3487" y="7821"/>
                </a:lnTo>
                <a:lnTo>
                  <a:pt x="3516" y="7811"/>
                </a:lnTo>
                <a:close/>
                <a:moveTo>
                  <a:pt x="3533" y="8240"/>
                </a:moveTo>
                <a:lnTo>
                  <a:pt x="3516" y="8254"/>
                </a:lnTo>
                <a:lnTo>
                  <a:pt x="3491" y="8260"/>
                </a:lnTo>
                <a:lnTo>
                  <a:pt x="3507" y="8240"/>
                </a:lnTo>
                <a:lnTo>
                  <a:pt x="3533" y="8240"/>
                </a:lnTo>
                <a:close/>
                <a:moveTo>
                  <a:pt x="3996" y="11290"/>
                </a:moveTo>
                <a:lnTo>
                  <a:pt x="3962" y="11341"/>
                </a:lnTo>
                <a:lnTo>
                  <a:pt x="3940" y="11286"/>
                </a:lnTo>
                <a:lnTo>
                  <a:pt x="3967" y="11299"/>
                </a:lnTo>
                <a:lnTo>
                  <a:pt x="3996" y="11290"/>
                </a:lnTo>
                <a:close/>
                <a:moveTo>
                  <a:pt x="3850" y="11061"/>
                </a:moveTo>
                <a:lnTo>
                  <a:pt x="3836" y="11043"/>
                </a:lnTo>
                <a:lnTo>
                  <a:pt x="3876" y="11025"/>
                </a:lnTo>
                <a:lnTo>
                  <a:pt x="3862" y="11045"/>
                </a:lnTo>
                <a:lnTo>
                  <a:pt x="3850" y="11061"/>
                </a:lnTo>
                <a:close/>
                <a:moveTo>
                  <a:pt x="3890" y="11434"/>
                </a:moveTo>
                <a:lnTo>
                  <a:pt x="3916" y="11435"/>
                </a:lnTo>
                <a:lnTo>
                  <a:pt x="3920" y="11454"/>
                </a:lnTo>
                <a:lnTo>
                  <a:pt x="3896" y="11450"/>
                </a:lnTo>
                <a:lnTo>
                  <a:pt x="3890" y="11434"/>
                </a:lnTo>
                <a:close/>
                <a:moveTo>
                  <a:pt x="4195" y="11948"/>
                </a:moveTo>
                <a:lnTo>
                  <a:pt x="4197" y="11950"/>
                </a:lnTo>
                <a:lnTo>
                  <a:pt x="4205" y="11953"/>
                </a:lnTo>
                <a:lnTo>
                  <a:pt x="4194" y="11957"/>
                </a:lnTo>
                <a:lnTo>
                  <a:pt x="4195" y="11948"/>
                </a:lnTo>
                <a:close/>
                <a:moveTo>
                  <a:pt x="4167" y="11843"/>
                </a:moveTo>
                <a:lnTo>
                  <a:pt x="4172" y="11841"/>
                </a:lnTo>
                <a:lnTo>
                  <a:pt x="4176" y="11840"/>
                </a:lnTo>
                <a:lnTo>
                  <a:pt x="4173" y="11846"/>
                </a:lnTo>
                <a:lnTo>
                  <a:pt x="4167" y="11843"/>
                </a:lnTo>
                <a:close/>
                <a:moveTo>
                  <a:pt x="4169" y="11763"/>
                </a:moveTo>
                <a:lnTo>
                  <a:pt x="4155" y="11775"/>
                </a:lnTo>
                <a:lnTo>
                  <a:pt x="4174" y="11757"/>
                </a:lnTo>
                <a:lnTo>
                  <a:pt x="4171" y="11761"/>
                </a:lnTo>
                <a:lnTo>
                  <a:pt x="4169" y="11763"/>
                </a:lnTo>
                <a:close/>
                <a:moveTo>
                  <a:pt x="4135" y="11807"/>
                </a:moveTo>
                <a:lnTo>
                  <a:pt x="4107" y="11804"/>
                </a:lnTo>
                <a:lnTo>
                  <a:pt x="4122" y="11800"/>
                </a:lnTo>
                <a:lnTo>
                  <a:pt x="4130" y="11801"/>
                </a:lnTo>
                <a:lnTo>
                  <a:pt x="4135" y="11807"/>
                </a:lnTo>
                <a:close/>
                <a:moveTo>
                  <a:pt x="4208" y="12181"/>
                </a:moveTo>
                <a:lnTo>
                  <a:pt x="4227" y="12131"/>
                </a:lnTo>
                <a:lnTo>
                  <a:pt x="4273" y="12089"/>
                </a:lnTo>
                <a:lnTo>
                  <a:pt x="4239" y="12205"/>
                </a:lnTo>
                <a:lnTo>
                  <a:pt x="4208" y="12181"/>
                </a:lnTo>
                <a:close/>
                <a:moveTo>
                  <a:pt x="4284" y="12453"/>
                </a:moveTo>
                <a:lnTo>
                  <a:pt x="4316" y="12461"/>
                </a:lnTo>
                <a:lnTo>
                  <a:pt x="4316" y="12500"/>
                </a:lnTo>
                <a:lnTo>
                  <a:pt x="4292" y="12484"/>
                </a:lnTo>
                <a:lnTo>
                  <a:pt x="4284" y="12453"/>
                </a:lnTo>
                <a:close/>
                <a:moveTo>
                  <a:pt x="4297" y="12533"/>
                </a:moveTo>
                <a:lnTo>
                  <a:pt x="4288" y="12552"/>
                </a:lnTo>
                <a:lnTo>
                  <a:pt x="4267" y="12547"/>
                </a:lnTo>
                <a:lnTo>
                  <a:pt x="4281" y="12537"/>
                </a:lnTo>
                <a:lnTo>
                  <a:pt x="4297" y="12533"/>
                </a:lnTo>
                <a:close/>
                <a:moveTo>
                  <a:pt x="4317" y="12421"/>
                </a:moveTo>
                <a:lnTo>
                  <a:pt x="4316" y="12429"/>
                </a:lnTo>
                <a:lnTo>
                  <a:pt x="4316" y="12437"/>
                </a:lnTo>
                <a:lnTo>
                  <a:pt x="4306" y="12430"/>
                </a:lnTo>
                <a:lnTo>
                  <a:pt x="4317" y="12421"/>
                </a:lnTo>
                <a:close/>
                <a:moveTo>
                  <a:pt x="4260" y="12294"/>
                </a:moveTo>
                <a:lnTo>
                  <a:pt x="4246" y="12306"/>
                </a:lnTo>
                <a:lnTo>
                  <a:pt x="4236" y="12314"/>
                </a:lnTo>
                <a:lnTo>
                  <a:pt x="4237" y="12302"/>
                </a:lnTo>
                <a:lnTo>
                  <a:pt x="4260" y="12294"/>
                </a:lnTo>
                <a:close/>
                <a:moveTo>
                  <a:pt x="4242" y="12404"/>
                </a:moveTo>
                <a:lnTo>
                  <a:pt x="4265" y="12402"/>
                </a:lnTo>
                <a:lnTo>
                  <a:pt x="4280" y="12414"/>
                </a:lnTo>
                <a:lnTo>
                  <a:pt x="4253" y="12428"/>
                </a:lnTo>
                <a:lnTo>
                  <a:pt x="4242" y="12404"/>
                </a:lnTo>
                <a:close/>
                <a:moveTo>
                  <a:pt x="4262" y="12476"/>
                </a:moveTo>
                <a:lnTo>
                  <a:pt x="4259" y="12491"/>
                </a:lnTo>
                <a:lnTo>
                  <a:pt x="4255" y="12508"/>
                </a:lnTo>
                <a:lnTo>
                  <a:pt x="4251" y="12491"/>
                </a:lnTo>
                <a:lnTo>
                  <a:pt x="4262" y="12476"/>
                </a:lnTo>
                <a:close/>
                <a:moveTo>
                  <a:pt x="4255" y="12508"/>
                </a:moveTo>
                <a:lnTo>
                  <a:pt x="4257" y="12523"/>
                </a:lnTo>
                <a:lnTo>
                  <a:pt x="4239" y="12510"/>
                </a:lnTo>
                <a:lnTo>
                  <a:pt x="4247" y="12505"/>
                </a:lnTo>
                <a:lnTo>
                  <a:pt x="4255" y="12508"/>
                </a:lnTo>
                <a:close/>
                <a:moveTo>
                  <a:pt x="4194" y="12463"/>
                </a:moveTo>
                <a:lnTo>
                  <a:pt x="4228" y="12479"/>
                </a:lnTo>
                <a:lnTo>
                  <a:pt x="4194" y="12500"/>
                </a:lnTo>
                <a:lnTo>
                  <a:pt x="4199" y="12481"/>
                </a:lnTo>
                <a:lnTo>
                  <a:pt x="4194" y="12463"/>
                </a:lnTo>
                <a:close/>
                <a:moveTo>
                  <a:pt x="4190" y="12405"/>
                </a:moveTo>
                <a:lnTo>
                  <a:pt x="4196" y="12411"/>
                </a:lnTo>
                <a:lnTo>
                  <a:pt x="4202" y="12418"/>
                </a:lnTo>
                <a:lnTo>
                  <a:pt x="4190" y="12415"/>
                </a:lnTo>
                <a:lnTo>
                  <a:pt x="4190" y="12405"/>
                </a:lnTo>
                <a:close/>
                <a:moveTo>
                  <a:pt x="4227" y="12443"/>
                </a:moveTo>
                <a:lnTo>
                  <a:pt x="4237" y="12443"/>
                </a:lnTo>
                <a:lnTo>
                  <a:pt x="4237" y="12456"/>
                </a:lnTo>
                <a:lnTo>
                  <a:pt x="4231" y="12449"/>
                </a:lnTo>
                <a:lnTo>
                  <a:pt x="4227" y="12443"/>
                </a:lnTo>
                <a:close/>
                <a:moveTo>
                  <a:pt x="4197" y="12376"/>
                </a:moveTo>
                <a:lnTo>
                  <a:pt x="4182" y="12386"/>
                </a:lnTo>
                <a:lnTo>
                  <a:pt x="4171" y="12364"/>
                </a:lnTo>
                <a:lnTo>
                  <a:pt x="4213" y="12353"/>
                </a:lnTo>
                <a:lnTo>
                  <a:pt x="4197" y="12376"/>
                </a:lnTo>
                <a:close/>
                <a:moveTo>
                  <a:pt x="4070" y="11748"/>
                </a:moveTo>
                <a:lnTo>
                  <a:pt x="4070" y="11768"/>
                </a:lnTo>
                <a:lnTo>
                  <a:pt x="4053" y="11779"/>
                </a:lnTo>
                <a:lnTo>
                  <a:pt x="4046" y="11753"/>
                </a:lnTo>
                <a:lnTo>
                  <a:pt x="4070" y="11748"/>
                </a:lnTo>
                <a:close/>
                <a:moveTo>
                  <a:pt x="4055" y="11674"/>
                </a:moveTo>
                <a:lnTo>
                  <a:pt x="4059" y="11668"/>
                </a:lnTo>
                <a:lnTo>
                  <a:pt x="4060" y="11677"/>
                </a:lnTo>
                <a:lnTo>
                  <a:pt x="4057" y="11675"/>
                </a:lnTo>
                <a:lnTo>
                  <a:pt x="4055" y="11674"/>
                </a:lnTo>
                <a:close/>
                <a:moveTo>
                  <a:pt x="4117" y="12122"/>
                </a:moveTo>
                <a:lnTo>
                  <a:pt x="4130" y="12117"/>
                </a:lnTo>
                <a:lnTo>
                  <a:pt x="4154" y="12130"/>
                </a:lnTo>
                <a:lnTo>
                  <a:pt x="4132" y="12143"/>
                </a:lnTo>
                <a:lnTo>
                  <a:pt x="4117" y="12122"/>
                </a:lnTo>
                <a:close/>
                <a:moveTo>
                  <a:pt x="4155" y="12089"/>
                </a:moveTo>
                <a:lnTo>
                  <a:pt x="4140" y="12085"/>
                </a:lnTo>
                <a:lnTo>
                  <a:pt x="4155" y="12085"/>
                </a:lnTo>
                <a:lnTo>
                  <a:pt x="4155" y="12087"/>
                </a:lnTo>
                <a:lnTo>
                  <a:pt x="4155" y="12089"/>
                </a:lnTo>
                <a:close/>
                <a:moveTo>
                  <a:pt x="4029" y="12045"/>
                </a:moveTo>
                <a:lnTo>
                  <a:pt x="4023" y="12075"/>
                </a:lnTo>
                <a:lnTo>
                  <a:pt x="4005" y="12038"/>
                </a:lnTo>
                <a:lnTo>
                  <a:pt x="4009" y="12011"/>
                </a:lnTo>
                <a:lnTo>
                  <a:pt x="4029" y="12045"/>
                </a:lnTo>
                <a:close/>
                <a:moveTo>
                  <a:pt x="3958" y="11768"/>
                </a:moveTo>
                <a:lnTo>
                  <a:pt x="3953" y="11756"/>
                </a:lnTo>
                <a:lnTo>
                  <a:pt x="3966" y="11752"/>
                </a:lnTo>
                <a:lnTo>
                  <a:pt x="3971" y="11756"/>
                </a:lnTo>
                <a:lnTo>
                  <a:pt x="3958" y="11768"/>
                </a:lnTo>
                <a:close/>
                <a:moveTo>
                  <a:pt x="4019" y="12139"/>
                </a:moveTo>
                <a:lnTo>
                  <a:pt x="4033" y="12117"/>
                </a:lnTo>
                <a:lnTo>
                  <a:pt x="4048" y="12092"/>
                </a:lnTo>
                <a:lnTo>
                  <a:pt x="4043" y="12153"/>
                </a:lnTo>
                <a:lnTo>
                  <a:pt x="4019" y="12139"/>
                </a:lnTo>
                <a:close/>
                <a:moveTo>
                  <a:pt x="4006" y="12200"/>
                </a:moveTo>
                <a:lnTo>
                  <a:pt x="4057" y="12206"/>
                </a:lnTo>
                <a:lnTo>
                  <a:pt x="4110" y="12191"/>
                </a:lnTo>
                <a:lnTo>
                  <a:pt x="4039" y="12250"/>
                </a:lnTo>
                <a:lnTo>
                  <a:pt x="4006" y="12200"/>
                </a:lnTo>
                <a:close/>
                <a:moveTo>
                  <a:pt x="4141" y="12382"/>
                </a:moveTo>
                <a:lnTo>
                  <a:pt x="4141" y="12405"/>
                </a:lnTo>
                <a:lnTo>
                  <a:pt x="4118" y="12410"/>
                </a:lnTo>
                <a:lnTo>
                  <a:pt x="4130" y="12396"/>
                </a:lnTo>
                <a:lnTo>
                  <a:pt x="4141" y="12382"/>
                </a:lnTo>
                <a:close/>
                <a:moveTo>
                  <a:pt x="4129" y="12358"/>
                </a:moveTo>
                <a:lnTo>
                  <a:pt x="4120" y="12362"/>
                </a:lnTo>
                <a:lnTo>
                  <a:pt x="4111" y="12367"/>
                </a:lnTo>
                <a:lnTo>
                  <a:pt x="4113" y="12354"/>
                </a:lnTo>
                <a:lnTo>
                  <a:pt x="4129" y="12358"/>
                </a:lnTo>
                <a:close/>
                <a:moveTo>
                  <a:pt x="4093" y="12517"/>
                </a:moveTo>
                <a:lnTo>
                  <a:pt x="4069" y="12517"/>
                </a:lnTo>
                <a:lnTo>
                  <a:pt x="4055" y="12500"/>
                </a:lnTo>
                <a:lnTo>
                  <a:pt x="4082" y="12495"/>
                </a:lnTo>
                <a:lnTo>
                  <a:pt x="4093" y="12517"/>
                </a:lnTo>
                <a:close/>
                <a:moveTo>
                  <a:pt x="4098" y="12545"/>
                </a:moveTo>
                <a:lnTo>
                  <a:pt x="4094" y="12547"/>
                </a:lnTo>
                <a:lnTo>
                  <a:pt x="4089" y="12545"/>
                </a:lnTo>
                <a:lnTo>
                  <a:pt x="4093" y="12541"/>
                </a:lnTo>
                <a:lnTo>
                  <a:pt x="4098" y="12545"/>
                </a:lnTo>
                <a:close/>
                <a:moveTo>
                  <a:pt x="4011" y="12321"/>
                </a:moveTo>
                <a:lnTo>
                  <a:pt x="4023" y="12312"/>
                </a:lnTo>
                <a:lnTo>
                  <a:pt x="4037" y="12317"/>
                </a:lnTo>
                <a:lnTo>
                  <a:pt x="4024" y="12325"/>
                </a:lnTo>
                <a:lnTo>
                  <a:pt x="4011" y="12321"/>
                </a:lnTo>
                <a:close/>
                <a:moveTo>
                  <a:pt x="4014" y="12342"/>
                </a:moveTo>
                <a:lnTo>
                  <a:pt x="4015" y="12365"/>
                </a:lnTo>
                <a:lnTo>
                  <a:pt x="4003" y="12381"/>
                </a:lnTo>
                <a:lnTo>
                  <a:pt x="3989" y="12359"/>
                </a:lnTo>
                <a:lnTo>
                  <a:pt x="4014" y="12342"/>
                </a:lnTo>
                <a:close/>
                <a:moveTo>
                  <a:pt x="4037" y="12499"/>
                </a:moveTo>
                <a:lnTo>
                  <a:pt x="4025" y="12498"/>
                </a:lnTo>
                <a:lnTo>
                  <a:pt x="4013" y="12496"/>
                </a:lnTo>
                <a:lnTo>
                  <a:pt x="4029" y="12481"/>
                </a:lnTo>
                <a:lnTo>
                  <a:pt x="4037" y="12499"/>
                </a:lnTo>
                <a:close/>
                <a:moveTo>
                  <a:pt x="4015" y="12547"/>
                </a:moveTo>
                <a:lnTo>
                  <a:pt x="4020" y="12547"/>
                </a:lnTo>
                <a:lnTo>
                  <a:pt x="4024" y="12550"/>
                </a:lnTo>
                <a:lnTo>
                  <a:pt x="4017" y="12559"/>
                </a:lnTo>
                <a:lnTo>
                  <a:pt x="4015" y="12547"/>
                </a:lnTo>
                <a:close/>
                <a:moveTo>
                  <a:pt x="4048" y="12650"/>
                </a:moveTo>
                <a:lnTo>
                  <a:pt x="4078" y="12649"/>
                </a:lnTo>
                <a:lnTo>
                  <a:pt x="4089" y="12676"/>
                </a:lnTo>
                <a:lnTo>
                  <a:pt x="4052" y="12664"/>
                </a:lnTo>
                <a:lnTo>
                  <a:pt x="4048" y="12650"/>
                </a:lnTo>
                <a:close/>
                <a:moveTo>
                  <a:pt x="4052" y="12601"/>
                </a:moveTo>
                <a:lnTo>
                  <a:pt x="4083" y="12584"/>
                </a:lnTo>
                <a:lnTo>
                  <a:pt x="4113" y="12605"/>
                </a:lnTo>
                <a:lnTo>
                  <a:pt x="4084" y="12605"/>
                </a:lnTo>
                <a:lnTo>
                  <a:pt x="4052" y="12601"/>
                </a:lnTo>
                <a:close/>
                <a:moveTo>
                  <a:pt x="4076" y="12423"/>
                </a:moveTo>
                <a:lnTo>
                  <a:pt x="4087" y="12387"/>
                </a:lnTo>
                <a:lnTo>
                  <a:pt x="4124" y="12374"/>
                </a:lnTo>
                <a:lnTo>
                  <a:pt x="4110" y="12409"/>
                </a:lnTo>
                <a:lnTo>
                  <a:pt x="4076" y="12423"/>
                </a:lnTo>
                <a:close/>
                <a:moveTo>
                  <a:pt x="4120" y="12439"/>
                </a:moveTo>
                <a:lnTo>
                  <a:pt x="4117" y="12446"/>
                </a:lnTo>
                <a:lnTo>
                  <a:pt x="4112" y="12448"/>
                </a:lnTo>
                <a:lnTo>
                  <a:pt x="4113" y="12440"/>
                </a:lnTo>
                <a:lnTo>
                  <a:pt x="4120" y="12439"/>
                </a:lnTo>
                <a:close/>
                <a:moveTo>
                  <a:pt x="4313" y="12619"/>
                </a:moveTo>
                <a:lnTo>
                  <a:pt x="4337" y="12608"/>
                </a:lnTo>
                <a:lnTo>
                  <a:pt x="4359" y="12622"/>
                </a:lnTo>
                <a:lnTo>
                  <a:pt x="4336" y="12635"/>
                </a:lnTo>
                <a:lnTo>
                  <a:pt x="4313" y="12619"/>
                </a:lnTo>
                <a:close/>
                <a:moveTo>
                  <a:pt x="4340" y="12658"/>
                </a:moveTo>
                <a:lnTo>
                  <a:pt x="4327" y="12657"/>
                </a:lnTo>
                <a:lnTo>
                  <a:pt x="4316" y="12657"/>
                </a:lnTo>
                <a:lnTo>
                  <a:pt x="4329" y="12650"/>
                </a:lnTo>
                <a:lnTo>
                  <a:pt x="4340" y="12658"/>
                </a:lnTo>
                <a:close/>
                <a:moveTo>
                  <a:pt x="4337" y="12555"/>
                </a:moveTo>
                <a:lnTo>
                  <a:pt x="4344" y="12523"/>
                </a:lnTo>
                <a:lnTo>
                  <a:pt x="4367" y="12544"/>
                </a:lnTo>
                <a:lnTo>
                  <a:pt x="4351" y="12544"/>
                </a:lnTo>
                <a:lnTo>
                  <a:pt x="4337" y="12555"/>
                </a:lnTo>
                <a:close/>
                <a:moveTo>
                  <a:pt x="4334" y="12344"/>
                </a:moveTo>
                <a:lnTo>
                  <a:pt x="4329" y="12339"/>
                </a:lnTo>
                <a:lnTo>
                  <a:pt x="4323" y="12332"/>
                </a:lnTo>
                <a:lnTo>
                  <a:pt x="4331" y="12332"/>
                </a:lnTo>
                <a:lnTo>
                  <a:pt x="4334" y="12344"/>
                </a:lnTo>
                <a:close/>
                <a:moveTo>
                  <a:pt x="4298" y="12070"/>
                </a:moveTo>
                <a:lnTo>
                  <a:pt x="4301" y="12076"/>
                </a:lnTo>
                <a:lnTo>
                  <a:pt x="4294" y="12085"/>
                </a:lnTo>
                <a:lnTo>
                  <a:pt x="4290" y="12075"/>
                </a:lnTo>
                <a:lnTo>
                  <a:pt x="4298" y="12070"/>
                </a:lnTo>
                <a:close/>
                <a:moveTo>
                  <a:pt x="4355" y="12468"/>
                </a:moveTo>
                <a:lnTo>
                  <a:pt x="4350" y="12475"/>
                </a:lnTo>
                <a:lnTo>
                  <a:pt x="4345" y="12482"/>
                </a:lnTo>
                <a:lnTo>
                  <a:pt x="4344" y="12470"/>
                </a:lnTo>
                <a:lnTo>
                  <a:pt x="4355" y="12468"/>
                </a:lnTo>
                <a:close/>
                <a:moveTo>
                  <a:pt x="4360" y="12564"/>
                </a:moveTo>
                <a:lnTo>
                  <a:pt x="4371" y="12564"/>
                </a:lnTo>
                <a:lnTo>
                  <a:pt x="4377" y="12569"/>
                </a:lnTo>
                <a:lnTo>
                  <a:pt x="4364" y="12573"/>
                </a:lnTo>
                <a:lnTo>
                  <a:pt x="4360" y="12564"/>
                </a:lnTo>
                <a:close/>
                <a:moveTo>
                  <a:pt x="4386" y="12594"/>
                </a:moveTo>
                <a:lnTo>
                  <a:pt x="4381" y="12603"/>
                </a:lnTo>
                <a:lnTo>
                  <a:pt x="4366" y="12601"/>
                </a:lnTo>
                <a:lnTo>
                  <a:pt x="4377" y="12597"/>
                </a:lnTo>
                <a:lnTo>
                  <a:pt x="4386" y="12594"/>
                </a:lnTo>
                <a:close/>
                <a:moveTo>
                  <a:pt x="4364" y="12458"/>
                </a:moveTo>
                <a:lnTo>
                  <a:pt x="4362" y="12453"/>
                </a:lnTo>
                <a:lnTo>
                  <a:pt x="4360" y="12447"/>
                </a:lnTo>
                <a:lnTo>
                  <a:pt x="4363" y="12444"/>
                </a:lnTo>
                <a:lnTo>
                  <a:pt x="4364" y="12458"/>
                </a:lnTo>
                <a:close/>
                <a:moveTo>
                  <a:pt x="4247" y="11696"/>
                </a:moveTo>
                <a:lnTo>
                  <a:pt x="4238" y="11692"/>
                </a:lnTo>
                <a:lnTo>
                  <a:pt x="4233" y="11679"/>
                </a:lnTo>
                <a:lnTo>
                  <a:pt x="4246" y="11684"/>
                </a:lnTo>
                <a:lnTo>
                  <a:pt x="4247" y="11696"/>
                </a:lnTo>
                <a:close/>
                <a:moveTo>
                  <a:pt x="4194" y="11616"/>
                </a:moveTo>
                <a:lnTo>
                  <a:pt x="4195" y="11599"/>
                </a:lnTo>
                <a:lnTo>
                  <a:pt x="4227" y="11599"/>
                </a:lnTo>
                <a:lnTo>
                  <a:pt x="4211" y="11607"/>
                </a:lnTo>
                <a:lnTo>
                  <a:pt x="4194" y="11616"/>
                </a:lnTo>
                <a:close/>
                <a:moveTo>
                  <a:pt x="3111" y="5718"/>
                </a:moveTo>
                <a:lnTo>
                  <a:pt x="3131" y="5686"/>
                </a:lnTo>
                <a:lnTo>
                  <a:pt x="3165" y="5693"/>
                </a:lnTo>
                <a:lnTo>
                  <a:pt x="3142" y="5712"/>
                </a:lnTo>
                <a:lnTo>
                  <a:pt x="3111" y="5718"/>
                </a:lnTo>
                <a:close/>
                <a:moveTo>
                  <a:pt x="3366" y="7281"/>
                </a:moveTo>
                <a:lnTo>
                  <a:pt x="3328" y="7267"/>
                </a:lnTo>
                <a:lnTo>
                  <a:pt x="3334" y="7237"/>
                </a:lnTo>
                <a:lnTo>
                  <a:pt x="3342" y="7265"/>
                </a:lnTo>
                <a:lnTo>
                  <a:pt x="3366" y="7281"/>
                </a:lnTo>
                <a:close/>
                <a:moveTo>
                  <a:pt x="3301" y="7173"/>
                </a:moveTo>
                <a:lnTo>
                  <a:pt x="3288" y="7157"/>
                </a:lnTo>
                <a:lnTo>
                  <a:pt x="3308" y="7164"/>
                </a:lnTo>
                <a:lnTo>
                  <a:pt x="3303" y="7169"/>
                </a:lnTo>
                <a:lnTo>
                  <a:pt x="3301" y="7173"/>
                </a:lnTo>
                <a:close/>
                <a:moveTo>
                  <a:pt x="3326" y="7391"/>
                </a:moveTo>
                <a:lnTo>
                  <a:pt x="3333" y="7405"/>
                </a:lnTo>
                <a:lnTo>
                  <a:pt x="3339" y="7419"/>
                </a:lnTo>
                <a:lnTo>
                  <a:pt x="3321" y="7405"/>
                </a:lnTo>
                <a:lnTo>
                  <a:pt x="3326" y="7391"/>
                </a:lnTo>
                <a:close/>
                <a:moveTo>
                  <a:pt x="3376" y="8110"/>
                </a:moveTo>
                <a:lnTo>
                  <a:pt x="3353" y="8111"/>
                </a:lnTo>
                <a:lnTo>
                  <a:pt x="3328" y="8113"/>
                </a:lnTo>
                <a:lnTo>
                  <a:pt x="3349" y="8086"/>
                </a:lnTo>
                <a:lnTo>
                  <a:pt x="3376" y="8110"/>
                </a:lnTo>
                <a:close/>
                <a:moveTo>
                  <a:pt x="3358" y="8167"/>
                </a:moveTo>
                <a:lnTo>
                  <a:pt x="3337" y="8176"/>
                </a:lnTo>
                <a:lnTo>
                  <a:pt x="3319" y="8166"/>
                </a:lnTo>
                <a:lnTo>
                  <a:pt x="3338" y="8166"/>
                </a:lnTo>
                <a:lnTo>
                  <a:pt x="3358" y="8167"/>
                </a:lnTo>
                <a:close/>
                <a:moveTo>
                  <a:pt x="3871" y="11421"/>
                </a:moveTo>
                <a:lnTo>
                  <a:pt x="3822" y="11440"/>
                </a:lnTo>
                <a:lnTo>
                  <a:pt x="3833" y="11425"/>
                </a:lnTo>
                <a:lnTo>
                  <a:pt x="3847" y="11434"/>
                </a:lnTo>
                <a:lnTo>
                  <a:pt x="3871" y="11421"/>
                </a:lnTo>
                <a:close/>
                <a:moveTo>
                  <a:pt x="3268" y="7959"/>
                </a:moveTo>
                <a:lnTo>
                  <a:pt x="3244" y="7953"/>
                </a:lnTo>
                <a:lnTo>
                  <a:pt x="3227" y="7939"/>
                </a:lnTo>
                <a:lnTo>
                  <a:pt x="3255" y="7942"/>
                </a:lnTo>
                <a:lnTo>
                  <a:pt x="3268" y="7959"/>
                </a:lnTo>
                <a:close/>
                <a:moveTo>
                  <a:pt x="3347" y="9281"/>
                </a:moveTo>
                <a:lnTo>
                  <a:pt x="3368" y="9266"/>
                </a:lnTo>
                <a:lnTo>
                  <a:pt x="3391" y="9271"/>
                </a:lnTo>
                <a:lnTo>
                  <a:pt x="3371" y="9280"/>
                </a:lnTo>
                <a:lnTo>
                  <a:pt x="3347" y="9281"/>
                </a:lnTo>
                <a:close/>
                <a:moveTo>
                  <a:pt x="3694" y="11287"/>
                </a:moveTo>
                <a:lnTo>
                  <a:pt x="3684" y="11286"/>
                </a:lnTo>
                <a:lnTo>
                  <a:pt x="3679" y="11272"/>
                </a:lnTo>
                <a:lnTo>
                  <a:pt x="3688" y="11277"/>
                </a:lnTo>
                <a:lnTo>
                  <a:pt x="3694" y="11287"/>
                </a:lnTo>
                <a:close/>
                <a:moveTo>
                  <a:pt x="3204" y="8624"/>
                </a:moveTo>
                <a:lnTo>
                  <a:pt x="3214" y="8601"/>
                </a:lnTo>
                <a:lnTo>
                  <a:pt x="3237" y="8594"/>
                </a:lnTo>
                <a:lnTo>
                  <a:pt x="3230" y="8619"/>
                </a:lnTo>
                <a:lnTo>
                  <a:pt x="3204" y="8624"/>
                </a:lnTo>
                <a:close/>
                <a:moveTo>
                  <a:pt x="3649" y="11221"/>
                </a:moveTo>
                <a:lnTo>
                  <a:pt x="3623" y="11224"/>
                </a:lnTo>
                <a:lnTo>
                  <a:pt x="3622" y="11207"/>
                </a:lnTo>
                <a:lnTo>
                  <a:pt x="3635" y="11213"/>
                </a:lnTo>
                <a:lnTo>
                  <a:pt x="3649" y="11221"/>
                </a:lnTo>
                <a:close/>
                <a:moveTo>
                  <a:pt x="3520" y="11076"/>
                </a:moveTo>
                <a:lnTo>
                  <a:pt x="3515" y="11104"/>
                </a:lnTo>
                <a:lnTo>
                  <a:pt x="3480" y="11109"/>
                </a:lnTo>
                <a:lnTo>
                  <a:pt x="3494" y="11086"/>
                </a:lnTo>
                <a:lnTo>
                  <a:pt x="3520" y="11076"/>
                </a:lnTo>
                <a:close/>
                <a:moveTo>
                  <a:pt x="3135" y="8970"/>
                </a:moveTo>
                <a:lnTo>
                  <a:pt x="3134" y="8944"/>
                </a:lnTo>
                <a:lnTo>
                  <a:pt x="3161" y="8932"/>
                </a:lnTo>
                <a:lnTo>
                  <a:pt x="3156" y="8955"/>
                </a:lnTo>
                <a:lnTo>
                  <a:pt x="3135" y="8970"/>
                </a:lnTo>
                <a:close/>
                <a:moveTo>
                  <a:pt x="3117" y="8626"/>
                </a:moveTo>
                <a:lnTo>
                  <a:pt x="3148" y="8540"/>
                </a:lnTo>
                <a:lnTo>
                  <a:pt x="3222" y="8553"/>
                </a:lnTo>
                <a:lnTo>
                  <a:pt x="3203" y="8582"/>
                </a:lnTo>
                <a:lnTo>
                  <a:pt x="3117" y="8626"/>
                </a:lnTo>
                <a:close/>
                <a:moveTo>
                  <a:pt x="3269" y="8514"/>
                </a:moveTo>
                <a:lnTo>
                  <a:pt x="3277" y="8535"/>
                </a:lnTo>
                <a:lnTo>
                  <a:pt x="3286" y="8558"/>
                </a:lnTo>
                <a:lnTo>
                  <a:pt x="3265" y="8540"/>
                </a:lnTo>
                <a:lnTo>
                  <a:pt x="3269" y="8514"/>
                </a:lnTo>
                <a:close/>
                <a:moveTo>
                  <a:pt x="3251" y="8432"/>
                </a:moveTo>
                <a:lnTo>
                  <a:pt x="3254" y="8449"/>
                </a:lnTo>
                <a:lnTo>
                  <a:pt x="3254" y="8465"/>
                </a:lnTo>
                <a:lnTo>
                  <a:pt x="3232" y="8447"/>
                </a:lnTo>
                <a:lnTo>
                  <a:pt x="3251" y="8432"/>
                </a:lnTo>
                <a:close/>
                <a:moveTo>
                  <a:pt x="3162" y="8043"/>
                </a:moveTo>
                <a:lnTo>
                  <a:pt x="3177" y="8044"/>
                </a:lnTo>
                <a:lnTo>
                  <a:pt x="3195" y="8045"/>
                </a:lnTo>
                <a:lnTo>
                  <a:pt x="3176" y="8051"/>
                </a:lnTo>
                <a:lnTo>
                  <a:pt x="3162" y="8043"/>
                </a:lnTo>
                <a:close/>
                <a:moveTo>
                  <a:pt x="3277" y="8814"/>
                </a:moveTo>
                <a:lnTo>
                  <a:pt x="3297" y="8822"/>
                </a:lnTo>
                <a:lnTo>
                  <a:pt x="3275" y="8838"/>
                </a:lnTo>
                <a:lnTo>
                  <a:pt x="3275" y="8827"/>
                </a:lnTo>
                <a:lnTo>
                  <a:pt x="3277" y="8814"/>
                </a:lnTo>
                <a:close/>
                <a:moveTo>
                  <a:pt x="3365" y="9156"/>
                </a:moveTo>
                <a:lnTo>
                  <a:pt x="3387" y="9158"/>
                </a:lnTo>
                <a:lnTo>
                  <a:pt x="3389" y="9183"/>
                </a:lnTo>
                <a:lnTo>
                  <a:pt x="3372" y="9173"/>
                </a:lnTo>
                <a:lnTo>
                  <a:pt x="3365" y="9156"/>
                </a:lnTo>
                <a:close/>
                <a:moveTo>
                  <a:pt x="3268" y="8715"/>
                </a:moveTo>
                <a:lnTo>
                  <a:pt x="3297" y="8720"/>
                </a:lnTo>
                <a:lnTo>
                  <a:pt x="3326" y="8704"/>
                </a:lnTo>
                <a:lnTo>
                  <a:pt x="3308" y="8741"/>
                </a:lnTo>
                <a:lnTo>
                  <a:pt x="3268" y="8715"/>
                </a:lnTo>
                <a:close/>
                <a:moveTo>
                  <a:pt x="3270" y="8223"/>
                </a:moveTo>
                <a:lnTo>
                  <a:pt x="3265" y="8244"/>
                </a:lnTo>
                <a:lnTo>
                  <a:pt x="3241" y="8245"/>
                </a:lnTo>
                <a:lnTo>
                  <a:pt x="3251" y="8231"/>
                </a:lnTo>
                <a:lnTo>
                  <a:pt x="3270" y="8223"/>
                </a:lnTo>
                <a:close/>
                <a:moveTo>
                  <a:pt x="3115" y="7283"/>
                </a:moveTo>
                <a:lnTo>
                  <a:pt x="3129" y="7274"/>
                </a:lnTo>
                <a:lnTo>
                  <a:pt x="3125" y="7285"/>
                </a:lnTo>
                <a:lnTo>
                  <a:pt x="3115" y="7283"/>
                </a:lnTo>
                <a:close/>
                <a:moveTo>
                  <a:pt x="3772" y="11495"/>
                </a:moveTo>
                <a:lnTo>
                  <a:pt x="3790" y="11496"/>
                </a:lnTo>
                <a:lnTo>
                  <a:pt x="3806" y="11492"/>
                </a:lnTo>
                <a:lnTo>
                  <a:pt x="3792" y="11511"/>
                </a:lnTo>
                <a:lnTo>
                  <a:pt x="3772" y="11495"/>
                </a:lnTo>
                <a:close/>
                <a:moveTo>
                  <a:pt x="3778" y="11414"/>
                </a:moveTo>
                <a:lnTo>
                  <a:pt x="3786" y="11421"/>
                </a:lnTo>
                <a:lnTo>
                  <a:pt x="3786" y="11427"/>
                </a:lnTo>
                <a:lnTo>
                  <a:pt x="3781" y="11422"/>
                </a:lnTo>
                <a:lnTo>
                  <a:pt x="3778" y="11414"/>
                </a:lnTo>
                <a:close/>
                <a:moveTo>
                  <a:pt x="3021" y="7039"/>
                </a:moveTo>
                <a:lnTo>
                  <a:pt x="3033" y="7039"/>
                </a:lnTo>
                <a:lnTo>
                  <a:pt x="3046" y="7039"/>
                </a:lnTo>
                <a:lnTo>
                  <a:pt x="3035" y="7048"/>
                </a:lnTo>
                <a:lnTo>
                  <a:pt x="3021" y="7039"/>
                </a:lnTo>
                <a:close/>
                <a:moveTo>
                  <a:pt x="3207" y="8339"/>
                </a:moveTo>
                <a:lnTo>
                  <a:pt x="3185" y="8338"/>
                </a:lnTo>
                <a:lnTo>
                  <a:pt x="3181" y="8311"/>
                </a:lnTo>
                <a:lnTo>
                  <a:pt x="3195" y="8321"/>
                </a:lnTo>
                <a:lnTo>
                  <a:pt x="3207" y="8339"/>
                </a:lnTo>
                <a:close/>
                <a:moveTo>
                  <a:pt x="3236" y="8489"/>
                </a:moveTo>
                <a:lnTo>
                  <a:pt x="3168" y="8489"/>
                </a:lnTo>
                <a:lnTo>
                  <a:pt x="3089" y="8498"/>
                </a:lnTo>
                <a:lnTo>
                  <a:pt x="3135" y="8460"/>
                </a:lnTo>
                <a:lnTo>
                  <a:pt x="3236" y="8489"/>
                </a:lnTo>
                <a:close/>
                <a:moveTo>
                  <a:pt x="3068" y="8566"/>
                </a:moveTo>
                <a:lnTo>
                  <a:pt x="3059" y="8540"/>
                </a:lnTo>
                <a:lnTo>
                  <a:pt x="3089" y="8522"/>
                </a:lnTo>
                <a:lnTo>
                  <a:pt x="3092" y="8549"/>
                </a:lnTo>
                <a:lnTo>
                  <a:pt x="3068" y="8566"/>
                </a:lnTo>
                <a:close/>
                <a:moveTo>
                  <a:pt x="3089" y="8988"/>
                </a:moveTo>
                <a:lnTo>
                  <a:pt x="3063" y="8986"/>
                </a:lnTo>
                <a:lnTo>
                  <a:pt x="3050" y="8969"/>
                </a:lnTo>
                <a:lnTo>
                  <a:pt x="3077" y="8965"/>
                </a:lnTo>
                <a:lnTo>
                  <a:pt x="3089" y="8988"/>
                </a:lnTo>
                <a:close/>
                <a:moveTo>
                  <a:pt x="3493" y="11394"/>
                </a:moveTo>
                <a:lnTo>
                  <a:pt x="3465" y="11384"/>
                </a:lnTo>
                <a:lnTo>
                  <a:pt x="3447" y="11369"/>
                </a:lnTo>
                <a:lnTo>
                  <a:pt x="3473" y="11374"/>
                </a:lnTo>
                <a:lnTo>
                  <a:pt x="3493" y="11394"/>
                </a:lnTo>
                <a:close/>
                <a:moveTo>
                  <a:pt x="3042" y="8716"/>
                </a:moveTo>
                <a:lnTo>
                  <a:pt x="3064" y="8682"/>
                </a:lnTo>
                <a:lnTo>
                  <a:pt x="3096" y="8708"/>
                </a:lnTo>
                <a:lnTo>
                  <a:pt x="3069" y="8720"/>
                </a:lnTo>
                <a:lnTo>
                  <a:pt x="3042" y="8716"/>
                </a:lnTo>
                <a:close/>
                <a:moveTo>
                  <a:pt x="3550" y="11343"/>
                </a:moveTo>
                <a:lnTo>
                  <a:pt x="3584" y="11367"/>
                </a:lnTo>
                <a:lnTo>
                  <a:pt x="3570" y="11390"/>
                </a:lnTo>
                <a:lnTo>
                  <a:pt x="3559" y="11367"/>
                </a:lnTo>
                <a:lnTo>
                  <a:pt x="3550" y="11343"/>
                </a:lnTo>
                <a:close/>
                <a:moveTo>
                  <a:pt x="3623" y="11504"/>
                </a:moveTo>
                <a:lnTo>
                  <a:pt x="3621" y="11518"/>
                </a:lnTo>
                <a:lnTo>
                  <a:pt x="3617" y="11504"/>
                </a:lnTo>
                <a:lnTo>
                  <a:pt x="3623" y="11504"/>
                </a:lnTo>
                <a:close/>
                <a:moveTo>
                  <a:pt x="3599" y="11594"/>
                </a:moveTo>
                <a:lnTo>
                  <a:pt x="3636" y="11594"/>
                </a:lnTo>
                <a:lnTo>
                  <a:pt x="3627" y="11616"/>
                </a:lnTo>
                <a:lnTo>
                  <a:pt x="3603" y="11616"/>
                </a:lnTo>
                <a:lnTo>
                  <a:pt x="3599" y="11594"/>
                </a:lnTo>
                <a:close/>
                <a:moveTo>
                  <a:pt x="3573" y="11197"/>
                </a:moveTo>
                <a:lnTo>
                  <a:pt x="3544" y="11244"/>
                </a:lnTo>
                <a:lnTo>
                  <a:pt x="3529" y="11236"/>
                </a:lnTo>
                <a:lnTo>
                  <a:pt x="3567" y="11180"/>
                </a:lnTo>
                <a:lnTo>
                  <a:pt x="3573" y="11197"/>
                </a:lnTo>
                <a:close/>
                <a:moveTo>
                  <a:pt x="3232" y="9137"/>
                </a:moveTo>
                <a:lnTo>
                  <a:pt x="3236" y="9100"/>
                </a:lnTo>
                <a:lnTo>
                  <a:pt x="3270" y="9107"/>
                </a:lnTo>
                <a:lnTo>
                  <a:pt x="3256" y="9128"/>
                </a:lnTo>
                <a:lnTo>
                  <a:pt x="3232" y="9137"/>
                </a:lnTo>
                <a:close/>
                <a:moveTo>
                  <a:pt x="3227" y="8846"/>
                </a:moveTo>
                <a:lnTo>
                  <a:pt x="3213" y="8827"/>
                </a:lnTo>
                <a:lnTo>
                  <a:pt x="3200" y="8808"/>
                </a:lnTo>
                <a:lnTo>
                  <a:pt x="3236" y="8816"/>
                </a:lnTo>
                <a:lnTo>
                  <a:pt x="3227" y="8846"/>
                </a:lnTo>
                <a:close/>
                <a:moveTo>
                  <a:pt x="3749" y="11574"/>
                </a:moveTo>
                <a:lnTo>
                  <a:pt x="3804" y="11561"/>
                </a:lnTo>
                <a:lnTo>
                  <a:pt x="3799" y="11583"/>
                </a:lnTo>
                <a:lnTo>
                  <a:pt x="3780" y="11581"/>
                </a:lnTo>
                <a:lnTo>
                  <a:pt x="3749" y="11574"/>
                </a:lnTo>
                <a:close/>
                <a:moveTo>
                  <a:pt x="3846" y="11765"/>
                </a:moveTo>
                <a:lnTo>
                  <a:pt x="3827" y="11775"/>
                </a:lnTo>
                <a:lnTo>
                  <a:pt x="3814" y="11763"/>
                </a:lnTo>
                <a:lnTo>
                  <a:pt x="3829" y="11763"/>
                </a:lnTo>
                <a:lnTo>
                  <a:pt x="3846" y="11765"/>
                </a:lnTo>
                <a:close/>
                <a:moveTo>
                  <a:pt x="3773" y="11712"/>
                </a:moveTo>
                <a:lnTo>
                  <a:pt x="3761" y="11720"/>
                </a:lnTo>
                <a:lnTo>
                  <a:pt x="3750" y="11726"/>
                </a:lnTo>
                <a:lnTo>
                  <a:pt x="3757" y="11712"/>
                </a:lnTo>
                <a:lnTo>
                  <a:pt x="3773" y="11712"/>
                </a:lnTo>
                <a:close/>
                <a:moveTo>
                  <a:pt x="3842" y="11842"/>
                </a:moveTo>
                <a:lnTo>
                  <a:pt x="3882" y="11856"/>
                </a:lnTo>
                <a:lnTo>
                  <a:pt x="3910" y="11832"/>
                </a:lnTo>
                <a:lnTo>
                  <a:pt x="3941" y="11831"/>
                </a:lnTo>
                <a:lnTo>
                  <a:pt x="3893" y="11865"/>
                </a:lnTo>
                <a:lnTo>
                  <a:pt x="3831" y="11884"/>
                </a:lnTo>
                <a:lnTo>
                  <a:pt x="3818" y="11874"/>
                </a:lnTo>
                <a:lnTo>
                  <a:pt x="3790" y="11852"/>
                </a:lnTo>
                <a:lnTo>
                  <a:pt x="3842" y="11842"/>
                </a:lnTo>
                <a:close/>
                <a:moveTo>
                  <a:pt x="3912" y="12239"/>
                </a:moveTo>
                <a:lnTo>
                  <a:pt x="3889" y="12270"/>
                </a:lnTo>
                <a:lnTo>
                  <a:pt x="3879" y="12232"/>
                </a:lnTo>
                <a:lnTo>
                  <a:pt x="3904" y="12225"/>
                </a:lnTo>
                <a:lnTo>
                  <a:pt x="3912" y="12239"/>
                </a:lnTo>
                <a:close/>
                <a:moveTo>
                  <a:pt x="3871" y="12048"/>
                </a:moveTo>
                <a:lnTo>
                  <a:pt x="3882" y="12056"/>
                </a:lnTo>
                <a:lnTo>
                  <a:pt x="3880" y="12069"/>
                </a:lnTo>
                <a:lnTo>
                  <a:pt x="3865" y="12062"/>
                </a:lnTo>
                <a:lnTo>
                  <a:pt x="3871" y="12048"/>
                </a:lnTo>
                <a:close/>
                <a:moveTo>
                  <a:pt x="3896" y="12141"/>
                </a:moveTo>
                <a:lnTo>
                  <a:pt x="3899" y="12134"/>
                </a:lnTo>
                <a:lnTo>
                  <a:pt x="3906" y="12134"/>
                </a:lnTo>
                <a:lnTo>
                  <a:pt x="3902" y="12140"/>
                </a:lnTo>
                <a:lnTo>
                  <a:pt x="3896" y="12141"/>
                </a:lnTo>
                <a:close/>
                <a:moveTo>
                  <a:pt x="3913" y="12460"/>
                </a:moveTo>
                <a:lnTo>
                  <a:pt x="3908" y="12485"/>
                </a:lnTo>
                <a:lnTo>
                  <a:pt x="3888" y="12488"/>
                </a:lnTo>
                <a:lnTo>
                  <a:pt x="3901" y="12474"/>
                </a:lnTo>
                <a:lnTo>
                  <a:pt x="3913" y="12460"/>
                </a:lnTo>
                <a:close/>
                <a:moveTo>
                  <a:pt x="3921" y="12494"/>
                </a:moveTo>
                <a:lnTo>
                  <a:pt x="3922" y="12494"/>
                </a:lnTo>
                <a:lnTo>
                  <a:pt x="3925" y="12495"/>
                </a:lnTo>
                <a:lnTo>
                  <a:pt x="3919" y="12504"/>
                </a:lnTo>
                <a:lnTo>
                  <a:pt x="3921" y="12494"/>
                </a:lnTo>
                <a:close/>
                <a:moveTo>
                  <a:pt x="3903" y="12418"/>
                </a:moveTo>
                <a:lnTo>
                  <a:pt x="3933" y="12377"/>
                </a:lnTo>
                <a:lnTo>
                  <a:pt x="3981" y="12418"/>
                </a:lnTo>
                <a:lnTo>
                  <a:pt x="3936" y="12391"/>
                </a:lnTo>
                <a:lnTo>
                  <a:pt x="3903" y="12418"/>
                </a:lnTo>
                <a:close/>
                <a:moveTo>
                  <a:pt x="3962" y="12575"/>
                </a:moveTo>
                <a:lnTo>
                  <a:pt x="3950" y="12563"/>
                </a:lnTo>
                <a:lnTo>
                  <a:pt x="3950" y="12552"/>
                </a:lnTo>
                <a:lnTo>
                  <a:pt x="3963" y="12560"/>
                </a:lnTo>
                <a:lnTo>
                  <a:pt x="3962" y="12575"/>
                </a:lnTo>
                <a:close/>
                <a:moveTo>
                  <a:pt x="4101" y="12721"/>
                </a:moveTo>
                <a:lnTo>
                  <a:pt x="4113" y="12718"/>
                </a:lnTo>
                <a:lnTo>
                  <a:pt x="4121" y="12724"/>
                </a:lnTo>
                <a:lnTo>
                  <a:pt x="4110" y="12726"/>
                </a:lnTo>
                <a:lnTo>
                  <a:pt x="4101" y="12721"/>
                </a:lnTo>
                <a:close/>
                <a:moveTo>
                  <a:pt x="4138" y="12749"/>
                </a:moveTo>
                <a:lnTo>
                  <a:pt x="4158" y="12729"/>
                </a:lnTo>
                <a:lnTo>
                  <a:pt x="4158" y="12759"/>
                </a:lnTo>
                <a:lnTo>
                  <a:pt x="4125" y="12759"/>
                </a:lnTo>
                <a:lnTo>
                  <a:pt x="4138" y="12749"/>
                </a:lnTo>
                <a:close/>
                <a:moveTo>
                  <a:pt x="4152" y="12691"/>
                </a:moveTo>
                <a:lnTo>
                  <a:pt x="4111" y="12675"/>
                </a:lnTo>
                <a:lnTo>
                  <a:pt x="4082" y="12622"/>
                </a:lnTo>
                <a:lnTo>
                  <a:pt x="4153" y="12656"/>
                </a:lnTo>
                <a:lnTo>
                  <a:pt x="4152" y="12691"/>
                </a:lnTo>
                <a:close/>
                <a:moveTo>
                  <a:pt x="4388" y="12715"/>
                </a:moveTo>
                <a:lnTo>
                  <a:pt x="4391" y="12724"/>
                </a:lnTo>
                <a:lnTo>
                  <a:pt x="4340" y="12727"/>
                </a:lnTo>
                <a:lnTo>
                  <a:pt x="4346" y="12719"/>
                </a:lnTo>
                <a:lnTo>
                  <a:pt x="4388" y="12715"/>
                </a:lnTo>
                <a:close/>
                <a:moveTo>
                  <a:pt x="4364" y="12684"/>
                </a:moveTo>
                <a:lnTo>
                  <a:pt x="4372" y="12667"/>
                </a:lnTo>
                <a:lnTo>
                  <a:pt x="4391" y="12664"/>
                </a:lnTo>
                <a:lnTo>
                  <a:pt x="4388" y="12680"/>
                </a:lnTo>
                <a:lnTo>
                  <a:pt x="4364" y="12684"/>
                </a:lnTo>
                <a:close/>
                <a:moveTo>
                  <a:pt x="4374" y="12626"/>
                </a:moveTo>
                <a:lnTo>
                  <a:pt x="4391" y="12622"/>
                </a:lnTo>
                <a:lnTo>
                  <a:pt x="4409" y="12635"/>
                </a:lnTo>
                <a:lnTo>
                  <a:pt x="4387" y="12634"/>
                </a:lnTo>
                <a:lnTo>
                  <a:pt x="4374" y="12626"/>
                </a:lnTo>
                <a:close/>
                <a:moveTo>
                  <a:pt x="4117" y="10946"/>
                </a:moveTo>
                <a:lnTo>
                  <a:pt x="4135" y="10930"/>
                </a:lnTo>
                <a:lnTo>
                  <a:pt x="4154" y="10913"/>
                </a:lnTo>
                <a:lnTo>
                  <a:pt x="4154" y="10951"/>
                </a:lnTo>
                <a:lnTo>
                  <a:pt x="4117" y="10946"/>
                </a:lnTo>
                <a:close/>
                <a:moveTo>
                  <a:pt x="3008" y="4238"/>
                </a:moveTo>
                <a:lnTo>
                  <a:pt x="2995" y="4249"/>
                </a:lnTo>
                <a:lnTo>
                  <a:pt x="2986" y="4247"/>
                </a:lnTo>
                <a:lnTo>
                  <a:pt x="2993" y="4236"/>
                </a:lnTo>
                <a:lnTo>
                  <a:pt x="3008" y="4238"/>
                </a:lnTo>
                <a:close/>
                <a:moveTo>
                  <a:pt x="2928" y="4066"/>
                </a:moveTo>
                <a:lnTo>
                  <a:pt x="2912" y="4067"/>
                </a:lnTo>
                <a:lnTo>
                  <a:pt x="2925" y="4060"/>
                </a:lnTo>
                <a:lnTo>
                  <a:pt x="2926" y="4061"/>
                </a:lnTo>
                <a:lnTo>
                  <a:pt x="2928" y="4066"/>
                </a:lnTo>
                <a:close/>
                <a:moveTo>
                  <a:pt x="3008" y="4660"/>
                </a:moveTo>
                <a:lnTo>
                  <a:pt x="2979" y="4672"/>
                </a:lnTo>
                <a:lnTo>
                  <a:pt x="2960" y="4654"/>
                </a:lnTo>
                <a:lnTo>
                  <a:pt x="2985" y="4653"/>
                </a:lnTo>
                <a:lnTo>
                  <a:pt x="3008" y="4660"/>
                </a:lnTo>
                <a:close/>
                <a:moveTo>
                  <a:pt x="2893" y="4380"/>
                </a:moveTo>
                <a:lnTo>
                  <a:pt x="2912" y="4384"/>
                </a:lnTo>
                <a:lnTo>
                  <a:pt x="2924" y="4399"/>
                </a:lnTo>
                <a:lnTo>
                  <a:pt x="2902" y="4399"/>
                </a:lnTo>
                <a:lnTo>
                  <a:pt x="2893" y="4380"/>
                </a:lnTo>
                <a:close/>
                <a:moveTo>
                  <a:pt x="2974" y="4981"/>
                </a:moveTo>
                <a:lnTo>
                  <a:pt x="2956" y="4968"/>
                </a:lnTo>
                <a:lnTo>
                  <a:pt x="2966" y="4946"/>
                </a:lnTo>
                <a:lnTo>
                  <a:pt x="2970" y="4966"/>
                </a:lnTo>
                <a:lnTo>
                  <a:pt x="2974" y="4981"/>
                </a:lnTo>
                <a:close/>
                <a:moveTo>
                  <a:pt x="2915" y="4772"/>
                </a:moveTo>
                <a:lnTo>
                  <a:pt x="2890" y="4793"/>
                </a:lnTo>
                <a:lnTo>
                  <a:pt x="2854" y="4805"/>
                </a:lnTo>
                <a:lnTo>
                  <a:pt x="2867" y="4777"/>
                </a:lnTo>
                <a:lnTo>
                  <a:pt x="2915" y="4772"/>
                </a:lnTo>
                <a:close/>
                <a:moveTo>
                  <a:pt x="2942" y="5097"/>
                </a:moveTo>
                <a:lnTo>
                  <a:pt x="2938" y="5108"/>
                </a:lnTo>
                <a:lnTo>
                  <a:pt x="2930" y="5114"/>
                </a:lnTo>
                <a:lnTo>
                  <a:pt x="2932" y="5100"/>
                </a:lnTo>
                <a:lnTo>
                  <a:pt x="2942" y="5097"/>
                </a:lnTo>
                <a:close/>
                <a:moveTo>
                  <a:pt x="2981" y="5466"/>
                </a:moveTo>
                <a:lnTo>
                  <a:pt x="3087" y="5433"/>
                </a:lnTo>
                <a:lnTo>
                  <a:pt x="3103" y="5483"/>
                </a:lnTo>
                <a:lnTo>
                  <a:pt x="2985" y="5520"/>
                </a:lnTo>
                <a:lnTo>
                  <a:pt x="2981" y="5466"/>
                </a:lnTo>
                <a:close/>
                <a:moveTo>
                  <a:pt x="2892" y="5100"/>
                </a:moveTo>
                <a:lnTo>
                  <a:pt x="2870" y="5103"/>
                </a:lnTo>
                <a:lnTo>
                  <a:pt x="2847" y="5108"/>
                </a:lnTo>
                <a:lnTo>
                  <a:pt x="2863" y="5084"/>
                </a:lnTo>
                <a:lnTo>
                  <a:pt x="2892" y="5100"/>
                </a:lnTo>
                <a:close/>
                <a:moveTo>
                  <a:pt x="2839" y="4814"/>
                </a:moveTo>
                <a:lnTo>
                  <a:pt x="2840" y="4822"/>
                </a:lnTo>
                <a:lnTo>
                  <a:pt x="2839" y="4814"/>
                </a:lnTo>
                <a:lnTo>
                  <a:pt x="2849" y="4819"/>
                </a:lnTo>
                <a:lnTo>
                  <a:pt x="2839" y="4814"/>
                </a:lnTo>
                <a:close/>
                <a:moveTo>
                  <a:pt x="2756" y="4536"/>
                </a:moveTo>
                <a:lnTo>
                  <a:pt x="2732" y="4519"/>
                </a:lnTo>
                <a:lnTo>
                  <a:pt x="2704" y="4500"/>
                </a:lnTo>
                <a:lnTo>
                  <a:pt x="2765" y="4486"/>
                </a:lnTo>
                <a:lnTo>
                  <a:pt x="2756" y="4536"/>
                </a:lnTo>
                <a:close/>
                <a:moveTo>
                  <a:pt x="3221" y="7706"/>
                </a:moveTo>
                <a:lnTo>
                  <a:pt x="3232" y="7687"/>
                </a:lnTo>
                <a:lnTo>
                  <a:pt x="3255" y="7692"/>
                </a:lnTo>
                <a:lnTo>
                  <a:pt x="3236" y="7700"/>
                </a:lnTo>
                <a:lnTo>
                  <a:pt x="3221" y="7706"/>
                </a:lnTo>
                <a:close/>
                <a:moveTo>
                  <a:pt x="2790" y="5116"/>
                </a:moveTo>
                <a:lnTo>
                  <a:pt x="2803" y="5108"/>
                </a:lnTo>
                <a:lnTo>
                  <a:pt x="2816" y="5100"/>
                </a:lnTo>
                <a:lnTo>
                  <a:pt x="2814" y="5114"/>
                </a:lnTo>
                <a:lnTo>
                  <a:pt x="2790" y="5116"/>
                </a:lnTo>
                <a:close/>
                <a:moveTo>
                  <a:pt x="2769" y="4957"/>
                </a:moveTo>
                <a:lnTo>
                  <a:pt x="2751" y="4963"/>
                </a:lnTo>
                <a:lnTo>
                  <a:pt x="2732" y="4956"/>
                </a:lnTo>
                <a:lnTo>
                  <a:pt x="2762" y="4925"/>
                </a:lnTo>
                <a:lnTo>
                  <a:pt x="2769" y="4957"/>
                </a:lnTo>
                <a:close/>
                <a:moveTo>
                  <a:pt x="2771" y="5073"/>
                </a:moveTo>
                <a:lnTo>
                  <a:pt x="2668" y="5140"/>
                </a:lnTo>
                <a:lnTo>
                  <a:pt x="2648" y="5108"/>
                </a:lnTo>
                <a:lnTo>
                  <a:pt x="2714" y="5101"/>
                </a:lnTo>
                <a:lnTo>
                  <a:pt x="2771" y="5073"/>
                </a:lnTo>
                <a:close/>
                <a:moveTo>
                  <a:pt x="2697" y="5033"/>
                </a:moveTo>
                <a:lnTo>
                  <a:pt x="2678" y="5035"/>
                </a:lnTo>
                <a:lnTo>
                  <a:pt x="2663" y="5028"/>
                </a:lnTo>
                <a:lnTo>
                  <a:pt x="2679" y="5027"/>
                </a:lnTo>
                <a:lnTo>
                  <a:pt x="2697" y="5033"/>
                </a:lnTo>
                <a:close/>
                <a:moveTo>
                  <a:pt x="2676" y="4906"/>
                </a:moveTo>
                <a:lnTo>
                  <a:pt x="2691" y="4897"/>
                </a:lnTo>
                <a:lnTo>
                  <a:pt x="2707" y="4887"/>
                </a:lnTo>
                <a:lnTo>
                  <a:pt x="2696" y="4910"/>
                </a:lnTo>
                <a:lnTo>
                  <a:pt x="2676" y="4906"/>
                </a:lnTo>
                <a:close/>
                <a:moveTo>
                  <a:pt x="2654" y="4808"/>
                </a:moveTo>
                <a:lnTo>
                  <a:pt x="2672" y="4789"/>
                </a:lnTo>
                <a:lnTo>
                  <a:pt x="2701" y="4781"/>
                </a:lnTo>
                <a:lnTo>
                  <a:pt x="2697" y="4808"/>
                </a:lnTo>
                <a:lnTo>
                  <a:pt x="2654" y="4808"/>
                </a:lnTo>
                <a:close/>
                <a:moveTo>
                  <a:pt x="2557" y="5126"/>
                </a:moveTo>
                <a:lnTo>
                  <a:pt x="2576" y="5138"/>
                </a:lnTo>
                <a:lnTo>
                  <a:pt x="2584" y="5157"/>
                </a:lnTo>
                <a:lnTo>
                  <a:pt x="2564" y="5156"/>
                </a:lnTo>
                <a:lnTo>
                  <a:pt x="2557" y="5126"/>
                </a:lnTo>
                <a:close/>
                <a:moveTo>
                  <a:pt x="2818" y="6668"/>
                </a:moveTo>
                <a:lnTo>
                  <a:pt x="2823" y="6686"/>
                </a:lnTo>
                <a:lnTo>
                  <a:pt x="2812" y="6670"/>
                </a:lnTo>
                <a:lnTo>
                  <a:pt x="2818" y="6668"/>
                </a:lnTo>
                <a:close/>
                <a:moveTo>
                  <a:pt x="2742" y="6182"/>
                </a:moveTo>
                <a:lnTo>
                  <a:pt x="2752" y="6176"/>
                </a:lnTo>
                <a:lnTo>
                  <a:pt x="2765" y="6170"/>
                </a:lnTo>
                <a:lnTo>
                  <a:pt x="2756" y="6184"/>
                </a:lnTo>
                <a:lnTo>
                  <a:pt x="2742" y="6182"/>
                </a:lnTo>
                <a:close/>
                <a:moveTo>
                  <a:pt x="2670" y="5582"/>
                </a:moveTo>
                <a:lnTo>
                  <a:pt x="2693" y="5577"/>
                </a:lnTo>
                <a:lnTo>
                  <a:pt x="2709" y="5586"/>
                </a:lnTo>
                <a:lnTo>
                  <a:pt x="2691" y="5590"/>
                </a:lnTo>
                <a:lnTo>
                  <a:pt x="2670" y="5582"/>
                </a:lnTo>
                <a:close/>
                <a:moveTo>
                  <a:pt x="2777" y="6076"/>
                </a:moveTo>
                <a:lnTo>
                  <a:pt x="2770" y="6086"/>
                </a:lnTo>
                <a:lnTo>
                  <a:pt x="2756" y="6087"/>
                </a:lnTo>
                <a:lnTo>
                  <a:pt x="2762" y="6069"/>
                </a:lnTo>
                <a:lnTo>
                  <a:pt x="2777" y="6076"/>
                </a:lnTo>
                <a:close/>
                <a:moveTo>
                  <a:pt x="2906" y="6981"/>
                </a:moveTo>
                <a:lnTo>
                  <a:pt x="2920" y="6992"/>
                </a:lnTo>
                <a:lnTo>
                  <a:pt x="2933" y="7003"/>
                </a:lnTo>
                <a:lnTo>
                  <a:pt x="2902" y="7006"/>
                </a:lnTo>
                <a:lnTo>
                  <a:pt x="2906" y="6981"/>
                </a:lnTo>
                <a:close/>
                <a:moveTo>
                  <a:pt x="2985" y="7318"/>
                </a:moveTo>
                <a:lnTo>
                  <a:pt x="2985" y="7331"/>
                </a:lnTo>
                <a:lnTo>
                  <a:pt x="2966" y="7340"/>
                </a:lnTo>
                <a:lnTo>
                  <a:pt x="2971" y="7322"/>
                </a:lnTo>
                <a:lnTo>
                  <a:pt x="2985" y="7318"/>
                </a:lnTo>
                <a:close/>
                <a:moveTo>
                  <a:pt x="2968" y="7209"/>
                </a:moveTo>
                <a:lnTo>
                  <a:pt x="2970" y="7201"/>
                </a:lnTo>
                <a:lnTo>
                  <a:pt x="2988" y="7207"/>
                </a:lnTo>
                <a:lnTo>
                  <a:pt x="2968" y="7209"/>
                </a:lnTo>
                <a:close/>
                <a:moveTo>
                  <a:pt x="2949" y="6967"/>
                </a:moveTo>
                <a:lnTo>
                  <a:pt x="2967" y="6983"/>
                </a:lnTo>
                <a:lnTo>
                  <a:pt x="2963" y="7003"/>
                </a:lnTo>
                <a:lnTo>
                  <a:pt x="2957" y="6987"/>
                </a:lnTo>
                <a:lnTo>
                  <a:pt x="2949" y="6967"/>
                </a:lnTo>
                <a:close/>
                <a:moveTo>
                  <a:pt x="2672" y="5562"/>
                </a:moveTo>
                <a:lnTo>
                  <a:pt x="2682" y="5504"/>
                </a:lnTo>
                <a:lnTo>
                  <a:pt x="2780" y="5487"/>
                </a:lnTo>
                <a:lnTo>
                  <a:pt x="2741" y="5543"/>
                </a:lnTo>
                <a:lnTo>
                  <a:pt x="2672" y="5562"/>
                </a:lnTo>
                <a:close/>
                <a:moveTo>
                  <a:pt x="3170" y="8183"/>
                </a:moveTo>
                <a:lnTo>
                  <a:pt x="3162" y="8186"/>
                </a:lnTo>
                <a:lnTo>
                  <a:pt x="3154" y="8180"/>
                </a:lnTo>
                <a:lnTo>
                  <a:pt x="3163" y="8176"/>
                </a:lnTo>
                <a:lnTo>
                  <a:pt x="3170" y="8183"/>
                </a:lnTo>
                <a:close/>
                <a:moveTo>
                  <a:pt x="3177" y="8298"/>
                </a:moveTo>
                <a:lnTo>
                  <a:pt x="3148" y="8292"/>
                </a:lnTo>
                <a:lnTo>
                  <a:pt x="3124" y="8287"/>
                </a:lnTo>
                <a:lnTo>
                  <a:pt x="3152" y="8274"/>
                </a:lnTo>
                <a:lnTo>
                  <a:pt x="3177" y="8298"/>
                </a:lnTo>
                <a:close/>
                <a:moveTo>
                  <a:pt x="3154" y="8306"/>
                </a:moveTo>
                <a:lnTo>
                  <a:pt x="3128" y="8328"/>
                </a:lnTo>
                <a:lnTo>
                  <a:pt x="3111" y="8302"/>
                </a:lnTo>
                <a:lnTo>
                  <a:pt x="3133" y="8305"/>
                </a:lnTo>
                <a:lnTo>
                  <a:pt x="3154" y="8306"/>
                </a:lnTo>
                <a:close/>
                <a:moveTo>
                  <a:pt x="3097" y="8235"/>
                </a:moveTo>
                <a:lnTo>
                  <a:pt x="3097" y="8231"/>
                </a:lnTo>
                <a:lnTo>
                  <a:pt x="3097" y="8230"/>
                </a:lnTo>
                <a:lnTo>
                  <a:pt x="3117" y="8226"/>
                </a:lnTo>
                <a:lnTo>
                  <a:pt x="3097" y="8235"/>
                </a:lnTo>
                <a:close/>
                <a:moveTo>
                  <a:pt x="3124" y="8185"/>
                </a:moveTo>
                <a:lnTo>
                  <a:pt x="3130" y="8165"/>
                </a:lnTo>
                <a:lnTo>
                  <a:pt x="3144" y="8172"/>
                </a:lnTo>
                <a:lnTo>
                  <a:pt x="3135" y="8179"/>
                </a:lnTo>
                <a:lnTo>
                  <a:pt x="3124" y="8185"/>
                </a:lnTo>
                <a:close/>
                <a:moveTo>
                  <a:pt x="3077" y="8022"/>
                </a:moveTo>
                <a:lnTo>
                  <a:pt x="3082" y="8002"/>
                </a:lnTo>
                <a:lnTo>
                  <a:pt x="3087" y="7981"/>
                </a:lnTo>
                <a:lnTo>
                  <a:pt x="3110" y="8007"/>
                </a:lnTo>
                <a:lnTo>
                  <a:pt x="3077" y="8022"/>
                </a:lnTo>
                <a:close/>
                <a:moveTo>
                  <a:pt x="3109" y="8109"/>
                </a:moveTo>
                <a:lnTo>
                  <a:pt x="3092" y="8125"/>
                </a:lnTo>
                <a:lnTo>
                  <a:pt x="3078" y="8114"/>
                </a:lnTo>
                <a:lnTo>
                  <a:pt x="3088" y="8095"/>
                </a:lnTo>
                <a:lnTo>
                  <a:pt x="3109" y="8109"/>
                </a:lnTo>
                <a:close/>
                <a:moveTo>
                  <a:pt x="3054" y="7960"/>
                </a:moveTo>
                <a:lnTo>
                  <a:pt x="3026" y="7939"/>
                </a:lnTo>
                <a:lnTo>
                  <a:pt x="3019" y="7906"/>
                </a:lnTo>
                <a:lnTo>
                  <a:pt x="3053" y="7917"/>
                </a:lnTo>
                <a:lnTo>
                  <a:pt x="3054" y="7960"/>
                </a:lnTo>
                <a:close/>
                <a:moveTo>
                  <a:pt x="3139" y="8353"/>
                </a:moveTo>
                <a:lnTo>
                  <a:pt x="3120" y="8380"/>
                </a:lnTo>
                <a:lnTo>
                  <a:pt x="3083" y="8373"/>
                </a:lnTo>
                <a:lnTo>
                  <a:pt x="3096" y="8345"/>
                </a:lnTo>
                <a:lnTo>
                  <a:pt x="3139" y="8353"/>
                </a:lnTo>
                <a:close/>
                <a:moveTo>
                  <a:pt x="3073" y="8329"/>
                </a:moveTo>
                <a:lnTo>
                  <a:pt x="3047" y="8314"/>
                </a:lnTo>
                <a:lnTo>
                  <a:pt x="3070" y="8371"/>
                </a:lnTo>
                <a:lnTo>
                  <a:pt x="3028" y="8329"/>
                </a:lnTo>
                <a:lnTo>
                  <a:pt x="2976" y="8329"/>
                </a:lnTo>
                <a:lnTo>
                  <a:pt x="3002" y="8289"/>
                </a:lnTo>
                <a:lnTo>
                  <a:pt x="3073" y="8329"/>
                </a:lnTo>
                <a:close/>
                <a:moveTo>
                  <a:pt x="2974" y="8216"/>
                </a:moveTo>
                <a:lnTo>
                  <a:pt x="2961" y="8208"/>
                </a:lnTo>
                <a:lnTo>
                  <a:pt x="2974" y="8193"/>
                </a:lnTo>
                <a:lnTo>
                  <a:pt x="2974" y="8204"/>
                </a:lnTo>
                <a:lnTo>
                  <a:pt x="2974" y="8216"/>
                </a:lnTo>
                <a:close/>
                <a:moveTo>
                  <a:pt x="2989" y="8251"/>
                </a:moveTo>
                <a:lnTo>
                  <a:pt x="3019" y="8251"/>
                </a:lnTo>
                <a:lnTo>
                  <a:pt x="3008" y="8268"/>
                </a:lnTo>
                <a:lnTo>
                  <a:pt x="2970" y="8250"/>
                </a:lnTo>
                <a:lnTo>
                  <a:pt x="2989" y="8251"/>
                </a:lnTo>
                <a:close/>
                <a:moveTo>
                  <a:pt x="2928" y="8057"/>
                </a:moveTo>
                <a:lnTo>
                  <a:pt x="2934" y="8051"/>
                </a:lnTo>
                <a:lnTo>
                  <a:pt x="2928" y="8057"/>
                </a:lnTo>
                <a:lnTo>
                  <a:pt x="2929" y="8045"/>
                </a:lnTo>
                <a:lnTo>
                  <a:pt x="2928" y="8057"/>
                </a:lnTo>
                <a:close/>
                <a:moveTo>
                  <a:pt x="3002" y="7855"/>
                </a:moveTo>
                <a:lnTo>
                  <a:pt x="2976" y="7852"/>
                </a:lnTo>
                <a:lnTo>
                  <a:pt x="2991" y="7845"/>
                </a:lnTo>
                <a:lnTo>
                  <a:pt x="3002" y="7855"/>
                </a:lnTo>
                <a:close/>
                <a:moveTo>
                  <a:pt x="2932" y="7649"/>
                </a:moveTo>
                <a:lnTo>
                  <a:pt x="2923" y="7601"/>
                </a:lnTo>
                <a:lnTo>
                  <a:pt x="2932" y="7555"/>
                </a:lnTo>
                <a:lnTo>
                  <a:pt x="2960" y="7593"/>
                </a:lnTo>
                <a:lnTo>
                  <a:pt x="2932" y="7649"/>
                </a:lnTo>
                <a:close/>
                <a:moveTo>
                  <a:pt x="3037" y="8202"/>
                </a:moveTo>
                <a:lnTo>
                  <a:pt x="3018" y="8198"/>
                </a:lnTo>
                <a:lnTo>
                  <a:pt x="2996" y="8193"/>
                </a:lnTo>
                <a:lnTo>
                  <a:pt x="3022" y="8179"/>
                </a:lnTo>
                <a:lnTo>
                  <a:pt x="3037" y="8202"/>
                </a:lnTo>
                <a:close/>
                <a:moveTo>
                  <a:pt x="2985" y="8085"/>
                </a:moveTo>
                <a:lnTo>
                  <a:pt x="2971" y="8079"/>
                </a:lnTo>
                <a:lnTo>
                  <a:pt x="2974" y="8063"/>
                </a:lnTo>
                <a:lnTo>
                  <a:pt x="2986" y="8076"/>
                </a:lnTo>
                <a:lnTo>
                  <a:pt x="2985" y="8085"/>
                </a:lnTo>
                <a:close/>
                <a:moveTo>
                  <a:pt x="2948" y="7945"/>
                </a:moveTo>
                <a:lnTo>
                  <a:pt x="2930" y="7937"/>
                </a:lnTo>
                <a:lnTo>
                  <a:pt x="2920" y="7923"/>
                </a:lnTo>
                <a:lnTo>
                  <a:pt x="2948" y="7923"/>
                </a:lnTo>
                <a:lnTo>
                  <a:pt x="2948" y="7945"/>
                </a:lnTo>
                <a:close/>
                <a:moveTo>
                  <a:pt x="2911" y="7826"/>
                </a:moveTo>
                <a:lnTo>
                  <a:pt x="2888" y="7806"/>
                </a:lnTo>
                <a:lnTo>
                  <a:pt x="2911" y="7785"/>
                </a:lnTo>
                <a:lnTo>
                  <a:pt x="2919" y="7806"/>
                </a:lnTo>
                <a:lnTo>
                  <a:pt x="2911" y="7826"/>
                </a:lnTo>
                <a:close/>
                <a:moveTo>
                  <a:pt x="2930" y="8016"/>
                </a:moveTo>
                <a:lnTo>
                  <a:pt x="2920" y="8016"/>
                </a:lnTo>
                <a:lnTo>
                  <a:pt x="2930" y="8016"/>
                </a:lnTo>
                <a:lnTo>
                  <a:pt x="2919" y="8026"/>
                </a:lnTo>
                <a:lnTo>
                  <a:pt x="2930" y="8016"/>
                </a:lnTo>
                <a:close/>
                <a:moveTo>
                  <a:pt x="2845" y="7962"/>
                </a:moveTo>
                <a:lnTo>
                  <a:pt x="2882" y="7957"/>
                </a:lnTo>
                <a:lnTo>
                  <a:pt x="2901" y="7992"/>
                </a:lnTo>
                <a:lnTo>
                  <a:pt x="2872" y="7976"/>
                </a:lnTo>
                <a:lnTo>
                  <a:pt x="2845" y="7962"/>
                </a:lnTo>
                <a:close/>
                <a:moveTo>
                  <a:pt x="2828" y="7855"/>
                </a:moveTo>
                <a:lnTo>
                  <a:pt x="2839" y="7841"/>
                </a:lnTo>
                <a:lnTo>
                  <a:pt x="2849" y="7829"/>
                </a:lnTo>
                <a:lnTo>
                  <a:pt x="2849" y="7848"/>
                </a:lnTo>
                <a:lnTo>
                  <a:pt x="2828" y="7855"/>
                </a:lnTo>
                <a:close/>
                <a:moveTo>
                  <a:pt x="2716" y="7428"/>
                </a:moveTo>
                <a:lnTo>
                  <a:pt x="2687" y="7405"/>
                </a:lnTo>
                <a:lnTo>
                  <a:pt x="2677" y="7376"/>
                </a:lnTo>
                <a:lnTo>
                  <a:pt x="2701" y="7397"/>
                </a:lnTo>
                <a:lnTo>
                  <a:pt x="2716" y="7428"/>
                </a:lnTo>
                <a:close/>
                <a:moveTo>
                  <a:pt x="2711" y="7522"/>
                </a:moveTo>
                <a:lnTo>
                  <a:pt x="2738" y="7517"/>
                </a:lnTo>
                <a:lnTo>
                  <a:pt x="2687" y="7560"/>
                </a:lnTo>
                <a:lnTo>
                  <a:pt x="2682" y="7537"/>
                </a:lnTo>
                <a:lnTo>
                  <a:pt x="2711" y="7522"/>
                </a:lnTo>
                <a:close/>
                <a:moveTo>
                  <a:pt x="2677" y="7639"/>
                </a:moveTo>
                <a:lnTo>
                  <a:pt x="2714" y="7614"/>
                </a:lnTo>
                <a:lnTo>
                  <a:pt x="2772" y="7592"/>
                </a:lnTo>
                <a:lnTo>
                  <a:pt x="2771" y="7640"/>
                </a:lnTo>
                <a:lnTo>
                  <a:pt x="2677" y="7639"/>
                </a:lnTo>
                <a:close/>
                <a:moveTo>
                  <a:pt x="2683" y="7788"/>
                </a:moveTo>
                <a:lnTo>
                  <a:pt x="2700" y="7782"/>
                </a:lnTo>
                <a:lnTo>
                  <a:pt x="2705" y="7801"/>
                </a:lnTo>
                <a:lnTo>
                  <a:pt x="2687" y="7815"/>
                </a:lnTo>
                <a:lnTo>
                  <a:pt x="2683" y="7788"/>
                </a:lnTo>
                <a:close/>
                <a:moveTo>
                  <a:pt x="2772" y="8211"/>
                </a:moveTo>
                <a:lnTo>
                  <a:pt x="2780" y="8232"/>
                </a:lnTo>
                <a:lnTo>
                  <a:pt x="2767" y="8253"/>
                </a:lnTo>
                <a:lnTo>
                  <a:pt x="2751" y="8227"/>
                </a:lnTo>
                <a:lnTo>
                  <a:pt x="2772" y="8211"/>
                </a:lnTo>
                <a:close/>
                <a:moveTo>
                  <a:pt x="2785" y="8301"/>
                </a:moveTo>
                <a:lnTo>
                  <a:pt x="2770" y="8300"/>
                </a:lnTo>
                <a:lnTo>
                  <a:pt x="2751" y="8286"/>
                </a:lnTo>
                <a:lnTo>
                  <a:pt x="2772" y="8288"/>
                </a:lnTo>
                <a:lnTo>
                  <a:pt x="2785" y="8301"/>
                </a:lnTo>
                <a:close/>
                <a:moveTo>
                  <a:pt x="2721" y="8102"/>
                </a:moveTo>
                <a:lnTo>
                  <a:pt x="2710" y="8102"/>
                </a:lnTo>
                <a:lnTo>
                  <a:pt x="2723" y="8088"/>
                </a:lnTo>
                <a:lnTo>
                  <a:pt x="2723" y="8097"/>
                </a:lnTo>
                <a:lnTo>
                  <a:pt x="2721" y="8102"/>
                </a:lnTo>
                <a:close/>
                <a:moveTo>
                  <a:pt x="2614" y="7442"/>
                </a:moveTo>
                <a:lnTo>
                  <a:pt x="2602" y="7446"/>
                </a:lnTo>
                <a:lnTo>
                  <a:pt x="2590" y="7448"/>
                </a:lnTo>
                <a:lnTo>
                  <a:pt x="2600" y="7432"/>
                </a:lnTo>
                <a:lnTo>
                  <a:pt x="2614" y="7442"/>
                </a:lnTo>
                <a:close/>
                <a:moveTo>
                  <a:pt x="2664" y="7863"/>
                </a:moveTo>
                <a:lnTo>
                  <a:pt x="2645" y="7860"/>
                </a:lnTo>
                <a:lnTo>
                  <a:pt x="2649" y="7841"/>
                </a:lnTo>
                <a:lnTo>
                  <a:pt x="2658" y="7853"/>
                </a:lnTo>
                <a:lnTo>
                  <a:pt x="2664" y="7863"/>
                </a:lnTo>
                <a:close/>
                <a:moveTo>
                  <a:pt x="2589" y="7367"/>
                </a:moveTo>
                <a:lnTo>
                  <a:pt x="2570" y="7378"/>
                </a:lnTo>
                <a:lnTo>
                  <a:pt x="2553" y="7390"/>
                </a:lnTo>
                <a:lnTo>
                  <a:pt x="2564" y="7369"/>
                </a:lnTo>
                <a:lnTo>
                  <a:pt x="2589" y="7367"/>
                </a:lnTo>
                <a:close/>
                <a:moveTo>
                  <a:pt x="2709" y="8260"/>
                </a:moveTo>
                <a:lnTo>
                  <a:pt x="2691" y="8261"/>
                </a:lnTo>
                <a:lnTo>
                  <a:pt x="2691" y="8245"/>
                </a:lnTo>
                <a:lnTo>
                  <a:pt x="2698" y="8253"/>
                </a:lnTo>
                <a:lnTo>
                  <a:pt x="2709" y="8260"/>
                </a:lnTo>
                <a:close/>
                <a:moveTo>
                  <a:pt x="2529" y="7421"/>
                </a:moveTo>
                <a:lnTo>
                  <a:pt x="2539" y="7430"/>
                </a:lnTo>
                <a:lnTo>
                  <a:pt x="2537" y="7440"/>
                </a:lnTo>
                <a:lnTo>
                  <a:pt x="2527" y="7435"/>
                </a:lnTo>
                <a:lnTo>
                  <a:pt x="2529" y="7421"/>
                </a:lnTo>
                <a:close/>
                <a:moveTo>
                  <a:pt x="2583" y="7634"/>
                </a:moveTo>
                <a:lnTo>
                  <a:pt x="2576" y="7664"/>
                </a:lnTo>
                <a:lnTo>
                  <a:pt x="2556" y="7690"/>
                </a:lnTo>
                <a:lnTo>
                  <a:pt x="2551" y="7652"/>
                </a:lnTo>
                <a:lnTo>
                  <a:pt x="2583" y="7634"/>
                </a:lnTo>
                <a:close/>
                <a:moveTo>
                  <a:pt x="2618" y="7820"/>
                </a:moveTo>
                <a:lnTo>
                  <a:pt x="2604" y="7841"/>
                </a:lnTo>
                <a:lnTo>
                  <a:pt x="2589" y="7863"/>
                </a:lnTo>
                <a:lnTo>
                  <a:pt x="2589" y="7832"/>
                </a:lnTo>
                <a:lnTo>
                  <a:pt x="2618" y="7820"/>
                </a:lnTo>
                <a:close/>
                <a:moveTo>
                  <a:pt x="2662" y="8077"/>
                </a:moveTo>
                <a:lnTo>
                  <a:pt x="2635" y="8092"/>
                </a:lnTo>
                <a:lnTo>
                  <a:pt x="2613" y="8113"/>
                </a:lnTo>
                <a:lnTo>
                  <a:pt x="2616" y="8083"/>
                </a:lnTo>
                <a:lnTo>
                  <a:pt x="2662" y="8077"/>
                </a:lnTo>
                <a:close/>
                <a:moveTo>
                  <a:pt x="2662" y="8270"/>
                </a:moveTo>
                <a:lnTo>
                  <a:pt x="2724" y="8325"/>
                </a:lnTo>
                <a:lnTo>
                  <a:pt x="2640" y="8357"/>
                </a:lnTo>
                <a:lnTo>
                  <a:pt x="2635" y="8286"/>
                </a:lnTo>
                <a:lnTo>
                  <a:pt x="2662" y="8270"/>
                </a:lnTo>
                <a:close/>
                <a:moveTo>
                  <a:pt x="2678" y="8484"/>
                </a:moveTo>
                <a:lnTo>
                  <a:pt x="2719" y="8478"/>
                </a:lnTo>
                <a:lnTo>
                  <a:pt x="2627" y="8497"/>
                </a:lnTo>
                <a:lnTo>
                  <a:pt x="2665" y="8429"/>
                </a:lnTo>
                <a:lnTo>
                  <a:pt x="2673" y="8452"/>
                </a:lnTo>
                <a:lnTo>
                  <a:pt x="2650" y="8461"/>
                </a:lnTo>
                <a:lnTo>
                  <a:pt x="2678" y="8484"/>
                </a:lnTo>
                <a:close/>
                <a:moveTo>
                  <a:pt x="2557" y="8088"/>
                </a:moveTo>
                <a:lnTo>
                  <a:pt x="2544" y="8110"/>
                </a:lnTo>
                <a:lnTo>
                  <a:pt x="2523" y="8105"/>
                </a:lnTo>
                <a:lnTo>
                  <a:pt x="2541" y="8096"/>
                </a:lnTo>
                <a:lnTo>
                  <a:pt x="2557" y="8088"/>
                </a:lnTo>
                <a:close/>
                <a:moveTo>
                  <a:pt x="2562" y="8258"/>
                </a:moveTo>
                <a:lnTo>
                  <a:pt x="2558" y="8200"/>
                </a:lnTo>
                <a:lnTo>
                  <a:pt x="2608" y="8161"/>
                </a:lnTo>
                <a:lnTo>
                  <a:pt x="2612" y="8221"/>
                </a:lnTo>
                <a:lnTo>
                  <a:pt x="2562" y="8258"/>
                </a:lnTo>
                <a:close/>
                <a:moveTo>
                  <a:pt x="2549" y="8409"/>
                </a:moveTo>
                <a:lnTo>
                  <a:pt x="2607" y="8370"/>
                </a:lnTo>
                <a:lnTo>
                  <a:pt x="2607" y="8437"/>
                </a:lnTo>
                <a:lnTo>
                  <a:pt x="2553" y="8449"/>
                </a:lnTo>
                <a:lnTo>
                  <a:pt x="2549" y="8409"/>
                </a:lnTo>
                <a:close/>
                <a:moveTo>
                  <a:pt x="2492" y="8734"/>
                </a:moveTo>
                <a:lnTo>
                  <a:pt x="2493" y="8713"/>
                </a:lnTo>
                <a:lnTo>
                  <a:pt x="2510" y="8702"/>
                </a:lnTo>
                <a:lnTo>
                  <a:pt x="2513" y="8724"/>
                </a:lnTo>
                <a:lnTo>
                  <a:pt x="2492" y="8734"/>
                </a:lnTo>
                <a:close/>
                <a:moveTo>
                  <a:pt x="2696" y="9975"/>
                </a:moveTo>
                <a:lnTo>
                  <a:pt x="2686" y="9956"/>
                </a:lnTo>
                <a:lnTo>
                  <a:pt x="2664" y="9966"/>
                </a:lnTo>
                <a:lnTo>
                  <a:pt x="2700" y="9943"/>
                </a:lnTo>
                <a:lnTo>
                  <a:pt x="2696" y="9975"/>
                </a:lnTo>
                <a:close/>
                <a:moveTo>
                  <a:pt x="2669" y="9405"/>
                </a:moveTo>
                <a:lnTo>
                  <a:pt x="2622" y="9261"/>
                </a:lnTo>
                <a:lnTo>
                  <a:pt x="2639" y="9108"/>
                </a:lnTo>
                <a:lnTo>
                  <a:pt x="2613" y="9070"/>
                </a:lnTo>
                <a:lnTo>
                  <a:pt x="2589" y="9010"/>
                </a:lnTo>
                <a:lnTo>
                  <a:pt x="2567" y="8908"/>
                </a:lnTo>
                <a:lnTo>
                  <a:pt x="2561" y="8830"/>
                </a:lnTo>
                <a:lnTo>
                  <a:pt x="2537" y="8713"/>
                </a:lnTo>
                <a:lnTo>
                  <a:pt x="2483" y="8615"/>
                </a:lnTo>
                <a:lnTo>
                  <a:pt x="2518" y="8562"/>
                </a:lnTo>
                <a:lnTo>
                  <a:pt x="2441" y="8511"/>
                </a:lnTo>
                <a:lnTo>
                  <a:pt x="2589" y="8496"/>
                </a:lnTo>
                <a:lnTo>
                  <a:pt x="2677" y="8566"/>
                </a:lnTo>
                <a:lnTo>
                  <a:pt x="2733" y="8576"/>
                </a:lnTo>
                <a:lnTo>
                  <a:pt x="2775" y="8622"/>
                </a:lnTo>
                <a:lnTo>
                  <a:pt x="2758" y="8558"/>
                </a:lnTo>
                <a:lnTo>
                  <a:pt x="2803" y="8535"/>
                </a:lnTo>
                <a:lnTo>
                  <a:pt x="2944" y="8512"/>
                </a:lnTo>
                <a:lnTo>
                  <a:pt x="2929" y="8680"/>
                </a:lnTo>
                <a:lnTo>
                  <a:pt x="2893" y="8665"/>
                </a:lnTo>
                <a:lnTo>
                  <a:pt x="2876" y="8585"/>
                </a:lnTo>
                <a:lnTo>
                  <a:pt x="2856" y="8633"/>
                </a:lnTo>
                <a:lnTo>
                  <a:pt x="2803" y="8638"/>
                </a:lnTo>
                <a:lnTo>
                  <a:pt x="2826" y="8697"/>
                </a:lnTo>
                <a:lnTo>
                  <a:pt x="2746" y="8666"/>
                </a:lnTo>
                <a:lnTo>
                  <a:pt x="2755" y="8796"/>
                </a:lnTo>
                <a:lnTo>
                  <a:pt x="2835" y="8878"/>
                </a:lnTo>
                <a:lnTo>
                  <a:pt x="2816" y="9019"/>
                </a:lnTo>
                <a:lnTo>
                  <a:pt x="2836" y="9151"/>
                </a:lnTo>
                <a:lnTo>
                  <a:pt x="2808" y="9300"/>
                </a:lnTo>
                <a:lnTo>
                  <a:pt x="2691" y="9382"/>
                </a:lnTo>
                <a:lnTo>
                  <a:pt x="2809" y="9405"/>
                </a:lnTo>
                <a:lnTo>
                  <a:pt x="2749" y="9394"/>
                </a:lnTo>
                <a:lnTo>
                  <a:pt x="2664" y="9471"/>
                </a:lnTo>
                <a:lnTo>
                  <a:pt x="2669" y="9405"/>
                </a:lnTo>
                <a:close/>
                <a:moveTo>
                  <a:pt x="3039" y="9719"/>
                </a:moveTo>
                <a:lnTo>
                  <a:pt x="3046" y="9702"/>
                </a:lnTo>
                <a:lnTo>
                  <a:pt x="3064" y="9702"/>
                </a:lnTo>
                <a:lnTo>
                  <a:pt x="3056" y="9718"/>
                </a:lnTo>
                <a:lnTo>
                  <a:pt x="3039" y="9719"/>
                </a:lnTo>
                <a:close/>
                <a:moveTo>
                  <a:pt x="3224" y="10683"/>
                </a:moveTo>
                <a:lnTo>
                  <a:pt x="3209" y="10690"/>
                </a:lnTo>
                <a:lnTo>
                  <a:pt x="3189" y="10689"/>
                </a:lnTo>
                <a:lnTo>
                  <a:pt x="3202" y="10666"/>
                </a:lnTo>
                <a:lnTo>
                  <a:pt x="3224" y="10683"/>
                </a:lnTo>
                <a:close/>
                <a:moveTo>
                  <a:pt x="2920" y="9396"/>
                </a:moveTo>
                <a:lnTo>
                  <a:pt x="2942" y="9343"/>
                </a:lnTo>
                <a:lnTo>
                  <a:pt x="3004" y="9356"/>
                </a:lnTo>
                <a:lnTo>
                  <a:pt x="2966" y="9387"/>
                </a:lnTo>
                <a:lnTo>
                  <a:pt x="2920" y="9396"/>
                </a:lnTo>
                <a:close/>
                <a:moveTo>
                  <a:pt x="3026" y="9854"/>
                </a:moveTo>
                <a:lnTo>
                  <a:pt x="3025" y="9881"/>
                </a:lnTo>
                <a:lnTo>
                  <a:pt x="2993" y="9879"/>
                </a:lnTo>
                <a:lnTo>
                  <a:pt x="3007" y="9864"/>
                </a:lnTo>
                <a:lnTo>
                  <a:pt x="3026" y="9854"/>
                </a:lnTo>
                <a:close/>
                <a:moveTo>
                  <a:pt x="2944" y="9701"/>
                </a:moveTo>
                <a:lnTo>
                  <a:pt x="2957" y="9682"/>
                </a:lnTo>
                <a:lnTo>
                  <a:pt x="2988" y="9688"/>
                </a:lnTo>
                <a:lnTo>
                  <a:pt x="2967" y="9699"/>
                </a:lnTo>
                <a:lnTo>
                  <a:pt x="2944" y="9701"/>
                </a:lnTo>
                <a:close/>
                <a:moveTo>
                  <a:pt x="3110" y="10325"/>
                </a:moveTo>
                <a:lnTo>
                  <a:pt x="3112" y="10343"/>
                </a:lnTo>
                <a:lnTo>
                  <a:pt x="3114" y="10364"/>
                </a:lnTo>
                <a:lnTo>
                  <a:pt x="3101" y="10344"/>
                </a:lnTo>
                <a:lnTo>
                  <a:pt x="3110" y="10325"/>
                </a:lnTo>
                <a:close/>
                <a:moveTo>
                  <a:pt x="3028" y="9841"/>
                </a:moveTo>
                <a:lnTo>
                  <a:pt x="3021" y="9821"/>
                </a:lnTo>
                <a:lnTo>
                  <a:pt x="3047" y="9807"/>
                </a:lnTo>
                <a:lnTo>
                  <a:pt x="3044" y="9827"/>
                </a:lnTo>
                <a:lnTo>
                  <a:pt x="3028" y="9841"/>
                </a:lnTo>
                <a:close/>
                <a:moveTo>
                  <a:pt x="2876" y="9029"/>
                </a:moveTo>
                <a:lnTo>
                  <a:pt x="2874" y="9014"/>
                </a:lnTo>
                <a:lnTo>
                  <a:pt x="2904" y="9030"/>
                </a:lnTo>
                <a:lnTo>
                  <a:pt x="2884" y="9042"/>
                </a:lnTo>
                <a:lnTo>
                  <a:pt x="2876" y="9029"/>
                </a:lnTo>
                <a:close/>
                <a:moveTo>
                  <a:pt x="2881" y="9426"/>
                </a:moveTo>
                <a:lnTo>
                  <a:pt x="2876" y="9441"/>
                </a:lnTo>
                <a:lnTo>
                  <a:pt x="2853" y="9447"/>
                </a:lnTo>
                <a:lnTo>
                  <a:pt x="2867" y="9436"/>
                </a:lnTo>
                <a:lnTo>
                  <a:pt x="2881" y="9426"/>
                </a:lnTo>
                <a:close/>
                <a:moveTo>
                  <a:pt x="2752" y="9448"/>
                </a:moveTo>
                <a:lnTo>
                  <a:pt x="2751" y="9466"/>
                </a:lnTo>
                <a:lnTo>
                  <a:pt x="2749" y="9480"/>
                </a:lnTo>
                <a:lnTo>
                  <a:pt x="2730" y="9464"/>
                </a:lnTo>
                <a:lnTo>
                  <a:pt x="2752" y="9448"/>
                </a:lnTo>
                <a:close/>
                <a:moveTo>
                  <a:pt x="2683" y="9571"/>
                </a:moveTo>
                <a:lnTo>
                  <a:pt x="2766" y="9570"/>
                </a:lnTo>
                <a:lnTo>
                  <a:pt x="2863" y="9575"/>
                </a:lnTo>
                <a:lnTo>
                  <a:pt x="2868" y="9499"/>
                </a:lnTo>
                <a:lnTo>
                  <a:pt x="2881" y="9532"/>
                </a:lnTo>
                <a:lnTo>
                  <a:pt x="2907" y="9629"/>
                </a:lnTo>
                <a:lnTo>
                  <a:pt x="2811" y="9676"/>
                </a:lnTo>
                <a:lnTo>
                  <a:pt x="2752" y="9649"/>
                </a:lnTo>
                <a:lnTo>
                  <a:pt x="2711" y="9644"/>
                </a:lnTo>
                <a:lnTo>
                  <a:pt x="2701" y="9683"/>
                </a:lnTo>
                <a:lnTo>
                  <a:pt x="2683" y="9571"/>
                </a:lnTo>
                <a:close/>
                <a:moveTo>
                  <a:pt x="2839" y="9747"/>
                </a:moveTo>
                <a:lnTo>
                  <a:pt x="2751" y="9771"/>
                </a:lnTo>
                <a:lnTo>
                  <a:pt x="2765" y="9753"/>
                </a:lnTo>
                <a:lnTo>
                  <a:pt x="2816" y="9719"/>
                </a:lnTo>
                <a:lnTo>
                  <a:pt x="2839" y="9747"/>
                </a:lnTo>
                <a:close/>
                <a:moveTo>
                  <a:pt x="2798" y="9854"/>
                </a:moveTo>
                <a:lnTo>
                  <a:pt x="2749" y="9854"/>
                </a:lnTo>
                <a:lnTo>
                  <a:pt x="2786" y="9789"/>
                </a:lnTo>
                <a:lnTo>
                  <a:pt x="2777" y="9816"/>
                </a:lnTo>
                <a:lnTo>
                  <a:pt x="2798" y="9854"/>
                </a:lnTo>
                <a:close/>
                <a:moveTo>
                  <a:pt x="2777" y="10170"/>
                </a:moveTo>
                <a:lnTo>
                  <a:pt x="2770" y="10154"/>
                </a:lnTo>
                <a:lnTo>
                  <a:pt x="2774" y="10139"/>
                </a:lnTo>
                <a:lnTo>
                  <a:pt x="2780" y="10153"/>
                </a:lnTo>
                <a:lnTo>
                  <a:pt x="2777" y="10170"/>
                </a:lnTo>
                <a:close/>
                <a:moveTo>
                  <a:pt x="2887" y="10422"/>
                </a:moveTo>
                <a:lnTo>
                  <a:pt x="2881" y="10387"/>
                </a:lnTo>
                <a:lnTo>
                  <a:pt x="2904" y="10380"/>
                </a:lnTo>
                <a:lnTo>
                  <a:pt x="2896" y="10399"/>
                </a:lnTo>
                <a:lnTo>
                  <a:pt x="2887" y="10422"/>
                </a:lnTo>
                <a:close/>
                <a:moveTo>
                  <a:pt x="2860" y="10063"/>
                </a:moveTo>
                <a:lnTo>
                  <a:pt x="2807" y="10122"/>
                </a:lnTo>
                <a:lnTo>
                  <a:pt x="2779" y="10042"/>
                </a:lnTo>
                <a:lnTo>
                  <a:pt x="2841" y="10045"/>
                </a:lnTo>
                <a:lnTo>
                  <a:pt x="2881" y="10009"/>
                </a:lnTo>
                <a:lnTo>
                  <a:pt x="2813" y="9965"/>
                </a:lnTo>
                <a:lnTo>
                  <a:pt x="2921" y="9929"/>
                </a:lnTo>
                <a:lnTo>
                  <a:pt x="2799" y="9926"/>
                </a:lnTo>
                <a:lnTo>
                  <a:pt x="2855" y="9920"/>
                </a:lnTo>
                <a:lnTo>
                  <a:pt x="2840" y="9849"/>
                </a:lnTo>
                <a:lnTo>
                  <a:pt x="2900" y="9798"/>
                </a:lnTo>
                <a:lnTo>
                  <a:pt x="2902" y="9722"/>
                </a:lnTo>
                <a:lnTo>
                  <a:pt x="2921" y="9808"/>
                </a:lnTo>
                <a:lnTo>
                  <a:pt x="2883" y="9837"/>
                </a:lnTo>
                <a:lnTo>
                  <a:pt x="2891" y="9904"/>
                </a:lnTo>
                <a:lnTo>
                  <a:pt x="2986" y="9921"/>
                </a:lnTo>
                <a:lnTo>
                  <a:pt x="2860" y="10063"/>
                </a:lnTo>
                <a:close/>
                <a:moveTo>
                  <a:pt x="3114" y="10887"/>
                </a:moveTo>
                <a:lnTo>
                  <a:pt x="3114" y="10907"/>
                </a:lnTo>
                <a:lnTo>
                  <a:pt x="3112" y="10928"/>
                </a:lnTo>
                <a:lnTo>
                  <a:pt x="3101" y="10907"/>
                </a:lnTo>
                <a:lnTo>
                  <a:pt x="3114" y="10887"/>
                </a:lnTo>
                <a:close/>
                <a:moveTo>
                  <a:pt x="3114" y="10972"/>
                </a:moveTo>
                <a:lnTo>
                  <a:pt x="3111" y="10966"/>
                </a:lnTo>
                <a:lnTo>
                  <a:pt x="3114" y="10972"/>
                </a:lnTo>
                <a:lnTo>
                  <a:pt x="3103" y="10969"/>
                </a:lnTo>
                <a:lnTo>
                  <a:pt x="3114" y="10972"/>
                </a:lnTo>
                <a:close/>
                <a:moveTo>
                  <a:pt x="3005" y="10565"/>
                </a:moveTo>
                <a:lnTo>
                  <a:pt x="3012" y="10532"/>
                </a:lnTo>
                <a:lnTo>
                  <a:pt x="3036" y="10523"/>
                </a:lnTo>
                <a:lnTo>
                  <a:pt x="3023" y="10549"/>
                </a:lnTo>
                <a:lnTo>
                  <a:pt x="3005" y="10565"/>
                </a:lnTo>
                <a:close/>
                <a:moveTo>
                  <a:pt x="3017" y="10625"/>
                </a:moveTo>
                <a:lnTo>
                  <a:pt x="3011" y="10649"/>
                </a:lnTo>
                <a:lnTo>
                  <a:pt x="2993" y="10661"/>
                </a:lnTo>
                <a:lnTo>
                  <a:pt x="3000" y="10643"/>
                </a:lnTo>
                <a:lnTo>
                  <a:pt x="3017" y="10625"/>
                </a:lnTo>
                <a:close/>
                <a:moveTo>
                  <a:pt x="2971" y="10344"/>
                </a:moveTo>
                <a:lnTo>
                  <a:pt x="3005" y="10352"/>
                </a:lnTo>
                <a:lnTo>
                  <a:pt x="2988" y="10397"/>
                </a:lnTo>
                <a:lnTo>
                  <a:pt x="2972" y="10372"/>
                </a:lnTo>
                <a:lnTo>
                  <a:pt x="2971" y="10344"/>
                </a:lnTo>
                <a:close/>
                <a:moveTo>
                  <a:pt x="3053" y="10690"/>
                </a:moveTo>
                <a:lnTo>
                  <a:pt x="3069" y="10688"/>
                </a:lnTo>
                <a:lnTo>
                  <a:pt x="3087" y="10705"/>
                </a:lnTo>
                <a:lnTo>
                  <a:pt x="3068" y="10698"/>
                </a:lnTo>
                <a:lnTo>
                  <a:pt x="3053" y="10690"/>
                </a:lnTo>
                <a:close/>
                <a:moveTo>
                  <a:pt x="3077" y="10761"/>
                </a:moveTo>
                <a:lnTo>
                  <a:pt x="3065" y="10751"/>
                </a:lnTo>
                <a:lnTo>
                  <a:pt x="3056" y="10742"/>
                </a:lnTo>
                <a:lnTo>
                  <a:pt x="3072" y="10745"/>
                </a:lnTo>
                <a:lnTo>
                  <a:pt x="3077" y="10761"/>
                </a:lnTo>
                <a:close/>
                <a:moveTo>
                  <a:pt x="3004" y="10774"/>
                </a:moveTo>
                <a:lnTo>
                  <a:pt x="3012" y="10769"/>
                </a:lnTo>
                <a:lnTo>
                  <a:pt x="3022" y="10774"/>
                </a:lnTo>
                <a:lnTo>
                  <a:pt x="3014" y="10778"/>
                </a:lnTo>
                <a:lnTo>
                  <a:pt x="3004" y="10774"/>
                </a:lnTo>
                <a:close/>
                <a:moveTo>
                  <a:pt x="3018" y="10821"/>
                </a:moveTo>
                <a:lnTo>
                  <a:pt x="3036" y="10788"/>
                </a:lnTo>
                <a:lnTo>
                  <a:pt x="3086" y="10782"/>
                </a:lnTo>
                <a:lnTo>
                  <a:pt x="3046" y="10805"/>
                </a:lnTo>
                <a:lnTo>
                  <a:pt x="3018" y="10821"/>
                </a:lnTo>
                <a:close/>
                <a:moveTo>
                  <a:pt x="3069" y="10908"/>
                </a:moveTo>
                <a:lnTo>
                  <a:pt x="3065" y="10903"/>
                </a:lnTo>
                <a:lnTo>
                  <a:pt x="3069" y="10908"/>
                </a:lnTo>
                <a:lnTo>
                  <a:pt x="3060" y="10908"/>
                </a:lnTo>
                <a:lnTo>
                  <a:pt x="3069" y="10908"/>
                </a:lnTo>
                <a:close/>
                <a:moveTo>
                  <a:pt x="3163" y="11185"/>
                </a:moveTo>
                <a:lnTo>
                  <a:pt x="3131" y="11188"/>
                </a:lnTo>
                <a:lnTo>
                  <a:pt x="3040" y="11204"/>
                </a:lnTo>
                <a:lnTo>
                  <a:pt x="3056" y="11148"/>
                </a:lnTo>
                <a:lnTo>
                  <a:pt x="3106" y="11134"/>
                </a:lnTo>
                <a:lnTo>
                  <a:pt x="3126" y="11165"/>
                </a:lnTo>
                <a:lnTo>
                  <a:pt x="3163" y="11185"/>
                </a:lnTo>
                <a:close/>
                <a:moveTo>
                  <a:pt x="3245" y="11146"/>
                </a:moveTo>
                <a:lnTo>
                  <a:pt x="3138" y="11096"/>
                </a:lnTo>
                <a:lnTo>
                  <a:pt x="3149" y="11019"/>
                </a:lnTo>
                <a:lnTo>
                  <a:pt x="3084" y="11062"/>
                </a:lnTo>
                <a:lnTo>
                  <a:pt x="3030" y="10974"/>
                </a:lnTo>
                <a:lnTo>
                  <a:pt x="3130" y="10993"/>
                </a:lnTo>
                <a:lnTo>
                  <a:pt x="3157" y="11063"/>
                </a:lnTo>
                <a:lnTo>
                  <a:pt x="3190" y="11050"/>
                </a:lnTo>
                <a:lnTo>
                  <a:pt x="3186" y="11007"/>
                </a:lnTo>
                <a:lnTo>
                  <a:pt x="3247" y="11014"/>
                </a:lnTo>
                <a:lnTo>
                  <a:pt x="3266" y="11035"/>
                </a:lnTo>
                <a:lnTo>
                  <a:pt x="3235" y="11082"/>
                </a:lnTo>
                <a:lnTo>
                  <a:pt x="3245" y="11146"/>
                </a:lnTo>
                <a:close/>
                <a:moveTo>
                  <a:pt x="3298" y="11143"/>
                </a:moveTo>
                <a:lnTo>
                  <a:pt x="3284" y="11155"/>
                </a:lnTo>
                <a:lnTo>
                  <a:pt x="3268" y="11146"/>
                </a:lnTo>
                <a:lnTo>
                  <a:pt x="3288" y="11118"/>
                </a:lnTo>
                <a:lnTo>
                  <a:pt x="3298" y="11143"/>
                </a:lnTo>
                <a:close/>
                <a:moveTo>
                  <a:pt x="2942" y="8948"/>
                </a:moveTo>
                <a:lnTo>
                  <a:pt x="2906" y="8968"/>
                </a:lnTo>
                <a:lnTo>
                  <a:pt x="2874" y="8951"/>
                </a:lnTo>
                <a:lnTo>
                  <a:pt x="2926" y="8918"/>
                </a:lnTo>
                <a:lnTo>
                  <a:pt x="2942" y="8948"/>
                </a:lnTo>
                <a:close/>
                <a:moveTo>
                  <a:pt x="2918" y="8755"/>
                </a:moveTo>
                <a:lnTo>
                  <a:pt x="2845" y="8769"/>
                </a:lnTo>
                <a:lnTo>
                  <a:pt x="2799" y="8741"/>
                </a:lnTo>
                <a:lnTo>
                  <a:pt x="2924" y="8744"/>
                </a:lnTo>
                <a:lnTo>
                  <a:pt x="2918" y="8755"/>
                </a:lnTo>
                <a:close/>
                <a:moveTo>
                  <a:pt x="3328" y="11140"/>
                </a:moveTo>
                <a:lnTo>
                  <a:pt x="3344" y="11141"/>
                </a:lnTo>
                <a:lnTo>
                  <a:pt x="3359" y="11142"/>
                </a:lnTo>
                <a:lnTo>
                  <a:pt x="3345" y="11155"/>
                </a:lnTo>
                <a:lnTo>
                  <a:pt x="3328" y="11140"/>
                </a:lnTo>
                <a:close/>
                <a:moveTo>
                  <a:pt x="3457" y="11574"/>
                </a:moveTo>
                <a:lnTo>
                  <a:pt x="3412" y="11519"/>
                </a:lnTo>
                <a:lnTo>
                  <a:pt x="3486" y="11532"/>
                </a:lnTo>
                <a:lnTo>
                  <a:pt x="3517" y="11537"/>
                </a:lnTo>
                <a:lnTo>
                  <a:pt x="3457" y="11574"/>
                </a:lnTo>
                <a:close/>
                <a:moveTo>
                  <a:pt x="3599" y="11986"/>
                </a:moveTo>
                <a:lnTo>
                  <a:pt x="3596" y="11976"/>
                </a:lnTo>
                <a:lnTo>
                  <a:pt x="3604" y="11971"/>
                </a:lnTo>
                <a:lnTo>
                  <a:pt x="3606" y="11982"/>
                </a:lnTo>
                <a:lnTo>
                  <a:pt x="3599" y="11986"/>
                </a:lnTo>
                <a:close/>
                <a:moveTo>
                  <a:pt x="3515" y="11716"/>
                </a:moveTo>
                <a:lnTo>
                  <a:pt x="3552" y="11664"/>
                </a:lnTo>
                <a:lnTo>
                  <a:pt x="3586" y="11710"/>
                </a:lnTo>
                <a:lnTo>
                  <a:pt x="3550" y="11702"/>
                </a:lnTo>
                <a:lnTo>
                  <a:pt x="3515" y="11716"/>
                </a:lnTo>
                <a:close/>
                <a:moveTo>
                  <a:pt x="3591" y="11773"/>
                </a:moveTo>
                <a:lnTo>
                  <a:pt x="3594" y="11751"/>
                </a:lnTo>
                <a:lnTo>
                  <a:pt x="3613" y="11739"/>
                </a:lnTo>
                <a:lnTo>
                  <a:pt x="3606" y="11759"/>
                </a:lnTo>
                <a:lnTo>
                  <a:pt x="3591" y="11773"/>
                </a:lnTo>
                <a:close/>
                <a:moveTo>
                  <a:pt x="3638" y="11878"/>
                </a:moveTo>
                <a:lnTo>
                  <a:pt x="3641" y="11870"/>
                </a:lnTo>
                <a:lnTo>
                  <a:pt x="3638" y="11878"/>
                </a:lnTo>
                <a:lnTo>
                  <a:pt x="3633" y="11868"/>
                </a:lnTo>
                <a:lnTo>
                  <a:pt x="3638" y="11878"/>
                </a:lnTo>
                <a:close/>
                <a:moveTo>
                  <a:pt x="3645" y="11833"/>
                </a:moveTo>
                <a:lnTo>
                  <a:pt x="3673" y="11824"/>
                </a:lnTo>
                <a:lnTo>
                  <a:pt x="3685" y="11847"/>
                </a:lnTo>
                <a:lnTo>
                  <a:pt x="3664" y="11840"/>
                </a:lnTo>
                <a:lnTo>
                  <a:pt x="3645" y="11833"/>
                </a:lnTo>
                <a:close/>
                <a:moveTo>
                  <a:pt x="3638" y="11530"/>
                </a:moveTo>
                <a:lnTo>
                  <a:pt x="3636" y="11524"/>
                </a:lnTo>
                <a:lnTo>
                  <a:pt x="3647" y="11519"/>
                </a:lnTo>
                <a:lnTo>
                  <a:pt x="3643" y="11524"/>
                </a:lnTo>
                <a:lnTo>
                  <a:pt x="3638" y="11530"/>
                </a:lnTo>
                <a:close/>
                <a:moveTo>
                  <a:pt x="3651" y="11579"/>
                </a:moveTo>
                <a:lnTo>
                  <a:pt x="3651" y="11544"/>
                </a:lnTo>
                <a:lnTo>
                  <a:pt x="3660" y="11551"/>
                </a:lnTo>
                <a:lnTo>
                  <a:pt x="3677" y="11571"/>
                </a:lnTo>
                <a:lnTo>
                  <a:pt x="3651" y="11579"/>
                </a:lnTo>
                <a:close/>
                <a:moveTo>
                  <a:pt x="3680" y="11640"/>
                </a:moveTo>
                <a:lnTo>
                  <a:pt x="3688" y="11650"/>
                </a:lnTo>
                <a:lnTo>
                  <a:pt x="3678" y="11654"/>
                </a:lnTo>
                <a:lnTo>
                  <a:pt x="3675" y="11650"/>
                </a:lnTo>
                <a:lnTo>
                  <a:pt x="3680" y="11640"/>
                </a:lnTo>
                <a:close/>
                <a:moveTo>
                  <a:pt x="3734" y="11931"/>
                </a:moveTo>
                <a:lnTo>
                  <a:pt x="3729" y="11930"/>
                </a:lnTo>
                <a:lnTo>
                  <a:pt x="3724" y="11930"/>
                </a:lnTo>
                <a:lnTo>
                  <a:pt x="3730" y="11921"/>
                </a:lnTo>
                <a:lnTo>
                  <a:pt x="3734" y="11931"/>
                </a:lnTo>
                <a:close/>
                <a:moveTo>
                  <a:pt x="3733" y="11683"/>
                </a:moveTo>
                <a:lnTo>
                  <a:pt x="3710" y="11692"/>
                </a:lnTo>
                <a:lnTo>
                  <a:pt x="3680" y="11669"/>
                </a:lnTo>
                <a:lnTo>
                  <a:pt x="3698" y="11668"/>
                </a:lnTo>
                <a:lnTo>
                  <a:pt x="3716" y="11654"/>
                </a:lnTo>
                <a:lnTo>
                  <a:pt x="3716" y="11584"/>
                </a:lnTo>
                <a:lnTo>
                  <a:pt x="3733" y="11683"/>
                </a:lnTo>
                <a:close/>
                <a:moveTo>
                  <a:pt x="3884" y="12577"/>
                </a:moveTo>
                <a:lnTo>
                  <a:pt x="3892" y="12564"/>
                </a:lnTo>
                <a:lnTo>
                  <a:pt x="3910" y="12565"/>
                </a:lnTo>
                <a:lnTo>
                  <a:pt x="3897" y="12572"/>
                </a:lnTo>
                <a:lnTo>
                  <a:pt x="3884" y="12577"/>
                </a:lnTo>
                <a:close/>
                <a:moveTo>
                  <a:pt x="3920" y="12584"/>
                </a:moveTo>
                <a:lnTo>
                  <a:pt x="3904" y="12587"/>
                </a:lnTo>
                <a:lnTo>
                  <a:pt x="3897" y="12575"/>
                </a:lnTo>
                <a:lnTo>
                  <a:pt x="3911" y="12575"/>
                </a:lnTo>
                <a:lnTo>
                  <a:pt x="3920" y="12584"/>
                </a:lnTo>
                <a:close/>
                <a:moveTo>
                  <a:pt x="3915" y="12625"/>
                </a:moveTo>
                <a:lnTo>
                  <a:pt x="3924" y="12594"/>
                </a:lnTo>
                <a:lnTo>
                  <a:pt x="3971" y="12584"/>
                </a:lnTo>
                <a:lnTo>
                  <a:pt x="3944" y="12603"/>
                </a:lnTo>
                <a:lnTo>
                  <a:pt x="3915" y="12625"/>
                </a:lnTo>
                <a:close/>
                <a:moveTo>
                  <a:pt x="3962" y="12698"/>
                </a:moveTo>
                <a:lnTo>
                  <a:pt x="3944" y="12690"/>
                </a:lnTo>
                <a:lnTo>
                  <a:pt x="3939" y="12670"/>
                </a:lnTo>
                <a:lnTo>
                  <a:pt x="3950" y="12685"/>
                </a:lnTo>
                <a:lnTo>
                  <a:pt x="3962" y="12698"/>
                </a:lnTo>
                <a:close/>
                <a:moveTo>
                  <a:pt x="4090" y="12970"/>
                </a:moveTo>
                <a:lnTo>
                  <a:pt x="4084" y="12965"/>
                </a:lnTo>
                <a:lnTo>
                  <a:pt x="4089" y="12959"/>
                </a:lnTo>
                <a:lnTo>
                  <a:pt x="4094" y="12964"/>
                </a:lnTo>
                <a:lnTo>
                  <a:pt x="4090" y="12970"/>
                </a:lnTo>
                <a:close/>
                <a:moveTo>
                  <a:pt x="4120" y="12932"/>
                </a:moveTo>
                <a:lnTo>
                  <a:pt x="4113" y="12924"/>
                </a:lnTo>
                <a:lnTo>
                  <a:pt x="4116" y="12918"/>
                </a:lnTo>
                <a:lnTo>
                  <a:pt x="4122" y="12925"/>
                </a:lnTo>
                <a:lnTo>
                  <a:pt x="4120" y="12932"/>
                </a:lnTo>
                <a:close/>
                <a:moveTo>
                  <a:pt x="4171" y="12910"/>
                </a:moveTo>
                <a:lnTo>
                  <a:pt x="4167" y="12911"/>
                </a:lnTo>
                <a:lnTo>
                  <a:pt x="4163" y="12913"/>
                </a:lnTo>
                <a:lnTo>
                  <a:pt x="4171" y="12905"/>
                </a:lnTo>
                <a:lnTo>
                  <a:pt x="4171" y="12910"/>
                </a:lnTo>
                <a:close/>
                <a:moveTo>
                  <a:pt x="4217" y="12897"/>
                </a:moveTo>
                <a:lnTo>
                  <a:pt x="4174" y="12887"/>
                </a:lnTo>
                <a:lnTo>
                  <a:pt x="4120" y="12882"/>
                </a:lnTo>
                <a:lnTo>
                  <a:pt x="4140" y="12862"/>
                </a:lnTo>
                <a:lnTo>
                  <a:pt x="4177" y="12849"/>
                </a:lnTo>
                <a:lnTo>
                  <a:pt x="4211" y="12871"/>
                </a:lnTo>
                <a:lnTo>
                  <a:pt x="4217" y="12897"/>
                </a:lnTo>
                <a:close/>
                <a:moveTo>
                  <a:pt x="4255" y="12861"/>
                </a:moveTo>
                <a:lnTo>
                  <a:pt x="4252" y="12853"/>
                </a:lnTo>
                <a:lnTo>
                  <a:pt x="4261" y="12843"/>
                </a:lnTo>
                <a:lnTo>
                  <a:pt x="4269" y="12852"/>
                </a:lnTo>
                <a:lnTo>
                  <a:pt x="4255" y="12861"/>
                </a:lnTo>
                <a:close/>
                <a:moveTo>
                  <a:pt x="4270" y="12880"/>
                </a:moveTo>
                <a:lnTo>
                  <a:pt x="4274" y="12872"/>
                </a:lnTo>
                <a:lnTo>
                  <a:pt x="4278" y="12866"/>
                </a:lnTo>
                <a:lnTo>
                  <a:pt x="4283" y="12876"/>
                </a:lnTo>
                <a:lnTo>
                  <a:pt x="4270" y="12880"/>
                </a:lnTo>
                <a:close/>
                <a:moveTo>
                  <a:pt x="4262" y="12841"/>
                </a:moveTo>
                <a:lnTo>
                  <a:pt x="4270" y="12834"/>
                </a:lnTo>
                <a:lnTo>
                  <a:pt x="4287" y="12834"/>
                </a:lnTo>
                <a:lnTo>
                  <a:pt x="4273" y="12839"/>
                </a:lnTo>
                <a:lnTo>
                  <a:pt x="4262" y="12841"/>
                </a:lnTo>
                <a:close/>
                <a:moveTo>
                  <a:pt x="4364" y="12863"/>
                </a:moveTo>
                <a:lnTo>
                  <a:pt x="4275" y="12808"/>
                </a:lnTo>
                <a:lnTo>
                  <a:pt x="4141" y="12836"/>
                </a:lnTo>
                <a:lnTo>
                  <a:pt x="4130" y="12817"/>
                </a:lnTo>
                <a:lnTo>
                  <a:pt x="4076" y="12835"/>
                </a:lnTo>
                <a:lnTo>
                  <a:pt x="4087" y="12859"/>
                </a:lnTo>
                <a:lnTo>
                  <a:pt x="4104" y="12864"/>
                </a:lnTo>
                <a:lnTo>
                  <a:pt x="4102" y="12892"/>
                </a:lnTo>
                <a:lnTo>
                  <a:pt x="4083" y="12890"/>
                </a:lnTo>
                <a:lnTo>
                  <a:pt x="4041" y="12862"/>
                </a:lnTo>
                <a:lnTo>
                  <a:pt x="4005" y="12822"/>
                </a:lnTo>
                <a:lnTo>
                  <a:pt x="4022" y="12787"/>
                </a:lnTo>
                <a:lnTo>
                  <a:pt x="4015" y="12797"/>
                </a:lnTo>
                <a:lnTo>
                  <a:pt x="3978" y="12813"/>
                </a:lnTo>
                <a:lnTo>
                  <a:pt x="3961" y="12821"/>
                </a:lnTo>
                <a:lnTo>
                  <a:pt x="3933" y="12779"/>
                </a:lnTo>
                <a:lnTo>
                  <a:pt x="3952" y="12733"/>
                </a:lnTo>
                <a:lnTo>
                  <a:pt x="4022" y="12769"/>
                </a:lnTo>
                <a:lnTo>
                  <a:pt x="4098" y="12761"/>
                </a:lnTo>
                <a:lnTo>
                  <a:pt x="4129" y="12780"/>
                </a:lnTo>
                <a:lnTo>
                  <a:pt x="4125" y="12797"/>
                </a:lnTo>
                <a:lnTo>
                  <a:pt x="4136" y="12806"/>
                </a:lnTo>
                <a:lnTo>
                  <a:pt x="4232" y="12789"/>
                </a:lnTo>
                <a:lnTo>
                  <a:pt x="4290" y="12759"/>
                </a:lnTo>
                <a:lnTo>
                  <a:pt x="4345" y="12783"/>
                </a:lnTo>
                <a:lnTo>
                  <a:pt x="4299" y="12785"/>
                </a:lnTo>
                <a:lnTo>
                  <a:pt x="4317" y="12830"/>
                </a:lnTo>
                <a:lnTo>
                  <a:pt x="4376" y="12819"/>
                </a:lnTo>
                <a:lnTo>
                  <a:pt x="4364" y="12863"/>
                </a:lnTo>
                <a:close/>
                <a:moveTo>
                  <a:pt x="4455" y="12820"/>
                </a:moveTo>
                <a:lnTo>
                  <a:pt x="4416" y="12815"/>
                </a:lnTo>
                <a:lnTo>
                  <a:pt x="4348" y="12783"/>
                </a:lnTo>
                <a:lnTo>
                  <a:pt x="4388" y="12775"/>
                </a:lnTo>
                <a:lnTo>
                  <a:pt x="4345" y="12768"/>
                </a:lnTo>
                <a:lnTo>
                  <a:pt x="4371" y="12747"/>
                </a:lnTo>
                <a:lnTo>
                  <a:pt x="4350" y="12746"/>
                </a:lnTo>
                <a:lnTo>
                  <a:pt x="4402" y="12764"/>
                </a:lnTo>
                <a:lnTo>
                  <a:pt x="4455" y="12820"/>
                </a:lnTo>
                <a:close/>
                <a:moveTo>
                  <a:pt x="4432" y="12606"/>
                </a:moveTo>
                <a:lnTo>
                  <a:pt x="4428" y="12601"/>
                </a:lnTo>
                <a:lnTo>
                  <a:pt x="4436" y="12598"/>
                </a:lnTo>
                <a:lnTo>
                  <a:pt x="4434" y="12602"/>
                </a:lnTo>
                <a:lnTo>
                  <a:pt x="4432" y="12606"/>
                </a:lnTo>
                <a:close/>
                <a:moveTo>
                  <a:pt x="4461" y="12745"/>
                </a:moveTo>
                <a:lnTo>
                  <a:pt x="4488" y="12752"/>
                </a:lnTo>
                <a:lnTo>
                  <a:pt x="4508" y="12769"/>
                </a:lnTo>
                <a:lnTo>
                  <a:pt x="4481" y="12760"/>
                </a:lnTo>
                <a:lnTo>
                  <a:pt x="4461" y="12745"/>
                </a:lnTo>
                <a:close/>
                <a:moveTo>
                  <a:pt x="4605" y="12882"/>
                </a:moveTo>
                <a:lnTo>
                  <a:pt x="4599" y="12882"/>
                </a:lnTo>
                <a:lnTo>
                  <a:pt x="4593" y="12881"/>
                </a:lnTo>
                <a:lnTo>
                  <a:pt x="4602" y="12876"/>
                </a:lnTo>
                <a:lnTo>
                  <a:pt x="4605" y="12882"/>
                </a:lnTo>
                <a:close/>
                <a:moveTo>
                  <a:pt x="4639" y="12819"/>
                </a:moveTo>
                <a:lnTo>
                  <a:pt x="4516" y="12829"/>
                </a:lnTo>
                <a:lnTo>
                  <a:pt x="4489" y="12812"/>
                </a:lnTo>
                <a:lnTo>
                  <a:pt x="4509" y="12805"/>
                </a:lnTo>
                <a:lnTo>
                  <a:pt x="4543" y="12816"/>
                </a:lnTo>
                <a:lnTo>
                  <a:pt x="4558" y="12784"/>
                </a:lnTo>
                <a:lnTo>
                  <a:pt x="4593" y="12797"/>
                </a:lnTo>
                <a:lnTo>
                  <a:pt x="4632" y="12798"/>
                </a:lnTo>
                <a:lnTo>
                  <a:pt x="4639" y="12819"/>
                </a:lnTo>
                <a:close/>
                <a:moveTo>
                  <a:pt x="4697" y="12824"/>
                </a:moveTo>
                <a:lnTo>
                  <a:pt x="4679" y="12796"/>
                </a:lnTo>
                <a:lnTo>
                  <a:pt x="4690" y="12803"/>
                </a:lnTo>
                <a:lnTo>
                  <a:pt x="4708" y="12810"/>
                </a:lnTo>
                <a:lnTo>
                  <a:pt x="4697" y="12824"/>
                </a:lnTo>
                <a:close/>
                <a:moveTo>
                  <a:pt x="4762" y="12787"/>
                </a:moveTo>
                <a:lnTo>
                  <a:pt x="4658" y="12775"/>
                </a:lnTo>
                <a:lnTo>
                  <a:pt x="4662" y="12737"/>
                </a:lnTo>
                <a:lnTo>
                  <a:pt x="4755" y="12754"/>
                </a:lnTo>
                <a:lnTo>
                  <a:pt x="4762" y="12787"/>
                </a:lnTo>
                <a:close/>
                <a:moveTo>
                  <a:pt x="4790" y="12773"/>
                </a:moveTo>
                <a:lnTo>
                  <a:pt x="4777" y="12770"/>
                </a:lnTo>
                <a:lnTo>
                  <a:pt x="4772" y="12760"/>
                </a:lnTo>
                <a:lnTo>
                  <a:pt x="4786" y="12760"/>
                </a:lnTo>
                <a:lnTo>
                  <a:pt x="4790" y="12773"/>
                </a:lnTo>
                <a:close/>
                <a:moveTo>
                  <a:pt x="4750" y="12723"/>
                </a:moveTo>
                <a:lnTo>
                  <a:pt x="4779" y="12717"/>
                </a:lnTo>
                <a:lnTo>
                  <a:pt x="4791" y="12724"/>
                </a:lnTo>
                <a:lnTo>
                  <a:pt x="4772" y="12723"/>
                </a:lnTo>
                <a:lnTo>
                  <a:pt x="4750" y="12723"/>
                </a:lnTo>
                <a:close/>
                <a:moveTo>
                  <a:pt x="4792" y="12726"/>
                </a:moveTo>
                <a:lnTo>
                  <a:pt x="4804" y="12732"/>
                </a:lnTo>
                <a:lnTo>
                  <a:pt x="4804" y="12746"/>
                </a:lnTo>
                <a:lnTo>
                  <a:pt x="4823" y="12750"/>
                </a:lnTo>
                <a:lnTo>
                  <a:pt x="4792" y="12726"/>
                </a:lnTo>
                <a:close/>
                <a:moveTo>
                  <a:pt x="4819" y="12785"/>
                </a:moveTo>
                <a:lnTo>
                  <a:pt x="4819" y="12766"/>
                </a:lnTo>
                <a:lnTo>
                  <a:pt x="4844" y="12761"/>
                </a:lnTo>
                <a:lnTo>
                  <a:pt x="4833" y="12773"/>
                </a:lnTo>
                <a:lnTo>
                  <a:pt x="4819" y="12785"/>
                </a:lnTo>
                <a:close/>
                <a:moveTo>
                  <a:pt x="4937" y="12742"/>
                </a:moveTo>
                <a:lnTo>
                  <a:pt x="4905" y="12751"/>
                </a:lnTo>
                <a:lnTo>
                  <a:pt x="4846" y="12782"/>
                </a:lnTo>
                <a:lnTo>
                  <a:pt x="4876" y="12741"/>
                </a:lnTo>
                <a:lnTo>
                  <a:pt x="4870" y="12696"/>
                </a:lnTo>
                <a:lnTo>
                  <a:pt x="4944" y="12712"/>
                </a:lnTo>
                <a:lnTo>
                  <a:pt x="4937" y="12742"/>
                </a:lnTo>
                <a:close/>
                <a:moveTo>
                  <a:pt x="5072" y="12979"/>
                </a:moveTo>
                <a:lnTo>
                  <a:pt x="5061" y="12965"/>
                </a:lnTo>
                <a:lnTo>
                  <a:pt x="5066" y="12947"/>
                </a:lnTo>
                <a:lnTo>
                  <a:pt x="5072" y="12964"/>
                </a:lnTo>
                <a:lnTo>
                  <a:pt x="5072" y="12979"/>
                </a:lnTo>
                <a:close/>
                <a:moveTo>
                  <a:pt x="5042" y="12750"/>
                </a:moveTo>
                <a:lnTo>
                  <a:pt x="5042" y="12731"/>
                </a:lnTo>
                <a:lnTo>
                  <a:pt x="5043" y="12712"/>
                </a:lnTo>
                <a:lnTo>
                  <a:pt x="5054" y="12728"/>
                </a:lnTo>
                <a:lnTo>
                  <a:pt x="5042" y="12750"/>
                </a:lnTo>
                <a:close/>
                <a:moveTo>
                  <a:pt x="5043" y="12687"/>
                </a:moveTo>
                <a:lnTo>
                  <a:pt x="5026" y="12667"/>
                </a:lnTo>
                <a:lnTo>
                  <a:pt x="5037" y="12659"/>
                </a:lnTo>
                <a:lnTo>
                  <a:pt x="5063" y="12692"/>
                </a:lnTo>
                <a:lnTo>
                  <a:pt x="5043" y="12687"/>
                </a:lnTo>
                <a:close/>
                <a:moveTo>
                  <a:pt x="5077" y="12714"/>
                </a:moveTo>
                <a:lnTo>
                  <a:pt x="5077" y="12717"/>
                </a:lnTo>
                <a:lnTo>
                  <a:pt x="5079" y="12718"/>
                </a:lnTo>
                <a:lnTo>
                  <a:pt x="5076" y="12718"/>
                </a:lnTo>
                <a:lnTo>
                  <a:pt x="5077" y="12714"/>
                </a:lnTo>
                <a:close/>
                <a:moveTo>
                  <a:pt x="5113" y="12773"/>
                </a:moveTo>
                <a:lnTo>
                  <a:pt x="5108" y="12761"/>
                </a:lnTo>
                <a:lnTo>
                  <a:pt x="5118" y="12765"/>
                </a:lnTo>
                <a:lnTo>
                  <a:pt x="5113" y="12773"/>
                </a:lnTo>
                <a:close/>
                <a:moveTo>
                  <a:pt x="5126" y="12724"/>
                </a:moveTo>
                <a:lnTo>
                  <a:pt x="5091" y="12712"/>
                </a:lnTo>
                <a:lnTo>
                  <a:pt x="5100" y="12678"/>
                </a:lnTo>
                <a:lnTo>
                  <a:pt x="5114" y="12707"/>
                </a:lnTo>
                <a:lnTo>
                  <a:pt x="5126" y="12724"/>
                </a:lnTo>
                <a:close/>
                <a:moveTo>
                  <a:pt x="5165" y="12700"/>
                </a:moveTo>
                <a:lnTo>
                  <a:pt x="5189" y="12708"/>
                </a:lnTo>
                <a:lnTo>
                  <a:pt x="5212" y="12712"/>
                </a:lnTo>
                <a:lnTo>
                  <a:pt x="5191" y="12723"/>
                </a:lnTo>
                <a:lnTo>
                  <a:pt x="5165" y="12700"/>
                </a:lnTo>
                <a:close/>
                <a:moveTo>
                  <a:pt x="5205" y="12749"/>
                </a:moveTo>
                <a:lnTo>
                  <a:pt x="5191" y="12738"/>
                </a:lnTo>
                <a:lnTo>
                  <a:pt x="5173" y="12727"/>
                </a:lnTo>
                <a:lnTo>
                  <a:pt x="5209" y="12737"/>
                </a:lnTo>
                <a:lnTo>
                  <a:pt x="5205" y="12749"/>
                </a:lnTo>
                <a:close/>
                <a:moveTo>
                  <a:pt x="5216" y="12544"/>
                </a:moveTo>
                <a:lnTo>
                  <a:pt x="5220" y="12551"/>
                </a:lnTo>
                <a:lnTo>
                  <a:pt x="5209" y="12555"/>
                </a:lnTo>
                <a:lnTo>
                  <a:pt x="5212" y="12549"/>
                </a:lnTo>
                <a:lnTo>
                  <a:pt x="5216" y="12544"/>
                </a:lnTo>
                <a:close/>
                <a:moveTo>
                  <a:pt x="5242" y="12681"/>
                </a:moveTo>
                <a:lnTo>
                  <a:pt x="5268" y="12654"/>
                </a:lnTo>
                <a:lnTo>
                  <a:pt x="5327" y="12636"/>
                </a:lnTo>
                <a:lnTo>
                  <a:pt x="5323" y="12690"/>
                </a:lnTo>
                <a:lnTo>
                  <a:pt x="5242" y="12681"/>
                </a:lnTo>
                <a:close/>
                <a:moveTo>
                  <a:pt x="5272" y="12763"/>
                </a:moveTo>
                <a:lnTo>
                  <a:pt x="5284" y="12751"/>
                </a:lnTo>
                <a:lnTo>
                  <a:pt x="5296" y="12761"/>
                </a:lnTo>
                <a:lnTo>
                  <a:pt x="5284" y="12759"/>
                </a:lnTo>
                <a:lnTo>
                  <a:pt x="5272" y="12763"/>
                </a:lnTo>
                <a:close/>
                <a:moveTo>
                  <a:pt x="5349" y="12671"/>
                </a:moveTo>
                <a:lnTo>
                  <a:pt x="5354" y="12645"/>
                </a:lnTo>
                <a:lnTo>
                  <a:pt x="5386" y="12652"/>
                </a:lnTo>
                <a:lnTo>
                  <a:pt x="5363" y="12647"/>
                </a:lnTo>
                <a:lnTo>
                  <a:pt x="5349" y="12671"/>
                </a:lnTo>
                <a:close/>
                <a:moveTo>
                  <a:pt x="5391" y="12687"/>
                </a:moveTo>
                <a:lnTo>
                  <a:pt x="5410" y="12661"/>
                </a:lnTo>
                <a:lnTo>
                  <a:pt x="5400" y="12671"/>
                </a:lnTo>
                <a:lnTo>
                  <a:pt x="5409" y="12684"/>
                </a:lnTo>
                <a:lnTo>
                  <a:pt x="5391" y="12687"/>
                </a:lnTo>
                <a:close/>
                <a:moveTo>
                  <a:pt x="5426" y="12671"/>
                </a:moveTo>
                <a:lnTo>
                  <a:pt x="5426" y="12676"/>
                </a:lnTo>
                <a:lnTo>
                  <a:pt x="5420" y="12673"/>
                </a:lnTo>
                <a:lnTo>
                  <a:pt x="5421" y="12667"/>
                </a:lnTo>
                <a:lnTo>
                  <a:pt x="5426" y="12671"/>
                </a:lnTo>
                <a:close/>
                <a:moveTo>
                  <a:pt x="5442" y="12652"/>
                </a:moveTo>
                <a:lnTo>
                  <a:pt x="5429" y="12662"/>
                </a:lnTo>
                <a:lnTo>
                  <a:pt x="5407" y="12645"/>
                </a:lnTo>
                <a:lnTo>
                  <a:pt x="5424" y="12634"/>
                </a:lnTo>
                <a:lnTo>
                  <a:pt x="5442" y="12652"/>
                </a:lnTo>
                <a:close/>
                <a:moveTo>
                  <a:pt x="5451" y="12643"/>
                </a:moveTo>
                <a:lnTo>
                  <a:pt x="5456" y="12629"/>
                </a:lnTo>
                <a:lnTo>
                  <a:pt x="5467" y="12614"/>
                </a:lnTo>
                <a:lnTo>
                  <a:pt x="5468" y="12633"/>
                </a:lnTo>
                <a:lnTo>
                  <a:pt x="5451" y="12643"/>
                </a:lnTo>
                <a:close/>
                <a:moveTo>
                  <a:pt x="5465" y="12592"/>
                </a:moveTo>
                <a:lnTo>
                  <a:pt x="5466" y="12592"/>
                </a:lnTo>
                <a:lnTo>
                  <a:pt x="5468" y="12591"/>
                </a:lnTo>
                <a:lnTo>
                  <a:pt x="5466" y="12593"/>
                </a:lnTo>
                <a:lnTo>
                  <a:pt x="5465" y="12592"/>
                </a:lnTo>
                <a:close/>
                <a:moveTo>
                  <a:pt x="5532" y="12643"/>
                </a:moveTo>
                <a:lnTo>
                  <a:pt x="5524" y="12640"/>
                </a:lnTo>
                <a:lnTo>
                  <a:pt x="5532" y="12636"/>
                </a:lnTo>
                <a:lnTo>
                  <a:pt x="5531" y="12639"/>
                </a:lnTo>
                <a:lnTo>
                  <a:pt x="5532" y="12643"/>
                </a:lnTo>
                <a:close/>
                <a:moveTo>
                  <a:pt x="5512" y="12647"/>
                </a:moveTo>
                <a:lnTo>
                  <a:pt x="5499" y="12610"/>
                </a:lnTo>
                <a:lnTo>
                  <a:pt x="5531" y="12601"/>
                </a:lnTo>
                <a:lnTo>
                  <a:pt x="5513" y="12620"/>
                </a:lnTo>
                <a:lnTo>
                  <a:pt x="5512" y="12647"/>
                </a:lnTo>
                <a:close/>
                <a:moveTo>
                  <a:pt x="5586" y="12649"/>
                </a:moveTo>
                <a:lnTo>
                  <a:pt x="5554" y="12636"/>
                </a:lnTo>
                <a:lnTo>
                  <a:pt x="5563" y="12614"/>
                </a:lnTo>
                <a:lnTo>
                  <a:pt x="5566" y="12638"/>
                </a:lnTo>
                <a:lnTo>
                  <a:pt x="5586" y="12649"/>
                </a:lnTo>
                <a:close/>
                <a:moveTo>
                  <a:pt x="5543" y="12496"/>
                </a:moveTo>
                <a:lnTo>
                  <a:pt x="5532" y="12475"/>
                </a:lnTo>
                <a:lnTo>
                  <a:pt x="5574" y="12479"/>
                </a:lnTo>
                <a:lnTo>
                  <a:pt x="5556" y="12462"/>
                </a:lnTo>
                <a:lnTo>
                  <a:pt x="5583" y="12452"/>
                </a:lnTo>
                <a:lnTo>
                  <a:pt x="5603" y="12485"/>
                </a:lnTo>
                <a:lnTo>
                  <a:pt x="5543" y="12496"/>
                </a:lnTo>
                <a:close/>
                <a:moveTo>
                  <a:pt x="5610" y="12556"/>
                </a:moveTo>
                <a:lnTo>
                  <a:pt x="5612" y="12564"/>
                </a:lnTo>
                <a:lnTo>
                  <a:pt x="5598" y="12578"/>
                </a:lnTo>
                <a:lnTo>
                  <a:pt x="5594" y="12561"/>
                </a:lnTo>
                <a:lnTo>
                  <a:pt x="5610" y="12556"/>
                </a:lnTo>
                <a:close/>
                <a:moveTo>
                  <a:pt x="5607" y="12586"/>
                </a:moveTo>
                <a:lnTo>
                  <a:pt x="5620" y="12584"/>
                </a:lnTo>
                <a:lnTo>
                  <a:pt x="5629" y="12603"/>
                </a:lnTo>
                <a:lnTo>
                  <a:pt x="5607" y="12608"/>
                </a:lnTo>
                <a:lnTo>
                  <a:pt x="5607" y="12586"/>
                </a:lnTo>
                <a:close/>
                <a:moveTo>
                  <a:pt x="5593" y="12636"/>
                </a:moveTo>
                <a:lnTo>
                  <a:pt x="5597" y="12631"/>
                </a:lnTo>
                <a:lnTo>
                  <a:pt x="5601" y="12635"/>
                </a:lnTo>
                <a:lnTo>
                  <a:pt x="5598" y="12636"/>
                </a:lnTo>
                <a:lnTo>
                  <a:pt x="5593" y="12636"/>
                </a:lnTo>
                <a:close/>
                <a:moveTo>
                  <a:pt x="5633" y="12591"/>
                </a:moveTo>
                <a:lnTo>
                  <a:pt x="5644" y="12583"/>
                </a:lnTo>
                <a:lnTo>
                  <a:pt x="5659" y="12593"/>
                </a:lnTo>
                <a:lnTo>
                  <a:pt x="5645" y="12592"/>
                </a:lnTo>
                <a:lnTo>
                  <a:pt x="5633" y="12591"/>
                </a:lnTo>
                <a:close/>
                <a:moveTo>
                  <a:pt x="5636" y="12568"/>
                </a:moveTo>
                <a:lnTo>
                  <a:pt x="5667" y="12556"/>
                </a:lnTo>
                <a:lnTo>
                  <a:pt x="5670" y="12573"/>
                </a:lnTo>
                <a:lnTo>
                  <a:pt x="5648" y="12569"/>
                </a:lnTo>
                <a:lnTo>
                  <a:pt x="5636" y="12568"/>
                </a:lnTo>
                <a:close/>
                <a:moveTo>
                  <a:pt x="5622" y="12486"/>
                </a:moveTo>
                <a:lnTo>
                  <a:pt x="5638" y="12482"/>
                </a:lnTo>
                <a:lnTo>
                  <a:pt x="5645" y="12485"/>
                </a:lnTo>
                <a:lnTo>
                  <a:pt x="5633" y="12490"/>
                </a:lnTo>
                <a:lnTo>
                  <a:pt x="5622" y="12486"/>
                </a:lnTo>
                <a:close/>
                <a:moveTo>
                  <a:pt x="5668" y="12635"/>
                </a:moveTo>
                <a:lnTo>
                  <a:pt x="5661" y="12620"/>
                </a:lnTo>
                <a:lnTo>
                  <a:pt x="5677" y="12616"/>
                </a:lnTo>
                <a:lnTo>
                  <a:pt x="5685" y="12625"/>
                </a:lnTo>
                <a:lnTo>
                  <a:pt x="5668" y="12635"/>
                </a:lnTo>
                <a:close/>
                <a:moveTo>
                  <a:pt x="5676" y="12615"/>
                </a:moveTo>
                <a:lnTo>
                  <a:pt x="5677" y="12610"/>
                </a:lnTo>
                <a:lnTo>
                  <a:pt x="5677" y="12607"/>
                </a:lnTo>
                <a:lnTo>
                  <a:pt x="5673" y="12596"/>
                </a:lnTo>
                <a:lnTo>
                  <a:pt x="5676" y="12615"/>
                </a:lnTo>
                <a:close/>
                <a:moveTo>
                  <a:pt x="5666" y="12486"/>
                </a:moveTo>
                <a:lnTo>
                  <a:pt x="5642" y="12451"/>
                </a:lnTo>
                <a:lnTo>
                  <a:pt x="5615" y="12462"/>
                </a:lnTo>
                <a:lnTo>
                  <a:pt x="5621" y="12430"/>
                </a:lnTo>
                <a:lnTo>
                  <a:pt x="5684" y="12452"/>
                </a:lnTo>
                <a:lnTo>
                  <a:pt x="5714" y="12428"/>
                </a:lnTo>
                <a:lnTo>
                  <a:pt x="5751" y="12453"/>
                </a:lnTo>
                <a:lnTo>
                  <a:pt x="5696" y="12463"/>
                </a:lnTo>
                <a:lnTo>
                  <a:pt x="5666" y="12486"/>
                </a:lnTo>
                <a:close/>
                <a:moveTo>
                  <a:pt x="5695" y="12598"/>
                </a:moveTo>
                <a:lnTo>
                  <a:pt x="5692" y="12594"/>
                </a:lnTo>
                <a:lnTo>
                  <a:pt x="5690" y="12591"/>
                </a:lnTo>
                <a:lnTo>
                  <a:pt x="5695" y="12592"/>
                </a:lnTo>
                <a:lnTo>
                  <a:pt x="5695" y="12598"/>
                </a:lnTo>
                <a:close/>
                <a:moveTo>
                  <a:pt x="5733" y="12611"/>
                </a:moveTo>
                <a:lnTo>
                  <a:pt x="5722" y="12610"/>
                </a:lnTo>
                <a:lnTo>
                  <a:pt x="5733" y="12592"/>
                </a:lnTo>
                <a:lnTo>
                  <a:pt x="5735" y="12603"/>
                </a:lnTo>
                <a:lnTo>
                  <a:pt x="5733" y="12611"/>
                </a:lnTo>
                <a:close/>
                <a:moveTo>
                  <a:pt x="5737" y="12575"/>
                </a:moveTo>
                <a:lnTo>
                  <a:pt x="5749" y="12566"/>
                </a:lnTo>
                <a:lnTo>
                  <a:pt x="5775" y="12572"/>
                </a:lnTo>
                <a:lnTo>
                  <a:pt x="5760" y="12574"/>
                </a:lnTo>
                <a:lnTo>
                  <a:pt x="5737" y="12575"/>
                </a:lnTo>
                <a:close/>
                <a:moveTo>
                  <a:pt x="5826" y="12617"/>
                </a:moveTo>
                <a:lnTo>
                  <a:pt x="5799" y="12600"/>
                </a:lnTo>
                <a:lnTo>
                  <a:pt x="5770" y="12611"/>
                </a:lnTo>
                <a:lnTo>
                  <a:pt x="5806" y="12589"/>
                </a:lnTo>
                <a:lnTo>
                  <a:pt x="5826" y="12617"/>
                </a:lnTo>
                <a:close/>
                <a:moveTo>
                  <a:pt x="5876" y="12570"/>
                </a:moveTo>
                <a:lnTo>
                  <a:pt x="5847" y="12592"/>
                </a:lnTo>
                <a:lnTo>
                  <a:pt x="5854" y="12570"/>
                </a:lnTo>
                <a:lnTo>
                  <a:pt x="5831" y="12572"/>
                </a:lnTo>
                <a:lnTo>
                  <a:pt x="5876" y="12570"/>
                </a:lnTo>
                <a:close/>
                <a:moveTo>
                  <a:pt x="5881" y="12552"/>
                </a:moveTo>
                <a:lnTo>
                  <a:pt x="5898" y="12528"/>
                </a:lnTo>
                <a:lnTo>
                  <a:pt x="5868" y="12522"/>
                </a:lnTo>
                <a:lnTo>
                  <a:pt x="5908" y="12527"/>
                </a:lnTo>
                <a:lnTo>
                  <a:pt x="5881" y="12552"/>
                </a:lnTo>
                <a:close/>
                <a:moveTo>
                  <a:pt x="5947" y="12569"/>
                </a:moveTo>
                <a:lnTo>
                  <a:pt x="5927" y="12586"/>
                </a:lnTo>
                <a:lnTo>
                  <a:pt x="5898" y="12596"/>
                </a:lnTo>
                <a:lnTo>
                  <a:pt x="5932" y="12564"/>
                </a:lnTo>
                <a:lnTo>
                  <a:pt x="5947" y="12569"/>
                </a:lnTo>
                <a:close/>
                <a:moveTo>
                  <a:pt x="5960" y="12577"/>
                </a:moveTo>
                <a:lnTo>
                  <a:pt x="5961" y="12566"/>
                </a:lnTo>
                <a:lnTo>
                  <a:pt x="5971" y="12563"/>
                </a:lnTo>
                <a:lnTo>
                  <a:pt x="5973" y="12573"/>
                </a:lnTo>
                <a:lnTo>
                  <a:pt x="5960" y="12577"/>
                </a:lnTo>
                <a:close/>
                <a:moveTo>
                  <a:pt x="5941" y="12434"/>
                </a:moveTo>
                <a:lnTo>
                  <a:pt x="5946" y="12434"/>
                </a:lnTo>
                <a:lnTo>
                  <a:pt x="5951" y="12435"/>
                </a:lnTo>
                <a:lnTo>
                  <a:pt x="5947" y="12438"/>
                </a:lnTo>
                <a:lnTo>
                  <a:pt x="5941" y="12434"/>
                </a:lnTo>
                <a:close/>
                <a:moveTo>
                  <a:pt x="5940" y="12415"/>
                </a:moveTo>
                <a:lnTo>
                  <a:pt x="5946" y="12402"/>
                </a:lnTo>
                <a:lnTo>
                  <a:pt x="5973" y="12404"/>
                </a:lnTo>
                <a:lnTo>
                  <a:pt x="5966" y="12421"/>
                </a:lnTo>
                <a:lnTo>
                  <a:pt x="5940" y="12415"/>
                </a:lnTo>
                <a:close/>
                <a:moveTo>
                  <a:pt x="6015" y="12565"/>
                </a:moveTo>
                <a:lnTo>
                  <a:pt x="5982" y="12546"/>
                </a:lnTo>
                <a:lnTo>
                  <a:pt x="5996" y="12523"/>
                </a:lnTo>
                <a:lnTo>
                  <a:pt x="6007" y="12528"/>
                </a:lnTo>
                <a:lnTo>
                  <a:pt x="6006" y="12555"/>
                </a:lnTo>
                <a:lnTo>
                  <a:pt x="6033" y="12558"/>
                </a:lnTo>
                <a:lnTo>
                  <a:pt x="6015" y="12565"/>
                </a:lnTo>
                <a:close/>
                <a:moveTo>
                  <a:pt x="5987" y="12267"/>
                </a:moveTo>
                <a:lnTo>
                  <a:pt x="5979" y="12234"/>
                </a:lnTo>
                <a:lnTo>
                  <a:pt x="5998" y="12209"/>
                </a:lnTo>
                <a:lnTo>
                  <a:pt x="5993" y="12246"/>
                </a:lnTo>
                <a:lnTo>
                  <a:pt x="5987" y="12267"/>
                </a:lnTo>
                <a:close/>
                <a:moveTo>
                  <a:pt x="6025" y="12424"/>
                </a:moveTo>
                <a:lnTo>
                  <a:pt x="6050" y="12426"/>
                </a:lnTo>
                <a:lnTo>
                  <a:pt x="6071" y="12416"/>
                </a:lnTo>
                <a:lnTo>
                  <a:pt x="6061" y="12434"/>
                </a:lnTo>
                <a:lnTo>
                  <a:pt x="6025" y="12424"/>
                </a:lnTo>
                <a:close/>
                <a:moveTo>
                  <a:pt x="6049" y="12504"/>
                </a:moveTo>
                <a:lnTo>
                  <a:pt x="6052" y="12471"/>
                </a:lnTo>
                <a:lnTo>
                  <a:pt x="6092" y="12479"/>
                </a:lnTo>
                <a:lnTo>
                  <a:pt x="6066" y="12482"/>
                </a:lnTo>
                <a:lnTo>
                  <a:pt x="6049" y="12504"/>
                </a:lnTo>
                <a:close/>
                <a:moveTo>
                  <a:pt x="6207" y="12580"/>
                </a:moveTo>
                <a:lnTo>
                  <a:pt x="6162" y="12597"/>
                </a:lnTo>
                <a:lnTo>
                  <a:pt x="6174" y="12580"/>
                </a:lnTo>
                <a:lnTo>
                  <a:pt x="6188" y="12560"/>
                </a:lnTo>
                <a:lnTo>
                  <a:pt x="6207" y="12580"/>
                </a:lnTo>
                <a:close/>
                <a:moveTo>
                  <a:pt x="6206" y="12532"/>
                </a:moveTo>
                <a:lnTo>
                  <a:pt x="6145" y="12521"/>
                </a:lnTo>
                <a:lnTo>
                  <a:pt x="6104" y="12561"/>
                </a:lnTo>
                <a:lnTo>
                  <a:pt x="6122" y="12495"/>
                </a:lnTo>
                <a:lnTo>
                  <a:pt x="6206" y="12532"/>
                </a:lnTo>
                <a:close/>
                <a:moveTo>
                  <a:pt x="6260" y="12508"/>
                </a:moveTo>
                <a:lnTo>
                  <a:pt x="6248" y="12523"/>
                </a:lnTo>
                <a:lnTo>
                  <a:pt x="6226" y="12532"/>
                </a:lnTo>
                <a:lnTo>
                  <a:pt x="6241" y="12508"/>
                </a:lnTo>
                <a:lnTo>
                  <a:pt x="6260" y="12508"/>
                </a:lnTo>
                <a:close/>
                <a:moveTo>
                  <a:pt x="6269" y="12410"/>
                </a:moveTo>
                <a:lnTo>
                  <a:pt x="6250" y="12407"/>
                </a:lnTo>
                <a:lnTo>
                  <a:pt x="6268" y="12400"/>
                </a:lnTo>
                <a:lnTo>
                  <a:pt x="6274" y="12398"/>
                </a:lnTo>
                <a:lnTo>
                  <a:pt x="6269" y="12410"/>
                </a:lnTo>
                <a:close/>
                <a:moveTo>
                  <a:pt x="6324" y="12526"/>
                </a:moveTo>
                <a:lnTo>
                  <a:pt x="6310" y="12524"/>
                </a:lnTo>
                <a:lnTo>
                  <a:pt x="6311" y="12507"/>
                </a:lnTo>
                <a:lnTo>
                  <a:pt x="6323" y="12513"/>
                </a:lnTo>
                <a:lnTo>
                  <a:pt x="6324" y="12526"/>
                </a:lnTo>
                <a:close/>
                <a:moveTo>
                  <a:pt x="6329" y="12462"/>
                </a:moveTo>
                <a:lnTo>
                  <a:pt x="6302" y="12465"/>
                </a:lnTo>
                <a:lnTo>
                  <a:pt x="6325" y="12449"/>
                </a:lnTo>
                <a:lnTo>
                  <a:pt x="6334" y="12454"/>
                </a:lnTo>
                <a:lnTo>
                  <a:pt x="6329" y="12462"/>
                </a:lnTo>
                <a:close/>
                <a:moveTo>
                  <a:pt x="6359" y="12460"/>
                </a:moveTo>
                <a:lnTo>
                  <a:pt x="6360" y="12460"/>
                </a:lnTo>
                <a:lnTo>
                  <a:pt x="6361" y="12460"/>
                </a:lnTo>
                <a:lnTo>
                  <a:pt x="6360" y="12460"/>
                </a:lnTo>
                <a:lnTo>
                  <a:pt x="6359" y="12460"/>
                </a:lnTo>
                <a:close/>
                <a:moveTo>
                  <a:pt x="6404" y="12546"/>
                </a:moveTo>
                <a:lnTo>
                  <a:pt x="6401" y="12542"/>
                </a:lnTo>
                <a:lnTo>
                  <a:pt x="6404" y="12538"/>
                </a:lnTo>
                <a:lnTo>
                  <a:pt x="6404" y="12542"/>
                </a:lnTo>
                <a:lnTo>
                  <a:pt x="6404" y="12546"/>
                </a:lnTo>
                <a:close/>
                <a:moveTo>
                  <a:pt x="6399" y="12488"/>
                </a:moveTo>
                <a:lnTo>
                  <a:pt x="6392" y="12482"/>
                </a:lnTo>
                <a:lnTo>
                  <a:pt x="6387" y="12477"/>
                </a:lnTo>
                <a:lnTo>
                  <a:pt x="6399" y="12479"/>
                </a:lnTo>
                <a:lnTo>
                  <a:pt x="6399" y="12488"/>
                </a:lnTo>
                <a:close/>
                <a:moveTo>
                  <a:pt x="6402" y="12475"/>
                </a:moveTo>
                <a:lnTo>
                  <a:pt x="6381" y="12472"/>
                </a:lnTo>
                <a:lnTo>
                  <a:pt x="6364" y="12461"/>
                </a:lnTo>
                <a:lnTo>
                  <a:pt x="6392" y="12461"/>
                </a:lnTo>
                <a:lnTo>
                  <a:pt x="6402" y="12475"/>
                </a:lnTo>
                <a:close/>
                <a:moveTo>
                  <a:pt x="6430" y="12449"/>
                </a:moveTo>
                <a:lnTo>
                  <a:pt x="6430" y="12447"/>
                </a:lnTo>
                <a:lnTo>
                  <a:pt x="6430" y="12443"/>
                </a:lnTo>
                <a:lnTo>
                  <a:pt x="6432" y="12447"/>
                </a:lnTo>
                <a:lnTo>
                  <a:pt x="6430" y="12449"/>
                </a:lnTo>
                <a:close/>
                <a:moveTo>
                  <a:pt x="6497" y="12488"/>
                </a:moveTo>
                <a:lnTo>
                  <a:pt x="6500" y="12485"/>
                </a:lnTo>
                <a:lnTo>
                  <a:pt x="6504" y="12486"/>
                </a:lnTo>
                <a:lnTo>
                  <a:pt x="6502" y="12488"/>
                </a:lnTo>
                <a:lnTo>
                  <a:pt x="6497" y="12488"/>
                </a:lnTo>
                <a:close/>
                <a:moveTo>
                  <a:pt x="6677" y="12421"/>
                </a:moveTo>
                <a:lnTo>
                  <a:pt x="6658" y="12424"/>
                </a:lnTo>
                <a:lnTo>
                  <a:pt x="6644" y="12418"/>
                </a:lnTo>
                <a:lnTo>
                  <a:pt x="6678" y="12412"/>
                </a:lnTo>
                <a:lnTo>
                  <a:pt x="6677" y="12421"/>
                </a:lnTo>
                <a:close/>
                <a:moveTo>
                  <a:pt x="6724" y="12440"/>
                </a:moveTo>
                <a:lnTo>
                  <a:pt x="6700" y="12444"/>
                </a:lnTo>
                <a:lnTo>
                  <a:pt x="6690" y="12430"/>
                </a:lnTo>
                <a:lnTo>
                  <a:pt x="6724" y="12433"/>
                </a:lnTo>
                <a:lnTo>
                  <a:pt x="6724" y="12440"/>
                </a:lnTo>
                <a:close/>
                <a:moveTo>
                  <a:pt x="6778" y="12400"/>
                </a:moveTo>
                <a:lnTo>
                  <a:pt x="6753" y="12402"/>
                </a:lnTo>
                <a:lnTo>
                  <a:pt x="6756" y="12384"/>
                </a:lnTo>
                <a:lnTo>
                  <a:pt x="6769" y="12392"/>
                </a:lnTo>
                <a:lnTo>
                  <a:pt x="6778" y="12400"/>
                </a:lnTo>
                <a:close/>
                <a:moveTo>
                  <a:pt x="6767" y="12342"/>
                </a:moveTo>
                <a:lnTo>
                  <a:pt x="6761" y="12346"/>
                </a:lnTo>
                <a:lnTo>
                  <a:pt x="6753" y="12353"/>
                </a:lnTo>
                <a:lnTo>
                  <a:pt x="6756" y="12332"/>
                </a:lnTo>
                <a:lnTo>
                  <a:pt x="6767" y="12342"/>
                </a:lnTo>
                <a:close/>
                <a:moveTo>
                  <a:pt x="6778" y="12354"/>
                </a:moveTo>
                <a:lnTo>
                  <a:pt x="6779" y="12348"/>
                </a:lnTo>
                <a:lnTo>
                  <a:pt x="6785" y="12344"/>
                </a:lnTo>
                <a:lnTo>
                  <a:pt x="6786" y="12355"/>
                </a:lnTo>
                <a:lnTo>
                  <a:pt x="6778" y="12354"/>
                </a:lnTo>
                <a:close/>
                <a:moveTo>
                  <a:pt x="6800" y="12257"/>
                </a:moveTo>
                <a:lnTo>
                  <a:pt x="6792" y="12267"/>
                </a:lnTo>
                <a:lnTo>
                  <a:pt x="6779" y="12270"/>
                </a:lnTo>
                <a:lnTo>
                  <a:pt x="6790" y="12264"/>
                </a:lnTo>
                <a:lnTo>
                  <a:pt x="6800" y="12257"/>
                </a:lnTo>
                <a:close/>
                <a:moveTo>
                  <a:pt x="6820" y="12426"/>
                </a:moveTo>
                <a:lnTo>
                  <a:pt x="6808" y="12424"/>
                </a:lnTo>
                <a:lnTo>
                  <a:pt x="6802" y="12412"/>
                </a:lnTo>
                <a:lnTo>
                  <a:pt x="6816" y="12415"/>
                </a:lnTo>
                <a:lnTo>
                  <a:pt x="6820" y="12426"/>
                </a:lnTo>
                <a:close/>
                <a:moveTo>
                  <a:pt x="6831" y="12384"/>
                </a:moveTo>
                <a:lnTo>
                  <a:pt x="6832" y="12363"/>
                </a:lnTo>
                <a:lnTo>
                  <a:pt x="6849" y="12372"/>
                </a:lnTo>
                <a:lnTo>
                  <a:pt x="6839" y="12369"/>
                </a:lnTo>
                <a:lnTo>
                  <a:pt x="6831" y="12384"/>
                </a:lnTo>
                <a:close/>
                <a:moveTo>
                  <a:pt x="6858" y="12463"/>
                </a:moveTo>
                <a:lnTo>
                  <a:pt x="6855" y="12465"/>
                </a:lnTo>
                <a:lnTo>
                  <a:pt x="6853" y="12466"/>
                </a:lnTo>
                <a:lnTo>
                  <a:pt x="6859" y="12458"/>
                </a:lnTo>
                <a:lnTo>
                  <a:pt x="6858" y="12463"/>
                </a:lnTo>
                <a:close/>
                <a:moveTo>
                  <a:pt x="6855" y="12415"/>
                </a:moveTo>
                <a:lnTo>
                  <a:pt x="6850" y="12415"/>
                </a:lnTo>
                <a:lnTo>
                  <a:pt x="6846" y="12411"/>
                </a:lnTo>
                <a:lnTo>
                  <a:pt x="6864" y="12411"/>
                </a:lnTo>
                <a:lnTo>
                  <a:pt x="6855" y="12415"/>
                </a:lnTo>
                <a:close/>
                <a:moveTo>
                  <a:pt x="6895" y="12405"/>
                </a:moveTo>
                <a:lnTo>
                  <a:pt x="6901" y="12390"/>
                </a:lnTo>
                <a:lnTo>
                  <a:pt x="6913" y="12398"/>
                </a:lnTo>
                <a:lnTo>
                  <a:pt x="6909" y="12407"/>
                </a:lnTo>
                <a:lnTo>
                  <a:pt x="6895" y="12405"/>
                </a:lnTo>
                <a:close/>
                <a:moveTo>
                  <a:pt x="6943" y="12388"/>
                </a:moveTo>
                <a:lnTo>
                  <a:pt x="6948" y="12386"/>
                </a:lnTo>
                <a:lnTo>
                  <a:pt x="6955" y="12387"/>
                </a:lnTo>
                <a:lnTo>
                  <a:pt x="6949" y="12391"/>
                </a:lnTo>
                <a:lnTo>
                  <a:pt x="6943" y="12388"/>
                </a:lnTo>
                <a:close/>
                <a:moveTo>
                  <a:pt x="6995" y="12440"/>
                </a:moveTo>
                <a:lnTo>
                  <a:pt x="6984" y="12449"/>
                </a:lnTo>
                <a:lnTo>
                  <a:pt x="6970" y="12457"/>
                </a:lnTo>
                <a:lnTo>
                  <a:pt x="6980" y="12440"/>
                </a:lnTo>
                <a:lnTo>
                  <a:pt x="6995" y="12440"/>
                </a:lnTo>
                <a:close/>
                <a:moveTo>
                  <a:pt x="7087" y="12439"/>
                </a:moveTo>
                <a:lnTo>
                  <a:pt x="7072" y="12432"/>
                </a:lnTo>
                <a:lnTo>
                  <a:pt x="7076" y="12424"/>
                </a:lnTo>
                <a:lnTo>
                  <a:pt x="7087" y="12430"/>
                </a:lnTo>
                <a:lnTo>
                  <a:pt x="7087" y="12439"/>
                </a:lnTo>
                <a:close/>
                <a:moveTo>
                  <a:pt x="7110" y="12453"/>
                </a:moveTo>
                <a:lnTo>
                  <a:pt x="7110" y="12452"/>
                </a:lnTo>
                <a:lnTo>
                  <a:pt x="7110" y="12453"/>
                </a:lnTo>
                <a:lnTo>
                  <a:pt x="7110" y="12452"/>
                </a:lnTo>
                <a:lnTo>
                  <a:pt x="7110" y="12453"/>
                </a:lnTo>
                <a:close/>
                <a:moveTo>
                  <a:pt x="7105" y="12363"/>
                </a:moveTo>
                <a:lnTo>
                  <a:pt x="7093" y="12374"/>
                </a:lnTo>
                <a:lnTo>
                  <a:pt x="7093" y="12365"/>
                </a:lnTo>
                <a:lnTo>
                  <a:pt x="7102" y="12344"/>
                </a:lnTo>
                <a:lnTo>
                  <a:pt x="7105" y="12363"/>
                </a:lnTo>
                <a:close/>
                <a:moveTo>
                  <a:pt x="7209" y="12396"/>
                </a:moveTo>
                <a:lnTo>
                  <a:pt x="7199" y="12409"/>
                </a:lnTo>
                <a:lnTo>
                  <a:pt x="7185" y="12407"/>
                </a:lnTo>
                <a:lnTo>
                  <a:pt x="7216" y="12391"/>
                </a:lnTo>
                <a:lnTo>
                  <a:pt x="7209" y="12396"/>
                </a:lnTo>
                <a:close/>
                <a:moveTo>
                  <a:pt x="7319" y="12381"/>
                </a:moveTo>
                <a:lnTo>
                  <a:pt x="7329" y="12382"/>
                </a:lnTo>
                <a:lnTo>
                  <a:pt x="7326" y="12392"/>
                </a:lnTo>
                <a:lnTo>
                  <a:pt x="7323" y="12386"/>
                </a:lnTo>
                <a:lnTo>
                  <a:pt x="7319" y="12381"/>
                </a:lnTo>
                <a:close/>
                <a:moveTo>
                  <a:pt x="7399" y="12313"/>
                </a:moveTo>
                <a:lnTo>
                  <a:pt x="7385" y="12320"/>
                </a:lnTo>
                <a:lnTo>
                  <a:pt x="7394" y="12308"/>
                </a:lnTo>
                <a:lnTo>
                  <a:pt x="7393" y="12304"/>
                </a:lnTo>
                <a:lnTo>
                  <a:pt x="7399" y="12313"/>
                </a:lnTo>
                <a:close/>
                <a:moveTo>
                  <a:pt x="7512" y="12300"/>
                </a:moveTo>
                <a:lnTo>
                  <a:pt x="7509" y="12294"/>
                </a:lnTo>
                <a:lnTo>
                  <a:pt x="7496" y="12294"/>
                </a:lnTo>
                <a:lnTo>
                  <a:pt x="7516" y="12284"/>
                </a:lnTo>
                <a:lnTo>
                  <a:pt x="7512" y="12300"/>
                </a:lnTo>
                <a:close/>
                <a:moveTo>
                  <a:pt x="7556" y="12344"/>
                </a:moveTo>
                <a:lnTo>
                  <a:pt x="7565" y="12344"/>
                </a:lnTo>
                <a:lnTo>
                  <a:pt x="7562" y="12350"/>
                </a:lnTo>
                <a:lnTo>
                  <a:pt x="7556" y="12349"/>
                </a:lnTo>
                <a:lnTo>
                  <a:pt x="7556" y="12344"/>
                </a:lnTo>
                <a:close/>
                <a:moveTo>
                  <a:pt x="7565" y="12370"/>
                </a:moveTo>
                <a:lnTo>
                  <a:pt x="7562" y="12364"/>
                </a:lnTo>
                <a:lnTo>
                  <a:pt x="7567" y="12358"/>
                </a:lnTo>
                <a:lnTo>
                  <a:pt x="7567" y="12364"/>
                </a:lnTo>
                <a:lnTo>
                  <a:pt x="7565" y="12370"/>
                </a:lnTo>
                <a:close/>
                <a:moveTo>
                  <a:pt x="7576" y="12295"/>
                </a:moveTo>
                <a:lnTo>
                  <a:pt x="7551" y="12271"/>
                </a:lnTo>
                <a:lnTo>
                  <a:pt x="7596" y="12246"/>
                </a:lnTo>
                <a:lnTo>
                  <a:pt x="7599" y="12275"/>
                </a:lnTo>
                <a:lnTo>
                  <a:pt x="7576" y="12295"/>
                </a:lnTo>
                <a:close/>
                <a:moveTo>
                  <a:pt x="7590" y="12330"/>
                </a:moveTo>
                <a:lnTo>
                  <a:pt x="7610" y="12331"/>
                </a:lnTo>
                <a:lnTo>
                  <a:pt x="7621" y="12341"/>
                </a:lnTo>
                <a:lnTo>
                  <a:pt x="7604" y="12344"/>
                </a:lnTo>
                <a:lnTo>
                  <a:pt x="7590" y="12330"/>
                </a:lnTo>
                <a:close/>
                <a:moveTo>
                  <a:pt x="7654" y="12284"/>
                </a:moveTo>
                <a:lnTo>
                  <a:pt x="7642" y="12288"/>
                </a:lnTo>
                <a:lnTo>
                  <a:pt x="7637" y="12283"/>
                </a:lnTo>
                <a:lnTo>
                  <a:pt x="7650" y="12280"/>
                </a:lnTo>
                <a:lnTo>
                  <a:pt x="7654" y="12284"/>
                </a:lnTo>
                <a:close/>
                <a:moveTo>
                  <a:pt x="7708" y="12248"/>
                </a:moveTo>
                <a:lnTo>
                  <a:pt x="7694" y="12236"/>
                </a:lnTo>
                <a:lnTo>
                  <a:pt x="7742" y="12211"/>
                </a:lnTo>
                <a:lnTo>
                  <a:pt x="7747" y="12223"/>
                </a:lnTo>
                <a:lnTo>
                  <a:pt x="7712" y="12222"/>
                </a:lnTo>
                <a:lnTo>
                  <a:pt x="7740" y="12246"/>
                </a:lnTo>
                <a:lnTo>
                  <a:pt x="7708" y="12248"/>
                </a:lnTo>
                <a:close/>
                <a:moveTo>
                  <a:pt x="7770" y="12247"/>
                </a:moveTo>
                <a:lnTo>
                  <a:pt x="7773" y="12251"/>
                </a:lnTo>
                <a:lnTo>
                  <a:pt x="7775" y="12256"/>
                </a:lnTo>
                <a:lnTo>
                  <a:pt x="7763" y="12253"/>
                </a:lnTo>
                <a:lnTo>
                  <a:pt x="7770" y="12247"/>
                </a:lnTo>
                <a:close/>
                <a:moveTo>
                  <a:pt x="7775" y="12127"/>
                </a:moveTo>
                <a:lnTo>
                  <a:pt x="7785" y="12120"/>
                </a:lnTo>
                <a:lnTo>
                  <a:pt x="7796" y="12117"/>
                </a:lnTo>
                <a:lnTo>
                  <a:pt x="7790" y="12131"/>
                </a:lnTo>
                <a:lnTo>
                  <a:pt x="7775" y="12127"/>
                </a:lnTo>
                <a:close/>
                <a:moveTo>
                  <a:pt x="7804" y="12215"/>
                </a:moveTo>
                <a:lnTo>
                  <a:pt x="7805" y="12220"/>
                </a:lnTo>
                <a:lnTo>
                  <a:pt x="7799" y="12223"/>
                </a:lnTo>
                <a:lnTo>
                  <a:pt x="7801" y="12219"/>
                </a:lnTo>
                <a:lnTo>
                  <a:pt x="7804" y="12215"/>
                </a:lnTo>
                <a:close/>
                <a:moveTo>
                  <a:pt x="7809" y="12219"/>
                </a:moveTo>
                <a:lnTo>
                  <a:pt x="7814" y="12214"/>
                </a:lnTo>
                <a:lnTo>
                  <a:pt x="7826" y="12214"/>
                </a:lnTo>
                <a:lnTo>
                  <a:pt x="7818" y="12216"/>
                </a:lnTo>
                <a:lnTo>
                  <a:pt x="7809" y="12219"/>
                </a:lnTo>
                <a:close/>
                <a:moveTo>
                  <a:pt x="7843" y="12251"/>
                </a:moveTo>
                <a:lnTo>
                  <a:pt x="7842" y="12265"/>
                </a:lnTo>
                <a:lnTo>
                  <a:pt x="7826" y="12246"/>
                </a:lnTo>
                <a:lnTo>
                  <a:pt x="7842" y="12233"/>
                </a:lnTo>
                <a:lnTo>
                  <a:pt x="7843" y="12251"/>
                </a:lnTo>
                <a:close/>
                <a:moveTo>
                  <a:pt x="7832" y="12229"/>
                </a:moveTo>
                <a:lnTo>
                  <a:pt x="7831" y="12220"/>
                </a:lnTo>
                <a:lnTo>
                  <a:pt x="7846" y="12214"/>
                </a:lnTo>
                <a:lnTo>
                  <a:pt x="7842" y="12225"/>
                </a:lnTo>
                <a:lnTo>
                  <a:pt x="7832" y="12229"/>
                </a:lnTo>
                <a:close/>
                <a:moveTo>
                  <a:pt x="7840" y="12172"/>
                </a:moveTo>
                <a:lnTo>
                  <a:pt x="7818" y="12166"/>
                </a:lnTo>
                <a:lnTo>
                  <a:pt x="7838" y="12166"/>
                </a:lnTo>
                <a:lnTo>
                  <a:pt x="7843" y="12152"/>
                </a:lnTo>
                <a:lnTo>
                  <a:pt x="7840" y="12172"/>
                </a:lnTo>
                <a:close/>
                <a:moveTo>
                  <a:pt x="7935" y="12267"/>
                </a:moveTo>
                <a:lnTo>
                  <a:pt x="7936" y="12267"/>
                </a:lnTo>
                <a:lnTo>
                  <a:pt x="7935" y="12267"/>
                </a:lnTo>
                <a:lnTo>
                  <a:pt x="7936" y="12267"/>
                </a:lnTo>
                <a:lnTo>
                  <a:pt x="7935" y="12267"/>
                </a:lnTo>
                <a:close/>
                <a:moveTo>
                  <a:pt x="7970" y="12269"/>
                </a:moveTo>
                <a:lnTo>
                  <a:pt x="7964" y="12276"/>
                </a:lnTo>
                <a:lnTo>
                  <a:pt x="7952" y="12265"/>
                </a:lnTo>
                <a:lnTo>
                  <a:pt x="7970" y="12267"/>
                </a:lnTo>
                <a:lnTo>
                  <a:pt x="7970" y="12269"/>
                </a:lnTo>
                <a:close/>
                <a:moveTo>
                  <a:pt x="7987" y="12222"/>
                </a:moveTo>
                <a:lnTo>
                  <a:pt x="7982" y="12195"/>
                </a:lnTo>
                <a:lnTo>
                  <a:pt x="8003" y="12190"/>
                </a:lnTo>
                <a:lnTo>
                  <a:pt x="7992" y="12214"/>
                </a:lnTo>
                <a:lnTo>
                  <a:pt x="7987" y="12222"/>
                </a:lnTo>
                <a:close/>
                <a:moveTo>
                  <a:pt x="8018" y="12206"/>
                </a:moveTo>
                <a:lnTo>
                  <a:pt x="8013" y="12204"/>
                </a:lnTo>
                <a:lnTo>
                  <a:pt x="8009" y="12199"/>
                </a:lnTo>
                <a:lnTo>
                  <a:pt x="8017" y="12199"/>
                </a:lnTo>
                <a:lnTo>
                  <a:pt x="8018" y="12206"/>
                </a:lnTo>
                <a:close/>
                <a:moveTo>
                  <a:pt x="8068" y="12201"/>
                </a:moveTo>
                <a:lnTo>
                  <a:pt x="8073" y="12192"/>
                </a:lnTo>
                <a:lnTo>
                  <a:pt x="8078" y="12188"/>
                </a:lnTo>
                <a:lnTo>
                  <a:pt x="8076" y="12196"/>
                </a:lnTo>
                <a:lnTo>
                  <a:pt x="8068" y="12201"/>
                </a:lnTo>
                <a:close/>
                <a:moveTo>
                  <a:pt x="8175" y="12316"/>
                </a:moveTo>
                <a:lnTo>
                  <a:pt x="8173" y="12318"/>
                </a:lnTo>
                <a:lnTo>
                  <a:pt x="8171" y="12320"/>
                </a:lnTo>
                <a:lnTo>
                  <a:pt x="8172" y="12317"/>
                </a:lnTo>
                <a:lnTo>
                  <a:pt x="8175" y="12316"/>
                </a:lnTo>
                <a:close/>
                <a:moveTo>
                  <a:pt x="8126" y="12251"/>
                </a:moveTo>
                <a:lnTo>
                  <a:pt x="8133" y="12234"/>
                </a:lnTo>
                <a:lnTo>
                  <a:pt x="8161" y="12229"/>
                </a:lnTo>
                <a:lnTo>
                  <a:pt x="8148" y="12246"/>
                </a:lnTo>
                <a:lnTo>
                  <a:pt x="8126" y="12251"/>
                </a:lnTo>
                <a:close/>
                <a:moveTo>
                  <a:pt x="8171" y="12230"/>
                </a:moveTo>
                <a:lnTo>
                  <a:pt x="8176" y="12228"/>
                </a:lnTo>
                <a:lnTo>
                  <a:pt x="8185" y="12230"/>
                </a:lnTo>
                <a:lnTo>
                  <a:pt x="8177" y="12232"/>
                </a:lnTo>
                <a:lnTo>
                  <a:pt x="8171" y="12230"/>
                </a:lnTo>
                <a:close/>
                <a:moveTo>
                  <a:pt x="8214" y="12204"/>
                </a:moveTo>
                <a:lnTo>
                  <a:pt x="8214" y="12204"/>
                </a:lnTo>
                <a:lnTo>
                  <a:pt x="8215" y="12204"/>
                </a:lnTo>
                <a:lnTo>
                  <a:pt x="8214" y="12204"/>
                </a:lnTo>
                <a:lnTo>
                  <a:pt x="8214" y="12204"/>
                </a:lnTo>
                <a:close/>
                <a:moveTo>
                  <a:pt x="8224" y="12230"/>
                </a:moveTo>
                <a:lnTo>
                  <a:pt x="8227" y="12223"/>
                </a:lnTo>
                <a:lnTo>
                  <a:pt x="8236" y="12219"/>
                </a:lnTo>
                <a:lnTo>
                  <a:pt x="8233" y="12228"/>
                </a:lnTo>
                <a:lnTo>
                  <a:pt x="8224" y="12230"/>
                </a:lnTo>
                <a:close/>
                <a:moveTo>
                  <a:pt x="8280" y="12228"/>
                </a:moveTo>
                <a:lnTo>
                  <a:pt x="8268" y="12230"/>
                </a:lnTo>
                <a:lnTo>
                  <a:pt x="8266" y="12218"/>
                </a:lnTo>
                <a:lnTo>
                  <a:pt x="8273" y="12223"/>
                </a:lnTo>
                <a:lnTo>
                  <a:pt x="8280" y="12228"/>
                </a:lnTo>
                <a:close/>
                <a:moveTo>
                  <a:pt x="8266" y="12112"/>
                </a:moveTo>
                <a:lnTo>
                  <a:pt x="8250" y="12121"/>
                </a:lnTo>
                <a:lnTo>
                  <a:pt x="8261" y="12145"/>
                </a:lnTo>
                <a:lnTo>
                  <a:pt x="8243" y="12146"/>
                </a:lnTo>
                <a:lnTo>
                  <a:pt x="8266" y="12112"/>
                </a:lnTo>
                <a:close/>
                <a:moveTo>
                  <a:pt x="8321" y="12155"/>
                </a:moveTo>
                <a:lnTo>
                  <a:pt x="8313" y="12150"/>
                </a:lnTo>
                <a:lnTo>
                  <a:pt x="8303" y="12145"/>
                </a:lnTo>
                <a:lnTo>
                  <a:pt x="8321" y="12146"/>
                </a:lnTo>
                <a:lnTo>
                  <a:pt x="8321" y="12155"/>
                </a:lnTo>
                <a:close/>
                <a:moveTo>
                  <a:pt x="8307" y="12116"/>
                </a:moveTo>
                <a:lnTo>
                  <a:pt x="8301" y="12110"/>
                </a:lnTo>
                <a:lnTo>
                  <a:pt x="8316" y="12104"/>
                </a:lnTo>
                <a:lnTo>
                  <a:pt x="8316" y="12111"/>
                </a:lnTo>
                <a:lnTo>
                  <a:pt x="8307" y="12116"/>
                </a:lnTo>
                <a:close/>
                <a:moveTo>
                  <a:pt x="8336" y="12118"/>
                </a:moveTo>
                <a:lnTo>
                  <a:pt x="8336" y="12118"/>
                </a:lnTo>
                <a:lnTo>
                  <a:pt x="8338" y="12117"/>
                </a:lnTo>
                <a:lnTo>
                  <a:pt x="8326" y="12110"/>
                </a:lnTo>
                <a:lnTo>
                  <a:pt x="8336" y="12118"/>
                </a:lnTo>
                <a:close/>
                <a:moveTo>
                  <a:pt x="8341" y="12116"/>
                </a:moveTo>
                <a:lnTo>
                  <a:pt x="8341" y="12117"/>
                </a:lnTo>
                <a:lnTo>
                  <a:pt x="8341" y="12116"/>
                </a:lnTo>
                <a:lnTo>
                  <a:pt x="8341" y="12117"/>
                </a:lnTo>
                <a:lnTo>
                  <a:pt x="8341" y="12116"/>
                </a:lnTo>
                <a:close/>
                <a:moveTo>
                  <a:pt x="8429" y="12132"/>
                </a:moveTo>
                <a:lnTo>
                  <a:pt x="8433" y="12129"/>
                </a:lnTo>
                <a:lnTo>
                  <a:pt x="8437" y="12131"/>
                </a:lnTo>
                <a:lnTo>
                  <a:pt x="8433" y="12132"/>
                </a:lnTo>
                <a:lnTo>
                  <a:pt x="8429" y="12132"/>
                </a:lnTo>
                <a:close/>
                <a:moveTo>
                  <a:pt x="8434" y="12056"/>
                </a:moveTo>
                <a:lnTo>
                  <a:pt x="8443" y="12042"/>
                </a:lnTo>
                <a:lnTo>
                  <a:pt x="8464" y="12039"/>
                </a:lnTo>
                <a:lnTo>
                  <a:pt x="8448" y="12047"/>
                </a:lnTo>
                <a:lnTo>
                  <a:pt x="8434" y="12056"/>
                </a:lnTo>
                <a:close/>
                <a:moveTo>
                  <a:pt x="8475" y="12104"/>
                </a:moveTo>
                <a:lnTo>
                  <a:pt x="8479" y="12096"/>
                </a:lnTo>
                <a:lnTo>
                  <a:pt x="8493" y="12107"/>
                </a:lnTo>
                <a:lnTo>
                  <a:pt x="8484" y="12111"/>
                </a:lnTo>
                <a:lnTo>
                  <a:pt x="8475" y="12104"/>
                </a:lnTo>
                <a:close/>
                <a:moveTo>
                  <a:pt x="8507" y="12076"/>
                </a:moveTo>
                <a:lnTo>
                  <a:pt x="8506" y="12060"/>
                </a:lnTo>
                <a:lnTo>
                  <a:pt x="8532" y="12052"/>
                </a:lnTo>
                <a:lnTo>
                  <a:pt x="8521" y="12064"/>
                </a:lnTo>
                <a:lnTo>
                  <a:pt x="8507" y="12076"/>
                </a:lnTo>
                <a:close/>
                <a:moveTo>
                  <a:pt x="8535" y="12085"/>
                </a:moveTo>
                <a:lnTo>
                  <a:pt x="8530" y="12080"/>
                </a:lnTo>
                <a:lnTo>
                  <a:pt x="8534" y="12076"/>
                </a:lnTo>
                <a:lnTo>
                  <a:pt x="8531" y="12081"/>
                </a:lnTo>
                <a:lnTo>
                  <a:pt x="8535" y="12085"/>
                </a:lnTo>
                <a:close/>
                <a:moveTo>
                  <a:pt x="8532" y="12116"/>
                </a:moveTo>
                <a:lnTo>
                  <a:pt x="8530" y="12108"/>
                </a:lnTo>
                <a:lnTo>
                  <a:pt x="8532" y="12094"/>
                </a:lnTo>
                <a:lnTo>
                  <a:pt x="8543" y="12102"/>
                </a:lnTo>
                <a:lnTo>
                  <a:pt x="8532" y="12116"/>
                </a:lnTo>
                <a:close/>
                <a:moveTo>
                  <a:pt x="8543" y="12053"/>
                </a:moveTo>
                <a:lnTo>
                  <a:pt x="8549" y="12056"/>
                </a:lnTo>
                <a:lnTo>
                  <a:pt x="8544" y="12061"/>
                </a:lnTo>
                <a:lnTo>
                  <a:pt x="8543" y="12057"/>
                </a:lnTo>
                <a:lnTo>
                  <a:pt x="8543" y="12053"/>
                </a:lnTo>
                <a:close/>
                <a:moveTo>
                  <a:pt x="8567" y="12115"/>
                </a:moveTo>
                <a:lnTo>
                  <a:pt x="8559" y="12115"/>
                </a:lnTo>
                <a:lnTo>
                  <a:pt x="8554" y="12104"/>
                </a:lnTo>
                <a:lnTo>
                  <a:pt x="8571" y="12096"/>
                </a:lnTo>
                <a:lnTo>
                  <a:pt x="8567" y="12115"/>
                </a:lnTo>
                <a:close/>
                <a:moveTo>
                  <a:pt x="8604" y="12108"/>
                </a:moveTo>
                <a:lnTo>
                  <a:pt x="8609" y="12112"/>
                </a:lnTo>
                <a:lnTo>
                  <a:pt x="8610" y="12116"/>
                </a:lnTo>
                <a:lnTo>
                  <a:pt x="8604" y="12115"/>
                </a:lnTo>
                <a:lnTo>
                  <a:pt x="8604" y="12108"/>
                </a:lnTo>
                <a:close/>
                <a:moveTo>
                  <a:pt x="8667" y="12163"/>
                </a:moveTo>
                <a:lnTo>
                  <a:pt x="8661" y="12153"/>
                </a:lnTo>
                <a:lnTo>
                  <a:pt x="8678" y="12158"/>
                </a:lnTo>
                <a:lnTo>
                  <a:pt x="8674" y="12160"/>
                </a:lnTo>
                <a:lnTo>
                  <a:pt x="8667" y="12163"/>
                </a:lnTo>
                <a:close/>
                <a:moveTo>
                  <a:pt x="8717" y="12149"/>
                </a:moveTo>
                <a:lnTo>
                  <a:pt x="8717" y="12132"/>
                </a:lnTo>
                <a:lnTo>
                  <a:pt x="8727" y="12138"/>
                </a:lnTo>
                <a:lnTo>
                  <a:pt x="8720" y="12143"/>
                </a:lnTo>
                <a:lnTo>
                  <a:pt x="8717" y="12149"/>
                </a:lnTo>
                <a:close/>
                <a:moveTo>
                  <a:pt x="8842" y="12075"/>
                </a:moveTo>
                <a:lnTo>
                  <a:pt x="8828" y="12069"/>
                </a:lnTo>
                <a:lnTo>
                  <a:pt x="8844" y="12067"/>
                </a:lnTo>
                <a:lnTo>
                  <a:pt x="8846" y="12074"/>
                </a:lnTo>
                <a:lnTo>
                  <a:pt x="8842" y="12075"/>
                </a:lnTo>
                <a:close/>
                <a:moveTo>
                  <a:pt x="8960" y="11990"/>
                </a:moveTo>
                <a:lnTo>
                  <a:pt x="8970" y="11971"/>
                </a:lnTo>
                <a:lnTo>
                  <a:pt x="8981" y="11981"/>
                </a:lnTo>
                <a:lnTo>
                  <a:pt x="8973" y="11986"/>
                </a:lnTo>
                <a:lnTo>
                  <a:pt x="8960" y="11990"/>
                </a:lnTo>
                <a:close/>
                <a:moveTo>
                  <a:pt x="9043" y="12087"/>
                </a:moveTo>
                <a:lnTo>
                  <a:pt x="9035" y="12084"/>
                </a:lnTo>
                <a:lnTo>
                  <a:pt x="9029" y="12083"/>
                </a:lnTo>
                <a:lnTo>
                  <a:pt x="9039" y="12079"/>
                </a:lnTo>
                <a:lnTo>
                  <a:pt x="9043" y="12087"/>
                </a:lnTo>
                <a:close/>
                <a:moveTo>
                  <a:pt x="9024" y="12042"/>
                </a:moveTo>
                <a:lnTo>
                  <a:pt x="8987" y="12051"/>
                </a:lnTo>
                <a:lnTo>
                  <a:pt x="8979" y="12027"/>
                </a:lnTo>
                <a:lnTo>
                  <a:pt x="9023" y="12014"/>
                </a:lnTo>
                <a:lnTo>
                  <a:pt x="9024" y="12042"/>
                </a:lnTo>
                <a:close/>
                <a:moveTo>
                  <a:pt x="9049" y="11933"/>
                </a:moveTo>
                <a:lnTo>
                  <a:pt x="9070" y="11936"/>
                </a:lnTo>
                <a:lnTo>
                  <a:pt x="9075" y="11947"/>
                </a:lnTo>
                <a:lnTo>
                  <a:pt x="9055" y="11944"/>
                </a:lnTo>
                <a:lnTo>
                  <a:pt x="9049" y="11933"/>
                </a:lnTo>
                <a:close/>
                <a:moveTo>
                  <a:pt x="9076" y="12008"/>
                </a:moveTo>
                <a:lnTo>
                  <a:pt x="9077" y="11994"/>
                </a:lnTo>
                <a:lnTo>
                  <a:pt x="9091" y="12003"/>
                </a:lnTo>
                <a:lnTo>
                  <a:pt x="9084" y="12005"/>
                </a:lnTo>
                <a:lnTo>
                  <a:pt x="9076" y="12008"/>
                </a:lnTo>
                <a:close/>
                <a:moveTo>
                  <a:pt x="9122" y="12090"/>
                </a:moveTo>
                <a:lnTo>
                  <a:pt x="9116" y="12080"/>
                </a:lnTo>
                <a:lnTo>
                  <a:pt x="9119" y="12071"/>
                </a:lnTo>
                <a:lnTo>
                  <a:pt x="9121" y="12079"/>
                </a:lnTo>
                <a:lnTo>
                  <a:pt x="9122" y="12090"/>
                </a:lnTo>
                <a:close/>
                <a:moveTo>
                  <a:pt x="9136" y="12084"/>
                </a:moveTo>
                <a:lnTo>
                  <a:pt x="9144" y="12080"/>
                </a:lnTo>
                <a:lnTo>
                  <a:pt x="9136" y="12084"/>
                </a:lnTo>
                <a:lnTo>
                  <a:pt x="9140" y="12075"/>
                </a:lnTo>
                <a:lnTo>
                  <a:pt x="9136" y="12084"/>
                </a:lnTo>
                <a:close/>
                <a:moveTo>
                  <a:pt x="9155" y="11945"/>
                </a:moveTo>
                <a:lnTo>
                  <a:pt x="9155" y="11945"/>
                </a:lnTo>
                <a:lnTo>
                  <a:pt x="9155" y="11945"/>
                </a:lnTo>
                <a:lnTo>
                  <a:pt x="9155" y="11947"/>
                </a:lnTo>
                <a:lnTo>
                  <a:pt x="9155" y="11945"/>
                </a:lnTo>
                <a:close/>
                <a:moveTo>
                  <a:pt x="9172" y="12009"/>
                </a:moveTo>
                <a:lnTo>
                  <a:pt x="9172" y="12008"/>
                </a:lnTo>
                <a:lnTo>
                  <a:pt x="9173" y="12005"/>
                </a:lnTo>
                <a:lnTo>
                  <a:pt x="9173" y="12008"/>
                </a:lnTo>
                <a:lnTo>
                  <a:pt x="9172" y="12009"/>
                </a:lnTo>
                <a:close/>
                <a:moveTo>
                  <a:pt x="9206" y="12005"/>
                </a:moveTo>
                <a:lnTo>
                  <a:pt x="9200" y="12003"/>
                </a:lnTo>
                <a:lnTo>
                  <a:pt x="9207" y="11995"/>
                </a:lnTo>
                <a:lnTo>
                  <a:pt x="9207" y="12000"/>
                </a:lnTo>
                <a:lnTo>
                  <a:pt x="9206" y="12005"/>
                </a:lnTo>
                <a:close/>
                <a:moveTo>
                  <a:pt x="9248" y="12069"/>
                </a:moveTo>
                <a:lnTo>
                  <a:pt x="9242" y="12064"/>
                </a:lnTo>
                <a:lnTo>
                  <a:pt x="9248" y="12055"/>
                </a:lnTo>
                <a:lnTo>
                  <a:pt x="9257" y="12062"/>
                </a:lnTo>
                <a:lnTo>
                  <a:pt x="9248" y="12069"/>
                </a:lnTo>
                <a:close/>
                <a:moveTo>
                  <a:pt x="9496" y="12080"/>
                </a:moveTo>
                <a:lnTo>
                  <a:pt x="9426" y="12113"/>
                </a:lnTo>
                <a:lnTo>
                  <a:pt x="9344" y="12092"/>
                </a:lnTo>
                <a:lnTo>
                  <a:pt x="9331" y="12125"/>
                </a:lnTo>
                <a:lnTo>
                  <a:pt x="9284" y="12087"/>
                </a:lnTo>
                <a:lnTo>
                  <a:pt x="9339" y="12071"/>
                </a:lnTo>
                <a:lnTo>
                  <a:pt x="9272" y="12042"/>
                </a:lnTo>
                <a:lnTo>
                  <a:pt x="9279" y="12036"/>
                </a:lnTo>
                <a:lnTo>
                  <a:pt x="9279" y="12050"/>
                </a:lnTo>
                <a:lnTo>
                  <a:pt x="9358" y="12043"/>
                </a:lnTo>
                <a:lnTo>
                  <a:pt x="9439" y="12022"/>
                </a:lnTo>
                <a:lnTo>
                  <a:pt x="9447" y="12034"/>
                </a:lnTo>
                <a:lnTo>
                  <a:pt x="9395" y="12064"/>
                </a:lnTo>
                <a:lnTo>
                  <a:pt x="9405" y="12075"/>
                </a:lnTo>
                <a:lnTo>
                  <a:pt x="9472" y="12032"/>
                </a:lnTo>
                <a:lnTo>
                  <a:pt x="9493" y="12046"/>
                </a:lnTo>
                <a:lnTo>
                  <a:pt x="9496" y="12080"/>
                </a:lnTo>
                <a:close/>
                <a:moveTo>
                  <a:pt x="9508" y="12052"/>
                </a:moveTo>
                <a:lnTo>
                  <a:pt x="9502" y="12047"/>
                </a:lnTo>
                <a:lnTo>
                  <a:pt x="9503" y="12047"/>
                </a:lnTo>
                <a:lnTo>
                  <a:pt x="9517" y="12053"/>
                </a:lnTo>
                <a:lnTo>
                  <a:pt x="9508" y="12052"/>
                </a:lnTo>
                <a:close/>
                <a:moveTo>
                  <a:pt x="9526" y="12027"/>
                </a:moveTo>
                <a:lnTo>
                  <a:pt x="9504" y="12039"/>
                </a:lnTo>
                <a:lnTo>
                  <a:pt x="9509" y="12033"/>
                </a:lnTo>
                <a:lnTo>
                  <a:pt x="9505" y="12009"/>
                </a:lnTo>
                <a:lnTo>
                  <a:pt x="9526" y="12027"/>
                </a:lnTo>
                <a:close/>
                <a:moveTo>
                  <a:pt x="9504" y="11870"/>
                </a:moveTo>
                <a:lnTo>
                  <a:pt x="9502" y="11869"/>
                </a:lnTo>
                <a:lnTo>
                  <a:pt x="9499" y="11864"/>
                </a:lnTo>
                <a:lnTo>
                  <a:pt x="9507" y="11865"/>
                </a:lnTo>
                <a:lnTo>
                  <a:pt x="9504" y="11870"/>
                </a:lnTo>
                <a:close/>
                <a:moveTo>
                  <a:pt x="9523" y="11934"/>
                </a:moveTo>
                <a:lnTo>
                  <a:pt x="9530" y="11925"/>
                </a:lnTo>
                <a:lnTo>
                  <a:pt x="9542" y="11921"/>
                </a:lnTo>
                <a:lnTo>
                  <a:pt x="9536" y="11933"/>
                </a:lnTo>
                <a:lnTo>
                  <a:pt x="9523" y="11934"/>
                </a:lnTo>
                <a:close/>
                <a:moveTo>
                  <a:pt x="9569" y="12034"/>
                </a:moveTo>
                <a:lnTo>
                  <a:pt x="9542" y="12017"/>
                </a:lnTo>
                <a:lnTo>
                  <a:pt x="9561" y="11999"/>
                </a:lnTo>
                <a:lnTo>
                  <a:pt x="9564" y="12020"/>
                </a:lnTo>
                <a:lnTo>
                  <a:pt x="9569" y="12034"/>
                </a:lnTo>
                <a:close/>
                <a:moveTo>
                  <a:pt x="9605" y="11936"/>
                </a:moveTo>
                <a:lnTo>
                  <a:pt x="9610" y="11933"/>
                </a:lnTo>
                <a:lnTo>
                  <a:pt x="9620" y="11931"/>
                </a:lnTo>
                <a:lnTo>
                  <a:pt x="9615" y="11934"/>
                </a:lnTo>
                <a:lnTo>
                  <a:pt x="9605" y="11936"/>
                </a:lnTo>
                <a:close/>
                <a:moveTo>
                  <a:pt x="9649" y="11989"/>
                </a:moveTo>
                <a:lnTo>
                  <a:pt x="9639" y="11982"/>
                </a:lnTo>
                <a:lnTo>
                  <a:pt x="9661" y="11975"/>
                </a:lnTo>
                <a:lnTo>
                  <a:pt x="9651" y="11978"/>
                </a:lnTo>
                <a:lnTo>
                  <a:pt x="9649" y="11989"/>
                </a:lnTo>
                <a:close/>
                <a:moveTo>
                  <a:pt x="9741" y="11989"/>
                </a:moveTo>
                <a:lnTo>
                  <a:pt x="9738" y="11983"/>
                </a:lnTo>
                <a:lnTo>
                  <a:pt x="9747" y="11980"/>
                </a:lnTo>
                <a:lnTo>
                  <a:pt x="9747" y="11985"/>
                </a:lnTo>
                <a:lnTo>
                  <a:pt x="9741" y="11989"/>
                </a:lnTo>
                <a:close/>
                <a:moveTo>
                  <a:pt x="9742" y="11962"/>
                </a:moveTo>
                <a:lnTo>
                  <a:pt x="9717" y="11980"/>
                </a:lnTo>
                <a:lnTo>
                  <a:pt x="9681" y="11995"/>
                </a:lnTo>
                <a:lnTo>
                  <a:pt x="9708" y="11964"/>
                </a:lnTo>
                <a:lnTo>
                  <a:pt x="9742" y="11962"/>
                </a:lnTo>
                <a:close/>
                <a:moveTo>
                  <a:pt x="9756" y="11969"/>
                </a:moveTo>
                <a:lnTo>
                  <a:pt x="9758" y="11954"/>
                </a:lnTo>
                <a:lnTo>
                  <a:pt x="9770" y="11962"/>
                </a:lnTo>
                <a:lnTo>
                  <a:pt x="9782" y="11975"/>
                </a:lnTo>
                <a:lnTo>
                  <a:pt x="9756" y="11969"/>
                </a:lnTo>
                <a:close/>
                <a:moveTo>
                  <a:pt x="9825" y="11896"/>
                </a:moveTo>
                <a:lnTo>
                  <a:pt x="9821" y="11889"/>
                </a:lnTo>
                <a:lnTo>
                  <a:pt x="9811" y="11891"/>
                </a:lnTo>
                <a:lnTo>
                  <a:pt x="9826" y="11884"/>
                </a:lnTo>
                <a:lnTo>
                  <a:pt x="9825" y="11896"/>
                </a:lnTo>
                <a:close/>
                <a:moveTo>
                  <a:pt x="9836" y="11798"/>
                </a:moveTo>
                <a:lnTo>
                  <a:pt x="9836" y="11795"/>
                </a:lnTo>
                <a:lnTo>
                  <a:pt x="9836" y="11798"/>
                </a:lnTo>
                <a:lnTo>
                  <a:pt x="9828" y="11798"/>
                </a:lnTo>
                <a:lnTo>
                  <a:pt x="9836" y="11798"/>
                </a:lnTo>
                <a:close/>
                <a:moveTo>
                  <a:pt x="9903" y="11959"/>
                </a:moveTo>
                <a:lnTo>
                  <a:pt x="9900" y="11969"/>
                </a:lnTo>
                <a:lnTo>
                  <a:pt x="9886" y="11964"/>
                </a:lnTo>
                <a:lnTo>
                  <a:pt x="9896" y="11961"/>
                </a:lnTo>
                <a:lnTo>
                  <a:pt x="9903" y="11959"/>
                </a:lnTo>
                <a:close/>
                <a:moveTo>
                  <a:pt x="9918" y="11982"/>
                </a:moveTo>
                <a:lnTo>
                  <a:pt x="9908" y="11971"/>
                </a:lnTo>
                <a:lnTo>
                  <a:pt x="9924" y="11963"/>
                </a:lnTo>
                <a:lnTo>
                  <a:pt x="9927" y="11977"/>
                </a:lnTo>
                <a:lnTo>
                  <a:pt x="9918" y="11982"/>
                </a:lnTo>
                <a:close/>
                <a:moveTo>
                  <a:pt x="9936" y="11940"/>
                </a:moveTo>
                <a:lnTo>
                  <a:pt x="9922" y="11941"/>
                </a:lnTo>
                <a:lnTo>
                  <a:pt x="9908" y="11940"/>
                </a:lnTo>
                <a:lnTo>
                  <a:pt x="9928" y="11930"/>
                </a:lnTo>
                <a:lnTo>
                  <a:pt x="9936" y="11940"/>
                </a:lnTo>
                <a:close/>
                <a:moveTo>
                  <a:pt x="9923" y="11852"/>
                </a:moveTo>
                <a:lnTo>
                  <a:pt x="9927" y="11838"/>
                </a:lnTo>
                <a:lnTo>
                  <a:pt x="9927" y="11832"/>
                </a:lnTo>
                <a:lnTo>
                  <a:pt x="9938" y="11842"/>
                </a:lnTo>
                <a:lnTo>
                  <a:pt x="9923" y="11852"/>
                </a:lnTo>
                <a:close/>
                <a:moveTo>
                  <a:pt x="9932" y="11809"/>
                </a:moveTo>
                <a:lnTo>
                  <a:pt x="9926" y="11804"/>
                </a:lnTo>
                <a:lnTo>
                  <a:pt x="9929" y="11794"/>
                </a:lnTo>
                <a:lnTo>
                  <a:pt x="9937" y="11803"/>
                </a:lnTo>
                <a:lnTo>
                  <a:pt x="9932" y="11809"/>
                </a:lnTo>
                <a:close/>
                <a:moveTo>
                  <a:pt x="9983" y="11859"/>
                </a:moveTo>
                <a:lnTo>
                  <a:pt x="9956" y="11847"/>
                </a:lnTo>
                <a:lnTo>
                  <a:pt x="9989" y="11828"/>
                </a:lnTo>
                <a:lnTo>
                  <a:pt x="10001" y="11857"/>
                </a:lnTo>
                <a:lnTo>
                  <a:pt x="9983" y="11859"/>
                </a:lnTo>
                <a:close/>
                <a:moveTo>
                  <a:pt x="10026" y="11883"/>
                </a:moveTo>
                <a:lnTo>
                  <a:pt x="10021" y="11874"/>
                </a:lnTo>
                <a:lnTo>
                  <a:pt x="10034" y="11871"/>
                </a:lnTo>
                <a:lnTo>
                  <a:pt x="10030" y="11877"/>
                </a:lnTo>
                <a:lnTo>
                  <a:pt x="10026" y="11883"/>
                </a:lnTo>
                <a:close/>
                <a:moveTo>
                  <a:pt x="10078" y="11842"/>
                </a:moveTo>
                <a:lnTo>
                  <a:pt x="10063" y="11831"/>
                </a:lnTo>
                <a:lnTo>
                  <a:pt x="10059" y="11817"/>
                </a:lnTo>
                <a:lnTo>
                  <a:pt x="10078" y="11826"/>
                </a:lnTo>
                <a:lnTo>
                  <a:pt x="10078" y="11842"/>
                </a:lnTo>
                <a:close/>
                <a:moveTo>
                  <a:pt x="10078" y="11700"/>
                </a:moveTo>
                <a:lnTo>
                  <a:pt x="10082" y="11702"/>
                </a:lnTo>
                <a:lnTo>
                  <a:pt x="10084" y="11706"/>
                </a:lnTo>
                <a:lnTo>
                  <a:pt x="10077" y="11705"/>
                </a:lnTo>
                <a:lnTo>
                  <a:pt x="10078" y="11700"/>
                </a:lnTo>
                <a:close/>
                <a:moveTo>
                  <a:pt x="10077" y="11715"/>
                </a:moveTo>
                <a:lnTo>
                  <a:pt x="10089" y="11709"/>
                </a:lnTo>
                <a:lnTo>
                  <a:pt x="10090" y="11721"/>
                </a:lnTo>
                <a:lnTo>
                  <a:pt x="10084" y="11719"/>
                </a:lnTo>
                <a:lnTo>
                  <a:pt x="10077" y="11715"/>
                </a:lnTo>
                <a:close/>
                <a:moveTo>
                  <a:pt x="10127" y="11899"/>
                </a:moveTo>
                <a:lnTo>
                  <a:pt x="10120" y="11899"/>
                </a:lnTo>
                <a:lnTo>
                  <a:pt x="10113" y="11898"/>
                </a:lnTo>
                <a:lnTo>
                  <a:pt x="10131" y="11893"/>
                </a:lnTo>
                <a:lnTo>
                  <a:pt x="10127" y="11899"/>
                </a:lnTo>
                <a:close/>
                <a:moveTo>
                  <a:pt x="10141" y="11800"/>
                </a:moveTo>
                <a:lnTo>
                  <a:pt x="10142" y="11791"/>
                </a:lnTo>
                <a:lnTo>
                  <a:pt x="10155" y="11785"/>
                </a:lnTo>
                <a:lnTo>
                  <a:pt x="10156" y="11803"/>
                </a:lnTo>
                <a:lnTo>
                  <a:pt x="10141" y="11800"/>
                </a:lnTo>
                <a:close/>
                <a:moveTo>
                  <a:pt x="10180" y="11810"/>
                </a:moveTo>
                <a:lnTo>
                  <a:pt x="10175" y="11798"/>
                </a:lnTo>
                <a:lnTo>
                  <a:pt x="10194" y="11777"/>
                </a:lnTo>
                <a:lnTo>
                  <a:pt x="10202" y="11798"/>
                </a:lnTo>
                <a:lnTo>
                  <a:pt x="10180" y="11810"/>
                </a:lnTo>
                <a:close/>
                <a:moveTo>
                  <a:pt x="10239" y="11819"/>
                </a:moveTo>
                <a:lnTo>
                  <a:pt x="10213" y="11810"/>
                </a:lnTo>
                <a:lnTo>
                  <a:pt x="10244" y="11805"/>
                </a:lnTo>
                <a:lnTo>
                  <a:pt x="10271" y="11815"/>
                </a:lnTo>
                <a:lnTo>
                  <a:pt x="10239" y="11819"/>
                </a:lnTo>
                <a:close/>
                <a:moveTo>
                  <a:pt x="10258" y="11899"/>
                </a:moveTo>
                <a:lnTo>
                  <a:pt x="10269" y="11891"/>
                </a:lnTo>
                <a:lnTo>
                  <a:pt x="10283" y="11888"/>
                </a:lnTo>
                <a:lnTo>
                  <a:pt x="10275" y="11896"/>
                </a:lnTo>
                <a:lnTo>
                  <a:pt x="10258" y="11899"/>
                </a:lnTo>
                <a:close/>
                <a:moveTo>
                  <a:pt x="10311" y="11873"/>
                </a:moveTo>
                <a:lnTo>
                  <a:pt x="10287" y="11874"/>
                </a:lnTo>
                <a:lnTo>
                  <a:pt x="10264" y="11877"/>
                </a:lnTo>
                <a:lnTo>
                  <a:pt x="10303" y="11850"/>
                </a:lnTo>
                <a:lnTo>
                  <a:pt x="10311" y="11873"/>
                </a:lnTo>
                <a:close/>
                <a:moveTo>
                  <a:pt x="10352" y="11870"/>
                </a:moveTo>
                <a:lnTo>
                  <a:pt x="10329" y="11880"/>
                </a:lnTo>
                <a:lnTo>
                  <a:pt x="10332" y="11878"/>
                </a:lnTo>
                <a:lnTo>
                  <a:pt x="10342" y="11856"/>
                </a:lnTo>
                <a:lnTo>
                  <a:pt x="10352" y="11870"/>
                </a:lnTo>
                <a:close/>
                <a:moveTo>
                  <a:pt x="10348" y="11799"/>
                </a:moveTo>
                <a:lnTo>
                  <a:pt x="10334" y="11799"/>
                </a:lnTo>
                <a:lnTo>
                  <a:pt x="10342" y="11794"/>
                </a:lnTo>
                <a:lnTo>
                  <a:pt x="10348" y="11799"/>
                </a:lnTo>
                <a:close/>
                <a:moveTo>
                  <a:pt x="10331" y="11716"/>
                </a:moveTo>
                <a:lnTo>
                  <a:pt x="10328" y="11710"/>
                </a:lnTo>
                <a:lnTo>
                  <a:pt x="10336" y="11709"/>
                </a:lnTo>
                <a:lnTo>
                  <a:pt x="10334" y="11712"/>
                </a:lnTo>
                <a:lnTo>
                  <a:pt x="10331" y="11716"/>
                </a:lnTo>
                <a:close/>
                <a:moveTo>
                  <a:pt x="10322" y="11661"/>
                </a:moveTo>
                <a:lnTo>
                  <a:pt x="10324" y="11646"/>
                </a:lnTo>
                <a:lnTo>
                  <a:pt x="10336" y="11654"/>
                </a:lnTo>
                <a:lnTo>
                  <a:pt x="10334" y="11663"/>
                </a:lnTo>
                <a:lnTo>
                  <a:pt x="10322" y="11661"/>
                </a:lnTo>
                <a:close/>
                <a:moveTo>
                  <a:pt x="10347" y="11706"/>
                </a:moveTo>
                <a:lnTo>
                  <a:pt x="10357" y="11703"/>
                </a:lnTo>
                <a:lnTo>
                  <a:pt x="10369" y="11707"/>
                </a:lnTo>
                <a:lnTo>
                  <a:pt x="10352" y="11712"/>
                </a:lnTo>
                <a:lnTo>
                  <a:pt x="10347" y="11706"/>
                </a:lnTo>
                <a:close/>
                <a:moveTo>
                  <a:pt x="10383" y="11859"/>
                </a:moveTo>
                <a:lnTo>
                  <a:pt x="10378" y="11859"/>
                </a:lnTo>
                <a:lnTo>
                  <a:pt x="10370" y="11859"/>
                </a:lnTo>
                <a:lnTo>
                  <a:pt x="10379" y="11847"/>
                </a:lnTo>
                <a:lnTo>
                  <a:pt x="10383" y="11859"/>
                </a:lnTo>
                <a:close/>
                <a:moveTo>
                  <a:pt x="10389" y="11836"/>
                </a:moveTo>
                <a:lnTo>
                  <a:pt x="10396" y="11832"/>
                </a:lnTo>
                <a:lnTo>
                  <a:pt x="10399" y="11835"/>
                </a:lnTo>
                <a:lnTo>
                  <a:pt x="10396" y="11838"/>
                </a:lnTo>
                <a:lnTo>
                  <a:pt x="10389" y="11836"/>
                </a:lnTo>
                <a:close/>
                <a:moveTo>
                  <a:pt x="10413" y="11864"/>
                </a:moveTo>
                <a:lnTo>
                  <a:pt x="10404" y="11852"/>
                </a:lnTo>
                <a:lnTo>
                  <a:pt x="10421" y="11849"/>
                </a:lnTo>
                <a:lnTo>
                  <a:pt x="10416" y="11856"/>
                </a:lnTo>
                <a:lnTo>
                  <a:pt x="10413" y="11864"/>
                </a:lnTo>
                <a:close/>
                <a:moveTo>
                  <a:pt x="10394" y="11772"/>
                </a:moveTo>
                <a:lnTo>
                  <a:pt x="10396" y="11759"/>
                </a:lnTo>
                <a:lnTo>
                  <a:pt x="10410" y="11758"/>
                </a:lnTo>
                <a:lnTo>
                  <a:pt x="10412" y="11768"/>
                </a:lnTo>
                <a:lnTo>
                  <a:pt x="10394" y="11772"/>
                </a:lnTo>
                <a:close/>
                <a:moveTo>
                  <a:pt x="10410" y="11758"/>
                </a:moveTo>
                <a:lnTo>
                  <a:pt x="10415" y="11749"/>
                </a:lnTo>
                <a:lnTo>
                  <a:pt x="10421" y="11747"/>
                </a:lnTo>
                <a:lnTo>
                  <a:pt x="10418" y="11754"/>
                </a:lnTo>
                <a:lnTo>
                  <a:pt x="10410" y="11758"/>
                </a:lnTo>
                <a:close/>
                <a:moveTo>
                  <a:pt x="10417" y="11646"/>
                </a:moveTo>
                <a:lnTo>
                  <a:pt x="10416" y="11637"/>
                </a:lnTo>
                <a:lnTo>
                  <a:pt x="10431" y="11637"/>
                </a:lnTo>
                <a:lnTo>
                  <a:pt x="10427" y="11645"/>
                </a:lnTo>
                <a:lnTo>
                  <a:pt x="10417" y="11646"/>
                </a:lnTo>
                <a:close/>
                <a:moveTo>
                  <a:pt x="10426" y="11682"/>
                </a:moveTo>
                <a:lnTo>
                  <a:pt x="10441" y="11682"/>
                </a:lnTo>
                <a:lnTo>
                  <a:pt x="10444" y="11693"/>
                </a:lnTo>
                <a:lnTo>
                  <a:pt x="10431" y="11692"/>
                </a:lnTo>
                <a:lnTo>
                  <a:pt x="10426" y="11682"/>
                </a:lnTo>
                <a:close/>
                <a:moveTo>
                  <a:pt x="10496" y="11857"/>
                </a:moveTo>
                <a:lnTo>
                  <a:pt x="10474" y="11860"/>
                </a:lnTo>
                <a:lnTo>
                  <a:pt x="10468" y="11833"/>
                </a:lnTo>
                <a:lnTo>
                  <a:pt x="10514" y="11829"/>
                </a:lnTo>
                <a:lnTo>
                  <a:pt x="10496" y="11857"/>
                </a:lnTo>
                <a:close/>
                <a:moveTo>
                  <a:pt x="10539" y="11763"/>
                </a:moveTo>
                <a:lnTo>
                  <a:pt x="10520" y="11766"/>
                </a:lnTo>
                <a:lnTo>
                  <a:pt x="10497" y="11765"/>
                </a:lnTo>
                <a:lnTo>
                  <a:pt x="10534" y="11752"/>
                </a:lnTo>
                <a:lnTo>
                  <a:pt x="10539" y="11763"/>
                </a:lnTo>
                <a:close/>
                <a:moveTo>
                  <a:pt x="11933" y="10319"/>
                </a:moveTo>
                <a:lnTo>
                  <a:pt x="11894" y="10306"/>
                </a:lnTo>
                <a:lnTo>
                  <a:pt x="11922" y="10276"/>
                </a:lnTo>
                <a:lnTo>
                  <a:pt x="11931" y="10303"/>
                </a:lnTo>
                <a:lnTo>
                  <a:pt x="11933" y="10319"/>
                </a:lnTo>
                <a:close/>
                <a:moveTo>
                  <a:pt x="11856" y="10268"/>
                </a:moveTo>
                <a:lnTo>
                  <a:pt x="11821" y="10259"/>
                </a:lnTo>
                <a:lnTo>
                  <a:pt x="11795" y="10279"/>
                </a:lnTo>
                <a:lnTo>
                  <a:pt x="11815" y="10247"/>
                </a:lnTo>
                <a:lnTo>
                  <a:pt x="11856" y="10268"/>
                </a:lnTo>
                <a:close/>
                <a:moveTo>
                  <a:pt x="11977" y="10597"/>
                </a:moveTo>
                <a:lnTo>
                  <a:pt x="12000" y="10588"/>
                </a:lnTo>
                <a:lnTo>
                  <a:pt x="12021" y="10588"/>
                </a:lnTo>
                <a:lnTo>
                  <a:pt x="12001" y="10601"/>
                </a:lnTo>
                <a:lnTo>
                  <a:pt x="11977" y="10597"/>
                </a:lnTo>
                <a:close/>
                <a:moveTo>
                  <a:pt x="11982" y="10469"/>
                </a:moveTo>
                <a:lnTo>
                  <a:pt x="11970" y="10465"/>
                </a:lnTo>
                <a:lnTo>
                  <a:pt x="11971" y="10461"/>
                </a:lnTo>
                <a:lnTo>
                  <a:pt x="11981" y="10461"/>
                </a:lnTo>
                <a:lnTo>
                  <a:pt x="11982" y="10469"/>
                </a:lnTo>
                <a:close/>
                <a:moveTo>
                  <a:pt x="11740" y="10133"/>
                </a:moveTo>
                <a:lnTo>
                  <a:pt x="11748" y="10147"/>
                </a:lnTo>
                <a:lnTo>
                  <a:pt x="11754" y="10158"/>
                </a:lnTo>
                <a:lnTo>
                  <a:pt x="11737" y="10148"/>
                </a:lnTo>
                <a:lnTo>
                  <a:pt x="11740" y="10133"/>
                </a:lnTo>
                <a:close/>
                <a:moveTo>
                  <a:pt x="12080" y="10242"/>
                </a:moveTo>
                <a:lnTo>
                  <a:pt x="12079" y="10232"/>
                </a:lnTo>
                <a:lnTo>
                  <a:pt x="12089" y="10232"/>
                </a:lnTo>
                <a:lnTo>
                  <a:pt x="12088" y="10237"/>
                </a:lnTo>
                <a:lnTo>
                  <a:pt x="12080" y="10242"/>
                </a:lnTo>
                <a:close/>
                <a:moveTo>
                  <a:pt x="12392" y="9884"/>
                </a:moveTo>
                <a:lnTo>
                  <a:pt x="12377" y="9892"/>
                </a:lnTo>
                <a:lnTo>
                  <a:pt x="12362" y="9898"/>
                </a:lnTo>
                <a:lnTo>
                  <a:pt x="12375" y="9886"/>
                </a:lnTo>
                <a:lnTo>
                  <a:pt x="12392" y="9884"/>
                </a:lnTo>
                <a:close/>
                <a:moveTo>
                  <a:pt x="12380" y="9934"/>
                </a:moveTo>
                <a:lnTo>
                  <a:pt x="12369" y="9947"/>
                </a:lnTo>
                <a:lnTo>
                  <a:pt x="12354" y="9938"/>
                </a:lnTo>
                <a:lnTo>
                  <a:pt x="12367" y="9935"/>
                </a:lnTo>
                <a:lnTo>
                  <a:pt x="12380" y="9934"/>
                </a:lnTo>
                <a:close/>
                <a:moveTo>
                  <a:pt x="12313" y="9886"/>
                </a:moveTo>
                <a:lnTo>
                  <a:pt x="12322" y="9878"/>
                </a:lnTo>
                <a:lnTo>
                  <a:pt x="12336" y="9879"/>
                </a:lnTo>
                <a:lnTo>
                  <a:pt x="12324" y="9896"/>
                </a:lnTo>
                <a:lnTo>
                  <a:pt x="12313" y="9886"/>
                </a:lnTo>
                <a:close/>
                <a:moveTo>
                  <a:pt x="12307" y="9921"/>
                </a:moveTo>
                <a:lnTo>
                  <a:pt x="12308" y="9939"/>
                </a:lnTo>
                <a:lnTo>
                  <a:pt x="12290" y="9934"/>
                </a:lnTo>
                <a:lnTo>
                  <a:pt x="12299" y="9928"/>
                </a:lnTo>
                <a:lnTo>
                  <a:pt x="12307" y="9921"/>
                </a:lnTo>
                <a:close/>
                <a:moveTo>
                  <a:pt x="12078" y="10102"/>
                </a:moveTo>
                <a:lnTo>
                  <a:pt x="12083" y="10101"/>
                </a:lnTo>
                <a:lnTo>
                  <a:pt x="12078" y="10102"/>
                </a:lnTo>
                <a:lnTo>
                  <a:pt x="12082" y="10100"/>
                </a:lnTo>
                <a:lnTo>
                  <a:pt x="12078" y="10102"/>
                </a:lnTo>
                <a:close/>
                <a:moveTo>
                  <a:pt x="12089" y="10023"/>
                </a:moveTo>
                <a:lnTo>
                  <a:pt x="12092" y="10026"/>
                </a:lnTo>
                <a:lnTo>
                  <a:pt x="12094" y="10028"/>
                </a:lnTo>
                <a:lnTo>
                  <a:pt x="12069" y="10030"/>
                </a:lnTo>
                <a:lnTo>
                  <a:pt x="12089" y="10023"/>
                </a:lnTo>
                <a:close/>
                <a:moveTo>
                  <a:pt x="12064" y="10215"/>
                </a:moveTo>
                <a:lnTo>
                  <a:pt x="12085" y="10219"/>
                </a:lnTo>
                <a:lnTo>
                  <a:pt x="12084" y="10228"/>
                </a:lnTo>
                <a:lnTo>
                  <a:pt x="12069" y="10222"/>
                </a:lnTo>
                <a:lnTo>
                  <a:pt x="12064" y="10215"/>
                </a:lnTo>
                <a:close/>
                <a:moveTo>
                  <a:pt x="12065" y="10367"/>
                </a:moveTo>
                <a:lnTo>
                  <a:pt x="12054" y="10368"/>
                </a:lnTo>
                <a:lnTo>
                  <a:pt x="12042" y="10367"/>
                </a:lnTo>
                <a:lnTo>
                  <a:pt x="12050" y="10358"/>
                </a:lnTo>
                <a:lnTo>
                  <a:pt x="12065" y="10367"/>
                </a:lnTo>
                <a:close/>
                <a:moveTo>
                  <a:pt x="11982" y="10055"/>
                </a:moveTo>
                <a:lnTo>
                  <a:pt x="11999" y="10063"/>
                </a:lnTo>
                <a:lnTo>
                  <a:pt x="12004" y="10070"/>
                </a:lnTo>
                <a:lnTo>
                  <a:pt x="11987" y="10064"/>
                </a:lnTo>
                <a:lnTo>
                  <a:pt x="11982" y="10055"/>
                </a:lnTo>
                <a:close/>
                <a:moveTo>
                  <a:pt x="12022" y="10310"/>
                </a:moveTo>
                <a:lnTo>
                  <a:pt x="12001" y="10375"/>
                </a:lnTo>
                <a:lnTo>
                  <a:pt x="11947" y="10372"/>
                </a:lnTo>
                <a:lnTo>
                  <a:pt x="11976" y="10343"/>
                </a:lnTo>
                <a:lnTo>
                  <a:pt x="12022" y="10310"/>
                </a:lnTo>
                <a:close/>
                <a:moveTo>
                  <a:pt x="11925" y="10134"/>
                </a:moveTo>
                <a:lnTo>
                  <a:pt x="11910" y="10120"/>
                </a:lnTo>
                <a:lnTo>
                  <a:pt x="11921" y="10112"/>
                </a:lnTo>
                <a:lnTo>
                  <a:pt x="11936" y="10121"/>
                </a:lnTo>
                <a:lnTo>
                  <a:pt x="11925" y="10134"/>
                </a:lnTo>
                <a:close/>
                <a:moveTo>
                  <a:pt x="11920" y="10046"/>
                </a:moveTo>
                <a:lnTo>
                  <a:pt x="11945" y="10058"/>
                </a:lnTo>
                <a:lnTo>
                  <a:pt x="11943" y="10082"/>
                </a:lnTo>
                <a:lnTo>
                  <a:pt x="11921" y="10070"/>
                </a:lnTo>
                <a:lnTo>
                  <a:pt x="11920" y="10046"/>
                </a:lnTo>
                <a:close/>
                <a:moveTo>
                  <a:pt x="11907" y="10082"/>
                </a:moveTo>
                <a:lnTo>
                  <a:pt x="11920" y="10083"/>
                </a:lnTo>
                <a:lnTo>
                  <a:pt x="11920" y="10098"/>
                </a:lnTo>
                <a:lnTo>
                  <a:pt x="11903" y="10097"/>
                </a:lnTo>
                <a:lnTo>
                  <a:pt x="11907" y="10082"/>
                </a:lnTo>
                <a:close/>
                <a:moveTo>
                  <a:pt x="11933" y="10185"/>
                </a:moveTo>
                <a:lnTo>
                  <a:pt x="11920" y="10205"/>
                </a:lnTo>
                <a:lnTo>
                  <a:pt x="11897" y="10227"/>
                </a:lnTo>
                <a:lnTo>
                  <a:pt x="11897" y="10200"/>
                </a:lnTo>
                <a:lnTo>
                  <a:pt x="11933" y="10185"/>
                </a:lnTo>
                <a:close/>
                <a:moveTo>
                  <a:pt x="11889" y="10069"/>
                </a:moveTo>
                <a:lnTo>
                  <a:pt x="11887" y="10101"/>
                </a:lnTo>
                <a:lnTo>
                  <a:pt x="11888" y="10084"/>
                </a:lnTo>
                <a:lnTo>
                  <a:pt x="11864" y="10075"/>
                </a:lnTo>
                <a:lnTo>
                  <a:pt x="11889" y="10069"/>
                </a:lnTo>
                <a:close/>
                <a:moveTo>
                  <a:pt x="11847" y="9989"/>
                </a:moveTo>
                <a:lnTo>
                  <a:pt x="11851" y="9995"/>
                </a:lnTo>
                <a:lnTo>
                  <a:pt x="11840" y="9996"/>
                </a:lnTo>
                <a:lnTo>
                  <a:pt x="11843" y="9993"/>
                </a:lnTo>
                <a:lnTo>
                  <a:pt x="11847" y="9989"/>
                </a:lnTo>
                <a:close/>
                <a:moveTo>
                  <a:pt x="11841" y="10059"/>
                </a:moveTo>
                <a:lnTo>
                  <a:pt x="11845" y="10058"/>
                </a:lnTo>
                <a:lnTo>
                  <a:pt x="11851" y="10056"/>
                </a:lnTo>
                <a:lnTo>
                  <a:pt x="11846" y="10064"/>
                </a:lnTo>
                <a:lnTo>
                  <a:pt x="11841" y="10059"/>
                </a:lnTo>
                <a:close/>
                <a:moveTo>
                  <a:pt x="11846" y="10178"/>
                </a:moveTo>
                <a:lnTo>
                  <a:pt x="11847" y="10162"/>
                </a:lnTo>
                <a:lnTo>
                  <a:pt x="11880" y="10199"/>
                </a:lnTo>
                <a:lnTo>
                  <a:pt x="11832" y="10210"/>
                </a:lnTo>
                <a:lnTo>
                  <a:pt x="11786" y="10206"/>
                </a:lnTo>
                <a:lnTo>
                  <a:pt x="11767" y="10176"/>
                </a:lnTo>
                <a:lnTo>
                  <a:pt x="11770" y="10128"/>
                </a:lnTo>
                <a:lnTo>
                  <a:pt x="11804" y="10175"/>
                </a:lnTo>
                <a:lnTo>
                  <a:pt x="11846" y="10178"/>
                </a:lnTo>
                <a:close/>
                <a:moveTo>
                  <a:pt x="11789" y="10142"/>
                </a:moveTo>
                <a:lnTo>
                  <a:pt x="11798" y="10130"/>
                </a:lnTo>
                <a:lnTo>
                  <a:pt x="11808" y="10126"/>
                </a:lnTo>
                <a:lnTo>
                  <a:pt x="11809" y="10145"/>
                </a:lnTo>
                <a:lnTo>
                  <a:pt x="11789" y="10142"/>
                </a:lnTo>
                <a:close/>
                <a:moveTo>
                  <a:pt x="11785" y="10040"/>
                </a:moveTo>
                <a:lnTo>
                  <a:pt x="11795" y="10037"/>
                </a:lnTo>
                <a:lnTo>
                  <a:pt x="11807" y="10038"/>
                </a:lnTo>
                <a:lnTo>
                  <a:pt x="11794" y="10044"/>
                </a:lnTo>
                <a:lnTo>
                  <a:pt x="11785" y="10040"/>
                </a:lnTo>
                <a:close/>
                <a:moveTo>
                  <a:pt x="11771" y="10047"/>
                </a:moveTo>
                <a:lnTo>
                  <a:pt x="11793" y="10075"/>
                </a:lnTo>
                <a:lnTo>
                  <a:pt x="11813" y="10086"/>
                </a:lnTo>
                <a:lnTo>
                  <a:pt x="11765" y="10077"/>
                </a:lnTo>
                <a:lnTo>
                  <a:pt x="11771" y="10047"/>
                </a:lnTo>
                <a:close/>
                <a:moveTo>
                  <a:pt x="10734" y="4024"/>
                </a:moveTo>
                <a:lnTo>
                  <a:pt x="10756" y="3998"/>
                </a:lnTo>
                <a:lnTo>
                  <a:pt x="10822" y="3972"/>
                </a:lnTo>
                <a:lnTo>
                  <a:pt x="10793" y="4025"/>
                </a:lnTo>
                <a:lnTo>
                  <a:pt x="10734" y="4024"/>
                </a:lnTo>
                <a:close/>
                <a:moveTo>
                  <a:pt x="10904" y="4005"/>
                </a:moveTo>
                <a:lnTo>
                  <a:pt x="10895" y="4048"/>
                </a:lnTo>
                <a:lnTo>
                  <a:pt x="10871" y="3972"/>
                </a:lnTo>
                <a:lnTo>
                  <a:pt x="10885" y="3959"/>
                </a:lnTo>
                <a:lnTo>
                  <a:pt x="10904" y="4005"/>
                </a:lnTo>
                <a:close/>
                <a:moveTo>
                  <a:pt x="11543" y="7391"/>
                </a:moveTo>
                <a:lnTo>
                  <a:pt x="11545" y="7418"/>
                </a:lnTo>
                <a:lnTo>
                  <a:pt x="11540" y="7442"/>
                </a:lnTo>
                <a:lnTo>
                  <a:pt x="11510" y="7416"/>
                </a:lnTo>
                <a:lnTo>
                  <a:pt x="11543" y="7391"/>
                </a:lnTo>
                <a:close/>
                <a:moveTo>
                  <a:pt x="10958" y="4004"/>
                </a:moveTo>
                <a:lnTo>
                  <a:pt x="10978" y="4026"/>
                </a:lnTo>
                <a:lnTo>
                  <a:pt x="10994" y="4049"/>
                </a:lnTo>
                <a:lnTo>
                  <a:pt x="10969" y="4042"/>
                </a:lnTo>
                <a:lnTo>
                  <a:pt x="10958" y="4004"/>
                </a:lnTo>
                <a:close/>
                <a:moveTo>
                  <a:pt x="11577" y="7794"/>
                </a:moveTo>
                <a:lnTo>
                  <a:pt x="11570" y="7797"/>
                </a:lnTo>
                <a:lnTo>
                  <a:pt x="11561" y="7790"/>
                </a:lnTo>
                <a:lnTo>
                  <a:pt x="11571" y="7788"/>
                </a:lnTo>
                <a:lnTo>
                  <a:pt x="11577" y="7794"/>
                </a:lnTo>
                <a:close/>
                <a:moveTo>
                  <a:pt x="11561" y="7774"/>
                </a:moveTo>
                <a:lnTo>
                  <a:pt x="11558" y="7765"/>
                </a:lnTo>
                <a:lnTo>
                  <a:pt x="11561" y="7774"/>
                </a:lnTo>
                <a:lnTo>
                  <a:pt x="11549" y="7768"/>
                </a:lnTo>
                <a:lnTo>
                  <a:pt x="11561" y="7774"/>
                </a:lnTo>
                <a:close/>
                <a:moveTo>
                  <a:pt x="10949" y="4225"/>
                </a:moveTo>
                <a:lnTo>
                  <a:pt x="10955" y="4202"/>
                </a:lnTo>
                <a:lnTo>
                  <a:pt x="10981" y="4200"/>
                </a:lnTo>
                <a:lnTo>
                  <a:pt x="10964" y="4214"/>
                </a:lnTo>
                <a:lnTo>
                  <a:pt x="10949" y="4225"/>
                </a:lnTo>
                <a:close/>
                <a:moveTo>
                  <a:pt x="11256" y="6124"/>
                </a:moveTo>
                <a:lnTo>
                  <a:pt x="11283" y="6138"/>
                </a:lnTo>
                <a:lnTo>
                  <a:pt x="11278" y="6166"/>
                </a:lnTo>
                <a:lnTo>
                  <a:pt x="11249" y="6150"/>
                </a:lnTo>
                <a:lnTo>
                  <a:pt x="11256" y="6124"/>
                </a:lnTo>
                <a:close/>
                <a:moveTo>
                  <a:pt x="11408" y="7370"/>
                </a:moveTo>
                <a:lnTo>
                  <a:pt x="11428" y="7377"/>
                </a:lnTo>
                <a:lnTo>
                  <a:pt x="11402" y="7402"/>
                </a:lnTo>
                <a:lnTo>
                  <a:pt x="11404" y="7386"/>
                </a:lnTo>
                <a:lnTo>
                  <a:pt x="11408" y="7370"/>
                </a:lnTo>
                <a:close/>
                <a:moveTo>
                  <a:pt x="11375" y="7272"/>
                </a:moveTo>
                <a:lnTo>
                  <a:pt x="11396" y="7271"/>
                </a:lnTo>
                <a:lnTo>
                  <a:pt x="11405" y="7286"/>
                </a:lnTo>
                <a:lnTo>
                  <a:pt x="11391" y="7280"/>
                </a:lnTo>
                <a:lnTo>
                  <a:pt x="11375" y="7272"/>
                </a:lnTo>
                <a:close/>
                <a:moveTo>
                  <a:pt x="11449" y="7415"/>
                </a:moveTo>
                <a:lnTo>
                  <a:pt x="11455" y="7425"/>
                </a:lnTo>
                <a:lnTo>
                  <a:pt x="11447" y="7447"/>
                </a:lnTo>
                <a:lnTo>
                  <a:pt x="11442" y="7428"/>
                </a:lnTo>
                <a:lnTo>
                  <a:pt x="11449" y="7415"/>
                </a:lnTo>
                <a:close/>
                <a:moveTo>
                  <a:pt x="11731" y="9379"/>
                </a:moveTo>
                <a:lnTo>
                  <a:pt x="11744" y="9347"/>
                </a:lnTo>
                <a:lnTo>
                  <a:pt x="11767" y="9357"/>
                </a:lnTo>
                <a:lnTo>
                  <a:pt x="11758" y="9382"/>
                </a:lnTo>
                <a:lnTo>
                  <a:pt x="11731" y="9379"/>
                </a:lnTo>
                <a:close/>
                <a:moveTo>
                  <a:pt x="11742" y="9405"/>
                </a:moveTo>
                <a:lnTo>
                  <a:pt x="11723" y="9402"/>
                </a:lnTo>
                <a:lnTo>
                  <a:pt x="11719" y="9387"/>
                </a:lnTo>
                <a:lnTo>
                  <a:pt x="11729" y="9394"/>
                </a:lnTo>
                <a:lnTo>
                  <a:pt x="11742" y="9405"/>
                </a:lnTo>
                <a:close/>
                <a:moveTo>
                  <a:pt x="11263" y="6255"/>
                </a:moveTo>
                <a:lnTo>
                  <a:pt x="11246" y="6277"/>
                </a:lnTo>
                <a:lnTo>
                  <a:pt x="11211" y="6281"/>
                </a:lnTo>
                <a:lnTo>
                  <a:pt x="11233" y="6262"/>
                </a:lnTo>
                <a:lnTo>
                  <a:pt x="11263" y="6255"/>
                </a:lnTo>
                <a:close/>
                <a:moveTo>
                  <a:pt x="11412" y="7541"/>
                </a:moveTo>
                <a:lnTo>
                  <a:pt x="11431" y="7565"/>
                </a:lnTo>
                <a:lnTo>
                  <a:pt x="11391" y="7574"/>
                </a:lnTo>
                <a:lnTo>
                  <a:pt x="11403" y="7556"/>
                </a:lnTo>
                <a:lnTo>
                  <a:pt x="11412" y="7541"/>
                </a:lnTo>
                <a:close/>
                <a:moveTo>
                  <a:pt x="11409" y="7603"/>
                </a:moveTo>
                <a:lnTo>
                  <a:pt x="11394" y="7628"/>
                </a:lnTo>
                <a:lnTo>
                  <a:pt x="11395" y="7653"/>
                </a:lnTo>
                <a:lnTo>
                  <a:pt x="11382" y="7624"/>
                </a:lnTo>
                <a:lnTo>
                  <a:pt x="11409" y="7603"/>
                </a:lnTo>
                <a:close/>
                <a:moveTo>
                  <a:pt x="11733" y="9906"/>
                </a:moveTo>
                <a:lnTo>
                  <a:pt x="11749" y="9869"/>
                </a:lnTo>
                <a:lnTo>
                  <a:pt x="11773" y="9897"/>
                </a:lnTo>
                <a:lnTo>
                  <a:pt x="11754" y="9901"/>
                </a:lnTo>
                <a:lnTo>
                  <a:pt x="11733" y="9906"/>
                </a:lnTo>
                <a:close/>
                <a:moveTo>
                  <a:pt x="11725" y="9808"/>
                </a:moveTo>
                <a:lnTo>
                  <a:pt x="11758" y="9812"/>
                </a:lnTo>
                <a:lnTo>
                  <a:pt x="11796" y="9808"/>
                </a:lnTo>
                <a:lnTo>
                  <a:pt x="11761" y="9828"/>
                </a:lnTo>
                <a:lnTo>
                  <a:pt x="11725" y="9808"/>
                </a:lnTo>
                <a:close/>
                <a:moveTo>
                  <a:pt x="11805" y="9744"/>
                </a:moveTo>
                <a:lnTo>
                  <a:pt x="11749" y="9775"/>
                </a:lnTo>
                <a:lnTo>
                  <a:pt x="11715" y="9758"/>
                </a:lnTo>
                <a:lnTo>
                  <a:pt x="11762" y="9738"/>
                </a:lnTo>
                <a:lnTo>
                  <a:pt x="11805" y="9744"/>
                </a:lnTo>
                <a:close/>
                <a:moveTo>
                  <a:pt x="11813" y="9690"/>
                </a:moveTo>
                <a:lnTo>
                  <a:pt x="11773" y="9682"/>
                </a:lnTo>
                <a:lnTo>
                  <a:pt x="11767" y="9654"/>
                </a:lnTo>
                <a:lnTo>
                  <a:pt x="11843" y="9648"/>
                </a:lnTo>
                <a:lnTo>
                  <a:pt x="11813" y="9690"/>
                </a:lnTo>
                <a:close/>
                <a:moveTo>
                  <a:pt x="11818" y="9420"/>
                </a:moveTo>
                <a:lnTo>
                  <a:pt x="11831" y="9402"/>
                </a:lnTo>
                <a:lnTo>
                  <a:pt x="11856" y="9407"/>
                </a:lnTo>
                <a:lnTo>
                  <a:pt x="11836" y="9413"/>
                </a:lnTo>
                <a:lnTo>
                  <a:pt x="11818" y="9420"/>
                </a:lnTo>
                <a:close/>
                <a:moveTo>
                  <a:pt x="11594" y="7765"/>
                </a:moveTo>
                <a:lnTo>
                  <a:pt x="11580" y="7747"/>
                </a:lnTo>
                <a:lnTo>
                  <a:pt x="11598" y="7738"/>
                </a:lnTo>
                <a:lnTo>
                  <a:pt x="11596" y="7751"/>
                </a:lnTo>
                <a:lnTo>
                  <a:pt x="11594" y="7765"/>
                </a:lnTo>
                <a:close/>
                <a:moveTo>
                  <a:pt x="11568" y="7451"/>
                </a:moveTo>
                <a:lnTo>
                  <a:pt x="11553" y="7442"/>
                </a:lnTo>
                <a:lnTo>
                  <a:pt x="11572" y="7443"/>
                </a:lnTo>
                <a:lnTo>
                  <a:pt x="11570" y="7448"/>
                </a:lnTo>
                <a:lnTo>
                  <a:pt x="11568" y="7451"/>
                </a:lnTo>
                <a:close/>
                <a:moveTo>
                  <a:pt x="10979" y="3984"/>
                </a:moveTo>
                <a:lnTo>
                  <a:pt x="11004" y="3962"/>
                </a:lnTo>
                <a:lnTo>
                  <a:pt x="11070" y="3963"/>
                </a:lnTo>
                <a:lnTo>
                  <a:pt x="11050" y="3990"/>
                </a:lnTo>
                <a:lnTo>
                  <a:pt x="10979" y="3984"/>
                </a:lnTo>
                <a:close/>
                <a:moveTo>
                  <a:pt x="11408" y="6117"/>
                </a:moveTo>
                <a:lnTo>
                  <a:pt x="11421" y="6114"/>
                </a:lnTo>
                <a:lnTo>
                  <a:pt x="11435" y="6122"/>
                </a:lnTo>
                <a:lnTo>
                  <a:pt x="11419" y="6128"/>
                </a:lnTo>
                <a:lnTo>
                  <a:pt x="11408" y="6117"/>
                </a:lnTo>
                <a:close/>
                <a:moveTo>
                  <a:pt x="11614" y="7346"/>
                </a:moveTo>
                <a:lnTo>
                  <a:pt x="11622" y="7345"/>
                </a:lnTo>
                <a:lnTo>
                  <a:pt x="11623" y="7365"/>
                </a:lnTo>
                <a:lnTo>
                  <a:pt x="11614" y="7346"/>
                </a:lnTo>
                <a:close/>
                <a:moveTo>
                  <a:pt x="11679" y="7732"/>
                </a:moveTo>
                <a:lnTo>
                  <a:pt x="11705" y="7723"/>
                </a:lnTo>
                <a:lnTo>
                  <a:pt x="11729" y="7719"/>
                </a:lnTo>
                <a:lnTo>
                  <a:pt x="11709" y="7738"/>
                </a:lnTo>
                <a:lnTo>
                  <a:pt x="11679" y="7732"/>
                </a:lnTo>
                <a:close/>
                <a:moveTo>
                  <a:pt x="11422" y="5915"/>
                </a:moveTo>
                <a:lnTo>
                  <a:pt x="11447" y="5901"/>
                </a:lnTo>
                <a:lnTo>
                  <a:pt x="11474" y="5922"/>
                </a:lnTo>
                <a:lnTo>
                  <a:pt x="11446" y="5926"/>
                </a:lnTo>
                <a:lnTo>
                  <a:pt x="11422" y="5915"/>
                </a:lnTo>
                <a:close/>
                <a:moveTo>
                  <a:pt x="11728" y="7516"/>
                </a:moveTo>
                <a:lnTo>
                  <a:pt x="11720" y="7537"/>
                </a:lnTo>
                <a:lnTo>
                  <a:pt x="11711" y="7559"/>
                </a:lnTo>
                <a:lnTo>
                  <a:pt x="11696" y="7527"/>
                </a:lnTo>
                <a:lnTo>
                  <a:pt x="11728" y="7516"/>
                </a:lnTo>
                <a:close/>
                <a:moveTo>
                  <a:pt x="11668" y="7405"/>
                </a:moveTo>
                <a:lnTo>
                  <a:pt x="11655" y="7397"/>
                </a:lnTo>
                <a:lnTo>
                  <a:pt x="11644" y="7390"/>
                </a:lnTo>
                <a:lnTo>
                  <a:pt x="11661" y="7390"/>
                </a:lnTo>
                <a:lnTo>
                  <a:pt x="11668" y="7405"/>
                </a:lnTo>
                <a:close/>
                <a:moveTo>
                  <a:pt x="11138" y="4096"/>
                </a:moveTo>
                <a:lnTo>
                  <a:pt x="11130" y="4090"/>
                </a:lnTo>
                <a:lnTo>
                  <a:pt x="11134" y="4077"/>
                </a:lnTo>
                <a:lnTo>
                  <a:pt x="11144" y="4084"/>
                </a:lnTo>
                <a:lnTo>
                  <a:pt x="11138" y="4096"/>
                </a:lnTo>
                <a:close/>
                <a:moveTo>
                  <a:pt x="11174" y="4161"/>
                </a:moveTo>
                <a:lnTo>
                  <a:pt x="11169" y="4155"/>
                </a:lnTo>
                <a:lnTo>
                  <a:pt x="11175" y="4142"/>
                </a:lnTo>
                <a:lnTo>
                  <a:pt x="11176" y="4151"/>
                </a:lnTo>
                <a:lnTo>
                  <a:pt x="11174" y="4161"/>
                </a:lnTo>
                <a:close/>
                <a:moveTo>
                  <a:pt x="11123" y="3984"/>
                </a:moveTo>
                <a:lnTo>
                  <a:pt x="11139" y="3996"/>
                </a:lnTo>
                <a:lnTo>
                  <a:pt x="11114" y="4001"/>
                </a:lnTo>
                <a:lnTo>
                  <a:pt x="11130" y="3953"/>
                </a:lnTo>
                <a:lnTo>
                  <a:pt x="11123" y="3984"/>
                </a:lnTo>
                <a:close/>
                <a:moveTo>
                  <a:pt x="11153" y="4191"/>
                </a:moveTo>
                <a:lnTo>
                  <a:pt x="11133" y="4184"/>
                </a:lnTo>
                <a:lnTo>
                  <a:pt x="11130" y="4169"/>
                </a:lnTo>
                <a:lnTo>
                  <a:pt x="11141" y="4178"/>
                </a:lnTo>
                <a:lnTo>
                  <a:pt x="11153" y="4191"/>
                </a:lnTo>
                <a:close/>
                <a:moveTo>
                  <a:pt x="11715" y="7577"/>
                </a:moveTo>
                <a:lnTo>
                  <a:pt x="11711" y="7572"/>
                </a:lnTo>
                <a:lnTo>
                  <a:pt x="11738" y="7556"/>
                </a:lnTo>
                <a:lnTo>
                  <a:pt x="11715" y="7577"/>
                </a:lnTo>
                <a:close/>
                <a:moveTo>
                  <a:pt x="11776" y="7759"/>
                </a:moveTo>
                <a:lnTo>
                  <a:pt x="11763" y="7742"/>
                </a:lnTo>
                <a:lnTo>
                  <a:pt x="11772" y="7724"/>
                </a:lnTo>
                <a:lnTo>
                  <a:pt x="11775" y="7741"/>
                </a:lnTo>
                <a:lnTo>
                  <a:pt x="11776" y="7759"/>
                </a:lnTo>
                <a:close/>
                <a:moveTo>
                  <a:pt x="11742" y="7484"/>
                </a:moveTo>
                <a:lnTo>
                  <a:pt x="11747" y="7479"/>
                </a:lnTo>
                <a:lnTo>
                  <a:pt x="11742" y="7484"/>
                </a:lnTo>
                <a:lnTo>
                  <a:pt x="11743" y="7474"/>
                </a:lnTo>
                <a:lnTo>
                  <a:pt x="11742" y="7484"/>
                </a:lnTo>
                <a:close/>
                <a:moveTo>
                  <a:pt x="11733" y="7411"/>
                </a:moveTo>
                <a:lnTo>
                  <a:pt x="11706" y="7419"/>
                </a:lnTo>
                <a:lnTo>
                  <a:pt x="11697" y="7392"/>
                </a:lnTo>
                <a:lnTo>
                  <a:pt x="11734" y="7388"/>
                </a:lnTo>
                <a:lnTo>
                  <a:pt x="11733" y="7411"/>
                </a:lnTo>
                <a:close/>
                <a:moveTo>
                  <a:pt x="11165" y="3995"/>
                </a:moveTo>
                <a:lnTo>
                  <a:pt x="11199" y="3988"/>
                </a:lnTo>
                <a:lnTo>
                  <a:pt x="11227" y="4000"/>
                </a:lnTo>
                <a:lnTo>
                  <a:pt x="11195" y="4002"/>
                </a:lnTo>
                <a:lnTo>
                  <a:pt x="11165" y="3995"/>
                </a:lnTo>
                <a:close/>
                <a:moveTo>
                  <a:pt x="11808" y="7276"/>
                </a:moveTo>
                <a:lnTo>
                  <a:pt x="11793" y="7299"/>
                </a:lnTo>
                <a:lnTo>
                  <a:pt x="11763" y="7297"/>
                </a:lnTo>
                <a:lnTo>
                  <a:pt x="11786" y="7286"/>
                </a:lnTo>
                <a:lnTo>
                  <a:pt x="11808" y="7276"/>
                </a:lnTo>
                <a:close/>
                <a:moveTo>
                  <a:pt x="11302" y="4168"/>
                </a:moveTo>
                <a:lnTo>
                  <a:pt x="11311" y="4138"/>
                </a:lnTo>
                <a:lnTo>
                  <a:pt x="11342" y="4131"/>
                </a:lnTo>
                <a:lnTo>
                  <a:pt x="11338" y="4164"/>
                </a:lnTo>
                <a:lnTo>
                  <a:pt x="11302" y="4168"/>
                </a:lnTo>
                <a:close/>
                <a:moveTo>
                  <a:pt x="11203" y="3908"/>
                </a:moveTo>
                <a:lnTo>
                  <a:pt x="11203" y="3883"/>
                </a:lnTo>
                <a:lnTo>
                  <a:pt x="11237" y="3874"/>
                </a:lnTo>
                <a:lnTo>
                  <a:pt x="11226" y="3897"/>
                </a:lnTo>
                <a:lnTo>
                  <a:pt x="11203" y="3908"/>
                </a:lnTo>
                <a:close/>
                <a:moveTo>
                  <a:pt x="11205" y="3923"/>
                </a:moveTo>
                <a:lnTo>
                  <a:pt x="11227" y="3939"/>
                </a:lnTo>
                <a:lnTo>
                  <a:pt x="11218" y="3965"/>
                </a:lnTo>
                <a:lnTo>
                  <a:pt x="11188" y="3950"/>
                </a:lnTo>
                <a:lnTo>
                  <a:pt x="11205" y="3923"/>
                </a:lnTo>
                <a:close/>
                <a:moveTo>
                  <a:pt x="11231" y="4088"/>
                </a:moveTo>
                <a:lnTo>
                  <a:pt x="11247" y="4081"/>
                </a:lnTo>
                <a:lnTo>
                  <a:pt x="11260" y="4091"/>
                </a:lnTo>
                <a:lnTo>
                  <a:pt x="11244" y="4096"/>
                </a:lnTo>
                <a:lnTo>
                  <a:pt x="11231" y="4088"/>
                </a:lnTo>
                <a:close/>
                <a:moveTo>
                  <a:pt x="11770" y="7418"/>
                </a:moveTo>
                <a:lnTo>
                  <a:pt x="11786" y="7400"/>
                </a:lnTo>
                <a:lnTo>
                  <a:pt x="11801" y="7418"/>
                </a:lnTo>
                <a:lnTo>
                  <a:pt x="11785" y="7418"/>
                </a:lnTo>
                <a:lnTo>
                  <a:pt x="11770" y="7418"/>
                </a:lnTo>
                <a:close/>
                <a:moveTo>
                  <a:pt x="11798" y="7491"/>
                </a:moveTo>
                <a:lnTo>
                  <a:pt x="11782" y="7462"/>
                </a:lnTo>
                <a:lnTo>
                  <a:pt x="11812" y="7440"/>
                </a:lnTo>
                <a:lnTo>
                  <a:pt x="11808" y="7468"/>
                </a:lnTo>
                <a:lnTo>
                  <a:pt x="11798" y="7491"/>
                </a:lnTo>
                <a:close/>
                <a:moveTo>
                  <a:pt x="11818" y="7503"/>
                </a:moveTo>
                <a:lnTo>
                  <a:pt x="11827" y="7502"/>
                </a:lnTo>
                <a:lnTo>
                  <a:pt x="11818" y="7503"/>
                </a:lnTo>
                <a:lnTo>
                  <a:pt x="11824" y="7493"/>
                </a:lnTo>
                <a:lnTo>
                  <a:pt x="11818" y="7503"/>
                </a:lnTo>
                <a:close/>
                <a:moveTo>
                  <a:pt x="12180" y="9566"/>
                </a:moveTo>
                <a:lnTo>
                  <a:pt x="12191" y="9551"/>
                </a:lnTo>
                <a:lnTo>
                  <a:pt x="12214" y="9542"/>
                </a:lnTo>
                <a:lnTo>
                  <a:pt x="12199" y="9560"/>
                </a:lnTo>
                <a:lnTo>
                  <a:pt x="12180" y="9566"/>
                </a:lnTo>
                <a:close/>
                <a:moveTo>
                  <a:pt x="11947" y="7700"/>
                </a:moveTo>
                <a:lnTo>
                  <a:pt x="11912" y="7685"/>
                </a:lnTo>
                <a:lnTo>
                  <a:pt x="11915" y="7659"/>
                </a:lnTo>
                <a:lnTo>
                  <a:pt x="11938" y="7680"/>
                </a:lnTo>
                <a:lnTo>
                  <a:pt x="11947" y="7700"/>
                </a:lnTo>
                <a:close/>
                <a:moveTo>
                  <a:pt x="11938" y="7544"/>
                </a:moveTo>
                <a:lnTo>
                  <a:pt x="11929" y="7528"/>
                </a:lnTo>
                <a:lnTo>
                  <a:pt x="11947" y="7523"/>
                </a:lnTo>
                <a:lnTo>
                  <a:pt x="11943" y="7533"/>
                </a:lnTo>
                <a:lnTo>
                  <a:pt x="11938" y="7544"/>
                </a:lnTo>
                <a:close/>
                <a:moveTo>
                  <a:pt x="12274" y="9566"/>
                </a:moveTo>
                <a:lnTo>
                  <a:pt x="12307" y="9555"/>
                </a:lnTo>
                <a:lnTo>
                  <a:pt x="12317" y="9592"/>
                </a:lnTo>
                <a:lnTo>
                  <a:pt x="12296" y="9579"/>
                </a:lnTo>
                <a:lnTo>
                  <a:pt x="12274" y="9566"/>
                </a:lnTo>
                <a:close/>
                <a:moveTo>
                  <a:pt x="11984" y="7638"/>
                </a:moveTo>
                <a:lnTo>
                  <a:pt x="11986" y="7636"/>
                </a:lnTo>
                <a:lnTo>
                  <a:pt x="11989" y="7635"/>
                </a:lnTo>
                <a:lnTo>
                  <a:pt x="11992" y="7650"/>
                </a:lnTo>
                <a:lnTo>
                  <a:pt x="11984" y="7638"/>
                </a:lnTo>
                <a:close/>
                <a:moveTo>
                  <a:pt x="11966" y="7468"/>
                </a:moveTo>
                <a:lnTo>
                  <a:pt x="11887" y="7456"/>
                </a:lnTo>
                <a:lnTo>
                  <a:pt x="11812" y="7396"/>
                </a:lnTo>
                <a:lnTo>
                  <a:pt x="11870" y="7362"/>
                </a:lnTo>
                <a:lnTo>
                  <a:pt x="11917" y="7400"/>
                </a:lnTo>
                <a:lnTo>
                  <a:pt x="12082" y="7460"/>
                </a:lnTo>
                <a:lnTo>
                  <a:pt x="11966" y="7468"/>
                </a:lnTo>
                <a:close/>
                <a:moveTo>
                  <a:pt x="11832" y="6910"/>
                </a:moveTo>
                <a:lnTo>
                  <a:pt x="11800" y="6887"/>
                </a:lnTo>
                <a:lnTo>
                  <a:pt x="11812" y="6845"/>
                </a:lnTo>
                <a:lnTo>
                  <a:pt x="11858" y="6870"/>
                </a:lnTo>
                <a:lnTo>
                  <a:pt x="11832" y="6910"/>
                </a:lnTo>
                <a:close/>
                <a:moveTo>
                  <a:pt x="11878" y="7015"/>
                </a:moveTo>
                <a:lnTo>
                  <a:pt x="11840" y="7019"/>
                </a:lnTo>
                <a:lnTo>
                  <a:pt x="11827" y="6986"/>
                </a:lnTo>
                <a:lnTo>
                  <a:pt x="11863" y="6986"/>
                </a:lnTo>
                <a:lnTo>
                  <a:pt x="11878" y="7015"/>
                </a:lnTo>
                <a:close/>
                <a:moveTo>
                  <a:pt x="12041" y="7406"/>
                </a:moveTo>
                <a:lnTo>
                  <a:pt x="12059" y="7396"/>
                </a:lnTo>
                <a:lnTo>
                  <a:pt x="12088" y="7401"/>
                </a:lnTo>
                <a:lnTo>
                  <a:pt x="12069" y="7407"/>
                </a:lnTo>
                <a:lnTo>
                  <a:pt x="12041" y="7406"/>
                </a:lnTo>
                <a:close/>
                <a:moveTo>
                  <a:pt x="12120" y="7695"/>
                </a:moveTo>
                <a:lnTo>
                  <a:pt x="12113" y="7712"/>
                </a:lnTo>
                <a:lnTo>
                  <a:pt x="12107" y="7728"/>
                </a:lnTo>
                <a:lnTo>
                  <a:pt x="12102" y="7708"/>
                </a:lnTo>
                <a:lnTo>
                  <a:pt x="12120" y="7695"/>
                </a:lnTo>
                <a:close/>
                <a:moveTo>
                  <a:pt x="12279" y="8829"/>
                </a:moveTo>
                <a:lnTo>
                  <a:pt x="12264" y="8827"/>
                </a:lnTo>
                <a:lnTo>
                  <a:pt x="12266" y="8810"/>
                </a:lnTo>
                <a:lnTo>
                  <a:pt x="12273" y="8819"/>
                </a:lnTo>
                <a:lnTo>
                  <a:pt x="12279" y="8829"/>
                </a:lnTo>
                <a:close/>
                <a:moveTo>
                  <a:pt x="12080" y="7657"/>
                </a:moveTo>
                <a:lnTo>
                  <a:pt x="12080" y="7689"/>
                </a:lnTo>
                <a:lnTo>
                  <a:pt x="12049" y="7698"/>
                </a:lnTo>
                <a:lnTo>
                  <a:pt x="12051" y="7667"/>
                </a:lnTo>
                <a:lnTo>
                  <a:pt x="12080" y="7657"/>
                </a:lnTo>
                <a:close/>
                <a:moveTo>
                  <a:pt x="12302" y="9085"/>
                </a:moveTo>
                <a:lnTo>
                  <a:pt x="12287" y="9090"/>
                </a:lnTo>
                <a:lnTo>
                  <a:pt x="12278" y="9076"/>
                </a:lnTo>
                <a:lnTo>
                  <a:pt x="12289" y="9080"/>
                </a:lnTo>
                <a:lnTo>
                  <a:pt x="12302" y="9085"/>
                </a:lnTo>
                <a:close/>
                <a:moveTo>
                  <a:pt x="12419" y="9517"/>
                </a:moveTo>
                <a:lnTo>
                  <a:pt x="12422" y="9505"/>
                </a:lnTo>
                <a:lnTo>
                  <a:pt x="12437" y="9495"/>
                </a:lnTo>
                <a:lnTo>
                  <a:pt x="12434" y="9511"/>
                </a:lnTo>
                <a:lnTo>
                  <a:pt x="12419" y="9517"/>
                </a:lnTo>
                <a:close/>
                <a:moveTo>
                  <a:pt x="12423" y="9304"/>
                </a:moveTo>
                <a:lnTo>
                  <a:pt x="12434" y="9284"/>
                </a:lnTo>
                <a:lnTo>
                  <a:pt x="12446" y="9291"/>
                </a:lnTo>
                <a:lnTo>
                  <a:pt x="12459" y="9296"/>
                </a:lnTo>
                <a:lnTo>
                  <a:pt x="12423" y="9304"/>
                </a:lnTo>
                <a:close/>
                <a:moveTo>
                  <a:pt x="12445" y="9281"/>
                </a:moveTo>
                <a:lnTo>
                  <a:pt x="12447" y="9271"/>
                </a:lnTo>
                <a:lnTo>
                  <a:pt x="12468" y="9263"/>
                </a:lnTo>
                <a:lnTo>
                  <a:pt x="12455" y="9273"/>
                </a:lnTo>
                <a:lnTo>
                  <a:pt x="12445" y="9281"/>
                </a:lnTo>
                <a:close/>
                <a:moveTo>
                  <a:pt x="12431" y="9242"/>
                </a:moveTo>
                <a:lnTo>
                  <a:pt x="12387" y="9235"/>
                </a:lnTo>
                <a:lnTo>
                  <a:pt x="12325" y="9267"/>
                </a:lnTo>
                <a:lnTo>
                  <a:pt x="12406" y="9192"/>
                </a:lnTo>
                <a:lnTo>
                  <a:pt x="12431" y="9242"/>
                </a:lnTo>
                <a:close/>
                <a:moveTo>
                  <a:pt x="12340" y="7919"/>
                </a:moveTo>
                <a:lnTo>
                  <a:pt x="12325" y="7909"/>
                </a:lnTo>
                <a:lnTo>
                  <a:pt x="12320" y="7874"/>
                </a:lnTo>
                <a:lnTo>
                  <a:pt x="12335" y="7894"/>
                </a:lnTo>
                <a:lnTo>
                  <a:pt x="12340" y="7919"/>
                </a:lnTo>
                <a:close/>
                <a:moveTo>
                  <a:pt x="12343" y="7969"/>
                </a:moveTo>
                <a:lnTo>
                  <a:pt x="12367" y="7987"/>
                </a:lnTo>
                <a:lnTo>
                  <a:pt x="12307" y="7995"/>
                </a:lnTo>
                <a:lnTo>
                  <a:pt x="12322" y="7978"/>
                </a:lnTo>
                <a:lnTo>
                  <a:pt x="12343" y="7969"/>
                </a:lnTo>
                <a:close/>
                <a:moveTo>
                  <a:pt x="12315" y="8003"/>
                </a:moveTo>
                <a:lnTo>
                  <a:pt x="12320" y="8015"/>
                </a:lnTo>
                <a:lnTo>
                  <a:pt x="12325" y="8027"/>
                </a:lnTo>
                <a:lnTo>
                  <a:pt x="12287" y="8016"/>
                </a:lnTo>
                <a:lnTo>
                  <a:pt x="12315" y="8003"/>
                </a:lnTo>
                <a:close/>
                <a:moveTo>
                  <a:pt x="12321" y="8085"/>
                </a:moveTo>
                <a:lnTo>
                  <a:pt x="12255" y="8111"/>
                </a:lnTo>
                <a:lnTo>
                  <a:pt x="12283" y="8058"/>
                </a:lnTo>
                <a:lnTo>
                  <a:pt x="12296" y="8076"/>
                </a:lnTo>
                <a:lnTo>
                  <a:pt x="12321" y="8085"/>
                </a:lnTo>
                <a:close/>
                <a:moveTo>
                  <a:pt x="12242" y="7790"/>
                </a:moveTo>
                <a:lnTo>
                  <a:pt x="12228" y="7780"/>
                </a:lnTo>
                <a:lnTo>
                  <a:pt x="12240" y="7765"/>
                </a:lnTo>
                <a:lnTo>
                  <a:pt x="12241" y="7779"/>
                </a:lnTo>
                <a:lnTo>
                  <a:pt x="12242" y="7790"/>
                </a:lnTo>
                <a:close/>
                <a:moveTo>
                  <a:pt x="12246" y="7871"/>
                </a:moveTo>
                <a:lnTo>
                  <a:pt x="12247" y="7899"/>
                </a:lnTo>
                <a:lnTo>
                  <a:pt x="12214" y="7917"/>
                </a:lnTo>
                <a:lnTo>
                  <a:pt x="12217" y="7877"/>
                </a:lnTo>
                <a:lnTo>
                  <a:pt x="12246" y="7871"/>
                </a:lnTo>
                <a:close/>
                <a:moveTo>
                  <a:pt x="12237" y="8060"/>
                </a:moveTo>
                <a:lnTo>
                  <a:pt x="12233" y="8050"/>
                </a:lnTo>
                <a:lnTo>
                  <a:pt x="12229" y="8040"/>
                </a:lnTo>
                <a:lnTo>
                  <a:pt x="12243" y="8048"/>
                </a:lnTo>
                <a:lnTo>
                  <a:pt x="12237" y="8060"/>
                </a:lnTo>
                <a:close/>
                <a:moveTo>
                  <a:pt x="12541" y="9496"/>
                </a:moveTo>
                <a:lnTo>
                  <a:pt x="12546" y="9478"/>
                </a:lnTo>
                <a:lnTo>
                  <a:pt x="12550" y="9462"/>
                </a:lnTo>
                <a:lnTo>
                  <a:pt x="12560" y="9481"/>
                </a:lnTo>
                <a:lnTo>
                  <a:pt x="12541" y="9496"/>
                </a:lnTo>
                <a:close/>
                <a:moveTo>
                  <a:pt x="12576" y="9300"/>
                </a:moveTo>
                <a:lnTo>
                  <a:pt x="12614" y="9279"/>
                </a:lnTo>
                <a:lnTo>
                  <a:pt x="12641" y="9298"/>
                </a:lnTo>
                <a:lnTo>
                  <a:pt x="12609" y="9305"/>
                </a:lnTo>
                <a:lnTo>
                  <a:pt x="12576" y="9300"/>
                </a:lnTo>
                <a:close/>
                <a:moveTo>
                  <a:pt x="12620" y="9230"/>
                </a:moveTo>
                <a:lnTo>
                  <a:pt x="12600" y="9188"/>
                </a:lnTo>
                <a:lnTo>
                  <a:pt x="12633" y="9153"/>
                </a:lnTo>
                <a:lnTo>
                  <a:pt x="12639" y="9196"/>
                </a:lnTo>
                <a:lnTo>
                  <a:pt x="12620" y="9230"/>
                </a:lnTo>
                <a:close/>
                <a:moveTo>
                  <a:pt x="12597" y="9142"/>
                </a:moveTo>
                <a:lnTo>
                  <a:pt x="12606" y="9132"/>
                </a:lnTo>
                <a:lnTo>
                  <a:pt x="12617" y="9121"/>
                </a:lnTo>
                <a:lnTo>
                  <a:pt x="12615" y="9140"/>
                </a:lnTo>
                <a:lnTo>
                  <a:pt x="12597" y="9142"/>
                </a:lnTo>
                <a:close/>
                <a:moveTo>
                  <a:pt x="12609" y="8939"/>
                </a:moveTo>
                <a:lnTo>
                  <a:pt x="12623" y="8956"/>
                </a:lnTo>
                <a:lnTo>
                  <a:pt x="12591" y="8977"/>
                </a:lnTo>
                <a:lnTo>
                  <a:pt x="12594" y="8954"/>
                </a:lnTo>
                <a:lnTo>
                  <a:pt x="12609" y="8939"/>
                </a:lnTo>
                <a:close/>
                <a:moveTo>
                  <a:pt x="12610" y="9084"/>
                </a:moveTo>
                <a:lnTo>
                  <a:pt x="12534" y="9174"/>
                </a:lnTo>
                <a:lnTo>
                  <a:pt x="12520" y="9172"/>
                </a:lnTo>
                <a:lnTo>
                  <a:pt x="12494" y="9132"/>
                </a:lnTo>
                <a:lnTo>
                  <a:pt x="12610" y="9084"/>
                </a:lnTo>
                <a:close/>
                <a:moveTo>
                  <a:pt x="12436" y="8121"/>
                </a:moveTo>
                <a:lnTo>
                  <a:pt x="12372" y="8155"/>
                </a:lnTo>
                <a:lnTo>
                  <a:pt x="12330" y="8134"/>
                </a:lnTo>
                <a:lnTo>
                  <a:pt x="12361" y="8133"/>
                </a:lnTo>
                <a:lnTo>
                  <a:pt x="12327" y="8095"/>
                </a:lnTo>
                <a:lnTo>
                  <a:pt x="12417" y="8069"/>
                </a:lnTo>
                <a:lnTo>
                  <a:pt x="12436" y="8121"/>
                </a:lnTo>
                <a:close/>
                <a:moveTo>
                  <a:pt x="12394" y="7928"/>
                </a:moveTo>
                <a:lnTo>
                  <a:pt x="12410" y="7932"/>
                </a:lnTo>
                <a:lnTo>
                  <a:pt x="12427" y="7929"/>
                </a:lnTo>
                <a:lnTo>
                  <a:pt x="12403" y="7946"/>
                </a:lnTo>
                <a:lnTo>
                  <a:pt x="12394" y="7928"/>
                </a:lnTo>
                <a:close/>
                <a:moveTo>
                  <a:pt x="12375" y="7942"/>
                </a:moveTo>
                <a:lnTo>
                  <a:pt x="12358" y="7942"/>
                </a:lnTo>
                <a:lnTo>
                  <a:pt x="12339" y="7943"/>
                </a:lnTo>
                <a:lnTo>
                  <a:pt x="12359" y="7917"/>
                </a:lnTo>
                <a:lnTo>
                  <a:pt x="12375" y="7942"/>
                </a:lnTo>
                <a:close/>
                <a:moveTo>
                  <a:pt x="12355" y="7647"/>
                </a:moveTo>
                <a:lnTo>
                  <a:pt x="12349" y="7650"/>
                </a:lnTo>
                <a:lnTo>
                  <a:pt x="12355" y="7647"/>
                </a:lnTo>
                <a:lnTo>
                  <a:pt x="12353" y="7658"/>
                </a:lnTo>
                <a:lnTo>
                  <a:pt x="12355" y="7647"/>
                </a:lnTo>
                <a:close/>
                <a:moveTo>
                  <a:pt x="12396" y="7790"/>
                </a:moveTo>
                <a:lnTo>
                  <a:pt x="12320" y="7841"/>
                </a:lnTo>
                <a:lnTo>
                  <a:pt x="12349" y="7793"/>
                </a:lnTo>
                <a:lnTo>
                  <a:pt x="12330" y="7782"/>
                </a:lnTo>
                <a:lnTo>
                  <a:pt x="12396" y="7790"/>
                </a:lnTo>
                <a:close/>
                <a:moveTo>
                  <a:pt x="12312" y="7602"/>
                </a:moveTo>
                <a:lnTo>
                  <a:pt x="12287" y="7603"/>
                </a:lnTo>
                <a:lnTo>
                  <a:pt x="12269" y="7589"/>
                </a:lnTo>
                <a:lnTo>
                  <a:pt x="12294" y="7582"/>
                </a:lnTo>
                <a:lnTo>
                  <a:pt x="12312" y="7602"/>
                </a:lnTo>
                <a:close/>
                <a:moveTo>
                  <a:pt x="12292" y="7699"/>
                </a:moveTo>
                <a:lnTo>
                  <a:pt x="12269" y="7699"/>
                </a:lnTo>
                <a:lnTo>
                  <a:pt x="12246" y="7699"/>
                </a:lnTo>
                <a:lnTo>
                  <a:pt x="12269" y="7689"/>
                </a:lnTo>
                <a:lnTo>
                  <a:pt x="12292" y="7699"/>
                </a:lnTo>
                <a:close/>
                <a:moveTo>
                  <a:pt x="12223" y="7465"/>
                </a:moveTo>
                <a:lnTo>
                  <a:pt x="12200" y="7451"/>
                </a:lnTo>
                <a:lnTo>
                  <a:pt x="12185" y="7426"/>
                </a:lnTo>
                <a:lnTo>
                  <a:pt x="12214" y="7440"/>
                </a:lnTo>
                <a:lnTo>
                  <a:pt x="12223" y="7465"/>
                </a:lnTo>
                <a:close/>
                <a:moveTo>
                  <a:pt x="12234" y="7718"/>
                </a:moveTo>
                <a:lnTo>
                  <a:pt x="12232" y="7729"/>
                </a:lnTo>
                <a:lnTo>
                  <a:pt x="12223" y="7732"/>
                </a:lnTo>
                <a:lnTo>
                  <a:pt x="12227" y="7722"/>
                </a:lnTo>
                <a:lnTo>
                  <a:pt x="12234" y="7718"/>
                </a:lnTo>
                <a:close/>
                <a:moveTo>
                  <a:pt x="12191" y="7662"/>
                </a:moveTo>
                <a:lnTo>
                  <a:pt x="12208" y="7677"/>
                </a:lnTo>
                <a:lnTo>
                  <a:pt x="12112" y="7663"/>
                </a:lnTo>
                <a:lnTo>
                  <a:pt x="12139" y="7639"/>
                </a:lnTo>
                <a:lnTo>
                  <a:pt x="12191" y="7662"/>
                </a:lnTo>
                <a:close/>
                <a:moveTo>
                  <a:pt x="12068" y="7244"/>
                </a:moveTo>
                <a:lnTo>
                  <a:pt x="12088" y="7303"/>
                </a:lnTo>
                <a:lnTo>
                  <a:pt x="11980" y="7314"/>
                </a:lnTo>
                <a:lnTo>
                  <a:pt x="11999" y="7369"/>
                </a:lnTo>
                <a:lnTo>
                  <a:pt x="11964" y="7387"/>
                </a:lnTo>
                <a:lnTo>
                  <a:pt x="11921" y="7276"/>
                </a:lnTo>
                <a:lnTo>
                  <a:pt x="11945" y="7255"/>
                </a:lnTo>
                <a:lnTo>
                  <a:pt x="12014" y="7249"/>
                </a:lnTo>
                <a:lnTo>
                  <a:pt x="12068" y="7244"/>
                </a:lnTo>
                <a:close/>
                <a:moveTo>
                  <a:pt x="11915" y="7056"/>
                </a:moveTo>
                <a:lnTo>
                  <a:pt x="11896" y="7022"/>
                </a:lnTo>
                <a:lnTo>
                  <a:pt x="11945" y="7017"/>
                </a:lnTo>
                <a:lnTo>
                  <a:pt x="11934" y="7047"/>
                </a:lnTo>
                <a:lnTo>
                  <a:pt x="11915" y="7056"/>
                </a:lnTo>
                <a:close/>
                <a:moveTo>
                  <a:pt x="11996" y="7117"/>
                </a:moveTo>
                <a:lnTo>
                  <a:pt x="11950" y="7121"/>
                </a:lnTo>
                <a:lnTo>
                  <a:pt x="11940" y="7079"/>
                </a:lnTo>
                <a:lnTo>
                  <a:pt x="11975" y="7092"/>
                </a:lnTo>
                <a:lnTo>
                  <a:pt x="11996" y="7117"/>
                </a:lnTo>
                <a:close/>
                <a:moveTo>
                  <a:pt x="12071" y="6498"/>
                </a:moveTo>
                <a:lnTo>
                  <a:pt x="12096" y="6476"/>
                </a:lnTo>
                <a:lnTo>
                  <a:pt x="12134" y="6488"/>
                </a:lnTo>
                <a:lnTo>
                  <a:pt x="12101" y="6500"/>
                </a:lnTo>
                <a:lnTo>
                  <a:pt x="12071" y="6498"/>
                </a:lnTo>
                <a:close/>
                <a:moveTo>
                  <a:pt x="12102" y="6431"/>
                </a:moveTo>
                <a:lnTo>
                  <a:pt x="12094" y="6409"/>
                </a:lnTo>
                <a:lnTo>
                  <a:pt x="12089" y="6390"/>
                </a:lnTo>
                <a:lnTo>
                  <a:pt x="12125" y="6404"/>
                </a:lnTo>
                <a:lnTo>
                  <a:pt x="12102" y="6431"/>
                </a:lnTo>
                <a:close/>
                <a:moveTo>
                  <a:pt x="12092" y="6136"/>
                </a:moveTo>
                <a:lnTo>
                  <a:pt x="12107" y="6155"/>
                </a:lnTo>
                <a:lnTo>
                  <a:pt x="12074" y="6161"/>
                </a:lnTo>
                <a:lnTo>
                  <a:pt x="12084" y="6147"/>
                </a:lnTo>
                <a:lnTo>
                  <a:pt x="12092" y="6136"/>
                </a:lnTo>
                <a:close/>
                <a:moveTo>
                  <a:pt x="11975" y="5507"/>
                </a:moveTo>
                <a:lnTo>
                  <a:pt x="11995" y="5513"/>
                </a:lnTo>
                <a:lnTo>
                  <a:pt x="12014" y="5517"/>
                </a:lnTo>
                <a:lnTo>
                  <a:pt x="11984" y="5536"/>
                </a:lnTo>
                <a:lnTo>
                  <a:pt x="11975" y="5507"/>
                </a:lnTo>
                <a:close/>
                <a:moveTo>
                  <a:pt x="12093" y="6286"/>
                </a:moveTo>
                <a:lnTo>
                  <a:pt x="12071" y="6315"/>
                </a:lnTo>
                <a:lnTo>
                  <a:pt x="12042" y="6343"/>
                </a:lnTo>
                <a:lnTo>
                  <a:pt x="12032" y="6309"/>
                </a:lnTo>
                <a:lnTo>
                  <a:pt x="12093" y="6286"/>
                </a:lnTo>
                <a:close/>
                <a:moveTo>
                  <a:pt x="11837" y="5284"/>
                </a:moveTo>
                <a:lnTo>
                  <a:pt x="11877" y="5288"/>
                </a:lnTo>
                <a:lnTo>
                  <a:pt x="11926" y="5266"/>
                </a:lnTo>
                <a:lnTo>
                  <a:pt x="11882" y="5343"/>
                </a:lnTo>
                <a:lnTo>
                  <a:pt x="11837" y="5284"/>
                </a:lnTo>
                <a:close/>
                <a:moveTo>
                  <a:pt x="12042" y="6659"/>
                </a:moveTo>
                <a:lnTo>
                  <a:pt x="12055" y="6672"/>
                </a:lnTo>
                <a:lnTo>
                  <a:pt x="12037" y="6684"/>
                </a:lnTo>
                <a:lnTo>
                  <a:pt x="12040" y="6672"/>
                </a:lnTo>
                <a:lnTo>
                  <a:pt x="12042" y="6659"/>
                </a:lnTo>
                <a:close/>
                <a:moveTo>
                  <a:pt x="12041" y="6724"/>
                </a:moveTo>
                <a:lnTo>
                  <a:pt x="12027" y="6771"/>
                </a:lnTo>
                <a:lnTo>
                  <a:pt x="11935" y="6865"/>
                </a:lnTo>
                <a:lnTo>
                  <a:pt x="11906" y="6846"/>
                </a:lnTo>
                <a:lnTo>
                  <a:pt x="11911" y="6798"/>
                </a:lnTo>
                <a:lnTo>
                  <a:pt x="11828" y="6821"/>
                </a:lnTo>
                <a:lnTo>
                  <a:pt x="11766" y="6793"/>
                </a:lnTo>
                <a:lnTo>
                  <a:pt x="11898" y="6753"/>
                </a:lnTo>
                <a:lnTo>
                  <a:pt x="12041" y="6724"/>
                </a:lnTo>
                <a:close/>
                <a:moveTo>
                  <a:pt x="11412" y="4180"/>
                </a:moveTo>
                <a:lnTo>
                  <a:pt x="11398" y="4205"/>
                </a:lnTo>
                <a:lnTo>
                  <a:pt x="11376" y="4124"/>
                </a:lnTo>
                <a:lnTo>
                  <a:pt x="11376" y="4170"/>
                </a:lnTo>
                <a:lnTo>
                  <a:pt x="11412" y="4180"/>
                </a:lnTo>
                <a:close/>
                <a:moveTo>
                  <a:pt x="11756" y="6294"/>
                </a:moveTo>
                <a:lnTo>
                  <a:pt x="11772" y="6272"/>
                </a:lnTo>
                <a:lnTo>
                  <a:pt x="11799" y="6277"/>
                </a:lnTo>
                <a:lnTo>
                  <a:pt x="11780" y="6294"/>
                </a:lnTo>
                <a:lnTo>
                  <a:pt x="11756" y="6294"/>
                </a:lnTo>
                <a:close/>
                <a:moveTo>
                  <a:pt x="11838" y="6725"/>
                </a:moveTo>
                <a:lnTo>
                  <a:pt x="11821" y="6740"/>
                </a:lnTo>
                <a:lnTo>
                  <a:pt x="11817" y="6761"/>
                </a:lnTo>
                <a:lnTo>
                  <a:pt x="11798" y="6729"/>
                </a:lnTo>
                <a:lnTo>
                  <a:pt x="11838" y="6725"/>
                </a:lnTo>
                <a:close/>
                <a:moveTo>
                  <a:pt x="11740" y="6013"/>
                </a:moveTo>
                <a:lnTo>
                  <a:pt x="11758" y="6017"/>
                </a:lnTo>
                <a:lnTo>
                  <a:pt x="11773" y="6021"/>
                </a:lnTo>
                <a:lnTo>
                  <a:pt x="11754" y="6035"/>
                </a:lnTo>
                <a:lnTo>
                  <a:pt x="11740" y="6013"/>
                </a:lnTo>
                <a:close/>
                <a:moveTo>
                  <a:pt x="11808" y="6395"/>
                </a:moveTo>
                <a:lnTo>
                  <a:pt x="11822" y="6395"/>
                </a:lnTo>
                <a:lnTo>
                  <a:pt x="11827" y="6409"/>
                </a:lnTo>
                <a:lnTo>
                  <a:pt x="11812" y="6404"/>
                </a:lnTo>
                <a:lnTo>
                  <a:pt x="11808" y="6395"/>
                </a:lnTo>
                <a:close/>
                <a:moveTo>
                  <a:pt x="11866" y="6413"/>
                </a:moveTo>
                <a:lnTo>
                  <a:pt x="11854" y="6454"/>
                </a:lnTo>
                <a:lnTo>
                  <a:pt x="11814" y="6448"/>
                </a:lnTo>
                <a:lnTo>
                  <a:pt x="11838" y="6431"/>
                </a:lnTo>
                <a:lnTo>
                  <a:pt x="11866" y="6413"/>
                </a:lnTo>
                <a:close/>
                <a:moveTo>
                  <a:pt x="11510" y="4573"/>
                </a:moveTo>
                <a:lnTo>
                  <a:pt x="11500" y="4537"/>
                </a:lnTo>
                <a:lnTo>
                  <a:pt x="11533" y="4506"/>
                </a:lnTo>
                <a:lnTo>
                  <a:pt x="11549" y="4546"/>
                </a:lnTo>
                <a:lnTo>
                  <a:pt x="11510" y="4573"/>
                </a:lnTo>
                <a:close/>
                <a:moveTo>
                  <a:pt x="11779" y="6763"/>
                </a:moveTo>
                <a:lnTo>
                  <a:pt x="11770" y="6763"/>
                </a:lnTo>
                <a:lnTo>
                  <a:pt x="11761" y="6753"/>
                </a:lnTo>
                <a:lnTo>
                  <a:pt x="11776" y="6753"/>
                </a:lnTo>
                <a:lnTo>
                  <a:pt x="11779" y="6763"/>
                </a:lnTo>
                <a:close/>
                <a:moveTo>
                  <a:pt x="11921" y="6441"/>
                </a:moveTo>
                <a:lnTo>
                  <a:pt x="11908" y="6407"/>
                </a:lnTo>
                <a:lnTo>
                  <a:pt x="11928" y="6366"/>
                </a:lnTo>
                <a:lnTo>
                  <a:pt x="11949" y="6400"/>
                </a:lnTo>
                <a:lnTo>
                  <a:pt x="11921" y="6441"/>
                </a:lnTo>
                <a:close/>
                <a:moveTo>
                  <a:pt x="11963" y="6470"/>
                </a:moveTo>
                <a:lnTo>
                  <a:pt x="11947" y="6502"/>
                </a:lnTo>
                <a:lnTo>
                  <a:pt x="11912" y="6496"/>
                </a:lnTo>
                <a:lnTo>
                  <a:pt x="11939" y="6462"/>
                </a:lnTo>
                <a:lnTo>
                  <a:pt x="11963" y="6470"/>
                </a:lnTo>
                <a:close/>
                <a:moveTo>
                  <a:pt x="11688" y="4514"/>
                </a:moveTo>
                <a:lnTo>
                  <a:pt x="11647" y="4592"/>
                </a:lnTo>
                <a:lnTo>
                  <a:pt x="11572" y="4587"/>
                </a:lnTo>
                <a:lnTo>
                  <a:pt x="11610" y="4533"/>
                </a:lnTo>
                <a:lnTo>
                  <a:pt x="11688" y="4514"/>
                </a:lnTo>
                <a:close/>
                <a:moveTo>
                  <a:pt x="11621" y="4399"/>
                </a:moveTo>
                <a:lnTo>
                  <a:pt x="11604" y="4399"/>
                </a:lnTo>
                <a:lnTo>
                  <a:pt x="11585" y="4401"/>
                </a:lnTo>
                <a:lnTo>
                  <a:pt x="11604" y="4374"/>
                </a:lnTo>
                <a:lnTo>
                  <a:pt x="11621" y="4399"/>
                </a:lnTo>
                <a:close/>
                <a:moveTo>
                  <a:pt x="11554" y="4314"/>
                </a:moveTo>
                <a:lnTo>
                  <a:pt x="11579" y="4345"/>
                </a:lnTo>
                <a:lnTo>
                  <a:pt x="11585" y="4382"/>
                </a:lnTo>
                <a:lnTo>
                  <a:pt x="11560" y="4351"/>
                </a:lnTo>
                <a:lnTo>
                  <a:pt x="11554" y="4314"/>
                </a:lnTo>
                <a:close/>
                <a:moveTo>
                  <a:pt x="11545" y="4057"/>
                </a:moveTo>
                <a:lnTo>
                  <a:pt x="11556" y="4068"/>
                </a:lnTo>
                <a:lnTo>
                  <a:pt x="11554" y="4079"/>
                </a:lnTo>
                <a:lnTo>
                  <a:pt x="11543" y="4067"/>
                </a:lnTo>
                <a:lnTo>
                  <a:pt x="11545" y="4057"/>
                </a:lnTo>
                <a:close/>
                <a:moveTo>
                  <a:pt x="11600" y="4243"/>
                </a:moveTo>
                <a:lnTo>
                  <a:pt x="11641" y="4280"/>
                </a:lnTo>
                <a:lnTo>
                  <a:pt x="11563" y="4308"/>
                </a:lnTo>
                <a:lnTo>
                  <a:pt x="11567" y="4281"/>
                </a:lnTo>
                <a:lnTo>
                  <a:pt x="11596" y="4263"/>
                </a:lnTo>
                <a:lnTo>
                  <a:pt x="11565" y="4250"/>
                </a:lnTo>
                <a:lnTo>
                  <a:pt x="11600" y="4243"/>
                </a:lnTo>
                <a:close/>
                <a:moveTo>
                  <a:pt x="11506" y="4166"/>
                </a:moveTo>
                <a:lnTo>
                  <a:pt x="11525" y="4164"/>
                </a:lnTo>
                <a:lnTo>
                  <a:pt x="11540" y="4166"/>
                </a:lnTo>
                <a:lnTo>
                  <a:pt x="11520" y="4170"/>
                </a:lnTo>
                <a:lnTo>
                  <a:pt x="11506" y="4166"/>
                </a:lnTo>
                <a:close/>
                <a:moveTo>
                  <a:pt x="11556" y="4443"/>
                </a:moveTo>
                <a:lnTo>
                  <a:pt x="11609" y="4433"/>
                </a:lnTo>
                <a:lnTo>
                  <a:pt x="11570" y="4481"/>
                </a:lnTo>
                <a:lnTo>
                  <a:pt x="11535" y="4468"/>
                </a:lnTo>
                <a:lnTo>
                  <a:pt x="11556" y="4443"/>
                </a:lnTo>
                <a:close/>
                <a:moveTo>
                  <a:pt x="11469" y="4293"/>
                </a:moveTo>
                <a:lnTo>
                  <a:pt x="11475" y="4264"/>
                </a:lnTo>
                <a:lnTo>
                  <a:pt x="11491" y="4249"/>
                </a:lnTo>
                <a:lnTo>
                  <a:pt x="11510" y="4282"/>
                </a:lnTo>
                <a:lnTo>
                  <a:pt x="11469" y="4293"/>
                </a:lnTo>
                <a:close/>
                <a:moveTo>
                  <a:pt x="11492" y="4217"/>
                </a:moveTo>
                <a:lnTo>
                  <a:pt x="11472" y="4221"/>
                </a:lnTo>
                <a:lnTo>
                  <a:pt x="11455" y="4215"/>
                </a:lnTo>
                <a:lnTo>
                  <a:pt x="11481" y="4194"/>
                </a:lnTo>
                <a:lnTo>
                  <a:pt x="11492" y="4217"/>
                </a:lnTo>
                <a:close/>
                <a:moveTo>
                  <a:pt x="11371" y="3904"/>
                </a:moveTo>
                <a:lnTo>
                  <a:pt x="11395" y="3899"/>
                </a:lnTo>
                <a:lnTo>
                  <a:pt x="11414" y="3920"/>
                </a:lnTo>
                <a:lnTo>
                  <a:pt x="11379" y="3926"/>
                </a:lnTo>
                <a:lnTo>
                  <a:pt x="11371" y="3904"/>
                </a:lnTo>
                <a:close/>
                <a:moveTo>
                  <a:pt x="11419" y="4140"/>
                </a:moveTo>
                <a:lnTo>
                  <a:pt x="11446" y="4118"/>
                </a:lnTo>
                <a:lnTo>
                  <a:pt x="11465" y="4146"/>
                </a:lnTo>
                <a:lnTo>
                  <a:pt x="11409" y="4151"/>
                </a:lnTo>
                <a:lnTo>
                  <a:pt x="11419" y="4140"/>
                </a:lnTo>
                <a:close/>
                <a:moveTo>
                  <a:pt x="11365" y="3940"/>
                </a:moveTo>
                <a:lnTo>
                  <a:pt x="11348" y="3972"/>
                </a:lnTo>
                <a:lnTo>
                  <a:pt x="11316" y="3962"/>
                </a:lnTo>
                <a:lnTo>
                  <a:pt x="11334" y="3948"/>
                </a:lnTo>
                <a:lnTo>
                  <a:pt x="11365" y="3940"/>
                </a:lnTo>
                <a:close/>
                <a:moveTo>
                  <a:pt x="11138" y="3689"/>
                </a:moveTo>
                <a:lnTo>
                  <a:pt x="11221" y="3671"/>
                </a:lnTo>
                <a:lnTo>
                  <a:pt x="11306" y="3657"/>
                </a:lnTo>
                <a:lnTo>
                  <a:pt x="11228" y="3713"/>
                </a:lnTo>
                <a:lnTo>
                  <a:pt x="11138" y="3689"/>
                </a:lnTo>
                <a:close/>
                <a:moveTo>
                  <a:pt x="11002" y="3272"/>
                </a:moveTo>
                <a:lnTo>
                  <a:pt x="11031" y="3277"/>
                </a:lnTo>
                <a:lnTo>
                  <a:pt x="11056" y="3293"/>
                </a:lnTo>
                <a:lnTo>
                  <a:pt x="11012" y="3305"/>
                </a:lnTo>
                <a:lnTo>
                  <a:pt x="11002" y="3272"/>
                </a:lnTo>
                <a:close/>
                <a:moveTo>
                  <a:pt x="11124" y="3802"/>
                </a:moveTo>
                <a:lnTo>
                  <a:pt x="11170" y="3764"/>
                </a:lnTo>
                <a:lnTo>
                  <a:pt x="11267" y="3778"/>
                </a:lnTo>
                <a:lnTo>
                  <a:pt x="11185" y="3875"/>
                </a:lnTo>
                <a:lnTo>
                  <a:pt x="11035" y="3880"/>
                </a:lnTo>
                <a:lnTo>
                  <a:pt x="11007" y="3928"/>
                </a:lnTo>
                <a:lnTo>
                  <a:pt x="10995" y="3870"/>
                </a:lnTo>
                <a:lnTo>
                  <a:pt x="11032" y="3804"/>
                </a:lnTo>
                <a:lnTo>
                  <a:pt x="11124" y="3802"/>
                </a:lnTo>
                <a:close/>
                <a:moveTo>
                  <a:pt x="10957" y="3534"/>
                </a:moveTo>
                <a:lnTo>
                  <a:pt x="10983" y="3539"/>
                </a:lnTo>
                <a:lnTo>
                  <a:pt x="11009" y="3545"/>
                </a:lnTo>
                <a:lnTo>
                  <a:pt x="10966" y="3566"/>
                </a:lnTo>
                <a:lnTo>
                  <a:pt x="10957" y="3534"/>
                </a:lnTo>
                <a:close/>
                <a:moveTo>
                  <a:pt x="10970" y="3606"/>
                </a:moveTo>
                <a:lnTo>
                  <a:pt x="10961" y="3599"/>
                </a:lnTo>
                <a:lnTo>
                  <a:pt x="10965" y="3583"/>
                </a:lnTo>
                <a:lnTo>
                  <a:pt x="10967" y="3595"/>
                </a:lnTo>
                <a:lnTo>
                  <a:pt x="10970" y="3606"/>
                </a:lnTo>
                <a:close/>
                <a:moveTo>
                  <a:pt x="11009" y="3754"/>
                </a:moveTo>
                <a:lnTo>
                  <a:pt x="10992" y="3781"/>
                </a:lnTo>
                <a:lnTo>
                  <a:pt x="10827" y="3814"/>
                </a:lnTo>
                <a:lnTo>
                  <a:pt x="10919" y="3782"/>
                </a:lnTo>
                <a:lnTo>
                  <a:pt x="11009" y="3754"/>
                </a:lnTo>
                <a:close/>
                <a:moveTo>
                  <a:pt x="10671" y="2081"/>
                </a:moveTo>
                <a:lnTo>
                  <a:pt x="10653" y="2083"/>
                </a:lnTo>
                <a:lnTo>
                  <a:pt x="10646" y="2071"/>
                </a:lnTo>
                <a:lnTo>
                  <a:pt x="10658" y="2075"/>
                </a:lnTo>
                <a:lnTo>
                  <a:pt x="10671" y="2081"/>
                </a:lnTo>
                <a:close/>
                <a:moveTo>
                  <a:pt x="10695" y="2216"/>
                </a:moveTo>
                <a:lnTo>
                  <a:pt x="10705" y="2255"/>
                </a:lnTo>
                <a:lnTo>
                  <a:pt x="10658" y="2237"/>
                </a:lnTo>
                <a:lnTo>
                  <a:pt x="10678" y="2225"/>
                </a:lnTo>
                <a:lnTo>
                  <a:pt x="10695" y="2216"/>
                </a:lnTo>
                <a:close/>
                <a:moveTo>
                  <a:pt x="10728" y="2533"/>
                </a:moveTo>
                <a:lnTo>
                  <a:pt x="10725" y="2573"/>
                </a:lnTo>
                <a:lnTo>
                  <a:pt x="10713" y="2611"/>
                </a:lnTo>
                <a:lnTo>
                  <a:pt x="10699" y="2568"/>
                </a:lnTo>
                <a:lnTo>
                  <a:pt x="10728" y="2533"/>
                </a:lnTo>
                <a:close/>
                <a:moveTo>
                  <a:pt x="10622" y="2083"/>
                </a:moveTo>
                <a:lnTo>
                  <a:pt x="10597" y="2085"/>
                </a:lnTo>
                <a:lnTo>
                  <a:pt x="10576" y="2088"/>
                </a:lnTo>
                <a:lnTo>
                  <a:pt x="10595" y="2078"/>
                </a:lnTo>
                <a:lnTo>
                  <a:pt x="10622" y="2083"/>
                </a:lnTo>
                <a:close/>
                <a:moveTo>
                  <a:pt x="10801" y="3133"/>
                </a:moveTo>
                <a:lnTo>
                  <a:pt x="10760" y="3156"/>
                </a:lnTo>
                <a:lnTo>
                  <a:pt x="10718" y="3184"/>
                </a:lnTo>
                <a:lnTo>
                  <a:pt x="10727" y="3118"/>
                </a:lnTo>
                <a:lnTo>
                  <a:pt x="10801" y="3133"/>
                </a:lnTo>
                <a:close/>
                <a:moveTo>
                  <a:pt x="10318" y="2134"/>
                </a:moveTo>
                <a:lnTo>
                  <a:pt x="10402" y="2134"/>
                </a:lnTo>
                <a:lnTo>
                  <a:pt x="10509" y="2095"/>
                </a:lnTo>
                <a:lnTo>
                  <a:pt x="10413" y="2163"/>
                </a:lnTo>
                <a:lnTo>
                  <a:pt x="10318" y="2134"/>
                </a:lnTo>
                <a:close/>
                <a:moveTo>
                  <a:pt x="11166" y="7284"/>
                </a:moveTo>
                <a:lnTo>
                  <a:pt x="11160" y="7285"/>
                </a:lnTo>
                <a:lnTo>
                  <a:pt x="11166" y="7284"/>
                </a:lnTo>
                <a:lnTo>
                  <a:pt x="11161" y="7293"/>
                </a:lnTo>
                <a:lnTo>
                  <a:pt x="11166" y="7284"/>
                </a:lnTo>
                <a:close/>
                <a:moveTo>
                  <a:pt x="10979" y="6240"/>
                </a:moveTo>
                <a:lnTo>
                  <a:pt x="10974" y="6197"/>
                </a:lnTo>
                <a:lnTo>
                  <a:pt x="11012" y="6197"/>
                </a:lnTo>
                <a:lnTo>
                  <a:pt x="10997" y="6224"/>
                </a:lnTo>
                <a:lnTo>
                  <a:pt x="10979" y="6240"/>
                </a:lnTo>
                <a:close/>
                <a:moveTo>
                  <a:pt x="11216" y="7475"/>
                </a:moveTo>
                <a:lnTo>
                  <a:pt x="11199" y="7484"/>
                </a:lnTo>
                <a:lnTo>
                  <a:pt x="11191" y="7468"/>
                </a:lnTo>
                <a:lnTo>
                  <a:pt x="11203" y="7472"/>
                </a:lnTo>
                <a:lnTo>
                  <a:pt x="11216" y="7475"/>
                </a:lnTo>
                <a:close/>
                <a:moveTo>
                  <a:pt x="11570" y="9699"/>
                </a:moveTo>
                <a:lnTo>
                  <a:pt x="11593" y="9708"/>
                </a:lnTo>
                <a:lnTo>
                  <a:pt x="11568" y="9705"/>
                </a:lnTo>
                <a:lnTo>
                  <a:pt x="11568" y="9702"/>
                </a:lnTo>
                <a:lnTo>
                  <a:pt x="11570" y="9699"/>
                </a:lnTo>
                <a:close/>
                <a:moveTo>
                  <a:pt x="10690" y="4107"/>
                </a:moveTo>
                <a:lnTo>
                  <a:pt x="10704" y="4095"/>
                </a:lnTo>
                <a:lnTo>
                  <a:pt x="10728" y="4088"/>
                </a:lnTo>
                <a:lnTo>
                  <a:pt x="10710" y="4104"/>
                </a:lnTo>
                <a:lnTo>
                  <a:pt x="10690" y="4107"/>
                </a:lnTo>
                <a:close/>
                <a:moveTo>
                  <a:pt x="11487" y="9755"/>
                </a:moveTo>
                <a:lnTo>
                  <a:pt x="11545" y="9778"/>
                </a:lnTo>
                <a:lnTo>
                  <a:pt x="11628" y="9758"/>
                </a:lnTo>
                <a:lnTo>
                  <a:pt x="11656" y="9948"/>
                </a:lnTo>
                <a:lnTo>
                  <a:pt x="11531" y="10003"/>
                </a:lnTo>
                <a:lnTo>
                  <a:pt x="11500" y="9915"/>
                </a:lnTo>
                <a:lnTo>
                  <a:pt x="11523" y="9834"/>
                </a:lnTo>
                <a:lnTo>
                  <a:pt x="11496" y="9803"/>
                </a:lnTo>
                <a:lnTo>
                  <a:pt x="11487" y="9755"/>
                </a:lnTo>
                <a:close/>
                <a:moveTo>
                  <a:pt x="11431" y="9806"/>
                </a:moveTo>
                <a:lnTo>
                  <a:pt x="11428" y="9803"/>
                </a:lnTo>
                <a:lnTo>
                  <a:pt x="11426" y="9799"/>
                </a:lnTo>
                <a:lnTo>
                  <a:pt x="11431" y="9799"/>
                </a:lnTo>
                <a:lnTo>
                  <a:pt x="11431" y="9806"/>
                </a:lnTo>
                <a:close/>
                <a:moveTo>
                  <a:pt x="11055" y="7479"/>
                </a:moveTo>
                <a:lnTo>
                  <a:pt x="11042" y="7493"/>
                </a:lnTo>
                <a:lnTo>
                  <a:pt x="11030" y="7477"/>
                </a:lnTo>
                <a:lnTo>
                  <a:pt x="11045" y="7467"/>
                </a:lnTo>
                <a:lnTo>
                  <a:pt x="11055" y="7479"/>
                </a:lnTo>
                <a:close/>
                <a:moveTo>
                  <a:pt x="10499" y="4098"/>
                </a:moveTo>
                <a:lnTo>
                  <a:pt x="10474" y="4104"/>
                </a:lnTo>
                <a:lnTo>
                  <a:pt x="10450" y="4110"/>
                </a:lnTo>
                <a:lnTo>
                  <a:pt x="10466" y="4094"/>
                </a:lnTo>
                <a:lnTo>
                  <a:pt x="10499" y="4098"/>
                </a:lnTo>
                <a:close/>
                <a:moveTo>
                  <a:pt x="10379" y="3867"/>
                </a:moveTo>
                <a:lnTo>
                  <a:pt x="10388" y="3878"/>
                </a:lnTo>
                <a:lnTo>
                  <a:pt x="10390" y="3890"/>
                </a:lnTo>
                <a:lnTo>
                  <a:pt x="10376" y="3881"/>
                </a:lnTo>
                <a:lnTo>
                  <a:pt x="10379" y="3867"/>
                </a:lnTo>
                <a:close/>
                <a:moveTo>
                  <a:pt x="10020" y="2313"/>
                </a:moveTo>
                <a:lnTo>
                  <a:pt x="10021" y="2285"/>
                </a:lnTo>
                <a:lnTo>
                  <a:pt x="10052" y="2297"/>
                </a:lnTo>
                <a:lnTo>
                  <a:pt x="10035" y="2305"/>
                </a:lnTo>
                <a:lnTo>
                  <a:pt x="10020" y="2313"/>
                </a:lnTo>
                <a:close/>
                <a:moveTo>
                  <a:pt x="9997" y="2173"/>
                </a:moveTo>
                <a:lnTo>
                  <a:pt x="10020" y="2183"/>
                </a:lnTo>
                <a:lnTo>
                  <a:pt x="9996" y="2210"/>
                </a:lnTo>
                <a:lnTo>
                  <a:pt x="9997" y="2192"/>
                </a:lnTo>
                <a:lnTo>
                  <a:pt x="9997" y="2173"/>
                </a:lnTo>
                <a:close/>
                <a:moveTo>
                  <a:pt x="9971" y="2216"/>
                </a:moveTo>
                <a:lnTo>
                  <a:pt x="9922" y="2237"/>
                </a:lnTo>
                <a:lnTo>
                  <a:pt x="9886" y="2219"/>
                </a:lnTo>
                <a:lnTo>
                  <a:pt x="9927" y="2218"/>
                </a:lnTo>
                <a:lnTo>
                  <a:pt x="9971" y="2216"/>
                </a:lnTo>
                <a:close/>
                <a:moveTo>
                  <a:pt x="9713" y="2363"/>
                </a:moveTo>
                <a:lnTo>
                  <a:pt x="9722" y="2344"/>
                </a:lnTo>
                <a:lnTo>
                  <a:pt x="9741" y="2317"/>
                </a:lnTo>
                <a:lnTo>
                  <a:pt x="9728" y="2275"/>
                </a:lnTo>
                <a:lnTo>
                  <a:pt x="9721" y="2256"/>
                </a:lnTo>
                <a:lnTo>
                  <a:pt x="9758" y="2262"/>
                </a:lnTo>
                <a:lnTo>
                  <a:pt x="9803" y="2274"/>
                </a:lnTo>
                <a:lnTo>
                  <a:pt x="9825" y="2234"/>
                </a:lnTo>
                <a:lnTo>
                  <a:pt x="9900" y="2283"/>
                </a:lnTo>
                <a:lnTo>
                  <a:pt x="9922" y="2281"/>
                </a:lnTo>
                <a:lnTo>
                  <a:pt x="9979" y="2323"/>
                </a:lnTo>
                <a:lnTo>
                  <a:pt x="9815" y="2319"/>
                </a:lnTo>
                <a:lnTo>
                  <a:pt x="9755" y="2425"/>
                </a:lnTo>
                <a:lnTo>
                  <a:pt x="9779" y="2459"/>
                </a:lnTo>
                <a:lnTo>
                  <a:pt x="9850" y="2459"/>
                </a:lnTo>
                <a:lnTo>
                  <a:pt x="9735" y="2489"/>
                </a:lnTo>
                <a:lnTo>
                  <a:pt x="9713" y="2363"/>
                </a:lnTo>
                <a:close/>
                <a:moveTo>
                  <a:pt x="9681" y="2368"/>
                </a:moveTo>
                <a:lnTo>
                  <a:pt x="9689" y="2363"/>
                </a:lnTo>
                <a:lnTo>
                  <a:pt x="9700" y="2363"/>
                </a:lnTo>
                <a:lnTo>
                  <a:pt x="9691" y="2367"/>
                </a:lnTo>
                <a:lnTo>
                  <a:pt x="9681" y="2368"/>
                </a:lnTo>
                <a:close/>
                <a:moveTo>
                  <a:pt x="9680" y="2253"/>
                </a:moveTo>
                <a:lnTo>
                  <a:pt x="9677" y="2260"/>
                </a:lnTo>
                <a:lnTo>
                  <a:pt x="9670" y="2262"/>
                </a:lnTo>
                <a:lnTo>
                  <a:pt x="9670" y="2253"/>
                </a:lnTo>
                <a:lnTo>
                  <a:pt x="9680" y="2253"/>
                </a:lnTo>
                <a:close/>
                <a:moveTo>
                  <a:pt x="9657" y="2253"/>
                </a:moveTo>
                <a:lnTo>
                  <a:pt x="9653" y="2258"/>
                </a:lnTo>
                <a:lnTo>
                  <a:pt x="9639" y="2256"/>
                </a:lnTo>
                <a:lnTo>
                  <a:pt x="9648" y="2255"/>
                </a:lnTo>
                <a:lnTo>
                  <a:pt x="9657" y="2253"/>
                </a:lnTo>
                <a:close/>
                <a:moveTo>
                  <a:pt x="9610" y="2333"/>
                </a:moveTo>
                <a:lnTo>
                  <a:pt x="9690" y="2342"/>
                </a:lnTo>
                <a:lnTo>
                  <a:pt x="9637" y="2349"/>
                </a:lnTo>
                <a:lnTo>
                  <a:pt x="9645" y="2377"/>
                </a:lnTo>
                <a:lnTo>
                  <a:pt x="9634" y="2397"/>
                </a:lnTo>
                <a:lnTo>
                  <a:pt x="9672" y="2424"/>
                </a:lnTo>
                <a:lnTo>
                  <a:pt x="9649" y="2452"/>
                </a:lnTo>
                <a:lnTo>
                  <a:pt x="9616" y="2449"/>
                </a:lnTo>
                <a:lnTo>
                  <a:pt x="9612" y="2444"/>
                </a:lnTo>
                <a:lnTo>
                  <a:pt x="9602" y="2386"/>
                </a:lnTo>
                <a:lnTo>
                  <a:pt x="9610" y="2333"/>
                </a:lnTo>
                <a:close/>
                <a:moveTo>
                  <a:pt x="9537" y="2344"/>
                </a:moveTo>
                <a:lnTo>
                  <a:pt x="9552" y="2382"/>
                </a:lnTo>
                <a:lnTo>
                  <a:pt x="9540" y="2409"/>
                </a:lnTo>
                <a:lnTo>
                  <a:pt x="9530" y="2368"/>
                </a:lnTo>
                <a:lnTo>
                  <a:pt x="9537" y="2344"/>
                </a:lnTo>
                <a:close/>
                <a:moveTo>
                  <a:pt x="9453" y="2377"/>
                </a:moveTo>
                <a:lnTo>
                  <a:pt x="9513" y="2437"/>
                </a:lnTo>
                <a:lnTo>
                  <a:pt x="9514" y="2442"/>
                </a:lnTo>
                <a:lnTo>
                  <a:pt x="9372" y="2458"/>
                </a:lnTo>
                <a:lnTo>
                  <a:pt x="9453" y="2377"/>
                </a:lnTo>
                <a:close/>
                <a:moveTo>
                  <a:pt x="9285" y="2412"/>
                </a:moveTo>
                <a:lnTo>
                  <a:pt x="9294" y="2351"/>
                </a:lnTo>
                <a:lnTo>
                  <a:pt x="9341" y="2326"/>
                </a:lnTo>
                <a:lnTo>
                  <a:pt x="9318" y="2378"/>
                </a:lnTo>
                <a:lnTo>
                  <a:pt x="9285" y="2412"/>
                </a:lnTo>
                <a:close/>
                <a:moveTo>
                  <a:pt x="9226" y="2661"/>
                </a:moveTo>
                <a:lnTo>
                  <a:pt x="9220" y="2642"/>
                </a:lnTo>
                <a:lnTo>
                  <a:pt x="9230" y="2654"/>
                </a:lnTo>
                <a:lnTo>
                  <a:pt x="9214" y="2668"/>
                </a:lnTo>
                <a:lnTo>
                  <a:pt x="9226" y="2661"/>
                </a:lnTo>
                <a:close/>
                <a:moveTo>
                  <a:pt x="6957" y="2482"/>
                </a:moveTo>
                <a:lnTo>
                  <a:pt x="6966" y="2477"/>
                </a:lnTo>
                <a:lnTo>
                  <a:pt x="6981" y="2475"/>
                </a:lnTo>
                <a:lnTo>
                  <a:pt x="6969" y="2484"/>
                </a:lnTo>
                <a:lnTo>
                  <a:pt x="6957" y="2482"/>
                </a:lnTo>
                <a:close/>
                <a:moveTo>
                  <a:pt x="6928" y="2462"/>
                </a:moveTo>
                <a:lnTo>
                  <a:pt x="6932" y="2467"/>
                </a:lnTo>
                <a:lnTo>
                  <a:pt x="6925" y="2467"/>
                </a:lnTo>
                <a:lnTo>
                  <a:pt x="6927" y="2465"/>
                </a:lnTo>
                <a:lnTo>
                  <a:pt x="6928" y="2462"/>
                </a:lnTo>
                <a:close/>
                <a:moveTo>
                  <a:pt x="6795" y="2695"/>
                </a:moveTo>
                <a:lnTo>
                  <a:pt x="6825" y="2680"/>
                </a:lnTo>
                <a:lnTo>
                  <a:pt x="6849" y="2704"/>
                </a:lnTo>
                <a:lnTo>
                  <a:pt x="6814" y="2714"/>
                </a:lnTo>
                <a:lnTo>
                  <a:pt x="6795" y="2695"/>
                </a:lnTo>
                <a:close/>
                <a:moveTo>
                  <a:pt x="6795" y="2780"/>
                </a:moveTo>
                <a:lnTo>
                  <a:pt x="6798" y="2792"/>
                </a:lnTo>
                <a:lnTo>
                  <a:pt x="6781" y="2783"/>
                </a:lnTo>
                <a:lnTo>
                  <a:pt x="6789" y="2782"/>
                </a:lnTo>
                <a:lnTo>
                  <a:pt x="6795" y="2780"/>
                </a:lnTo>
                <a:close/>
                <a:moveTo>
                  <a:pt x="6735" y="2481"/>
                </a:moveTo>
                <a:lnTo>
                  <a:pt x="6743" y="2486"/>
                </a:lnTo>
                <a:lnTo>
                  <a:pt x="6738" y="2493"/>
                </a:lnTo>
                <a:lnTo>
                  <a:pt x="6721" y="2488"/>
                </a:lnTo>
                <a:lnTo>
                  <a:pt x="6735" y="2481"/>
                </a:lnTo>
                <a:close/>
                <a:moveTo>
                  <a:pt x="6704" y="2495"/>
                </a:moveTo>
                <a:lnTo>
                  <a:pt x="6719" y="2496"/>
                </a:lnTo>
                <a:lnTo>
                  <a:pt x="6724" y="2509"/>
                </a:lnTo>
                <a:lnTo>
                  <a:pt x="6711" y="2505"/>
                </a:lnTo>
                <a:lnTo>
                  <a:pt x="6704" y="2495"/>
                </a:lnTo>
                <a:close/>
                <a:moveTo>
                  <a:pt x="6650" y="2398"/>
                </a:moveTo>
                <a:lnTo>
                  <a:pt x="6657" y="2412"/>
                </a:lnTo>
                <a:lnTo>
                  <a:pt x="6644" y="2423"/>
                </a:lnTo>
                <a:lnTo>
                  <a:pt x="6646" y="2411"/>
                </a:lnTo>
                <a:lnTo>
                  <a:pt x="6650" y="2398"/>
                </a:lnTo>
                <a:close/>
                <a:moveTo>
                  <a:pt x="6585" y="2411"/>
                </a:moveTo>
                <a:lnTo>
                  <a:pt x="6611" y="2406"/>
                </a:lnTo>
                <a:lnTo>
                  <a:pt x="6606" y="2419"/>
                </a:lnTo>
                <a:lnTo>
                  <a:pt x="6598" y="2411"/>
                </a:lnTo>
                <a:lnTo>
                  <a:pt x="6585" y="2411"/>
                </a:lnTo>
                <a:close/>
                <a:moveTo>
                  <a:pt x="6607" y="2448"/>
                </a:moveTo>
                <a:lnTo>
                  <a:pt x="6616" y="2444"/>
                </a:lnTo>
                <a:lnTo>
                  <a:pt x="6625" y="2448"/>
                </a:lnTo>
                <a:lnTo>
                  <a:pt x="6608" y="2459"/>
                </a:lnTo>
                <a:lnTo>
                  <a:pt x="6607" y="2448"/>
                </a:lnTo>
                <a:close/>
                <a:moveTo>
                  <a:pt x="6618" y="2524"/>
                </a:moveTo>
                <a:lnTo>
                  <a:pt x="6586" y="2544"/>
                </a:lnTo>
                <a:lnTo>
                  <a:pt x="6552" y="2552"/>
                </a:lnTo>
                <a:lnTo>
                  <a:pt x="6581" y="2531"/>
                </a:lnTo>
                <a:lnTo>
                  <a:pt x="6618" y="2524"/>
                </a:lnTo>
                <a:close/>
                <a:moveTo>
                  <a:pt x="6509" y="2475"/>
                </a:moveTo>
                <a:lnTo>
                  <a:pt x="6555" y="2449"/>
                </a:lnTo>
                <a:lnTo>
                  <a:pt x="6561" y="2462"/>
                </a:lnTo>
                <a:lnTo>
                  <a:pt x="6528" y="2480"/>
                </a:lnTo>
                <a:lnTo>
                  <a:pt x="6509" y="2475"/>
                </a:lnTo>
                <a:close/>
                <a:moveTo>
                  <a:pt x="6418" y="2437"/>
                </a:moveTo>
                <a:lnTo>
                  <a:pt x="6420" y="2458"/>
                </a:lnTo>
                <a:lnTo>
                  <a:pt x="6403" y="2468"/>
                </a:lnTo>
                <a:lnTo>
                  <a:pt x="6407" y="2451"/>
                </a:lnTo>
                <a:lnTo>
                  <a:pt x="6418" y="2437"/>
                </a:lnTo>
                <a:close/>
                <a:moveTo>
                  <a:pt x="6394" y="2435"/>
                </a:moveTo>
                <a:lnTo>
                  <a:pt x="6399" y="2439"/>
                </a:lnTo>
                <a:lnTo>
                  <a:pt x="6404" y="2442"/>
                </a:lnTo>
                <a:lnTo>
                  <a:pt x="6395" y="2444"/>
                </a:lnTo>
                <a:lnTo>
                  <a:pt x="6394" y="2435"/>
                </a:lnTo>
                <a:close/>
                <a:moveTo>
                  <a:pt x="6430" y="2636"/>
                </a:moveTo>
                <a:lnTo>
                  <a:pt x="6421" y="2643"/>
                </a:lnTo>
                <a:lnTo>
                  <a:pt x="6409" y="2644"/>
                </a:lnTo>
                <a:lnTo>
                  <a:pt x="6418" y="2629"/>
                </a:lnTo>
                <a:lnTo>
                  <a:pt x="6430" y="2636"/>
                </a:lnTo>
                <a:close/>
                <a:moveTo>
                  <a:pt x="6369" y="2601"/>
                </a:moveTo>
                <a:lnTo>
                  <a:pt x="6385" y="2602"/>
                </a:lnTo>
                <a:lnTo>
                  <a:pt x="6403" y="2605"/>
                </a:lnTo>
                <a:lnTo>
                  <a:pt x="6378" y="2617"/>
                </a:lnTo>
                <a:lnTo>
                  <a:pt x="6369" y="2601"/>
                </a:lnTo>
                <a:close/>
                <a:moveTo>
                  <a:pt x="6390" y="2572"/>
                </a:moveTo>
                <a:lnTo>
                  <a:pt x="6401" y="2570"/>
                </a:lnTo>
                <a:lnTo>
                  <a:pt x="6411" y="2572"/>
                </a:lnTo>
                <a:lnTo>
                  <a:pt x="6399" y="2577"/>
                </a:lnTo>
                <a:lnTo>
                  <a:pt x="6390" y="2572"/>
                </a:lnTo>
                <a:close/>
                <a:moveTo>
                  <a:pt x="6355" y="2544"/>
                </a:moveTo>
                <a:lnTo>
                  <a:pt x="6360" y="2530"/>
                </a:lnTo>
                <a:lnTo>
                  <a:pt x="6361" y="2517"/>
                </a:lnTo>
                <a:lnTo>
                  <a:pt x="6374" y="2544"/>
                </a:lnTo>
                <a:lnTo>
                  <a:pt x="6355" y="2544"/>
                </a:lnTo>
                <a:close/>
                <a:moveTo>
                  <a:pt x="6378" y="2694"/>
                </a:moveTo>
                <a:lnTo>
                  <a:pt x="6402" y="2694"/>
                </a:lnTo>
                <a:lnTo>
                  <a:pt x="6415" y="2685"/>
                </a:lnTo>
                <a:lnTo>
                  <a:pt x="6430" y="2699"/>
                </a:lnTo>
                <a:lnTo>
                  <a:pt x="6378" y="2694"/>
                </a:lnTo>
                <a:close/>
                <a:moveTo>
                  <a:pt x="6202" y="2490"/>
                </a:moveTo>
                <a:lnTo>
                  <a:pt x="6216" y="2494"/>
                </a:lnTo>
                <a:lnTo>
                  <a:pt x="6231" y="2496"/>
                </a:lnTo>
                <a:lnTo>
                  <a:pt x="6211" y="2502"/>
                </a:lnTo>
                <a:lnTo>
                  <a:pt x="6202" y="2490"/>
                </a:lnTo>
                <a:close/>
                <a:moveTo>
                  <a:pt x="6217" y="2519"/>
                </a:moveTo>
                <a:lnTo>
                  <a:pt x="6253" y="2500"/>
                </a:lnTo>
                <a:lnTo>
                  <a:pt x="6287" y="2510"/>
                </a:lnTo>
                <a:lnTo>
                  <a:pt x="6238" y="2519"/>
                </a:lnTo>
                <a:lnTo>
                  <a:pt x="6217" y="2519"/>
                </a:lnTo>
                <a:close/>
                <a:moveTo>
                  <a:pt x="6246" y="2694"/>
                </a:moveTo>
                <a:lnTo>
                  <a:pt x="6245" y="2708"/>
                </a:lnTo>
                <a:lnTo>
                  <a:pt x="6226" y="2708"/>
                </a:lnTo>
                <a:lnTo>
                  <a:pt x="6239" y="2700"/>
                </a:lnTo>
                <a:lnTo>
                  <a:pt x="6246" y="2694"/>
                </a:lnTo>
                <a:close/>
                <a:moveTo>
                  <a:pt x="6113" y="2591"/>
                </a:moveTo>
                <a:lnTo>
                  <a:pt x="6183" y="2584"/>
                </a:lnTo>
                <a:lnTo>
                  <a:pt x="6148" y="2600"/>
                </a:lnTo>
                <a:lnTo>
                  <a:pt x="6166" y="2624"/>
                </a:lnTo>
                <a:lnTo>
                  <a:pt x="6113" y="2591"/>
                </a:lnTo>
                <a:close/>
                <a:moveTo>
                  <a:pt x="6105" y="2622"/>
                </a:moveTo>
                <a:lnTo>
                  <a:pt x="6111" y="2628"/>
                </a:lnTo>
                <a:lnTo>
                  <a:pt x="6087" y="2635"/>
                </a:lnTo>
                <a:lnTo>
                  <a:pt x="6097" y="2631"/>
                </a:lnTo>
                <a:lnTo>
                  <a:pt x="6105" y="2622"/>
                </a:lnTo>
                <a:close/>
                <a:moveTo>
                  <a:pt x="5984" y="2572"/>
                </a:moveTo>
                <a:lnTo>
                  <a:pt x="6022" y="2559"/>
                </a:lnTo>
                <a:lnTo>
                  <a:pt x="6055" y="2542"/>
                </a:lnTo>
                <a:lnTo>
                  <a:pt x="6025" y="2575"/>
                </a:lnTo>
                <a:lnTo>
                  <a:pt x="5984" y="2572"/>
                </a:lnTo>
                <a:close/>
                <a:moveTo>
                  <a:pt x="5898" y="2605"/>
                </a:moveTo>
                <a:lnTo>
                  <a:pt x="5915" y="2610"/>
                </a:lnTo>
                <a:lnTo>
                  <a:pt x="5906" y="2624"/>
                </a:lnTo>
                <a:lnTo>
                  <a:pt x="5891" y="2620"/>
                </a:lnTo>
                <a:lnTo>
                  <a:pt x="5898" y="2605"/>
                </a:lnTo>
                <a:close/>
                <a:moveTo>
                  <a:pt x="5845" y="2630"/>
                </a:moveTo>
                <a:lnTo>
                  <a:pt x="5843" y="2634"/>
                </a:lnTo>
                <a:lnTo>
                  <a:pt x="5812" y="2628"/>
                </a:lnTo>
                <a:lnTo>
                  <a:pt x="5827" y="2626"/>
                </a:lnTo>
                <a:lnTo>
                  <a:pt x="5845" y="2630"/>
                </a:lnTo>
                <a:close/>
                <a:moveTo>
                  <a:pt x="5813" y="2642"/>
                </a:moveTo>
                <a:lnTo>
                  <a:pt x="5894" y="2642"/>
                </a:lnTo>
                <a:lnTo>
                  <a:pt x="5923" y="2654"/>
                </a:lnTo>
                <a:lnTo>
                  <a:pt x="5955" y="2633"/>
                </a:lnTo>
                <a:lnTo>
                  <a:pt x="5922" y="2616"/>
                </a:lnTo>
                <a:lnTo>
                  <a:pt x="5961" y="2619"/>
                </a:lnTo>
                <a:lnTo>
                  <a:pt x="5994" y="2645"/>
                </a:lnTo>
                <a:lnTo>
                  <a:pt x="6027" y="2611"/>
                </a:lnTo>
                <a:lnTo>
                  <a:pt x="6086" y="2606"/>
                </a:lnTo>
                <a:lnTo>
                  <a:pt x="6017" y="2647"/>
                </a:lnTo>
                <a:lnTo>
                  <a:pt x="5910" y="2714"/>
                </a:lnTo>
                <a:lnTo>
                  <a:pt x="5854" y="2658"/>
                </a:lnTo>
                <a:lnTo>
                  <a:pt x="5813" y="2642"/>
                </a:lnTo>
                <a:close/>
                <a:moveTo>
                  <a:pt x="5807" y="2677"/>
                </a:moveTo>
                <a:lnTo>
                  <a:pt x="5825" y="2690"/>
                </a:lnTo>
                <a:lnTo>
                  <a:pt x="5761" y="2687"/>
                </a:lnTo>
                <a:lnTo>
                  <a:pt x="5757" y="2685"/>
                </a:lnTo>
                <a:lnTo>
                  <a:pt x="5807" y="2677"/>
                </a:lnTo>
                <a:close/>
                <a:moveTo>
                  <a:pt x="5757" y="2617"/>
                </a:moveTo>
                <a:lnTo>
                  <a:pt x="5774" y="2616"/>
                </a:lnTo>
                <a:lnTo>
                  <a:pt x="5779" y="2628"/>
                </a:lnTo>
                <a:lnTo>
                  <a:pt x="5768" y="2625"/>
                </a:lnTo>
                <a:lnTo>
                  <a:pt x="5757" y="2617"/>
                </a:lnTo>
                <a:close/>
                <a:moveTo>
                  <a:pt x="5740" y="2631"/>
                </a:moveTo>
                <a:lnTo>
                  <a:pt x="5747" y="2625"/>
                </a:lnTo>
                <a:lnTo>
                  <a:pt x="5750" y="2631"/>
                </a:lnTo>
                <a:lnTo>
                  <a:pt x="5770" y="2643"/>
                </a:lnTo>
                <a:lnTo>
                  <a:pt x="5740" y="2631"/>
                </a:lnTo>
                <a:close/>
                <a:moveTo>
                  <a:pt x="5600" y="2710"/>
                </a:moveTo>
                <a:lnTo>
                  <a:pt x="5675" y="2667"/>
                </a:lnTo>
                <a:lnTo>
                  <a:pt x="5667" y="2640"/>
                </a:lnTo>
                <a:lnTo>
                  <a:pt x="5712" y="2636"/>
                </a:lnTo>
                <a:lnTo>
                  <a:pt x="5743" y="2658"/>
                </a:lnTo>
                <a:lnTo>
                  <a:pt x="5608" y="2708"/>
                </a:lnTo>
                <a:lnTo>
                  <a:pt x="5600" y="2710"/>
                </a:lnTo>
                <a:close/>
                <a:moveTo>
                  <a:pt x="5451" y="2685"/>
                </a:moveTo>
                <a:lnTo>
                  <a:pt x="5466" y="2664"/>
                </a:lnTo>
                <a:lnTo>
                  <a:pt x="5518" y="2670"/>
                </a:lnTo>
                <a:lnTo>
                  <a:pt x="5541" y="2700"/>
                </a:lnTo>
                <a:lnTo>
                  <a:pt x="5451" y="2685"/>
                </a:lnTo>
                <a:close/>
                <a:moveTo>
                  <a:pt x="5393" y="2687"/>
                </a:moveTo>
                <a:lnTo>
                  <a:pt x="5463" y="2708"/>
                </a:lnTo>
                <a:lnTo>
                  <a:pt x="5480" y="2762"/>
                </a:lnTo>
                <a:lnTo>
                  <a:pt x="5440" y="2729"/>
                </a:lnTo>
                <a:lnTo>
                  <a:pt x="5393" y="2687"/>
                </a:lnTo>
                <a:close/>
                <a:moveTo>
                  <a:pt x="5344" y="2745"/>
                </a:moveTo>
                <a:lnTo>
                  <a:pt x="5336" y="2761"/>
                </a:lnTo>
                <a:lnTo>
                  <a:pt x="5347" y="2750"/>
                </a:lnTo>
                <a:lnTo>
                  <a:pt x="5332" y="2784"/>
                </a:lnTo>
                <a:lnTo>
                  <a:pt x="5344" y="2745"/>
                </a:lnTo>
                <a:close/>
                <a:moveTo>
                  <a:pt x="5219" y="2827"/>
                </a:moveTo>
                <a:lnTo>
                  <a:pt x="5354" y="2830"/>
                </a:lnTo>
                <a:lnTo>
                  <a:pt x="5330" y="2845"/>
                </a:lnTo>
                <a:lnTo>
                  <a:pt x="5388" y="2872"/>
                </a:lnTo>
                <a:lnTo>
                  <a:pt x="5322" y="2890"/>
                </a:lnTo>
                <a:lnTo>
                  <a:pt x="5298" y="2918"/>
                </a:lnTo>
                <a:lnTo>
                  <a:pt x="5243" y="2904"/>
                </a:lnTo>
                <a:lnTo>
                  <a:pt x="5248" y="2848"/>
                </a:lnTo>
                <a:lnTo>
                  <a:pt x="5219" y="2827"/>
                </a:lnTo>
                <a:close/>
                <a:moveTo>
                  <a:pt x="5274" y="3174"/>
                </a:moveTo>
                <a:lnTo>
                  <a:pt x="5248" y="3225"/>
                </a:lnTo>
                <a:lnTo>
                  <a:pt x="5262" y="3202"/>
                </a:lnTo>
                <a:lnTo>
                  <a:pt x="5239" y="3188"/>
                </a:lnTo>
                <a:lnTo>
                  <a:pt x="5274" y="3174"/>
                </a:lnTo>
                <a:close/>
                <a:moveTo>
                  <a:pt x="5200" y="2958"/>
                </a:moveTo>
                <a:lnTo>
                  <a:pt x="5215" y="2956"/>
                </a:lnTo>
                <a:lnTo>
                  <a:pt x="5223" y="2961"/>
                </a:lnTo>
                <a:lnTo>
                  <a:pt x="5211" y="2969"/>
                </a:lnTo>
                <a:lnTo>
                  <a:pt x="5200" y="2958"/>
                </a:lnTo>
                <a:close/>
                <a:moveTo>
                  <a:pt x="5205" y="2878"/>
                </a:moveTo>
                <a:lnTo>
                  <a:pt x="5207" y="2908"/>
                </a:lnTo>
                <a:lnTo>
                  <a:pt x="5155" y="2900"/>
                </a:lnTo>
                <a:lnTo>
                  <a:pt x="5177" y="2887"/>
                </a:lnTo>
                <a:lnTo>
                  <a:pt x="5205" y="2878"/>
                </a:lnTo>
                <a:close/>
                <a:moveTo>
                  <a:pt x="5168" y="2848"/>
                </a:moveTo>
                <a:lnTo>
                  <a:pt x="5161" y="2866"/>
                </a:lnTo>
                <a:lnTo>
                  <a:pt x="5137" y="2866"/>
                </a:lnTo>
                <a:lnTo>
                  <a:pt x="5154" y="2857"/>
                </a:lnTo>
                <a:lnTo>
                  <a:pt x="5168" y="2848"/>
                </a:lnTo>
                <a:close/>
                <a:moveTo>
                  <a:pt x="5177" y="2966"/>
                </a:moveTo>
                <a:lnTo>
                  <a:pt x="5161" y="2967"/>
                </a:lnTo>
                <a:lnTo>
                  <a:pt x="5145" y="2969"/>
                </a:lnTo>
                <a:lnTo>
                  <a:pt x="5158" y="2956"/>
                </a:lnTo>
                <a:lnTo>
                  <a:pt x="5177" y="2966"/>
                </a:lnTo>
                <a:close/>
                <a:moveTo>
                  <a:pt x="5145" y="2970"/>
                </a:moveTo>
                <a:lnTo>
                  <a:pt x="5158" y="2980"/>
                </a:lnTo>
                <a:lnTo>
                  <a:pt x="5140" y="2998"/>
                </a:lnTo>
                <a:lnTo>
                  <a:pt x="5136" y="2983"/>
                </a:lnTo>
                <a:lnTo>
                  <a:pt x="5145" y="2970"/>
                </a:lnTo>
                <a:close/>
                <a:moveTo>
                  <a:pt x="5032" y="2944"/>
                </a:moveTo>
                <a:lnTo>
                  <a:pt x="5052" y="2953"/>
                </a:lnTo>
                <a:lnTo>
                  <a:pt x="5048" y="2989"/>
                </a:lnTo>
                <a:lnTo>
                  <a:pt x="5015" y="2974"/>
                </a:lnTo>
                <a:lnTo>
                  <a:pt x="5032" y="2944"/>
                </a:lnTo>
                <a:close/>
                <a:moveTo>
                  <a:pt x="5042" y="3269"/>
                </a:moveTo>
                <a:lnTo>
                  <a:pt x="5066" y="3323"/>
                </a:lnTo>
                <a:lnTo>
                  <a:pt x="5025" y="3339"/>
                </a:lnTo>
                <a:lnTo>
                  <a:pt x="5029" y="3298"/>
                </a:lnTo>
                <a:lnTo>
                  <a:pt x="5042" y="3269"/>
                </a:lnTo>
                <a:close/>
                <a:moveTo>
                  <a:pt x="5000" y="3039"/>
                </a:moveTo>
                <a:lnTo>
                  <a:pt x="4967" y="3065"/>
                </a:lnTo>
                <a:lnTo>
                  <a:pt x="4935" y="3067"/>
                </a:lnTo>
                <a:lnTo>
                  <a:pt x="4959" y="3045"/>
                </a:lnTo>
                <a:lnTo>
                  <a:pt x="5000" y="3039"/>
                </a:lnTo>
                <a:close/>
                <a:moveTo>
                  <a:pt x="4954" y="2997"/>
                </a:moveTo>
                <a:lnTo>
                  <a:pt x="4932" y="3002"/>
                </a:lnTo>
                <a:lnTo>
                  <a:pt x="4911" y="2994"/>
                </a:lnTo>
                <a:lnTo>
                  <a:pt x="4933" y="2986"/>
                </a:lnTo>
                <a:lnTo>
                  <a:pt x="4954" y="2997"/>
                </a:lnTo>
                <a:close/>
                <a:moveTo>
                  <a:pt x="4941" y="2948"/>
                </a:moveTo>
                <a:lnTo>
                  <a:pt x="4918" y="2958"/>
                </a:lnTo>
                <a:lnTo>
                  <a:pt x="4905" y="2941"/>
                </a:lnTo>
                <a:lnTo>
                  <a:pt x="4926" y="2934"/>
                </a:lnTo>
                <a:lnTo>
                  <a:pt x="4941" y="2948"/>
                </a:lnTo>
                <a:close/>
                <a:moveTo>
                  <a:pt x="4875" y="2825"/>
                </a:moveTo>
                <a:lnTo>
                  <a:pt x="4877" y="2832"/>
                </a:lnTo>
                <a:lnTo>
                  <a:pt x="4866" y="2831"/>
                </a:lnTo>
                <a:lnTo>
                  <a:pt x="4870" y="2827"/>
                </a:lnTo>
                <a:lnTo>
                  <a:pt x="4875" y="2825"/>
                </a:lnTo>
                <a:close/>
                <a:moveTo>
                  <a:pt x="4900" y="2839"/>
                </a:moveTo>
                <a:lnTo>
                  <a:pt x="4904" y="2850"/>
                </a:lnTo>
                <a:lnTo>
                  <a:pt x="4904" y="2860"/>
                </a:lnTo>
                <a:lnTo>
                  <a:pt x="4874" y="2852"/>
                </a:lnTo>
                <a:lnTo>
                  <a:pt x="4900" y="2839"/>
                </a:lnTo>
                <a:close/>
                <a:moveTo>
                  <a:pt x="4833" y="2850"/>
                </a:moveTo>
                <a:lnTo>
                  <a:pt x="4842" y="2848"/>
                </a:lnTo>
                <a:lnTo>
                  <a:pt x="4844" y="2849"/>
                </a:lnTo>
                <a:lnTo>
                  <a:pt x="4858" y="2859"/>
                </a:lnTo>
                <a:lnTo>
                  <a:pt x="4833" y="2850"/>
                </a:lnTo>
                <a:close/>
                <a:moveTo>
                  <a:pt x="4823" y="2923"/>
                </a:moveTo>
                <a:lnTo>
                  <a:pt x="4852" y="2936"/>
                </a:lnTo>
                <a:lnTo>
                  <a:pt x="4839" y="2961"/>
                </a:lnTo>
                <a:lnTo>
                  <a:pt x="4806" y="2957"/>
                </a:lnTo>
                <a:lnTo>
                  <a:pt x="4823" y="2923"/>
                </a:lnTo>
                <a:close/>
                <a:moveTo>
                  <a:pt x="4807" y="2969"/>
                </a:moveTo>
                <a:lnTo>
                  <a:pt x="4813" y="2976"/>
                </a:lnTo>
                <a:lnTo>
                  <a:pt x="4802" y="2981"/>
                </a:lnTo>
                <a:lnTo>
                  <a:pt x="4804" y="2976"/>
                </a:lnTo>
                <a:lnTo>
                  <a:pt x="4807" y="2969"/>
                </a:lnTo>
                <a:close/>
                <a:moveTo>
                  <a:pt x="4760" y="2878"/>
                </a:moveTo>
                <a:lnTo>
                  <a:pt x="4763" y="2888"/>
                </a:lnTo>
                <a:lnTo>
                  <a:pt x="4764" y="2911"/>
                </a:lnTo>
                <a:lnTo>
                  <a:pt x="4744" y="2910"/>
                </a:lnTo>
                <a:lnTo>
                  <a:pt x="4760" y="2878"/>
                </a:lnTo>
                <a:close/>
                <a:moveTo>
                  <a:pt x="4764" y="3073"/>
                </a:moveTo>
                <a:lnTo>
                  <a:pt x="4778" y="3081"/>
                </a:lnTo>
                <a:lnTo>
                  <a:pt x="4790" y="3088"/>
                </a:lnTo>
                <a:lnTo>
                  <a:pt x="4767" y="3091"/>
                </a:lnTo>
                <a:lnTo>
                  <a:pt x="4764" y="3073"/>
                </a:lnTo>
                <a:close/>
                <a:moveTo>
                  <a:pt x="4809" y="3284"/>
                </a:moveTo>
                <a:lnTo>
                  <a:pt x="4800" y="3287"/>
                </a:lnTo>
                <a:lnTo>
                  <a:pt x="4809" y="3284"/>
                </a:lnTo>
                <a:lnTo>
                  <a:pt x="4802" y="3293"/>
                </a:lnTo>
                <a:lnTo>
                  <a:pt x="4809" y="3284"/>
                </a:lnTo>
                <a:close/>
                <a:moveTo>
                  <a:pt x="4560" y="2939"/>
                </a:moveTo>
                <a:lnTo>
                  <a:pt x="4655" y="2895"/>
                </a:lnTo>
                <a:lnTo>
                  <a:pt x="4658" y="2938"/>
                </a:lnTo>
                <a:lnTo>
                  <a:pt x="4651" y="2972"/>
                </a:lnTo>
                <a:lnTo>
                  <a:pt x="4560" y="2939"/>
                </a:lnTo>
                <a:close/>
                <a:moveTo>
                  <a:pt x="4531" y="3058"/>
                </a:moveTo>
                <a:lnTo>
                  <a:pt x="4529" y="3000"/>
                </a:lnTo>
                <a:lnTo>
                  <a:pt x="4559" y="3017"/>
                </a:lnTo>
                <a:lnTo>
                  <a:pt x="4593" y="3011"/>
                </a:lnTo>
                <a:lnTo>
                  <a:pt x="4653" y="3023"/>
                </a:lnTo>
                <a:lnTo>
                  <a:pt x="4599" y="3060"/>
                </a:lnTo>
                <a:lnTo>
                  <a:pt x="4620" y="3127"/>
                </a:lnTo>
                <a:lnTo>
                  <a:pt x="4551" y="3109"/>
                </a:lnTo>
                <a:lnTo>
                  <a:pt x="4531" y="3058"/>
                </a:lnTo>
                <a:close/>
                <a:moveTo>
                  <a:pt x="4419" y="3347"/>
                </a:moveTo>
                <a:lnTo>
                  <a:pt x="4402" y="3339"/>
                </a:lnTo>
                <a:lnTo>
                  <a:pt x="4387" y="3333"/>
                </a:lnTo>
                <a:lnTo>
                  <a:pt x="4408" y="3330"/>
                </a:lnTo>
                <a:lnTo>
                  <a:pt x="4419" y="3347"/>
                </a:lnTo>
                <a:close/>
                <a:moveTo>
                  <a:pt x="4346" y="3060"/>
                </a:moveTo>
                <a:lnTo>
                  <a:pt x="4335" y="3069"/>
                </a:lnTo>
                <a:lnTo>
                  <a:pt x="4312" y="3073"/>
                </a:lnTo>
                <a:lnTo>
                  <a:pt x="4326" y="3059"/>
                </a:lnTo>
                <a:lnTo>
                  <a:pt x="4346" y="3060"/>
                </a:lnTo>
                <a:close/>
                <a:moveTo>
                  <a:pt x="4315" y="3342"/>
                </a:moveTo>
                <a:lnTo>
                  <a:pt x="4339" y="3349"/>
                </a:lnTo>
                <a:lnTo>
                  <a:pt x="4311" y="3363"/>
                </a:lnTo>
                <a:lnTo>
                  <a:pt x="4323" y="3356"/>
                </a:lnTo>
                <a:lnTo>
                  <a:pt x="4315" y="3342"/>
                </a:lnTo>
                <a:close/>
                <a:moveTo>
                  <a:pt x="4236" y="3074"/>
                </a:moveTo>
                <a:lnTo>
                  <a:pt x="4243" y="3083"/>
                </a:lnTo>
                <a:lnTo>
                  <a:pt x="4255" y="3095"/>
                </a:lnTo>
                <a:lnTo>
                  <a:pt x="4234" y="3090"/>
                </a:lnTo>
                <a:lnTo>
                  <a:pt x="4236" y="3074"/>
                </a:lnTo>
                <a:close/>
                <a:moveTo>
                  <a:pt x="4159" y="2969"/>
                </a:moveTo>
                <a:lnTo>
                  <a:pt x="4177" y="2980"/>
                </a:lnTo>
                <a:lnTo>
                  <a:pt x="4155" y="2993"/>
                </a:lnTo>
                <a:lnTo>
                  <a:pt x="4157" y="2981"/>
                </a:lnTo>
                <a:lnTo>
                  <a:pt x="4159" y="2969"/>
                </a:lnTo>
                <a:close/>
                <a:moveTo>
                  <a:pt x="4196" y="3053"/>
                </a:moveTo>
                <a:lnTo>
                  <a:pt x="4194" y="3078"/>
                </a:lnTo>
                <a:lnTo>
                  <a:pt x="4163" y="3074"/>
                </a:lnTo>
                <a:lnTo>
                  <a:pt x="4181" y="3063"/>
                </a:lnTo>
                <a:lnTo>
                  <a:pt x="4196" y="3053"/>
                </a:lnTo>
                <a:close/>
                <a:moveTo>
                  <a:pt x="4124" y="2960"/>
                </a:moveTo>
                <a:lnTo>
                  <a:pt x="4118" y="2978"/>
                </a:lnTo>
                <a:lnTo>
                  <a:pt x="4130" y="2993"/>
                </a:lnTo>
                <a:lnTo>
                  <a:pt x="4089" y="2986"/>
                </a:lnTo>
                <a:lnTo>
                  <a:pt x="4124" y="2960"/>
                </a:lnTo>
                <a:close/>
                <a:moveTo>
                  <a:pt x="4126" y="3058"/>
                </a:moveTo>
                <a:lnTo>
                  <a:pt x="4115" y="3074"/>
                </a:lnTo>
                <a:lnTo>
                  <a:pt x="4131" y="3095"/>
                </a:lnTo>
                <a:lnTo>
                  <a:pt x="4094" y="3073"/>
                </a:lnTo>
                <a:lnTo>
                  <a:pt x="4126" y="3058"/>
                </a:lnTo>
                <a:close/>
                <a:moveTo>
                  <a:pt x="4070" y="3040"/>
                </a:moveTo>
                <a:lnTo>
                  <a:pt x="4069" y="3045"/>
                </a:lnTo>
                <a:lnTo>
                  <a:pt x="4070" y="3040"/>
                </a:lnTo>
                <a:lnTo>
                  <a:pt x="4079" y="3048"/>
                </a:lnTo>
                <a:lnTo>
                  <a:pt x="4070" y="3040"/>
                </a:lnTo>
                <a:close/>
                <a:moveTo>
                  <a:pt x="4050" y="3137"/>
                </a:moveTo>
                <a:lnTo>
                  <a:pt x="4046" y="3143"/>
                </a:lnTo>
                <a:lnTo>
                  <a:pt x="4050" y="3137"/>
                </a:lnTo>
                <a:lnTo>
                  <a:pt x="4053" y="3147"/>
                </a:lnTo>
                <a:lnTo>
                  <a:pt x="4050" y="3137"/>
                </a:lnTo>
                <a:close/>
                <a:moveTo>
                  <a:pt x="4093" y="3324"/>
                </a:moveTo>
                <a:lnTo>
                  <a:pt x="4076" y="3339"/>
                </a:lnTo>
                <a:lnTo>
                  <a:pt x="4053" y="3330"/>
                </a:lnTo>
                <a:lnTo>
                  <a:pt x="4075" y="3326"/>
                </a:lnTo>
                <a:lnTo>
                  <a:pt x="4093" y="3324"/>
                </a:lnTo>
                <a:close/>
                <a:moveTo>
                  <a:pt x="4098" y="3426"/>
                </a:moveTo>
                <a:lnTo>
                  <a:pt x="4089" y="3432"/>
                </a:lnTo>
                <a:lnTo>
                  <a:pt x="4079" y="3441"/>
                </a:lnTo>
                <a:lnTo>
                  <a:pt x="4083" y="3423"/>
                </a:lnTo>
                <a:lnTo>
                  <a:pt x="4098" y="3426"/>
                </a:lnTo>
                <a:close/>
                <a:moveTo>
                  <a:pt x="4082" y="3479"/>
                </a:moveTo>
                <a:lnTo>
                  <a:pt x="4106" y="3494"/>
                </a:lnTo>
                <a:lnTo>
                  <a:pt x="4122" y="3508"/>
                </a:lnTo>
                <a:lnTo>
                  <a:pt x="4080" y="3505"/>
                </a:lnTo>
                <a:lnTo>
                  <a:pt x="4082" y="3479"/>
                </a:lnTo>
                <a:close/>
                <a:moveTo>
                  <a:pt x="4020" y="3297"/>
                </a:moveTo>
                <a:lnTo>
                  <a:pt x="4029" y="3305"/>
                </a:lnTo>
                <a:lnTo>
                  <a:pt x="4020" y="3314"/>
                </a:lnTo>
                <a:lnTo>
                  <a:pt x="4020" y="3306"/>
                </a:lnTo>
                <a:lnTo>
                  <a:pt x="4020" y="3297"/>
                </a:lnTo>
                <a:close/>
                <a:moveTo>
                  <a:pt x="4019" y="3359"/>
                </a:moveTo>
                <a:lnTo>
                  <a:pt x="3997" y="3386"/>
                </a:lnTo>
                <a:lnTo>
                  <a:pt x="3969" y="3365"/>
                </a:lnTo>
                <a:lnTo>
                  <a:pt x="3995" y="3362"/>
                </a:lnTo>
                <a:lnTo>
                  <a:pt x="4019" y="3359"/>
                </a:lnTo>
                <a:close/>
                <a:moveTo>
                  <a:pt x="3963" y="3105"/>
                </a:moveTo>
                <a:lnTo>
                  <a:pt x="3916" y="3130"/>
                </a:lnTo>
                <a:lnTo>
                  <a:pt x="3861" y="3128"/>
                </a:lnTo>
                <a:lnTo>
                  <a:pt x="3910" y="3097"/>
                </a:lnTo>
                <a:lnTo>
                  <a:pt x="3963" y="3105"/>
                </a:lnTo>
                <a:close/>
                <a:moveTo>
                  <a:pt x="3857" y="3149"/>
                </a:moveTo>
                <a:lnTo>
                  <a:pt x="3837" y="3170"/>
                </a:lnTo>
                <a:lnTo>
                  <a:pt x="3813" y="3183"/>
                </a:lnTo>
                <a:lnTo>
                  <a:pt x="3827" y="3158"/>
                </a:lnTo>
                <a:lnTo>
                  <a:pt x="3857" y="3149"/>
                </a:lnTo>
                <a:close/>
                <a:moveTo>
                  <a:pt x="3804" y="3223"/>
                </a:moveTo>
                <a:lnTo>
                  <a:pt x="3803" y="3239"/>
                </a:lnTo>
                <a:lnTo>
                  <a:pt x="3784" y="3240"/>
                </a:lnTo>
                <a:lnTo>
                  <a:pt x="3795" y="3231"/>
                </a:lnTo>
                <a:lnTo>
                  <a:pt x="3804" y="3223"/>
                </a:lnTo>
                <a:close/>
                <a:moveTo>
                  <a:pt x="3851" y="3324"/>
                </a:moveTo>
                <a:lnTo>
                  <a:pt x="3806" y="3333"/>
                </a:lnTo>
                <a:lnTo>
                  <a:pt x="3781" y="3326"/>
                </a:lnTo>
                <a:lnTo>
                  <a:pt x="3817" y="3316"/>
                </a:lnTo>
                <a:lnTo>
                  <a:pt x="3851" y="3324"/>
                </a:lnTo>
                <a:close/>
                <a:moveTo>
                  <a:pt x="3894" y="3767"/>
                </a:moveTo>
                <a:lnTo>
                  <a:pt x="3879" y="3777"/>
                </a:lnTo>
                <a:lnTo>
                  <a:pt x="3848" y="3780"/>
                </a:lnTo>
                <a:lnTo>
                  <a:pt x="3873" y="3768"/>
                </a:lnTo>
                <a:lnTo>
                  <a:pt x="3894" y="3767"/>
                </a:lnTo>
                <a:close/>
                <a:moveTo>
                  <a:pt x="4490" y="7889"/>
                </a:moveTo>
                <a:lnTo>
                  <a:pt x="4474" y="7904"/>
                </a:lnTo>
                <a:lnTo>
                  <a:pt x="4461" y="7892"/>
                </a:lnTo>
                <a:lnTo>
                  <a:pt x="4475" y="7891"/>
                </a:lnTo>
                <a:lnTo>
                  <a:pt x="4490" y="7889"/>
                </a:lnTo>
                <a:close/>
                <a:moveTo>
                  <a:pt x="4452" y="7900"/>
                </a:moveTo>
                <a:lnTo>
                  <a:pt x="4456" y="7913"/>
                </a:lnTo>
                <a:lnTo>
                  <a:pt x="4458" y="7923"/>
                </a:lnTo>
                <a:lnTo>
                  <a:pt x="4442" y="7922"/>
                </a:lnTo>
                <a:lnTo>
                  <a:pt x="4452" y="7900"/>
                </a:lnTo>
                <a:close/>
                <a:moveTo>
                  <a:pt x="3800" y="3858"/>
                </a:moveTo>
                <a:lnTo>
                  <a:pt x="3800" y="3886"/>
                </a:lnTo>
                <a:lnTo>
                  <a:pt x="3772" y="3889"/>
                </a:lnTo>
                <a:lnTo>
                  <a:pt x="3785" y="3875"/>
                </a:lnTo>
                <a:lnTo>
                  <a:pt x="3800" y="3858"/>
                </a:lnTo>
                <a:close/>
                <a:moveTo>
                  <a:pt x="3736" y="3667"/>
                </a:moveTo>
                <a:lnTo>
                  <a:pt x="3724" y="3680"/>
                </a:lnTo>
                <a:lnTo>
                  <a:pt x="3694" y="3659"/>
                </a:lnTo>
                <a:lnTo>
                  <a:pt x="3716" y="3656"/>
                </a:lnTo>
                <a:lnTo>
                  <a:pt x="3736" y="3667"/>
                </a:lnTo>
                <a:close/>
                <a:moveTo>
                  <a:pt x="3748" y="3852"/>
                </a:moveTo>
                <a:lnTo>
                  <a:pt x="3680" y="3925"/>
                </a:lnTo>
                <a:lnTo>
                  <a:pt x="3643" y="3914"/>
                </a:lnTo>
                <a:lnTo>
                  <a:pt x="3692" y="3880"/>
                </a:lnTo>
                <a:lnTo>
                  <a:pt x="3683" y="3833"/>
                </a:lnTo>
                <a:lnTo>
                  <a:pt x="3701" y="3825"/>
                </a:lnTo>
                <a:lnTo>
                  <a:pt x="3748" y="3852"/>
                </a:lnTo>
                <a:close/>
                <a:moveTo>
                  <a:pt x="3640" y="3824"/>
                </a:moveTo>
                <a:lnTo>
                  <a:pt x="3596" y="3786"/>
                </a:lnTo>
                <a:lnTo>
                  <a:pt x="3665" y="3769"/>
                </a:lnTo>
                <a:lnTo>
                  <a:pt x="3682" y="3781"/>
                </a:lnTo>
                <a:lnTo>
                  <a:pt x="3640" y="3824"/>
                </a:lnTo>
                <a:close/>
                <a:moveTo>
                  <a:pt x="3345" y="3557"/>
                </a:moveTo>
                <a:lnTo>
                  <a:pt x="3422" y="3543"/>
                </a:lnTo>
                <a:lnTo>
                  <a:pt x="3492" y="3567"/>
                </a:lnTo>
                <a:lnTo>
                  <a:pt x="3432" y="3636"/>
                </a:lnTo>
                <a:lnTo>
                  <a:pt x="3413" y="3585"/>
                </a:lnTo>
                <a:lnTo>
                  <a:pt x="3413" y="3572"/>
                </a:lnTo>
                <a:lnTo>
                  <a:pt x="3345" y="3557"/>
                </a:lnTo>
                <a:close/>
                <a:moveTo>
                  <a:pt x="3497" y="4359"/>
                </a:moveTo>
                <a:lnTo>
                  <a:pt x="3492" y="4377"/>
                </a:lnTo>
                <a:lnTo>
                  <a:pt x="3464" y="4371"/>
                </a:lnTo>
                <a:lnTo>
                  <a:pt x="3483" y="4364"/>
                </a:lnTo>
                <a:lnTo>
                  <a:pt x="3497" y="4359"/>
                </a:lnTo>
                <a:close/>
                <a:moveTo>
                  <a:pt x="4730" y="12351"/>
                </a:moveTo>
                <a:lnTo>
                  <a:pt x="4722" y="12353"/>
                </a:lnTo>
                <a:lnTo>
                  <a:pt x="4708" y="12348"/>
                </a:lnTo>
                <a:lnTo>
                  <a:pt x="4723" y="12337"/>
                </a:lnTo>
                <a:lnTo>
                  <a:pt x="4730" y="12351"/>
                </a:lnTo>
                <a:close/>
                <a:moveTo>
                  <a:pt x="3969" y="7558"/>
                </a:moveTo>
                <a:lnTo>
                  <a:pt x="3953" y="7568"/>
                </a:lnTo>
                <a:lnTo>
                  <a:pt x="3936" y="7558"/>
                </a:lnTo>
                <a:lnTo>
                  <a:pt x="3953" y="7558"/>
                </a:lnTo>
                <a:lnTo>
                  <a:pt x="3969" y="7558"/>
                </a:lnTo>
                <a:close/>
                <a:moveTo>
                  <a:pt x="3298" y="3594"/>
                </a:moveTo>
                <a:lnTo>
                  <a:pt x="3319" y="3604"/>
                </a:lnTo>
                <a:lnTo>
                  <a:pt x="3326" y="3615"/>
                </a:lnTo>
                <a:lnTo>
                  <a:pt x="3301" y="3652"/>
                </a:lnTo>
                <a:lnTo>
                  <a:pt x="3298" y="3594"/>
                </a:lnTo>
                <a:close/>
                <a:moveTo>
                  <a:pt x="3333" y="3759"/>
                </a:moveTo>
                <a:lnTo>
                  <a:pt x="3319" y="3758"/>
                </a:lnTo>
                <a:lnTo>
                  <a:pt x="3301" y="3758"/>
                </a:lnTo>
                <a:lnTo>
                  <a:pt x="3320" y="3749"/>
                </a:lnTo>
                <a:lnTo>
                  <a:pt x="3333" y="3759"/>
                </a:lnTo>
                <a:close/>
                <a:moveTo>
                  <a:pt x="3272" y="3594"/>
                </a:moveTo>
                <a:lnTo>
                  <a:pt x="3245" y="3632"/>
                </a:lnTo>
                <a:lnTo>
                  <a:pt x="3194" y="3637"/>
                </a:lnTo>
                <a:lnTo>
                  <a:pt x="3217" y="3595"/>
                </a:lnTo>
                <a:lnTo>
                  <a:pt x="3272" y="3594"/>
                </a:lnTo>
                <a:close/>
                <a:moveTo>
                  <a:pt x="3218" y="3718"/>
                </a:moveTo>
                <a:lnTo>
                  <a:pt x="3245" y="3738"/>
                </a:lnTo>
                <a:lnTo>
                  <a:pt x="3265" y="3781"/>
                </a:lnTo>
                <a:lnTo>
                  <a:pt x="3208" y="3772"/>
                </a:lnTo>
                <a:lnTo>
                  <a:pt x="3218" y="3718"/>
                </a:lnTo>
                <a:close/>
                <a:moveTo>
                  <a:pt x="3165" y="3694"/>
                </a:moveTo>
                <a:lnTo>
                  <a:pt x="3180" y="3702"/>
                </a:lnTo>
                <a:lnTo>
                  <a:pt x="3194" y="3710"/>
                </a:lnTo>
                <a:lnTo>
                  <a:pt x="3166" y="3727"/>
                </a:lnTo>
                <a:lnTo>
                  <a:pt x="3165" y="3694"/>
                </a:lnTo>
                <a:close/>
                <a:moveTo>
                  <a:pt x="4373" y="11062"/>
                </a:moveTo>
                <a:lnTo>
                  <a:pt x="4368" y="11140"/>
                </a:lnTo>
                <a:lnTo>
                  <a:pt x="4418" y="11183"/>
                </a:lnTo>
                <a:lnTo>
                  <a:pt x="4368" y="11201"/>
                </a:lnTo>
                <a:lnTo>
                  <a:pt x="4330" y="11229"/>
                </a:lnTo>
                <a:lnTo>
                  <a:pt x="4331" y="11206"/>
                </a:lnTo>
                <a:lnTo>
                  <a:pt x="4354" y="11183"/>
                </a:lnTo>
                <a:lnTo>
                  <a:pt x="4329" y="11131"/>
                </a:lnTo>
                <a:lnTo>
                  <a:pt x="4303" y="11101"/>
                </a:lnTo>
                <a:lnTo>
                  <a:pt x="4247" y="11131"/>
                </a:lnTo>
                <a:lnTo>
                  <a:pt x="4237" y="11199"/>
                </a:lnTo>
                <a:lnTo>
                  <a:pt x="4205" y="11188"/>
                </a:lnTo>
                <a:lnTo>
                  <a:pt x="4239" y="11103"/>
                </a:lnTo>
                <a:lnTo>
                  <a:pt x="4222" y="11066"/>
                </a:lnTo>
                <a:lnTo>
                  <a:pt x="4373" y="11062"/>
                </a:lnTo>
                <a:close/>
                <a:moveTo>
                  <a:pt x="3216" y="4127"/>
                </a:moveTo>
                <a:lnTo>
                  <a:pt x="3181" y="4146"/>
                </a:lnTo>
                <a:lnTo>
                  <a:pt x="3144" y="4136"/>
                </a:lnTo>
                <a:lnTo>
                  <a:pt x="3177" y="4119"/>
                </a:lnTo>
                <a:lnTo>
                  <a:pt x="3216" y="4127"/>
                </a:lnTo>
                <a:close/>
                <a:moveTo>
                  <a:pt x="3133" y="3842"/>
                </a:moveTo>
                <a:lnTo>
                  <a:pt x="3149" y="3857"/>
                </a:lnTo>
                <a:lnTo>
                  <a:pt x="3133" y="3876"/>
                </a:lnTo>
                <a:lnTo>
                  <a:pt x="3126" y="3864"/>
                </a:lnTo>
                <a:lnTo>
                  <a:pt x="3133" y="3842"/>
                </a:lnTo>
                <a:close/>
                <a:moveTo>
                  <a:pt x="3103" y="3988"/>
                </a:moveTo>
                <a:lnTo>
                  <a:pt x="3117" y="3990"/>
                </a:lnTo>
                <a:lnTo>
                  <a:pt x="3073" y="4004"/>
                </a:lnTo>
                <a:lnTo>
                  <a:pt x="3078" y="4034"/>
                </a:lnTo>
                <a:lnTo>
                  <a:pt x="3061" y="4051"/>
                </a:lnTo>
                <a:lnTo>
                  <a:pt x="2977" y="4051"/>
                </a:lnTo>
                <a:lnTo>
                  <a:pt x="3103" y="3988"/>
                </a:lnTo>
                <a:close/>
                <a:moveTo>
                  <a:pt x="3018" y="3799"/>
                </a:moveTo>
                <a:lnTo>
                  <a:pt x="2961" y="3832"/>
                </a:lnTo>
                <a:lnTo>
                  <a:pt x="2883" y="3848"/>
                </a:lnTo>
                <a:lnTo>
                  <a:pt x="2909" y="3796"/>
                </a:lnTo>
                <a:lnTo>
                  <a:pt x="3018" y="3799"/>
                </a:lnTo>
                <a:close/>
                <a:moveTo>
                  <a:pt x="2800" y="3892"/>
                </a:moveTo>
                <a:lnTo>
                  <a:pt x="2826" y="3866"/>
                </a:lnTo>
                <a:lnTo>
                  <a:pt x="2867" y="3862"/>
                </a:lnTo>
                <a:lnTo>
                  <a:pt x="2802" y="3911"/>
                </a:lnTo>
                <a:lnTo>
                  <a:pt x="2800" y="3892"/>
                </a:lnTo>
                <a:close/>
                <a:moveTo>
                  <a:pt x="2813" y="4100"/>
                </a:moveTo>
                <a:lnTo>
                  <a:pt x="2846" y="4110"/>
                </a:lnTo>
                <a:lnTo>
                  <a:pt x="2896" y="4094"/>
                </a:lnTo>
                <a:lnTo>
                  <a:pt x="2762" y="4137"/>
                </a:lnTo>
                <a:lnTo>
                  <a:pt x="2813" y="4100"/>
                </a:lnTo>
                <a:close/>
                <a:moveTo>
                  <a:pt x="2774" y="3973"/>
                </a:moveTo>
                <a:lnTo>
                  <a:pt x="2777" y="3996"/>
                </a:lnTo>
                <a:lnTo>
                  <a:pt x="2747" y="3998"/>
                </a:lnTo>
                <a:lnTo>
                  <a:pt x="2761" y="3984"/>
                </a:lnTo>
                <a:lnTo>
                  <a:pt x="2774" y="3973"/>
                </a:lnTo>
                <a:close/>
                <a:moveTo>
                  <a:pt x="2631" y="3713"/>
                </a:moveTo>
                <a:lnTo>
                  <a:pt x="2658" y="3724"/>
                </a:lnTo>
                <a:lnTo>
                  <a:pt x="2640" y="3769"/>
                </a:lnTo>
                <a:lnTo>
                  <a:pt x="2599" y="3749"/>
                </a:lnTo>
                <a:lnTo>
                  <a:pt x="2631" y="3713"/>
                </a:lnTo>
                <a:close/>
                <a:moveTo>
                  <a:pt x="2538" y="3914"/>
                </a:moveTo>
                <a:lnTo>
                  <a:pt x="2551" y="3895"/>
                </a:lnTo>
                <a:lnTo>
                  <a:pt x="2544" y="3870"/>
                </a:lnTo>
                <a:lnTo>
                  <a:pt x="2590" y="3889"/>
                </a:lnTo>
                <a:lnTo>
                  <a:pt x="2538" y="3914"/>
                </a:lnTo>
                <a:close/>
                <a:moveTo>
                  <a:pt x="2622" y="3930"/>
                </a:moveTo>
                <a:lnTo>
                  <a:pt x="2641" y="3883"/>
                </a:lnTo>
                <a:lnTo>
                  <a:pt x="2691" y="3867"/>
                </a:lnTo>
                <a:lnTo>
                  <a:pt x="2724" y="3908"/>
                </a:lnTo>
                <a:lnTo>
                  <a:pt x="2622" y="3930"/>
                </a:lnTo>
                <a:close/>
                <a:moveTo>
                  <a:pt x="2683" y="4109"/>
                </a:moveTo>
                <a:lnTo>
                  <a:pt x="2672" y="4119"/>
                </a:lnTo>
                <a:lnTo>
                  <a:pt x="2659" y="4128"/>
                </a:lnTo>
                <a:lnTo>
                  <a:pt x="2662" y="4110"/>
                </a:lnTo>
                <a:lnTo>
                  <a:pt x="2683" y="4109"/>
                </a:lnTo>
                <a:close/>
                <a:moveTo>
                  <a:pt x="2720" y="4235"/>
                </a:moveTo>
                <a:lnTo>
                  <a:pt x="2679" y="4273"/>
                </a:lnTo>
                <a:lnTo>
                  <a:pt x="2746" y="4275"/>
                </a:lnTo>
                <a:lnTo>
                  <a:pt x="2655" y="4273"/>
                </a:lnTo>
                <a:lnTo>
                  <a:pt x="2720" y="4235"/>
                </a:lnTo>
                <a:close/>
                <a:moveTo>
                  <a:pt x="2662" y="4599"/>
                </a:moveTo>
                <a:lnTo>
                  <a:pt x="2728" y="4595"/>
                </a:lnTo>
                <a:lnTo>
                  <a:pt x="2649" y="4643"/>
                </a:lnTo>
                <a:lnTo>
                  <a:pt x="2640" y="4570"/>
                </a:lnTo>
                <a:lnTo>
                  <a:pt x="2662" y="4599"/>
                </a:lnTo>
                <a:close/>
                <a:moveTo>
                  <a:pt x="2507" y="3996"/>
                </a:moveTo>
                <a:lnTo>
                  <a:pt x="2514" y="4018"/>
                </a:lnTo>
                <a:lnTo>
                  <a:pt x="2510" y="4032"/>
                </a:lnTo>
                <a:lnTo>
                  <a:pt x="2504" y="4015"/>
                </a:lnTo>
                <a:lnTo>
                  <a:pt x="2507" y="3996"/>
                </a:lnTo>
                <a:close/>
                <a:moveTo>
                  <a:pt x="2553" y="4093"/>
                </a:moveTo>
                <a:lnTo>
                  <a:pt x="2579" y="4113"/>
                </a:lnTo>
                <a:lnTo>
                  <a:pt x="2614" y="4102"/>
                </a:lnTo>
                <a:lnTo>
                  <a:pt x="2541" y="4126"/>
                </a:lnTo>
                <a:lnTo>
                  <a:pt x="2553" y="4093"/>
                </a:lnTo>
                <a:close/>
                <a:moveTo>
                  <a:pt x="2383" y="4052"/>
                </a:moveTo>
                <a:lnTo>
                  <a:pt x="2441" y="4049"/>
                </a:lnTo>
                <a:lnTo>
                  <a:pt x="2485" y="4093"/>
                </a:lnTo>
                <a:lnTo>
                  <a:pt x="2389" y="4108"/>
                </a:lnTo>
                <a:lnTo>
                  <a:pt x="2383" y="4052"/>
                </a:lnTo>
                <a:close/>
                <a:moveTo>
                  <a:pt x="2376" y="4197"/>
                </a:moveTo>
                <a:lnTo>
                  <a:pt x="2429" y="4132"/>
                </a:lnTo>
                <a:lnTo>
                  <a:pt x="2532" y="4155"/>
                </a:lnTo>
                <a:lnTo>
                  <a:pt x="2464" y="4258"/>
                </a:lnTo>
                <a:lnTo>
                  <a:pt x="2404" y="4225"/>
                </a:lnTo>
                <a:lnTo>
                  <a:pt x="2411" y="4187"/>
                </a:lnTo>
                <a:lnTo>
                  <a:pt x="2376" y="4197"/>
                </a:lnTo>
                <a:close/>
                <a:moveTo>
                  <a:pt x="2604" y="5637"/>
                </a:moveTo>
                <a:lnTo>
                  <a:pt x="2623" y="5648"/>
                </a:lnTo>
                <a:lnTo>
                  <a:pt x="2636" y="5656"/>
                </a:lnTo>
                <a:lnTo>
                  <a:pt x="2602" y="5671"/>
                </a:lnTo>
                <a:lnTo>
                  <a:pt x="2604" y="5637"/>
                </a:lnTo>
                <a:close/>
                <a:moveTo>
                  <a:pt x="2825" y="7193"/>
                </a:moveTo>
                <a:lnTo>
                  <a:pt x="2825" y="7214"/>
                </a:lnTo>
                <a:lnTo>
                  <a:pt x="2825" y="7232"/>
                </a:lnTo>
                <a:lnTo>
                  <a:pt x="2816" y="7215"/>
                </a:lnTo>
                <a:lnTo>
                  <a:pt x="2825" y="7193"/>
                </a:lnTo>
                <a:close/>
                <a:moveTo>
                  <a:pt x="2896" y="7341"/>
                </a:moveTo>
                <a:lnTo>
                  <a:pt x="2946" y="7346"/>
                </a:lnTo>
                <a:lnTo>
                  <a:pt x="3011" y="7362"/>
                </a:lnTo>
                <a:lnTo>
                  <a:pt x="2870" y="7384"/>
                </a:lnTo>
                <a:lnTo>
                  <a:pt x="2896" y="7341"/>
                </a:lnTo>
                <a:close/>
                <a:moveTo>
                  <a:pt x="2678" y="6470"/>
                </a:moveTo>
                <a:lnTo>
                  <a:pt x="2686" y="6479"/>
                </a:lnTo>
                <a:lnTo>
                  <a:pt x="2679" y="6488"/>
                </a:lnTo>
                <a:lnTo>
                  <a:pt x="2673" y="6479"/>
                </a:lnTo>
                <a:lnTo>
                  <a:pt x="2678" y="6470"/>
                </a:lnTo>
                <a:close/>
                <a:moveTo>
                  <a:pt x="2698" y="6681"/>
                </a:moveTo>
                <a:lnTo>
                  <a:pt x="2718" y="6678"/>
                </a:lnTo>
                <a:lnTo>
                  <a:pt x="2724" y="6693"/>
                </a:lnTo>
                <a:lnTo>
                  <a:pt x="2706" y="6691"/>
                </a:lnTo>
                <a:lnTo>
                  <a:pt x="2698" y="6681"/>
                </a:lnTo>
                <a:close/>
                <a:moveTo>
                  <a:pt x="2702" y="6733"/>
                </a:moveTo>
                <a:lnTo>
                  <a:pt x="2696" y="6717"/>
                </a:lnTo>
                <a:lnTo>
                  <a:pt x="2692" y="6706"/>
                </a:lnTo>
                <a:lnTo>
                  <a:pt x="2710" y="6711"/>
                </a:lnTo>
                <a:lnTo>
                  <a:pt x="2702" y="6733"/>
                </a:lnTo>
                <a:close/>
                <a:moveTo>
                  <a:pt x="2729" y="6857"/>
                </a:moveTo>
                <a:lnTo>
                  <a:pt x="2738" y="6874"/>
                </a:lnTo>
                <a:lnTo>
                  <a:pt x="2718" y="6887"/>
                </a:lnTo>
                <a:lnTo>
                  <a:pt x="2723" y="6873"/>
                </a:lnTo>
                <a:lnTo>
                  <a:pt x="2729" y="6857"/>
                </a:lnTo>
                <a:close/>
                <a:moveTo>
                  <a:pt x="2790" y="7095"/>
                </a:moveTo>
                <a:lnTo>
                  <a:pt x="2769" y="7112"/>
                </a:lnTo>
                <a:lnTo>
                  <a:pt x="2746" y="7129"/>
                </a:lnTo>
                <a:lnTo>
                  <a:pt x="2742" y="7111"/>
                </a:lnTo>
                <a:lnTo>
                  <a:pt x="2790" y="7095"/>
                </a:lnTo>
                <a:close/>
                <a:moveTo>
                  <a:pt x="2627" y="6714"/>
                </a:moveTo>
                <a:lnTo>
                  <a:pt x="2618" y="6729"/>
                </a:lnTo>
                <a:lnTo>
                  <a:pt x="2608" y="6738"/>
                </a:lnTo>
                <a:lnTo>
                  <a:pt x="2606" y="6716"/>
                </a:lnTo>
                <a:lnTo>
                  <a:pt x="2627" y="6714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31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8AB6DC79-A21D-484C-9479-31C983274402}"/>
              </a:ext>
            </a:extLst>
          </p:cNvPr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5371151" y="225015"/>
            <a:ext cx="6815987" cy="6560985"/>
          </a:xfrm>
          <a:custGeom>
            <a:avLst/>
            <a:gdLst>
              <a:gd name="T0" fmla="*/ 9748 w 18900"/>
              <a:gd name="T1" fmla="*/ 14995 h 15648"/>
              <a:gd name="T2" fmla="*/ 6574 w 18900"/>
              <a:gd name="T3" fmla="*/ 14152 h 15648"/>
              <a:gd name="T4" fmla="*/ 7924 w 18900"/>
              <a:gd name="T5" fmla="*/ 4434 h 15648"/>
              <a:gd name="T6" fmla="*/ 17972 w 18900"/>
              <a:gd name="T7" fmla="*/ 9413 h 15648"/>
              <a:gd name="T8" fmla="*/ 16790 w 18900"/>
              <a:gd name="T9" fmla="*/ 10281 h 15648"/>
              <a:gd name="T10" fmla="*/ 17254 w 18900"/>
              <a:gd name="T11" fmla="*/ 11531 h 15648"/>
              <a:gd name="T12" fmla="*/ 16297 w 18900"/>
              <a:gd name="T13" fmla="*/ 12230 h 15648"/>
              <a:gd name="T14" fmla="*/ 15531 w 18900"/>
              <a:gd name="T15" fmla="*/ 12379 h 15648"/>
              <a:gd name="T16" fmla="*/ 13929 w 18900"/>
              <a:gd name="T17" fmla="*/ 12559 h 15648"/>
              <a:gd name="T18" fmla="*/ 14167 w 18900"/>
              <a:gd name="T19" fmla="*/ 5294 h 15648"/>
              <a:gd name="T20" fmla="*/ 15295 w 18900"/>
              <a:gd name="T21" fmla="*/ 6440 h 15648"/>
              <a:gd name="T22" fmla="*/ 16113 w 18900"/>
              <a:gd name="T23" fmla="*/ 5233 h 15648"/>
              <a:gd name="T24" fmla="*/ 17699 w 18900"/>
              <a:gd name="T25" fmla="*/ 6170 h 15648"/>
              <a:gd name="T26" fmla="*/ 17363 w 18900"/>
              <a:gd name="T27" fmla="*/ 9146 h 15648"/>
              <a:gd name="T28" fmla="*/ 16662 w 18900"/>
              <a:gd name="T29" fmla="*/ 6516 h 15648"/>
              <a:gd name="T30" fmla="*/ 16272 w 18900"/>
              <a:gd name="T31" fmla="*/ 10316 h 15648"/>
              <a:gd name="T32" fmla="*/ 16432 w 18900"/>
              <a:gd name="T33" fmla="*/ 11754 h 15648"/>
              <a:gd name="T34" fmla="*/ 17643 w 18900"/>
              <a:gd name="T35" fmla="*/ 9430 h 15648"/>
              <a:gd name="T36" fmla="*/ 18168 w 18900"/>
              <a:gd name="T37" fmla="*/ 8958 h 15648"/>
              <a:gd name="T38" fmla="*/ 17324 w 18900"/>
              <a:gd name="T39" fmla="*/ 11412 h 15648"/>
              <a:gd name="T40" fmla="*/ 15948 w 18900"/>
              <a:gd name="T41" fmla="*/ 12570 h 15648"/>
              <a:gd name="T42" fmla="*/ 11910 w 18900"/>
              <a:gd name="T43" fmla="*/ 13063 h 15648"/>
              <a:gd name="T44" fmla="*/ 6535 w 18900"/>
              <a:gd name="T45" fmla="*/ 4721 h 15648"/>
              <a:gd name="T46" fmla="*/ 11588 w 18900"/>
              <a:gd name="T47" fmla="*/ 11799 h 15648"/>
              <a:gd name="T48" fmla="*/ 13238 w 18900"/>
              <a:gd name="T49" fmla="*/ 5150 h 15648"/>
              <a:gd name="T50" fmla="*/ 4998 w 18900"/>
              <a:gd name="T51" fmla="*/ 7280 h 15648"/>
              <a:gd name="T52" fmla="*/ 3289 w 18900"/>
              <a:gd name="T53" fmla="*/ 5028 h 15648"/>
              <a:gd name="T54" fmla="*/ 17591 w 18900"/>
              <a:gd name="T55" fmla="*/ 5696 h 15648"/>
              <a:gd name="T56" fmla="*/ 14917 w 18900"/>
              <a:gd name="T57" fmla="*/ 5978 h 15648"/>
              <a:gd name="T58" fmla="*/ 12155 w 18900"/>
              <a:gd name="T59" fmla="*/ 4725 h 15648"/>
              <a:gd name="T60" fmla="*/ 6639 w 18900"/>
              <a:gd name="T61" fmla="*/ 3255 h 15648"/>
              <a:gd name="T62" fmla="*/ 3480 w 18900"/>
              <a:gd name="T63" fmla="*/ 7034 h 15648"/>
              <a:gd name="T64" fmla="*/ 5134 w 18900"/>
              <a:gd name="T65" fmla="*/ 9954 h 15648"/>
              <a:gd name="T66" fmla="*/ 7402 w 18900"/>
              <a:gd name="T67" fmla="*/ 13818 h 15648"/>
              <a:gd name="T68" fmla="*/ 15326 w 18900"/>
              <a:gd name="T69" fmla="*/ 13229 h 15648"/>
              <a:gd name="T70" fmla="*/ 17429 w 18900"/>
              <a:gd name="T71" fmla="*/ 11116 h 15648"/>
              <a:gd name="T72" fmla="*/ 7397 w 18900"/>
              <a:gd name="T73" fmla="*/ 14845 h 15648"/>
              <a:gd name="T74" fmla="*/ 12307 w 18900"/>
              <a:gd name="T75" fmla="*/ 3866 h 15648"/>
              <a:gd name="T76" fmla="*/ 11905 w 18900"/>
              <a:gd name="T77" fmla="*/ 2817 h 15648"/>
              <a:gd name="T78" fmla="*/ 13698 w 18900"/>
              <a:gd name="T79" fmla="*/ 3937 h 15648"/>
              <a:gd name="T80" fmla="*/ 8251 w 18900"/>
              <a:gd name="T81" fmla="*/ 3195 h 15648"/>
              <a:gd name="T82" fmla="*/ 8027 w 18900"/>
              <a:gd name="T83" fmla="*/ 2286 h 15648"/>
              <a:gd name="T84" fmla="*/ 9801 w 18900"/>
              <a:gd name="T85" fmla="*/ 3004 h 15648"/>
              <a:gd name="T86" fmla="*/ 10238 w 18900"/>
              <a:gd name="T87" fmla="*/ 2909 h 15648"/>
              <a:gd name="T88" fmla="*/ 18029 w 18900"/>
              <a:gd name="T89" fmla="*/ 10276 h 15648"/>
              <a:gd name="T90" fmla="*/ 18302 w 18900"/>
              <a:gd name="T91" fmla="*/ 5726 h 15648"/>
              <a:gd name="T92" fmla="*/ 17818 w 18900"/>
              <a:gd name="T93" fmla="*/ 10653 h 15648"/>
              <a:gd name="T94" fmla="*/ 18798 w 18900"/>
              <a:gd name="T95" fmla="*/ 12424 h 15648"/>
              <a:gd name="T96" fmla="*/ 15467 w 18900"/>
              <a:gd name="T97" fmla="*/ 2361 h 15648"/>
              <a:gd name="T98" fmla="*/ 14671 w 18900"/>
              <a:gd name="T99" fmla="*/ 5258 h 15648"/>
              <a:gd name="T100" fmla="*/ 3925 w 18900"/>
              <a:gd name="T101" fmla="*/ 9296 h 15648"/>
              <a:gd name="T102" fmla="*/ 4869 w 18900"/>
              <a:gd name="T103" fmla="*/ 11979 h 15648"/>
              <a:gd name="T104" fmla="*/ 1585 w 18900"/>
              <a:gd name="T105" fmla="*/ 9086 h 15648"/>
              <a:gd name="T106" fmla="*/ 3100 w 18900"/>
              <a:gd name="T107" fmla="*/ 7912 h 15648"/>
              <a:gd name="T108" fmla="*/ 3883 w 18900"/>
              <a:gd name="T109" fmla="*/ 12237 h 15648"/>
              <a:gd name="T110" fmla="*/ 4944 w 18900"/>
              <a:gd name="T111" fmla="*/ 10419 h 15648"/>
              <a:gd name="T112" fmla="*/ 3173 w 18900"/>
              <a:gd name="T113" fmla="*/ 10265 h 15648"/>
              <a:gd name="T114" fmla="*/ 6015 w 18900"/>
              <a:gd name="T115" fmla="*/ 1874 h 15648"/>
              <a:gd name="T116" fmla="*/ 5159 w 18900"/>
              <a:gd name="T117" fmla="*/ 2338 h 15648"/>
              <a:gd name="T118" fmla="*/ 5713 w 18900"/>
              <a:gd name="T119" fmla="*/ 2559 h 15648"/>
              <a:gd name="T120" fmla="*/ 3078 w 18900"/>
              <a:gd name="T121" fmla="*/ 3534 h 15648"/>
              <a:gd name="T122" fmla="*/ 4343 w 18900"/>
              <a:gd name="T123" fmla="*/ 2842 h 15648"/>
              <a:gd name="T124" fmla="*/ 1299 w 18900"/>
              <a:gd name="T125" fmla="*/ 1058 h 15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900" h="15648">
                <a:moveTo>
                  <a:pt x="35" y="8432"/>
                </a:moveTo>
                <a:lnTo>
                  <a:pt x="4" y="8450"/>
                </a:lnTo>
                <a:lnTo>
                  <a:pt x="0" y="8483"/>
                </a:lnTo>
                <a:lnTo>
                  <a:pt x="17" y="8512"/>
                </a:lnTo>
                <a:lnTo>
                  <a:pt x="47" y="8518"/>
                </a:lnTo>
                <a:lnTo>
                  <a:pt x="64" y="8490"/>
                </a:lnTo>
                <a:lnTo>
                  <a:pt x="68" y="8461"/>
                </a:lnTo>
                <a:lnTo>
                  <a:pt x="59" y="8439"/>
                </a:lnTo>
                <a:lnTo>
                  <a:pt x="35" y="8432"/>
                </a:lnTo>
                <a:close/>
                <a:moveTo>
                  <a:pt x="6821" y="14347"/>
                </a:moveTo>
                <a:lnTo>
                  <a:pt x="6794" y="14374"/>
                </a:lnTo>
                <a:lnTo>
                  <a:pt x="6787" y="14413"/>
                </a:lnTo>
                <a:lnTo>
                  <a:pt x="6797" y="14454"/>
                </a:lnTo>
                <a:lnTo>
                  <a:pt x="6820" y="14483"/>
                </a:lnTo>
                <a:lnTo>
                  <a:pt x="6854" y="14472"/>
                </a:lnTo>
                <a:lnTo>
                  <a:pt x="6876" y="14413"/>
                </a:lnTo>
                <a:lnTo>
                  <a:pt x="6870" y="14357"/>
                </a:lnTo>
                <a:lnTo>
                  <a:pt x="6821" y="14347"/>
                </a:lnTo>
                <a:close/>
                <a:moveTo>
                  <a:pt x="6747" y="14171"/>
                </a:moveTo>
                <a:lnTo>
                  <a:pt x="6719" y="14175"/>
                </a:lnTo>
                <a:lnTo>
                  <a:pt x="6708" y="14189"/>
                </a:lnTo>
                <a:lnTo>
                  <a:pt x="6714" y="14202"/>
                </a:lnTo>
                <a:lnTo>
                  <a:pt x="6737" y="14201"/>
                </a:lnTo>
                <a:lnTo>
                  <a:pt x="6745" y="14201"/>
                </a:lnTo>
                <a:lnTo>
                  <a:pt x="6750" y="14193"/>
                </a:lnTo>
                <a:lnTo>
                  <a:pt x="6752" y="14184"/>
                </a:lnTo>
                <a:lnTo>
                  <a:pt x="6752" y="14177"/>
                </a:lnTo>
                <a:lnTo>
                  <a:pt x="6766" y="14193"/>
                </a:lnTo>
                <a:lnTo>
                  <a:pt x="6778" y="14202"/>
                </a:lnTo>
                <a:lnTo>
                  <a:pt x="6786" y="14201"/>
                </a:lnTo>
                <a:lnTo>
                  <a:pt x="6791" y="14184"/>
                </a:lnTo>
                <a:lnTo>
                  <a:pt x="6835" y="14245"/>
                </a:lnTo>
                <a:lnTo>
                  <a:pt x="6866" y="14207"/>
                </a:lnTo>
                <a:lnTo>
                  <a:pt x="6866" y="14115"/>
                </a:lnTo>
                <a:lnTo>
                  <a:pt x="6822" y="14020"/>
                </a:lnTo>
                <a:lnTo>
                  <a:pt x="6788" y="13992"/>
                </a:lnTo>
                <a:lnTo>
                  <a:pt x="6727" y="14005"/>
                </a:lnTo>
                <a:lnTo>
                  <a:pt x="6667" y="14035"/>
                </a:lnTo>
                <a:lnTo>
                  <a:pt x="6635" y="14064"/>
                </a:lnTo>
                <a:lnTo>
                  <a:pt x="6671" y="14086"/>
                </a:lnTo>
                <a:lnTo>
                  <a:pt x="6702" y="14114"/>
                </a:lnTo>
                <a:lnTo>
                  <a:pt x="6727" y="14143"/>
                </a:lnTo>
                <a:lnTo>
                  <a:pt x="6749" y="14171"/>
                </a:lnTo>
                <a:lnTo>
                  <a:pt x="6749" y="14171"/>
                </a:lnTo>
                <a:lnTo>
                  <a:pt x="6747" y="14171"/>
                </a:lnTo>
                <a:close/>
                <a:moveTo>
                  <a:pt x="11277" y="13863"/>
                </a:moveTo>
                <a:lnTo>
                  <a:pt x="11236" y="13861"/>
                </a:lnTo>
                <a:lnTo>
                  <a:pt x="11197" y="13871"/>
                </a:lnTo>
                <a:lnTo>
                  <a:pt x="11184" y="13890"/>
                </a:lnTo>
                <a:lnTo>
                  <a:pt x="11222" y="13913"/>
                </a:lnTo>
                <a:lnTo>
                  <a:pt x="11242" y="13917"/>
                </a:lnTo>
                <a:lnTo>
                  <a:pt x="11268" y="13900"/>
                </a:lnTo>
                <a:lnTo>
                  <a:pt x="11285" y="13879"/>
                </a:lnTo>
                <a:lnTo>
                  <a:pt x="11277" y="13863"/>
                </a:lnTo>
                <a:close/>
                <a:moveTo>
                  <a:pt x="7091" y="14826"/>
                </a:moveTo>
                <a:lnTo>
                  <a:pt x="7077" y="14830"/>
                </a:lnTo>
                <a:lnTo>
                  <a:pt x="7068" y="14840"/>
                </a:lnTo>
                <a:lnTo>
                  <a:pt x="7067" y="14851"/>
                </a:lnTo>
                <a:lnTo>
                  <a:pt x="7076" y="14860"/>
                </a:lnTo>
                <a:lnTo>
                  <a:pt x="7092" y="14866"/>
                </a:lnTo>
                <a:lnTo>
                  <a:pt x="7104" y="14852"/>
                </a:lnTo>
                <a:lnTo>
                  <a:pt x="7105" y="14833"/>
                </a:lnTo>
                <a:lnTo>
                  <a:pt x="7091" y="14826"/>
                </a:lnTo>
                <a:close/>
                <a:moveTo>
                  <a:pt x="10851" y="14317"/>
                </a:moveTo>
                <a:lnTo>
                  <a:pt x="10792" y="14332"/>
                </a:lnTo>
                <a:lnTo>
                  <a:pt x="10770" y="14370"/>
                </a:lnTo>
                <a:lnTo>
                  <a:pt x="10786" y="14401"/>
                </a:lnTo>
                <a:lnTo>
                  <a:pt x="10835" y="14395"/>
                </a:lnTo>
                <a:lnTo>
                  <a:pt x="10854" y="14387"/>
                </a:lnTo>
                <a:lnTo>
                  <a:pt x="10863" y="14360"/>
                </a:lnTo>
                <a:lnTo>
                  <a:pt x="10861" y="14329"/>
                </a:lnTo>
                <a:lnTo>
                  <a:pt x="10851" y="14317"/>
                </a:lnTo>
                <a:close/>
                <a:moveTo>
                  <a:pt x="6987" y="14187"/>
                </a:moveTo>
                <a:lnTo>
                  <a:pt x="6971" y="14174"/>
                </a:lnTo>
                <a:lnTo>
                  <a:pt x="6960" y="14185"/>
                </a:lnTo>
                <a:lnTo>
                  <a:pt x="6959" y="14206"/>
                </a:lnTo>
                <a:lnTo>
                  <a:pt x="6978" y="14222"/>
                </a:lnTo>
                <a:lnTo>
                  <a:pt x="6991" y="14217"/>
                </a:lnTo>
                <a:lnTo>
                  <a:pt x="6988" y="14208"/>
                </a:lnTo>
                <a:lnTo>
                  <a:pt x="6983" y="14197"/>
                </a:lnTo>
                <a:lnTo>
                  <a:pt x="6987" y="14187"/>
                </a:lnTo>
                <a:close/>
                <a:moveTo>
                  <a:pt x="6698" y="15558"/>
                </a:moveTo>
                <a:lnTo>
                  <a:pt x="6668" y="15556"/>
                </a:lnTo>
                <a:lnTo>
                  <a:pt x="6653" y="15568"/>
                </a:lnTo>
                <a:lnTo>
                  <a:pt x="6654" y="15582"/>
                </a:lnTo>
                <a:lnTo>
                  <a:pt x="6679" y="15586"/>
                </a:lnTo>
                <a:lnTo>
                  <a:pt x="6689" y="15586"/>
                </a:lnTo>
                <a:lnTo>
                  <a:pt x="6698" y="15577"/>
                </a:lnTo>
                <a:lnTo>
                  <a:pt x="6702" y="15565"/>
                </a:lnTo>
                <a:lnTo>
                  <a:pt x="6698" y="15558"/>
                </a:lnTo>
                <a:close/>
                <a:moveTo>
                  <a:pt x="6865" y="14698"/>
                </a:moveTo>
                <a:lnTo>
                  <a:pt x="6849" y="14705"/>
                </a:lnTo>
                <a:lnTo>
                  <a:pt x="6839" y="14717"/>
                </a:lnTo>
                <a:lnTo>
                  <a:pt x="6839" y="14730"/>
                </a:lnTo>
                <a:lnTo>
                  <a:pt x="6851" y="14740"/>
                </a:lnTo>
                <a:lnTo>
                  <a:pt x="6870" y="14748"/>
                </a:lnTo>
                <a:lnTo>
                  <a:pt x="6882" y="14730"/>
                </a:lnTo>
                <a:lnTo>
                  <a:pt x="6884" y="14707"/>
                </a:lnTo>
                <a:lnTo>
                  <a:pt x="6865" y="14698"/>
                </a:lnTo>
                <a:close/>
                <a:moveTo>
                  <a:pt x="7054" y="14962"/>
                </a:moveTo>
                <a:lnTo>
                  <a:pt x="7052" y="14981"/>
                </a:lnTo>
                <a:lnTo>
                  <a:pt x="7068" y="14994"/>
                </a:lnTo>
                <a:lnTo>
                  <a:pt x="7091" y="14996"/>
                </a:lnTo>
                <a:lnTo>
                  <a:pt x="7106" y="14986"/>
                </a:lnTo>
                <a:lnTo>
                  <a:pt x="7098" y="14970"/>
                </a:lnTo>
                <a:lnTo>
                  <a:pt x="7084" y="14958"/>
                </a:lnTo>
                <a:lnTo>
                  <a:pt x="7067" y="14954"/>
                </a:lnTo>
                <a:lnTo>
                  <a:pt x="7054" y="14962"/>
                </a:lnTo>
                <a:close/>
                <a:moveTo>
                  <a:pt x="8152" y="14654"/>
                </a:moveTo>
                <a:lnTo>
                  <a:pt x="8143" y="14651"/>
                </a:lnTo>
                <a:lnTo>
                  <a:pt x="8137" y="14654"/>
                </a:lnTo>
                <a:lnTo>
                  <a:pt x="8132" y="14659"/>
                </a:lnTo>
                <a:lnTo>
                  <a:pt x="8128" y="14667"/>
                </a:lnTo>
                <a:lnTo>
                  <a:pt x="8132" y="14689"/>
                </a:lnTo>
                <a:lnTo>
                  <a:pt x="8166" y="14687"/>
                </a:lnTo>
                <a:lnTo>
                  <a:pt x="8188" y="14670"/>
                </a:lnTo>
                <a:lnTo>
                  <a:pt x="8152" y="14654"/>
                </a:lnTo>
                <a:close/>
                <a:moveTo>
                  <a:pt x="8250" y="13861"/>
                </a:moveTo>
                <a:lnTo>
                  <a:pt x="8231" y="13848"/>
                </a:lnTo>
                <a:lnTo>
                  <a:pt x="8220" y="13832"/>
                </a:lnTo>
                <a:lnTo>
                  <a:pt x="8206" y="13825"/>
                </a:lnTo>
                <a:lnTo>
                  <a:pt x="8183" y="13843"/>
                </a:lnTo>
                <a:lnTo>
                  <a:pt x="8195" y="13872"/>
                </a:lnTo>
                <a:lnTo>
                  <a:pt x="8235" y="13886"/>
                </a:lnTo>
                <a:lnTo>
                  <a:pt x="8264" y="13884"/>
                </a:lnTo>
                <a:lnTo>
                  <a:pt x="8250" y="13861"/>
                </a:lnTo>
                <a:close/>
                <a:moveTo>
                  <a:pt x="8121" y="13720"/>
                </a:moveTo>
                <a:lnTo>
                  <a:pt x="8183" y="13751"/>
                </a:lnTo>
                <a:lnTo>
                  <a:pt x="8218" y="13711"/>
                </a:lnTo>
                <a:lnTo>
                  <a:pt x="8214" y="13655"/>
                </a:lnTo>
                <a:lnTo>
                  <a:pt x="8155" y="13637"/>
                </a:lnTo>
                <a:lnTo>
                  <a:pt x="8135" y="13646"/>
                </a:lnTo>
                <a:lnTo>
                  <a:pt x="8119" y="13662"/>
                </a:lnTo>
                <a:lnTo>
                  <a:pt x="8113" y="13688"/>
                </a:lnTo>
                <a:lnTo>
                  <a:pt x="8121" y="13720"/>
                </a:lnTo>
                <a:close/>
                <a:moveTo>
                  <a:pt x="6603" y="14252"/>
                </a:moveTo>
                <a:lnTo>
                  <a:pt x="6595" y="14261"/>
                </a:lnTo>
                <a:lnTo>
                  <a:pt x="6592" y="14273"/>
                </a:lnTo>
                <a:lnTo>
                  <a:pt x="6595" y="14287"/>
                </a:lnTo>
                <a:lnTo>
                  <a:pt x="6603" y="14297"/>
                </a:lnTo>
                <a:lnTo>
                  <a:pt x="6615" y="14291"/>
                </a:lnTo>
                <a:lnTo>
                  <a:pt x="6623" y="14272"/>
                </a:lnTo>
                <a:lnTo>
                  <a:pt x="6620" y="14255"/>
                </a:lnTo>
                <a:lnTo>
                  <a:pt x="6603" y="14252"/>
                </a:lnTo>
                <a:close/>
                <a:moveTo>
                  <a:pt x="8323" y="13874"/>
                </a:moveTo>
                <a:lnTo>
                  <a:pt x="8332" y="13881"/>
                </a:lnTo>
                <a:lnTo>
                  <a:pt x="8346" y="13877"/>
                </a:lnTo>
                <a:lnTo>
                  <a:pt x="8356" y="13868"/>
                </a:lnTo>
                <a:lnTo>
                  <a:pt x="8357" y="13858"/>
                </a:lnTo>
                <a:lnTo>
                  <a:pt x="8344" y="13857"/>
                </a:lnTo>
                <a:lnTo>
                  <a:pt x="8332" y="13860"/>
                </a:lnTo>
                <a:lnTo>
                  <a:pt x="8324" y="13866"/>
                </a:lnTo>
                <a:lnTo>
                  <a:pt x="8323" y="13874"/>
                </a:lnTo>
                <a:close/>
                <a:moveTo>
                  <a:pt x="8381" y="13606"/>
                </a:moveTo>
                <a:lnTo>
                  <a:pt x="8371" y="13602"/>
                </a:lnTo>
                <a:lnTo>
                  <a:pt x="8362" y="13596"/>
                </a:lnTo>
                <a:lnTo>
                  <a:pt x="8355" y="13594"/>
                </a:lnTo>
                <a:lnTo>
                  <a:pt x="8346" y="13605"/>
                </a:lnTo>
                <a:lnTo>
                  <a:pt x="8356" y="13618"/>
                </a:lnTo>
                <a:lnTo>
                  <a:pt x="8377" y="13620"/>
                </a:lnTo>
                <a:lnTo>
                  <a:pt x="8391" y="13616"/>
                </a:lnTo>
                <a:lnTo>
                  <a:pt x="8381" y="13606"/>
                </a:lnTo>
                <a:close/>
                <a:moveTo>
                  <a:pt x="8903" y="13671"/>
                </a:moveTo>
                <a:lnTo>
                  <a:pt x="8896" y="13685"/>
                </a:lnTo>
                <a:lnTo>
                  <a:pt x="8898" y="13699"/>
                </a:lnTo>
                <a:lnTo>
                  <a:pt x="8908" y="13709"/>
                </a:lnTo>
                <a:lnTo>
                  <a:pt x="8925" y="13711"/>
                </a:lnTo>
                <a:lnTo>
                  <a:pt x="8945" y="13707"/>
                </a:lnTo>
                <a:lnTo>
                  <a:pt x="8942" y="13686"/>
                </a:lnTo>
                <a:lnTo>
                  <a:pt x="8925" y="13669"/>
                </a:lnTo>
                <a:lnTo>
                  <a:pt x="8903" y="13671"/>
                </a:lnTo>
                <a:close/>
                <a:moveTo>
                  <a:pt x="9264" y="14603"/>
                </a:moveTo>
                <a:lnTo>
                  <a:pt x="9270" y="14641"/>
                </a:lnTo>
                <a:lnTo>
                  <a:pt x="9302" y="14659"/>
                </a:lnTo>
                <a:lnTo>
                  <a:pt x="9340" y="14656"/>
                </a:lnTo>
                <a:lnTo>
                  <a:pt x="9361" y="14630"/>
                </a:lnTo>
                <a:lnTo>
                  <a:pt x="9339" y="14599"/>
                </a:lnTo>
                <a:lnTo>
                  <a:pt x="9311" y="14583"/>
                </a:lnTo>
                <a:lnTo>
                  <a:pt x="9283" y="14583"/>
                </a:lnTo>
                <a:lnTo>
                  <a:pt x="9264" y="14603"/>
                </a:lnTo>
                <a:close/>
                <a:moveTo>
                  <a:pt x="8515" y="14511"/>
                </a:moveTo>
                <a:lnTo>
                  <a:pt x="8505" y="14521"/>
                </a:lnTo>
                <a:lnTo>
                  <a:pt x="8504" y="14533"/>
                </a:lnTo>
                <a:lnTo>
                  <a:pt x="8510" y="14543"/>
                </a:lnTo>
                <a:lnTo>
                  <a:pt x="8521" y="14548"/>
                </a:lnTo>
                <a:lnTo>
                  <a:pt x="8540" y="14548"/>
                </a:lnTo>
                <a:lnTo>
                  <a:pt x="8543" y="14530"/>
                </a:lnTo>
                <a:lnTo>
                  <a:pt x="8533" y="14514"/>
                </a:lnTo>
                <a:lnTo>
                  <a:pt x="8515" y="14511"/>
                </a:lnTo>
                <a:close/>
                <a:moveTo>
                  <a:pt x="8450" y="13599"/>
                </a:moveTo>
                <a:lnTo>
                  <a:pt x="8458" y="13578"/>
                </a:lnTo>
                <a:lnTo>
                  <a:pt x="8439" y="13568"/>
                </a:lnTo>
                <a:lnTo>
                  <a:pt x="8413" y="13559"/>
                </a:lnTo>
                <a:lnTo>
                  <a:pt x="8402" y="13540"/>
                </a:lnTo>
                <a:lnTo>
                  <a:pt x="8360" y="13544"/>
                </a:lnTo>
                <a:lnTo>
                  <a:pt x="8366" y="13572"/>
                </a:lnTo>
                <a:lnTo>
                  <a:pt x="8403" y="13600"/>
                </a:lnTo>
                <a:lnTo>
                  <a:pt x="8450" y="13599"/>
                </a:lnTo>
                <a:close/>
                <a:moveTo>
                  <a:pt x="9745" y="14967"/>
                </a:moveTo>
                <a:lnTo>
                  <a:pt x="9748" y="14995"/>
                </a:lnTo>
                <a:lnTo>
                  <a:pt x="9767" y="15015"/>
                </a:lnTo>
                <a:lnTo>
                  <a:pt x="9794" y="15023"/>
                </a:lnTo>
                <a:lnTo>
                  <a:pt x="9822" y="15010"/>
                </a:lnTo>
                <a:lnTo>
                  <a:pt x="9850" y="14982"/>
                </a:lnTo>
                <a:lnTo>
                  <a:pt x="9823" y="14953"/>
                </a:lnTo>
                <a:lnTo>
                  <a:pt x="9776" y="14942"/>
                </a:lnTo>
                <a:lnTo>
                  <a:pt x="9745" y="14967"/>
                </a:lnTo>
                <a:close/>
                <a:moveTo>
                  <a:pt x="8523" y="13928"/>
                </a:moveTo>
                <a:lnTo>
                  <a:pt x="8495" y="13902"/>
                </a:lnTo>
                <a:lnTo>
                  <a:pt x="8477" y="13870"/>
                </a:lnTo>
                <a:lnTo>
                  <a:pt x="8454" y="13856"/>
                </a:lnTo>
                <a:lnTo>
                  <a:pt x="8408" y="13882"/>
                </a:lnTo>
                <a:lnTo>
                  <a:pt x="8423" y="13936"/>
                </a:lnTo>
                <a:lnTo>
                  <a:pt x="8487" y="13970"/>
                </a:lnTo>
                <a:lnTo>
                  <a:pt x="8540" y="13972"/>
                </a:lnTo>
                <a:lnTo>
                  <a:pt x="8523" y="13928"/>
                </a:lnTo>
                <a:close/>
                <a:moveTo>
                  <a:pt x="5175" y="14642"/>
                </a:moveTo>
                <a:lnTo>
                  <a:pt x="5105" y="14674"/>
                </a:lnTo>
                <a:lnTo>
                  <a:pt x="5080" y="14760"/>
                </a:lnTo>
                <a:lnTo>
                  <a:pt x="5105" y="14847"/>
                </a:lnTo>
                <a:lnTo>
                  <a:pt x="5180" y="14887"/>
                </a:lnTo>
                <a:lnTo>
                  <a:pt x="5290" y="14856"/>
                </a:lnTo>
                <a:lnTo>
                  <a:pt x="5320" y="14766"/>
                </a:lnTo>
                <a:lnTo>
                  <a:pt x="5279" y="14675"/>
                </a:lnTo>
                <a:lnTo>
                  <a:pt x="5175" y="14642"/>
                </a:lnTo>
                <a:close/>
                <a:moveTo>
                  <a:pt x="5092" y="13788"/>
                </a:moveTo>
                <a:lnTo>
                  <a:pt x="5028" y="13797"/>
                </a:lnTo>
                <a:lnTo>
                  <a:pt x="4959" y="13824"/>
                </a:lnTo>
                <a:lnTo>
                  <a:pt x="4897" y="13862"/>
                </a:lnTo>
                <a:lnTo>
                  <a:pt x="4855" y="13907"/>
                </a:lnTo>
                <a:lnTo>
                  <a:pt x="4905" y="13922"/>
                </a:lnTo>
                <a:lnTo>
                  <a:pt x="5013" y="13888"/>
                </a:lnTo>
                <a:lnTo>
                  <a:pt x="5099" y="13833"/>
                </a:lnTo>
                <a:lnTo>
                  <a:pt x="5092" y="13788"/>
                </a:lnTo>
                <a:close/>
                <a:moveTo>
                  <a:pt x="5499" y="14150"/>
                </a:moveTo>
                <a:lnTo>
                  <a:pt x="5475" y="14154"/>
                </a:lnTo>
                <a:lnTo>
                  <a:pt x="5453" y="14171"/>
                </a:lnTo>
                <a:lnTo>
                  <a:pt x="5439" y="14194"/>
                </a:lnTo>
                <a:lnTo>
                  <a:pt x="5438" y="14216"/>
                </a:lnTo>
                <a:lnTo>
                  <a:pt x="5465" y="14219"/>
                </a:lnTo>
                <a:lnTo>
                  <a:pt x="5499" y="14198"/>
                </a:lnTo>
                <a:lnTo>
                  <a:pt x="5518" y="14170"/>
                </a:lnTo>
                <a:lnTo>
                  <a:pt x="5499" y="14150"/>
                </a:lnTo>
                <a:close/>
                <a:moveTo>
                  <a:pt x="5316" y="14208"/>
                </a:moveTo>
                <a:lnTo>
                  <a:pt x="5290" y="14210"/>
                </a:lnTo>
                <a:lnTo>
                  <a:pt x="5268" y="14224"/>
                </a:lnTo>
                <a:lnTo>
                  <a:pt x="5250" y="14245"/>
                </a:lnTo>
                <a:lnTo>
                  <a:pt x="5243" y="14267"/>
                </a:lnTo>
                <a:lnTo>
                  <a:pt x="5269" y="14272"/>
                </a:lnTo>
                <a:lnTo>
                  <a:pt x="5307" y="14257"/>
                </a:lnTo>
                <a:lnTo>
                  <a:pt x="5331" y="14231"/>
                </a:lnTo>
                <a:lnTo>
                  <a:pt x="5316" y="14208"/>
                </a:lnTo>
                <a:close/>
                <a:moveTo>
                  <a:pt x="5549" y="13828"/>
                </a:moveTo>
                <a:lnTo>
                  <a:pt x="5562" y="13791"/>
                </a:lnTo>
                <a:lnTo>
                  <a:pt x="5536" y="13774"/>
                </a:lnTo>
                <a:lnTo>
                  <a:pt x="5507" y="13781"/>
                </a:lnTo>
                <a:lnTo>
                  <a:pt x="5512" y="13816"/>
                </a:lnTo>
                <a:lnTo>
                  <a:pt x="5516" y="13824"/>
                </a:lnTo>
                <a:lnTo>
                  <a:pt x="5525" y="13826"/>
                </a:lnTo>
                <a:lnTo>
                  <a:pt x="5538" y="13828"/>
                </a:lnTo>
                <a:lnTo>
                  <a:pt x="5549" y="13828"/>
                </a:lnTo>
                <a:close/>
                <a:moveTo>
                  <a:pt x="5438" y="14320"/>
                </a:moveTo>
                <a:lnTo>
                  <a:pt x="5413" y="14323"/>
                </a:lnTo>
                <a:lnTo>
                  <a:pt x="5391" y="14337"/>
                </a:lnTo>
                <a:lnTo>
                  <a:pt x="5375" y="14359"/>
                </a:lnTo>
                <a:lnTo>
                  <a:pt x="5369" y="14380"/>
                </a:lnTo>
                <a:lnTo>
                  <a:pt x="5395" y="14384"/>
                </a:lnTo>
                <a:lnTo>
                  <a:pt x="5432" y="14367"/>
                </a:lnTo>
                <a:lnTo>
                  <a:pt x="5453" y="14343"/>
                </a:lnTo>
                <a:lnTo>
                  <a:pt x="5438" y="14320"/>
                </a:lnTo>
                <a:close/>
                <a:moveTo>
                  <a:pt x="4985" y="15443"/>
                </a:moveTo>
                <a:lnTo>
                  <a:pt x="4976" y="15447"/>
                </a:lnTo>
                <a:lnTo>
                  <a:pt x="4971" y="15461"/>
                </a:lnTo>
                <a:lnTo>
                  <a:pt x="4971" y="15476"/>
                </a:lnTo>
                <a:lnTo>
                  <a:pt x="4975" y="15484"/>
                </a:lnTo>
                <a:lnTo>
                  <a:pt x="5000" y="15480"/>
                </a:lnTo>
                <a:lnTo>
                  <a:pt x="5010" y="15461"/>
                </a:lnTo>
                <a:lnTo>
                  <a:pt x="5006" y="15444"/>
                </a:lnTo>
                <a:lnTo>
                  <a:pt x="4985" y="15443"/>
                </a:lnTo>
                <a:close/>
                <a:moveTo>
                  <a:pt x="4967" y="13292"/>
                </a:moveTo>
                <a:lnTo>
                  <a:pt x="4907" y="13312"/>
                </a:lnTo>
                <a:lnTo>
                  <a:pt x="4912" y="13327"/>
                </a:lnTo>
                <a:lnTo>
                  <a:pt x="4950" y="13341"/>
                </a:lnTo>
                <a:lnTo>
                  <a:pt x="4994" y="13357"/>
                </a:lnTo>
                <a:lnTo>
                  <a:pt x="5113" y="13343"/>
                </a:lnTo>
                <a:lnTo>
                  <a:pt x="5111" y="13255"/>
                </a:lnTo>
                <a:lnTo>
                  <a:pt x="5043" y="13201"/>
                </a:lnTo>
                <a:lnTo>
                  <a:pt x="4967" y="13292"/>
                </a:lnTo>
                <a:close/>
                <a:moveTo>
                  <a:pt x="4782" y="13273"/>
                </a:moveTo>
                <a:lnTo>
                  <a:pt x="4776" y="13284"/>
                </a:lnTo>
                <a:lnTo>
                  <a:pt x="4780" y="13297"/>
                </a:lnTo>
                <a:lnTo>
                  <a:pt x="4789" y="13306"/>
                </a:lnTo>
                <a:lnTo>
                  <a:pt x="4803" y="13307"/>
                </a:lnTo>
                <a:lnTo>
                  <a:pt x="4821" y="13302"/>
                </a:lnTo>
                <a:lnTo>
                  <a:pt x="4817" y="13285"/>
                </a:lnTo>
                <a:lnTo>
                  <a:pt x="4801" y="13270"/>
                </a:lnTo>
                <a:lnTo>
                  <a:pt x="4782" y="13273"/>
                </a:lnTo>
                <a:close/>
                <a:moveTo>
                  <a:pt x="5141" y="13624"/>
                </a:moveTo>
                <a:lnTo>
                  <a:pt x="5101" y="13633"/>
                </a:lnTo>
                <a:lnTo>
                  <a:pt x="5099" y="13683"/>
                </a:lnTo>
                <a:lnTo>
                  <a:pt x="5127" y="13737"/>
                </a:lnTo>
                <a:lnTo>
                  <a:pt x="5177" y="13758"/>
                </a:lnTo>
                <a:lnTo>
                  <a:pt x="5297" y="13669"/>
                </a:lnTo>
                <a:lnTo>
                  <a:pt x="5315" y="13540"/>
                </a:lnTo>
                <a:lnTo>
                  <a:pt x="5255" y="13488"/>
                </a:lnTo>
                <a:lnTo>
                  <a:pt x="5141" y="13624"/>
                </a:lnTo>
                <a:close/>
                <a:moveTo>
                  <a:pt x="4911" y="13484"/>
                </a:moveTo>
                <a:lnTo>
                  <a:pt x="4933" y="13455"/>
                </a:lnTo>
                <a:lnTo>
                  <a:pt x="4902" y="13442"/>
                </a:lnTo>
                <a:lnTo>
                  <a:pt x="4855" y="13450"/>
                </a:lnTo>
                <a:lnTo>
                  <a:pt x="4827" y="13480"/>
                </a:lnTo>
                <a:lnTo>
                  <a:pt x="4842" y="13498"/>
                </a:lnTo>
                <a:lnTo>
                  <a:pt x="4863" y="13492"/>
                </a:lnTo>
                <a:lnTo>
                  <a:pt x="4887" y="13480"/>
                </a:lnTo>
                <a:lnTo>
                  <a:pt x="4911" y="13484"/>
                </a:lnTo>
                <a:close/>
                <a:moveTo>
                  <a:pt x="5280" y="13946"/>
                </a:moveTo>
                <a:lnTo>
                  <a:pt x="5238" y="13964"/>
                </a:lnTo>
                <a:lnTo>
                  <a:pt x="5227" y="14005"/>
                </a:lnTo>
                <a:lnTo>
                  <a:pt x="5240" y="14029"/>
                </a:lnTo>
                <a:lnTo>
                  <a:pt x="5269" y="13997"/>
                </a:lnTo>
                <a:lnTo>
                  <a:pt x="5289" y="14017"/>
                </a:lnTo>
                <a:lnTo>
                  <a:pt x="5304" y="14000"/>
                </a:lnTo>
                <a:lnTo>
                  <a:pt x="5306" y="13968"/>
                </a:lnTo>
                <a:lnTo>
                  <a:pt x="5280" y="13946"/>
                </a:lnTo>
                <a:close/>
                <a:moveTo>
                  <a:pt x="4990" y="13432"/>
                </a:moveTo>
                <a:lnTo>
                  <a:pt x="4954" y="13462"/>
                </a:lnTo>
                <a:lnTo>
                  <a:pt x="4939" y="13501"/>
                </a:lnTo>
                <a:lnTo>
                  <a:pt x="4945" y="13544"/>
                </a:lnTo>
                <a:lnTo>
                  <a:pt x="4971" y="13586"/>
                </a:lnTo>
                <a:lnTo>
                  <a:pt x="5079" y="13628"/>
                </a:lnTo>
                <a:lnTo>
                  <a:pt x="5133" y="13534"/>
                </a:lnTo>
                <a:lnTo>
                  <a:pt x="5110" y="13428"/>
                </a:lnTo>
                <a:lnTo>
                  <a:pt x="4990" y="13432"/>
                </a:lnTo>
                <a:close/>
                <a:moveTo>
                  <a:pt x="6572" y="14687"/>
                </a:moveTo>
                <a:lnTo>
                  <a:pt x="6555" y="14692"/>
                </a:lnTo>
                <a:lnTo>
                  <a:pt x="6560" y="14707"/>
                </a:lnTo>
                <a:lnTo>
                  <a:pt x="6575" y="14721"/>
                </a:lnTo>
                <a:lnTo>
                  <a:pt x="6593" y="14717"/>
                </a:lnTo>
                <a:lnTo>
                  <a:pt x="6598" y="14706"/>
                </a:lnTo>
                <a:lnTo>
                  <a:pt x="6595" y="14695"/>
                </a:lnTo>
                <a:lnTo>
                  <a:pt x="6584" y="14687"/>
                </a:lnTo>
                <a:lnTo>
                  <a:pt x="6572" y="14687"/>
                </a:lnTo>
                <a:close/>
                <a:moveTo>
                  <a:pt x="5289" y="13793"/>
                </a:moveTo>
                <a:lnTo>
                  <a:pt x="5290" y="13779"/>
                </a:lnTo>
                <a:lnTo>
                  <a:pt x="5284" y="13772"/>
                </a:lnTo>
                <a:lnTo>
                  <a:pt x="5276" y="13765"/>
                </a:lnTo>
                <a:lnTo>
                  <a:pt x="5273" y="13755"/>
                </a:lnTo>
                <a:lnTo>
                  <a:pt x="5241" y="13768"/>
                </a:lnTo>
                <a:lnTo>
                  <a:pt x="5241" y="13792"/>
                </a:lnTo>
                <a:lnTo>
                  <a:pt x="5260" y="13809"/>
                </a:lnTo>
                <a:lnTo>
                  <a:pt x="5289" y="13793"/>
                </a:lnTo>
                <a:close/>
                <a:moveTo>
                  <a:pt x="6294" y="14339"/>
                </a:moveTo>
                <a:lnTo>
                  <a:pt x="6277" y="14353"/>
                </a:lnTo>
                <a:lnTo>
                  <a:pt x="6272" y="14375"/>
                </a:lnTo>
                <a:lnTo>
                  <a:pt x="6275" y="14397"/>
                </a:lnTo>
                <a:lnTo>
                  <a:pt x="6288" y="14415"/>
                </a:lnTo>
                <a:lnTo>
                  <a:pt x="6308" y="14404"/>
                </a:lnTo>
                <a:lnTo>
                  <a:pt x="6323" y="14375"/>
                </a:lnTo>
                <a:lnTo>
                  <a:pt x="6321" y="14347"/>
                </a:lnTo>
                <a:lnTo>
                  <a:pt x="6294" y="14339"/>
                </a:lnTo>
                <a:close/>
                <a:moveTo>
                  <a:pt x="5624" y="14300"/>
                </a:moveTo>
                <a:lnTo>
                  <a:pt x="5592" y="14301"/>
                </a:lnTo>
                <a:lnTo>
                  <a:pt x="5562" y="14319"/>
                </a:lnTo>
                <a:lnTo>
                  <a:pt x="5539" y="14345"/>
                </a:lnTo>
                <a:lnTo>
                  <a:pt x="5530" y="14371"/>
                </a:lnTo>
                <a:lnTo>
                  <a:pt x="5562" y="14379"/>
                </a:lnTo>
                <a:lnTo>
                  <a:pt x="5610" y="14361"/>
                </a:lnTo>
                <a:lnTo>
                  <a:pt x="5642" y="14331"/>
                </a:lnTo>
                <a:lnTo>
                  <a:pt x="5624" y="14300"/>
                </a:lnTo>
                <a:close/>
                <a:moveTo>
                  <a:pt x="6568" y="14589"/>
                </a:moveTo>
                <a:lnTo>
                  <a:pt x="6560" y="14576"/>
                </a:lnTo>
                <a:lnTo>
                  <a:pt x="6544" y="14570"/>
                </a:lnTo>
                <a:lnTo>
                  <a:pt x="6527" y="14570"/>
                </a:lnTo>
                <a:lnTo>
                  <a:pt x="6516" y="14580"/>
                </a:lnTo>
                <a:lnTo>
                  <a:pt x="6508" y="14598"/>
                </a:lnTo>
                <a:lnTo>
                  <a:pt x="6531" y="14607"/>
                </a:lnTo>
                <a:lnTo>
                  <a:pt x="6559" y="14604"/>
                </a:lnTo>
                <a:lnTo>
                  <a:pt x="6568" y="14589"/>
                </a:lnTo>
                <a:close/>
                <a:moveTo>
                  <a:pt x="6537" y="14514"/>
                </a:moveTo>
                <a:lnTo>
                  <a:pt x="6532" y="14487"/>
                </a:lnTo>
                <a:lnTo>
                  <a:pt x="6553" y="14479"/>
                </a:lnTo>
                <a:lnTo>
                  <a:pt x="6575" y="14474"/>
                </a:lnTo>
                <a:lnTo>
                  <a:pt x="6578" y="14455"/>
                </a:lnTo>
                <a:lnTo>
                  <a:pt x="6575" y="14435"/>
                </a:lnTo>
                <a:lnTo>
                  <a:pt x="6581" y="14417"/>
                </a:lnTo>
                <a:lnTo>
                  <a:pt x="6575" y="14404"/>
                </a:lnTo>
                <a:lnTo>
                  <a:pt x="6545" y="14404"/>
                </a:lnTo>
                <a:lnTo>
                  <a:pt x="6490" y="14458"/>
                </a:lnTo>
                <a:lnTo>
                  <a:pt x="6484" y="14516"/>
                </a:lnTo>
                <a:lnTo>
                  <a:pt x="6505" y="14548"/>
                </a:lnTo>
                <a:lnTo>
                  <a:pt x="6537" y="14514"/>
                </a:lnTo>
                <a:close/>
                <a:moveTo>
                  <a:pt x="6574" y="14152"/>
                </a:moveTo>
                <a:lnTo>
                  <a:pt x="6589" y="14136"/>
                </a:lnTo>
                <a:lnTo>
                  <a:pt x="6592" y="14124"/>
                </a:lnTo>
                <a:lnTo>
                  <a:pt x="6588" y="14112"/>
                </a:lnTo>
                <a:lnTo>
                  <a:pt x="6578" y="14096"/>
                </a:lnTo>
                <a:lnTo>
                  <a:pt x="6551" y="14103"/>
                </a:lnTo>
                <a:lnTo>
                  <a:pt x="6542" y="14122"/>
                </a:lnTo>
                <a:lnTo>
                  <a:pt x="6550" y="14142"/>
                </a:lnTo>
                <a:lnTo>
                  <a:pt x="6574" y="14152"/>
                </a:lnTo>
                <a:close/>
                <a:moveTo>
                  <a:pt x="5350" y="15316"/>
                </a:moveTo>
                <a:lnTo>
                  <a:pt x="5348" y="15332"/>
                </a:lnTo>
                <a:lnTo>
                  <a:pt x="5361" y="15342"/>
                </a:lnTo>
                <a:lnTo>
                  <a:pt x="5378" y="15346"/>
                </a:lnTo>
                <a:lnTo>
                  <a:pt x="5391" y="15339"/>
                </a:lnTo>
                <a:lnTo>
                  <a:pt x="5386" y="15325"/>
                </a:lnTo>
                <a:lnTo>
                  <a:pt x="5376" y="15314"/>
                </a:lnTo>
                <a:lnTo>
                  <a:pt x="5363" y="15311"/>
                </a:lnTo>
                <a:lnTo>
                  <a:pt x="5350" y="15316"/>
                </a:lnTo>
                <a:close/>
                <a:moveTo>
                  <a:pt x="10816" y="13422"/>
                </a:moveTo>
                <a:lnTo>
                  <a:pt x="10831" y="13380"/>
                </a:lnTo>
                <a:lnTo>
                  <a:pt x="10800" y="13355"/>
                </a:lnTo>
                <a:lnTo>
                  <a:pt x="10751" y="13357"/>
                </a:lnTo>
                <a:lnTo>
                  <a:pt x="10716" y="13387"/>
                </a:lnTo>
                <a:lnTo>
                  <a:pt x="10693" y="13425"/>
                </a:lnTo>
                <a:lnTo>
                  <a:pt x="10722" y="13438"/>
                </a:lnTo>
                <a:lnTo>
                  <a:pt x="10773" y="13434"/>
                </a:lnTo>
                <a:lnTo>
                  <a:pt x="10816" y="13422"/>
                </a:lnTo>
                <a:close/>
                <a:moveTo>
                  <a:pt x="15002" y="6022"/>
                </a:moveTo>
                <a:lnTo>
                  <a:pt x="15005" y="6020"/>
                </a:lnTo>
                <a:lnTo>
                  <a:pt x="15003" y="6018"/>
                </a:lnTo>
                <a:lnTo>
                  <a:pt x="15002" y="6015"/>
                </a:lnTo>
                <a:lnTo>
                  <a:pt x="15000" y="6012"/>
                </a:lnTo>
                <a:lnTo>
                  <a:pt x="15001" y="6017"/>
                </a:lnTo>
                <a:lnTo>
                  <a:pt x="15002" y="6022"/>
                </a:lnTo>
                <a:close/>
                <a:moveTo>
                  <a:pt x="16921" y="5332"/>
                </a:moveTo>
                <a:lnTo>
                  <a:pt x="16935" y="5330"/>
                </a:lnTo>
                <a:lnTo>
                  <a:pt x="16926" y="5328"/>
                </a:lnTo>
                <a:lnTo>
                  <a:pt x="16911" y="5330"/>
                </a:lnTo>
                <a:lnTo>
                  <a:pt x="16901" y="5340"/>
                </a:lnTo>
                <a:lnTo>
                  <a:pt x="16911" y="5337"/>
                </a:lnTo>
                <a:lnTo>
                  <a:pt x="16921" y="5332"/>
                </a:lnTo>
                <a:close/>
                <a:moveTo>
                  <a:pt x="13721" y="4864"/>
                </a:moveTo>
                <a:lnTo>
                  <a:pt x="13706" y="4870"/>
                </a:lnTo>
                <a:lnTo>
                  <a:pt x="13685" y="4873"/>
                </a:lnTo>
                <a:lnTo>
                  <a:pt x="13674" y="4879"/>
                </a:lnTo>
                <a:lnTo>
                  <a:pt x="13682" y="4899"/>
                </a:lnTo>
                <a:lnTo>
                  <a:pt x="13711" y="4902"/>
                </a:lnTo>
                <a:lnTo>
                  <a:pt x="13740" y="4883"/>
                </a:lnTo>
                <a:lnTo>
                  <a:pt x="13749" y="4863"/>
                </a:lnTo>
                <a:lnTo>
                  <a:pt x="13721" y="4864"/>
                </a:lnTo>
                <a:close/>
                <a:moveTo>
                  <a:pt x="13758" y="4938"/>
                </a:moveTo>
                <a:lnTo>
                  <a:pt x="13763" y="4943"/>
                </a:lnTo>
                <a:lnTo>
                  <a:pt x="13767" y="4948"/>
                </a:lnTo>
                <a:lnTo>
                  <a:pt x="13771" y="4954"/>
                </a:lnTo>
                <a:lnTo>
                  <a:pt x="13773" y="4961"/>
                </a:lnTo>
                <a:lnTo>
                  <a:pt x="13783" y="4950"/>
                </a:lnTo>
                <a:lnTo>
                  <a:pt x="13782" y="4939"/>
                </a:lnTo>
                <a:lnTo>
                  <a:pt x="13772" y="4933"/>
                </a:lnTo>
                <a:lnTo>
                  <a:pt x="13758" y="4938"/>
                </a:lnTo>
                <a:close/>
                <a:moveTo>
                  <a:pt x="17999" y="5839"/>
                </a:moveTo>
                <a:lnTo>
                  <a:pt x="17996" y="5835"/>
                </a:lnTo>
                <a:lnTo>
                  <a:pt x="17994" y="5834"/>
                </a:lnTo>
                <a:lnTo>
                  <a:pt x="17991" y="5835"/>
                </a:lnTo>
                <a:lnTo>
                  <a:pt x="17989" y="5839"/>
                </a:lnTo>
                <a:lnTo>
                  <a:pt x="17994" y="5838"/>
                </a:lnTo>
                <a:lnTo>
                  <a:pt x="17999" y="5839"/>
                </a:lnTo>
                <a:close/>
                <a:moveTo>
                  <a:pt x="14391" y="5531"/>
                </a:moveTo>
                <a:lnTo>
                  <a:pt x="14407" y="5538"/>
                </a:lnTo>
                <a:lnTo>
                  <a:pt x="14423" y="5538"/>
                </a:lnTo>
                <a:lnTo>
                  <a:pt x="14432" y="5531"/>
                </a:lnTo>
                <a:lnTo>
                  <a:pt x="14429" y="5514"/>
                </a:lnTo>
                <a:lnTo>
                  <a:pt x="14420" y="5521"/>
                </a:lnTo>
                <a:lnTo>
                  <a:pt x="14411" y="5526"/>
                </a:lnTo>
                <a:lnTo>
                  <a:pt x="14401" y="5530"/>
                </a:lnTo>
                <a:lnTo>
                  <a:pt x="14391" y="5531"/>
                </a:lnTo>
                <a:close/>
                <a:moveTo>
                  <a:pt x="13643" y="4891"/>
                </a:moveTo>
                <a:lnTo>
                  <a:pt x="13626" y="4893"/>
                </a:lnTo>
                <a:lnTo>
                  <a:pt x="13629" y="4911"/>
                </a:lnTo>
                <a:lnTo>
                  <a:pt x="13643" y="4920"/>
                </a:lnTo>
                <a:lnTo>
                  <a:pt x="13654" y="4902"/>
                </a:lnTo>
                <a:lnTo>
                  <a:pt x="13656" y="4898"/>
                </a:lnTo>
                <a:lnTo>
                  <a:pt x="13654" y="4894"/>
                </a:lnTo>
                <a:lnTo>
                  <a:pt x="13650" y="4893"/>
                </a:lnTo>
                <a:lnTo>
                  <a:pt x="13643" y="4891"/>
                </a:lnTo>
                <a:close/>
                <a:moveTo>
                  <a:pt x="17832" y="6594"/>
                </a:moveTo>
                <a:lnTo>
                  <a:pt x="17822" y="6596"/>
                </a:lnTo>
                <a:lnTo>
                  <a:pt x="17826" y="6601"/>
                </a:lnTo>
                <a:lnTo>
                  <a:pt x="17834" y="6610"/>
                </a:lnTo>
                <a:lnTo>
                  <a:pt x="17841" y="6619"/>
                </a:lnTo>
                <a:lnTo>
                  <a:pt x="17842" y="6610"/>
                </a:lnTo>
                <a:lnTo>
                  <a:pt x="17843" y="6600"/>
                </a:lnTo>
                <a:lnTo>
                  <a:pt x="17841" y="6594"/>
                </a:lnTo>
                <a:lnTo>
                  <a:pt x="17832" y="6594"/>
                </a:lnTo>
                <a:close/>
                <a:moveTo>
                  <a:pt x="17605" y="7067"/>
                </a:moveTo>
                <a:lnTo>
                  <a:pt x="17610" y="7069"/>
                </a:lnTo>
                <a:lnTo>
                  <a:pt x="17613" y="7067"/>
                </a:lnTo>
                <a:lnTo>
                  <a:pt x="17613" y="7063"/>
                </a:lnTo>
                <a:lnTo>
                  <a:pt x="17614" y="7058"/>
                </a:lnTo>
                <a:lnTo>
                  <a:pt x="17610" y="7063"/>
                </a:lnTo>
                <a:lnTo>
                  <a:pt x="17605" y="7067"/>
                </a:lnTo>
                <a:close/>
                <a:moveTo>
                  <a:pt x="17287" y="10717"/>
                </a:moveTo>
                <a:lnTo>
                  <a:pt x="17307" y="10721"/>
                </a:lnTo>
                <a:lnTo>
                  <a:pt x="17317" y="10715"/>
                </a:lnTo>
                <a:lnTo>
                  <a:pt x="17321" y="10703"/>
                </a:lnTo>
                <a:lnTo>
                  <a:pt x="17319" y="10684"/>
                </a:lnTo>
                <a:lnTo>
                  <a:pt x="17303" y="10701"/>
                </a:lnTo>
                <a:lnTo>
                  <a:pt x="17287" y="10717"/>
                </a:lnTo>
                <a:close/>
                <a:moveTo>
                  <a:pt x="17986" y="5929"/>
                </a:moveTo>
                <a:lnTo>
                  <a:pt x="17986" y="5932"/>
                </a:lnTo>
                <a:lnTo>
                  <a:pt x="17985" y="5934"/>
                </a:lnTo>
                <a:lnTo>
                  <a:pt x="17983" y="5936"/>
                </a:lnTo>
                <a:lnTo>
                  <a:pt x="17981" y="5937"/>
                </a:lnTo>
                <a:lnTo>
                  <a:pt x="17982" y="5938"/>
                </a:lnTo>
                <a:lnTo>
                  <a:pt x="17986" y="5936"/>
                </a:lnTo>
                <a:lnTo>
                  <a:pt x="17989" y="5931"/>
                </a:lnTo>
                <a:lnTo>
                  <a:pt x="17986" y="5929"/>
                </a:lnTo>
                <a:close/>
                <a:moveTo>
                  <a:pt x="17528" y="11790"/>
                </a:moveTo>
                <a:lnTo>
                  <a:pt x="17530" y="11790"/>
                </a:lnTo>
                <a:lnTo>
                  <a:pt x="17533" y="11790"/>
                </a:lnTo>
                <a:lnTo>
                  <a:pt x="17533" y="11792"/>
                </a:lnTo>
                <a:lnTo>
                  <a:pt x="17534" y="11795"/>
                </a:lnTo>
                <a:lnTo>
                  <a:pt x="17539" y="11789"/>
                </a:lnTo>
                <a:lnTo>
                  <a:pt x="17535" y="11786"/>
                </a:lnTo>
                <a:lnTo>
                  <a:pt x="17529" y="11786"/>
                </a:lnTo>
                <a:lnTo>
                  <a:pt x="17528" y="11790"/>
                </a:lnTo>
                <a:close/>
                <a:moveTo>
                  <a:pt x="18003" y="5771"/>
                </a:moveTo>
                <a:lnTo>
                  <a:pt x="18003" y="5765"/>
                </a:lnTo>
                <a:lnTo>
                  <a:pt x="17999" y="5760"/>
                </a:lnTo>
                <a:lnTo>
                  <a:pt x="17995" y="5759"/>
                </a:lnTo>
                <a:lnTo>
                  <a:pt x="17994" y="5761"/>
                </a:lnTo>
                <a:lnTo>
                  <a:pt x="17999" y="5768"/>
                </a:lnTo>
                <a:lnTo>
                  <a:pt x="18003" y="5771"/>
                </a:lnTo>
                <a:close/>
                <a:moveTo>
                  <a:pt x="17912" y="5967"/>
                </a:moveTo>
                <a:lnTo>
                  <a:pt x="17929" y="5964"/>
                </a:lnTo>
                <a:lnTo>
                  <a:pt x="17931" y="5962"/>
                </a:lnTo>
                <a:lnTo>
                  <a:pt x="17925" y="5956"/>
                </a:lnTo>
                <a:lnTo>
                  <a:pt x="17920" y="5939"/>
                </a:lnTo>
                <a:lnTo>
                  <a:pt x="17908" y="5939"/>
                </a:lnTo>
                <a:lnTo>
                  <a:pt x="17904" y="5947"/>
                </a:lnTo>
                <a:lnTo>
                  <a:pt x="17906" y="5959"/>
                </a:lnTo>
                <a:lnTo>
                  <a:pt x="17912" y="5967"/>
                </a:lnTo>
                <a:close/>
                <a:moveTo>
                  <a:pt x="17847" y="5691"/>
                </a:moveTo>
                <a:lnTo>
                  <a:pt x="17846" y="5695"/>
                </a:lnTo>
                <a:lnTo>
                  <a:pt x="17847" y="5696"/>
                </a:lnTo>
                <a:lnTo>
                  <a:pt x="17850" y="5696"/>
                </a:lnTo>
                <a:lnTo>
                  <a:pt x="17854" y="5696"/>
                </a:lnTo>
                <a:lnTo>
                  <a:pt x="17850" y="5694"/>
                </a:lnTo>
                <a:lnTo>
                  <a:pt x="17847" y="5691"/>
                </a:lnTo>
                <a:close/>
                <a:moveTo>
                  <a:pt x="5196" y="12828"/>
                </a:moveTo>
                <a:lnTo>
                  <a:pt x="5208" y="12823"/>
                </a:lnTo>
                <a:lnTo>
                  <a:pt x="5205" y="12812"/>
                </a:lnTo>
                <a:lnTo>
                  <a:pt x="5195" y="12804"/>
                </a:lnTo>
                <a:lnTo>
                  <a:pt x="5184" y="12808"/>
                </a:lnTo>
                <a:lnTo>
                  <a:pt x="5180" y="12817"/>
                </a:lnTo>
                <a:lnTo>
                  <a:pt x="5181" y="12825"/>
                </a:lnTo>
                <a:lnTo>
                  <a:pt x="5187" y="12830"/>
                </a:lnTo>
                <a:lnTo>
                  <a:pt x="5196" y="12828"/>
                </a:lnTo>
                <a:close/>
                <a:moveTo>
                  <a:pt x="4715" y="8550"/>
                </a:moveTo>
                <a:lnTo>
                  <a:pt x="4618" y="8590"/>
                </a:lnTo>
                <a:lnTo>
                  <a:pt x="4665" y="8689"/>
                </a:lnTo>
                <a:lnTo>
                  <a:pt x="4779" y="8753"/>
                </a:lnTo>
                <a:lnTo>
                  <a:pt x="4877" y="8685"/>
                </a:lnTo>
                <a:lnTo>
                  <a:pt x="4893" y="8629"/>
                </a:lnTo>
                <a:lnTo>
                  <a:pt x="4855" y="8567"/>
                </a:lnTo>
                <a:lnTo>
                  <a:pt x="4787" y="8530"/>
                </a:lnTo>
                <a:lnTo>
                  <a:pt x="4715" y="8550"/>
                </a:lnTo>
                <a:close/>
                <a:moveTo>
                  <a:pt x="8762" y="4201"/>
                </a:moveTo>
                <a:lnTo>
                  <a:pt x="8748" y="4204"/>
                </a:lnTo>
                <a:lnTo>
                  <a:pt x="8751" y="4217"/>
                </a:lnTo>
                <a:lnTo>
                  <a:pt x="8762" y="4227"/>
                </a:lnTo>
                <a:lnTo>
                  <a:pt x="8776" y="4225"/>
                </a:lnTo>
                <a:lnTo>
                  <a:pt x="8780" y="4217"/>
                </a:lnTo>
                <a:lnTo>
                  <a:pt x="8779" y="4208"/>
                </a:lnTo>
                <a:lnTo>
                  <a:pt x="8772" y="4202"/>
                </a:lnTo>
                <a:lnTo>
                  <a:pt x="8762" y="4201"/>
                </a:lnTo>
                <a:close/>
                <a:moveTo>
                  <a:pt x="4789" y="8488"/>
                </a:moveTo>
                <a:lnTo>
                  <a:pt x="4823" y="8480"/>
                </a:lnTo>
                <a:lnTo>
                  <a:pt x="4819" y="8456"/>
                </a:lnTo>
                <a:lnTo>
                  <a:pt x="4791" y="8436"/>
                </a:lnTo>
                <a:lnTo>
                  <a:pt x="4751" y="8442"/>
                </a:lnTo>
                <a:lnTo>
                  <a:pt x="4743" y="8461"/>
                </a:lnTo>
                <a:lnTo>
                  <a:pt x="4758" y="8467"/>
                </a:lnTo>
                <a:lnTo>
                  <a:pt x="4780" y="8473"/>
                </a:lnTo>
                <a:lnTo>
                  <a:pt x="4789" y="8488"/>
                </a:lnTo>
                <a:close/>
                <a:moveTo>
                  <a:pt x="7995" y="4514"/>
                </a:moveTo>
                <a:lnTo>
                  <a:pt x="7999" y="4519"/>
                </a:lnTo>
                <a:lnTo>
                  <a:pt x="8003" y="4519"/>
                </a:lnTo>
                <a:lnTo>
                  <a:pt x="8009" y="4518"/>
                </a:lnTo>
                <a:lnTo>
                  <a:pt x="8016" y="4515"/>
                </a:lnTo>
                <a:lnTo>
                  <a:pt x="8026" y="4505"/>
                </a:lnTo>
                <a:lnTo>
                  <a:pt x="8020" y="4497"/>
                </a:lnTo>
                <a:lnTo>
                  <a:pt x="8004" y="4492"/>
                </a:lnTo>
                <a:lnTo>
                  <a:pt x="7989" y="4492"/>
                </a:lnTo>
                <a:lnTo>
                  <a:pt x="7995" y="4482"/>
                </a:lnTo>
                <a:lnTo>
                  <a:pt x="8002" y="4470"/>
                </a:lnTo>
                <a:lnTo>
                  <a:pt x="8009" y="4459"/>
                </a:lnTo>
                <a:lnTo>
                  <a:pt x="8016" y="4448"/>
                </a:lnTo>
                <a:lnTo>
                  <a:pt x="8128" y="4453"/>
                </a:lnTo>
                <a:lnTo>
                  <a:pt x="8119" y="4490"/>
                </a:lnTo>
                <a:lnTo>
                  <a:pt x="8050" y="4533"/>
                </a:lnTo>
                <a:lnTo>
                  <a:pt x="7983" y="4556"/>
                </a:lnTo>
                <a:lnTo>
                  <a:pt x="7769" y="4715"/>
                </a:lnTo>
                <a:lnTo>
                  <a:pt x="7636" y="4674"/>
                </a:lnTo>
                <a:lnTo>
                  <a:pt x="7587" y="4500"/>
                </a:lnTo>
                <a:lnTo>
                  <a:pt x="7617" y="4255"/>
                </a:lnTo>
                <a:lnTo>
                  <a:pt x="7697" y="4311"/>
                </a:lnTo>
                <a:lnTo>
                  <a:pt x="7815" y="4361"/>
                </a:lnTo>
                <a:lnTo>
                  <a:pt x="7910" y="4403"/>
                </a:lnTo>
                <a:lnTo>
                  <a:pt x="7924" y="4434"/>
                </a:lnTo>
                <a:lnTo>
                  <a:pt x="7692" y="4428"/>
                </a:lnTo>
                <a:lnTo>
                  <a:pt x="7671" y="4553"/>
                </a:lnTo>
                <a:lnTo>
                  <a:pt x="7790" y="4636"/>
                </a:lnTo>
                <a:lnTo>
                  <a:pt x="7983" y="4501"/>
                </a:lnTo>
                <a:lnTo>
                  <a:pt x="7986" y="4506"/>
                </a:lnTo>
                <a:lnTo>
                  <a:pt x="7995" y="4514"/>
                </a:lnTo>
                <a:close/>
                <a:moveTo>
                  <a:pt x="18858" y="7762"/>
                </a:moveTo>
                <a:lnTo>
                  <a:pt x="18867" y="7774"/>
                </a:lnTo>
                <a:lnTo>
                  <a:pt x="18871" y="7793"/>
                </a:lnTo>
                <a:lnTo>
                  <a:pt x="18870" y="7812"/>
                </a:lnTo>
                <a:lnTo>
                  <a:pt x="18865" y="7827"/>
                </a:lnTo>
                <a:lnTo>
                  <a:pt x="18853" y="7822"/>
                </a:lnTo>
                <a:lnTo>
                  <a:pt x="18844" y="7798"/>
                </a:lnTo>
                <a:lnTo>
                  <a:pt x="18844" y="7774"/>
                </a:lnTo>
                <a:lnTo>
                  <a:pt x="18858" y="7762"/>
                </a:lnTo>
                <a:close/>
                <a:moveTo>
                  <a:pt x="18857" y="9026"/>
                </a:moveTo>
                <a:lnTo>
                  <a:pt x="18852" y="9050"/>
                </a:lnTo>
                <a:lnTo>
                  <a:pt x="18839" y="9049"/>
                </a:lnTo>
                <a:lnTo>
                  <a:pt x="18829" y="9030"/>
                </a:lnTo>
                <a:lnTo>
                  <a:pt x="18833" y="9002"/>
                </a:lnTo>
                <a:lnTo>
                  <a:pt x="18839" y="9001"/>
                </a:lnTo>
                <a:lnTo>
                  <a:pt x="18849" y="9006"/>
                </a:lnTo>
                <a:lnTo>
                  <a:pt x="18858" y="9016"/>
                </a:lnTo>
                <a:lnTo>
                  <a:pt x="18857" y="9026"/>
                </a:lnTo>
                <a:close/>
                <a:moveTo>
                  <a:pt x="18726" y="7951"/>
                </a:moveTo>
                <a:lnTo>
                  <a:pt x="18735" y="7920"/>
                </a:lnTo>
                <a:lnTo>
                  <a:pt x="18755" y="7902"/>
                </a:lnTo>
                <a:lnTo>
                  <a:pt x="18783" y="7900"/>
                </a:lnTo>
                <a:lnTo>
                  <a:pt x="18810" y="7914"/>
                </a:lnTo>
                <a:lnTo>
                  <a:pt x="18812" y="7954"/>
                </a:lnTo>
                <a:lnTo>
                  <a:pt x="18788" y="7979"/>
                </a:lnTo>
                <a:lnTo>
                  <a:pt x="18754" y="7980"/>
                </a:lnTo>
                <a:lnTo>
                  <a:pt x="18726" y="7951"/>
                </a:lnTo>
                <a:close/>
                <a:moveTo>
                  <a:pt x="18770" y="9024"/>
                </a:moveTo>
                <a:lnTo>
                  <a:pt x="18768" y="9056"/>
                </a:lnTo>
                <a:lnTo>
                  <a:pt x="18750" y="9067"/>
                </a:lnTo>
                <a:lnTo>
                  <a:pt x="18734" y="9059"/>
                </a:lnTo>
                <a:lnTo>
                  <a:pt x="18731" y="9034"/>
                </a:lnTo>
                <a:lnTo>
                  <a:pt x="18742" y="9003"/>
                </a:lnTo>
                <a:lnTo>
                  <a:pt x="18755" y="8980"/>
                </a:lnTo>
                <a:lnTo>
                  <a:pt x="18765" y="8982"/>
                </a:lnTo>
                <a:lnTo>
                  <a:pt x="18770" y="9024"/>
                </a:lnTo>
                <a:close/>
                <a:moveTo>
                  <a:pt x="18671" y="7752"/>
                </a:moveTo>
                <a:lnTo>
                  <a:pt x="18620" y="7734"/>
                </a:lnTo>
                <a:lnTo>
                  <a:pt x="18619" y="7697"/>
                </a:lnTo>
                <a:lnTo>
                  <a:pt x="18637" y="7655"/>
                </a:lnTo>
                <a:lnTo>
                  <a:pt x="18648" y="7624"/>
                </a:lnTo>
                <a:lnTo>
                  <a:pt x="18675" y="7635"/>
                </a:lnTo>
                <a:lnTo>
                  <a:pt x="18714" y="7678"/>
                </a:lnTo>
                <a:lnTo>
                  <a:pt x="18726" y="7727"/>
                </a:lnTo>
                <a:lnTo>
                  <a:pt x="18671" y="7752"/>
                </a:lnTo>
                <a:close/>
                <a:moveTo>
                  <a:pt x="18647" y="8277"/>
                </a:moveTo>
                <a:lnTo>
                  <a:pt x="18660" y="8275"/>
                </a:lnTo>
                <a:lnTo>
                  <a:pt x="18672" y="8298"/>
                </a:lnTo>
                <a:lnTo>
                  <a:pt x="18674" y="8321"/>
                </a:lnTo>
                <a:lnTo>
                  <a:pt x="18658" y="8325"/>
                </a:lnTo>
                <a:lnTo>
                  <a:pt x="18647" y="8320"/>
                </a:lnTo>
                <a:lnTo>
                  <a:pt x="18641" y="8306"/>
                </a:lnTo>
                <a:lnTo>
                  <a:pt x="18641" y="8289"/>
                </a:lnTo>
                <a:lnTo>
                  <a:pt x="18647" y="8277"/>
                </a:lnTo>
                <a:close/>
                <a:moveTo>
                  <a:pt x="18686" y="8856"/>
                </a:moveTo>
                <a:lnTo>
                  <a:pt x="18647" y="8876"/>
                </a:lnTo>
                <a:lnTo>
                  <a:pt x="18609" y="8872"/>
                </a:lnTo>
                <a:lnTo>
                  <a:pt x="18578" y="8847"/>
                </a:lnTo>
                <a:lnTo>
                  <a:pt x="18567" y="8805"/>
                </a:lnTo>
                <a:lnTo>
                  <a:pt x="18606" y="8763"/>
                </a:lnTo>
                <a:lnTo>
                  <a:pt x="18655" y="8764"/>
                </a:lnTo>
                <a:lnTo>
                  <a:pt x="18689" y="8798"/>
                </a:lnTo>
                <a:lnTo>
                  <a:pt x="18686" y="8856"/>
                </a:lnTo>
                <a:close/>
                <a:moveTo>
                  <a:pt x="18605" y="8907"/>
                </a:moveTo>
                <a:lnTo>
                  <a:pt x="18595" y="8932"/>
                </a:lnTo>
                <a:lnTo>
                  <a:pt x="18583" y="8917"/>
                </a:lnTo>
                <a:lnTo>
                  <a:pt x="18579" y="8891"/>
                </a:lnTo>
                <a:lnTo>
                  <a:pt x="18596" y="8888"/>
                </a:lnTo>
                <a:lnTo>
                  <a:pt x="18601" y="8891"/>
                </a:lnTo>
                <a:lnTo>
                  <a:pt x="18605" y="8895"/>
                </a:lnTo>
                <a:lnTo>
                  <a:pt x="18607" y="8899"/>
                </a:lnTo>
                <a:lnTo>
                  <a:pt x="18605" y="8907"/>
                </a:lnTo>
                <a:close/>
                <a:moveTo>
                  <a:pt x="18579" y="9359"/>
                </a:moveTo>
                <a:lnTo>
                  <a:pt x="18546" y="9343"/>
                </a:lnTo>
                <a:lnTo>
                  <a:pt x="18539" y="9319"/>
                </a:lnTo>
                <a:lnTo>
                  <a:pt x="18543" y="9288"/>
                </a:lnTo>
                <a:lnTo>
                  <a:pt x="18548" y="9254"/>
                </a:lnTo>
                <a:lnTo>
                  <a:pt x="18564" y="9221"/>
                </a:lnTo>
                <a:lnTo>
                  <a:pt x="18581" y="9255"/>
                </a:lnTo>
                <a:lnTo>
                  <a:pt x="18588" y="9314"/>
                </a:lnTo>
                <a:lnTo>
                  <a:pt x="18579" y="9359"/>
                </a:lnTo>
                <a:close/>
                <a:moveTo>
                  <a:pt x="18569" y="9672"/>
                </a:moveTo>
                <a:lnTo>
                  <a:pt x="18548" y="9781"/>
                </a:lnTo>
                <a:lnTo>
                  <a:pt x="18516" y="9786"/>
                </a:lnTo>
                <a:lnTo>
                  <a:pt x="18502" y="9734"/>
                </a:lnTo>
                <a:lnTo>
                  <a:pt x="18532" y="9669"/>
                </a:lnTo>
                <a:lnTo>
                  <a:pt x="18543" y="9667"/>
                </a:lnTo>
                <a:lnTo>
                  <a:pt x="18549" y="9640"/>
                </a:lnTo>
                <a:lnTo>
                  <a:pt x="18558" y="9628"/>
                </a:lnTo>
                <a:lnTo>
                  <a:pt x="18569" y="9672"/>
                </a:lnTo>
                <a:close/>
                <a:moveTo>
                  <a:pt x="18465" y="9221"/>
                </a:moveTo>
                <a:lnTo>
                  <a:pt x="18467" y="9268"/>
                </a:lnTo>
                <a:lnTo>
                  <a:pt x="18430" y="9207"/>
                </a:lnTo>
                <a:lnTo>
                  <a:pt x="18418" y="9118"/>
                </a:lnTo>
                <a:lnTo>
                  <a:pt x="18489" y="9084"/>
                </a:lnTo>
                <a:lnTo>
                  <a:pt x="18550" y="9103"/>
                </a:lnTo>
                <a:lnTo>
                  <a:pt x="18562" y="9169"/>
                </a:lnTo>
                <a:lnTo>
                  <a:pt x="18531" y="9226"/>
                </a:lnTo>
                <a:lnTo>
                  <a:pt x="18465" y="9221"/>
                </a:lnTo>
                <a:close/>
                <a:moveTo>
                  <a:pt x="18460" y="9767"/>
                </a:moveTo>
                <a:lnTo>
                  <a:pt x="18441" y="9763"/>
                </a:lnTo>
                <a:lnTo>
                  <a:pt x="18436" y="9742"/>
                </a:lnTo>
                <a:lnTo>
                  <a:pt x="18443" y="9728"/>
                </a:lnTo>
                <a:lnTo>
                  <a:pt x="18462" y="9743"/>
                </a:lnTo>
                <a:lnTo>
                  <a:pt x="18464" y="9751"/>
                </a:lnTo>
                <a:lnTo>
                  <a:pt x="18465" y="9756"/>
                </a:lnTo>
                <a:lnTo>
                  <a:pt x="18465" y="9761"/>
                </a:lnTo>
                <a:lnTo>
                  <a:pt x="18460" y="9767"/>
                </a:lnTo>
                <a:close/>
                <a:moveTo>
                  <a:pt x="18423" y="9893"/>
                </a:moveTo>
                <a:lnTo>
                  <a:pt x="18385" y="9892"/>
                </a:lnTo>
                <a:lnTo>
                  <a:pt x="18373" y="9864"/>
                </a:lnTo>
                <a:lnTo>
                  <a:pt x="18367" y="9827"/>
                </a:lnTo>
                <a:lnTo>
                  <a:pt x="18346" y="9799"/>
                </a:lnTo>
                <a:lnTo>
                  <a:pt x="18364" y="9740"/>
                </a:lnTo>
                <a:lnTo>
                  <a:pt x="18402" y="9765"/>
                </a:lnTo>
                <a:lnTo>
                  <a:pt x="18432" y="9828"/>
                </a:lnTo>
                <a:lnTo>
                  <a:pt x="18423" y="9893"/>
                </a:lnTo>
                <a:close/>
                <a:moveTo>
                  <a:pt x="18326" y="9815"/>
                </a:moveTo>
                <a:lnTo>
                  <a:pt x="18323" y="9815"/>
                </a:lnTo>
                <a:lnTo>
                  <a:pt x="18321" y="9812"/>
                </a:lnTo>
                <a:lnTo>
                  <a:pt x="18320" y="9807"/>
                </a:lnTo>
                <a:lnTo>
                  <a:pt x="18321" y="9804"/>
                </a:lnTo>
                <a:lnTo>
                  <a:pt x="18327" y="9799"/>
                </a:lnTo>
                <a:lnTo>
                  <a:pt x="18331" y="9801"/>
                </a:lnTo>
                <a:lnTo>
                  <a:pt x="18331" y="9809"/>
                </a:lnTo>
                <a:lnTo>
                  <a:pt x="18326" y="9815"/>
                </a:lnTo>
                <a:close/>
                <a:moveTo>
                  <a:pt x="18350" y="9408"/>
                </a:moveTo>
                <a:lnTo>
                  <a:pt x="18392" y="9417"/>
                </a:lnTo>
                <a:lnTo>
                  <a:pt x="18422" y="9439"/>
                </a:lnTo>
                <a:lnTo>
                  <a:pt x="18437" y="9471"/>
                </a:lnTo>
                <a:lnTo>
                  <a:pt x="18432" y="9514"/>
                </a:lnTo>
                <a:lnTo>
                  <a:pt x="18359" y="9590"/>
                </a:lnTo>
                <a:lnTo>
                  <a:pt x="18281" y="9539"/>
                </a:lnTo>
                <a:lnTo>
                  <a:pt x="18259" y="9450"/>
                </a:lnTo>
                <a:lnTo>
                  <a:pt x="18350" y="9408"/>
                </a:lnTo>
                <a:close/>
                <a:moveTo>
                  <a:pt x="18295" y="9868"/>
                </a:moveTo>
                <a:lnTo>
                  <a:pt x="18229" y="9950"/>
                </a:lnTo>
                <a:lnTo>
                  <a:pt x="18136" y="9899"/>
                </a:lnTo>
                <a:lnTo>
                  <a:pt x="18097" y="9799"/>
                </a:lnTo>
                <a:lnTo>
                  <a:pt x="18188" y="9733"/>
                </a:lnTo>
                <a:lnTo>
                  <a:pt x="18241" y="9752"/>
                </a:lnTo>
                <a:lnTo>
                  <a:pt x="18281" y="9781"/>
                </a:lnTo>
                <a:lnTo>
                  <a:pt x="18302" y="9819"/>
                </a:lnTo>
                <a:lnTo>
                  <a:pt x="18295" y="9868"/>
                </a:lnTo>
                <a:close/>
                <a:moveTo>
                  <a:pt x="18289" y="9959"/>
                </a:moveTo>
                <a:lnTo>
                  <a:pt x="18287" y="9959"/>
                </a:lnTo>
                <a:lnTo>
                  <a:pt x="18283" y="9957"/>
                </a:lnTo>
                <a:lnTo>
                  <a:pt x="18280" y="9954"/>
                </a:lnTo>
                <a:lnTo>
                  <a:pt x="18280" y="9950"/>
                </a:lnTo>
                <a:lnTo>
                  <a:pt x="18283" y="9943"/>
                </a:lnTo>
                <a:lnTo>
                  <a:pt x="18288" y="9944"/>
                </a:lnTo>
                <a:lnTo>
                  <a:pt x="18292" y="9950"/>
                </a:lnTo>
                <a:lnTo>
                  <a:pt x="18289" y="9959"/>
                </a:lnTo>
                <a:close/>
                <a:moveTo>
                  <a:pt x="18188" y="10013"/>
                </a:moveTo>
                <a:lnTo>
                  <a:pt x="18173" y="10015"/>
                </a:lnTo>
                <a:lnTo>
                  <a:pt x="18162" y="10004"/>
                </a:lnTo>
                <a:lnTo>
                  <a:pt x="18152" y="9985"/>
                </a:lnTo>
                <a:lnTo>
                  <a:pt x="18143" y="9968"/>
                </a:lnTo>
                <a:lnTo>
                  <a:pt x="18163" y="9961"/>
                </a:lnTo>
                <a:lnTo>
                  <a:pt x="18185" y="9972"/>
                </a:lnTo>
                <a:lnTo>
                  <a:pt x="18197" y="9994"/>
                </a:lnTo>
                <a:lnTo>
                  <a:pt x="18188" y="10013"/>
                </a:lnTo>
                <a:close/>
                <a:moveTo>
                  <a:pt x="18166" y="10143"/>
                </a:moveTo>
                <a:lnTo>
                  <a:pt x="18164" y="10140"/>
                </a:lnTo>
                <a:lnTo>
                  <a:pt x="18164" y="10136"/>
                </a:lnTo>
                <a:lnTo>
                  <a:pt x="18164" y="10131"/>
                </a:lnTo>
                <a:lnTo>
                  <a:pt x="18167" y="10130"/>
                </a:lnTo>
                <a:lnTo>
                  <a:pt x="18174" y="10129"/>
                </a:lnTo>
                <a:lnTo>
                  <a:pt x="18177" y="10132"/>
                </a:lnTo>
                <a:lnTo>
                  <a:pt x="18174" y="10140"/>
                </a:lnTo>
                <a:lnTo>
                  <a:pt x="18166" y="10143"/>
                </a:lnTo>
                <a:close/>
                <a:moveTo>
                  <a:pt x="18131" y="9976"/>
                </a:moveTo>
                <a:lnTo>
                  <a:pt x="18127" y="9977"/>
                </a:lnTo>
                <a:lnTo>
                  <a:pt x="18125" y="9976"/>
                </a:lnTo>
                <a:lnTo>
                  <a:pt x="18122" y="9973"/>
                </a:lnTo>
                <a:lnTo>
                  <a:pt x="18122" y="9970"/>
                </a:lnTo>
                <a:lnTo>
                  <a:pt x="18125" y="9966"/>
                </a:lnTo>
                <a:lnTo>
                  <a:pt x="18131" y="9968"/>
                </a:lnTo>
                <a:lnTo>
                  <a:pt x="18134" y="9972"/>
                </a:lnTo>
                <a:lnTo>
                  <a:pt x="18131" y="9976"/>
                </a:lnTo>
                <a:close/>
                <a:moveTo>
                  <a:pt x="18088" y="9931"/>
                </a:moveTo>
                <a:lnTo>
                  <a:pt x="18083" y="9940"/>
                </a:lnTo>
                <a:lnTo>
                  <a:pt x="18078" y="9935"/>
                </a:lnTo>
                <a:lnTo>
                  <a:pt x="18076" y="9926"/>
                </a:lnTo>
                <a:lnTo>
                  <a:pt x="18083" y="9925"/>
                </a:lnTo>
                <a:lnTo>
                  <a:pt x="18085" y="9926"/>
                </a:lnTo>
                <a:lnTo>
                  <a:pt x="18087" y="9926"/>
                </a:lnTo>
                <a:lnTo>
                  <a:pt x="18088" y="9929"/>
                </a:lnTo>
                <a:lnTo>
                  <a:pt x="18088" y="9931"/>
                </a:lnTo>
                <a:close/>
                <a:moveTo>
                  <a:pt x="18024" y="9423"/>
                </a:moveTo>
                <a:lnTo>
                  <a:pt x="18004" y="9439"/>
                </a:lnTo>
                <a:lnTo>
                  <a:pt x="17990" y="9440"/>
                </a:lnTo>
                <a:lnTo>
                  <a:pt x="17980" y="9432"/>
                </a:lnTo>
                <a:lnTo>
                  <a:pt x="17972" y="9413"/>
                </a:lnTo>
                <a:lnTo>
                  <a:pt x="17943" y="9304"/>
                </a:lnTo>
                <a:lnTo>
                  <a:pt x="18022" y="9285"/>
                </a:lnTo>
                <a:lnTo>
                  <a:pt x="18088" y="9333"/>
                </a:lnTo>
                <a:lnTo>
                  <a:pt x="18024" y="9423"/>
                </a:lnTo>
                <a:close/>
                <a:moveTo>
                  <a:pt x="18027" y="9808"/>
                </a:moveTo>
                <a:lnTo>
                  <a:pt x="18017" y="9815"/>
                </a:lnTo>
                <a:lnTo>
                  <a:pt x="18005" y="9813"/>
                </a:lnTo>
                <a:lnTo>
                  <a:pt x="17996" y="9804"/>
                </a:lnTo>
                <a:lnTo>
                  <a:pt x="17991" y="9790"/>
                </a:lnTo>
                <a:lnTo>
                  <a:pt x="18000" y="9776"/>
                </a:lnTo>
                <a:lnTo>
                  <a:pt x="18020" y="9779"/>
                </a:lnTo>
                <a:lnTo>
                  <a:pt x="18034" y="9791"/>
                </a:lnTo>
                <a:lnTo>
                  <a:pt x="18027" y="9808"/>
                </a:lnTo>
                <a:close/>
                <a:moveTo>
                  <a:pt x="17997" y="10071"/>
                </a:moveTo>
                <a:lnTo>
                  <a:pt x="17976" y="10070"/>
                </a:lnTo>
                <a:lnTo>
                  <a:pt x="17964" y="10042"/>
                </a:lnTo>
                <a:lnTo>
                  <a:pt x="17963" y="10010"/>
                </a:lnTo>
                <a:lnTo>
                  <a:pt x="17975" y="9994"/>
                </a:lnTo>
                <a:lnTo>
                  <a:pt x="17989" y="10008"/>
                </a:lnTo>
                <a:lnTo>
                  <a:pt x="18000" y="10029"/>
                </a:lnTo>
                <a:lnTo>
                  <a:pt x="18004" y="10052"/>
                </a:lnTo>
                <a:lnTo>
                  <a:pt x="17997" y="10071"/>
                </a:lnTo>
                <a:close/>
                <a:moveTo>
                  <a:pt x="17968" y="9471"/>
                </a:moveTo>
                <a:lnTo>
                  <a:pt x="18010" y="9513"/>
                </a:lnTo>
                <a:lnTo>
                  <a:pt x="18022" y="9583"/>
                </a:lnTo>
                <a:lnTo>
                  <a:pt x="18005" y="9627"/>
                </a:lnTo>
                <a:lnTo>
                  <a:pt x="17964" y="9594"/>
                </a:lnTo>
                <a:lnTo>
                  <a:pt x="17969" y="9560"/>
                </a:lnTo>
                <a:lnTo>
                  <a:pt x="17954" y="9523"/>
                </a:lnTo>
                <a:lnTo>
                  <a:pt x="17945" y="9491"/>
                </a:lnTo>
                <a:lnTo>
                  <a:pt x="17968" y="9471"/>
                </a:lnTo>
                <a:close/>
                <a:moveTo>
                  <a:pt x="17772" y="9669"/>
                </a:moveTo>
                <a:lnTo>
                  <a:pt x="17790" y="9627"/>
                </a:lnTo>
                <a:lnTo>
                  <a:pt x="17812" y="9607"/>
                </a:lnTo>
                <a:lnTo>
                  <a:pt x="17840" y="9605"/>
                </a:lnTo>
                <a:lnTo>
                  <a:pt x="17879" y="9616"/>
                </a:lnTo>
                <a:lnTo>
                  <a:pt x="17961" y="9701"/>
                </a:lnTo>
                <a:lnTo>
                  <a:pt x="17906" y="9766"/>
                </a:lnTo>
                <a:lnTo>
                  <a:pt x="17810" y="9770"/>
                </a:lnTo>
                <a:lnTo>
                  <a:pt x="17772" y="9669"/>
                </a:lnTo>
                <a:close/>
                <a:moveTo>
                  <a:pt x="17927" y="9958"/>
                </a:moveTo>
                <a:lnTo>
                  <a:pt x="17929" y="9956"/>
                </a:lnTo>
                <a:lnTo>
                  <a:pt x="17931" y="9952"/>
                </a:lnTo>
                <a:lnTo>
                  <a:pt x="17934" y="9949"/>
                </a:lnTo>
                <a:lnTo>
                  <a:pt x="17938" y="9950"/>
                </a:lnTo>
                <a:lnTo>
                  <a:pt x="17943" y="9956"/>
                </a:lnTo>
                <a:lnTo>
                  <a:pt x="17941" y="9961"/>
                </a:lnTo>
                <a:lnTo>
                  <a:pt x="17935" y="9962"/>
                </a:lnTo>
                <a:lnTo>
                  <a:pt x="17927" y="9958"/>
                </a:lnTo>
                <a:close/>
                <a:moveTo>
                  <a:pt x="17903" y="10073"/>
                </a:moveTo>
                <a:lnTo>
                  <a:pt x="17899" y="10074"/>
                </a:lnTo>
                <a:lnTo>
                  <a:pt x="17894" y="10070"/>
                </a:lnTo>
                <a:lnTo>
                  <a:pt x="17893" y="10064"/>
                </a:lnTo>
                <a:lnTo>
                  <a:pt x="17898" y="10062"/>
                </a:lnTo>
                <a:lnTo>
                  <a:pt x="17901" y="10062"/>
                </a:lnTo>
                <a:lnTo>
                  <a:pt x="17903" y="10065"/>
                </a:lnTo>
                <a:lnTo>
                  <a:pt x="17904" y="10069"/>
                </a:lnTo>
                <a:lnTo>
                  <a:pt x="17903" y="10073"/>
                </a:lnTo>
                <a:close/>
                <a:moveTo>
                  <a:pt x="17898" y="10172"/>
                </a:moveTo>
                <a:lnTo>
                  <a:pt x="17871" y="10174"/>
                </a:lnTo>
                <a:lnTo>
                  <a:pt x="17854" y="10146"/>
                </a:lnTo>
                <a:lnTo>
                  <a:pt x="17850" y="10111"/>
                </a:lnTo>
                <a:lnTo>
                  <a:pt x="17862" y="10092"/>
                </a:lnTo>
                <a:lnTo>
                  <a:pt x="17882" y="10104"/>
                </a:lnTo>
                <a:lnTo>
                  <a:pt x="17897" y="10125"/>
                </a:lnTo>
                <a:lnTo>
                  <a:pt x="17904" y="10150"/>
                </a:lnTo>
                <a:lnTo>
                  <a:pt x="17898" y="10172"/>
                </a:lnTo>
                <a:close/>
                <a:moveTo>
                  <a:pt x="17833" y="10140"/>
                </a:moveTo>
                <a:lnTo>
                  <a:pt x="17823" y="10139"/>
                </a:lnTo>
                <a:lnTo>
                  <a:pt x="17819" y="10126"/>
                </a:lnTo>
                <a:lnTo>
                  <a:pt x="17820" y="10112"/>
                </a:lnTo>
                <a:lnTo>
                  <a:pt x="17827" y="10106"/>
                </a:lnTo>
                <a:lnTo>
                  <a:pt x="17832" y="10112"/>
                </a:lnTo>
                <a:lnTo>
                  <a:pt x="17836" y="10122"/>
                </a:lnTo>
                <a:lnTo>
                  <a:pt x="17837" y="10132"/>
                </a:lnTo>
                <a:lnTo>
                  <a:pt x="17833" y="10140"/>
                </a:lnTo>
                <a:close/>
                <a:moveTo>
                  <a:pt x="17828" y="10232"/>
                </a:moveTo>
                <a:lnTo>
                  <a:pt x="17801" y="10243"/>
                </a:lnTo>
                <a:lnTo>
                  <a:pt x="17777" y="10215"/>
                </a:lnTo>
                <a:lnTo>
                  <a:pt x="17763" y="10174"/>
                </a:lnTo>
                <a:lnTo>
                  <a:pt x="17772" y="10149"/>
                </a:lnTo>
                <a:lnTo>
                  <a:pt x="17794" y="10158"/>
                </a:lnTo>
                <a:lnTo>
                  <a:pt x="17815" y="10180"/>
                </a:lnTo>
                <a:lnTo>
                  <a:pt x="17828" y="10206"/>
                </a:lnTo>
                <a:lnTo>
                  <a:pt x="17828" y="10232"/>
                </a:lnTo>
                <a:close/>
                <a:moveTo>
                  <a:pt x="17829" y="10037"/>
                </a:moveTo>
                <a:lnTo>
                  <a:pt x="17832" y="10013"/>
                </a:lnTo>
                <a:lnTo>
                  <a:pt x="17852" y="10023"/>
                </a:lnTo>
                <a:lnTo>
                  <a:pt x="17870" y="10051"/>
                </a:lnTo>
                <a:lnTo>
                  <a:pt x="17864" y="10078"/>
                </a:lnTo>
                <a:lnTo>
                  <a:pt x="17841" y="10083"/>
                </a:lnTo>
                <a:lnTo>
                  <a:pt x="17834" y="10071"/>
                </a:lnTo>
                <a:lnTo>
                  <a:pt x="17836" y="10054"/>
                </a:lnTo>
                <a:lnTo>
                  <a:pt x="17829" y="10037"/>
                </a:lnTo>
                <a:close/>
                <a:moveTo>
                  <a:pt x="17818" y="9832"/>
                </a:moveTo>
                <a:lnTo>
                  <a:pt x="17823" y="9828"/>
                </a:lnTo>
                <a:lnTo>
                  <a:pt x="17828" y="9832"/>
                </a:lnTo>
                <a:lnTo>
                  <a:pt x="17829" y="9837"/>
                </a:lnTo>
                <a:lnTo>
                  <a:pt x="17822" y="9838"/>
                </a:lnTo>
                <a:lnTo>
                  <a:pt x="17820" y="9837"/>
                </a:lnTo>
                <a:lnTo>
                  <a:pt x="17819" y="9836"/>
                </a:lnTo>
                <a:lnTo>
                  <a:pt x="17818" y="9836"/>
                </a:lnTo>
                <a:lnTo>
                  <a:pt x="17818" y="9832"/>
                </a:lnTo>
                <a:close/>
                <a:moveTo>
                  <a:pt x="17833" y="9964"/>
                </a:moveTo>
                <a:lnTo>
                  <a:pt x="17838" y="9971"/>
                </a:lnTo>
                <a:lnTo>
                  <a:pt x="17842" y="9978"/>
                </a:lnTo>
                <a:lnTo>
                  <a:pt x="17843" y="9986"/>
                </a:lnTo>
                <a:lnTo>
                  <a:pt x="17840" y="9994"/>
                </a:lnTo>
                <a:lnTo>
                  <a:pt x="17818" y="9994"/>
                </a:lnTo>
                <a:lnTo>
                  <a:pt x="17808" y="9968"/>
                </a:lnTo>
                <a:lnTo>
                  <a:pt x="17813" y="9948"/>
                </a:lnTo>
                <a:lnTo>
                  <a:pt x="17833" y="9964"/>
                </a:lnTo>
                <a:close/>
                <a:moveTo>
                  <a:pt x="17698" y="10120"/>
                </a:moveTo>
                <a:lnTo>
                  <a:pt x="17680" y="10163"/>
                </a:lnTo>
                <a:lnTo>
                  <a:pt x="17665" y="10173"/>
                </a:lnTo>
                <a:lnTo>
                  <a:pt x="17657" y="10153"/>
                </a:lnTo>
                <a:lnTo>
                  <a:pt x="17668" y="10110"/>
                </a:lnTo>
                <a:lnTo>
                  <a:pt x="17631" y="9963"/>
                </a:lnTo>
                <a:lnTo>
                  <a:pt x="17745" y="9958"/>
                </a:lnTo>
                <a:lnTo>
                  <a:pt x="17828" y="10032"/>
                </a:lnTo>
                <a:lnTo>
                  <a:pt x="17698" y="10120"/>
                </a:lnTo>
                <a:close/>
                <a:moveTo>
                  <a:pt x="17747" y="10362"/>
                </a:moveTo>
                <a:lnTo>
                  <a:pt x="17740" y="10363"/>
                </a:lnTo>
                <a:lnTo>
                  <a:pt x="17735" y="10355"/>
                </a:lnTo>
                <a:lnTo>
                  <a:pt x="17733" y="10346"/>
                </a:lnTo>
                <a:lnTo>
                  <a:pt x="17735" y="10341"/>
                </a:lnTo>
                <a:lnTo>
                  <a:pt x="17740" y="10344"/>
                </a:lnTo>
                <a:lnTo>
                  <a:pt x="17745" y="10349"/>
                </a:lnTo>
                <a:lnTo>
                  <a:pt x="17747" y="10355"/>
                </a:lnTo>
                <a:lnTo>
                  <a:pt x="17747" y="10362"/>
                </a:lnTo>
                <a:close/>
                <a:moveTo>
                  <a:pt x="17730" y="10276"/>
                </a:moveTo>
                <a:lnTo>
                  <a:pt x="17722" y="10279"/>
                </a:lnTo>
                <a:lnTo>
                  <a:pt x="17716" y="10271"/>
                </a:lnTo>
                <a:lnTo>
                  <a:pt x="17712" y="10260"/>
                </a:lnTo>
                <a:lnTo>
                  <a:pt x="17716" y="10253"/>
                </a:lnTo>
                <a:lnTo>
                  <a:pt x="17721" y="10256"/>
                </a:lnTo>
                <a:lnTo>
                  <a:pt x="17727" y="10262"/>
                </a:lnTo>
                <a:lnTo>
                  <a:pt x="17730" y="10270"/>
                </a:lnTo>
                <a:lnTo>
                  <a:pt x="17730" y="10276"/>
                </a:lnTo>
                <a:close/>
                <a:moveTo>
                  <a:pt x="17702" y="10457"/>
                </a:moveTo>
                <a:lnTo>
                  <a:pt x="17701" y="10449"/>
                </a:lnTo>
                <a:lnTo>
                  <a:pt x="17694" y="10444"/>
                </a:lnTo>
                <a:lnTo>
                  <a:pt x="17689" y="10440"/>
                </a:lnTo>
                <a:lnTo>
                  <a:pt x="17693" y="10433"/>
                </a:lnTo>
                <a:lnTo>
                  <a:pt x="17707" y="10435"/>
                </a:lnTo>
                <a:lnTo>
                  <a:pt x="17715" y="10448"/>
                </a:lnTo>
                <a:lnTo>
                  <a:pt x="17715" y="10458"/>
                </a:lnTo>
                <a:lnTo>
                  <a:pt x="17702" y="10457"/>
                </a:lnTo>
                <a:close/>
                <a:moveTo>
                  <a:pt x="17678" y="10267"/>
                </a:moveTo>
                <a:lnTo>
                  <a:pt x="17675" y="10252"/>
                </a:lnTo>
                <a:lnTo>
                  <a:pt x="17688" y="10256"/>
                </a:lnTo>
                <a:lnTo>
                  <a:pt x="17702" y="10270"/>
                </a:lnTo>
                <a:lnTo>
                  <a:pt x="17702" y="10288"/>
                </a:lnTo>
                <a:lnTo>
                  <a:pt x="17689" y="10294"/>
                </a:lnTo>
                <a:lnTo>
                  <a:pt x="17685" y="10288"/>
                </a:lnTo>
                <a:lnTo>
                  <a:pt x="17683" y="10278"/>
                </a:lnTo>
                <a:lnTo>
                  <a:pt x="17678" y="10267"/>
                </a:lnTo>
                <a:close/>
                <a:moveTo>
                  <a:pt x="17654" y="10229"/>
                </a:moveTo>
                <a:lnTo>
                  <a:pt x="17660" y="10224"/>
                </a:lnTo>
                <a:lnTo>
                  <a:pt x="17665" y="10229"/>
                </a:lnTo>
                <a:lnTo>
                  <a:pt x="17666" y="10237"/>
                </a:lnTo>
                <a:lnTo>
                  <a:pt x="17657" y="10237"/>
                </a:lnTo>
                <a:lnTo>
                  <a:pt x="17656" y="10234"/>
                </a:lnTo>
                <a:lnTo>
                  <a:pt x="17654" y="10234"/>
                </a:lnTo>
                <a:lnTo>
                  <a:pt x="17654" y="10233"/>
                </a:lnTo>
                <a:lnTo>
                  <a:pt x="17654" y="10229"/>
                </a:lnTo>
                <a:close/>
                <a:moveTo>
                  <a:pt x="17657" y="10246"/>
                </a:moveTo>
                <a:lnTo>
                  <a:pt x="17668" y="10252"/>
                </a:lnTo>
                <a:lnTo>
                  <a:pt x="17670" y="10264"/>
                </a:lnTo>
                <a:lnTo>
                  <a:pt x="17666" y="10272"/>
                </a:lnTo>
                <a:lnTo>
                  <a:pt x="17659" y="10267"/>
                </a:lnTo>
                <a:lnTo>
                  <a:pt x="17659" y="10261"/>
                </a:lnTo>
                <a:lnTo>
                  <a:pt x="17655" y="10256"/>
                </a:lnTo>
                <a:lnTo>
                  <a:pt x="17654" y="10250"/>
                </a:lnTo>
                <a:lnTo>
                  <a:pt x="17657" y="10246"/>
                </a:lnTo>
                <a:close/>
                <a:moveTo>
                  <a:pt x="17682" y="10379"/>
                </a:moveTo>
                <a:lnTo>
                  <a:pt x="17631" y="10448"/>
                </a:lnTo>
                <a:lnTo>
                  <a:pt x="17628" y="10507"/>
                </a:lnTo>
                <a:lnTo>
                  <a:pt x="17629" y="10539"/>
                </a:lnTo>
                <a:lnTo>
                  <a:pt x="17590" y="10530"/>
                </a:lnTo>
                <a:lnTo>
                  <a:pt x="17564" y="10481"/>
                </a:lnTo>
                <a:lnTo>
                  <a:pt x="17515" y="10461"/>
                </a:lnTo>
                <a:lnTo>
                  <a:pt x="17472" y="10434"/>
                </a:lnTo>
                <a:lnTo>
                  <a:pt x="17461" y="10360"/>
                </a:lnTo>
                <a:lnTo>
                  <a:pt x="17451" y="10312"/>
                </a:lnTo>
                <a:lnTo>
                  <a:pt x="17398" y="10262"/>
                </a:lnTo>
                <a:lnTo>
                  <a:pt x="17338" y="10232"/>
                </a:lnTo>
                <a:lnTo>
                  <a:pt x="17315" y="10239"/>
                </a:lnTo>
                <a:lnTo>
                  <a:pt x="17189" y="10323"/>
                </a:lnTo>
                <a:lnTo>
                  <a:pt x="17093" y="10213"/>
                </a:lnTo>
                <a:lnTo>
                  <a:pt x="17016" y="10087"/>
                </a:lnTo>
                <a:lnTo>
                  <a:pt x="16946" y="10118"/>
                </a:lnTo>
                <a:lnTo>
                  <a:pt x="16998" y="10229"/>
                </a:lnTo>
                <a:lnTo>
                  <a:pt x="16962" y="10303"/>
                </a:lnTo>
                <a:lnTo>
                  <a:pt x="16900" y="10365"/>
                </a:lnTo>
                <a:lnTo>
                  <a:pt x="16869" y="10446"/>
                </a:lnTo>
                <a:lnTo>
                  <a:pt x="16752" y="10551"/>
                </a:lnTo>
                <a:lnTo>
                  <a:pt x="16649" y="10470"/>
                </a:lnTo>
                <a:lnTo>
                  <a:pt x="16636" y="10335"/>
                </a:lnTo>
                <a:lnTo>
                  <a:pt x="16790" y="10281"/>
                </a:lnTo>
                <a:lnTo>
                  <a:pt x="16794" y="10185"/>
                </a:lnTo>
                <a:lnTo>
                  <a:pt x="16748" y="10073"/>
                </a:lnTo>
                <a:lnTo>
                  <a:pt x="16742" y="9998"/>
                </a:lnTo>
                <a:lnTo>
                  <a:pt x="16864" y="10005"/>
                </a:lnTo>
                <a:lnTo>
                  <a:pt x="16854" y="9961"/>
                </a:lnTo>
                <a:lnTo>
                  <a:pt x="16841" y="9906"/>
                </a:lnTo>
                <a:lnTo>
                  <a:pt x="16861" y="9860"/>
                </a:lnTo>
                <a:lnTo>
                  <a:pt x="16949" y="9841"/>
                </a:lnTo>
                <a:lnTo>
                  <a:pt x="17222" y="10111"/>
                </a:lnTo>
                <a:lnTo>
                  <a:pt x="17292" y="10115"/>
                </a:lnTo>
                <a:lnTo>
                  <a:pt x="17333" y="10036"/>
                </a:lnTo>
                <a:lnTo>
                  <a:pt x="17519" y="10059"/>
                </a:lnTo>
                <a:lnTo>
                  <a:pt x="17566" y="10094"/>
                </a:lnTo>
                <a:lnTo>
                  <a:pt x="17556" y="10158"/>
                </a:lnTo>
                <a:lnTo>
                  <a:pt x="17517" y="10225"/>
                </a:lnTo>
                <a:lnTo>
                  <a:pt x="17477" y="10274"/>
                </a:lnTo>
                <a:lnTo>
                  <a:pt x="17522" y="10272"/>
                </a:lnTo>
                <a:lnTo>
                  <a:pt x="17590" y="10270"/>
                </a:lnTo>
                <a:lnTo>
                  <a:pt x="17651" y="10280"/>
                </a:lnTo>
                <a:lnTo>
                  <a:pt x="17679" y="10313"/>
                </a:lnTo>
                <a:lnTo>
                  <a:pt x="17693" y="10335"/>
                </a:lnTo>
                <a:lnTo>
                  <a:pt x="17706" y="10367"/>
                </a:lnTo>
                <a:lnTo>
                  <a:pt x="17706" y="10390"/>
                </a:lnTo>
                <a:lnTo>
                  <a:pt x="17682" y="10379"/>
                </a:lnTo>
                <a:close/>
                <a:moveTo>
                  <a:pt x="17619" y="10606"/>
                </a:moveTo>
                <a:lnTo>
                  <a:pt x="17614" y="10606"/>
                </a:lnTo>
                <a:lnTo>
                  <a:pt x="17612" y="10602"/>
                </a:lnTo>
                <a:lnTo>
                  <a:pt x="17610" y="10597"/>
                </a:lnTo>
                <a:lnTo>
                  <a:pt x="17614" y="10592"/>
                </a:lnTo>
                <a:lnTo>
                  <a:pt x="17618" y="10593"/>
                </a:lnTo>
                <a:lnTo>
                  <a:pt x="17619" y="10596"/>
                </a:lnTo>
                <a:lnTo>
                  <a:pt x="17621" y="10601"/>
                </a:lnTo>
                <a:lnTo>
                  <a:pt x="17619" y="10606"/>
                </a:lnTo>
                <a:close/>
                <a:moveTo>
                  <a:pt x="17545" y="10530"/>
                </a:moveTo>
                <a:lnTo>
                  <a:pt x="17545" y="10527"/>
                </a:lnTo>
                <a:lnTo>
                  <a:pt x="17548" y="10522"/>
                </a:lnTo>
                <a:lnTo>
                  <a:pt x="17550" y="10519"/>
                </a:lnTo>
                <a:lnTo>
                  <a:pt x="17554" y="10521"/>
                </a:lnTo>
                <a:lnTo>
                  <a:pt x="17561" y="10524"/>
                </a:lnTo>
                <a:lnTo>
                  <a:pt x="17559" y="10530"/>
                </a:lnTo>
                <a:lnTo>
                  <a:pt x="17554" y="10532"/>
                </a:lnTo>
                <a:lnTo>
                  <a:pt x="17545" y="10530"/>
                </a:lnTo>
                <a:close/>
                <a:moveTo>
                  <a:pt x="17375" y="10442"/>
                </a:moveTo>
                <a:lnTo>
                  <a:pt x="17362" y="10449"/>
                </a:lnTo>
                <a:lnTo>
                  <a:pt x="17348" y="10438"/>
                </a:lnTo>
                <a:lnTo>
                  <a:pt x="17340" y="10423"/>
                </a:lnTo>
                <a:lnTo>
                  <a:pt x="17343" y="10410"/>
                </a:lnTo>
                <a:lnTo>
                  <a:pt x="17353" y="10412"/>
                </a:lnTo>
                <a:lnTo>
                  <a:pt x="17365" y="10420"/>
                </a:lnTo>
                <a:lnTo>
                  <a:pt x="17373" y="10430"/>
                </a:lnTo>
                <a:lnTo>
                  <a:pt x="17375" y="10442"/>
                </a:lnTo>
                <a:close/>
                <a:moveTo>
                  <a:pt x="17247" y="10419"/>
                </a:moveTo>
                <a:lnTo>
                  <a:pt x="17194" y="10424"/>
                </a:lnTo>
                <a:lnTo>
                  <a:pt x="17170" y="10369"/>
                </a:lnTo>
                <a:lnTo>
                  <a:pt x="17186" y="10330"/>
                </a:lnTo>
                <a:lnTo>
                  <a:pt x="17259" y="10384"/>
                </a:lnTo>
                <a:lnTo>
                  <a:pt x="17265" y="10397"/>
                </a:lnTo>
                <a:lnTo>
                  <a:pt x="17263" y="10404"/>
                </a:lnTo>
                <a:lnTo>
                  <a:pt x="17256" y="10410"/>
                </a:lnTo>
                <a:lnTo>
                  <a:pt x="17247" y="10419"/>
                </a:lnTo>
                <a:close/>
                <a:moveTo>
                  <a:pt x="17138" y="10313"/>
                </a:moveTo>
                <a:lnTo>
                  <a:pt x="17139" y="10307"/>
                </a:lnTo>
                <a:lnTo>
                  <a:pt x="17149" y="10299"/>
                </a:lnTo>
                <a:lnTo>
                  <a:pt x="17162" y="10295"/>
                </a:lnTo>
                <a:lnTo>
                  <a:pt x="17168" y="10300"/>
                </a:lnTo>
                <a:lnTo>
                  <a:pt x="17181" y="10317"/>
                </a:lnTo>
                <a:lnTo>
                  <a:pt x="17174" y="10330"/>
                </a:lnTo>
                <a:lnTo>
                  <a:pt x="17156" y="10331"/>
                </a:lnTo>
                <a:lnTo>
                  <a:pt x="17138" y="10313"/>
                </a:lnTo>
                <a:close/>
                <a:moveTo>
                  <a:pt x="17138" y="10426"/>
                </a:moveTo>
                <a:lnTo>
                  <a:pt x="17114" y="10440"/>
                </a:lnTo>
                <a:lnTo>
                  <a:pt x="17089" y="10424"/>
                </a:lnTo>
                <a:lnTo>
                  <a:pt x="17074" y="10395"/>
                </a:lnTo>
                <a:lnTo>
                  <a:pt x="17079" y="10372"/>
                </a:lnTo>
                <a:lnTo>
                  <a:pt x="17100" y="10376"/>
                </a:lnTo>
                <a:lnTo>
                  <a:pt x="17120" y="10388"/>
                </a:lnTo>
                <a:lnTo>
                  <a:pt x="17134" y="10406"/>
                </a:lnTo>
                <a:lnTo>
                  <a:pt x="17138" y="10426"/>
                </a:lnTo>
                <a:close/>
                <a:moveTo>
                  <a:pt x="16919" y="10495"/>
                </a:moveTo>
                <a:lnTo>
                  <a:pt x="16929" y="10491"/>
                </a:lnTo>
                <a:lnTo>
                  <a:pt x="16939" y="10495"/>
                </a:lnTo>
                <a:lnTo>
                  <a:pt x="16947" y="10505"/>
                </a:lnTo>
                <a:lnTo>
                  <a:pt x="16947" y="10517"/>
                </a:lnTo>
                <a:lnTo>
                  <a:pt x="16937" y="10526"/>
                </a:lnTo>
                <a:lnTo>
                  <a:pt x="16919" y="10519"/>
                </a:lnTo>
                <a:lnTo>
                  <a:pt x="16909" y="10507"/>
                </a:lnTo>
                <a:lnTo>
                  <a:pt x="16919" y="10495"/>
                </a:lnTo>
                <a:close/>
                <a:moveTo>
                  <a:pt x="16911" y="10551"/>
                </a:moveTo>
                <a:lnTo>
                  <a:pt x="16914" y="10558"/>
                </a:lnTo>
                <a:lnTo>
                  <a:pt x="16912" y="10569"/>
                </a:lnTo>
                <a:lnTo>
                  <a:pt x="16907" y="10579"/>
                </a:lnTo>
                <a:lnTo>
                  <a:pt x="16900" y="10581"/>
                </a:lnTo>
                <a:lnTo>
                  <a:pt x="16883" y="10578"/>
                </a:lnTo>
                <a:lnTo>
                  <a:pt x="16881" y="10564"/>
                </a:lnTo>
                <a:lnTo>
                  <a:pt x="16891" y="10551"/>
                </a:lnTo>
                <a:lnTo>
                  <a:pt x="16911" y="10551"/>
                </a:lnTo>
                <a:close/>
                <a:moveTo>
                  <a:pt x="16817" y="10657"/>
                </a:moveTo>
                <a:lnTo>
                  <a:pt x="16822" y="10665"/>
                </a:lnTo>
                <a:lnTo>
                  <a:pt x="16821" y="10679"/>
                </a:lnTo>
                <a:lnTo>
                  <a:pt x="16814" y="10691"/>
                </a:lnTo>
                <a:lnTo>
                  <a:pt x="16804" y="10694"/>
                </a:lnTo>
                <a:lnTo>
                  <a:pt x="16781" y="10693"/>
                </a:lnTo>
                <a:lnTo>
                  <a:pt x="16776" y="10676"/>
                </a:lnTo>
                <a:lnTo>
                  <a:pt x="16789" y="10659"/>
                </a:lnTo>
                <a:lnTo>
                  <a:pt x="16817" y="10657"/>
                </a:lnTo>
                <a:close/>
                <a:moveTo>
                  <a:pt x="17010" y="10819"/>
                </a:moveTo>
                <a:lnTo>
                  <a:pt x="17111" y="10974"/>
                </a:lnTo>
                <a:lnTo>
                  <a:pt x="17134" y="11153"/>
                </a:lnTo>
                <a:lnTo>
                  <a:pt x="17067" y="11255"/>
                </a:lnTo>
                <a:lnTo>
                  <a:pt x="16895" y="11176"/>
                </a:lnTo>
                <a:lnTo>
                  <a:pt x="16926" y="11264"/>
                </a:lnTo>
                <a:lnTo>
                  <a:pt x="17014" y="11361"/>
                </a:lnTo>
                <a:lnTo>
                  <a:pt x="17077" y="11441"/>
                </a:lnTo>
                <a:lnTo>
                  <a:pt x="17040" y="11477"/>
                </a:lnTo>
                <a:lnTo>
                  <a:pt x="16905" y="11381"/>
                </a:lnTo>
                <a:lnTo>
                  <a:pt x="16837" y="11279"/>
                </a:lnTo>
                <a:lnTo>
                  <a:pt x="16827" y="11156"/>
                </a:lnTo>
                <a:lnTo>
                  <a:pt x="16869" y="10998"/>
                </a:lnTo>
                <a:lnTo>
                  <a:pt x="16777" y="10904"/>
                </a:lnTo>
                <a:lnTo>
                  <a:pt x="16794" y="10838"/>
                </a:lnTo>
                <a:lnTo>
                  <a:pt x="16884" y="10807"/>
                </a:lnTo>
                <a:lnTo>
                  <a:pt x="17010" y="10819"/>
                </a:lnTo>
                <a:close/>
                <a:moveTo>
                  <a:pt x="17067" y="10801"/>
                </a:moveTo>
                <a:lnTo>
                  <a:pt x="17077" y="10789"/>
                </a:lnTo>
                <a:lnTo>
                  <a:pt x="17097" y="10794"/>
                </a:lnTo>
                <a:lnTo>
                  <a:pt x="17111" y="10808"/>
                </a:lnTo>
                <a:lnTo>
                  <a:pt x="17101" y="10821"/>
                </a:lnTo>
                <a:lnTo>
                  <a:pt x="17089" y="10827"/>
                </a:lnTo>
                <a:lnTo>
                  <a:pt x="17078" y="10824"/>
                </a:lnTo>
                <a:lnTo>
                  <a:pt x="17068" y="10813"/>
                </a:lnTo>
                <a:lnTo>
                  <a:pt x="17067" y="10801"/>
                </a:lnTo>
                <a:close/>
                <a:moveTo>
                  <a:pt x="17143" y="11002"/>
                </a:moveTo>
                <a:lnTo>
                  <a:pt x="17147" y="10999"/>
                </a:lnTo>
                <a:lnTo>
                  <a:pt x="17151" y="11001"/>
                </a:lnTo>
                <a:lnTo>
                  <a:pt x="17154" y="11004"/>
                </a:lnTo>
                <a:lnTo>
                  <a:pt x="17154" y="11008"/>
                </a:lnTo>
                <a:lnTo>
                  <a:pt x="17151" y="11013"/>
                </a:lnTo>
                <a:lnTo>
                  <a:pt x="17144" y="11011"/>
                </a:lnTo>
                <a:lnTo>
                  <a:pt x="17140" y="11006"/>
                </a:lnTo>
                <a:lnTo>
                  <a:pt x="17143" y="11002"/>
                </a:lnTo>
                <a:close/>
                <a:moveTo>
                  <a:pt x="17175" y="10978"/>
                </a:moveTo>
                <a:lnTo>
                  <a:pt x="17199" y="10948"/>
                </a:lnTo>
                <a:lnTo>
                  <a:pt x="17189" y="10910"/>
                </a:lnTo>
                <a:lnTo>
                  <a:pt x="17181" y="10875"/>
                </a:lnTo>
                <a:lnTo>
                  <a:pt x="17208" y="10861"/>
                </a:lnTo>
                <a:lnTo>
                  <a:pt x="17266" y="10917"/>
                </a:lnTo>
                <a:lnTo>
                  <a:pt x="17340" y="10953"/>
                </a:lnTo>
                <a:lnTo>
                  <a:pt x="17395" y="11001"/>
                </a:lnTo>
                <a:lnTo>
                  <a:pt x="17391" y="11085"/>
                </a:lnTo>
                <a:lnTo>
                  <a:pt x="17317" y="11176"/>
                </a:lnTo>
                <a:lnTo>
                  <a:pt x="17233" y="11152"/>
                </a:lnTo>
                <a:lnTo>
                  <a:pt x="17174" y="11068"/>
                </a:lnTo>
                <a:lnTo>
                  <a:pt x="17175" y="10978"/>
                </a:lnTo>
                <a:close/>
                <a:moveTo>
                  <a:pt x="17385" y="10973"/>
                </a:moveTo>
                <a:lnTo>
                  <a:pt x="17390" y="10969"/>
                </a:lnTo>
                <a:lnTo>
                  <a:pt x="17395" y="10973"/>
                </a:lnTo>
                <a:lnTo>
                  <a:pt x="17395" y="10979"/>
                </a:lnTo>
                <a:lnTo>
                  <a:pt x="17389" y="10979"/>
                </a:lnTo>
                <a:lnTo>
                  <a:pt x="17386" y="10978"/>
                </a:lnTo>
                <a:lnTo>
                  <a:pt x="17385" y="10976"/>
                </a:lnTo>
                <a:lnTo>
                  <a:pt x="17384" y="10975"/>
                </a:lnTo>
                <a:lnTo>
                  <a:pt x="17385" y="10973"/>
                </a:lnTo>
                <a:close/>
                <a:moveTo>
                  <a:pt x="17414" y="10899"/>
                </a:moveTo>
                <a:lnTo>
                  <a:pt x="17500" y="10952"/>
                </a:lnTo>
                <a:lnTo>
                  <a:pt x="17507" y="11008"/>
                </a:lnTo>
                <a:lnTo>
                  <a:pt x="17472" y="11020"/>
                </a:lnTo>
                <a:lnTo>
                  <a:pt x="17426" y="10942"/>
                </a:lnTo>
                <a:lnTo>
                  <a:pt x="17436" y="10933"/>
                </a:lnTo>
                <a:lnTo>
                  <a:pt x="17423" y="10925"/>
                </a:lnTo>
                <a:lnTo>
                  <a:pt x="17408" y="10914"/>
                </a:lnTo>
                <a:lnTo>
                  <a:pt x="17414" y="10899"/>
                </a:lnTo>
                <a:close/>
                <a:moveTo>
                  <a:pt x="17526" y="10836"/>
                </a:moveTo>
                <a:lnTo>
                  <a:pt x="17531" y="10833"/>
                </a:lnTo>
                <a:lnTo>
                  <a:pt x="17536" y="10836"/>
                </a:lnTo>
                <a:lnTo>
                  <a:pt x="17538" y="10841"/>
                </a:lnTo>
                <a:lnTo>
                  <a:pt x="17530" y="10843"/>
                </a:lnTo>
                <a:lnTo>
                  <a:pt x="17529" y="10841"/>
                </a:lnTo>
                <a:lnTo>
                  <a:pt x="17528" y="10840"/>
                </a:lnTo>
                <a:lnTo>
                  <a:pt x="17526" y="10839"/>
                </a:lnTo>
                <a:lnTo>
                  <a:pt x="17526" y="10836"/>
                </a:lnTo>
                <a:close/>
                <a:moveTo>
                  <a:pt x="17316" y="11202"/>
                </a:moveTo>
                <a:lnTo>
                  <a:pt x="17312" y="11213"/>
                </a:lnTo>
                <a:lnTo>
                  <a:pt x="17303" y="11220"/>
                </a:lnTo>
                <a:lnTo>
                  <a:pt x="17291" y="11218"/>
                </a:lnTo>
                <a:lnTo>
                  <a:pt x="17282" y="11209"/>
                </a:lnTo>
                <a:lnTo>
                  <a:pt x="17283" y="11193"/>
                </a:lnTo>
                <a:lnTo>
                  <a:pt x="17300" y="11183"/>
                </a:lnTo>
                <a:lnTo>
                  <a:pt x="17316" y="11185"/>
                </a:lnTo>
                <a:lnTo>
                  <a:pt x="17316" y="11202"/>
                </a:lnTo>
                <a:close/>
                <a:moveTo>
                  <a:pt x="17292" y="11410"/>
                </a:moveTo>
                <a:lnTo>
                  <a:pt x="17283" y="11419"/>
                </a:lnTo>
                <a:lnTo>
                  <a:pt x="17273" y="11410"/>
                </a:lnTo>
                <a:lnTo>
                  <a:pt x="17270" y="11399"/>
                </a:lnTo>
                <a:lnTo>
                  <a:pt x="17283" y="11402"/>
                </a:lnTo>
                <a:lnTo>
                  <a:pt x="17287" y="11403"/>
                </a:lnTo>
                <a:lnTo>
                  <a:pt x="17292" y="11404"/>
                </a:lnTo>
                <a:lnTo>
                  <a:pt x="17294" y="11405"/>
                </a:lnTo>
                <a:lnTo>
                  <a:pt x="17292" y="11410"/>
                </a:lnTo>
                <a:close/>
                <a:moveTo>
                  <a:pt x="17254" y="11534"/>
                </a:moveTo>
                <a:lnTo>
                  <a:pt x="17254" y="11531"/>
                </a:lnTo>
                <a:lnTo>
                  <a:pt x="17256" y="11526"/>
                </a:lnTo>
                <a:lnTo>
                  <a:pt x="17259" y="11524"/>
                </a:lnTo>
                <a:lnTo>
                  <a:pt x="17263" y="11524"/>
                </a:lnTo>
                <a:lnTo>
                  <a:pt x="17269" y="11528"/>
                </a:lnTo>
                <a:lnTo>
                  <a:pt x="17268" y="11534"/>
                </a:lnTo>
                <a:lnTo>
                  <a:pt x="17263" y="11536"/>
                </a:lnTo>
                <a:lnTo>
                  <a:pt x="17254" y="11534"/>
                </a:lnTo>
                <a:close/>
                <a:moveTo>
                  <a:pt x="17207" y="11358"/>
                </a:moveTo>
                <a:lnTo>
                  <a:pt x="17186" y="11381"/>
                </a:lnTo>
                <a:lnTo>
                  <a:pt x="17145" y="11367"/>
                </a:lnTo>
                <a:lnTo>
                  <a:pt x="17116" y="11335"/>
                </a:lnTo>
                <a:lnTo>
                  <a:pt x="17135" y="11307"/>
                </a:lnTo>
                <a:lnTo>
                  <a:pt x="17158" y="11296"/>
                </a:lnTo>
                <a:lnTo>
                  <a:pt x="17182" y="11307"/>
                </a:lnTo>
                <a:lnTo>
                  <a:pt x="17202" y="11330"/>
                </a:lnTo>
                <a:lnTo>
                  <a:pt x="17207" y="11358"/>
                </a:lnTo>
                <a:close/>
                <a:moveTo>
                  <a:pt x="17196" y="11428"/>
                </a:moveTo>
                <a:lnTo>
                  <a:pt x="17185" y="11436"/>
                </a:lnTo>
                <a:lnTo>
                  <a:pt x="17172" y="11433"/>
                </a:lnTo>
                <a:lnTo>
                  <a:pt x="17161" y="11423"/>
                </a:lnTo>
                <a:lnTo>
                  <a:pt x="17158" y="11409"/>
                </a:lnTo>
                <a:lnTo>
                  <a:pt x="17168" y="11396"/>
                </a:lnTo>
                <a:lnTo>
                  <a:pt x="17191" y="11400"/>
                </a:lnTo>
                <a:lnTo>
                  <a:pt x="17207" y="11414"/>
                </a:lnTo>
                <a:lnTo>
                  <a:pt x="17196" y="11428"/>
                </a:lnTo>
                <a:close/>
                <a:moveTo>
                  <a:pt x="17103" y="11300"/>
                </a:moveTo>
                <a:lnTo>
                  <a:pt x="17091" y="11291"/>
                </a:lnTo>
                <a:lnTo>
                  <a:pt x="17089" y="11267"/>
                </a:lnTo>
                <a:lnTo>
                  <a:pt x="17098" y="11249"/>
                </a:lnTo>
                <a:lnTo>
                  <a:pt x="17114" y="11256"/>
                </a:lnTo>
                <a:lnTo>
                  <a:pt x="17121" y="11267"/>
                </a:lnTo>
                <a:lnTo>
                  <a:pt x="17121" y="11281"/>
                </a:lnTo>
                <a:lnTo>
                  <a:pt x="17115" y="11293"/>
                </a:lnTo>
                <a:lnTo>
                  <a:pt x="17103" y="11300"/>
                </a:lnTo>
                <a:close/>
                <a:moveTo>
                  <a:pt x="17137" y="11957"/>
                </a:moveTo>
                <a:lnTo>
                  <a:pt x="17151" y="11880"/>
                </a:lnTo>
                <a:lnTo>
                  <a:pt x="17174" y="11913"/>
                </a:lnTo>
                <a:lnTo>
                  <a:pt x="17180" y="11972"/>
                </a:lnTo>
                <a:lnTo>
                  <a:pt x="17152" y="11972"/>
                </a:lnTo>
                <a:lnTo>
                  <a:pt x="17112" y="12015"/>
                </a:lnTo>
                <a:lnTo>
                  <a:pt x="17081" y="11987"/>
                </a:lnTo>
                <a:lnTo>
                  <a:pt x="17081" y="11948"/>
                </a:lnTo>
                <a:lnTo>
                  <a:pt x="17137" y="11957"/>
                </a:lnTo>
                <a:close/>
                <a:moveTo>
                  <a:pt x="17026" y="11716"/>
                </a:moveTo>
                <a:lnTo>
                  <a:pt x="17004" y="11715"/>
                </a:lnTo>
                <a:lnTo>
                  <a:pt x="16991" y="11689"/>
                </a:lnTo>
                <a:lnTo>
                  <a:pt x="16989" y="11659"/>
                </a:lnTo>
                <a:lnTo>
                  <a:pt x="16998" y="11642"/>
                </a:lnTo>
                <a:lnTo>
                  <a:pt x="17014" y="11648"/>
                </a:lnTo>
                <a:lnTo>
                  <a:pt x="17031" y="11675"/>
                </a:lnTo>
                <a:lnTo>
                  <a:pt x="17037" y="11703"/>
                </a:lnTo>
                <a:lnTo>
                  <a:pt x="17026" y="11716"/>
                </a:lnTo>
                <a:close/>
                <a:moveTo>
                  <a:pt x="17018" y="11819"/>
                </a:moveTo>
                <a:lnTo>
                  <a:pt x="17008" y="11837"/>
                </a:lnTo>
                <a:lnTo>
                  <a:pt x="16996" y="11831"/>
                </a:lnTo>
                <a:lnTo>
                  <a:pt x="16993" y="11810"/>
                </a:lnTo>
                <a:lnTo>
                  <a:pt x="17002" y="11789"/>
                </a:lnTo>
                <a:lnTo>
                  <a:pt x="17008" y="11790"/>
                </a:lnTo>
                <a:lnTo>
                  <a:pt x="17016" y="11799"/>
                </a:lnTo>
                <a:lnTo>
                  <a:pt x="17021" y="11810"/>
                </a:lnTo>
                <a:lnTo>
                  <a:pt x="17018" y="11819"/>
                </a:lnTo>
                <a:close/>
                <a:moveTo>
                  <a:pt x="16981" y="11571"/>
                </a:moveTo>
                <a:lnTo>
                  <a:pt x="16916" y="11767"/>
                </a:lnTo>
                <a:lnTo>
                  <a:pt x="16786" y="11766"/>
                </a:lnTo>
                <a:lnTo>
                  <a:pt x="16670" y="11643"/>
                </a:lnTo>
                <a:lnTo>
                  <a:pt x="16649" y="11478"/>
                </a:lnTo>
                <a:lnTo>
                  <a:pt x="16732" y="11419"/>
                </a:lnTo>
                <a:lnTo>
                  <a:pt x="16853" y="11427"/>
                </a:lnTo>
                <a:lnTo>
                  <a:pt x="16956" y="11483"/>
                </a:lnTo>
                <a:lnTo>
                  <a:pt x="16981" y="11571"/>
                </a:lnTo>
                <a:close/>
                <a:moveTo>
                  <a:pt x="16789" y="11761"/>
                </a:moveTo>
                <a:lnTo>
                  <a:pt x="16802" y="11764"/>
                </a:lnTo>
                <a:lnTo>
                  <a:pt x="16809" y="11787"/>
                </a:lnTo>
                <a:lnTo>
                  <a:pt x="16807" y="11808"/>
                </a:lnTo>
                <a:lnTo>
                  <a:pt x="16793" y="11806"/>
                </a:lnTo>
                <a:lnTo>
                  <a:pt x="16783" y="11799"/>
                </a:lnTo>
                <a:lnTo>
                  <a:pt x="16780" y="11785"/>
                </a:lnTo>
                <a:lnTo>
                  <a:pt x="16781" y="11769"/>
                </a:lnTo>
                <a:lnTo>
                  <a:pt x="16789" y="11761"/>
                </a:lnTo>
                <a:close/>
                <a:moveTo>
                  <a:pt x="16842" y="12048"/>
                </a:moveTo>
                <a:lnTo>
                  <a:pt x="16841" y="12077"/>
                </a:lnTo>
                <a:lnTo>
                  <a:pt x="16811" y="12097"/>
                </a:lnTo>
                <a:lnTo>
                  <a:pt x="16781" y="12107"/>
                </a:lnTo>
                <a:lnTo>
                  <a:pt x="16779" y="12113"/>
                </a:lnTo>
                <a:lnTo>
                  <a:pt x="16793" y="12159"/>
                </a:lnTo>
                <a:lnTo>
                  <a:pt x="16767" y="12189"/>
                </a:lnTo>
                <a:lnTo>
                  <a:pt x="16741" y="12188"/>
                </a:lnTo>
                <a:lnTo>
                  <a:pt x="16755" y="12144"/>
                </a:lnTo>
                <a:lnTo>
                  <a:pt x="16473" y="12197"/>
                </a:lnTo>
                <a:lnTo>
                  <a:pt x="16439" y="12005"/>
                </a:lnTo>
                <a:lnTo>
                  <a:pt x="16584" y="11857"/>
                </a:lnTo>
                <a:lnTo>
                  <a:pt x="16842" y="12048"/>
                </a:lnTo>
                <a:close/>
                <a:moveTo>
                  <a:pt x="16798" y="12167"/>
                </a:moveTo>
                <a:lnTo>
                  <a:pt x="16825" y="12178"/>
                </a:lnTo>
                <a:lnTo>
                  <a:pt x="16837" y="12191"/>
                </a:lnTo>
                <a:lnTo>
                  <a:pt x="16837" y="12210"/>
                </a:lnTo>
                <a:lnTo>
                  <a:pt x="16825" y="12235"/>
                </a:lnTo>
                <a:lnTo>
                  <a:pt x="16798" y="12226"/>
                </a:lnTo>
                <a:lnTo>
                  <a:pt x="16784" y="12212"/>
                </a:lnTo>
                <a:lnTo>
                  <a:pt x="16784" y="12192"/>
                </a:lnTo>
                <a:lnTo>
                  <a:pt x="16798" y="12167"/>
                </a:lnTo>
                <a:close/>
                <a:moveTo>
                  <a:pt x="16883" y="12319"/>
                </a:moveTo>
                <a:lnTo>
                  <a:pt x="16818" y="12406"/>
                </a:lnTo>
                <a:lnTo>
                  <a:pt x="16774" y="12394"/>
                </a:lnTo>
                <a:lnTo>
                  <a:pt x="16735" y="12352"/>
                </a:lnTo>
                <a:lnTo>
                  <a:pt x="16687" y="12347"/>
                </a:lnTo>
                <a:lnTo>
                  <a:pt x="16679" y="12354"/>
                </a:lnTo>
                <a:lnTo>
                  <a:pt x="16672" y="12352"/>
                </a:lnTo>
                <a:lnTo>
                  <a:pt x="16668" y="12346"/>
                </a:lnTo>
                <a:lnTo>
                  <a:pt x="16672" y="12340"/>
                </a:lnTo>
                <a:lnTo>
                  <a:pt x="16678" y="12337"/>
                </a:lnTo>
                <a:lnTo>
                  <a:pt x="16663" y="12332"/>
                </a:lnTo>
                <a:lnTo>
                  <a:pt x="16645" y="12323"/>
                </a:lnTo>
                <a:lnTo>
                  <a:pt x="16646" y="12310"/>
                </a:lnTo>
                <a:lnTo>
                  <a:pt x="16659" y="12294"/>
                </a:lnTo>
                <a:lnTo>
                  <a:pt x="16656" y="12273"/>
                </a:lnTo>
                <a:lnTo>
                  <a:pt x="16658" y="12256"/>
                </a:lnTo>
                <a:lnTo>
                  <a:pt x="16678" y="12252"/>
                </a:lnTo>
                <a:lnTo>
                  <a:pt x="16716" y="12285"/>
                </a:lnTo>
                <a:lnTo>
                  <a:pt x="16770" y="12289"/>
                </a:lnTo>
                <a:lnTo>
                  <a:pt x="16828" y="12291"/>
                </a:lnTo>
                <a:lnTo>
                  <a:pt x="16883" y="12319"/>
                </a:lnTo>
                <a:close/>
                <a:moveTo>
                  <a:pt x="16891" y="12481"/>
                </a:moveTo>
                <a:lnTo>
                  <a:pt x="16898" y="12467"/>
                </a:lnTo>
                <a:lnTo>
                  <a:pt x="16896" y="12449"/>
                </a:lnTo>
                <a:lnTo>
                  <a:pt x="16897" y="12434"/>
                </a:lnTo>
                <a:lnTo>
                  <a:pt x="16910" y="12431"/>
                </a:lnTo>
                <a:lnTo>
                  <a:pt x="16923" y="12459"/>
                </a:lnTo>
                <a:lnTo>
                  <a:pt x="16918" y="12491"/>
                </a:lnTo>
                <a:lnTo>
                  <a:pt x="16905" y="12506"/>
                </a:lnTo>
                <a:lnTo>
                  <a:pt x="16891" y="12481"/>
                </a:lnTo>
                <a:close/>
                <a:moveTo>
                  <a:pt x="16672" y="12448"/>
                </a:moveTo>
                <a:lnTo>
                  <a:pt x="16662" y="12452"/>
                </a:lnTo>
                <a:lnTo>
                  <a:pt x="16654" y="12447"/>
                </a:lnTo>
                <a:lnTo>
                  <a:pt x="16653" y="12438"/>
                </a:lnTo>
                <a:lnTo>
                  <a:pt x="16659" y="12433"/>
                </a:lnTo>
                <a:lnTo>
                  <a:pt x="16670" y="12433"/>
                </a:lnTo>
                <a:lnTo>
                  <a:pt x="16681" y="12433"/>
                </a:lnTo>
                <a:lnTo>
                  <a:pt x="16683" y="12436"/>
                </a:lnTo>
                <a:lnTo>
                  <a:pt x="16672" y="12448"/>
                </a:lnTo>
                <a:close/>
                <a:moveTo>
                  <a:pt x="16617" y="12444"/>
                </a:moveTo>
                <a:lnTo>
                  <a:pt x="16616" y="12442"/>
                </a:lnTo>
                <a:lnTo>
                  <a:pt x="16614" y="12438"/>
                </a:lnTo>
                <a:lnTo>
                  <a:pt x="16614" y="12434"/>
                </a:lnTo>
                <a:lnTo>
                  <a:pt x="16617" y="12431"/>
                </a:lnTo>
                <a:lnTo>
                  <a:pt x="16623" y="12430"/>
                </a:lnTo>
                <a:lnTo>
                  <a:pt x="16626" y="12434"/>
                </a:lnTo>
                <a:lnTo>
                  <a:pt x="16625" y="12440"/>
                </a:lnTo>
                <a:lnTo>
                  <a:pt x="16617" y="12444"/>
                </a:lnTo>
                <a:close/>
                <a:moveTo>
                  <a:pt x="16607" y="12335"/>
                </a:moveTo>
                <a:lnTo>
                  <a:pt x="16608" y="12333"/>
                </a:lnTo>
                <a:lnTo>
                  <a:pt x="16611" y="12329"/>
                </a:lnTo>
                <a:lnTo>
                  <a:pt x="16614" y="12328"/>
                </a:lnTo>
                <a:lnTo>
                  <a:pt x="16617" y="12331"/>
                </a:lnTo>
                <a:lnTo>
                  <a:pt x="16621" y="12336"/>
                </a:lnTo>
                <a:lnTo>
                  <a:pt x="16620" y="12341"/>
                </a:lnTo>
                <a:lnTo>
                  <a:pt x="16613" y="12341"/>
                </a:lnTo>
                <a:lnTo>
                  <a:pt x="16607" y="12335"/>
                </a:lnTo>
                <a:close/>
                <a:moveTo>
                  <a:pt x="16598" y="12251"/>
                </a:moveTo>
                <a:lnTo>
                  <a:pt x="16603" y="12249"/>
                </a:lnTo>
                <a:lnTo>
                  <a:pt x="16607" y="12242"/>
                </a:lnTo>
                <a:lnTo>
                  <a:pt x="16611" y="12237"/>
                </a:lnTo>
                <a:lnTo>
                  <a:pt x="16617" y="12240"/>
                </a:lnTo>
                <a:lnTo>
                  <a:pt x="16616" y="12254"/>
                </a:lnTo>
                <a:lnTo>
                  <a:pt x="16606" y="12262"/>
                </a:lnTo>
                <a:lnTo>
                  <a:pt x="16597" y="12263"/>
                </a:lnTo>
                <a:lnTo>
                  <a:pt x="16598" y="12251"/>
                </a:lnTo>
                <a:close/>
                <a:moveTo>
                  <a:pt x="16511" y="12238"/>
                </a:moveTo>
                <a:lnTo>
                  <a:pt x="16507" y="12239"/>
                </a:lnTo>
                <a:lnTo>
                  <a:pt x="16504" y="12238"/>
                </a:lnTo>
                <a:lnTo>
                  <a:pt x="16501" y="12234"/>
                </a:lnTo>
                <a:lnTo>
                  <a:pt x="16500" y="12230"/>
                </a:lnTo>
                <a:lnTo>
                  <a:pt x="16504" y="12226"/>
                </a:lnTo>
                <a:lnTo>
                  <a:pt x="16510" y="12228"/>
                </a:lnTo>
                <a:lnTo>
                  <a:pt x="16515" y="12233"/>
                </a:lnTo>
                <a:lnTo>
                  <a:pt x="16511" y="12238"/>
                </a:lnTo>
                <a:close/>
                <a:moveTo>
                  <a:pt x="16460" y="12324"/>
                </a:moveTo>
                <a:lnTo>
                  <a:pt x="16458" y="12328"/>
                </a:lnTo>
                <a:lnTo>
                  <a:pt x="16454" y="12329"/>
                </a:lnTo>
                <a:lnTo>
                  <a:pt x="16451" y="12328"/>
                </a:lnTo>
                <a:lnTo>
                  <a:pt x="16451" y="12324"/>
                </a:lnTo>
                <a:lnTo>
                  <a:pt x="16455" y="12319"/>
                </a:lnTo>
                <a:lnTo>
                  <a:pt x="16458" y="12317"/>
                </a:lnTo>
                <a:lnTo>
                  <a:pt x="16460" y="12317"/>
                </a:lnTo>
                <a:lnTo>
                  <a:pt x="16460" y="12324"/>
                </a:lnTo>
                <a:close/>
                <a:moveTo>
                  <a:pt x="16412" y="12091"/>
                </a:moveTo>
                <a:lnTo>
                  <a:pt x="16414" y="12091"/>
                </a:lnTo>
                <a:lnTo>
                  <a:pt x="16416" y="12095"/>
                </a:lnTo>
                <a:lnTo>
                  <a:pt x="16416" y="12099"/>
                </a:lnTo>
                <a:lnTo>
                  <a:pt x="16414" y="12102"/>
                </a:lnTo>
                <a:lnTo>
                  <a:pt x="16409" y="12104"/>
                </a:lnTo>
                <a:lnTo>
                  <a:pt x="16406" y="12102"/>
                </a:lnTo>
                <a:lnTo>
                  <a:pt x="16407" y="12095"/>
                </a:lnTo>
                <a:lnTo>
                  <a:pt x="16412" y="12091"/>
                </a:lnTo>
                <a:close/>
                <a:moveTo>
                  <a:pt x="16431" y="12259"/>
                </a:moveTo>
                <a:lnTo>
                  <a:pt x="16395" y="12285"/>
                </a:lnTo>
                <a:lnTo>
                  <a:pt x="16362" y="12268"/>
                </a:lnTo>
                <a:lnTo>
                  <a:pt x="16337" y="12230"/>
                </a:lnTo>
                <a:lnTo>
                  <a:pt x="16323" y="12188"/>
                </a:lnTo>
                <a:lnTo>
                  <a:pt x="16297" y="12230"/>
                </a:lnTo>
                <a:lnTo>
                  <a:pt x="16278" y="12203"/>
                </a:lnTo>
                <a:lnTo>
                  <a:pt x="16260" y="12147"/>
                </a:lnTo>
                <a:lnTo>
                  <a:pt x="16237" y="12102"/>
                </a:lnTo>
                <a:lnTo>
                  <a:pt x="15967" y="11862"/>
                </a:lnTo>
                <a:lnTo>
                  <a:pt x="16058" y="11703"/>
                </a:lnTo>
                <a:lnTo>
                  <a:pt x="16245" y="11704"/>
                </a:lnTo>
                <a:lnTo>
                  <a:pt x="16265" y="11945"/>
                </a:lnTo>
                <a:lnTo>
                  <a:pt x="16435" y="11895"/>
                </a:lnTo>
                <a:lnTo>
                  <a:pt x="16432" y="11951"/>
                </a:lnTo>
                <a:lnTo>
                  <a:pt x="16388" y="12084"/>
                </a:lnTo>
                <a:lnTo>
                  <a:pt x="16431" y="12259"/>
                </a:lnTo>
                <a:close/>
                <a:moveTo>
                  <a:pt x="16366" y="12317"/>
                </a:moveTo>
                <a:lnTo>
                  <a:pt x="16362" y="12314"/>
                </a:lnTo>
                <a:lnTo>
                  <a:pt x="16361" y="12309"/>
                </a:lnTo>
                <a:lnTo>
                  <a:pt x="16364" y="12303"/>
                </a:lnTo>
                <a:lnTo>
                  <a:pt x="16367" y="12301"/>
                </a:lnTo>
                <a:lnTo>
                  <a:pt x="16369" y="12305"/>
                </a:lnTo>
                <a:lnTo>
                  <a:pt x="16369" y="12309"/>
                </a:lnTo>
                <a:lnTo>
                  <a:pt x="16369" y="12314"/>
                </a:lnTo>
                <a:lnTo>
                  <a:pt x="16366" y="12317"/>
                </a:lnTo>
                <a:close/>
                <a:moveTo>
                  <a:pt x="16311" y="12257"/>
                </a:moveTo>
                <a:lnTo>
                  <a:pt x="16309" y="12263"/>
                </a:lnTo>
                <a:lnTo>
                  <a:pt x="16302" y="12265"/>
                </a:lnTo>
                <a:lnTo>
                  <a:pt x="16299" y="12262"/>
                </a:lnTo>
                <a:lnTo>
                  <a:pt x="16299" y="12257"/>
                </a:lnTo>
                <a:lnTo>
                  <a:pt x="16304" y="12251"/>
                </a:lnTo>
                <a:lnTo>
                  <a:pt x="16309" y="12247"/>
                </a:lnTo>
                <a:lnTo>
                  <a:pt x="16311" y="12247"/>
                </a:lnTo>
                <a:lnTo>
                  <a:pt x="16311" y="12257"/>
                </a:lnTo>
                <a:close/>
                <a:moveTo>
                  <a:pt x="16288" y="12276"/>
                </a:moveTo>
                <a:lnTo>
                  <a:pt x="16280" y="12271"/>
                </a:lnTo>
                <a:lnTo>
                  <a:pt x="16281" y="12257"/>
                </a:lnTo>
                <a:lnTo>
                  <a:pt x="16287" y="12245"/>
                </a:lnTo>
                <a:lnTo>
                  <a:pt x="16295" y="12242"/>
                </a:lnTo>
                <a:lnTo>
                  <a:pt x="16299" y="12251"/>
                </a:lnTo>
                <a:lnTo>
                  <a:pt x="16299" y="12261"/>
                </a:lnTo>
                <a:lnTo>
                  <a:pt x="16295" y="12271"/>
                </a:lnTo>
                <a:lnTo>
                  <a:pt x="16288" y="12276"/>
                </a:lnTo>
                <a:close/>
                <a:moveTo>
                  <a:pt x="16244" y="12407"/>
                </a:moveTo>
                <a:lnTo>
                  <a:pt x="16240" y="12406"/>
                </a:lnTo>
                <a:lnTo>
                  <a:pt x="16239" y="12401"/>
                </a:lnTo>
                <a:lnTo>
                  <a:pt x="16239" y="12394"/>
                </a:lnTo>
                <a:lnTo>
                  <a:pt x="16243" y="12392"/>
                </a:lnTo>
                <a:lnTo>
                  <a:pt x="16248" y="12393"/>
                </a:lnTo>
                <a:lnTo>
                  <a:pt x="16249" y="12397"/>
                </a:lnTo>
                <a:lnTo>
                  <a:pt x="16246" y="12402"/>
                </a:lnTo>
                <a:lnTo>
                  <a:pt x="16244" y="12407"/>
                </a:lnTo>
                <a:close/>
                <a:moveTo>
                  <a:pt x="16235" y="12263"/>
                </a:moveTo>
                <a:lnTo>
                  <a:pt x="16237" y="12259"/>
                </a:lnTo>
                <a:lnTo>
                  <a:pt x="16239" y="12254"/>
                </a:lnTo>
                <a:lnTo>
                  <a:pt x="16240" y="12251"/>
                </a:lnTo>
                <a:lnTo>
                  <a:pt x="16245" y="12251"/>
                </a:lnTo>
                <a:lnTo>
                  <a:pt x="16246" y="12259"/>
                </a:lnTo>
                <a:lnTo>
                  <a:pt x="16243" y="12268"/>
                </a:lnTo>
                <a:lnTo>
                  <a:pt x="16237" y="12271"/>
                </a:lnTo>
                <a:lnTo>
                  <a:pt x="16235" y="12263"/>
                </a:lnTo>
                <a:close/>
                <a:moveTo>
                  <a:pt x="16212" y="12382"/>
                </a:moveTo>
                <a:lnTo>
                  <a:pt x="16204" y="12383"/>
                </a:lnTo>
                <a:lnTo>
                  <a:pt x="16199" y="12373"/>
                </a:lnTo>
                <a:lnTo>
                  <a:pt x="16198" y="12361"/>
                </a:lnTo>
                <a:lnTo>
                  <a:pt x="16202" y="12355"/>
                </a:lnTo>
                <a:lnTo>
                  <a:pt x="16208" y="12359"/>
                </a:lnTo>
                <a:lnTo>
                  <a:pt x="16212" y="12366"/>
                </a:lnTo>
                <a:lnTo>
                  <a:pt x="16215" y="12374"/>
                </a:lnTo>
                <a:lnTo>
                  <a:pt x="16212" y="12382"/>
                </a:lnTo>
                <a:close/>
                <a:moveTo>
                  <a:pt x="16194" y="12351"/>
                </a:moveTo>
                <a:lnTo>
                  <a:pt x="16190" y="12350"/>
                </a:lnTo>
                <a:lnTo>
                  <a:pt x="16189" y="12345"/>
                </a:lnTo>
                <a:lnTo>
                  <a:pt x="16190" y="12338"/>
                </a:lnTo>
                <a:lnTo>
                  <a:pt x="16194" y="12337"/>
                </a:lnTo>
                <a:lnTo>
                  <a:pt x="16195" y="12340"/>
                </a:lnTo>
                <a:lnTo>
                  <a:pt x="16197" y="12344"/>
                </a:lnTo>
                <a:lnTo>
                  <a:pt x="16197" y="12347"/>
                </a:lnTo>
                <a:lnTo>
                  <a:pt x="16194" y="12351"/>
                </a:lnTo>
                <a:close/>
                <a:moveTo>
                  <a:pt x="16179" y="12281"/>
                </a:moveTo>
                <a:lnTo>
                  <a:pt x="16183" y="12273"/>
                </a:lnTo>
                <a:lnTo>
                  <a:pt x="16180" y="12265"/>
                </a:lnTo>
                <a:lnTo>
                  <a:pt x="16180" y="12257"/>
                </a:lnTo>
                <a:lnTo>
                  <a:pt x="16188" y="12254"/>
                </a:lnTo>
                <a:lnTo>
                  <a:pt x="16195" y="12268"/>
                </a:lnTo>
                <a:lnTo>
                  <a:pt x="16194" y="12284"/>
                </a:lnTo>
                <a:lnTo>
                  <a:pt x="16187" y="12291"/>
                </a:lnTo>
                <a:lnTo>
                  <a:pt x="16179" y="12281"/>
                </a:lnTo>
                <a:close/>
                <a:moveTo>
                  <a:pt x="16161" y="12188"/>
                </a:moveTo>
                <a:lnTo>
                  <a:pt x="16153" y="12188"/>
                </a:lnTo>
                <a:lnTo>
                  <a:pt x="16151" y="12179"/>
                </a:lnTo>
                <a:lnTo>
                  <a:pt x="16151" y="12169"/>
                </a:lnTo>
                <a:lnTo>
                  <a:pt x="16155" y="12164"/>
                </a:lnTo>
                <a:lnTo>
                  <a:pt x="16160" y="12169"/>
                </a:lnTo>
                <a:lnTo>
                  <a:pt x="16162" y="12175"/>
                </a:lnTo>
                <a:lnTo>
                  <a:pt x="16164" y="12183"/>
                </a:lnTo>
                <a:lnTo>
                  <a:pt x="16161" y="12188"/>
                </a:lnTo>
                <a:close/>
                <a:moveTo>
                  <a:pt x="16142" y="12187"/>
                </a:moveTo>
                <a:lnTo>
                  <a:pt x="16133" y="12184"/>
                </a:lnTo>
                <a:lnTo>
                  <a:pt x="16131" y="12173"/>
                </a:lnTo>
                <a:lnTo>
                  <a:pt x="16133" y="12161"/>
                </a:lnTo>
                <a:lnTo>
                  <a:pt x="16138" y="12156"/>
                </a:lnTo>
                <a:lnTo>
                  <a:pt x="16143" y="12163"/>
                </a:lnTo>
                <a:lnTo>
                  <a:pt x="16146" y="12170"/>
                </a:lnTo>
                <a:lnTo>
                  <a:pt x="16146" y="12179"/>
                </a:lnTo>
                <a:lnTo>
                  <a:pt x="16142" y="12187"/>
                </a:lnTo>
                <a:close/>
                <a:moveTo>
                  <a:pt x="16055" y="12051"/>
                </a:moveTo>
                <a:lnTo>
                  <a:pt x="16050" y="12058"/>
                </a:lnTo>
                <a:lnTo>
                  <a:pt x="16048" y="12052"/>
                </a:lnTo>
                <a:lnTo>
                  <a:pt x="16048" y="12044"/>
                </a:lnTo>
                <a:lnTo>
                  <a:pt x="16054" y="12046"/>
                </a:lnTo>
                <a:lnTo>
                  <a:pt x="16055" y="12047"/>
                </a:lnTo>
                <a:lnTo>
                  <a:pt x="16057" y="12048"/>
                </a:lnTo>
                <a:lnTo>
                  <a:pt x="16057" y="12049"/>
                </a:lnTo>
                <a:lnTo>
                  <a:pt x="16055" y="12051"/>
                </a:lnTo>
                <a:close/>
                <a:moveTo>
                  <a:pt x="16040" y="12163"/>
                </a:moveTo>
                <a:lnTo>
                  <a:pt x="16029" y="12160"/>
                </a:lnTo>
                <a:lnTo>
                  <a:pt x="16020" y="12141"/>
                </a:lnTo>
                <a:lnTo>
                  <a:pt x="16021" y="12121"/>
                </a:lnTo>
                <a:lnTo>
                  <a:pt x="16034" y="12121"/>
                </a:lnTo>
                <a:lnTo>
                  <a:pt x="16043" y="12127"/>
                </a:lnTo>
                <a:lnTo>
                  <a:pt x="16048" y="12139"/>
                </a:lnTo>
                <a:lnTo>
                  <a:pt x="16046" y="12153"/>
                </a:lnTo>
                <a:lnTo>
                  <a:pt x="16040" y="12163"/>
                </a:lnTo>
                <a:close/>
                <a:moveTo>
                  <a:pt x="15950" y="11962"/>
                </a:moveTo>
                <a:lnTo>
                  <a:pt x="15948" y="11955"/>
                </a:lnTo>
                <a:lnTo>
                  <a:pt x="15952" y="11944"/>
                </a:lnTo>
                <a:lnTo>
                  <a:pt x="15959" y="11936"/>
                </a:lnTo>
                <a:lnTo>
                  <a:pt x="15966" y="11936"/>
                </a:lnTo>
                <a:lnTo>
                  <a:pt x="15984" y="11941"/>
                </a:lnTo>
                <a:lnTo>
                  <a:pt x="15985" y="11955"/>
                </a:lnTo>
                <a:lnTo>
                  <a:pt x="15973" y="11965"/>
                </a:lnTo>
                <a:lnTo>
                  <a:pt x="15950" y="11962"/>
                </a:lnTo>
                <a:close/>
                <a:moveTo>
                  <a:pt x="15894" y="11622"/>
                </a:moveTo>
                <a:lnTo>
                  <a:pt x="15867" y="11572"/>
                </a:lnTo>
                <a:lnTo>
                  <a:pt x="15896" y="11548"/>
                </a:lnTo>
                <a:lnTo>
                  <a:pt x="15943" y="11557"/>
                </a:lnTo>
                <a:lnTo>
                  <a:pt x="15974" y="11604"/>
                </a:lnTo>
                <a:lnTo>
                  <a:pt x="15966" y="11620"/>
                </a:lnTo>
                <a:lnTo>
                  <a:pt x="15939" y="11634"/>
                </a:lnTo>
                <a:lnTo>
                  <a:pt x="15910" y="11638"/>
                </a:lnTo>
                <a:lnTo>
                  <a:pt x="15894" y="11622"/>
                </a:lnTo>
                <a:close/>
                <a:moveTo>
                  <a:pt x="15925" y="11967"/>
                </a:moveTo>
                <a:lnTo>
                  <a:pt x="15914" y="11968"/>
                </a:lnTo>
                <a:lnTo>
                  <a:pt x="15904" y="11951"/>
                </a:lnTo>
                <a:lnTo>
                  <a:pt x="15903" y="11935"/>
                </a:lnTo>
                <a:lnTo>
                  <a:pt x="15915" y="11932"/>
                </a:lnTo>
                <a:lnTo>
                  <a:pt x="15924" y="11935"/>
                </a:lnTo>
                <a:lnTo>
                  <a:pt x="15929" y="11945"/>
                </a:lnTo>
                <a:lnTo>
                  <a:pt x="15931" y="11957"/>
                </a:lnTo>
                <a:lnTo>
                  <a:pt x="15925" y="11967"/>
                </a:lnTo>
                <a:close/>
                <a:moveTo>
                  <a:pt x="15849" y="11776"/>
                </a:moveTo>
                <a:lnTo>
                  <a:pt x="15801" y="11855"/>
                </a:lnTo>
                <a:lnTo>
                  <a:pt x="15734" y="11856"/>
                </a:lnTo>
                <a:lnTo>
                  <a:pt x="15704" y="11808"/>
                </a:lnTo>
                <a:lnTo>
                  <a:pt x="15765" y="11738"/>
                </a:lnTo>
                <a:lnTo>
                  <a:pt x="15498" y="11706"/>
                </a:lnTo>
                <a:lnTo>
                  <a:pt x="15545" y="11545"/>
                </a:lnTo>
                <a:lnTo>
                  <a:pt x="15723" y="11491"/>
                </a:lnTo>
                <a:lnTo>
                  <a:pt x="15849" y="11776"/>
                </a:lnTo>
                <a:close/>
                <a:moveTo>
                  <a:pt x="15717" y="12161"/>
                </a:moveTo>
                <a:lnTo>
                  <a:pt x="15542" y="12275"/>
                </a:lnTo>
                <a:lnTo>
                  <a:pt x="15360" y="12206"/>
                </a:lnTo>
                <a:lnTo>
                  <a:pt x="15295" y="12063"/>
                </a:lnTo>
                <a:lnTo>
                  <a:pt x="15470" y="11953"/>
                </a:lnTo>
                <a:lnTo>
                  <a:pt x="15557" y="11972"/>
                </a:lnTo>
                <a:lnTo>
                  <a:pt x="15610" y="12011"/>
                </a:lnTo>
                <a:lnTo>
                  <a:pt x="15631" y="12065"/>
                </a:lnTo>
                <a:lnTo>
                  <a:pt x="15627" y="12126"/>
                </a:lnTo>
                <a:lnTo>
                  <a:pt x="15672" y="12063"/>
                </a:lnTo>
                <a:lnTo>
                  <a:pt x="15723" y="12053"/>
                </a:lnTo>
                <a:lnTo>
                  <a:pt x="15748" y="12088"/>
                </a:lnTo>
                <a:lnTo>
                  <a:pt x="15717" y="12161"/>
                </a:lnTo>
                <a:close/>
                <a:moveTo>
                  <a:pt x="15686" y="12548"/>
                </a:moveTo>
                <a:lnTo>
                  <a:pt x="15662" y="12551"/>
                </a:lnTo>
                <a:lnTo>
                  <a:pt x="15653" y="12537"/>
                </a:lnTo>
                <a:lnTo>
                  <a:pt x="15663" y="12519"/>
                </a:lnTo>
                <a:lnTo>
                  <a:pt x="15694" y="12510"/>
                </a:lnTo>
                <a:lnTo>
                  <a:pt x="15699" y="12517"/>
                </a:lnTo>
                <a:lnTo>
                  <a:pt x="15700" y="12531"/>
                </a:lnTo>
                <a:lnTo>
                  <a:pt x="15696" y="12543"/>
                </a:lnTo>
                <a:lnTo>
                  <a:pt x="15686" y="12548"/>
                </a:lnTo>
                <a:close/>
                <a:moveTo>
                  <a:pt x="15589" y="12475"/>
                </a:moveTo>
                <a:lnTo>
                  <a:pt x="15579" y="12482"/>
                </a:lnTo>
                <a:lnTo>
                  <a:pt x="15568" y="12481"/>
                </a:lnTo>
                <a:lnTo>
                  <a:pt x="15557" y="12473"/>
                </a:lnTo>
                <a:lnTo>
                  <a:pt x="15554" y="12463"/>
                </a:lnTo>
                <a:lnTo>
                  <a:pt x="15563" y="12452"/>
                </a:lnTo>
                <a:lnTo>
                  <a:pt x="15583" y="12453"/>
                </a:lnTo>
                <a:lnTo>
                  <a:pt x="15597" y="12462"/>
                </a:lnTo>
                <a:lnTo>
                  <a:pt x="15589" y="12475"/>
                </a:lnTo>
                <a:close/>
                <a:moveTo>
                  <a:pt x="15543" y="12448"/>
                </a:moveTo>
                <a:lnTo>
                  <a:pt x="15537" y="12447"/>
                </a:lnTo>
                <a:lnTo>
                  <a:pt x="15528" y="12438"/>
                </a:lnTo>
                <a:lnTo>
                  <a:pt x="15524" y="12428"/>
                </a:lnTo>
                <a:lnTo>
                  <a:pt x="15528" y="12420"/>
                </a:lnTo>
                <a:lnTo>
                  <a:pt x="15542" y="12406"/>
                </a:lnTo>
                <a:lnTo>
                  <a:pt x="15554" y="12412"/>
                </a:lnTo>
                <a:lnTo>
                  <a:pt x="15557" y="12429"/>
                </a:lnTo>
                <a:lnTo>
                  <a:pt x="15543" y="12448"/>
                </a:lnTo>
                <a:close/>
                <a:moveTo>
                  <a:pt x="15521" y="12384"/>
                </a:moveTo>
                <a:lnTo>
                  <a:pt x="15522" y="12382"/>
                </a:lnTo>
                <a:lnTo>
                  <a:pt x="15524" y="12379"/>
                </a:lnTo>
                <a:lnTo>
                  <a:pt x="15528" y="12378"/>
                </a:lnTo>
                <a:lnTo>
                  <a:pt x="15531" y="12379"/>
                </a:lnTo>
                <a:lnTo>
                  <a:pt x="15535" y="12384"/>
                </a:lnTo>
                <a:lnTo>
                  <a:pt x="15533" y="12389"/>
                </a:lnTo>
                <a:lnTo>
                  <a:pt x="15527" y="12391"/>
                </a:lnTo>
                <a:lnTo>
                  <a:pt x="15521" y="12384"/>
                </a:lnTo>
                <a:close/>
                <a:moveTo>
                  <a:pt x="15327" y="12750"/>
                </a:moveTo>
                <a:lnTo>
                  <a:pt x="15252" y="12752"/>
                </a:lnTo>
                <a:lnTo>
                  <a:pt x="15180" y="12720"/>
                </a:lnTo>
                <a:lnTo>
                  <a:pt x="15114" y="12687"/>
                </a:lnTo>
                <a:lnTo>
                  <a:pt x="15051" y="12690"/>
                </a:lnTo>
                <a:lnTo>
                  <a:pt x="15039" y="12669"/>
                </a:lnTo>
                <a:lnTo>
                  <a:pt x="15059" y="12658"/>
                </a:lnTo>
                <a:lnTo>
                  <a:pt x="15084" y="12648"/>
                </a:lnTo>
                <a:lnTo>
                  <a:pt x="15082" y="12624"/>
                </a:lnTo>
                <a:lnTo>
                  <a:pt x="15173" y="12430"/>
                </a:lnTo>
                <a:lnTo>
                  <a:pt x="15336" y="12442"/>
                </a:lnTo>
                <a:lnTo>
                  <a:pt x="15434" y="12575"/>
                </a:lnTo>
                <a:lnTo>
                  <a:pt x="15327" y="12750"/>
                </a:lnTo>
                <a:close/>
                <a:moveTo>
                  <a:pt x="15343" y="12789"/>
                </a:moveTo>
                <a:lnTo>
                  <a:pt x="15326" y="12797"/>
                </a:lnTo>
                <a:lnTo>
                  <a:pt x="15310" y="12790"/>
                </a:lnTo>
                <a:lnTo>
                  <a:pt x="15304" y="12779"/>
                </a:lnTo>
                <a:lnTo>
                  <a:pt x="15315" y="12770"/>
                </a:lnTo>
                <a:lnTo>
                  <a:pt x="15337" y="12769"/>
                </a:lnTo>
                <a:lnTo>
                  <a:pt x="15357" y="12769"/>
                </a:lnTo>
                <a:lnTo>
                  <a:pt x="15364" y="12774"/>
                </a:lnTo>
                <a:lnTo>
                  <a:pt x="15343" y="12789"/>
                </a:lnTo>
                <a:close/>
                <a:moveTo>
                  <a:pt x="15341" y="12974"/>
                </a:moveTo>
                <a:lnTo>
                  <a:pt x="15324" y="12966"/>
                </a:lnTo>
                <a:lnTo>
                  <a:pt x="15310" y="12952"/>
                </a:lnTo>
                <a:lnTo>
                  <a:pt x="15312" y="12939"/>
                </a:lnTo>
                <a:lnTo>
                  <a:pt x="15336" y="12938"/>
                </a:lnTo>
                <a:lnTo>
                  <a:pt x="15338" y="12948"/>
                </a:lnTo>
                <a:lnTo>
                  <a:pt x="15345" y="12956"/>
                </a:lnTo>
                <a:lnTo>
                  <a:pt x="15347" y="12965"/>
                </a:lnTo>
                <a:lnTo>
                  <a:pt x="15341" y="12974"/>
                </a:lnTo>
                <a:close/>
                <a:moveTo>
                  <a:pt x="15294" y="12920"/>
                </a:moveTo>
                <a:lnTo>
                  <a:pt x="15268" y="12953"/>
                </a:lnTo>
                <a:lnTo>
                  <a:pt x="15224" y="12961"/>
                </a:lnTo>
                <a:lnTo>
                  <a:pt x="15186" y="12946"/>
                </a:lnTo>
                <a:lnTo>
                  <a:pt x="15182" y="12910"/>
                </a:lnTo>
                <a:lnTo>
                  <a:pt x="15226" y="12865"/>
                </a:lnTo>
                <a:lnTo>
                  <a:pt x="15282" y="12844"/>
                </a:lnTo>
                <a:lnTo>
                  <a:pt x="15317" y="12859"/>
                </a:lnTo>
                <a:lnTo>
                  <a:pt x="15294" y="12920"/>
                </a:lnTo>
                <a:close/>
                <a:moveTo>
                  <a:pt x="15128" y="12827"/>
                </a:moveTo>
                <a:lnTo>
                  <a:pt x="15127" y="12807"/>
                </a:lnTo>
                <a:lnTo>
                  <a:pt x="15154" y="12797"/>
                </a:lnTo>
                <a:lnTo>
                  <a:pt x="15186" y="12797"/>
                </a:lnTo>
                <a:lnTo>
                  <a:pt x="15202" y="12807"/>
                </a:lnTo>
                <a:lnTo>
                  <a:pt x="15189" y="12820"/>
                </a:lnTo>
                <a:lnTo>
                  <a:pt x="15169" y="12830"/>
                </a:lnTo>
                <a:lnTo>
                  <a:pt x="15146" y="12832"/>
                </a:lnTo>
                <a:lnTo>
                  <a:pt x="15128" y="12827"/>
                </a:lnTo>
                <a:close/>
                <a:moveTo>
                  <a:pt x="15021" y="12825"/>
                </a:moveTo>
                <a:lnTo>
                  <a:pt x="15005" y="12839"/>
                </a:lnTo>
                <a:lnTo>
                  <a:pt x="14983" y="12837"/>
                </a:lnTo>
                <a:lnTo>
                  <a:pt x="14969" y="12826"/>
                </a:lnTo>
                <a:lnTo>
                  <a:pt x="14978" y="12812"/>
                </a:lnTo>
                <a:lnTo>
                  <a:pt x="15002" y="12802"/>
                </a:lnTo>
                <a:lnTo>
                  <a:pt x="15025" y="12794"/>
                </a:lnTo>
                <a:lnTo>
                  <a:pt x="15037" y="12798"/>
                </a:lnTo>
                <a:lnTo>
                  <a:pt x="15021" y="12825"/>
                </a:lnTo>
                <a:close/>
                <a:moveTo>
                  <a:pt x="15076" y="12513"/>
                </a:moveTo>
                <a:lnTo>
                  <a:pt x="15067" y="12528"/>
                </a:lnTo>
                <a:lnTo>
                  <a:pt x="15044" y="12531"/>
                </a:lnTo>
                <a:lnTo>
                  <a:pt x="15025" y="12523"/>
                </a:lnTo>
                <a:lnTo>
                  <a:pt x="15030" y="12505"/>
                </a:lnTo>
                <a:lnTo>
                  <a:pt x="15040" y="12496"/>
                </a:lnTo>
                <a:lnTo>
                  <a:pt x="15056" y="12495"/>
                </a:lnTo>
                <a:lnTo>
                  <a:pt x="15068" y="12501"/>
                </a:lnTo>
                <a:lnTo>
                  <a:pt x="15076" y="12513"/>
                </a:lnTo>
                <a:close/>
                <a:moveTo>
                  <a:pt x="14838" y="11899"/>
                </a:moveTo>
                <a:lnTo>
                  <a:pt x="14968" y="11755"/>
                </a:lnTo>
                <a:lnTo>
                  <a:pt x="15132" y="11845"/>
                </a:lnTo>
                <a:lnTo>
                  <a:pt x="15219" y="12033"/>
                </a:lnTo>
                <a:lnTo>
                  <a:pt x="15116" y="12187"/>
                </a:lnTo>
                <a:lnTo>
                  <a:pt x="15023" y="12151"/>
                </a:lnTo>
                <a:lnTo>
                  <a:pt x="15028" y="12108"/>
                </a:lnTo>
                <a:lnTo>
                  <a:pt x="15071" y="12056"/>
                </a:lnTo>
                <a:lnTo>
                  <a:pt x="15094" y="11995"/>
                </a:lnTo>
                <a:lnTo>
                  <a:pt x="15010" y="12041"/>
                </a:lnTo>
                <a:lnTo>
                  <a:pt x="14922" y="12049"/>
                </a:lnTo>
                <a:lnTo>
                  <a:pt x="14856" y="12006"/>
                </a:lnTo>
                <a:lnTo>
                  <a:pt x="14838" y="11899"/>
                </a:lnTo>
                <a:close/>
                <a:moveTo>
                  <a:pt x="14842" y="12538"/>
                </a:moveTo>
                <a:lnTo>
                  <a:pt x="14708" y="12508"/>
                </a:lnTo>
                <a:lnTo>
                  <a:pt x="14639" y="12383"/>
                </a:lnTo>
                <a:lnTo>
                  <a:pt x="14670" y="12261"/>
                </a:lnTo>
                <a:lnTo>
                  <a:pt x="14833" y="12235"/>
                </a:lnTo>
                <a:lnTo>
                  <a:pt x="14916" y="12291"/>
                </a:lnTo>
                <a:lnTo>
                  <a:pt x="14944" y="12384"/>
                </a:lnTo>
                <a:lnTo>
                  <a:pt x="14919" y="12478"/>
                </a:lnTo>
                <a:lnTo>
                  <a:pt x="14842" y="12538"/>
                </a:lnTo>
                <a:close/>
                <a:moveTo>
                  <a:pt x="14918" y="12778"/>
                </a:moveTo>
                <a:lnTo>
                  <a:pt x="14905" y="12780"/>
                </a:lnTo>
                <a:lnTo>
                  <a:pt x="14894" y="12774"/>
                </a:lnTo>
                <a:lnTo>
                  <a:pt x="14888" y="12762"/>
                </a:lnTo>
                <a:lnTo>
                  <a:pt x="14890" y="12748"/>
                </a:lnTo>
                <a:lnTo>
                  <a:pt x="14905" y="12742"/>
                </a:lnTo>
                <a:lnTo>
                  <a:pt x="14925" y="12752"/>
                </a:lnTo>
                <a:lnTo>
                  <a:pt x="14933" y="12769"/>
                </a:lnTo>
                <a:lnTo>
                  <a:pt x="14918" y="12778"/>
                </a:lnTo>
                <a:close/>
                <a:moveTo>
                  <a:pt x="14870" y="12660"/>
                </a:moveTo>
                <a:lnTo>
                  <a:pt x="14858" y="12678"/>
                </a:lnTo>
                <a:lnTo>
                  <a:pt x="14835" y="12681"/>
                </a:lnTo>
                <a:lnTo>
                  <a:pt x="14820" y="12672"/>
                </a:lnTo>
                <a:lnTo>
                  <a:pt x="14824" y="12657"/>
                </a:lnTo>
                <a:lnTo>
                  <a:pt x="14844" y="12643"/>
                </a:lnTo>
                <a:lnTo>
                  <a:pt x="14865" y="12630"/>
                </a:lnTo>
                <a:lnTo>
                  <a:pt x="14876" y="12631"/>
                </a:lnTo>
                <a:lnTo>
                  <a:pt x="14870" y="12660"/>
                </a:lnTo>
                <a:close/>
                <a:moveTo>
                  <a:pt x="14635" y="12380"/>
                </a:moveTo>
                <a:lnTo>
                  <a:pt x="14630" y="12402"/>
                </a:lnTo>
                <a:lnTo>
                  <a:pt x="14609" y="12408"/>
                </a:lnTo>
                <a:lnTo>
                  <a:pt x="14590" y="12403"/>
                </a:lnTo>
                <a:lnTo>
                  <a:pt x="14588" y="12387"/>
                </a:lnTo>
                <a:lnTo>
                  <a:pt x="14604" y="12368"/>
                </a:lnTo>
                <a:lnTo>
                  <a:pt x="14619" y="12351"/>
                </a:lnTo>
                <a:lnTo>
                  <a:pt x="14632" y="12350"/>
                </a:lnTo>
                <a:lnTo>
                  <a:pt x="14635" y="12380"/>
                </a:lnTo>
                <a:close/>
                <a:moveTo>
                  <a:pt x="14448" y="11586"/>
                </a:moveTo>
                <a:lnTo>
                  <a:pt x="14517" y="11455"/>
                </a:lnTo>
                <a:lnTo>
                  <a:pt x="14569" y="11479"/>
                </a:lnTo>
                <a:lnTo>
                  <a:pt x="14607" y="11594"/>
                </a:lnTo>
                <a:lnTo>
                  <a:pt x="14633" y="11730"/>
                </a:lnTo>
                <a:lnTo>
                  <a:pt x="14541" y="11836"/>
                </a:lnTo>
                <a:lnTo>
                  <a:pt x="14438" y="11786"/>
                </a:lnTo>
                <a:lnTo>
                  <a:pt x="14386" y="11673"/>
                </a:lnTo>
                <a:lnTo>
                  <a:pt x="14448" y="11586"/>
                </a:lnTo>
                <a:close/>
                <a:moveTo>
                  <a:pt x="14541" y="12624"/>
                </a:moveTo>
                <a:lnTo>
                  <a:pt x="14522" y="12618"/>
                </a:lnTo>
                <a:lnTo>
                  <a:pt x="14521" y="12599"/>
                </a:lnTo>
                <a:lnTo>
                  <a:pt x="14530" y="12580"/>
                </a:lnTo>
                <a:lnTo>
                  <a:pt x="14545" y="12574"/>
                </a:lnTo>
                <a:lnTo>
                  <a:pt x="14553" y="12584"/>
                </a:lnTo>
                <a:lnTo>
                  <a:pt x="14556" y="12599"/>
                </a:lnTo>
                <a:lnTo>
                  <a:pt x="14553" y="12615"/>
                </a:lnTo>
                <a:lnTo>
                  <a:pt x="14541" y="12624"/>
                </a:lnTo>
                <a:close/>
                <a:moveTo>
                  <a:pt x="14458" y="12433"/>
                </a:moveTo>
                <a:lnTo>
                  <a:pt x="14434" y="12429"/>
                </a:lnTo>
                <a:lnTo>
                  <a:pt x="14428" y="12406"/>
                </a:lnTo>
                <a:lnTo>
                  <a:pt x="14435" y="12380"/>
                </a:lnTo>
                <a:lnTo>
                  <a:pt x="14452" y="12370"/>
                </a:lnTo>
                <a:lnTo>
                  <a:pt x="14465" y="12383"/>
                </a:lnTo>
                <a:lnTo>
                  <a:pt x="14471" y="12401"/>
                </a:lnTo>
                <a:lnTo>
                  <a:pt x="14470" y="12420"/>
                </a:lnTo>
                <a:lnTo>
                  <a:pt x="14458" y="12433"/>
                </a:lnTo>
                <a:close/>
                <a:moveTo>
                  <a:pt x="14340" y="12042"/>
                </a:moveTo>
                <a:lnTo>
                  <a:pt x="14406" y="12069"/>
                </a:lnTo>
                <a:lnTo>
                  <a:pt x="14443" y="12109"/>
                </a:lnTo>
                <a:lnTo>
                  <a:pt x="14455" y="12158"/>
                </a:lnTo>
                <a:lnTo>
                  <a:pt x="14447" y="12209"/>
                </a:lnTo>
                <a:lnTo>
                  <a:pt x="14327" y="12324"/>
                </a:lnTo>
                <a:lnTo>
                  <a:pt x="14205" y="12230"/>
                </a:lnTo>
                <a:lnTo>
                  <a:pt x="14177" y="12084"/>
                </a:lnTo>
                <a:lnTo>
                  <a:pt x="14340" y="12042"/>
                </a:lnTo>
                <a:close/>
                <a:moveTo>
                  <a:pt x="14318" y="11076"/>
                </a:moveTo>
                <a:lnTo>
                  <a:pt x="14264" y="11104"/>
                </a:lnTo>
                <a:lnTo>
                  <a:pt x="14209" y="11097"/>
                </a:lnTo>
                <a:lnTo>
                  <a:pt x="14167" y="11062"/>
                </a:lnTo>
                <a:lnTo>
                  <a:pt x="14150" y="11003"/>
                </a:lnTo>
                <a:lnTo>
                  <a:pt x="14206" y="10945"/>
                </a:lnTo>
                <a:lnTo>
                  <a:pt x="14274" y="10946"/>
                </a:lnTo>
                <a:lnTo>
                  <a:pt x="14322" y="10994"/>
                </a:lnTo>
                <a:lnTo>
                  <a:pt x="14318" y="11076"/>
                </a:lnTo>
                <a:close/>
                <a:moveTo>
                  <a:pt x="14140" y="5606"/>
                </a:moveTo>
                <a:lnTo>
                  <a:pt x="14141" y="5598"/>
                </a:lnTo>
                <a:lnTo>
                  <a:pt x="14145" y="5592"/>
                </a:lnTo>
                <a:lnTo>
                  <a:pt x="14149" y="5589"/>
                </a:lnTo>
                <a:lnTo>
                  <a:pt x="14158" y="5587"/>
                </a:lnTo>
                <a:lnTo>
                  <a:pt x="14167" y="5600"/>
                </a:lnTo>
                <a:lnTo>
                  <a:pt x="14163" y="5610"/>
                </a:lnTo>
                <a:lnTo>
                  <a:pt x="14153" y="5614"/>
                </a:lnTo>
                <a:lnTo>
                  <a:pt x="14140" y="5606"/>
                </a:lnTo>
                <a:close/>
                <a:moveTo>
                  <a:pt x="13980" y="11587"/>
                </a:moveTo>
                <a:lnTo>
                  <a:pt x="13941" y="11470"/>
                </a:lnTo>
                <a:lnTo>
                  <a:pt x="14005" y="11404"/>
                </a:lnTo>
                <a:lnTo>
                  <a:pt x="14099" y="11413"/>
                </a:lnTo>
                <a:lnTo>
                  <a:pt x="14148" y="11520"/>
                </a:lnTo>
                <a:lnTo>
                  <a:pt x="14115" y="11561"/>
                </a:lnTo>
                <a:lnTo>
                  <a:pt x="14076" y="11585"/>
                </a:lnTo>
                <a:lnTo>
                  <a:pt x="14031" y="11594"/>
                </a:lnTo>
                <a:lnTo>
                  <a:pt x="13980" y="11587"/>
                </a:lnTo>
                <a:close/>
                <a:moveTo>
                  <a:pt x="13945" y="12257"/>
                </a:moveTo>
                <a:lnTo>
                  <a:pt x="13938" y="12261"/>
                </a:lnTo>
                <a:lnTo>
                  <a:pt x="13927" y="12261"/>
                </a:lnTo>
                <a:lnTo>
                  <a:pt x="13918" y="12256"/>
                </a:lnTo>
                <a:lnTo>
                  <a:pt x="13916" y="12248"/>
                </a:lnTo>
                <a:lnTo>
                  <a:pt x="13922" y="12239"/>
                </a:lnTo>
                <a:lnTo>
                  <a:pt x="13939" y="12240"/>
                </a:lnTo>
                <a:lnTo>
                  <a:pt x="13952" y="12248"/>
                </a:lnTo>
                <a:lnTo>
                  <a:pt x="13945" y="12257"/>
                </a:lnTo>
                <a:close/>
                <a:moveTo>
                  <a:pt x="13922" y="12570"/>
                </a:moveTo>
                <a:lnTo>
                  <a:pt x="13903" y="12570"/>
                </a:lnTo>
                <a:lnTo>
                  <a:pt x="13893" y="12554"/>
                </a:lnTo>
                <a:lnTo>
                  <a:pt x="13893" y="12533"/>
                </a:lnTo>
                <a:lnTo>
                  <a:pt x="13904" y="12523"/>
                </a:lnTo>
                <a:lnTo>
                  <a:pt x="13916" y="12531"/>
                </a:lnTo>
                <a:lnTo>
                  <a:pt x="13925" y="12543"/>
                </a:lnTo>
                <a:lnTo>
                  <a:pt x="13929" y="12559"/>
                </a:lnTo>
                <a:lnTo>
                  <a:pt x="13922" y="12570"/>
                </a:lnTo>
                <a:close/>
                <a:moveTo>
                  <a:pt x="13908" y="12663"/>
                </a:moveTo>
                <a:lnTo>
                  <a:pt x="13889" y="12666"/>
                </a:lnTo>
                <a:lnTo>
                  <a:pt x="13876" y="12649"/>
                </a:lnTo>
                <a:lnTo>
                  <a:pt x="13873" y="12630"/>
                </a:lnTo>
                <a:lnTo>
                  <a:pt x="13882" y="12618"/>
                </a:lnTo>
                <a:lnTo>
                  <a:pt x="13894" y="12625"/>
                </a:lnTo>
                <a:lnTo>
                  <a:pt x="13906" y="12636"/>
                </a:lnTo>
                <a:lnTo>
                  <a:pt x="13912" y="12650"/>
                </a:lnTo>
                <a:lnTo>
                  <a:pt x="13908" y="12663"/>
                </a:lnTo>
                <a:close/>
                <a:moveTo>
                  <a:pt x="13824" y="11859"/>
                </a:moveTo>
                <a:lnTo>
                  <a:pt x="13887" y="11864"/>
                </a:lnTo>
                <a:lnTo>
                  <a:pt x="13927" y="11893"/>
                </a:lnTo>
                <a:lnTo>
                  <a:pt x="13949" y="11934"/>
                </a:lnTo>
                <a:lnTo>
                  <a:pt x="13953" y="11974"/>
                </a:lnTo>
                <a:lnTo>
                  <a:pt x="13879" y="12075"/>
                </a:lnTo>
                <a:lnTo>
                  <a:pt x="13773" y="12044"/>
                </a:lnTo>
                <a:lnTo>
                  <a:pt x="13724" y="11950"/>
                </a:lnTo>
                <a:lnTo>
                  <a:pt x="13824" y="11859"/>
                </a:lnTo>
                <a:close/>
                <a:moveTo>
                  <a:pt x="13825" y="12098"/>
                </a:moveTo>
                <a:lnTo>
                  <a:pt x="13833" y="12090"/>
                </a:lnTo>
                <a:lnTo>
                  <a:pt x="13851" y="12091"/>
                </a:lnTo>
                <a:lnTo>
                  <a:pt x="13864" y="12099"/>
                </a:lnTo>
                <a:lnTo>
                  <a:pt x="13856" y="12108"/>
                </a:lnTo>
                <a:lnTo>
                  <a:pt x="13848" y="12113"/>
                </a:lnTo>
                <a:lnTo>
                  <a:pt x="13837" y="12112"/>
                </a:lnTo>
                <a:lnTo>
                  <a:pt x="13829" y="12107"/>
                </a:lnTo>
                <a:lnTo>
                  <a:pt x="13825" y="12098"/>
                </a:lnTo>
                <a:close/>
                <a:moveTo>
                  <a:pt x="13864" y="12401"/>
                </a:moveTo>
                <a:lnTo>
                  <a:pt x="13796" y="12476"/>
                </a:lnTo>
                <a:lnTo>
                  <a:pt x="13708" y="12467"/>
                </a:lnTo>
                <a:lnTo>
                  <a:pt x="13643" y="12402"/>
                </a:lnTo>
                <a:lnTo>
                  <a:pt x="13648" y="12308"/>
                </a:lnTo>
                <a:lnTo>
                  <a:pt x="13701" y="12268"/>
                </a:lnTo>
                <a:lnTo>
                  <a:pt x="13785" y="12270"/>
                </a:lnTo>
                <a:lnTo>
                  <a:pt x="13855" y="12314"/>
                </a:lnTo>
                <a:lnTo>
                  <a:pt x="13864" y="12401"/>
                </a:lnTo>
                <a:close/>
                <a:moveTo>
                  <a:pt x="13641" y="5547"/>
                </a:moveTo>
                <a:lnTo>
                  <a:pt x="13680" y="5536"/>
                </a:lnTo>
                <a:lnTo>
                  <a:pt x="13701" y="5555"/>
                </a:lnTo>
                <a:lnTo>
                  <a:pt x="13716" y="5579"/>
                </a:lnTo>
                <a:lnTo>
                  <a:pt x="13747" y="5583"/>
                </a:lnTo>
                <a:lnTo>
                  <a:pt x="13796" y="5616"/>
                </a:lnTo>
                <a:lnTo>
                  <a:pt x="13738" y="5626"/>
                </a:lnTo>
                <a:lnTo>
                  <a:pt x="13656" y="5605"/>
                </a:lnTo>
                <a:lnTo>
                  <a:pt x="13641" y="5547"/>
                </a:lnTo>
                <a:close/>
                <a:moveTo>
                  <a:pt x="13754" y="10771"/>
                </a:moveTo>
                <a:lnTo>
                  <a:pt x="13792" y="10785"/>
                </a:lnTo>
                <a:lnTo>
                  <a:pt x="13810" y="10805"/>
                </a:lnTo>
                <a:lnTo>
                  <a:pt x="13810" y="10831"/>
                </a:lnTo>
                <a:lnTo>
                  <a:pt x="13792" y="10867"/>
                </a:lnTo>
                <a:lnTo>
                  <a:pt x="13754" y="10854"/>
                </a:lnTo>
                <a:lnTo>
                  <a:pt x="13735" y="10834"/>
                </a:lnTo>
                <a:lnTo>
                  <a:pt x="13735" y="10807"/>
                </a:lnTo>
                <a:lnTo>
                  <a:pt x="13754" y="10771"/>
                </a:lnTo>
                <a:close/>
                <a:moveTo>
                  <a:pt x="13697" y="5787"/>
                </a:moveTo>
                <a:lnTo>
                  <a:pt x="13710" y="5766"/>
                </a:lnTo>
                <a:lnTo>
                  <a:pt x="13741" y="5768"/>
                </a:lnTo>
                <a:lnTo>
                  <a:pt x="13766" y="5783"/>
                </a:lnTo>
                <a:lnTo>
                  <a:pt x="13755" y="5806"/>
                </a:lnTo>
                <a:lnTo>
                  <a:pt x="13740" y="5817"/>
                </a:lnTo>
                <a:lnTo>
                  <a:pt x="13721" y="5817"/>
                </a:lnTo>
                <a:lnTo>
                  <a:pt x="13704" y="5806"/>
                </a:lnTo>
                <a:lnTo>
                  <a:pt x="13697" y="5787"/>
                </a:lnTo>
                <a:close/>
                <a:moveTo>
                  <a:pt x="13722" y="10443"/>
                </a:moveTo>
                <a:lnTo>
                  <a:pt x="13750" y="10429"/>
                </a:lnTo>
                <a:lnTo>
                  <a:pt x="13789" y="10447"/>
                </a:lnTo>
                <a:lnTo>
                  <a:pt x="13808" y="10476"/>
                </a:lnTo>
                <a:lnTo>
                  <a:pt x="13780" y="10494"/>
                </a:lnTo>
                <a:lnTo>
                  <a:pt x="13755" y="10498"/>
                </a:lnTo>
                <a:lnTo>
                  <a:pt x="13733" y="10488"/>
                </a:lnTo>
                <a:lnTo>
                  <a:pt x="13720" y="10466"/>
                </a:lnTo>
                <a:lnTo>
                  <a:pt x="13722" y="10443"/>
                </a:lnTo>
                <a:close/>
                <a:moveTo>
                  <a:pt x="13749" y="5204"/>
                </a:moveTo>
                <a:lnTo>
                  <a:pt x="13790" y="5163"/>
                </a:lnTo>
                <a:lnTo>
                  <a:pt x="13791" y="5124"/>
                </a:lnTo>
                <a:lnTo>
                  <a:pt x="13792" y="5101"/>
                </a:lnTo>
                <a:lnTo>
                  <a:pt x="13833" y="5111"/>
                </a:lnTo>
                <a:lnTo>
                  <a:pt x="13892" y="5204"/>
                </a:lnTo>
                <a:lnTo>
                  <a:pt x="13850" y="5264"/>
                </a:lnTo>
                <a:lnTo>
                  <a:pt x="13780" y="5271"/>
                </a:lnTo>
                <a:lnTo>
                  <a:pt x="13749" y="5204"/>
                </a:lnTo>
                <a:close/>
                <a:moveTo>
                  <a:pt x="13878" y="5050"/>
                </a:moveTo>
                <a:lnTo>
                  <a:pt x="13902" y="5064"/>
                </a:lnTo>
                <a:lnTo>
                  <a:pt x="13911" y="5087"/>
                </a:lnTo>
                <a:lnTo>
                  <a:pt x="13903" y="5109"/>
                </a:lnTo>
                <a:lnTo>
                  <a:pt x="13879" y="5125"/>
                </a:lnTo>
                <a:lnTo>
                  <a:pt x="13855" y="5111"/>
                </a:lnTo>
                <a:lnTo>
                  <a:pt x="13846" y="5088"/>
                </a:lnTo>
                <a:lnTo>
                  <a:pt x="13853" y="5065"/>
                </a:lnTo>
                <a:lnTo>
                  <a:pt x="13878" y="5050"/>
                </a:lnTo>
                <a:close/>
                <a:moveTo>
                  <a:pt x="13927" y="5377"/>
                </a:moveTo>
                <a:lnTo>
                  <a:pt x="13916" y="5392"/>
                </a:lnTo>
                <a:lnTo>
                  <a:pt x="13893" y="5387"/>
                </a:lnTo>
                <a:lnTo>
                  <a:pt x="13873" y="5372"/>
                </a:lnTo>
                <a:lnTo>
                  <a:pt x="13870" y="5356"/>
                </a:lnTo>
                <a:lnTo>
                  <a:pt x="13879" y="5336"/>
                </a:lnTo>
                <a:lnTo>
                  <a:pt x="13896" y="5340"/>
                </a:lnTo>
                <a:lnTo>
                  <a:pt x="13913" y="5356"/>
                </a:lnTo>
                <a:lnTo>
                  <a:pt x="13927" y="5377"/>
                </a:lnTo>
                <a:close/>
                <a:moveTo>
                  <a:pt x="13972" y="5453"/>
                </a:moveTo>
                <a:lnTo>
                  <a:pt x="13960" y="5494"/>
                </a:lnTo>
                <a:lnTo>
                  <a:pt x="13930" y="5514"/>
                </a:lnTo>
                <a:lnTo>
                  <a:pt x="13894" y="5513"/>
                </a:lnTo>
                <a:lnTo>
                  <a:pt x="13862" y="5481"/>
                </a:lnTo>
                <a:lnTo>
                  <a:pt x="13876" y="5439"/>
                </a:lnTo>
                <a:lnTo>
                  <a:pt x="13906" y="5419"/>
                </a:lnTo>
                <a:lnTo>
                  <a:pt x="13940" y="5423"/>
                </a:lnTo>
                <a:lnTo>
                  <a:pt x="13972" y="5453"/>
                </a:lnTo>
                <a:close/>
                <a:moveTo>
                  <a:pt x="13910" y="11045"/>
                </a:moveTo>
                <a:lnTo>
                  <a:pt x="13880" y="11054"/>
                </a:lnTo>
                <a:lnTo>
                  <a:pt x="13853" y="11040"/>
                </a:lnTo>
                <a:lnTo>
                  <a:pt x="13836" y="11009"/>
                </a:lnTo>
                <a:lnTo>
                  <a:pt x="13831" y="10970"/>
                </a:lnTo>
                <a:lnTo>
                  <a:pt x="13864" y="10956"/>
                </a:lnTo>
                <a:lnTo>
                  <a:pt x="13902" y="10973"/>
                </a:lnTo>
                <a:lnTo>
                  <a:pt x="13925" y="11007"/>
                </a:lnTo>
                <a:lnTo>
                  <a:pt x="13910" y="11045"/>
                </a:lnTo>
                <a:close/>
                <a:moveTo>
                  <a:pt x="13977" y="5760"/>
                </a:moveTo>
                <a:lnTo>
                  <a:pt x="13972" y="5779"/>
                </a:lnTo>
                <a:lnTo>
                  <a:pt x="13949" y="5782"/>
                </a:lnTo>
                <a:lnTo>
                  <a:pt x="13925" y="5774"/>
                </a:lnTo>
                <a:lnTo>
                  <a:pt x="13917" y="5760"/>
                </a:lnTo>
                <a:lnTo>
                  <a:pt x="13930" y="5751"/>
                </a:lnTo>
                <a:lnTo>
                  <a:pt x="13948" y="5747"/>
                </a:lnTo>
                <a:lnTo>
                  <a:pt x="13966" y="5750"/>
                </a:lnTo>
                <a:lnTo>
                  <a:pt x="13977" y="5760"/>
                </a:lnTo>
                <a:close/>
                <a:moveTo>
                  <a:pt x="13980" y="5682"/>
                </a:moveTo>
                <a:lnTo>
                  <a:pt x="14013" y="5667"/>
                </a:lnTo>
                <a:lnTo>
                  <a:pt x="14036" y="5668"/>
                </a:lnTo>
                <a:lnTo>
                  <a:pt x="14052" y="5685"/>
                </a:lnTo>
                <a:lnTo>
                  <a:pt x="14064" y="5717"/>
                </a:lnTo>
                <a:lnTo>
                  <a:pt x="14037" y="5742"/>
                </a:lnTo>
                <a:lnTo>
                  <a:pt x="14005" y="5741"/>
                </a:lnTo>
                <a:lnTo>
                  <a:pt x="13981" y="5719"/>
                </a:lnTo>
                <a:lnTo>
                  <a:pt x="13980" y="5682"/>
                </a:lnTo>
                <a:close/>
                <a:moveTo>
                  <a:pt x="14038" y="5474"/>
                </a:moveTo>
                <a:lnTo>
                  <a:pt x="14029" y="5485"/>
                </a:lnTo>
                <a:lnTo>
                  <a:pt x="14020" y="5489"/>
                </a:lnTo>
                <a:lnTo>
                  <a:pt x="14011" y="5486"/>
                </a:lnTo>
                <a:lnTo>
                  <a:pt x="14001" y="5475"/>
                </a:lnTo>
                <a:lnTo>
                  <a:pt x="14011" y="5463"/>
                </a:lnTo>
                <a:lnTo>
                  <a:pt x="14019" y="5460"/>
                </a:lnTo>
                <a:lnTo>
                  <a:pt x="14028" y="5463"/>
                </a:lnTo>
                <a:lnTo>
                  <a:pt x="14038" y="5474"/>
                </a:lnTo>
                <a:close/>
                <a:moveTo>
                  <a:pt x="14102" y="5061"/>
                </a:moveTo>
                <a:lnTo>
                  <a:pt x="14150" y="5032"/>
                </a:lnTo>
                <a:lnTo>
                  <a:pt x="14178" y="5061"/>
                </a:lnTo>
                <a:lnTo>
                  <a:pt x="14173" y="5107"/>
                </a:lnTo>
                <a:lnTo>
                  <a:pt x="14123" y="5124"/>
                </a:lnTo>
                <a:lnTo>
                  <a:pt x="14117" y="5150"/>
                </a:lnTo>
                <a:lnTo>
                  <a:pt x="14097" y="5171"/>
                </a:lnTo>
                <a:lnTo>
                  <a:pt x="14065" y="5183"/>
                </a:lnTo>
                <a:lnTo>
                  <a:pt x="14031" y="5186"/>
                </a:lnTo>
                <a:lnTo>
                  <a:pt x="14045" y="5209"/>
                </a:lnTo>
                <a:lnTo>
                  <a:pt x="14038" y="5232"/>
                </a:lnTo>
                <a:lnTo>
                  <a:pt x="14019" y="5246"/>
                </a:lnTo>
                <a:lnTo>
                  <a:pt x="13995" y="5242"/>
                </a:lnTo>
                <a:lnTo>
                  <a:pt x="13981" y="5185"/>
                </a:lnTo>
                <a:lnTo>
                  <a:pt x="13991" y="5104"/>
                </a:lnTo>
                <a:lnTo>
                  <a:pt x="14029" y="5047"/>
                </a:lnTo>
                <a:lnTo>
                  <a:pt x="14102" y="5061"/>
                </a:lnTo>
                <a:close/>
                <a:moveTo>
                  <a:pt x="14064" y="5936"/>
                </a:moveTo>
                <a:lnTo>
                  <a:pt x="13990" y="5948"/>
                </a:lnTo>
                <a:lnTo>
                  <a:pt x="13977" y="5918"/>
                </a:lnTo>
                <a:lnTo>
                  <a:pt x="14005" y="5873"/>
                </a:lnTo>
                <a:lnTo>
                  <a:pt x="14056" y="5840"/>
                </a:lnTo>
                <a:lnTo>
                  <a:pt x="14070" y="5858"/>
                </a:lnTo>
                <a:lnTo>
                  <a:pt x="14081" y="5891"/>
                </a:lnTo>
                <a:lnTo>
                  <a:pt x="14083" y="5922"/>
                </a:lnTo>
                <a:lnTo>
                  <a:pt x="14064" y="5936"/>
                </a:lnTo>
                <a:close/>
                <a:moveTo>
                  <a:pt x="14143" y="5924"/>
                </a:moveTo>
                <a:lnTo>
                  <a:pt x="14145" y="5951"/>
                </a:lnTo>
                <a:lnTo>
                  <a:pt x="14131" y="5966"/>
                </a:lnTo>
                <a:lnTo>
                  <a:pt x="14109" y="5966"/>
                </a:lnTo>
                <a:lnTo>
                  <a:pt x="14092" y="5946"/>
                </a:lnTo>
                <a:lnTo>
                  <a:pt x="14102" y="5927"/>
                </a:lnTo>
                <a:lnTo>
                  <a:pt x="14112" y="5920"/>
                </a:lnTo>
                <a:lnTo>
                  <a:pt x="14125" y="5920"/>
                </a:lnTo>
                <a:lnTo>
                  <a:pt x="14143" y="5924"/>
                </a:lnTo>
                <a:close/>
                <a:moveTo>
                  <a:pt x="14216" y="5348"/>
                </a:moveTo>
                <a:lnTo>
                  <a:pt x="14219" y="5379"/>
                </a:lnTo>
                <a:lnTo>
                  <a:pt x="14208" y="5404"/>
                </a:lnTo>
                <a:lnTo>
                  <a:pt x="14185" y="5418"/>
                </a:lnTo>
                <a:lnTo>
                  <a:pt x="14157" y="5424"/>
                </a:lnTo>
                <a:lnTo>
                  <a:pt x="14165" y="5453"/>
                </a:lnTo>
                <a:lnTo>
                  <a:pt x="14180" y="5496"/>
                </a:lnTo>
                <a:lnTo>
                  <a:pt x="14185" y="5538"/>
                </a:lnTo>
                <a:lnTo>
                  <a:pt x="14171" y="5560"/>
                </a:lnTo>
                <a:lnTo>
                  <a:pt x="14121" y="5580"/>
                </a:lnTo>
                <a:lnTo>
                  <a:pt x="14092" y="5568"/>
                </a:lnTo>
                <a:lnTo>
                  <a:pt x="14092" y="5537"/>
                </a:lnTo>
                <a:lnTo>
                  <a:pt x="14127" y="5507"/>
                </a:lnTo>
                <a:lnTo>
                  <a:pt x="14074" y="5505"/>
                </a:lnTo>
                <a:lnTo>
                  <a:pt x="14075" y="5479"/>
                </a:lnTo>
                <a:lnTo>
                  <a:pt x="14107" y="5446"/>
                </a:lnTo>
                <a:lnTo>
                  <a:pt x="14148" y="5423"/>
                </a:lnTo>
                <a:lnTo>
                  <a:pt x="14093" y="5388"/>
                </a:lnTo>
                <a:lnTo>
                  <a:pt x="14112" y="5327"/>
                </a:lnTo>
                <a:lnTo>
                  <a:pt x="14167" y="5294"/>
                </a:lnTo>
                <a:lnTo>
                  <a:pt x="14216" y="5348"/>
                </a:lnTo>
                <a:close/>
                <a:moveTo>
                  <a:pt x="14309" y="10684"/>
                </a:moveTo>
                <a:lnTo>
                  <a:pt x="14325" y="10676"/>
                </a:lnTo>
                <a:lnTo>
                  <a:pt x="14357" y="10679"/>
                </a:lnTo>
                <a:lnTo>
                  <a:pt x="14386" y="10689"/>
                </a:lnTo>
                <a:lnTo>
                  <a:pt x="14391" y="10708"/>
                </a:lnTo>
                <a:lnTo>
                  <a:pt x="14387" y="10755"/>
                </a:lnTo>
                <a:lnTo>
                  <a:pt x="14351" y="10763"/>
                </a:lnTo>
                <a:lnTo>
                  <a:pt x="14314" y="10738"/>
                </a:lnTo>
                <a:lnTo>
                  <a:pt x="14309" y="10684"/>
                </a:lnTo>
                <a:close/>
                <a:moveTo>
                  <a:pt x="14424" y="10503"/>
                </a:moveTo>
                <a:lnTo>
                  <a:pt x="14492" y="10517"/>
                </a:lnTo>
                <a:lnTo>
                  <a:pt x="14485" y="10574"/>
                </a:lnTo>
                <a:lnTo>
                  <a:pt x="14438" y="10611"/>
                </a:lnTo>
                <a:lnTo>
                  <a:pt x="14378" y="10563"/>
                </a:lnTo>
                <a:lnTo>
                  <a:pt x="14387" y="10541"/>
                </a:lnTo>
                <a:lnTo>
                  <a:pt x="14396" y="10521"/>
                </a:lnTo>
                <a:lnTo>
                  <a:pt x="14407" y="10505"/>
                </a:lnTo>
                <a:lnTo>
                  <a:pt x="14424" y="10503"/>
                </a:lnTo>
                <a:close/>
                <a:moveTo>
                  <a:pt x="14558" y="10883"/>
                </a:moveTo>
                <a:lnTo>
                  <a:pt x="14548" y="10894"/>
                </a:lnTo>
                <a:lnTo>
                  <a:pt x="14523" y="10899"/>
                </a:lnTo>
                <a:lnTo>
                  <a:pt x="14498" y="10897"/>
                </a:lnTo>
                <a:lnTo>
                  <a:pt x="14488" y="10885"/>
                </a:lnTo>
                <a:lnTo>
                  <a:pt x="14475" y="10849"/>
                </a:lnTo>
                <a:lnTo>
                  <a:pt x="14500" y="10834"/>
                </a:lnTo>
                <a:lnTo>
                  <a:pt x="14536" y="10844"/>
                </a:lnTo>
                <a:lnTo>
                  <a:pt x="14558" y="10883"/>
                </a:lnTo>
                <a:close/>
                <a:moveTo>
                  <a:pt x="14534" y="5970"/>
                </a:moveTo>
                <a:lnTo>
                  <a:pt x="14569" y="5951"/>
                </a:lnTo>
                <a:lnTo>
                  <a:pt x="14595" y="5957"/>
                </a:lnTo>
                <a:lnTo>
                  <a:pt x="14607" y="5980"/>
                </a:lnTo>
                <a:lnTo>
                  <a:pt x="14598" y="6012"/>
                </a:lnTo>
                <a:lnTo>
                  <a:pt x="14568" y="6012"/>
                </a:lnTo>
                <a:lnTo>
                  <a:pt x="14544" y="6003"/>
                </a:lnTo>
                <a:lnTo>
                  <a:pt x="14530" y="5988"/>
                </a:lnTo>
                <a:lnTo>
                  <a:pt x="14534" y="5970"/>
                </a:lnTo>
                <a:close/>
                <a:moveTo>
                  <a:pt x="14639" y="6003"/>
                </a:moveTo>
                <a:lnTo>
                  <a:pt x="14644" y="6020"/>
                </a:lnTo>
                <a:lnTo>
                  <a:pt x="14627" y="6034"/>
                </a:lnTo>
                <a:lnTo>
                  <a:pt x="14604" y="6039"/>
                </a:lnTo>
                <a:lnTo>
                  <a:pt x="14591" y="6032"/>
                </a:lnTo>
                <a:lnTo>
                  <a:pt x="14597" y="6018"/>
                </a:lnTo>
                <a:lnTo>
                  <a:pt x="14610" y="6007"/>
                </a:lnTo>
                <a:lnTo>
                  <a:pt x="14625" y="6001"/>
                </a:lnTo>
                <a:lnTo>
                  <a:pt x="14639" y="6003"/>
                </a:lnTo>
                <a:close/>
                <a:moveTo>
                  <a:pt x="14669" y="6259"/>
                </a:moveTo>
                <a:lnTo>
                  <a:pt x="14691" y="6283"/>
                </a:lnTo>
                <a:lnTo>
                  <a:pt x="14681" y="6301"/>
                </a:lnTo>
                <a:lnTo>
                  <a:pt x="14661" y="6312"/>
                </a:lnTo>
                <a:lnTo>
                  <a:pt x="14656" y="6321"/>
                </a:lnTo>
                <a:lnTo>
                  <a:pt x="14653" y="6377"/>
                </a:lnTo>
                <a:lnTo>
                  <a:pt x="14621" y="6353"/>
                </a:lnTo>
                <a:lnTo>
                  <a:pt x="14610" y="6298"/>
                </a:lnTo>
                <a:lnTo>
                  <a:pt x="14669" y="6259"/>
                </a:lnTo>
                <a:close/>
                <a:moveTo>
                  <a:pt x="14681" y="6058"/>
                </a:moveTo>
                <a:lnTo>
                  <a:pt x="14695" y="6045"/>
                </a:lnTo>
                <a:lnTo>
                  <a:pt x="14712" y="6039"/>
                </a:lnTo>
                <a:lnTo>
                  <a:pt x="14722" y="6041"/>
                </a:lnTo>
                <a:lnTo>
                  <a:pt x="14722" y="6060"/>
                </a:lnTo>
                <a:lnTo>
                  <a:pt x="14708" y="6079"/>
                </a:lnTo>
                <a:lnTo>
                  <a:pt x="14680" y="6088"/>
                </a:lnTo>
                <a:lnTo>
                  <a:pt x="14663" y="6083"/>
                </a:lnTo>
                <a:lnTo>
                  <a:pt x="14681" y="6058"/>
                </a:lnTo>
                <a:close/>
                <a:moveTo>
                  <a:pt x="14726" y="6480"/>
                </a:moveTo>
                <a:lnTo>
                  <a:pt x="14713" y="6488"/>
                </a:lnTo>
                <a:lnTo>
                  <a:pt x="14708" y="6503"/>
                </a:lnTo>
                <a:lnTo>
                  <a:pt x="14702" y="6515"/>
                </a:lnTo>
                <a:lnTo>
                  <a:pt x="14688" y="6511"/>
                </a:lnTo>
                <a:lnTo>
                  <a:pt x="14685" y="6483"/>
                </a:lnTo>
                <a:lnTo>
                  <a:pt x="14703" y="6461"/>
                </a:lnTo>
                <a:lnTo>
                  <a:pt x="14722" y="6456"/>
                </a:lnTo>
                <a:lnTo>
                  <a:pt x="14726" y="6480"/>
                </a:lnTo>
                <a:close/>
                <a:moveTo>
                  <a:pt x="14627" y="10032"/>
                </a:moveTo>
                <a:lnTo>
                  <a:pt x="14649" y="10028"/>
                </a:lnTo>
                <a:lnTo>
                  <a:pt x="14666" y="10031"/>
                </a:lnTo>
                <a:lnTo>
                  <a:pt x="14679" y="10041"/>
                </a:lnTo>
                <a:lnTo>
                  <a:pt x="14693" y="10061"/>
                </a:lnTo>
                <a:lnTo>
                  <a:pt x="14670" y="10094"/>
                </a:lnTo>
                <a:lnTo>
                  <a:pt x="14638" y="10096"/>
                </a:lnTo>
                <a:lnTo>
                  <a:pt x="14618" y="10071"/>
                </a:lnTo>
                <a:lnTo>
                  <a:pt x="14627" y="10032"/>
                </a:lnTo>
                <a:close/>
                <a:moveTo>
                  <a:pt x="14665" y="6547"/>
                </a:moveTo>
                <a:lnTo>
                  <a:pt x="14672" y="6526"/>
                </a:lnTo>
                <a:lnTo>
                  <a:pt x="14690" y="6522"/>
                </a:lnTo>
                <a:lnTo>
                  <a:pt x="14703" y="6530"/>
                </a:lnTo>
                <a:lnTo>
                  <a:pt x="14702" y="6547"/>
                </a:lnTo>
                <a:lnTo>
                  <a:pt x="14686" y="6564"/>
                </a:lnTo>
                <a:lnTo>
                  <a:pt x="14671" y="6577"/>
                </a:lnTo>
                <a:lnTo>
                  <a:pt x="14662" y="6576"/>
                </a:lnTo>
                <a:lnTo>
                  <a:pt x="14665" y="6547"/>
                </a:lnTo>
                <a:close/>
                <a:moveTo>
                  <a:pt x="14658" y="6438"/>
                </a:moveTo>
                <a:lnTo>
                  <a:pt x="14647" y="6445"/>
                </a:lnTo>
                <a:lnTo>
                  <a:pt x="14642" y="6460"/>
                </a:lnTo>
                <a:lnTo>
                  <a:pt x="14635" y="6472"/>
                </a:lnTo>
                <a:lnTo>
                  <a:pt x="14621" y="6468"/>
                </a:lnTo>
                <a:lnTo>
                  <a:pt x="14619" y="6440"/>
                </a:lnTo>
                <a:lnTo>
                  <a:pt x="14635" y="6418"/>
                </a:lnTo>
                <a:lnTo>
                  <a:pt x="14655" y="6414"/>
                </a:lnTo>
                <a:lnTo>
                  <a:pt x="14658" y="6438"/>
                </a:lnTo>
                <a:close/>
                <a:moveTo>
                  <a:pt x="14825" y="11235"/>
                </a:moveTo>
                <a:lnTo>
                  <a:pt x="14751" y="11335"/>
                </a:lnTo>
                <a:lnTo>
                  <a:pt x="14646" y="11305"/>
                </a:lnTo>
                <a:lnTo>
                  <a:pt x="14596" y="11211"/>
                </a:lnTo>
                <a:lnTo>
                  <a:pt x="14695" y="11119"/>
                </a:lnTo>
                <a:lnTo>
                  <a:pt x="14758" y="11124"/>
                </a:lnTo>
                <a:lnTo>
                  <a:pt x="14800" y="11153"/>
                </a:lnTo>
                <a:lnTo>
                  <a:pt x="14821" y="11194"/>
                </a:lnTo>
                <a:lnTo>
                  <a:pt x="14825" y="11235"/>
                </a:lnTo>
                <a:close/>
                <a:moveTo>
                  <a:pt x="14763" y="6488"/>
                </a:moveTo>
                <a:lnTo>
                  <a:pt x="14770" y="6468"/>
                </a:lnTo>
                <a:lnTo>
                  <a:pt x="14788" y="6464"/>
                </a:lnTo>
                <a:lnTo>
                  <a:pt x="14801" y="6473"/>
                </a:lnTo>
                <a:lnTo>
                  <a:pt x="14798" y="6488"/>
                </a:lnTo>
                <a:lnTo>
                  <a:pt x="14783" y="6506"/>
                </a:lnTo>
                <a:lnTo>
                  <a:pt x="14769" y="6519"/>
                </a:lnTo>
                <a:lnTo>
                  <a:pt x="14760" y="6517"/>
                </a:lnTo>
                <a:lnTo>
                  <a:pt x="14763" y="6488"/>
                </a:lnTo>
                <a:close/>
                <a:moveTo>
                  <a:pt x="15017" y="10740"/>
                </a:moveTo>
                <a:lnTo>
                  <a:pt x="14989" y="10810"/>
                </a:lnTo>
                <a:lnTo>
                  <a:pt x="14947" y="10845"/>
                </a:lnTo>
                <a:lnTo>
                  <a:pt x="14893" y="10848"/>
                </a:lnTo>
                <a:lnTo>
                  <a:pt x="14825" y="10816"/>
                </a:lnTo>
                <a:lnTo>
                  <a:pt x="14819" y="10726"/>
                </a:lnTo>
                <a:lnTo>
                  <a:pt x="14879" y="10671"/>
                </a:lnTo>
                <a:lnTo>
                  <a:pt x="14960" y="10670"/>
                </a:lnTo>
                <a:lnTo>
                  <a:pt x="15017" y="10740"/>
                </a:lnTo>
                <a:close/>
                <a:moveTo>
                  <a:pt x="14820" y="6319"/>
                </a:moveTo>
                <a:lnTo>
                  <a:pt x="14848" y="6314"/>
                </a:lnTo>
                <a:lnTo>
                  <a:pt x="14865" y="6329"/>
                </a:lnTo>
                <a:lnTo>
                  <a:pt x="14865" y="6351"/>
                </a:lnTo>
                <a:lnTo>
                  <a:pt x="14840" y="6367"/>
                </a:lnTo>
                <a:lnTo>
                  <a:pt x="14826" y="6357"/>
                </a:lnTo>
                <a:lnTo>
                  <a:pt x="14820" y="6348"/>
                </a:lnTo>
                <a:lnTo>
                  <a:pt x="14818" y="6337"/>
                </a:lnTo>
                <a:lnTo>
                  <a:pt x="14820" y="6319"/>
                </a:lnTo>
                <a:close/>
                <a:moveTo>
                  <a:pt x="15012" y="10342"/>
                </a:moveTo>
                <a:lnTo>
                  <a:pt x="15021" y="10356"/>
                </a:lnTo>
                <a:lnTo>
                  <a:pt x="15024" y="10384"/>
                </a:lnTo>
                <a:lnTo>
                  <a:pt x="15020" y="10409"/>
                </a:lnTo>
                <a:lnTo>
                  <a:pt x="15006" y="10410"/>
                </a:lnTo>
                <a:lnTo>
                  <a:pt x="14972" y="10402"/>
                </a:lnTo>
                <a:lnTo>
                  <a:pt x="14959" y="10369"/>
                </a:lnTo>
                <a:lnTo>
                  <a:pt x="14970" y="10340"/>
                </a:lnTo>
                <a:lnTo>
                  <a:pt x="15012" y="10342"/>
                </a:lnTo>
                <a:close/>
                <a:moveTo>
                  <a:pt x="14987" y="9930"/>
                </a:moveTo>
                <a:lnTo>
                  <a:pt x="15012" y="9915"/>
                </a:lnTo>
                <a:lnTo>
                  <a:pt x="15049" y="9930"/>
                </a:lnTo>
                <a:lnTo>
                  <a:pt x="15071" y="9956"/>
                </a:lnTo>
                <a:lnTo>
                  <a:pt x="15047" y="9975"/>
                </a:lnTo>
                <a:lnTo>
                  <a:pt x="15024" y="9981"/>
                </a:lnTo>
                <a:lnTo>
                  <a:pt x="15001" y="9972"/>
                </a:lnTo>
                <a:lnTo>
                  <a:pt x="14987" y="9953"/>
                </a:lnTo>
                <a:lnTo>
                  <a:pt x="14987" y="9930"/>
                </a:lnTo>
                <a:close/>
                <a:moveTo>
                  <a:pt x="15059" y="6463"/>
                </a:moveTo>
                <a:lnTo>
                  <a:pt x="15062" y="6435"/>
                </a:lnTo>
                <a:lnTo>
                  <a:pt x="15082" y="6423"/>
                </a:lnTo>
                <a:lnTo>
                  <a:pt x="15102" y="6428"/>
                </a:lnTo>
                <a:lnTo>
                  <a:pt x="15105" y="6450"/>
                </a:lnTo>
                <a:lnTo>
                  <a:pt x="15091" y="6477"/>
                </a:lnTo>
                <a:lnTo>
                  <a:pt x="15079" y="6500"/>
                </a:lnTo>
                <a:lnTo>
                  <a:pt x="15067" y="6500"/>
                </a:lnTo>
                <a:lnTo>
                  <a:pt x="15059" y="6463"/>
                </a:lnTo>
                <a:close/>
                <a:moveTo>
                  <a:pt x="15194" y="10279"/>
                </a:moveTo>
                <a:lnTo>
                  <a:pt x="15163" y="10328"/>
                </a:lnTo>
                <a:lnTo>
                  <a:pt x="15117" y="10340"/>
                </a:lnTo>
                <a:lnTo>
                  <a:pt x="15071" y="10318"/>
                </a:lnTo>
                <a:lnTo>
                  <a:pt x="15039" y="10271"/>
                </a:lnTo>
                <a:lnTo>
                  <a:pt x="15072" y="10208"/>
                </a:lnTo>
                <a:lnTo>
                  <a:pt x="15130" y="10195"/>
                </a:lnTo>
                <a:lnTo>
                  <a:pt x="15180" y="10222"/>
                </a:lnTo>
                <a:lnTo>
                  <a:pt x="15194" y="10279"/>
                </a:lnTo>
                <a:close/>
                <a:moveTo>
                  <a:pt x="15177" y="9077"/>
                </a:moveTo>
                <a:lnTo>
                  <a:pt x="15203" y="9067"/>
                </a:lnTo>
                <a:lnTo>
                  <a:pt x="15251" y="9080"/>
                </a:lnTo>
                <a:lnTo>
                  <a:pt x="15290" y="9106"/>
                </a:lnTo>
                <a:lnTo>
                  <a:pt x="15291" y="9142"/>
                </a:lnTo>
                <a:lnTo>
                  <a:pt x="15273" y="9222"/>
                </a:lnTo>
                <a:lnTo>
                  <a:pt x="15216" y="9229"/>
                </a:lnTo>
                <a:lnTo>
                  <a:pt x="15168" y="9176"/>
                </a:lnTo>
                <a:lnTo>
                  <a:pt x="15177" y="9077"/>
                </a:lnTo>
                <a:close/>
                <a:moveTo>
                  <a:pt x="15177" y="6811"/>
                </a:moveTo>
                <a:lnTo>
                  <a:pt x="15193" y="6818"/>
                </a:lnTo>
                <a:lnTo>
                  <a:pt x="15196" y="6839"/>
                </a:lnTo>
                <a:lnTo>
                  <a:pt x="15188" y="6861"/>
                </a:lnTo>
                <a:lnTo>
                  <a:pt x="15175" y="6869"/>
                </a:lnTo>
                <a:lnTo>
                  <a:pt x="15168" y="6856"/>
                </a:lnTo>
                <a:lnTo>
                  <a:pt x="15165" y="6839"/>
                </a:lnTo>
                <a:lnTo>
                  <a:pt x="15168" y="6823"/>
                </a:lnTo>
                <a:lnTo>
                  <a:pt x="15177" y="6811"/>
                </a:lnTo>
                <a:close/>
                <a:moveTo>
                  <a:pt x="15282" y="6390"/>
                </a:moveTo>
                <a:lnTo>
                  <a:pt x="15287" y="6351"/>
                </a:lnTo>
                <a:lnTo>
                  <a:pt x="15304" y="6333"/>
                </a:lnTo>
                <a:lnTo>
                  <a:pt x="15319" y="6343"/>
                </a:lnTo>
                <a:lnTo>
                  <a:pt x="15323" y="6388"/>
                </a:lnTo>
                <a:lnTo>
                  <a:pt x="15327" y="6407"/>
                </a:lnTo>
                <a:lnTo>
                  <a:pt x="15314" y="6410"/>
                </a:lnTo>
                <a:lnTo>
                  <a:pt x="15300" y="6413"/>
                </a:lnTo>
                <a:lnTo>
                  <a:pt x="15300" y="6423"/>
                </a:lnTo>
                <a:lnTo>
                  <a:pt x="15295" y="6440"/>
                </a:lnTo>
                <a:lnTo>
                  <a:pt x="15284" y="6430"/>
                </a:lnTo>
                <a:lnTo>
                  <a:pt x="15275" y="6408"/>
                </a:lnTo>
                <a:lnTo>
                  <a:pt x="15282" y="6390"/>
                </a:lnTo>
                <a:close/>
                <a:moveTo>
                  <a:pt x="15342" y="6489"/>
                </a:moveTo>
                <a:lnTo>
                  <a:pt x="15355" y="6515"/>
                </a:lnTo>
                <a:lnTo>
                  <a:pt x="15356" y="6534"/>
                </a:lnTo>
                <a:lnTo>
                  <a:pt x="15343" y="6547"/>
                </a:lnTo>
                <a:lnTo>
                  <a:pt x="15315" y="6557"/>
                </a:lnTo>
                <a:lnTo>
                  <a:pt x="15303" y="6531"/>
                </a:lnTo>
                <a:lnTo>
                  <a:pt x="15303" y="6512"/>
                </a:lnTo>
                <a:lnTo>
                  <a:pt x="15315" y="6498"/>
                </a:lnTo>
                <a:lnTo>
                  <a:pt x="15342" y="6489"/>
                </a:lnTo>
                <a:close/>
                <a:moveTo>
                  <a:pt x="15303" y="6759"/>
                </a:moveTo>
                <a:lnTo>
                  <a:pt x="15308" y="6750"/>
                </a:lnTo>
                <a:lnTo>
                  <a:pt x="15315" y="6749"/>
                </a:lnTo>
                <a:lnTo>
                  <a:pt x="15324" y="6750"/>
                </a:lnTo>
                <a:lnTo>
                  <a:pt x="15335" y="6754"/>
                </a:lnTo>
                <a:lnTo>
                  <a:pt x="15352" y="6776"/>
                </a:lnTo>
                <a:lnTo>
                  <a:pt x="15322" y="6794"/>
                </a:lnTo>
                <a:lnTo>
                  <a:pt x="15290" y="6794"/>
                </a:lnTo>
                <a:lnTo>
                  <a:pt x="15303" y="6759"/>
                </a:lnTo>
                <a:close/>
                <a:moveTo>
                  <a:pt x="15327" y="6668"/>
                </a:moveTo>
                <a:lnTo>
                  <a:pt x="15317" y="6690"/>
                </a:lnTo>
                <a:lnTo>
                  <a:pt x="15301" y="6674"/>
                </a:lnTo>
                <a:lnTo>
                  <a:pt x="15290" y="6638"/>
                </a:lnTo>
                <a:lnTo>
                  <a:pt x="15294" y="6609"/>
                </a:lnTo>
                <a:lnTo>
                  <a:pt x="15321" y="6613"/>
                </a:lnTo>
                <a:lnTo>
                  <a:pt x="15328" y="6626"/>
                </a:lnTo>
                <a:lnTo>
                  <a:pt x="15328" y="6645"/>
                </a:lnTo>
                <a:lnTo>
                  <a:pt x="15327" y="6668"/>
                </a:lnTo>
                <a:close/>
                <a:moveTo>
                  <a:pt x="15370" y="9776"/>
                </a:moveTo>
                <a:lnTo>
                  <a:pt x="15364" y="9793"/>
                </a:lnTo>
                <a:lnTo>
                  <a:pt x="15356" y="9809"/>
                </a:lnTo>
                <a:lnTo>
                  <a:pt x="15349" y="9827"/>
                </a:lnTo>
                <a:lnTo>
                  <a:pt x="15342" y="9843"/>
                </a:lnTo>
                <a:lnTo>
                  <a:pt x="15290" y="9817"/>
                </a:lnTo>
                <a:lnTo>
                  <a:pt x="15286" y="9779"/>
                </a:lnTo>
                <a:lnTo>
                  <a:pt x="15318" y="9756"/>
                </a:lnTo>
                <a:lnTo>
                  <a:pt x="15370" y="9776"/>
                </a:lnTo>
                <a:close/>
                <a:moveTo>
                  <a:pt x="15426" y="6362"/>
                </a:moveTo>
                <a:lnTo>
                  <a:pt x="15435" y="6382"/>
                </a:lnTo>
                <a:lnTo>
                  <a:pt x="15433" y="6404"/>
                </a:lnTo>
                <a:lnTo>
                  <a:pt x="15419" y="6419"/>
                </a:lnTo>
                <a:lnTo>
                  <a:pt x="15397" y="6422"/>
                </a:lnTo>
                <a:lnTo>
                  <a:pt x="15370" y="6414"/>
                </a:lnTo>
                <a:lnTo>
                  <a:pt x="15375" y="6385"/>
                </a:lnTo>
                <a:lnTo>
                  <a:pt x="15398" y="6358"/>
                </a:lnTo>
                <a:lnTo>
                  <a:pt x="15426" y="6362"/>
                </a:lnTo>
                <a:close/>
                <a:moveTo>
                  <a:pt x="15379" y="6260"/>
                </a:moveTo>
                <a:lnTo>
                  <a:pt x="15407" y="6256"/>
                </a:lnTo>
                <a:lnTo>
                  <a:pt x="15426" y="6286"/>
                </a:lnTo>
                <a:lnTo>
                  <a:pt x="15431" y="6325"/>
                </a:lnTo>
                <a:lnTo>
                  <a:pt x="15419" y="6346"/>
                </a:lnTo>
                <a:lnTo>
                  <a:pt x="15398" y="6333"/>
                </a:lnTo>
                <a:lnTo>
                  <a:pt x="15382" y="6310"/>
                </a:lnTo>
                <a:lnTo>
                  <a:pt x="15373" y="6283"/>
                </a:lnTo>
                <a:lnTo>
                  <a:pt x="15379" y="6260"/>
                </a:lnTo>
                <a:close/>
                <a:moveTo>
                  <a:pt x="15447" y="6494"/>
                </a:moveTo>
                <a:lnTo>
                  <a:pt x="15442" y="6505"/>
                </a:lnTo>
                <a:lnTo>
                  <a:pt x="15445" y="6517"/>
                </a:lnTo>
                <a:lnTo>
                  <a:pt x="15448" y="6528"/>
                </a:lnTo>
                <a:lnTo>
                  <a:pt x="15436" y="6533"/>
                </a:lnTo>
                <a:lnTo>
                  <a:pt x="15421" y="6515"/>
                </a:lnTo>
                <a:lnTo>
                  <a:pt x="15422" y="6493"/>
                </a:lnTo>
                <a:lnTo>
                  <a:pt x="15433" y="6480"/>
                </a:lnTo>
                <a:lnTo>
                  <a:pt x="15447" y="6494"/>
                </a:lnTo>
                <a:close/>
                <a:moveTo>
                  <a:pt x="15150" y="11666"/>
                </a:moveTo>
                <a:lnTo>
                  <a:pt x="15058" y="11531"/>
                </a:lnTo>
                <a:lnTo>
                  <a:pt x="15088" y="11379"/>
                </a:lnTo>
                <a:lnTo>
                  <a:pt x="15193" y="11304"/>
                </a:lnTo>
                <a:lnTo>
                  <a:pt x="15332" y="11395"/>
                </a:lnTo>
                <a:lnTo>
                  <a:pt x="15349" y="11521"/>
                </a:lnTo>
                <a:lnTo>
                  <a:pt x="15442" y="11620"/>
                </a:lnTo>
                <a:lnTo>
                  <a:pt x="15529" y="11725"/>
                </a:lnTo>
                <a:lnTo>
                  <a:pt x="15527" y="11869"/>
                </a:lnTo>
                <a:lnTo>
                  <a:pt x="15364" y="11971"/>
                </a:lnTo>
                <a:lnTo>
                  <a:pt x="15290" y="11906"/>
                </a:lnTo>
                <a:lnTo>
                  <a:pt x="15240" y="11772"/>
                </a:lnTo>
                <a:lnTo>
                  <a:pt x="15150" y="11666"/>
                </a:lnTo>
                <a:close/>
                <a:moveTo>
                  <a:pt x="15526" y="10941"/>
                </a:moveTo>
                <a:lnTo>
                  <a:pt x="15495" y="11063"/>
                </a:lnTo>
                <a:lnTo>
                  <a:pt x="15394" y="11086"/>
                </a:lnTo>
                <a:lnTo>
                  <a:pt x="15295" y="11034"/>
                </a:lnTo>
                <a:lnTo>
                  <a:pt x="15272" y="10931"/>
                </a:lnTo>
                <a:lnTo>
                  <a:pt x="15305" y="10871"/>
                </a:lnTo>
                <a:lnTo>
                  <a:pt x="15391" y="10853"/>
                </a:lnTo>
                <a:lnTo>
                  <a:pt x="15480" y="10877"/>
                </a:lnTo>
                <a:lnTo>
                  <a:pt x="15526" y="10941"/>
                </a:lnTo>
                <a:close/>
                <a:moveTo>
                  <a:pt x="15653" y="10829"/>
                </a:moveTo>
                <a:lnTo>
                  <a:pt x="15625" y="10850"/>
                </a:lnTo>
                <a:lnTo>
                  <a:pt x="15578" y="10838"/>
                </a:lnTo>
                <a:lnTo>
                  <a:pt x="15549" y="10810"/>
                </a:lnTo>
                <a:lnTo>
                  <a:pt x="15574" y="10784"/>
                </a:lnTo>
                <a:lnTo>
                  <a:pt x="15601" y="10774"/>
                </a:lnTo>
                <a:lnTo>
                  <a:pt x="15629" y="10782"/>
                </a:lnTo>
                <a:lnTo>
                  <a:pt x="15649" y="10802"/>
                </a:lnTo>
                <a:lnTo>
                  <a:pt x="15653" y="10829"/>
                </a:lnTo>
                <a:close/>
                <a:moveTo>
                  <a:pt x="15714" y="10503"/>
                </a:moveTo>
                <a:lnTo>
                  <a:pt x="15652" y="10565"/>
                </a:lnTo>
                <a:lnTo>
                  <a:pt x="15583" y="10573"/>
                </a:lnTo>
                <a:lnTo>
                  <a:pt x="15526" y="10532"/>
                </a:lnTo>
                <a:lnTo>
                  <a:pt x="15499" y="10449"/>
                </a:lnTo>
                <a:lnTo>
                  <a:pt x="15560" y="10387"/>
                </a:lnTo>
                <a:lnTo>
                  <a:pt x="15633" y="10382"/>
                </a:lnTo>
                <a:lnTo>
                  <a:pt x="15691" y="10424"/>
                </a:lnTo>
                <a:lnTo>
                  <a:pt x="15714" y="10503"/>
                </a:lnTo>
                <a:close/>
                <a:moveTo>
                  <a:pt x="15513" y="6687"/>
                </a:moveTo>
                <a:lnTo>
                  <a:pt x="15531" y="6687"/>
                </a:lnTo>
                <a:lnTo>
                  <a:pt x="15533" y="6697"/>
                </a:lnTo>
                <a:lnTo>
                  <a:pt x="15531" y="6711"/>
                </a:lnTo>
                <a:lnTo>
                  <a:pt x="15532" y="6725"/>
                </a:lnTo>
                <a:lnTo>
                  <a:pt x="15527" y="6744"/>
                </a:lnTo>
                <a:lnTo>
                  <a:pt x="15512" y="6731"/>
                </a:lnTo>
                <a:lnTo>
                  <a:pt x="15503" y="6707"/>
                </a:lnTo>
                <a:lnTo>
                  <a:pt x="15513" y="6687"/>
                </a:lnTo>
                <a:close/>
                <a:moveTo>
                  <a:pt x="15564" y="5863"/>
                </a:moveTo>
                <a:lnTo>
                  <a:pt x="15555" y="5817"/>
                </a:lnTo>
                <a:lnTo>
                  <a:pt x="15578" y="5791"/>
                </a:lnTo>
                <a:lnTo>
                  <a:pt x="15616" y="5783"/>
                </a:lnTo>
                <a:lnTo>
                  <a:pt x="15655" y="5796"/>
                </a:lnTo>
                <a:lnTo>
                  <a:pt x="15657" y="5829"/>
                </a:lnTo>
                <a:lnTo>
                  <a:pt x="15630" y="5848"/>
                </a:lnTo>
                <a:lnTo>
                  <a:pt x="15592" y="5858"/>
                </a:lnTo>
                <a:lnTo>
                  <a:pt x="15564" y="5863"/>
                </a:lnTo>
                <a:close/>
                <a:moveTo>
                  <a:pt x="15692" y="5983"/>
                </a:moveTo>
                <a:lnTo>
                  <a:pt x="15700" y="6003"/>
                </a:lnTo>
                <a:lnTo>
                  <a:pt x="15720" y="6016"/>
                </a:lnTo>
                <a:lnTo>
                  <a:pt x="15736" y="6029"/>
                </a:lnTo>
                <a:lnTo>
                  <a:pt x="15727" y="6049"/>
                </a:lnTo>
                <a:lnTo>
                  <a:pt x="15685" y="6045"/>
                </a:lnTo>
                <a:lnTo>
                  <a:pt x="15658" y="6012"/>
                </a:lnTo>
                <a:lnTo>
                  <a:pt x="15657" y="5981"/>
                </a:lnTo>
                <a:lnTo>
                  <a:pt x="15692" y="5983"/>
                </a:lnTo>
                <a:close/>
                <a:moveTo>
                  <a:pt x="15635" y="6516"/>
                </a:moveTo>
                <a:lnTo>
                  <a:pt x="15629" y="6540"/>
                </a:lnTo>
                <a:lnTo>
                  <a:pt x="15610" y="6526"/>
                </a:lnTo>
                <a:lnTo>
                  <a:pt x="15596" y="6496"/>
                </a:lnTo>
                <a:lnTo>
                  <a:pt x="15606" y="6468"/>
                </a:lnTo>
                <a:lnTo>
                  <a:pt x="15630" y="6466"/>
                </a:lnTo>
                <a:lnTo>
                  <a:pt x="15634" y="6479"/>
                </a:lnTo>
                <a:lnTo>
                  <a:pt x="15631" y="6498"/>
                </a:lnTo>
                <a:lnTo>
                  <a:pt x="15635" y="6516"/>
                </a:lnTo>
                <a:close/>
                <a:moveTo>
                  <a:pt x="15765" y="6370"/>
                </a:moveTo>
                <a:lnTo>
                  <a:pt x="15773" y="6404"/>
                </a:lnTo>
                <a:lnTo>
                  <a:pt x="15778" y="6436"/>
                </a:lnTo>
                <a:lnTo>
                  <a:pt x="15769" y="6445"/>
                </a:lnTo>
                <a:lnTo>
                  <a:pt x="15733" y="6417"/>
                </a:lnTo>
                <a:lnTo>
                  <a:pt x="15709" y="6413"/>
                </a:lnTo>
                <a:lnTo>
                  <a:pt x="15673" y="6431"/>
                </a:lnTo>
                <a:lnTo>
                  <a:pt x="15634" y="6436"/>
                </a:lnTo>
                <a:lnTo>
                  <a:pt x="15597" y="6393"/>
                </a:lnTo>
                <a:lnTo>
                  <a:pt x="15621" y="6334"/>
                </a:lnTo>
                <a:lnTo>
                  <a:pt x="15671" y="6325"/>
                </a:lnTo>
                <a:lnTo>
                  <a:pt x="15726" y="6343"/>
                </a:lnTo>
                <a:lnTo>
                  <a:pt x="15765" y="6370"/>
                </a:lnTo>
                <a:close/>
                <a:moveTo>
                  <a:pt x="15779" y="5808"/>
                </a:moveTo>
                <a:lnTo>
                  <a:pt x="15890" y="5813"/>
                </a:lnTo>
                <a:lnTo>
                  <a:pt x="15931" y="5881"/>
                </a:lnTo>
                <a:lnTo>
                  <a:pt x="15922" y="5979"/>
                </a:lnTo>
                <a:lnTo>
                  <a:pt x="15880" y="6073"/>
                </a:lnTo>
                <a:lnTo>
                  <a:pt x="15836" y="6044"/>
                </a:lnTo>
                <a:lnTo>
                  <a:pt x="15776" y="5952"/>
                </a:lnTo>
                <a:lnTo>
                  <a:pt x="15745" y="5855"/>
                </a:lnTo>
                <a:lnTo>
                  <a:pt x="15779" y="5808"/>
                </a:lnTo>
                <a:close/>
                <a:moveTo>
                  <a:pt x="15778" y="5280"/>
                </a:moveTo>
                <a:lnTo>
                  <a:pt x="15776" y="5255"/>
                </a:lnTo>
                <a:lnTo>
                  <a:pt x="15802" y="5242"/>
                </a:lnTo>
                <a:lnTo>
                  <a:pt x="15833" y="5243"/>
                </a:lnTo>
                <a:lnTo>
                  <a:pt x="15847" y="5261"/>
                </a:lnTo>
                <a:lnTo>
                  <a:pt x="15834" y="5272"/>
                </a:lnTo>
                <a:lnTo>
                  <a:pt x="15815" y="5283"/>
                </a:lnTo>
                <a:lnTo>
                  <a:pt x="15794" y="5286"/>
                </a:lnTo>
                <a:lnTo>
                  <a:pt x="15778" y="5280"/>
                </a:lnTo>
                <a:close/>
                <a:moveTo>
                  <a:pt x="15891" y="5631"/>
                </a:moveTo>
                <a:lnTo>
                  <a:pt x="15904" y="5643"/>
                </a:lnTo>
                <a:lnTo>
                  <a:pt x="15922" y="5643"/>
                </a:lnTo>
                <a:lnTo>
                  <a:pt x="15937" y="5647"/>
                </a:lnTo>
                <a:lnTo>
                  <a:pt x="15937" y="5663"/>
                </a:lnTo>
                <a:lnTo>
                  <a:pt x="15908" y="5676"/>
                </a:lnTo>
                <a:lnTo>
                  <a:pt x="15878" y="5663"/>
                </a:lnTo>
                <a:lnTo>
                  <a:pt x="15867" y="5643"/>
                </a:lnTo>
                <a:lnTo>
                  <a:pt x="15891" y="5631"/>
                </a:lnTo>
                <a:close/>
                <a:moveTo>
                  <a:pt x="15946" y="5404"/>
                </a:moveTo>
                <a:lnTo>
                  <a:pt x="16008" y="5314"/>
                </a:lnTo>
                <a:lnTo>
                  <a:pt x="16092" y="5314"/>
                </a:lnTo>
                <a:lnTo>
                  <a:pt x="16155" y="5379"/>
                </a:lnTo>
                <a:lnTo>
                  <a:pt x="16150" y="5486"/>
                </a:lnTo>
                <a:lnTo>
                  <a:pt x="16071" y="5521"/>
                </a:lnTo>
                <a:lnTo>
                  <a:pt x="15992" y="5512"/>
                </a:lnTo>
                <a:lnTo>
                  <a:pt x="15941" y="5470"/>
                </a:lnTo>
                <a:lnTo>
                  <a:pt x="15946" y="5404"/>
                </a:lnTo>
                <a:close/>
                <a:moveTo>
                  <a:pt x="16113" y="5233"/>
                </a:moveTo>
                <a:lnTo>
                  <a:pt x="16173" y="5239"/>
                </a:lnTo>
                <a:lnTo>
                  <a:pt x="16171" y="5290"/>
                </a:lnTo>
                <a:lnTo>
                  <a:pt x="16136" y="5325"/>
                </a:lnTo>
                <a:lnTo>
                  <a:pt x="16096" y="5278"/>
                </a:lnTo>
                <a:lnTo>
                  <a:pt x="16096" y="5262"/>
                </a:lnTo>
                <a:lnTo>
                  <a:pt x="16099" y="5250"/>
                </a:lnTo>
                <a:lnTo>
                  <a:pt x="16105" y="5239"/>
                </a:lnTo>
                <a:lnTo>
                  <a:pt x="16113" y="5233"/>
                </a:lnTo>
                <a:close/>
                <a:moveTo>
                  <a:pt x="16194" y="5550"/>
                </a:moveTo>
                <a:lnTo>
                  <a:pt x="16362" y="5644"/>
                </a:lnTo>
                <a:lnTo>
                  <a:pt x="16277" y="5797"/>
                </a:lnTo>
                <a:lnTo>
                  <a:pt x="16132" y="5855"/>
                </a:lnTo>
                <a:lnTo>
                  <a:pt x="16116" y="5662"/>
                </a:lnTo>
                <a:lnTo>
                  <a:pt x="16094" y="5636"/>
                </a:lnTo>
                <a:lnTo>
                  <a:pt x="16134" y="5639"/>
                </a:lnTo>
                <a:lnTo>
                  <a:pt x="16203" y="5659"/>
                </a:lnTo>
                <a:lnTo>
                  <a:pt x="16265" y="5690"/>
                </a:lnTo>
                <a:lnTo>
                  <a:pt x="16250" y="5642"/>
                </a:lnTo>
                <a:lnTo>
                  <a:pt x="16208" y="5606"/>
                </a:lnTo>
                <a:lnTo>
                  <a:pt x="16178" y="5578"/>
                </a:lnTo>
                <a:lnTo>
                  <a:pt x="16194" y="5550"/>
                </a:lnTo>
                <a:close/>
                <a:moveTo>
                  <a:pt x="16313" y="5503"/>
                </a:moveTo>
                <a:lnTo>
                  <a:pt x="16287" y="5494"/>
                </a:lnTo>
                <a:lnTo>
                  <a:pt x="16278" y="5472"/>
                </a:lnTo>
                <a:lnTo>
                  <a:pt x="16283" y="5449"/>
                </a:lnTo>
                <a:lnTo>
                  <a:pt x="16304" y="5435"/>
                </a:lnTo>
                <a:lnTo>
                  <a:pt x="16330" y="5444"/>
                </a:lnTo>
                <a:lnTo>
                  <a:pt x="16339" y="5466"/>
                </a:lnTo>
                <a:lnTo>
                  <a:pt x="16334" y="5489"/>
                </a:lnTo>
                <a:lnTo>
                  <a:pt x="16313" y="5503"/>
                </a:lnTo>
                <a:close/>
                <a:moveTo>
                  <a:pt x="16234" y="5197"/>
                </a:moveTo>
                <a:lnTo>
                  <a:pt x="16328" y="5174"/>
                </a:lnTo>
                <a:lnTo>
                  <a:pt x="16397" y="5163"/>
                </a:lnTo>
                <a:lnTo>
                  <a:pt x="16462" y="5187"/>
                </a:lnTo>
                <a:lnTo>
                  <a:pt x="16538" y="5265"/>
                </a:lnTo>
                <a:lnTo>
                  <a:pt x="16473" y="5372"/>
                </a:lnTo>
                <a:lnTo>
                  <a:pt x="16369" y="5383"/>
                </a:lnTo>
                <a:lnTo>
                  <a:pt x="16272" y="5318"/>
                </a:lnTo>
                <a:lnTo>
                  <a:pt x="16234" y="5197"/>
                </a:lnTo>
                <a:close/>
                <a:moveTo>
                  <a:pt x="16617" y="5530"/>
                </a:moveTo>
                <a:lnTo>
                  <a:pt x="16683" y="5536"/>
                </a:lnTo>
                <a:lnTo>
                  <a:pt x="16719" y="5598"/>
                </a:lnTo>
                <a:lnTo>
                  <a:pt x="16716" y="5650"/>
                </a:lnTo>
                <a:lnTo>
                  <a:pt x="16664" y="5628"/>
                </a:lnTo>
                <a:lnTo>
                  <a:pt x="16650" y="5614"/>
                </a:lnTo>
                <a:lnTo>
                  <a:pt x="16637" y="5653"/>
                </a:lnTo>
                <a:lnTo>
                  <a:pt x="16604" y="5703"/>
                </a:lnTo>
                <a:lnTo>
                  <a:pt x="16532" y="5719"/>
                </a:lnTo>
                <a:lnTo>
                  <a:pt x="16420" y="5661"/>
                </a:lnTo>
                <a:lnTo>
                  <a:pt x="16432" y="5544"/>
                </a:lnTo>
                <a:lnTo>
                  <a:pt x="16515" y="5467"/>
                </a:lnTo>
                <a:lnTo>
                  <a:pt x="16617" y="5530"/>
                </a:lnTo>
                <a:close/>
                <a:moveTo>
                  <a:pt x="16670" y="5465"/>
                </a:moveTo>
                <a:lnTo>
                  <a:pt x="16691" y="5470"/>
                </a:lnTo>
                <a:lnTo>
                  <a:pt x="16701" y="5484"/>
                </a:lnTo>
                <a:lnTo>
                  <a:pt x="16700" y="5502"/>
                </a:lnTo>
                <a:lnTo>
                  <a:pt x="16687" y="5518"/>
                </a:lnTo>
                <a:lnTo>
                  <a:pt x="16662" y="5514"/>
                </a:lnTo>
                <a:lnTo>
                  <a:pt x="16650" y="5496"/>
                </a:lnTo>
                <a:lnTo>
                  <a:pt x="16653" y="5476"/>
                </a:lnTo>
                <a:lnTo>
                  <a:pt x="16670" y="5465"/>
                </a:lnTo>
                <a:close/>
                <a:moveTo>
                  <a:pt x="16678" y="5670"/>
                </a:moveTo>
                <a:lnTo>
                  <a:pt x="16674" y="5684"/>
                </a:lnTo>
                <a:lnTo>
                  <a:pt x="16664" y="5687"/>
                </a:lnTo>
                <a:lnTo>
                  <a:pt x="16654" y="5682"/>
                </a:lnTo>
                <a:lnTo>
                  <a:pt x="16651" y="5668"/>
                </a:lnTo>
                <a:lnTo>
                  <a:pt x="16659" y="5663"/>
                </a:lnTo>
                <a:lnTo>
                  <a:pt x="16665" y="5663"/>
                </a:lnTo>
                <a:lnTo>
                  <a:pt x="16670" y="5664"/>
                </a:lnTo>
                <a:lnTo>
                  <a:pt x="16678" y="5670"/>
                </a:lnTo>
                <a:close/>
                <a:moveTo>
                  <a:pt x="16743" y="5780"/>
                </a:moveTo>
                <a:lnTo>
                  <a:pt x="16809" y="5918"/>
                </a:lnTo>
                <a:lnTo>
                  <a:pt x="16714" y="6018"/>
                </a:lnTo>
                <a:lnTo>
                  <a:pt x="16584" y="6039"/>
                </a:lnTo>
                <a:lnTo>
                  <a:pt x="16553" y="5936"/>
                </a:lnTo>
                <a:lnTo>
                  <a:pt x="16581" y="5872"/>
                </a:lnTo>
                <a:lnTo>
                  <a:pt x="16631" y="5844"/>
                </a:lnTo>
                <a:lnTo>
                  <a:pt x="16688" y="5847"/>
                </a:lnTo>
                <a:lnTo>
                  <a:pt x="16741" y="5872"/>
                </a:lnTo>
                <a:lnTo>
                  <a:pt x="16718" y="5848"/>
                </a:lnTo>
                <a:lnTo>
                  <a:pt x="16696" y="5822"/>
                </a:lnTo>
                <a:lnTo>
                  <a:pt x="16697" y="5801"/>
                </a:lnTo>
                <a:lnTo>
                  <a:pt x="16743" y="5780"/>
                </a:lnTo>
                <a:close/>
                <a:moveTo>
                  <a:pt x="16832" y="5955"/>
                </a:moveTo>
                <a:lnTo>
                  <a:pt x="16850" y="5942"/>
                </a:lnTo>
                <a:lnTo>
                  <a:pt x="16873" y="5948"/>
                </a:lnTo>
                <a:lnTo>
                  <a:pt x="16888" y="5966"/>
                </a:lnTo>
                <a:lnTo>
                  <a:pt x="16882" y="5987"/>
                </a:lnTo>
                <a:lnTo>
                  <a:pt x="16853" y="6007"/>
                </a:lnTo>
                <a:lnTo>
                  <a:pt x="16825" y="6004"/>
                </a:lnTo>
                <a:lnTo>
                  <a:pt x="16813" y="5984"/>
                </a:lnTo>
                <a:lnTo>
                  <a:pt x="16832" y="5955"/>
                </a:lnTo>
                <a:close/>
                <a:moveTo>
                  <a:pt x="16909" y="5752"/>
                </a:moveTo>
                <a:lnTo>
                  <a:pt x="17092" y="5564"/>
                </a:lnTo>
                <a:lnTo>
                  <a:pt x="17168" y="5495"/>
                </a:lnTo>
                <a:lnTo>
                  <a:pt x="17193" y="5556"/>
                </a:lnTo>
                <a:lnTo>
                  <a:pt x="17221" y="5759"/>
                </a:lnTo>
                <a:lnTo>
                  <a:pt x="17189" y="5765"/>
                </a:lnTo>
                <a:lnTo>
                  <a:pt x="17148" y="5737"/>
                </a:lnTo>
                <a:lnTo>
                  <a:pt x="17112" y="5710"/>
                </a:lnTo>
                <a:lnTo>
                  <a:pt x="17096" y="5726"/>
                </a:lnTo>
                <a:lnTo>
                  <a:pt x="17115" y="5850"/>
                </a:lnTo>
                <a:lnTo>
                  <a:pt x="17012" y="5905"/>
                </a:lnTo>
                <a:lnTo>
                  <a:pt x="16904" y="5876"/>
                </a:lnTo>
                <a:lnTo>
                  <a:pt x="16909" y="5752"/>
                </a:lnTo>
                <a:close/>
                <a:moveTo>
                  <a:pt x="17223" y="5569"/>
                </a:moveTo>
                <a:lnTo>
                  <a:pt x="17305" y="5532"/>
                </a:lnTo>
                <a:lnTo>
                  <a:pt x="17394" y="5533"/>
                </a:lnTo>
                <a:lnTo>
                  <a:pt x="17456" y="5564"/>
                </a:lnTo>
                <a:lnTo>
                  <a:pt x="17457" y="5617"/>
                </a:lnTo>
                <a:lnTo>
                  <a:pt x="17473" y="5700"/>
                </a:lnTo>
                <a:lnTo>
                  <a:pt x="17352" y="5766"/>
                </a:lnTo>
                <a:lnTo>
                  <a:pt x="17226" y="5745"/>
                </a:lnTo>
                <a:lnTo>
                  <a:pt x="17223" y="5569"/>
                </a:lnTo>
                <a:close/>
                <a:moveTo>
                  <a:pt x="17390" y="5449"/>
                </a:moveTo>
                <a:lnTo>
                  <a:pt x="17380" y="5439"/>
                </a:lnTo>
                <a:lnTo>
                  <a:pt x="17386" y="5437"/>
                </a:lnTo>
                <a:lnTo>
                  <a:pt x="17396" y="5440"/>
                </a:lnTo>
                <a:lnTo>
                  <a:pt x="17395" y="5453"/>
                </a:lnTo>
                <a:lnTo>
                  <a:pt x="17407" y="5442"/>
                </a:lnTo>
                <a:lnTo>
                  <a:pt x="17424" y="5434"/>
                </a:lnTo>
                <a:lnTo>
                  <a:pt x="17438" y="5439"/>
                </a:lnTo>
                <a:lnTo>
                  <a:pt x="17440" y="5461"/>
                </a:lnTo>
                <a:lnTo>
                  <a:pt x="17449" y="5447"/>
                </a:lnTo>
                <a:lnTo>
                  <a:pt x="17446" y="5424"/>
                </a:lnTo>
                <a:lnTo>
                  <a:pt x="17449" y="5405"/>
                </a:lnTo>
                <a:lnTo>
                  <a:pt x="17473" y="5400"/>
                </a:lnTo>
                <a:lnTo>
                  <a:pt x="17516" y="5419"/>
                </a:lnTo>
                <a:lnTo>
                  <a:pt x="17516" y="5457"/>
                </a:lnTo>
                <a:lnTo>
                  <a:pt x="17484" y="5488"/>
                </a:lnTo>
                <a:lnTo>
                  <a:pt x="17436" y="5481"/>
                </a:lnTo>
                <a:lnTo>
                  <a:pt x="17413" y="5479"/>
                </a:lnTo>
                <a:lnTo>
                  <a:pt x="17404" y="5481"/>
                </a:lnTo>
                <a:lnTo>
                  <a:pt x="17399" y="5489"/>
                </a:lnTo>
                <a:lnTo>
                  <a:pt x="17387" y="5508"/>
                </a:lnTo>
                <a:lnTo>
                  <a:pt x="17375" y="5499"/>
                </a:lnTo>
                <a:lnTo>
                  <a:pt x="17367" y="5476"/>
                </a:lnTo>
                <a:lnTo>
                  <a:pt x="17371" y="5453"/>
                </a:lnTo>
                <a:lnTo>
                  <a:pt x="17390" y="5449"/>
                </a:lnTo>
                <a:close/>
                <a:moveTo>
                  <a:pt x="17553" y="5328"/>
                </a:moveTo>
                <a:lnTo>
                  <a:pt x="17559" y="5339"/>
                </a:lnTo>
                <a:lnTo>
                  <a:pt x="17561" y="5354"/>
                </a:lnTo>
                <a:lnTo>
                  <a:pt x="17558" y="5369"/>
                </a:lnTo>
                <a:lnTo>
                  <a:pt x="17552" y="5381"/>
                </a:lnTo>
                <a:lnTo>
                  <a:pt x="17543" y="5374"/>
                </a:lnTo>
                <a:lnTo>
                  <a:pt x="17539" y="5355"/>
                </a:lnTo>
                <a:lnTo>
                  <a:pt x="17542" y="5335"/>
                </a:lnTo>
                <a:lnTo>
                  <a:pt x="17553" y="5328"/>
                </a:lnTo>
                <a:close/>
                <a:moveTo>
                  <a:pt x="17530" y="5825"/>
                </a:moveTo>
                <a:lnTo>
                  <a:pt x="17590" y="5913"/>
                </a:lnTo>
                <a:lnTo>
                  <a:pt x="17578" y="6032"/>
                </a:lnTo>
                <a:lnTo>
                  <a:pt x="17503" y="6106"/>
                </a:lnTo>
                <a:lnTo>
                  <a:pt x="17367" y="6057"/>
                </a:lnTo>
                <a:lnTo>
                  <a:pt x="17359" y="5973"/>
                </a:lnTo>
                <a:lnTo>
                  <a:pt x="17408" y="5906"/>
                </a:lnTo>
                <a:lnTo>
                  <a:pt x="17477" y="5858"/>
                </a:lnTo>
                <a:lnTo>
                  <a:pt x="17530" y="5825"/>
                </a:lnTo>
                <a:close/>
                <a:moveTo>
                  <a:pt x="17605" y="5933"/>
                </a:moveTo>
                <a:lnTo>
                  <a:pt x="17610" y="5920"/>
                </a:lnTo>
                <a:lnTo>
                  <a:pt x="17610" y="5909"/>
                </a:lnTo>
                <a:lnTo>
                  <a:pt x="17612" y="5900"/>
                </a:lnTo>
                <a:lnTo>
                  <a:pt x="17617" y="5890"/>
                </a:lnTo>
                <a:lnTo>
                  <a:pt x="17638" y="5889"/>
                </a:lnTo>
                <a:lnTo>
                  <a:pt x="17638" y="5914"/>
                </a:lnTo>
                <a:lnTo>
                  <a:pt x="17624" y="5938"/>
                </a:lnTo>
                <a:lnTo>
                  <a:pt x="17605" y="5933"/>
                </a:lnTo>
                <a:close/>
                <a:moveTo>
                  <a:pt x="17678" y="6088"/>
                </a:moveTo>
                <a:lnTo>
                  <a:pt x="17622" y="6134"/>
                </a:lnTo>
                <a:lnTo>
                  <a:pt x="17568" y="6202"/>
                </a:lnTo>
                <a:lnTo>
                  <a:pt x="17549" y="6244"/>
                </a:lnTo>
                <a:lnTo>
                  <a:pt x="17595" y="6219"/>
                </a:lnTo>
                <a:lnTo>
                  <a:pt x="17725" y="6288"/>
                </a:lnTo>
                <a:lnTo>
                  <a:pt x="17685" y="6435"/>
                </a:lnTo>
                <a:lnTo>
                  <a:pt x="17564" y="6535"/>
                </a:lnTo>
                <a:lnTo>
                  <a:pt x="17449" y="6468"/>
                </a:lnTo>
                <a:lnTo>
                  <a:pt x="17519" y="6393"/>
                </a:lnTo>
                <a:lnTo>
                  <a:pt x="17511" y="6334"/>
                </a:lnTo>
                <a:lnTo>
                  <a:pt x="17482" y="6295"/>
                </a:lnTo>
                <a:lnTo>
                  <a:pt x="17487" y="6274"/>
                </a:lnTo>
                <a:lnTo>
                  <a:pt x="17498" y="6205"/>
                </a:lnTo>
                <a:lnTo>
                  <a:pt x="17559" y="6116"/>
                </a:lnTo>
                <a:lnTo>
                  <a:pt x="17632" y="6060"/>
                </a:lnTo>
                <a:lnTo>
                  <a:pt x="17678" y="6088"/>
                </a:lnTo>
                <a:close/>
                <a:moveTo>
                  <a:pt x="17680" y="5685"/>
                </a:moveTo>
                <a:lnTo>
                  <a:pt x="17705" y="5678"/>
                </a:lnTo>
                <a:lnTo>
                  <a:pt x="17713" y="5690"/>
                </a:lnTo>
                <a:lnTo>
                  <a:pt x="17716" y="5704"/>
                </a:lnTo>
                <a:lnTo>
                  <a:pt x="17722" y="5706"/>
                </a:lnTo>
                <a:lnTo>
                  <a:pt x="17739" y="5696"/>
                </a:lnTo>
                <a:lnTo>
                  <a:pt x="17744" y="5718"/>
                </a:lnTo>
                <a:lnTo>
                  <a:pt x="17740" y="5750"/>
                </a:lnTo>
                <a:lnTo>
                  <a:pt x="17727" y="5770"/>
                </a:lnTo>
                <a:lnTo>
                  <a:pt x="17716" y="5765"/>
                </a:lnTo>
                <a:lnTo>
                  <a:pt x="17715" y="5750"/>
                </a:lnTo>
                <a:lnTo>
                  <a:pt x="17717" y="5732"/>
                </a:lnTo>
                <a:lnTo>
                  <a:pt x="17712" y="5717"/>
                </a:lnTo>
                <a:lnTo>
                  <a:pt x="17692" y="5728"/>
                </a:lnTo>
                <a:lnTo>
                  <a:pt x="17673" y="5718"/>
                </a:lnTo>
                <a:lnTo>
                  <a:pt x="17665" y="5699"/>
                </a:lnTo>
                <a:lnTo>
                  <a:pt x="17680" y="5685"/>
                </a:lnTo>
                <a:close/>
                <a:moveTo>
                  <a:pt x="17697" y="6158"/>
                </a:moveTo>
                <a:lnTo>
                  <a:pt x="17727" y="6129"/>
                </a:lnTo>
                <a:lnTo>
                  <a:pt x="17753" y="6129"/>
                </a:lnTo>
                <a:lnTo>
                  <a:pt x="17763" y="6149"/>
                </a:lnTo>
                <a:lnTo>
                  <a:pt x="17743" y="6177"/>
                </a:lnTo>
                <a:lnTo>
                  <a:pt x="17731" y="6186"/>
                </a:lnTo>
                <a:lnTo>
                  <a:pt x="17713" y="6181"/>
                </a:lnTo>
                <a:lnTo>
                  <a:pt x="17699" y="6170"/>
                </a:lnTo>
                <a:lnTo>
                  <a:pt x="17697" y="6158"/>
                </a:lnTo>
                <a:close/>
                <a:moveTo>
                  <a:pt x="17893" y="6335"/>
                </a:moveTo>
                <a:lnTo>
                  <a:pt x="17896" y="6394"/>
                </a:lnTo>
                <a:lnTo>
                  <a:pt x="17857" y="6427"/>
                </a:lnTo>
                <a:lnTo>
                  <a:pt x="17804" y="6454"/>
                </a:lnTo>
                <a:lnTo>
                  <a:pt x="17763" y="6494"/>
                </a:lnTo>
                <a:lnTo>
                  <a:pt x="17738" y="6427"/>
                </a:lnTo>
                <a:lnTo>
                  <a:pt x="17758" y="6324"/>
                </a:lnTo>
                <a:lnTo>
                  <a:pt x="17813" y="6267"/>
                </a:lnTo>
                <a:lnTo>
                  <a:pt x="17893" y="6335"/>
                </a:lnTo>
                <a:close/>
                <a:moveTo>
                  <a:pt x="17913" y="6449"/>
                </a:moveTo>
                <a:lnTo>
                  <a:pt x="17922" y="6441"/>
                </a:lnTo>
                <a:lnTo>
                  <a:pt x="17915" y="6430"/>
                </a:lnTo>
                <a:lnTo>
                  <a:pt x="17910" y="6417"/>
                </a:lnTo>
                <a:lnTo>
                  <a:pt x="17925" y="6407"/>
                </a:lnTo>
                <a:lnTo>
                  <a:pt x="17943" y="6395"/>
                </a:lnTo>
                <a:lnTo>
                  <a:pt x="17954" y="6380"/>
                </a:lnTo>
                <a:lnTo>
                  <a:pt x="17967" y="6374"/>
                </a:lnTo>
                <a:lnTo>
                  <a:pt x="17985" y="6394"/>
                </a:lnTo>
                <a:lnTo>
                  <a:pt x="17971" y="6422"/>
                </a:lnTo>
                <a:lnTo>
                  <a:pt x="17940" y="6452"/>
                </a:lnTo>
                <a:lnTo>
                  <a:pt x="17915" y="6466"/>
                </a:lnTo>
                <a:lnTo>
                  <a:pt x="17913" y="6449"/>
                </a:lnTo>
                <a:close/>
                <a:moveTo>
                  <a:pt x="17418" y="6475"/>
                </a:moveTo>
                <a:lnTo>
                  <a:pt x="17279" y="6576"/>
                </a:lnTo>
                <a:lnTo>
                  <a:pt x="17196" y="6496"/>
                </a:lnTo>
                <a:lnTo>
                  <a:pt x="17219" y="6391"/>
                </a:lnTo>
                <a:lnTo>
                  <a:pt x="17401" y="6418"/>
                </a:lnTo>
                <a:lnTo>
                  <a:pt x="17422" y="6427"/>
                </a:lnTo>
                <a:lnTo>
                  <a:pt x="17433" y="6444"/>
                </a:lnTo>
                <a:lnTo>
                  <a:pt x="17432" y="6463"/>
                </a:lnTo>
                <a:lnTo>
                  <a:pt x="17418" y="6475"/>
                </a:lnTo>
                <a:close/>
                <a:moveTo>
                  <a:pt x="17283" y="7177"/>
                </a:moveTo>
                <a:lnTo>
                  <a:pt x="17280" y="7235"/>
                </a:lnTo>
                <a:lnTo>
                  <a:pt x="17321" y="7287"/>
                </a:lnTo>
                <a:lnTo>
                  <a:pt x="17356" y="7342"/>
                </a:lnTo>
                <a:lnTo>
                  <a:pt x="17331" y="7405"/>
                </a:lnTo>
                <a:lnTo>
                  <a:pt x="17272" y="7405"/>
                </a:lnTo>
                <a:lnTo>
                  <a:pt x="17224" y="7347"/>
                </a:lnTo>
                <a:lnTo>
                  <a:pt x="17194" y="7280"/>
                </a:lnTo>
                <a:lnTo>
                  <a:pt x="17186" y="7254"/>
                </a:lnTo>
                <a:lnTo>
                  <a:pt x="17176" y="7268"/>
                </a:lnTo>
                <a:lnTo>
                  <a:pt x="17158" y="7271"/>
                </a:lnTo>
                <a:lnTo>
                  <a:pt x="17143" y="7266"/>
                </a:lnTo>
                <a:lnTo>
                  <a:pt x="17139" y="7254"/>
                </a:lnTo>
                <a:lnTo>
                  <a:pt x="17184" y="7131"/>
                </a:lnTo>
                <a:lnTo>
                  <a:pt x="17269" y="7122"/>
                </a:lnTo>
                <a:lnTo>
                  <a:pt x="17325" y="7160"/>
                </a:lnTo>
                <a:lnTo>
                  <a:pt x="17283" y="7177"/>
                </a:lnTo>
                <a:close/>
                <a:moveTo>
                  <a:pt x="17432" y="7540"/>
                </a:moveTo>
                <a:lnTo>
                  <a:pt x="17418" y="7560"/>
                </a:lnTo>
                <a:lnTo>
                  <a:pt x="17395" y="7570"/>
                </a:lnTo>
                <a:lnTo>
                  <a:pt x="17368" y="7569"/>
                </a:lnTo>
                <a:lnTo>
                  <a:pt x="17344" y="7552"/>
                </a:lnTo>
                <a:lnTo>
                  <a:pt x="17330" y="7501"/>
                </a:lnTo>
                <a:lnTo>
                  <a:pt x="17372" y="7476"/>
                </a:lnTo>
                <a:lnTo>
                  <a:pt x="17422" y="7487"/>
                </a:lnTo>
                <a:lnTo>
                  <a:pt x="17432" y="7540"/>
                </a:lnTo>
                <a:close/>
                <a:moveTo>
                  <a:pt x="17401" y="7197"/>
                </a:moveTo>
                <a:lnTo>
                  <a:pt x="17421" y="7178"/>
                </a:lnTo>
                <a:lnTo>
                  <a:pt x="17438" y="7181"/>
                </a:lnTo>
                <a:lnTo>
                  <a:pt x="17447" y="7198"/>
                </a:lnTo>
                <a:lnTo>
                  <a:pt x="17441" y="7221"/>
                </a:lnTo>
                <a:lnTo>
                  <a:pt x="17526" y="7243"/>
                </a:lnTo>
                <a:lnTo>
                  <a:pt x="17508" y="7312"/>
                </a:lnTo>
                <a:lnTo>
                  <a:pt x="17446" y="7328"/>
                </a:lnTo>
                <a:lnTo>
                  <a:pt x="17401" y="7197"/>
                </a:lnTo>
                <a:close/>
                <a:moveTo>
                  <a:pt x="17591" y="7478"/>
                </a:moveTo>
                <a:lnTo>
                  <a:pt x="17559" y="7497"/>
                </a:lnTo>
                <a:lnTo>
                  <a:pt x="17533" y="7490"/>
                </a:lnTo>
                <a:lnTo>
                  <a:pt x="17511" y="7469"/>
                </a:lnTo>
                <a:lnTo>
                  <a:pt x="17496" y="7444"/>
                </a:lnTo>
                <a:lnTo>
                  <a:pt x="17515" y="7397"/>
                </a:lnTo>
                <a:lnTo>
                  <a:pt x="17568" y="7394"/>
                </a:lnTo>
                <a:lnTo>
                  <a:pt x="17609" y="7426"/>
                </a:lnTo>
                <a:lnTo>
                  <a:pt x="17591" y="7478"/>
                </a:lnTo>
                <a:close/>
                <a:moveTo>
                  <a:pt x="17596" y="10192"/>
                </a:moveTo>
                <a:lnTo>
                  <a:pt x="17598" y="10194"/>
                </a:lnTo>
                <a:lnTo>
                  <a:pt x="17599" y="10199"/>
                </a:lnTo>
                <a:lnTo>
                  <a:pt x="17599" y="10204"/>
                </a:lnTo>
                <a:lnTo>
                  <a:pt x="17595" y="10205"/>
                </a:lnTo>
                <a:lnTo>
                  <a:pt x="17589" y="10206"/>
                </a:lnTo>
                <a:lnTo>
                  <a:pt x="17586" y="10202"/>
                </a:lnTo>
                <a:lnTo>
                  <a:pt x="17589" y="10195"/>
                </a:lnTo>
                <a:lnTo>
                  <a:pt x="17596" y="10192"/>
                </a:lnTo>
                <a:close/>
                <a:moveTo>
                  <a:pt x="17592" y="9203"/>
                </a:moveTo>
                <a:lnTo>
                  <a:pt x="17586" y="9210"/>
                </a:lnTo>
                <a:lnTo>
                  <a:pt x="17571" y="9211"/>
                </a:lnTo>
                <a:lnTo>
                  <a:pt x="17557" y="9208"/>
                </a:lnTo>
                <a:lnTo>
                  <a:pt x="17552" y="9199"/>
                </a:lnTo>
                <a:lnTo>
                  <a:pt x="17548" y="9175"/>
                </a:lnTo>
                <a:lnTo>
                  <a:pt x="17563" y="9168"/>
                </a:lnTo>
                <a:lnTo>
                  <a:pt x="17584" y="9176"/>
                </a:lnTo>
                <a:lnTo>
                  <a:pt x="17592" y="9203"/>
                </a:lnTo>
                <a:close/>
                <a:moveTo>
                  <a:pt x="17505" y="7848"/>
                </a:moveTo>
                <a:lnTo>
                  <a:pt x="17526" y="7830"/>
                </a:lnTo>
                <a:lnTo>
                  <a:pt x="17550" y="7830"/>
                </a:lnTo>
                <a:lnTo>
                  <a:pt x="17570" y="7845"/>
                </a:lnTo>
                <a:lnTo>
                  <a:pt x="17575" y="7873"/>
                </a:lnTo>
                <a:lnTo>
                  <a:pt x="17553" y="7891"/>
                </a:lnTo>
                <a:lnTo>
                  <a:pt x="17529" y="7891"/>
                </a:lnTo>
                <a:lnTo>
                  <a:pt x="17511" y="7876"/>
                </a:lnTo>
                <a:lnTo>
                  <a:pt x="17505" y="7848"/>
                </a:lnTo>
                <a:close/>
                <a:moveTo>
                  <a:pt x="17446" y="9572"/>
                </a:moveTo>
                <a:lnTo>
                  <a:pt x="17435" y="9574"/>
                </a:lnTo>
                <a:lnTo>
                  <a:pt x="17428" y="9563"/>
                </a:lnTo>
                <a:lnTo>
                  <a:pt x="17431" y="9549"/>
                </a:lnTo>
                <a:lnTo>
                  <a:pt x="17443" y="9542"/>
                </a:lnTo>
                <a:lnTo>
                  <a:pt x="17530" y="9472"/>
                </a:lnTo>
                <a:lnTo>
                  <a:pt x="17572" y="9535"/>
                </a:lnTo>
                <a:lnTo>
                  <a:pt x="17550" y="9609"/>
                </a:lnTo>
                <a:lnTo>
                  <a:pt x="17446" y="9572"/>
                </a:lnTo>
                <a:close/>
                <a:moveTo>
                  <a:pt x="17245" y="8792"/>
                </a:moveTo>
                <a:lnTo>
                  <a:pt x="17232" y="8787"/>
                </a:lnTo>
                <a:lnTo>
                  <a:pt x="17221" y="8783"/>
                </a:lnTo>
                <a:lnTo>
                  <a:pt x="17216" y="8776"/>
                </a:lnTo>
                <a:lnTo>
                  <a:pt x="17219" y="8764"/>
                </a:lnTo>
                <a:lnTo>
                  <a:pt x="17240" y="8721"/>
                </a:lnTo>
                <a:lnTo>
                  <a:pt x="17273" y="8742"/>
                </a:lnTo>
                <a:lnTo>
                  <a:pt x="17286" y="8783"/>
                </a:lnTo>
                <a:lnTo>
                  <a:pt x="17245" y="8792"/>
                </a:lnTo>
                <a:close/>
                <a:moveTo>
                  <a:pt x="17185" y="9039"/>
                </a:moveTo>
                <a:lnTo>
                  <a:pt x="17163" y="8982"/>
                </a:lnTo>
                <a:lnTo>
                  <a:pt x="17184" y="8963"/>
                </a:lnTo>
                <a:lnTo>
                  <a:pt x="17223" y="8984"/>
                </a:lnTo>
                <a:lnTo>
                  <a:pt x="17255" y="9053"/>
                </a:lnTo>
                <a:lnTo>
                  <a:pt x="17247" y="9067"/>
                </a:lnTo>
                <a:lnTo>
                  <a:pt x="17224" y="9071"/>
                </a:lnTo>
                <a:lnTo>
                  <a:pt x="17198" y="9062"/>
                </a:lnTo>
                <a:lnTo>
                  <a:pt x="17185" y="9039"/>
                </a:lnTo>
                <a:close/>
                <a:moveTo>
                  <a:pt x="17166" y="9365"/>
                </a:moveTo>
                <a:lnTo>
                  <a:pt x="17214" y="9375"/>
                </a:lnTo>
                <a:lnTo>
                  <a:pt x="17210" y="9416"/>
                </a:lnTo>
                <a:lnTo>
                  <a:pt x="17176" y="9441"/>
                </a:lnTo>
                <a:lnTo>
                  <a:pt x="17134" y="9407"/>
                </a:lnTo>
                <a:lnTo>
                  <a:pt x="17140" y="9392"/>
                </a:lnTo>
                <a:lnTo>
                  <a:pt x="17147" y="9376"/>
                </a:lnTo>
                <a:lnTo>
                  <a:pt x="17154" y="9366"/>
                </a:lnTo>
                <a:lnTo>
                  <a:pt x="17166" y="9365"/>
                </a:lnTo>
                <a:close/>
                <a:moveTo>
                  <a:pt x="17147" y="9178"/>
                </a:moveTo>
                <a:lnTo>
                  <a:pt x="17147" y="9185"/>
                </a:lnTo>
                <a:lnTo>
                  <a:pt x="17143" y="9197"/>
                </a:lnTo>
                <a:lnTo>
                  <a:pt x="17135" y="9206"/>
                </a:lnTo>
                <a:lnTo>
                  <a:pt x="17128" y="9204"/>
                </a:lnTo>
                <a:lnTo>
                  <a:pt x="17112" y="9193"/>
                </a:lnTo>
                <a:lnTo>
                  <a:pt x="17114" y="9176"/>
                </a:lnTo>
                <a:lnTo>
                  <a:pt x="17126" y="9168"/>
                </a:lnTo>
                <a:lnTo>
                  <a:pt x="17147" y="9178"/>
                </a:lnTo>
                <a:close/>
                <a:moveTo>
                  <a:pt x="17189" y="7641"/>
                </a:moveTo>
                <a:lnTo>
                  <a:pt x="17174" y="7627"/>
                </a:lnTo>
                <a:lnTo>
                  <a:pt x="17166" y="7607"/>
                </a:lnTo>
                <a:lnTo>
                  <a:pt x="17166" y="7585"/>
                </a:lnTo>
                <a:lnTo>
                  <a:pt x="17170" y="7570"/>
                </a:lnTo>
                <a:lnTo>
                  <a:pt x="17231" y="7552"/>
                </a:lnTo>
                <a:lnTo>
                  <a:pt x="17256" y="7593"/>
                </a:lnTo>
                <a:lnTo>
                  <a:pt x="17242" y="7640"/>
                </a:lnTo>
                <a:lnTo>
                  <a:pt x="17189" y="7641"/>
                </a:lnTo>
                <a:close/>
                <a:moveTo>
                  <a:pt x="17272" y="7799"/>
                </a:moveTo>
                <a:lnTo>
                  <a:pt x="17255" y="7783"/>
                </a:lnTo>
                <a:lnTo>
                  <a:pt x="17251" y="7765"/>
                </a:lnTo>
                <a:lnTo>
                  <a:pt x="17255" y="7748"/>
                </a:lnTo>
                <a:lnTo>
                  <a:pt x="17264" y="7737"/>
                </a:lnTo>
                <a:lnTo>
                  <a:pt x="17307" y="7728"/>
                </a:lnTo>
                <a:lnTo>
                  <a:pt x="17329" y="7761"/>
                </a:lnTo>
                <a:lnTo>
                  <a:pt x="17320" y="7798"/>
                </a:lnTo>
                <a:lnTo>
                  <a:pt x="17272" y="7799"/>
                </a:lnTo>
                <a:close/>
                <a:moveTo>
                  <a:pt x="17331" y="8130"/>
                </a:moveTo>
                <a:lnTo>
                  <a:pt x="17251" y="8154"/>
                </a:lnTo>
                <a:lnTo>
                  <a:pt x="17198" y="8122"/>
                </a:lnTo>
                <a:lnTo>
                  <a:pt x="17193" y="8073"/>
                </a:lnTo>
                <a:lnTo>
                  <a:pt x="17256" y="8044"/>
                </a:lnTo>
                <a:lnTo>
                  <a:pt x="17287" y="8040"/>
                </a:lnTo>
                <a:lnTo>
                  <a:pt x="17316" y="8068"/>
                </a:lnTo>
                <a:lnTo>
                  <a:pt x="17335" y="8106"/>
                </a:lnTo>
                <a:lnTo>
                  <a:pt x="17331" y="8130"/>
                </a:lnTo>
                <a:close/>
                <a:moveTo>
                  <a:pt x="17363" y="8539"/>
                </a:moveTo>
                <a:lnTo>
                  <a:pt x="17365" y="8545"/>
                </a:lnTo>
                <a:lnTo>
                  <a:pt x="17361" y="8558"/>
                </a:lnTo>
                <a:lnTo>
                  <a:pt x="17354" y="8567"/>
                </a:lnTo>
                <a:lnTo>
                  <a:pt x="17347" y="8565"/>
                </a:lnTo>
                <a:lnTo>
                  <a:pt x="17331" y="8557"/>
                </a:lnTo>
                <a:lnTo>
                  <a:pt x="17331" y="8541"/>
                </a:lnTo>
                <a:lnTo>
                  <a:pt x="17343" y="8531"/>
                </a:lnTo>
                <a:lnTo>
                  <a:pt x="17363" y="8539"/>
                </a:lnTo>
                <a:close/>
                <a:moveTo>
                  <a:pt x="17345" y="7924"/>
                </a:moveTo>
                <a:lnTo>
                  <a:pt x="17366" y="7914"/>
                </a:lnTo>
                <a:lnTo>
                  <a:pt x="17382" y="7912"/>
                </a:lnTo>
                <a:lnTo>
                  <a:pt x="17395" y="7923"/>
                </a:lnTo>
                <a:lnTo>
                  <a:pt x="17407" y="7947"/>
                </a:lnTo>
                <a:lnTo>
                  <a:pt x="17387" y="7965"/>
                </a:lnTo>
                <a:lnTo>
                  <a:pt x="17365" y="7966"/>
                </a:lnTo>
                <a:lnTo>
                  <a:pt x="17348" y="7951"/>
                </a:lnTo>
                <a:lnTo>
                  <a:pt x="17345" y="7924"/>
                </a:lnTo>
                <a:close/>
                <a:moveTo>
                  <a:pt x="17362" y="9112"/>
                </a:moveTo>
                <a:lnTo>
                  <a:pt x="17373" y="9106"/>
                </a:lnTo>
                <a:lnTo>
                  <a:pt x="17385" y="9113"/>
                </a:lnTo>
                <a:lnTo>
                  <a:pt x="17391" y="9127"/>
                </a:lnTo>
                <a:lnTo>
                  <a:pt x="17393" y="9143"/>
                </a:lnTo>
                <a:lnTo>
                  <a:pt x="17382" y="9156"/>
                </a:lnTo>
                <a:lnTo>
                  <a:pt x="17363" y="9146"/>
                </a:lnTo>
                <a:lnTo>
                  <a:pt x="17352" y="9128"/>
                </a:lnTo>
                <a:lnTo>
                  <a:pt x="17362" y="9112"/>
                </a:lnTo>
                <a:close/>
                <a:moveTo>
                  <a:pt x="17300" y="9052"/>
                </a:moveTo>
                <a:lnTo>
                  <a:pt x="17316" y="9029"/>
                </a:lnTo>
                <a:lnTo>
                  <a:pt x="17339" y="9028"/>
                </a:lnTo>
                <a:lnTo>
                  <a:pt x="17354" y="9044"/>
                </a:lnTo>
                <a:lnTo>
                  <a:pt x="17348" y="9073"/>
                </a:lnTo>
                <a:lnTo>
                  <a:pt x="17330" y="9076"/>
                </a:lnTo>
                <a:lnTo>
                  <a:pt x="17319" y="9073"/>
                </a:lnTo>
                <a:lnTo>
                  <a:pt x="17310" y="9067"/>
                </a:lnTo>
                <a:lnTo>
                  <a:pt x="17300" y="9052"/>
                </a:lnTo>
                <a:close/>
                <a:moveTo>
                  <a:pt x="17427" y="8521"/>
                </a:moveTo>
                <a:lnTo>
                  <a:pt x="17424" y="8553"/>
                </a:lnTo>
                <a:lnTo>
                  <a:pt x="17414" y="8582"/>
                </a:lnTo>
                <a:lnTo>
                  <a:pt x="17398" y="8601"/>
                </a:lnTo>
                <a:lnTo>
                  <a:pt x="17381" y="8604"/>
                </a:lnTo>
                <a:lnTo>
                  <a:pt x="17371" y="8579"/>
                </a:lnTo>
                <a:lnTo>
                  <a:pt x="17384" y="8546"/>
                </a:lnTo>
                <a:lnTo>
                  <a:pt x="17407" y="8521"/>
                </a:lnTo>
                <a:lnTo>
                  <a:pt x="17427" y="8521"/>
                </a:lnTo>
                <a:close/>
                <a:moveTo>
                  <a:pt x="17426" y="7710"/>
                </a:moveTo>
                <a:lnTo>
                  <a:pt x="17418" y="7697"/>
                </a:lnTo>
                <a:lnTo>
                  <a:pt x="17414" y="7685"/>
                </a:lnTo>
                <a:lnTo>
                  <a:pt x="17414" y="7673"/>
                </a:lnTo>
                <a:lnTo>
                  <a:pt x="17418" y="7663"/>
                </a:lnTo>
                <a:lnTo>
                  <a:pt x="17474" y="7640"/>
                </a:lnTo>
                <a:lnTo>
                  <a:pt x="17497" y="7686"/>
                </a:lnTo>
                <a:lnTo>
                  <a:pt x="17482" y="7732"/>
                </a:lnTo>
                <a:lnTo>
                  <a:pt x="17426" y="7710"/>
                </a:lnTo>
                <a:close/>
                <a:moveTo>
                  <a:pt x="17480" y="9148"/>
                </a:moveTo>
                <a:lnTo>
                  <a:pt x="17480" y="9156"/>
                </a:lnTo>
                <a:lnTo>
                  <a:pt x="17475" y="9166"/>
                </a:lnTo>
                <a:lnTo>
                  <a:pt x="17468" y="9173"/>
                </a:lnTo>
                <a:lnTo>
                  <a:pt x="17461" y="9170"/>
                </a:lnTo>
                <a:lnTo>
                  <a:pt x="17447" y="9157"/>
                </a:lnTo>
                <a:lnTo>
                  <a:pt x="17450" y="9142"/>
                </a:lnTo>
                <a:lnTo>
                  <a:pt x="17463" y="9136"/>
                </a:lnTo>
                <a:lnTo>
                  <a:pt x="17480" y="9148"/>
                </a:lnTo>
                <a:close/>
                <a:moveTo>
                  <a:pt x="17441" y="8097"/>
                </a:moveTo>
                <a:lnTo>
                  <a:pt x="17455" y="8094"/>
                </a:lnTo>
                <a:lnTo>
                  <a:pt x="17464" y="8101"/>
                </a:lnTo>
                <a:lnTo>
                  <a:pt x="17464" y="8112"/>
                </a:lnTo>
                <a:lnTo>
                  <a:pt x="17452" y="8121"/>
                </a:lnTo>
                <a:lnTo>
                  <a:pt x="17445" y="8116"/>
                </a:lnTo>
                <a:lnTo>
                  <a:pt x="17441" y="8112"/>
                </a:lnTo>
                <a:lnTo>
                  <a:pt x="17441" y="8106"/>
                </a:lnTo>
                <a:lnTo>
                  <a:pt x="17441" y="8097"/>
                </a:lnTo>
                <a:close/>
                <a:moveTo>
                  <a:pt x="17075" y="7433"/>
                </a:moveTo>
                <a:lnTo>
                  <a:pt x="17105" y="7388"/>
                </a:lnTo>
                <a:lnTo>
                  <a:pt x="17152" y="7387"/>
                </a:lnTo>
                <a:lnTo>
                  <a:pt x="17188" y="7417"/>
                </a:lnTo>
                <a:lnTo>
                  <a:pt x="17181" y="7469"/>
                </a:lnTo>
                <a:lnTo>
                  <a:pt x="17143" y="7487"/>
                </a:lnTo>
                <a:lnTo>
                  <a:pt x="17115" y="7485"/>
                </a:lnTo>
                <a:lnTo>
                  <a:pt x="17092" y="7466"/>
                </a:lnTo>
                <a:lnTo>
                  <a:pt x="17075" y="7433"/>
                </a:lnTo>
                <a:close/>
                <a:moveTo>
                  <a:pt x="17091" y="9772"/>
                </a:moveTo>
                <a:lnTo>
                  <a:pt x="17051" y="9793"/>
                </a:lnTo>
                <a:lnTo>
                  <a:pt x="17013" y="9789"/>
                </a:lnTo>
                <a:lnTo>
                  <a:pt x="16982" y="9763"/>
                </a:lnTo>
                <a:lnTo>
                  <a:pt x="16971" y="9721"/>
                </a:lnTo>
                <a:lnTo>
                  <a:pt x="17010" y="9679"/>
                </a:lnTo>
                <a:lnTo>
                  <a:pt x="17059" y="9681"/>
                </a:lnTo>
                <a:lnTo>
                  <a:pt x="17093" y="9715"/>
                </a:lnTo>
                <a:lnTo>
                  <a:pt x="17091" y="9772"/>
                </a:lnTo>
                <a:close/>
                <a:moveTo>
                  <a:pt x="16932" y="7144"/>
                </a:moveTo>
                <a:lnTo>
                  <a:pt x="16914" y="7049"/>
                </a:lnTo>
                <a:lnTo>
                  <a:pt x="16986" y="7037"/>
                </a:lnTo>
                <a:lnTo>
                  <a:pt x="17046" y="7081"/>
                </a:lnTo>
                <a:lnTo>
                  <a:pt x="16990" y="7159"/>
                </a:lnTo>
                <a:lnTo>
                  <a:pt x="16980" y="7161"/>
                </a:lnTo>
                <a:lnTo>
                  <a:pt x="16966" y="7161"/>
                </a:lnTo>
                <a:lnTo>
                  <a:pt x="16951" y="7156"/>
                </a:lnTo>
                <a:lnTo>
                  <a:pt x="16932" y="7144"/>
                </a:lnTo>
                <a:close/>
                <a:moveTo>
                  <a:pt x="16873" y="7436"/>
                </a:moveTo>
                <a:lnTo>
                  <a:pt x="16887" y="7411"/>
                </a:lnTo>
                <a:lnTo>
                  <a:pt x="16901" y="7401"/>
                </a:lnTo>
                <a:lnTo>
                  <a:pt x="16919" y="7401"/>
                </a:lnTo>
                <a:lnTo>
                  <a:pt x="16944" y="7406"/>
                </a:lnTo>
                <a:lnTo>
                  <a:pt x="16948" y="7444"/>
                </a:lnTo>
                <a:lnTo>
                  <a:pt x="16928" y="7466"/>
                </a:lnTo>
                <a:lnTo>
                  <a:pt x="16898" y="7466"/>
                </a:lnTo>
                <a:lnTo>
                  <a:pt x="16873" y="7436"/>
                </a:lnTo>
                <a:close/>
                <a:moveTo>
                  <a:pt x="16836" y="8689"/>
                </a:moveTo>
                <a:lnTo>
                  <a:pt x="16850" y="8670"/>
                </a:lnTo>
                <a:lnTo>
                  <a:pt x="16873" y="8665"/>
                </a:lnTo>
                <a:lnTo>
                  <a:pt x="16896" y="8672"/>
                </a:lnTo>
                <a:lnTo>
                  <a:pt x="16911" y="8691"/>
                </a:lnTo>
                <a:lnTo>
                  <a:pt x="16902" y="8719"/>
                </a:lnTo>
                <a:lnTo>
                  <a:pt x="16865" y="8730"/>
                </a:lnTo>
                <a:lnTo>
                  <a:pt x="16831" y="8719"/>
                </a:lnTo>
                <a:lnTo>
                  <a:pt x="16836" y="8689"/>
                </a:lnTo>
                <a:close/>
                <a:moveTo>
                  <a:pt x="16823" y="6370"/>
                </a:moveTo>
                <a:lnTo>
                  <a:pt x="16716" y="6329"/>
                </a:lnTo>
                <a:lnTo>
                  <a:pt x="16741" y="6227"/>
                </a:lnTo>
                <a:lnTo>
                  <a:pt x="16828" y="6166"/>
                </a:lnTo>
                <a:lnTo>
                  <a:pt x="16911" y="6247"/>
                </a:lnTo>
                <a:lnTo>
                  <a:pt x="16918" y="6288"/>
                </a:lnTo>
                <a:lnTo>
                  <a:pt x="16907" y="6325"/>
                </a:lnTo>
                <a:lnTo>
                  <a:pt x="16877" y="6354"/>
                </a:lnTo>
                <a:lnTo>
                  <a:pt x="16823" y="6370"/>
                </a:lnTo>
                <a:close/>
                <a:moveTo>
                  <a:pt x="16975" y="6338"/>
                </a:moveTo>
                <a:lnTo>
                  <a:pt x="16961" y="6351"/>
                </a:lnTo>
                <a:lnTo>
                  <a:pt x="16940" y="6349"/>
                </a:lnTo>
                <a:lnTo>
                  <a:pt x="16924" y="6338"/>
                </a:lnTo>
                <a:lnTo>
                  <a:pt x="16916" y="6319"/>
                </a:lnTo>
                <a:lnTo>
                  <a:pt x="16929" y="6298"/>
                </a:lnTo>
                <a:lnTo>
                  <a:pt x="16962" y="6300"/>
                </a:lnTo>
                <a:lnTo>
                  <a:pt x="16986" y="6315"/>
                </a:lnTo>
                <a:lnTo>
                  <a:pt x="16975" y="6338"/>
                </a:lnTo>
                <a:close/>
                <a:moveTo>
                  <a:pt x="16850" y="6403"/>
                </a:moveTo>
                <a:lnTo>
                  <a:pt x="16850" y="6416"/>
                </a:lnTo>
                <a:lnTo>
                  <a:pt x="16832" y="6424"/>
                </a:lnTo>
                <a:lnTo>
                  <a:pt x="16811" y="6430"/>
                </a:lnTo>
                <a:lnTo>
                  <a:pt x="16799" y="6426"/>
                </a:lnTo>
                <a:lnTo>
                  <a:pt x="16794" y="6393"/>
                </a:lnTo>
                <a:lnTo>
                  <a:pt x="16814" y="6375"/>
                </a:lnTo>
                <a:lnTo>
                  <a:pt x="16841" y="6376"/>
                </a:lnTo>
                <a:lnTo>
                  <a:pt x="16850" y="6403"/>
                </a:lnTo>
                <a:close/>
                <a:moveTo>
                  <a:pt x="17049" y="6598"/>
                </a:moveTo>
                <a:lnTo>
                  <a:pt x="17042" y="6669"/>
                </a:lnTo>
                <a:lnTo>
                  <a:pt x="16991" y="6698"/>
                </a:lnTo>
                <a:lnTo>
                  <a:pt x="16923" y="6699"/>
                </a:lnTo>
                <a:lnTo>
                  <a:pt x="16864" y="6687"/>
                </a:lnTo>
                <a:lnTo>
                  <a:pt x="16864" y="6623"/>
                </a:lnTo>
                <a:lnTo>
                  <a:pt x="16919" y="6550"/>
                </a:lnTo>
                <a:lnTo>
                  <a:pt x="16990" y="6524"/>
                </a:lnTo>
                <a:lnTo>
                  <a:pt x="17049" y="6598"/>
                </a:lnTo>
                <a:close/>
                <a:moveTo>
                  <a:pt x="17115" y="6698"/>
                </a:moveTo>
                <a:lnTo>
                  <a:pt x="17123" y="6683"/>
                </a:lnTo>
                <a:lnTo>
                  <a:pt x="17139" y="6676"/>
                </a:lnTo>
                <a:lnTo>
                  <a:pt x="17157" y="6678"/>
                </a:lnTo>
                <a:lnTo>
                  <a:pt x="17163" y="6685"/>
                </a:lnTo>
                <a:lnTo>
                  <a:pt x="17148" y="6727"/>
                </a:lnTo>
                <a:lnTo>
                  <a:pt x="17123" y="6744"/>
                </a:lnTo>
                <a:lnTo>
                  <a:pt x="17106" y="6734"/>
                </a:lnTo>
                <a:lnTo>
                  <a:pt x="17115" y="6698"/>
                </a:lnTo>
                <a:close/>
                <a:moveTo>
                  <a:pt x="17111" y="7291"/>
                </a:moveTo>
                <a:lnTo>
                  <a:pt x="17068" y="7322"/>
                </a:lnTo>
                <a:lnTo>
                  <a:pt x="17023" y="7313"/>
                </a:lnTo>
                <a:lnTo>
                  <a:pt x="16995" y="7277"/>
                </a:lnTo>
                <a:lnTo>
                  <a:pt x="16995" y="7230"/>
                </a:lnTo>
                <a:lnTo>
                  <a:pt x="17039" y="7201"/>
                </a:lnTo>
                <a:lnTo>
                  <a:pt x="17082" y="7209"/>
                </a:lnTo>
                <a:lnTo>
                  <a:pt x="17111" y="7242"/>
                </a:lnTo>
                <a:lnTo>
                  <a:pt x="17111" y="7291"/>
                </a:lnTo>
                <a:close/>
                <a:moveTo>
                  <a:pt x="17182" y="6964"/>
                </a:moveTo>
                <a:lnTo>
                  <a:pt x="17209" y="7023"/>
                </a:lnTo>
                <a:lnTo>
                  <a:pt x="17176" y="7069"/>
                </a:lnTo>
                <a:lnTo>
                  <a:pt x="17119" y="7077"/>
                </a:lnTo>
                <a:lnTo>
                  <a:pt x="17073" y="7023"/>
                </a:lnTo>
                <a:lnTo>
                  <a:pt x="17031" y="6930"/>
                </a:lnTo>
                <a:lnTo>
                  <a:pt x="17140" y="6884"/>
                </a:lnTo>
                <a:lnTo>
                  <a:pt x="17244" y="6892"/>
                </a:lnTo>
                <a:lnTo>
                  <a:pt x="17182" y="6964"/>
                </a:lnTo>
                <a:close/>
                <a:moveTo>
                  <a:pt x="17245" y="6049"/>
                </a:moveTo>
                <a:lnTo>
                  <a:pt x="17258" y="6148"/>
                </a:lnTo>
                <a:lnTo>
                  <a:pt x="17200" y="6217"/>
                </a:lnTo>
                <a:lnTo>
                  <a:pt x="17116" y="6236"/>
                </a:lnTo>
                <a:lnTo>
                  <a:pt x="17042" y="6190"/>
                </a:lnTo>
                <a:lnTo>
                  <a:pt x="17036" y="6095"/>
                </a:lnTo>
                <a:lnTo>
                  <a:pt x="17100" y="6039"/>
                </a:lnTo>
                <a:lnTo>
                  <a:pt x="17185" y="6022"/>
                </a:lnTo>
                <a:lnTo>
                  <a:pt x="17245" y="6049"/>
                </a:lnTo>
                <a:close/>
                <a:moveTo>
                  <a:pt x="16715" y="7067"/>
                </a:moveTo>
                <a:lnTo>
                  <a:pt x="16762" y="7046"/>
                </a:lnTo>
                <a:lnTo>
                  <a:pt x="16794" y="7048"/>
                </a:lnTo>
                <a:lnTo>
                  <a:pt x="16817" y="7071"/>
                </a:lnTo>
                <a:lnTo>
                  <a:pt x="16833" y="7114"/>
                </a:lnTo>
                <a:lnTo>
                  <a:pt x="16797" y="7150"/>
                </a:lnTo>
                <a:lnTo>
                  <a:pt x="16752" y="7150"/>
                </a:lnTo>
                <a:lnTo>
                  <a:pt x="16718" y="7119"/>
                </a:lnTo>
                <a:lnTo>
                  <a:pt x="16715" y="7067"/>
                </a:lnTo>
                <a:close/>
                <a:moveTo>
                  <a:pt x="16753" y="9833"/>
                </a:moveTo>
                <a:lnTo>
                  <a:pt x="16760" y="9849"/>
                </a:lnTo>
                <a:lnTo>
                  <a:pt x="16760" y="9874"/>
                </a:lnTo>
                <a:lnTo>
                  <a:pt x="16753" y="9896"/>
                </a:lnTo>
                <a:lnTo>
                  <a:pt x="16738" y="9894"/>
                </a:lnTo>
                <a:lnTo>
                  <a:pt x="16705" y="9879"/>
                </a:lnTo>
                <a:lnTo>
                  <a:pt x="16693" y="9847"/>
                </a:lnTo>
                <a:lnTo>
                  <a:pt x="16710" y="9823"/>
                </a:lnTo>
                <a:lnTo>
                  <a:pt x="16753" y="9833"/>
                </a:lnTo>
                <a:close/>
                <a:moveTo>
                  <a:pt x="16688" y="9556"/>
                </a:moveTo>
                <a:lnTo>
                  <a:pt x="16715" y="9566"/>
                </a:lnTo>
                <a:lnTo>
                  <a:pt x="16729" y="9579"/>
                </a:lnTo>
                <a:lnTo>
                  <a:pt x="16728" y="9598"/>
                </a:lnTo>
                <a:lnTo>
                  <a:pt x="16715" y="9625"/>
                </a:lnTo>
                <a:lnTo>
                  <a:pt x="16688" y="9616"/>
                </a:lnTo>
                <a:lnTo>
                  <a:pt x="16674" y="9600"/>
                </a:lnTo>
                <a:lnTo>
                  <a:pt x="16674" y="9581"/>
                </a:lnTo>
                <a:lnTo>
                  <a:pt x="16688" y="9556"/>
                </a:lnTo>
                <a:close/>
                <a:moveTo>
                  <a:pt x="16662" y="6516"/>
                </a:moveTo>
                <a:lnTo>
                  <a:pt x="16659" y="6535"/>
                </a:lnTo>
                <a:lnTo>
                  <a:pt x="16645" y="6549"/>
                </a:lnTo>
                <a:lnTo>
                  <a:pt x="16625" y="6554"/>
                </a:lnTo>
                <a:lnTo>
                  <a:pt x="16606" y="6548"/>
                </a:lnTo>
                <a:lnTo>
                  <a:pt x="16588" y="6530"/>
                </a:lnTo>
                <a:lnTo>
                  <a:pt x="16608" y="6510"/>
                </a:lnTo>
                <a:lnTo>
                  <a:pt x="16642" y="6501"/>
                </a:lnTo>
                <a:lnTo>
                  <a:pt x="16662" y="6516"/>
                </a:lnTo>
                <a:close/>
                <a:moveTo>
                  <a:pt x="16654" y="6228"/>
                </a:moveTo>
                <a:lnTo>
                  <a:pt x="16623" y="6231"/>
                </a:lnTo>
                <a:lnTo>
                  <a:pt x="16602" y="6198"/>
                </a:lnTo>
                <a:lnTo>
                  <a:pt x="16599" y="6163"/>
                </a:lnTo>
                <a:lnTo>
                  <a:pt x="16630" y="6157"/>
                </a:lnTo>
                <a:lnTo>
                  <a:pt x="16654" y="6163"/>
                </a:lnTo>
                <a:lnTo>
                  <a:pt x="16667" y="6183"/>
                </a:lnTo>
                <a:lnTo>
                  <a:pt x="16667" y="6208"/>
                </a:lnTo>
                <a:lnTo>
                  <a:pt x="16654" y="6228"/>
                </a:lnTo>
                <a:close/>
                <a:moveTo>
                  <a:pt x="16552" y="6785"/>
                </a:moveTo>
                <a:lnTo>
                  <a:pt x="16571" y="6726"/>
                </a:lnTo>
                <a:lnTo>
                  <a:pt x="16612" y="6698"/>
                </a:lnTo>
                <a:lnTo>
                  <a:pt x="16660" y="6703"/>
                </a:lnTo>
                <a:lnTo>
                  <a:pt x="16705" y="6746"/>
                </a:lnTo>
                <a:lnTo>
                  <a:pt x="16688" y="6802"/>
                </a:lnTo>
                <a:lnTo>
                  <a:pt x="16646" y="6833"/>
                </a:lnTo>
                <a:lnTo>
                  <a:pt x="16595" y="6829"/>
                </a:lnTo>
                <a:lnTo>
                  <a:pt x="16552" y="6785"/>
                </a:lnTo>
                <a:close/>
                <a:moveTo>
                  <a:pt x="16580" y="8623"/>
                </a:moveTo>
                <a:lnTo>
                  <a:pt x="16544" y="8670"/>
                </a:lnTo>
                <a:lnTo>
                  <a:pt x="16487" y="8680"/>
                </a:lnTo>
                <a:lnTo>
                  <a:pt x="16431" y="8657"/>
                </a:lnTo>
                <a:lnTo>
                  <a:pt x="16397" y="8607"/>
                </a:lnTo>
                <a:lnTo>
                  <a:pt x="16421" y="8539"/>
                </a:lnTo>
                <a:lnTo>
                  <a:pt x="16515" y="8520"/>
                </a:lnTo>
                <a:lnTo>
                  <a:pt x="16595" y="8548"/>
                </a:lnTo>
                <a:lnTo>
                  <a:pt x="16580" y="8623"/>
                </a:lnTo>
                <a:close/>
                <a:moveTo>
                  <a:pt x="16430" y="11156"/>
                </a:moveTo>
                <a:lnTo>
                  <a:pt x="16434" y="11143"/>
                </a:lnTo>
                <a:lnTo>
                  <a:pt x="16444" y="11138"/>
                </a:lnTo>
                <a:lnTo>
                  <a:pt x="16457" y="11139"/>
                </a:lnTo>
                <a:lnTo>
                  <a:pt x="16467" y="11148"/>
                </a:lnTo>
                <a:lnTo>
                  <a:pt x="16465" y="11166"/>
                </a:lnTo>
                <a:lnTo>
                  <a:pt x="16448" y="11176"/>
                </a:lnTo>
                <a:lnTo>
                  <a:pt x="16431" y="11174"/>
                </a:lnTo>
                <a:lnTo>
                  <a:pt x="16430" y="11156"/>
                </a:lnTo>
                <a:close/>
                <a:moveTo>
                  <a:pt x="16141" y="11060"/>
                </a:moveTo>
                <a:lnTo>
                  <a:pt x="16153" y="11055"/>
                </a:lnTo>
                <a:lnTo>
                  <a:pt x="16166" y="11059"/>
                </a:lnTo>
                <a:lnTo>
                  <a:pt x="16175" y="11069"/>
                </a:lnTo>
                <a:lnTo>
                  <a:pt x="16176" y="11082"/>
                </a:lnTo>
                <a:lnTo>
                  <a:pt x="16164" y="11092"/>
                </a:lnTo>
                <a:lnTo>
                  <a:pt x="16142" y="11087"/>
                </a:lnTo>
                <a:lnTo>
                  <a:pt x="16129" y="11073"/>
                </a:lnTo>
                <a:lnTo>
                  <a:pt x="16141" y="11060"/>
                </a:lnTo>
                <a:close/>
                <a:moveTo>
                  <a:pt x="15956" y="10677"/>
                </a:moveTo>
                <a:lnTo>
                  <a:pt x="15933" y="10667"/>
                </a:lnTo>
                <a:lnTo>
                  <a:pt x="15922" y="10633"/>
                </a:lnTo>
                <a:lnTo>
                  <a:pt x="15922" y="10598"/>
                </a:lnTo>
                <a:lnTo>
                  <a:pt x="15939" y="10588"/>
                </a:lnTo>
                <a:lnTo>
                  <a:pt x="16155" y="10581"/>
                </a:lnTo>
                <a:lnTo>
                  <a:pt x="16184" y="10722"/>
                </a:lnTo>
                <a:lnTo>
                  <a:pt x="16095" y="10819"/>
                </a:lnTo>
                <a:lnTo>
                  <a:pt x="15956" y="10677"/>
                </a:lnTo>
                <a:close/>
                <a:moveTo>
                  <a:pt x="15882" y="11035"/>
                </a:moveTo>
                <a:lnTo>
                  <a:pt x="15957" y="11058"/>
                </a:lnTo>
                <a:lnTo>
                  <a:pt x="15999" y="11099"/>
                </a:lnTo>
                <a:lnTo>
                  <a:pt x="16015" y="11151"/>
                </a:lnTo>
                <a:lnTo>
                  <a:pt x="16007" y="11208"/>
                </a:lnTo>
                <a:lnTo>
                  <a:pt x="15889" y="11323"/>
                </a:lnTo>
                <a:lnTo>
                  <a:pt x="15765" y="11237"/>
                </a:lnTo>
                <a:lnTo>
                  <a:pt x="15731" y="11093"/>
                </a:lnTo>
                <a:lnTo>
                  <a:pt x="15882" y="11035"/>
                </a:lnTo>
                <a:close/>
                <a:moveTo>
                  <a:pt x="15895" y="11031"/>
                </a:moveTo>
                <a:lnTo>
                  <a:pt x="15839" y="11011"/>
                </a:lnTo>
                <a:lnTo>
                  <a:pt x="15848" y="10971"/>
                </a:lnTo>
                <a:lnTo>
                  <a:pt x="15886" y="10951"/>
                </a:lnTo>
                <a:lnTo>
                  <a:pt x="15920" y="10989"/>
                </a:lnTo>
                <a:lnTo>
                  <a:pt x="15917" y="11003"/>
                </a:lnTo>
                <a:lnTo>
                  <a:pt x="15919" y="11013"/>
                </a:lnTo>
                <a:lnTo>
                  <a:pt x="15917" y="11022"/>
                </a:lnTo>
                <a:lnTo>
                  <a:pt x="15895" y="11031"/>
                </a:lnTo>
                <a:close/>
                <a:moveTo>
                  <a:pt x="16060" y="5979"/>
                </a:moveTo>
                <a:lnTo>
                  <a:pt x="16067" y="5990"/>
                </a:lnTo>
                <a:lnTo>
                  <a:pt x="16081" y="5995"/>
                </a:lnTo>
                <a:lnTo>
                  <a:pt x="16091" y="6002"/>
                </a:lnTo>
                <a:lnTo>
                  <a:pt x="16087" y="6016"/>
                </a:lnTo>
                <a:lnTo>
                  <a:pt x="16062" y="6017"/>
                </a:lnTo>
                <a:lnTo>
                  <a:pt x="16041" y="6001"/>
                </a:lnTo>
                <a:lnTo>
                  <a:pt x="16038" y="5981"/>
                </a:lnTo>
                <a:lnTo>
                  <a:pt x="16060" y="5979"/>
                </a:lnTo>
                <a:close/>
                <a:moveTo>
                  <a:pt x="16080" y="5619"/>
                </a:moveTo>
                <a:lnTo>
                  <a:pt x="16055" y="5614"/>
                </a:lnTo>
                <a:lnTo>
                  <a:pt x="16046" y="5594"/>
                </a:lnTo>
                <a:lnTo>
                  <a:pt x="16053" y="5577"/>
                </a:lnTo>
                <a:lnTo>
                  <a:pt x="16072" y="5575"/>
                </a:lnTo>
                <a:lnTo>
                  <a:pt x="16095" y="5589"/>
                </a:lnTo>
                <a:lnTo>
                  <a:pt x="16114" y="5603"/>
                </a:lnTo>
                <a:lnTo>
                  <a:pt x="16114" y="5615"/>
                </a:lnTo>
                <a:lnTo>
                  <a:pt x="16080" y="5619"/>
                </a:lnTo>
                <a:close/>
                <a:moveTo>
                  <a:pt x="16208" y="5959"/>
                </a:moveTo>
                <a:lnTo>
                  <a:pt x="16183" y="5959"/>
                </a:lnTo>
                <a:lnTo>
                  <a:pt x="16165" y="5939"/>
                </a:lnTo>
                <a:lnTo>
                  <a:pt x="16162" y="5922"/>
                </a:lnTo>
                <a:lnTo>
                  <a:pt x="16184" y="5920"/>
                </a:lnTo>
                <a:lnTo>
                  <a:pt x="16189" y="5932"/>
                </a:lnTo>
                <a:lnTo>
                  <a:pt x="16202" y="5938"/>
                </a:lnTo>
                <a:lnTo>
                  <a:pt x="16212" y="5946"/>
                </a:lnTo>
                <a:lnTo>
                  <a:pt x="16208" y="5959"/>
                </a:lnTo>
                <a:close/>
                <a:moveTo>
                  <a:pt x="16054" y="10078"/>
                </a:moveTo>
                <a:lnTo>
                  <a:pt x="16081" y="10088"/>
                </a:lnTo>
                <a:lnTo>
                  <a:pt x="16095" y="10102"/>
                </a:lnTo>
                <a:lnTo>
                  <a:pt x="16094" y="10120"/>
                </a:lnTo>
                <a:lnTo>
                  <a:pt x="16081" y="10146"/>
                </a:lnTo>
                <a:lnTo>
                  <a:pt x="16054" y="10138"/>
                </a:lnTo>
                <a:lnTo>
                  <a:pt x="16040" y="10122"/>
                </a:lnTo>
                <a:lnTo>
                  <a:pt x="16040" y="10103"/>
                </a:lnTo>
                <a:lnTo>
                  <a:pt x="16054" y="10078"/>
                </a:lnTo>
                <a:close/>
                <a:moveTo>
                  <a:pt x="16053" y="9572"/>
                </a:moveTo>
                <a:lnTo>
                  <a:pt x="16031" y="9572"/>
                </a:lnTo>
                <a:lnTo>
                  <a:pt x="16015" y="9581"/>
                </a:lnTo>
                <a:lnTo>
                  <a:pt x="15997" y="9588"/>
                </a:lnTo>
                <a:lnTo>
                  <a:pt x="15971" y="9577"/>
                </a:lnTo>
                <a:lnTo>
                  <a:pt x="15964" y="9513"/>
                </a:lnTo>
                <a:lnTo>
                  <a:pt x="16006" y="9487"/>
                </a:lnTo>
                <a:lnTo>
                  <a:pt x="16050" y="9506"/>
                </a:lnTo>
                <a:lnTo>
                  <a:pt x="16053" y="9572"/>
                </a:lnTo>
                <a:close/>
                <a:moveTo>
                  <a:pt x="16031" y="6390"/>
                </a:moveTo>
                <a:lnTo>
                  <a:pt x="16039" y="6416"/>
                </a:lnTo>
                <a:lnTo>
                  <a:pt x="16016" y="6413"/>
                </a:lnTo>
                <a:lnTo>
                  <a:pt x="15988" y="6393"/>
                </a:lnTo>
                <a:lnTo>
                  <a:pt x="15983" y="6363"/>
                </a:lnTo>
                <a:lnTo>
                  <a:pt x="16003" y="6351"/>
                </a:lnTo>
                <a:lnTo>
                  <a:pt x="16013" y="6360"/>
                </a:lnTo>
                <a:lnTo>
                  <a:pt x="16020" y="6376"/>
                </a:lnTo>
                <a:lnTo>
                  <a:pt x="16031" y="6390"/>
                </a:lnTo>
                <a:close/>
                <a:moveTo>
                  <a:pt x="15931" y="7041"/>
                </a:moveTo>
                <a:lnTo>
                  <a:pt x="15959" y="7034"/>
                </a:lnTo>
                <a:lnTo>
                  <a:pt x="15975" y="7049"/>
                </a:lnTo>
                <a:lnTo>
                  <a:pt x="15974" y="7071"/>
                </a:lnTo>
                <a:lnTo>
                  <a:pt x="15951" y="7088"/>
                </a:lnTo>
                <a:lnTo>
                  <a:pt x="15937" y="7077"/>
                </a:lnTo>
                <a:lnTo>
                  <a:pt x="15929" y="7069"/>
                </a:lnTo>
                <a:lnTo>
                  <a:pt x="15928" y="7057"/>
                </a:lnTo>
                <a:lnTo>
                  <a:pt x="15931" y="7041"/>
                </a:lnTo>
                <a:close/>
                <a:moveTo>
                  <a:pt x="16248" y="6648"/>
                </a:moveTo>
                <a:lnTo>
                  <a:pt x="16234" y="6652"/>
                </a:lnTo>
                <a:lnTo>
                  <a:pt x="16209" y="6645"/>
                </a:lnTo>
                <a:lnTo>
                  <a:pt x="16189" y="6632"/>
                </a:lnTo>
                <a:lnTo>
                  <a:pt x="16190" y="6615"/>
                </a:lnTo>
                <a:lnTo>
                  <a:pt x="16066" y="6591"/>
                </a:lnTo>
                <a:lnTo>
                  <a:pt x="16095" y="6529"/>
                </a:lnTo>
                <a:lnTo>
                  <a:pt x="16187" y="6519"/>
                </a:lnTo>
                <a:lnTo>
                  <a:pt x="16248" y="6648"/>
                </a:lnTo>
                <a:close/>
                <a:moveTo>
                  <a:pt x="16181" y="9948"/>
                </a:moveTo>
                <a:lnTo>
                  <a:pt x="16178" y="9956"/>
                </a:lnTo>
                <a:lnTo>
                  <a:pt x="16165" y="9962"/>
                </a:lnTo>
                <a:lnTo>
                  <a:pt x="16151" y="9963"/>
                </a:lnTo>
                <a:lnTo>
                  <a:pt x="16145" y="9957"/>
                </a:lnTo>
                <a:lnTo>
                  <a:pt x="16133" y="9935"/>
                </a:lnTo>
                <a:lnTo>
                  <a:pt x="16143" y="9924"/>
                </a:lnTo>
                <a:lnTo>
                  <a:pt x="16164" y="9925"/>
                </a:lnTo>
                <a:lnTo>
                  <a:pt x="16181" y="9948"/>
                </a:lnTo>
                <a:close/>
                <a:moveTo>
                  <a:pt x="16208" y="6861"/>
                </a:moveTo>
                <a:lnTo>
                  <a:pt x="16178" y="6862"/>
                </a:lnTo>
                <a:lnTo>
                  <a:pt x="16169" y="6842"/>
                </a:lnTo>
                <a:lnTo>
                  <a:pt x="16179" y="6819"/>
                </a:lnTo>
                <a:lnTo>
                  <a:pt x="16203" y="6813"/>
                </a:lnTo>
                <a:lnTo>
                  <a:pt x="16213" y="6814"/>
                </a:lnTo>
                <a:lnTo>
                  <a:pt x="16216" y="6830"/>
                </a:lnTo>
                <a:lnTo>
                  <a:pt x="16213" y="6851"/>
                </a:lnTo>
                <a:lnTo>
                  <a:pt x="16208" y="6861"/>
                </a:lnTo>
                <a:close/>
                <a:moveTo>
                  <a:pt x="16183" y="9777"/>
                </a:moveTo>
                <a:lnTo>
                  <a:pt x="16199" y="9754"/>
                </a:lnTo>
                <a:lnTo>
                  <a:pt x="16221" y="9753"/>
                </a:lnTo>
                <a:lnTo>
                  <a:pt x="16236" y="9770"/>
                </a:lnTo>
                <a:lnTo>
                  <a:pt x="16230" y="9799"/>
                </a:lnTo>
                <a:lnTo>
                  <a:pt x="16213" y="9800"/>
                </a:lnTo>
                <a:lnTo>
                  <a:pt x="16202" y="9799"/>
                </a:lnTo>
                <a:lnTo>
                  <a:pt x="16193" y="9791"/>
                </a:lnTo>
                <a:lnTo>
                  <a:pt x="16183" y="9777"/>
                </a:lnTo>
                <a:close/>
                <a:moveTo>
                  <a:pt x="16231" y="7122"/>
                </a:moveTo>
                <a:lnTo>
                  <a:pt x="16249" y="7135"/>
                </a:lnTo>
                <a:lnTo>
                  <a:pt x="16234" y="7153"/>
                </a:lnTo>
                <a:lnTo>
                  <a:pt x="16207" y="7164"/>
                </a:lnTo>
                <a:lnTo>
                  <a:pt x="16189" y="7153"/>
                </a:lnTo>
                <a:lnTo>
                  <a:pt x="16189" y="7136"/>
                </a:lnTo>
                <a:lnTo>
                  <a:pt x="16199" y="7123"/>
                </a:lnTo>
                <a:lnTo>
                  <a:pt x="16216" y="7117"/>
                </a:lnTo>
                <a:lnTo>
                  <a:pt x="16231" y="7122"/>
                </a:lnTo>
                <a:close/>
                <a:moveTo>
                  <a:pt x="16351" y="9767"/>
                </a:moveTo>
                <a:lnTo>
                  <a:pt x="16376" y="9768"/>
                </a:lnTo>
                <a:lnTo>
                  <a:pt x="16400" y="9790"/>
                </a:lnTo>
                <a:lnTo>
                  <a:pt x="16416" y="9824"/>
                </a:lnTo>
                <a:lnTo>
                  <a:pt x="16418" y="9855"/>
                </a:lnTo>
                <a:lnTo>
                  <a:pt x="16397" y="9870"/>
                </a:lnTo>
                <a:lnTo>
                  <a:pt x="16356" y="9838"/>
                </a:lnTo>
                <a:lnTo>
                  <a:pt x="16329" y="9793"/>
                </a:lnTo>
                <a:lnTo>
                  <a:pt x="16351" y="9767"/>
                </a:lnTo>
                <a:close/>
                <a:moveTo>
                  <a:pt x="16227" y="6912"/>
                </a:moveTo>
                <a:lnTo>
                  <a:pt x="16249" y="6878"/>
                </a:lnTo>
                <a:lnTo>
                  <a:pt x="16281" y="6862"/>
                </a:lnTo>
                <a:lnTo>
                  <a:pt x="16314" y="6871"/>
                </a:lnTo>
                <a:lnTo>
                  <a:pt x="16337" y="6906"/>
                </a:lnTo>
                <a:lnTo>
                  <a:pt x="16327" y="6946"/>
                </a:lnTo>
                <a:lnTo>
                  <a:pt x="16291" y="6965"/>
                </a:lnTo>
                <a:lnTo>
                  <a:pt x="16250" y="6957"/>
                </a:lnTo>
                <a:lnTo>
                  <a:pt x="16227" y="6912"/>
                </a:lnTo>
                <a:close/>
                <a:moveTo>
                  <a:pt x="16360" y="10289"/>
                </a:moveTo>
                <a:lnTo>
                  <a:pt x="16272" y="10316"/>
                </a:lnTo>
                <a:lnTo>
                  <a:pt x="16189" y="10247"/>
                </a:lnTo>
                <a:lnTo>
                  <a:pt x="16173" y="10155"/>
                </a:lnTo>
                <a:lnTo>
                  <a:pt x="16280" y="10110"/>
                </a:lnTo>
                <a:lnTo>
                  <a:pt x="16370" y="10141"/>
                </a:lnTo>
                <a:lnTo>
                  <a:pt x="16446" y="10233"/>
                </a:lnTo>
                <a:lnTo>
                  <a:pt x="16459" y="10308"/>
                </a:lnTo>
                <a:lnTo>
                  <a:pt x="16360" y="10289"/>
                </a:lnTo>
                <a:close/>
                <a:moveTo>
                  <a:pt x="16333" y="10600"/>
                </a:moveTo>
                <a:lnTo>
                  <a:pt x="16308" y="10595"/>
                </a:lnTo>
                <a:lnTo>
                  <a:pt x="16288" y="10570"/>
                </a:lnTo>
                <a:lnTo>
                  <a:pt x="16280" y="10540"/>
                </a:lnTo>
                <a:lnTo>
                  <a:pt x="16285" y="10513"/>
                </a:lnTo>
                <a:lnTo>
                  <a:pt x="16311" y="10505"/>
                </a:lnTo>
                <a:lnTo>
                  <a:pt x="16346" y="10542"/>
                </a:lnTo>
                <a:lnTo>
                  <a:pt x="16361" y="10586"/>
                </a:lnTo>
                <a:lnTo>
                  <a:pt x="16333" y="10600"/>
                </a:lnTo>
                <a:close/>
                <a:moveTo>
                  <a:pt x="16358" y="10792"/>
                </a:moveTo>
                <a:lnTo>
                  <a:pt x="16367" y="10782"/>
                </a:lnTo>
                <a:lnTo>
                  <a:pt x="16380" y="10780"/>
                </a:lnTo>
                <a:lnTo>
                  <a:pt x="16393" y="10787"/>
                </a:lnTo>
                <a:lnTo>
                  <a:pt x="16400" y="10798"/>
                </a:lnTo>
                <a:lnTo>
                  <a:pt x="16394" y="10813"/>
                </a:lnTo>
                <a:lnTo>
                  <a:pt x="16372" y="10817"/>
                </a:lnTo>
                <a:lnTo>
                  <a:pt x="16353" y="10810"/>
                </a:lnTo>
                <a:lnTo>
                  <a:pt x="16358" y="10792"/>
                </a:lnTo>
                <a:close/>
                <a:moveTo>
                  <a:pt x="16505" y="9917"/>
                </a:moveTo>
                <a:lnTo>
                  <a:pt x="16578" y="9883"/>
                </a:lnTo>
                <a:lnTo>
                  <a:pt x="16589" y="9933"/>
                </a:lnTo>
                <a:lnTo>
                  <a:pt x="16558" y="9975"/>
                </a:lnTo>
                <a:lnTo>
                  <a:pt x="16505" y="9917"/>
                </a:lnTo>
                <a:lnTo>
                  <a:pt x="16505" y="9917"/>
                </a:lnTo>
                <a:close/>
                <a:moveTo>
                  <a:pt x="16529" y="10681"/>
                </a:moveTo>
                <a:lnTo>
                  <a:pt x="16506" y="10690"/>
                </a:lnTo>
                <a:lnTo>
                  <a:pt x="16505" y="10671"/>
                </a:lnTo>
                <a:lnTo>
                  <a:pt x="16516" y="10653"/>
                </a:lnTo>
                <a:lnTo>
                  <a:pt x="16532" y="10663"/>
                </a:lnTo>
                <a:lnTo>
                  <a:pt x="16534" y="10670"/>
                </a:lnTo>
                <a:lnTo>
                  <a:pt x="16535" y="10675"/>
                </a:lnTo>
                <a:lnTo>
                  <a:pt x="16534" y="10679"/>
                </a:lnTo>
                <a:lnTo>
                  <a:pt x="16529" y="10681"/>
                </a:lnTo>
                <a:close/>
                <a:moveTo>
                  <a:pt x="16524" y="10146"/>
                </a:moveTo>
                <a:lnTo>
                  <a:pt x="16532" y="10131"/>
                </a:lnTo>
                <a:lnTo>
                  <a:pt x="16555" y="10131"/>
                </a:lnTo>
                <a:lnTo>
                  <a:pt x="16571" y="10141"/>
                </a:lnTo>
                <a:lnTo>
                  <a:pt x="16565" y="10158"/>
                </a:lnTo>
                <a:lnTo>
                  <a:pt x="16555" y="10167"/>
                </a:lnTo>
                <a:lnTo>
                  <a:pt x="16542" y="10167"/>
                </a:lnTo>
                <a:lnTo>
                  <a:pt x="16529" y="10159"/>
                </a:lnTo>
                <a:lnTo>
                  <a:pt x="16524" y="10146"/>
                </a:lnTo>
                <a:close/>
                <a:moveTo>
                  <a:pt x="16523" y="9608"/>
                </a:moveTo>
                <a:lnTo>
                  <a:pt x="16529" y="9597"/>
                </a:lnTo>
                <a:lnTo>
                  <a:pt x="16541" y="9595"/>
                </a:lnTo>
                <a:lnTo>
                  <a:pt x="16552" y="9603"/>
                </a:lnTo>
                <a:lnTo>
                  <a:pt x="16558" y="9617"/>
                </a:lnTo>
                <a:lnTo>
                  <a:pt x="16553" y="9636"/>
                </a:lnTo>
                <a:lnTo>
                  <a:pt x="16534" y="9639"/>
                </a:lnTo>
                <a:lnTo>
                  <a:pt x="16518" y="9627"/>
                </a:lnTo>
                <a:lnTo>
                  <a:pt x="16523" y="9608"/>
                </a:lnTo>
                <a:close/>
                <a:moveTo>
                  <a:pt x="16555" y="9790"/>
                </a:moveTo>
                <a:lnTo>
                  <a:pt x="16500" y="9819"/>
                </a:lnTo>
                <a:lnTo>
                  <a:pt x="16446" y="9813"/>
                </a:lnTo>
                <a:lnTo>
                  <a:pt x="16404" y="9777"/>
                </a:lnTo>
                <a:lnTo>
                  <a:pt x="16388" y="9717"/>
                </a:lnTo>
                <a:lnTo>
                  <a:pt x="16443" y="9660"/>
                </a:lnTo>
                <a:lnTo>
                  <a:pt x="16510" y="9661"/>
                </a:lnTo>
                <a:lnTo>
                  <a:pt x="16558" y="9710"/>
                </a:lnTo>
                <a:lnTo>
                  <a:pt x="16555" y="9790"/>
                </a:lnTo>
                <a:close/>
                <a:moveTo>
                  <a:pt x="16462" y="7262"/>
                </a:moveTo>
                <a:lnTo>
                  <a:pt x="16423" y="7276"/>
                </a:lnTo>
                <a:lnTo>
                  <a:pt x="16402" y="7261"/>
                </a:lnTo>
                <a:lnTo>
                  <a:pt x="16404" y="7233"/>
                </a:lnTo>
                <a:lnTo>
                  <a:pt x="16441" y="7215"/>
                </a:lnTo>
                <a:lnTo>
                  <a:pt x="16446" y="7226"/>
                </a:lnTo>
                <a:lnTo>
                  <a:pt x="16451" y="7238"/>
                </a:lnTo>
                <a:lnTo>
                  <a:pt x="16457" y="7251"/>
                </a:lnTo>
                <a:lnTo>
                  <a:pt x="16462" y="7262"/>
                </a:lnTo>
                <a:close/>
                <a:moveTo>
                  <a:pt x="16392" y="6445"/>
                </a:moveTo>
                <a:lnTo>
                  <a:pt x="16408" y="6371"/>
                </a:lnTo>
                <a:lnTo>
                  <a:pt x="16478" y="6334"/>
                </a:lnTo>
                <a:lnTo>
                  <a:pt x="16549" y="6349"/>
                </a:lnTo>
                <a:lnTo>
                  <a:pt x="16571" y="6437"/>
                </a:lnTo>
                <a:lnTo>
                  <a:pt x="16538" y="6482"/>
                </a:lnTo>
                <a:lnTo>
                  <a:pt x="16476" y="6498"/>
                </a:lnTo>
                <a:lnTo>
                  <a:pt x="16416" y="6487"/>
                </a:lnTo>
                <a:lnTo>
                  <a:pt x="16392" y="6445"/>
                </a:lnTo>
                <a:close/>
                <a:moveTo>
                  <a:pt x="16305" y="5923"/>
                </a:moveTo>
                <a:lnTo>
                  <a:pt x="16369" y="5848"/>
                </a:lnTo>
                <a:lnTo>
                  <a:pt x="16404" y="5752"/>
                </a:lnTo>
                <a:lnTo>
                  <a:pt x="16457" y="5706"/>
                </a:lnTo>
                <a:lnTo>
                  <a:pt x="16572" y="5779"/>
                </a:lnTo>
                <a:lnTo>
                  <a:pt x="16574" y="5881"/>
                </a:lnTo>
                <a:lnTo>
                  <a:pt x="16513" y="5955"/>
                </a:lnTo>
                <a:lnTo>
                  <a:pt x="16445" y="6026"/>
                </a:lnTo>
                <a:lnTo>
                  <a:pt x="16434" y="6115"/>
                </a:lnTo>
                <a:lnTo>
                  <a:pt x="16336" y="6180"/>
                </a:lnTo>
                <a:lnTo>
                  <a:pt x="16260" y="6127"/>
                </a:lnTo>
                <a:lnTo>
                  <a:pt x="16240" y="6018"/>
                </a:lnTo>
                <a:lnTo>
                  <a:pt x="16305" y="5923"/>
                </a:lnTo>
                <a:close/>
                <a:moveTo>
                  <a:pt x="16094" y="5864"/>
                </a:moveTo>
                <a:lnTo>
                  <a:pt x="16106" y="5852"/>
                </a:lnTo>
                <a:lnTo>
                  <a:pt x="16127" y="5859"/>
                </a:lnTo>
                <a:lnTo>
                  <a:pt x="16142" y="5876"/>
                </a:lnTo>
                <a:lnTo>
                  <a:pt x="16143" y="5891"/>
                </a:lnTo>
                <a:lnTo>
                  <a:pt x="16129" y="5892"/>
                </a:lnTo>
                <a:lnTo>
                  <a:pt x="16113" y="5887"/>
                </a:lnTo>
                <a:lnTo>
                  <a:pt x="16100" y="5877"/>
                </a:lnTo>
                <a:lnTo>
                  <a:pt x="16094" y="5864"/>
                </a:lnTo>
                <a:close/>
                <a:moveTo>
                  <a:pt x="16115" y="5917"/>
                </a:moveTo>
                <a:lnTo>
                  <a:pt x="16127" y="5936"/>
                </a:lnTo>
                <a:lnTo>
                  <a:pt x="16150" y="5945"/>
                </a:lnTo>
                <a:lnTo>
                  <a:pt x="16166" y="5955"/>
                </a:lnTo>
                <a:lnTo>
                  <a:pt x="16160" y="5976"/>
                </a:lnTo>
                <a:lnTo>
                  <a:pt x="16118" y="5979"/>
                </a:lnTo>
                <a:lnTo>
                  <a:pt x="16086" y="5952"/>
                </a:lnTo>
                <a:lnTo>
                  <a:pt x="16080" y="5922"/>
                </a:lnTo>
                <a:lnTo>
                  <a:pt x="16115" y="5917"/>
                </a:lnTo>
                <a:close/>
                <a:moveTo>
                  <a:pt x="15961" y="5754"/>
                </a:moveTo>
                <a:lnTo>
                  <a:pt x="15978" y="5740"/>
                </a:lnTo>
                <a:lnTo>
                  <a:pt x="16002" y="5751"/>
                </a:lnTo>
                <a:lnTo>
                  <a:pt x="16021" y="5775"/>
                </a:lnTo>
                <a:lnTo>
                  <a:pt x="16021" y="5794"/>
                </a:lnTo>
                <a:lnTo>
                  <a:pt x="16002" y="5794"/>
                </a:lnTo>
                <a:lnTo>
                  <a:pt x="15982" y="5787"/>
                </a:lnTo>
                <a:lnTo>
                  <a:pt x="15966" y="5773"/>
                </a:lnTo>
                <a:lnTo>
                  <a:pt x="15961" y="5754"/>
                </a:lnTo>
                <a:close/>
                <a:moveTo>
                  <a:pt x="16074" y="6228"/>
                </a:moveTo>
                <a:lnTo>
                  <a:pt x="16072" y="6256"/>
                </a:lnTo>
                <a:lnTo>
                  <a:pt x="16057" y="6286"/>
                </a:lnTo>
                <a:lnTo>
                  <a:pt x="16027" y="6307"/>
                </a:lnTo>
                <a:lnTo>
                  <a:pt x="15983" y="6310"/>
                </a:lnTo>
                <a:lnTo>
                  <a:pt x="15913" y="6246"/>
                </a:lnTo>
                <a:lnTo>
                  <a:pt x="15947" y="6179"/>
                </a:lnTo>
                <a:lnTo>
                  <a:pt x="16022" y="6157"/>
                </a:lnTo>
                <a:lnTo>
                  <a:pt x="16074" y="6228"/>
                </a:lnTo>
                <a:close/>
                <a:moveTo>
                  <a:pt x="15896" y="9984"/>
                </a:moveTo>
                <a:lnTo>
                  <a:pt x="15873" y="10046"/>
                </a:lnTo>
                <a:lnTo>
                  <a:pt x="15840" y="10079"/>
                </a:lnTo>
                <a:lnTo>
                  <a:pt x="15794" y="10082"/>
                </a:lnTo>
                <a:lnTo>
                  <a:pt x="15729" y="10051"/>
                </a:lnTo>
                <a:lnTo>
                  <a:pt x="15733" y="9977"/>
                </a:lnTo>
                <a:lnTo>
                  <a:pt x="15780" y="9935"/>
                </a:lnTo>
                <a:lnTo>
                  <a:pt x="15843" y="9934"/>
                </a:lnTo>
                <a:lnTo>
                  <a:pt x="15896" y="9984"/>
                </a:lnTo>
                <a:close/>
                <a:moveTo>
                  <a:pt x="15790" y="6746"/>
                </a:moveTo>
                <a:lnTo>
                  <a:pt x="15779" y="6745"/>
                </a:lnTo>
                <a:lnTo>
                  <a:pt x="15771" y="6735"/>
                </a:lnTo>
                <a:lnTo>
                  <a:pt x="15765" y="6720"/>
                </a:lnTo>
                <a:lnTo>
                  <a:pt x="15759" y="6704"/>
                </a:lnTo>
                <a:lnTo>
                  <a:pt x="15801" y="6670"/>
                </a:lnTo>
                <a:lnTo>
                  <a:pt x="15834" y="6697"/>
                </a:lnTo>
                <a:lnTo>
                  <a:pt x="15839" y="6736"/>
                </a:lnTo>
                <a:lnTo>
                  <a:pt x="15790" y="6746"/>
                </a:lnTo>
                <a:close/>
                <a:moveTo>
                  <a:pt x="15836" y="6477"/>
                </a:moveTo>
                <a:lnTo>
                  <a:pt x="15839" y="6469"/>
                </a:lnTo>
                <a:lnTo>
                  <a:pt x="15845" y="6466"/>
                </a:lnTo>
                <a:lnTo>
                  <a:pt x="15854" y="6466"/>
                </a:lnTo>
                <a:lnTo>
                  <a:pt x="15864" y="6469"/>
                </a:lnTo>
                <a:lnTo>
                  <a:pt x="15885" y="6488"/>
                </a:lnTo>
                <a:lnTo>
                  <a:pt x="15859" y="6508"/>
                </a:lnTo>
                <a:lnTo>
                  <a:pt x="15829" y="6511"/>
                </a:lnTo>
                <a:lnTo>
                  <a:pt x="15836" y="6477"/>
                </a:lnTo>
                <a:close/>
                <a:moveTo>
                  <a:pt x="15841" y="6521"/>
                </a:moveTo>
                <a:lnTo>
                  <a:pt x="15878" y="6536"/>
                </a:lnTo>
                <a:lnTo>
                  <a:pt x="15877" y="6564"/>
                </a:lnTo>
                <a:lnTo>
                  <a:pt x="15848" y="6584"/>
                </a:lnTo>
                <a:lnTo>
                  <a:pt x="15801" y="6572"/>
                </a:lnTo>
                <a:lnTo>
                  <a:pt x="15798" y="6558"/>
                </a:lnTo>
                <a:lnTo>
                  <a:pt x="15807" y="6536"/>
                </a:lnTo>
                <a:lnTo>
                  <a:pt x="15824" y="6519"/>
                </a:lnTo>
                <a:lnTo>
                  <a:pt x="15841" y="6521"/>
                </a:lnTo>
                <a:close/>
                <a:moveTo>
                  <a:pt x="15709" y="6619"/>
                </a:moveTo>
                <a:lnTo>
                  <a:pt x="15713" y="6581"/>
                </a:lnTo>
                <a:lnTo>
                  <a:pt x="15738" y="6563"/>
                </a:lnTo>
                <a:lnTo>
                  <a:pt x="15765" y="6568"/>
                </a:lnTo>
                <a:lnTo>
                  <a:pt x="15768" y="6601"/>
                </a:lnTo>
                <a:lnTo>
                  <a:pt x="15764" y="6615"/>
                </a:lnTo>
                <a:lnTo>
                  <a:pt x="15743" y="6623"/>
                </a:lnTo>
                <a:lnTo>
                  <a:pt x="15720" y="6624"/>
                </a:lnTo>
                <a:lnTo>
                  <a:pt x="15709" y="6619"/>
                </a:lnTo>
                <a:close/>
                <a:moveTo>
                  <a:pt x="15710" y="6633"/>
                </a:moveTo>
                <a:lnTo>
                  <a:pt x="15700" y="6661"/>
                </a:lnTo>
                <a:lnTo>
                  <a:pt x="15676" y="6631"/>
                </a:lnTo>
                <a:lnTo>
                  <a:pt x="15667" y="6594"/>
                </a:lnTo>
                <a:lnTo>
                  <a:pt x="15704" y="6603"/>
                </a:lnTo>
                <a:lnTo>
                  <a:pt x="15700" y="6612"/>
                </a:lnTo>
                <a:lnTo>
                  <a:pt x="15700" y="6619"/>
                </a:lnTo>
                <a:lnTo>
                  <a:pt x="15704" y="6627"/>
                </a:lnTo>
                <a:lnTo>
                  <a:pt x="15710" y="6633"/>
                </a:lnTo>
                <a:close/>
                <a:moveTo>
                  <a:pt x="16356" y="11865"/>
                </a:moveTo>
                <a:lnTo>
                  <a:pt x="16351" y="11859"/>
                </a:lnTo>
                <a:lnTo>
                  <a:pt x="16351" y="11845"/>
                </a:lnTo>
                <a:lnTo>
                  <a:pt x="16356" y="11832"/>
                </a:lnTo>
                <a:lnTo>
                  <a:pt x="16365" y="11828"/>
                </a:lnTo>
                <a:lnTo>
                  <a:pt x="16388" y="11827"/>
                </a:lnTo>
                <a:lnTo>
                  <a:pt x="16394" y="11843"/>
                </a:lnTo>
                <a:lnTo>
                  <a:pt x="16383" y="11860"/>
                </a:lnTo>
                <a:lnTo>
                  <a:pt x="16356" y="11865"/>
                </a:lnTo>
                <a:close/>
                <a:moveTo>
                  <a:pt x="16430" y="11782"/>
                </a:moveTo>
                <a:lnTo>
                  <a:pt x="16422" y="11769"/>
                </a:lnTo>
                <a:lnTo>
                  <a:pt x="16432" y="11754"/>
                </a:lnTo>
                <a:lnTo>
                  <a:pt x="16446" y="11747"/>
                </a:lnTo>
                <a:lnTo>
                  <a:pt x="16454" y="11758"/>
                </a:lnTo>
                <a:lnTo>
                  <a:pt x="16457" y="11768"/>
                </a:lnTo>
                <a:lnTo>
                  <a:pt x="16450" y="11778"/>
                </a:lnTo>
                <a:lnTo>
                  <a:pt x="16440" y="11783"/>
                </a:lnTo>
                <a:lnTo>
                  <a:pt x="16430" y="11782"/>
                </a:lnTo>
                <a:close/>
                <a:moveTo>
                  <a:pt x="16444" y="11862"/>
                </a:moveTo>
                <a:lnTo>
                  <a:pt x="16454" y="11856"/>
                </a:lnTo>
                <a:lnTo>
                  <a:pt x="16464" y="11860"/>
                </a:lnTo>
                <a:lnTo>
                  <a:pt x="16473" y="11870"/>
                </a:lnTo>
                <a:lnTo>
                  <a:pt x="16474" y="11884"/>
                </a:lnTo>
                <a:lnTo>
                  <a:pt x="16465" y="11895"/>
                </a:lnTo>
                <a:lnTo>
                  <a:pt x="16446" y="11889"/>
                </a:lnTo>
                <a:lnTo>
                  <a:pt x="16435" y="11875"/>
                </a:lnTo>
                <a:lnTo>
                  <a:pt x="16444" y="11862"/>
                </a:lnTo>
                <a:close/>
                <a:moveTo>
                  <a:pt x="16477" y="11488"/>
                </a:moveTo>
                <a:lnTo>
                  <a:pt x="16392" y="11525"/>
                </a:lnTo>
                <a:lnTo>
                  <a:pt x="16272" y="11503"/>
                </a:lnTo>
                <a:lnTo>
                  <a:pt x="16183" y="11423"/>
                </a:lnTo>
                <a:lnTo>
                  <a:pt x="16190" y="11288"/>
                </a:lnTo>
                <a:lnTo>
                  <a:pt x="16295" y="11223"/>
                </a:lnTo>
                <a:lnTo>
                  <a:pt x="16414" y="11251"/>
                </a:lnTo>
                <a:lnTo>
                  <a:pt x="16493" y="11348"/>
                </a:lnTo>
                <a:lnTo>
                  <a:pt x="16477" y="11488"/>
                </a:lnTo>
                <a:close/>
                <a:moveTo>
                  <a:pt x="16525" y="11204"/>
                </a:moveTo>
                <a:lnTo>
                  <a:pt x="16547" y="11206"/>
                </a:lnTo>
                <a:lnTo>
                  <a:pt x="16543" y="11225"/>
                </a:lnTo>
                <a:lnTo>
                  <a:pt x="16528" y="11237"/>
                </a:lnTo>
                <a:lnTo>
                  <a:pt x="16518" y="11222"/>
                </a:lnTo>
                <a:lnTo>
                  <a:pt x="16518" y="11214"/>
                </a:lnTo>
                <a:lnTo>
                  <a:pt x="16518" y="11209"/>
                </a:lnTo>
                <a:lnTo>
                  <a:pt x="16520" y="11206"/>
                </a:lnTo>
                <a:lnTo>
                  <a:pt x="16525" y="11204"/>
                </a:lnTo>
                <a:close/>
                <a:moveTo>
                  <a:pt x="16760" y="10666"/>
                </a:moveTo>
                <a:lnTo>
                  <a:pt x="16765" y="10670"/>
                </a:lnTo>
                <a:lnTo>
                  <a:pt x="16767" y="10681"/>
                </a:lnTo>
                <a:lnTo>
                  <a:pt x="16766" y="10691"/>
                </a:lnTo>
                <a:lnTo>
                  <a:pt x="16758" y="10696"/>
                </a:lnTo>
                <a:lnTo>
                  <a:pt x="16739" y="10701"/>
                </a:lnTo>
                <a:lnTo>
                  <a:pt x="16730" y="10691"/>
                </a:lnTo>
                <a:lnTo>
                  <a:pt x="16737" y="10675"/>
                </a:lnTo>
                <a:lnTo>
                  <a:pt x="16760" y="10666"/>
                </a:lnTo>
                <a:close/>
                <a:moveTo>
                  <a:pt x="16684" y="10873"/>
                </a:moveTo>
                <a:lnTo>
                  <a:pt x="16734" y="10892"/>
                </a:lnTo>
                <a:lnTo>
                  <a:pt x="16734" y="10939"/>
                </a:lnTo>
                <a:lnTo>
                  <a:pt x="16702" y="10969"/>
                </a:lnTo>
                <a:lnTo>
                  <a:pt x="16659" y="10936"/>
                </a:lnTo>
                <a:lnTo>
                  <a:pt x="16443" y="11023"/>
                </a:lnTo>
                <a:lnTo>
                  <a:pt x="16416" y="10869"/>
                </a:lnTo>
                <a:lnTo>
                  <a:pt x="16516" y="10733"/>
                </a:lnTo>
                <a:lnTo>
                  <a:pt x="16684" y="10873"/>
                </a:lnTo>
                <a:close/>
                <a:moveTo>
                  <a:pt x="16668" y="7883"/>
                </a:moveTo>
                <a:lnTo>
                  <a:pt x="16693" y="7886"/>
                </a:lnTo>
                <a:lnTo>
                  <a:pt x="16715" y="7914"/>
                </a:lnTo>
                <a:lnTo>
                  <a:pt x="16730" y="7954"/>
                </a:lnTo>
                <a:lnTo>
                  <a:pt x="16734" y="7999"/>
                </a:lnTo>
                <a:lnTo>
                  <a:pt x="16705" y="7999"/>
                </a:lnTo>
                <a:lnTo>
                  <a:pt x="16672" y="7965"/>
                </a:lnTo>
                <a:lnTo>
                  <a:pt x="16654" y="7918"/>
                </a:lnTo>
                <a:lnTo>
                  <a:pt x="16668" y="7883"/>
                </a:lnTo>
                <a:close/>
                <a:moveTo>
                  <a:pt x="17384" y="10009"/>
                </a:moveTo>
                <a:lnTo>
                  <a:pt x="17380" y="10003"/>
                </a:lnTo>
                <a:lnTo>
                  <a:pt x="17380" y="9990"/>
                </a:lnTo>
                <a:lnTo>
                  <a:pt x="17382" y="9977"/>
                </a:lnTo>
                <a:lnTo>
                  <a:pt x="17390" y="9973"/>
                </a:lnTo>
                <a:lnTo>
                  <a:pt x="17410" y="9972"/>
                </a:lnTo>
                <a:lnTo>
                  <a:pt x="17415" y="9987"/>
                </a:lnTo>
                <a:lnTo>
                  <a:pt x="17407" y="10004"/>
                </a:lnTo>
                <a:lnTo>
                  <a:pt x="17384" y="10009"/>
                </a:lnTo>
                <a:close/>
                <a:moveTo>
                  <a:pt x="17446" y="10005"/>
                </a:moveTo>
                <a:lnTo>
                  <a:pt x="17440" y="10009"/>
                </a:lnTo>
                <a:lnTo>
                  <a:pt x="17433" y="10004"/>
                </a:lnTo>
                <a:lnTo>
                  <a:pt x="17433" y="9998"/>
                </a:lnTo>
                <a:lnTo>
                  <a:pt x="17442" y="9996"/>
                </a:lnTo>
                <a:lnTo>
                  <a:pt x="17443" y="9999"/>
                </a:lnTo>
                <a:lnTo>
                  <a:pt x="17446" y="10000"/>
                </a:lnTo>
                <a:lnTo>
                  <a:pt x="17446" y="10001"/>
                </a:lnTo>
                <a:lnTo>
                  <a:pt x="17446" y="10005"/>
                </a:lnTo>
                <a:close/>
                <a:moveTo>
                  <a:pt x="17307" y="9921"/>
                </a:moveTo>
                <a:lnTo>
                  <a:pt x="17293" y="9934"/>
                </a:lnTo>
                <a:lnTo>
                  <a:pt x="17282" y="9924"/>
                </a:lnTo>
                <a:lnTo>
                  <a:pt x="17278" y="9905"/>
                </a:lnTo>
                <a:lnTo>
                  <a:pt x="17291" y="9889"/>
                </a:lnTo>
                <a:lnTo>
                  <a:pt x="17373" y="9791"/>
                </a:lnTo>
                <a:lnTo>
                  <a:pt x="17437" y="9861"/>
                </a:lnTo>
                <a:lnTo>
                  <a:pt x="17432" y="9953"/>
                </a:lnTo>
                <a:lnTo>
                  <a:pt x="17307" y="9921"/>
                </a:lnTo>
                <a:close/>
                <a:moveTo>
                  <a:pt x="17603" y="7640"/>
                </a:moveTo>
                <a:lnTo>
                  <a:pt x="17587" y="7622"/>
                </a:lnTo>
                <a:lnTo>
                  <a:pt x="17582" y="7602"/>
                </a:lnTo>
                <a:lnTo>
                  <a:pt x="17589" y="7583"/>
                </a:lnTo>
                <a:lnTo>
                  <a:pt x="17604" y="7566"/>
                </a:lnTo>
                <a:lnTo>
                  <a:pt x="17656" y="7561"/>
                </a:lnTo>
                <a:lnTo>
                  <a:pt x="17671" y="7606"/>
                </a:lnTo>
                <a:lnTo>
                  <a:pt x="17652" y="7648"/>
                </a:lnTo>
                <a:lnTo>
                  <a:pt x="17603" y="7640"/>
                </a:lnTo>
                <a:close/>
                <a:moveTo>
                  <a:pt x="17763" y="7396"/>
                </a:moveTo>
                <a:lnTo>
                  <a:pt x="17726" y="7413"/>
                </a:lnTo>
                <a:lnTo>
                  <a:pt x="17697" y="7411"/>
                </a:lnTo>
                <a:lnTo>
                  <a:pt x="17674" y="7392"/>
                </a:lnTo>
                <a:lnTo>
                  <a:pt x="17659" y="7359"/>
                </a:lnTo>
                <a:lnTo>
                  <a:pt x="17687" y="7314"/>
                </a:lnTo>
                <a:lnTo>
                  <a:pt x="17734" y="7313"/>
                </a:lnTo>
                <a:lnTo>
                  <a:pt x="17770" y="7343"/>
                </a:lnTo>
                <a:lnTo>
                  <a:pt x="17763" y="7396"/>
                </a:lnTo>
                <a:close/>
                <a:moveTo>
                  <a:pt x="17747" y="7083"/>
                </a:moveTo>
                <a:lnTo>
                  <a:pt x="17804" y="7053"/>
                </a:lnTo>
                <a:lnTo>
                  <a:pt x="17856" y="7081"/>
                </a:lnTo>
                <a:lnTo>
                  <a:pt x="17901" y="7135"/>
                </a:lnTo>
                <a:lnTo>
                  <a:pt x="17936" y="7184"/>
                </a:lnTo>
                <a:lnTo>
                  <a:pt x="17898" y="7238"/>
                </a:lnTo>
                <a:lnTo>
                  <a:pt x="17826" y="7215"/>
                </a:lnTo>
                <a:lnTo>
                  <a:pt x="17762" y="7150"/>
                </a:lnTo>
                <a:lnTo>
                  <a:pt x="17747" y="7083"/>
                </a:lnTo>
                <a:close/>
                <a:moveTo>
                  <a:pt x="18004" y="8485"/>
                </a:moveTo>
                <a:lnTo>
                  <a:pt x="17990" y="8497"/>
                </a:lnTo>
                <a:lnTo>
                  <a:pt x="17969" y="8495"/>
                </a:lnTo>
                <a:lnTo>
                  <a:pt x="17953" y="8484"/>
                </a:lnTo>
                <a:lnTo>
                  <a:pt x="17945" y="8466"/>
                </a:lnTo>
                <a:lnTo>
                  <a:pt x="17958" y="8446"/>
                </a:lnTo>
                <a:lnTo>
                  <a:pt x="17991" y="8447"/>
                </a:lnTo>
                <a:lnTo>
                  <a:pt x="18015" y="8462"/>
                </a:lnTo>
                <a:lnTo>
                  <a:pt x="18004" y="8485"/>
                </a:lnTo>
                <a:close/>
                <a:moveTo>
                  <a:pt x="17794" y="8825"/>
                </a:moveTo>
                <a:lnTo>
                  <a:pt x="17820" y="8835"/>
                </a:lnTo>
                <a:lnTo>
                  <a:pt x="17834" y="8849"/>
                </a:lnTo>
                <a:lnTo>
                  <a:pt x="17833" y="8867"/>
                </a:lnTo>
                <a:lnTo>
                  <a:pt x="17820" y="8894"/>
                </a:lnTo>
                <a:lnTo>
                  <a:pt x="17794" y="8885"/>
                </a:lnTo>
                <a:lnTo>
                  <a:pt x="17780" y="8870"/>
                </a:lnTo>
                <a:lnTo>
                  <a:pt x="17780" y="8851"/>
                </a:lnTo>
                <a:lnTo>
                  <a:pt x="17794" y="8825"/>
                </a:lnTo>
                <a:close/>
                <a:moveTo>
                  <a:pt x="17778" y="9190"/>
                </a:moveTo>
                <a:lnTo>
                  <a:pt x="17789" y="9185"/>
                </a:lnTo>
                <a:lnTo>
                  <a:pt x="17798" y="9192"/>
                </a:lnTo>
                <a:lnTo>
                  <a:pt x="17804" y="9203"/>
                </a:lnTo>
                <a:lnTo>
                  <a:pt x="17805" y="9217"/>
                </a:lnTo>
                <a:lnTo>
                  <a:pt x="17796" y="9227"/>
                </a:lnTo>
                <a:lnTo>
                  <a:pt x="17780" y="9220"/>
                </a:lnTo>
                <a:lnTo>
                  <a:pt x="17770" y="9203"/>
                </a:lnTo>
                <a:lnTo>
                  <a:pt x="17778" y="9190"/>
                </a:lnTo>
                <a:close/>
                <a:moveTo>
                  <a:pt x="17748" y="8791"/>
                </a:moveTo>
                <a:lnTo>
                  <a:pt x="17752" y="8777"/>
                </a:lnTo>
                <a:lnTo>
                  <a:pt x="17762" y="8773"/>
                </a:lnTo>
                <a:lnTo>
                  <a:pt x="17775" y="8777"/>
                </a:lnTo>
                <a:lnTo>
                  <a:pt x="17784" y="8788"/>
                </a:lnTo>
                <a:lnTo>
                  <a:pt x="17781" y="8807"/>
                </a:lnTo>
                <a:lnTo>
                  <a:pt x="17763" y="8815"/>
                </a:lnTo>
                <a:lnTo>
                  <a:pt x="17747" y="8810"/>
                </a:lnTo>
                <a:lnTo>
                  <a:pt x="17748" y="8791"/>
                </a:lnTo>
                <a:close/>
                <a:moveTo>
                  <a:pt x="17810" y="7957"/>
                </a:moveTo>
                <a:lnTo>
                  <a:pt x="17804" y="7961"/>
                </a:lnTo>
                <a:lnTo>
                  <a:pt x="17796" y="7965"/>
                </a:lnTo>
                <a:lnTo>
                  <a:pt x="17790" y="7966"/>
                </a:lnTo>
                <a:lnTo>
                  <a:pt x="17785" y="7963"/>
                </a:lnTo>
                <a:lnTo>
                  <a:pt x="17770" y="7943"/>
                </a:lnTo>
                <a:lnTo>
                  <a:pt x="17785" y="7929"/>
                </a:lnTo>
                <a:lnTo>
                  <a:pt x="17806" y="7930"/>
                </a:lnTo>
                <a:lnTo>
                  <a:pt x="17810" y="7957"/>
                </a:lnTo>
                <a:close/>
                <a:moveTo>
                  <a:pt x="17759" y="7554"/>
                </a:moveTo>
                <a:lnTo>
                  <a:pt x="17727" y="7552"/>
                </a:lnTo>
                <a:lnTo>
                  <a:pt x="17716" y="7529"/>
                </a:lnTo>
                <a:lnTo>
                  <a:pt x="17724" y="7505"/>
                </a:lnTo>
                <a:lnTo>
                  <a:pt x="17750" y="7503"/>
                </a:lnTo>
                <a:lnTo>
                  <a:pt x="17814" y="7481"/>
                </a:lnTo>
                <a:lnTo>
                  <a:pt x="17838" y="7524"/>
                </a:lnTo>
                <a:lnTo>
                  <a:pt x="17820" y="7571"/>
                </a:lnTo>
                <a:lnTo>
                  <a:pt x="17759" y="7554"/>
                </a:lnTo>
                <a:close/>
                <a:moveTo>
                  <a:pt x="17633" y="8042"/>
                </a:moveTo>
                <a:lnTo>
                  <a:pt x="17614" y="8045"/>
                </a:lnTo>
                <a:lnTo>
                  <a:pt x="17603" y="8035"/>
                </a:lnTo>
                <a:lnTo>
                  <a:pt x="17603" y="8019"/>
                </a:lnTo>
                <a:lnTo>
                  <a:pt x="17617" y="8007"/>
                </a:lnTo>
                <a:lnTo>
                  <a:pt x="17628" y="8013"/>
                </a:lnTo>
                <a:lnTo>
                  <a:pt x="17635" y="8019"/>
                </a:lnTo>
                <a:lnTo>
                  <a:pt x="17637" y="8028"/>
                </a:lnTo>
                <a:lnTo>
                  <a:pt x="17633" y="8042"/>
                </a:lnTo>
                <a:close/>
                <a:moveTo>
                  <a:pt x="17683" y="8376"/>
                </a:moveTo>
                <a:lnTo>
                  <a:pt x="17654" y="8378"/>
                </a:lnTo>
                <a:lnTo>
                  <a:pt x="17631" y="8345"/>
                </a:lnTo>
                <a:lnTo>
                  <a:pt x="17628" y="8310"/>
                </a:lnTo>
                <a:lnTo>
                  <a:pt x="17660" y="8305"/>
                </a:lnTo>
                <a:lnTo>
                  <a:pt x="17683" y="8310"/>
                </a:lnTo>
                <a:lnTo>
                  <a:pt x="17696" y="8330"/>
                </a:lnTo>
                <a:lnTo>
                  <a:pt x="17696" y="8355"/>
                </a:lnTo>
                <a:lnTo>
                  <a:pt x="17683" y="8376"/>
                </a:lnTo>
                <a:close/>
                <a:moveTo>
                  <a:pt x="17619" y="9232"/>
                </a:moveTo>
                <a:lnTo>
                  <a:pt x="17613" y="9174"/>
                </a:lnTo>
                <a:lnTo>
                  <a:pt x="17651" y="9147"/>
                </a:lnTo>
                <a:lnTo>
                  <a:pt x="17697" y="9155"/>
                </a:lnTo>
                <a:lnTo>
                  <a:pt x="17716" y="9204"/>
                </a:lnTo>
                <a:lnTo>
                  <a:pt x="17701" y="9232"/>
                </a:lnTo>
                <a:lnTo>
                  <a:pt x="17679" y="9246"/>
                </a:lnTo>
                <a:lnTo>
                  <a:pt x="17651" y="9246"/>
                </a:lnTo>
                <a:lnTo>
                  <a:pt x="17619" y="9232"/>
                </a:lnTo>
                <a:close/>
                <a:moveTo>
                  <a:pt x="17652" y="9527"/>
                </a:moveTo>
                <a:lnTo>
                  <a:pt x="17652" y="9499"/>
                </a:lnTo>
                <a:lnTo>
                  <a:pt x="17638" y="9473"/>
                </a:lnTo>
                <a:lnTo>
                  <a:pt x="17628" y="9449"/>
                </a:lnTo>
                <a:lnTo>
                  <a:pt x="17643" y="9430"/>
                </a:lnTo>
                <a:lnTo>
                  <a:pt x="17679" y="9457"/>
                </a:lnTo>
                <a:lnTo>
                  <a:pt x="17694" y="9509"/>
                </a:lnTo>
                <a:lnTo>
                  <a:pt x="17685" y="9546"/>
                </a:lnTo>
                <a:lnTo>
                  <a:pt x="17652" y="9527"/>
                </a:lnTo>
                <a:close/>
                <a:moveTo>
                  <a:pt x="17652" y="9907"/>
                </a:moveTo>
                <a:lnTo>
                  <a:pt x="17646" y="9906"/>
                </a:lnTo>
                <a:lnTo>
                  <a:pt x="17640" y="9898"/>
                </a:lnTo>
                <a:lnTo>
                  <a:pt x="17636" y="9888"/>
                </a:lnTo>
                <a:lnTo>
                  <a:pt x="17640" y="9880"/>
                </a:lnTo>
                <a:lnTo>
                  <a:pt x="17654" y="9868"/>
                </a:lnTo>
                <a:lnTo>
                  <a:pt x="17664" y="9874"/>
                </a:lnTo>
                <a:lnTo>
                  <a:pt x="17666" y="9891"/>
                </a:lnTo>
                <a:lnTo>
                  <a:pt x="17652" y="9907"/>
                </a:lnTo>
                <a:close/>
                <a:moveTo>
                  <a:pt x="17636" y="9611"/>
                </a:moveTo>
                <a:lnTo>
                  <a:pt x="17640" y="9604"/>
                </a:lnTo>
                <a:lnTo>
                  <a:pt x="17651" y="9599"/>
                </a:lnTo>
                <a:lnTo>
                  <a:pt x="17663" y="9599"/>
                </a:lnTo>
                <a:lnTo>
                  <a:pt x="17668" y="9607"/>
                </a:lnTo>
                <a:lnTo>
                  <a:pt x="17677" y="9627"/>
                </a:lnTo>
                <a:lnTo>
                  <a:pt x="17666" y="9639"/>
                </a:lnTo>
                <a:lnTo>
                  <a:pt x="17650" y="9635"/>
                </a:lnTo>
                <a:lnTo>
                  <a:pt x="17636" y="9611"/>
                </a:lnTo>
                <a:close/>
                <a:moveTo>
                  <a:pt x="17689" y="7746"/>
                </a:moveTo>
                <a:lnTo>
                  <a:pt x="17724" y="7743"/>
                </a:lnTo>
                <a:lnTo>
                  <a:pt x="17740" y="7765"/>
                </a:lnTo>
                <a:lnTo>
                  <a:pt x="17745" y="7788"/>
                </a:lnTo>
                <a:lnTo>
                  <a:pt x="17747" y="7784"/>
                </a:lnTo>
                <a:lnTo>
                  <a:pt x="17798" y="7778"/>
                </a:lnTo>
                <a:lnTo>
                  <a:pt x="17762" y="7817"/>
                </a:lnTo>
                <a:lnTo>
                  <a:pt x="17705" y="7830"/>
                </a:lnTo>
                <a:lnTo>
                  <a:pt x="17689" y="7746"/>
                </a:lnTo>
                <a:close/>
                <a:moveTo>
                  <a:pt x="17915" y="9527"/>
                </a:moveTo>
                <a:lnTo>
                  <a:pt x="17901" y="9533"/>
                </a:lnTo>
                <a:lnTo>
                  <a:pt x="17887" y="9528"/>
                </a:lnTo>
                <a:lnTo>
                  <a:pt x="17876" y="9516"/>
                </a:lnTo>
                <a:lnTo>
                  <a:pt x="17875" y="9502"/>
                </a:lnTo>
                <a:lnTo>
                  <a:pt x="17890" y="9491"/>
                </a:lnTo>
                <a:lnTo>
                  <a:pt x="17913" y="9499"/>
                </a:lnTo>
                <a:lnTo>
                  <a:pt x="17927" y="9514"/>
                </a:lnTo>
                <a:lnTo>
                  <a:pt x="17915" y="9527"/>
                </a:lnTo>
                <a:close/>
                <a:moveTo>
                  <a:pt x="17795" y="8750"/>
                </a:moveTo>
                <a:lnTo>
                  <a:pt x="17827" y="8667"/>
                </a:lnTo>
                <a:lnTo>
                  <a:pt x="17794" y="8574"/>
                </a:lnTo>
                <a:lnTo>
                  <a:pt x="17778" y="8497"/>
                </a:lnTo>
                <a:lnTo>
                  <a:pt x="17861" y="8459"/>
                </a:lnTo>
                <a:lnTo>
                  <a:pt x="17980" y="8588"/>
                </a:lnTo>
                <a:lnTo>
                  <a:pt x="17983" y="8759"/>
                </a:lnTo>
                <a:lnTo>
                  <a:pt x="17910" y="8852"/>
                </a:lnTo>
                <a:lnTo>
                  <a:pt x="17795" y="8750"/>
                </a:lnTo>
                <a:close/>
                <a:moveTo>
                  <a:pt x="18033" y="7434"/>
                </a:moveTo>
                <a:lnTo>
                  <a:pt x="18005" y="7469"/>
                </a:lnTo>
                <a:lnTo>
                  <a:pt x="17968" y="7469"/>
                </a:lnTo>
                <a:lnTo>
                  <a:pt x="17935" y="7445"/>
                </a:lnTo>
                <a:lnTo>
                  <a:pt x="17920" y="7411"/>
                </a:lnTo>
                <a:lnTo>
                  <a:pt x="17952" y="7387"/>
                </a:lnTo>
                <a:lnTo>
                  <a:pt x="17986" y="7379"/>
                </a:lnTo>
                <a:lnTo>
                  <a:pt x="18015" y="7393"/>
                </a:lnTo>
                <a:lnTo>
                  <a:pt x="18033" y="7434"/>
                </a:lnTo>
                <a:close/>
                <a:moveTo>
                  <a:pt x="18055" y="7646"/>
                </a:moveTo>
                <a:lnTo>
                  <a:pt x="18078" y="7638"/>
                </a:lnTo>
                <a:lnTo>
                  <a:pt x="18097" y="7638"/>
                </a:lnTo>
                <a:lnTo>
                  <a:pt x="18112" y="7646"/>
                </a:lnTo>
                <a:lnTo>
                  <a:pt x="18124" y="7667"/>
                </a:lnTo>
                <a:lnTo>
                  <a:pt x="18110" y="7702"/>
                </a:lnTo>
                <a:lnTo>
                  <a:pt x="18078" y="7708"/>
                </a:lnTo>
                <a:lnTo>
                  <a:pt x="18050" y="7688"/>
                </a:lnTo>
                <a:lnTo>
                  <a:pt x="18055" y="7646"/>
                </a:lnTo>
                <a:close/>
                <a:moveTo>
                  <a:pt x="18078" y="7439"/>
                </a:moveTo>
                <a:lnTo>
                  <a:pt x="18102" y="7426"/>
                </a:lnTo>
                <a:lnTo>
                  <a:pt x="18107" y="7452"/>
                </a:lnTo>
                <a:lnTo>
                  <a:pt x="18097" y="7489"/>
                </a:lnTo>
                <a:lnTo>
                  <a:pt x="18071" y="7508"/>
                </a:lnTo>
                <a:lnTo>
                  <a:pt x="18060" y="7494"/>
                </a:lnTo>
                <a:lnTo>
                  <a:pt x="18068" y="7477"/>
                </a:lnTo>
                <a:lnTo>
                  <a:pt x="18078" y="7459"/>
                </a:lnTo>
                <a:lnTo>
                  <a:pt x="18078" y="7439"/>
                </a:lnTo>
                <a:close/>
                <a:moveTo>
                  <a:pt x="18055" y="7062"/>
                </a:moveTo>
                <a:lnTo>
                  <a:pt x="18076" y="7028"/>
                </a:lnTo>
                <a:lnTo>
                  <a:pt x="18085" y="6992"/>
                </a:lnTo>
                <a:lnTo>
                  <a:pt x="18093" y="6981"/>
                </a:lnTo>
                <a:lnTo>
                  <a:pt x="18111" y="7019"/>
                </a:lnTo>
                <a:lnTo>
                  <a:pt x="18191" y="7060"/>
                </a:lnTo>
                <a:lnTo>
                  <a:pt x="18166" y="7125"/>
                </a:lnTo>
                <a:lnTo>
                  <a:pt x="18098" y="7147"/>
                </a:lnTo>
                <a:lnTo>
                  <a:pt x="18055" y="7062"/>
                </a:lnTo>
                <a:close/>
                <a:moveTo>
                  <a:pt x="18162" y="6969"/>
                </a:moveTo>
                <a:lnTo>
                  <a:pt x="18171" y="6955"/>
                </a:lnTo>
                <a:lnTo>
                  <a:pt x="18176" y="6937"/>
                </a:lnTo>
                <a:lnTo>
                  <a:pt x="18183" y="6927"/>
                </a:lnTo>
                <a:lnTo>
                  <a:pt x="18202" y="6939"/>
                </a:lnTo>
                <a:lnTo>
                  <a:pt x="18200" y="6968"/>
                </a:lnTo>
                <a:lnTo>
                  <a:pt x="18177" y="6990"/>
                </a:lnTo>
                <a:lnTo>
                  <a:pt x="18157" y="6995"/>
                </a:lnTo>
                <a:lnTo>
                  <a:pt x="18162" y="6969"/>
                </a:lnTo>
                <a:close/>
                <a:moveTo>
                  <a:pt x="18219" y="7015"/>
                </a:moveTo>
                <a:lnTo>
                  <a:pt x="18225" y="7001"/>
                </a:lnTo>
                <a:lnTo>
                  <a:pt x="18227" y="6986"/>
                </a:lnTo>
                <a:lnTo>
                  <a:pt x="18232" y="6977"/>
                </a:lnTo>
                <a:lnTo>
                  <a:pt x="18252" y="6982"/>
                </a:lnTo>
                <a:lnTo>
                  <a:pt x="18256" y="7006"/>
                </a:lnTo>
                <a:lnTo>
                  <a:pt x="18238" y="7029"/>
                </a:lnTo>
                <a:lnTo>
                  <a:pt x="18220" y="7037"/>
                </a:lnTo>
                <a:lnTo>
                  <a:pt x="18219" y="7015"/>
                </a:lnTo>
                <a:close/>
                <a:moveTo>
                  <a:pt x="18290" y="7332"/>
                </a:moveTo>
                <a:lnTo>
                  <a:pt x="18264" y="7366"/>
                </a:lnTo>
                <a:lnTo>
                  <a:pt x="18222" y="7383"/>
                </a:lnTo>
                <a:lnTo>
                  <a:pt x="18183" y="7375"/>
                </a:lnTo>
                <a:lnTo>
                  <a:pt x="18163" y="7338"/>
                </a:lnTo>
                <a:lnTo>
                  <a:pt x="18174" y="7286"/>
                </a:lnTo>
                <a:lnTo>
                  <a:pt x="18224" y="7259"/>
                </a:lnTo>
                <a:lnTo>
                  <a:pt x="18275" y="7271"/>
                </a:lnTo>
                <a:lnTo>
                  <a:pt x="18290" y="7332"/>
                </a:lnTo>
                <a:close/>
                <a:moveTo>
                  <a:pt x="18299" y="7391"/>
                </a:moveTo>
                <a:lnTo>
                  <a:pt x="18329" y="7368"/>
                </a:lnTo>
                <a:lnTo>
                  <a:pt x="18339" y="7399"/>
                </a:lnTo>
                <a:lnTo>
                  <a:pt x="18331" y="7449"/>
                </a:lnTo>
                <a:lnTo>
                  <a:pt x="18302" y="7478"/>
                </a:lnTo>
                <a:lnTo>
                  <a:pt x="18285" y="7464"/>
                </a:lnTo>
                <a:lnTo>
                  <a:pt x="18292" y="7441"/>
                </a:lnTo>
                <a:lnTo>
                  <a:pt x="18303" y="7415"/>
                </a:lnTo>
                <a:lnTo>
                  <a:pt x="18299" y="7391"/>
                </a:lnTo>
                <a:close/>
                <a:moveTo>
                  <a:pt x="18299" y="7088"/>
                </a:moveTo>
                <a:lnTo>
                  <a:pt x="18303" y="7075"/>
                </a:lnTo>
                <a:lnTo>
                  <a:pt x="18302" y="7061"/>
                </a:lnTo>
                <a:lnTo>
                  <a:pt x="18306" y="7051"/>
                </a:lnTo>
                <a:lnTo>
                  <a:pt x="18322" y="7053"/>
                </a:lnTo>
                <a:lnTo>
                  <a:pt x="18327" y="7075"/>
                </a:lnTo>
                <a:lnTo>
                  <a:pt x="18316" y="7098"/>
                </a:lnTo>
                <a:lnTo>
                  <a:pt x="18302" y="7107"/>
                </a:lnTo>
                <a:lnTo>
                  <a:pt x="18299" y="7088"/>
                </a:lnTo>
                <a:close/>
                <a:moveTo>
                  <a:pt x="18295" y="9134"/>
                </a:moveTo>
                <a:lnTo>
                  <a:pt x="18304" y="9118"/>
                </a:lnTo>
                <a:lnTo>
                  <a:pt x="18303" y="9094"/>
                </a:lnTo>
                <a:lnTo>
                  <a:pt x="18304" y="9073"/>
                </a:lnTo>
                <a:lnTo>
                  <a:pt x="18321" y="9071"/>
                </a:lnTo>
                <a:lnTo>
                  <a:pt x="18336" y="9106"/>
                </a:lnTo>
                <a:lnTo>
                  <a:pt x="18329" y="9147"/>
                </a:lnTo>
                <a:lnTo>
                  <a:pt x="18312" y="9166"/>
                </a:lnTo>
                <a:lnTo>
                  <a:pt x="18295" y="9134"/>
                </a:lnTo>
                <a:close/>
                <a:moveTo>
                  <a:pt x="18329" y="8700"/>
                </a:moveTo>
                <a:lnTo>
                  <a:pt x="18302" y="8707"/>
                </a:lnTo>
                <a:lnTo>
                  <a:pt x="18284" y="8707"/>
                </a:lnTo>
                <a:lnTo>
                  <a:pt x="18270" y="8697"/>
                </a:lnTo>
                <a:lnTo>
                  <a:pt x="18256" y="8670"/>
                </a:lnTo>
                <a:lnTo>
                  <a:pt x="18281" y="8642"/>
                </a:lnTo>
                <a:lnTo>
                  <a:pt x="18311" y="8641"/>
                </a:lnTo>
                <a:lnTo>
                  <a:pt x="18331" y="8663"/>
                </a:lnTo>
                <a:lnTo>
                  <a:pt x="18329" y="8700"/>
                </a:lnTo>
                <a:close/>
                <a:moveTo>
                  <a:pt x="18287" y="8592"/>
                </a:moveTo>
                <a:lnTo>
                  <a:pt x="18280" y="8601"/>
                </a:lnTo>
                <a:lnTo>
                  <a:pt x="18271" y="8601"/>
                </a:lnTo>
                <a:lnTo>
                  <a:pt x="18262" y="8595"/>
                </a:lnTo>
                <a:lnTo>
                  <a:pt x="18257" y="8583"/>
                </a:lnTo>
                <a:lnTo>
                  <a:pt x="18262" y="8568"/>
                </a:lnTo>
                <a:lnTo>
                  <a:pt x="18278" y="8568"/>
                </a:lnTo>
                <a:lnTo>
                  <a:pt x="18290" y="8577"/>
                </a:lnTo>
                <a:lnTo>
                  <a:pt x="18287" y="8592"/>
                </a:lnTo>
                <a:close/>
                <a:moveTo>
                  <a:pt x="18227" y="8196"/>
                </a:moveTo>
                <a:lnTo>
                  <a:pt x="18168" y="8168"/>
                </a:lnTo>
                <a:lnTo>
                  <a:pt x="18178" y="8114"/>
                </a:lnTo>
                <a:lnTo>
                  <a:pt x="18201" y="8047"/>
                </a:lnTo>
                <a:lnTo>
                  <a:pt x="18180" y="7989"/>
                </a:lnTo>
                <a:lnTo>
                  <a:pt x="18260" y="7916"/>
                </a:lnTo>
                <a:lnTo>
                  <a:pt x="18312" y="7982"/>
                </a:lnTo>
                <a:lnTo>
                  <a:pt x="18309" y="8103"/>
                </a:lnTo>
                <a:lnTo>
                  <a:pt x="18227" y="8196"/>
                </a:lnTo>
                <a:close/>
                <a:moveTo>
                  <a:pt x="18204" y="9246"/>
                </a:moveTo>
                <a:lnTo>
                  <a:pt x="18217" y="9245"/>
                </a:lnTo>
                <a:lnTo>
                  <a:pt x="18227" y="9253"/>
                </a:lnTo>
                <a:lnTo>
                  <a:pt x="18232" y="9266"/>
                </a:lnTo>
                <a:lnTo>
                  <a:pt x="18229" y="9278"/>
                </a:lnTo>
                <a:lnTo>
                  <a:pt x="18215" y="9286"/>
                </a:lnTo>
                <a:lnTo>
                  <a:pt x="18197" y="9273"/>
                </a:lnTo>
                <a:lnTo>
                  <a:pt x="18190" y="9255"/>
                </a:lnTo>
                <a:lnTo>
                  <a:pt x="18204" y="9246"/>
                </a:lnTo>
                <a:close/>
                <a:moveTo>
                  <a:pt x="18094" y="8495"/>
                </a:moveTo>
                <a:lnTo>
                  <a:pt x="18108" y="8489"/>
                </a:lnTo>
                <a:lnTo>
                  <a:pt x="18124" y="8499"/>
                </a:lnTo>
                <a:lnTo>
                  <a:pt x="18131" y="8518"/>
                </a:lnTo>
                <a:lnTo>
                  <a:pt x="18126" y="8537"/>
                </a:lnTo>
                <a:lnTo>
                  <a:pt x="18115" y="8541"/>
                </a:lnTo>
                <a:lnTo>
                  <a:pt x="18104" y="8534"/>
                </a:lnTo>
                <a:lnTo>
                  <a:pt x="18098" y="8517"/>
                </a:lnTo>
                <a:lnTo>
                  <a:pt x="18094" y="8495"/>
                </a:lnTo>
                <a:close/>
                <a:moveTo>
                  <a:pt x="18071" y="9187"/>
                </a:moveTo>
                <a:lnTo>
                  <a:pt x="18073" y="9145"/>
                </a:lnTo>
                <a:lnTo>
                  <a:pt x="18101" y="9166"/>
                </a:lnTo>
                <a:lnTo>
                  <a:pt x="18127" y="9212"/>
                </a:lnTo>
                <a:lnTo>
                  <a:pt x="18124" y="9245"/>
                </a:lnTo>
                <a:lnTo>
                  <a:pt x="18097" y="9269"/>
                </a:lnTo>
                <a:lnTo>
                  <a:pt x="18084" y="9253"/>
                </a:lnTo>
                <a:lnTo>
                  <a:pt x="18078" y="9218"/>
                </a:lnTo>
                <a:lnTo>
                  <a:pt x="18071" y="9187"/>
                </a:lnTo>
                <a:close/>
                <a:moveTo>
                  <a:pt x="18186" y="9066"/>
                </a:moveTo>
                <a:lnTo>
                  <a:pt x="18167" y="9068"/>
                </a:lnTo>
                <a:lnTo>
                  <a:pt x="18145" y="9063"/>
                </a:lnTo>
                <a:lnTo>
                  <a:pt x="18121" y="9053"/>
                </a:lnTo>
                <a:lnTo>
                  <a:pt x="18097" y="9042"/>
                </a:lnTo>
                <a:lnTo>
                  <a:pt x="18115" y="8970"/>
                </a:lnTo>
                <a:lnTo>
                  <a:pt x="18168" y="8958"/>
                </a:lnTo>
                <a:lnTo>
                  <a:pt x="18209" y="8993"/>
                </a:lnTo>
                <a:lnTo>
                  <a:pt x="18186" y="9066"/>
                </a:lnTo>
                <a:close/>
                <a:moveTo>
                  <a:pt x="18145" y="9401"/>
                </a:moveTo>
                <a:lnTo>
                  <a:pt x="18158" y="9364"/>
                </a:lnTo>
                <a:lnTo>
                  <a:pt x="18178" y="9393"/>
                </a:lnTo>
                <a:lnTo>
                  <a:pt x="18191" y="9446"/>
                </a:lnTo>
                <a:lnTo>
                  <a:pt x="18174" y="9486"/>
                </a:lnTo>
                <a:lnTo>
                  <a:pt x="18144" y="9479"/>
                </a:lnTo>
                <a:lnTo>
                  <a:pt x="18141" y="9458"/>
                </a:lnTo>
                <a:lnTo>
                  <a:pt x="18148" y="9429"/>
                </a:lnTo>
                <a:lnTo>
                  <a:pt x="18145" y="9401"/>
                </a:lnTo>
                <a:close/>
                <a:moveTo>
                  <a:pt x="18386" y="7554"/>
                </a:moveTo>
                <a:lnTo>
                  <a:pt x="18374" y="7593"/>
                </a:lnTo>
                <a:lnTo>
                  <a:pt x="18344" y="7615"/>
                </a:lnTo>
                <a:lnTo>
                  <a:pt x="18308" y="7612"/>
                </a:lnTo>
                <a:lnTo>
                  <a:pt x="18276" y="7580"/>
                </a:lnTo>
                <a:lnTo>
                  <a:pt x="18290" y="7540"/>
                </a:lnTo>
                <a:lnTo>
                  <a:pt x="18320" y="7518"/>
                </a:lnTo>
                <a:lnTo>
                  <a:pt x="18354" y="7523"/>
                </a:lnTo>
                <a:lnTo>
                  <a:pt x="18386" y="7554"/>
                </a:lnTo>
                <a:close/>
                <a:moveTo>
                  <a:pt x="18423" y="7492"/>
                </a:moveTo>
                <a:lnTo>
                  <a:pt x="18439" y="7466"/>
                </a:lnTo>
                <a:lnTo>
                  <a:pt x="18455" y="7485"/>
                </a:lnTo>
                <a:lnTo>
                  <a:pt x="18457" y="7523"/>
                </a:lnTo>
                <a:lnTo>
                  <a:pt x="18442" y="7554"/>
                </a:lnTo>
                <a:lnTo>
                  <a:pt x="18427" y="7548"/>
                </a:lnTo>
                <a:lnTo>
                  <a:pt x="18428" y="7531"/>
                </a:lnTo>
                <a:lnTo>
                  <a:pt x="18430" y="7508"/>
                </a:lnTo>
                <a:lnTo>
                  <a:pt x="18423" y="7492"/>
                </a:lnTo>
                <a:close/>
                <a:moveTo>
                  <a:pt x="18420" y="8893"/>
                </a:moveTo>
                <a:lnTo>
                  <a:pt x="18408" y="8896"/>
                </a:lnTo>
                <a:lnTo>
                  <a:pt x="18397" y="8888"/>
                </a:lnTo>
                <a:lnTo>
                  <a:pt x="18391" y="8874"/>
                </a:lnTo>
                <a:lnTo>
                  <a:pt x="18391" y="8857"/>
                </a:lnTo>
                <a:lnTo>
                  <a:pt x="18402" y="8846"/>
                </a:lnTo>
                <a:lnTo>
                  <a:pt x="18420" y="8858"/>
                </a:lnTo>
                <a:lnTo>
                  <a:pt x="18432" y="8879"/>
                </a:lnTo>
                <a:lnTo>
                  <a:pt x="18420" y="8893"/>
                </a:lnTo>
                <a:close/>
                <a:moveTo>
                  <a:pt x="18394" y="7783"/>
                </a:moveTo>
                <a:lnTo>
                  <a:pt x="18427" y="7767"/>
                </a:lnTo>
                <a:lnTo>
                  <a:pt x="18450" y="7769"/>
                </a:lnTo>
                <a:lnTo>
                  <a:pt x="18466" y="7785"/>
                </a:lnTo>
                <a:lnTo>
                  <a:pt x="18478" y="7816"/>
                </a:lnTo>
                <a:lnTo>
                  <a:pt x="18451" y="7841"/>
                </a:lnTo>
                <a:lnTo>
                  <a:pt x="18419" y="7841"/>
                </a:lnTo>
                <a:lnTo>
                  <a:pt x="18395" y="7820"/>
                </a:lnTo>
                <a:lnTo>
                  <a:pt x="18394" y="7783"/>
                </a:lnTo>
                <a:close/>
                <a:moveTo>
                  <a:pt x="18377" y="7643"/>
                </a:moveTo>
                <a:lnTo>
                  <a:pt x="18413" y="7624"/>
                </a:lnTo>
                <a:lnTo>
                  <a:pt x="18408" y="7668"/>
                </a:lnTo>
                <a:lnTo>
                  <a:pt x="18386" y="7709"/>
                </a:lnTo>
                <a:lnTo>
                  <a:pt x="18374" y="7680"/>
                </a:lnTo>
                <a:lnTo>
                  <a:pt x="18380" y="7671"/>
                </a:lnTo>
                <a:lnTo>
                  <a:pt x="18382" y="7662"/>
                </a:lnTo>
                <a:lnTo>
                  <a:pt x="18381" y="7653"/>
                </a:lnTo>
                <a:lnTo>
                  <a:pt x="18377" y="7643"/>
                </a:lnTo>
                <a:close/>
                <a:moveTo>
                  <a:pt x="18503" y="7149"/>
                </a:moveTo>
                <a:lnTo>
                  <a:pt x="18534" y="7181"/>
                </a:lnTo>
                <a:lnTo>
                  <a:pt x="18530" y="7235"/>
                </a:lnTo>
                <a:lnTo>
                  <a:pt x="18499" y="7281"/>
                </a:lnTo>
                <a:lnTo>
                  <a:pt x="18448" y="7286"/>
                </a:lnTo>
                <a:lnTo>
                  <a:pt x="18395" y="7256"/>
                </a:lnTo>
                <a:lnTo>
                  <a:pt x="18404" y="7197"/>
                </a:lnTo>
                <a:lnTo>
                  <a:pt x="18448" y="7147"/>
                </a:lnTo>
                <a:lnTo>
                  <a:pt x="18503" y="7149"/>
                </a:lnTo>
                <a:close/>
                <a:moveTo>
                  <a:pt x="18544" y="9044"/>
                </a:moveTo>
                <a:lnTo>
                  <a:pt x="18562" y="9029"/>
                </a:lnTo>
                <a:lnTo>
                  <a:pt x="18573" y="9043"/>
                </a:lnTo>
                <a:lnTo>
                  <a:pt x="18572" y="9067"/>
                </a:lnTo>
                <a:lnTo>
                  <a:pt x="18554" y="9087"/>
                </a:lnTo>
                <a:lnTo>
                  <a:pt x="18548" y="9084"/>
                </a:lnTo>
                <a:lnTo>
                  <a:pt x="18540" y="9068"/>
                </a:lnTo>
                <a:lnTo>
                  <a:pt x="18537" y="9053"/>
                </a:lnTo>
                <a:lnTo>
                  <a:pt x="18544" y="9044"/>
                </a:lnTo>
                <a:close/>
                <a:moveTo>
                  <a:pt x="18557" y="8024"/>
                </a:moveTo>
                <a:lnTo>
                  <a:pt x="18559" y="8051"/>
                </a:lnTo>
                <a:lnTo>
                  <a:pt x="18545" y="8066"/>
                </a:lnTo>
                <a:lnTo>
                  <a:pt x="18523" y="8066"/>
                </a:lnTo>
                <a:lnTo>
                  <a:pt x="18506" y="8046"/>
                </a:lnTo>
                <a:lnTo>
                  <a:pt x="18516" y="8027"/>
                </a:lnTo>
                <a:lnTo>
                  <a:pt x="18526" y="8019"/>
                </a:lnTo>
                <a:lnTo>
                  <a:pt x="18539" y="8019"/>
                </a:lnTo>
                <a:lnTo>
                  <a:pt x="18557" y="8024"/>
                </a:lnTo>
                <a:close/>
                <a:moveTo>
                  <a:pt x="18534" y="7716"/>
                </a:moveTo>
                <a:lnTo>
                  <a:pt x="18545" y="7695"/>
                </a:lnTo>
                <a:lnTo>
                  <a:pt x="18558" y="7708"/>
                </a:lnTo>
                <a:lnTo>
                  <a:pt x="18562" y="7737"/>
                </a:lnTo>
                <a:lnTo>
                  <a:pt x="18551" y="7761"/>
                </a:lnTo>
                <a:lnTo>
                  <a:pt x="18540" y="7760"/>
                </a:lnTo>
                <a:lnTo>
                  <a:pt x="18539" y="7746"/>
                </a:lnTo>
                <a:lnTo>
                  <a:pt x="18540" y="7728"/>
                </a:lnTo>
                <a:lnTo>
                  <a:pt x="18534" y="7716"/>
                </a:lnTo>
                <a:close/>
                <a:moveTo>
                  <a:pt x="18606" y="7751"/>
                </a:moveTo>
                <a:lnTo>
                  <a:pt x="18619" y="7758"/>
                </a:lnTo>
                <a:lnTo>
                  <a:pt x="18623" y="7785"/>
                </a:lnTo>
                <a:lnTo>
                  <a:pt x="18618" y="7807"/>
                </a:lnTo>
                <a:lnTo>
                  <a:pt x="18601" y="7800"/>
                </a:lnTo>
                <a:lnTo>
                  <a:pt x="18592" y="7790"/>
                </a:lnTo>
                <a:lnTo>
                  <a:pt x="18591" y="7774"/>
                </a:lnTo>
                <a:lnTo>
                  <a:pt x="18596" y="7758"/>
                </a:lnTo>
                <a:lnTo>
                  <a:pt x="18606" y="7751"/>
                </a:lnTo>
                <a:close/>
                <a:moveTo>
                  <a:pt x="18630" y="7448"/>
                </a:moveTo>
                <a:lnTo>
                  <a:pt x="18633" y="7478"/>
                </a:lnTo>
                <a:lnTo>
                  <a:pt x="18623" y="7501"/>
                </a:lnTo>
                <a:lnTo>
                  <a:pt x="18602" y="7517"/>
                </a:lnTo>
                <a:lnTo>
                  <a:pt x="18573" y="7523"/>
                </a:lnTo>
                <a:lnTo>
                  <a:pt x="18508" y="7494"/>
                </a:lnTo>
                <a:lnTo>
                  <a:pt x="18525" y="7430"/>
                </a:lnTo>
                <a:lnTo>
                  <a:pt x="18579" y="7394"/>
                </a:lnTo>
                <a:lnTo>
                  <a:pt x="18630" y="7448"/>
                </a:lnTo>
                <a:close/>
                <a:moveTo>
                  <a:pt x="18590" y="7231"/>
                </a:moveTo>
                <a:lnTo>
                  <a:pt x="18592" y="7191"/>
                </a:lnTo>
                <a:lnTo>
                  <a:pt x="18613" y="7178"/>
                </a:lnTo>
                <a:lnTo>
                  <a:pt x="18629" y="7193"/>
                </a:lnTo>
                <a:lnTo>
                  <a:pt x="18624" y="7240"/>
                </a:lnTo>
                <a:lnTo>
                  <a:pt x="18604" y="7282"/>
                </a:lnTo>
                <a:lnTo>
                  <a:pt x="18579" y="7279"/>
                </a:lnTo>
                <a:lnTo>
                  <a:pt x="18569" y="7253"/>
                </a:lnTo>
                <a:lnTo>
                  <a:pt x="18590" y="7231"/>
                </a:lnTo>
                <a:close/>
                <a:moveTo>
                  <a:pt x="18706" y="7244"/>
                </a:moveTo>
                <a:lnTo>
                  <a:pt x="18721" y="7280"/>
                </a:lnTo>
                <a:lnTo>
                  <a:pt x="18723" y="7331"/>
                </a:lnTo>
                <a:lnTo>
                  <a:pt x="18718" y="7360"/>
                </a:lnTo>
                <a:lnTo>
                  <a:pt x="18709" y="7329"/>
                </a:lnTo>
                <a:lnTo>
                  <a:pt x="18690" y="7332"/>
                </a:lnTo>
                <a:lnTo>
                  <a:pt x="18680" y="7296"/>
                </a:lnTo>
                <a:lnTo>
                  <a:pt x="18684" y="7256"/>
                </a:lnTo>
                <a:lnTo>
                  <a:pt x="18706" y="7244"/>
                </a:lnTo>
                <a:close/>
                <a:moveTo>
                  <a:pt x="18735" y="7559"/>
                </a:moveTo>
                <a:lnTo>
                  <a:pt x="18741" y="7589"/>
                </a:lnTo>
                <a:lnTo>
                  <a:pt x="18735" y="7631"/>
                </a:lnTo>
                <a:lnTo>
                  <a:pt x="18725" y="7655"/>
                </a:lnTo>
                <a:lnTo>
                  <a:pt x="18712" y="7631"/>
                </a:lnTo>
                <a:lnTo>
                  <a:pt x="18709" y="7608"/>
                </a:lnTo>
                <a:lnTo>
                  <a:pt x="18706" y="7585"/>
                </a:lnTo>
                <a:lnTo>
                  <a:pt x="18712" y="7569"/>
                </a:lnTo>
                <a:lnTo>
                  <a:pt x="18735" y="7559"/>
                </a:lnTo>
                <a:close/>
                <a:moveTo>
                  <a:pt x="18742" y="9509"/>
                </a:moveTo>
                <a:lnTo>
                  <a:pt x="18751" y="9504"/>
                </a:lnTo>
                <a:lnTo>
                  <a:pt x="18756" y="9504"/>
                </a:lnTo>
                <a:lnTo>
                  <a:pt x="18764" y="9505"/>
                </a:lnTo>
                <a:lnTo>
                  <a:pt x="18774" y="9509"/>
                </a:lnTo>
                <a:lnTo>
                  <a:pt x="18783" y="9535"/>
                </a:lnTo>
                <a:lnTo>
                  <a:pt x="18760" y="9547"/>
                </a:lnTo>
                <a:lnTo>
                  <a:pt x="18736" y="9539"/>
                </a:lnTo>
                <a:lnTo>
                  <a:pt x="18742" y="9509"/>
                </a:lnTo>
                <a:close/>
                <a:moveTo>
                  <a:pt x="18809" y="9628"/>
                </a:moveTo>
                <a:lnTo>
                  <a:pt x="18830" y="9597"/>
                </a:lnTo>
                <a:lnTo>
                  <a:pt x="18846" y="9635"/>
                </a:lnTo>
                <a:lnTo>
                  <a:pt x="18844" y="9696"/>
                </a:lnTo>
                <a:lnTo>
                  <a:pt x="18815" y="9729"/>
                </a:lnTo>
                <a:lnTo>
                  <a:pt x="18786" y="9709"/>
                </a:lnTo>
                <a:lnTo>
                  <a:pt x="18787" y="9686"/>
                </a:lnTo>
                <a:lnTo>
                  <a:pt x="18802" y="9659"/>
                </a:lnTo>
                <a:lnTo>
                  <a:pt x="18809" y="9628"/>
                </a:lnTo>
                <a:close/>
                <a:moveTo>
                  <a:pt x="18860" y="9871"/>
                </a:moveTo>
                <a:lnTo>
                  <a:pt x="18856" y="9878"/>
                </a:lnTo>
                <a:lnTo>
                  <a:pt x="18844" y="9882"/>
                </a:lnTo>
                <a:lnTo>
                  <a:pt x="18832" y="9882"/>
                </a:lnTo>
                <a:lnTo>
                  <a:pt x="18827" y="9874"/>
                </a:lnTo>
                <a:lnTo>
                  <a:pt x="18819" y="9854"/>
                </a:lnTo>
                <a:lnTo>
                  <a:pt x="18830" y="9845"/>
                </a:lnTo>
                <a:lnTo>
                  <a:pt x="18848" y="9849"/>
                </a:lnTo>
                <a:lnTo>
                  <a:pt x="18860" y="9871"/>
                </a:lnTo>
                <a:close/>
                <a:moveTo>
                  <a:pt x="18846" y="9977"/>
                </a:moveTo>
                <a:lnTo>
                  <a:pt x="18839" y="9978"/>
                </a:lnTo>
                <a:lnTo>
                  <a:pt x="18837" y="9973"/>
                </a:lnTo>
                <a:lnTo>
                  <a:pt x="18838" y="9967"/>
                </a:lnTo>
                <a:lnTo>
                  <a:pt x="18847" y="9964"/>
                </a:lnTo>
                <a:lnTo>
                  <a:pt x="18848" y="9966"/>
                </a:lnTo>
                <a:lnTo>
                  <a:pt x="18849" y="9971"/>
                </a:lnTo>
                <a:lnTo>
                  <a:pt x="18848" y="9976"/>
                </a:lnTo>
                <a:lnTo>
                  <a:pt x="18846" y="9977"/>
                </a:lnTo>
                <a:close/>
                <a:moveTo>
                  <a:pt x="18446" y="10125"/>
                </a:moveTo>
                <a:lnTo>
                  <a:pt x="18451" y="10117"/>
                </a:lnTo>
                <a:lnTo>
                  <a:pt x="18450" y="10103"/>
                </a:lnTo>
                <a:lnTo>
                  <a:pt x="18451" y="10093"/>
                </a:lnTo>
                <a:lnTo>
                  <a:pt x="18460" y="10092"/>
                </a:lnTo>
                <a:lnTo>
                  <a:pt x="18467" y="10111"/>
                </a:lnTo>
                <a:lnTo>
                  <a:pt x="18464" y="10134"/>
                </a:lnTo>
                <a:lnTo>
                  <a:pt x="18455" y="10143"/>
                </a:lnTo>
                <a:lnTo>
                  <a:pt x="18446" y="10125"/>
                </a:lnTo>
                <a:close/>
                <a:moveTo>
                  <a:pt x="18507" y="10214"/>
                </a:moveTo>
                <a:lnTo>
                  <a:pt x="18512" y="10213"/>
                </a:lnTo>
                <a:lnTo>
                  <a:pt x="18516" y="10218"/>
                </a:lnTo>
                <a:lnTo>
                  <a:pt x="18517" y="10224"/>
                </a:lnTo>
                <a:lnTo>
                  <a:pt x="18512" y="10225"/>
                </a:lnTo>
                <a:lnTo>
                  <a:pt x="18508" y="10225"/>
                </a:lnTo>
                <a:lnTo>
                  <a:pt x="18506" y="10222"/>
                </a:lnTo>
                <a:lnTo>
                  <a:pt x="18506" y="10218"/>
                </a:lnTo>
                <a:lnTo>
                  <a:pt x="18507" y="10214"/>
                </a:lnTo>
                <a:close/>
                <a:moveTo>
                  <a:pt x="17324" y="11412"/>
                </a:moveTo>
                <a:lnTo>
                  <a:pt x="17338" y="11417"/>
                </a:lnTo>
                <a:lnTo>
                  <a:pt x="17344" y="11430"/>
                </a:lnTo>
                <a:lnTo>
                  <a:pt x="17343" y="11441"/>
                </a:lnTo>
                <a:lnTo>
                  <a:pt x="17331" y="11438"/>
                </a:lnTo>
                <a:lnTo>
                  <a:pt x="17330" y="11431"/>
                </a:lnTo>
                <a:lnTo>
                  <a:pt x="17324" y="11424"/>
                </a:lnTo>
                <a:lnTo>
                  <a:pt x="17319" y="11419"/>
                </a:lnTo>
                <a:lnTo>
                  <a:pt x="17324" y="11412"/>
                </a:lnTo>
                <a:close/>
                <a:moveTo>
                  <a:pt x="17352" y="11530"/>
                </a:moveTo>
                <a:lnTo>
                  <a:pt x="17345" y="11538"/>
                </a:lnTo>
                <a:lnTo>
                  <a:pt x="17334" y="11534"/>
                </a:lnTo>
                <a:lnTo>
                  <a:pt x="17324" y="11525"/>
                </a:lnTo>
                <a:lnTo>
                  <a:pt x="17324" y="11516"/>
                </a:lnTo>
                <a:lnTo>
                  <a:pt x="17331" y="11515"/>
                </a:lnTo>
                <a:lnTo>
                  <a:pt x="17340" y="11517"/>
                </a:lnTo>
                <a:lnTo>
                  <a:pt x="17348" y="11522"/>
                </a:lnTo>
                <a:lnTo>
                  <a:pt x="17352" y="11530"/>
                </a:lnTo>
                <a:close/>
                <a:moveTo>
                  <a:pt x="17401" y="11437"/>
                </a:moveTo>
                <a:lnTo>
                  <a:pt x="17415" y="11440"/>
                </a:lnTo>
                <a:lnTo>
                  <a:pt x="17423" y="11452"/>
                </a:lnTo>
                <a:lnTo>
                  <a:pt x="17423" y="11463"/>
                </a:lnTo>
                <a:lnTo>
                  <a:pt x="17410" y="11461"/>
                </a:lnTo>
                <a:lnTo>
                  <a:pt x="17409" y="11454"/>
                </a:lnTo>
                <a:lnTo>
                  <a:pt x="17403" y="11449"/>
                </a:lnTo>
                <a:lnTo>
                  <a:pt x="17398" y="11445"/>
                </a:lnTo>
                <a:lnTo>
                  <a:pt x="17401" y="11437"/>
                </a:lnTo>
                <a:close/>
                <a:moveTo>
                  <a:pt x="17282" y="12102"/>
                </a:moveTo>
                <a:lnTo>
                  <a:pt x="17297" y="12100"/>
                </a:lnTo>
                <a:lnTo>
                  <a:pt x="17307" y="12090"/>
                </a:lnTo>
                <a:lnTo>
                  <a:pt x="17319" y="12084"/>
                </a:lnTo>
                <a:lnTo>
                  <a:pt x="17335" y="12093"/>
                </a:lnTo>
                <a:lnTo>
                  <a:pt x="17326" y="12119"/>
                </a:lnTo>
                <a:lnTo>
                  <a:pt x="17306" y="12131"/>
                </a:lnTo>
                <a:lnTo>
                  <a:pt x="17287" y="12126"/>
                </a:lnTo>
                <a:lnTo>
                  <a:pt x="17282" y="12102"/>
                </a:lnTo>
                <a:close/>
                <a:moveTo>
                  <a:pt x="17342" y="12224"/>
                </a:moveTo>
                <a:lnTo>
                  <a:pt x="17345" y="12226"/>
                </a:lnTo>
                <a:lnTo>
                  <a:pt x="17348" y="12229"/>
                </a:lnTo>
                <a:lnTo>
                  <a:pt x="17351" y="12233"/>
                </a:lnTo>
                <a:lnTo>
                  <a:pt x="17352" y="12237"/>
                </a:lnTo>
                <a:lnTo>
                  <a:pt x="17342" y="12243"/>
                </a:lnTo>
                <a:lnTo>
                  <a:pt x="17331" y="12233"/>
                </a:lnTo>
                <a:lnTo>
                  <a:pt x="17328" y="12223"/>
                </a:lnTo>
                <a:lnTo>
                  <a:pt x="17342" y="12224"/>
                </a:lnTo>
                <a:close/>
                <a:moveTo>
                  <a:pt x="17343" y="12216"/>
                </a:moveTo>
                <a:lnTo>
                  <a:pt x="17348" y="12215"/>
                </a:lnTo>
                <a:lnTo>
                  <a:pt x="17353" y="12219"/>
                </a:lnTo>
                <a:lnTo>
                  <a:pt x="17353" y="12224"/>
                </a:lnTo>
                <a:lnTo>
                  <a:pt x="17349" y="12224"/>
                </a:lnTo>
                <a:lnTo>
                  <a:pt x="17348" y="12221"/>
                </a:lnTo>
                <a:lnTo>
                  <a:pt x="17344" y="12220"/>
                </a:lnTo>
                <a:lnTo>
                  <a:pt x="17343" y="12219"/>
                </a:lnTo>
                <a:lnTo>
                  <a:pt x="17343" y="12216"/>
                </a:lnTo>
                <a:close/>
                <a:moveTo>
                  <a:pt x="17363" y="12289"/>
                </a:moveTo>
                <a:lnTo>
                  <a:pt x="17365" y="12313"/>
                </a:lnTo>
                <a:lnTo>
                  <a:pt x="17352" y="12326"/>
                </a:lnTo>
                <a:lnTo>
                  <a:pt x="17333" y="12327"/>
                </a:lnTo>
                <a:lnTo>
                  <a:pt x="17314" y="12317"/>
                </a:lnTo>
                <a:lnTo>
                  <a:pt x="17315" y="12299"/>
                </a:lnTo>
                <a:lnTo>
                  <a:pt x="17330" y="12291"/>
                </a:lnTo>
                <a:lnTo>
                  <a:pt x="17349" y="12289"/>
                </a:lnTo>
                <a:lnTo>
                  <a:pt x="17363" y="12289"/>
                </a:lnTo>
                <a:close/>
                <a:moveTo>
                  <a:pt x="17376" y="12122"/>
                </a:moveTo>
                <a:lnTo>
                  <a:pt x="17381" y="12107"/>
                </a:lnTo>
                <a:lnTo>
                  <a:pt x="17395" y="12103"/>
                </a:lnTo>
                <a:lnTo>
                  <a:pt x="17413" y="12107"/>
                </a:lnTo>
                <a:lnTo>
                  <a:pt x="17428" y="12113"/>
                </a:lnTo>
                <a:lnTo>
                  <a:pt x="17427" y="12140"/>
                </a:lnTo>
                <a:lnTo>
                  <a:pt x="17395" y="12151"/>
                </a:lnTo>
                <a:lnTo>
                  <a:pt x="17367" y="12146"/>
                </a:lnTo>
                <a:lnTo>
                  <a:pt x="17376" y="12122"/>
                </a:lnTo>
                <a:close/>
                <a:moveTo>
                  <a:pt x="17384" y="12067"/>
                </a:moveTo>
                <a:lnTo>
                  <a:pt x="17390" y="12060"/>
                </a:lnTo>
                <a:lnTo>
                  <a:pt x="17398" y="12062"/>
                </a:lnTo>
                <a:lnTo>
                  <a:pt x="17401" y="12069"/>
                </a:lnTo>
                <a:lnTo>
                  <a:pt x="17398" y="12075"/>
                </a:lnTo>
                <a:lnTo>
                  <a:pt x="17389" y="12079"/>
                </a:lnTo>
                <a:lnTo>
                  <a:pt x="17380" y="12083"/>
                </a:lnTo>
                <a:lnTo>
                  <a:pt x="17377" y="12079"/>
                </a:lnTo>
                <a:lnTo>
                  <a:pt x="17384" y="12067"/>
                </a:lnTo>
                <a:close/>
                <a:moveTo>
                  <a:pt x="17400" y="11967"/>
                </a:moveTo>
                <a:lnTo>
                  <a:pt x="17412" y="11963"/>
                </a:lnTo>
                <a:lnTo>
                  <a:pt x="17418" y="11969"/>
                </a:lnTo>
                <a:lnTo>
                  <a:pt x="17421" y="11978"/>
                </a:lnTo>
                <a:lnTo>
                  <a:pt x="17413" y="11982"/>
                </a:lnTo>
                <a:lnTo>
                  <a:pt x="17401" y="11982"/>
                </a:lnTo>
                <a:lnTo>
                  <a:pt x="17391" y="11982"/>
                </a:lnTo>
                <a:lnTo>
                  <a:pt x="17389" y="11977"/>
                </a:lnTo>
                <a:lnTo>
                  <a:pt x="17400" y="11967"/>
                </a:lnTo>
                <a:close/>
                <a:moveTo>
                  <a:pt x="17414" y="12069"/>
                </a:moveTo>
                <a:lnTo>
                  <a:pt x="17407" y="12072"/>
                </a:lnTo>
                <a:lnTo>
                  <a:pt x="17399" y="12065"/>
                </a:lnTo>
                <a:lnTo>
                  <a:pt x="17395" y="12053"/>
                </a:lnTo>
                <a:lnTo>
                  <a:pt x="17398" y="12047"/>
                </a:lnTo>
                <a:lnTo>
                  <a:pt x="17404" y="12048"/>
                </a:lnTo>
                <a:lnTo>
                  <a:pt x="17410" y="12055"/>
                </a:lnTo>
                <a:lnTo>
                  <a:pt x="17414" y="12061"/>
                </a:lnTo>
                <a:lnTo>
                  <a:pt x="17414" y="12069"/>
                </a:lnTo>
                <a:close/>
                <a:moveTo>
                  <a:pt x="17414" y="12051"/>
                </a:moveTo>
                <a:lnTo>
                  <a:pt x="17413" y="12047"/>
                </a:lnTo>
                <a:lnTo>
                  <a:pt x="17417" y="12047"/>
                </a:lnTo>
                <a:lnTo>
                  <a:pt x="17421" y="12049"/>
                </a:lnTo>
                <a:lnTo>
                  <a:pt x="17422" y="12055"/>
                </a:lnTo>
                <a:lnTo>
                  <a:pt x="17418" y="12057"/>
                </a:lnTo>
                <a:lnTo>
                  <a:pt x="17417" y="12056"/>
                </a:lnTo>
                <a:lnTo>
                  <a:pt x="17415" y="12053"/>
                </a:lnTo>
                <a:lnTo>
                  <a:pt x="17414" y="12051"/>
                </a:lnTo>
                <a:close/>
                <a:moveTo>
                  <a:pt x="17436" y="12161"/>
                </a:moveTo>
                <a:lnTo>
                  <a:pt x="17438" y="12163"/>
                </a:lnTo>
                <a:lnTo>
                  <a:pt x="17438" y="12165"/>
                </a:lnTo>
                <a:lnTo>
                  <a:pt x="17440" y="12168"/>
                </a:lnTo>
                <a:lnTo>
                  <a:pt x="17438" y="12169"/>
                </a:lnTo>
                <a:lnTo>
                  <a:pt x="17433" y="12170"/>
                </a:lnTo>
                <a:lnTo>
                  <a:pt x="17429" y="12163"/>
                </a:lnTo>
                <a:lnTo>
                  <a:pt x="17431" y="12158"/>
                </a:lnTo>
                <a:lnTo>
                  <a:pt x="17436" y="12161"/>
                </a:lnTo>
                <a:close/>
                <a:moveTo>
                  <a:pt x="17451" y="12169"/>
                </a:moveTo>
                <a:lnTo>
                  <a:pt x="17447" y="12146"/>
                </a:lnTo>
                <a:lnTo>
                  <a:pt x="17470" y="12140"/>
                </a:lnTo>
                <a:lnTo>
                  <a:pt x="17491" y="12149"/>
                </a:lnTo>
                <a:lnTo>
                  <a:pt x="17480" y="12177"/>
                </a:lnTo>
                <a:lnTo>
                  <a:pt x="17474" y="12201"/>
                </a:lnTo>
                <a:lnTo>
                  <a:pt x="17450" y="12202"/>
                </a:lnTo>
                <a:lnTo>
                  <a:pt x="17435" y="12187"/>
                </a:lnTo>
                <a:lnTo>
                  <a:pt x="17451" y="12169"/>
                </a:lnTo>
                <a:close/>
                <a:moveTo>
                  <a:pt x="17334" y="12500"/>
                </a:moveTo>
                <a:lnTo>
                  <a:pt x="17330" y="12499"/>
                </a:lnTo>
                <a:lnTo>
                  <a:pt x="17326" y="12500"/>
                </a:lnTo>
                <a:lnTo>
                  <a:pt x="17323" y="12501"/>
                </a:lnTo>
                <a:lnTo>
                  <a:pt x="17321" y="12498"/>
                </a:lnTo>
                <a:lnTo>
                  <a:pt x="17328" y="12491"/>
                </a:lnTo>
                <a:lnTo>
                  <a:pt x="17334" y="12491"/>
                </a:lnTo>
                <a:lnTo>
                  <a:pt x="17338" y="12495"/>
                </a:lnTo>
                <a:lnTo>
                  <a:pt x="17334" y="12500"/>
                </a:lnTo>
                <a:close/>
                <a:moveTo>
                  <a:pt x="17319" y="12386"/>
                </a:moveTo>
                <a:lnTo>
                  <a:pt x="17316" y="12387"/>
                </a:lnTo>
                <a:lnTo>
                  <a:pt x="17312" y="12386"/>
                </a:lnTo>
                <a:lnTo>
                  <a:pt x="17310" y="12384"/>
                </a:lnTo>
                <a:lnTo>
                  <a:pt x="17310" y="12382"/>
                </a:lnTo>
                <a:lnTo>
                  <a:pt x="17311" y="12375"/>
                </a:lnTo>
                <a:lnTo>
                  <a:pt x="17315" y="12374"/>
                </a:lnTo>
                <a:lnTo>
                  <a:pt x="17319" y="12378"/>
                </a:lnTo>
                <a:lnTo>
                  <a:pt x="17319" y="12386"/>
                </a:lnTo>
                <a:close/>
                <a:moveTo>
                  <a:pt x="17312" y="12428"/>
                </a:moveTo>
                <a:lnTo>
                  <a:pt x="17303" y="12431"/>
                </a:lnTo>
                <a:lnTo>
                  <a:pt x="17303" y="12425"/>
                </a:lnTo>
                <a:lnTo>
                  <a:pt x="17306" y="12417"/>
                </a:lnTo>
                <a:lnTo>
                  <a:pt x="17312" y="12421"/>
                </a:lnTo>
                <a:lnTo>
                  <a:pt x="17314" y="12424"/>
                </a:lnTo>
                <a:lnTo>
                  <a:pt x="17314" y="12425"/>
                </a:lnTo>
                <a:lnTo>
                  <a:pt x="17314" y="12426"/>
                </a:lnTo>
                <a:lnTo>
                  <a:pt x="17312" y="12428"/>
                </a:lnTo>
                <a:close/>
                <a:moveTo>
                  <a:pt x="17297" y="12174"/>
                </a:moveTo>
                <a:lnTo>
                  <a:pt x="17296" y="12169"/>
                </a:lnTo>
                <a:lnTo>
                  <a:pt x="17292" y="12167"/>
                </a:lnTo>
                <a:lnTo>
                  <a:pt x="17289" y="12163"/>
                </a:lnTo>
                <a:lnTo>
                  <a:pt x="17291" y="12159"/>
                </a:lnTo>
                <a:lnTo>
                  <a:pt x="17300" y="12160"/>
                </a:lnTo>
                <a:lnTo>
                  <a:pt x="17305" y="12168"/>
                </a:lnTo>
                <a:lnTo>
                  <a:pt x="17305" y="12175"/>
                </a:lnTo>
                <a:lnTo>
                  <a:pt x="17297" y="12174"/>
                </a:lnTo>
                <a:close/>
                <a:moveTo>
                  <a:pt x="17112" y="12536"/>
                </a:moveTo>
                <a:lnTo>
                  <a:pt x="17125" y="12552"/>
                </a:lnTo>
                <a:lnTo>
                  <a:pt x="17128" y="12575"/>
                </a:lnTo>
                <a:lnTo>
                  <a:pt x="17120" y="12589"/>
                </a:lnTo>
                <a:lnTo>
                  <a:pt x="17107" y="12576"/>
                </a:lnTo>
                <a:lnTo>
                  <a:pt x="17110" y="12565"/>
                </a:lnTo>
                <a:lnTo>
                  <a:pt x="17106" y="12552"/>
                </a:lnTo>
                <a:lnTo>
                  <a:pt x="17105" y="12541"/>
                </a:lnTo>
                <a:lnTo>
                  <a:pt x="17112" y="12536"/>
                </a:lnTo>
                <a:close/>
                <a:moveTo>
                  <a:pt x="16133" y="12414"/>
                </a:moveTo>
                <a:lnTo>
                  <a:pt x="16131" y="12412"/>
                </a:lnTo>
                <a:lnTo>
                  <a:pt x="16129" y="12408"/>
                </a:lnTo>
                <a:lnTo>
                  <a:pt x="16129" y="12403"/>
                </a:lnTo>
                <a:lnTo>
                  <a:pt x="16131" y="12401"/>
                </a:lnTo>
                <a:lnTo>
                  <a:pt x="16137" y="12398"/>
                </a:lnTo>
                <a:lnTo>
                  <a:pt x="16141" y="12402"/>
                </a:lnTo>
                <a:lnTo>
                  <a:pt x="16139" y="12408"/>
                </a:lnTo>
                <a:lnTo>
                  <a:pt x="16133" y="12414"/>
                </a:lnTo>
                <a:close/>
                <a:moveTo>
                  <a:pt x="16116" y="12392"/>
                </a:moveTo>
                <a:lnTo>
                  <a:pt x="16113" y="12392"/>
                </a:lnTo>
                <a:lnTo>
                  <a:pt x="16110" y="12387"/>
                </a:lnTo>
                <a:lnTo>
                  <a:pt x="16110" y="12382"/>
                </a:lnTo>
                <a:lnTo>
                  <a:pt x="16111" y="12378"/>
                </a:lnTo>
                <a:lnTo>
                  <a:pt x="16114" y="12380"/>
                </a:lnTo>
                <a:lnTo>
                  <a:pt x="16116" y="12384"/>
                </a:lnTo>
                <a:lnTo>
                  <a:pt x="16118" y="12388"/>
                </a:lnTo>
                <a:lnTo>
                  <a:pt x="16116" y="12392"/>
                </a:lnTo>
                <a:close/>
                <a:moveTo>
                  <a:pt x="15896" y="12520"/>
                </a:moveTo>
                <a:lnTo>
                  <a:pt x="15909" y="12522"/>
                </a:lnTo>
                <a:lnTo>
                  <a:pt x="15917" y="12531"/>
                </a:lnTo>
                <a:lnTo>
                  <a:pt x="15918" y="12541"/>
                </a:lnTo>
                <a:lnTo>
                  <a:pt x="15908" y="12541"/>
                </a:lnTo>
                <a:lnTo>
                  <a:pt x="15905" y="12534"/>
                </a:lnTo>
                <a:lnTo>
                  <a:pt x="15899" y="12531"/>
                </a:lnTo>
                <a:lnTo>
                  <a:pt x="15894" y="12527"/>
                </a:lnTo>
                <a:lnTo>
                  <a:pt x="15896" y="12520"/>
                </a:lnTo>
                <a:close/>
                <a:moveTo>
                  <a:pt x="15911" y="12514"/>
                </a:moveTo>
                <a:lnTo>
                  <a:pt x="15917" y="12514"/>
                </a:lnTo>
                <a:lnTo>
                  <a:pt x="15920" y="12518"/>
                </a:lnTo>
                <a:lnTo>
                  <a:pt x="15922" y="12522"/>
                </a:lnTo>
                <a:lnTo>
                  <a:pt x="15917" y="12523"/>
                </a:lnTo>
                <a:lnTo>
                  <a:pt x="15915" y="12520"/>
                </a:lnTo>
                <a:lnTo>
                  <a:pt x="15913" y="12519"/>
                </a:lnTo>
                <a:lnTo>
                  <a:pt x="15910" y="12518"/>
                </a:lnTo>
                <a:lnTo>
                  <a:pt x="15911" y="12514"/>
                </a:lnTo>
                <a:close/>
                <a:moveTo>
                  <a:pt x="15943" y="12575"/>
                </a:moveTo>
                <a:lnTo>
                  <a:pt x="15948" y="12570"/>
                </a:lnTo>
                <a:lnTo>
                  <a:pt x="15951" y="12576"/>
                </a:lnTo>
                <a:lnTo>
                  <a:pt x="15950" y="12583"/>
                </a:lnTo>
                <a:lnTo>
                  <a:pt x="15943" y="12582"/>
                </a:lnTo>
                <a:lnTo>
                  <a:pt x="15942" y="12580"/>
                </a:lnTo>
                <a:lnTo>
                  <a:pt x="15942" y="12579"/>
                </a:lnTo>
                <a:lnTo>
                  <a:pt x="15941" y="12576"/>
                </a:lnTo>
                <a:lnTo>
                  <a:pt x="15943" y="12575"/>
                </a:lnTo>
                <a:close/>
                <a:moveTo>
                  <a:pt x="15993" y="12518"/>
                </a:moveTo>
                <a:lnTo>
                  <a:pt x="15996" y="12519"/>
                </a:lnTo>
                <a:lnTo>
                  <a:pt x="15997" y="12523"/>
                </a:lnTo>
                <a:lnTo>
                  <a:pt x="15998" y="12527"/>
                </a:lnTo>
                <a:lnTo>
                  <a:pt x="15997" y="12529"/>
                </a:lnTo>
                <a:lnTo>
                  <a:pt x="15990" y="12533"/>
                </a:lnTo>
                <a:lnTo>
                  <a:pt x="15988" y="12529"/>
                </a:lnTo>
                <a:lnTo>
                  <a:pt x="15988" y="12523"/>
                </a:lnTo>
                <a:lnTo>
                  <a:pt x="15993" y="12518"/>
                </a:lnTo>
                <a:close/>
                <a:moveTo>
                  <a:pt x="16038" y="12588"/>
                </a:moveTo>
                <a:lnTo>
                  <a:pt x="16039" y="12582"/>
                </a:lnTo>
                <a:lnTo>
                  <a:pt x="16044" y="12580"/>
                </a:lnTo>
                <a:lnTo>
                  <a:pt x="16048" y="12585"/>
                </a:lnTo>
                <a:lnTo>
                  <a:pt x="16046" y="12596"/>
                </a:lnTo>
                <a:lnTo>
                  <a:pt x="16044" y="12596"/>
                </a:lnTo>
                <a:lnTo>
                  <a:pt x="16040" y="12594"/>
                </a:lnTo>
                <a:lnTo>
                  <a:pt x="16038" y="12592"/>
                </a:lnTo>
                <a:lnTo>
                  <a:pt x="16038" y="12588"/>
                </a:lnTo>
                <a:close/>
                <a:moveTo>
                  <a:pt x="15384" y="12874"/>
                </a:moveTo>
                <a:lnTo>
                  <a:pt x="15398" y="12876"/>
                </a:lnTo>
                <a:lnTo>
                  <a:pt x="15412" y="12869"/>
                </a:lnTo>
                <a:lnTo>
                  <a:pt x="15424" y="12864"/>
                </a:lnTo>
                <a:lnTo>
                  <a:pt x="15434" y="12874"/>
                </a:lnTo>
                <a:lnTo>
                  <a:pt x="15419" y="12892"/>
                </a:lnTo>
                <a:lnTo>
                  <a:pt x="15392" y="12897"/>
                </a:lnTo>
                <a:lnTo>
                  <a:pt x="15374" y="12891"/>
                </a:lnTo>
                <a:lnTo>
                  <a:pt x="15384" y="12874"/>
                </a:lnTo>
                <a:close/>
                <a:moveTo>
                  <a:pt x="13522" y="5295"/>
                </a:moveTo>
                <a:lnTo>
                  <a:pt x="13557" y="5280"/>
                </a:lnTo>
                <a:lnTo>
                  <a:pt x="13585" y="5281"/>
                </a:lnTo>
                <a:lnTo>
                  <a:pt x="13605" y="5299"/>
                </a:lnTo>
                <a:lnTo>
                  <a:pt x="13619" y="5334"/>
                </a:lnTo>
                <a:lnTo>
                  <a:pt x="13590" y="5369"/>
                </a:lnTo>
                <a:lnTo>
                  <a:pt x="13549" y="5369"/>
                </a:lnTo>
                <a:lnTo>
                  <a:pt x="13520" y="5341"/>
                </a:lnTo>
                <a:lnTo>
                  <a:pt x="13522" y="5295"/>
                </a:lnTo>
                <a:close/>
                <a:moveTo>
                  <a:pt x="13497" y="11278"/>
                </a:moveTo>
                <a:lnTo>
                  <a:pt x="13599" y="11230"/>
                </a:lnTo>
                <a:lnTo>
                  <a:pt x="13615" y="11298"/>
                </a:lnTo>
                <a:lnTo>
                  <a:pt x="13572" y="11357"/>
                </a:lnTo>
                <a:lnTo>
                  <a:pt x="13497" y="11278"/>
                </a:lnTo>
                <a:close/>
                <a:moveTo>
                  <a:pt x="13544" y="12230"/>
                </a:moveTo>
                <a:lnTo>
                  <a:pt x="13489" y="12271"/>
                </a:lnTo>
                <a:lnTo>
                  <a:pt x="13431" y="12315"/>
                </a:lnTo>
                <a:lnTo>
                  <a:pt x="13371" y="12326"/>
                </a:lnTo>
                <a:lnTo>
                  <a:pt x="13314" y="12262"/>
                </a:lnTo>
                <a:lnTo>
                  <a:pt x="13269" y="12265"/>
                </a:lnTo>
                <a:lnTo>
                  <a:pt x="13221" y="12254"/>
                </a:lnTo>
                <a:lnTo>
                  <a:pt x="13189" y="12235"/>
                </a:lnTo>
                <a:lnTo>
                  <a:pt x="13189" y="12207"/>
                </a:lnTo>
                <a:lnTo>
                  <a:pt x="13213" y="12170"/>
                </a:lnTo>
                <a:lnTo>
                  <a:pt x="13212" y="12139"/>
                </a:lnTo>
                <a:lnTo>
                  <a:pt x="13194" y="12108"/>
                </a:lnTo>
                <a:lnTo>
                  <a:pt x="13171" y="12077"/>
                </a:lnTo>
                <a:lnTo>
                  <a:pt x="13191" y="12009"/>
                </a:lnTo>
                <a:lnTo>
                  <a:pt x="13252" y="12019"/>
                </a:lnTo>
                <a:lnTo>
                  <a:pt x="13317" y="12076"/>
                </a:lnTo>
                <a:lnTo>
                  <a:pt x="13350" y="12149"/>
                </a:lnTo>
                <a:lnTo>
                  <a:pt x="13424" y="12111"/>
                </a:lnTo>
                <a:lnTo>
                  <a:pt x="13499" y="12102"/>
                </a:lnTo>
                <a:lnTo>
                  <a:pt x="13549" y="12136"/>
                </a:lnTo>
                <a:lnTo>
                  <a:pt x="13544" y="12230"/>
                </a:lnTo>
                <a:close/>
                <a:moveTo>
                  <a:pt x="13417" y="12794"/>
                </a:moveTo>
                <a:lnTo>
                  <a:pt x="13399" y="12803"/>
                </a:lnTo>
                <a:lnTo>
                  <a:pt x="13377" y="12792"/>
                </a:lnTo>
                <a:lnTo>
                  <a:pt x="13362" y="12772"/>
                </a:lnTo>
                <a:lnTo>
                  <a:pt x="13364" y="12758"/>
                </a:lnTo>
                <a:lnTo>
                  <a:pt x="13381" y="12761"/>
                </a:lnTo>
                <a:lnTo>
                  <a:pt x="13399" y="12769"/>
                </a:lnTo>
                <a:lnTo>
                  <a:pt x="13413" y="12780"/>
                </a:lnTo>
                <a:lnTo>
                  <a:pt x="13417" y="12794"/>
                </a:lnTo>
                <a:close/>
                <a:moveTo>
                  <a:pt x="13289" y="12452"/>
                </a:moveTo>
                <a:lnTo>
                  <a:pt x="13339" y="12467"/>
                </a:lnTo>
                <a:lnTo>
                  <a:pt x="13373" y="12498"/>
                </a:lnTo>
                <a:lnTo>
                  <a:pt x="13391" y="12540"/>
                </a:lnTo>
                <a:lnTo>
                  <a:pt x="13385" y="12592"/>
                </a:lnTo>
                <a:lnTo>
                  <a:pt x="13288" y="12687"/>
                </a:lnTo>
                <a:lnTo>
                  <a:pt x="13191" y="12615"/>
                </a:lnTo>
                <a:lnTo>
                  <a:pt x="13168" y="12496"/>
                </a:lnTo>
                <a:lnTo>
                  <a:pt x="13289" y="12452"/>
                </a:lnTo>
                <a:close/>
                <a:moveTo>
                  <a:pt x="13329" y="12977"/>
                </a:moveTo>
                <a:lnTo>
                  <a:pt x="13322" y="12980"/>
                </a:lnTo>
                <a:lnTo>
                  <a:pt x="13320" y="12983"/>
                </a:lnTo>
                <a:lnTo>
                  <a:pt x="13317" y="12985"/>
                </a:lnTo>
                <a:lnTo>
                  <a:pt x="13308" y="12983"/>
                </a:lnTo>
                <a:lnTo>
                  <a:pt x="13302" y="12969"/>
                </a:lnTo>
                <a:lnTo>
                  <a:pt x="13316" y="12960"/>
                </a:lnTo>
                <a:lnTo>
                  <a:pt x="13331" y="12961"/>
                </a:lnTo>
                <a:lnTo>
                  <a:pt x="13329" y="12977"/>
                </a:lnTo>
                <a:close/>
                <a:moveTo>
                  <a:pt x="13245" y="12948"/>
                </a:moveTo>
                <a:lnTo>
                  <a:pt x="13145" y="13016"/>
                </a:lnTo>
                <a:lnTo>
                  <a:pt x="13051" y="12979"/>
                </a:lnTo>
                <a:lnTo>
                  <a:pt x="13007" y="12883"/>
                </a:lnTo>
                <a:lnTo>
                  <a:pt x="13055" y="12772"/>
                </a:lnTo>
                <a:lnTo>
                  <a:pt x="13091" y="12636"/>
                </a:lnTo>
                <a:lnTo>
                  <a:pt x="13158" y="12678"/>
                </a:lnTo>
                <a:lnTo>
                  <a:pt x="13222" y="12811"/>
                </a:lnTo>
                <a:lnTo>
                  <a:pt x="13245" y="12948"/>
                </a:lnTo>
                <a:close/>
                <a:moveTo>
                  <a:pt x="13151" y="13075"/>
                </a:moveTo>
                <a:lnTo>
                  <a:pt x="13139" y="13081"/>
                </a:lnTo>
                <a:lnTo>
                  <a:pt x="13125" y="13074"/>
                </a:lnTo>
                <a:lnTo>
                  <a:pt x="13116" y="13064"/>
                </a:lnTo>
                <a:lnTo>
                  <a:pt x="13128" y="13056"/>
                </a:lnTo>
                <a:lnTo>
                  <a:pt x="13137" y="13055"/>
                </a:lnTo>
                <a:lnTo>
                  <a:pt x="13145" y="13059"/>
                </a:lnTo>
                <a:lnTo>
                  <a:pt x="13152" y="13067"/>
                </a:lnTo>
                <a:lnTo>
                  <a:pt x="13151" y="13075"/>
                </a:lnTo>
                <a:close/>
                <a:moveTo>
                  <a:pt x="12825" y="12449"/>
                </a:moveTo>
                <a:lnTo>
                  <a:pt x="12819" y="12400"/>
                </a:lnTo>
                <a:lnTo>
                  <a:pt x="12840" y="12354"/>
                </a:lnTo>
                <a:lnTo>
                  <a:pt x="12881" y="12322"/>
                </a:lnTo>
                <a:lnTo>
                  <a:pt x="12939" y="12313"/>
                </a:lnTo>
                <a:lnTo>
                  <a:pt x="13027" y="12373"/>
                </a:lnTo>
                <a:lnTo>
                  <a:pt x="12996" y="12463"/>
                </a:lnTo>
                <a:lnTo>
                  <a:pt x="12909" y="12513"/>
                </a:lnTo>
                <a:lnTo>
                  <a:pt x="12825" y="12449"/>
                </a:lnTo>
                <a:close/>
                <a:moveTo>
                  <a:pt x="12891" y="13093"/>
                </a:moveTo>
                <a:lnTo>
                  <a:pt x="12888" y="13089"/>
                </a:lnTo>
                <a:lnTo>
                  <a:pt x="12891" y="13082"/>
                </a:lnTo>
                <a:lnTo>
                  <a:pt x="12896" y="13074"/>
                </a:lnTo>
                <a:lnTo>
                  <a:pt x="12902" y="13074"/>
                </a:lnTo>
                <a:lnTo>
                  <a:pt x="12920" y="13075"/>
                </a:lnTo>
                <a:lnTo>
                  <a:pt x="12923" y="13086"/>
                </a:lnTo>
                <a:lnTo>
                  <a:pt x="12912" y="13095"/>
                </a:lnTo>
                <a:lnTo>
                  <a:pt x="12891" y="13093"/>
                </a:lnTo>
                <a:close/>
                <a:moveTo>
                  <a:pt x="12818" y="12859"/>
                </a:moveTo>
                <a:lnTo>
                  <a:pt x="12723" y="12836"/>
                </a:lnTo>
                <a:lnTo>
                  <a:pt x="12674" y="12747"/>
                </a:lnTo>
                <a:lnTo>
                  <a:pt x="12696" y="12660"/>
                </a:lnTo>
                <a:lnTo>
                  <a:pt x="12812" y="12643"/>
                </a:lnTo>
                <a:lnTo>
                  <a:pt x="12870" y="12682"/>
                </a:lnTo>
                <a:lnTo>
                  <a:pt x="12891" y="12748"/>
                </a:lnTo>
                <a:lnTo>
                  <a:pt x="12873" y="12816"/>
                </a:lnTo>
                <a:lnTo>
                  <a:pt x="12818" y="12859"/>
                </a:lnTo>
                <a:close/>
                <a:moveTo>
                  <a:pt x="12761" y="13091"/>
                </a:moveTo>
                <a:lnTo>
                  <a:pt x="12697" y="13207"/>
                </a:lnTo>
                <a:lnTo>
                  <a:pt x="12571" y="13172"/>
                </a:lnTo>
                <a:lnTo>
                  <a:pt x="12506" y="13068"/>
                </a:lnTo>
                <a:lnTo>
                  <a:pt x="12627" y="12975"/>
                </a:lnTo>
                <a:lnTo>
                  <a:pt x="12691" y="12988"/>
                </a:lnTo>
                <a:lnTo>
                  <a:pt x="12733" y="13018"/>
                </a:lnTo>
                <a:lnTo>
                  <a:pt x="12756" y="13056"/>
                </a:lnTo>
                <a:lnTo>
                  <a:pt x="12761" y="13091"/>
                </a:lnTo>
                <a:close/>
                <a:moveTo>
                  <a:pt x="12490" y="12921"/>
                </a:moveTo>
                <a:lnTo>
                  <a:pt x="12495" y="12874"/>
                </a:lnTo>
                <a:lnTo>
                  <a:pt x="12460" y="12832"/>
                </a:lnTo>
                <a:lnTo>
                  <a:pt x="12439" y="12795"/>
                </a:lnTo>
                <a:lnTo>
                  <a:pt x="12482" y="12764"/>
                </a:lnTo>
                <a:lnTo>
                  <a:pt x="12574" y="12812"/>
                </a:lnTo>
                <a:lnTo>
                  <a:pt x="12600" y="12898"/>
                </a:lnTo>
                <a:lnTo>
                  <a:pt x="12570" y="12958"/>
                </a:lnTo>
                <a:lnTo>
                  <a:pt x="12490" y="12921"/>
                </a:lnTo>
                <a:close/>
                <a:moveTo>
                  <a:pt x="12346" y="12640"/>
                </a:moveTo>
                <a:lnTo>
                  <a:pt x="12341" y="12592"/>
                </a:lnTo>
                <a:lnTo>
                  <a:pt x="12361" y="12546"/>
                </a:lnTo>
                <a:lnTo>
                  <a:pt x="12403" y="12513"/>
                </a:lnTo>
                <a:lnTo>
                  <a:pt x="12460" y="12504"/>
                </a:lnTo>
                <a:lnTo>
                  <a:pt x="12548" y="12564"/>
                </a:lnTo>
                <a:lnTo>
                  <a:pt x="12518" y="12655"/>
                </a:lnTo>
                <a:lnTo>
                  <a:pt x="12430" y="12705"/>
                </a:lnTo>
                <a:lnTo>
                  <a:pt x="12346" y="12640"/>
                </a:lnTo>
                <a:close/>
                <a:moveTo>
                  <a:pt x="12412" y="12981"/>
                </a:moveTo>
                <a:lnTo>
                  <a:pt x="12355" y="13053"/>
                </a:lnTo>
                <a:lnTo>
                  <a:pt x="12272" y="13053"/>
                </a:lnTo>
                <a:lnTo>
                  <a:pt x="12202" y="13005"/>
                </a:lnTo>
                <a:lnTo>
                  <a:pt x="12183" y="12935"/>
                </a:lnTo>
                <a:lnTo>
                  <a:pt x="12221" y="12863"/>
                </a:lnTo>
                <a:lnTo>
                  <a:pt x="12311" y="12845"/>
                </a:lnTo>
                <a:lnTo>
                  <a:pt x="12395" y="12884"/>
                </a:lnTo>
                <a:lnTo>
                  <a:pt x="12412" y="12981"/>
                </a:lnTo>
                <a:close/>
                <a:moveTo>
                  <a:pt x="12157" y="12719"/>
                </a:moveTo>
                <a:lnTo>
                  <a:pt x="12115" y="12624"/>
                </a:lnTo>
                <a:lnTo>
                  <a:pt x="12133" y="12598"/>
                </a:lnTo>
                <a:lnTo>
                  <a:pt x="12195" y="12622"/>
                </a:lnTo>
                <a:lnTo>
                  <a:pt x="12283" y="12674"/>
                </a:lnTo>
                <a:lnTo>
                  <a:pt x="12268" y="12704"/>
                </a:lnTo>
                <a:lnTo>
                  <a:pt x="12225" y="12730"/>
                </a:lnTo>
                <a:lnTo>
                  <a:pt x="12179" y="12741"/>
                </a:lnTo>
                <a:lnTo>
                  <a:pt x="12157" y="12719"/>
                </a:lnTo>
                <a:close/>
                <a:moveTo>
                  <a:pt x="12065" y="12831"/>
                </a:moveTo>
                <a:lnTo>
                  <a:pt x="11981" y="12914"/>
                </a:lnTo>
                <a:lnTo>
                  <a:pt x="11894" y="12851"/>
                </a:lnTo>
                <a:lnTo>
                  <a:pt x="11869" y="12750"/>
                </a:lnTo>
                <a:lnTo>
                  <a:pt x="11978" y="12708"/>
                </a:lnTo>
                <a:lnTo>
                  <a:pt x="12031" y="12724"/>
                </a:lnTo>
                <a:lnTo>
                  <a:pt x="12060" y="12753"/>
                </a:lnTo>
                <a:lnTo>
                  <a:pt x="12072" y="12790"/>
                </a:lnTo>
                <a:lnTo>
                  <a:pt x="12065" y="12831"/>
                </a:lnTo>
                <a:close/>
                <a:moveTo>
                  <a:pt x="11705" y="13144"/>
                </a:moveTo>
                <a:lnTo>
                  <a:pt x="11738" y="13070"/>
                </a:lnTo>
                <a:lnTo>
                  <a:pt x="11785" y="13036"/>
                </a:lnTo>
                <a:lnTo>
                  <a:pt x="11843" y="13035"/>
                </a:lnTo>
                <a:lnTo>
                  <a:pt x="11910" y="13063"/>
                </a:lnTo>
                <a:lnTo>
                  <a:pt x="11925" y="13166"/>
                </a:lnTo>
                <a:lnTo>
                  <a:pt x="11857" y="13229"/>
                </a:lnTo>
                <a:lnTo>
                  <a:pt x="11764" y="13231"/>
                </a:lnTo>
                <a:lnTo>
                  <a:pt x="11705" y="13144"/>
                </a:lnTo>
                <a:close/>
                <a:moveTo>
                  <a:pt x="11542" y="12634"/>
                </a:moveTo>
                <a:lnTo>
                  <a:pt x="11571" y="12584"/>
                </a:lnTo>
                <a:lnTo>
                  <a:pt x="11633" y="12582"/>
                </a:lnTo>
                <a:lnTo>
                  <a:pt x="11704" y="12602"/>
                </a:lnTo>
                <a:lnTo>
                  <a:pt x="11765" y="12622"/>
                </a:lnTo>
                <a:lnTo>
                  <a:pt x="11729" y="12696"/>
                </a:lnTo>
                <a:lnTo>
                  <a:pt x="11649" y="12737"/>
                </a:lnTo>
                <a:lnTo>
                  <a:pt x="11571" y="12724"/>
                </a:lnTo>
                <a:lnTo>
                  <a:pt x="11542" y="12634"/>
                </a:lnTo>
                <a:close/>
                <a:moveTo>
                  <a:pt x="11389" y="13022"/>
                </a:moveTo>
                <a:lnTo>
                  <a:pt x="11407" y="12943"/>
                </a:lnTo>
                <a:lnTo>
                  <a:pt x="11463" y="12905"/>
                </a:lnTo>
                <a:lnTo>
                  <a:pt x="11531" y="12911"/>
                </a:lnTo>
                <a:lnTo>
                  <a:pt x="11584" y="12965"/>
                </a:lnTo>
                <a:lnTo>
                  <a:pt x="11566" y="13044"/>
                </a:lnTo>
                <a:lnTo>
                  <a:pt x="11510" y="13082"/>
                </a:lnTo>
                <a:lnTo>
                  <a:pt x="11443" y="13075"/>
                </a:lnTo>
                <a:lnTo>
                  <a:pt x="11389" y="13022"/>
                </a:lnTo>
                <a:close/>
                <a:moveTo>
                  <a:pt x="11375" y="12163"/>
                </a:moveTo>
                <a:lnTo>
                  <a:pt x="11399" y="12117"/>
                </a:lnTo>
                <a:lnTo>
                  <a:pt x="11440" y="12108"/>
                </a:lnTo>
                <a:lnTo>
                  <a:pt x="11476" y="12128"/>
                </a:lnTo>
                <a:lnTo>
                  <a:pt x="11486" y="12168"/>
                </a:lnTo>
                <a:lnTo>
                  <a:pt x="11463" y="12203"/>
                </a:lnTo>
                <a:lnTo>
                  <a:pt x="11430" y="12212"/>
                </a:lnTo>
                <a:lnTo>
                  <a:pt x="11398" y="12197"/>
                </a:lnTo>
                <a:lnTo>
                  <a:pt x="11375" y="12163"/>
                </a:lnTo>
                <a:close/>
                <a:moveTo>
                  <a:pt x="11224" y="12552"/>
                </a:moveTo>
                <a:lnTo>
                  <a:pt x="11219" y="12487"/>
                </a:lnTo>
                <a:lnTo>
                  <a:pt x="11261" y="12448"/>
                </a:lnTo>
                <a:lnTo>
                  <a:pt x="11319" y="12447"/>
                </a:lnTo>
                <a:lnTo>
                  <a:pt x="11360" y="12498"/>
                </a:lnTo>
                <a:lnTo>
                  <a:pt x="11340" y="12547"/>
                </a:lnTo>
                <a:lnTo>
                  <a:pt x="11310" y="12573"/>
                </a:lnTo>
                <a:lnTo>
                  <a:pt x="11271" y="12574"/>
                </a:lnTo>
                <a:lnTo>
                  <a:pt x="11224" y="12552"/>
                </a:lnTo>
                <a:close/>
                <a:moveTo>
                  <a:pt x="11222" y="12850"/>
                </a:moveTo>
                <a:lnTo>
                  <a:pt x="11170" y="12921"/>
                </a:lnTo>
                <a:lnTo>
                  <a:pt x="11094" y="12900"/>
                </a:lnTo>
                <a:lnTo>
                  <a:pt x="11059" y="12834"/>
                </a:lnTo>
                <a:lnTo>
                  <a:pt x="11131" y="12767"/>
                </a:lnTo>
                <a:lnTo>
                  <a:pt x="11175" y="12771"/>
                </a:lnTo>
                <a:lnTo>
                  <a:pt x="11205" y="12793"/>
                </a:lnTo>
                <a:lnTo>
                  <a:pt x="11220" y="12822"/>
                </a:lnTo>
                <a:lnTo>
                  <a:pt x="11222" y="12850"/>
                </a:lnTo>
                <a:close/>
                <a:moveTo>
                  <a:pt x="11085" y="13204"/>
                </a:moveTo>
                <a:lnTo>
                  <a:pt x="11012" y="13279"/>
                </a:lnTo>
                <a:lnTo>
                  <a:pt x="10935" y="13229"/>
                </a:lnTo>
                <a:lnTo>
                  <a:pt x="10912" y="13139"/>
                </a:lnTo>
                <a:lnTo>
                  <a:pt x="11003" y="13097"/>
                </a:lnTo>
                <a:lnTo>
                  <a:pt x="11045" y="13106"/>
                </a:lnTo>
                <a:lnTo>
                  <a:pt x="11075" y="13128"/>
                </a:lnTo>
                <a:lnTo>
                  <a:pt x="11090" y="13161"/>
                </a:lnTo>
                <a:lnTo>
                  <a:pt x="11085" y="13204"/>
                </a:lnTo>
                <a:close/>
                <a:moveTo>
                  <a:pt x="10937" y="12328"/>
                </a:moveTo>
                <a:lnTo>
                  <a:pt x="10984" y="12338"/>
                </a:lnTo>
                <a:lnTo>
                  <a:pt x="10980" y="12379"/>
                </a:lnTo>
                <a:lnTo>
                  <a:pt x="10946" y="12406"/>
                </a:lnTo>
                <a:lnTo>
                  <a:pt x="10904" y="12372"/>
                </a:lnTo>
                <a:lnTo>
                  <a:pt x="10910" y="12356"/>
                </a:lnTo>
                <a:lnTo>
                  <a:pt x="10917" y="12341"/>
                </a:lnTo>
                <a:lnTo>
                  <a:pt x="10926" y="12329"/>
                </a:lnTo>
                <a:lnTo>
                  <a:pt x="10937" y="12328"/>
                </a:lnTo>
                <a:close/>
                <a:moveTo>
                  <a:pt x="10861" y="12737"/>
                </a:moveTo>
                <a:lnTo>
                  <a:pt x="10823" y="12757"/>
                </a:lnTo>
                <a:lnTo>
                  <a:pt x="10783" y="12752"/>
                </a:lnTo>
                <a:lnTo>
                  <a:pt x="10754" y="12727"/>
                </a:lnTo>
                <a:lnTo>
                  <a:pt x="10741" y="12685"/>
                </a:lnTo>
                <a:lnTo>
                  <a:pt x="10782" y="12644"/>
                </a:lnTo>
                <a:lnTo>
                  <a:pt x="10829" y="12645"/>
                </a:lnTo>
                <a:lnTo>
                  <a:pt x="10863" y="12678"/>
                </a:lnTo>
                <a:lnTo>
                  <a:pt x="10861" y="12737"/>
                </a:lnTo>
                <a:close/>
                <a:moveTo>
                  <a:pt x="10620" y="13101"/>
                </a:moveTo>
                <a:lnTo>
                  <a:pt x="10592" y="13018"/>
                </a:lnTo>
                <a:lnTo>
                  <a:pt x="10638" y="12971"/>
                </a:lnTo>
                <a:lnTo>
                  <a:pt x="10704" y="12977"/>
                </a:lnTo>
                <a:lnTo>
                  <a:pt x="10740" y="13054"/>
                </a:lnTo>
                <a:lnTo>
                  <a:pt x="10716" y="13083"/>
                </a:lnTo>
                <a:lnTo>
                  <a:pt x="10689" y="13100"/>
                </a:lnTo>
                <a:lnTo>
                  <a:pt x="10656" y="13106"/>
                </a:lnTo>
                <a:lnTo>
                  <a:pt x="10620" y="13101"/>
                </a:lnTo>
                <a:close/>
                <a:moveTo>
                  <a:pt x="10486" y="12588"/>
                </a:moveTo>
                <a:lnTo>
                  <a:pt x="10458" y="12579"/>
                </a:lnTo>
                <a:lnTo>
                  <a:pt x="10446" y="12565"/>
                </a:lnTo>
                <a:lnTo>
                  <a:pt x="10446" y="12545"/>
                </a:lnTo>
                <a:lnTo>
                  <a:pt x="10458" y="12519"/>
                </a:lnTo>
                <a:lnTo>
                  <a:pt x="10486" y="12529"/>
                </a:lnTo>
                <a:lnTo>
                  <a:pt x="10499" y="12543"/>
                </a:lnTo>
                <a:lnTo>
                  <a:pt x="10499" y="12562"/>
                </a:lnTo>
                <a:lnTo>
                  <a:pt x="10486" y="12588"/>
                </a:lnTo>
                <a:close/>
                <a:moveTo>
                  <a:pt x="10275" y="12881"/>
                </a:moveTo>
                <a:lnTo>
                  <a:pt x="10349" y="12846"/>
                </a:lnTo>
                <a:lnTo>
                  <a:pt x="10359" y="12896"/>
                </a:lnTo>
                <a:lnTo>
                  <a:pt x="10328" y="12938"/>
                </a:lnTo>
                <a:lnTo>
                  <a:pt x="10275" y="12881"/>
                </a:lnTo>
                <a:lnTo>
                  <a:pt x="10275" y="12881"/>
                </a:lnTo>
                <a:close/>
                <a:moveTo>
                  <a:pt x="10239" y="13264"/>
                </a:moveTo>
                <a:lnTo>
                  <a:pt x="10200" y="13284"/>
                </a:lnTo>
                <a:lnTo>
                  <a:pt x="10162" y="13280"/>
                </a:lnTo>
                <a:lnTo>
                  <a:pt x="10131" y="13255"/>
                </a:lnTo>
                <a:lnTo>
                  <a:pt x="10120" y="13212"/>
                </a:lnTo>
                <a:lnTo>
                  <a:pt x="10159" y="13171"/>
                </a:lnTo>
                <a:lnTo>
                  <a:pt x="10207" y="13172"/>
                </a:lnTo>
                <a:lnTo>
                  <a:pt x="10242" y="13207"/>
                </a:lnTo>
                <a:lnTo>
                  <a:pt x="10239" y="13264"/>
                </a:lnTo>
                <a:close/>
                <a:moveTo>
                  <a:pt x="10001" y="12762"/>
                </a:moveTo>
                <a:lnTo>
                  <a:pt x="9983" y="12765"/>
                </a:lnTo>
                <a:lnTo>
                  <a:pt x="9972" y="12764"/>
                </a:lnTo>
                <a:lnTo>
                  <a:pt x="9963" y="12756"/>
                </a:lnTo>
                <a:lnTo>
                  <a:pt x="9953" y="12742"/>
                </a:lnTo>
                <a:lnTo>
                  <a:pt x="9969" y="12718"/>
                </a:lnTo>
                <a:lnTo>
                  <a:pt x="9992" y="12718"/>
                </a:lnTo>
                <a:lnTo>
                  <a:pt x="10008" y="12734"/>
                </a:lnTo>
                <a:lnTo>
                  <a:pt x="10001" y="12762"/>
                </a:lnTo>
                <a:close/>
                <a:moveTo>
                  <a:pt x="9852" y="13110"/>
                </a:moveTo>
                <a:lnTo>
                  <a:pt x="9824" y="13101"/>
                </a:lnTo>
                <a:lnTo>
                  <a:pt x="9811" y="13087"/>
                </a:lnTo>
                <a:lnTo>
                  <a:pt x="9811" y="13067"/>
                </a:lnTo>
                <a:lnTo>
                  <a:pt x="9824" y="13041"/>
                </a:lnTo>
                <a:lnTo>
                  <a:pt x="9852" y="13053"/>
                </a:lnTo>
                <a:lnTo>
                  <a:pt x="9865" y="13065"/>
                </a:lnTo>
                <a:lnTo>
                  <a:pt x="9865" y="13084"/>
                </a:lnTo>
                <a:lnTo>
                  <a:pt x="9852" y="13110"/>
                </a:lnTo>
                <a:close/>
                <a:moveTo>
                  <a:pt x="9501" y="13180"/>
                </a:moveTo>
                <a:lnTo>
                  <a:pt x="9496" y="13153"/>
                </a:lnTo>
                <a:lnTo>
                  <a:pt x="9526" y="13131"/>
                </a:lnTo>
                <a:lnTo>
                  <a:pt x="9568" y="13124"/>
                </a:lnTo>
                <a:lnTo>
                  <a:pt x="9603" y="13140"/>
                </a:lnTo>
                <a:lnTo>
                  <a:pt x="9605" y="13161"/>
                </a:lnTo>
                <a:lnTo>
                  <a:pt x="9582" y="13175"/>
                </a:lnTo>
                <a:lnTo>
                  <a:pt x="9544" y="13182"/>
                </a:lnTo>
                <a:lnTo>
                  <a:pt x="9501" y="13180"/>
                </a:lnTo>
                <a:close/>
                <a:moveTo>
                  <a:pt x="7533" y="13543"/>
                </a:moveTo>
                <a:lnTo>
                  <a:pt x="7454" y="13473"/>
                </a:lnTo>
                <a:lnTo>
                  <a:pt x="7475" y="13473"/>
                </a:lnTo>
                <a:lnTo>
                  <a:pt x="7513" y="13466"/>
                </a:lnTo>
                <a:lnTo>
                  <a:pt x="7483" y="13378"/>
                </a:lnTo>
                <a:lnTo>
                  <a:pt x="7567" y="13408"/>
                </a:lnTo>
                <a:lnTo>
                  <a:pt x="7617" y="13479"/>
                </a:lnTo>
                <a:lnTo>
                  <a:pt x="7612" y="13541"/>
                </a:lnTo>
                <a:lnTo>
                  <a:pt x="7533" y="13543"/>
                </a:lnTo>
                <a:close/>
                <a:moveTo>
                  <a:pt x="7210" y="13352"/>
                </a:moveTo>
                <a:lnTo>
                  <a:pt x="7211" y="13350"/>
                </a:lnTo>
                <a:lnTo>
                  <a:pt x="7210" y="13352"/>
                </a:lnTo>
                <a:lnTo>
                  <a:pt x="7210" y="13349"/>
                </a:lnTo>
                <a:lnTo>
                  <a:pt x="7210" y="13352"/>
                </a:lnTo>
                <a:close/>
                <a:moveTo>
                  <a:pt x="6872" y="13452"/>
                </a:moveTo>
                <a:lnTo>
                  <a:pt x="6870" y="13438"/>
                </a:lnTo>
                <a:lnTo>
                  <a:pt x="6870" y="13429"/>
                </a:lnTo>
                <a:lnTo>
                  <a:pt x="6876" y="13424"/>
                </a:lnTo>
                <a:lnTo>
                  <a:pt x="6891" y="13422"/>
                </a:lnTo>
                <a:lnTo>
                  <a:pt x="6891" y="13431"/>
                </a:lnTo>
                <a:lnTo>
                  <a:pt x="6886" y="13438"/>
                </a:lnTo>
                <a:lnTo>
                  <a:pt x="6879" y="13446"/>
                </a:lnTo>
                <a:lnTo>
                  <a:pt x="6872" y="13452"/>
                </a:lnTo>
                <a:close/>
                <a:moveTo>
                  <a:pt x="6789" y="13353"/>
                </a:moveTo>
                <a:lnTo>
                  <a:pt x="6786" y="13349"/>
                </a:lnTo>
                <a:lnTo>
                  <a:pt x="6791" y="13349"/>
                </a:lnTo>
                <a:lnTo>
                  <a:pt x="6798" y="13349"/>
                </a:lnTo>
                <a:lnTo>
                  <a:pt x="6802" y="13349"/>
                </a:lnTo>
                <a:lnTo>
                  <a:pt x="6803" y="13354"/>
                </a:lnTo>
                <a:lnTo>
                  <a:pt x="6800" y="13354"/>
                </a:lnTo>
                <a:lnTo>
                  <a:pt x="6794" y="13353"/>
                </a:lnTo>
                <a:lnTo>
                  <a:pt x="6789" y="13353"/>
                </a:lnTo>
                <a:close/>
                <a:moveTo>
                  <a:pt x="6439" y="5018"/>
                </a:moveTo>
                <a:lnTo>
                  <a:pt x="6396" y="5008"/>
                </a:lnTo>
                <a:lnTo>
                  <a:pt x="6396" y="4976"/>
                </a:lnTo>
                <a:lnTo>
                  <a:pt x="6381" y="4944"/>
                </a:lnTo>
                <a:lnTo>
                  <a:pt x="6291" y="4936"/>
                </a:lnTo>
                <a:lnTo>
                  <a:pt x="6275" y="4891"/>
                </a:lnTo>
                <a:lnTo>
                  <a:pt x="6248" y="4893"/>
                </a:lnTo>
                <a:lnTo>
                  <a:pt x="6216" y="4926"/>
                </a:lnTo>
                <a:lnTo>
                  <a:pt x="6190" y="4971"/>
                </a:lnTo>
                <a:lnTo>
                  <a:pt x="6183" y="4992"/>
                </a:lnTo>
                <a:lnTo>
                  <a:pt x="6196" y="5009"/>
                </a:lnTo>
                <a:lnTo>
                  <a:pt x="6197" y="5018"/>
                </a:lnTo>
                <a:lnTo>
                  <a:pt x="6160" y="5018"/>
                </a:lnTo>
                <a:lnTo>
                  <a:pt x="6220" y="4892"/>
                </a:lnTo>
                <a:lnTo>
                  <a:pt x="6332" y="4817"/>
                </a:lnTo>
                <a:lnTo>
                  <a:pt x="6449" y="4737"/>
                </a:lnTo>
                <a:lnTo>
                  <a:pt x="6518" y="4600"/>
                </a:lnTo>
                <a:lnTo>
                  <a:pt x="6528" y="4630"/>
                </a:lnTo>
                <a:lnTo>
                  <a:pt x="6535" y="4659"/>
                </a:lnTo>
                <a:lnTo>
                  <a:pt x="6554" y="4673"/>
                </a:lnTo>
                <a:lnTo>
                  <a:pt x="6600" y="4655"/>
                </a:lnTo>
                <a:lnTo>
                  <a:pt x="6619" y="4672"/>
                </a:lnTo>
                <a:lnTo>
                  <a:pt x="6637" y="4689"/>
                </a:lnTo>
                <a:lnTo>
                  <a:pt x="6656" y="4697"/>
                </a:lnTo>
                <a:lnTo>
                  <a:pt x="6681" y="4682"/>
                </a:lnTo>
                <a:lnTo>
                  <a:pt x="6786" y="4621"/>
                </a:lnTo>
                <a:lnTo>
                  <a:pt x="6826" y="4731"/>
                </a:lnTo>
                <a:lnTo>
                  <a:pt x="6787" y="4851"/>
                </a:lnTo>
                <a:lnTo>
                  <a:pt x="6645" y="4818"/>
                </a:lnTo>
                <a:lnTo>
                  <a:pt x="6633" y="4761"/>
                </a:lnTo>
                <a:lnTo>
                  <a:pt x="6592" y="4730"/>
                </a:lnTo>
                <a:lnTo>
                  <a:pt x="6535" y="4721"/>
                </a:lnTo>
                <a:lnTo>
                  <a:pt x="6468" y="4726"/>
                </a:lnTo>
                <a:lnTo>
                  <a:pt x="6395" y="4828"/>
                </a:lnTo>
                <a:lnTo>
                  <a:pt x="6448" y="4922"/>
                </a:lnTo>
                <a:lnTo>
                  <a:pt x="6504" y="4992"/>
                </a:lnTo>
                <a:lnTo>
                  <a:pt x="6439" y="5018"/>
                </a:lnTo>
                <a:close/>
                <a:moveTo>
                  <a:pt x="6225" y="5018"/>
                </a:moveTo>
                <a:lnTo>
                  <a:pt x="6232" y="5013"/>
                </a:lnTo>
                <a:lnTo>
                  <a:pt x="6237" y="5013"/>
                </a:lnTo>
                <a:lnTo>
                  <a:pt x="6243" y="5015"/>
                </a:lnTo>
                <a:lnTo>
                  <a:pt x="6251" y="5018"/>
                </a:lnTo>
                <a:lnTo>
                  <a:pt x="6225" y="5018"/>
                </a:lnTo>
                <a:close/>
                <a:moveTo>
                  <a:pt x="5913" y="4445"/>
                </a:moveTo>
                <a:lnTo>
                  <a:pt x="5926" y="4453"/>
                </a:lnTo>
                <a:lnTo>
                  <a:pt x="5925" y="4464"/>
                </a:lnTo>
                <a:lnTo>
                  <a:pt x="5917" y="4477"/>
                </a:lnTo>
                <a:lnTo>
                  <a:pt x="5907" y="4488"/>
                </a:lnTo>
                <a:lnTo>
                  <a:pt x="5906" y="4477"/>
                </a:lnTo>
                <a:lnTo>
                  <a:pt x="5908" y="4467"/>
                </a:lnTo>
                <a:lnTo>
                  <a:pt x="5912" y="4456"/>
                </a:lnTo>
                <a:lnTo>
                  <a:pt x="5913" y="4445"/>
                </a:lnTo>
                <a:close/>
                <a:moveTo>
                  <a:pt x="5957" y="4584"/>
                </a:moveTo>
                <a:lnTo>
                  <a:pt x="6041" y="4597"/>
                </a:lnTo>
                <a:lnTo>
                  <a:pt x="6084" y="4642"/>
                </a:lnTo>
                <a:lnTo>
                  <a:pt x="6077" y="4677"/>
                </a:lnTo>
                <a:lnTo>
                  <a:pt x="6011" y="4656"/>
                </a:lnTo>
                <a:lnTo>
                  <a:pt x="5991" y="4644"/>
                </a:lnTo>
                <a:lnTo>
                  <a:pt x="5968" y="4642"/>
                </a:lnTo>
                <a:lnTo>
                  <a:pt x="5953" y="4631"/>
                </a:lnTo>
                <a:lnTo>
                  <a:pt x="5957" y="4584"/>
                </a:lnTo>
                <a:close/>
                <a:moveTo>
                  <a:pt x="6048" y="4490"/>
                </a:moveTo>
                <a:lnTo>
                  <a:pt x="6039" y="4493"/>
                </a:lnTo>
                <a:lnTo>
                  <a:pt x="6030" y="4501"/>
                </a:lnTo>
                <a:lnTo>
                  <a:pt x="6021" y="4510"/>
                </a:lnTo>
                <a:lnTo>
                  <a:pt x="6014" y="4520"/>
                </a:lnTo>
                <a:lnTo>
                  <a:pt x="6013" y="4500"/>
                </a:lnTo>
                <a:lnTo>
                  <a:pt x="6015" y="4488"/>
                </a:lnTo>
                <a:lnTo>
                  <a:pt x="6027" y="4486"/>
                </a:lnTo>
                <a:lnTo>
                  <a:pt x="6048" y="4490"/>
                </a:lnTo>
                <a:close/>
                <a:moveTo>
                  <a:pt x="6074" y="4493"/>
                </a:moveTo>
                <a:lnTo>
                  <a:pt x="6075" y="4496"/>
                </a:lnTo>
                <a:lnTo>
                  <a:pt x="6076" y="4498"/>
                </a:lnTo>
                <a:lnTo>
                  <a:pt x="6074" y="4496"/>
                </a:lnTo>
                <a:lnTo>
                  <a:pt x="6071" y="4493"/>
                </a:lnTo>
                <a:lnTo>
                  <a:pt x="6071" y="4492"/>
                </a:lnTo>
                <a:lnTo>
                  <a:pt x="6074" y="4493"/>
                </a:lnTo>
                <a:close/>
                <a:moveTo>
                  <a:pt x="6107" y="3364"/>
                </a:moveTo>
                <a:lnTo>
                  <a:pt x="6112" y="3371"/>
                </a:lnTo>
                <a:lnTo>
                  <a:pt x="6120" y="3372"/>
                </a:lnTo>
                <a:lnTo>
                  <a:pt x="6127" y="3369"/>
                </a:lnTo>
                <a:lnTo>
                  <a:pt x="6132" y="3363"/>
                </a:lnTo>
                <a:lnTo>
                  <a:pt x="6123" y="3382"/>
                </a:lnTo>
                <a:lnTo>
                  <a:pt x="6108" y="3392"/>
                </a:lnTo>
                <a:lnTo>
                  <a:pt x="6099" y="3389"/>
                </a:lnTo>
                <a:lnTo>
                  <a:pt x="6107" y="3364"/>
                </a:lnTo>
                <a:close/>
                <a:moveTo>
                  <a:pt x="6116" y="3287"/>
                </a:moveTo>
                <a:lnTo>
                  <a:pt x="6125" y="3302"/>
                </a:lnTo>
                <a:lnTo>
                  <a:pt x="6134" y="3313"/>
                </a:lnTo>
                <a:lnTo>
                  <a:pt x="6135" y="3324"/>
                </a:lnTo>
                <a:lnTo>
                  <a:pt x="6123" y="3335"/>
                </a:lnTo>
                <a:lnTo>
                  <a:pt x="6118" y="3345"/>
                </a:lnTo>
                <a:lnTo>
                  <a:pt x="6118" y="3330"/>
                </a:lnTo>
                <a:lnTo>
                  <a:pt x="6120" y="3306"/>
                </a:lnTo>
                <a:lnTo>
                  <a:pt x="6116" y="3287"/>
                </a:lnTo>
                <a:close/>
                <a:moveTo>
                  <a:pt x="6330" y="3246"/>
                </a:moveTo>
                <a:lnTo>
                  <a:pt x="6333" y="3248"/>
                </a:lnTo>
                <a:lnTo>
                  <a:pt x="6335" y="3252"/>
                </a:lnTo>
                <a:lnTo>
                  <a:pt x="6332" y="3248"/>
                </a:lnTo>
                <a:lnTo>
                  <a:pt x="6330" y="3246"/>
                </a:lnTo>
                <a:close/>
                <a:moveTo>
                  <a:pt x="6340" y="3695"/>
                </a:moveTo>
                <a:lnTo>
                  <a:pt x="6350" y="3702"/>
                </a:lnTo>
                <a:lnTo>
                  <a:pt x="6359" y="3709"/>
                </a:lnTo>
                <a:lnTo>
                  <a:pt x="6370" y="3713"/>
                </a:lnTo>
                <a:lnTo>
                  <a:pt x="6384" y="3712"/>
                </a:lnTo>
                <a:lnTo>
                  <a:pt x="6382" y="3721"/>
                </a:lnTo>
                <a:lnTo>
                  <a:pt x="6361" y="3721"/>
                </a:lnTo>
                <a:lnTo>
                  <a:pt x="6342" y="3712"/>
                </a:lnTo>
                <a:lnTo>
                  <a:pt x="6340" y="3695"/>
                </a:lnTo>
                <a:close/>
                <a:moveTo>
                  <a:pt x="6433" y="4539"/>
                </a:moveTo>
                <a:lnTo>
                  <a:pt x="6430" y="4541"/>
                </a:lnTo>
                <a:lnTo>
                  <a:pt x="6429" y="4539"/>
                </a:lnTo>
                <a:lnTo>
                  <a:pt x="6428" y="4535"/>
                </a:lnTo>
                <a:lnTo>
                  <a:pt x="6425" y="4533"/>
                </a:lnTo>
                <a:lnTo>
                  <a:pt x="6429" y="4535"/>
                </a:lnTo>
                <a:lnTo>
                  <a:pt x="6433" y="4539"/>
                </a:lnTo>
                <a:close/>
                <a:moveTo>
                  <a:pt x="6568" y="4581"/>
                </a:moveTo>
                <a:lnTo>
                  <a:pt x="6563" y="4583"/>
                </a:lnTo>
                <a:lnTo>
                  <a:pt x="6556" y="4581"/>
                </a:lnTo>
                <a:lnTo>
                  <a:pt x="6559" y="4576"/>
                </a:lnTo>
                <a:lnTo>
                  <a:pt x="6561" y="4576"/>
                </a:lnTo>
                <a:lnTo>
                  <a:pt x="6564" y="4579"/>
                </a:lnTo>
                <a:lnTo>
                  <a:pt x="6568" y="4581"/>
                </a:lnTo>
                <a:close/>
                <a:moveTo>
                  <a:pt x="6415" y="4252"/>
                </a:moveTo>
                <a:lnTo>
                  <a:pt x="6493" y="4327"/>
                </a:lnTo>
                <a:lnTo>
                  <a:pt x="6559" y="4323"/>
                </a:lnTo>
                <a:lnTo>
                  <a:pt x="6582" y="4353"/>
                </a:lnTo>
                <a:lnTo>
                  <a:pt x="6528" y="4533"/>
                </a:lnTo>
                <a:lnTo>
                  <a:pt x="6477" y="4505"/>
                </a:lnTo>
                <a:lnTo>
                  <a:pt x="6476" y="4497"/>
                </a:lnTo>
                <a:lnTo>
                  <a:pt x="6494" y="4495"/>
                </a:lnTo>
                <a:lnTo>
                  <a:pt x="6499" y="4483"/>
                </a:lnTo>
                <a:lnTo>
                  <a:pt x="6479" y="4463"/>
                </a:lnTo>
                <a:lnTo>
                  <a:pt x="6452" y="4456"/>
                </a:lnTo>
                <a:lnTo>
                  <a:pt x="6428" y="4448"/>
                </a:lnTo>
                <a:lnTo>
                  <a:pt x="6415" y="4417"/>
                </a:lnTo>
                <a:lnTo>
                  <a:pt x="6476" y="4379"/>
                </a:lnTo>
                <a:lnTo>
                  <a:pt x="6461" y="4344"/>
                </a:lnTo>
                <a:lnTo>
                  <a:pt x="6423" y="4304"/>
                </a:lnTo>
                <a:lnTo>
                  <a:pt x="6415" y="4252"/>
                </a:lnTo>
                <a:close/>
                <a:moveTo>
                  <a:pt x="8355" y="4646"/>
                </a:moveTo>
                <a:lnTo>
                  <a:pt x="8370" y="4669"/>
                </a:lnTo>
                <a:lnTo>
                  <a:pt x="8375" y="4683"/>
                </a:lnTo>
                <a:lnTo>
                  <a:pt x="8371" y="4696"/>
                </a:lnTo>
                <a:lnTo>
                  <a:pt x="8360" y="4719"/>
                </a:lnTo>
                <a:lnTo>
                  <a:pt x="8352" y="4720"/>
                </a:lnTo>
                <a:lnTo>
                  <a:pt x="8349" y="4697"/>
                </a:lnTo>
                <a:lnTo>
                  <a:pt x="8349" y="4668"/>
                </a:lnTo>
                <a:lnTo>
                  <a:pt x="8355" y="4646"/>
                </a:lnTo>
                <a:close/>
                <a:moveTo>
                  <a:pt x="8624" y="4691"/>
                </a:moveTo>
                <a:lnTo>
                  <a:pt x="8633" y="4702"/>
                </a:lnTo>
                <a:lnTo>
                  <a:pt x="8636" y="4711"/>
                </a:lnTo>
                <a:lnTo>
                  <a:pt x="8633" y="4720"/>
                </a:lnTo>
                <a:lnTo>
                  <a:pt x="8626" y="4731"/>
                </a:lnTo>
                <a:lnTo>
                  <a:pt x="8616" y="4724"/>
                </a:lnTo>
                <a:lnTo>
                  <a:pt x="8607" y="4706"/>
                </a:lnTo>
                <a:lnTo>
                  <a:pt x="8608" y="4691"/>
                </a:lnTo>
                <a:lnTo>
                  <a:pt x="8624" y="4691"/>
                </a:lnTo>
                <a:close/>
                <a:moveTo>
                  <a:pt x="8761" y="4748"/>
                </a:moveTo>
                <a:lnTo>
                  <a:pt x="8765" y="4751"/>
                </a:lnTo>
                <a:lnTo>
                  <a:pt x="8763" y="4752"/>
                </a:lnTo>
                <a:lnTo>
                  <a:pt x="8759" y="4753"/>
                </a:lnTo>
                <a:lnTo>
                  <a:pt x="8756" y="4754"/>
                </a:lnTo>
                <a:lnTo>
                  <a:pt x="8758" y="4752"/>
                </a:lnTo>
                <a:lnTo>
                  <a:pt x="8761" y="4748"/>
                </a:lnTo>
                <a:close/>
                <a:moveTo>
                  <a:pt x="8833" y="4631"/>
                </a:moveTo>
                <a:lnTo>
                  <a:pt x="8861" y="4635"/>
                </a:lnTo>
                <a:lnTo>
                  <a:pt x="8879" y="4651"/>
                </a:lnTo>
                <a:lnTo>
                  <a:pt x="8884" y="4678"/>
                </a:lnTo>
                <a:lnTo>
                  <a:pt x="8877" y="4709"/>
                </a:lnTo>
                <a:lnTo>
                  <a:pt x="8836" y="4698"/>
                </a:lnTo>
                <a:lnTo>
                  <a:pt x="8810" y="4689"/>
                </a:lnTo>
                <a:lnTo>
                  <a:pt x="8807" y="4669"/>
                </a:lnTo>
                <a:lnTo>
                  <a:pt x="8833" y="4631"/>
                </a:lnTo>
                <a:close/>
                <a:moveTo>
                  <a:pt x="9233" y="4809"/>
                </a:moveTo>
                <a:lnTo>
                  <a:pt x="9246" y="4803"/>
                </a:lnTo>
                <a:lnTo>
                  <a:pt x="9255" y="4801"/>
                </a:lnTo>
                <a:lnTo>
                  <a:pt x="9263" y="4804"/>
                </a:lnTo>
                <a:lnTo>
                  <a:pt x="9277" y="4813"/>
                </a:lnTo>
                <a:lnTo>
                  <a:pt x="9257" y="4828"/>
                </a:lnTo>
                <a:lnTo>
                  <a:pt x="9240" y="4837"/>
                </a:lnTo>
                <a:lnTo>
                  <a:pt x="9229" y="4835"/>
                </a:lnTo>
                <a:lnTo>
                  <a:pt x="9233" y="4809"/>
                </a:lnTo>
                <a:close/>
                <a:moveTo>
                  <a:pt x="9423" y="4651"/>
                </a:moveTo>
                <a:lnTo>
                  <a:pt x="9426" y="4656"/>
                </a:lnTo>
                <a:lnTo>
                  <a:pt x="9429" y="4661"/>
                </a:lnTo>
                <a:lnTo>
                  <a:pt x="9424" y="4663"/>
                </a:lnTo>
                <a:lnTo>
                  <a:pt x="9423" y="4660"/>
                </a:lnTo>
                <a:lnTo>
                  <a:pt x="9423" y="4656"/>
                </a:lnTo>
                <a:lnTo>
                  <a:pt x="9423" y="4651"/>
                </a:lnTo>
                <a:close/>
                <a:moveTo>
                  <a:pt x="8873" y="4754"/>
                </a:moveTo>
                <a:lnTo>
                  <a:pt x="8874" y="4754"/>
                </a:lnTo>
                <a:lnTo>
                  <a:pt x="8873" y="4754"/>
                </a:lnTo>
                <a:lnTo>
                  <a:pt x="8875" y="4753"/>
                </a:lnTo>
                <a:lnTo>
                  <a:pt x="8873" y="4754"/>
                </a:lnTo>
                <a:close/>
                <a:moveTo>
                  <a:pt x="10871" y="4902"/>
                </a:moveTo>
                <a:lnTo>
                  <a:pt x="10870" y="4915"/>
                </a:lnTo>
                <a:lnTo>
                  <a:pt x="10868" y="4921"/>
                </a:lnTo>
                <a:lnTo>
                  <a:pt x="10863" y="4921"/>
                </a:lnTo>
                <a:lnTo>
                  <a:pt x="10853" y="4915"/>
                </a:lnTo>
                <a:lnTo>
                  <a:pt x="10862" y="4910"/>
                </a:lnTo>
                <a:lnTo>
                  <a:pt x="10871" y="4902"/>
                </a:lnTo>
                <a:close/>
                <a:moveTo>
                  <a:pt x="11042" y="3806"/>
                </a:moveTo>
                <a:lnTo>
                  <a:pt x="11042" y="3806"/>
                </a:lnTo>
                <a:lnTo>
                  <a:pt x="11042" y="3806"/>
                </a:lnTo>
                <a:lnTo>
                  <a:pt x="11042" y="3806"/>
                </a:lnTo>
                <a:lnTo>
                  <a:pt x="11042" y="3806"/>
                </a:lnTo>
                <a:close/>
                <a:moveTo>
                  <a:pt x="11071" y="12016"/>
                </a:moveTo>
                <a:lnTo>
                  <a:pt x="11086" y="11992"/>
                </a:lnTo>
                <a:lnTo>
                  <a:pt x="11109" y="11992"/>
                </a:lnTo>
                <a:lnTo>
                  <a:pt x="11124" y="12009"/>
                </a:lnTo>
                <a:lnTo>
                  <a:pt x="11118" y="12037"/>
                </a:lnTo>
                <a:lnTo>
                  <a:pt x="11101" y="12039"/>
                </a:lnTo>
                <a:lnTo>
                  <a:pt x="11090" y="12038"/>
                </a:lnTo>
                <a:lnTo>
                  <a:pt x="11081" y="12030"/>
                </a:lnTo>
                <a:lnTo>
                  <a:pt x="11071" y="12016"/>
                </a:lnTo>
                <a:close/>
                <a:moveTo>
                  <a:pt x="11857" y="12328"/>
                </a:moveTo>
                <a:lnTo>
                  <a:pt x="11812" y="12373"/>
                </a:lnTo>
                <a:lnTo>
                  <a:pt x="11762" y="12378"/>
                </a:lnTo>
                <a:lnTo>
                  <a:pt x="11722" y="12349"/>
                </a:lnTo>
                <a:lnTo>
                  <a:pt x="11703" y="12290"/>
                </a:lnTo>
                <a:lnTo>
                  <a:pt x="11747" y="12245"/>
                </a:lnTo>
                <a:lnTo>
                  <a:pt x="11799" y="12242"/>
                </a:lnTo>
                <a:lnTo>
                  <a:pt x="11841" y="12272"/>
                </a:lnTo>
                <a:lnTo>
                  <a:pt x="11857" y="12328"/>
                </a:lnTo>
                <a:close/>
                <a:moveTo>
                  <a:pt x="11612" y="11810"/>
                </a:moveTo>
                <a:lnTo>
                  <a:pt x="11594" y="11846"/>
                </a:lnTo>
                <a:lnTo>
                  <a:pt x="11566" y="11850"/>
                </a:lnTo>
                <a:lnTo>
                  <a:pt x="11550" y="11828"/>
                </a:lnTo>
                <a:lnTo>
                  <a:pt x="11564" y="11789"/>
                </a:lnTo>
                <a:lnTo>
                  <a:pt x="11576" y="11794"/>
                </a:lnTo>
                <a:lnTo>
                  <a:pt x="11588" y="11799"/>
                </a:lnTo>
                <a:lnTo>
                  <a:pt x="11599" y="11805"/>
                </a:lnTo>
                <a:lnTo>
                  <a:pt x="11612" y="11810"/>
                </a:lnTo>
                <a:close/>
                <a:moveTo>
                  <a:pt x="11343" y="4766"/>
                </a:moveTo>
                <a:lnTo>
                  <a:pt x="11427" y="4763"/>
                </a:lnTo>
                <a:lnTo>
                  <a:pt x="11527" y="4807"/>
                </a:lnTo>
                <a:lnTo>
                  <a:pt x="11621" y="4822"/>
                </a:lnTo>
                <a:lnTo>
                  <a:pt x="11692" y="4738"/>
                </a:lnTo>
                <a:lnTo>
                  <a:pt x="11779" y="4838"/>
                </a:lnTo>
                <a:lnTo>
                  <a:pt x="11822" y="4938"/>
                </a:lnTo>
                <a:lnTo>
                  <a:pt x="11783" y="5006"/>
                </a:lnTo>
                <a:lnTo>
                  <a:pt x="11616" y="5018"/>
                </a:lnTo>
                <a:lnTo>
                  <a:pt x="11681" y="4941"/>
                </a:lnTo>
                <a:lnTo>
                  <a:pt x="11694" y="4874"/>
                </a:lnTo>
                <a:lnTo>
                  <a:pt x="11650" y="4851"/>
                </a:lnTo>
                <a:lnTo>
                  <a:pt x="11547" y="4907"/>
                </a:lnTo>
                <a:lnTo>
                  <a:pt x="11534" y="4931"/>
                </a:lnTo>
                <a:lnTo>
                  <a:pt x="11457" y="4906"/>
                </a:lnTo>
                <a:lnTo>
                  <a:pt x="11374" y="4847"/>
                </a:lnTo>
                <a:lnTo>
                  <a:pt x="11343" y="4766"/>
                </a:lnTo>
                <a:close/>
                <a:moveTo>
                  <a:pt x="12260" y="12048"/>
                </a:moveTo>
                <a:lnTo>
                  <a:pt x="12286" y="12051"/>
                </a:lnTo>
                <a:lnTo>
                  <a:pt x="12315" y="12062"/>
                </a:lnTo>
                <a:lnTo>
                  <a:pt x="12335" y="12089"/>
                </a:lnTo>
                <a:lnTo>
                  <a:pt x="12334" y="12137"/>
                </a:lnTo>
                <a:lnTo>
                  <a:pt x="12276" y="12198"/>
                </a:lnTo>
                <a:lnTo>
                  <a:pt x="12206" y="12159"/>
                </a:lnTo>
                <a:lnTo>
                  <a:pt x="12181" y="12086"/>
                </a:lnTo>
                <a:lnTo>
                  <a:pt x="12260" y="12048"/>
                </a:lnTo>
                <a:close/>
                <a:moveTo>
                  <a:pt x="12122" y="12372"/>
                </a:moveTo>
                <a:lnTo>
                  <a:pt x="12162" y="12380"/>
                </a:lnTo>
                <a:lnTo>
                  <a:pt x="12193" y="12402"/>
                </a:lnTo>
                <a:lnTo>
                  <a:pt x="12207" y="12435"/>
                </a:lnTo>
                <a:lnTo>
                  <a:pt x="12203" y="12478"/>
                </a:lnTo>
                <a:lnTo>
                  <a:pt x="12130" y="12554"/>
                </a:lnTo>
                <a:lnTo>
                  <a:pt x="12053" y="12504"/>
                </a:lnTo>
                <a:lnTo>
                  <a:pt x="12030" y="12414"/>
                </a:lnTo>
                <a:lnTo>
                  <a:pt x="12122" y="12372"/>
                </a:lnTo>
                <a:close/>
                <a:moveTo>
                  <a:pt x="12099" y="11665"/>
                </a:moveTo>
                <a:lnTo>
                  <a:pt x="12073" y="11670"/>
                </a:lnTo>
                <a:lnTo>
                  <a:pt x="12054" y="11670"/>
                </a:lnTo>
                <a:lnTo>
                  <a:pt x="12040" y="11660"/>
                </a:lnTo>
                <a:lnTo>
                  <a:pt x="12027" y="11633"/>
                </a:lnTo>
                <a:lnTo>
                  <a:pt x="12051" y="11605"/>
                </a:lnTo>
                <a:lnTo>
                  <a:pt x="12082" y="11605"/>
                </a:lnTo>
                <a:lnTo>
                  <a:pt x="12102" y="11627"/>
                </a:lnTo>
                <a:lnTo>
                  <a:pt x="12099" y="11665"/>
                </a:lnTo>
                <a:close/>
                <a:moveTo>
                  <a:pt x="11987" y="11958"/>
                </a:moveTo>
                <a:lnTo>
                  <a:pt x="11970" y="12002"/>
                </a:lnTo>
                <a:lnTo>
                  <a:pt x="11947" y="12025"/>
                </a:lnTo>
                <a:lnTo>
                  <a:pt x="11914" y="12028"/>
                </a:lnTo>
                <a:lnTo>
                  <a:pt x="11867" y="12006"/>
                </a:lnTo>
                <a:lnTo>
                  <a:pt x="11871" y="11954"/>
                </a:lnTo>
                <a:lnTo>
                  <a:pt x="11904" y="11923"/>
                </a:lnTo>
                <a:lnTo>
                  <a:pt x="11950" y="11922"/>
                </a:lnTo>
                <a:lnTo>
                  <a:pt x="11987" y="11958"/>
                </a:lnTo>
                <a:close/>
                <a:moveTo>
                  <a:pt x="12456" y="11820"/>
                </a:moveTo>
                <a:lnTo>
                  <a:pt x="12418" y="11841"/>
                </a:lnTo>
                <a:lnTo>
                  <a:pt x="12379" y="11836"/>
                </a:lnTo>
                <a:lnTo>
                  <a:pt x="12349" y="11810"/>
                </a:lnTo>
                <a:lnTo>
                  <a:pt x="12337" y="11768"/>
                </a:lnTo>
                <a:lnTo>
                  <a:pt x="12378" y="11726"/>
                </a:lnTo>
                <a:lnTo>
                  <a:pt x="12425" y="11727"/>
                </a:lnTo>
                <a:lnTo>
                  <a:pt x="12459" y="11762"/>
                </a:lnTo>
                <a:lnTo>
                  <a:pt x="12456" y="11820"/>
                </a:lnTo>
                <a:close/>
                <a:moveTo>
                  <a:pt x="12631" y="12761"/>
                </a:moveTo>
                <a:lnTo>
                  <a:pt x="12626" y="12761"/>
                </a:lnTo>
                <a:lnTo>
                  <a:pt x="12619" y="12756"/>
                </a:lnTo>
                <a:lnTo>
                  <a:pt x="12616" y="12750"/>
                </a:lnTo>
                <a:lnTo>
                  <a:pt x="12618" y="12746"/>
                </a:lnTo>
                <a:lnTo>
                  <a:pt x="12627" y="12737"/>
                </a:lnTo>
                <a:lnTo>
                  <a:pt x="12637" y="12739"/>
                </a:lnTo>
                <a:lnTo>
                  <a:pt x="12641" y="12750"/>
                </a:lnTo>
                <a:lnTo>
                  <a:pt x="12631" y="12761"/>
                </a:lnTo>
                <a:close/>
                <a:moveTo>
                  <a:pt x="12588" y="12175"/>
                </a:moveTo>
                <a:lnTo>
                  <a:pt x="12636" y="12182"/>
                </a:lnTo>
                <a:lnTo>
                  <a:pt x="12669" y="12206"/>
                </a:lnTo>
                <a:lnTo>
                  <a:pt x="12684" y="12242"/>
                </a:lnTo>
                <a:lnTo>
                  <a:pt x="12681" y="12287"/>
                </a:lnTo>
                <a:lnTo>
                  <a:pt x="12609" y="12363"/>
                </a:lnTo>
                <a:lnTo>
                  <a:pt x="12532" y="12317"/>
                </a:lnTo>
                <a:lnTo>
                  <a:pt x="12504" y="12228"/>
                </a:lnTo>
                <a:lnTo>
                  <a:pt x="12588" y="12175"/>
                </a:lnTo>
                <a:close/>
                <a:moveTo>
                  <a:pt x="12742" y="11540"/>
                </a:moveTo>
                <a:lnTo>
                  <a:pt x="12752" y="11554"/>
                </a:lnTo>
                <a:lnTo>
                  <a:pt x="12748" y="11582"/>
                </a:lnTo>
                <a:lnTo>
                  <a:pt x="12735" y="11606"/>
                </a:lnTo>
                <a:lnTo>
                  <a:pt x="12712" y="11612"/>
                </a:lnTo>
                <a:lnTo>
                  <a:pt x="12658" y="11609"/>
                </a:lnTo>
                <a:lnTo>
                  <a:pt x="12647" y="11578"/>
                </a:lnTo>
                <a:lnTo>
                  <a:pt x="12676" y="11545"/>
                </a:lnTo>
                <a:lnTo>
                  <a:pt x="12742" y="11540"/>
                </a:lnTo>
                <a:close/>
                <a:moveTo>
                  <a:pt x="12813" y="11946"/>
                </a:moveTo>
                <a:lnTo>
                  <a:pt x="12754" y="12006"/>
                </a:lnTo>
                <a:lnTo>
                  <a:pt x="12684" y="11967"/>
                </a:lnTo>
                <a:lnTo>
                  <a:pt x="12660" y="11894"/>
                </a:lnTo>
                <a:lnTo>
                  <a:pt x="12738" y="11856"/>
                </a:lnTo>
                <a:lnTo>
                  <a:pt x="12765" y="11859"/>
                </a:lnTo>
                <a:lnTo>
                  <a:pt x="12794" y="11870"/>
                </a:lnTo>
                <a:lnTo>
                  <a:pt x="12814" y="11897"/>
                </a:lnTo>
                <a:lnTo>
                  <a:pt x="12813" y="11946"/>
                </a:lnTo>
                <a:close/>
                <a:moveTo>
                  <a:pt x="12826" y="4791"/>
                </a:moveTo>
                <a:lnTo>
                  <a:pt x="12827" y="4832"/>
                </a:lnTo>
                <a:lnTo>
                  <a:pt x="12803" y="4856"/>
                </a:lnTo>
                <a:lnTo>
                  <a:pt x="12768" y="4857"/>
                </a:lnTo>
                <a:lnTo>
                  <a:pt x="12740" y="4827"/>
                </a:lnTo>
                <a:lnTo>
                  <a:pt x="12749" y="4798"/>
                </a:lnTo>
                <a:lnTo>
                  <a:pt x="12770" y="4780"/>
                </a:lnTo>
                <a:lnTo>
                  <a:pt x="12798" y="4776"/>
                </a:lnTo>
                <a:lnTo>
                  <a:pt x="12826" y="4791"/>
                </a:lnTo>
                <a:close/>
                <a:moveTo>
                  <a:pt x="12841" y="4921"/>
                </a:moveTo>
                <a:lnTo>
                  <a:pt x="12841" y="4921"/>
                </a:lnTo>
                <a:lnTo>
                  <a:pt x="12840" y="4920"/>
                </a:lnTo>
                <a:lnTo>
                  <a:pt x="12841" y="4920"/>
                </a:lnTo>
                <a:lnTo>
                  <a:pt x="12841" y="4921"/>
                </a:lnTo>
                <a:close/>
                <a:moveTo>
                  <a:pt x="12842" y="4677"/>
                </a:moveTo>
                <a:lnTo>
                  <a:pt x="12878" y="4689"/>
                </a:lnTo>
                <a:lnTo>
                  <a:pt x="12874" y="4711"/>
                </a:lnTo>
                <a:lnTo>
                  <a:pt x="12849" y="4742"/>
                </a:lnTo>
                <a:lnTo>
                  <a:pt x="12817" y="4777"/>
                </a:lnTo>
                <a:lnTo>
                  <a:pt x="12830" y="4757"/>
                </a:lnTo>
                <a:lnTo>
                  <a:pt x="12839" y="4734"/>
                </a:lnTo>
                <a:lnTo>
                  <a:pt x="12842" y="4707"/>
                </a:lnTo>
                <a:lnTo>
                  <a:pt x="12842" y="4677"/>
                </a:lnTo>
                <a:close/>
                <a:moveTo>
                  <a:pt x="12856" y="4925"/>
                </a:moveTo>
                <a:lnTo>
                  <a:pt x="12865" y="4927"/>
                </a:lnTo>
                <a:lnTo>
                  <a:pt x="12875" y="4930"/>
                </a:lnTo>
                <a:lnTo>
                  <a:pt x="12881" y="4933"/>
                </a:lnTo>
                <a:lnTo>
                  <a:pt x="12877" y="4940"/>
                </a:lnTo>
                <a:lnTo>
                  <a:pt x="12873" y="4936"/>
                </a:lnTo>
                <a:lnTo>
                  <a:pt x="12868" y="4931"/>
                </a:lnTo>
                <a:lnTo>
                  <a:pt x="12861" y="4929"/>
                </a:lnTo>
                <a:lnTo>
                  <a:pt x="12856" y="4925"/>
                </a:lnTo>
                <a:close/>
                <a:moveTo>
                  <a:pt x="12851" y="5062"/>
                </a:moveTo>
                <a:lnTo>
                  <a:pt x="12889" y="5022"/>
                </a:lnTo>
                <a:lnTo>
                  <a:pt x="12911" y="5051"/>
                </a:lnTo>
                <a:lnTo>
                  <a:pt x="12902" y="5087"/>
                </a:lnTo>
                <a:lnTo>
                  <a:pt x="12851" y="5062"/>
                </a:lnTo>
                <a:lnTo>
                  <a:pt x="12851" y="5062"/>
                </a:lnTo>
                <a:close/>
                <a:moveTo>
                  <a:pt x="12931" y="11533"/>
                </a:moveTo>
                <a:lnTo>
                  <a:pt x="12925" y="11549"/>
                </a:lnTo>
                <a:lnTo>
                  <a:pt x="12917" y="11566"/>
                </a:lnTo>
                <a:lnTo>
                  <a:pt x="12910" y="11582"/>
                </a:lnTo>
                <a:lnTo>
                  <a:pt x="12903" y="11599"/>
                </a:lnTo>
                <a:lnTo>
                  <a:pt x="12851" y="11573"/>
                </a:lnTo>
                <a:lnTo>
                  <a:pt x="12847" y="11534"/>
                </a:lnTo>
                <a:lnTo>
                  <a:pt x="12879" y="11512"/>
                </a:lnTo>
                <a:lnTo>
                  <a:pt x="12931" y="11533"/>
                </a:lnTo>
                <a:close/>
                <a:moveTo>
                  <a:pt x="13082" y="4710"/>
                </a:moveTo>
                <a:lnTo>
                  <a:pt x="13079" y="4730"/>
                </a:lnTo>
                <a:lnTo>
                  <a:pt x="13069" y="4752"/>
                </a:lnTo>
                <a:lnTo>
                  <a:pt x="13047" y="4766"/>
                </a:lnTo>
                <a:lnTo>
                  <a:pt x="13017" y="4768"/>
                </a:lnTo>
                <a:lnTo>
                  <a:pt x="12966" y="4723"/>
                </a:lnTo>
                <a:lnTo>
                  <a:pt x="12990" y="4675"/>
                </a:lnTo>
                <a:lnTo>
                  <a:pt x="13045" y="4660"/>
                </a:lnTo>
                <a:lnTo>
                  <a:pt x="13082" y="4710"/>
                </a:lnTo>
                <a:close/>
                <a:moveTo>
                  <a:pt x="13060" y="11049"/>
                </a:moveTo>
                <a:lnTo>
                  <a:pt x="13083" y="11045"/>
                </a:lnTo>
                <a:lnTo>
                  <a:pt x="13100" y="11048"/>
                </a:lnTo>
                <a:lnTo>
                  <a:pt x="13112" y="11058"/>
                </a:lnTo>
                <a:lnTo>
                  <a:pt x="13126" y="11078"/>
                </a:lnTo>
                <a:lnTo>
                  <a:pt x="13103" y="11111"/>
                </a:lnTo>
                <a:lnTo>
                  <a:pt x="13073" y="11113"/>
                </a:lnTo>
                <a:lnTo>
                  <a:pt x="13051" y="11088"/>
                </a:lnTo>
                <a:lnTo>
                  <a:pt x="13060" y="11049"/>
                </a:lnTo>
                <a:close/>
                <a:moveTo>
                  <a:pt x="13045" y="11986"/>
                </a:moveTo>
                <a:lnTo>
                  <a:pt x="13068" y="11943"/>
                </a:lnTo>
                <a:lnTo>
                  <a:pt x="13116" y="11969"/>
                </a:lnTo>
                <a:lnTo>
                  <a:pt x="13157" y="12032"/>
                </a:lnTo>
                <a:lnTo>
                  <a:pt x="13159" y="12095"/>
                </a:lnTo>
                <a:lnTo>
                  <a:pt x="13091" y="12172"/>
                </a:lnTo>
                <a:lnTo>
                  <a:pt x="13014" y="12131"/>
                </a:lnTo>
                <a:lnTo>
                  <a:pt x="12981" y="12046"/>
                </a:lnTo>
                <a:lnTo>
                  <a:pt x="13045" y="11986"/>
                </a:lnTo>
                <a:close/>
                <a:moveTo>
                  <a:pt x="13037" y="12249"/>
                </a:moveTo>
                <a:lnTo>
                  <a:pt x="13047" y="12197"/>
                </a:lnTo>
                <a:lnTo>
                  <a:pt x="13098" y="12223"/>
                </a:lnTo>
                <a:lnTo>
                  <a:pt x="13137" y="12285"/>
                </a:lnTo>
                <a:lnTo>
                  <a:pt x="13115" y="12346"/>
                </a:lnTo>
                <a:lnTo>
                  <a:pt x="13055" y="12351"/>
                </a:lnTo>
                <a:lnTo>
                  <a:pt x="13042" y="12327"/>
                </a:lnTo>
                <a:lnTo>
                  <a:pt x="13047" y="12289"/>
                </a:lnTo>
                <a:lnTo>
                  <a:pt x="13037" y="12249"/>
                </a:lnTo>
                <a:close/>
                <a:moveTo>
                  <a:pt x="13182" y="11881"/>
                </a:moveTo>
                <a:lnTo>
                  <a:pt x="13173" y="11894"/>
                </a:lnTo>
                <a:lnTo>
                  <a:pt x="13144" y="11904"/>
                </a:lnTo>
                <a:lnTo>
                  <a:pt x="13115" y="11904"/>
                </a:lnTo>
                <a:lnTo>
                  <a:pt x="13101" y="11890"/>
                </a:lnTo>
                <a:lnTo>
                  <a:pt x="13080" y="11850"/>
                </a:lnTo>
                <a:lnTo>
                  <a:pt x="13107" y="11829"/>
                </a:lnTo>
                <a:lnTo>
                  <a:pt x="13151" y="11838"/>
                </a:lnTo>
                <a:lnTo>
                  <a:pt x="13182" y="11881"/>
                </a:lnTo>
                <a:close/>
                <a:moveTo>
                  <a:pt x="13266" y="5164"/>
                </a:moveTo>
                <a:lnTo>
                  <a:pt x="13268" y="5205"/>
                </a:lnTo>
                <a:lnTo>
                  <a:pt x="13243" y="5229"/>
                </a:lnTo>
                <a:lnTo>
                  <a:pt x="13209" y="5230"/>
                </a:lnTo>
                <a:lnTo>
                  <a:pt x="13181" y="5201"/>
                </a:lnTo>
                <a:lnTo>
                  <a:pt x="13190" y="5171"/>
                </a:lnTo>
                <a:lnTo>
                  <a:pt x="13210" y="5153"/>
                </a:lnTo>
                <a:lnTo>
                  <a:pt x="13238" y="5150"/>
                </a:lnTo>
                <a:lnTo>
                  <a:pt x="13266" y="5164"/>
                </a:lnTo>
                <a:close/>
                <a:moveTo>
                  <a:pt x="13446" y="11814"/>
                </a:moveTo>
                <a:lnTo>
                  <a:pt x="13391" y="11843"/>
                </a:lnTo>
                <a:lnTo>
                  <a:pt x="13336" y="11837"/>
                </a:lnTo>
                <a:lnTo>
                  <a:pt x="13296" y="11801"/>
                </a:lnTo>
                <a:lnTo>
                  <a:pt x="13278" y="11741"/>
                </a:lnTo>
                <a:lnTo>
                  <a:pt x="13334" y="11684"/>
                </a:lnTo>
                <a:lnTo>
                  <a:pt x="13401" y="11685"/>
                </a:lnTo>
                <a:lnTo>
                  <a:pt x="13450" y="11734"/>
                </a:lnTo>
                <a:lnTo>
                  <a:pt x="13446" y="11814"/>
                </a:lnTo>
                <a:close/>
                <a:moveTo>
                  <a:pt x="13320" y="5453"/>
                </a:moveTo>
                <a:lnTo>
                  <a:pt x="13311" y="5452"/>
                </a:lnTo>
                <a:lnTo>
                  <a:pt x="13306" y="5446"/>
                </a:lnTo>
                <a:lnTo>
                  <a:pt x="13301" y="5434"/>
                </a:lnTo>
                <a:lnTo>
                  <a:pt x="13297" y="5424"/>
                </a:lnTo>
                <a:lnTo>
                  <a:pt x="13326" y="5400"/>
                </a:lnTo>
                <a:lnTo>
                  <a:pt x="13350" y="5418"/>
                </a:lnTo>
                <a:lnTo>
                  <a:pt x="13354" y="5447"/>
                </a:lnTo>
                <a:lnTo>
                  <a:pt x="13320" y="5453"/>
                </a:lnTo>
                <a:close/>
                <a:moveTo>
                  <a:pt x="13380" y="5629"/>
                </a:moveTo>
                <a:lnTo>
                  <a:pt x="13391" y="5621"/>
                </a:lnTo>
                <a:lnTo>
                  <a:pt x="13417" y="5622"/>
                </a:lnTo>
                <a:lnTo>
                  <a:pt x="13438" y="5633"/>
                </a:lnTo>
                <a:lnTo>
                  <a:pt x="13443" y="5649"/>
                </a:lnTo>
                <a:lnTo>
                  <a:pt x="13442" y="5690"/>
                </a:lnTo>
                <a:lnTo>
                  <a:pt x="13414" y="5699"/>
                </a:lnTo>
                <a:lnTo>
                  <a:pt x="13385" y="5677"/>
                </a:lnTo>
                <a:lnTo>
                  <a:pt x="13380" y="5629"/>
                </a:lnTo>
                <a:close/>
                <a:moveTo>
                  <a:pt x="13522" y="5084"/>
                </a:moveTo>
                <a:lnTo>
                  <a:pt x="13520" y="5104"/>
                </a:lnTo>
                <a:lnTo>
                  <a:pt x="13510" y="5125"/>
                </a:lnTo>
                <a:lnTo>
                  <a:pt x="13488" y="5140"/>
                </a:lnTo>
                <a:lnTo>
                  <a:pt x="13457" y="5143"/>
                </a:lnTo>
                <a:lnTo>
                  <a:pt x="13406" y="5095"/>
                </a:lnTo>
                <a:lnTo>
                  <a:pt x="13432" y="5048"/>
                </a:lnTo>
                <a:lnTo>
                  <a:pt x="13485" y="5033"/>
                </a:lnTo>
                <a:lnTo>
                  <a:pt x="13522" y="5084"/>
                </a:lnTo>
                <a:close/>
                <a:moveTo>
                  <a:pt x="13433" y="13257"/>
                </a:moveTo>
                <a:lnTo>
                  <a:pt x="13447" y="13254"/>
                </a:lnTo>
                <a:lnTo>
                  <a:pt x="13461" y="13260"/>
                </a:lnTo>
                <a:lnTo>
                  <a:pt x="13466" y="13268"/>
                </a:lnTo>
                <a:lnTo>
                  <a:pt x="13454" y="13271"/>
                </a:lnTo>
                <a:lnTo>
                  <a:pt x="13449" y="13266"/>
                </a:lnTo>
                <a:lnTo>
                  <a:pt x="13440" y="13265"/>
                </a:lnTo>
                <a:lnTo>
                  <a:pt x="13433" y="13264"/>
                </a:lnTo>
                <a:lnTo>
                  <a:pt x="13433" y="13257"/>
                </a:lnTo>
                <a:close/>
                <a:moveTo>
                  <a:pt x="5521" y="9826"/>
                </a:moveTo>
                <a:lnTo>
                  <a:pt x="5396" y="9850"/>
                </a:lnTo>
                <a:lnTo>
                  <a:pt x="5252" y="9827"/>
                </a:lnTo>
                <a:lnTo>
                  <a:pt x="5181" y="9784"/>
                </a:lnTo>
                <a:lnTo>
                  <a:pt x="5274" y="9742"/>
                </a:lnTo>
                <a:lnTo>
                  <a:pt x="5320" y="9782"/>
                </a:lnTo>
                <a:lnTo>
                  <a:pt x="5369" y="9749"/>
                </a:lnTo>
                <a:lnTo>
                  <a:pt x="5419" y="9691"/>
                </a:lnTo>
                <a:lnTo>
                  <a:pt x="5465" y="9654"/>
                </a:lnTo>
                <a:lnTo>
                  <a:pt x="5439" y="9795"/>
                </a:lnTo>
                <a:lnTo>
                  <a:pt x="5464" y="9814"/>
                </a:lnTo>
                <a:lnTo>
                  <a:pt x="5503" y="9795"/>
                </a:lnTo>
                <a:lnTo>
                  <a:pt x="5521" y="9826"/>
                </a:lnTo>
                <a:close/>
                <a:moveTo>
                  <a:pt x="5231" y="8695"/>
                </a:moveTo>
                <a:lnTo>
                  <a:pt x="5222" y="8711"/>
                </a:lnTo>
                <a:lnTo>
                  <a:pt x="5206" y="8725"/>
                </a:lnTo>
                <a:lnTo>
                  <a:pt x="5192" y="8740"/>
                </a:lnTo>
                <a:lnTo>
                  <a:pt x="5186" y="8758"/>
                </a:lnTo>
                <a:lnTo>
                  <a:pt x="5176" y="8734"/>
                </a:lnTo>
                <a:lnTo>
                  <a:pt x="5185" y="8719"/>
                </a:lnTo>
                <a:lnTo>
                  <a:pt x="5205" y="8709"/>
                </a:lnTo>
                <a:lnTo>
                  <a:pt x="5231" y="8695"/>
                </a:lnTo>
                <a:close/>
                <a:moveTo>
                  <a:pt x="5271" y="8946"/>
                </a:moveTo>
                <a:lnTo>
                  <a:pt x="5333" y="8944"/>
                </a:lnTo>
                <a:lnTo>
                  <a:pt x="5303" y="8994"/>
                </a:lnTo>
                <a:lnTo>
                  <a:pt x="5264" y="9047"/>
                </a:lnTo>
                <a:lnTo>
                  <a:pt x="5293" y="9049"/>
                </a:lnTo>
                <a:lnTo>
                  <a:pt x="5330" y="9021"/>
                </a:lnTo>
                <a:lnTo>
                  <a:pt x="5343" y="9044"/>
                </a:lnTo>
                <a:lnTo>
                  <a:pt x="5339" y="9092"/>
                </a:lnTo>
                <a:lnTo>
                  <a:pt x="5331" y="9143"/>
                </a:lnTo>
                <a:lnTo>
                  <a:pt x="5274" y="9090"/>
                </a:lnTo>
                <a:lnTo>
                  <a:pt x="5245" y="9062"/>
                </a:lnTo>
                <a:lnTo>
                  <a:pt x="5245" y="9025"/>
                </a:lnTo>
                <a:lnTo>
                  <a:pt x="5271" y="8946"/>
                </a:lnTo>
                <a:close/>
                <a:moveTo>
                  <a:pt x="5507" y="11567"/>
                </a:moveTo>
                <a:lnTo>
                  <a:pt x="5502" y="11578"/>
                </a:lnTo>
                <a:lnTo>
                  <a:pt x="5490" y="11584"/>
                </a:lnTo>
                <a:lnTo>
                  <a:pt x="5480" y="11584"/>
                </a:lnTo>
                <a:lnTo>
                  <a:pt x="5483" y="11577"/>
                </a:lnTo>
                <a:lnTo>
                  <a:pt x="5496" y="11553"/>
                </a:lnTo>
                <a:lnTo>
                  <a:pt x="5506" y="11539"/>
                </a:lnTo>
                <a:lnTo>
                  <a:pt x="5511" y="11540"/>
                </a:lnTo>
                <a:lnTo>
                  <a:pt x="5507" y="11567"/>
                </a:lnTo>
                <a:close/>
                <a:moveTo>
                  <a:pt x="5419" y="11374"/>
                </a:moveTo>
                <a:lnTo>
                  <a:pt x="5417" y="11368"/>
                </a:lnTo>
                <a:lnTo>
                  <a:pt x="5411" y="11366"/>
                </a:lnTo>
                <a:lnTo>
                  <a:pt x="5406" y="11367"/>
                </a:lnTo>
                <a:lnTo>
                  <a:pt x="5401" y="11368"/>
                </a:lnTo>
                <a:lnTo>
                  <a:pt x="5400" y="11361"/>
                </a:lnTo>
                <a:lnTo>
                  <a:pt x="5418" y="11352"/>
                </a:lnTo>
                <a:lnTo>
                  <a:pt x="5433" y="11352"/>
                </a:lnTo>
                <a:lnTo>
                  <a:pt x="5419" y="11374"/>
                </a:lnTo>
                <a:close/>
                <a:moveTo>
                  <a:pt x="5307" y="11106"/>
                </a:moveTo>
                <a:lnTo>
                  <a:pt x="5301" y="11100"/>
                </a:lnTo>
                <a:lnTo>
                  <a:pt x="5293" y="11093"/>
                </a:lnTo>
                <a:lnTo>
                  <a:pt x="5285" y="11090"/>
                </a:lnTo>
                <a:lnTo>
                  <a:pt x="5274" y="11090"/>
                </a:lnTo>
                <a:lnTo>
                  <a:pt x="5279" y="11083"/>
                </a:lnTo>
                <a:lnTo>
                  <a:pt x="5296" y="11085"/>
                </a:lnTo>
                <a:lnTo>
                  <a:pt x="5310" y="11093"/>
                </a:lnTo>
                <a:lnTo>
                  <a:pt x="5307" y="11106"/>
                </a:lnTo>
                <a:close/>
                <a:moveTo>
                  <a:pt x="5175" y="11389"/>
                </a:moveTo>
                <a:lnTo>
                  <a:pt x="5175" y="11389"/>
                </a:lnTo>
                <a:lnTo>
                  <a:pt x="5175" y="11389"/>
                </a:lnTo>
                <a:lnTo>
                  <a:pt x="5175" y="11389"/>
                </a:lnTo>
                <a:lnTo>
                  <a:pt x="5175" y="11389"/>
                </a:lnTo>
                <a:close/>
                <a:moveTo>
                  <a:pt x="5043" y="11440"/>
                </a:moveTo>
                <a:lnTo>
                  <a:pt x="5038" y="11442"/>
                </a:lnTo>
                <a:lnTo>
                  <a:pt x="5036" y="11440"/>
                </a:lnTo>
                <a:lnTo>
                  <a:pt x="5032" y="11432"/>
                </a:lnTo>
                <a:lnTo>
                  <a:pt x="5028" y="11427"/>
                </a:lnTo>
                <a:lnTo>
                  <a:pt x="5038" y="11421"/>
                </a:lnTo>
                <a:lnTo>
                  <a:pt x="5049" y="11424"/>
                </a:lnTo>
                <a:lnTo>
                  <a:pt x="5052" y="11432"/>
                </a:lnTo>
                <a:lnTo>
                  <a:pt x="5043" y="11440"/>
                </a:lnTo>
                <a:close/>
                <a:moveTo>
                  <a:pt x="4987" y="9397"/>
                </a:moveTo>
                <a:lnTo>
                  <a:pt x="4987" y="9384"/>
                </a:lnTo>
                <a:lnTo>
                  <a:pt x="4992" y="9375"/>
                </a:lnTo>
                <a:lnTo>
                  <a:pt x="5001" y="9367"/>
                </a:lnTo>
                <a:lnTo>
                  <a:pt x="5012" y="9359"/>
                </a:lnTo>
                <a:lnTo>
                  <a:pt x="4999" y="9378"/>
                </a:lnTo>
                <a:lnTo>
                  <a:pt x="4987" y="9397"/>
                </a:lnTo>
                <a:close/>
                <a:moveTo>
                  <a:pt x="5354" y="3256"/>
                </a:moveTo>
                <a:lnTo>
                  <a:pt x="5369" y="3243"/>
                </a:lnTo>
                <a:lnTo>
                  <a:pt x="5383" y="3229"/>
                </a:lnTo>
                <a:lnTo>
                  <a:pt x="5395" y="3217"/>
                </a:lnTo>
                <a:lnTo>
                  <a:pt x="5405" y="3205"/>
                </a:lnTo>
                <a:lnTo>
                  <a:pt x="5399" y="3224"/>
                </a:lnTo>
                <a:lnTo>
                  <a:pt x="5389" y="3238"/>
                </a:lnTo>
                <a:lnTo>
                  <a:pt x="5375" y="3248"/>
                </a:lnTo>
                <a:lnTo>
                  <a:pt x="5354" y="3256"/>
                </a:lnTo>
                <a:close/>
                <a:moveTo>
                  <a:pt x="5324" y="7537"/>
                </a:moveTo>
                <a:lnTo>
                  <a:pt x="5321" y="7520"/>
                </a:lnTo>
                <a:lnTo>
                  <a:pt x="5316" y="7506"/>
                </a:lnTo>
                <a:lnTo>
                  <a:pt x="5308" y="7491"/>
                </a:lnTo>
                <a:lnTo>
                  <a:pt x="5299" y="7477"/>
                </a:lnTo>
                <a:lnTo>
                  <a:pt x="5311" y="7489"/>
                </a:lnTo>
                <a:lnTo>
                  <a:pt x="5318" y="7505"/>
                </a:lnTo>
                <a:lnTo>
                  <a:pt x="5324" y="7523"/>
                </a:lnTo>
                <a:lnTo>
                  <a:pt x="5324" y="7537"/>
                </a:lnTo>
                <a:close/>
                <a:moveTo>
                  <a:pt x="5257" y="3334"/>
                </a:moveTo>
                <a:lnTo>
                  <a:pt x="5261" y="3317"/>
                </a:lnTo>
                <a:lnTo>
                  <a:pt x="5282" y="3302"/>
                </a:lnTo>
                <a:lnTo>
                  <a:pt x="5304" y="3292"/>
                </a:lnTo>
                <a:lnTo>
                  <a:pt x="5317" y="3290"/>
                </a:lnTo>
                <a:lnTo>
                  <a:pt x="5301" y="3298"/>
                </a:lnTo>
                <a:lnTo>
                  <a:pt x="5284" y="3307"/>
                </a:lnTo>
                <a:lnTo>
                  <a:pt x="5269" y="3320"/>
                </a:lnTo>
                <a:lnTo>
                  <a:pt x="5257" y="3334"/>
                </a:lnTo>
                <a:close/>
                <a:moveTo>
                  <a:pt x="5284" y="3621"/>
                </a:moveTo>
                <a:lnTo>
                  <a:pt x="5229" y="3632"/>
                </a:lnTo>
                <a:lnTo>
                  <a:pt x="5227" y="3680"/>
                </a:lnTo>
                <a:lnTo>
                  <a:pt x="5220" y="3736"/>
                </a:lnTo>
                <a:lnTo>
                  <a:pt x="5157" y="3770"/>
                </a:lnTo>
                <a:lnTo>
                  <a:pt x="5126" y="3768"/>
                </a:lnTo>
                <a:lnTo>
                  <a:pt x="5117" y="3714"/>
                </a:lnTo>
                <a:lnTo>
                  <a:pt x="5136" y="3663"/>
                </a:lnTo>
                <a:lnTo>
                  <a:pt x="5191" y="3667"/>
                </a:lnTo>
                <a:lnTo>
                  <a:pt x="5129" y="3399"/>
                </a:lnTo>
                <a:lnTo>
                  <a:pt x="5131" y="3262"/>
                </a:lnTo>
                <a:lnTo>
                  <a:pt x="5187" y="3317"/>
                </a:lnTo>
                <a:lnTo>
                  <a:pt x="5284" y="3621"/>
                </a:lnTo>
                <a:close/>
                <a:moveTo>
                  <a:pt x="5162" y="6620"/>
                </a:moveTo>
                <a:lnTo>
                  <a:pt x="5127" y="6578"/>
                </a:lnTo>
                <a:lnTo>
                  <a:pt x="5080" y="6530"/>
                </a:lnTo>
                <a:lnTo>
                  <a:pt x="5047" y="6484"/>
                </a:lnTo>
                <a:lnTo>
                  <a:pt x="5052" y="6446"/>
                </a:lnTo>
                <a:lnTo>
                  <a:pt x="5087" y="6480"/>
                </a:lnTo>
                <a:lnTo>
                  <a:pt x="5131" y="6542"/>
                </a:lnTo>
                <a:lnTo>
                  <a:pt x="5163" y="6599"/>
                </a:lnTo>
                <a:lnTo>
                  <a:pt x="5162" y="6620"/>
                </a:lnTo>
                <a:close/>
                <a:moveTo>
                  <a:pt x="5087" y="7492"/>
                </a:moveTo>
                <a:lnTo>
                  <a:pt x="5089" y="7475"/>
                </a:lnTo>
                <a:lnTo>
                  <a:pt x="5094" y="7466"/>
                </a:lnTo>
                <a:lnTo>
                  <a:pt x="5103" y="7461"/>
                </a:lnTo>
                <a:lnTo>
                  <a:pt x="5117" y="7452"/>
                </a:lnTo>
                <a:lnTo>
                  <a:pt x="5124" y="7461"/>
                </a:lnTo>
                <a:lnTo>
                  <a:pt x="5113" y="7471"/>
                </a:lnTo>
                <a:lnTo>
                  <a:pt x="5097" y="7481"/>
                </a:lnTo>
                <a:lnTo>
                  <a:pt x="5087" y="7492"/>
                </a:lnTo>
                <a:close/>
                <a:moveTo>
                  <a:pt x="5052" y="7424"/>
                </a:moveTo>
                <a:lnTo>
                  <a:pt x="4957" y="7384"/>
                </a:lnTo>
                <a:lnTo>
                  <a:pt x="4926" y="7279"/>
                </a:lnTo>
                <a:lnTo>
                  <a:pt x="4880" y="7198"/>
                </a:lnTo>
                <a:lnTo>
                  <a:pt x="4742" y="7237"/>
                </a:lnTo>
                <a:lnTo>
                  <a:pt x="4758" y="7158"/>
                </a:lnTo>
                <a:lnTo>
                  <a:pt x="4823" y="7080"/>
                </a:lnTo>
                <a:lnTo>
                  <a:pt x="4906" y="7027"/>
                </a:lnTo>
                <a:lnTo>
                  <a:pt x="4977" y="7027"/>
                </a:lnTo>
                <a:lnTo>
                  <a:pt x="4935" y="7065"/>
                </a:lnTo>
                <a:lnTo>
                  <a:pt x="4967" y="7132"/>
                </a:lnTo>
                <a:lnTo>
                  <a:pt x="5010" y="7211"/>
                </a:lnTo>
                <a:lnTo>
                  <a:pt x="4998" y="7280"/>
                </a:lnTo>
                <a:lnTo>
                  <a:pt x="4985" y="7319"/>
                </a:lnTo>
                <a:lnTo>
                  <a:pt x="5032" y="7350"/>
                </a:lnTo>
                <a:lnTo>
                  <a:pt x="5075" y="7380"/>
                </a:lnTo>
                <a:lnTo>
                  <a:pt x="5052" y="7424"/>
                </a:lnTo>
                <a:close/>
                <a:moveTo>
                  <a:pt x="4875" y="7513"/>
                </a:moveTo>
                <a:lnTo>
                  <a:pt x="4864" y="7517"/>
                </a:lnTo>
                <a:lnTo>
                  <a:pt x="4854" y="7520"/>
                </a:lnTo>
                <a:lnTo>
                  <a:pt x="4845" y="7520"/>
                </a:lnTo>
                <a:lnTo>
                  <a:pt x="4837" y="7511"/>
                </a:lnTo>
                <a:lnTo>
                  <a:pt x="4846" y="7505"/>
                </a:lnTo>
                <a:lnTo>
                  <a:pt x="4864" y="7501"/>
                </a:lnTo>
                <a:lnTo>
                  <a:pt x="4878" y="7503"/>
                </a:lnTo>
                <a:lnTo>
                  <a:pt x="4875" y="7513"/>
                </a:lnTo>
                <a:close/>
                <a:moveTo>
                  <a:pt x="4775" y="6767"/>
                </a:moveTo>
                <a:lnTo>
                  <a:pt x="4819" y="6750"/>
                </a:lnTo>
                <a:lnTo>
                  <a:pt x="4875" y="6772"/>
                </a:lnTo>
                <a:lnTo>
                  <a:pt x="4914" y="6777"/>
                </a:lnTo>
                <a:lnTo>
                  <a:pt x="4903" y="6706"/>
                </a:lnTo>
                <a:lnTo>
                  <a:pt x="4945" y="6822"/>
                </a:lnTo>
                <a:lnTo>
                  <a:pt x="4869" y="6890"/>
                </a:lnTo>
                <a:lnTo>
                  <a:pt x="4779" y="6884"/>
                </a:lnTo>
                <a:lnTo>
                  <a:pt x="4775" y="6767"/>
                </a:lnTo>
                <a:close/>
                <a:moveTo>
                  <a:pt x="4725" y="4094"/>
                </a:moveTo>
                <a:lnTo>
                  <a:pt x="4739" y="4103"/>
                </a:lnTo>
                <a:lnTo>
                  <a:pt x="4751" y="4105"/>
                </a:lnTo>
                <a:lnTo>
                  <a:pt x="4761" y="4103"/>
                </a:lnTo>
                <a:lnTo>
                  <a:pt x="4771" y="4098"/>
                </a:lnTo>
                <a:lnTo>
                  <a:pt x="4761" y="4119"/>
                </a:lnTo>
                <a:lnTo>
                  <a:pt x="4745" y="4124"/>
                </a:lnTo>
                <a:lnTo>
                  <a:pt x="4733" y="4115"/>
                </a:lnTo>
                <a:lnTo>
                  <a:pt x="4725" y="4094"/>
                </a:lnTo>
                <a:close/>
                <a:moveTo>
                  <a:pt x="4691" y="7366"/>
                </a:moveTo>
                <a:lnTo>
                  <a:pt x="4692" y="7349"/>
                </a:lnTo>
                <a:lnTo>
                  <a:pt x="4692" y="7327"/>
                </a:lnTo>
                <a:lnTo>
                  <a:pt x="4696" y="7307"/>
                </a:lnTo>
                <a:lnTo>
                  <a:pt x="4706" y="7291"/>
                </a:lnTo>
                <a:lnTo>
                  <a:pt x="4702" y="7317"/>
                </a:lnTo>
                <a:lnTo>
                  <a:pt x="4708" y="7345"/>
                </a:lnTo>
                <a:lnTo>
                  <a:pt x="4708" y="7366"/>
                </a:lnTo>
                <a:lnTo>
                  <a:pt x="4691" y="7366"/>
                </a:lnTo>
                <a:close/>
                <a:moveTo>
                  <a:pt x="4715" y="3989"/>
                </a:moveTo>
                <a:lnTo>
                  <a:pt x="4719" y="3974"/>
                </a:lnTo>
                <a:lnTo>
                  <a:pt x="4725" y="3980"/>
                </a:lnTo>
                <a:lnTo>
                  <a:pt x="4730" y="3998"/>
                </a:lnTo>
                <a:lnTo>
                  <a:pt x="4731" y="4016"/>
                </a:lnTo>
                <a:lnTo>
                  <a:pt x="4717" y="4016"/>
                </a:lnTo>
                <a:lnTo>
                  <a:pt x="4712" y="4012"/>
                </a:lnTo>
                <a:lnTo>
                  <a:pt x="4712" y="4003"/>
                </a:lnTo>
                <a:lnTo>
                  <a:pt x="4715" y="3989"/>
                </a:lnTo>
                <a:close/>
                <a:moveTo>
                  <a:pt x="4815" y="6255"/>
                </a:moveTo>
                <a:lnTo>
                  <a:pt x="4814" y="6264"/>
                </a:lnTo>
                <a:lnTo>
                  <a:pt x="4809" y="6270"/>
                </a:lnTo>
                <a:lnTo>
                  <a:pt x="4801" y="6269"/>
                </a:lnTo>
                <a:lnTo>
                  <a:pt x="4793" y="6261"/>
                </a:lnTo>
                <a:lnTo>
                  <a:pt x="4801" y="6258"/>
                </a:lnTo>
                <a:lnTo>
                  <a:pt x="4815" y="6255"/>
                </a:lnTo>
                <a:close/>
                <a:moveTo>
                  <a:pt x="4838" y="6375"/>
                </a:moveTo>
                <a:lnTo>
                  <a:pt x="4871" y="6404"/>
                </a:lnTo>
                <a:lnTo>
                  <a:pt x="4874" y="6441"/>
                </a:lnTo>
                <a:lnTo>
                  <a:pt x="4851" y="6475"/>
                </a:lnTo>
                <a:lnTo>
                  <a:pt x="4808" y="6496"/>
                </a:lnTo>
                <a:lnTo>
                  <a:pt x="4824" y="6463"/>
                </a:lnTo>
                <a:lnTo>
                  <a:pt x="4831" y="6433"/>
                </a:lnTo>
                <a:lnTo>
                  <a:pt x="4833" y="6404"/>
                </a:lnTo>
                <a:lnTo>
                  <a:pt x="4838" y="6375"/>
                </a:lnTo>
                <a:close/>
                <a:moveTo>
                  <a:pt x="4970" y="6503"/>
                </a:moveTo>
                <a:lnTo>
                  <a:pt x="4944" y="6511"/>
                </a:lnTo>
                <a:lnTo>
                  <a:pt x="4933" y="6492"/>
                </a:lnTo>
                <a:lnTo>
                  <a:pt x="4938" y="6465"/>
                </a:lnTo>
                <a:lnTo>
                  <a:pt x="4961" y="6445"/>
                </a:lnTo>
                <a:lnTo>
                  <a:pt x="4967" y="6459"/>
                </a:lnTo>
                <a:lnTo>
                  <a:pt x="4968" y="6473"/>
                </a:lnTo>
                <a:lnTo>
                  <a:pt x="4970" y="6487"/>
                </a:lnTo>
                <a:lnTo>
                  <a:pt x="4970" y="6503"/>
                </a:lnTo>
                <a:close/>
                <a:moveTo>
                  <a:pt x="5119" y="4203"/>
                </a:moveTo>
                <a:lnTo>
                  <a:pt x="5116" y="4210"/>
                </a:lnTo>
                <a:lnTo>
                  <a:pt x="5112" y="4210"/>
                </a:lnTo>
                <a:lnTo>
                  <a:pt x="5108" y="4206"/>
                </a:lnTo>
                <a:lnTo>
                  <a:pt x="5105" y="4201"/>
                </a:lnTo>
                <a:lnTo>
                  <a:pt x="5107" y="4202"/>
                </a:lnTo>
                <a:lnTo>
                  <a:pt x="5111" y="4203"/>
                </a:lnTo>
                <a:lnTo>
                  <a:pt x="5115" y="4204"/>
                </a:lnTo>
                <a:lnTo>
                  <a:pt x="5119" y="4203"/>
                </a:lnTo>
                <a:close/>
                <a:moveTo>
                  <a:pt x="5131" y="3859"/>
                </a:moveTo>
                <a:lnTo>
                  <a:pt x="5133" y="3856"/>
                </a:lnTo>
                <a:lnTo>
                  <a:pt x="5134" y="3852"/>
                </a:lnTo>
                <a:lnTo>
                  <a:pt x="5135" y="3852"/>
                </a:lnTo>
                <a:lnTo>
                  <a:pt x="5136" y="3857"/>
                </a:lnTo>
                <a:lnTo>
                  <a:pt x="5134" y="3858"/>
                </a:lnTo>
                <a:lnTo>
                  <a:pt x="5131" y="3859"/>
                </a:lnTo>
                <a:close/>
                <a:moveTo>
                  <a:pt x="5149" y="4134"/>
                </a:moveTo>
                <a:lnTo>
                  <a:pt x="5136" y="4156"/>
                </a:lnTo>
                <a:lnTo>
                  <a:pt x="5116" y="4175"/>
                </a:lnTo>
                <a:lnTo>
                  <a:pt x="5097" y="4185"/>
                </a:lnTo>
                <a:lnTo>
                  <a:pt x="5088" y="4179"/>
                </a:lnTo>
                <a:lnTo>
                  <a:pt x="5066" y="4122"/>
                </a:lnTo>
                <a:lnTo>
                  <a:pt x="5069" y="4104"/>
                </a:lnTo>
                <a:lnTo>
                  <a:pt x="5096" y="4113"/>
                </a:lnTo>
                <a:lnTo>
                  <a:pt x="5149" y="4134"/>
                </a:lnTo>
                <a:close/>
                <a:moveTo>
                  <a:pt x="4902" y="3811"/>
                </a:moveTo>
                <a:lnTo>
                  <a:pt x="4938" y="3761"/>
                </a:lnTo>
                <a:lnTo>
                  <a:pt x="4973" y="3750"/>
                </a:lnTo>
                <a:lnTo>
                  <a:pt x="4996" y="3782"/>
                </a:lnTo>
                <a:lnTo>
                  <a:pt x="4994" y="3856"/>
                </a:lnTo>
                <a:lnTo>
                  <a:pt x="5006" y="3891"/>
                </a:lnTo>
                <a:lnTo>
                  <a:pt x="5050" y="3898"/>
                </a:lnTo>
                <a:lnTo>
                  <a:pt x="5085" y="3901"/>
                </a:lnTo>
                <a:lnTo>
                  <a:pt x="5073" y="3933"/>
                </a:lnTo>
                <a:lnTo>
                  <a:pt x="5023" y="3987"/>
                </a:lnTo>
                <a:lnTo>
                  <a:pt x="4999" y="3959"/>
                </a:lnTo>
                <a:lnTo>
                  <a:pt x="4978" y="3899"/>
                </a:lnTo>
                <a:lnTo>
                  <a:pt x="4943" y="3858"/>
                </a:lnTo>
                <a:lnTo>
                  <a:pt x="4907" y="3862"/>
                </a:lnTo>
                <a:lnTo>
                  <a:pt x="4900" y="3859"/>
                </a:lnTo>
                <a:lnTo>
                  <a:pt x="4903" y="3845"/>
                </a:lnTo>
                <a:lnTo>
                  <a:pt x="4902" y="3811"/>
                </a:lnTo>
                <a:close/>
                <a:moveTo>
                  <a:pt x="4613" y="6986"/>
                </a:moveTo>
                <a:lnTo>
                  <a:pt x="4598" y="6982"/>
                </a:lnTo>
                <a:lnTo>
                  <a:pt x="4582" y="6978"/>
                </a:lnTo>
                <a:lnTo>
                  <a:pt x="4567" y="6973"/>
                </a:lnTo>
                <a:lnTo>
                  <a:pt x="4553" y="6965"/>
                </a:lnTo>
                <a:lnTo>
                  <a:pt x="4584" y="6967"/>
                </a:lnTo>
                <a:lnTo>
                  <a:pt x="4614" y="6963"/>
                </a:lnTo>
                <a:lnTo>
                  <a:pt x="4630" y="6965"/>
                </a:lnTo>
                <a:lnTo>
                  <a:pt x="4613" y="6986"/>
                </a:lnTo>
                <a:close/>
                <a:moveTo>
                  <a:pt x="4455" y="6955"/>
                </a:moveTo>
                <a:lnTo>
                  <a:pt x="4316" y="6962"/>
                </a:lnTo>
                <a:lnTo>
                  <a:pt x="4208" y="6992"/>
                </a:lnTo>
                <a:lnTo>
                  <a:pt x="4118" y="7035"/>
                </a:lnTo>
                <a:lnTo>
                  <a:pt x="4032" y="7079"/>
                </a:lnTo>
                <a:lnTo>
                  <a:pt x="4090" y="6923"/>
                </a:lnTo>
                <a:lnTo>
                  <a:pt x="4208" y="6847"/>
                </a:lnTo>
                <a:lnTo>
                  <a:pt x="4344" y="6856"/>
                </a:lnTo>
                <a:lnTo>
                  <a:pt x="4455" y="6955"/>
                </a:lnTo>
                <a:close/>
                <a:moveTo>
                  <a:pt x="4391" y="7789"/>
                </a:moveTo>
                <a:lnTo>
                  <a:pt x="4368" y="7758"/>
                </a:lnTo>
                <a:lnTo>
                  <a:pt x="4351" y="7720"/>
                </a:lnTo>
                <a:lnTo>
                  <a:pt x="4343" y="7680"/>
                </a:lnTo>
                <a:lnTo>
                  <a:pt x="4347" y="7641"/>
                </a:lnTo>
                <a:lnTo>
                  <a:pt x="4368" y="7676"/>
                </a:lnTo>
                <a:lnTo>
                  <a:pt x="4385" y="7711"/>
                </a:lnTo>
                <a:lnTo>
                  <a:pt x="4393" y="7750"/>
                </a:lnTo>
                <a:lnTo>
                  <a:pt x="4391" y="7789"/>
                </a:lnTo>
                <a:close/>
                <a:moveTo>
                  <a:pt x="4231" y="7865"/>
                </a:moveTo>
                <a:lnTo>
                  <a:pt x="4216" y="7867"/>
                </a:lnTo>
                <a:lnTo>
                  <a:pt x="4198" y="7867"/>
                </a:lnTo>
                <a:lnTo>
                  <a:pt x="4200" y="7845"/>
                </a:lnTo>
                <a:lnTo>
                  <a:pt x="4216" y="7840"/>
                </a:lnTo>
                <a:lnTo>
                  <a:pt x="4230" y="7848"/>
                </a:lnTo>
                <a:lnTo>
                  <a:pt x="4231" y="7865"/>
                </a:lnTo>
                <a:close/>
                <a:moveTo>
                  <a:pt x="4183" y="8005"/>
                </a:moveTo>
                <a:lnTo>
                  <a:pt x="4175" y="8003"/>
                </a:lnTo>
                <a:lnTo>
                  <a:pt x="4186" y="7994"/>
                </a:lnTo>
                <a:lnTo>
                  <a:pt x="4205" y="7986"/>
                </a:lnTo>
                <a:lnTo>
                  <a:pt x="4218" y="7982"/>
                </a:lnTo>
                <a:lnTo>
                  <a:pt x="4221" y="8002"/>
                </a:lnTo>
                <a:lnTo>
                  <a:pt x="4214" y="8008"/>
                </a:lnTo>
                <a:lnTo>
                  <a:pt x="4202" y="8008"/>
                </a:lnTo>
                <a:lnTo>
                  <a:pt x="4183" y="8005"/>
                </a:lnTo>
                <a:close/>
                <a:moveTo>
                  <a:pt x="3729" y="6810"/>
                </a:moveTo>
                <a:lnTo>
                  <a:pt x="3724" y="6810"/>
                </a:lnTo>
                <a:lnTo>
                  <a:pt x="3727" y="6802"/>
                </a:lnTo>
                <a:lnTo>
                  <a:pt x="3732" y="6791"/>
                </a:lnTo>
                <a:lnTo>
                  <a:pt x="3736" y="6782"/>
                </a:lnTo>
                <a:lnTo>
                  <a:pt x="3743" y="6792"/>
                </a:lnTo>
                <a:lnTo>
                  <a:pt x="3746" y="6800"/>
                </a:lnTo>
                <a:lnTo>
                  <a:pt x="3743" y="6805"/>
                </a:lnTo>
                <a:lnTo>
                  <a:pt x="3729" y="6810"/>
                </a:lnTo>
                <a:close/>
                <a:moveTo>
                  <a:pt x="3704" y="6242"/>
                </a:moveTo>
                <a:lnTo>
                  <a:pt x="3702" y="6239"/>
                </a:lnTo>
                <a:lnTo>
                  <a:pt x="3701" y="6236"/>
                </a:lnTo>
                <a:lnTo>
                  <a:pt x="3706" y="6235"/>
                </a:lnTo>
                <a:lnTo>
                  <a:pt x="3708" y="6236"/>
                </a:lnTo>
                <a:lnTo>
                  <a:pt x="3706" y="6239"/>
                </a:lnTo>
                <a:lnTo>
                  <a:pt x="3704" y="6242"/>
                </a:lnTo>
                <a:close/>
                <a:moveTo>
                  <a:pt x="3272" y="5880"/>
                </a:moveTo>
                <a:lnTo>
                  <a:pt x="3271" y="5863"/>
                </a:lnTo>
                <a:lnTo>
                  <a:pt x="3261" y="5852"/>
                </a:lnTo>
                <a:lnTo>
                  <a:pt x="3245" y="5847"/>
                </a:lnTo>
                <a:lnTo>
                  <a:pt x="3229" y="5850"/>
                </a:lnTo>
                <a:lnTo>
                  <a:pt x="3247" y="5826"/>
                </a:lnTo>
                <a:lnTo>
                  <a:pt x="3292" y="5829"/>
                </a:lnTo>
                <a:lnTo>
                  <a:pt x="3317" y="5849"/>
                </a:lnTo>
                <a:lnTo>
                  <a:pt x="3272" y="5880"/>
                </a:lnTo>
                <a:close/>
                <a:moveTo>
                  <a:pt x="3157" y="5988"/>
                </a:moveTo>
                <a:lnTo>
                  <a:pt x="3161" y="5943"/>
                </a:lnTo>
                <a:lnTo>
                  <a:pt x="3171" y="5917"/>
                </a:lnTo>
                <a:lnTo>
                  <a:pt x="3196" y="5901"/>
                </a:lnTo>
                <a:lnTo>
                  <a:pt x="3239" y="5895"/>
                </a:lnTo>
                <a:lnTo>
                  <a:pt x="3212" y="5911"/>
                </a:lnTo>
                <a:lnTo>
                  <a:pt x="3190" y="5933"/>
                </a:lnTo>
                <a:lnTo>
                  <a:pt x="3171" y="5959"/>
                </a:lnTo>
                <a:lnTo>
                  <a:pt x="3157" y="5988"/>
                </a:lnTo>
                <a:close/>
                <a:moveTo>
                  <a:pt x="3266" y="4985"/>
                </a:moveTo>
                <a:lnTo>
                  <a:pt x="3294" y="5010"/>
                </a:lnTo>
                <a:lnTo>
                  <a:pt x="3323" y="5041"/>
                </a:lnTo>
                <a:lnTo>
                  <a:pt x="3334" y="5066"/>
                </a:lnTo>
                <a:lnTo>
                  <a:pt x="3306" y="5080"/>
                </a:lnTo>
                <a:lnTo>
                  <a:pt x="3306" y="5050"/>
                </a:lnTo>
                <a:lnTo>
                  <a:pt x="3289" y="5028"/>
                </a:lnTo>
                <a:lnTo>
                  <a:pt x="3271" y="5009"/>
                </a:lnTo>
                <a:lnTo>
                  <a:pt x="3266" y="4985"/>
                </a:lnTo>
                <a:close/>
                <a:moveTo>
                  <a:pt x="6820" y="3844"/>
                </a:moveTo>
                <a:lnTo>
                  <a:pt x="6826" y="3856"/>
                </a:lnTo>
                <a:lnTo>
                  <a:pt x="6837" y="3866"/>
                </a:lnTo>
                <a:lnTo>
                  <a:pt x="6848" y="3875"/>
                </a:lnTo>
                <a:lnTo>
                  <a:pt x="6862" y="3881"/>
                </a:lnTo>
                <a:lnTo>
                  <a:pt x="6840" y="3880"/>
                </a:lnTo>
                <a:lnTo>
                  <a:pt x="6822" y="3875"/>
                </a:lnTo>
                <a:lnTo>
                  <a:pt x="6814" y="3865"/>
                </a:lnTo>
                <a:lnTo>
                  <a:pt x="6820" y="3844"/>
                </a:lnTo>
                <a:close/>
                <a:moveTo>
                  <a:pt x="10579" y="3916"/>
                </a:moveTo>
                <a:lnTo>
                  <a:pt x="10578" y="3910"/>
                </a:lnTo>
                <a:lnTo>
                  <a:pt x="10577" y="3905"/>
                </a:lnTo>
                <a:lnTo>
                  <a:pt x="10581" y="3908"/>
                </a:lnTo>
                <a:lnTo>
                  <a:pt x="10582" y="3909"/>
                </a:lnTo>
                <a:lnTo>
                  <a:pt x="10581" y="3912"/>
                </a:lnTo>
                <a:lnTo>
                  <a:pt x="10579" y="3916"/>
                </a:lnTo>
                <a:close/>
                <a:moveTo>
                  <a:pt x="14293" y="5443"/>
                </a:moveTo>
                <a:lnTo>
                  <a:pt x="14306" y="5461"/>
                </a:lnTo>
                <a:lnTo>
                  <a:pt x="14304" y="5477"/>
                </a:lnTo>
                <a:lnTo>
                  <a:pt x="14292" y="5490"/>
                </a:lnTo>
                <a:lnTo>
                  <a:pt x="14271" y="5495"/>
                </a:lnTo>
                <a:lnTo>
                  <a:pt x="14253" y="5476"/>
                </a:lnTo>
                <a:lnTo>
                  <a:pt x="14257" y="5454"/>
                </a:lnTo>
                <a:lnTo>
                  <a:pt x="14272" y="5442"/>
                </a:lnTo>
                <a:lnTo>
                  <a:pt x="14293" y="5443"/>
                </a:lnTo>
                <a:close/>
                <a:moveTo>
                  <a:pt x="16990" y="5415"/>
                </a:moveTo>
                <a:lnTo>
                  <a:pt x="16986" y="5419"/>
                </a:lnTo>
                <a:lnTo>
                  <a:pt x="16985" y="5415"/>
                </a:lnTo>
                <a:lnTo>
                  <a:pt x="16986" y="5410"/>
                </a:lnTo>
                <a:lnTo>
                  <a:pt x="16990" y="5409"/>
                </a:lnTo>
                <a:lnTo>
                  <a:pt x="16990" y="5412"/>
                </a:lnTo>
                <a:lnTo>
                  <a:pt x="16990" y="5415"/>
                </a:lnTo>
                <a:close/>
                <a:moveTo>
                  <a:pt x="17860" y="5531"/>
                </a:moveTo>
                <a:lnTo>
                  <a:pt x="17862" y="5530"/>
                </a:lnTo>
                <a:lnTo>
                  <a:pt x="17864" y="5527"/>
                </a:lnTo>
                <a:lnTo>
                  <a:pt x="17865" y="5527"/>
                </a:lnTo>
                <a:lnTo>
                  <a:pt x="17866" y="5530"/>
                </a:lnTo>
                <a:lnTo>
                  <a:pt x="17865" y="5532"/>
                </a:lnTo>
                <a:lnTo>
                  <a:pt x="17861" y="5533"/>
                </a:lnTo>
                <a:lnTo>
                  <a:pt x="17859" y="5533"/>
                </a:lnTo>
                <a:lnTo>
                  <a:pt x="17860" y="5531"/>
                </a:lnTo>
                <a:close/>
                <a:moveTo>
                  <a:pt x="17908" y="5650"/>
                </a:moveTo>
                <a:lnTo>
                  <a:pt x="17911" y="5649"/>
                </a:lnTo>
                <a:lnTo>
                  <a:pt x="17911" y="5647"/>
                </a:lnTo>
                <a:lnTo>
                  <a:pt x="17912" y="5645"/>
                </a:lnTo>
                <a:lnTo>
                  <a:pt x="17915" y="5648"/>
                </a:lnTo>
                <a:lnTo>
                  <a:pt x="17913" y="5650"/>
                </a:lnTo>
                <a:lnTo>
                  <a:pt x="17911" y="5653"/>
                </a:lnTo>
                <a:lnTo>
                  <a:pt x="17908" y="5653"/>
                </a:lnTo>
                <a:lnTo>
                  <a:pt x="17908" y="5650"/>
                </a:lnTo>
                <a:close/>
                <a:moveTo>
                  <a:pt x="17799" y="6830"/>
                </a:moveTo>
                <a:lnTo>
                  <a:pt x="17761" y="6866"/>
                </a:lnTo>
                <a:lnTo>
                  <a:pt x="17736" y="6858"/>
                </a:lnTo>
                <a:lnTo>
                  <a:pt x="17735" y="6829"/>
                </a:lnTo>
                <a:lnTo>
                  <a:pt x="17761" y="6805"/>
                </a:lnTo>
                <a:lnTo>
                  <a:pt x="17775" y="6794"/>
                </a:lnTo>
                <a:lnTo>
                  <a:pt x="17789" y="6800"/>
                </a:lnTo>
                <a:lnTo>
                  <a:pt x="17800" y="6816"/>
                </a:lnTo>
                <a:lnTo>
                  <a:pt x="17799" y="6830"/>
                </a:lnTo>
                <a:close/>
                <a:moveTo>
                  <a:pt x="18825" y="7238"/>
                </a:moveTo>
                <a:lnTo>
                  <a:pt x="18866" y="7384"/>
                </a:lnTo>
                <a:lnTo>
                  <a:pt x="18795" y="7426"/>
                </a:lnTo>
                <a:lnTo>
                  <a:pt x="18732" y="7377"/>
                </a:lnTo>
                <a:lnTo>
                  <a:pt x="18805" y="7252"/>
                </a:lnTo>
                <a:lnTo>
                  <a:pt x="18749" y="7254"/>
                </a:lnTo>
                <a:lnTo>
                  <a:pt x="18727" y="7223"/>
                </a:lnTo>
                <a:lnTo>
                  <a:pt x="18707" y="7195"/>
                </a:lnTo>
                <a:lnTo>
                  <a:pt x="18656" y="7209"/>
                </a:lnTo>
                <a:lnTo>
                  <a:pt x="18616" y="7163"/>
                </a:lnTo>
                <a:lnTo>
                  <a:pt x="18600" y="7118"/>
                </a:lnTo>
                <a:lnTo>
                  <a:pt x="18627" y="7075"/>
                </a:lnTo>
                <a:lnTo>
                  <a:pt x="18717" y="7035"/>
                </a:lnTo>
                <a:lnTo>
                  <a:pt x="18731" y="7007"/>
                </a:lnTo>
                <a:lnTo>
                  <a:pt x="18739" y="6967"/>
                </a:lnTo>
                <a:lnTo>
                  <a:pt x="18748" y="6939"/>
                </a:lnTo>
                <a:lnTo>
                  <a:pt x="18764" y="6949"/>
                </a:lnTo>
                <a:lnTo>
                  <a:pt x="18769" y="6886"/>
                </a:lnTo>
                <a:lnTo>
                  <a:pt x="18750" y="6906"/>
                </a:lnTo>
                <a:lnTo>
                  <a:pt x="18727" y="6936"/>
                </a:lnTo>
                <a:lnTo>
                  <a:pt x="18720" y="6908"/>
                </a:lnTo>
                <a:lnTo>
                  <a:pt x="18634" y="6990"/>
                </a:lnTo>
                <a:lnTo>
                  <a:pt x="18536" y="7052"/>
                </a:lnTo>
                <a:lnTo>
                  <a:pt x="18466" y="7047"/>
                </a:lnTo>
                <a:lnTo>
                  <a:pt x="18467" y="6930"/>
                </a:lnTo>
                <a:lnTo>
                  <a:pt x="18438" y="7000"/>
                </a:lnTo>
                <a:lnTo>
                  <a:pt x="18409" y="7046"/>
                </a:lnTo>
                <a:lnTo>
                  <a:pt x="18363" y="7058"/>
                </a:lnTo>
                <a:lnTo>
                  <a:pt x="18281" y="7034"/>
                </a:lnTo>
                <a:lnTo>
                  <a:pt x="18262" y="6969"/>
                </a:lnTo>
                <a:lnTo>
                  <a:pt x="18186" y="6909"/>
                </a:lnTo>
                <a:lnTo>
                  <a:pt x="18131" y="6841"/>
                </a:lnTo>
                <a:lnTo>
                  <a:pt x="18176" y="6753"/>
                </a:lnTo>
                <a:lnTo>
                  <a:pt x="18125" y="6759"/>
                </a:lnTo>
                <a:lnTo>
                  <a:pt x="18121" y="6688"/>
                </a:lnTo>
                <a:lnTo>
                  <a:pt x="18118" y="6627"/>
                </a:lnTo>
                <a:lnTo>
                  <a:pt x="18075" y="6666"/>
                </a:lnTo>
                <a:lnTo>
                  <a:pt x="18023" y="6675"/>
                </a:lnTo>
                <a:lnTo>
                  <a:pt x="18005" y="6673"/>
                </a:lnTo>
                <a:lnTo>
                  <a:pt x="18010" y="6651"/>
                </a:lnTo>
                <a:lnTo>
                  <a:pt x="18027" y="6609"/>
                </a:lnTo>
                <a:lnTo>
                  <a:pt x="18001" y="6580"/>
                </a:lnTo>
                <a:lnTo>
                  <a:pt x="17977" y="6638"/>
                </a:lnTo>
                <a:lnTo>
                  <a:pt x="17952" y="6701"/>
                </a:lnTo>
                <a:lnTo>
                  <a:pt x="17919" y="6682"/>
                </a:lnTo>
                <a:lnTo>
                  <a:pt x="17875" y="6682"/>
                </a:lnTo>
                <a:lnTo>
                  <a:pt x="17861" y="6708"/>
                </a:lnTo>
                <a:lnTo>
                  <a:pt x="17840" y="6741"/>
                </a:lnTo>
                <a:lnTo>
                  <a:pt x="17778" y="6762"/>
                </a:lnTo>
                <a:lnTo>
                  <a:pt x="17635" y="6792"/>
                </a:lnTo>
                <a:lnTo>
                  <a:pt x="17606" y="6917"/>
                </a:lnTo>
                <a:lnTo>
                  <a:pt x="17637" y="7007"/>
                </a:lnTo>
                <a:lnTo>
                  <a:pt x="17671" y="6932"/>
                </a:lnTo>
                <a:lnTo>
                  <a:pt x="17702" y="6903"/>
                </a:lnTo>
                <a:lnTo>
                  <a:pt x="17753" y="6884"/>
                </a:lnTo>
                <a:lnTo>
                  <a:pt x="17805" y="6889"/>
                </a:lnTo>
                <a:lnTo>
                  <a:pt x="17838" y="6934"/>
                </a:lnTo>
                <a:lnTo>
                  <a:pt x="17902" y="6912"/>
                </a:lnTo>
                <a:lnTo>
                  <a:pt x="17966" y="6819"/>
                </a:lnTo>
                <a:lnTo>
                  <a:pt x="18023" y="6736"/>
                </a:lnTo>
                <a:lnTo>
                  <a:pt x="18065" y="6739"/>
                </a:lnTo>
                <a:lnTo>
                  <a:pt x="18051" y="6776"/>
                </a:lnTo>
                <a:lnTo>
                  <a:pt x="18068" y="6801"/>
                </a:lnTo>
                <a:lnTo>
                  <a:pt x="18096" y="6819"/>
                </a:lnTo>
                <a:lnTo>
                  <a:pt x="18116" y="6836"/>
                </a:lnTo>
                <a:lnTo>
                  <a:pt x="18082" y="6900"/>
                </a:lnTo>
                <a:lnTo>
                  <a:pt x="18017" y="6908"/>
                </a:lnTo>
                <a:lnTo>
                  <a:pt x="17972" y="6916"/>
                </a:lnTo>
                <a:lnTo>
                  <a:pt x="17997" y="6978"/>
                </a:lnTo>
                <a:lnTo>
                  <a:pt x="17966" y="7079"/>
                </a:lnTo>
                <a:lnTo>
                  <a:pt x="17869" y="7058"/>
                </a:lnTo>
                <a:lnTo>
                  <a:pt x="17752" y="7037"/>
                </a:lnTo>
                <a:lnTo>
                  <a:pt x="17660" y="7131"/>
                </a:lnTo>
                <a:lnTo>
                  <a:pt x="17697" y="7191"/>
                </a:lnTo>
                <a:lnTo>
                  <a:pt x="17689" y="7275"/>
                </a:lnTo>
                <a:lnTo>
                  <a:pt x="17650" y="7331"/>
                </a:lnTo>
                <a:lnTo>
                  <a:pt x="17595" y="7301"/>
                </a:lnTo>
                <a:lnTo>
                  <a:pt x="17606" y="7270"/>
                </a:lnTo>
                <a:lnTo>
                  <a:pt x="17612" y="7253"/>
                </a:lnTo>
                <a:lnTo>
                  <a:pt x="17605" y="7239"/>
                </a:lnTo>
                <a:lnTo>
                  <a:pt x="17580" y="7216"/>
                </a:lnTo>
                <a:lnTo>
                  <a:pt x="17508" y="7195"/>
                </a:lnTo>
                <a:lnTo>
                  <a:pt x="17507" y="7149"/>
                </a:lnTo>
                <a:lnTo>
                  <a:pt x="17517" y="7112"/>
                </a:lnTo>
                <a:lnTo>
                  <a:pt x="17475" y="7117"/>
                </a:lnTo>
                <a:lnTo>
                  <a:pt x="17379" y="7161"/>
                </a:lnTo>
                <a:lnTo>
                  <a:pt x="17330" y="7122"/>
                </a:lnTo>
                <a:lnTo>
                  <a:pt x="17347" y="7055"/>
                </a:lnTo>
                <a:lnTo>
                  <a:pt x="17447" y="7016"/>
                </a:lnTo>
                <a:lnTo>
                  <a:pt x="17475" y="6983"/>
                </a:lnTo>
                <a:lnTo>
                  <a:pt x="17483" y="6941"/>
                </a:lnTo>
                <a:lnTo>
                  <a:pt x="17468" y="6908"/>
                </a:lnTo>
                <a:lnTo>
                  <a:pt x="17429" y="6899"/>
                </a:lnTo>
                <a:lnTo>
                  <a:pt x="17349" y="6853"/>
                </a:lnTo>
                <a:lnTo>
                  <a:pt x="17365" y="6773"/>
                </a:lnTo>
                <a:lnTo>
                  <a:pt x="17429" y="6716"/>
                </a:lnTo>
                <a:lnTo>
                  <a:pt x="17502" y="6741"/>
                </a:lnTo>
                <a:lnTo>
                  <a:pt x="17530" y="6704"/>
                </a:lnTo>
                <a:lnTo>
                  <a:pt x="17566" y="6717"/>
                </a:lnTo>
                <a:lnTo>
                  <a:pt x="17600" y="6729"/>
                </a:lnTo>
                <a:lnTo>
                  <a:pt x="17622" y="6683"/>
                </a:lnTo>
                <a:lnTo>
                  <a:pt x="17719" y="6586"/>
                </a:lnTo>
                <a:lnTo>
                  <a:pt x="17883" y="6544"/>
                </a:lnTo>
                <a:lnTo>
                  <a:pt x="18004" y="6477"/>
                </a:lnTo>
                <a:lnTo>
                  <a:pt x="17969" y="6302"/>
                </a:lnTo>
                <a:lnTo>
                  <a:pt x="17940" y="6311"/>
                </a:lnTo>
                <a:lnTo>
                  <a:pt x="17911" y="6312"/>
                </a:lnTo>
                <a:lnTo>
                  <a:pt x="17889" y="6302"/>
                </a:lnTo>
                <a:lnTo>
                  <a:pt x="17879" y="6275"/>
                </a:lnTo>
                <a:lnTo>
                  <a:pt x="17837" y="6160"/>
                </a:lnTo>
                <a:lnTo>
                  <a:pt x="17892" y="6097"/>
                </a:lnTo>
                <a:lnTo>
                  <a:pt x="17969" y="6064"/>
                </a:lnTo>
                <a:lnTo>
                  <a:pt x="17994" y="6034"/>
                </a:lnTo>
                <a:lnTo>
                  <a:pt x="17994" y="6016"/>
                </a:lnTo>
                <a:lnTo>
                  <a:pt x="17994" y="6018"/>
                </a:lnTo>
                <a:lnTo>
                  <a:pt x="17991" y="6030"/>
                </a:lnTo>
                <a:lnTo>
                  <a:pt x="17985" y="6041"/>
                </a:lnTo>
                <a:lnTo>
                  <a:pt x="17847" y="5993"/>
                </a:lnTo>
                <a:lnTo>
                  <a:pt x="17727" y="5933"/>
                </a:lnTo>
                <a:lnTo>
                  <a:pt x="17693" y="5843"/>
                </a:lnTo>
                <a:lnTo>
                  <a:pt x="17812" y="5704"/>
                </a:lnTo>
                <a:lnTo>
                  <a:pt x="17773" y="5684"/>
                </a:lnTo>
                <a:lnTo>
                  <a:pt x="17755" y="5648"/>
                </a:lnTo>
                <a:lnTo>
                  <a:pt x="17764" y="5626"/>
                </a:lnTo>
                <a:lnTo>
                  <a:pt x="17806" y="5644"/>
                </a:lnTo>
                <a:lnTo>
                  <a:pt x="17925" y="5726"/>
                </a:lnTo>
                <a:lnTo>
                  <a:pt x="17935" y="5685"/>
                </a:lnTo>
                <a:lnTo>
                  <a:pt x="17936" y="5621"/>
                </a:lnTo>
                <a:lnTo>
                  <a:pt x="18024" y="5630"/>
                </a:lnTo>
                <a:lnTo>
                  <a:pt x="17987" y="5514"/>
                </a:lnTo>
                <a:lnTo>
                  <a:pt x="17953" y="5510"/>
                </a:lnTo>
                <a:lnTo>
                  <a:pt x="17922" y="5545"/>
                </a:lnTo>
                <a:lnTo>
                  <a:pt x="17899" y="5537"/>
                </a:lnTo>
                <a:lnTo>
                  <a:pt x="17868" y="5350"/>
                </a:lnTo>
                <a:lnTo>
                  <a:pt x="17832" y="5285"/>
                </a:lnTo>
                <a:lnTo>
                  <a:pt x="17810" y="5351"/>
                </a:lnTo>
                <a:lnTo>
                  <a:pt x="17818" y="5554"/>
                </a:lnTo>
                <a:lnTo>
                  <a:pt x="17719" y="5625"/>
                </a:lnTo>
                <a:lnTo>
                  <a:pt x="17591" y="5696"/>
                </a:lnTo>
                <a:lnTo>
                  <a:pt x="17514" y="5713"/>
                </a:lnTo>
                <a:lnTo>
                  <a:pt x="17568" y="5626"/>
                </a:lnTo>
                <a:lnTo>
                  <a:pt x="17544" y="5625"/>
                </a:lnTo>
                <a:lnTo>
                  <a:pt x="17545" y="5611"/>
                </a:lnTo>
                <a:lnTo>
                  <a:pt x="17559" y="5601"/>
                </a:lnTo>
                <a:lnTo>
                  <a:pt x="17570" y="5614"/>
                </a:lnTo>
                <a:lnTo>
                  <a:pt x="17580" y="5593"/>
                </a:lnTo>
                <a:lnTo>
                  <a:pt x="17558" y="5546"/>
                </a:lnTo>
                <a:lnTo>
                  <a:pt x="17536" y="5493"/>
                </a:lnTo>
                <a:lnTo>
                  <a:pt x="17550" y="5451"/>
                </a:lnTo>
                <a:lnTo>
                  <a:pt x="17567" y="5428"/>
                </a:lnTo>
                <a:lnTo>
                  <a:pt x="17584" y="5400"/>
                </a:lnTo>
                <a:lnTo>
                  <a:pt x="17596" y="5383"/>
                </a:lnTo>
                <a:lnTo>
                  <a:pt x="17603" y="5396"/>
                </a:lnTo>
                <a:lnTo>
                  <a:pt x="17641" y="5381"/>
                </a:lnTo>
                <a:lnTo>
                  <a:pt x="17671" y="5355"/>
                </a:lnTo>
                <a:lnTo>
                  <a:pt x="17694" y="5346"/>
                </a:lnTo>
                <a:lnTo>
                  <a:pt x="17706" y="5378"/>
                </a:lnTo>
                <a:lnTo>
                  <a:pt x="17747" y="5381"/>
                </a:lnTo>
                <a:lnTo>
                  <a:pt x="17735" y="5344"/>
                </a:lnTo>
                <a:lnTo>
                  <a:pt x="17712" y="5286"/>
                </a:lnTo>
                <a:lnTo>
                  <a:pt x="17721" y="5228"/>
                </a:lnTo>
                <a:lnTo>
                  <a:pt x="17712" y="5183"/>
                </a:lnTo>
                <a:lnTo>
                  <a:pt x="17698" y="5197"/>
                </a:lnTo>
                <a:lnTo>
                  <a:pt x="17684" y="5246"/>
                </a:lnTo>
                <a:lnTo>
                  <a:pt x="17678" y="5302"/>
                </a:lnTo>
                <a:lnTo>
                  <a:pt x="17646" y="5344"/>
                </a:lnTo>
                <a:lnTo>
                  <a:pt x="17637" y="5321"/>
                </a:lnTo>
                <a:lnTo>
                  <a:pt x="17618" y="5292"/>
                </a:lnTo>
                <a:lnTo>
                  <a:pt x="17548" y="5311"/>
                </a:lnTo>
                <a:lnTo>
                  <a:pt x="17543" y="5332"/>
                </a:lnTo>
                <a:lnTo>
                  <a:pt x="17522" y="5367"/>
                </a:lnTo>
                <a:lnTo>
                  <a:pt x="17506" y="5377"/>
                </a:lnTo>
                <a:lnTo>
                  <a:pt x="17512" y="5328"/>
                </a:lnTo>
                <a:lnTo>
                  <a:pt x="17503" y="5337"/>
                </a:lnTo>
                <a:lnTo>
                  <a:pt x="17496" y="5336"/>
                </a:lnTo>
                <a:lnTo>
                  <a:pt x="17491" y="5327"/>
                </a:lnTo>
                <a:lnTo>
                  <a:pt x="17493" y="5316"/>
                </a:lnTo>
                <a:lnTo>
                  <a:pt x="17478" y="5307"/>
                </a:lnTo>
                <a:lnTo>
                  <a:pt x="17449" y="5308"/>
                </a:lnTo>
                <a:lnTo>
                  <a:pt x="17423" y="5308"/>
                </a:lnTo>
                <a:lnTo>
                  <a:pt x="17418" y="5290"/>
                </a:lnTo>
                <a:lnTo>
                  <a:pt x="17433" y="5330"/>
                </a:lnTo>
                <a:lnTo>
                  <a:pt x="17465" y="5378"/>
                </a:lnTo>
                <a:lnTo>
                  <a:pt x="17454" y="5398"/>
                </a:lnTo>
                <a:lnTo>
                  <a:pt x="17342" y="5351"/>
                </a:lnTo>
                <a:lnTo>
                  <a:pt x="17314" y="5391"/>
                </a:lnTo>
                <a:lnTo>
                  <a:pt x="17311" y="5444"/>
                </a:lnTo>
                <a:lnTo>
                  <a:pt x="17303" y="5490"/>
                </a:lnTo>
                <a:lnTo>
                  <a:pt x="17260" y="5505"/>
                </a:lnTo>
                <a:lnTo>
                  <a:pt x="17246" y="5466"/>
                </a:lnTo>
                <a:lnTo>
                  <a:pt x="17263" y="5440"/>
                </a:lnTo>
                <a:lnTo>
                  <a:pt x="17261" y="5434"/>
                </a:lnTo>
                <a:lnTo>
                  <a:pt x="17200" y="5448"/>
                </a:lnTo>
                <a:lnTo>
                  <a:pt x="17198" y="5453"/>
                </a:lnTo>
                <a:lnTo>
                  <a:pt x="17195" y="5453"/>
                </a:lnTo>
                <a:lnTo>
                  <a:pt x="17193" y="5457"/>
                </a:lnTo>
                <a:lnTo>
                  <a:pt x="17194" y="5467"/>
                </a:lnTo>
                <a:lnTo>
                  <a:pt x="17159" y="5449"/>
                </a:lnTo>
                <a:lnTo>
                  <a:pt x="17157" y="5463"/>
                </a:lnTo>
                <a:lnTo>
                  <a:pt x="17148" y="5482"/>
                </a:lnTo>
                <a:lnTo>
                  <a:pt x="17100" y="5479"/>
                </a:lnTo>
                <a:lnTo>
                  <a:pt x="17103" y="5449"/>
                </a:lnTo>
                <a:lnTo>
                  <a:pt x="17095" y="5419"/>
                </a:lnTo>
                <a:lnTo>
                  <a:pt x="17083" y="5400"/>
                </a:lnTo>
                <a:lnTo>
                  <a:pt x="17074" y="5405"/>
                </a:lnTo>
                <a:lnTo>
                  <a:pt x="17022" y="5404"/>
                </a:lnTo>
                <a:lnTo>
                  <a:pt x="17035" y="5340"/>
                </a:lnTo>
                <a:lnTo>
                  <a:pt x="17054" y="5272"/>
                </a:lnTo>
                <a:lnTo>
                  <a:pt x="17017" y="5260"/>
                </a:lnTo>
                <a:lnTo>
                  <a:pt x="17016" y="5281"/>
                </a:lnTo>
                <a:lnTo>
                  <a:pt x="17007" y="5292"/>
                </a:lnTo>
                <a:lnTo>
                  <a:pt x="17003" y="5297"/>
                </a:lnTo>
                <a:lnTo>
                  <a:pt x="17016" y="5302"/>
                </a:lnTo>
                <a:lnTo>
                  <a:pt x="17030" y="5311"/>
                </a:lnTo>
                <a:lnTo>
                  <a:pt x="17035" y="5328"/>
                </a:lnTo>
                <a:lnTo>
                  <a:pt x="17031" y="5342"/>
                </a:lnTo>
                <a:lnTo>
                  <a:pt x="17021" y="5335"/>
                </a:lnTo>
                <a:lnTo>
                  <a:pt x="17023" y="5325"/>
                </a:lnTo>
                <a:lnTo>
                  <a:pt x="17017" y="5334"/>
                </a:lnTo>
                <a:lnTo>
                  <a:pt x="17008" y="5351"/>
                </a:lnTo>
                <a:lnTo>
                  <a:pt x="17004" y="5364"/>
                </a:lnTo>
                <a:lnTo>
                  <a:pt x="16971" y="5370"/>
                </a:lnTo>
                <a:lnTo>
                  <a:pt x="16956" y="5372"/>
                </a:lnTo>
                <a:lnTo>
                  <a:pt x="16957" y="5378"/>
                </a:lnTo>
                <a:lnTo>
                  <a:pt x="16977" y="5404"/>
                </a:lnTo>
                <a:lnTo>
                  <a:pt x="16984" y="5524"/>
                </a:lnTo>
                <a:lnTo>
                  <a:pt x="16833" y="5563"/>
                </a:lnTo>
                <a:lnTo>
                  <a:pt x="16729" y="5490"/>
                </a:lnTo>
                <a:lnTo>
                  <a:pt x="16872" y="5278"/>
                </a:lnTo>
                <a:lnTo>
                  <a:pt x="16934" y="5289"/>
                </a:lnTo>
                <a:lnTo>
                  <a:pt x="16956" y="5278"/>
                </a:lnTo>
                <a:lnTo>
                  <a:pt x="16947" y="5238"/>
                </a:lnTo>
                <a:lnTo>
                  <a:pt x="16919" y="5167"/>
                </a:lnTo>
                <a:lnTo>
                  <a:pt x="16856" y="5174"/>
                </a:lnTo>
                <a:lnTo>
                  <a:pt x="16833" y="5191"/>
                </a:lnTo>
                <a:lnTo>
                  <a:pt x="16837" y="5223"/>
                </a:lnTo>
                <a:lnTo>
                  <a:pt x="16859" y="5270"/>
                </a:lnTo>
                <a:lnTo>
                  <a:pt x="16811" y="5262"/>
                </a:lnTo>
                <a:lnTo>
                  <a:pt x="16786" y="5256"/>
                </a:lnTo>
                <a:lnTo>
                  <a:pt x="16763" y="5264"/>
                </a:lnTo>
                <a:lnTo>
                  <a:pt x="16724" y="5298"/>
                </a:lnTo>
                <a:lnTo>
                  <a:pt x="16693" y="5350"/>
                </a:lnTo>
                <a:lnTo>
                  <a:pt x="16659" y="5323"/>
                </a:lnTo>
                <a:lnTo>
                  <a:pt x="16654" y="5278"/>
                </a:lnTo>
                <a:lnTo>
                  <a:pt x="16711" y="5271"/>
                </a:lnTo>
                <a:lnTo>
                  <a:pt x="16721" y="5253"/>
                </a:lnTo>
                <a:lnTo>
                  <a:pt x="16684" y="5252"/>
                </a:lnTo>
                <a:lnTo>
                  <a:pt x="16635" y="5256"/>
                </a:lnTo>
                <a:lnTo>
                  <a:pt x="16607" y="5256"/>
                </a:lnTo>
                <a:lnTo>
                  <a:pt x="16572" y="5145"/>
                </a:lnTo>
                <a:lnTo>
                  <a:pt x="16553" y="5172"/>
                </a:lnTo>
                <a:lnTo>
                  <a:pt x="16521" y="5204"/>
                </a:lnTo>
                <a:lnTo>
                  <a:pt x="16446" y="5107"/>
                </a:lnTo>
                <a:lnTo>
                  <a:pt x="16471" y="5073"/>
                </a:lnTo>
                <a:lnTo>
                  <a:pt x="16474" y="5038"/>
                </a:lnTo>
                <a:lnTo>
                  <a:pt x="16453" y="5017"/>
                </a:lnTo>
                <a:lnTo>
                  <a:pt x="16407" y="5018"/>
                </a:lnTo>
                <a:lnTo>
                  <a:pt x="16414" y="5066"/>
                </a:lnTo>
                <a:lnTo>
                  <a:pt x="16383" y="5121"/>
                </a:lnTo>
                <a:lnTo>
                  <a:pt x="16333" y="5145"/>
                </a:lnTo>
                <a:lnTo>
                  <a:pt x="16285" y="5104"/>
                </a:lnTo>
                <a:lnTo>
                  <a:pt x="16302" y="5020"/>
                </a:lnTo>
                <a:lnTo>
                  <a:pt x="16234" y="5075"/>
                </a:lnTo>
                <a:lnTo>
                  <a:pt x="16145" y="5136"/>
                </a:lnTo>
                <a:lnTo>
                  <a:pt x="16095" y="5071"/>
                </a:lnTo>
                <a:lnTo>
                  <a:pt x="16046" y="5116"/>
                </a:lnTo>
                <a:lnTo>
                  <a:pt x="16015" y="5172"/>
                </a:lnTo>
                <a:lnTo>
                  <a:pt x="15985" y="5224"/>
                </a:lnTo>
                <a:lnTo>
                  <a:pt x="15950" y="5255"/>
                </a:lnTo>
                <a:lnTo>
                  <a:pt x="15905" y="5239"/>
                </a:lnTo>
                <a:lnTo>
                  <a:pt x="15904" y="5211"/>
                </a:lnTo>
                <a:lnTo>
                  <a:pt x="15897" y="5186"/>
                </a:lnTo>
                <a:lnTo>
                  <a:pt x="15835" y="5174"/>
                </a:lnTo>
                <a:lnTo>
                  <a:pt x="15761" y="5138"/>
                </a:lnTo>
                <a:lnTo>
                  <a:pt x="15752" y="5150"/>
                </a:lnTo>
                <a:lnTo>
                  <a:pt x="15760" y="5191"/>
                </a:lnTo>
                <a:lnTo>
                  <a:pt x="15740" y="5230"/>
                </a:lnTo>
                <a:lnTo>
                  <a:pt x="15714" y="5244"/>
                </a:lnTo>
                <a:lnTo>
                  <a:pt x="15687" y="5242"/>
                </a:lnTo>
                <a:lnTo>
                  <a:pt x="15673" y="5227"/>
                </a:lnTo>
                <a:lnTo>
                  <a:pt x="15682" y="5202"/>
                </a:lnTo>
                <a:lnTo>
                  <a:pt x="15675" y="5239"/>
                </a:lnTo>
                <a:lnTo>
                  <a:pt x="15680" y="5297"/>
                </a:lnTo>
                <a:lnTo>
                  <a:pt x="15678" y="5363"/>
                </a:lnTo>
                <a:lnTo>
                  <a:pt x="15654" y="5423"/>
                </a:lnTo>
                <a:lnTo>
                  <a:pt x="15746" y="5383"/>
                </a:lnTo>
                <a:lnTo>
                  <a:pt x="15804" y="5465"/>
                </a:lnTo>
                <a:lnTo>
                  <a:pt x="15807" y="5583"/>
                </a:lnTo>
                <a:lnTo>
                  <a:pt x="15731" y="5657"/>
                </a:lnTo>
                <a:lnTo>
                  <a:pt x="15654" y="5682"/>
                </a:lnTo>
                <a:lnTo>
                  <a:pt x="15597" y="5668"/>
                </a:lnTo>
                <a:lnTo>
                  <a:pt x="15574" y="5658"/>
                </a:lnTo>
                <a:lnTo>
                  <a:pt x="15602" y="5695"/>
                </a:lnTo>
                <a:lnTo>
                  <a:pt x="15589" y="5755"/>
                </a:lnTo>
                <a:lnTo>
                  <a:pt x="15537" y="5794"/>
                </a:lnTo>
                <a:lnTo>
                  <a:pt x="15505" y="5829"/>
                </a:lnTo>
                <a:lnTo>
                  <a:pt x="15555" y="5877"/>
                </a:lnTo>
                <a:lnTo>
                  <a:pt x="15533" y="5911"/>
                </a:lnTo>
                <a:lnTo>
                  <a:pt x="15518" y="5931"/>
                </a:lnTo>
                <a:lnTo>
                  <a:pt x="15522" y="5945"/>
                </a:lnTo>
                <a:lnTo>
                  <a:pt x="15563" y="5956"/>
                </a:lnTo>
                <a:lnTo>
                  <a:pt x="15554" y="6111"/>
                </a:lnTo>
                <a:lnTo>
                  <a:pt x="15393" y="6105"/>
                </a:lnTo>
                <a:lnTo>
                  <a:pt x="15229" y="6055"/>
                </a:lnTo>
                <a:lnTo>
                  <a:pt x="15206" y="6081"/>
                </a:lnTo>
                <a:lnTo>
                  <a:pt x="15251" y="6152"/>
                </a:lnTo>
                <a:lnTo>
                  <a:pt x="15273" y="6254"/>
                </a:lnTo>
                <a:lnTo>
                  <a:pt x="15256" y="6338"/>
                </a:lnTo>
                <a:lnTo>
                  <a:pt x="15175" y="6358"/>
                </a:lnTo>
                <a:lnTo>
                  <a:pt x="15200" y="6372"/>
                </a:lnTo>
                <a:lnTo>
                  <a:pt x="15201" y="6404"/>
                </a:lnTo>
                <a:lnTo>
                  <a:pt x="15189" y="6435"/>
                </a:lnTo>
                <a:lnTo>
                  <a:pt x="15173" y="6451"/>
                </a:lnTo>
                <a:lnTo>
                  <a:pt x="15107" y="6321"/>
                </a:lnTo>
                <a:lnTo>
                  <a:pt x="15029" y="6241"/>
                </a:lnTo>
                <a:lnTo>
                  <a:pt x="14995" y="6184"/>
                </a:lnTo>
                <a:lnTo>
                  <a:pt x="15057" y="6120"/>
                </a:lnTo>
                <a:lnTo>
                  <a:pt x="15017" y="6067"/>
                </a:lnTo>
                <a:lnTo>
                  <a:pt x="14989" y="6093"/>
                </a:lnTo>
                <a:lnTo>
                  <a:pt x="14970" y="6115"/>
                </a:lnTo>
                <a:lnTo>
                  <a:pt x="14955" y="6045"/>
                </a:lnTo>
                <a:lnTo>
                  <a:pt x="14949" y="5992"/>
                </a:lnTo>
                <a:lnTo>
                  <a:pt x="15014" y="5988"/>
                </a:lnTo>
                <a:lnTo>
                  <a:pt x="15089" y="5981"/>
                </a:lnTo>
                <a:lnTo>
                  <a:pt x="15113" y="5919"/>
                </a:lnTo>
                <a:lnTo>
                  <a:pt x="15065" y="5948"/>
                </a:lnTo>
                <a:lnTo>
                  <a:pt x="15037" y="5959"/>
                </a:lnTo>
                <a:lnTo>
                  <a:pt x="15015" y="5948"/>
                </a:lnTo>
                <a:lnTo>
                  <a:pt x="14984" y="5911"/>
                </a:lnTo>
                <a:lnTo>
                  <a:pt x="14982" y="5953"/>
                </a:lnTo>
                <a:lnTo>
                  <a:pt x="14960" y="5970"/>
                </a:lnTo>
                <a:lnTo>
                  <a:pt x="14937" y="5964"/>
                </a:lnTo>
                <a:lnTo>
                  <a:pt x="14925" y="5931"/>
                </a:lnTo>
                <a:lnTo>
                  <a:pt x="14898" y="5899"/>
                </a:lnTo>
                <a:lnTo>
                  <a:pt x="14868" y="5923"/>
                </a:lnTo>
                <a:lnTo>
                  <a:pt x="14858" y="5956"/>
                </a:lnTo>
                <a:lnTo>
                  <a:pt x="14893" y="5950"/>
                </a:lnTo>
                <a:lnTo>
                  <a:pt x="14907" y="5960"/>
                </a:lnTo>
                <a:lnTo>
                  <a:pt x="14917" y="5978"/>
                </a:lnTo>
                <a:lnTo>
                  <a:pt x="14917" y="5993"/>
                </a:lnTo>
                <a:lnTo>
                  <a:pt x="14902" y="5995"/>
                </a:lnTo>
                <a:lnTo>
                  <a:pt x="14891" y="5989"/>
                </a:lnTo>
                <a:lnTo>
                  <a:pt x="14889" y="5981"/>
                </a:lnTo>
                <a:lnTo>
                  <a:pt x="14888" y="5979"/>
                </a:lnTo>
                <a:lnTo>
                  <a:pt x="14880" y="5987"/>
                </a:lnTo>
                <a:lnTo>
                  <a:pt x="14835" y="6055"/>
                </a:lnTo>
                <a:lnTo>
                  <a:pt x="14795" y="6058"/>
                </a:lnTo>
                <a:lnTo>
                  <a:pt x="14747" y="6037"/>
                </a:lnTo>
                <a:lnTo>
                  <a:pt x="14686" y="6039"/>
                </a:lnTo>
                <a:lnTo>
                  <a:pt x="14676" y="5992"/>
                </a:lnTo>
                <a:lnTo>
                  <a:pt x="14711" y="5973"/>
                </a:lnTo>
                <a:lnTo>
                  <a:pt x="14736" y="5959"/>
                </a:lnTo>
                <a:lnTo>
                  <a:pt x="14699" y="5932"/>
                </a:lnTo>
                <a:lnTo>
                  <a:pt x="14646" y="5868"/>
                </a:lnTo>
                <a:lnTo>
                  <a:pt x="14685" y="5777"/>
                </a:lnTo>
                <a:lnTo>
                  <a:pt x="14719" y="5710"/>
                </a:lnTo>
                <a:lnTo>
                  <a:pt x="14649" y="5724"/>
                </a:lnTo>
                <a:lnTo>
                  <a:pt x="14618" y="5806"/>
                </a:lnTo>
                <a:lnTo>
                  <a:pt x="14623" y="5859"/>
                </a:lnTo>
                <a:lnTo>
                  <a:pt x="14623" y="5897"/>
                </a:lnTo>
                <a:lnTo>
                  <a:pt x="14577" y="5934"/>
                </a:lnTo>
                <a:lnTo>
                  <a:pt x="14419" y="5983"/>
                </a:lnTo>
                <a:lnTo>
                  <a:pt x="14336" y="5910"/>
                </a:lnTo>
                <a:lnTo>
                  <a:pt x="14326" y="5774"/>
                </a:lnTo>
                <a:lnTo>
                  <a:pt x="14382" y="5633"/>
                </a:lnTo>
                <a:lnTo>
                  <a:pt x="14329" y="5625"/>
                </a:lnTo>
                <a:lnTo>
                  <a:pt x="14275" y="5671"/>
                </a:lnTo>
                <a:lnTo>
                  <a:pt x="14232" y="5700"/>
                </a:lnTo>
                <a:lnTo>
                  <a:pt x="14211" y="5640"/>
                </a:lnTo>
                <a:lnTo>
                  <a:pt x="14211" y="5579"/>
                </a:lnTo>
                <a:lnTo>
                  <a:pt x="14256" y="5555"/>
                </a:lnTo>
                <a:lnTo>
                  <a:pt x="14317" y="5545"/>
                </a:lnTo>
                <a:lnTo>
                  <a:pt x="14367" y="5523"/>
                </a:lnTo>
                <a:lnTo>
                  <a:pt x="14359" y="5439"/>
                </a:lnTo>
                <a:lnTo>
                  <a:pt x="14390" y="5421"/>
                </a:lnTo>
                <a:lnTo>
                  <a:pt x="14409" y="5406"/>
                </a:lnTo>
                <a:lnTo>
                  <a:pt x="14368" y="5326"/>
                </a:lnTo>
                <a:lnTo>
                  <a:pt x="14313" y="5284"/>
                </a:lnTo>
                <a:lnTo>
                  <a:pt x="14274" y="5250"/>
                </a:lnTo>
                <a:lnTo>
                  <a:pt x="14230" y="5239"/>
                </a:lnTo>
                <a:lnTo>
                  <a:pt x="14164" y="5264"/>
                </a:lnTo>
                <a:lnTo>
                  <a:pt x="14168" y="5200"/>
                </a:lnTo>
                <a:lnTo>
                  <a:pt x="14233" y="5174"/>
                </a:lnTo>
                <a:lnTo>
                  <a:pt x="14326" y="5167"/>
                </a:lnTo>
                <a:lnTo>
                  <a:pt x="14414" y="5152"/>
                </a:lnTo>
                <a:lnTo>
                  <a:pt x="14306" y="5079"/>
                </a:lnTo>
                <a:lnTo>
                  <a:pt x="14132" y="5045"/>
                </a:lnTo>
                <a:lnTo>
                  <a:pt x="13941" y="5018"/>
                </a:lnTo>
                <a:lnTo>
                  <a:pt x="13775" y="4966"/>
                </a:lnTo>
                <a:lnTo>
                  <a:pt x="13769" y="5018"/>
                </a:lnTo>
                <a:lnTo>
                  <a:pt x="13729" y="5045"/>
                </a:lnTo>
                <a:lnTo>
                  <a:pt x="13678" y="5039"/>
                </a:lnTo>
                <a:lnTo>
                  <a:pt x="13645" y="5000"/>
                </a:lnTo>
                <a:lnTo>
                  <a:pt x="13571" y="5022"/>
                </a:lnTo>
                <a:lnTo>
                  <a:pt x="13569" y="4990"/>
                </a:lnTo>
                <a:lnTo>
                  <a:pt x="13600" y="4925"/>
                </a:lnTo>
                <a:lnTo>
                  <a:pt x="13619" y="4850"/>
                </a:lnTo>
                <a:lnTo>
                  <a:pt x="13664" y="4843"/>
                </a:lnTo>
                <a:lnTo>
                  <a:pt x="13701" y="4847"/>
                </a:lnTo>
                <a:lnTo>
                  <a:pt x="13736" y="4838"/>
                </a:lnTo>
                <a:lnTo>
                  <a:pt x="13772" y="4796"/>
                </a:lnTo>
                <a:lnTo>
                  <a:pt x="13789" y="4813"/>
                </a:lnTo>
                <a:lnTo>
                  <a:pt x="13797" y="4826"/>
                </a:lnTo>
                <a:lnTo>
                  <a:pt x="13791" y="4832"/>
                </a:lnTo>
                <a:lnTo>
                  <a:pt x="13766" y="4832"/>
                </a:lnTo>
                <a:lnTo>
                  <a:pt x="13752" y="4855"/>
                </a:lnTo>
                <a:lnTo>
                  <a:pt x="13775" y="4863"/>
                </a:lnTo>
                <a:lnTo>
                  <a:pt x="13809" y="4855"/>
                </a:lnTo>
                <a:lnTo>
                  <a:pt x="13828" y="4832"/>
                </a:lnTo>
                <a:lnTo>
                  <a:pt x="13885" y="4824"/>
                </a:lnTo>
                <a:lnTo>
                  <a:pt x="13934" y="4813"/>
                </a:lnTo>
                <a:lnTo>
                  <a:pt x="13950" y="4791"/>
                </a:lnTo>
                <a:lnTo>
                  <a:pt x="13907" y="4753"/>
                </a:lnTo>
                <a:lnTo>
                  <a:pt x="13953" y="4730"/>
                </a:lnTo>
                <a:lnTo>
                  <a:pt x="13972" y="4696"/>
                </a:lnTo>
                <a:lnTo>
                  <a:pt x="13963" y="4659"/>
                </a:lnTo>
                <a:lnTo>
                  <a:pt x="13927" y="4630"/>
                </a:lnTo>
                <a:lnTo>
                  <a:pt x="13925" y="4682"/>
                </a:lnTo>
                <a:lnTo>
                  <a:pt x="13879" y="4714"/>
                </a:lnTo>
                <a:lnTo>
                  <a:pt x="13819" y="4720"/>
                </a:lnTo>
                <a:lnTo>
                  <a:pt x="13772" y="4695"/>
                </a:lnTo>
                <a:lnTo>
                  <a:pt x="13752" y="4754"/>
                </a:lnTo>
                <a:lnTo>
                  <a:pt x="13725" y="4790"/>
                </a:lnTo>
                <a:lnTo>
                  <a:pt x="13689" y="4810"/>
                </a:lnTo>
                <a:lnTo>
                  <a:pt x="13634" y="4819"/>
                </a:lnTo>
                <a:lnTo>
                  <a:pt x="13716" y="4759"/>
                </a:lnTo>
                <a:lnTo>
                  <a:pt x="13754" y="4677"/>
                </a:lnTo>
                <a:lnTo>
                  <a:pt x="13738" y="4635"/>
                </a:lnTo>
                <a:lnTo>
                  <a:pt x="13656" y="4698"/>
                </a:lnTo>
                <a:lnTo>
                  <a:pt x="13687" y="4762"/>
                </a:lnTo>
                <a:lnTo>
                  <a:pt x="13640" y="4809"/>
                </a:lnTo>
                <a:lnTo>
                  <a:pt x="13568" y="4814"/>
                </a:lnTo>
                <a:lnTo>
                  <a:pt x="13529" y="4748"/>
                </a:lnTo>
                <a:lnTo>
                  <a:pt x="13483" y="4719"/>
                </a:lnTo>
                <a:lnTo>
                  <a:pt x="13413" y="4683"/>
                </a:lnTo>
                <a:lnTo>
                  <a:pt x="13352" y="4674"/>
                </a:lnTo>
                <a:lnTo>
                  <a:pt x="13338" y="4725"/>
                </a:lnTo>
                <a:lnTo>
                  <a:pt x="13349" y="4761"/>
                </a:lnTo>
                <a:lnTo>
                  <a:pt x="13325" y="4785"/>
                </a:lnTo>
                <a:lnTo>
                  <a:pt x="13300" y="4807"/>
                </a:lnTo>
                <a:lnTo>
                  <a:pt x="13307" y="4836"/>
                </a:lnTo>
                <a:lnTo>
                  <a:pt x="13358" y="4784"/>
                </a:lnTo>
                <a:lnTo>
                  <a:pt x="13410" y="4809"/>
                </a:lnTo>
                <a:lnTo>
                  <a:pt x="13427" y="4868"/>
                </a:lnTo>
                <a:lnTo>
                  <a:pt x="13367" y="4910"/>
                </a:lnTo>
                <a:lnTo>
                  <a:pt x="13326" y="4894"/>
                </a:lnTo>
                <a:lnTo>
                  <a:pt x="13298" y="4892"/>
                </a:lnTo>
                <a:lnTo>
                  <a:pt x="13282" y="4902"/>
                </a:lnTo>
                <a:lnTo>
                  <a:pt x="13273" y="4924"/>
                </a:lnTo>
                <a:lnTo>
                  <a:pt x="13270" y="4915"/>
                </a:lnTo>
                <a:lnTo>
                  <a:pt x="13265" y="4908"/>
                </a:lnTo>
                <a:lnTo>
                  <a:pt x="13256" y="4905"/>
                </a:lnTo>
                <a:lnTo>
                  <a:pt x="13246" y="4905"/>
                </a:lnTo>
                <a:lnTo>
                  <a:pt x="13223" y="4924"/>
                </a:lnTo>
                <a:lnTo>
                  <a:pt x="13195" y="4949"/>
                </a:lnTo>
                <a:lnTo>
                  <a:pt x="13186" y="4975"/>
                </a:lnTo>
                <a:lnTo>
                  <a:pt x="13221" y="4990"/>
                </a:lnTo>
                <a:lnTo>
                  <a:pt x="13238" y="4986"/>
                </a:lnTo>
                <a:lnTo>
                  <a:pt x="13254" y="4976"/>
                </a:lnTo>
                <a:lnTo>
                  <a:pt x="13265" y="4959"/>
                </a:lnTo>
                <a:lnTo>
                  <a:pt x="13273" y="4941"/>
                </a:lnTo>
                <a:lnTo>
                  <a:pt x="13274" y="4958"/>
                </a:lnTo>
                <a:lnTo>
                  <a:pt x="13277" y="4977"/>
                </a:lnTo>
                <a:lnTo>
                  <a:pt x="13280" y="4996"/>
                </a:lnTo>
                <a:lnTo>
                  <a:pt x="13284" y="5018"/>
                </a:lnTo>
                <a:lnTo>
                  <a:pt x="13098" y="5011"/>
                </a:lnTo>
                <a:lnTo>
                  <a:pt x="13051" y="4961"/>
                </a:lnTo>
                <a:lnTo>
                  <a:pt x="13098" y="4919"/>
                </a:lnTo>
                <a:lnTo>
                  <a:pt x="13196" y="4936"/>
                </a:lnTo>
                <a:lnTo>
                  <a:pt x="13186" y="4813"/>
                </a:lnTo>
                <a:lnTo>
                  <a:pt x="13191" y="4658"/>
                </a:lnTo>
                <a:lnTo>
                  <a:pt x="13231" y="4552"/>
                </a:lnTo>
                <a:lnTo>
                  <a:pt x="13328" y="4581"/>
                </a:lnTo>
                <a:lnTo>
                  <a:pt x="13342" y="4437"/>
                </a:lnTo>
                <a:lnTo>
                  <a:pt x="13255" y="4420"/>
                </a:lnTo>
                <a:lnTo>
                  <a:pt x="13142" y="4430"/>
                </a:lnTo>
                <a:lnTo>
                  <a:pt x="13075" y="4370"/>
                </a:lnTo>
                <a:lnTo>
                  <a:pt x="13121" y="4346"/>
                </a:lnTo>
                <a:lnTo>
                  <a:pt x="13114" y="4297"/>
                </a:lnTo>
                <a:lnTo>
                  <a:pt x="13077" y="4271"/>
                </a:lnTo>
                <a:lnTo>
                  <a:pt x="13035" y="4311"/>
                </a:lnTo>
                <a:lnTo>
                  <a:pt x="12974" y="4367"/>
                </a:lnTo>
                <a:lnTo>
                  <a:pt x="12971" y="4315"/>
                </a:lnTo>
                <a:lnTo>
                  <a:pt x="12974" y="4222"/>
                </a:lnTo>
                <a:lnTo>
                  <a:pt x="12928" y="4160"/>
                </a:lnTo>
                <a:lnTo>
                  <a:pt x="12863" y="4164"/>
                </a:lnTo>
                <a:lnTo>
                  <a:pt x="12855" y="4201"/>
                </a:lnTo>
                <a:lnTo>
                  <a:pt x="12859" y="4244"/>
                </a:lnTo>
                <a:lnTo>
                  <a:pt x="12827" y="4267"/>
                </a:lnTo>
                <a:lnTo>
                  <a:pt x="12785" y="4269"/>
                </a:lnTo>
                <a:lnTo>
                  <a:pt x="12749" y="4316"/>
                </a:lnTo>
                <a:lnTo>
                  <a:pt x="12737" y="4384"/>
                </a:lnTo>
                <a:lnTo>
                  <a:pt x="12761" y="4445"/>
                </a:lnTo>
                <a:lnTo>
                  <a:pt x="12782" y="4450"/>
                </a:lnTo>
                <a:lnTo>
                  <a:pt x="12771" y="4454"/>
                </a:lnTo>
                <a:lnTo>
                  <a:pt x="12756" y="4467"/>
                </a:lnTo>
                <a:lnTo>
                  <a:pt x="12767" y="4497"/>
                </a:lnTo>
                <a:lnTo>
                  <a:pt x="12840" y="4477"/>
                </a:lnTo>
                <a:lnTo>
                  <a:pt x="12869" y="4495"/>
                </a:lnTo>
                <a:lnTo>
                  <a:pt x="12860" y="4519"/>
                </a:lnTo>
                <a:lnTo>
                  <a:pt x="12821" y="4520"/>
                </a:lnTo>
                <a:lnTo>
                  <a:pt x="12826" y="4600"/>
                </a:lnTo>
                <a:lnTo>
                  <a:pt x="12790" y="4604"/>
                </a:lnTo>
                <a:lnTo>
                  <a:pt x="12730" y="4584"/>
                </a:lnTo>
                <a:lnTo>
                  <a:pt x="12667" y="4591"/>
                </a:lnTo>
                <a:lnTo>
                  <a:pt x="12616" y="4654"/>
                </a:lnTo>
                <a:lnTo>
                  <a:pt x="12557" y="4673"/>
                </a:lnTo>
                <a:lnTo>
                  <a:pt x="12512" y="4691"/>
                </a:lnTo>
                <a:lnTo>
                  <a:pt x="12501" y="4752"/>
                </a:lnTo>
                <a:lnTo>
                  <a:pt x="12495" y="4723"/>
                </a:lnTo>
                <a:lnTo>
                  <a:pt x="12472" y="4700"/>
                </a:lnTo>
                <a:lnTo>
                  <a:pt x="12449" y="4697"/>
                </a:lnTo>
                <a:lnTo>
                  <a:pt x="12444" y="4725"/>
                </a:lnTo>
                <a:lnTo>
                  <a:pt x="12450" y="4751"/>
                </a:lnTo>
                <a:lnTo>
                  <a:pt x="12431" y="4748"/>
                </a:lnTo>
                <a:lnTo>
                  <a:pt x="12417" y="4745"/>
                </a:lnTo>
                <a:lnTo>
                  <a:pt x="12431" y="4770"/>
                </a:lnTo>
                <a:lnTo>
                  <a:pt x="12456" y="4812"/>
                </a:lnTo>
                <a:lnTo>
                  <a:pt x="12421" y="4817"/>
                </a:lnTo>
                <a:lnTo>
                  <a:pt x="12374" y="4819"/>
                </a:lnTo>
                <a:lnTo>
                  <a:pt x="12367" y="4857"/>
                </a:lnTo>
                <a:lnTo>
                  <a:pt x="12383" y="4880"/>
                </a:lnTo>
                <a:lnTo>
                  <a:pt x="12363" y="4891"/>
                </a:lnTo>
                <a:lnTo>
                  <a:pt x="12329" y="4887"/>
                </a:lnTo>
                <a:lnTo>
                  <a:pt x="12302" y="4869"/>
                </a:lnTo>
                <a:lnTo>
                  <a:pt x="12297" y="4852"/>
                </a:lnTo>
                <a:lnTo>
                  <a:pt x="12314" y="4847"/>
                </a:lnTo>
                <a:lnTo>
                  <a:pt x="12338" y="4850"/>
                </a:lnTo>
                <a:lnTo>
                  <a:pt x="12356" y="4852"/>
                </a:lnTo>
                <a:lnTo>
                  <a:pt x="12329" y="4726"/>
                </a:lnTo>
                <a:lnTo>
                  <a:pt x="12234" y="4793"/>
                </a:lnTo>
                <a:lnTo>
                  <a:pt x="12091" y="4913"/>
                </a:lnTo>
                <a:lnTo>
                  <a:pt x="11931" y="4948"/>
                </a:lnTo>
                <a:lnTo>
                  <a:pt x="11988" y="4921"/>
                </a:lnTo>
                <a:lnTo>
                  <a:pt x="12020" y="4864"/>
                </a:lnTo>
                <a:lnTo>
                  <a:pt x="12046" y="4798"/>
                </a:lnTo>
                <a:lnTo>
                  <a:pt x="12085" y="4748"/>
                </a:lnTo>
                <a:lnTo>
                  <a:pt x="12119" y="4751"/>
                </a:lnTo>
                <a:lnTo>
                  <a:pt x="12155" y="4725"/>
                </a:lnTo>
                <a:lnTo>
                  <a:pt x="12183" y="4689"/>
                </a:lnTo>
                <a:lnTo>
                  <a:pt x="12192" y="4664"/>
                </a:lnTo>
                <a:lnTo>
                  <a:pt x="12088" y="4616"/>
                </a:lnTo>
                <a:lnTo>
                  <a:pt x="12023" y="4637"/>
                </a:lnTo>
                <a:lnTo>
                  <a:pt x="11953" y="4679"/>
                </a:lnTo>
                <a:lnTo>
                  <a:pt x="11831" y="4693"/>
                </a:lnTo>
                <a:lnTo>
                  <a:pt x="11858" y="4647"/>
                </a:lnTo>
                <a:lnTo>
                  <a:pt x="11830" y="4603"/>
                </a:lnTo>
                <a:lnTo>
                  <a:pt x="11784" y="4589"/>
                </a:lnTo>
                <a:lnTo>
                  <a:pt x="11755" y="4633"/>
                </a:lnTo>
                <a:lnTo>
                  <a:pt x="11709" y="4688"/>
                </a:lnTo>
                <a:lnTo>
                  <a:pt x="11699" y="4627"/>
                </a:lnTo>
                <a:lnTo>
                  <a:pt x="11689" y="4523"/>
                </a:lnTo>
                <a:lnTo>
                  <a:pt x="11641" y="4448"/>
                </a:lnTo>
                <a:lnTo>
                  <a:pt x="11676" y="4463"/>
                </a:lnTo>
                <a:lnTo>
                  <a:pt x="11733" y="4493"/>
                </a:lnTo>
                <a:lnTo>
                  <a:pt x="11785" y="4506"/>
                </a:lnTo>
                <a:lnTo>
                  <a:pt x="11803" y="4472"/>
                </a:lnTo>
                <a:lnTo>
                  <a:pt x="11815" y="4439"/>
                </a:lnTo>
                <a:lnTo>
                  <a:pt x="11817" y="4411"/>
                </a:lnTo>
                <a:lnTo>
                  <a:pt x="11818" y="4407"/>
                </a:lnTo>
                <a:lnTo>
                  <a:pt x="11822" y="4445"/>
                </a:lnTo>
                <a:lnTo>
                  <a:pt x="11872" y="4420"/>
                </a:lnTo>
                <a:lnTo>
                  <a:pt x="11813" y="4300"/>
                </a:lnTo>
                <a:lnTo>
                  <a:pt x="11687" y="4230"/>
                </a:lnTo>
                <a:lnTo>
                  <a:pt x="11532" y="4353"/>
                </a:lnTo>
                <a:lnTo>
                  <a:pt x="11476" y="4229"/>
                </a:lnTo>
                <a:lnTo>
                  <a:pt x="11433" y="4096"/>
                </a:lnTo>
                <a:lnTo>
                  <a:pt x="11366" y="3970"/>
                </a:lnTo>
                <a:lnTo>
                  <a:pt x="11235" y="3862"/>
                </a:lnTo>
                <a:lnTo>
                  <a:pt x="11320" y="3823"/>
                </a:lnTo>
                <a:lnTo>
                  <a:pt x="11349" y="3722"/>
                </a:lnTo>
                <a:lnTo>
                  <a:pt x="11331" y="3607"/>
                </a:lnTo>
                <a:lnTo>
                  <a:pt x="11278" y="3526"/>
                </a:lnTo>
                <a:lnTo>
                  <a:pt x="11221" y="3523"/>
                </a:lnTo>
                <a:lnTo>
                  <a:pt x="11196" y="3554"/>
                </a:lnTo>
                <a:lnTo>
                  <a:pt x="11188" y="3602"/>
                </a:lnTo>
                <a:lnTo>
                  <a:pt x="11186" y="3655"/>
                </a:lnTo>
                <a:lnTo>
                  <a:pt x="11091" y="3677"/>
                </a:lnTo>
                <a:lnTo>
                  <a:pt x="10987" y="3712"/>
                </a:lnTo>
                <a:lnTo>
                  <a:pt x="10904" y="3760"/>
                </a:lnTo>
                <a:lnTo>
                  <a:pt x="10871" y="3829"/>
                </a:lnTo>
                <a:lnTo>
                  <a:pt x="10781" y="3894"/>
                </a:lnTo>
                <a:lnTo>
                  <a:pt x="10716" y="3877"/>
                </a:lnTo>
                <a:lnTo>
                  <a:pt x="10639" y="3852"/>
                </a:lnTo>
                <a:lnTo>
                  <a:pt x="10517" y="3894"/>
                </a:lnTo>
                <a:lnTo>
                  <a:pt x="10479" y="3919"/>
                </a:lnTo>
                <a:lnTo>
                  <a:pt x="10540" y="4005"/>
                </a:lnTo>
                <a:lnTo>
                  <a:pt x="10647" y="4080"/>
                </a:lnTo>
                <a:lnTo>
                  <a:pt x="10744" y="4076"/>
                </a:lnTo>
                <a:lnTo>
                  <a:pt x="10747" y="4145"/>
                </a:lnTo>
                <a:lnTo>
                  <a:pt x="10722" y="4213"/>
                </a:lnTo>
                <a:lnTo>
                  <a:pt x="10727" y="4268"/>
                </a:lnTo>
                <a:lnTo>
                  <a:pt x="10817" y="4294"/>
                </a:lnTo>
                <a:lnTo>
                  <a:pt x="10690" y="4413"/>
                </a:lnTo>
                <a:lnTo>
                  <a:pt x="10718" y="4493"/>
                </a:lnTo>
                <a:lnTo>
                  <a:pt x="10750" y="4581"/>
                </a:lnTo>
                <a:lnTo>
                  <a:pt x="10635" y="4724"/>
                </a:lnTo>
                <a:lnTo>
                  <a:pt x="10602" y="4793"/>
                </a:lnTo>
                <a:lnTo>
                  <a:pt x="10578" y="4765"/>
                </a:lnTo>
                <a:lnTo>
                  <a:pt x="10563" y="4688"/>
                </a:lnTo>
                <a:lnTo>
                  <a:pt x="10555" y="4611"/>
                </a:lnTo>
                <a:lnTo>
                  <a:pt x="10461" y="4532"/>
                </a:lnTo>
                <a:lnTo>
                  <a:pt x="10346" y="4514"/>
                </a:lnTo>
                <a:lnTo>
                  <a:pt x="10229" y="4495"/>
                </a:lnTo>
                <a:lnTo>
                  <a:pt x="10130" y="4408"/>
                </a:lnTo>
                <a:lnTo>
                  <a:pt x="9842" y="4264"/>
                </a:lnTo>
                <a:lnTo>
                  <a:pt x="9907" y="4189"/>
                </a:lnTo>
                <a:lnTo>
                  <a:pt x="10001" y="4080"/>
                </a:lnTo>
                <a:lnTo>
                  <a:pt x="9808" y="3834"/>
                </a:lnTo>
                <a:lnTo>
                  <a:pt x="9741" y="3861"/>
                </a:lnTo>
                <a:lnTo>
                  <a:pt x="9718" y="3829"/>
                </a:lnTo>
                <a:lnTo>
                  <a:pt x="9701" y="3768"/>
                </a:lnTo>
                <a:lnTo>
                  <a:pt x="9651" y="3708"/>
                </a:lnTo>
                <a:lnTo>
                  <a:pt x="9699" y="3707"/>
                </a:lnTo>
                <a:lnTo>
                  <a:pt x="9738" y="3690"/>
                </a:lnTo>
                <a:lnTo>
                  <a:pt x="9762" y="3658"/>
                </a:lnTo>
                <a:lnTo>
                  <a:pt x="9769" y="3606"/>
                </a:lnTo>
                <a:lnTo>
                  <a:pt x="9726" y="3509"/>
                </a:lnTo>
                <a:lnTo>
                  <a:pt x="9628" y="3523"/>
                </a:lnTo>
                <a:lnTo>
                  <a:pt x="9554" y="3600"/>
                </a:lnTo>
                <a:lnTo>
                  <a:pt x="9583" y="3690"/>
                </a:lnTo>
                <a:lnTo>
                  <a:pt x="9414" y="3940"/>
                </a:lnTo>
                <a:lnTo>
                  <a:pt x="9533" y="4103"/>
                </a:lnTo>
                <a:lnTo>
                  <a:pt x="9697" y="4217"/>
                </a:lnTo>
                <a:lnTo>
                  <a:pt x="9664" y="4324"/>
                </a:lnTo>
                <a:lnTo>
                  <a:pt x="9552" y="4473"/>
                </a:lnTo>
                <a:lnTo>
                  <a:pt x="9562" y="4576"/>
                </a:lnTo>
                <a:lnTo>
                  <a:pt x="9578" y="4612"/>
                </a:lnTo>
                <a:lnTo>
                  <a:pt x="9478" y="4555"/>
                </a:lnTo>
                <a:lnTo>
                  <a:pt x="9492" y="4521"/>
                </a:lnTo>
                <a:lnTo>
                  <a:pt x="9478" y="4515"/>
                </a:lnTo>
                <a:lnTo>
                  <a:pt x="9450" y="4525"/>
                </a:lnTo>
                <a:lnTo>
                  <a:pt x="9423" y="4544"/>
                </a:lnTo>
                <a:lnTo>
                  <a:pt x="9415" y="4555"/>
                </a:lnTo>
                <a:lnTo>
                  <a:pt x="9418" y="4576"/>
                </a:lnTo>
                <a:lnTo>
                  <a:pt x="9419" y="4594"/>
                </a:lnTo>
                <a:lnTo>
                  <a:pt x="9410" y="4588"/>
                </a:lnTo>
                <a:lnTo>
                  <a:pt x="9294" y="4497"/>
                </a:lnTo>
                <a:lnTo>
                  <a:pt x="9224" y="4535"/>
                </a:lnTo>
                <a:lnTo>
                  <a:pt x="9184" y="4576"/>
                </a:lnTo>
                <a:lnTo>
                  <a:pt x="9158" y="4484"/>
                </a:lnTo>
                <a:lnTo>
                  <a:pt x="9111" y="4329"/>
                </a:lnTo>
                <a:lnTo>
                  <a:pt x="9180" y="4174"/>
                </a:lnTo>
                <a:lnTo>
                  <a:pt x="9168" y="4082"/>
                </a:lnTo>
                <a:lnTo>
                  <a:pt x="8884" y="4118"/>
                </a:lnTo>
                <a:lnTo>
                  <a:pt x="8846" y="4182"/>
                </a:lnTo>
                <a:lnTo>
                  <a:pt x="8782" y="4235"/>
                </a:lnTo>
                <a:lnTo>
                  <a:pt x="8734" y="4245"/>
                </a:lnTo>
                <a:lnTo>
                  <a:pt x="8744" y="4183"/>
                </a:lnTo>
                <a:lnTo>
                  <a:pt x="8852" y="4112"/>
                </a:lnTo>
                <a:lnTo>
                  <a:pt x="8835" y="4022"/>
                </a:lnTo>
                <a:lnTo>
                  <a:pt x="8748" y="3960"/>
                </a:lnTo>
                <a:lnTo>
                  <a:pt x="8654" y="3964"/>
                </a:lnTo>
                <a:lnTo>
                  <a:pt x="8639" y="3898"/>
                </a:lnTo>
                <a:lnTo>
                  <a:pt x="8628" y="3833"/>
                </a:lnTo>
                <a:lnTo>
                  <a:pt x="8621" y="3769"/>
                </a:lnTo>
                <a:lnTo>
                  <a:pt x="8616" y="3711"/>
                </a:lnTo>
                <a:lnTo>
                  <a:pt x="8619" y="3711"/>
                </a:lnTo>
                <a:lnTo>
                  <a:pt x="8623" y="3711"/>
                </a:lnTo>
                <a:lnTo>
                  <a:pt x="8627" y="3709"/>
                </a:lnTo>
                <a:lnTo>
                  <a:pt x="8630" y="3708"/>
                </a:lnTo>
                <a:lnTo>
                  <a:pt x="8639" y="3702"/>
                </a:lnTo>
                <a:lnTo>
                  <a:pt x="8635" y="3695"/>
                </a:lnTo>
                <a:lnTo>
                  <a:pt x="8624" y="3690"/>
                </a:lnTo>
                <a:lnTo>
                  <a:pt x="8613" y="3688"/>
                </a:lnTo>
                <a:lnTo>
                  <a:pt x="8594" y="3562"/>
                </a:lnTo>
                <a:lnTo>
                  <a:pt x="8552" y="3502"/>
                </a:lnTo>
                <a:lnTo>
                  <a:pt x="8459" y="3537"/>
                </a:lnTo>
                <a:lnTo>
                  <a:pt x="8295" y="3694"/>
                </a:lnTo>
                <a:lnTo>
                  <a:pt x="8193" y="3406"/>
                </a:lnTo>
                <a:lnTo>
                  <a:pt x="7962" y="3301"/>
                </a:lnTo>
                <a:lnTo>
                  <a:pt x="7751" y="3366"/>
                </a:lnTo>
                <a:lnTo>
                  <a:pt x="7706" y="3593"/>
                </a:lnTo>
                <a:lnTo>
                  <a:pt x="7658" y="3602"/>
                </a:lnTo>
                <a:lnTo>
                  <a:pt x="7620" y="3656"/>
                </a:lnTo>
                <a:lnTo>
                  <a:pt x="7611" y="3723"/>
                </a:lnTo>
                <a:lnTo>
                  <a:pt x="7646" y="3775"/>
                </a:lnTo>
                <a:lnTo>
                  <a:pt x="7578" y="3886"/>
                </a:lnTo>
                <a:lnTo>
                  <a:pt x="7496" y="4003"/>
                </a:lnTo>
                <a:lnTo>
                  <a:pt x="7463" y="4109"/>
                </a:lnTo>
                <a:lnTo>
                  <a:pt x="7541" y="4183"/>
                </a:lnTo>
                <a:lnTo>
                  <a:pt x="7520" y="4234"/>
                </a:lnTo>
                <a:lnTo>
                  <a:pt x="7473" y="4210"/>
                </a:lnTo>
                <a:lnTo>
                  <a:pt x="7410" y="4168"/>
                </a:lnTo>
                <a:lnTo>
                  <a:pt x="7338" y="4168"/>
                </a:lnTo>
                <a:lnTo>
                  <a:pt x="7273" y="4210"/>
                </a:lnTo>
                <a:lnTo>
                  <a:pt x="7201" y="4189"/>
                </a:lnTo>
                <a:lnTo>
                  <a:pt x="7124" y="4159"/>
                </a:lnTo>
                <a:lnTo>
                  <a:pt x="7052" y="4173"/>
                </a:lnTo>
                <a:lnTo>
                  <a:pt x="7016" y="4101"/>
                </a:lnTo>
                <a:lnTo>
                  <a:pt x="7063" y="4099"/>
                </a:lnTo>
                <a:lnTo>
                  <a:pt x="7138" y="4113"/>
                </a:lnTo>
                <a:lnTo>
                  <a:pt x="7187" y="4098"/>
                </a:lnTo>
                <a:lnTo>
                  <a:pt x="7194" y="4058"/>
                </a:lnTo>
                <a:lnTo>
                  <a:pt x="7151" y="4019"/>
                </a:lnTo>
                <a:lnTo>
                  <a:pt x="7094" y="3994"/>
                </a:lnTo>
                <a:lnTo>
                  <a:pt x="7056" y="4001"/>
                </a:lnTo>
                <a:lnTo>
                  <a:pt x="7019" y="4025"/>
                </a:lnTo>
                <a:lnTo>
                  <a:pt x="6977" y="4012"/>
                </a:lnTo>
                <a:lnTo>
                  <a:pt x="6941" y="4005"/>
                </a:lnTo>
                <a:lnTo>
                  <a:pt x="6922" y="4039"/>
                </a:lnTo>
                <a:lnTo>
                  <a:pt x="6905" y="4070"/>
                </a:lnTo>
                <a:lnTo>
                  <a:pt x="6805" y="4072"/>
                </a:lnTo>
                <a:lnTo>
                  <a:pt x="6681" y="4105"/>
                </a:lnTo>
                <a:lnTo>
                  <a:pt x="6593" y="4224"/>
                </a:lnTo>
                <a:lnTo>
                  <a:pt x="6484" y="4218"/>
                </a:lnTo>
                <a:lnTo>
                  <a:pt x="6500" y="4203"/>
                </a:lnTo>
                <a:lnTo>
                  <a:pt x="6546" y="4157"/>
                </a:lnTo>
                <a:lnTo>
                  <a:pt x="6526" y="4063"/>
                </a:lnTo>
                <a:lnTo>
                  <a:pt x="6624" y="4073"/>
                </a:lnTo>
                <a:lnTo>
                  <a:pt x="6688" y="3991"/>
                </a:lnTo>
                <a:lnTo>
                  <a:pt x="6765" y="3927"/>
                </a:lnTo>
                <a:lnTo>
                  <a:pt x="6904" y="3994"/>
                </a:lnTo>
                <a:lnTo>
                  <a:pt x="6946" y="4001"/>
                </a:lnTo>
                <a:lnTo>
                  <a:pt x="6970" y="3964"/>
                </a:lnTo>
                <a:lnTo>
                  <a:pt x="6983" y="3908"/>
                </a:lnTo>
                <a:lnTo>
                  <a:pt x="6989" y="3857"/>
                </a:lnTo>
                <a:lnTo>
                  <a:pt x="7007" y="3787"/>
                </a:lnTo>
                <a:lnTo>
                  <a:pt x="7072" y="3759"/>
                </a:lnTo>
                <a:lnTo>
                  <a:pt x="7131" y="3733"/>
                </a:lnTo>
                <a:lnTo>
                  <a:pt x="7132" y="3672"/>
                </a:lnTo>
                <a:lnTo>
                  <a:pt x="7094" y="3643"/>
                </a:lnTo>
                <a:lnTo>
                  <a:pt x="7058" y="3656"/>
                </a:lnTo>
                <a:lnTo>
                  <a:pt x="7022" y="3690"/>
                </a:lnTo>
                <a:lnTo>
                  <a:pt x="6984" y="3721"/>
                </a:lnTo>
                <a:lnTo>
                  <a:pt x="6943" y="3723"/>
                </a:lnTo>
                <a:lnTo>
                  <a:pt x="6904" y="3707"/>
                </a:lnTo>
                <a:lnTo>
                  <a:pt x="6863" y="3705"/>
                </a:lnTo>
                <a:lnTo>
                  <a:pt x="6822" y="3756"/>
                </a:lnTo>
                <a:lnTo>
                  <a:pt x="6805" y="3674"/>
                </a:lnTo>
                <a:lnTo>
                  <a:pt x="6751" y="3652"/>
                </a:lnTo>
                <a:lnTo>
                  <a:pt x="6688" y="3660"/>
                </a:lnTo>
                <a:lnTo>
                  <a:pt x="6638" y="3663"/>
                </a:lnTo>
                <a:lnTo>
                  <a:pt x="6554" y="3431"/>
                </a:lnTo>
                <a:lnTo>
                  <a:pt x="6454" y="3418"/>
                </a:lnTo>
                <a:lnTo>
                  <a:pt x="6384" y="3469"/>
                </a:lnTo>
                <a:lnTo>
                  <a:pt x="6384" y="3423"/>
                </a:lnTo>
                <a:lnTo>
                  <a:pt x="6490" y="3280"/>
                </a:lnTo>
                <a:lnTo>
                  <a:pt x="6639" y="3255"/>
                </a:lnTo>
                <a:lnTo>
                  <a:pt x="6690" y="3168"/>
                </a:lnTo>
                <a:lnTo>
                  <a:pt x="6507" y="2844"/>
                </a:lnTo>
                <a:lnTo>
                  <a:pt x="6500" y="2830"/>
                </a:lnTo>
                <a:lnTo>
                  <a:pt x="6488" y="2827"/>
                </a:lnTo>
                <a:lnTo>
                  <a:pt x="6477" y="2834"/>
                </a:lnTo>
                <a:lnTo>
                  <a:pt x="6479" y="2850"/>
                </a:lnTo>
                <a:lnTo>
                  <a:pt x="6458" y="2910"/>
                </a:lnTo>
                <a:lnTo>
                  <a:pt x="6407" y="2872"/>
                </a:lnTo>
                <a:lnTo>
                  <a:pt x="6364" y="2868"/>
                </a:lnTo>
                <a:lnTo>
                  <a:pt x="6361" y="3036"/>
                </a:lnTo>
                <a:lnTo>
                  <a:pt x="6405" y="3088"/>
                </a:lnTo>
                <a:lnTo>
                  <a:pt x="6457" y="3075"/>
                </a:lnTo>
                <a:lnTo>
                  <a:pt x="6466" y="3107"/>
                </a:lnTo>
                <a:lnTo>
                  <a:pt x="6386" y="3292"/>
                </a:lnTo>
                <a:lnTo>
                  <a:pt x="6370" y="3298"/>
                </a:lnTo>
                <a:lnTo>
                  <a:pt x="6377" y="3279"/>
                </a:lnTo>
                <a:lnTo>
                  <a:pt x="6391" y="3243"/>
                </a:lnTo>
                <a:lnTo>
                  <a:pt x="6402" y="3203"/>
                </a:lnTo>
                <a:lnTo>
                  <a:pt x="6361" y="3171"/>
                </a:lnTo>
                <a:lnTo>
                  <a:pt x="6327" y="3130"/>
                </a:lnTo>
                <a:lnTo>
                  <a:pt x="6288" y="3101"/>
                </a:lnTo>
                <a:lnTo>
                  <a:pt x="6234" y="3100"/>
                </a:lnTo>
                <a:lnTo>
                  <a:pt x="6279" y="2975"/>
                </a:lnTo>
                <a:lnTo>
                  <a:pt x="6220" y="2881"/>
                </a:lnTo>
                <a:lnTo>
                  <a:pt x="6100" y="2859"/>
                </a:lnTo>
                <a:lnTo>
                  <a:pt x="5960" y="2957"/>
                </a:lnTo>
                <a:lnTo>
                  <a:pt x="5944" y="2979"/>
                </a:lnTo>
                <a:lnTo>
                  <a:pt x="5948" y="2995"/>
                </a:lnTo>
                <a:lnTo>
                  <a:pt x="5965" y="3007"/>
                </a:lnTo>
                <a:lnTo>
                  <a:pt x="5988" y="3016"/>
                </a:lnTo>
                <a:lnTo>
                  <a:pt x="5977" y="3059"/>
                </a:lnTo>
                <a:lnTo>
                  <a:pt x="5958" y="3121"/>
                </a:lnTo>
                <a:lnTo>
                  <a:pt x="5940" y="3158"/>
                </a:lnTo>
                <a:lnTo>
                  <a:pt x="5931" y="3124"/>
                </a:lnTo>
                <a:lnTo>
                  <a:pt x="5928" y="3084"/>
                </a:lnTo>
                <a:lnTo>
                  <a:pt x="5908" y="3078"/>
                </a:lnTo>
                <a:lnTo>
                  <a:pt x="5876" y="3084"/>
                </a:lnTo>
                <a:lnTo>
                  <a:pt x="5846" y="3084"/>
                </a:lnTo>
                <a:lnTo>
                  <a:pt x="5818" y="2943"/>
                </a:lnTo>
                <a:lnTo>
                  <a:pt x="5745" y="2795"/>
                </a:lnTo>
                <a:lnTo>
                  <a:pt x="5680" y="2744"/>
                </a:lnTo>
                <a:lnTo>
                  <a:pt x="5676" y="2893"/>
                </a:lnTo>
                <a:lnTo>
                  <a:pt x="5707" y="2939"/>
                </a:lnTo>
                <a:lnTo>
                  <a:pt x="5702" y="2949"/>
                </a:lnTo>
                <a:lnTo>
                  <a:pt x="5675" y="2956"/>
                </a:lnTo>
                <a:lnTo>
                  <a:pt x="5636" y="2989"/>
                </a:lnTo>
                <a:lnTo>
                  <a:pt x="5623" y="3121"/>
                </a:lnTo>
                <a:lnTo>
                  <a:pt x="5590" y="3101"/>
                </a:lnTo>
                <a:lnTo>
                  <a:pt x="5532" y="3036"/>
                </a:lnTo>
                <a:lnTo>
                  <a:pt x="5438" y="3035"/>
                </a:lnTo>
                <a:lnTo>
                  <a:pt x="5414" y="3058"/>
                </a:lnTo>
                <a:lnTo>
                  <a:pt x="5423" y="3083"/>
                </a:lnTo>
                <a:lnTo>
                  <a:pt x="5446" y="3112"/>
                </a:lnTo>
                <a:lnTo>
                  <a:pt x="5464" y="3142"/>
                </a:lnTo>
                <a:lnTo>
                  <a:pt x="5375" y="3121"/>
                </a:lnTo>
                <a:lnTo>
                  <a:pt x="5293" y="3068"/>
                </a:lnTo>
                <a:lnTo>
                  <a:pt x="5209" y="2998"/>
                </a:lnTo>
                <a:lnTo>
                  <a:pt x="5112" y="2924"/>
                </a:lnTo>
                <a:lnTo>
                  <a:pt x="5138" y="2872"/>
                </a:lnTo>
                <a:lnTo>
                  <a:pt x="5097" y="2811"/>
                </a:lnTo>
                <a:lnTo>
                  <a:pt x="5049" y="2785"/>
                </a:lnTo>
                <a:lnTo>
                  <a:pt x="5047" y="2837"/>
                </a:lnTo>
                <a:lnTo>
                  <a:pt x="5038" y="2868"/>
                </a:lnTo>
                <a:lnTo>
                  <a:pt x="5006" y="2876"/>
                </a:lnTo>
                <a:lnTo>
                  <a:pt x="4958" y="2876"/>
                </a:lnTo>
                <a:lnTo>
                  <a:pt x="4906" y="2886"/>
                </a:lnTo>
                <a:lnTo>
                  <a:pt x="4889" y="2834"/>
                </a:lnTo>
                <a:lnTo>
                  <a:pt x="4860" y="2798"/>
                </a:lnTo>
                <a:lnTo>
                  <a:pt x="4837" y="2803"/>
                </a:lnTo>
                <a:lnTo>
                  <a:pt x="4838" y="2872"/>
                </a:lnTo>
                <a:lnTo>
                  <a:pt x="4855" y="2970"/>
                </a:lnTo>
                <a:lnTo>
                  <a:pt x="4943" y="3074"/>
                </a:lnTo>
                <a:lnTo>
                  <a:pt x="5009" y="3177"/>
                </a:lnTo>
                <a:lnTo>
                  <a:pt x="4964" y="3274"/>
                </a:lnTo>
                <a:lnTo>
                  <a:pt x="4935" y="3268"/>
                </a:lnTo>
                <a:lnTo>
                  <a:pt x="4929" y="3282"/>
                </a:lnTo>
                <a:lnTo>
                  <a:pt x="4940" y="3308"/>
                </a:lnTo>
                <a:lnTo>
                  <a:pt x="4968" y="3339"/>
                </a:lnTo>
                <a:lnTo>
                  <a:pt x="4938" y="3307"/>
                </a:lnTo>
                <a:lnTo>
                  <a:pt x="4902" y="3289"/>
                </a:lnTo>
                <a:lnTo>
                  <a:pt x="4865" y="3285"/>
                </a:lnTo>
                <a:lnTo>
                  <a:pt x="4827" y="3293"/>
                </a:lnTo>
                <a:lnTo>
                  <a:pt x="4828" y="3292"/>
                </a:lnTo>
                <a:lnTo>
                  <a:pt x="4815" y="3260"/>
                </a:lnTo>
                <a:lnTo>
                  <a:pt x="4780" y="3243"/>
                </a:lnTo>
                <a:lnTo>
                  <a:pt x="4753" y="3247"/>
                </a:lnTo>
                <a:lnTo>
                  <a:pt x="4767" y="3273"/>
                </a:lnTo>
                <a:lnTo>
                  <a:pt x="4777" y="3279"/>
                </a:lnTo>
                <a:lnTo>
                  <a:pt x="4785" y="3288"/>
                </a:lnTo>
                <a:lnTo>
                  <a:pt x="4791" y="3299"/>
                </a:lnTo>
                <a:lnTo>
                  <a:pt x="4798" y="3308"/>
                </a:lnTo>
                <a:lnTo>
                  <a:pt x="4762" y="3336"/>
                </a:lnTo>
                <a:lnTo>
                  <a:pt x="4733" y="3377"/>
                </a:lnTo>
                <a:lnTo>
                  <a:pt x="4710" y="3425"/>
                </a:lnTo>
                <a:lnTo>
                  <a:pt x="4697" y="3484"/>
                </a:lnTo>
                <a:lnTo>
                  <a:pt x="4740" y="3536"/>
                </a:lnTo>
                <a:lnTo>
                  <a:pt x="4821" y="3577"/>
                </a:lnTo>
                <a:lnTo>
                  <a:pt x="4893" y="3615"/>
                </a:lnTo>
                <a:lnTo>
                  <a:pt x="4916" y="3655"/>
                </a:lnTo>
                <a:lnTo>
                  <a:pt x="4888" y="3630"/>
                </a:lnTo>
                <a:lnTo>
                  <a:pt x="4851" y="3628"/>
                </a:lnTo>
                <a:lnTo>
                  <a:pt x="4829" y="3644"/>
                </a:lnTo>
                <a:lnTo>
                  <a:pt x="4854" y="3679"/>
                </a:lnTo>
                <a:lnTo>
                  <a:pt x="4886" y="3716"/>
                </a:lnTo>
                <a:lnTo>
                  <a:pt x="4863" y="3708"/>
                </a:lnTo>
                <a:lnTo>
                  <a:pt x="4818" y="3699"/>
                </a:lnTo>
                <a:lnTo>
                  <a:pt x="4785" y="3726"/>
                </a:lnTo>
                <a:lnTo>
                  <a:pt x="4668" y="3569"/>
                </a:lnTo>
                <a:lnTo>
                  <a:pt x="4464" y="3484"/>
                </a:lnTo>
                <a:lnTo>
                  <a:pt x="4287" y="3512"/>
                </a:lnTo>
                <a:lnTo>
                  <a:pt x="4251" y="3694"/>
                </a:lnTo>
                <a:lnTo>
                  <a:pt x="4230" y="3586"/>
                </a:lnTo>
                <a:lnTo>
                  <a:pt x="4169" y="3548"/>
                </a:lnTo>
                <a:lnTo>
                  <a:pt x="4111" y="3569"/>
                </a:lnTo>
                <a:lnTo>
                  <a:pt x="4101" y="3643"/>
                </a:lnTo>
                <a:lnTo>
                  <a:pt x="4125" y="3652"/>
                </a:lnTo>
                <a:lnTo>
                  <a:pt x="4133" y="3672"/>
                </a:lnTo>
                <a:lnTo>
                  <a:pt x="4128" y="3698"/>
                </a:lnTo>
                <a:lnTo>
                  <a:pt x="4110" y="3719"/>
                </a:lnTo>
                <a:lnTo>
                  <a:pt x="4084" y="3661"/>
                </a:lnTo>
                <a:lnTo>
                  <a:pt x="4068" y="3694"/>
                </a:lnTo>
                <a:lnTo>
                  <a:pt x="4083" y="3761"/>
                </a:lnTo>
                <a:lnTo>
                  <a:pt x="4153" y="3805"/>
                </a:lnTo>
                <a:lnTo>
                  <a:pt x="4109" y="3844"/>
                </a:lnTo>
                <a:lnTo>
                  <a:pt x="4055" y="3798"/>
                </a:lnTo>
                <a:lnTo>
                  <a:pt x="3992" y="3733"/>
                </a:lnTo>
                <a:lnTo>
                  <a:pt x="3919" y="3718"/>
                </a:lnTo>
                <a:lnTo>
                  <a:pt x="3883" y="3761"/>
                </a:lnTo>
                <a:lnTo>
                  <a:pt x="3901" y="3798"/>
                </a:lnTo>
                <a:lnTo>
                  <a:pt x="3942" y="3834"/>
                </a:lnTo>
                <a:lnTo>
                  <a:pt x="3975" y="3871"/>
                </a:lnTo>
                <a:lnTo>
                  <a:pt x="3944" y="3889"/>
                </a:lnTo>
                <a:lnTo>
                  <a:pt x="3925" y="3919"/>
                </a:lnTo>
                <a:lnTo>
                  <a:pt x="3907" y="3940"/>
                </a:lnTo>
                <a:lnTo>
                  <a:pt x="3887" y="3922"/>
                </a:lnTo>
                <a:lnTo>
                  <a:pt x="3761" y="3863"/>
                </a:lnTo>
                <a:lnTo>
                  <a:pt x="3609" y="3843"/>
                </a:lnTo>
                <a:lnTo>
                  <a:pt x="3547" y="3898"/>
                </a:lnTo>
                <a:lnTo>
                  <a:pt x="3685" y="4059"/>
                </a:lnTo>
                <a:lnTo>
                  <a:pt x="3751" y="4080"/>
                </a:lnTo>
                <a:lnTo>
                  <a:pt x="3816" y="4039"/>
                </a:lnTo>
                <a:lnTo>
                  <a:pt x="3885" y="3997"/>
                </a:lnTo>
                <a:lnTo>
                  <a:pt x="3960" y="4012"/>
                </a:lnTo>
                <a:lnTo>
                  <a:pt x="3896" y="4115"/>
                </a:lnTo>
                <a:lnTo>
                  <a:pt x="3681" y="4124"/>
                </a:lnTo>
                <a:lnTo>
                  <a:pt x="3499" y="4171"/>
                </a:lnTo>
                <a:lnTo>
                  <a:pt x="3534" y="4386"/>
                </a:lnTo>
                <a:lnTo>
                  <a:pt x="3466" y="4364"/>
                </a:lnTo>
                <a:lnTo>
                  <a:pt x="3445" y="4287"/>
                </a:lnTo>
                <a:lnTo>
                  <a:pt x="3438" y="4201"/>
                </a:lnTo>
                <a:lnTo>
                  <a:pt x="3413" y="4150"/>
                </a:lnTo>
                <a:lnTo>
                  <a:pt x="3287" y="4117"/>
                </a:lnTo>
                <a:lnTo>
                  <a:pt x="3194" y="4178"/>
                </a:lnTo>
                <a:lnTo>
                  <a:pt x="3092" y="4245"/>
                </a:lnTo>
                <a:lnTo>
                  <a:pt x="2938" y="4232"/>
                </a:lnTo>
                <a:lnTo>
                  <a:pt x="2788" y="4234"/>
                </a:lnTo>
                <a:lnTo>
                  <a:pt x="2640" y="4342"/>
                </a:lnTo>
                <a:lnTo>
                  <a:pt x="2544" y="4502"/>
                </a:lnTo>
                <a:lnTo>
                  <a:pt x="2544" y="4656"/>
                </a:lnTo>
                <a:lnTo>
                  <a:pt x="2814" y="4743"/>
                </a:lnTo>
                <a:lnTo>
                  <a:pt x="2786" y="4780"/>
                </a:lnTo>
                <a:lnTo>
                  <a:pt x="2673" y="4870"/>
                </a:lnTo>
                <a:lnTo>
                  <a:pt x="2695" y="5118"/>
                </a:lnTo>
                <a:lnTo>
                  <a:pt x="2642" y="5297"/>
                </a:lnTo>
                <a:lnTo>
                  <a:pt x="2708" y="5384"/>
                </a:lnTo>
                <a:lnTo>
                  <a:pt x="2852" y="5392"/>
                </a:lnTo>
                <a:lnTo>
                  <a:pt x="3031" y="5325"/>
                </a:lnTo>
                <a:lnTo>
                  <a:pt x="2968" y="5406"/>
                </a:lnTo>
                <a:lnTo>
                  <a:pt x="2880" y="5458"/>
                </a:lnTo>
                <a:lnTo>
                  <a:pt x="2797" y="5517"/>
                </a:lnTo>
                <a:lnTo>
                  <a:pt x="2754" y="5617"/>
                </a:lnTo>
                <a:lnTo>
                  <a:pt x="2741" y="5564"/>
                </a:lnTo>
                <a:lnTo>
                  <a:pt x="2694" y="5554"/>
                </a:lnTo>
                <a:lnTo>
                  <a:pt x="2638" y="5572"/>
                </a:lnTo>
                <a:lnTo>
                  <a:pt x="2593" y="5605"/>
                </a:lnTo>
                <a:lnTo>
                  <a:pt x="2573" y="5542"/>
                </a:lnTo>
                <a:lnTo>
                  <a:pt x="2519" y="5570"/>
                </a:lnTo>
                <a:lnTo>
                  <a:pt x="2496" y="5621"/>
                </a:lnTo>
                <a:lnTo>
                  <a:pt x="2572" y="5624"/>
                </a:lnTo>
                <a:lnTo>
                  <a:pt x="2594" y="5684"/>
                </a:lnTo>
                <a:lnTo>
                  <a:pt x="2670" y="5658"/>
                </a:lnTo>
                <a:lnTo>
                  <a:pt x="2742" y="5657"/>
                </a:lnTo>
                <a:lnTo>
                  <a:pt x="2754" y="5791"/>
                </a:lnTo>
                <a:lnTo>
                  <a:pt x="2663" y="5850"/>
                </a:lnTo>
                <a:lnTo>
                  <a:pt x="2616" y="5961"/>
                </a:lnTo>
                <a:lnTo>
                  <a:pt x="2630" y="6072"/>
                </a:lnTo>
                <a:lnTo>
                  <a:pt x="2722" y="6132"/>
                </a:lnTo>
                <a:lnTo>
                  <a:pt x="2535" y="6441"/>
                </a:lnTo>
                <a:lnTo>
                  <a:pt x="2620" y="6685"/>
                </a:lnTo>
                <a:lnTo>
                  <a:pt x="2764" y="6965"/>
                </a:lnTo>
                <a:lnTo>
                  <a:pt x="2749" y="7378"/>
                </a:lnTo>
                <a:lnTo>
                  <a:pt x="2857" y="7375"/>
                </a:lnTo>
                <a:lnTo>
                  <a:pt x="2875" y="7060"/>
                </a:lnTo>
                <a:lnTo>
                  <a:pt x="2959" y="6652"/>
                </a:lnTo>
                <a:lnTo>
                  <a:pt x="3268" y="6376"/>
                </a:lnTo>
                <a:lnTo>
                  <a:pt x="3263" y="6641"/>
                </a:lnTo>
                <a:lnTo>
                  <a:pt x="3319" y="7048"/>
                </a:lnTo>
                <a:lnTo>
                  <a:pt x="3384" y="7277"/>
                </a:lnTo>
                <a:lnTo>
                  <a:pt x="3399" y="7007"/>
                </a:lnTo>
                <a:lnTo>
                  <a:pt x="3480" y="7034"/>
                </a:lnTo>
                <a:lnTo>
                  <a:pt x="3565" y="7027"/>
                </a:lnTo>
                <a:lnTo>
                  <a:pt x="3639" y="6990"/>
                </a:lnTo>
                <a:lnTo>
                  <a:pt x="3685" y="6925"/>
                </a:lnTo>
                <a:lnTo>
                  <a:pt x="3798" y="6986"/>
                </a:lnTo>
                <a:lnTo>
                  <a:pt x="3785" y="7077"/>
                </a:lnTo>
                <a:lnTo>
                  <a:pt x="3744" y="7186"/>
                </a:lnTo>
                <a:lnTo>
                  <a:pt x="3780" y="7298"/>
                </a:lnTo>
                <a:lnTo>
                  <a:pt x="3863" y="7286"/>
                </a:lnTo>
                <a:lnTo>
                  <a:pt x="3907" y="7233"/>
                </a:lnTo>
                <a:lnTo>
                  <a:pt x="3981" y="7193"/>
                </a:lnTo>
                <a:lnTo>
                  <a:pt x="4152" y="7226"/>
                </a:lnTo>
                <a:lnTo>
                  <a:pt x="4230" y="7326"/>
                </a:lnTo>
                <a:lnTo>
                  <a:pt x="4055" y="7336"/>
                </a:lnTo>
                <a:lnTo>
                  <a:pt x="3844" y="7394"/>
                </a:lnTo>
                <a:lnTo>
                  <a:pt x="3808" y="7639"/>
                </a:lnTo>
                <a:lnTo>
                  <a:pt x="3827" y="7664"/>
                </a:lnTo>
                <a:lnTo>
                  <a:pt x="3860" y="7664"/>
                </a:lnTo>
                <a:lnTo>
                  <a:pt x="3887" y="7645"/>
                </a:lnTo>
                <a:lnTo>
                  <a:pt x="3886" y="7621"/>
                </a:lnTo>
                <a:lnTo>
                  <a:pt x="3913" y="7630"/>
                </a:lnTo>
                <a:lnTo>
                  <a:pt x="3905" y="7653"/>
                </a:lnTo>
                <a:lnTo>
                  <a:pt x="3886" y="7681"/>
                </a:lnTo>
                <a:lnTo>
                  <a:pt x="3886" y="7710"/>
                </a:lnTo>
                <a:lnTo>
                  <a:pt x="3906" y="7710"/>
                </a:lnTo>
                <a:lnTo>
                  <a:pt x="3924" y="7690"/>
                </a:lnTo>
                <a:lnTo>
                  <a:pt x="3942" y="7673"/>
                </a:lnTo>
                <a:lnTo>
                  <a:pt x="3966" y="7683"/>
                </a:lnTo>
                <a:lnTo>
                  <a:pt x="3850" y="7835"/>
                </a:lnTo>
                <a:lnTo>
                  <a:pt x="3909" y="7915"/>
                </a:lnTo>
                <a:lnTo>
                  <a:pt x="4009" y="7896"/>
                </a:lnTo>
                <a:lnTo>
                  <a:pt x="4017" y="7748"/>
                </a:lnTo>
                <a:lnTo>
                  <a:pt x="4065" y="7722"/>
                </a:lnTo>
                <a:lnTo>
                  <a:pt x="4114" y="7678"/>
                </a:lnTo>
                <a:lnTo>
                  <a:pt x="4143" y="7625"/>
                </a:lnTo>
                <a:lnTo>
                  <a:pt x="4139" y="7561"/>
                </a:lnTo>
                <a:lnTo>
                  <a:pt x="4297" y="7565"/>
                </a:lnTo>
                <a:lnTo>
                  <a:pt x="4268" y="7622"/>
                </a:lnTo>
                <a:lnTo>
                  <a:pt x="4184" y="7711"/>
                </a:lnTo>
                <a:lnTo>
                  <a:pt x="4174" y="7808"/>
                </a:lnTo>
                <a:lnTo>
                  <a:pt x="4115" y="7914"/>
                </a:lnTo>
                <a:lnTo>
                  <a:pt x="4053" y="8000"/>
                </a:lnTo>
                <a:lnTo>
                  <a:pt x="3972" y="8070"/>
                </a:lnTo>
                <a:lnTo>
                  <a:pt x="3857" y="8126"/>
                </a:lnTo>
                <a:lnTo>
                  <a:pt x="3863" y="8181"/>
                </a:lnTo>
                <a:lnTo>
                  <a:pt x="3953" y="8226"/>
                </a:lnTo>
                <a:lnTo>
                  <a:pt x="4056" y="8222"/>
                </a:lnTo>
                <a:lnTo>
                  <a:pt x="4104" y="8134"/>
                </a:lnTo>
                <a:lnTo>
                  <a:pt x="4176" y="8158"/>
                </a:lnTo>
                <a:lnTo>
                  <a:pt x="4251" y="8228"/>
                </a:lnTo>
                <a:lnTo>
                  <a:pt x="4286" y="8293"/>
                </a:lnTo>
                <a:lnTo>
                  <a:pt x="4231" y="8306"/>
                </a:lnTo>
                <a:lnTo>
                  <a:pt x="4004" y="8419"/>
                </a:lnTo>
                <a:lnTo>
                  <a:pt x="4030" y="8527"/>
                </a:lnTo>
                <a:lnTo>
                  <a:pt x="4133" y="8543"/>
                </a:lnTo>
                <a:lnTo>
                  <a:pt x="4143" y="8376"/>
                </a:lnTo>
                <a:lnTo>
                  <a:pt x="4235" y="8417"/>
                </a:lnTo>
                <a:lnTo>
                  <a:pt x="4402" y="8480"/>
                </a:lnTo>
                <a:lnTo>
                  <a:pt x="4528" y="8498"/>
                </a:lnTo>
                <a:lnTo>
                  <a:pt x="4500" y="8401"/>
                </a:lnTo>
                <a:lnTo>
                  <a:pt x="4449" y="8311"/>
                </a:lnTo>
                <a:lnTo>
                  <a:pt x="4352" y="8303"/>
                </a:lnTo>
                <a:lnTo>
                  <a:pt x="4287" y="8285"/>
                </a:lnTo>
                <a:lnTo>
                  <a:pt x="4330" y="8167"/>
                </a:lnTo>
                <a:lnTo>
                  <a:pt x="4376" y="8167"/>
                </a:lnTo>
                <a:lnTo>
                  <a:pt x="4414" y="8149"/>
                </a:lnTo>
                <a:lnTo>
                  <a:pt x="4433" y="8108"/>
                </a:lnTo>
                <a:lnTo>
                  <a:pt x="4424" y="8041"/>
                </a:lnTo>
                <a:lnTo>
                  <a:pt x="4389" y="7957"/>
                </a:lnTo>
                <a:lnTo>
                  <a:pt x="4445" y="7977"/>
                </a:lnTo>
                <a:lnTo>
                  <a:pt x="4540" y="8049"/>
                </a:lnTo>
                <a:lnTo>
                  <a:pt x="4626" y="8121"/>
                </a:lnTo>
                <a:lnTo>
                  <a:pt x="4586" y="8443"/>
                </a:lnTo>
                <a:lnTo>
                  <a:pt x="4719" y="8453"/>
                </a:lnTo>
                <a:lnTo>
                  <a:pt x="4818" y="8324"/>
                </a:lnTo>
                <a:lnTo>
                  <a:pt x="4677" y="8224"/>
                </a:lnTo>
                <a:lnTo>
                  <a:pt x="4720" y="8176"/>
                </a:lnTo>
                <a:lnTo>
                  <a:pt x="4730" y="8116"/>
                </a:lnTo>
                <a:lnTo>
                  <a:pt x="4748" y="8072"/>
                </a:lnTo>
                <a:lnTo>
                  <a:pt x="4812" y="8064"/>
                </a:lnTo>
                <a:lnTo>
                  <a:pt x="4833" y="8088"/>
                </a:lnTo>
                <a:lnTo>
                  <a:pt x="4857" y="8114"/>
                </a:lnTo>
                <a:lnTo>
                  <a:pt x="4884" y="8124"/>
                </a:lnTo>
                <a:lnTo>
                  <a:pt x="4914" y="8100"/>
                </a:lnTo>
                <a:lnTo>
                  <a:pt x="4874" y="8049"/>
                </a:lnTo>
                <a:lnTo>
                  <a:pt x="4838" y="8002"/>
                </a:lnTo>
                <a:lnTo>
                  <a:pt x="4833" y="7991"/>
                </a:lnTo>
                <a:lnTo>
                  <a:pt x="4887" y="8047"/>
                </a:lnTo>
                <a:lnTo>
                  <a:pt x="5037" y="8044"/>
                </a:lnTo>
                <a:lnTo>
                  <a:pt x="5063" y="7919"/>
                </a:lnTo>
                <a:lnTo>
                  <a:pt x="4991" y="7818"/>
                </a:lnTo>
                <a:lnTo>
                  <a:pt x="4852" y="7886"/>
                </a:lnTo>
                <a:lnTo>
                  <a:pt x="4847" y="7784"/>
                </a:lnTo>
                <a:lnTo>
                  <a:pt x="4921" y="7741"/>
                </a:lnTo>
                <a:lnTo>
                  <a:pt x="4995" y="7686"/>
                </a:lnTo>
                <a:lnTo>
                  <a:pt x="4992" y="7545"/>
                </a:lnTo>
                <a:lnTo>
                  <a:pt x="5065" y="7531"/>
                </a:lnTo>
                <a:lnTo>
                  <a:pt x="5080" y="7560"/>
                </a:lnTo>
                <a:lnTo>
                  <a:pt x="5087" y="7616"/>
                </a:lnTo>
                <a:lnTo>
                  <a:pt x="5134" y="7682"/>
                </a:lnTo>
                <a:lnTo>
                  <a:pt x="5204" y="7691"/>
                </a:lnTo>
                <a:lnTo>
                  <a:pt x="5283" y="7688"/>
                </a:lnTo>
                <a:lnTo>
                  <a:pt x="5340" y="7704"/>
                </a:lnTo>
                <a:lnTo>
                  <a:pt x="5340" y="7770"/>
                </a:lnTo>
                <a:lnTo>
                  <a:pt x="5189" y="7748"/>
                </a:lnTo>
                <a:lnTo>
                  <a:pt x="5043" y="7737"/>
                </a:lnTo>
                <a:lnTo>
                  <a:pt x="4995" y="7776"/>
                </a:lnTo>
                <a:lnTo>
                  <a:pt x="5134" y="7909"/>
                </a:lnTo>
                <a:lnTo>
                  <a:pt x="5269" y="8050"/>
                </a:lnTo>
                <a:lnTo>
                  <a:pt x="5112" y="8124"/>
                </a:lnTo>
                <a:lnTo>
                  <a:pt x="4894" y="8179"/>
                </a:lnTo>
                <a:lnTo>
                  <a:pt x="4846" y="8266"/>
                </a:lnTo>
                <a:lnTo>
                  <a:pt x="4975" y="8358"/>
                </a:lnTo>
                <a:lnTo>
                  <a:pt x="5105" y="8392"/>
                </a:lnTo>
                <a:lnTo>
                  <a:pt x="5252" y="8382"/>
                </a:lnTo>
                <a:lnTo>
                  <a:pt x="5434" y="8339"/>
                </a:lnTo>
                <a:lnTo>
                  <a:pt x="5271" y="8403"/>
                </a:lnTo>
                <a:lnTo>
                  <a:pt x="5070" y="8462"/>
                </a:lnTo>
                <a:lnTo>
                  <a:pt x="4959" y="8550"/>
                </a:lnTo>
                <a:lnTo>
                  <a:pt x="5070" y="8697"/>
                </a:lnTo>
                <a:lnTo>
                  <a:pt x="5038" y="8765"/>
                </a:lnTo>
                <a:lnTo>
                  <a:pt x="4989" y="8814"/>
                </a:lnTo>
                <a:lnTo>
                  <a:pt x="4958" y="8854"/>
                </a:lnTo>
                <a:lnTo>
                  <a:pt x="4981" y="8902"/>
                </a:lnTo>
                <a:lnTo>
                  <a:pt x="5017" y="8965"/>
                </a:lnTo>
                <a:lnTo>
                  <a:pt x="5024" y="9045"/>
                </a:lnTo>
                <a:lnTo>
                  <a:pt x="5033" y="9123"/>
                </a:lnTo>
                <a:lnTo>
                  <a:pt x="5075" y="9176"/>
                </a:lnTo>
                <a:lnTo>
                  <a:pt x="5101" y="9170"/>
                </a:lnTo>
                <a:lnTo>
                  <a:pt x="5107" y="9187"/>
                </a:lnTo>
                <a:lnTo>
                  <a:pt x="5106" y="9216"/>
                </a:lnTo>
                <a:lnTo>
                  <a:pt x="5115" y="9244"/>
                </a:lnTo>
                <a:lnTo>
                  <a:pt x="5065" y="9285"/>
                </a:lnTo>
                <a:lnTo>
                  <a:pt x="5035" y="9245"/>
                </a:lnTo>
                <a:lnTo>
                  <a:pt x="4995" y="9180"/>
                </a:lnTo>
                <a:lnTo>
                  <a:pt x="4924" y="9147"/>
                </a:lnTo>
                <a:lnTo>
                  <a:pt x="4873" y="9123"/>
                </a:lnTo>
                <a:lnTo>
                  <a:pt x="4929" y="9050"/>
                </a:lnTo>
                <a:lnTo>
                  <a:pt x="4967" y="8945"/>
                </a:lnTo>
                <a:lnTo>
                  <a:pt x="4866" y="8821"/>
                </a:lnTo>
                <a:lnTo>
                  <a:pt x="4724" y="8916"/>
                </a:lnTo>
                <a:lnTo>
                  <a:pt x="4722" y="9080"/>
                </a:lnTo>
                <a:lnTo>
                  <a:pt x="4744" y="9222"/>
                </a:lnTo>
                <a:lnTo>
                  <a:pt x="4668" y="9258"/>
                </a:lnTo>
                <a:lnTo>
                  <a:pt x="4590" y="9150"/>
                </a:lnTo>
                <a:lnTo>
                  <a:pt x="4619" y="9017"/>
                </a:lnTo>
                <a:lnTo>
                  <a:pt x="4589" y="8931"/>
                </a:lnTo>
                <a:lnTo>
                  <a:pt x="4334" y="8961"/>
                </a:lnTo>
                <a:lnTo>
                  <a:pt x="4319" y="9010"/>
                </a:lnTo>
                <a:lnTo>
                  <a:pt x="4347" y="9028"/>
                </a:lnTo>
                <a:lnTo>
                  <a:pt x="4393" y="9034"/>
                </a:lnTo>
                <a:lnTo>
                  <a:pt x="4428" y="9048"/>
                </a:lnTo>
                <a:lnTo>
                  <a:pt x="4435" y="9198"/>
                </a:lnTo>
                <a:lnTo>
                  <a:pt x="4413" y="9258"/>
                </a:lnTo>
                <a:lnTo>
                  <a:pt x="4422" y="9297"/>
                </a:lnTo>
                <a:lnTo>
                  <a:pt x="4517" y="9385"/>
                </a:lnTo>
                <a:lnTo>
                  <a:pt x="4488" y="9421"/>
                </a:lnTo>
                <a:lnTo>
                  <a:pt x="4479" y="9462"/>
                </a:lnTo>
                <a:lnTo>
                  <a:pt x="4489" y="9501"/>
                </a:lnTo>
                <a:lnTo>
                  <a:pt x="4516" y="9530"/>
                </a:lnTo>
                <a:lnTo>
                  <a:pt x="4607" y="9535"/>
                </a:lnTo>
                <a:lnTo>
                  <a:pt x="4646" y="9454"/>
                </a:lnTo>
                <a:lnTo>
                  <a:pt x="4677" y="9373"/>
                </a:lnTo>
                <a:lnTo>
                  <a:pt x="4743" y="9375"/>
                </a:lnTo>
                <a:lnTo>
                  <a:pt x="4849" y="9495"/>
                </a:lnTo>
                <a:lnTo>
                  <a:pt x="4860" y="9639"/>
                </a:lnTo>
                <a:lnTo>
                  <a:pt x="4798" y="9693"/>
                </a:lnTo>
                <a:lnTo>
                  <a:pt x="4683" y="9551"/>
                </a:lnTo>
                <a:lnTo>
                  <a:pt x="4638" y="9560"/>
                </a:lnTo>
                <a:lnTo>
                  <a:pt x="4599" y="9576"/>
                </a:lnTo>
                <a:lnTo>
                  <a:pt x="4573" y="9604"/>
                </a:lnTo>
                <a:lnTo>
                  <a:pt x="4566" y="9649"/>
                </a:lnTo>
                <a:lnTo>
                  <a:pt x="4530" y="9659"/>
                </a:lnTo>
                <a:lnTo>
                  <a:pt x="4506" y="9686"/>
                </a:lnTo>
                <a:lnTo>
                  <a:pt x="4507" y="9712"/>
                </a:lnTo>
                <a:lnTo>
                  <a:pt x="4549" y="9716"/>
                </a:lnTo>
                <a:lnTo>
                  <a:pt x="4561" y="9850"/>
                </a:lnTo>
                <a:lnTo>
                  <a:pt x="4610" y="9866"/>
                </a:lnTo>
                <a:lnTo>
                  <a:pt x="4678" y="9842"/>
                </a:lnTo>
                <a:lnTo>
                  <a:pt x="4744" y="9856"/>
                </a:lnTo>
                <a:lnTo>
                  <a:pt x="4794" y="9860"/>
                </a:lnTo>
                <a:lnTo>
                  <a:pt x="4838" y="9821"/>
                </a:lnTo>
                <a:lnTo>
                  <a:pt x="4884" y="9785"/>
                </a:lnTo>
                <a:lnTo>
                  <a:pt x="4938" y="9799"/>
                </a:lnTo>
                <a:lnTo>
                  <a:pt x="4891" y="10033"/>
                </a:lnTo>
                <a:lnTo>
                  <a:pt x="4843" y="10062"/>
                </a:lnTo>
                <a:lnTo>
                  <a:pt x="4770" y="10014"/>
                </a:lnTo>
                <a:lnTo>
                  <a:pt x="4640" y="10014"/>
                </a:lnTo>
                <a:lnTo>
                  <a:pt x="4602" y="10111"/>
                </a:lnTo>
                <a:lnTo>
                  <a:pt x="4577" y="10244"/>
                </a:lnTo>
                <a:lnTo>
                  <a:pt x="4594" y="10316"/>
                </a:lnTo>
                <a:lnTo>
                  <a:pt x="4675" y="10229"/>
                </a:lnTo>
                <a:lnTo>
                  <a:pt x="4765" y="10204"/>
                </a:lnTo>
                <a:lnTo>
                  <a:pt x="4850" y="10220"/>
                </a:lnTo>
                <a:lnTo>
                  <a:pt x="4921" y="10213"/>
                </a:lnTo>
                <a:lnTo>
                  <a:pt x="4968" y="10118"/>
                </a:lnTo>
                <a:lnTo>
                  <a:pt x="5079" y="10107"/>
                </a:lnTo>
                <a:lnTo>
                  <a:pt x="5103" y="10032"/>
                </a:lnTo>
                <a:lnTo>
                  <a:pt x="5096" y="9958"/>
                </a:lnTo>
                <a:lnTo>
                  <a:pt x="5111" y="9949"/>
                </a:lnTo>
                <a:lnTo>
                  <a:pt x="5134" y="9954"/>
                </a:lnTo>
                <a:lnTo>
                  <a:pt x="5168" y="9935"/>
                </a:lnTo>
                <a:lnTo>
                  <a:pt x="5194" y="9921"/>
                </a:lnTo>
                <a:lnTo>
                  <a:pt x="5190" y="9938"/>
                </a:lnTo>
                <a:lnTo>
                  <a:pt x="5301" y="10078"/>
                </a:lnTo>
                <a:lnTo>
                  <a:pt x="5399" y="10013"/>
                </a:lnTo>
                <a:lnTo>
                  <a:pt x="5464" y="9911"/>
                </a:lnTo>
                <a:lnTo>
                  <a:pt x="5476" y="9942"/>
                </a:lnTo>
                <a:lnTo>
                  <a:pt x="5475" y="9953"/>
                </a:lnTo>
                <a:lnTo>
                  <a:pt x="5489" y="9962"/>
                </a:lnTo>
                <a:lnTo>
                  <a:pt x="5508" y="9962"/>
                </a:lnTo>
                <a:lnTo>
                  <a:pt x="5521" y="9949"/>
                </a:lnTo>
                <a:lnTo>
                  <a:pt x="5520" y="10005"/>
                </a:lnTo>
                <a:lnTo>
                  <a:pt x="5473" y="10033"/>
                </a:lnTo>
                <a:lnTo>
                  <a:pt x="5436" y="10051"/>
                </a:lnTo>
                <a:lnTo>
                  <a:pt x="5462" y="10071"/>
                </a:lnTo>
                <a:lnTo>
                  <a:pt x="5498" y="10075"/>
                </a:lnTo>
                <a:lnTo>
                  <a:pt x="5516" y="10098"/>
                </a:lnTo>
                <a:lnTo>
                  <a:pt x="5522" y="10130"/>
                </a:lnTo>
                <a:lnTo>
                  <a:pt x="5521" y="10166"/>
                </a:lnTo>
                <a:lnTo>
                  <a:pt x="5352" y="10152"/>
                </a:lnTo>
                <a:lnTo>
                  <a:pt x="5302" y="10246"/>
                </a:lnTo>
                <a:lnTo>
                  <a:pt x="5285" y="10359"/>
                </a:lnTo>
                <a:lnTo>
                  <a:pt x="5214" y="10397"/>
                </a:lnTo>
                <a:lnTo>
                  <a:pt x="5196" y="10418"/>
                </a:lnTo>
                <a:lnTo>
                  <a:pt x="5209" y="10433"/>
                </a:lnTo>
                <a:lnTo>
                  <a:pt x="5228" y="10448"/>
                </a:lnTo>
                <a:lnTo>
                  <a:pt x="5231" y="10472"/>
                </a:lnTo>
                <a:lnTo>
                  <a:pt x="5236" y="10509"/>
                </a:lnTo>
                <a:lnTo>
                  <a:pt x="5256" y="10570"/>
                </a:lnTo>
                <a:lnTo>
                  <a:pt x="5268" y="10614"/>
                </a:lnTo>
                <a:lnTo>
                  <a:pt x="5247" y="10605"/>
                </a:lnTo>
                <a:lnTo>
                  <a:pt x="5171" y="10528"/>
                </a:lnTo>
                <a:lnTo>
                  <a:pt x="5037" y="10546"/>
                </a:lnTo>
                <a:lnTo>
                  <a:pt x="4954" y="10602"/>
                </a:lnTo>
                <a:lnTo>
                  <a:pt x="5026" y="10642"/>
                </a:lnTo>
                <a:lnTo>
                  <a:pt x="5089" y="10742"/>
                </a:lnTo>
                <a:lnTo>
                  <a:pt x="5195" y="10723"/>
                </a:lnTo>
                <a:lnTo>
                  <a:pt x="5268" y="10701"/>
                </a:lnTo>
                <a:lnTo>
                  <a:pt x="5236" y="10789"/>
                </a:lnTo>
                <a:lnTo>
                  <a:pt x="5268" y="10836"/>
                </a:lnTo>
                <a:lnTo>
                  <a:pt x="5256" y="10836"/>
                </a:lnTo>
                <a:lnTo>
                  <a:pt x="5223" y="10811"/>
                </a:lnTo>
                <a:lnTo>
                  <a:pt x="5194" y="10780"/>
                </a:lnTo>
                <a:lnTo>
                  <a:pt x="5087" y="10855"/>
                </a:lnTo>
                <a:lnTo>
                  <a:pt x="4920" y="10920"/>
                </a:lnTo>
                <a:lnTo>
                  <a:pt x="4801" y="10994"/>
                </a:lnTo>
                <a:lnTo>
                  <a:pt x="4843" y="11099"/>
                </a:lnTo>
                <a:lnTo>
                  <a:pt x="4720" y="11220"/>
                </a:lnTo>
                <a:lnTo>
                  <a:pt x="4777" y="11270"/>
                </a:lnTo>
                <a:lnTo>
                  <a:pt x="4900" y="11239"/>
                </a:lnTo>
                <a:lnTo>
                  <a:pt x="4977" y="11109"/>
                </a:lnTo>
                <a:lnTo>
                  <a:pt x="5005" y="11107"/>
                </a:lnTo>
                <a:lnTo>
                  <a:pt x="5027" y="11100"/>
                </a:lnTo>
                <a:lnTo>
                  <a:pt x="5043" y="11096"/>
                </a:lnTo>
                <a:lnTo>
                  <a:pt x="5052" y="11105"/>
                </a:lnTo>
                <a:lnTo>
                  <a:pt x="5027" y="11167"/>
                </a:lnTo>
                <a:lnTo>
                  <a:pt x="5052" y="11242"/>
                </a:lnTo>
                <a:lnTo>
                  <a:pt x="5079" y="11300"/>
                </a:lnTo>
                <a:lnTo>
                  <a:pt x="5060" y="11305"/>
                </a:lnTo>
                <a:lnTo>
                  <a:pt x="4994" y="11232"/>
                </a:lnTo>
                <a:lnTo>
                  <a:pt x="4900" y="11267"/>
                </a:lnTo>
                <a:lnTo>
                  <a:pt x="4855" y="11349"/>
                </a:lnTo>
                <a:lnTo>
                  <a:pt x="4933" y="11422"/>
                </a:lnTo>
                <a:lnTo>
                  <a:pt x="4901" y="11456"/>
                </a:lnTo>
                <a:lnTo>
                  <a:pt x="4878" y="11493"/>
                </a:lnTo>
                <a:lnTo>
                  <a:pt x="4879" y="11529"/>
                </a:lnTo>
                <a:lnTo>
                  <a:pt x="4920" y="11557"/>
                </a:lnTo>
                <a:lnTo>
                  <a:pt x="4987" y="11534"/>
                </a:lnTo>
                <a:lnTo>
                  <a:pt x="5085" y="11517"/>
                </a:lnTo>
                <a:lnTo>
                  <a:pt x="5158" y="11483"/>
                </a:lnTo>
                <a:lnTo>
                  <a:pt x="5152" y="11410"/>
                </a:lnTo>
                <a:lnTo>
                  <a:pt x="5177" y="11460"/>
                </a:lnTo>
                <a:lnTo>
                  <a:pt x="5205" y="11563"/>
                </a:lnTo>
                <a:lnTo>
                  <a:pt x="5223" y="11675"/>
                </a:lnTo>
                <a:lnTo>
                  <a:pt x="5223" y="11753"/>
                </a:lnTo>
                <a:lnTo>
                  <a:pt x="5318" y="11757"/>
                </a:lnTo>
                <a:lnTo>
                  <a:pt x="5354" y="11772"/>
                </a:lnTo>
                <a:lnTo>
                  <a:pt x="5344" y="11804"/>
                </a:lnTo>
                <a:lnTo>
                  <a:pt x="5299" y="11857"/>
                </a:lnTo>
                <a:lnTo>
                  <a:pt x="5301" y="11949"/>
                </a:lnTo>
                <a:lnTo>
                  <a:pt x="5350" y="12025"/>
                </a:lnTo>
                <a:lnTo>
                  <a:pt x="5429" y="12072"/>
                </a:lnTo>
                <a:lnTo>
                  <a:pt x="5521" y="12072"/>
                </a:lnTo>
                <a:lnTo>
                  <a:pt x="5438" y="12128"/>
                </a:lnTo>
                <a:lnTo>
                  <a:pt x="5344" y="12151"/>
                </a:lnTo>
                <a:lnTo>
                  <a:pt x="5236" y="12165"/>
                </a:lnTo>
                <a:lnTo>
                  <a:pt x="5108" y="12197"/>
                </a:lnTo>
                <a:lnTo>
                  <a:pt x="5052" y="12295"/>
                </a:lnTo>
                <a:lnTo>
                  <a:pt x="5131" y="12365"/>
                </a:lnTo>
                <a:lnTo>
                  <a:pt x="5234" y="12364"/>
                </a:lnTo>
                <a:lnTo>
                  <a:pt x="5257" y="12248"/>
                </a:lnTo>
                <a:lnTo>
                  <a:pt x="5285" y="12226"/>
                </a:lnTo>
                <a:lnTo>
                  <a:pt x="5331" y="12215"/>
                </a:lnTo>
                <a:lnTo>
                  <a:pt x="5358" y="12216"/>
                </a:lnTo>
                <a:lnTo>
                  <a:pt x="5329" y="12231"/>
                </a:lnTo>
                <a:lnTo>
                  <a:pt x="5307" y="12258"/>
                </a:lnTo>
                <a:lnTo>
                  <a:pt x="5330" y="12279"/>
                </a:lnTo>
                <a:lnTo>
                  <a:pt x="5363" y="12300"/>
                </a:lnTo>
                <a:lnTo>
                  <a:pt x="5371" y="12331"/>
                </a:lnTo>
                <a:lnTo>
                  <a:pt x="5536" y="12347"/>
                </a:lnTo>
                <a:lnTo>
                  <a:pt x="5446" y="12438"/>
                </a:lnTo>
                <a:lnTo>
                  <a:pt x="5353" y="12551"/>
                </a:lnTo>
                <a:lnTo>
                  <a:pt x="5507" y="12636"/>
                </a:lnTo>
                <a:lnTo>
                  <a:pt x="5455" y="12774"/>
                </a:lnTo>
                <a:lnTo>
                  <a:pt x="5397" y="12727"/>
                </a:lnTo>
                <a:lnTo>
                  <a:pt x="5326" y="12575"/>
                </a:lnTo>
                <a:lnTo>
                  <a:pt x="5236" y="12401"/>
                </a:lnTo>
                <a:lnTo>
                  <a:pt x="5019" y="12450"/>
                </a:lnTo>
                <a:lnTo>
                  <a:pt x="5037" y="12536"/>
                </a:lnTo>
                <a:lnTo>
                  <a:pt x="5169" y="12655"/>
                </a:lnTo>
                <a:lnTo>
                  <a:pt x="5298" y="12808"/>
                </a:lnTo>
                <a:lnTo>
                  <a:pt x="5198" y="12860"/>
                </a:lnTo>
                <a:lnTo>
                  <a:pt x="5133" y="12897"/>
                </a:lnTo>
                <a:lnTo>
                  <a:pt x="5064" y="12910"/>
                </a:lnTo>
                <a:lnTo>
                  <a:pt x="4953" y="12891"/>
                </a:lnTo>
                <a:lnTo>
                  <a:pt x="4887" y="12949"/>
                </a:lnTo>
                <a:lnTo>
                  <a:pt x="4907" y="13005"/>
                </a:lnTo>
                <a:lnTo>
                  <a:pt x="4973" y="13041"/>
                </a:lnTo>
                <a:lnTo>
                  <a:pt x="5043" y="13040"/>
                </a:lnTo>
                <a:lnTo>
                  <a:pt x="5060" y="13131"/>
                </a:lnTo>
                <a:lnTo>
                  <a:pt x="5121" y="13170"/>
                </a:lnTo>
                <a:lnTo>
                  <a:pt x="5204" y="13165"/>
                </a:lnTo>
                <a:lnTo>
                  <a:pt x="5290" y="13126"/>
                </a:lnTo>
                <a:lnTo>
                  <a:pt x="5240" y="13226"/>
                </a:lnTo>
                <a:lnTo>
                  <a:pt x="5265" y="13324"/>
                </a:lnTo>
                <a:lnTo>
                  <a:pt x="5338" y="13406"/>
                </a:lnTo>
                <a:lnTo>
                  <a:pt x="5422" y="13462"/>
                </a:lnTo>
                <a:lnTo>
                  <a:pt x="5535" y="13391"/>
                </a:lnTo>
                <a:lnTo>
                  <a:pt x="5552" y="13414"/>
                </a:lnTo>
                <a:lnTo>
                  <a:pt x="5506" y="13485"/>
                </a:lnTo>
                <a:lnTo>
                  <a:pt x="5433" y="13564"/>
                </a:lnTo>
                <a:lnTo>
                  <a:pt x="5636" y="13804"/>
                </a:lnTo>
                <a:lnTo>
                  <a:pt x="5664" y="14380"/>
                </a:lnTo>
                <a:lnTo>
                  <a:pt x="5709" y="14944"/>
                </a:lnTo>
                <a:lnTo>
                  <a:pt x="5960" y="15143"/>
                </a:lnTo>
                <a:lnTo>
                  <a:pt x="5945" y="15354"/>
                </a:lnTo>
                <a:lnTo>
                  <a:pt x="5995" y="15564"/>
                </a:lnTo>
                <a:lnTo>
                  <a:pt x="6098" y="15648"/>
                </a:lnTo>
                <a:lnTo>
                  <a:pt x="6241" y="15485"/>
                </a:lnTo>
                <a:lnTo>
                  <a:pt x="6207" y="15092"/>
                </a:lnTo>
                <a:lnTo>
                  <a:pt x="6201" y="14527"/>
                </a:lnTo>
                <a:lnTo>
                  <a:pt x="6230" y="14119"/>
                </a:lnTo>
                <a:lnTo>
                  <a:pt x="6304" y="14194"/>
                </a:lnTo>
                <a:lnTo>
                  <a:pt x="6367" y="14199"/>
                </a:lnTo>
                <a:lnTo>
                  <a:pt x="6379" y="14175"/>
                </a:lnTo>
                <a:lnTo>
                  <a:pt x="6381" y="14137"/>
                </a:lnTo>
                <a:lnTo>
                  <a:pt x="6409" y="14099"/>
                </a:lnTo>
                <a:lnTo>
                  <a:pt x="6406" y="14061"/>
                </a:lnTo>
                <a:lnTo>
                  <a:pt x="6375" y="14031"/>
                </a:lnTo>
                <a:lnTo>
                  <a:pt x="6355" y="14007"/>
                </a:lnTo>
                <a:lnTo>
                  <a:pt x="6388" y="13984"/>
                </a:lnTo>
                <a:lnTo>
                  <a:pt x="6428" y="13847"/>
                </a:lnTo>
                <a:lnTo>
                  <a:pt x="6465" y="13875"/>
                </a:lnTo>
                <a:lnTo>
                  <a:pt x="6528" y="13952"/>
                </a:lnTo>
                <a:lnTo>
                  <a:pt x="6644" y="13968"/>
                </a:lnTo>
                <a:lnTo>
                  <a:pt x="6666" y="13928"/>
                </a:lnTo>
                <a:lnTo>
                  <a:pt x="6642" y="13860"/>
                </a:lnTo>
                <a:lnTo>
                  <a:pt x="6631" y="13779"/>
                </a:lnTo>
                <a:lnTo>
                  <a:pt x="6696" y="13706"/>
                </a:lnTo>
                <a:lnTo>
                  <a:pt x="6857" y="13728"/>
                </a:lnTo>
                <a:lnTo>
                  <a:pt x="6876" y="13731"/>
                </a:lnTo>
                <a:lnTo>
                  <a:pt x="6807" y="13751"/>
                </a:lnTo>
                <a:lnTo>
                  <a:pt x="6703" y="13824"/>
                </a:lnTo>
                <a:lnTo>
                  <a:pt x="6760" y="13918"/>
                </a:lnTo>
                <a:lnTo>
                  <a:pt x="6848" y="13984"/>
                </a:lnTo>
                <a:lnTo>
                  <a:pt x="6954" y="14045"/>
                </a:lnTo>
                <a:lnTo>
                  <a:pt x="7064" y="14127"/>
                </a:lnTo>
                <a:lnTo>
                  <a:pt x="6996" y="14166"/>
                </a:lnTo>
                <a:lnTo>
                  <a:pt x="7035" y="14247"/>
                </a:lnTo>
                <a:lnTo>
                  <a:pt x="7098" y="14278"/>
                </a:lnTo>
                <a:lnTo>
                  <a:pt x="7100" y="14175"/>
                </a:lnTo>
                <a:lnTo>
                  <a:pt x="7322" y="14160"/>
                </a:lnTo>
                <a:lnTo>
                  <a:pt x="7290" y="14019"/>
                </a:lnTo>
                <a:lnTo>
                  <a:pt x="7136" y="13839"/>
                </a:lnTo>
                <a:lnTo>
                  <a:pt x="6989" y="13713"/>
                </a:lnTo>
                <a:lnTo>
                  <a:pt x="6945" y="13632"/>
                </a:lnTo>
                <a:lnTo>
                  <a:pt x="6971" y="13567"/>
                </a:lnTo>
                <a:lnTo>
                  <a:pt x="6993" y="13502"/>
                </a:lnTo>
                <a:lnTo>
                  <a:pt x="6932" y="13418"/>
                </a:lnTo>
                <a:lnTo>
                  <a:pt x="6993" y="13420"/>
                </a:lnTo>
                <a:lnTo>
                  <a:pt x="6992" y="13396"/>
                </a:lnTo>
                <a:lnTo>
                  <a:pt x="6993" y="13367"/>
                </a:lnTo>
                <a:lnTo>
                  <a:pt x="7061" y="13349"/>
                </a:lnTo>
                <a:lnTo>
                  <a:pt x="7042" y="13508"/>
                </a:lnTo>
                <a:lnTo>
                  <a:pt x="7078" y="13618"/>
                </a:lnTo>
                <a:lnTo>
                  <a:pt x="7168" y="13698"/>
                </a:lnTo>
                <a:lnTo>
                  <a:pt x="7305" y="13772"/>
                </a:lnTo>
                <a:lnTo>
                  <a:pt x="7304" y="13772"/>
                </a:lnTo>
                <a:lnTo>
                  <a:pt x="7303" y="13773"/>
                </a:lnTo>
                <a:lnTo>
                  <a:pt x="7298" y="13792"/>
                </a:lnTo>
                <a:lnTo>
                  <a:pt x="7299" y="13809"/>
                </a:lnTo>
                <a:lnTo>
                  <a:pt x="7308" y="13818"/>
                </a:lnTo>
                <a:lnTo>
                  <a:pt x="7331" y="13815"/>
                </a:lnTo>
                <a:lnTo>
                  <a:pt x="7337" y="13810"/>
                </a:lnTo>
                <a:lnTo>
                  <a:pt x="7340" y="13801"/>
                </a:lnTo>
                <a:lnTo>
                  <a:pt x="7337" y="13793"/>
                </a:lnTo>
                <a:lnTo>
                  <a:pt x="7332" y="13784"/>
                </a:lnTo>
                <a:lnTo>
                  <a:pt x="7355" y="13795"/>
                </a:lnTo>
                <a:lnTo>
                  <a:pt x="7378" y="13806"/>
                </a:lnTo>
                <a:lnTo>
                  <a:pt x="7402" y="13818"/>
                </a:lnTo>
                <a:lnTo>
                  <a:pt x="7426" y="13829"/>
                </a:lnTo>
                <a:lnTo>
                  <a:pt x="7590" y="13793"/>
                </a:lnTo>
                <a:lnTo>
                  <a:pt x="7627" y="14057"/>
                </a:lnTo>
                <a:lnTo>
                  <a:pt x="7611" y="14436"/>
                </a:lnTo>
                <a:lnTo>
                  <a:pt x="7613" y="14752"/>
                </a:lnTo>
                <a:lnTo>
                  <a:pt x="7860" y="15038"/>
                </a:lnTo>
                <a:lnTo>
                  <a:pt x="7975" y="14607"/>
                </a:lnTo>
                <a:lnTo>
                  <a:pt x="8002" y="13919"/>
                </a:lnTo>
                <a:lnTo>
                  <a:pt x="7986" y="13439"/>
                </a:lnTo>
                <a:lnTo>
                  <a:pt x="8026" y="13428"/>
                </a:lnTo>
                <a:lnTo>
                  <a:pt x="8074" y="13413"/>
                </a:lnTo>
                <a:lnTo>
                  <a:pt x="8113" y="13409"/>
                </a:lnTo>
                <a:lnTo>
                  <a:pt x="8120" y="13428"/>
                </a:lnTo>
                <a:lnTo>
                  <a:pt x="8162" y="13499"/>
                </a:lnTo>
                <a:lnTo>
                  <a:pt x="8223" y="13471"/>
                </a:lnTo>
                <a:lnTo>
                  <a:pt x="8258" y="13404"/>
                </a:lnTo>
                <a:lnTo>
                  <a:pt x="8220" y="13352"/>
                </a:lnTo>
                <a:lnTo>
                  <a:pt x="8239" y="13349"/>
                </a:lnTo>
                <a:lnTo>
                  <a:pt x="8282" y="13349"/>
                </a:lnTo>
                <a:lnTo>
                  <a:pt x="8325" y="13349"/>
                </a:lnTo>
                <a:lnTo>
                  <a:pt x="8346" y="13349"/>
                </a:lnTo>
                <a:lnTo>
                  <a:pt x="8412" y="13447"/>
                </a:lnTo>
                <a:lnTo>
                  <a:pt x="8491" y="13494"/>
                </a:lnTo>
                <a:lnTo>
                  <a:pt x="8538" y="13470"/>
                </a:lnTo>
                <a:lnTo>
                  <a:pt x="8507" y="13349"/>
                </a:lnTo>
                <a:lnTo>
                  <a:pt x="8644" y="13400"/>
                </a:lnTo>
                <a:lnTo>
                  <a:pt x="8655" y="13633"/>
                </a:lnTo>
                <a:lnTo>
                  <a:pt x="8647" y="13849"/>
                </a:lnTo>
                <a:lnTo>
                  <a:pt x="8728" y="13851"/>
                </a:lnTo>
                <a:lnTo>
                  <a:pt x="8725" y="13644"/>
                </a:lnTo>
                <a:lnTo>
                  <a:pt x="8726" y="13464"/>
                </a:lnTo>
                <a:lnTo>
                  <a:pt x="8796" y="13353"/>
                </a:lnTo>
                <a:lnTo>
                  <a:pt x="9001" y="13349"/>
                </a:lnTo>
                <a:lnTo>
                  <a:pt x="9013" y="13788"/>
                </a:lnTo>
                <a:lnTo>
                  <a:pt x="8985" y="14257"/>
                </a:lnTo>
                <a:lnTo>
                  <a:pt x="8986" y="14705"/>
                </a:lnTo>
                <a:lnTo>
                  <a:pt x="9080" y="15087"/>
                </a:lnTo>
                <a:lnTo>
                  <a:pt x="9150" y="14677"/>
                </a:lnTo>
                <a:lnTo>
                  <a:pt x="9176" y="14057"/>
                </a:lnTo>
                <a:lnTo>
                  <a:pt x="9182" y="13549"/>
                </a:lnTo>
                <a:lnTo>
                  <a:pt x="9196" y="13471"/>
                </a:lnTo>
                <a:lnTo>
                  <a:pt x="9194" y="13476"/>
                </a:lnTo>
                <a:lnTo>
                  <a:pt x="9190" y="13485"/>
                </a:lnTo>
                <a:lnTo>
                  <a:pt x="9191" y="13492"/>
                </a:lnTo>
                <a:lnTo>
                  <a:pt x="9194" y="13497"/>
                </a:lnTo>
                <a:lnTo>
                  <a:pt x="9196" y="13499"/>
                </a:lnTo>
                <a:lnTo>
                  <a:pt x="9199" y="13499"/>
                </a:lnTo>
                <a:lnTo>
                  <a:pt x="9206" y="13577"/>
                </a:lnTo>
                <a:lnTo>
                  <a:pt x="9214" y="13685"/>
                </a:lnTo>
                <a:lnTo>
                  <a:pt x="9224" y="13828"/>
                </a:lnTo>
                <a:lnTo>
                  <a:pt x="9236" y="14007"/>
                </a:lnTo>
                <a:lnTo>
                  <a:pt x="9329" y="13479"/>
                </a:lnTo>
                <a:lnTo>
                  <a:pt x="9490" y="13325"/>
                </a:lnTo>
                <a:lnTo>
                  <a:pt x="9825" y="13349"/>
                </a:lnTo>
                <a:lnTo>
                  <a:pt x="10441" y="13349"/>
                </a:lnTo>
                <a:lnTo>
                  <a:pt x="10885" y="13320"/>
                </a:lnTo>
                <a:lnTo>
                  <a:pt x="11327" y="13315"/>
                </a:lnTo>
                <a:lnTo>
                  <a:pt x="11734" y="13327"/>
                </a:lnTo>
                <a:lnTo>
                  <a:pt x="12076" y="13349"/>
                </a:lnTo>
                <a:lnTo>
                  <a:pt x="12045" y="13289"/>
                </a:lnTo>
                <a:lnTo>
                  <a:pt x="12043" y="13229"/>
                </a:lnTo>
                <a:lnTo>
                  <a:pt x="12078" y="13185"/>
                </a:lnTo>
                <a:lnTo>
                  <a:pt x="12161" y="13171"/>
                </a:lnTo>
                <a:lnTo>
                  <a:pt x="12262" y="13215"/>
                </a:lnTo>
                <a:lnTo>
                  <a:pt x="12272" y="13275"/>
                </a:lnTo>
                <a:lnTo>
                  <a:pt x="12278" y="13327"/>
                </a:lnTo>
                <a:lnTo>
                  <a:pt x="12365" y="13349"/>
                </a:lnTo>
                <a:lnTo>
                  <a:pt x="12483" y="13319"/>
                </a:lnTo>
                <a:lnTo>
                  <a:pt x="12631" y="13331"/>
                </a:lnTo>
                <a:lnTo>
                  <a:pt x="12786" y="13352"/>
                </a:lnTo>
                <a:lnTo>
                  <a:pt x="12925" y="13349"/>
                </a:lnTo>
                <a:lnTo>
                  <a:pt x="12867" y="13269"/>
                </a:lnTo>
                <a:lnTo>
                  <a:pt x="12856" y="13186"/>
                </a:lnTo>
                <a:lnTo>
                  <a:pt x="12901" y="13128"/>
                </a:lnTo>
                <a:lnTo>
                  <a:pt x="13007" y="13121"/>
                </a:lnTo>
                <a:lnTo>
                  <a:pt x="12977" y="13037"/>
                </a:lnTo>
                <a:lnTo>
                  <a:pt x="13059" y="13063"/>
                </a:lnTo>
                <a:lnTo>
                  <a:pt x="13131" y="13175"/>
                </a:lnTo>
                <a:lnTo>
                  <a:pt x="13073" y="13349"/>
                </a:lnTo>
                <a:lnTo>
                  <a:pt x="13091" y="13349"/>
                </a:lnTo>
                <a:lnTo>
                  <a:pt x="13128" y="13349"/>
                </a:lnTo>
                <a:lnTo>
                  <a:pt x="13166" y="13349"/>
                </a:lnTo>
                <a:lnTo>
                  <a:pt x="13182" y="13349"/>
                </a:lnTo>
                <a:lnTo>
                  <a:pt x="13251" y="13257"/>
                </a:lnTo>
                <a:lnTo>
                  <a:pt x="13361" y="13265"/>
                </a:lnTo>
                <a:lnTo>
                  <a:pt x="13475" y="13299"/>
                </a:lnTo>
                <a:lnTo>
                  <a:pt x="13557" y="13289"/>
                </a:lnTo>
                <a:lnTo>
                  <a:pt x="13548" y="13261"/>
                </a:lnTo>
                <a:lnTo>
                  <a:pt x="13527" y="13243"/>
                </a:lnTo>
                <a:lnTo>
                  <a:pt x="13501" y="13228"/>
                </a:lnTo>
                <a:lnTo>
                  <a:pt x="13469" y="13205"/>
                </a:lnTo>
                <a:lnTo>
                  <a:pt x="13456" y="13187"/>
                </a:lnTo>
                <a:lnTo>
                  <a:pt x="13483" y="13189"/>
                </a:lnTo>
                <a:lnTo>
                  <a:pt x="13511" y="13194"/>
                </a:lnTo>
                <a:lnTo>
                  <a:pt x="13503" y="13184"/>
                </a:lnTo>
                <a:lnTo>
                  <a:pt x="13567" y="13172"/>
                </a:lnTo>
                <a:lnTo>
                  <a:pt x="13608" y="13165"/>
                </a:lnTo>
                <a:lnTo>
                  <a:pt x="13638" y="13180"/>
                </a:lnTo>
                <a:lnTo>
                  <a:pt x="13670" y="13237"/>
                </a:lnTo>
                <a:lnTo>
                  <a:pt x="13655" y="13040"/>
                </a:lnTo>
                <a:lnTo>
                  <a:pt x="13569" y="13084"/>
                </a:lnTo>
                <a:lnTo>
                  <a:pt x="13445" y="13176"/>
                </a:lnTo>
                <a:lnTo>
                  <a:pt x="13306" y="13117"/>
                </a:lnTo>
                <a:lnTo>
                  <a:pt x="13345" y="13115"/>
                </a:lnTo>
                <a:lnTo>
                  <a:pt x="13343" y="13093"/>
                </a:lnTo>
                <a:lnTo>
                  <a:pt x="13329" y="13054"/>
                </a:lnTo>
                <a:lnTo>
                  <a:pt x="13338" y="12999"/>
                </a:lnTo>
                <a:lnTo>
                  <a:pt x="13370" y="12938"/>
                </a:lnTo>
                <a:lnTo>
                  <a:pt x="13427" y="12921"/>
                </a:lnTo>
                <a:lnTo>
                  <a:pt x="13478" y="12912"/>
                </a:lnTo>
                <a:lnTo>
                  <a:pt x="13488" y="12874"/>
                </a:lnTo>
                <a:lnTo>
                  <a:pt x="13519" y="12788"/>
                </a:lnTo>
                <a:lnTo>
                  <a:pt x="13477" y="12718"/>
                </a:lnTo>
                <a:lnTo>
                  <a:pt x="13435" y="12657"/>
                </a:lnTo>
                <a:lnTo>
                  <a:pt x="13466" y="12596"/>
                </a:lnTo>
                <a:lnTo>
                  <a:pt x="13517" y="12612"/>
                </a:lnTo>
                <a:lnTo>
                  <a:pt x="13582" y="12597"/>
                </a:lnTo>
                <a:lnTo>
                  <a:pt x="13650" y="12590"/>
                </a:lnTo>
                <a:lnTo>
                  <a:pt x="13707" y="12630"/>
                </a:lnTo>
                <a:lnTo>
                  <a:pt x="13697" y="12557"/>
                </a:lnTo>
                <a:lnTo>
                  <a:pt x="13748" y="12526"/>
                </a:lnTo>
                <a:lnTo>
                  <a:pt x="13814" y="12534"/>
                </a:lnTo>
                <a:lnTo>
                  <a:pt x="13850" y="12585"/>
                </a:lnTo>
                <a:lnTo>
                  <a:pt x="13851" y="12716"/>
                </a:lnTo>
                <a:lnTo>
                  <a:pt x="13806" y="12720"/>
                </a:lnTo>
                <a:lnTo>
                  <a:pt x="13752" y="12705"/>
                </a:lnTo>
                <a:lnTo>
                  <a:pt x="13717" y="12774"/>
                </a:lnTo>
                <a:lnTo>
                  <a:pt x="13764" y="12803"/>
                </a:lnTo>
                <a:lnTo>
                  <a:pt x="13796" y="12832"/>
                </a:lnTo>
                <a:lnTo>
                  <a:pt x="13809" y="12836"/>
                </a:lnTo>
                <a:lnTo>
                  <a:pt x="13794" y="12785"/>
                </a:lnTo>
                <a:lnTo>
                  <a:pt x="13837" y="12764"/>
                </a:lnTo>
                <a:lnTo>
                  <a:pt x="13890" y="12739"/>
                </a:lnTo>
                <a:lnTo>
                  <a:pt x="13932" y="12704"/>
                </a:lnTo>
                <a:lnTo>
                  <a:pt x="13941" y="12648"/>
                </a:lnTo>
                <a:lnTo>
                  <a:pt x="13969" y="12496"/>
                </a:lnTo>
                <a:lnTo>
                  <a:pt x="14060" y="12406"/>
                </a:lnTo>
                <a:lnTo>
                  <a:pt x="14155" y="12410"/>
                </a:lnTo>
                <a:lnTo>
                  <a:pt x="14200" y="12540"/>
                </a:lnTo>
                <a:lnTo>
                  <a:pt x="14225" y="12556"/>
                </a:lnTo>
                <a:lnTo>
                  <a:pt x="14232" y="12557"/>
                </a:lnTo>
                <a:lnTo>
                  <a:pt x="14227" y="12543"/>
                </a:lnTo>
                <a:lnTo>
                  <a:pt x="14218" y="12519"/>
                </a:lnTo>
                <a:lnTo>
                  <a:pt x="14229" y="12490"/>
                </a:lnTo>
                <a:lnTo>
                  <a:pt x="14242" y="12466"/>
                </a:lnTo>
                <a:lnTo>
                  <a:pt x="14257" y="12464"/>
                </a:lnTo>
                <a:lnTo>
                  <a:pt x="14274" y="12500"/>
                </a:lnTo>
                <a:lnTo>
                  <a:pt x="14276" y="12555"/>
                </a:lnTo>
                <a:lnTo>
                  <a:pt x="14261" y="12610"/>
                </a:lnTo>
                <a:lnTo>
                  <a:pt x="14251" y="12655"/>
                </a:lnTo>
                <a:lnTo>
                  <a:pt x="14271" y="12682"/>
                </a:lnTo>
                <a:lnTo>
                  <a:pt x="14257" y="12646"/>
                </a:lnTo>
                <a:lnTo>
                  <a:pt x="14279" y="12627"/>
                </a:lnTo>
                <a:lnTo>
                  <a:pt x="14318" y="12626"/>
                </a:lnTo>
                <a:lnTo>
                  <a:pt x="14351" y="12643"/>
                </a:lnTo>
                <a:lnTo>
                  <a:pt x="14360" y="12638"/>
                </a:lnTo>
                <a:lnTo>
                  <a:pt x="14368" y="12644"/>
                </a:lnTo>
                <a:lnTo>
                  <a:pt x="14369" y="12655"/>
                </a:lnTo>
                <a:lnTo>
                  <a:pt x="14359" y="12663"/>
                </a:lnTo>
                <a:lnTo>
                  <a:pt x="14372" y="12678"/>
                </a:lnTo>
                <a:lnTo>
                  <a:pt x="14390" y="12690"/>
                </a:lnTo>
                <a:lnTo>
                  <a:pt x="14405" y="12700"/>
                </a:lnTo>
                <a:lnTo>
                  <a:pt x="14409" y="12710"/>
                </a:lnTo>
                <a:lnTo>
                  <a:pt x="14374" y="12727"/>
                </a:lnTo>
                <a:lnTo>
                  <a:pt x="14332" y="12742"/>
                </a:lnTo>
                <a:lnTo>
                  <a:pt x="14317" y="12752"/>
                </a:lnTo>
                <a:lnTo>
                  <a:pt x="14363" y="12753"/>
                </a:lnTo>
                <a:lnTo>
                  <a:pt x="14425" y="12775"/>
                </a:lnTo>
                <a:lnTo>
                  <a:pt x="14471" y="12748"/>
                </a:lnTo>
                <a:lnTo>
                  <a:pt x="14517" y="12710"/>
                </a:lnTo>
                <a:lnTo>
                  <a:pt x="14581" y="12696"/>
                </a:lnTo>
                <a:lnTo>
                  <a:pt x="14643" y="12611"/>
                </a:lnTo>
                <a:lnTo>
                  <a:pt x="14733" y="12705"/>
                </a:lnTo>
                <a:lnTo>
                  <a:pt x="14821" y="12870"/>
                </a:lnTo>
                <a:lnTo>
                  <a:pt x="14876" y="12997"/>
                </a:lnTo>
                <a:lnTo>
                  <a:pt x="14945" y="12888"/>
                </a:lnTo>
                <a:lnTo>
                  <a:pt x="14979" y="12855"/>
                </a:lnTo>
                <a:lnTo>
                  <a:pt x="15034" y="12877"/>
                </a:lnTo>
                <a:lnTo>
                  <a:pt x="15168" y="12934"/>
                </a:lnTo>
                <a:lnTo>
                  <a:pt x="15210" y="12970"/>
                </a:lnTo>
                <a:lnTo>
                  <a:pt x="15226" y="13021"/>
                </a:lnTo>
                <a:lnTo>
                  <a:pt x="15243" y="13060"/>
                </a:lnTo>
                <a:lnTo>
                  <a:pt x="15282" y="13064"/>
                </a:lnTo>
                <a:lnTo>
                  <a:pt x="15285" y="13075"/>
                </a:lnTo>
                <a:lnTo>
                  <a:pt x="15280" y="13089"/>
                </a:lnTo>
                <a:lnTo>
                  <a:pt x="15267" y="13102"/>
                </a:lnTo>
                <a:lnTo>
                  <a:pt x="15251" y="13102"/>
                </a:lnTo>
                <a:lnTo>
                  <a:pt x="15289" y="13153"/>
                </a:lnTo>
                <a:lnTo>
                  <a:pt x="15257" y="13193"/>
                </a:lnTo>
                <a:lnTo>
                  <a:pt x="15230" y="13222"/>
                </a:lnTo>
                <a:lnTo>
                  <a:pt x="15291" y="13237"/>
                </a:lnTo>
                <a:lnTo>
                  <a:pt x="15289" y="13261"/>
                </a:lnTo>
                <a:lnTo>
                  <a:pt x="15258" y="13287"/>
                </a:lnTo>
                <a:lnTo>
                  <a:pt x="15237" y="13308"/>
                </a:lnTo>
                <a:lnTo>
                  <a:pt x="15266" y="13320"/>
                </a:lnTo>
                <a:lnTo>
                  <a:pt x="15299" y="13282"/>
                </a:lnTo>
                <a:lnTo>
                  <a:pt x="15317" y="13301"/>
                </a:lnTo>
                <a:lnTo>
                  <a:pt x="15331" y="13336"/>
                </a:lnTo>
                <a:lnTo>
                  <a:pt x="15347" y="13349"/>
                </a:lnTo>
                <a:lnTo>
                  <a:pt x="15326" y="13229"/>
                </a:lnTo>
                <a:lnTo>
                  <a:pt x="15324" y="13107"/>
                </a:lnTo>
                <a:lnTo>
                  <a:pt x="15374" y="13036"/>
                </a:lnTo>
                <a:lnTo>
                  <a:pt x="15508" y="13065"/>
                </a:lnTo>
                <a:lnTo>
                  <a:pt x="15545" y="13036"/>
                </a:lnTo>
                <a:lnTo>
                  <a:pt x="15543" y="13016"/>
                </a:lnTo>
                <a:lnTo>
                  <a:pt x="15537" y="12995"/>
                </a:lnTo>
                <a:lnTo>
                  <a:pt x="15556" y="12963"/>
                </a:lnTo>
                <a:lnTo>
                  <a:pt x="15605" y="12942"/>
                </a:lnTo>
                <a:lnTo>
                  <a:pt x="15619" y="12907"/>
                </a:lnTo>
                <a:lnTo>
                  <a:pt x="15606" y="12884"/>
                </a:lnTo>
                <a:lnTo>
                  <a:pt x="15573" y="12897"/>
                </a:lnTo>
                <a:lnTo>
                  <a:pt x="15535" y="12966"/>
                </a:lnTo>
                <a:lnTo>
                  <a:pt x="15452" y="12986"/>
                </a:lnTo>
                <a:lnTo>
                  <a:pt x="15384" y="12965"/>
                </a:lnTo>
                <a:lnTo>
                  <a:pt x="15389" y="12904"/>
                </a:lnTo>
                <a:lnTo>
                  <a:pt x="15444" y="12881"/>
                </a:lnTo>
                <a:lnTo>
                  <a:pt x="15473" y="12827"/>
                </a:lnTo>
                <a:lnTo>
                  <a:pt x="15475" y="12785"/>
                </a:lnTo>
                <a:lnTo>
                  <a:pt x="15444" y="12795"/>
                </a:lnTo>
                <a:lnTo>
                  <a:pt x="15410" y="12844"/>
                </a:lnTo>
                <a:lnTo>
                  <a:pt x="15363" y="12831"/>
                </a:lnTo>
                <a:lnTo>
                  <a:pt x="15349" y="12802"/>
                </a:lnTo>
                <a:lnTo>
                  <a:pt x="15412" y="12795"/>
                </a:lnTo>
                <a:lnTo>
                  <a:pt x="15388" y="12744"/>
                </a:lnTo>
                <a:lnTo>
                  <a:pt x="15445" y="12686"/>
                </a:lnTo>
                <a:lnTo>
                  <a:pt x="15505" y="12676"/>
                </a:lnTo>
                <a:lnTo>
                  <a:pt x="15485" y="12765"/>
                </a:lnTo>
                <a:lnTo>
                  <a:pt x="15549" y="12730"/>
                </a:lnTo>
                <a:lnTo>
                  <a:pt x="15559" y="12663"/>
                </a:lnTo>
                <a:lnTo>
                  <a:pt x="15598" y="12607"/>
                </a:lnTo>
                <a:lnTo>
                  <a:pt x="15748" y="12611"/>
                </a:lnTo>
                <a:lnTo>
                  <a:pt x="15724" y="12560"/>
                </a:lnTo>
                <a:lnTo>
                  <a:pt x="15759" y="12574"/>
                </a:lnTo>
                <a:lnTo>
                  <a:pt x="15834" y="12601"/>
                </a:lnTo>
                <a:lnTo>
                  <a:pt x="15932" y="12588"/>
                </a:lnTo>
                <a:lnTo>
                  <a:pt x="15890" y="12747"/>
                </a:lnTo>
                <a:lnTo>
                  <a:pt x="15897" y="12923"/>
                </a:lnTo>
                <a:lnTo>
                  <a:pt x="15943" y="12998"/>
                </a:lnTo>
                <a:lnTo>
                  <a:pt x="16017" y="12850"/>
                </a:lnTo>
                <a:lnTo>
                  <a:pt x="16055" y="12825"/>
                </a:lnTo>
                <a:lnTo>
                  <a:pt x="16038" y="12752"/>
                </a:lnTo>
                <a:lnTo>
                  <a:pt x="16031" y="12662"/>
                </a:lnTo>
                <a:lnTo>
                  <a:pt x="16100" y="12584"/>
                </a:lnTo>
                <a:lnTo>
                  <a:pt x="16083" y="12566"/>
                </a:lnTo>
                <a:lnTo>
                  <a:pt x="16067" y="12569"/>
                </a:lnTo>
                <a:lnTo>
                  <a:pt x="16050" y="12576"/>
                </a:lnTo>
                <a:lnTo>
                  <a:pt x="16029" y="12573"/>
                </a:lnTo>
                <a:lnTo>
                  <a:pt x="15999" y="12523"/>
                </a:lnTo>
                <a:lnTo>
                  <a:pt x="16016" y="12505"/>
                </a:lnTo>
                <a:lnTo>
                  <a:pt x="16027" y="12500"/>
                </a:lnTo>
                <a:lnTo>
                  <a:pt x="15987" y="12490"/>
                </a:lnTo>
                <a:lnTo>
                  <a:pt x="15750" y="12366"/>
                </a:lnTo>
                <a:lnTo>
                  <a:pt x="15804" y="12206"/>
                </a:lnTo>
                <a:lnTo>
                  <a:pt x="15996" y="12153"/>
                </a:lnTo>
                <a:lnTo>
                  <a:pt x="16174" y="12351"/>
                </a:lnTo>
                <a:lnTo>
                  <a:pt x="16153" y="12386"/>
                </a:lnTo>
                <a:lnTo>
                  <a:pt x="16127" y="12368"/>
                </a:lnTo>
                <a:lnTo>
                  <a:pt x="16106" y="12352"/>
                </a:lnTo>
                <a:lnTo>
                  <a:pt x="16106" y="12400"/>
                </a:lnTo>
                <a:lnTo>
                  <a:pt x="16092" y="12405"/>
                </a:lnTo>
                <a:lnTo>
                  <a:pt x="16077" y="12422"/>
                </a:lnTo>
                <a:lnTo>
                  <a:pt x="16068" y="12448"/>
                </a:lnTo>
                <a:lnTo>
                  <a:pt x="16074" y="12475"/>
                </a:lnTo>
                <a:lnTo>
                  <a:pt x="16109" y="12436"/>
                </a:lnTo>
                <a:lnTo>
                  <a:pt x="16136" y="12468"/>
                </a:lnTo>
                <a:lnTo>
                  <a:pt x="16155" y="12504"/>
                </a:lnTo>
                <a:lnTo>
                  <a:pt x="16169" y="12481"/>
                </a:lnTo>
                <a:lnTo>
                  <a:pt x="16184" y="12508"/>
                </a:lnTo>
                <a:lnTo>
                  <a:pt x="16178" y="12531"/>
                </a:lnTo>
                <a:lnTo>
                  <a:pt x="16156" y="12545"/>
                </a:lnTo>
                <a:lnTo>
                  <a:pt x="16125" y="12545"/>
                </a:lnTo>
                <a:lnTo>
                  <a:pt x="16150" y="12564"/>
                </a:lnTo>
                <a:lnTo>
                  <a:pt x="16155" y="12590"/>
                </a:lnTo>
                <a:lnTo>
                  <a:pt x="16160" y="12610"/>
                </a:lnTo>
                <a:lnTo>
                  <a:pt x="16180" y="12607"/>
                </a:lnTo>
                <a:lnTo>
                  <a:pt x="16213" y="12569"/>
                </a:lnTo>
                <a:lnTo>
                  <a:pt x="16175" y="12478"/>
                </a:lnTo>
                <a:lnTo>
                  <a:pt x="16153" y="12400"/>
                </a:lnTo>
                <a:lnTo>
                  <a:pt x="16235" y="12397"/>
                </a:lnTo>
                <a:lnTo>
                  <a:pt x="16240" y="12415"/>
                </a:lnTo>
                <a:lnTo>
                  <a:pt x="16248" y="12407"/>
                </a:lnTo>
                <a:lnTo>
                  <a:pt x="16255" y="12388"/>
                </a:lnTo>
                <a:lnTo>
                  <a:pt x="16259" y="12370"/>
                </a:lnTo>
                <a:lnTo>
                  <a:pt x="16281" y="12364"/>
                </a:lnTo>
                <a:lnTo>
                  <a:pt x="16271" y="12319"/>
                </a:lnTo>
                <a:lnTo>
                  <a:pt x="16281" y="12282"/>
                </a:lnTo>
                <a:lnTo>
                  <a:pt x="16358" y="12300"/>
                </a:lnTo>
                <a:lnTo>
                  <a:pt x="16343" y="12331"/>
                </a:lnTo>
                <a:lnTo>
                  <a:pt x="16355" y="12338"/>
                </a:lnTo>
                <a:lnTo>
                  <a:pt x="16380" y="12329"/>
                </a:lnTo>
                <a:lnTo>
                  <a:pt x="16404" y="12309"/>
                </a:lnTo>
                <a:lnTo>
                  <a:pt x="16421" y="12332"/>
                </a:lnTo>
                <a:lnTo>
                  <a:pt x="16481" y="12354"/>
                </a:lnTo>
                <a:lnTo>
                  <a:pt x="16524" y="12358"/>
                </a:lnTo>
                <a:lnTo>
                  <a:pt x="16487" y="12326"/>
                </a:lnTo>
                <a:lnTo>
                  <a:pt x="16477" y="12290"/>
                </a:lnTo>
                <a:lnTo>
                  <a:pt x="16486" y="12266"/>
                </a:lnTo>
                <a:lnTo>
                  <a:pt x="16509" y="12256"/>
                </a:lnTo>
                <a:lnTo>
                  <a:pt x="16542" y="12262"/>
                </a:lnTo>
                <a:lnTo>
                  <a:pt x="16580" y="12428"/>
                </a:lnTo>
                <a:lnTo>
                  <a:pt x="16607" y="12463"/>
                </a:lnTo>
                <a:lnTo>
                  <a:pt x="16662" y="12439"/>
                </a:lnTo>
                <a:lnTo>
                  <a:pt x="16785" y="12425"/>
                </a:lnTo>
                <a:lnTo>
                  <a:pt x="16783" y="12468"/>
                </a:lnTo>
                <a:lnTo>
                  <a:pt x="16744" y="12514"/>
                </a:lnTo>
                <a:lnTo>
                  <a:pt x="16712" y="12547"/>
                </a:lnTo>
                <a:lnTo>
                  <a:pt x="16733" y="12555"/>
                </a:lnTo>
                <a:lnTo>
                  <a:pt x="16720" y="12540"/>
                </a:lnTo>
                <a:lnTo>
                  <a:pt x="16757" y="12536"/>
                </a:lnTo>
                <a:lnTo>
                  <a:pt x="16805" y="12533"/>
                </a:lnTo>
                <a:lnTo>
                  <a:pt x="16828" y="12523"/>
                </a:lnTo>
                <a:lnTo>
                  <a:pt x="16825" y="12496"/>
                </a:lnTo>
                <a:lnTo>
                  <a:pt x="16841" y="12496"/>
                </a:lnTo>
                <a:lnTo>
                  <a:pt x="16855" y="12498"/>
                </a:lnTo>
                <a:lnTo>
                  <a:pt x="16847" y="12477"/>
                </a:lnTo>
                <a:lnTo>
                  <a:pt x="16854" y="12435"/>
                </a:lnTo>
                <a:lnTo>
                  <a:pt x="16873" y="12456"/>
                </a:lnTo>
                <a:lnTo>
                  <a:pt x="16892" y="12501"/>
                </a:lnTo>
                <a:lnTo>
                  <a:pt x="16905" y="12536"/>
                </a:lnTo>
                <a:lnTo>
                  <a:pt x="16905" y="12512"/>
                </a:lnTo>
                <a:lnTo>
                  <a:pt x="16920" y="12508"/>
                </a:lnTo>
                <a:lnTo>
                  <a:pt x="16933" y="12519"/>
                </a:lnTo>
                <a:lnTo>
                  <a:pt x="16921" y="12538"/>
                </a:lnTo>
                <a:lnTo>
                  <a:pt x="16970" y="12550"/>
                </a:lnTo>
                <a:lnTo>
                  <a:pt x="17004" y="12570"/>
                </a:lnTo>
                <a:lnTo>
                  <a:pt x="17023" y="12573"/>
                </a:lnTo>
                <a:lnTo>
                  <a:pt x="17030" y="12533"/>
                </a:lnTo>
                <a:lnTo>
                  <a:pt x="17022" y="12485"/>
                </a:lnTo>
                <a:lnTo>
                  <a:pt x="17044" y="12477"/>
                </a:lnTo>
                <a:lnTo>
                  <a:pt x="17073" y="12500"/>
                </a:lnTo>
                <a:lnTo>
                  <a:pt x="17088" y="12542"/>
                </a:lnTo>
                <a:lnTo>
                  <a:pt x="17109" y="12695"/>
                </a:lnTo>
                <a:lnTo>
                  <a:pt x="17130" y="12664"/>
                </a:lnTo>
                <a:lnTo>
                  <a:pt x="17154" y="12541"/>
                </a:lnTo>
                <a:lnTo>
                  <a:pt x="17182" y="12416"/>
                </a:lnTo>
                <a:lnTo>
                  <a:pt x="17110" y="12471"/>
                </a:lnTo>
                <a:lnTo>
                  <a:pt x="17077" y="12462"/>
                </a:lnTo>
                <a:lnTo>
                  <a:pt x="17041" y="12433"/>
                </a:lnTo>
                <a:lnTo>
                  <a:pt x="16961" y="12424"/>
                </a:lnTo>
                <a:lnTo>
                  <a:pt x="16900" y="12296"/>
                </a:lnTo>
                <a:lnTo>
                  <a:pt x="16914" y="12200"/>
                </a:lnTo>
                <a:lnTo>
                  <a:pt x="16935" y="12137"/>
                </a:lnTo>
                <a:lnTo>
                  <a:pt x="16900" y="12108"/>
                </a:lnTo>
                <a:lnTo>
                  <a:pt x="16867" y="11944"/>
                </a:lnTo>
                <a:lnTo>
                  <a:pt x="16970" y="11972"/>
                </a:lnTo>
                <a:lnTo>
                  <a:pt x="17135" y="12088"/>
                </a:lnTo>
                <a:lnTo>
                  <a:pt x="17284" y="12187"/>
                </a:lnTo>
                <a:lnTo>
                  <a:pt x="17259" y="12345"/>
                </a:lnTo>
                <a:lnTo>
                  <a:pt x="17296" y="12508"/>
                </a:lnTo>
                <a:lnTo>
                  <a:pt x="17340" y="12571"/>
                </a:lnTo>
                <a:lnTo>
                  <a:pt x="17338" y="12428"/>
                </a:lnTo>
                <a:lnTo>
                  <a:pt x="17366" y="12380"/>
                </a:lnTo>
                <a:lnTo>
                  <a:pt x="17373" y="12322"/>
                </a:lnTo>
                <a:lnTo>
                  <a:pt x="17377" y="12275"/>
                </a:lnTo>
                <a:lnTo>
                  <a:pt x="17396" y="12257"/>
                </a:lnTo>
                <a:lnTo>
                  <a:pt x="17419" y="12193"/>
                </a:lnTo>
                <a:lnTo>
                  <a:pt x="17461" y="12235"/>
                </a:lnTo>
                <a:lnTo>
                  <a:pt x="17514" y="12252"/>
                </a:lnTo>
                <a:lnTo>
                  <a:pt x="17564" y="12114"/>
                </a:lnTo>
                <a:lnTo>
                  <a:pt x="17576" y="12060"/>
                </a:lnTo>
                <a:lnTo>
                  <a:pt x="17572" y="12060"/>
                </a:lnTo>
                <a:lnTo>
                  <a:pt x="17549" y="12086"/>
                </a:lnTo>
                <a:lnTo>
                  <a:pt x="17505" y="12116"/>
                </a:lnTo>
                <a:lnTo>
                  <a:pt x="17456" y="12075"/>
                </a:lnTo>
                <a:lnTo>
                  <a:pt x="17441" y="11985"/>
                </a:lnTo>
                <a:lnTo>
                  <a:pt x="17441" y="11921"/>
                </a:lnTo>
                <a:lnTo>
                  <a:pt x="17438" y="11963"/>
                </a:lnTo>
                <a:lnTo>
                  <a:pt x="17400" y="11954"/>
                </a:lnTo>
                <a:lnTo>
                  <a:pt x="17382" y="11981"/>
                </a:lnTo>
                <a:lnTo>
                  <a:pt x="17368" y="12005"/>
                </a:lnTo>
                <a:lnTo>
                  <a:pt x="17343" y="11985"/>
                </a:lnTo>
                <a:lnTo>
                  <a:pt x="17311" y="12034"/>
                </a:lnTo>
                <a:lnTo>
                  <a:pt x="17242" y="12071"/>
                </a:lnTo>
                <a:lnTo>
                  <a:pt x="17194" y="12072"/>
                </a:lnTo>
                <a:lnTo>
                  <a:pt x="17227" y="12015"/>
                </a:lnTo>
                <a:lnTo>
                  <a:pt x="17236" y="11958"/>
                </a:lnTo>
                <a:lnTo>
                  <a:pt x="17166" y="11862"/>
                </a:lnTo>
                <a:lnTo>
                  <a:pt x="17102" y="11752"/>
                </a:lnTo>
                <a:lnTo>
                  <a:pt x="17138" y="11647"/>
                </a:lnTo>
                <a:lnTo>
                  <a:pt x="17139" y="11589"/>
                </a:lnTo>
                <a:lnTo>
                  <a:pt x="17199" y="11595"/>
                </a:lnTo>
                <a:lnTo>
                  <a:pt x="17274" y="11614"/>
                </a:lnTo>
                <a:lnTo>
                  <a:pt x="17323" y="11596"/>
                </a:lnTo>
                <a:lnTo>
                  <a:pt x="17373" y="11578"/>
                </a:lnTo>
                <a:lnTo>
                  <a:pt x="17419" y="11545"/>
                </a:lnTo>
                <a:lnTo>
                  <a:pt x="17466" y="11515"/>
                </a:lnTo>
                <a:lnTo>
                  <a:pt x="17521" y="11498"/>
                </a:lnTo>
                <a:lnTo>
                  <a:pt x="17530" y="11530"/>
                </a:lnTo>
                <a:lnTo>
                  <a:pt x="17533" y="11526"/>
                </a:lnTo>
                <a:lnTo>
                  <a:pt x="17539" y="11503"/>
                </a:lnTo>
                <a:lnTo>
                  <a:pt x="17561" y="11480"/>
                </a:lnTo>
                <a:lnTo>
                  <a:pt x="17540" y="11469"/>
                </a:lnTo>
                <a:lnTo>
                  <a:pt x="17515" y="11468"/>
                </a:lnTo>
                <a:lnTo>
                  <a:pt x="17488" y="11466"/>
                </a:lnTo>
                <a:lnTo>
                  <a:pt x="17461" y="11459"/>
                </a:lnTo>
                <a:lnTo>
                  <a:pt x="17377" y="11424"/>
                </a:lnTo>
                <a:lnTo>
                  <a:pt x="17331" y="11339"/>
                </a:lnTo>
                <a:lnTo>
                  <a:pt x="17330" y="11236"/>
                </a:lnTo>
                <a:lnTo>
                  <a:pt x="17384" y="11148"/>
                </a:lnTo>
                <a:lnTo>
                  <a:pt x="17429" y="11116"/>
                </a:lnTo>
                <a:lnTo>
                  <a:pt x="17475" y="11118"/>
                </a:lnTo>
                <a:lnTo>
                  <a:pt x="17512" y="11107"/>
                </a:lnTo>
                <a:lnTo>
                  <a:pt x="17533" y="11039"/>
                </a:lnTo>
                <a:lnTo>
                  <a:pt x="17566" y="11012"/>
                </a:lnTo>
                <a:lnTo>
                  <a:pt x="17558" y="10985"/>
                </a:lnTo>
                <a:lnTo>
                  <a:pt x="17539" y="10956"/>
                </a:lnTo>
                <a:lnTo>
                  <a:pt x="17539" y="10918"/>
                </a:lnTo>
                <a:lnTo>
                  <a:pt x="17529" y="10831"/>
                </a:lnTo>
                <a:lnTo>
                  <a:pt x="17354" y="10784"/>
                </a:lnTo>
                <a:lnTo>
                  <a:pt x="17147" y="10733"/>
                </a:lnTo>
                <a:lnTo>
                  <a:pt x="17033" y="10637"/>
                </a:lnTo>
                <a:lnTo>
                  <a:pt x="16981" y="10513"/>
                </a:lnTo>
                <a:lnTo>
                  <a:pt x="17107" y="10463"/>
                </a:lnTo>
                <a:lnTo>
                  <a:pt x="17277" y="10493"/>
                </a:lnTo>
                <a:lnTo>
                  <a:pt x="17353" y="10610"/>
                </a:lnTo>
                <a:lnTo>
                  <a:pt x="17464" y="10572"/>
                </a:lnTo>
                <a:lnTo>
                  <a:pt x="17515" y="10648"/>
                </a:lnTo>
                <a:lnTo>
                  <a:pt x="17542" y="10726"/>
                </a:lnTo>
                <a:lnTo>
                  <a:pt x="17577" y="10689"/>
                </a:lnTo>
                <a:lnTo>
                  <a:pt x="17550" y="10624"/>
                </a:lnTo>
                <a:lnTo>
                  <a:pt x="17586" y="10603"/>
                </a:lnTo>
                <a:lnTo>
                  <a:pt x="17640" y="10619"/>
                </a:lnTo>
                <a:lnTo>
                  <a:pt x="17664" y="10666"/>
                </a:lnTo>
                <a:lnTo>
                  <a:pt x="17720" y="10643"/>
                </a:lnTo>
                <a:lnTo>
                  <a:pt x="17716" y="10555"/>
                </a:lnTo>
                <a:lnTo>
                  <a:pt x="17717" y="10479"/>
                </a:lnTo>
                <a:lnTo>
                  <a:pt x="17791" y="10494"/>
                </a:lnTo>
                <a:lnTo>
                  <a:pt x="17752" y="10451"/>
                </a:lnTo>
                <a:lnTo>
                  <a:pt x="17743" y="10387"/>
                </a:lnTo>
                <a:lnTo>
                  <a:pt x="17749" y="10327"/>
                </a:lnTo>
                <a:lnTo>
                  <a:pt x="17759" y="10292"/>
                </a:lnTo>
                <a:lnTo>
                  <a:pt x="17917" y="10173"/>
                </a:lnTo>
                <a:lnTo>
                  <a:pt x="17949" y="10111"/>
                </a:lnTo>
                <a:lnTo>
                  <a:pt x="17983" y="10082"/>
                </a:lnTo>
                <a:lnTo>
                  <a:pt x="18145" y="10060"/>
                </a:lnTo>
                <a:lnTo>
                  <a:pt x="18155" y="10104"/>
                </a:lnTo>
                <a:lnTo>
                  <a:pt x="18159" y="10150"/>
                </a:lnTo>
                <a:lnTo>
                  <a:pt x="18169" y="10199"/>
                </a:lnTo>
                <a:lnTo>
                  <a:pt x="18202" y="10244"/>
                </a:lnTo>
                <a:lnTo>
                  <a:pt x="18211" y="10242"/>
                </a:lnTo>
                <a:lnTo>
                  <a:pt x="18186" y="10201"/>
                </a:lnTo>
                <a:lnTo>
                  <a:pt x="18169" y="10153"/>
                </a:lnTo>
                <a:lnTo>
                  <a:pt x="18201" y="10127"/>
                </a:lnTo>
                <a:lnTo>
                  <a:pt x="18187" y="10113"/>
                </a:lnTo>
                <a:lnTo>
                  <a:pt x="18194" y="10094"/>
                </a:lnTo>
                <a:lnTo>
                  <a:pt x="18211" y="10083"/>
                </a:lnTo>
                <a:lnTo>
                  <a:pt x="18228" y="10094"/>
                </a:lnTo>
                <a:lnTo>
                  <a:pt x="18234" y="10075"/>
                </a:lnTo>
                <a:lnTo>
                  <a:pt x="18225" y="10050"/>
                </a:lnTo>
                <a:lnTo>
                  <a:pt x="18222" y="10028"/>
                </a:lnTo>
                <a:lnTo>
                  <a:pt x="18242" y="10020"/>
                </a:lnTo>
                <a:lnTo>
                  <a:pt x="18295" y="10075"/>
                </a:lnTo>
                <a:lnTo>
                  <a:pt x="18383" y="10115"/>
                </a:lnTo>
                <a:lnTo>
                  <a:pt x="18458" y="10160"/>
                </a:lnTo>
                <a:lnTo>
                  <a:pt x="18469" y="10229"/>
                </a:lnTo>
                <a:lnTo>
                  <a:pt x="18494" y="10228"/>
                </a:lnTo>
                <a:lnTo>
                  <a:pt x="18517" y="10241"/>
                </a:lnTo>
                <a:lnTo>
                  <a:pt x="18537" y="10258"/>
                </a:lnTo>
                <a:lnTo>
                  <a:pt x="18558" y="10275"/>
                </a:lnTo>
                <a:lnTo>
                  <a:pt x="18554" y="10228"/>
                </a:lnTo>
                <a:lnTo>
                  <a:pt x="18574" y="10230"/>
                </a:lnTo>
                <a:lnTo>
                  <a:pt x="18597" y="10264"/>
                </a:lnTo>
                <a:lnTo>
                  <a:pt x="18599" y="10309"/>
                </a:lnTo>
                <a:lnTo>
                  <a:pt x="18628" y="10229"/>
                </a:lnTo>
                <a:lnTo>
                  <a:pt x="18526" y="10116"/>
                </a:lnTo>
                <a:lnTo>
                  <a:pt x="18402" y="9996"/>
                </a:lnTo>
                <a:lnTo>
                  <a:pt x="18371" y="9896"/>
                </a:lnTo>
                <a:lnTo>
                  <a:pt x="18410" y="9927"/>
                </a:lnTo>
                <a:lnTo>
                  <a:pt x="18434" y="9919"/>
                </a:lnTo>
                <a:lnTo>
                  <a:pt x="18452" y="9888"/>
                </a:lnTo>
                <a:lnTo>
                  <a:pt x="18467" y="9851"/>
                </a:lnTo>
                <a:lnTo>
                  <a:pt x="18502" y="9870"/>
                </a:lnTo>
                <a:lnTo>
                  <a:pt x="18534" y="9874"/>
                </a:lnTo>
                <a:lnTo>
                  <a:pt x="18560" y="9855"/>
                </a:lnTo>
                <a:lnTo>
                  <a:pt x="18583" y="9808"/>
                </a:lnTo>
                <a:lnTo>
                  <a:pt x="18587" y="9773"/>
                </a:lnTo>
                <a:lnTo>
                  <a:pt x="18624" y="9780"/>
                </a:lnTo>
                <a:lnTo>
                  <a:pt x="18663" y="9796"/>
                </a:lnTo>
                <a:lnTo>
                  <a:pt x="18678" y="9791"/>
                </a:lnTo>
                <a:lnTo>
                  <a:pt x="18618" y="9730"/>
                </a:lnTo>
                <a:lnTo>
                  <a:pt x="18577" y="9650"/>
                </a:lnTo>
                <a:lnTo>
                  <a:pt x="18590" y="9577"/>
                </a:lnTo>
                <a:lnTo>
                  <a:pt x="18690" y="9541"/>
                </a:lnTo>
                <a:lnTo>
                  <a:pt x="18773" y="9609"/>
                </a:lnTo>
                <a:lnTo>
                  <a:pt x="18759" y="9702"/>
                </a:lnTo>
                <a:lnTo>
                  <a:pt x="18731" y="9808"/>
                </a:lnTo>
                <a:lnTo>
                  <a:pt x="18777" y="9916"/>
                </a:lnTo>
                <a:lnTo>
                  <a:pt x="18787" y="9971"/>
                </a:lnTo>
                <a:lnTo>
                  <a:pt x="18815" y="10006"/>
                </a:lnTo>
                <a:lnTo>
                  <a:pt x="18849" y="10013"/>
                </a:lnTo>
                <a:lnTo>
                  <a:pt x="18876" y="9980"/>
                </a:lnTo>
                <a:lnTo>
                  <a:pt x="18894" y="10003"/>
                </a:lnTo>
                <a:lnTo>
                  <a:pt x="18889" y="9953"/>
                </a:lnTo>
                <a:lnTo>
                  <a:pt x="18879" y="9880"/>
                </a:lnTo>
                <a:lnTo>
                  <a:pt x="18883" y="9832"/>
                </a:lnTo>
                <a:lnTo>
                  <a:pt x="18858" y="9847"/>
                </a:lnTo>
                <a:lnTo>
                  <a:pt x="18844" y="9845"/>
                </a:lnTo>
                <a:lnTo>
                  <a:pt x="18846" y="9828"/>
                </a:lnTo>
                <a:lnTo>
                  <a:pt x="18867" y="9799"/>
                </a:lnTo>
                <a:lnTo>
                  <a:pt x="18898" y="9763"/>
                </a:lnTo>
                <a:lnTo>
                  <a:pt x="18898" y="9612"/>
                </a:lnTo>
                <a:lnTo>
                  <a:pt x="18890" y="9445"/>
                </a:lnTo>
                <a:lnTo>
                  <a:pt x="18894" y="9362"/>
                </a:lnTo>
                <a:lnTo>
                  <a:pt x="18791" y="9389"/>
                </a:lnTo>
                <a:lnTo>
                  <a:pt x="18744" y="9304"/>
                </a:lnTo>
                <a:lnTo>
                  <a:pt x="18772" y="9217"/>
                </a:lnTo>
                <a:lnTo>
                  <a:pt x="18894" y="9238"/>
                </a:lnTo>
                <a:lnTo>
                  <a:pt x="18888" y="8727"/>
                </a:lnTo>
                <a:lnTo>
                  <a:pt x="18900" y="7999"/>
                </a:lnTo>
                <a:lnTo>
                  <a:pt x="18894" y="7389"/>
                </a:lnTo>
                <a:lnTo>
                  <a:pt x="18825" y="7238"/>
                </a:lnTo>
                <a:close/>
                <a:moveTo>
                  <a:pt x="4694" y="13305"/>
                </a:moveTo>
                <a:lnTo>
                  <a:pt x="4658" y="13371"/>
                </a:lnTo>
                <a:lnTo>
                  <a:pt x="4711" y="13410"/>
                </a:lnTo>
                <a:lnTo>
                  <a:pt x="4781" y="13403"/>
                </a:lnTo>
                <a:lnTo>
                  <a:pt x="4793" y="13330"/>
                </a:lnTo>
                <a:lnTo>
                  <a:pt x="4768" y="13296"/>
                </a:lnTo>
                <a:lnTo>
                  <a:pt x="4742" y="13287"/>
                </a:lnTo>
                <a:lnTo>
                  <a:pt x="4715" y="13293"/>
                </a:lnTo>
                <a:lnTo>
                  <a:pt x="4694" y="13305"/>
                </a:lnTo>
                <a:close/>
                <a:moveTo>
                  <a:pt x="5065" y="8050"/>
                </a:moveTo>
                <a:lnTo>
                  <a:pt x="5052" y="8063"/>
                </a:lnTo>
                <a:lnTo>
                  <a:pt x="5065" y="8073"/>
                </a:lnTo>
                <a:lnTo>
                  <a:pt x="5083" y="8073"/>
                </a:lnTo>
                <a:lnTo>
                  <a:pt x="5080" y="8052"/>
                </a:lnTo>
                <a:lnTo>
                  <a:pt x="5102" y="8036"/>
                </a:lnTo>
                <a:lnTo>
                  <a:pt x="5097" y="8027"/>
                </a:lnTo>
                <a:lnTo>
                  <a:pt x="5079" y="8032"/>
                </a:lnTo>
                <a:lnTo>
                  <a:pt x="5065" y="8050"/>
                </a:lnTo>
                <a:close/>
                <a:moveTo>
                  <a:pt x="4865" y="8176"/>
                </a:moveTo>
                <a:lnTo>
                  <a:pt x="4857" y="8153"/>
                </a:lnTo>
                <a:lnTo>
                  <a:pt x="4831" y="8143"/>
                </a:lnTo>
                <a:lnTo>
                  <a:pt x="4809" y="8147"/>
                </a:lnTo>
                <a:lnTo>
                  <a:pt x="4817" y="8165"/>
                </a:lnTo>
                <a:lnTo>
                  <a:pt x="4829" y="8175"/>
                </a:lnTo>
                <a:lnTo>
                  <a:pt x="4837" y="8186"/>
                </a:lnTo>
                <a:lnTo>
                  <a:pt x="4846" y="8191"/>
                </a:lnTo>
                <a:lnTo>
                  <a:pt x="4865" y="8176"/>
                </a:lnTo>
                <a:close/>
                <a:moveTo>
                  <a:pt x="5004" y="3232"/>
                </a:moveTo>
                <a:lnTo>
                  <a:pt x="4996" y="3204"/>
                </a:lnTo>
                <a:lnTo>
                  <a:pt x="4987" y="3178"/>
                </a:lnTo>
                <a:lnTo>
                  <a:pt x="4970" y="3167"/>
                </a:lnTo>
                <a:lnTo>
                  <a:pt x="4942" y="3182"/>
                </a:lnTo>
                <a:lnTo>
                  <a:pt x="4940" y="3206"/>
                </a:lnTo>
                <a:lnTo>
                  <a:pt x="4958" y="3229"/>
                </a:lnTo>
                <a:lnTo>
                  <a:pt x="4984" y="3241"/>
                </a:lnTo>
                <a:lnTo>
                  <a:pt x="5004" y="3232"/>
                </a:lnTo>
                <a:close/>
                <a:moveTo>
                  <a:pt x="4654" y="8740"/>
                </a:moveTo>
                <a:lnTo>
                  <a:pt x="4646" y="8741"/>
                </a:lnTo>
                <a:lnTo>
                  <a:pt x="4638" y="8751"/>
                </a:lnTo>
                <a:lnTo>
                  <a:pt x="4636" y="8762"/>
                </a:lnTo>
                <a:lnTo>
                  <a:pt x="4637" y="8768"/>
                </a:lnTo>
                <a:lnTo>
                  <a:pt x="4661" y="8765"/>
                </a:lnTo>
                <a:lnTo>
                  <a:pt x="4675" y="8753"/>
                </a:lnTo>
                <a:lnTo>
                  <a:pt x="4674" y="8741"/>
                </a:lnTo>
                <a:lnTo>
                  <a:pt x="4654" y="8740"/>
                </a:lnTo>
                <a:close/>
                <a:moveTo>
                  <a:pt x="4630" y="9192"/>
                </a:moveTo>
                <a:lnTo>
                  <a:pt x="4641" y="9206"/>
                </a:lnTo>
                <a:lnTo>
                  <a:pt x="4660" y="9197"/>
                </a:lnTo>
                <a:lnTo>
                  <a:pt x="4680" y="9184"/>
                </a:lnTo>
                <a:lnTo>
                  <a:pt x="4701" y="9185"/>
                </a:lnTo>
                <a:lnTo>
                  <a:pt x="4719" y="9155"/>
                </a:lnTo>
                <a:lnTo>
                  <a:pt x="4693" y="9147"/>
                </a:lnTo>
                <a:lnTo>
                  <a:pt x="4652" y="9161"/>
                </a:lnTo>
                <a:lnTo>
                  <a:pt x="4630" y="9192"/>
                </a:lnTo>
                <a:close/>
                <a:moveTo>
                  <a:pt x="4994" y="8431"/>
                </a:moveTo>
                <a:lnTo>
                  <a:pt x="5014" y="8436"/>
                </a:lnTo>
                <a:lnTo>
                  <a:pt x="5031" y="8446"/>
                </a:lnTo>
                <a:lnTo>
                  <a:pt x="5045" y="8447"/>
                </a:lnTo>
                <a:lnTo>
                  <a:pt x="5060" y="8423"/>
                </a:lnTo>
                <a:lnTo>
                  <a:pt x="5040" y="8400"/>
                </a:lnTo>
                <a:lnTo>
                  <a:pt x="5000" y="8401"/>
                </a:lnTo>
                <a:lnTo>
                  <a:pt x="4973" y="8415"/>
                </a:lnTo>
                <a:lnTo>
                  <a:pt x="4994" y="8431"/>
                </a:lnTo>
                <a:close/>
                <a:moveTo>
                  <a:pt x="4812" y="8097"/>
                </a:moveTo>
                <a:lnTo>
                  <a:pt x="4805" y="8074"/>
                </a:lnTo>
                <a:lnTo>
                  <a:pt x="4779" y="8064"/>
                </a:lnTo>
                <a:lnTo>
                  <a:pt x="4756" y="8068"/>
                </a:lnTo>
                <a:lnTo>
                  <a:pt x="4765" y="8086"/>
                </a:lnTo>
                <a:lnTo>
                  <a:pt x="4776" y="8096"/>
                </a:lnTo>
                <a:lnTo>
                  <a:pt x="4784" y="8108"/>
                </a:lnTo>
                <a:lnTo>
                  <a:pt x="4793" y="8112"/>
                </a:lnTo>
                <a:lnTo>
                  <a:pt x="4812" y="8097"/>
                </a:lnTo>
                <a:close/>
                <a:moveTo>
                  <a:pt x="17488" y="11945"/>
                </a:moveTo>
                <a:lnTo>
                  <a:pt x="17486" y="11945"/>
                </a:lnTo>
                <a:lnTo>
                  <a:pt x="17486" y="11948"/>
                </a:lnTo>
                <a:lnTo>
                  <a:pt x="17486" y="11950"/>
                </a:lnTo>
                <a:lnTo>
                  <a:pt x="17487" y="11953"/>
                </a:lnTo>
                <a:lnTo>
                  <a:pt x="17487" y="11949"/>
                </a:lnTo>
                <a:lnTo>
                  <a:pt x="17488" y="11945"/>
                </a:lnTo>
                <a:close/>
                <a:moveTo>
                  <a:pt x="7338" y="14383"/>
                </a:moveTo>
                <a:lnTo>
                  <a:pt x="7331" y="14378"/>
                </a:lnTo>
                <a:lnTo>
                  <a:pt x="7324" y="14378"/>
                </a:lnTo>
                <a:lnTo>
                  <a:pt x="7318" y="14381"/>
                </a:lnTo>
                <a:lnTo>
                  <a:pt x="7310" y="14388"/>
                </a:lnTo>
                <a:lnTo>
                  <a:pt x="7303" y="14411"/>
                </a:lnTo>
                <a:lnTo>
                  <a:pt x="7336" y="14417"/>
                </a:lnTo>
                <a:lnTo>
                  <a:pt x="7364" y="14409"/>
                </a:lnTo>
                <a:lnTo>
                  <a:pt x="7338" y="14383"/>
                </a:lnTo>
                <a:close/>
                <a:moveTo>
                  <a:pt x="7397" y="14845"/>
                </a:moveTo>
                <a:lnTo>
                  <a:pt x="7376" y="14844"/>
                </a:lnTo>
                <a:lnTo>
                  <a:pt x="7371" y="14861"/>
                </a:lnTo>
                <a:lnTo>
                  <a:pt x="7379" y="14882"/>
                </a:lnTo>
                <a:lnTo>
                  <a:pt x="7398" y="14886"/>
                </a:lnTo>
                <a:lnTo>
                  <a:pt x="7411" y="14875"/>
                </a:lnTo>
                <a:lnTo>
                  <a:pt x="7415" y="14863"/>
                </a:lnTo>
                <a:lnTo>
                  <a:pt x="7410" y="14851"/>
                </a:lnTo>
                <a:lnTo>
                  <a:pt x="7397" y="14845"/>
                </a:lnTo>
                <a:close/>
                <a:moveTo>
                  <a:pt x="7355" y="14198"/>
                </a:moveTo>
                <a:lnTo>
                  <a:pt x="7380" y="14155"/>
                </a:lnTo>
                <a:lnTo>
                  <a:pt x="7346" y="14161"/>
                </a:lnTo>
                <a:lnTo>
                  <a:pt x="7303" y="14199"/>
                </a:lnTo>
                <a:lnTo>
                  <a:pt x="7300" y="14254"/>
                </a:lnTo>
                <a:lnTo>
                  <a:pt x="7331" y="14300"/>
                </a:lnTo>
                <a:lnTo>
                  <a:pt x="7354" y="14283"/>
                </a:lnTo>
                <a:lnTo>
                  <a:pt x="7364" y="14239"/>
                </a:lnTo>
                <a:lnTo>
                  <a:pt x="7355" y="14198"/>
                </a:lnTo>
                <a:close/>
                <a:moveTo>
                  <a:pt x="7408" y="13949"/>
                </a:moveTo>
                <a:lnTo>
                  <a:pt x="7420" y="13910"/>
                </a:lnTo>
                <a:lnTo>
                  <a:pt x="7407" y="13879"/>
                </a:lnTo>
                <a:lnTo>
                  <a:pt x="7378" y="13862"/>
                </a:lnTo>
                <a:lnTo>
                  <a:pt x="7338" y="13868"/>
                </a:lnTo>
                <a:lnTo>
                  <a:pt x="7326" y="13908"/>
                </a:lnTo>
                <a:lnTo>
                  <a:pt x="7338" y="13938"/>
                </a:lnTo>
                <a:lnTo>
                  <a:pt x="7369" y="13955"/>
                </a:lnTo>
                <a:lnTo>
                  <a:pt x="7408" y="13949"/>
                </a:lnTo>
                <a:close/>
                <a:moveTo>
                  <a:pt x="7199" y="13852"/>
                </a:moveTo>
                <a:lnTo>
                  <a:pt x="7213" y="13849"/>
                </a:lnTo>
                <a:lnTo>
                  <a:pt x="7216" y="13835"/>
                </a:lnTo>
                <a:lnTo>
                  <a:pt x="7208" y="13823"/>
                </a:lnTo>
                <a:lnTo>
                  <a:pt x="7194" y="13824"/>
                </a:lnTo>
                <a:lnTo>
                  <a:pt x="7188" y="13833"/>
                </a:lnTo>
                <a:lnTo>
                  <a:pt x="7185" y="13843"/>
                </a:lnTo>
                <a:lnTo>
                  <a:pt x="7191" y="13851"/>
                </a:lnTo>
                <a:lnTo>
                  <a:pt x="7199" y="13852"/>
                </a:lnTo>
                <a:close/>
                <a:moveTo>
                  <a:pt x="7298" y="14262"/>
                </a:moveTo>
                <a:lnTo>
                  <a:pt x="7284" y="14241"/>
                </a:lnTo>
                <a:lnTo>
                  <a:pt x="7262" y="14252"/>
                </a:lnTo>
                <a:lnTo>
                  <a:pt x="7249" y="14278"/>
                </a:lnTo>
                <a:lnTo>
                  <a:pt x="7266" y="14306"/>
                </a:lnTo>
                <a:lnTo>
                  <a:pt x="7285" y="14305"/>
                </a:lnTo>
                <a:lnTo>
                  <a:pt x="7286" y="14291"/>
                </a:lnTo>
                <a:lnTo>
                  <a:pt x="7286" y="14275"/>
                </a:lnTo>
                <a:lnTo>
                  <a:pt x="7298" y="14262"/>
                </a:lnTo>
                <a:close/>
                <a:moveTo>
                  <a:pt x="7850" y="15092"/>
                </a:moveTo>
                <a:lnTo>
                  <a:pt x="7839" y="15099"/>
                </a:lnTo>
                <a:lnTo>
                  <a:pt x="7834" y="15111"/>
                </a:lnTo>
                <a:lnTo>
                  <a:pt x="7837" y="15122"/>
                </a:lnTo>
                <a:lnTo>
                  <a:pt x="7849" y="15127"/>
                </a:lnTo>
                <a:lnTo>
                  <a:pt x="7867" y="15130"/>
                </a:lnTo>
                <a:lnTo>
                  <a:pt x="7873" y="15113"/>
                </a:lnTo>
                <a:lnTo>
                  <a:pt x="7867" y="15096"/>
                </a:lnTo>
                <a:lnTo>
                  <a:pt x="7850" y="15092"/>
                </a:lnTo>
                <a:close/>
                <a:moveTo>
                  <a:pt x="7427" y="14336"/>
                </a:moveTo>
                <a:lnTo>
                  <a:pt x="7401" y="14314"/>
                </a:lnTo>
                <a:lnTo>
                  <a:pt x="7378" y="14333"/>
                </a:lnTo>
                <a:lnTo>
                  <a:pt x="7376" y="14370"/>
                </a:lnTo>
                <a:lnTo>
                  <a:pt x="7408" y="14401"/>
                </a:lnTo>
                <a:lnTo>
                  <a:pt x="7431" y="14392"/>
                </a:lnTo>
                <a:lnTo>
                  <a:pt x="7427" y="14375"/>
                </a:lnTo>
                <a:lnTo>
                  <a:pt x="7418" y="14355"/>
                </a:lnTo>
                <a:lnTo>
                  <a:pt x="7427" y="14336"/>
                </a:lnTo>
                <a:close/>
                <a:moveTo>
                  <a:pt x="7459" y="15214"/>
                </a:moveTo>
                <a:lnTo>
                  <a:pt x="7452" y="15257"/>
                </a:lnTo>
                <a:lnTo>
                  <a:pt x="7481" y="15288"/>
                </a:lnTo>
                <a:lnTo>
                  <a:pt x="7523" y="15297"/>
                </a:lnTo>
                <a:lnTo>
                  <a:pt x="7553" y="15275"/>
                </a:lnTo>
                <a:lnTo>
                  <a:pt x="7541" y="15236"/>
                </a:lnTo>
                <a:lnTo>
                  <a:pt x="7515" y="15208"/>
                </a:lnTo>
                <a:lnTo>
                  <a:pt x="7486" y="15199"/>
                </a:lnTo>
                <a:lnTo>
                  <a:pt x="7459" y="15214"/>
                </a:lnTo>
                <a:close/>
                <a:moveTo>
                  <a:pt x="17326" y="11992"/>
                </a:moveTo>
                <a:lnTo>
                  <a:pt x="17331" y="11990"/>
                </a:lnTo>
                <a:lnTo>
                  <a:pt x="17337" y="11986"/>
                </a:lnTo>
                <a:lnTo>
                  <a:pt x="17331" y="11986"/>
                </a:lnTo>
                <a:lnTo>
                  <a:pt x="17326" y="11986"/>
                </a:lnTo>
                <a:lnTo>
                  <a:pt x="17325" y="11988"/>
                </a:lnTo>
                <a:lnTo>
                  <a:pt x="17326" y="11992"/>
                </a:lnTo>
                <a:close/>
                <a:moveTo>
                  <a:pt x="16491" y="12282"/>
                </a:moveTo>
                <a:lnTo>
                  <a:pt x="16492" y="12281"/>
                </a:lnTo>
                <a:lnTo>
                  <a:pt x="16493" y="12281"/>
                </a:lnTo>
                <a:lnTo>
                  <a:pt x="16493" y="12280"/>
                </a:lnTo>
                <a:lnTo>
                  <a:pt x="16492" y="12279"/>
                </a:lnTo>
                <a:lnTo>
                  <a:pt x="16491" y="12281"/>
                </a:lnTo>
                <a:lnTo>
                  <a:pt x="16491" y="12282"/>
                </a:lnTo>
                <a:close/>
                <a:moveTo>
                  <a:pt x="7235" y="13896"/>
                </a:moveTo>
                <a:lnTo>
                  <a:pt x="7247" y="13904"/>
                </a:lnTo>
                <a:lnTo>
                  <a:pt x="7263" y="13907"/>
                </a:lnTo>
                <a:lnTo>
                  <a:pt x="7281" y="13903"/>
                </a:lnTo>
                <a:lnTo>
                  <a:pt x="7295" y="13896"/>
                </a:lnTo>
                <a:lnTo>
                  <a:pt x="7292" y="13854"/>
                </a:lnTo>
                <a:lnTo>
                  <a:pt x="7261" y="13835"/>
                </a:lnTo>
                <a:lnTo>
                  <a:pt x="7230" y="13847"/>
                </a:lnTo>
                <a:lnTo>
                  <a:pt x="7235" y="13896"/>
                </a:lnTo>
                <a:close/>
                <a:moveTo>
                  <a:pt x="17417" y="11647"/>
                </a:moveTo>
                <a:lnTo>
                  <a:pt x="17426" y="11638"/>
                </a:lnTo>
                <a:lnTo>
                  <a:pt x="17432" y="11627"/>
                </a:lnTo>
                <a:lnTo>
                  <a:pt x="17441" y="11615"/>
                </a:lnTo>
                <a:lnTo>
                  <a:pt x="17452" y="11605"/>
                </a:lnTo>
                <a:lnTo>
                  <a:pt x="17429" y="11606"/>
                </a:lnTo>
                <a:lnTo>
                  <a:pt x="17413" y="11614"/>
                </a:lnTo>
                <a:lnTo>
                  <a:pt x="17407" y="11628"/>
                </a:lnTo>
                <a:lnTo>
                  <a:pt x="17417" y="11647"/>
                </a:lnTo>
                <a:close/>
                <a:moveTo>
                  <a:pt x="17542" y="11894"/>
                </a:moveTo>
                <a:lnTo>
                  <a:pt x="17545" y="11883"/>
                </a:lnTo>
                <a:lnTo>
                  <a:pt x="17545" y="11881"/>
                </a:lnTo>
                <a:lnTo>
                  <a:pt x="17540" y="11887"/>
                </a:lnTo>
                <a:lnTo>
                  <a:pt x="17534" y="11894"/>
                </a:lnTo>
                <a:lnTo>
                  <a:pt x="17531" y="11897"/>
                </a:lnTo>
                <a:lnTo>
                  <a:pt x="17535" y="11898"/>
                </a:lnTo>
                <a:lnTo>
                  <a:pt x="17540" y="11898"/>
                </a:lnTo>
                <a:lnTo>
                  <a:pt x="17542" y="11894"/>
                </a:lnTo>
                <a:close/>
                <a:moveTo>
                  <a:pt x="15237" y="13093"/>
                </a:moveTo>
                <a:lnTo>
                  <a:pt x="15235" y="13088"/>
                </a:lnTo>
                <a:lnTo>
                  <a:pt x="15234" y="13089"/>
                </a:lnTo>
                <a:lnTo>
                  <a:pt x="15233" y="13095"/>
                </a:lnTo>
                <a:lnTo>
                  <a:pt x="15233" y="13100"/>
                </a:lnTo>
                <a:lnTo>
                  <a:pt x="15238" y="13100"/>
                </a:lnTo>
                <a:lnTo>
                  <a:pt x="15240" y="13100"/>
                </a:lnTo>
                <a:lnTo>
                  <a:pt x="15240" y="13098"/>
                </a:lnTo>
                <a:lnTo>
                  <a:pt x="15237" y="13093"/>
                </a:lnTo>
                <a:close/>
                <a:moveTo>
                  <a:pt x="7536" y="14165"/>
                </a:moveTo>
                <a:lnTo>
                  <a:pt x="7518" y="14145"/>
                </a:lnTo>
                <a:lnTo>
                  <a:pt x="7499" y="14159"/>
                </a:lnTo>
                <a:lnTo>
                  <a:pt x="7492" y="14187"/>
                </a:lnTo>
                <a:lnTo>
                  <a:pt x="7514" y="14212"/>
                </a:lnTo>
                <a:lnTo>
                  <a:pt x="7532" y="14208"/>
                </a:lnTo>
                <a:lnTo>
                  <a:pt x="7531" y="14194"/>
                </a:lnTo>
                <a:lnTo>
                  <a:pt x="7527" y="14178"/>
                </a:lnTo>
                <a:lnTo>
                  <a:pt x="7536" y="14165"/>
                </a:lnTo>
                <a:close/>
                <a:moveTo>
                  <a:pt x="7458" y="13806"/>
                </a:moveTo>
                <a:lnTo>
                  <a:pt x="7468" y="13839"/>
                </a:lnTo>
                <a:lnTo>
                  <a:pt x="7510" y="13861"/>
                </a:lnTo>
                <a:lnTo>
                  <a:pt x="7545" y="13861"/>
                </a:lnTo>
                <a:lnTo>
                  <a:pt x="7532" y="13833"/>
                </a:lnTo>
                <a:lnTo>
                  <a:pt x="7513" y="13816"/>
                </a:lnTo>
                <a:lnTo>
                  <a:pt x="7501" y="13797"/>
                </a:lnTo>
                <a:lnTo>
                  <a:pt x="7487" y="13788"/>
                </a:lnTo>
                <a:lnTo>
                  <a:pt x="7458" y="13806"/>
                </a:lnTo>
                <a:close/>
                <a:moveTo>
                  <a:pt x="8202" y="13591"/>
                </a:moveTo>
                <a:lnTo>
                  <a:pt x="8208" y="13581"/>
                </a:lnTo>
                <a:lnTo>
                  <a:pt x="8198" y="13576"/>
                </a:lnTo>
                <a:lnTo>
                  <a:pt x="8185" y="13569"/>
                </a:lnTo>
                <a:lnTo>
                  <a:pt x="8180" y="13559"/>
                </a:lnTo>
                <a:lnTo>
                  <a:pt x="8158" y="13560"/>
                </a:lnTo>
                <a:lnTo>
                  <a:pt x="8160" y="13576"/>
                </a:lnTo>
                <a:lnTo>
                  <a:pt x="8178" y="13590"/>
                </a:lnTo>
                <a:lnTo>
                  <a:pt x="8202" y="13591"/>
                </a:lnTo>
                <a:close/>
                <a:moveTo>
                  <a:pt x="17516" y="11642"/>
                </a:moveTo>
                <a:lnTo>
                  <a:pt x="17520" y="11650"/>
                </a:lnTo>
                <a:lnTo>
                  <a:pt x="17524" y="11659"/>
                </a:lnTo>
                <a:lnTo>
                  <a:pt x="17526" y="11654"/>
                </a:lnTo>
                <a:lnTo>
                  <a:pt x="17525" y="11650"/>
                </a:lnTo>
                <a:lnTo>
                  <a:pt x="17520" y="11646"/>
                </a:lnTo>
                <a:lnTo>
                  <a:pt x="17516" y="11642"/>
                </a:lnTo>
                <a:close/>
                <a:moveTo>
                  <a:pt x="14174" y="3994"/>
                </a:moveTo>
                <a:lnTo>
                  <a:pt x="14126" y="3975"/>
                </a:lnTo>
                <a:lnTo>
                  <a:pt x="14088" y="3980"/>
                </a:lnTo>
                <a:lnTo>
                  <a:pt x="14060" y="4007"/>
                </a:lnTo>
                <a:lnTo>
                  <a:pt x="14042" y="4058"/>
                </a:lnTo>
                <a:lnTo>
                  <a:pt x="14085" y="4105"/>
                </a:lnTo>
                <a:lnTo>
                  <a:pt x="14141" y="4100"/>
                </a:lnTo>
                <a:lnTo>
                  <a:pt x="14182" y="4058"/>
                </a:lnTo>
                <a:lnTo>
                  <a:pt x="14174" y="3994"/>
                </a:lnTo>
                <a:close/>
                <a:moveTo>
                  <a:pt x="12311" y="4224"/>
                </a:moveTo>
                <a:lnTo>
                  <a:pt x="12353" y="4187"/>
                </a:lnTo>
                <a:lnTo>
                  <a:pt x="12347" y="4132"/>
                </a:lnTo>
                <a:lnTo>
                  <a:pt x="12315" y="4096"/>
                </a:lnTo>
                <a:lnTo>
                  <a:pt x="12285" y="4119"/>
                </a:lnTo>
                <a:lnTo>
                  <a:pt x="12283" y="4151"/>
                </a:lnTo>
                <a:lnTo>
                  <a:pt x="12271" y="4180"/>
                </a:lnTo>
                <a:lnTo>
                  <a:pt x="12271" y="4206"/>
                </a:lnTo>
                <a:lnTo>
                  <a:pt x="12311" y="4224"/>
                </a:lnTo>
                <a:close/>
                <a:moveTo>
                  <a:pt x="12237" y="3876"/>
                </a:moveTo>
                <a:lnTo>
                  <a:pt x="12236" y="3884"/>
                </a:lnTo>
                <a:lnTo>
                  <a:pt x="12243" y="3891"/>
                </a:lnTo>
                <a:lnTo>
                  <a:pt x="12250" y="3895"/>
                </a:lnTo>
                <a:lnTo>
                  <a:pt x="12260" y="3893"/>
                </a:lnTo>
                <a:lnTo>
                  <a:pt x="12271" y="3886"/>
                </a:lnTo>
                <a:lnTo>
                  <a:pt x="12263" y="3876"/>
                </a:lnTo>
                <a:lnTo>
                  <a:pt x="12248" y="3870"/>
                </a:lnTo>
                <a:lnTo>
                  <a:pt x="12237" y="3876"/>
                </a:lnTo>
                <a:close/>
                <a:moveTo>
                  <a:pt x="12195" y="3746"/>
                </a:moveTo>
                <a:lnTo>
                  <a:pt x="12138" y="3750"/>
                </a:lnTo>
                <a:lnTo>
                  <a:pt x="12123" y="3768"/>
                </a:lnTo>
                <a:lnTo>
                  <a:pt x="12138" y="3795"/>
                </a:lnTo>
                <a:lnTo>
                  <a:pt x="12175" y="3823"/>
                </a:lnTo>
                <a:lnTo>
                  <a:pt x="12174" y="3823"/>
                </a:lnTo>
                <a:lnTo>
                  <a:pt x="12158" y="3826"/>
                </a:lnTo>
                <a:lnTo>
                  <a:pt x="12161" y="3840"/>
                </a:lnTo>
                <a:lnTo>
                  <a:pt x="12175" y="3853"/>
                </a:lnTo>
                <a:lnTo>
                  <a:pt x="12190" y="3851"/>
                </a:lnTo>
                <a:lnTo>
                  <a:pt x="12194" y="3847"/>
                </a:lnTo>
                <a:lnTo>
                  <a:pt x="12195" y="3843"/>
                </a:lnTo>
                <a:lnTo>
                  <a:pt x="12197" y="3838"/>
                </a:lnTo>
                <a:lnTo>
                  <a:pt x="12195" y="3834"/>
                </a:lnTo>
                <a:lnTo>
                  <a:pt x="12225" y="3848"/>
                </a:lnTo>
                <a:lnTo>
                  <a:pt x="12254" y="3858"/>
                </a:lnTo>
                <a:lnTo>
                  <a:pt x="12282" y="3865"/>
                </a:lnTo>
                <a:lnTo>
                  <a:pt x="12307" y="3866"/>
                </a:lnTo>
                <a:lnTo>
                  <a:pt x="12381" y="3795"/>
                </a:lnTo>
                <a:lnTo>
                  <a:pt x="12347" y="3716"/>
                </a:lnTo>
                <a:lnTo>
                  <a:pt x="12265" y="3681"/>
                </a:lnTo>
                <a:lnTo>
                  <a:pt x="12195" y="3746"/>
                </a:lnTo>
                <a:close/>
                <a:moveTo>
                  <a:pt x="12273" y="4325"/>
                </a:moveTo>
                <a:lnTo>
                  <a:pt x="12281" y="4253"/>
                </a:lnTo>
                <a:lnTo>
                  <a:pt x="12255" y="4248"/>
                </a:lnTo>
                <a:lnTo>
                  <a:pt x="12212" y="4280"/>
                </a:lnTo>
                <a:lnTo>
                  <a:pt x="12170" y="4322"/>
                </a:lnTo>
                <a:lnTo>
                  <a:pt x="12190" y="4282"/>
                </a:lnTo>
                <a:lnTo>
                  <a:pt x="12175" y="4277"/>
                </a:lnTo>
                <a:lnTo>
                  <a:pt x="12143" y="4288"/>
                </a:lnTo>
                <a:lnTo>
                  <a:pt x="12111" y="4297"/>
                </a:lnTo>
                <a:lnTo>
                  <a:pt x="12109" y="4337"/>
                </a:lnTo>
                <a:lnTo>
                  <a:pt x="12166" y="4372"/>
                </a:lnTo>
                <a:lnTo>
                  <a:pt x="12236" y="4378"/>
                </a:lnTo>
                <a:lnTo>
                  <a:pt x="12273" y="4325"/>
                </a:lnTo>
                <a:close/>
                <a:moveTo>
                  <a:pt x="11173" y="3445"/>
                </a:moveTo>
                <a:lnTo>
                  <a:pt x="11228" y="3494"/>
                </a:lnTo>
                <a:lnTo>
                  <a:pt x="11295" y="3494"/>
                </a:lnTo>
                <a:lnTo>
                  <a:pt x="11349" y="3453"/>
                </a:lnTo>
                <a:lnTo>
                  <a:pt x="11361" y="3373"/>
                </a:lnTo>
                <a:lnTo>
                  <a:pt x="11308" y="3324"/>
                </a:lnTo>
                <a:lnTo>
                  <a:pt x="11240" y="3322"/>
                </a:lnTo>
                <a:lnTo>
                  <a:pt x="11187" y="3364"/>
                </a:lnTo>
                <a:lnTo>
                  <a:pt x="11173" y="3445"/>
                </a:lnTo>
                <a:close/>
                <a:moveTo>
                  <a:pt x="12546" y="4044"/>
                </a:moveTo>
                <a:lnTo>
                  <a:pt x="12551" y="4036"/>
                </a:lnTo>
                <a:lnTo>
                  <a:pt x="12549" y="4028"/>
                </a:lnTo>
                <a:lnTo>
                  <a:pt x="12542" y="4021"/>
                </a:lnTo>
                <a:lnTo>
                  <a:pt x="12532" y="4020"/>
                </a:lnTo>
                <a:lnTo>
                  <a:pt x="12519" y="4024"/>
                </a:lnTo>
                <a:lnTo>
                  <a:pt x="12521" y="4036"/>
                </a:lnTo>
                <a:lnTo>
                  <a:pt x="12533" y="4047"/>
                </a:lnTo>
                <a:lnTo>
                  <a:pt x="12546" y="4044"/>
                </a:lnTo>
                <a:close/>
                <a:moveTo>
                  <a:pt x="12137" y="4221"/>
                </a:moveTo>
                <a:lnTo>
                  <a:pt x="12250" y="4196"/>
                </a:lnTo>
                <a:lnTo>
                  <a:pt x="12267" y="4108"/>
                </a:lnTo>
                <a:lnTo>
                  <a:pt x="12216" y="4022"/>
                </a:lnTo>
                <a:lnTo>
                  <a:pt x="12120" y="4007"/>
                </a:lnTo>
                <a:lnTo>
                  <a:pt x="12068" y="4053"/>
                </a:lnTo>
                <a:lnTo>
                  <a:pt x="12054" y="4120"/>
                </a:lnTo>
                <a:lnTo>
                  <a:pt x="12077" y="4185"/>
                </a:lnTo>
                <a:lnTo>
                  <a:pt x="12137" y="4221"/>
                </a:lnTo>
                <a:close/>
                <a:moveTo>
                  <a:pt x="11430" y="3306"/>
                </a:moveTo>
                <a:lnTo>
                  <a:pt x="11477" y="3321"/>
                </a:lnTo>
                <a:lnTo>
                  <a:pt x="11532" y="3306"/>
                </a:lnTo>
                <a:lnTo>
                  <a:pt x="11562" y="3273"/>
                </a:lnTo>
                <a:lnTo>
                  <a:pt x="11536" y="3238"/>
                </a:lnTo>
                <a:lnTo>
                  <a:pt x="11485" y="3223"/>
                </a:lnTo>
                <a:lnTo>
                  <a:pt x="11439" y="3236"/>
                </a:lnTo>
                <a:lnTo>
                  <a:pt x="11415" y="3265"/>
                </a:lnTo>
                <a:lnTo>
                  <a:pt x="11430" y="3306"/>
                </a:lnTo>
                <a:close/>
                <a:moveTo>
                  <a:pt x="11584" y="3717"/>
                </a:moveTo>
                <a:lnTo>
                  <a:pt x="11662" y="3670"/>
                </a:lnTo>
                <a:lnTo>
                  <a:pt x="11708" y="3563"/>
                </a:lnTo>
                <a:lnTo>
                  <a:pt x="11701" y="3465"/>
                </a:lnTo>
                <a:lnTo>
                  <a:pt x="11625" y="3443"/>
                </a:lnTo>
                <a:lnTo>
                  <a:pt x="11550" y="3479"/>
                </a:lnTo>
                <a:lnTo>
                  <a:pt x="11506" y="3565"/>
                </a:lnTo>
                <a:lnTo>
                  <a:pt x="11513" y="3661"/>
                </a:lnTo>
                <a:lnTo>
                  <a:pt x="11584" y="3717"/>
                </a:lnTo>
                <a:close/>
                <a:moveTo>
                  <a:pt x="11668" y="4031"/>
                </a:moveTo>
                <a:lnTo>
                  <a:pt x="11655" y="3997"/>
                </a:lnTo>
                <a:lnTo>
                  <a:pt x="11627" y="3973"/>
                </a:lnTo>
                <a:lnTo>
                  <a:pt x="11594" y="3963"/>
                </a:lnTo>
                <a:lnTo>
                  <a:pt x="11562" y="3974"/>
                </a:lnTo>
                <a:lnTo>
                  <a:pt x="11554" y="4014"/>
                </a:lnTo>
                <a:lnTo>
                  <a:pt x="11587" y="4040"/>
                </a:lnTo>
                <a:lnTo>
                  <a:pt x="11635" y="4048"/>
                </a:lnTo>
                <a:lnTo>
                  <a:pt x="11668" y="4031"/>
                </a:lnTo>
                <a:close/>
                <a:moveTo>
                  <a:pt x="11973" y="3745"/>
                </a:moveTo>
                <a:lnTo>
                  <a:pt x="12045" y="3667"/>
                </a:lnTo>
                <a:lnTo>
                  <a:pt x="12001" y="3585"/>
                </a:lnTo>
                <a:lnTo>
                  <a:pt x="11911" y="3564"/>
                </a:lnTo>
                <a:lnTo>
                  <a:pt x="11849" y="3674"/>
                </a:lnTo>
                <a:lnTo>
                  <a:pt x="11864" y="3702"/>
                </a:lnTo>
                <a:lnTo>
                  <a:pt x="11894" y="3730"/>
                </a:lnTo>
                <a:lnTo>
                  <a:pt x="11932" y="3747"/>
                </a:lnTo>
                <a:lnTo>
                  <a:pt x="11973" y="3745"/>
                </a:lnTo>
                <a:close/>
                <a:moveTo>
                  <a:pt x="11569" y="2699"/>
                </a:moveTo>
                <a:lnTo>
                  <a:pt x="11526" y="2667"/>
                </a:lnTo>
                <a:lnTo>
                  <a:pt x="11494" y="2695"/>
                </a:lnTo>
                <a:lnTo>
                  <a:pt x="11491" y="2736"/>
                </a:lnTo>
                <a:lnTo>
                  <a:pt x="11538" y="2743"/>
                </a:lnTo>
                <a:lnTo>
                  <a:pt x="11550" y="2741"/>
                </a:lnTo>
                <a:lnTo>
                  <a:pt x="11557" y="2729"/>
                </a:lnTo>
                <a:lnTo>
                  <a:pt x="11564" y="2714"/>
                </a:lnTo>
                <a:lnTo>
                  <a:pt x="11569" y="2699"/>
                </a:lnTo>
                <a:close/>
                <a:moveTo>
                  <a:pt x="11909" y="3769"/>
                </a:moveTo>
                <a:lnTo>
                  <a:pt x="11910" y="3778"/>
                </a:lnTo>
                <a:lnTo>
                  <a:pt x="11916" y="3784"/>
                </a:lnTo>
                <a:lnTo>
                  <a:pt x="11927" y="3787"/>
                </a:lnTo>
                <a:lnTo>
                  <a:pt x="11936" y="3784"/>
                </a:lnTo>
                <a:lnTo>
                  <a:pt x="11946" y="3777"/>
                </a:lnTo>
                <a:lnTo>
                  <a:pt x="11936" y="3767"/>
                </a:lnTo>
                <a:lnTo>
                  <a:pt x="11919" y="3761"/>
                </a:lnTo>
                <a:lnTo>
                  <a:pt x="11909" y="3769"/>
                </a:lnTo>
                <a:close/>
                <a:moveTo>
                  <a:pt x="11598" y="4224"/>
                </a:moveTo>
                <a:lnTo>
                  <a:pt x="11573" y="4229"/>
                </a:lnTo>
                <a:lnTo>
                  <a:pt x="11564" y="4243"/>
                </a:lnTo>
                <a:lnTo>
                  <a:pt x="11570" y="4253"/>
                </a:lnTo>
                <a:lnTo>
                  <a:pt x="11592" y="4252"/>
                </a:lnTo>
                <a:lnTo>
                  <a:pt x="11601" y="4248"/>
                </a:lnTo>
                <a:lnTo>
                  <a:pt x="11604" y="4239"/>
                </a:lnTo>
                <a:lnTo>
                  <a:pt x="11603" y="4229"/>
                </a:lnTo>
                <a:lnTo>
                  <a:pt x="11598" y="4224"/>
                </a:lnTo>
                <a:close/>
                <a:moveTo>
                  <a:pt x="12332" y="3431"/>
                </a:moveTo>
                <a:lnTo>
                  <a:pt x="12335" y="3459"/>
                </a:lnTo>
                <a:lnTo>
                  <a:pt x="12352" y="3487"/>
                </a:lnTo>
                <a:lnTo>
                  <a:pt x="12383" y="3506"/>
                </a:lnTo>
                <a:lnTo>
                  <a:pt x="12426" y="3506"/>
                </a:lnTo>
                <a:lnTo>
                  <a:pt x="12493" y="3436"/>
                </a:lnTo>
                <a:lnTo>
                  <a:pt x="12455" y="3372"/>
                </a:lnTo>
                <a:lnTo>
                  <a:pt x="12380" y="3355"/>
                </a:lnTo>
                <a:lnTo>
                  <a:pt x="12332" y="3431"/>
                </a:lnTo>
                <a:close/>
                <a:moveTo>
                  <a:pt x="11406" y="3958"/>
                </a:moveTo>
                <a:lnTo>
                  <a:pt x="11473" y="3982"/>
                </a:lnTo>
                <a:lnTo>
                  <a:pt x="11531" y="3977"/>
                </a:lnTo>
                <a:lnTo>
                  <a:pt x="11574" y="3938"/>
                </a:lnTo>
                <a:lnTo>
                  <a:pt x="11603" y="3862"/>
                </a:lnTo>
                <a:lnTo>
                  <a:pt x="11541" y="3781"/>
                </a:lnTo>
                <a:lnTo>
                  <a:pt x="11449" y="3788"/>
                </a:lnTo>
                <a:lnTo>
                  <a:pt x="11385" y="3857"/>
                </a:lnTo>
                <a:lnTo>
                  <a:pt x="11406" y="3958"/>
                </a:lnTo>
                <a:close/>
                <a:moveTo>
                  <a:pt x="11664" y="3177"/>
                </a:moveTo>
                <a:lnTo>
                  <a:pt x="11666" y="3224"/>
                </a:lnTo>
                <a:lnTo>
                  <a:pt x="11687" y="3250"/>
                </a:lnTo>
                <a:lnTo>
                  <a:pt x="11717" y="3260"/>
                </a:lnTo>
                <a:lnTo>
                  <a:pt x="11742" y="3260"/>
                </a:lnTo>
                <a:lnTo>
                  <a:pt x="11818" y="3217"/>
                </a:lnTo>
                <a:lnTo>
                  <a:pt x="11790" y="3147"/>
                </a:lnTo>
                <a:lnTo>
                  <a:pt x="11720" y="3112"/>
                </a:lnTo>
                <a:lnTo>
                  <a:pt x="11664" y="3177"/>
                </a:lnTo>
                <a:close/>
                <a:moveTo>
                  <a:pt x="11612" y="2149"/>
                </a:moveTo>
                <a:lnTo>
                  <a:pt x="11597" y="2197"/>
                </a:lnTo>
                <a:lnTo>
                  <a:pt x="11565" y="2237"/>
                </a:lnTo>
                <a:lnTo>
                  <a:pt x="11559" y="2271"/>
                </a:lnTo>
                <a:lnTo>
                  <a:pt x="11620" y="2303"/>
                </a:lnTo>
                <a:lnTo>
                  <a:pt x="11682" y="2251"/>
                </a:lnTo>
                <a:lnTo>
                  <a:pt x="11690" y="2158"/>
                </a:lnTo>
                <a:lnTo>
                  <a:pt x="11661" y="2099"/>
                </a:lnTo>
                <a:lnTo>
                  <a:pt x="11612" y="2149"/>
                </a:lnTo>
                <a:close/>
                <a:moveTo>
                  <a:pt x="11906" y="2287"/>
                </a:moveTo>
                <a:lnTo>
                  <a:pt x="11941" y="2261"/>
                </a:lnTo>
                <a:lnTo>
                  <a:pt x="11941" y="2219"/>
                </a:lnTo>
                <a:lnTo>
                  <a:pt x="11916" y="2183"/>
                </a:lnTo>
                <a:lnTo>
                  <a:pt x="11880" y="2179"/>
                </a:lnTo>
                <a:lnTo>
                  <a:pt x="11862" y="2216"/>
                </a:lnTo>
                <a:lnTo>
                  <a:pt x="11862" y="2254"/>
                </a:lnTo>
                <a:lnTo>
                  <a:pt x="11876" y="2281"/>
                </a:lnTo>
                <a:lnTo>
                  <a:pt x="11906" y="2287"/>
                </a:lnTo>
                <a:close/>
                <a:moveTo>
                  <a:pt x="12774" y="3630"/>
                </a:moveTo>
                <a:lnTo>
                  <a:pt x="12841" y="3560"/>
                </a:lnTo>
                <a:lnTo>
                  <a:pt x="12803" y="3497"/>
                </a:lnTo>
                <a:lnTo>
                  <a:pt x="12728" y="3480"/>
                </a:lnTo>
                <a:lnTo>
                  <a:pt x="12679" y="3555"/>
                </a:lnTo>
                <a:lnTo>
                  <a:pt x="12683" y="3583"/>
                </a:lnTo>
                <a:lnTo>
                  <a:pt x="12700" y="3611"/>
                </a:lnTo>
                <a:lnTo>
                  <a:pt x="12730" y="3630"/>
                </a:lnTo>
                <a:lnTo>
                  <a:pt x="12774" y="3630"/>
                </a:lnTo>
                <a:close/>
                <a:moveTo>
                  <a:pt x="11396" y="3135"/>
                </a:moveTo>
                <a:lnTo>
                  <a:pt x="11415" y="3156"/>
                </a:lnTo>
                <a:lnTo>
                  <a:pt x="11443" y="3171"/>
                </a:lnTo>
                <a:lnTo>
                  <a:pt x="11471" y="3171"/>
                </a:lnTo>
                <a:lnTo>
                  <a:pt x="11494" y="3148"/>
                </a:lnTo>
                <a:lnTo>
                  <a:pt x="11473" y="3045"/>
                </a:lnTo>
                <a:lnTo>
                  <a:pt x="11377" y="3013"/>
                </a:lnTo>
                <a:lnTo>
                  <a:pt x="11314" y="3045"/>
                </a:lnTo>
                <a:lnTo>
                  <a:pt x="11396" y="3135"/>
                </a:lnTo>
                <a:close/>
                <a:moveTo>
                  <a:pt x="11547" y="658"/>
                </a:moveTo>
                <a:lnTo>
                  <a:pt x="11545" y="678"/>
                </a:lnTo>
                <a:lnTo>
                  <a:pt x="11554" y="689"/>
                </a:lnTo>
                <a:lnTo>
                  <a:pt x="11569" y="695"/>
                </a:lnTo>
                <a:lnTo>
                  <a:pt x="11589" y="700"/>
                </a:lnTo>
                <a:lnTo>
                  <a:pt x="11644" y="680"/>
                </a:lnTo>
                <a:lnTo>
                  <a:pt x="11621" y="615"/>
                </a:lnTo>
                <a:lnTo>
                  <a:pt x="11573" y="583"/>
                </a:lnTo>
                <a:lnTo>
                  <a:pt x="11547" y="658"/>
                </a:lnTo>
                <a:close/>
                <a:moveTo>
                  <a:pt x="11453" y="111"/>
                </a:moveTo>
                <a:lnTo>
                  <a:pt x="11498" y="112"/>
                </a:lnTo>
                <a:lnTo>
                  <a:pt x="11526" y="75"/>
                </a:lnTo>
                <a:lnTo>
                  <a:pt x="11528" y="29"/>
                </a:lnTo>
                <a:lnTo>
                  <a:pt x="11503" y="0"/>
                </a:lnTo>
                <a:lnTo>
                  <a:pt x="11464" y="20"/>
                </a:lnTo>
                <a:lnTo>
                  <a:pt x="11440" y="51"/>
                </a:lnTo>
                <a:lnTo>
                  <a:pt x="11434" y="84"/>
                </a:lnTo>
                <a:lnTo>
                  <a:pt x="11453" y="111"/>
                </a:lnTo>
                <a:close/>
                <a:moveTo>
                  <a:pt x="13289" y="1069"/>
                </a:moveTo>
                <a:lnTo>
                  <a:pt x="13333" y="1086"/>
                </a:lnTo>
                <a:lnTo>
                  <a:pt x="13358" y="1041"/>
                </a:lnTo>
                <a:lnTo>
                  <a:pt x="13357" y="984"/>
                </a:lnTo>
                <a:lnTo>
                  <a:pt x="13320" y="964"/>
                </a:lnTo>
                <a:lnTo>
                  <a:pt x="13287" y="978"/>
                </a:lnTo>
                <a:lnTo>
                  <a:pt x="13268" y="1009"/>
                </a:lnTo>
                <a:lnTo>
                  <a:pt x="13266" y="1044"/>
                </a:lnTo>
                <a:lnTo>
                  <a:pt x="13289" y="1069"/>
                </a:lnTo>
                <a:close/>
                <a:moveTo>
                  <a:pt x="11841" y="2859"/>
                </a:moveTo>
                <a:lnTo>
                  <a:pt x="11890" y="2879"/>
                </a:lnTo>
                <a:lnTo>
                  <a:pt x="11905" y="2817"/>
                </a:lnTo>
                <a:lnTo>
                  <a:pt x="11891" y="2755"/>
                </a:lnTo>
                <a:lnTo>
                  <a:pt x="11849" y="2775"/>
                </a:lnTo>
                <a:lnTo>
                  <a:pt x="11843" y="2800"/>
                </a:lnTo>
                <a:lnTo>
                  <a:pt x="11824" y="2818"/>
                </a:lnTo>
                <a:lnTo>
                  <a:pt x="11816" y="2836"/>
                </a:lnTo>
                <a:lnTo>
                  <a:pt x="11841" y="2859"/>
                </a:lnTo>
                <a:close/>
                <a:moveTo>
                  <a:pt x="12491" y="3070"/>
                </a:moveTo>
                <a:lnTo>
                  <a:pt x="12504" y="3110"/>
                </a:lnTo>
                <a:lnTo>
                  <a:pt x="12539" y="3126"/>
                </a:lnTo>
                <a:lnTo>
                  <a:pt x="12579" y="3115"/>
                </a:lnTo>
                <a:lnTo>
                  <a:pt x="12600" y="3068"/>
                </a:lnTo>
                <a:lnTo>
                  <a:pt x="12576" y="3036"/>
                </a:lnTo>
                <a:lnTo>
                  <a:pt x="12543" y="3023"/>
                </a:lnTo>
                <a:lnTo>
                  <a:pt x="12511" y="3033"/>
                </a:lnTo>
                <a:lnTo>
                  <a:pt x="12491" y="3070"/>
                </a:lnTo>
                <a:close/>
                <a:moveTo>
                  <a:pt x="12445" y="2778"/>
                </a:moveTo>
                <a:lnTo>
                  <a:pt x="12473" y="2783"/>
                </a:lnTo>
                <a:lnTo>
                  <a:pt x="12505" y="2767"/>
                </a:lnTo>
                <a:lnTo>
                  <a:pt x="12528" y="2744"/>
                </a:lnTo>
                <a:lnTo>
                  <a:pt x="12528" y="2728"/>
                </a:lnTo>
                <a:lnTo>
                  <a:pt x="12454" y="2706"/>
                </a:lnTo>
                <a:lnTo>
                  <a:pt x="12399" y="2722"/>
                </a:lnTo>
                <a:lnTo>
                  <a:pt x="12386" y="2752"/>
                </a:lnTo>
                <a:lnTo>
                  <a:pt x="12445" y="2778"/>
                </a:lnTo>
                <a:close/>
                <a:moveTo>
                  <a:pt x="12078" y="3381"/>
                </a:moveTo>
                <a:lnTo>
                  <a:pt x="12153" y="3338"/>
                </a:lnTo>
                <a:lnTo>
                  <a:pt x="12127" y="3266"/>
                </a:lnTo>
                <a:lnTo>
                  <a:pt x="12055" y="3233"/>
                </a:lnTo>
                <a:lnTo>
                  <a:pt x="12001" y="3297"/>
                </a:lnTo>
                <a:lnTo>
                  <a:pt x="12002" y="3345"/>
                </a:lnTo>
                <a:lnTo>
                  <a:pt x="12023" y="3371"/>
                </a:lnTo>
                <a:lnTo>
                  <a:pt x="12053" y="3380"/>
                </a:lnTo>
                <a:lnTo>
                  <a:pt x="12078" y="3381"/>
                </a:lnTo>
                <a:close/>
                <a:moveTo>
                  <a:pt x="12547" y="3582"/>
                </a:moveTo>
                <a:lnTo>
                  <a:pt x="12572" y="3609"/>
                </a:lnTo>
                <a:lnTo>
                  <a:pt x="12619" y="3595"/>
                </a:lnTo>
                <a:lnTo>
                  <a:pt x="12653" y="3563"/>
                </a:lnTo>
                <a:lnTo>
                  <a:pt x="12636" y="3537"/>
                </a:lnTo>
                <a:lnTo>
                  <a:pt x="12603" y="3532"/>
                </a:lnTo>
                <a:lnTo>
                  <a:pt x="12569" y="3539"/>
                </a:lnTo>
                <a:lnTo>
                  <a:pt x="12546" y="3557"/>
                </a:lnTo>
                <a:lnTo>
                  <a:pt x="12547" y="3582"/>
                </a:lnTo>
                <a:close/>
                <a:moveTo>
                  <a:pt x="12157" y="3167"/>
                </a:moveTo>
                <a:lnTo>
                  <a:pt x="12216" y="3176"/>
                </a:lnTo>
                <a:lnTo>
                  <a:pt x="12249" y="3149"/>
                </a:lnTo>
                <a:lnTo>
                  <a:pt x="12248" y="3115"/>
                </a:lnTo>
                <a:lnTo>
                  <a:pt x="12200" y="3101"/>
                </a:lnTo>
                <a:lnTo>
                  <a:pt x="12179" y="3101"/>
                </a:lnTo>
                <a:lnTo>
                  <a:pt x="12161" y="3124"/>
                </a:lnTo>
                <a:lnTo>
                  <a:pt x="12152" y="3152"/>
                </a:lnTo>
                <a:lnTo>
                  <a:pt x="12157" y="3167"/>
                </a:lnTo>
                <a:close/>
                <a:moveTo>
                  <a:pt x="12360" y="2995"/>
                </a:moveTo>
                <a:lnTo>
                  <a:pt x="12378" y="3007"/>
                </a:lnTo>
                <a:lnTo>
                  <a:pt x="12408" y="2999"/>
                </a:lnTo>
                <a:lnTo>
                  <a:pt x="12434" y="2982"/>
                </a:lnTo>
                <a:lnTo>
                  <a:pt x="12439" y="2967"/>
                </a:lnTo>
                <a:lnTo>
                  <a:pt x="12393" y="2932"/>
                </a:lnTo>
                <a:lnTo>
                  <a:pt x="12346" y="2933"/>
                </a:lnTo>
                <a:lnTo>
                  <a:pt x="12325" y="2960"/>
                </a:lnTo>
                <a:lnTo>
                  <a:pt x="12360" y="2995"/>
                </a:lnTo>
                <a:close/>
                <a:moveTo>
                  <a:pt x="4717" y="14435"/>
                </a:moveTo>
                <a:lnTo>
                  <a:pt x="4697" y="14435"/>
                </a:lnTo>
                <a:lnTo>
                  <a:pt x="4693" y="14454"/>
                </a:lnTo>
                <a:lnTo>
                  <a:pt x="4703" y="14474"/>
                </a:lnTo>
                <a:lnTo>
                  <a:pt x="4724" y="14477"/>
                </a:lnTo>
                <a:lnTo>
                  <a:pt x="4737" y="14467"/>
                </a:lnTo>
                <a:lnTo>
                  <a:pt x="4739" y="14453"/>
                </a:lnTo>
                <a:lnTo>
                  <a:pt x="4733" y="14440"/>
                </a:lnTo>
                <a:lnTo>
                  <a:pt x="4717" y="14435"/>
                </a:lnTo>
                <a:close/>
                <a:moveTo>
                  <a:pt x="12264" y="2948"/>
                </a:moveTo>
                <a:lnTo>
                  <a:pt x="12241" y="2915"/>
                </a:lnTo>
                <a:lnTo>
                  <a:pt x="12208" y="2902"/>
                </a:lnTo>
                <a:lnTo>
                  <a:pt x="12176" y="2914"/>
                </a:lnTo>
                <a:lnTo>
                  <a:pt x="12155" y="2951"/>
                </a:lnTo>
                <a:lnTo>
                  <a:pt x="12167" y="2989"/>
                </a:lnTo>
                <a:lnTo>
                  <a:pt x="12203" y="3007"/>
                </a:lnTo>
                <a:lnTo>
                  <a:pt x="12243" y="2994"/>
                </a:lnTo>
                <a:lnTo>
                  <a:pt x="12264" y="2948"/>
                </a:lnTo>
                <a:close/>
                <a:moveTo>
                  <a:pt x="12374" y="3513"/>
                </a:moveTo>
                <a:lnTo>
                  <a:pt x="12375" y="3522"/>
                </a:lnTo>
                <a:lnTo>
                  <a:pt x="12381" y="3529"/>
                </a:lnTo>
                <a:lnTo>
                  <a:pt x="12392" y="3530"/>
                </a:lnTo>
                <a:lnTo>
                  <a:pt x="12400" y="3527"/>
                </a:lnTo>
                <a:lnTo>
                  <a:pt x="12408" y="3518"/>
                </a:lnTo>
                <a:lnTo>
                  <a:pt x="12398" y="3511"/>
                </a:lnTo>
                <a:lnTo>
                  <a:pt x="12383" y="3507"/>
                </a:lnTo>
                <a:lnTo>
                  <a:pt x="12374" y="3513"/>
                </a:lnTo>
                <a:close/>
                <a:moveTo>
                  <a:pt x="13126" y="3774"/>
                </a:moveTo>
                <a:lnTo>
                  <a:pt x="13111" y="3772"/>
                </a:lnTo>
                <a:lnTo>
                  <a:pt x="13105" y="3784"/>
                </a:lnTo>
                <a:lnTo>
                  <a:pt x="13108" y="3801"/>
                </a:lnTo>
                <a:lnTo>
                  <a:pt x="13123" y="3805"/>
                </a:lnTo>
                <a:lnTo>
                  <a:pt x="13133" y="3798"/>
                </a:lnTo>
                <a:lnTo>
                  <a:pt x="13138" y="3789"/>
                </a:lnTo>
                <a:lnTo>
                  <a:pt x="13135" y="3779"/>
                </a:lnTo>
                <a:lnTo>
                  <a:pt x="13126" y="3774"/>
                </a:lnTo>
                <a:close/>
                <a:moveTo>
                  <a:pt x="13208" y="4106"/>
                </a:moveTo>
                <a:lnTo>
                  <a:pt x="13245" y="3998"/>
                </a:lnTo>
                <a:lnTo>
                  <a:pt x="13172" y="4005"/>
                </a:lnTo>
                <a:lnTo>
                  <a:pt x="13084" y="4073"/>
                </a:lnTo>
                <a:lnTo>
                  <a:pt x="13075" y="4155"/>
                </a:lnTo>
                <a:lnTo>
                  <a:pt x="13041" y="4197"/>
                </a:lnTo>
                <a:lnTo>
                  <a:pt x="13087" y="4193"/>
                </a:lnTo>
                <a:lnTo>
                  <a:pt x="13158" y="4159"/>
                </a:lnTo>
                <a:lnTo>
                  <a:pt x="13208" y="4106"/>
                </a:lnTo>
                <a:close/>
                <a:moveTo>
                  <a:pt x="12953" y="4134"/>
                </a:moveTo>
                <a:lnTo>
                  <a:pt x="13041" y="4075"/>
                </a:lnTo>
                <a:lnTo>
                  <a:pt x="13054" y="3991"/>
                </a:lnTo>
                <a:lnTo>
                  <a:pt x="13040" y="3894"/>
                </a:lnTo>
                <a:lnTo>
                  <a:pt x="13050" y="3795"/>
                </a:lnTo>
                <a:lnTo>
                  <a:pt x="13003" y="3768"/>
                </a:lnTo>
                <a:lnTo>
                  <a:pt x="12971" y="3801"/>
                </a:lnTo>
                <a:lnTo>
                  <a:pt x="12938" y="3848"/>
                </a:lnTo>
                <a:lnTo>
                  <a:pt x="12888" y="3861"/>
                </a:lnTo>
                <a:lnTo>
                  <a:pt x="12869" y="3872"/>
                </a:lnTo>
                <a:lnTo>
                  <a:pt x="12865" y="3901"/>
                </a:lnTo>
                <a:lnTo>
                  <a:pt x="12877" y="3936"/>
                </a:lnTo>
                <a:lnTo>
                  <a:pt x="12901" y="3961"/>
                </a:lnTo>
                <a:lnTo>
                  <a:pt x="12878" y="4016"/>
                </a:lnTo>
                <a:lnTo>
                  <a:pt x="12868" y="4076"/>
                </a:lnTo>
                <a:lnTo>
                  <a:pt x="12886" y="4120"/>
                </a:lnTo>
                <a:lnTo>
                  <a:pt x="12953" y="4134"/>
                </a:lnTo>
                <a:close/>
                <a:moveTo>
                  <a:pt x="13400" y="4105"/>
                </a:moveTo>
                <a:lnTo>
                  <a:pt x="13312" y="4047"/>
                </a:lnTo>
                <a:lnTo>
                  <a:pt x="13233" y="4091"/>
                </a:lnTo>
                <a:lnTo>
                  <a:pt x="13213" y="4175"/>
                </a:lnTo>
                <a:lnTo>
                  <a:pt x="13297" y="4231"/>
                </a:lnTo>
                <a:lnTo>
                  <a:pt x="13315" y="4252"/>
                </a:lnTo>
                <a:lnTo>
                  <a:pt x="13357" y="4222"/>
                </a:lnTo>
                <a:lnTo>
                  <a:pt x="13394" y="4166"/>
                </a:lnTo>
                <a:lnTo>
                  <a:pt x="13400" y="4105"/>
                </a:lnTo>
                <a:close/>
                <a:moveTo>
                  <a:pt x="13403" y="4188"/>
                </a:moveTo>
                <a:lnTo>
                  <a:pt x="13413" y="4187"/>
                </a:lnTo>
                <a:lnTo>
                  <a:pt x="13420" y="4182"/>
                </a:lnTo>
                <a:lnTo>
                  <a:pt x="13424" y="4174"/>
                </a:lnTo>
                <a:lnTo>
                  <a:pt x="13419" y="4166"/>
                </a:lnTo>
                <a:lnTo>
                  <a:pt x="13409" y="4160"/>
                </a:lnTo>
                <a:lnTo>
                  <a:pt x="13398" y="4168"/>
                </a:lnTo>
                <a:lnTo>
                  <a:pt x="13394" y="4182"/>
                </a:lnTo>
                <a:lnTo>
                  <a:pt x="13403" y="4188"/>
                </a:lnTo>
                <a:close/>
                <a:moveTo>
                  <a:pt x="13133" y="4300"/>
                </a:moveTo>
                <a:lnTo>
                  <a:pt x="13134" y="4318"/>
                </a:lnTo>
                <a:lnTo>
                  <a:pt x="13152" y="4316"/>
                </a:lnTo>
                <a:lnTo>
                  <a:pt x="13163" y="4304"/>
                </a:lnTo>
                <a:lnTo>
                  <a:pt x="13152" y="4288"/>
                </a:lnTo>
                <a:lnTo>
                  <a:pt x="13143" y="4288"/>
                </a:lnTo>
                <a:lnTo>
                  <a:pt x="13139" y="4291"/>
                </a:lnTo>
                <a:lnTo>
                  <a:pt x="13138" y="4295"/>
                </a:lnTo>
                <a:lnTo>
                  <a:pt x="13133" y="4300"/>
                </a:lnTo>
                <a:close/>
                <a:moveTo>
                  <a:pt x="13259" y="4336"/>
                </a:moveTo>
                <a:lnTo>
                  <a:pt x="13238" y="4329"/>
                </a:lnTo>
                <a:lnTo>
                  <a:pt x="13224" y="4342"/>
                </a:lnTo>
                <a:lnTo>
                  <a:pt x="13209" y="4358"/>
                </a:lnTo>
                <a:lnTo>
                  <a:pt x="13186" y="4366"/>
                </a:lnTo>
                <a:lnTo>
                  <a:pt x="13208" y="4366"/>
                </a:lnTo>
                <a:lnTo>
                  <a:pt x="13237" y="4366"/>
                </a:lnTo>
                <a:lnTo>
                  <a:pt x="13259" y="4357"/>
                </a:lnTo>
                <a:lnTo>
                  <a:pt x="13259" y="4336"/>
                </a:lnTo>
                <a:close/>
                <a:moveTo>
                  <a:pt x="13227" y="3877"/>
                </a:moveTo>
                <a:lnTo>
                  <a:pt x="13227" y="3886"/>
                </a:lnTo>
                <a:lnTo>
                  <a:pt x="13232" y="3893"/>
                </a:lnTo>
                <a:lnTo>
                  <a:pt x="13241" y="3896"/>
                </a:lnTo>
                <a:lnTo>
                  <a:pt x="13250" y="3894"/>
                </a:lnTo>
                <a:lnTo>
                  <a:pt x="13260" y="3886"/>
                </a:lnTo>
                <a:lnTo>
                  <a:pt x="13252" y="3877"/>
                </a:lnTo>
                <a:lnTo>
                  <a:pt x="13237" y="3872"/>
                </a:lnTo>
                <a:lnTo>
                  <a:pt x="13227" y="3877"/>
                </a:lnTo>
                <a:close/>
                <a:moveTo>
                  <a:pt x="13924" y="2094"/>
                </a:moveTo>
                <a:lnTo>
                  <a:pt x="13930" y="2111"/>
                </a:lnTo>
                <a:lnTo>
                  <a:pt x="13941" y="2114"/>
                </a:lnTo>
                <a:lnTo>
                  <a:pt x="13957" y="2112"/>
                </a:lnTo>
                <a:lnTo>
                  <a:pt x="13974" y="2108"/>
                </a:lnTo>
                <a:lnTo>
                  <a:pt x="14008" y="2066"/>
                </a:lnTo>
                <a:lnTo>
                  <a:pt x="13960" y="2028"/>
                </a:lnTo>
                <a:lnTo>
                  <a:pt x="13907" y="2025"/>
                </a:lnTo>
                <a:lnTo>
                  <a:pt x="13924" y="2094"/>
                </a:lnTo>
                <a:close/>
                <a:moveTo>
                  <a:pt x="13832" y="4426"/>
                </a:moveTo>
                <a:lnTo>
                  <a:pt x="13800" y="4472"/>
                </a:lnTo>
                <a:lnTo>
                  <a:pt x="13744" y="4482"/>
                </a:lnTo>
                <a:lnTo>
                  <a:pt x="13701" y="4481"/>
                </a:lnTo>
                <a:lnTo>
                  <a:pt x="13704" y="4490"/>
                </a:lnTo>
                <a:lnTo>
                  <a:pt x="13777" y="4492"/>
                </a:lnTo>
                <a:lnTo>
                  <a:pt x="13828" y="4446"/>
                </a:lnTo>
                <a:lnTo>
                  <a:pt x="13850" y="4406"/>
                </a:lnTo>
                <a:lnTo>
                  <a:pt x="13832" y="4426"/>
                </a:lnTo>
                <a:close/>
                <a:moveTo>
                  <a:pt x="13867" y="3592"/>
                </a:moveTo>
                <a:lnTo>
                  <a:pt x="13889" y="3602"/>
                </a:lnTo>
                <a:lnTo>
                  <a:pt x="13913" y="3596"/>
                </a:lnTo>
                <a:lnTo>
                  <a:pt x="13934" y="3578"/>
                </a:lnTo>
                <a:lnTo>
                  <a:pt x="13944" y="3550"/>
                </a:lnTo>
                <a:lnTo>
                  <a:pt x="13911" y="3520"/>
                </a:lnTo>
                <a:lnTo>
                  <a:pt x="13880" y="3530"/>
                </a:lnTo>
                <a:lnTo>
                  <a:pt x="13864" y="3560"/>
                </a:lnTo>
                <a:lnTo>
                  <a:pt x="13867" y="3592"/>
                </a:lnTo>
                <a:close/>
                <a:moveTo>
                  <a:pt x="13845" y="3931"/>
                </a:moveTo>
                <a:lnTo>
                  <a:pt x="13825" y="3879"/>
                </a:lnTo>
                <a:lnTo>
                  <a:pt x="13787" y="3851"/>
                </a:lnTo>
                <a:lnTo>
                  <a:pt x="13741" y="3851"/>
                </a:lnTo>
                <a:lnTo>
                  <a:pt x="13699" y="3876"/>
                </a:lnTo>
                <a:lnTo>
                  <a:pt x="13698" y="3937"/>
                </a:lnTo>
                <a:lnTo>
                  <a:pt x="13738" y="3979"/>
                </a:lnTo>
                <a:lnTo>
                  <a:pt x="13794" y="3984"/>
                </a:lnTo>
                <a:lnTo>
                  <a:pt x="13845" y="3931"/>
                </a:lnTo>
                <a:close/>
                <a:moveTo>
                  <a:pt x="13292" y="4766"/>
                </a:moveTo>
                <a:lnTo>
                  <a:pt x="13307" y="4776"/>
                </a:lnTo>
                <a:lnTo>
                  <a:pt x="13319" y="4768"/>
                </a:lnTo>
                <a:lnTo>
                  <a:pt x="13317" y="4756"/>
                </a:lnTo>
                <a:lnTo>
                  <a:pt x="13301" y="4751"/>
                </a:lnTo>
                <a:lnTo>
                  <a:pt x="13278" y="4756"/>
                </a:lnTo>
                <a:lnTo>
                  <a:pt x="13266" y="4767"/>
                </a:lnTo>
                <a:lnTo>
                  <a:pt x="13269" y="4773"/>
                </a:lnTo>
                <a:lnTo>
                  <a:pt x="13292" y="4766"/>
                </a:lnTo>
                <a:close/>
                <a:moveTo>
                  <a:pt x="13229" y="4868"/>
                </a:moveTo>
                <a:lnTo>
                  <a:pt x="13236" y="4851"/>
                </a:lnTo>
                <a:lnTo>
                  <a:pt x="13229" y="4849"/>
                </a:lnTo>
                <a:lnTo>
                  <a:pt x="13217" y="4856"/>
                </a:lnTo>
                <a:lnTo>
                  <a:pt x="13204" y="4864"/>
                </a:lnTo>
                <a:lnTo>
                  <a:pt x="13200" y="4873"/>
                </a:lnTo>
                <a:lnTo>
                  <a:pt x="13209" y="4878"/>
                </a:lnTo>
                <a:lnTo>
                  <a:pt x="13222" y="4877"/>
                </a:lnTo>
                <a:lnTo>
                  <a:pt x="13229" y="4868"/>
                </a:lnTo>
                <a:close/>
                <a:moveTo>
                  <a:pt x="13334" y="4674"/>
                </a:moveTo>
                <a:lnTo>
                  <a:pt x="13354" y="4636"/>
                </a:lnTo>
                <a:lnTo>
                  <a:pt x="13340" y="4639"/>
                </a:lnTo>
                <a:lnTo>
                  <a:pt x="13306" y="4660"/>
                </a:lnTo>
                <a:lnTo>
                  <a:pt x="13265" y="4678"/>
                </a:lnTo>
                <a:lnTo>
                  <a:pt x="13279" y="4693"/>
                </a:lnTo>
                <a:lnTo>
                  <a:pt x="13298" y="4696"/>
                </a:lnTo>
                <a:lnTo>
                  <a:pt x="13319" y="4687"/>
                </a:lnTo>
                <a:lnTo>
                  <a:pt x="13334" y="4674"/>
                </a:lnTo>
                <a:close/>
                <a:moveTo>
                  <a:pt x="13445" y="4689"/>
                </a:moveTo>
                <a:lnTo>
                  <a:pt x="13530" y="4701"/>
                </a:lnTo>
                <a:lnTo>
                  <a:pt x="13601" y="4654"/>
                </a:lnTo>
                <a:lnTo>
                  <a:pt x="13629" y="4579"/>
                </a:lnTo>
                <a:lnTo>
                  <a:pt x="13582" y="4505"/>
                </a:lnTo>
                <a:lnTo>
                  <a:pt x="13535" y="4569"/>
                </a:lnTo>
                <a:lnTo>
                  <a:pt x="13451" y="4581"/>
                </a:lnTo>
                <a:lnTo>
                  <a:pt x="13399" y="4602"/>
                </a:lnTo>
                <a:lnTo>
                  <a:pt x="13445" y="4689"/>
                </a:lnTo>
                <a:close/>
                <a:moveTo>
                  <a:pt x="12613" y="4292"/>
                </a:moveTo>
                <a:lnTo>
                  <a:pt x="12538" y="4129"/>
                </a:lnTo>
                <a:lnTo>
                  <a:pt x="12417" y="4225"/>
                </a:lnTo>
                <a:lnTo>
                  <a:pt x="12306" y="4436"/>
                </a:lnTo>
                <a:lnTo>
                  <a:pt x="12260" y="4626"/>
                </a:lnTo>
                <a:lnTo>
                  <a:pt x="12422" y="4700"/>
                </a:lnTo>
                <a:lnTo>
                  <a:pt x="12584" y="4625"/>
                </a:lnTo>
                <a:lnTo>
                  <a:pt x="12673" y="4468"/>
                </a:lnTo>
                <a:lnTo>
                  <a:pt x="12613" y="4292"/>
                </a:lnTo>
                <a:close/>
                <a:moveTo>
                  <a:pt x="12925" y="2133"/>
                </a:moveTo>
                <a:lnTo>
                  <a:pt x="12990" y="2137"/>
                </a:lnTo>
                <a:lnTo>
                  <a:pt x="13024" y="2105"/>
                </a:lnTo>
                <a:lnTo>
                  <a:pt x="13019" y="2068"/>
                </a:lnTo>
                <a:lnTo>
                  <a:pt x="12966" y="2057"/>
                </a:lnTo>
                <a:lnTo>
                  <a:pt x="12943" y="2060"/>
                </a:lnTo>
                <a:lnTo>
                  <a:pt x="12925" y="2085"/>
                </a:lnTo>
                <a:lnTo>
                  <a:pt x="12919" y="2117"/>
                </a:lnTo>
                <a:lnTo>
                  <a:pt x="12925" y="2133"/>
                </a:lnTo>
                <a:close/>
                <a:moveTo>
                  <a:pt x="12842" y="4002"/>
                </a:moveTo>
                <a:lnTo>
                  <a:pt x="12841" y="3984"/>
                </a:lnTo>
                <a:lnTo>
                  <a:pt x="12832" y="3977"/>
                </a:lnTo>
                <a:lnTo>
                  <a:pt x="12817" y="3975"/>
                </a:lnTo>
                <a:lnTo>
                  <a:pt x="12799" y="3974"/>
                </a:lnTo>
                <a:lnTo>
                  <a:pt x="12754" y="4003"/>
                </a:lnTo>
                <a:lnTo>
                  <a:pt x="12789" y="4054"/>
                </a:lnTo>
                <a:lnTo>
                  <a:pt x="12839" y="4071"/>
                </a:lnTo>
                <a:lnTo>
                  <a:pt x="12842" y="4002"/>
                </a:lnTo>
                <a:close/>
                <a:moveTo>
                  <a:pt x="13554" y="4244"/>
                </a:moveTo>
                <a:lnTo>
                  <a:pt x="13554" y="4294"/>
                </a:lnTo>
                <a:lnTo>
                  <a:pt x="13572" y="4329"/>
                </a:lnTo>
                <a:lnTo>
                  <a:pt x="13605" y="4347"/>
                </a:lnTo>
                <a:lnTo>
                  <a:pt x="13651" y="4348"/>
                </a:lnTo>
                <a:lnTo>
                  <a:pt x="13730" y="4290"/>
                </a:lnTo>
                <a:lnTo>
                  <a:pt x="13699" y="4203"/>
                </a:lnTo>
                <a:lnTo>
                  <a:pt x="13620" y="4162"/>
                </a:lnTo>
                <a:lnTo>
                  <a:pt x="13554" y="4244"/>
                </a:lnTo>
                <a:close/>
                <a:moveTo>
                  <a:pt x="12789" y="4157"/>
                </a:moveTo>
                <a:lnTo>
                  <a:pt x="12817" y="4188"/>
                </a:lnTo>
                <a:lnTo>
                  <a:pt x="12839" y="4152"/>
                </a:lnTo>
                <a:lnTo>
                  <a:pt x="12840" y="4112"/>
                </a:lnTo>
                <a:lnTo>
                  <a:pt x="12807" y="4128"/>
                </a:lnTo>
                <a:lnTo>
                  <a:pt x="12808" y="4138"/>
                </a:lnTo>
                <a:lnTo>
                  <a:pt x="12805" y="4146"/>
                </a:lnTo>
                <a:lnTo>
                  <a:pt x="12799" y="4152"/>
                </a:lnTo>
                <a:lnTo>
                  <a:pt x="12789" y="4157"/>
                </a:lnTo>
                <a:close/>
                <a:moveTo>
                  <a:pt x="12072" y="4576"/>
                </a:moveTo>
                <a:lnTo>
                  <a:pt x="12180" y="4519"/>
                </a:lnTo>
                <a:lnTo>
                  <a:pt x="12165" y="4414"/>
                </a:lnTo>
                <a:lnTo>
                  <a:pt x="12071" y="4343"/>
                </a:lnTo>
                <a:lnTo>
                  <a:pt x="11941" y="4386"/>
                </a:lnTo>
                <a:lnTo>
                  <a:pt x="11905" y="4437"/>
                </a:lnTo>
                <a:lnTo>
                  <a:pt x="11923" y="4511"/>
                </a:lnTo>
                <a:lnTo>
                  <a:pt x="11981" y="4571"/>
                </a:lnTo>
                <a:lnTo>
                  <a:pt x="12072" y="4576"/>
                </a:lnTo>
                <a:close/>
                <a:moveTo>
                  <a:pt x="11801" y="4100"/>
                </a:moveTo>
                <a:lnTo>
                  <a:pt x="11948" y="4014"/>
                </a:lnTo>
                <a:lnTo>
                  <a:pt x="11867" y="3912"/>
                </a:lnTo>
                <a:lnTo>
                  <a:pt x="11717" y="3876"/>
                </a:lnTo>
                <a:lnTo>
                  <a:pt x="11650" y="3986"/>
                </a:lnTo>
                <a:lnTo>
                  <a:pt x="11709" y="3956"/>
                </a:lnTo>
                <a:lnTo>
                  <a:pt x="11718" y="3998"/>
                </a:lnTo>
                <a:lnTo>
                  <a:pt x="11732" y="4063"/>
                </a:lnTo>
                <a:lnTo>
                  <a:pt x="11801" y="4100"/>
                </a:lnTo>
                <a:close/>
                <a:moveTo>
                  <a:pt x="11985" y="4618"/>
                </a:moveTo>
                <a:lnTo>
                  <a:pt x="11990" y="4605"/>
                </a:lnTo>
                <a:lnTo>
                  <a:pt x="11984" y="4591"/>
                </a:lnTo>
                <a:lnTo>
                  <a:pt x="11973" y="4579"/>
                </a:lnTo>
                <a:lnTo>
                  <a:pt x="11960" y="4572"/>
                </a:lnTo>
                <a:lnTo>
                  <a:pt x="11950" y="4584"/>
                </a:lnTo>
                <a:lnTo>
                  <a:pt x="11953" y="4605"/>
                </a:lnTo>
                <a:lnTo>
                  <a:pt x="11966" y="4622"/>
                </a:lnTo>
                <a:lnTo>
                  <a:pt x="11985" y="4618"/>
                </a:lnTo>
                <a:close/>
                <a:moveTo>
                  <a:pt x="12763" y="3800"/>
                </a:moveTo>
                <a:lnTo>
                  <a:pt x="12794" y="3690"/>
                </a:lnTo>
                <a:lnTo>
                  <a:pt x="12709" y="3712"/>
                </a:lnTo>
                <a:lnTo>
                  <a:pt x="12593" y="3806"/>
                </a:lnTo>
                <a:lnTo>
                  <a:pt x="12533" y="3918"/>
                </a:lnTo>
                <a:lnTo>
                  <a:pt x="12616" y="3996"/>
                </a:lnTo>
                <a:lnTo>
                  <a:pt x="12681" y="3966"/>
                </a:lnTo>
                <a:lnTo>
                  <a:pt x="12729" y="3884"/>
                </a:lnTo>
                <a:lnTo>
                  <a:pt x="12763" y="3800"/>
                </a:lnTo>
                <a:close/>
                <a:moveTo>
                  <a:pt x="12948" y="3194"/>
                </a:moveTo>
                <a:lnTo>
                  <a:pt x="12924" y="3161"/>
                </a:lnTo>
                <a:lnTo>
                  <a:pt x="12892" y="3148"/>
                </a:lnTo>
                <a:lnTo>
                  <a:pt x="12860" y="3158"/>
                </a:lnTo>
                <a:lnTo>
                  <a:pt x="12839" y="3195"/>
                </a:lnTo>
                <a:lnTo>
                  <a:pt x="12851" y="3234"/>
                </a:lnTo>
                <a:lnTo>
                  <a:pt x="12887" y="3251"/>
                </a:lnTo>
                <a:lnTo>
                  <a:pt x="12926" y="3240"/>
                </a:lnTo>
                <a:lnTo>
                  <a:pt x="12948" y="3194"/>
                </a:lnTo>
                <a:close/>
                <a:moveTo>
                  <a:pt x="13018" y="3672"/>
                </a:moveTo>
                <a:lnTo>
                  <a:pt x="13045" y="3758"/>
                </a:lnTo>
                <a:lnTo>
                  <a:pt x="13117" y="3749"/>
                </a:lnTo>
                <a:lnTo>
                  <a:pt x="13186" y="3684"/>
                </a:lnTo>
                <a:lnTo>
                  <a:pt x="13199" y="3596"/>
                </a:lnTo>
                <a:lnTo>
                  <a:pt x="13154" y="3577"/>
                </a:lnTo>
                <a:lnTo>
                  <a:pt x="13098" y="3586"/>
                </a:lnTo>
                <a:lnTo>
                  <a:pt x="13047" y="3619"/>
                </a:lnTo>
                <a:lnTo>
                  <a:pt x="13018" y="3672"/>
                </a:lnTo>
                <a:close/>
                <a:moveTo>
                  <a:pt x="13356" y="3783"/>
                </a:moveTo>
                <a:lnTo>
                  <a:pt x="13357" y="3831"/>
                </a:lnTo>
                <a:lnTo>
                  <a:pt x="13378" y="3857"/>
                </a:lnTo>
                <a:lnTo>
                  <a:pt x="13408" y="3867"/>
                </a:lnTo>
                <a:lnTo>
                  <a:pt x="13433" y="3867"/>
                </a:lnTo>
                <a:lnTo>
                  <a:pt x="13508" y="3824"/>
                </a:lnTo>
                <a:lnTo>
                  <a:pt x="13482" y="3754"/>
                </a:lnTo>
                <a:lnTo>
                  <a:pt x="13410" y="3719"/>
                </a:lnTo>
                <a:lnTo>
                  <a:pt x="13356" y="3783"/>
                </a:lnTo>
                <a:close/>
                <a:moveTo>
                  <a:pt x="13615" y="3447"/>
                </a:moveTo>
                <a:lnTo>
                  <a:pt x="13559" y="3394"/>
                </a:lnTo>
                <a:lnTo>
                  <a:pt x="13531" y="3438"/>
                </a:lnTo>
                <a:lnTo>
                  <a:pt x="13545" y="3487"/>
                </a:lnTo>
                <a:lnTo>
                  <a:pt x="13615" y="3447"/>
                </a:lnTo>
                <a:lnTo>
                  <a:pt x="13615" y="3447"/>
                </a:lnTo>
                <a:close/>
                <a:moveTo>
                  <a:pt x="13485" y="4295"/>
                </a:moveTo>
                <a:lnTo>
                  <a:pt x="13482" y="4316"/>
                </a:lnTo>
                <a:lnTo>
                  <a:pt x="13505" y="4318"/>
                </a:lnTo>
                <a:lnTo>
                  <a:pt x="13531" y="4302"/>
                </a:lnTo>
                <a:lnTo>
                  <a:pt x="13539" y="4277"/>
                </a:lnTo>
                <a:lnTo>
                  <a:pt x="13524" y="4269"/>
                </a:lnTo>
                <a:lnTo>
                  <a:pt x="13513" y="4278"/>
                </a:lnTo>
                <a:lnTo>
                  <a:pt x="13502" y="4291"/>
                </a:lnTo>
                <a:lnTo>
                  <a:pt x="13485" y="4295"/>
                </a:lnTo>
                <a:close/>
                <a:moveTo>
                  <a:pt x="13385" y="2915"/>
                </a:moveTo>
                <a:lnTo>
                  <a:pt x="13440" y="2928"/>
                </a:lnTo>
                <a:lnTo>
                  <a:pt x="13474" y="2905"/>
                </a:lnTo>
                <a:lnTo>
                  <a:pt x="13475" y="2873"/>
                </a:lnTo>
                <a:lnTo>
                  <a:pt x="13432" y="2855"/>
                </a:lnTo>
                <a:lnTo>
                  <a:pt x="13412" y="2854"/>
                </a:lnTo>
                <a:lnTo>
                  <a:pt x="13392" y="2874"/>
                </a:lnTo>
                <a:lnTo>
                  <a:pt x="13381" y="2900"/>
                </a:lnTo>
                <a:lnTo>
                  <a:pt x="13385" y="2915"/>
                </a:lnTo>
                <a:close/>
                <a:moveTo>
                  <a:pt x="13284" y="3313"/>
                </a:moveTo>
                <a:lnTo>
                  <a:pt x="13260" y="3282"/>
                </a:lnTo>
                <a:lnTo>
                  <a:pt x="13227" y="3269"/>
                </a:lnTo>
                <a:lnTo>
                  <a:pt x="13195" y="3279"/>
                </a:lnTo>
                <a:lnTo>
                  <a:pt x="13175" y="3316"/>
                </a:lnTo>
                <a:lnTo>
                  <a:pt x="13186" y="3355"/>
                </a:lnTo>
                <a:lnTo>
                  <a:pt x="13223" y="3372"/>
                </a:lnTo>
                <a:lnTo>
                  <a:pt x="13263" y="3361"/>
                </a:lnTo>
                <a:lnTo>
                  <a:pt x="13284" y="3313"/>
                </a:lnTo>
                <a:close/>
                <a:moveTo>
                  <a:pt x="13322" y="3536"/>
                </a:moveTo>
                <a:lnTo>
                  <a:pt x="13358" y="3453"/>
                </a:lnTo>
                <a:lnTo>
                  <a:pt x="13336" y="3442"/>
                </a:lnTo>
                <a:lnTo>
                  <a:pt x="13282" y="3469"/>
                </a:lnTo>
                <a:lnTo>
                  <a:pt x="13222" y="3499"/>
                </a:lnTo>
                <a:lnTo>
                  <a:pt x="13200" y="3540"/>
                </a:lnTo>
                <a:lnTo>
                  <a:pt x="13229" y="3574"/>
                </a:lnTo>
                <a:lnTo>
                  <a:pt x="13280" y="3581"/>
                </a:lnTo>
                <a:lnTo>
                  <a:pt x="13322" y="3536"/>
                </a:lnTo>
                <a:close/>
                <a:moveTo>
                  <a:pt x="13399" y="3437"/>
                </a:moveTo>
                <a:lnTo>
                  <a:pt x="13432" y="3427"/>
                </a:lnTo>
                <a:lnTo>
                  <a:pt x="13457" y="3397"/>
                </a:lnTo>
                <a:lnTo>
                  <a:pt x="13473" y="3359"/>
                </a:lnTo>
                <a:lnTo>
                  <a:pt x="13473" y="3325"/>
                </a:lnTo>
                <a:lnTo>
                  <a:pt x="13437" y="3324"/>
                </a:lnTo>
                <a:lnTo>
                  <a:pt x="13394" y="3359"/>
                </a:lnTo>
                <a:lnTo>
                  <a:pt x="13372" y="3405"/>
                </a:lnTo>
                <a:lnTo>
                  <a:pt x="13399" y="3437"/>
                </a:lnTo>
                <a:close/>
                <a:moveTo>
                  <a:pt x="8245" y="3237"/>
                </a:moveTo>
                <a:lnTo>
                  <a:pt x="8251" y="3195"/>
                </a:lnTo>
                <a:lnTo>
                  <a:pt x="8217" y="3167"/>
                </a:lnTo>
                <a:lnTo>
                  <a:pt x="8171" y="3161"/>
                </a:lnTo>
                <a:lnTo>
                  <a:pt x="8139" y="3181"/>
                </a:lnTo>
                <a:lnTo>
                  <a:pt x="8156" y="3217"/>
                </a:lnTo>
                <a:lnTo>
                  <a:pt x="8183" y="3242"/>
                </a:lnTo>
                <a:lnTo>
                  <a:pt x="8216" y="3251"/>
                </a:lnTo>
                <a:lnTo>
                  <a:pt x="8245" y="3237"/>
                </a:lnTo>
                <a:close/>
                <a:moveTo>
                  <a:pt x="8986" y="3215"/>
                </a:moveTo>
                <a:lnTo>
                  <a:pt x="9000" y="3227"/>
                </a:lnTo>
                <a:lnTo>
                  <a:pt x="9013" y="3226"/>
                </a:lnTo>
                <a:lnTo>
                  <a:pt x="9024" y="3217"/>
                </a:lnTo>
                <a:lnTo>
                  <a:pt x="9038" y="3205"/>
                </a:lnTo>
                <a:lnTo>
                  <a:pt x="9050" y="3153"/>
                </a:lnTo>
                <a:lnTo>
                  <a:pt x="8990" y="3139"/>
                </a:lnTo>
                <a:lnTo>
                  <a:pt x="8942" y="3162"/>
                </a:lnTo>
                <a:lnTo>
                  <a:pt x="8986" y="3215"/>
                </a:lnTo>
                <a:close/>
                <a:moveTo>
                  <a:pt x="9130" y="3647"/>
                </a:moveTo>
                <a:lnTo>
                  <a:pt x="9144" y="3688"/>
                </a:lnTo>
                <a:lnTo>
                  <a:pt x="9190" y="3703"/>
                </a:lnTo>
                <a:lnTo>
                  <a:pt x="9237" y="3693"/>
                </a:lnTo>
                <a:lnTo>
                  <a:pt x="9257" y="3662"/>
                </a:lnTo>
                <a:lnTo>
                  <a:pt x="9224" y="3634"/>
                </a:lnTo>
                <a:lnTo>
                  <a:pt x="9186" y="3619"/>
                </a:lnTo>
                <a:lnTo>
                  <a:pt x="9150" y="3623"/>
                </a:lnTo>
                <a:lnTo>
                  <a:pt x="9130" y="3647"/>
                </a:lnTo>
                <a:close/>
                <a:moveTo>
                  <a:pt x="8884" y="3008"/>
                </a:moveTo>
                <a:lnTo>
                  <a:pt x="8889" y="3051"/>
                </a:lnTo>
                <a:lnTo>
                  <a:pt x="8942" y="3073"/>
                </a:lnTo>
                <a:lnTo>
                  <a:pt x="9003" y="3072"/>
                </a:lnTo>
                <a:lnTo>
                  <a:pt x="9035" y="3046"/>
                </a:lnTo>
                <a:lnTo>
                  <a:pt x="9004" y="3013"/>
                </a:lnTo>
                <a:lnTo>
                  <a:pt x="8961" y="2993"/>
                </a:lnTo>
                <a:lnTo>
                  <a:pt x="8916" y="2989"/>
                </a:lnTo>
                <a:lnTo>
                  <a:pt x="8884" y="3008"/>
                </a:lnTo>
                <a:close/>
                <a:moveTo>
                  <a:pt x="8894" y="3404"/>
                </a:moveTo>
                <a:lnTo>
                  <a:pt x="8949" y="3452"/>
                </a:lnTo>
                <a:lnTo>
                  <a:pt x="9017" y="3453"/>
                </a:lnTo>
                <a:lnTo>
                  <a:pt x="9070" y="3413"/>
                </a:lnTo>
                <a:lnTo>
                  <a:pt x="9083" y="3333"/>
                </a:lnTo>
                <a:lnTo>
                  <a:pt x="9028" y="3283"/>
                </a:lnTo>
                <a:lnTo>
                  <a:pt x="8961" y="3282"/>
                </a:lnTo>
                <a:lnTo>
                  <a:pt x="8907" y="3324"/>
                </a:lnTo>
                <a:lnTo>
                  <a:pt x="8894" y="3404"/>
                </a:lnTo>
                <a:close/>
                <a:moveTo>
                  <a:pt x="9355" y="3955"/>
                </a:moveTo>
                <a:lnTo>
                  <a:pt x="9340" y="3952"/>
                </a:lnTo>
                <a:lnTo>
                  <a:pt x="9334" y="3965"/>
                </a:lnTo>
                <a:lnTo>
                  <a:pt x="9338" y="3982"/>
                </a:lnTo>
                <a:lnTo>
                  <a:pt x="9352" y="3986"/>
                </a:lnTo>
                <a:lnTo>
                  <a:pt x="9363" y="3979"/>
                </a:lnTo>
                <a:lnTo>
                  <a:pt x="9367" y="3970"/>
                </a:lnTo>
                <a:lnTo>
                  <a:pt x="9366" y="3960"/>
                </a:lnTo>
                <a:lnTo>
                  <a:pt x="9355" y="3955"/>
                </a:lnTo>
                <a:close/>
                <a:moveTo>
                  <a:pt x="9322" y="1612"/>
                </a:moveTo>
                <a:lnTo>
                  <a:pt x="9367" y="1615"/>
                </a:lnTo>
                <a:lnTo>
                  <a:pt x="9377" y="1572"/>
                </a:lnTo>
                <a:lnTo>
                  <a:pt x="9358" y="1526"/>
                </a:lnTo>
                <a:lnTo>
                  <a:pt x="9315" y="1519"/>
                </a:lnTo>
                <a:lnTo>
                  <a:pt x="9288" y="1540"/>
                </a:lnTo>
                <a:lnTo>
                  <a:pt x="9280" y="1571"/>
                </a:lnTo>
                <a:lnTo>
                  <a:pt x="9292" y="1599"/>
                </a:lnTo>
                <a:lnTo>
                  <a:pt x="9322" y="1612"/>
                </a:lnTo>
                <a:close/>
                <a:moveTo>
                  <a:pt x="9440" y="3544"/>
                </a:moveTo>
                <a:lnTo>
                  <a:pt x="9395" y="3400"/>
                </a:lnTo>
                <a:lnTo>
                  <a:pt x="9287" y="3413"/>
                </a:lnTo>
                <a:lnTo>
                  <a:pt x="9223" y="3499"/>
                </a:lnTo>
                <a:lnTo>
                  <a:pt x="9317" y="3583"/>
                </a:lnTo>
                <a:lnTo>
                  <a:pt x="9350" y="3577"/>
                </a:lnTo>
                <a:lnTo>
                  <a:pt x="9387" y="3571"/>
                </a:lnTo>
                <a:lnTo>
                  <a:pt x="9422" y="3559"/>
                </a:lnTo>
                <a:lnTo>
                  <a:pt x="9440" y="3544"/>
                </a:lnTo>
                <a:close/>
                <a:moveTo>
                  <a:pt x="9363" y="2309"/>
                </a:moveTo>
                <a:lnTo>
                  <a:pt x="9350" y="2319"/>
                </a:lnTo>
                <a:lnTo>
                  <a:pt x="9343" y="2329"/>
                </a:lnTo>
                <a:lnTo>
                  <a:pt x="9343" y="2341"/>
                </a:lnTo>
                <a:lnTo>
                  <a:pt x="9345" y="2357"/>
                </a:lnTo>
                <a:lnTo>
                  <a:pt x="9373" y="2363"/>
                </a:lnTo>
                <a:lnTo>
                  <a:pt x="9390" y="2346"/>
                </a:lnTo>
                <a:lnTo>
                  <a:pt x="9387" y="2323"/>
                </a:lnTo>
                <a:lnTo>
                  <a:pt x="9363" y="2309"/>
                </a:lnTo>
                <a:close/>
                <a:moveTo>
                  <a:pt x="9544" y="4243"/>
                </a:moveTo>
                <a:lnTo>
                  <a:pt x="9462" y="4215"/>
                </a:lnTo>
                <a:lnTo>
                  <a:pt x="9378" y="4175"/>
                </a:lnTo>
                <a:lnTo>
                  <a:pt x="9307" y="4201"/>
                </a:lnTo>
                <a:lnTo>
                  <a:pt x="9268" y="4365"/>
                </a:lnTo>
                <a:lnTo>
                  <a:pt x="9359" y="4430"/>
                </a:lnTo>
                <a:lnTo>
                  <a:pt x="9492" y="4400"/>
                </a:lnTo>
                <a:lnTo>
                  <a:pt x="9580" y="4322"/>
                </a:lnTo>
                <a:lnTo>
                  <a:pt x="9544" y="4243"/>
                </a:lnTo>
                <a:close/>
                <a:moveTo>
                  <a:pt x="9361" y="3168"/>
                </a:moveTo>
                <a:lnTo>
                  <a:pt x="9396" y="3212"/>
                </a:lnTo>
                <a:lnTo>
                  <a:pt x="9460" y="3223"/>
                </a:lnTo>
                <a:lnTo>
                  <a:pt x="9518" y="3206"/>
                </a:lnTo>
                <a:lnTo>
                  <a:pt x="9539" y="3163"/>
                </a:lnTo>
                <a:lnTo>
                  <a:pt x="9520" y="3091"/>
                </a:lnTo>
                <a:lnTo>
                  <a:pt x="9448" y="3059"/>
                </a:lnTo>
                <a:lnTo>
                  <a:pt x="9378" y="3079"/>
                </a:lnTo>
                <a:lnTo>
                  <a:pt x="9361" y="3168"/>
                </a:lnTo>
                <a:close/>
                <a:moveTo>
                  <a:pt x="7505" y="3872"/>
                </a:moveTo>
                <a:lnTo>
                  <a:pt x="7551" y="3848"/>
                </a:lnTo>
                <a:lnTo>
                  <a:pt x="7584" y="3807"/>
                </a:lnTo>
                <a:lnTo>
                  <a:pt x="7584" y="3783"/>
                </a:lnTo>
                <a:lnTo>
                  <a:pt x="7529" y="3807"/>
                </a:lnTo>
                <a:lnTo>
                  <a:pt x="7522" y="3773"/>
                </a:lnTo>
                <a:lnTo>
                  <a:pt x="7497" y="3756"/>
                </a:lnTo>
                <a:lnTo>
                  <a:pt x="7469" y="3763"/>
                </a:lnTo>
                <a:lnTo>
                  <a:pt x="7453" y="3796"/>
                </a:lnTo>
                <a:lnTo>
                  <a:pt x="7392" y="3854"/>
                </a:lnTo>
                <a:lnTo>
                  <a:pt x="7336" y="3842"/>
                </a:lnTo>
                <a:lnTo>
                  <a:pt x="7295" y="3783"/>
                </a:lnTo>
                <a:lnTo>
                  <a:pt x="7282" y="3700"/>
                </a:lnTo>
                <a:lnTo>
                  <a:pt x="7154" y="3835"/>
                </a:lnTo>
                <a:lnTo>
                  <a:pt x="7152" y="3952"/>
                </a:lnTo>
                <a:lnTo>
                  <a:pt x="7245" y="4010"/>
                </a:lnTo>
                <a:lnTo>
                  <a:pt x="7404" y="3959"/>
                </a:lnTo>
                <a:lnTo>
                  <a:pt x="7404" y="3960"/>
                </a:lnTo>
                <a:lnTo>
                  <a:pt x="7404" y="3960"/>
                </a:lnTo>
                <a:lnTo>
                  <a:pt x="7420" y="3975"/>
                </a:lnTo>
                <a:lnTo>
                  <a:pt x="7439" y="3977"/>
                </a:lnTo>
                <a:lnTo>
                  <a:pt x="7449" y="3968"/>
                </a:lnTo>
                <a:lnTo>
                  <a:pt x="7438" y="3952"/>
                </a:lnTo>
                <a:lnTo>
                  <a:pt x="7435" y="3949"/>
                </a:lnTo>
                <a:lnTo>
                  <a:pt x="7430" y="3947"/>
                </a:lnTo>
                <a:lnTo>
                  <a:pt x="7424" y="3949"/>
                </a:lnTo>
                <a:lnTo>
                  <a:pt x="7416" y="3951"/>
                </a:lnTo>
                <a:lnTo>
                  <a:pt x="7438" y="3935"/>
                </a:lnTo>
                <a:lnTo>
                  <a:pt x="7459" y="3916"/>
                </a:lnTo>
                <a:lnTo>
                  <a:pt x="7482" y="3895"/>
                </a:lnTo>
                <a:lnTo>
                  <a:pt x="7505" y="3872"/>
                </a:lnTo>
                <a:close/>
                <a:moveTo>
                  <a:pt x="8887" y="3988"/>
                </a:moveTo>
                <a:lnTo>
                  <a:pt x="8959" y="3998"/>
                </a:lnTo>
                <a:lnTo>
                  <a:pt x="9027" y="3964"/>
                </a:lnTo>
                <a:lnTo>
                  <a:pt x="9098" y="3931"/>
                </a:lnTo>
                <a:lnTo>
                  <a:pt x="9182" y="3951"/>
                </a:lnTo>
                <a:lnTo>
                  <a:pt x="9313" y="3875"/>
                </a:lnTo>
                <a:lnTo>
                  <a:pt x="9256" y="3770"/>
                </a:lnTo>
                <a:lnTo>
                  <a:pt x="9110" y="3697"/>
                </a:lnTo>
                <a:lnTo>
                  <a:pt x="8971" y="3705"/>
                </a:lnTo>
                <a:lnTo>
                  <a:pt x="8908" y="3628"/>
                </a:lnTo>
                <a:lnTo>
                  <a:pt x="8817" y="3635"/>
                </a:lnTo>
                <a:lnTo>
                  <a:pt x="8753" y="3704"/>
                </a:lnTo>
                <a:lnTo>
                  <a:pt x="8775" y="3805"/>
                </a:lnTo>
                <a:lnTo>
                  <a:pt x="8852" y="3826"/>
                </a:lnTo>
                <a:lnTo>
                  <a:pt x="8892" y="3863"/>
                </a:lnTo>
                <a:lnTo>
                  <a:pt x="8901" y="3917"/>
                </a:lnTo>
                <a:lnTo>
                  <a:pt x="8887" y="3988"/>
                </a:lnTo>
                <a:close/>
                <a:moveTo>
                  <a:pt x="8826" y="2851"/>
                </a:moveTo>
                <a:lnTo>
                  <a:pt x="8776" y="2832"/>
                </a:lnTo>
                <a:lnTo>
                  <a:pt x="8738" y="2837"/>
                </a:lnTo>
                <a:lnTo>
                  <a:pt x="8711" y="2864"/>
                </a:lnTo>
                <a:lnTo>
                  <a:pt x="8693" y="2915"/>
                </a:lnTo>
                <a:lnTo>
                  <a:pt x="8735" y="2962"/>
                </a:lnTo>
                <a:lnTo>
                  <a:pt x="8793" y="2957"/>
                </a:lnTo>
                <a:lnTo>
                  <a:pt x="8833" y="2915"/>
                </a:lnTo>
                <a:lnTo>
                  <a:pt x="8826" y="2851"/>
                </a:lnTo>
                <a:close/>
                <a:moveTo>
                  <a:pt x="9627" y="2886"/>
                </a:moveTo>
                <a:lnTo>
                  <a:pt x="9611" y="2904"/>
                </a:lnTo>
                <a:lnTo>
                  <a:pt x="9590" y="2914"/>
                </a:lnTo>
                <a:lnTo>
                  <a:pt x="9581" y="2928"/>
                </a:lnTo>
                <a:lnTo>
                  <a:pt x="9599" y="2954"/>
                </a:lnTo>
                <a:lnTo>
                  <a:pt x="9636" y="2946"/>
                </a:lnTo>
                <a:lnTo>
                  <a:pt x="9657" y="2906"/>
                </a:lnTo>
                <a:lnTo>
                  <a:pt x="9657" y="2874"/>
                </a:lnTo>
                <a:lnTo>
                  <a:pt x="9627" y="2886"/>
                </a:lnTo>
                <a:close/>
                <a:moveTo>
                  <a:pt x="9273" y="3094"/>
                </a:moveTo>
                <a:lnTo>
                  <a:pt x="9198" y="2971"/>
                </a:lnTo>
                <a:lnTo>
                  <a:pt x="9086" y="2966"/>
                </a:lnTo>
                <a:lnTo>
                  <a:pt x="9029" y="3024"/>
                </a:lnTo>
                <a:lnTo>
                  <a:pt x="9122" y="3094"/>
                </a:lnTo>
                <a:lnTo>
                  <a:pt x="9142" y="3257"/>
                </a:lnTo>
                <a:lnTo>
                  <a:pt x="9222" y="3308"/>
                </a:lnTo>
                <a:lnTo>
                  <a:pt x="9291" y="3252"/>
                </a:lnTo>
                <a:lnTo>
                  <a:pt x="9273" y="3094"/>
                </a:lnTo>
                <a:close/>
                <a:moveTo>
                  <a:pt x="9362" y="4481"/>
                </a:moveTo>
                <a:lnTo>
                  <a:pt x="9364" y="4500"/>
                </a:lnTo>
                <a:lnTo>
                  <a:pt x="9381" y="4497"/>
                </a:lnTo>
                <a:lnTo>
                  <a:pt x="9394" y="4484"/>
                </a:lnTo>
                <a:lnTo>
                  <a:pt x="9382" y="4470"/>
                </a:lnTo>
                <a:lnTo>
                  <a:pt x="9372" y="4469"/>
                </a:lnTo>
                <a:lnTo>
                  <a:pt x="9369" y="4472"/>
                </a:lnTo>
                <a:lnTo>
                  <a:pt x="9367" y="4476"/>
                </a:lnTo>
                <a:lnTo>
                  <a:pt x="9362" y="4481"/>
                </a:lnTo>
                <a:close/>
                <a:moveTo>
                  <a:pt x="9536" y="4411"/>
                </a:moveTo>
                <a:lnTo>
                  <a:pt x="9527" y="4413"/>
                </a:lnTo>
                <a:lnTo>
                  <a:pt x="9524" y="4422"/>
                </a:lnTo>
                <a:lnTo>
                  <a:pt x="9524" y="4432"/>
                </a:lnTo>
                <a:lnTo>
                  <a:pt x="9529" y="4437"/>
                </a:lnTo>
                <a:lnTo>
                  <a:pt x="9554" y="4432"/>
                </a:lnTo>
                <a:lnTo>
                  <a:pt x="9564" y="4420"/>
                </a:lnTo>
                <a:lnTo>
                  <a:pt x="9558" y="4409"/>
                </a:lnTo>
                <a:lnTo>
                  <a:pt x="9536" y="4411"/>
                </a:lnTo>
                <a:close/>
                <a:moveTo>
                  <a:pt x="8110" y="2692"/>
                </a:moveTo>
                <a:lnTo>
                  <a:pt x="8121" y="2690"/>
                </a:lnTo>
                <a:lnTo>
                  <a:pt x="8129" y="2678"/>
                </a:lnTo>
                <a:lnTo>
                  <a:pt x="8134" y="2663"/>
                </a:lnTo>
                <a:lnTo>
                  <a:pt x="8141" y="2646"/>
                </a:lnTo>
                <a:lnTo>
                  <a:pt x="8097" y="2616"/>
                </a:lnTo>
                <a:lnTo>
                  <a:pt x="8064" y="2644"/>
                </a:lnTo>
                <a:lnTo>
                  <a:pt x="8063" y="2685"/>
                </a:lnTo>
                <a:lnTo>
                  <a:pt x="8110" y="2692"/>
                </a:lnTo>
                <a:close/>
                <a:moveTo>
                  <a:pt x="8027" y="2286"/>
                </a:moveTo>
                <a:lnTo>
                  <a:pt x="8039" y="2308"/>
                </a:lnTo>
                <a:lnTo>
                  <a:pt x="8081" y="2317"/>
                </a:lnTo>
                <a:lnTo>
                  <a:pt x="8127" y="2315"/>
                </a:lnTo>
                <a:lnTo>
                  <a:pt x="8147" y="2305"/>
                </a:lnTo>
                <a:lnTo>
                  <a:pt x="8130" y="2247"/>
                </a:lnTo>
                <a:lnTo>
                  <a:pt x="8074" y="2223"/>
                </a:lnTo>
                <a:lnTo>
                  <a:pt x="8023" y="2234"/>
                </a:lnTo>
                <a:lnTo>
                  <a:pt x="8027" y="2286"/>
                </a:lnTo>
                <a:close/>
                <a:moveTo>
                  <a:pt x="13902" y="4366"/>
                </a:moveTo>
                <a:lnTo>
                  <a:pt x="14020" y="4369"/>
                </a:lnTo>
                <a:lnTo>
                  <a:pt x="13968" y="4385"/>
                </a:lnTo>
                <a:lnTo>
                  <a:pt x="13903" y="4418"/>
                </a:lnTo>
                <a:lnTo>
                  <a:pt x="13987" y="4468"/>
                </a:lnTo>
                <a:lnTo>
                  <a:pt x="14075" y="4421"/>
                </a:lnTo>
                <a:lnTo>
                  <a:pt x="14048" y="4333"/>
                </a:lnTo>
                <a:lnTo>
                  <a:pt x="13971" y="4288"/>
                </a:lnTo>
                <a:lnTo>
                  <a:pt x="13902" y="4366"/>
                </a:lnTo>
                <a:close/>
                <a:moveTo>
                  <a:pt x="11202" y="1965"/>
                </a:moveTo>
                <a:lnTo>
                  <a:pt x="11235" y="1942"/>
                </a:lnTo>
                <a:lnTo>
                  <a:pt x="11236" y="1904"/>
                </a:lnTo>
                <a:lnTo>
                  <a:pt x="11216" y="1871"/>
                </a:lnTo>
                <a:lnTo>
                  <a:pt x="11182" y="1865"/>
                </a:lnTo>
                <a:lnTo>
                  <a:pt x="11165" y="1899"/>
                </a:lnTo>
                <a:lnTo>
                  <a:pt x="11163" y="1932"/>
                </a:lnTo>
                <a:lnTo>
                  <a:pt x="11175" y="1958"/>
                </a:lnTo>
                <a:lnTo>
                  <a:pt x="11202" y="1965"/>
                </a:lnTo>
                <a:close/>
                <a:moveTo>
                  <a:pt x="8214" y="3004"/>
                </a:moveTo>
                <a:lnTo>
                  <a:pt x="8230" y="3052"/>
                </a:lnTo>
                <a:lnTo>
                  <a:pt x="8231" y="3120"/>
                </a:lnTo>
                <a:lnTo>
                  <a:pt x="8248" y="3176"/>
                </a:lnTo>
                <a:lnTo>
                  <a:pt x="8306" y="3192"/>
                </a:lnTo>
                <a:lnTo>
                  <a:pt x="8383" y="3149"/>
                </a:lnTo>
                <a:lnTo>
                  <a:pt x="8358" y="3093"/>
                </a:lnTo>
                <a:lnTo>
                  <a:pt x="8332" y="3051"/>
                </a:lnTo>
                <a:lnTo>
                  <a:pt x="8399" y="3047"/>
                </a:lnTo>
                <a:lnTo>
                  <a:pt x="8333" y="2901"/>
                </a:lnTo>
                <a:lnTo>
                  <a:pt x="8248" y="2807"/>
                </a:lnTo>
                <a:lnTo>
                  <a:pt x="8193" y="2822"/>
                </a:lnTo>
                <a:lnTo>
                  <a:pt x="8214" y="3004"/>
                </a:lnTo>
                <a:close/>
                <a:moveTo>
                  <a:pt x="8035" y="2970"/>
                </a:moveTo>
                <a:lnTo>
                  <a:pt x="7990" y="2940"/>
                </a:lnTo>
                <a:lnTo>
                  <a:pt x="7943" y="2944"/>
                </a:lnTo>
                <a:lnTo>
                  <a:pt x="7910" y="2979"/>
                </a:lnTo>
                <a:lnTo>
                  <a:pt x="7904" y="3033"/>
                </a:lnTo>
                <a:lnTo>
                  <a:pt x="7948" y="3064"/>
                </a:lnTo>
                <a:lnTo>
                  <a:pt x="7995" y="3059"/>
                </a:lnTo>
                <a:lnTo>
                  <a:pt x="8029" y="3026"/>
                </a:lnTo>
                <a:lnTo>
                  <a:pt x="8035" y="2970"/>
                </a:lnTo>
                <a:close/>
                <a:moveTo>
                  <a:pt x="7762" y="2567"/>
                </a:moveTo>
                <a:lnTo>
                  <a:pt x="7776" y="2556"/>
                </a:lnTo>
                <a:lnTo>
                  <a:pt x="7783" y="2546"/>
                </a:lnTo>
                <a:lnTo>
                  <a:pt x="7784" y="2534"/>
                </a:lnTo>
                <a:lnTo>
                  <a:pt x="7780" y="2518"/>
                </a:lnTo>
                <a:lnTo>
                  <a:pt x="7752" y="2514"/>
                </a:lnTo>
                <a:lnTo>
                  <a:pt x="7737" y="2529"/>
                </a:lnTo>
                <a:lnTo>
                  <a:pt x="7738" y="2552"/>
                </a:lnTo>
                <a:lnTo>
                  <a:pt x="7762" y="2567"/>
                </a:lnTo>
                <a:close/>
                <a:moveTo>
                  <a:pt x="7733" y="2160"/>
                </a:moveTo>
                <a:lnTo>
                  <a:pt x="7774" y="2207"/>
                </a:lnTo>
                <a:lnTo>
                  <a:pt x="7808" y="2202"/>
                </a:lnTo>
                <a:lnTo>
                  <a:pt x="7822" y="2160"/>
                </a:lnTo>
                <a:lnTo>
                  <a:pt x="7802" y="2102"/>
                </a:lnTo>
                <a:lnTo>
                  <a:pt x="7785" y="2038"/>
                </a:lnTo>
                <a:lnTo>
                  <a:pt x="7759" y="2052"/>
                </a:lnTo>
                <a:lnTo>
                  <a:pt x="7737" y="2105"/>
                </a:lnTo>
                <a:lnTo>
                  <a:pt x="7733" y="2160"/>
                </a:lnTo>
                <a:close/>
                <a:moveTo>
                  <a:pt x="8771" y="2385"/>
                </a:moveTo>
                <a:lnTo>
                  <a:pt x="8770" y="2343"/>
                </a:lnTo>
                <a:lnTo>
                  <a:pt x="8737" y="2321"/>
                </a:lnTo>
                <a:lnTo>
                  <a:pt x="8695" y="2319"/>
                </a:lnTo>
                <a:lnTo>
                  <a:pt x="8670" y="2345"/>
                </a:lnTo>
                <a:lnTo>
                  <a:pt x="8691" y="2379"/>
                </a:lnTo>
                <a:lnTo>
                  <a:pt x="8720" y="2401"/>
                </a:lnTo>
                <a:lnTo>
                  <a:pt x="8749" y="2405"/>
                </a:lnTo>
                <a:lnTo>
                  <a:pt x="8771" y="2385"/>
                </a:lnTo>
                <a:close/>
                <a:moveTo>
                  <a:pt x="8733" y="1507"/>
                </a:moveTo>
                <a:lnTo>
                  <a:pt x="8799" y="1524"/>
                </a:lnTo>
                <a:lnTo>
                  <a:pt x="8841" y="1497"/>
                </a:lnTo>
                <a:lnTo>
                  <a:pt x="8844" y="1457"/>
                </a:lnTo>
                <a:lnTo>
                  <a:pt x="8790" y="1436"/>
                </a:lnTo>
                <a:lnTo>
                  <a:pt x="8766" y="1433"/>
                </a:lnTo>
                <a:lnTo>
                  <a:pt x="8742" y="1457"/>
                </a:lnTo>
                <a:lnTo>
                  <a:pt x="8729" y="1488"/>
                </a:lnTo>
                <a:lnTo>
                  <a:pt x="8733" y="1507"/>
                </a:lnTo>
                <a:close/>
                <a:moveTo>
                  <a:pt x="8328" y="2140"/>
                </a:moveTo>
                <a:lnTo>
                  <a:pt x="8363" y="2102"/>
                </a:lnTo>
                <a:lnTo>
                  <a:pt x="8324" y="2054"/>
                </a:lnTo>
                <a:lnTo>
                  <a:pt x="8274" y="2046"/>
                </a:lnTo>
                <a:lnTo>
                  <a:pt x="8279" y="2119"/>
                </a:lnTo>
                <a:lnTo>
                  <a:pt x="8284" y="2139"/>
                </a:lnTo>
                <a:lnTo>
                  <a:pt x="8296" y="2144"/>
                </a:lnTo>
                <a:lnTo>
                  <a:pt x="8310" y="2142"/>
                </a:lnTo>
                <a:lnTo>
                  <a:pt x="8328" y="2140"/>
                </a:lnTo>
                <a:close/>
                <a:moveTo>
                  <a:pt x="9297" y="2674"/>
                </a:moveTo>
                <a:lnTo>
                  <a:pt x="9274" y="2641"/>
                </a:lnTo>
                <a:lnTo>
                  <a:pt x="9241" y="2629"/>
                </a:lnTo>
                <a:lnTo>
                  <a:pt x="9209" y="2639"/>
                </a:lnTo>
                <a:lnTo>
                  <a:pt x="9189" y="2676"/>
                </a:lnTo>
                <a:lnTo>
                  <a:pt x="9200" y="2715"/>
                </a:lnTo>
                <a:lnTo>
                  <a:pt x="9237" y="2732"/>
                </a:lnTo>
                <a:lnTo>
                  <a:pt x="9277" y="2720"/>
                </a:lnTo>
                <a:lnTo>
                  <a:pt x="9297" y="2674"/>
                </a:lnTo>
                <a:close/>
                <a:moveTo>
                  <a:pt x="8907" y="2589"/>
                </a:moveTo>
                <a:lnTo>
                  <a:pt x="8873" y="2718"/>
                </a:lnTo>
                <a:lnTo>
                  <a:pt x="8966" y="2842"/>
                </a:lnTo>
                <a:lnTo>
                  <a:pt x="9093" y="2854"/>
                </a:lnTo>
                <a:lnTo>
                  <a:pt x="9167" y="2644"/>
                </a:lnTo>
                <a:lnTo>
                  <a:pt x="9186" y="2503"/>
                </a:lnTo>
                <a:lnTo>
                  <a:pt x="9107" y="2419"/>
                </a:lnTo>
                <a:lnTo>
                  <a:pt x="8999" y="2429"/>
                </a:lnTo>
                <a:lnTo>
                  <a:pt x="8929" y="2571"/>
                </a:lnTo>
                <a:lnTo>
                  <a:pt x="8915" y="2514"/>
                </a:lnTo>
                <a:lnTo>
                  <a:pt x="8873" y="2533"/>
                </a:lnTo>
                <a:lnTo>
                  <a:pt x="8854" y="2575"/>
                </a:lnTo>
                <a:lnTo>
                  <a:pt x="8907" y="2589"/>
                </a:lnTo>
                <a:close/>
                <a:moveTo>
                  <a:pt x="8488" y="2772"/>
                </a:moveTo>
                <a:lnTo>
                  <a:pt x="8464" y="2739"/>
                </a:lnTo>
                <a:lnTo>
                  <a:pt x="8431" y="2727"/>
                </a:lnTo>
                <a:lnTo>
                  <a:pt x="8399" y="2737"/>
                </a:lnTo>
                <a:lnTo>
                  <a:pt x="8379" y="2774"/>
                </a:lnTo>
                <a:lnTo>
                  <a:pt x="8391" y="2813"/>
                </a:lnTo>
                <a:lnTo>
                  <a:pt x="8427" y="2830"/>
                </a:lnTo>
                <a:lnTo>
                  <a:pt x="8467" y="2818"/>
                </a:lnTo>
                <a:lnTo>
                  <a:pt x="8488" y="2772"/>
                </a:lnTo>
                <a:close/>
                <a:moveTo>
                  <a:pt x="8542" y="2402"/>
                </a:moveTo>
                <a:lnTo>
                  <a:pt x="8530" y="2429"/>
                </a:lnTo>
                <a:lnTo>
                  <a:pt x="8532" y="2448"/>
                </a:lnTo>
                <a:lnTo>
                  <a:pt x="8544" y="2461"/>
                </a:lnTo>
                <a:lnTo>
                  <a:pt x="8572" y="2469"/>
                </a:lnTo>
                <a:lnTo>
                  <a:pt x="8584" y="2443"/>
                </a:lnTo>
                <a:lnTo>
                  <a:pt x="8582" y="2424"/>
                </a:lnTo>
                <a:lnTo>
                  <a:pt x="8568" y="2410"/>
                </a:lnTo>
                <a:lnTo>
                  <a:pt x="8542" y="2402"/>
                </a:lnTo>
                <a:close/>
                <a:moveTo>
                  <a:pt x="8552" y="3226"/>
                </a:moveTo>
                <a:lnTo>
                  <a:pt x="8568" y="3302"/>
                </a:lnTo>
                <a:lnTo>
                  <a:pt x="8640" y="3325"/>
                </a:lnTo>
                <a:lnTo>
                  <a:pt x="8711" y="3301"/>
                </a:lnTo>
                <a:lnTo>
                  <a:pt x="8728" y="3234"/>
                </a:lnTo>
                <a:lnTo>
                  <a:pt x="8711" y="3190"/>
                </a:lnTo>
                <a:lnTo>
                  <a:pt x="8655" y="3153"/>
                </a:lnTo>
                <a:lnTo>
                  <a:pt x="8591" y="3156"/>
                </a:lnTo>
                <a:lnTo>
                  <a:pt x="8552" y="3226"/>
                </a:lnTo>
                <a:close/>
                <a:moveTo>
                  <a:pt x="7634" y="892"/>
                </a:moveTo>
                <a:lnTo>
                  <a:pt x="7649" y="900"/>
                </a:lnTo>
                <a:lnTo>
                  <a:pt x="7659" y="896"/>
                </a:lnTo>
                <a:lnTo>
                  <a:pt x="7668" y="885"/>
                </a:lnTo>
                <a:lnTo>
                  <a:pt x="7677" y="872"/>
                </a:lnTo>
                <a:lnTo>
                  <a:pt x="7676" y="824"/>
                </a:lnTo>
                <a:lnTo>
                  <a:pt x="7620" y="826"/>
                </a:lnTo>
                <a:lnTo>
                  <a:pt x="7583" y="855"/>
                </a:lnTo>
                <a:lnTo>
                  <a:pt x="7634" y="892"/>
                </a:lnTo>
                <a:close/>
                <a:moveTo>
                  <a:pt x="9880" y="3231"/>
                </a:moveTo>
                <a:lnTo>
                  <a:pt x="9825" y="3181"/>
                </a:lnTo>
                <a:lnTo>
                  <a:pt x="9759" y="3180"/>
                </a:lnTo>
                <a:lnTo>
                  <a:pt x="9704" y="3222"/>
                </a:lnTo>
                <a:lnTo>
                  <a:pt x="9692" y="3301"/>
                </a:lnTo>
                <a:lnTo>
                  <a:pt x="9746" y="3350"/>
                </a:lnTo>
                <a:lnTo>
                  <a:pt x="9814" y="3352"/>
                </a:lnTo>
                <a:lnTo>
                  <a:pt x="9867" y="3310"/>
                </a:lnTo>
                <a:lnTo>
                  <a:pt x="9880" y="3231"/>
                </a:lnTo>
                <a:close/>
                <a:moveTo>
                  <a:pt x="10374" y="4114"/>
                </a:moveTo>
                <a:lnTo>
                  <a:pt x="10321" y="4049"/>
                </a:lnTo>
                <a:lnTo>
                  <a:pt x="10237" y="3979"/>
                </a:lnTo>
                <a:lnTo>
                  <a:pt x="10177" y="3968"/>
                </a:lnTo>
                <a:lnTo>
                  <a:pt x="10202" y="4081"/>
                </a:lnTo>
                <a:lnTo>
                  <a:pt x="10080" y="4218"/>
                </a:lnTo>
                <a:lnTo>
                  <a:pt x="10150" y="4315"/>
                </a:lnTo>
                <a:lnTo>
                  <a:pt x="10288" y="4302"/>
                </a:lnTo>
                <a:lnTo>
                  <a:pt x="10374" y="4114"/>
                </a:lnTo>
                <a:close/>
                <a:moveTo>
                  <a:pt x="10420" y="4313"/>
                </a:moveTo>
                <a:lnTo>
                  <a:pt x="10418" y="4361"/>
                </a:lnTo>
                <a:lnTo>
                  <a:pt x="10433" y="4406"/>
                </a:lnTo>
                <a:lnTo>
                  <a:pt x="10472" y="4439"/>
                </a:lnTo>
                <a:lnTo>
                  <a:pt x="10545" y="4454"/>
                </a:lnTo>
                <a:lnTo>
                  <a:pt x="10675" y="4388"/>
                </a:lnTo>
                <a:lnTo>
                  <a:pt x="10634" y="4257"/>
                </a:lnTo>
                <a:lnTo>
                  <a:pt x="10517" y="4189"/>
                </a:lnTo>
                <a:lnTo>
                  <a:pt x="10420" y="4313"/>
                </a:lnTo>
                <a:close/>
                <a:moveTo>
                  <a:pt x="9813" y="3717"/>
                </a:moveTo>
                <a:lnTo>
                  <a:pt x="9787" y="3726"/>
                </a:lnTo>
                <a:lnTo>
                  <a:pt x="9759" y="3725"/>
                </a:lnTo>
                <a:lnTo>
                  <a:pt x="9741" y="3733"/>
                </a:lnTo>
                <a:lnTo>
                  <a:pt x="9748" y="3773"/>
                </a:lnTo>
                <a:lnTo>
                  <a:pt x="9790" y="3784"/>
                </a:lnTo>
                <a:lnTo>
                  <a:pt x="9834" y="3756"/>
                </a:lnTo>
                <a:lnTo>
                  <a:pt x="9851" y="3722"/>
                </a:lnTo>
                <a:lnTo>
                  <a:pt x="9813" y="3717"/>
                </a:lnTo>
                <a:close/>
                <a:moveTo>
                  <a:pt x="9985" y="3837"/>
                </a:moveTo>
                <a:lnTo>
                  <a:pt x="10097" y="3815"/>
                </a:lnTo>
                <a:lnTo>
                  <a:pt x="10118" y="3728"/>
                </a:lnTo>
                <a:lnTo>
                  <a:pt x="10069" y="3643"/>
                </a:lnTo>
                <a:lnTo>
                  <a:pt x="9968" y="3623"/>
                </a:lnTo>
                <a:lnTo>
                  <a:pt x="9916" y="3669"/>
                </a:lnTo>
                <a:lnTo>
                  <a:pt x="9901" y="3736"/>
                </a:lnTo>
                <a:lnTo>
                  <a:pt x="9925" y="3801"/>
                </a:lnTo>
                <a:lnTo>
                  <a:pt x="9985" y="3837"/>
                </a:lnTo>
                <a:close/>
                <a:moveTo>
                  <a:pt x="9679" y="2962"/>
                </a:moveTo>
                <a:lnTo>
                  <a:pt x="9707" y="3040"/>
                </a:lnTo>
                <a:lnTo>
                  <a:pt x="9753" y="3047"/>
                </a:lnTo>
                <a:lnTo>
                  <a:pt x="9801" y="3004"/>
                </a:lnTo>
                <a:lnTo>
                  <a:pt x="9833" y="2932"/>
                </a:lnTo>
                <a:lnTo>
                  <a:pt x="9842" y="2967"/>
                </a:lnTo>
                <a:lnTo>
                  <a:pt x="9864" y="2985"/>
                </a:lnTo>
                <a:lnTo>
                  <a:pt x="9890" y="2991"/>
                </a:lnTo>
                <a:lnTo>
                  <a:pt x="9913" y="2993"/>
                </a:lnTo>
                <a:lnTo>
                  <a:pt x="9988" y="2949"/>
                </a:lnTo>
                <a:lnTo>
                  <a:pt x="9963" y="2881"/>
                </a:lnTo>
                <a:lnTo>
                  <a:pt x="9894" y="2844"/>
                </a:lnTo>
                <a:lnTo>
                  <a:pt x="9838" y="2900"/>
                </a:lnTo>
                <a:lnTo>
                  <a:pt x="9837" y="2869"/>
                </a:lnTo>
                <a:lnTo>
                  <a:pt x="9828" y="2839"/>
                </a:lnTo>
                <a:lnTo>
                  <a:pt x="9813" y="2812"/>
                </a:lnTo>
                <a:lnTo>
                  <a:pt x="9787" y="2788"/>
                </a:lnTo>
                <a:lnTo>
                  <a:pt x="9724" y="2794"/>
                </a:lnTo>
                <a:lnTo>
                  <a:pt x="9717" y="2848"/>
                </a:lnTo>
                <a:lnTo>
                  <a:pt x="9717" y="2915"/>
                </a:lnTo>
                <a:lnTo>
                  <a:pt x="9679" y="2962"/>
                </a:lnTo>
                <a:close/>
                <a:moveTo>
                  <a:pt x="10615" y="4160"/>
                </a:moveTo>
                <a:lnTo>
                  <a:pt x="10638" y="4192"/>
                </a:lnTo>
                <a:lnTo>
                  <a:pt x="10668" y="4174"/>
                </a:lnTo>
                <a:lnTo>
                  <a:pt x="10682" y="4133"/>
                </a:lnTo>
                <a:lnTo>
                  <a:pt x="10657" y="4092"/>
                </a:lnTo>
                <a:lnTo>
                  <a:pt x="10630" y="4096"/>
                </a:lnTo>
                <a:lnTo>
                  <a:pt x="10629" y="4117"/>
                </a:lnTo>
                <a:lnTo>
                  <a:pt x="10630" y="4141"/>
                </a:lnTo>
                <a:lnTo>
                  <a:pt x="10615" y="4160"/>
                </a:lnTo>
                <a:close/>
                <a:moveTo>
                  <a:pt x="11026" y="2293"/>
                </a:moveTo>
                <a:lnTo>
                  <a:pt x="11086" y="2252"/>
                </a:lnTo>
                <a:lnTo>
                  <a:pt x="11095" y="2200"/>
                </a:lnTo>
                <a:lnTo>
                  <a:pt x="11065" y="2169"/>
                </a:lnTo>
                <a:lnTo>
                  <a:pt x="11008" y="2196"/>
                </a:lnTo>
                <a:lnTo>
                  <a:pt x="10989" y="2214"/>
                </a:lnTo>
                <a:lnTo>
                  <a:pt x="10992" y="2249"/>
                </a:lnTo>
                <a:lnTo>
                  <a:pt x="11007" y="2282"/>
                </a:lnTo>
                <a:lnTo>
                  <a:pt x="11026" y="2293"/>
                </a:lnTo>
                <a:close/>
                <a:moveTo>
                  <a:pt x="11169" y="3184"/>
                </a:moveTo>
                <a:lnTo>
                  <a:pt x="11186" y="3204"/>
                </a:lnTo>
                <a:lnTo>
                  <a:pt x="11221" y="3204"/>
                </a:lnTo>
                <a:lnTo>
                  <a:pt x="11256" y="3191"/>
                </a:lnTo>
                <a:lnTo>
                  <a:pt x="11268" y="3173"/>
                </a:lnTo>
                <a:lnTo>
                  <a:pt x="11231" y="3111"/>
                </a:lnTo>
                <a:lnTo>
                  <a:pt x="11180" y="3098"/>
                </a:lnTo>
                <a:lnTo>
                  <a:pt x="11147" y="3126"/>
                </a:lnTo>
                <a:lnTo>
                  <a:pt x="11169" y="3184"/>
                </a:lnTo>
                <a:close/>
                <a:moveTo>
                  <a:pt x="11203" y="2622"/>
                </a:moveTo>
                <a:lnTo>
                  <a:pt x="11215" y="2620"/>
                </a:lnTo>
                <a:lnTo>
                  <a:pt x="11221" y="2608"/>
                </a:lnTo>
                <a:lnTo>
                  <a:pt x="11228" y="2593"/>
                </a:lnTo>
                <a:lnTo>
                  <a:pt x="11233" y="2578"/>
                </a:lnTo>
                <a:lnTo>
                  <a:pt x="11191" y="2546"/>
                </a:lnTo>
                <a:lnTo>
                  <a:pt x="11157" y="2575"/>
                </a:lnTo>
                <a:lnTo>
                  <a:pt x="11155" y="2616"/>
                </a:lnTo>
                <a:lnTo>
                  <a:pt x="11203" y="2622"/>
                </a:lnTo>
                <a:close/>
                <a:moveTo>
                  <a:pt x="10984" y="2960"/>
                </a:moveTo>
                <a:lnTo>
                  <a:pt x="11026" y="3007"/>
                </a:lnTo>
                <a:lnTo>
                  <a:pt x="11084" y="3002"/>
                </a:lnTo>
                <a:lnTo>
                  <a:pt x="11123" y="2961"/>
                </a:lnTo>
                <a:lnTo>
                  <a:pt x="11115" y="2896"/>
                </a:lnTo>
                <a:lnTo>
                  <a:pt x="11067" y="2878"/>
                </a:lnTo>
                <a:lnTo>
                  <a:pt x="11029" y="2882"/>
                </a:lnTo>
                <a:lnTo>
                  <a:pt x="11001" y="2910"/>
                </a:lnTo>
                <a:lnTo>
                  <a:pt x="10984" y="2960"/>
                </a:lnTo>
                <a:close/>
                <a:moveTo>
                  <a:pt x="10805" y="3532"/>
                </a:moveTo>
                <a:lnTo>
                  <a:pt x="10713" y="3520"/>
                </a:lnTo>
                <a:lnTo>
                  <a:pt x="10693" y="3578"/>
                </a:lnTo>
                <a:lnTo>
                  <a:pt x="10681" y="3655"/>
                </a:lnTo>
                <a:lnTo>
                  <a:pt x="10618" y="3698"/>
                </a:lnTo>
                <a:lnTo>
                  <a:pt x="10561" y="3728"/>
                </a:lnTo>
                <a:lnTo>
                  <a:pt x="10545" y="3702"/>
                </a:lnTo>
                <a:lnTo>
                  <a:pt x="10533" y="3656"/>
                </a:lnTo>
                <a:lnTo>
                  <a:pt x="10498" y="3630"/>
                </a:lnTo>
                <a:lnTo>
                  <a:pt x="10457" y="3644"/>
                </a:lnTo>
                <a:lnTo>
                  <a:pt x="10462" y="3695"/>
                </a:lnTo>
                <a:lnTo>
                  <a:pt x="10486" y="3760"/>
                </a:lnTo>
                <a:lnTo>
                  <a:pt x="10499" y="3815"/>
                </a:lnTo>
                <a:lnTo>
                  <a:pt x="10837" y="3746"/>
                </a:lnTo>
                <a:lnTo>
                  <a:pt x="10905" y="3573"/>
                </a:lnTo>
                <a:lnTo>
                  <a:pt x="10848" y="3450"/>
                </a:lnTo>
                <a:lnTo>
                  <a:pt x="10805" y="3532"/>
                </a:lnTo>
                <a:close/>
                <a:moveTo>
                  <a:pt x="10843" y="3270"/>
                </a:moveTo>
                <a:lnTo>
                  <a:pt x="10842" y="3313"/>
                </a:lnTo>
                <a:lnTo>
                  <a:pt x="10857" y="3345"/>
                </a:lnTo>
                <a:lnTo>
                  <a:pt x="10888" y="3364"/>
                </a:lnTo>
                <a:lnTo>
                  <a:pt x="10928" y="3371"/>
                </a:lnTo>
                <a:lnTo>
                  <a:pt x="11016" y="3322"/>
                </a:lnTo>
                <a:lnTo>
                  <a:pt x="10989" y="3234"/>
                </a:lnTo>
                <a:lnTo>
                  <a:pt x="10912" y="3190"/>
                </a:lnTo>
                <a:lnTo>
                  <a:pt x="10843" y="3270"/>
                </a:lnTo>
                <a:close/>
                <a:moveTo>
                  <a:pt x="10893" y="2469"/>
                </a:moveTo>
                <a:lnTo>
                  <a:pt x="10877" y="2444"/>
                </a:lnTo>
                <a:lnTo>
                  <a:pt x="10863" y="2434"/>
                </a:lnTo>
                <a:lnTo>
                  <a:pt x="10845" y="2436"/>
                </a:lnTo>
                <a:lnTo>
                  <a:pt x="10820" y="2443"/>
                </a:lnTo>
                <a:lnTo>
                  <a:pt x="10819" y="2481"/>
                </a:lnTo>
                <a:lnTo>
                  <a:pt x="10840" y="2501"/>
                </a:lnTo>
                <a:lnTo>
                  <a:pt x="10870" y="2499"/>
                </a:lnTo>
                <a:lnTo>
                  <a:pt x="10893" y="2469"/>
                </a:lnTo>
                <a:close/>
                <a:moveTo>
                  <a:pt x="10359" y="3115"/>
                </a:moveTo>
                <a:lnTo>
                  <a:pt x="10395" y="3175"/>
                </a:lnTo>
                <a:lnTo>
                  <a:pt x="10443" y="3143"/>
                </a:lnTo>
                <a:lnTo>
                  <a:pt x="10467" y="3066"/>
                </a:lnTo>
                <a:lnTo>
                  <a:pt x="10432" y="2994"/>
                </a:lnTo>
                <a:lnTo>
                  <a:pt x="10388" y="2999"/>
                </a:lnTo>
                <a:lnTo>
                  <a:pt x="10384" y="3036"/>
                </a:lnTo>
                <a:lnTo>
                  <a:pt x="10386" y="3082"/>
                </a:lnTo>
                <a:lnTo>
                  <a:pt x="10359" y="3115"/>
                </a:lnTo>
                <a:close/>
                <a:moveTo>
                  <a:pt x="10954" y="2841"/>
                </a:moveTo>
                <a:lnTo>
                  <a:pt x="11008" y="2865"/>
                </a:lnTo>
                <a:lnTo>
                  <a:pt x="11047" y="2784"/>
                </a:lnTo>
                <a:lnTo>
                  <a:pt x="11057" y="2667"/>
                </a:lnTo>
                <a:lnTo>
                  <a:pt x="11033" y="2588"/>
                </a:lnTo>
                <a:lnTo>
                  <a:pt x="10969" y="2583"/>
                </a:lnTo>
                <a:lnTo>
                  <a:pt x="10952" y="2635"/>
                </a:lnTo>
                <a:lnTo>
                  <a:pt x="10942" y="2702"/>
                </a:lnTo>
                <a:lnTo>
                  <a:pt x="10896" y="2742"/>
                </a:lnTo>
                <a:lnTo>
                  <a:pt x="10882" y="2764"/>
                </a:lnTo>
                <a:lnTo>
                  <a:pt x="10891" y="2794"/>
                </a:lnTo>
                <a:lnTo>
                  <a:pt x="10917" y="2823"/>
                </a:lnTo>
                <a:lnTo>
                  <a:pt x="10954" y="2841"/>
                </a:lnTo>
                <a:close/>
                <a:moveTo>
                  <a:pt x="10495" y="2368"/>
                </a:moveTo>
                <a:lnTo>
                  <a:pt x="10523" y="2373"/>
                </a:lnTo>
                <a:lnTo>
                  <a:pt x="10539" y="2356"/>
                </a:lnTo>
                <a:lnTo>
                  <a:pt x="10537" y="2333"/>
                </a:lnTo>
                <a:lnTo>
                  <a:pt x="10513" y="2319"/>
                </a:lnTo>
                <a:lnTo>
                  <a:pt x="10500" y="2331"/>
                </a:lnTo>
                <a:lnTo>
                  <a:pt x="10493" y="2340"/>
                </a:lnTo>
                <a:lnTo>
                  <a:pt x="10491" y="2351"/>
                </a:lnTo>
                <a:lnTo>
                  <a:pt x="10495" y="2368"/>
                </a:lnTo>
                <a:close/>
                <a:moveTo>
                  <a:pt x="10314" y="2399"/>
                </a:moveTo>
                <a:lnTo>
                  <a:pt x="10353" y="2365"/>
                </a:lnTo>
                <a:lnTo>
                  <a:pt x="10368" y="2308"/>
                </a:lnTo>
                <a:lnTo>
                  <a:pt x="10364" y="2247"/>
                </a:lnTo>
                <a:lnTo>
                  <a:pt x="10341" y="2201"/>
                </a:lnTo>
                <a:lnTo>
                  <a:pt x="10293" y="2202"/>
                </a:lnTo>
                <a:lnTo>
                  <a:pt x="10283" y="2243"/>
                </a:lnTo>
                <a:lnTo>
                  <a:pt x="10279" y="2295"/>
                </a:lnTo>
                <a:lnTo>
                  <a:pt x="10247" y="2329"/>
                </a:lnTo>
                <a:lnTo>
                  <a:pt x="10237" y="2349"/>
                </a:lnTo>
                <a:lnTo>
                  <a:pt x="10251" y="2375"/>
                </a:lnTo>
                <a:lnTo>
                  <a:pt x="10280" y="2397"/>
                </a:lnTo>
                <a:lnTo>
                  <a:pt x="10314" y="2399"/>
                </a:lnTo>
                <a:close/>
                <a:moveTo>
                  <a:pt x="10355" y="1189"/>
                </a:moveTo>
                <a:lnTo>
                  <a:pt x="10374" y="1197"/>
                </a:lnTo>
                <a:lnTo>
                  <a:pt x="10398" y="1183"/>
                </a:lnTo>
                <a:lnTo>
                  <a:pt x="10416" y="1161"/>
                </a:lnTo>
                <a:lnTo>
                  <a:pt x="10418" y="1144"/>
                </a:lnTo>
                <a:lnTo>
                  <a:pt x="10368" y="1116"/>
                </a:lnTo>
                <a:lnTo>
                  <a:pt x="10328" y="1129"/>
                </a:lnTo>
                <a:lnTo>
                  <a:pt x="10317" y="1160"/>
                </a:lnTo>
                <a:lnTo>
                  <a:pt x="10355" y="1189"/>
                </a:lnTo>
                <a:close/>
                <a:moveTo>
                  <a:pt x="9559" y="2497"/>
                </a:moveTo>
                <a:lnTo>
                  <a:pt x="9586" y="2555"/>
                </a:lnTo>
                <a:lnTo>
                  <a:pt x="9655" y="2555"/>
                </a:lnTo>
                <a:lnTo>
                  <a:pt x="9722" y="2515"/>
                </a:lnTo>
                <a:lnTo>
                  <a:pt x="9748" y="2447"/>
                </a:lnTo>
                <a:lnTo>
                  <a:pt x="9646" y="2336"/>
                </a:lnTo>
                <a:lnTo>
                  <a:pt x="9595" y="2308"/>
                </a:lnTo>
                <a:lnTo>
                  <a:pt x="9573" y="2363"/>
                </a:lnTo>
                <a:lnTo>
                  <a:pt x="9559" y="2497"/>
                </a:lnTo>
                <a:close/>
                <a:moveTo>
                  <a:pt x="9768" y="2089"/>
                </a:moveTo>
                <a:lnTo>
                  <a:pt x="9795" y="2096"/>
                </a:lnTo>
                <a:lnTo>
                  <a:pt x="9831" y="2081"/>
                </a:lnTo>
                <a:lnTo>
                  <a:pt x="9857" y="2058"/>
                </a:lnTo>
                <a:lnTo>
                  <a:pt x="9860" y="2039"/>
                </a:lnTo>
                <a:lnTo>
                  <a:pt x="9788" y="2009"/>
                </a:lnTo>
                <a:lnTo>
                  <a:pt x="9729" y="2021"/>
                </a:lnTo>
                <a:lnTo>
                  <a:pt x="9711" y="2056"/>
                </a:lnTo>
                <a:lnTo>
                  <a:pt x="9768" y="2089"/>
                </a:lnTo>
                <a:close/>
                <a:moveTo>
                  <a:pt x="10637" y="1832"/>
                </a:moveTo>
                <a:lnTo>
                  <a:pt x="10646" y="1851"/>
                </a:lnTo>
                <a:lnTo>
                  <a:pt x="10658" y="1856"/>
                </a:lnTo>
                <a:lnTo>
                  <a:pt x="10676" y="1852"/>
                </a:lnTo>
                <a:lnTo>
                  <a:pt x="10695" y="1846"/>
                </a:lnTo>
                <a:lnTo>
                  <a:pt x="10731" y="1800"/>
                </a:lnTo>
                <a:lnTo>
                  <a:pt x="10677" y="1755"/>
                </a:lnTo>
                <a:lnTo>
                  <a:pt x="10618" y="1753"/>
                </a:lnTo>
                <a:lnTo>
                  <a:pt x="10637" y="1832"/>
                </a:lnTo>
                <a:close/>
                <a:moveTo>
                  <a:pt x="10465" y="3359"/>
                </a:moveTo>
                <a:lnTo>
                  <a:pt x="10420" y="3344"/>
                </a:lnTo>
                <a:lnTo>
                  <a:pt x="10374" y="3369"/>
                </a:lnTo>
                <a:lnTo>
                  <a:pt x="10362" y="3410"/>
                </a:lnTo>
                <a:lnTo>
                  <a:pt x="10416" y="3439"/>
                </a:lnTo>
                <a:lnTo>
                  <a:pt x="10382" y="3489"/>
                </a:lnTo>
                <a:lnTo>
                  <a:pt x="10372" y="3541"/>
                </a:lnTo>
                <a:lnTo>
                  <a:pt x="10395" y="3586"/>
                </a:lnTo>
                <a:lnTo>
                  <a:pt x="10462" y="3606"/>
                </a:lnTo>
                <a:lnTo>
                  <a:pt x="10563" y="3559"/>
                </a:lnTo>
                <a:lnTo>
                  <a:pt x="10567" y="3487"/>
                </a:lnTo>
                <a:lnTo>
                  <a:pt x="10519" y="3413"/>
                </a:lnTo>
                <a:lnTo>
                  <a:pt x="10465" y="3359"/>
                </a:lnTo>
                <a:close/>
                <a:moveTo>
                  <a:pt x="9944" y="1021"/>
                </a:moveTo>
                <a:lnTo>
                  <a:pt x="9965" y="979"/>
                </a:lnTo>
                <a:lnTo>
                  <a:pt x="9946" y="937"/>
                </a:lnTo>
                <a:lnTo>
                  <a:pt x="9906" y="913"/>
                </a:lnTo>
                <a:lnTo>
                  <a:pt x="9866" y="925"/>
                </a:lnTo>
                <a:lnTo>
                  <a:pt x="9867" y="970"/>
                </a:lnTo>
                <a:lnTo>
                  <a:pt x="9884" y="1008"/>
                </a:lnTo>
                <a:lnTo>
                  <a:pt x="9911" y="1027"/>
                </a:lnTo>
                <a:lnTo>
                  <a:pt x="9944" y="1021"/>
                </a:lnTo>
                <a:close/>
                <a:moveTo>
                  <a:pt x="10238" y="2909"/>
                </a:moveTo>
                <a:lnTo>
                  <a:pt x="10391" y="2868"/>
                </a:lnTo>
                <a:lnTo>
                  <a:pt x="10537" y="2747"/>
                </a:lnTo>
                <a:lnTo>
                  <a:pt x="10592" y="2639"/>
                </a:lnTo>
                <a:lnTo>
                  <a:pt x="10470" y="2637"/>
                </a:lnTo>
                <a:lnTo>
                  <a:pt x="10441" y="2664"/>
                </a:lnTo>
                <a:lnTo>
                  <a:pt x="10400" y="2654"/>
                </a:lnTo>
                <a:lnTo>
                  <a:pt x="10360" y="2648"/>
                </a:lnTo>
                <a:lnTo>
                  <a:pt x="10337" y="2685"/>
                </a:lnTo>
                <a:lnTo>
                  <a:pt x="10309" y="2691"/>
                </a:lnTo>
                <a:lnTo>
                  <a:pt x="10292" y="2725"/>
                </a:lnTo>
                <a:lnTo>
                  <a:pt x="10286" y="2772"/>
                </a:lnTo>
                <a:lnTo>
                  <a:pt x="10299" y="2821"/>
                </a:lnTo>
                <a:lnTo>
                  <a:pt x="10234" y="2826"/>
                </a:lnTo>
                <a:lnTo>
                  <a:pt x="10188" y="2858"/>
                </a:lnTo>
                <a:lnTo>
                  <a:pt x="10183" y="2893"/>
                </a:lnTo>
                <a:lnTo>
                  <a:pt x="10238" y="2909"/>
                </a:lnTo>
                <a:close/>
                <a:moveTo>
                  <a:pt x="9894" y="2559"/>
                </a:moveTo>
                <a:lnTo>
                  <a:pt x="9929" y="2616"/>
                </a:lnTo>
                <a:lnTo>
                  <a:pt x="9977" y="2626"/>
                </a:lnTo>
                <a:lnTo>
                  <a:pt x="10024" y="2634"/>
                </a:lnTo>
                <a:lnTo>
                  <a:pt x="10052" y="2682"/>
                </a:lnTo>
                <a:lnTo>
                  <a:pt x="10113" y="2681"/>
                </a:lnTo>
                <a:lnTo>
                  <a:pt x="10163" y="2626"/>
                </a:lnTo>
                <a:lnTo>
                  <a:pt x="10174" y="2574"/>
                </a:lnTo>
                <a:lnTo>
                  <a:pt x="10121" y="2581"/>
                </a:lnTo>
                <a:lnTo>
                  <a:pt x="10103" y="2602"/>
                </a:lnTo>
                <a:lnTo>
                  <a:pt x="10083" y="2609"/>
                </a:lnTo>
                <a:lnTo>
                  <a:pt x="10074" y="2603"/>
                </a:lnTo>
                <a:lnTo>
                  <a:pt x="10090" y="2584"/>
                </a:lnTo>
                <a:lnTo>
                  <a:pt x="10058" y="2538"/>
                </a:lnTo>
                <a:lnTo>
                  <a:pt x="10033" y="2532"/>
                </a:lnTo>
                <a:lnTo>
                  <a:pt x="10014" y="2551"/>
                </a:lnTo>
                <a:lnTo>
                  <a:pt x="10006" y="2581"/>
                </a:lnTo>
                <a:lnTo>
                  <a:pt x="9991" y="2555"/>
                </a:lnTo>
                <a:lnTo>
                  <a:pt x="9955" y="2542"/>
                </a:lnTo>
                <a:lnTo>
                  <a:pt x="9917" y="2545"/>
                </a:lnTo>
                <a:lnTo>
                  <a:pt x="9894" y="2559"/>
                </a:lnTo>
                <a:close/>
                <a:moveTo>
                  <a:pt x="10313" y="3644"/>
                </a:moveTo>
                <a:lnTo>
                  <a:pt x="10211" y="3646"/>
                </a:lnTo>
                <a:lnTo>
                  <a:pt x="10188" y="3708"/>
                </a:lnTo>
                <a:lnTo>
                  <a:pt x="10206" y="3800"/>
                </a:lnTo>
                <a:lnTo>
                  <a:pt x="10227" y="3893"/>
                </a:lnTo>
                <a:lnTo>
                  <a:pt x="10328" y="3988"/>
                </a:lnTo>
                <a:lnTo>
                  <a:pt x="10421" y="3931"/>
                </a:lnTo>
                <a:lnTo>
                  <a:pt x="10439" y="3792"/>
                </a:lnTo>
                <a:lnTo>
                  <a:pt x="10313" y="3644"/>
                </a:lnTo>
                <a:close/>
                <a:moveTo>
                  <a:pt x="10581" y="3246"/>
                </a:moveTo>
                <a:lnTo>
                  <a:pt x="10632" y="3246"/>
                </a:lnTo>
                <a:lnTo>
                  <a:pt x="10661" y="3233"/>
                </a:lnTo>
                <a:lnTo>
                  <a:pt x="10676" y="3212"/>
                </a:lnTo>
                <a:lnTo>
                  <a:pt x="10684" y="3186"/>
                </a:lnTo>
                <a:lnTo>
                  <a:pt x="10642" y="3089"/>
                </a:lnTo>
                <a:lnTo>
                  <a:pt x="10547" y="3098"/>
                </a:lnTo>
                <a:lnTo>
                  <a:pt x="10497" y="3167"/>
                </a:lnTo>
                <a:lnTo>
                  <a:pt x="10581" y="3246"/>
                </a:lnTo>
                <a:close/>
                <a:moveTo>
                  <a:pt x="10179" y="3046"/>
                </a:moveTo>
                <a:lnTo>
                  <a:pt x="10183" y="3074"/>
                </a:lnTo>
                <a:lnTo>
                  <a:pt x="10200" y="3102"/>
                </a:lnTo>
                <a:lnTo>
                  <a:pt x="10229" y="3121"/>
                </a:lnTo>
                <a:lnTo>
                  <a:pt x="10274" y="3121"/>
                </a:lnTo>
                <a:lnTo>
                  <a:pt x="10340" y="3051"/>
                </a:lnTo>
                <a:lnTo>
                  <a:pt x="10303" y="2988"/>
                </a:lnTo>
                <a:lnTo>
                  <a:pt x="10227" y="2971"/>
                </a:lnTo>
                <a:lnTo>
                  <a:pt x="10179" y="3046"/>
                </a:lnTo>
                <a:close/>
                <a:moveTo>
                  <a:pt x="10656" y="2856"/>
                </a:moveTo>
                <a:lnTo>
                  <a:pt x="10702" y="2887"/>
                </a:lnTo>
                <a:lnTo>
                  <a:pt x="10747" y="2882"/>
                </a:lnTo>
                <a:lnTo>
                  <a:pt x="10781" y="2848"/>
                </a:lnTo>
                <a:lnTo>
                  <a:pt x="10788" y="2793"/>
                </a:lnTo>
                <a:lnTo>
                  <a:pt x="10742" y="2762"/>
                </a:lnTo>
                <a:lnTo>
                  <a:pt x="10695" y="2767"/>
                </a:lnTo>
                <a:lnTo>
                  <a:pt x="10662" y="2800"/>
                </a:lnTo>
                <a:lnTo>
                  <a:pt x="10656" y="2856"/>
                </a:lnTo>
                <a:close/>
                <a:moveTo>
                  <a:pt x="10034" y="3368"/>
                </a:moveTo>
                <a:lnTo>
                  <a:pt x="10030" y="3405"/>
                </a:lnTo>
                <a:lnTo>
                  <a:pt x="10041" y="3438"/>
                </a:lnTo>
                <a:lnTo>
                  <a:pt x="10067" y="3465"/>
                </a:lnTo>
                <a:lnTo>
                  <a:pt x="10114" y="3480"/>
                </a:lnTo>
                <a:lnTo>
                  <a:pt x="10228" y="3443"/>
                </a:lnTo>
                <a:lnTo>
                  <a:pt x="10204" y="3341"/>
                </a:lnTo>
                <a:lnTo>
                  <a:pt x="10114" y="3280"/>
                </a:lnTo>
                <a:lnTo>
                  <a:pt x="10034" y="3368"/>
                </a:lnTo>
                <a:close/>
                <a:moveTo>
                  <a:pt x="10688" y="2547"/>
                </a:moveTo>
                <a:lnTo>
                  <a:pt x="10653" y="2576"/>
                </a:lnTo>
                <a:lnTo>
                  <a:pt x="10654" y="2620"/>
                </a:lnTo>
                <a:lnTo>
                  <a:pt x="10681" y="2655"/>
                </a:lnTo>
                <a:lnTo>
                  <a:pt x="10719" y="2659"/>
                </a:lnTo>
                <a:lnTo>
                  <a:pt x="10736" y="2620"/>
                </a:lnTo>
                <a:lnTo>
                  <a:pt x="10736" y="2581"/>
                </a:lnTo>
                <a:lnTo>
                  <a:pt x="10719" y="2553"/>
                </a:lnTo>
                <a:lnTo>
                  <a:pt x="10688" y="2547"/>
                </a:lnTo>
                <a:close/>
                <a:moveTo>
                  <a:pt x="10396" y="4509"/>
                </a:moveTo>
                <a:lnTo>
                  <a:pt x="10416" y="4490"/>
                </a:lnTo>
                <a:lnTo>
                  <a:pt x="10427" y="4459"/>
                </a:lnTo>
                <a:lnTo>
                  <a:pt x="10425" y="4426"/>
                </a:lnTo>
                <a:lnTo>
                  <a:pt x="10412" y="4400"/>
                </a:lnTo>
                <a:lnTo>
                  <a:pt x="10386" y="4411"/>
                </a:lnTo>
                <a:lnTo>
                  <a:pt x="10365" y="4451"/>
                </a:lnTo>
                <a:lnTo>
                  <a:pt x="10364" y="4493"/>
                </a:lnTo>
                <a:lnTo>
                  <a:pt x="10396" y="4509"/>
                </a:lnTo>
                <a:close/>
                <a:moveTo>
                  <a:pt x="10032" y="3946"/>
                </a:moveTo>
                <a:lnTo>
                  <a:pt x="10052" y="3956"/>
                </a:lnTo>
                <a:lnTo>
                  <a:pt x="10085" y="3945"/>
                </a:lnTo>
                <a:lnTo>
                  <a:pt x="10114" y="3922"/>
                </a:lnTo>
                <a:lnTo>
                  <a:pt x="10121" y="3904"/>
                </a:lnTo>
                <a:lnTo>
                  <a:pt x="10072" y="3866"/>
                </a:lnTo>
                <a:lnTo>
                  <a:pt x="10019" y="3872"/>
                </a:lnTo>
                <a:lnTo>
                  <a:pt x="9996" y="3907"/>
                </a:lnTo>
                <a:lnTo>
                  <a:pt x="10032" y="3946"/>
                </a:lnTo>
                <a:close/>
                <a:moveTo>
                  <a:pt x="9498" y="2897"/>
                </a:moveTo>
                <a:lnTo>
                  <a:pt x="9555" y="2895"/>
                </a:lnTo>
                <a:lnTo>
                  <a:pt x="9608" y="2858"/>
                </a:lnTo>
                <a:lnTo>
                  <a:pt x="9645" y="2804"/>
                </a:lnTo>
                <a:lnTo>
                  <a:pt x="9656" y="2744"/>
                </a:lnTo>
                <a:lnTo>
                  <a:pt x="9596" y="2722"/>
                </a:lnTo>
                <a:lnTo>
                  <a:pt x="9517" y="2760"/>
                </a:lnTo>
                <a:lnTo>
                  <a:pt x="9468" y="2828"/>
                </a:lnTo>
                <a:lnTo>
                  <a:pt x="9498" y="2897"/>
                </a:lnTo>
                <a:close/>
                <a:moveTo>
                  <a:pt x="18227" y="10129"/>
                </a:moveTo>
                <a:lnTo>
                  <a:pt x="18232" y="10131"/>
                </a:lnTo>
                <a:lnTo>
                  <a:pt x="18236" y="10131"/>
                </a:lnTo>
                <a:lnTo>
                  <a:pt x="18237" y="10127"/>
                </a:lnTo>
                <a:lnTo>
                  <a:pt x="18239" y="10122"/>
                </a:lnTo>
                <a:lnTo>
                  <a:pt x="18233" y="10118"/>
                </a:lnTo>
                <a:lnTo>
                  <a:pt x="18231" y="10120"/>
                </a:lnTo>
                <a:lnTo>
                  <a:pt x="18229" y="10122"/>
                </a:lnTo>
                <a:lnTo>
                  <a:pt x="18227" y="10129"/>
                </a:lnTo>
                <a:close/>
                <a:moveTo>
                  <a:pt x="18124" y="10266"/>
                </a:moveTo>
                <a:lnTo>
                  <a:pt x="18132" y="10258"/>
                </a:lnTo>
                <a:lnTo>
                  <a:pt x="18139" y="10251"/>
                </a:lnTo>
                <a:lnTo>
                  <a:pt x="18141" y="10243"/>
                </a:lnTo>
                <a:lnTo>
                  <a:pt x="18138" y="10230"/>
                </a:lnTo>
                <a:lnTo>
                  <a:pt x="18127" y="10241"/>
                </a:lnTo>
                <a:lnTo>
                  <a:pt x="18120" y="10247"/>
                </a:lnTo>
                <a:lnTo>
                  <a:pt x="18117" y="10256"/>
                </a:lnTo>
                <a:lnTo>
                  <a:pt x="18124" y="10266"/>
                </a:lnTo>
                <a:close/>
                <a:moveTo>
                  <a:pt x="18075" y="6357"/>
                </a:moveTo>
                <a:lnTo>
                  <a:pt x="18080" y="6344"/>
                </a:lnTo>
                <a:lnTo>
                  <a:pt x="18076" y="6340"/>
                </a:lnTo>
                <a:lnTo>
                  <a:pt x="18066" y="6340"/>
                </a:lnTo>
                <a:lnTo>
                  <a:pt x="18052" y="6343"/>
                </a:lnTo>
                <a:lnTo>
                  <a:pt x="18055" y="6353"/>
                </a:lnTo>
                <a:lnTo>
                  <a:pt x="18057" y="6358"/>
                </a:lnTo>
                <a:lnTo>
                  <a:pt x="18064" y="6358"/>
                </a:lnTo>
                <a:lnTo>
                  <a:pt x="18075" y="6357"/>
                </a:lnTo>
                <a:close/>
                <a:moveTo>
                  <a:pt x="18498" y="10351"/>
                </a:moveTo>
                <a:lnTo>
                  <a:pt x="18500" y="10360"/>
                </a:lnTo>
                <a:lnTo>
                  <a:pt x="18504" y="10370"/>
                </a:lnTo>
                <a:lnTo>
                  <a:pt x="18511" y="10379"/>
                </a:lnTo>
                <a:lnTo>
                  <a:pt x="18517" y="10387"/>
                </a:lnTo>
                <a:lnTo>
                  <a:pt x="18508" y="10368"/>
                </a:lnTo>
                <a:lnTo>
                  <a:pt x="18498" y="10351"/>
                </a:lnTo>
                <a:close/>
                <a:moveTo>
                  <a:pt x="18536" y="10396"/>
                </a:moveTo>
                <a:lnTo>
                  <a:pt x="18557" y="10405"/>
                </a:lnTo>
                <a:lnTo>
                  <a:pt x="18565" y="10402"/>
                </a:lnTo>
                <a:lnTo>
                  <a:pt x="18568" y="10390"/>
                </a:lnTo>
                <a:lnTo>
                  <a:pt x="18568" y="10368"/>
                </a:lnTo>
                <a:lnTo>
                  <a:pt x="18560" y="10378"/>
                </a:lnTo>
                <a:lnTo>
                  <a:pt x="18553" y="10387"/>
                </a:lnTo>
                <a:lnTo>
                  <a:pt x="18544" y="10393"/>
                </a:lnTo>
                <a:lnTo>
                  <a:pt x="18536" y="10396"/>
                </a:lnTo>
                <a:close/>
                <a:moveTo>
                  <a:pt x="17935" y="10205"/>
                </a:moveTo>
                <a:lnTo>
                  <a:pt x="17941" y="10216"/>
                </a:lnTo>
                <a:lnTo>
                  <a:pt x="17950" y="10227"/>
                </a:lnTo>
                <a:lnTo>
                  <a:pt x="17945" y="10219"/>
                </a:lnTo>
                <a:lnTo>
                  <a:pt x="17941" y="10208"/>
                </a:lnTo>
                <a:lnTo>
                  <a:pt x="17939" y="10200"/>
                </a:lnTo>
                <a:lnTo>
                  <a:pt x="17935" y="10205"/>
                </a:lnTo>
                <a:close/>
                <a:moveTo>
                  <a:pt x="18727" y="6843"/>
                </a:moveTo>
                <a:lnTo>
                  <a:pt x="18727" y="6828"/>
                </a:lnTo>
                <a:lnTo>
                  <a:pt x="18725" y="6818"/>
                </a:lnTo>
                <a:lnTo>
                  <a:pt x="18718" y="6816"/>
                </a:lnTo>
                <a:lnTo>
                  <a:pt x="18704" y="6823"/>
                </a:lnTo>
                <a:lnTo>
                  <a:pt x="18709" y="6825"/>
                </a:lnTo>
                <a:lnTo>
                  <a:pt x="18716" y="6829"/>
                </a:lnTo>
                <a:lnTo>
                  <a:pt x="18721" y="6836"/>
                </a:lnTo>
                <a:lnTo>
                  <a:pt x="18727" y="6843"/>
                </a:lnTo>
                <a:close/>
                <a:moveTo>
                  <a:pt x="18168" y="12490"/>
                </a:moveTo>
                <a:lnTo>
                  <a:pt x="18158" y="12495"/>
                </a:lnTo>
                <a:lnTo>
                  <a:pt x="18146" y="12491"/>
                </a:lnTo>
                <a:lnTo>
                  <a:pt x="18134" y="12486"/>
                </a:lnTo>
                <a:lnTo>
                  <a:pt x="18122" y="12484"/>
                </a:lnTo>
                <a:lnTo>
                  <a:pt x="18150" y="12503"/>
                </a:lnTo>
                <a:lnTo>
                  <a:pt x="18180" y="12505"/>
                </a:lnTo>
                <a:lnTo>
                  <a:pt x="18191" y="12498"/>
                </a:lnTo>
                <a:lnTo>
                  <a:pt x="18168" y="12490"/>
                </a:lnTo>
                <a:close/>
                <a:moveTo>
                  <a:pt x="18052" y="10397"/>
                </a:moveTo>
                <a:lnTo>
                  <a:pt x="18052" y="10404"/>
                </a:lnTo>
                <a:lnTo>
                  <a:pt x="18048" y="10405"/>
                </a:lnTo>
                <a:lnTo>
                  <a:pt x="18045" y="10404"/>
                </a:lnTo>
                <a:lnTo>
                  <a:pt x="18045" y="10400"/>
                </a:lnTo>
                <a:lnTo>
                  <a:pt x="18047" y="10393"/>
                </a:lnTo>
                <a:lnTo>
                  <a:pt x="18050" y="10390"/>
                </a:lnTo>
                <a:lnTo>
                  <a:pt x="18052" y="10390"/>
                </a:lnTo>
                <a:lnTo>
                  <a:pt x="18052" y="10397"/>
                </a:lnTo>
                <a:close/>
                <a:moveTo>
                  <a:pt x="18093" y="10320"/>
                </a:moveTo>
                <a:lnTo>
                  <a:pt x="18078" y="10316"/>
                </a:lnTo>
                <a:lnTo>
                  <a:pt x="18088" y="10292"/>
                </a:lnTo>
                <a:lnTo>
                  <a:pt x="18084" y="10271"/>
                </a:lnTo>
                <a:lnTo>
                  <a:pt x="18029" y="10276"/>
                </a:lnTo>
                <a:lnTo>
                  <a:pt x="18043" y="10331"/>
                </a:lnTo>
                <a:lnTo>
                  <a:pt x="18031" y="10382"/>
                </a:lnTo>
                <a:lnTo>
                  <a:pt x="18022" y="10426"/>
                </a:lnTo>
                <a:lnTo>
                  <a:pt x="18050" y="10466"/>
                </a:lnTo>
                <a:lnTo>
                  <a:pt x="18059" y="10452"/>
                </a:lnTo>
                <a:lnTo>
                  <a:pt x="18068" y="10409"/>
                </a:lnTo>
                <a:lnTo>
                  <a:pt x="18078" y="10359"/>
                </a:lnTo>
                <a:lnTo>
                  <a:pt x="18093" y="10320"/>
                </a:lnTo>
                <a:close/>
                <a:moveTo>
                  <a:pt x="18494" y="7016"/>
                </a:moveTo>
                <a:lnTo>
                  <a:pt x="18493" y="7013"/>
                </a:lnTo>
                <a:lnTo>
                  <a:pt x="18490" y="7010"/>
                </a:lnTo>
                <a:lnTo>
                  <a:pt x="18489" y="7010"/>
                </a:lnTo>
                <a:lnTo>
                  <a:pt x="18485" y="7013"/>
                </a:lnTo>
                <a:lnTo>
                  <a:pt x="18486" y="7016"/>
                </a:lnTo>
                <a:lnTo>
                  <a:pt x="18488" y="7019"/>
                </a:lnTo>
                <a:lnTo>
                  <a:pt x="18490" y="7019"/>
                </a:lnTo>
                <a:lnTo>
                  <a:pt x="18494" y="7016"/>
                </a:lnTo>
                <a:close/>
                <a:moveTo>
                  <a:pt x="18031" y="12411"/>
                </a:moveTo>
                <a:lnTo>
                  <a:pt x="18033" y="12410"/>
                </a:lnTo>
                <a:lnTo>
                  <a:pt x="18034" y="12407"/>
                </a:lnTo>
                <a:lnTo>
                  <a:pt x="18031" y="12407"/>
                </a:lnTo>
                <a:lnTo>
                  <a:pt x="18029" y="12406"/>
                </a:lnTo>
                <a:lnTo>
                  <a:pt x="18028" y="12407"/>
                </a:lnTo>
                <a:lnTo>
                  <a:pt x="18031" y="12411"/>
                </a:lnTo>
                <a:close/>
                <a:moveTo>
                  <a:pt x="17957" y="11926"/>
                </a:moveTo>
                <a:lnTo>
                  <a:pt x="17959" y="11940"/>
                </a:lnTo>
                <a:lnTo>
                  <a:pt x="17961" y="11954"/>
                </a:lnTo>
                <a:lnTo>
                  <a:pt x="17967" y="11948"/>
                </a:lnTo>
                <a:lnTo>
                  <a:pt x="17969" y="11935"/>
                </a:lnTo>
                <a:lnTo>
                  <a:pt x="17966" y="11923"/>
                </a:lnTo>
                <a:lnTo>
                  <a:pt x="17957" y="11926"/>
                </a:lnTo>
                <a:close/>
                <a:moveTo>
                  <a:pt x="18163" y="10485"/>
                </a:moveTo>
                <a:lnTo>
                  <a:pt x="18146" y="10490"/>
                </a:lnTo>
                <a:lnTo>
                  <a:pt x="18146" y="10508"/>
                </a:lnTo>
                <a:lnTo>
                  <a:pt x="18148" y="10533"/>
                </a:lnTo>
                <a:lnTo>
                  <a:pt x="18134" y="10568"/>
                </a:lnTo>
                <a:lnTo>
                  <a:pt x="18140" y="10573"/>
                </a:lnTo>
                <a:lnTo>
                  <a:pt x="18168" y="10547"/>
                </a:lnTo>
                <a:lnTo>
                  <a:pt x="18186" y="10510"/>
                </a:lnTo>
                <a:lnTo>
                  <a:pt x="18163" y="10485"/>
                </a:lnTo>
                <a:close/>
                <a:moveTo>
                  <a:pt x="18205" y="10345"/>
                </a:moveTo>
                <a:lnTo>
                  <a:pt x="18205" y="10348"/>
                </a:lnTo>
                <a:lnTo>
                  <a:pt x="18205" y="10350"/>
                </a:lnTo>
                <a:lnTo>
                  <a:pt x="18205" y="10348"/>
                </a:lnTo>
                <a:lnTo>
                  <a:pt x="18205" y="10345"/>
                </a:lnTo>
                <a:close/>
                <a:moveTo>
                  <a:pt x="18028" y="10481"/>
                </a:moveTo>
                <a:lnTo>
                  <a:pt x="18028" y="10484"/>
                </a:lnTo>
                <a:lnTo>
                  <a:pt x="18029" y="10484"/>
                </a:lnTo>
                <a:lnTo>
                  <a:pt x="18031" y="10481"/>
                </a:lnTo>
                <a:lnTo>
                  <a:pt x="18032" y="10480"/>
                </a:lnTo>
                <a:lnTo>
                  <a:pt x="18029" y="10481"/>
                </a:lnTo>
                <a:lnTo>
                  <a:pt x="18028" y="10481"/>
                </a:lnTo>
                <a:close/>
                <a:moveTo>
                  <a:pt x="18200" y="10377"/>
                </a:moveTo>
                <a:lnTo>
                  <a:pt x="18186" y="10395"/>
                </a:lnTo>
                <a:lnTo>
                  <a:pt x="18167" y="10397"/>
                </a:lnTo>
                <a:lnTo>
                  <a:pt x="18155" y="10400"/>
                </a:lnTo>
                <a:lnTo>
                  <a:pt x="18160" y="10418"/>
                </a:lnTo>
                <a:lnTo>
                  <a:pt x="18192" y="10401"/>
                </a:lnTo>
                <a:lnTo>
                  <a:pt x="18206" y="10381"/>
                </a:lnTo>
                <a:lnTo>
                  <a:pt x="18208" y="10368"/>
                </a:lnTo>
                <a:lnTo>
                  <a:pt x="18200" y="10377"/>
                </a:lnTo>
                <a:close/>
                <a:moveTo>
                  <a:pt x="18678" y="6855"/>
                </a:moveTo>
                <a:lnTo>
                  <a:pt x="18680" y="6848"/>
                </a:lnTo>
                <a:lnTo>
                  <a:pt x="18685" y="6839"/>
                </a:lnTo>
                <a:lnTo>
                  <a:pt x="18689" y="6832"/>
                </a:lnTo>
                <a:lnTo>
                  <a:pt x="18688" y="6830"/>
                </a:lnTo>
                <a:lnTo>
                  <a:pt x="18681" y="6843"/>
                </a:lnTo>
                <a:lnTo>
                  <a:pt x="18678" y="6855"/>
                </a:lnTo>
                <a:close/>
                <a:moveTo>
                  <a:pt x="18204" y="5820"/>
                </a:moveTo>
                <a:lnTo>
                  <a:pt x="18206" y="5819"/>
                </a:lnTo>
                <a:lnTo>
                  <a:pt x="18208" y="5819"/>
                </a:lnTo>
                <a:lnTo>
                  <a:pt x="18209" y="5816"/>
                </a:lnTo>
                <a:lnTo>
                  <a:pt x="18209" y="5813"/>
                </a:lnTo>
                <a:lnTo>
                  <a:pt x="18206" y="5815"/>
                </a:lnTo>
                <a:lnTo>
                  <a:pt x="18204" y="5816"/>
                </a:lnTo>
                <a:lnTo>
                  <a:pt x="18202" y="5817"/>
                </a:lnTo>
                <a:lnTo>
                  <a:pt x="18204" y="5820"/>
                </a:lnTo>
                <a:close/>
                <a:moveTo>
                  <a:pt x="18124" y="5513"/>
                </a:moveTo>
                <a:lnTo>
                  <a:pt x="18125" y="5503"/>
                </a:lnTo>
                <a:lnTo>
                  <a:pt x="18121" y="5508"/>
                </a:lnTo>
                <a:lnTo>
                  <a:pt x="18117" y="5510"/>
                </a:lnTo>
                <a:lnTo>
                  <a:pt x="18115" y="5499"/>
                </a:lnTo>
                <a:lnTo>
                  <a:pt x="18107" y="5500"/>
                </a:lnTo>
                <a:lnTo>
                  <a:pt x="18107" y="5508"/>
                </a:lnTo>
                <a:lnTo>
                  <a:pt x="18115" y="5516"/>
                </a:lnTo>
                <a:lnTo>
                  <a:pt x="18124" y="5513"/>
                </a:lnTo>
                <a:close/>
                <a:moveTo>
                  <a:pt x="18429" y="6823"/>
                </a:moveTo>
                <a:lnTo>
                  <a:pt x="18446" y="6820"/>
                </a:lnTo>
                <a:lnTo>
                  <a:pt x="18458" y="6827"/>
                </a:lnTo>
                <a:lnTo>
                  <a:pt x="18467" y="6838"/>
                </a:lnTo>
                <a:lnTo>
                  <a:pt x="18470" y="6853"/>
                </a:lnTo>
                <a:lnTo>
                  <a:pt x="18472" y="6829"/>
                </a:lnTo>
                <a:lnTo>
                  <a:pt x="18462" y="6816"/>
                </a:lnTo>
                <a:lnTo>
                  <a:pt x="18446" y="6814"/>
                </a:lnTo>
                <a:lnTo>
                  <a:pt x="18429" y="6823"/>
                </a:lnTo>
                <a:close/>
                <a:moveTo>
                  <a:pt x="18136" y="6223"/>
                </a:moveTo>
                <a:lnTo>
                  <a:pt x="18143" y="6246"/>
                </a:lnTo>
                <a:lnTo>
                  <a:pt x="18150" y="6273"/>
                </a:lnTo>
                <a:lnTo>
                  <a:pt x="18153" y="6288"/>
                </a:lnTo>
                <a:lnTo>
                  <a:pt x="18143" y="6279"/>
                </a:lnTo>
                <a:lnTo>
                  <a:pt x="18159" y="6305"/>
                </a:lnTo>
                <a:lnTo>
                  <a:pt x="18176" y="6277"/>
                </a:lnTo>
                <a:lnTo>
                  <a:pt x="18173" y="6236"/>
                </a:lnTo>
                <a:lnTo>
                  <a:pt x="18136" y="6223"/>
                </a:lnTo>
                <a:close/>
                <a:moveTo>
                  <a:pt x="18144" y="5481"/>
                </a:moveTo>
                <a:lnTo>
                  <a:pt x="18138" y="5481"/>
                </a:lnTo>
                <a:lnTo>
                  <a:pt x="18132" y="5489"/>
                </a:lnTo>
                <a:lnTo>
                  <a:pt x="18131" y="5500"/>
                </a:lnTo>
                <a:lnTo>
                  <a:pt x="18139" y="5509"/>
                </a:lnTo>
                <a:lnTo>
                  <a:pt x="18138" y="5500"/>
                </a:lnTo>
                <a:lnTo>
                  <a:pt x="18138" y="5493"/>
                </a:lnTo>
                <a:lnTo>
                  <a:pt x="18139" y="5486"/>
                </a:lnTo>
                <a:lnTo>
                  <a:pt x="18144" y="5481"/>
                </a:lnTo>
                <a:close/>
                <a:moveTo>
                  <a:pt x="18116" y="6353"/>
                </a:moveTo>
                <a:lnTo>
                  <a:pt x="18125" y="6353"/>
                </a:lnTo>
                <a:lnTo>
                  <a:pt x="18124" y="6344"/>
                </a:lnTo>
                <a:lnTo>
                  <a:pt x="18118" y="6332"/>
                </a:lnTo>
                <a:lnTo>
                  <a:pt x="18113" y="6321"/>
                </a:lnTo>
                <a:lnTo>
                  <a:pt x="18099" y="6330"/>
                </a:lnTo>
                <a:lnTo>
                  <a:pt x="18099" y="6334"/>
                </a:lnTo>
                <a:lnTo>
                  <a:pt x="18108" y="6340"/>
                </a:lnTo>
                <a:lnTo>
                  <a:pt x="18116" y="6353"/>
                </a:lnTo>
                <a:close/>
                <a:moveTo>
                  <a:pt x="18136" y="5274"/>
                </a:moveTo>
                <a:lnTo>
                  <a:pt x="18144" y="5276"/>
                </a:lnTo>
                <a:lnTo>
                  <a:pt x="18144" y="5274"/>
                </a:lnTo>
                <a:lnTo>
                  <a:pt x="18140" y="5267"/>
                </a:lnTo>
                <a:lnTo>
                  <a:pt x="18138" y="5260"/>
                </a:lnTo>
                <a:lnTo>
                  <a:pt x="18127" y="5265"/>
                </a:lnTo>
                <a:lnTo>
                  <a:pt x="18122" y="5271"/>
                </a:lnTo>
                <a:lnTo>
                  <a:pt x="18125" y="5275"/>
                </a:lnTo>
                <a:lnTo>
                  <a:pt x="18136" y="5274"/>
                </a:lnTo>
                <a:close/>
                <a:moveTo>
                  <a:pt x="18106" y="5560"/>
                </a:moveTo>
                <a:lnTo>
                  <a:pt x="18112" y="5559"/>
                </a:lnTo>
                <a:lnTo>
                  <a:pt x="18118" y="5555"/>
                </a:lnTo>
                <a:lnTo>
                  <a:pt x="18121" y="5551"/>
                </a:lnTo>
                <a:lnTo>
                  <a:pt x="18120" y="5544"/>
                </a:lnTo>
                <a:lnTo>
                  <a:pt x="18116" y="5547"/>
                </a:lnTo>
                <a:lnTo>
                  <a:pt x="18111" y="5551"/>
                </a:lnTo>
                <a:lnTo>
                  <a:pt x="18107" y="5555"/>
                </a:lnTo>
                <a:lnTo>
                  <a:pt x="18106" y="5560"/>
                </a:lnTo>
                <a:close/>
                <a:moveTo>
                  <a:pt x="18194" y="6640"/>
                </a:moveTo>
                <a:lnTo>
                  <a:pt x="18191" y="6646"/>
                </a:lnTo>
                <a:lnTo>
                  <a:pt x="18187" y="6651"/>
                </a:lnTo>
                <a:lnTo>
                  <a:pt x="18191" y="6648"/>
                </a:lnTo>
                <a:lnTo>
                  <a:pt x="18194" y="6646"/>
                </a:lnTo>
                <a:lnTo>
                  <a:pt x="18196" y="6643"/>
                </a:lnTo>
                <a:lnTo>
                  <a:pt x="18194" y="6640"/>
                </a:lnTo>
                <a:close/>
                <a:moveTo>
                  <a:pt x="18424" y="5340"/>
                </a:moveTo>
                <a:lnTo>
                  <a:pt x="18434" y="5337"/>
                </a:lnTo>
                <a:lnTo>
                  <a:pt x="18444" y="5336"/>
                </a:lnTo>
                <a:lnTo>
                  <a:pt x="18455" y="5337"/>
                </a:lnTo>
                <a:lnTo>
                  <a:pt x="18465" y="5339"/>
                </a:lnTo>
                <a:lnTo>
                  <a:pt x="18450" y="5326"/>
                </a:lnTo>
                <a:lnTo>
                  <a:pt x="18429" y="5331"/>
                </a:lnTo>
                <a:lnTo>
                  <a:pt x="18416" y="5340"/>
                </a:lnTo>
                <a:lnTo>
                  <a:pt x="18424" y="5340"/>
                </a:lnTo>
                <a:close/>
                <a:moveTo>
                  <a:pt x="18414" y="6914"/>
                </a:moveTo>
                <a:lnTo>
                  <a:pt x="18408" y="6921"/>
                </a:lnTo>
                <a:lnTo>
                  <a:pt x="18409" y="6927"/>
                </a:lnTo>
                <a:lnTo>
                  <a:pt x="18415" y="6934"/>
                </a:lnTo>
                <a:lnTo>
                  <a:pt x="18422" y="6940"/>
                </a:lnTo>
                <a:lnTo>
                  <a:pt x="18424" y="6931"/>
                </a:lnTo>
                <a:lnTo>
                  <a:pt x="18423" y="6926"/>
                </a:lnTo>
                <a:lnTo>
                  <a:pt x="18419" y="6921"/>
                </a:lnTo>
                <a:lnTo>
                  <a:pt x="18414" y="6914"/>
                </a:lnTo>
                <a:close/>
                <a:moveTo>
                  <a:pt x="18243" y="5566"/>
                </a:moveTo>
                <a:lnTo>
                  <a:pt x="18243" y="5563"/>
                </a:lnTo>
                <a:lnTo>
                  <a:pt x="18242" y="5561"/>
                </a:lnTo>
                <a:lnTo>
                  <a:pt x="18239" y="5564"/>
                </a:lnTo>
                <a:lnTo>
                  <a:pt x="18238" y="5566"/>
                </a:lnTo>
                <a:lnTo>
                  <a:pt x="18241" y="5565"/>
                </a:lnTo>
                <a:lnTo>
                  <a:pt x="18243" y="5566"/>
                </a:lnTo>
                <a:close/>
                <a:moveTo>
                  <a:pt x="18414" y="6867"/>
                </a:moveTo>
                <a:lnTo>
                  <a:pt x="18416" y="6860"/>
                </a:lnTo>
                <a:lnTo>
                  <a:pt x="18415" y="6858"/>
                </a:lnTo>
                <a:lnTo>
                  <a:pt x="18410" y="6862"/>
                </a:lnTo>
                <a:lnTo>
                  <a:pt x="18404" y="6865"/>
                </a:lnTo>
                <a:lnTo>
                  <a:pt x="18404" y="6869"/>
                </a:lnTo>
                <a:lnTo>
                  <a:pt x="18406" y="6870"/>
                </a:lnTo>
                <a:lnTo>
                  <a:pt x="18410" y="6869"/>
                </a:lnTo>
                <a:lnTo>
                  <a:pt x="18414" y="6867"/>
                </a:lnTo>
                <a:close/>
                <a:moveTo>
                  <a:pt x="18289" y="6943"/>
                </a:moveTo>
                <a:lnTo>
                  <a:pt x="18285" y="6946"/>
                </a:lnTo>
                <a:lnTo>
                  <a:pt x="18281" y="6953"/>
                </a:lnTo>
                <a:lnTo>
                  <a:pt x="18279" y="6958"/>
                </a:lnTo>
                <a:lnTo>
                  <a:pt x="18280" y="6964"/>
                </a:lnTo>
                <a:lnTo>
                  <a:pt x="18284" y="6953"/>
                </a:lnTo>
                <a:lnTo>
                  <a:pt x="18289" y="6943"/>
                </a:lnTo>
                <a:close/>
                <a:moveTo>
                  <a:pt x="18341" y="6808"/>
                </a:moveTo>
                <a:lnTo>
                  <a:pt x="18346" y="6848"/>
                </a:lnTo>
                <a:lnTo>
                  <a:pt x="18360" y="6895"/>
                </a:lnTo>
                <a:lnTo>
                  <a:pt x="18376" y="6913"/>
                </a:lnTo>
                <a:lnTo>
                  <a:pt x="18383" y="6871"/>
                </a:lnTo>
                <a:lnTo>
                  <a:pt x="18382" y="6847"/>
                </a:lnTo>
                <a:lnTo>
                  <a:pt x="18371" y="6801"/>
                </a:lnTo>
                <a:lnTo>
                  <a:pt x="18355" y="6774"/>
                </a:lnTo>
                <a:lnTo>
                  <a:pt x="18341" y="6808"/>
                </a:lnTo>
                <a:close/>
                <a:moveTo>
                  <a:pt x="18303" y="5737"/>
                </a:moveTo>
                <a:lnTo>
                  <a:pt x="18302" y="5732"/>
                </a:lnTo>
                <a:lnTo>
                  <a:pt x="18302" y="5726"/>
                </a:lnTo>
                <a:lnTo>
                  <a:pt x="18301" y="5721"/>
                </a:lnTo>
                <a:lnTo>
                  <a:pt x="18297" y="5719"/>
                </a:lnTo>
                <a:lnTo>
                  <a:pt x="18295" y="5727"/>
                </a:lnTo>
                <a:lnTo>
                  <a:pt x="18294" y="5736"/>
                </a:lnTo>
                <a:lnTo>
                  <a:pt x="18297" y="5741"/>
                </a:lnTo>
                <a:lnTo>
                  <a:pt x="18303" y="5737"/>
                </a:lnTo>
                <a:close/>
                <a:moveTo>
                  <a:pt x="18457" y="6734"/>
                </a:moveTo>
                <a:lnTo>
                  <a:pt x="18439" y="6717"/>
                </a:lnTo>
                <a:lnTo>
                  <a:pt x="18424" y="6698"/>
                </a:lnTo>
                <a:lnTo>
                  <a:pt x="18418" y="6692"/>
                </a:lnTo>
                <a:lnTo>
                  <a:pt x="18427" y="6712"/>
                </a:lnTo>
                <a:lnTo>
                  <a:pt x="18427" y="6744"/>
                </a:lnTo>
                <a:lnTo>
                  <a:pt x="18437" y="6758"/>
                </a:lnTo>
                <a:lnTo>
                  <a:pt x="18448" y="6755"/>
                </a:lnTo>
                <a:lnTo>
                  <a:pt x="18457" y="6734"/>
                </a:lnTo>
                <a:close/>
                <a:moveTo>
                  <a:pt x="18131" y="10344"/>
                </a:moveTo>
                <a:lnTo>
                  <a:pt x="18127" y="10337"/>
                </a:lnTo>
                <a:lnTo>
                  <a:pt x="18124" y="10332"/>
                </a:lnTo>
                <a:lnTo>
                  <a:pt x="18117" y="10330"/>
                </a:lnTo>
                <a:lnTo>
                  <a:pt x="18110" y="10330"/>
                </a:lnTo>
                <a:lnTo>
                  <a:pt x="18113" y="10335"/>
                </a:lnTo>
                <a:lnTo>
                  <a:pt x="18122" y="10341"/>
                </a:lnTo>
                <a:lnTo>
                  <a:pt x="18130" y="10345"/>
                </a:lnTo>
                <a:lnTo>
                  <a:pt x="18131" y="10344"/>
                </a:lnTo>
                <a:close/>
                <a:moveTo>
                  <a:pt x="16159" y="12662"/>
                </a:moveTo>
                <a:lnTo>
                  <a:pt x="16147" y="12657"/>
                </a:lnTo>
                <a:lnTo>
                  <a:pt x="16165" y="12678"/>
                </a:lnTo>
                <a:lnTo>
                  <a:pt x="16193" y="12699"/>
                </a:lnTo>
                <a:lnTo>
                  <a:pt x="16216" y="12694"/>
                </a:lnTo>
                <a:lnTo>
                  <a:pt x="16198" y="12688"/>
                </a:lnTo>
                <a:lnTo>
                  <a:pt x="16183" y="12685"/>
                </a:lnTo>
                <a:lnTo>
                  <a:pt x="16170" y="12677"/>
                </a:lnTo>
                <a:lnTo>
                  <a:pt x="16159" y="12662"/>
                </a:lnTo>
                <a:close/>
                <a:moveTo>
                  <a:pt x="17646" y="10630"/>
                </a:moveTo>
                <a:lnTo>
                  <a:pt x="17647" y="10633"/>
                </a:lnTo>
                <a:lnTo>
                  <a:pt x="17651" y="10638"/>
                </a:lnTo>
                <a:lnTo>
                  <a:pt x="17649" y="10633"/>
                </a:lnTo>
                <a:lnTo>
                  <a:pt x="17646" y="10630"/>
                </a:lnTo>
                <a:close/>
                <a:moveTo>
                  <a:pt x="17880" y="12170"/>
                </a:moveTo>
                <a:lnTo>
                  <a:pt x="17879" y="12172"/>
                </a:lnTo>
                <a:lnTo>
                  <a:pt x="17884" y="12177"/>
                </a:lnTo>
                <a:lnTo>
                  <a:pt x="17885" y="12173"/>
                </a:lnTo>
                <a:lnTo>
                  <a:pt x="17885" y="12172"/>
                </a:lnTo>
                <a:lnTo>
                  <a:pt x="17884" y="12170"/>
                </a:lnTo>
                <a:lnTo>
                  <a:pt x="17880" y="12170"/>
                </a:lnTo>
                <a:close/>
                <a:moveTo>
                  <a:pt x="17649" y="11054"/>
                </a:moveTo>
                <a:lnTo>
                  <a:pt x="17633" y="11051"/>
                </a:lnTo>
                <a:lnTo>
                  <a:pt x="17624" y="11051"/>
                </a:lnTo>
                <a:lnTo>
                  <a:pt x="17619" y="11059"/>
                </a:lnTo>
                <a:lnTo>
                  <a:pt x="17617" y="11074"/>
                </a:lnTo>
                <a:lnTo>
                  <a:pt x="17635" y="11077"/>
                </a:lnTo>
                <a:lnTo>
                  <a:pt x="17650" y="11077"/>
                </a:lnTo>
                <a:lnTo>
                  <a:pt x="17655" y="11072"/>
                </a:lnTo>
                <a:lnTo>
                  <a:pt x="17649" y="11054"/>
                </a:lnTo>
                <a:close/>
                <a:moveTo>
                  <a:pt x="16029" y="13181"/>
                </a:moveTo>
                <a:lnTo>
                  <a:pt x="16040" y="13181"/>
                </a:lnTo>
                <a:lnTo>
                  <a:pt x="16038" y="13177"/>
                </a:lnTo>
                <a:lnTo>
                  <a:pt x="16029" y="13172"/>
                </a:lnTo>
                <a:lnTo>
                  <a:pt x="16020" y="13165"/>
                </a:lnTo>
                <a:lnTo>
                  <a:pt x="16025" y="13172"/>
                </a:lnTo>
                <a:lnTo>
                  <a:pt x="16029" y="13181"/>
                </a:lnTo>
                <a:close/>
                <a:moveTo>
                  <a:pt x="17423" y="12625"/>
                </a:moveTo>
                <a:lnTo>
                  <a:pt x="17405" y="12631"/>
                </a:lnTo>
                <a:lnTo>
                  <a:pt x="17409" y="12643"/>
                </a:lnTo>
                <a:lnTo>
                  <a:pt x="17426" y="12653"/>
                </a:lnTo>
                <a:lnTo>
                  <a:pt x="17446" y="12657"/>
                </a:lnTo>
                <a:lnTo>
                  <a:pt x="17452" y="12643"/>
                </a:lnTo>
                <a:lnTo>
                  <a:pt x="17446" y="12630"/>
                </a:lnTo>
                <a:lnTo>
                  <a:pt x="17435" y="12624"/>
                </a:lnTo>
                <a:lnTo>
                  <a:pt x="17423" y="12625"/>
                </a:lnTo>
                <a:close/>
                <a:moveTo>
                  <a:pt x="16229" y="12701"/>
                </a:moveTo>
                <a:lnTo>
                  <a:pt x="16230" y="12702"/>
                </a:lnTo>
                <a:lnTo>
                  <a:pt x="16231" y="12702"/>
                </a:lnTo>
                <a:lnTo>
                  <a:pt x="16229" y="12701"/>
                </a:lnTo>
                <a:lnTo>
                  <a:pt x="16229" y="12701"/>
                </a:lnTo>
                <a:close/>
                <a:moveTo>
                  <a:pt x="17557" y="12245"/>
                </a:moveTo>
                <a:lnTo>
                  <a:pt x="17561" y="12251"/>
                </a:lnTo>
                <a:lnTo>
                  <a:pt x="17564" y="12254"/>
                </a:lnTo>
                <a:lnTo>
                  <a:pt x="17570" y="12257"/>
                </a:lnTo>
                <a:lnTo>
                  <a:pt x="17575" y="12258"/>
                </a:lnTo>
                <a:lnTo>
                  <a:pt x="17572" y="12252"/>
                </a:lnTo>
                <a:lnTo>
                  <a:pt x="17568" y="12249"/>
                </a:lnTo>
                <a:lnTo>
                  <a:pt x="17563" y="12247"/>
                </a:lnTo>
                <a:lnTo>
                  <a:pt x="17557" y="12245"/>
                </a:lnTo>
                <a:close/>
                <a:moveTo>
                  <a:pt x="16118" y="12533"/>
                </a:moveTo>
                <a:lnTo>
                  <a:pt x="16114" y="12532"/>
                </a:lnTo>
                <a:lnTo>
                  <a:pt x="16111" y="12533"/>
                </a:lnTo>
                <a:lnTo>
                  <a:pt x="16116" y="12534"/>
                </a:lnTo>
                <a:lnTo>
                  <a:pt x="16118" y="12533"/>
                </a:lnTo>
                <a:close/>
                <a:moveTo>
                  <a:pt x="14288" y="12830"/>
                </a:moveTo>
                <a:lnTo>
                  <a:pt x="14224" y="12814"/>
                </a:lnTo>
                <a:lnTo>
                  <a:pt x="14216" y="12794"/>
                </a:lnTo>
                <a:lnTo>
                  <a:pt x="14229" y="12762"/>
                </a:lnTo>
                <a:lnTo>
                  <a:pt x="14228" y="12713"/>
                </a:lnTo>
                <a:lnTo>
                  <a:pt x="14101" y="12795"/>
                </a:lnTo>
                <a:lnTo>
                  <a:pt x="14111" y="12818"/>
                </a:lnTo>
                <a:lnTo>
                  <a:pt x="14194" y="12817"/>
                </a:lnTo>
                <a:lnTo>
                  <a:pt x="14288" y="12830"/>
                </a:lnTo>
                <a:close/>
                <a:moveTo>
                  <a:pt x="14050" y="13109"/>
                </a:moveTo>
                <a:lnTo>
                  <a:pt x="14041" y="13105"/>
                </a:lnTo>
                <a:lnTo>
                  <a:pt x="14033" y="13103"/>
                </a:lnTo>
                <a:lnTo>
                  <a:pt x="14048" y="13110"/>
                </a:lnTo>
                <a:lnTo>
                  <a:pt x="14061" y="13114"/>
                </a:lnTo>
                <a:lnTo>
                  <a:pt x="14065" y="13114"/>
                </a:lnTo>
                <a:lnTo>
                  <a:pt x="14050" y="13109"/>
                </a:lnTo>
                <a:close/>
                <a:moveTo>
                  <a:pt x="13980" y="12972"/>
                </a:moveTo>
                <a:lnTo>
                  <a:pt x="13968" y="12979"/>
                </a:lnTo>
                <a:lnTo>
                  <a:pt x="13980" y="12990"/>
                </a:lnTo>
                <a:lnTo>
                  <a:pt x="13999" y="12998"/>
                </a:lnTo>
                <a:lnTo>
                  <a:pt x="14011" y="12991"/>
                </a:lnTo>
                <a:lnTo>
                  <a:pt x="14002" y="12989"/>
                </a:lnTo>
                <a:lnTo>
                  <a:pt x="13994" y="12985"/>
                </a:lnTo>
                <a:lnTo>
                  <a:pt x="13986" y="12980"/>
                </a:lnTo>
                <a:lnTo>
                  <a:pt x="13980" y="12972"/>
                </a:lnTo>
                <a:close/>
                <a:moveTo>
                  <a:pt x="14871" y="13019"/>
                </a:moveTo>
                <a:lnTo>
                  <a:pt x="14857" y="13025"/>
                </a:lnTo>
                <a:lnTo>
                  <a:pt x="14837" y="13028"/>
                </a:lnTo>
                <a:lnTo>
                  <a:pt x="14811" y="13031"/>
                </a:lnTo>
                <a:lnTo>
                  <a:pt x="14782" y="13032"/>
                </a:lnTo>
                <a:lnTo>
                  <a:pt x="14796" y="13046"/>
                </a:lnTo>
                <a:lnTo>
                  <a:pt x="14835" y="13044"/>
                </a:lnTo>
                <a:lnTo>
                  <a:pt x="14871" y="13033"/>
                </a:lnTo>
                <a:lnTo>
                  <a:pt x="14871" y="13019"/>
                </a:lnTo>
                <a:close/>
                <a:moveTo>
                  <a:pt x="15741" y="13117"/>
                </a:moveTo>
                <a:lnTo>
                  <a:pt x="15713" y="13133"/>
                </a:lnTo>
                <a:lnTo>
                  <a:pt x="15677" y="13129"/>
                </a:lnTo>
                <a:lnTo>
                  <a:pt x="15659" y="13114"/>
                </a:lnTo>
                <a:lnTo>
                  <a:pt x="15682" y="13098"/>
                </a:lnTo>
                <a:lnTo>
                  <a:pt x="15698" y="13106"/>
                </a:lnTo>
                <a:lnTo>
                  <a:pt x="15718" y="13103"/>
                </a:lnTo>
                <a:lnTo>
                  <a:pt x="15736" y="13103"/>
                </a:lnTo>
                <a:lnTo>
                  <a:pt x="15741" y="13117"/>
                </a:lnTo>
                <a:close/>
                <a:moveTo>
                  <a:pt x="15704" y="13149"/>
                </a:moveTo>
                <a:lnTo>
                  <a:pt x="15700" y="13152"/>
                </a:lnTo>
                <a:lnTo>
                  <a:pt x="15696" y="13151"/>
                </a:lnTo>
                <a:lnTo>
                  <a:pt x="15694" y="13147"/>
                </a:lnTo>
                <a:lnTo>
                  <a:pt x="15692" y="13143"/>
                </a:lnTo>
                <a:lnTo>
                  <a:pt x="15695" y="13138"/>
                </a:lnTo>
                <a:lnTo>
                  <a:pt x="15703" y="13139"/>
                </a:lnTo>
                <a:lnTo>
                  <a:pt x="15708" y="13144"/>
                </a:lnTo>
                <a:lnTo>
                  <a:pt x="15704" y="13149"/>
                </a:lnTo>
                <a:close/>
                <a:moveTo>
                  <a:pt x="15736" y="13047"/>
                </a:moveTo>
                <a:lnTo>
                  <a:pt x="15719" y="13030"/>
                </a:lnTo>
                <a:lnTo>
                  <a:pt x="15686" y="13053"/>
                </a:lnTo>
                <a:lnTo>
                  <a:pt x="15658" y="13093"/>
                </a:lnTo>
                <a:lnTo>
                  <a:pt x="15654" y="13125"/>
                </a:lnTo>
                <a:lnTo>
                  <a:pt x="15691" y="13165"/>
                </a:lnTo>
                <a:lnTo>
                  <a:pt x="15746" y="13144"/>
                </a:lnTo>
                <a:lnTo>
                  <a:pt x="15776" y="13096"/>
                </a:lnTo>
                <a:lnTo>
                  <a:pt x="15736" y="13047"/>
                </a:lnTo>
                <a:close/>
                <a:moveTo>
                  <a:pt x="14224" y="12975"/>
                </a:moveTo>
                <a:lnTo>
                  <a:pt x="14218" y="12977"/>
                </a:lnTo>
                <a:lnTo>
                  <a:pt x="14214" y="12984"/>
                </a:lnTo>
                <a:lnTo>
                  <a:pt x="14210" y="12988"/>
                </a:lnTo>
                <a:lnTo>
                  <a:pt x="14202" y="12989"/>
                </a:lnTo>
                <a:lnTo>
                  <a:pt x="14214" y="13002"/>
                </a:lnTo>
                <a:lnTo>
                  <a:pt x="14219" y="12999"/>
                </a:lnTo>
                <a:lnTo>
                  <a:pt x="14222" y="12989"/>
                </a:lnTo>
                <a:lnTo>
                  <a:pt x="14224" y="12975"/>
                </a:lnTo>
                <a:close/>
                <a:moveTo>
                  <a:pt x="15960" y="13123"/>
                </a:moveTo>
                <a:lnTo>
                  <a:pt x="15957" y="13125"/>
                </a:lnTo>
                <a:lnTo>
                  <a:pt x="15955" y="13125"/>
                </a:lnTo>
                <a:lnTo>
                  <a:pt x="15951" y="13123"/>
                </a:lnTo>
                <a:lnTo>
                  <a:pt x="15950" y="13119"/>
                </a:lnTo>
                <a:lnTo>
                  <a:pt x="15952" y="13115"/>
                </a:lnTo>
                <a:lnTo>
                  <a:pt x="15957" y="13115"/>
                </a:lnTo>
                <a:lnTo>
                  <a:pt x="15961" y="13117"/>
                </a:lnTo>
                <a:lnTo>
                  <a:pt x="15960" y="13123"/>
                </a:lnTo>
                <a:close/>
                <a:moveTo>
                  <a:pt x="15941" y="13069"/>
                </a:moveTo>
                <a:lnTo>
                  <a:pt x="15922" y="13102"/>
                </a:lnTo>
                <a:lnTo>
                  <a:pt x="15895" y="13114"/>
                </a:lnTo>
                <a:lnTo>
                  <a:pt x="15872" y="13116"/>
                </a:lnTo>
                <a:lnTo>
                  <a:pt x="15861" y="13120"/>
                </a:lnTo>
                <a:lnTo>
                  <a:pt x="15927" y="13139"/>
                </a:lnTo>
                <a:lnTo>
                  <a:pt x="15975" y="13145"/>
                </a:lnTo>
                <a:lnTo>
                  <a:pt x="15987" y="13126"/>
                </a:lnTo>
                <a:lnTo>
                  <a:pt x="15941" y="13069"/>
                </a:lnTo>
                <a:close/>
                <a:moveTo>
                  <a:pt x="14302" y="12839"/>
                </a:moveTo>
                <a:lnTo>
                  <a:pt x="14302" y="12839"/>
                </a:lnTo>
                <a:lnTo>
                  <a:pt x="14302" y="12839"/>
                </a:lnTo>
                <a:lnTo>
                  <a:pt x="14302" y="12839"/>
                </a:lnTo>
                <a:lnTo>
                  <a:pt x="14302" y="12839"/>
                </a:lnTo>
                <a:close/>
                <a:moveTo>
                  <a:pt x="13992" y="4661"/>
                </a:moveTo>
                <a:lnTo>
                  <a:pt x="13985" y="4670"/>
                </a:lnTo>
                <a:lnTo>
                  <a:pt x="13996" y="4678"/>
                </a:lnTo>
                <a:lnTo>
                  <a:pt x="14013" y="4679"/>
                </a:lnTo>
                <a:lnTo>
                  <a:pt x="14020" y="4672"/>
                </a:lnTo>
                <a:lnTo>
                  <a:pt x="14018" y="4664"/>
                </a:lnTo>
                <a:lnTo>
                  <a:pt x="14009" y="4659"/>
                </a:lnTo>
                <a:lnTo>
                  <a:pt x="14000" y="4658"/>
                </a:lnTo>
                <a:lnTo>
                  <a:pt x="13992" y="4661"/>
                </a:lnTo>
                <a:close/>
                <a:moveTo>
                  <a:pt x="17814" y="12184"/>
                </a:moveTo>
                <a:lnTo>
                  <a:pt x="17817" y="12186"/>
                </a:lnTo>
                <a:lnTo>
                  <a:pt x="17819" y="12184"/>
                </a:lnTo>
                <a:lnTo>
                  <a:pt x="17820" y="12182"/>
                </a:lnTo>
                <a:lnTo>
                  <a:pt x="17823" y="12179"/>
                </a:lnTo>
                <a:lnTo>
                  <a:pt x="17815" y="12182"/>
                </a:lnTo>
                <a:lnTo>
                  <a:pt x="17814" y="12184"/>
                </a:lnTo>
                <a:close/>
                <a:moveTo>
                  <a:pt x="17814" y="10651"/>
                </a:moveTo>
                <a:lnTo>
                  <a:pt x="17818" y="10653"/>
                </a:lnTo>
                <a:lnTo>
                  <a:pt x="17815" y="10647"/>
                </a:lnTo>
                <a:lnTo>
                  <a:pt x="17810" y="10640"/>
                </a:lnTo>
                <a:lnTo>
                  <a:pt x="17808" y="10643"/>
                </a:lnTo>
                <a:lnTo>
                  <a:pt x="17809" y="10644"/>
                </a:lnTo>
                <a:lnTo>
                  <a:pt x="17812" y="10645"/>
                </a:lnTo>
                <a:lnTo>
                  <a:pt x="17814" y="10648"/>
                </a:lnTo>
                <a:lnTo>
                  <a:pt x="17814" y="10651"/>
                </a:lnTo>
                <a:close/>
                <a:moveTo>
                  <a:pt x="17622" y="12253"/>
                </a:moveTo>
                <a:lnTo>
                  <a:pt x="17621" y="12253"/>
                </a:lnTo>
                <a:lnTo>
                  <a:pt x="17621" y="12253"/>
                </a:lnTo>
                <a:lnTo>
                  <a:pt x="17623" y="12256"/>
                </a:lnTo>
                <a:lnTo>
                  <a:pt x="17623" y="12256"/>
                </a:lnTo>
                <a:lnTo>
                  <a:pt x="17622" y="12254"/>
                </a:lnTo>
                <a:lnTo>
                  <a:pt x="17622" y="12253"/>
                </a:lnTo>
                <a:close/>
                <a:moveTo>
                  <a:pt x="17888" y="12160"/>
                </a:moveTo>
                <a:lnTo>
                  <a:pt x="17888" y="12154"/>
                </a:lnTo>
                <a:lnTo>
                  <a:pt x="17888" y="12147"/>
                </a:lnTo>
                <a:lnTo>
                  <a:pt x="17887" y="12150"/>
                </a:lnTo>
                <a:lnTo>
                  <a:pt x="17885" y="12153"/>
                </a:lnTo>
                <a:lnTo>
                  <a:pt x="17887" y="12156"/>
                </a:lnTo>
                <a:lnTo>
                  <a:pt x="17888" y="12160"/>
                </a:lnTo>
                <a:close/>
                <a:moveTo>
                  <a:pt x="17829" y="11813"/>
                </a:moveTo>
                <a:lnTo>
                  <a:pt x="17828" y="11815"/>
                </a:lnTo>
                <a:lnTo>
                  <a:pt x="17829" y="11818"/>
                </a:lnTo>
                <a:lnTo>
                  <a:pt x="17833" y="11819"/>
                </a:lnTo>
                <a:lnTo>
                  <a:pt x="17837" y="11820"/>
                </a:lnTo>
                <a:lnTo>
                  <a:pt x="17837" y="11817"/>
                </a:lnTo>
                <a:lnTo>
                  <a:pt x="17836" y="11814"/>
                </a:lnTo>
                <a:lnTo>
                  <a:pt x="17833" y="11813"/>
                </a:lnTo>
                <a:lnTo>
                  <a:pt x="17829" y="11813"/>
                </a:lnTo>
                <a:close/>
                <a:moveTo>
                  <a:pt x="17707" y="11057"/>
                </a:moveTo>
                <a:lnTo>
                  <a:pt x="17697" y="11076"/>
                </a:lnTo>
                <a:lnTo>
                  <a:pt x="17684" y="11085"/>
                </a:lnTo>
                <a:lnTo>
                  <a:pt x="17682" y="11091"/>
                </a:lnTo>
                <a:lnTo>
                  <a:pt x="17703" y="11102"/>
                </a:lnTo>
                <a:lnTo>
                  <a:pt x="17708" y="11090"/>
                </a:lnTo>
                <a:lnTo>
                  <a:pt x="17716" y="11073"/>
                </a:lnTo>
                <a:lnTo>
                  <a:pt x="17719" y="11059"/>
                </a:lnTo>
                <a:lnTo>
                  <a:pt x="17707" y="11057"/>
                </a:lnTo>
                <a:close/>
                <a:moveTo>
                  <a:pt x="17873" y="12150"/>
                </a:moveTo>
                <a:lnTo>
                  <a:pt x="17871" y="12153"/>
                </a:lnTo>
                <a:lnTo>
                  <a:pt x="17871" y="12155"/>
                </a:lnTo>
                <a:lnTo>
                  <a:pt x="17874" y="12159"/>
                </a:lnTo>
                <a:lnTo>
                  <a:pt x="17875" y="12161"/>
                </a:lnTo>
                <a:lnTo>
                  <a:pt x="17874" y="12155"/>
                </a:lnTo>
                <a:lnTo>
                  <a:pt x="17873" y="12150"/>
                </a:lnTo>
                <a:close/>
                <a:moveTo>
                  <a:pt x="17887" y="12135"/>
                </a:moveTo>
                <a:lnTo>
                  <a:pt x="17887" y="12136"/>
                </a:lnTo>
                <a:lnTo>
                  <a:pt x="17888" y="12136"/>
                </a:lnTo>
                <a:lnTo>
                  <a:pt x="17887" y="12136"/>
                </a:lnTo>
                <a:lnTo>
                  <a:pt x="17887" y="12135"/>
                </a:lnTo>
                <a:close/>
                <a:moveTo>
                  <a:pt x="17805" y="12191"/>
                </a:moveTo>
                <a:lnTo>
                  <a:pt x="17806" y="12188"/>
                </a:lnTo>
                <a:lnTo>
                  <a:pt x="17808" y="12186"/>
                </a:lnTo>
                <a:lnTo>
                  <a:pt x="17804" y="12186"/>
                </a:lnTo>
                <a:lnTo>
                  <a:pt x="17803" y="12187"/>
                </a:lnTo>
                <a:lnTo>
                  <a:pt x="17803" y="12188"/>
                </a:lnTo>
                <a:lnTo>
                  <a:pt x="17805" y="12191"/>
                </a:lnTo>
                <a:close/>
                <a:moveTo>
                  <a:pt x="17799" y="11164"/>
                </a:moveTo>
                <a:lnTo>
                  <a:pt x="17775" y="11133"/>
                </a:lnTo>
                <a:lnTo>
                  <a:pt x="17748" y="11137"/>
                </a:lnTo>
                <a:lnTo>
                  <a:pt x="17736" y="11150"/>
                </a:lnTo>
                <a:lnTo>
                  <a:pt x="17759" y="11147"/>
                </a:lnTo>
                <a:lnTo>
                  <a:pt x="17744" y="11200"/>
                </a:lnTo>
                <a:lnTo>
                  <a:pt x="17753" y="11235"/>
                </a:lnTo>
                <a:lnTo>
                  <a:pt x="17776" y="11231"/>
                </a:lnTo>
                <a:lnTo>
                  <a:pt x="17799" y="11164"/>
                </a:lnTo>
                <a:close/>
                <a:moveTo>
                  <a:pt x="17601" y="11848"/>
                </a:moveTo>
                <a:lnTo>
                  <a:pt x="17600" y="11856"/>
                </a:lnTo>
                <a:lnTo>
                  <a:pt x="17599" y="11864"/>
                </a:lnTo>
                <a:lnTo>
                  <a:pt x="17600" y="11859"/>
                </a:lnTo>
                <a:lnTo>
                  <a:pt x="17603" y="11853"/>
                </a:lnTo>
                <a:lnTo>
                  <a:pt x="17603" y="11850"/>
                </a:lnTo>
                <a:lnTo>
                  <a:pt x="17601" y="11848"/>
                </a:lnTo>
                <a:close/>
                <a:moveTo>
                  <a:pt x="17624" y="12257"/>
                </a:moveTo>
                <a:lnTo>
                  <a:pt x="17623" y="12262"/>
                </a:lnTo>
                <a:lnTo>
                  <a:pt x="17619" y="12267"/>
                </a:lnTo>
                <a:lnTo>
                  <a:pt x="17615" y="12270"/>
                </a:lnTo>
                <a:lnTo>
                  <a:pt x="17613" y="12265"/>
                </a:lnTo>
                <a:lnTo>
                  <a:pt x="17606" y="12273"/>
                </a:lnTo>
                <a:lnTo>
                  <a:pt x="17621" y="12277"/>
                </a:lnTo>
                <a:lnTo>
                  <a:pt x="17635" y="12273"/>
                </a:lnTo>
                <a:lnTo>
                  <a:pt x="17624" y="12257"/>
                </a:lnTo>
                <a:close/>
                <a:moveTo>
                  <a:pt x="17716" y="12259"/>
                </a:moveTo>
                <a:lnTo>
                  <a:pt x="17715" y="12240"/>
                </a:lnTo>
                <a:lnTo>
                  <a:pt x="17701" y="12247"/>
                </a:lnTo>
                <a:lnTo>
                  <a:pt x="17692" y="12261"/>
                </a:lnTo>
                <a:lnTo>
                  <a:pt x="17703" y="12263"/>
                </a:lnTo>
                <a:lnTo>
                  <a:pt x="17706" y="12253"/>
                </a:lnTo>
                <a:lnTo>
                  <a:pt x="17708" y="12248"/>
                </a:lnTo>
                <a:lnTo>
                  <a:pt x="17712" y="12248"/>
                </a:lnTo>
                <a:lnTo>
                  <a:pt x="17716" y="12259"/>
                </a:lnTo>
                <a:close/>
                <a:moveTo>
                  <a:pt x="17689" y="12304"/>
                </a:moveTo>
                <a:lnTo>
                  <a:pt x="17689" y="12304"/>
                </a:lnTo>
                <a:lnTo>
                  <a:pt x="17689" y="12304"/>
                </a:lnTo>
                <a:lnTo>
                  <a:pt x="17689" y="12304"/>
                </a:lnTo>
                <a:lnTo>
                  <a:pt x="17689" y="12304"/>
                </a:lnTo>
                <a:close/>
                <a:moveTo>
                  <a:pt x="17725" y="12272"/>
                </a:moveTo>
                <a:lnTo>
                  <a:pt x="17735" y="12287"/>
                </a:lnTo>
                <a:lnTo>
                  <a:pt x="17740" y="12291"/>
                </a:lnTo>
                <a:lnTo>
                  <a:pt x="17740" y="12285"/>
                </a:lnTo>
                <a:lnTo>
                  <a:pt x="17736" y="12268"/>
                </a:lnTo>
                <a:lnTo>
                  <a:pt x="17735" y="12254"/>
                </a:lnTo>
                <a:lnTo>
                  <a:pt x="17734" y="12254"/>
                </a:lnTo>
                <a:lnTo>
                  <a:pt x="17730" y="12262"/>
                </a:lnTo>
                <a:lnTo>
                  <a:pt x="17725" y="12272"/>
                </a:lnTo>
                <a:close/>
                <a:moveTo>
                  <a:pt x="17734" y="12583"/>
                </a:moveTo>
                <a:lnTo>
                  <a:pt x="17719" y="12580"/>
                </a:lnTo>
                <a:lnTo>
                  <a:pt x="17716" y="12587"/>
                </a:lnTo>
                <a:lnTo>
                  <a:pt x="17722" y="12596"/>
                </a:lnTo>
                <a:lnTo>
                  <a:pt x="17736" y="12602"/>
                </a:lnTo>
                <a:lnTo>
                  <a:pt x="17741" y="12590"/>
                </a:lnTo>
                <a:lnTo>
                  <a:pt x="17745" y="12583"/>
                </a:lnTo>
                <a:lnTo>
                  <a:pt x="17745" y="12579"/>
                </a:lnTo>
                <a:lnTo>
                  <a:pt x="17734" y="12583"/>
                </a:lnTo>
                <a:close/>
                <a:moveTo>
                  <a:pt x="17693" y="12186"/>
                </a:moveTo>
                <a:lnTo>
                  <a:pt x="17703" y="12193"/>
                </a:lnTo>
                <a:lnTo>
                  <a:pt x="17711" y="12201"/>
                </a:lnTo>
                <a:lnTo>
                  <a:pt x="17713" y="12189"/>
                </a:lnTo>
                <a:lnTo>
                  <a:pt x="17705" y="12182"/>
                </a:lnTo>
                <a:lnTo>
                  <a:pt x="17694" y="12178"/>
                </a:lnTo>
                <a:lnTo>
                  <a:pt x="17693" y="12186"/>
                </a:lnTo>
                <a:close/>
                <a:moveTo>
                  <a:pt x="16106" y="12776"/>
                </a:moveTo>
                <a:lnTo>
                  <a:pt x="16102" y="12771"/>
                </a:lnTo>
                <a:lnTo>
                  <a:pt x="16096" y="12770"/>
                </a:lnTo>
                <a:lnTo>
                  <a:pt x="16092" y="12769"/>
                </a:lnTo>
                <a:lnTo>
                  <a:pt x="16092" y="12762"/>
                </a:lnTo>
                <a:lnTo>
                  <a:pt x="16102" y="12760"/>
                </a:lnTo>
                <a:lnTo>
                  <a:pt x="16113" y="12765"/>
                </a:lnTo>
                <a:lnTo>
                  <a:pt x="16115" y="12772"/>
                </a:lnTo>
                <a:lnTo>
                  <a:pt x="16106" y="12776"/>
                </a:lnTo>
                <a:close/>
                <a:moveTo>
                  <a:pt x="16132" y="12793"/>
                </a:moveTo>
                <a:lnTo>
                  <a:pt x="16136" y="12766"/>
                </a:lnTo>
                <a:lnTo>
                  <a:pt x="16122" y="12755"/>
                </a:lnTo>
                <a:lnTo>
                  <a:pt x="16099" y="12751"/>
                </a:lnTo>
                <a:lnTo>
                  <a:pt x="16074" y="12744"/>
                </a:lnTo>
                <a:lnTo>
                  <a:pt x="16091" y="12776"/>
                </a:lnTo>
                <a:lnTo>
                  <a:pt x="16109" y="12802"/>
                </a:lnTo>
                <a:lnTo>
                  <a:pt x="16125" y="12811"/>
                </a:lnTo>
                <a:lnTo>
                  <a:pt x="16132" y="12793"/>
                </a:lnTo>
                <a:close/>
                <a:moveTo>
                  <a:pt x="18894" y="10332"/>
                </a:moveTo>
                <a:lnTo>
                  <a:pt x="18894" y="10321"/>
                </a:lnTo>
                <a:lnTo>
                  <a:pt x="18891" y="10325"/>
                </a:lnTo>
                <a:lnTo>
                  <a:pt x="18890" y="10327"/>
                </a:lnTo>
                <a:lnTo>
                  <a:pt x="18891" y="10330"/>
                </a:lnTo>
                <a:lnTo>
                  <a:pt x="18894" y="10332"/>
                </a:lnTo>
                <a:close/>
                <a:moveTo>
                  <a:pt x="16645" y="4598"/>
                </a:moveTo>
                <a:lnTo>
                  <a:pt x="16653" y="4599"/>
                </a:lnTo>
                <a:lnTo>
                  <a:pt x="16654" y="4593"/>
                </a:lnTo>
                <a:lnTo>
                  <a:pt x="16650" y="4585"/>
                </a:lnTo>
                <a:lnTo>
                  <a:pt x="16640" y="4585"/>
                </a:lnTo>
                <a:lnTo>
                  <a:pt x="16644" y="4588"/>
                </a:lnTo>
                <a:lnTo>
                  <a:pt x="16646" y="4590"/>
                </a:lnTo>
                <a:lnTo>
                  <a:pt x="16646" y="4594"/>
                </a:lnTo>
                <a:lnTo>
                  <a:pt x="16645" y="4598"/>
                </a:lnTo>
                <a:close/>
                <a:moveTo>
                  <a:pt x="16176" y="5043"/>
                </a:moveTo>
                <a:lnTo>
                  <a:pt x="16173" y="5042"/>
                </a:lnTo>
                <a:lnTo>
                  <a:pt x="16169" y="5039"/>
                </a:lnTo>
                <a:lnTo>
                  <a:pt x="16171" y="5042"/>
                </a:lnTo>
                <a:lnTo>
                  <a:pt x="16176" y="5043"/>
                </a:lnTo>
                <a:close/>
                <a:moveTo>
                  <a:pt x="18884" y="6943"/>
                </a:moveTo>
                <a:lnTo>
                  <a:pt x="18893" y="6949"/>
                </a:lnTo>
                <a:lnTo>
                  <a:pt x="18894" y="6939"/>
                </a:lnTo>
                <a:lnTo>
                  <a:pt x="18893" y="6926"/>
                </a:lnTo>
                <a:lnTo>
                  <a:pt x="18894" y="6916"/>
                </a:lnTo>
                <a:lnTo>
                  <a:pt x="18890" y="6922"/>
                </a:lnTo>
                <a:lnTo>
                  <a:pt x="18886" y="6930"/>
                </a:lnTo>
                <a:lnTo>
                  <a:pt x="18884" y="6936"/>
                </a:lnTo>
                <a:lnTo>
                  <a:pt x="18884" y="6943"/>
                </a:lnTo>
                <a:close/>
                <a:moveTo>
                  <a:pt x="18797" y="10222"/>
                </a:moveTo>
                <a:lnTo>
                  <a:pt x="18802" y="10269"/>
                </a:lnTo>
                <a:lnTo>
                  <a:pt x="18838" y="10311"/>
                </a:lnTo>
                <a:lnTo>
                  <a:pt x="18870" y="10323"/>
                </a:lnTo>
                <a:lnTo>
                  <a:pt x="18866" y="10284"/>
                </a:lnTo>
                <a:lnTo>
                  <a:pt x="18885" y="10258"/>
                </a:lnTo>
                <a:lnTo>
                  <a:pt x="18869" y="10241"/>
                </a:lnTo>
                <a:lnTo>
                  <a:pt x="18834" y="10229"/>
                </a:lnTo>
                <a:lnTo>
                  <a:pt x="18797" y="10222"/>
                </a:lnTo>
                <a:close/>
                <a:moveTo>
                  <a:pt x="18866" y="5390"/>
                </a:moveTo>
                <a:lnTo>
                  <a:pt x="18860" y="5398"/>
                </a:lnTo>
                <a:lnTo>
                  <a:pt x="18860" y="5398"/>
                </a:lnTo>
                <a:lnTo>
                  <a:pt x="18863" y="5396"/>
                </a:lnTo>
                <a:lnTo>
                  <a:pt x="18872" y="5397"/>
                </a:lnTo>
                <a:lnTo>
                  <a:pt x="18886" y="5388"/>
                </a:lnTo>
                <a:lnTo>
                  <a:pt x="18889" y="5384"/>
                </a:lnTo>
                <a:lnTo>
                  <a:pt x="18881" y="5386"/>
                </a:lnTo>
                <a:lnTo>
                  <a:pt x="18866" y="5390"/>
                </a:lnTo>
                <a:close/>
                <a:moveTo>
                  <a:pt x="15647" y="4975"/>
                </a:moveTo>
                <a:lnTo>
                  <a:pt x="15645" y="4975"/>
                </a:lnTo>
                <a:lnTo>
                  <a:pt x="15645" y="4975"/>
                </a:lnTo>
                <a:lnTo>
                  <a:pt x="15647" y="4975"/>
                </a:lnTo>
                <a:lnTo>
                  <a:pt x="15647" y="4975"/>
                </a:lnTo>
                <a:close/>
                <a:moveTo>
                  <a:pt x="18774" y="12407"/>
                </a:moveTo>
                <a:lnTo>
                  <a:pt x="18767" y="12410"/>
                </a:lnTo>
                <a:lnTo>
                  <a:pt x="18758" y="12407"/>
                </a:lnTo>
                <a:lnTo>
                  <a:pt x="18753" y="12403"/>
                </a:lnTo>
                <a:lnTo>
                  <a:pt x="18754" y="12407"/>
                </a:lnTo>
                <a:lnTo>
                  <a:pt x="18776" y="12421"/>
                </a:lnTo>
                <a:lnTo>
                  <a:pt x="18795" y="12428"/>
                </a:lnTo>
                <a:lnTo>
                  <a:pt x="18798" y="12424"/>
                </a:lnTo>
                <a:lnTo>
                  <a:pt x="18774" y="12407"/>
                </a:lnTo>
                <a:close/>
                <a:moveTo>
                  <a:pt x="18050" y="5499"/>
                </a:moveTo>
                <a:lnTo>
                  <a:pt x="18052" y="5495"/>
                </a:lnTo>
                <a:lnTo>
                  <a:pt x="18055" y="5496"/>
                </a:lnTo>
                <a:lnTo>
                  <a:pt x="18057" y="5500"/>
                </a:lnTo>
                <a:lnTo>
                  <a:pt x="18057" y="5504"/>
                </a:lnTo>
                <a:lnTo>
                  <a:pt x="18065" y="5493"/>
                </a:lnTo>
                <a:lnTo>
                  <a:pt x="18056" y="5490"/>
                </a:lnTo>
                <a:lnTo>
                  <a:pt x="18046" y="5493"/>
                </a:lnTo>
                <a:lnTo>
                  <a:pt x="18050" y="5499"/>
                </a:lnTo>
                <a:close/>
                <a:moveTo>
                  <a:pt x="15121" y="4374"/>
                </a:moveTo>
                <a:lnTo>
                  <a:pt x="15130" y="4374"/>
                </a:lnTo>
                <a:lnTo>
                  <a:pt x="15140" y="4372"/>
                </a:lnTo>
                <a:lnTo>
                  <a:pt x="15149" y="4372"/>
                </a:lnTo>
                <a:lnTo>
                  <a:pt x="15159" y="4371"/>
                </a:lnTo>
                <a:lnTo>
                  <a:pt x="15149" y="4366"/>
                </a:lnTo>
                <a:lnTo>
                  <a:pt x="15138" y="4366"/>
                </a:lnTo>
                <a:lnTo>
                  <a:pt x="15128" y="4369"/>
                </a:lnTo>
                <a:lnTo>
                  <a:pt x="15121" y="4374"/>
                </a:lnTo>
                <a:close/>
                <a:moveTo>
                  <a:pt x="15066" y="4785"/>
                </a:moveTo>
                <a:lnTo>
                  <a:pt x="15056" y="4784"/>
                </a:lnTo>
                <a:lnTo>
                  <a:pt x="15048" y="4786"/>
                </a:lnTo>
                <a:lnTo>
                  <a:pt x="15044" y="4793"/>
                </a:lnTo>
                <a:lnTo>
                  <a:pt x="15047" y="4803"/>
                </a:lnTo>
                <a:lnTo>
                  <a:pt x="15057" y="4794"/>
                </a:lnTo>
                <a:lnTo>
                  <a:pt x="15066" y="4785"/>
                </a:lnTo>
                <a:close/>
                <a:moveTo>
                  <a:pt x="14989" y="4798"/>
                </a:moveTo>
                <a:lnTo>
                  <a:pt x="14983" y="4799"/>
                </a:lnTo>
                <a:lnTo>
                  <a:pt x="14981" y="4803"/>
                </a:lnTo>
                <a:lnTo>
                  <a:pt x="14979" y="4808"/>
                </a:lnTo>
                <a:lnTo>
                  <a:pt x="14977" y="4814"/>
                </a:lnTo>
                <a:lnTo>
                  <a:pt x="14982" y="4814"/>
                </a:lnTo>
                <a:lnTo>
                  <a:pt x="14986" y="4810"/>
                </a:lnTo>
                <a:lnTo>
                  <a:pt x="14988" y="4804"/>
                </a:lnTo>
                <a:lnTo>
                  <a:pt x="14989" y="4798"/>
                </a:lnTo>
                <a:close/>
                <a:moveTo>
                  <a:pt x="14425" y="5018"/>
                </a:moveTo>
                <a:lnTo>
                  <a:pt x="14425" y="5018"/>
                </a:lnTo>
                <a:lnTo>
                  <a:pt x="14425" y="5018"/>
                </a:lnTo>
                <a:lnTo>
                  <a:pt x="14425" y="5018"/>
                </a:lnTo>
                <a:close/>
                <a:moveTo>
                  <a:pt x="14410" y="4481"/>
                </a:moveTo>
                <a:lnTo>
                  <a:pt x="14409" y="4479"/>
                </a:lnTo>
                <a:lnTo>
                  <a:pt x="14409" y="4477"/>
                </a:lnTo>
                <a:lnTo>
                  <a:pt x="14409" y="4478"/>
                </a:lnTo>
                <a:lnTo>
                  <a:pt x="14407" y="4479"/>
                </a:lnTo>
                <a:lnTo>
                  <a:pt x="14409" y="4481"/>
                </a:lnTo>
                <a:lnTo>
                  <a:pt x="14410" y="4481"/>
                </a:lnTo>
                <a:close/>
                <a:moveTo>
                  <a:pt x="14213" y="4926"/>
                </a:moveTo>
                <a:lnTo>
                  <a:pt x="14256" y="4896"/>
                </a:lnTo>
                <a:lnTo>
                  <a:pt x="14289" y="4880"/>
                </a:lnTo>
                <a:lnTo>
                  <a:pt x="14299" y="4855"/>
                </a:lnTo>
                <a:lnTo>
                  <a:pt x="14269" y="4798"/>
                </a:lnTo>
                <a:lnTo>
                  <a:pt x="14248" y="4833"/>
                </a:lnTo>
                <a:lnTo>
                  <a:pt x="14201" y="4859"/>
                </a:lnTo>
                <a:lnTo>
                  <a:pt x="14144" y="4869"/>
                </a:lnTo>
                <a:lnTo>
                  <a:pt x="14095" y="4855"/>
                </a:lnTo>
                <a:lnTo>
                  <a:pt x="14102" y="4893"/>
                </a:lnTo>
                <a:lnTo>
                  <a:pt x="14132" y="4927"/>
                </a:lnTo>
                <a:lnTo>
                  <a:pt x="14173" y="4944"/>
                </a:lnTo>
                <a:lnTo>
                  <a:pt x="14213" y="4926"/>
                </a:lnTo>
                <a:close/>
                <a:moveTo>
                  <a:pt x="14787" y="5020"/>
                </a:moveTo>
                <a:lnTo>
                  <a:pt x="14788" y="5019"/>
                </a:lnTo>
                <a:lnTo>
                  <a:pt x="14790" y="5018"/>
                </a:lnTo>
                <a:lnTo>
                  <a:pt x="14788" y="5018"/>
                </a:lnTo>
                <a:lnTo>
                  <a:pt x="14787" y="5020"/>
                </a:lnTo>
                <a:close/>
                <a:moveTo>
                  <a:pt x="14382" y="5018"/>
                </a:moveTo>
                <a:lnTo>
                  <a:pt x="14374" y="5018"/>
                </a:lnTo>
                <a:lnTo>
                  <a:pt x="14369" y="5020"/>
                </a:lnTo>
                <a:lnTo>
                  <a:pt x="14368" y="5025"/>
                </a:lnTo>
                <a:lnTo>
                  <a:pt x="14367" y="5033"/>
                </a:lnTo>
                <a:lnTo>
                  <a:pt x="14373" y="5024"/>
                </a:lnTo>
                <a:lnTo>
                  <a:pt x="14382" y="5018"/>
                </a:lnTo>
                <a:close/>
                <a:moveTo>
                  <a:pt x="14534" y="3217"/>
                </a:moveTo>
                <a:lnTo>
                  <a:pt x="14540" y="3233"/>
                </a:lnTo>
                <a:lnTo>
                  <a:pt x="14553" y="3238"/>
                </a:lnTo>
                <a:lnTo>
                  <a:pt x="14570" y="3237"/>
                </a:lnTo>
                <a:lnTo>
                  <a:pt x="14591" y="3234"/>
                </a:lnTo>
                <a:lnTo>
                  <a:pt x="14634" y="3199"/>
                </a:lnTo>
                <a:lnTo>
                  <a:pt x="14584" y="3157"/>
                </a:lnTo>
                <a:lnTo>
                  <a:pt x="14525" y="3148"/>
                </a:lnTo>
                <a:lnTo>
                  <a:pt x="14534" y="3217"/>
                </a:lnTo>
                <a:close/>
                <a:moveTo>
                  <a:pt x="13791" y="13313"/>
                </a:moveTo>
                <a:lnTo>
                  <a:pt x="13790" y="13333"/>
                </a:lnTo>
                <a:lnTo>
                  <a:pt x="13791" y="13349"/>
                </a:lnTo>
                <a:lnTo>
                  <a:pt x="13800" y="13335"/>
                </a:lnTo>
                <a:lnTo>
                  <a:pt x="13810" y="13322"/>
                </a:lnTo>
                <a:lnTo>
                  <a:pt x="13810" y="13315"/>
                </a:lnTo>
                <a:lnTo>
                  <a:pt x="13791" y="13313"/>
                </a:lnTo>
                <a:close/>
                <a:moveTo>
                  <a:pt x="14896" y="3949"/>
                </a:moveTo>
                <a:lnTo>
                  <a:pt x="14925" y="3952"/>
                </a:lnTo>
                <a:lnTo>
                  <a:pt x="14941" y="3936"/>
                </a:lnTo>
                <a:lnTo>
                  <a:pt x="14939" y="3914"/>
                </a:lnTo>
                <a:lnTo>
                  <a:pt x="14914" y="3899"/>
                </a:lnTo>
                <a:lnTo>
                  <a:pt x="14902" y="3910"/>
                </a:lnTo>
                <a:lnTo>
                  <a:pt x="14895" y="3919"/>
                </a:lnTo>
                <a:lnTo>
                  <a:pt x="14894" y="3932"/>
                </a:lnTo>
                <a:lnTo>
                  <a:pt x="14896" y="3949"/>
                </a:lnTo>
                <a:close/>
                <a:moveTo>
                  <a:pt x="14516" y="4173"/>
                </a:moveTo>
                <a:lnTo>
                  <a:pt x="14503" y="4131"/>
                </a:lnTo>
                <a:lnTo>
                  <a:pt x="14472" y="4108"/>
                </a:lnTo>
                <a:lnTo>
                  <a:pt x="14433" y="4106"/>
                </a:lnTo>
                <a:lnTo>
                  <a:pt x="14396" y="4129"/>
                </a:lnTo>
                <a:lnTo>
                  <a:pt x="14396" y="4187"/>
                </a:lnTo>
                <a:lnTo>
                  <a:pt x="14432" y="4218"/>
                </a:lnTo>
                <a:lnTo>
                  <a:pt x="14479" y="4216"/>
                </a:lnTo>
                <a:lnTo>
                  <a:pt x="14516" y="4173"/>
                </a:lnTo>
                <a:close/>
                <a:moveTo>
                  <a:pt x="14169" y="4511"/>
                </a:moveTo>
                <a:lnTo>
                  <a:pt x="14136" y="4617"/>
                </a:lnTo>
                <a:lnTo>
                  <a:pt x="14043" y="4603"/>
                </a:lnTo>
                <a:lnTo>
                  <a:pt x="13981" y="4574"/>
                </a:lnTo>
                <a:lnTo>
                  <a:pt x="14034" y="4631"/>
                </a:lnTo>
                <a:lnTo>
                  <a:pt x="14258" y="4608"/>
                </a:lnTo>
                <a:lnTo>
                  <a:pt x="14292" y="4530"/>
                </a:lnTo>
                <a:lnTo>
                  <a:pt x="14229" y="4473"/>
                </a:lnTo>
                <a:lnTo>
                  <a:pt x="14169" y="4511"/>
                </a:lnTo>
                <a:close/>
                <a:moveTo>
                  <a:pt x="15159" y="2939"/>
                </a:moveTo>
                <a:lnTo>
                  <a:pt x="15191" y="2904"/>
                </a:lnTo>
                <a:lnTo>
                  <a:pt x="15168" y="2869"/>
                </a:lnTo>
                <a:lnTo>
                  <a:pt x="15121" y="2849"/>
                </a:lnTo>
                <a:lnTo>
                  <a:pt x="15076" y="2856"/>
                </a:lnTo>
                <a:lnTo>
                  <a:pt x="15072" y="2893"/>
                </a:lnTo>
                <a:lnTo>
                  <a:pt x="15088" y="2925"/>
                </a:lnTo>
                <a:lnTo>
                  <a:pt x="15118" y="2943"/>
                </a:lnTo>
                <a:lnTo>
                  <a:pt x="15159" y="2939"/>
                </a:lnTo>
                <a:close/>
                <a:moveTo>
                  <a:pt x="14401" y="4388"/>
                </a:moveTo>
                <a:lnTo>
                  <a:pt x="14410" y="4398"/>
                </a:lnTo>
                <a:lnTo>
                  <a:pt x="14423" y="4388"/>
                </a:lnTo>
                <a:lnTo>
                  <a:pt x="14433" y="4370"/>
                </a:lnTo>
                <a:lnTo>
                  <a:pt x="14434" y="4357"/>
                </a:lnTo>
                <a:lnTo>
                  <a:pt x="14402" y="4341"/>
                </a:lnTo>
                <a:lnTo>
                  <a:pt x="14365" y="4358"/>
                </a:lnTo>
                <a:lnTo>
                  <a:pt x="14355" y="4383"/>
                </a:lnTo>
                <a:lnTo>
                  <a:pt x="14401" y="4388"/>
                </a:lnTo>
                <a:close/>
                <a:moveTo>
                  <a:pt x="14258" y="3719"/>
                </a:moveTo>
                <a:lnTo>
                  <a:pt x="14297" y="3740"/>
                </a:lnTo>
                <a:lnTo>
                  <a:pt x="14332" y="3718"/>
                </a:lnTo>
                <a:lnTo>
                  <a:pt x="14344" y="3680"/>
                </a:lnTo>
                <a:lnTo>
                  <a:pt x="14313" y="3652"/>
                </a:lnTo>
                <a:lnTo>
                  <a:pt x="14265" y="3641"/>
                </a:lnTo>
                <a:lnTo>
                  <a:pt x="14224" y="3669"/>
                </a:lnTo>
                <a:lnTo>
                  <a:pt x="14214" y="3704"/>
                </a:lnTo>
                <a:lnTo>
                  <a:pt x="14258" y="3719"/>
                </a:lnTo>
                <a:close/>
                <a:moveTo>
                  <a:pt x="14776" y="4333"/>
                </a:moveTo>
                <a:lnTo>
                  <a:pt x="14646" y="4398"/>
                </a:lnTo>
                <a:lnTo>
                  <a:pt x="14726" y="4412"/>
                </a:lnTo>
                <a:lnTo>
                  <a:pt x="14875" y="4375"/>
                </a:lnTo>
                <a:lnTo>
                  <a:pt x="14953" y="4286"/>
                </a:lnTo>
                <a:lnTo>
                  <a:pt x="14891" y="4248"/>
                </a:lnTo>
                <a:lnTo>
                  <a:pt x="14797" y="4241"/>
                </a:lnTo>
                <a:lnTo>
                  <a:pt x="14736" y="4269"/>
                </a:lnTo>
                <a:lnTo>
                  <a:pt x="14776" y="4333"/>
                </a:lnTo>
                <a:close/>
                <a:moveTo>
                  <a:pt x="16411" y="3970"/>
                </a:moveTo>
                <a:lnTo>
                  <a:pt x="16430" y="3978"/>
                </a:lnTo>
                <a:lnTo>
                  <a:pt x="16445" y="3978"/>
                </a:lnTo>
                <a:lnTo>
                  <a:pt x="16451" y="3972"/>
                </a:lnTo>
                <a:lnTo>
                  <a:pt x="16445" y="3956"/>
                </a:lnTo>
                <a:lnTo>
                  <a:pt x="16430" y="3938"/>
                </a:lnTo>
                <a:lnTo>
                  <a:pt x="16408" y="3938"/>
                </a:lnTo>
                <a:lnTo>
                  <a:pt x="16395" y="3951"/>
                </a:lnTo>
                <a:lnTo>
                  <a:pt x="16411" y="3970"/>
                </a:lnTo>
                <a:close/>
                <a:moveTo>
                  <a:pt x="16207" y="4346"/>
                </a:moveTo>
                <a:lnTo>
                  <a:pt x="16193" y="4325"/>
                </a:lnTo>
                <a:lnTo>
                  <a:pt x="16169" y="4328"/>
                </a:lnTo>
                <a:lnTo>
                  <a:pt x="16152" y="4344"/>
                </a:lnTo>
                <a:lnTo>
                  <a:pt x="16160" y="4366"/>
                </a:lnTo>
                <a:lnTo>
                  <a:pt x="16175" y="4366"/>
                </a:lnTo>
                <a:lnTo>
                  <a:pt x="16194" y="4367"/>
                </a:lnTo>
                <a:lnTo>
                  <a:pt x="16208" y="4362"/>
                </a:lnTo>
                <a:lnTo>
                  <a:pt x="16207" y="4346"/>
                </a:lnTo>
                <a:close/>
                <a:moveTo>
                  <a:pt x="15179" y="2382"/>
                </a:moveTo>
                <a:lnTo>
                  <a:pt x="15205" y="2396"/>
                </a:lnTo>
                <a:lnTo>
                  <a:pt x="15249" y="2391"/>
                </a:lnTo>
                <a:lnTo>
                  <a:pt x="15289" y="2375"/>
                </a:lnTo>
                <a:lnTo>
                  <a:pt x="15300" y="2357"/>
                </a:lnTo>
                <a:lnTo>
                  <a:pt x="15242" y="2313"/>
                </a:lnTo>
                <a:lnTo>
                  <a:pt x="15173" y="2309"/>
                </a:lnTo>
                <a:lnTo>
                  <a:pt x="15137" y="2336"/>
                </a:lnTo>
                <a:lnTo>
                  <a:pt x="15179" y="2382"/>
                </a:lnTo>
                <a:close/>
                <a:moveTo>
                  <a:pt x="16173" y="4010"/>
                </a:moveTo>
                <a:lnTo>
                  <a:pt x="16220" y="4038"/>
                </a:lnTo>
                <a:lnTo>
                  <a:pt x="16246" y="4038"/>
                </a:lnTo>
                <a:lnTo>
                  <a:pt x="16245" y="4019"/>
                </a:lnTo>
                <a:lnTo>
                  <a:pt x="16211" y="3994"/>
                </a:lnTo>
                <a:lnTo>
                  <a:pt x="16194" y="3986"/>
                </a:lnTo>
                <a:lnTo>
                  <a:pt x="16179" y="3989"/>
                </a:lnTo>
                <a:lnTo>
                  <a:pt x="16170" y="4000"/>
                </a:lnTo>
                <a:lnTo>
                  <a:pt x="16173" y="4010"/>
                </a:lnTo>
                <a:close/>
                <a:moveTo>
                  <a:pt x="16086" y="1788"/>
                </a:moveTo>
                <a:lnTo>
                  <a:pt x="16124" y="1783"/>
                </a:lnTo>
                <a:lnTo>
                  <a:pt x="16161" y="1762"/>
                </a:lnTo>
                <a:lnTo>
                  <a:pt x="16184" y="1731"/>
                </a:lnTo>
                <a:lnTo>
                  <a:pt x="16178" y="1701"/>
                </a:lnTo>
                <a:lnTo>
                  <a:pt x="16143" y="1678"/>
                </a:lnTo>
                <a:lnTo>
                  <a:pt x="16092" y="1713"/>
                </a:lnTo>
                <a:lnTo>
                  <a:pt x="16062" y="1764"/>
                </a:lnTo>
                <a:lnTo>
                  <a:pt x="16086" y="1788"/>
                </a:lnTo>
                <a:close/>
                <a:moveTo>
                  <a:pt x="15393" y="2377"/>
                </a:moveTo>
                <a:lnTo>
                  <a:pt x="15421" y="2384"/>
                </a:lnTo>
                <a:lnTo>
                  <a:pt x="15435" y="2380"/>
                </a:lnTo>
                <a:lnTo>
                  <a:pt x="15447" y="2370"/>
                </a:lnTo>
                <a:lnTo>
                  <a:pt x="15467" y="2361"/>
                </a:lnTo>
                <a:lnTo>
                  <a:pt x="15482" y="2303"/>
                </a:lnTo>
                <a:lnTo>
                  <a:pt x="15428" y="2296"/>
                </a:lnTo>
                <a:lnTo>
                  <a:pt x="15374" y="2326"/>
                </a:lnTo>
                <a:lnTo>
                  <a:pt x="15393" y="2377"/>
                </a:lnTo>
                <a:close/>
                <a:moveTo>
                  <a:pt x="15477" y="3432"/>
                </a:moveTo>
                <a:lnTo>
                  <a:pt x="15438" y="3485"/>
                </a:lnTo>
                <a:lnTo>
                  <a:pt x="15445" y="3532"/>
                </a:lnTo>
                <a:lnTo>
                  <a:pt x="15481" y="3549"/>
                </a:lnTo>
                <a:lnTo>
                  <a:pt x="15521" y="3511"/>
                </a:lnTo>
                <a:lnTo>
                  <a:pt x="15532" y="3489"/>
                </a:lnTo>
                <a:lnTo>
                  <a:pt x="15519" y="3460"/>
                </a:lnTo>
                <a:lnTo>
                  <a:pt x="15496" y="3436"/>
                </a:lnTo>
                <a:lnTo>
                  <a:pt x="15477" y="3432"/>
                </a:lnTo>
                <a:close/>
                <a:moveTo>
                  <a:pt x="15891" y="3045"/>
                </a:moveTo>
                <a:lnTo>
                  <a:pt x="15890" y="3066"/>
                </a:lnTo>
                <a:lnTo>
                  <a:pt x="15900" y="3077"/>
                </a:lnTo>
                <a:lnTo>
                  <a:pt x="15917" y="3080"/>
                </a:lnTo>
                <a:lnTo>
                  <a:pt x="15937" y="3084"/>
                </a:lnTo>
                <a:lnTo>
                  <a:pt x="15992" y="3059"/>
                </a:lnTo>
                <a:lnTo>
                  <a:pt x="15964" y="2995"/>
                </a:lnTo>
                <a:lnTo>
                  <a:pt x="15910" y="2966"/>
                </a:lnTo>
                <a:lnTo>
                  <a:pt x="15891" y="3045"/>
                </a:lnTo>
                <a:close/>
                <a:moveTo>
                  <a:pt x="14607" y="4418"/>
                </a:moveTo>
                <a:lnTo>
                  <a:pt x="14588" y="4436"/>
                </a:lnTo>
                <a:lnTo>
                  <a:pt x="14572" y="4463"/>
                </a:lnTo>
                <a:lnTo>
                  <a:pt x="14565" y="4493"/>
                </a:lnTo>
                <a:lnTo>
                  <a:pt x="14578" y="4523"/>
                </a:lnTo>
                <a:lnTo>
                  <a:pt x="14597" y="4492"/>
                </a:lnTo>
                <a:lnTo>
                  <a:pt x="14619" y="4468"/>
                </a:lnTo>
                <a:lnTo>
                  <a:pt x="14627" y="4445"/>
                </a:lnTo>
                <a:lnTo>
                  <a:pt x="14607" y="4418"/>
                </a:lnTo>
                <a:close/>
                <a:moveTo>
                  <a:pt x="15492" y="5433"/>
                </a:moveTo>
                <a:lnTo>
                  <a:pt x="15486" y="5426"/>
                </a:lnTo>
                <a:lnTo>
                  <a:pt x="15477" y="5425"/>
                </a:lnTo>
                <a:lnTo>
                  <a:pt x="15467" y="5423"/>
                </a:lnTo>
                <a:lnTo>
                  <a:pt x="15461" y="5414"/>
                </a:lnTo>
                <a:lnTo>
                  <a:pt x="15457" y="5424"/>
                </a:lnTo>
                <a:lnTo>
                  <a:pt x="15464" y="5429"/>
                </a:lnTo>
                <a:lnTo>
                  <a:pt x="15480" y="5432"/>
                </a:lnTo>
                <a:lnTo>
                  <a:pt x="15492" y="5433"/>
                </a:lnTo>
                <a:close/>
                <a:moveTo>
                  <a:pt x="15639" y="5299"/>
                </a:moveTo>
                <a:lnTo>
                  <a:pt x="15647" y="5306"/>
                </a:lnTo>
                <a:lnTo>
                  <a:pt x="15653" y="5302"/>
                </a:lnTo>
                <a:lnTo>
                  <a:pt x="15657" y="5293"/>
                </a:lnTo>
                <a:lnTo>
                  <a:pt x="15654" y="5284"/>
                </a:lnTo>
                <a:lnTo>
                  <a:pt x="15647" y="5292"/>
                </a:lnTo>
                <a:lnTo>
                  <a:pt x="15639" y="5299"/>
                </a:lnTo>
                <a:close/>
                <a:moveTo>
                  <a:pt x="15542" y="5107"/>
                </a:moveTo>
                <a:lnTo>
                  <a:pt x="15560" y="5124"/>
                </a:lnTo>
                <a:lnTo>
                  <a:pt x="15597" y="5144"/>
                </a:lnTo>
                <a:lnTo>
                  <a:pt x="15633" y="5163"/>
                </a:lnTo>
                <a:lnTo>
                  <a:pt x="15654" y="5173"/>
                </a:lnTo>
                <a:lnTo>
                  <a:pt x="15652" y="5140"/>
                </a:lnTo>
                <a:lnTo>
                  <a:pt x="15619" y="5121"/>
                </a:lnTo>
                <a:lnTo>
                  <a:pt x="15577" y="5111"/>
                </a:lnTo>
                <a:lnTo>
                  <a:pt x="15542" y="5107"/>
                </a:lnTo>
                <a:close/>
                <a:moveTo>
                  <a:pt x="15299" y="5168"/>
                </a:moveTo>
                <a:lnTo>
                  <a:pt x="15307" y="5160"/>
                </a:lnTo>
                <a:lnTo>
                  <a:pt x="15312" y="5153"/>
                </a:lnTo>
                <a:lnTo>
                  <a:pt x="15312" y="5144"/>
                </a:lnTo>
                <a:lnTo>
                  <a:pt x="15304" y="5132"/>
                </a:lnTo>
                <a:lnTo>
                  <a:pt x="15303" y="5150"/>
                </a:lnTo>
                <a:lnTo>
                  <a:pt x="15299" y="5168"/>
                </a:lnTo>
                <a:close/>
                <a:moveTo>
                  <a:pt x="15169" y="5923"/>
                </a:moveTo>
                <a:lnTo>
                  <a:pt x="15159" y="5933"/>
                </a:lnTo>
                <a:lnTo>
                  <a:pt x="15155" y="5946"/>
                </a:lnTo>
                <a:lnTo>
                  <a:pt x="15154" y="5959"/>
                </a:lnTo>
                <a:lnTo>
                  <a:pt x="15152" y="5973"/>
                </a:lnTo>
                <a:lnTo>
                  <a:pt x="15161" y="5961"/>
                </a:lnTo>
                <a:lnTo>
                  <a:pt x="15170" y="5947"/>
                </a:lnTo>
                <a:lnTo>
                  <a:pt x="15175" y="5933"/>
                </a:lnTo>
                <a:lnTo>
                  <a:pt x="15169" y="5923"/>
                </a:lnTo>
                <a:close/>
                <a:moveTo>
                  <a:pt x="15252" y="5973"/>
                </a:moveTo>
                <a:lnTo>
                  <a:pt x="15237" y="5970"/>
                </a:lnTo>
                <a:lnTo>
                  <a:pt x="15229" y="5973"/>
                </a:lnTo>
                <a:lnTo>
                  <a:pt x="15226" y="5980"/>
                </a:lnTo>
                <a:lnTo>
                  <a:pt x="15228" y="5995"/>
                </a:lnTo>
                <a:lnTo>
                  <a:pt x="15234" y="5988"/>
                </a:lnTo>
                <a:lnTo>
                  <a:pt x="15239" y="5981"/>
                </a:lnTo>
                <a:lnTo>
                  <a:pt x="15245" y="5976"/>
                </a:lnTo>
                <a:lnTo>
                  <a:pt x="15252" y="5973"/>
                </a:lnTo>
                <a:close/>
                <a:moveTo>
                  <a:pt x="15093" y="5135"/>
                </a:moveTo>
                <a:lnTo>
                  <a:pt x="15094" y="5145"/>
                </a:lnTo>
                <a:lnTo>
                  <a:pt x="15096" y="5158"/>
                </a:lnTo>
                <a:lnTo>
                  <a:pt x="15099" y="5168"/>
                </a:lnTo>
                <a:lnTo>
                  <a:pt x="15103" y="5167"/>
                </a:lnTo>
                <a:lnTo>
                  <a:pt x="15096" y="5152"/>
                </a:lnTo>
                <a:lnTo>
                  <a:pt x="15093" y="5135"/>
                </a:lnTo>
                <a:close/>
                <a:moveTo>
                  <a:pt x="15267" y="5975"/>
                </a:moveTo>
                <a:lnTo>
                  <a:pt x="15286" y="5994"/>
                </a:lnTo>
                <a:lnTo>
                  <a:pt x="15304" y="6004"/>
                </a:lnTo>
                <a:lnTo>
                  <a:pt x="15321" y="6013"/>
                </a:lnTo>
                <a:lnTo>
                  <a:pt x="15329" y="6029"/>
                </a:lnTo>
                <a:lnTo>
                  <a:pt x="15331" y="6015"/>
                </a:lnTo>
                <a:lnTo>
                  <a:pt x="15314" y="5997"/>
                </a:lnTo>
                <a:lnTo>
                  <a:pt x="15290" y="5981"/>
                </a:lnTo>
                <a:lnTo>
                  <a:pt x="15267" y="5975"/>
                </a:lnTo>
                <a:close/>
                <a:moveTo>
                  <a:pt x="15301" y="5186"/>
                </a:moveTo>
                <a:lnTo>
                  <a:pt x="15303" y="5192"/>
                </a:lnTo>
                <a:lnTo>
                  <a:pt x="15308" y="5194"/>
                </a:lnTo>
                <a:lnTo>
                  <a:pt x="15313" y="5191"/>
                </a:lnTo>
                <a:lnTo>
                  <a:pt x="15318" y="5187"/>
                </a:lnTo>
                <a:lnTo>
                  <a:pt x="15314" y="5182"/>
                </a:lnTo>
                <a:lnTo>
                  <a:pt x="15310" y="5182"/>
                </a:lnTo>
                <a:lnTo>
                  <a:pt x="15307" y="5185"/>
                </a:lnTo>
                <a:lnTo>
                  <a:pt x="15301" y="5186"/>
                </a:lnTo>
                <a:close/>
                <a:moveTo>
                  <a:pt x="17018" y="5224"/>
                </a:moveTo>
                <a:lnTo>
                  <a:pt x="17023" y="5210"/>
                </a:lnTo>
                <a:lnTo>
                  <a:pt x="17033" y="5202"/>
                </a:lnTo>
                <a:lnTo>
                  <a:pt x="17046" y="5199"/>
                </a:lnTo>
                <a:lnTo>
                  <a:pt x="17060" y="5195"/>
                </a:lnTo>
                <a:lnTo>
                  <a:pt x="17047" y="5191"/>
                </a:lnTo>
                <a:lnTo>
                  <a:pt x="17026" y="5202"/>
                </a:lnTo>
                <a:lnTo>
                  <a:pt x="17012" y="5218"/>
                </a:lnTo>
                <a:lnTo>
                  <a:pt x="17018" y="5224"/>
                </a:lnTo>
                <a:close/>
                <a:moveTo>
                  <a:pt x="17915" y="5243"/>
                </a:moveTo>
                <a:lnTo>
                  <a:pt x="17924" y="5244"/>
                </a:lnTo>
                <a:lnTo>
                  <a:pt x="17933" y="5239"/>
                </a:lnTo>
                <a:lnTo>
                  <a:pt x="17936" y="5230"/>
                </a:lnTo>
                <a:lnTo>
                  <a:pt x="17933" y="5220"/>
                </a:lnTo>
                <a:lnTo>
                  <a:pt x="17917" y="5224"/>
                </a:lnTo>
                <a:lnTo>
                  <a:pt x="17906" y="5232"/>
                </a:lnTo>
                <a:lnTo>
                  <a:pt x="17903" y="5239"/>
                </a:lnTo>
                <a:lnTo>
                  <a:pt x="17915" y="5243"/>
                </a:lnTo>
                <a:close/>
                <a:moveTo>
                  <a:pt x="15691" y="5104"/>
                </a:moveTo>
                <a:lnTo>
                  <a:pt x="15695" y="5106"/>
                </a:lnTo>
                <a:lnTo>
                  <a:pt x="15696" y="5106"/>
                </a:lnTo>
                <a:lnTo>
                  <a:pt x="15696" y="5103"/>
                </a:lnTo>
                <a:lnTo>
                  <a:pt x="15694" y="5099"/>
                </a:lnTo>
                <a:lnTo>
                  <a:pt x="15696" y="5092"/>
                </a:lnTo>
                <a:lnTo>
                  <a:pt x="15684" y="5093"/>
                </a:lnTo>
                <a:lnTo>
                  <a:pt x="15676" y="5099"/>
                </a:lnTo>
                <a:lnTo>
                  <a:pt x="15691" y="5104"/>
                </a:lnTo>
                <a:close/>
                <a:moveTo>
                  <a:pt x="18023" y="5503"/>
                </a:moveTo>
                <a:lnTo>
                  <a:pt x="18019" y="5504"/>
                </a:lnTo>
                <a:lnTo>
                  <a:pt x="18015" y="5507"/>
                </a:lnTo>
                <a:lnTo>
                  <a:pt x="18013" y="5509"/>
                </a:lnTo>
                <a:lnTo>
                  <a:pt x="18010" y="5513"/>
                </a:lnTo>
                <a:lnTo>
                  <a:pt x="18015" y="5512"/>
                </a:lnTo>
                <a:lnTo>
                  <a:pt x="18018" y="5509"/>
                </a:lnTo>
                <a:lnTo>
                  <a:pt x="18022" y="5508"/>
                </a:lnTo>
                <a:lnTo>
                  <a:pt x="18023" y="5503"/>
                </a:lnTo>
                <a:close/>
                <a:moveTo>
                  <a:pt x="16977" y="5155"/>
                </a:moveTo>
                <a:lnTo>
                  <a:pt x="16995" y="5148"/>
                </a:lnTo>
                <a:lnTo>
                  <a:pt x="17003" y="5131"/>
                </a:lnTo>
                <a:lnTo>
                  <a:pt x="16999" y="5117"/>
                </a:lnTo>
                <a:lnTo>
                  <a:pt x="16982" y="5117"/>
                </a:lnTo>
                <a:lnTo>
                  <a:pt x="16986" y="5120"/>
                </a:lnTo>
                <a:lnTo>
                  <a:pt x="16972" y="5138"/>
                </a:lnTo>
                <a:lnTo>
                  <a:pt x="16962" y="5154"/>
                </a:lnTo>
                <a:lnTo>
                  <a:pt x="16977" y="5155"/>
                </a:lnTo>
                <a:close/>
                <a:moveTo>
                  <a:pt x="16139" y="5018"/>
                </a:moveTo>
                <a:lnTo>
                  <a:pt x="16122" y="5018"/>
                </a:lnTo>
                <a:lnTo>
                  <a:pt x="16100" y="5018"/>
                </a:lnTo>
                <a:lnTo>
                  <a:pt x="16083" y="5023"/>
                </a:lnTo>
                <a:lnTo>
                  <a:pt x="16078" y="5041"/>
                </a:lnTo>
                <a:lnTo>
                  <a:pt x="16102" y="5032"/>
                </a:lnTo>
                <a:lnTo>
                  <a:pt x="16132" y="5031"/>
                </a:lnTo>
                <a:lnTo>
                  <a:pt x="16148" y="5028"/>
                </a:lnTo>
                <a:lnTo>
                  <a:pt x="16139" y="5018"/>
                </a:lnTo>
                <a:close/>
                <a:moveTo>
                  <a:pt x="16844" y="5106"/>
                </a:moveTo>
                <a:lnTo>
                  <a:pt x="16887" y="5074"/>
                </a:lnTo>
                <a:lnTo>
                  <a:pt x="16918" y="5103"/>
                </a:lnTo>
                <a:lnTo>
                  <a:pt x="16935" y="5140"/>
                </a:lnTo>
                <a:lnTo>
                  <a:pt x="16940" y="5131"/>
                </a:lnTo>
                <a:lnTo>
                  <a:pt x="16926" y="5064"/>
                </a:lnTo>
                <a:lnTo>
                  <a:pt x="16869" y="5019"/>
                </a:lnTo>
                <a:lnTo>
                  <a:pt x="16823" y="5024"/>
                </a:lnTo>
                <a:lnTo>
                  <a:pt x="16844" y="5106"/>
                </a:lnTo>
                <a:close/>
                <a:moveTo>
                  <a:pt x="16609" y="5066"/>
                </a:moveTo>
                <a:lnTo>
                  <a:pt x="16636" y="5052"/>
                </a:lnTo>
                <a:lnTo>
                  <a:pt x="16640" y="5033"/>
                </a:lnTo>
                <a:lnTo>
                  <a:pt x="16623" y="5018"/>
                </a:lnTo>
                <a:lnTo>
                  <a:pt x="16592" y="5018"/>
                </a:lnTo>
                <a:lnTo>
                  <a:pt x="16597" y="5029"/>
                </a:lnTo>
                <a:lnTo>
                  <a:pt x="16602" y="5042"/>
                </a:lnTo>
                <a:lnTo>
                  <a:pt x="16606" y="5053"/>
                </a:lnTo>
                <a:lnTo>
                  <a:pt x="16609" y="5066"/>
                </a:lnTo>
                <a:close/>
                <a:moveTo>
                  <a:pt x="14812" y="4986"/>
                </a:moveTo>
                <a:lnTo>
                  <a:pt x="14812" y="4987"/>
                </a:lnTo>
                <a:lnTo>
                  <a:pt x="14812" y="4986"/>
                </a:lnTo>
                <a:lnTo>
                  <a:pt x="14809" y="4990"/>
                </a:lnTo>
                <a:lnTo>
                  <a:pt x="14812" y="4986"/>
                </a:lnTo>
                <a:close/>
                <a:moveTo>
                  <a:pt x="15447" y="4572"/>
                </a:moveTo>
                <a:lnTo>
                  <a:pt x="15445" y="4575"/>
                </a:lnTo>
                <a:lnTo>
                  <a:pt x="15447" y="4576"/>
                </a:lnTo>
                <a:lnTo>
                  <a:pt x="15450" y="4575"/>
                </a:lnTo>
                <a:lnTo>
                  <a:pt x="15453" y="4574"/>
                </a:lnTo>
                <a:lnTo>
                  <a:pt x="15449" y="4572"/>
                </a:lnTo>
                <a:lnTo>
                  <a:pt x="15447" y="4572"/>
                </a:lnTo>
                <a:close/>
                <a:moveTo>
                  <a:pt x="15473" y="4584"/>
                </a:moveTo>
                <a:lnTo>
                  <a:pt x="15439" y="4611"/>
                </a:lnTo>
                <a:lnTo>
                  <a:pt x="15417" y="4632"/>
                </a:lnTo>
                <a:lnTo>
                  <a:pt x="15424" y="4646"/>
                </a:lnTo>
                <a:lnTo>
                  <a:pt x="15475" y="4647"/>
                </a:lnTo>
                <a:lnTo>
                  <a:pt x="15477" y="4625"/>
                </a:lnTo>
                <a:lnTo>
                  <a:pt x="15517" y="4594"/>
                </a:lnTo>
                <a:lnTo>
                  <a:pt x="15536" y="4575"/>
                </a:lnTo>
                <a:lnTo>
                  <a:pt x="15473" y="4584"/>
                </a:lnTo>
                <a:close/>
                <a:moveTo>
                  <a:pt x="14671" y="5258"/>
                </a:moveTo>
                <a:lnTo>
                  <a:pt x="14703" y="5238"/>
                </a:lnTo>
                <a:lnTo>
                  <a:pt x="14680" y="5230"/>
                </a:lnTo>
                <a:lnTo>
                  <a:pt x="14632" y="5230"/>
                </a:lnTo>
                <a:lnTo>
                  <a:pt x="14587" y="5232"/>
                </a:lnTo>
                <a:lnTo>
                  <a:pt x="14591" y="5256"/>
                </a:lnTo>
                <a:lnTo>
                  <a:pt x="14621" y="5266"/>
                </a:lnTo>
                <a:lnTo>
                  <a:pt x="14656" y="5266"/>
                </a:lnTo>
                <a:lnTo>
                  <a:pt x="14671" y="5258"/>
                </a:lnTo>
                <a:close/>
                <a:moveTo>
                  <a:pt x="14657" y="4659"/>
                </a:moveTo>
                <a:lnTo>
                  <a:pt x="14628" y="4655"/>
                </a:lnTo>
                <a:lnTo>
                  <a:pt x="14607" y="4645"/>
                </a:lnTo>
                <a:lnTo>
                  <a:pt x="14595" y="4631"/>
                </a:lnTo>
                <a:lnTo>
                  <a:pt x="14584" y="4617"/>
                </a:lnTo>
                <a:lnTo>
                  <a:pt x="14590" y="4664"/>
                </a:lnTo>
                <a:lnTo>
                  <a:pt x="14615" y="4692"/>
                </a:lnTo>
                <a:lnTo>
                  <a:pt x="14643" y="4692"/>
                </a:lnTo>
                <a:lnTo>
                  <a:pt x="14657" y="4659"/>
                </a:lnTo>
                <a:close/>
                <a:moveTo>
                  <a:pt x="14442" y="4958"/>
                </a:moveTo>
                <a:lnTo>
                  <a:pt x="14502" y="5050"/>
                </a:lnTo>
                <a:lnTo>
                  <a:pt x="14499" y="5078"/>
                </a:lnTo>
                <a:lnTo>
                  <a:pt x="14476" y="5098"/>
                </a:lnTo>
                <a:lnTo>
                  <a:pt x="14481" y="5169"/>
                </a:lnTo>
                <a:lnTo>
                  <a:pt x="14573" y="5113"/>
                </a:lnTo>
                <a:lnTo>
                  <a:pt x="14569" y="5073"/>
                </a:lnTo>
                <a:lnTo>
                  <a:pt x="14512" y="5027"/>
                </a:lnTo>
                <a:lnTo>
                  <a:pt x="14442" y="4958"/>
                </a:lnTo>
                <a:close/>
                <a:moveTo>
                  <a:pt x="15946" y="4199"/>
                </a:moveTo>
                <a:lnTo>
                  <a:pt x="15922" y="4215"/>
                </a:lnTo>
                <a:lnTo>
                  <a:pt x="15910" y="4238"/>
                </a:lnTo>
                <a:lnTo>
                  <a:pt x="15914" y="4260"/>
                </a:lnTo>
                <a:lnTo>
                  <a:pt x="15939" y="4278"/>
                </a:lnTo>
                <a:lnTo>
                  <a:pt x="15969" y="4272"/>
                </a:lnTo>
                <a:lnTo>
                  <a:pt x="15983" y="4246"/>
                </a:lnTo>
                <a:lnTo>
                  <a:pt x="15978" y="4217"/>
                </a:lnTo>
                <a:lnTo>
                  <a:pt x="15946" y="4199"/>
                </a:lnTo>
                <a:close/>
                <a:moveTo>
                  <a:pt x="14528" y="4735"/>
                </a:moveTo>
                <a:lnTo>
                  <a:pt x="14485" y="4766"/>
                </a:lnTo>
                <a:lnTo>
                  <a:pt x="14480" y="4801"/>
                </a:lnTo>
                <a:lnTo>
                  <a:pt x="14504" y="4822"/>
                </a:lnTo>
                <a:lnTo>
                  <a:pt x="14545" y="4808"/>
                </a:lnTo>
                <a:lnTo>
                  <a:pt x="14550" y="4780"/>
                </a:lnTo>
                <a:lnTo>
                  <a:pt x="14573" y="4751"/>
                </a:lnTo>
                <a:lnTo>
                  <a:pt x="14578" y="4731"/>
                </a:lnTo>
                <a:lnTo>
                  <a:pt x="14528" y="4735"/>
                </a:lnTo>
                <a:close/>
                <a:moveTo>
                  <a:pt x="14718" y="4682"/>
                </a:moveTo>
                <a:lnTo>
                  <a:pt x="14716" y="4674"/>
                </a:lnTo>
                <a:lnTo>
                  <a:pt x="14714" y="4665"/>
                </a:lnTo>
                <a:lnTo>
                  <a:pt x="14716" y="4656"/>
                </a:lnTo>
                <a:lnTo>
                  <a:pt x="14717" y="4646"/>
                </a:lnTo>
                <a:lnTo>
                  <a:pt x="14702" y="4658"/>
                </a:lnTo>
                <a:lnTo>
                  <a:pt x="14697" y="4677"/>
                </a:lnTo>
                <a:lnTo>
                  <a:pt x="14700" y="4689"/>
                </a:lnTo>
                <a:lnTo>
                  <a:pt x="14718" y="4682"/>
                </a:lnTo>
                <a:close/>
                <a:moveTo>
                  <a:pt x="14754" y="5336"/>
                </a:moveTo>
                <a:lnTo>
                  <a:pt x="14753" y="5331"/>
                </a:lnTo>
                <a:lnTo>
                  <a:pt x="14751" y="5326"/>
                </a:lnTo>
                <a:lnTo>
                  <a:pt x="14749" y="5330"/>
                </a:lnTo>
                <a:lnTo>
                  <a:pt x="14749" y="5332"/>
                </a:lnTo>
                <a:lnTo>
                  <a:pt x="14750" y="5334"/>
                </a:lnTo>
                <a:lnTo>
                  <a:pt x="14754" y="5336"/>
                </a:lnTo>
                <a:close/>
                <a:moveTo>
                  <a:pt x="14797" y="5388"/>
                </a:moveTo>
                <a:lnTo>
                  <a:pt x="14798" y="5395"/>
                </a:lnTo>
                <a:lnTo>
                  <a:pt x="14802" y="5396"/>
                </a:lnTo>
                <a:lnTo>
                  <a:pt x="14807" y="5396"/>
                </a:lnTo>
                <a:lnTo>
                  <a:pt x="14814" y="5395"/>
                </a:lnTo>
                <a:lnTo>
                  <a:pt x="14810" y="5392"/>
                </a:lnTo>
                <a:lnTo>
                  <a:pt x="14806" y="5390"/>
                </a:lnTo>
                <a:lnTo>
                  <a:pt x="14801" y="5388"/>
                </a:lnTo>
                <a:lnTo>
                  <a:pt x="14797" y="5388"/>
                </a:lnTo>
                <a:close/>
                <a:moveTo>
                  <a:pt x="14567" y="3774"/>
                </a:moveTo>
                <a:lnTo>
                  <a:pt x="14555" y="3801"/>
                </a:lnTo>
                <a:lnTo>
                  <a:pt x="14556" y="3820"/>
                </a:lnTo>
                <a:lnTo>
                  <a:pt x="14569" y="3833"/>
                </a:lnTo>
                <a:lnTo>
                  <a:pt x="14597" y="3840"/>
                </a:lnTo>
                <a:lnTo>
                  <a:pt x="14609" y="3815"/>
                </a:lnTo>
                <a:lnTo>
                  <a:pt x="14609" y="3795"/>
                </a:lnTo>
                <a:lnTo>
                  <a:pt x="14595" y="3782"/>
                </a:lnTo>
                <a:lnTo>
                  <a:pt x="14567" y="3774"/>
                </a:lnTo>
                <a:close/>
                <a:moveTo>
                  <a:pt x="14970" y="5018"/>
                </a:moveTo>
                <a:lnTo>
                  <a:pt x="14960" y="5018"/>
                </a:lnTo>
                <a:lnTo>
                  <a:pt x="14964" y="5019"/>
                </a:lnTo>
                <a:lnTo>
                  <a:pt x="14968" y="5020"/>
                </a:lnTo>
                <a:lnTo>
                  <a:pt x="14970" y="5022"/>
                </a:lnTo>
                <a:lnTo>
                  <a:pt x="14970" y="5018"/>
                </a:lnTo>
                <a:close/>
                <a:moveTo>
                  <a:pt x="14790" y="5080"/>
                </a:moveTo>
                <a:lnTo>
                  <a:pt x="14763" y="5107"/>
                </a:lnTo>
                <a:lnTo>
                  <a:pt x="14726" y="5130"/>
                </a:lnTo>
                <a:lnTo>
                  <a:pt x="14709" y="5141"/>
                </a:lnTo>
                <a:lnTo>
                  <a:pt x="14741" y="5130"/>
                </a:lnTo>
                <a:lnTo>
                  <a:pt x="14782" y="5129"/>
                </a:lnTo>
                <a:lnTo>
                  <a:pt x="14809" y="5129"/>
                </a:lnTo>
                <a:lnTo>
                  <a:pt x="14812" y="5117"/>
                </a:lnTo>
                <a:lnTo>
                  <a:pt x="14790" y="5080"/>
                </a:lnTo>
                <a:close/>
                <a:moveTo>
                  <a:pt x="14455" y="5456"/>
                </a:moveTo>
                <a:lnTo>
                  <a:pt x="14456" y="5454"/>
                </a:lnTo>
                <a:lnTo>
                  <a:pt x="14456" y="5454"/>
                </a:lnTo>
                <a:lnTo>
                  <a:pt x="14455" y="5454"/>
                </a:lnTo>
                <a:lnTo>
                  <a:pt x="14453" y="5454"/>
                </a:lnTo>
                <a:lnTo>
                  <a:pt x="14455" y="5454"/>
                </a:lnTo>
                <a:lnTo>
                  <a:pt x="14455" y="5456"/>
                </a:lnTo>
                <a:close/>
                <a:moveTo>
                  <a:pt x="14476" y="5410"/>
                </a:moveTo>
                <a:lnTo>
                  <a:pt x="14495" y="5424"/>
                </a:lnTo>
                <a:lnTo>
                  <a:pt x="14480" y="5400"/>
                </a:lnTo>
                <a:lnTo>
                  <a:pt x="14451" y="5369"/>
                </a:lnTo>
                <a:lnTo>
                  <a:pt x="14425" y="5363"/>
                </a:lnTo>
                <a:lnTo>
                  <a:pt x="14441" y="5373"/>
                </a:lnTo>
                <a:lnTo>
                  <a:pt x="14453" y="5383"/>
                </a:lnTo>
                <a:lnTo>
                  <a:pt x="14466" y="5396"/>
                </a:lnTo>
                <a:lnTo>
                  <a:pt x="14476" y="5410"/>
                </a:lnTo>
                <a:close/>
                <a:moveTo>
                  <a:pt x="14699" y="5475"/>
                </a:moveTo>
                <a:lnTo>
                  <a:pt x="14677" y="5437"/>
                </a:lnTo>
                <a:lnTo>
                  <a:pt x="14651" y="5393"/>
                </a:lnTo>
                <a:lnTo>
                  <a:pt x="14635" y="5365"/>
                </a:lnTo>
                <a:lnTo>
                  <a:pt x="14646" y="5377"/>
                </a:lnTo>
                <a:lnTo>
                  <a:pt x="14651" y="5391"/>
                </a:lnTo>
                <a:lnTo>
                  <a:pt x="14642" y="5397"/>
                </a:lnTo>
                <a:lnTo>
                  <a:pt x="14629" y="5395"/>
                </a:lnTo>
                <a:lnTo>
                  <a:pt x="14621" y="5378"/>
                </a:lnTo>
                <a:lnTo>
                  <a:pt x="14591" y="5409"/>
                </a:lnTo>
                <a:lnTo>
                  <a:pt x="14584" y="5439"/>
                </a:lnTo>
                <a:lnTo>
                  <a:pt x="14579" y="5468"/>
                </a:lnTo>
                <a:lnTo>
                  <a:pt x="14558" y="5494"/>
                </a:lnTo>
                <a:lnTo>
                  <a:pt x="14550" y="5537"/>
                </a:lnTo>
                <a:lnTo>
                  <a:pt x="14516" y="5555"/>
                </a:lnTo>
                <a:lnTo>
                  <a:pt x="14490" y="5570"/>
                </a:lnTo>
                <a:lnTo>
                  <a:pt x="14508" y="5603"/>
                </a:lnTo>
                <a:lnTo>
                  <a:pt x="14532" y="5616"/>
                </a:lnTo>
                <a:lnTo>
                  <a:pt x="14542" y="5614"/>
                </a:lnTo>
                <a:lnTo>
                  <a:pt x="14550" y="5601"/>
                </a:lnTo>
                <a:lnTo>
                  <a:pt x="14565" y="5580"/>
                </a:lnTo>
                <a:lnTo>
                  <a:pt x="14598" y="5535"/>
                </a:lnTo>
                <a:lnTo>
                  <a:pt x="14655" y="5521"/>
                </a:lnTo>
                <a:lnTo>
                  <a:pt x="14700" y="5509"/>
                </a:lnTo>
                <a:lnTo>
                  <a:pt x="14699" y="5475"/>
                </a:lnTo>
                <a:close/>
                <a:moveTo>
                  <a:pt x="14539" y="5710"/>
                </a:moveTo>
                <a:lnTo>
                  <a:pt x="14548" y="5717"/>
                </a:lnTo>
                <a:lnTo>
                  <a:pt x="14558" y="5712"/>
                </a:lnTo>
                <a:lnTo>
                  <a:pt x="14565" y="5701"/>
                </a:lnTo>
                <a:lnTo>
                  <a:pt x="14564" y="5692"/>
                </a:lnTo>
                <a:lnTo>
                  <a:pt x="14558" y="5698"/>
                </a:lnTo>
                <a:lnTo>
                  <a:pt x="14551" y="5704"/>
                </a:lnTo>
                <a:lnTo>
                  <a:pt x="14545" y="5708"/>
                </a:lnTo>
                <a:lnTo>
                  <a:pt x="14539" y="5710"/>
                </a:lnTo>
                <a:close/>
                <a:moveTo>
                  <a:pt x="12221" y="3260"/>
                </a:moveTo>
                <a:lnTo>
                  <a:pt x="12220" y="3329"/>
                </a:lnTo>
                <a:lnTo>
                  <a:pt x="12277" y="3326"/>
                </a:lnTo>
                <a:lnTo>
                  <a:pt x="12338" y="3275"/>
                </a:lnTo>
                <a:lnTo>
                  <a:pt x="12347" y="3195"/>
                </a:lnTo>
                <a:lnTo>
                  <a:pt x="12307" y="3176"/>
                </a:lnTo>
                <a:lnTo>
                  <a:pt x="12283" y="3205"/>
                </a:lnTo>
                <a:lnTo>
                  <a:pt x="12260" y="3246"/>
                </a:lnTo>
                <a:lnTo>
                  <a:pt x="12221" y="3260"/>
                </a:lnTo>
                <a:close/>
                <a:moveTo>
                  <a:pt x="3662" y="9612"/>
                </a:moveTo>
                <a:lnTo>
                  <a:pt x="3699" y="9609"/>
                </a:lnTo>
                <a:lnTo>
                  <a:pt x="3725" y="9614"/>
                </a:lnTo>
                <a:lnTo>
                  <a:pt x="3743" y="9631"/>
                </a:lnTo>
                <a:lnTo>
                  <a:pt x="3755" y="9658"/>
                </a:lnTo>
                <a:lnTo>
                  <a:pt x="3774" y="9670"/>
                </a:lnTo>
                <a:lnTo>
                  <a:pt x="3809" y="9660"/>
                </a:lnTo>
                <a:lnTo>
                  <a:pt x="3848" y="9636"/>
                </a:lnTo>
                <a:lnTo>
                  <a:pt x="3874" y="9602"/>
                </a:lnTo>
                <a:lnTo>
                  <a:pt x="3919" y="9637"/>
                </a:lnTo>
                <a:lnTo>
                  <a:pt x="3967" y="9630"/>
                </a:lnTo>
                <a:lnTo>
                  <a:pt x="3995" y="9589"/>
                </a:lnTo>
                <a:lnTo>
                  <a:pt x="3974" y="9529"/>
                </a:lnTo>
                <a:lnTo>
                  <a:pt x="3871" y="9533"/>
                </a:lnTo>
                <a:lnTo>
                  <a:pt x="3753" y="9504"/>
                </a:lnTo>
                <a:lnTo>
                  <a:pt x="3654" y="9491"/>
                </a:lnTo>
                <a:lnTo>
                  <a:pt x="3609" y="9548"/>
                </a:lnTo>
                <a:lnTo>
                  <a:pt x="3595" y="9577"/>
                </a:lnTo>
                <a:lnTo>
                  <a:pt x="3603" y="9599"/>
                </a:lnTo>
                <a:lnTo>
                  <a:pt x="3626" y="9612"/>
                </a:lnTo>
                <a:lnTo>
                  <a:pt x="3662" y="9612"/>
                </a:lnTo>
                <a:close/>
                <a:moveTo>
                  <a:pt x="4092" y="9757"/>
                </a:moveTo>
                <a:lnTo>
                  <a:pt x="4069" y="9721"/>
                </a:lnTo>
                <a:lnTo>
                  <a:pt x="4041" y="9712"/>
                </a:lnTo>
                <a:lnTo>
                  <a:pt x="4016" y="9719"/>
                </a:lnTo>
                <a:lnTo>
                  <a:pt x="3995" y="9730"/>
                </a:lnTo>
                <a:lnTo>
                  <a:pt x="3958" y="9798"/>
                </a:lnTo>
                <a:lnTo>
                  <a:pt x="4012" y="9836"/>
                </a:lnTo>
                <a:lnTo>
                  <a:pt x="4081" y="9829"/>
                </a:lnTo>
                <a:lnTo>
                  <a:pt x="4092" y="9757"/>
                </a:lnTo>
                <a:close/>
                <a:moveTo>
                  <a:pt x="3668" y="9072"/>
                </a:moveTo>
                <a:lnTo>
                  <a:pt x="3710" y="9048"/>
                </a:lnTo>
                <a:lnTo>
                  <a:pt x="3719" y="9015"/>
                </a:lnTo>
                <a:lnTo>
                  <a:pt x="3700" y="8994"/>
                </a:lnTo>
                <a:lnTo>
                  <a:pt x="3662" y="9010"/>
                </a:lnTo>
                <a:lnTo>
                  <a:pt x="3649" y="9020"/>
                </a:lnTo>
                <a:lnTo>
                  <a:pt x="3648" y="9043"/>
                </a:lnTo>
                <a:lnTo>
                  <a:pt x="3657" y="9064"/>
                </a:lnTo>
                <a:lnTo>
                  <a:pt x="3668" y="9072"/>
                </a:lnTo>
                <a:close/>
                <a:moveTo>
                  <a:pt x="3925" y="9296"/>
                </a:moveTo>
                <a:lnTo>
                  <a:pt x="3906" y="9234"/>
                </a:lnTo>
                <a:lnTo>
                  <a:pt x="3859" y="9229"/>
                </a:lnTo>
                <a:lnTo>
                  <a:pt x="3827" y="9266"/>
                </a:lnTo>
                <a:lnTo>
                  <a:pt x="3850" y="9324"/>
                </a:lnTo>
                <a:lnTo>
                  <a:pt x="3873" y="9320"/>
                </a:lnTo>
                <a:lnTo>
                  <a:pt x="3895" y="9315"/>
                </a:lnTo>
                <a:lnTo>
                  <a:pt x="3913" y="9308"/>
                </a:lnTo>
                <a:lnTo>
                  <a:pt x="3925" y="9296"/>
                </a:lnTo>
                <a:close/>
                <a:moveTo>
                  <a:pt x="3671" y="9953"/>
                </a:moveTo>
                <a:lnTo>
                  <a:pt x="3663" y="9961"/>
                </a:lnTo>
                <a:lnTo>
                  <a:pt x="3663" y="9972"/>
                </a:lnTo>
                <a:lnTo>
                  <a:pt x="3665" y="9986"/>
                </a:lnTo>
                <a:lnTo>
                  <a:pt x="3669" y="10000"/>
                </a:lnTo>
                <a:lnTo>
                  <a:pt x="3716" y="10003"/>
                </a:lnTo>
                <a:lnTo>
                  <a:pt x="3728" y="9967"/>
                </a:lnTo>
                <a:lnTo>
                  <a:pt x="3710" y="9936"/>
                </a:lnTo>
                <a:lnTo>
                  <a:pt x="3671" y="9953"/>
                </a:lnTo>
                <a:close/>
                <a:moveTo>
                  <a:pt x="3943" y="9930"/>
                </a:moveTo>
                <a:lnTo>
                  <a:pt x="3985" y="9962"/>
                </a:lnTo>
                <a:lnTo>
                  <a:pt x="4028" y="9962"/>
                </a:lnTo>
                <a:lnTo>
                  <a:pt x="4062" y="9934"/>
                </a:lnTo>
                <a:lnTo>
                  <a:pt x="4070" y="9880"/>
                </a:lnTo>
                <a:lnTo>
                  <a:pt x="4031" y="9849"/>
                </a:lnTo>
                <a:lnTo>
                  <a:pt x="3986" y="9847"/>
                </a:lnTo>
                <a:lnTo>
                  <a:pt x="3952" y="9877"/>
                </a:lnTo>
                <a:lnTo>
                  <a:pt x="3943" y="9930"/>
                </a:lnTo>
                <a:close/>
                <a:moveTo>
                  <a:pt x="3854" y="10172"/>
                </a:moveTo>
                <a:lnTo>
                  <a:pt x="3845" y="10172"/>
                </a:lnTo>
                <a:lnTo>
                  <a:pt x="3835" y="10178"/>
                </a:lnTo>
                <a:lnTo>
                  <a:pt x="3827" y="10188"/>
                </a:lnTo>
                <a:lnTo>
                  <a:pt x="3827" y="10195"/>
                </a:lnTo>
                <a:lnTo>
                  <a:pt x="3848" y="10201"/>
                </a:lnTo>
                <a:lnTo>
                  <a:pt x="3865" y="10192"/>
                </a:lnTo>
                <a:lnTo>
                  <a:pt x="3871" y="10181"/>
                </a:lnTo>
                <a:lnTo>
                  <a:pt x="3854" y="10172"/>
                </a:lnTo>
                <a:close/>
                <a:moveTo>
                  <a:pt x="4998" y="12743"/>
                </a:moveTo>
                <a:lnTo>
                  <a:pt x="5087" y="12790"/>
                </a:lnTo>
                <a:lnTo>
                  <a:pt x="5130" y="12727"/>
                </a:lnTo>
                <a:lnTo>
                  <a:pt x="5110" y="12646"/>
                </a:lnTo>
                <a:lnTo>
                  <a:pt x="5008" y="12652"/>
                </a:lnTo>
                <a:lnTo>
                  <a:pt x="4995" y="12610"/>
                </a:lnTo>
                <a:lnTo>
                  <a:pt x="4970" y="12578"/>
                </a:lnTo>
                <a:lnTo>
                  <a:pt x="4930" y="12566"/>
                </a:lnTo>
                <a:lnTo>
                  <a:pt x="4878" y="12583"/>
                </a:lnTo>
                <a:lnTo>
                  <a:pt x="4822" y="12648"/>
                </a:lnTo>
                <a:lnTo>
                  <a:pt x="4836" y="12704"/>
                </a:lnTo>
                <a:lnTo>
                  <a:pt x="4864" y="12751"/>
                </a:lnTo>
                <a:lnTo>
                  <a:pt x="4852" y="12788"/>
                </a:lnTo>
                <a:lnTo>
                  <a:pt x="4790" y="12869"/>
                </a:lnTo>
                <a:lnTo>
                  <a:pt x="4815" y="12882"/>
                </a:lnTo>
                <a:lnTo>
                  <a:pt x="4887" y="12858"/>
                </a:lnTo>
                <a:lnTo>
                  <a:pt x="4963" y="12825"/>
                </a:lnTo>
                <a:lnTo>
                  <a:pt x="4998" y="12799"/>
                </a:lnTo>
                <a:lnTo>
                  <a:pt x="4990" y="12756"/>
                </a:lnTo>
                <a:lnTo>
                  <a:pt x="4977" y="12728"/>
                </a:lnTo>
                <a:lnTo>
                  <a:pt x="4998" y="12743"/>
                </a:lnTo>
                <a:close/>
                <a:moveTo>
                  <a:pt x="4722" y="13072"/>
                </a:moveTo>
                <a:lnTo>
                  <a:pt x="4787" y="13081"/>
                </a:lnTo>
                <a:lnTo>
                  <a:pt x="4770" y="13033"/>
                </a:lnTo>
                <a:lnTo>
                  <a:pt x="4707" y="12981"/>
                </a:lnTo>
                <a:lnTo>
                  <a:pt x="4636" y="12971"/>
                </a:lnTo>
                <a:lnTo>
                  <a:pt x="4694" y="12902"/>
                </a:lnTo>
                <a:lnTo>
                  <a:pt x="4768" y="12802"/>
                </a:lnTo>
                <a:lnTo>
                  <a:pt x="4805" y="12696"/>
                </a:lnTo>
                <a:lnTo>
                  <a:pt x="4758" y="12617"/>
                </a:lnTo>
                <a:lnTo>
                  <a:pt x="4622" y="12640"/>
                </a:lnTo>
                <a:lnTo>
                  <a:pt x="4503" y="12755"/>
                </a:lnTo>
                <a:lnTo>
                  <a:pt x="4468" y="12865"/>
                </a:lnTo>
                <a:lnTo>
                  <a:pt x="4576" y="12874"/>
                </a:lnTo>
                <a:lnTo>
                  <a:pt x="4561" y="12905"/>
                </a:lnTo>
                <a:lnTo>
                  <a:pt x="4509" y="12942"/>
                </a:lnTo>
                <a:lnTo>
                  <a:pt x="4455" y="12984"/>
                </a:lnTo>
                <a:lnTo>
                  <a:pt x="4435" y="13033"/>
                </a:lnTo>
                <a:lnTo>
                  <a:pt x="4472" y="13058"/>
                </a:lnTo>
                <a:lnTo>
                  <a:pt x="4515" y="13030"/>
                </a:lnTo>
                <a:lnTo>
                  <a:pt x="4561" y="12991"/>
                </a:lnTo>
                <a:lnTo>
                  <a:pt x="4610" y="12984"/>
                </a:lnTo>
                <a:lnTo>
                  <a:pt x="4595" y="13045"/>
                </a:lnTo>
                <a:lnTo>
                  <a:pt x="4621" y="13086"/>
                </a:lnTo>
                <a:lnTo>
                  <a:pt x="4670" y="13097"/>
                </a:lnTo>
                <a:lnTo>
                  <a:pt x="4722" y="13072"/>
                </a:lnTo>
                <a:close/>
                <a:moveTo>
                  <a:pt x="3626" y="9684"/>
                </a:moveTo>
                <a:lnTo>
                  <a:pt x="3643" y="9681"/>
                </a:lnTo>
                <a:lnTo>
                  <a:pt x="3650" y="9672"/>
                </a:lnTo>
                <a:lnTo>
                  <a:pt x="3655" y="9660"/>
                </a:lnTo>
                <a:lnTo>
                  <a:pt x="3665" y="9653"/>
                </a:lnTo>
                <a:lnTo>
                  <a:pt x="3641" y="9619"/>
                </a:lnTo>
                <a:lnTo>
                  <a:pt x="3612" y="9626"/>
                </a:lnTo>
                <a:lnTo>
                  <a:pt x="3599" y="9654"/>
                </a:lnTo>
                <a:lnTo>
                  <a:pt x="3626" y="9684"/>
                </a:lnTo>
                <a:close/>
                <a:moveTo>
                  <a:pt x="5181" y="12098"/>
                </a:moveTo>
                <a:lnTo>
                  <a:pt x="5172" y="12131"/>
                </a:lnTo>
                <a:lnTo>
                  <a:pt x="5184" y="12132"/>
                </a:lnTo>
                <a:lnTo>
                  <a:pt x="5205" y="12117"/>
                </a:lnTo>
                <a:lnTo>
                  <a:pt x="5227" y="12099"/>
                </a:lnTo>
                <a:lnTo>
                  <a:pt x="5233" y="12079"/>
                </a:lnTo>
                <a:lnTo>
                  <a:pt x="5217" y="12072"/>
                </a:lnTo>
                <a:lnTo>
                  <a:pt x="5195" y="12077"/>
                </a:lnTo>
                <a:lnTo>
                  <a:pt x="5181" y="12098"/>
                </a:lnTo>
                <a:close/>
                <a:moveTo>
                  <a:pt x="4398" y="12780"/>
                </a:moveTo>
                <a:lnTo>
                  <a:pt x="4347" y="12770"/>
                </a:lnTo>
                <a:lnTo>
                  <a:pt x="4293" y="12744"/>
                </a:lnTo>
                <a:lnTo>
                  <a:pt x="4251" y="12746"/>
                </a:lnTo>
                <a:lnTo>
                  <a:pt x="4235" y="12811"/>
                </a:lnTo>
                <a:lnTo>
                  <a:pt x="4279" y="12834"/>
                </a:lnTo>
                <a:lnTo>
                  <a:pt x="4343" y="12835"/>
                </a:lnTo>
                <a:lnTo>
                  <a:pt x="4393" y="12817"/>
                </a:lnTo>
                <a:lnTo>
                  <a:pt x="4398" y="12780"/>
                </a:lnTo>
                <a:close/>
                <a:moveTo>
                  <a:pt x="3590" y="9345"/>
                </a:moveTo>
                <a:lnTo>
                  <a:pt x="3580" y="9322"/>
                </a:lnTo>
                <a:lnTo>
                  <a:pt x="3561" y="9318"/>
                </a:lnTo>
                <a:lnTo>
                  <a:pt x="3546" y="9329"/>
                </a:lnTo>
                <a:lnTo>
                  <a:pt x="3546" y="9353"/>
                </a:lnTo>
                <a:lnTo>
                  <a:pt x="3560" y="9359"/>
                </a:lnTo>
                <a:lnTo>
                  <a:pt x="3570" y="9360"/>
                </a:lnTo>
                <a:lnTo>
                  <a:pt x="3579" y="9355"/>
                </a:lnTo>
                <a:lnTo>
                  <a:pt x="3590" y="9345"/>
                </a:lnTo>
                <a:close/>
                <a:moveTo>
                  <a:pt x="4349" y="13004"/>
                </a:moveTo>
                <a:lnTo>
                  <a:pt x="4287" y="13002"/>
                </a:lnTo>
                <a:lnTo>
                  <a:pt x="4269" y="13046"/>
                </a:lnTo>
                <a:lnTo>
                  <a:pt x="4288" y="13105"/>
                </a:lnTo>
                <a:lnTo>
                  <a:pt x="4339" y="13148"/>
                </a:lnTo>
                <a:lnTo>
                  <a:pt x="4389" y="13125"/>
                </a:lnTo>
                <a:lnTo>
                  <a:pt x="4393" y="13083"/>
                </a:lnTo>
                <a:lnTo>
                  <a:pt x="4371" y="13037"/>
                </a:lnTo>
                <a:lnTo>
                  <a:pt x="4349" y="13004"/>
                </a:lnTo>
                <a:close/>
                <a:moveTo>
                  <a:pt x="4120" y="12238"/>
                </a:moveTo>
                <a:lnTo>
                  <a:pt x="4165" y="12226"/>
                </a:lnTo>
                <a:lnTo>
                  <a:pt x="4199" y="12200"/>
                </a:lnTo>
                <a:lnTo>
                  <a:pt x="4213" y="12160"/>
                </a:lnTo>
                <a:lnTo>
                  <a:pt x="4191" y="12113"/>
                </a:lnTo>
                <a:lnTo>
                  <a:pt x="4138" y="12113"/>
                </a:lnTo>
                <a:lnTo>
                  <a:pt x="4107" y="12147"/>
                </a:lnTo>
                <a:lnTo>
                  <a:pt x="4102" y="12196"/>
                </a:lnTo>
                <a:lnTo>
                  <a:pt x="4120" y="12238"/>
                </a:lnTo>
                <a:close/>
                <a:moveTo>
                  <a:pt x="3645" y="9213"/>
                </a:moveTo>
                <a:lnTo>
                  <a:pt x="3609" y="9168"/>
                </a:lnTo>
                <a:lnTo>
                  <a:pt x="3557" y="9173"/>
                </a:lnTo>
                <a:lnTo>
                  <a:pt x="3511" y="9208"/>
                </a:lnTo>
                <a:lnTo>
                  <a:pt x="3497" y="9253"/>
                </a:lnTo>
                <a:lnTo>
                  <a:pt x="3523" y="9285"/>
                </a:lnTo>
                <a:lnTo>
                  <a:pt x="3569" y="9281"/>
                </a:lnTo>
                <a:lnTo>
                  <a:pt x="3616" y="9254"/>
                </a:lnTo>
                <a:lnTo>
                  <a:pt x="3645" y="9213"/>
                </a:lnTo>
                <a:close/>
                <a:moveTo>
                  <a:pt x="4710" y="10556"/>
                </a:moveTo>
                <a:lnTo>
                  <a:pt x="4702" y="10533"/>
                </a:lnTo>
                <a:lnTo>
                  <a:pt x="4675" y="10523"/>
                </a:lnTo>
                <a:lnTo>
                  <a:pt x="4654" y="10527"/>
                </a:lnTo>
                <a:lnTo>
                  <a:pt x="4661" y="10545"/>
                </a:lnTo>
                <a:lnTo>
                  <a:pt x="4674" y="10555"/>
                </a:lnTo>
                <a:lnTo>
                  <a:pt x="4682" y="10568"/>
                </a:lnTo>
                <a:lnTo>
                  <a:pt x="4691" y="10572"/>
                </a:lnTo>
                <a:lnTo>
                  <a:pt x="4710" y="10556"/>
                </a:lnTo>
                <a:close/>
                <a:moveTo>
                  <a:pt x="4055" y="11899"/>
                </a:moveTo>
                <a:lnTo>
                  <a:pt x="4104" y="11901"/>
                </a:lnTo>
                <a:lnTo>
                  <a:pt x="4135" y="11875"/>
                </a:lnTo>
                <a:lnTo>
                  <a:pt x="4146" y="11836"/>
                </a:lnTo>
                <a:lnTo>
                  <a:pt x="4125" y="11791"/>
                </a:lnTo>
                <a:lnTo>
                  <a:pt x="4077" y="11790"/>
                </a:lnTo>
                <a:lnTo>
                  <a:pt x="4044" y="11815"/>
                </a:lnTo>
                <a:lnTo>
                  <a:pt x="4034" y="11855"/>
                </a:lnTo>
                <a:lnTo>
                  <a:pt x="4055" y="11899"/>
                </a:lnTo>
                <a:close/>
                <a:moveTo>
                  <a:pt x="4325" y="11100"/>
                </a:moveTo>
                <a:lnTo>
                  <a:pt x="4279" y="11085"/>
                </a:lnTo>
                <a:lnTo>
                  <a:pt x="4226" y="11105"/>
                </a:lnTo>
                <a:lnTo>
                  <a:pt x="4189" y="11144"/>
                </a:lnTo>
                <a:lnTo>
                  <a:pt x="4194" y="11186"/>
                </a:lnTo>
                <a:lnTo>
                  <a:pt x="4242" y="11230"/>
                </a:lnTo>
                <a:lnTo>
                  <a:pt x="4311" y="11221"/>
                </a:lnTo>
                <a:lnTo>
                  <a:pt x="4353" y="11174"/>
                </a:lnTo>
                <a:lnTo>
                  <a:pt x="4325" y="11100"/>
                </a:lnTo>
                <a:close/>
                <a:moveTo>
                  <a:pt x="5214" y="11853"/>
                </a:moveTo>
                <a:lnTo>
                  <a:pt x="5122" y="11861"/>
                </a:lnTo>
                <a:lnTo>
                  <a:pt x="5052" y="11875"/>
                </a:lnTo>
                <a:lnTo>
                  <a:pt x="5003" y="11921"/>
                </a:lnTo>
                <a:lnTo>
                  <a:pt x="4973" y="12021"/>
                </a:lnTo>
                <a:lnTo>
                  <a:pt x="5103" y="12061"/>
                </a:lnTo>
                <a:lnTo>
                  <a:pt x="5168" y="12046"/>
                </a:lnTo>
                <a:lnTo>
                  <a:pt x="5196" y="11976"/>
                </a:lnTo>
                <a:lnTo>
                  <a:pt x="5214" y="11853"/>
                </a:lnTo>
                <a:close/>
                <a:moveTo>
                  <a:pt x="4409" y="11444"/>
                </a:moveTo>
                <a:lnTo>
                  <a:pt x="4464" y="11427"/>
                </a:lnTo>
                <a:lnTo>
                  <a:pt x="4432" y="11407"/>
                </a:lnTo>
                <a:lnTo>
                  <a:pt x="4362" y="11395"/>
                </a:lnTo>
                <a:lnTo>
                  <a:pt x="4297" y="11408"/>
                </a:lnTo>
                <a:lnTo>
                  <a:pt x="4254" y="11483"/>
                </a:lnTo>
                <a:lnTo>
                  <a:pt x="4314" y="11535"/>
                </a:lnTo>
                <a:lnTo>
                  <a:pt x="4394" y="11533"/>
                </a:lnTo>
                <a:lnTo>
                  <a:pt x="4409" y="11444"/>
                </a:lnTo>
                <a:close/>
                <a:moveTo>
                  <a:pt x="4883" y="12258"/>
                </a:moveTo>
                <a:lnTo>
                  <a:pt x="4753" y="12333"/>
                </a:lnTo>
                <a:lnTo>
                  <a:pt x="4821" y="12420"/>
                </a:lnTo>
                <a:lnTo>
                  <a:pt x="4924" y="12466"/>
                </a:lnTo>
                <a:lnTo>
                  <a:pt x="4902" y="12417"/>
                </a:lnTo>
                <a:lnTo>
                  <a:pt x="4922" y="12355"/>
                </a:lnTo>
                <a:lnTo>
                  <a:pt x="4933" y="12279"/>
                </a:lnTo>
                <a:lnTo>
                  <a:pt x="4921" y="12231"/>
                </a:lnTo>
                <a:lnTo>
                  <a:pt x="4883" y="12258"/>
                </a:lnTo>
                <a:close/>
                <a:moveTo>
                  <a:pt x="4763" y="12239"/>
                </a:moveTo>
                <a:lnTo>
                  <a:pt x="4674" y="12206"/>
                </a:lnTo>
                <a:lnTo>
                  <a:pt x="4712" y="12240"/>
                </a:lnTo>
                <a:lnTo>
                  <a:pt x="4803" y="12254"/>
                </a:lnTo>
                <a:lnTo>
                  <a:pt x="4868" y="12165"/>
                </a:lnTo>
                <a:lnTo>
                  <a:pt x="4841" y="12155"/>
                </a:lnTo>
                <a:lnTo>
                  <a:pt x="4819" y="12164"/>
                </a:lnTo>
                <a:lnTo>
                  <a:pt x="4804" y="12165"/>
                </a:lnTo>
                <a:lnTo>
                  <a:pt x="4794" y="12135"/>
                </a:lnTo>
                <a:lnTo>
                  <a:pt x="4869" y="11979"/>
                </a:lnTo>
                <a:lnTo>
                  <a:pt x="4785" y="11943"/>
                </a:lnTo>
                <a:lnTo>
                  <a:pt x="4696" y="12027"/>
                </a:lnTo>
                <a:lnTo>
                  <a:pt x="4763" y="12239"/>
                </a:lnTo>
                <a:close/>
                <a:moveTo>
                  <a:pt x="4929" y="11939"/>
                </a:moveTo>
                <a:lnTo>
                  <a:pt x="4942" y="11927"/>
                </a:lnTo>
                <a:lnTo>
                  <a:pt x="4959" y="11920"/>
                </a:lnTo>
                <a:lnTo>
                  <a:pt x="4968" y="11911"/>
                </a:lnTo>
                <a:lnTo>
                  <a:pt x="4958" y="11894"/>
                </a:lnTo>
                <a:lnTo>
                  <a:pt x="4931" y="11899"/>
                </a:lnTo>
                <a:lnTo>
                  <a:pt x="4908" y="11925"/>
                </a:lnTo>
                <a:lnTo>
                  <a:pt x="4905" y="11945"/>
                </a:lnTo>
                <a:lnTo>
                  <a:pt x="4929" y="11939"/>
                </a:lnTo>
                <a:close/>
                <a:moveTo>
                  <a:pt x="4483" y="10696"/>
                </a:moveTo>
                <a:lnTo>
                  <a:pt x="4437" y="10765"/>
                </a:lnTo>
                <a:lnTo>
                  <a:pt x="4437" y="10834"/>
                </a:lnTo>
                <a:lnTo>
                  <a:pt x="4459" y="10889"/>
                </a:lnTo>
                <a:lnTo>
                  <a:pt x="4478" y="10913"/>
                </a:lnTo>
                <a:lnTo>
                  <a:pt x="4531" y="10873"/>
                </a:lnTo>
                <a:lnTo>
                  <a:pt x="4589" y="10784"/>
                </a:lnTo>
                <a:lnTo>
                  <a:pt x="4591" y="10705"/>
                </a:lnTo>
                <a:lnTo>
                  <a:pt x="4483" y="10696"/>
                </a:lnTo>
                <a:close/>
                <a:moveTo>
                  <a:pt x="3674" y="10425"/>
                </a:moveTo>
                <a:lnTo>
                  <a:pt x="3804" y="10362"/>
                </a:lnTo>
                <a:lnTo>
                  <a:pt x="3792" y="10274"/>
                </a:lnTo>
                <a:lnTo>
                  <a:pt x="3738" y="10237"/>
                </a:lnTo>
                <a:lnTo>
                  <a:pt x="3746" y="10325"/>
                </a:lnTo>
                <a:lnTo>
                  <a:pt x="3706" y="10336"/>
                </a:lnTo>
                <a:lnTo>
                  <a:pt x="3674" y="10367"/>
                </a:lnTo>
                <a:lnTo>
                  <a:pt x="3660" y="10401"/>
                </a:lnTo>
                <a:lnTo>
                  <a:pt x="3674" y="10425"/>
                </a:lnTo>
                <a:close/>
                <a:moveTo>
                  <a:pt x="3949" y="10901"/>
                </a:moveTo>
                <a:lnTo>
                  <a:pt x="3923" y="10859"/>
                </a:lnTo>
                <a:lnTo>
                  <a:pt x="3882" y="10853"/>
                </a:lnTo>
                <a:lnTo>
                  <a:pt x="3848" y="10876"/>
                </a:lnTo>
                <a:lnTo>
                  <a:pt x="3840" y="10925"/>
                </a:lnTo>
                <a:lnTo>
                  <a:pt x="3869" y="10950"/>
                </a:lnTo>
                <a:lnTo>
                  <a:pt x="3902" y="10952"/>
                </a:lnTo>
                <a:lnTo>
                  <a:pt x="3933" y="10936"/>
                </a:lnTo>
                <a:lnTo>
                  <a:pt x="3949" y="10901"/>
                </a:lnTo>
                <a:close/>
                <a:moveTo>
                  <a:pt x="3916" y="10737"/>
                </a:moveTo>
                <a:lnTo>
                  <a:pt x="3872" y="10738"/>
                </a:lnTo>
                <a:lnTo>
                  <a:pt x="3859" y="10784"/>
                </a:lnTo>
                <a:lnTo>
                  <a:pt x="3874" y="10831"/>
                </a:lnTo>
                <a:lnTo>
                  <a:pt x="3918" y="10836"/>
                </a:lnTo>
                <a:lnTo>
                  <a:pt x="3944" y="10812"/>
                </a:lnTo>
                <a:lnTo>
                  <a:pt x="3955" y="10779"/>
                </a:lnTo>
                <a:lnTo>
                  <a:pt x="3946" y="10751"/>
                </a:lnTo>
                <a:lnTo>
                  <a:pt x="3916" y="10737"/>
                </a:lnTo>
                <a:close/>
                <a:moveTo>
                  <a:pt x="4115" y="11464"/>
                </a:moveTo>
                <a:lnTo>
                  <a:pt x="4123" y="11474"/>
                </a:lnTo>
                <a:lnTo>
                  <a:pt x="4137" y="11479"/>
                </a:lnTo>
                <a:lnTo>
                  <a:pt x="4151" y="11478"/>
                </a:lnTo>
                <a:lnTo>
                  <a:pt x="4161" y="11469"/>
                </a:lnTo>
                <a:lnTo>
                  <a:pt x="4165" y="11454"/>
                </a:lnTo>
                <a:lnTo>
                  <a:pt x="4144" y="11447"/>
                </a:lnTo>
                <a:lnTo>
                  <a:pt x="4120" y="11451"/>
                </a:lnTo>
                <a:lnTo>
                  <a:pt x="4115" y="11464"/>
                </a:lnTo>
                <a:close/>
                <a:moveTo>
                  <a:pt x="3804" y="10643"/>
                </a:moveTo>
                <a:lnTo>
                  <a:pt x="3848" y="10635"/>
                </a:lnTo>
                <a:lnTo>
                  <a:pt x="3871" y="10617"/>
                </a:lnTo>
                <a:lnTo>
                  <a:pt x="3874" y="10588"/>
                </a:lnTo>
                <a:lnTo>
                  <a:pt x="3864" y="10549"/>
                </a:lnTo>
                <a:lnTo>
                  <a:pt x="3820" y="10542"/>
                </a:lnTo>
                <a:lnTo>
                  <a:pt x="3789" y="10567"/>
                </a:lnTo>
                <a:lnTo>
                  <a:pt x="3780" y="10605"/>
                </a:lnTo>
                <a:lnTo>
                  <a:pt x="3804" y="10643"/>
                </a:lnTo>
                <a:close/>
                <a:moveTo>
                  <a:pt x="4268" y="10881"/>
                </a:moveTo>
                <a:lnTo>
                  <a:pt x="4255" y="10788"/>
                </a:lnTo>
                <a:lnTo>
                  <a:pt x="4189" y="10771"/>
                </a:lnTo>
                <a:lnTo>
                  <a:pt x="4135" y="10815"/>
                </a:lnTo>
                <a:lnTo>
                  <a:pt x="4158" y="10904"/>
                </a:lnTo>
                <a:lnTo>
                  <a:pt x="4186" y="10906"/>
                </a:lnTo>
                <a:lnTo>
                  <a:pt x="4216" y="10904"/>
                </a:lnTo>
                <a:lnTo>
                  <a:pt x="4244" y="10895"/>
                </a:lnTo>
                <a:lnTo>
                  <a:pt x="4268" y="10881"/>
                </a:lnTo>
                <a:close/>
                <a:moveTo>
                  <a:pt x="4000" y="10168"/>
                </a:moveTo>
                <a:lnTo>
                  <a:pt x="4042" y="10145"/>
                </a:lnTo>
                <a:lnTo>
                  <a:pt x="4095" y="10101"/>
                </a:lnTo>
                <a:lnTo>
                  <a:pt x="4104" y="10060"/>
                </a:lnTo>
                <a:lnTo>
                  <a:pt x="4016" y="10045"/>
                </a:lnTo>
                <a:lnTo>
                  <a:pt x="3960" y="10051"/>
                </a:lnTo>
                <a:lnTo>
                  <a:pt x="3918" y="10082"/>
                </a:lnTo>
                <a:lnTo>
                  <a:pt x="3914" y="10111"/>
                </a:lnTo>
                <a:lnTo>
                  <a:pt x="3970" y="10113"/>
                </a:lnTo>
                <a:lnTo>
                  <a:pt x="3925" y="10154"/>
                </a:lnTo>
                <a:lnTo>
                  <a:pt x="3925" y="10185"/>
                </a:lnTo>
                <a:lnTo>
                  <a:pt x="3956" y="10192"/>
                </a:lnTo>
                <a:lnTo>
                  <a:pt x="4000" y="10168"/>
                </a:lnTo>
                <a:close/>
                <a:moveTo>
                  <a:pt x="4198" y="10490"/>
                </a:moveTo>
                <a:lnTo>
                  <a:pt x="4181" y="10471"/>
                </a:lnTo>
                <a:lnTo>
                  <a:pt x="4156" y="10458"/>
                </a:lnTo>
                <a:lnTo>
                  <a:pt x="4125" y="10458"/>
                </a:lnTo>
                <a:lnTo>
                  <a:pt x="4092" y="10477"/>
                </a:lnTo>
                <a:lnTo>
                  <a:pt x="4074" y="10560"/>
                </a:lnTo>
                <a:lnTo>
                  <a:pt x="4132" y="10589"/>
                </a:lnTo>
                <a:lnTo>
                  <a:pt x="4197" y="10567"/>
                </a:lnTo>
                <a:lnTo>
                  <a:pt x="4198" y="10490"/>
                </a:lnTo>
                <a:close/>
                <a:moveTo>
                  <a:pt x="4135" y="10191"/>
                </a:moveTo>
                <a:lnTo>
                  <a:pt x="4112" y="10155"/>
                </a:lnTo>
                <a:lnTo>
                  <a:pt x="4084" y="10146"/>
                </a:lnTo>
                <a:lnTo>
                  <a:pt x="4058" y="10154"/>
                </a:lnTo>
                <a:lnTo>
                  <a:pt x="4037" y="10166"/>
                </a:lnTo>
                <a:lnTo>
                  <a:pt x="4002" y="10232"/>
                </a:lnTo>
                <a:lnTo>
                  <a:pt x="4055" y="10271"/>
                </a:lnTo>
                <a:lnTo>
                  <a:pt x="4124" y="10264"/>
                </a:lnTo>
                <a:lnTo>
                  <a:pt x="4135" y="10191"/>
                </a:lnTo>
                <a:close/>
                <a:moveTo>
                  <a:pt x="4595" y="10824"/>
                </a:moveTo>
                <a:lnTo>
                  <a:pt x="4588" y="10841"/>
                </a:lnTo>
                <a:lnTo>
                  <a:pt x="4603" y="10848"/>
                </a:lnTo>
                <a:lnTo>
                  <a:pt x="4624" y="10853"/>
                </a:lnTo>
                <a:lnTo>
                  <a:pt x="4633" y="10868"/>
                </a:lnTo>
                <a:lnTo>
                  <a:pt x="4668" y="10861"/>
                </a:lnTo>
                <a:lnTo>
                  <a:pt x="4664" y="10836"/>
                </a:lnTo>
                <a:lnTo>
                  <a:pt x="4636" y="10816"/>
                </a:lnTo>
                <a:lnTo>
                  <a:pt x="4595" y="10824"/>
                </a:lnTo>
                <a:close/>
                <a:moveTo>
                  <a:pt x="2398" y="12480"/>
                </a:moveTo>
                <a:lnTo>
                  <a:pt x="2353" y="12527"/>
                </a:lnTo>
                <a:lnTo>
                  <a:pt x="2356" y="12562"/>
                </a:lnTo>
                <a:lnTo>
                  <a:pt x="2388" y="12571"/>
                </a:lnTo>
                <a:lnTo>
                  <a:pt x="2428" y="12538"/>
                </a:lnTo>
                <a:lnTo>
                  <a:pt x="2442" y="12520"/>
                </a:lnTo>
                <a:lnTo>
                  <a:pt x="2434" y="12499"/>
                </a:lnTo>
                <a:lnTo>
                  <a:pt x="2416" y="12481"/>
                </a:lnTo>
                <a:lnTo>
                  <a:pt x="2398" y="12480"/>
                </a:lnTo>
                <a:close/>
                <a:moveTo>
                  <a:pt x="2373" y="9970"/>
                </a:moveTo>
                <a:lnTo>
                  <a:pt x="2388" y="9944"/>
                </a:lnTo>
                <a:lnTo>
                  <a:pt x="2361" y="9924"/>
                </a:lnTo>
                <a:lnTo>
                  <a:pt x="2322" y="9920"/>
                </a:lnTo>
                <a:lnTo>
                  <a:pt x="2303" y="9943"/>
                </a:lnTo>
                <a:lnTo>
                  <a:pt x="2310" y="9964"/>
                </a:lnTo>
                <a:lnTo>
                  <a:pt x="2330" y="9980"/>
                </a:lnTo>
                <a:lnTo>
                  <a:pt x="2353" y="9982"/>
                </a:lnTo>
                <a:lnTo>
                  <a:pt x="2373" y="9970"/>
                </a:lnTo>
                <a:close/>
                <a:moveTo>
                  <a:pt x="2303" y="12715"/>
                </a:moveTo>
                <a:lnTo>
                  <a:pt x="2276" y="12709"/>
                </a:lnTo>
                <a:lnTo>
                  <a:pt x="2262" y="12715"/>
                </a:lnTo>
                <a:lnTo>
                  <a:pt x="2249" y="12727"/>
                </a:lnTo>
                <a:lnTo>
                  <a:pt x="2226" y="12739"/>
                </a:lnTo>
                <a:lnTo>
                  <a:pt x="2201" y="12814"/>
                </a:lnTo>
                <a:lnTo>
                  <a:pt x="2254" y="12812"/>
                </a:lnTo>
                <a:lnTo>
                  <a:pt x="2313" y="12766"/>
                </a:lnTo>
                <a:lnTo>
                  <a:pt x="2303" y="12715"/>
                </a:lnTo>
                <a:close/>
                <a:moveTo>
                  <a:pt x="2175" y="13406"/>
                </a:moveTo>
                <a:lnTo>
                  <a:pt x="2139" y="13395"/>
                </a:lnTo>
                <a:lnTo>
                  <a:pt x="2108" y="13432"/>
                </a:lnTo>
                <a:lnTo>
                  <a:pt x="2099" y="13476"/>
                </a:lnTo>
                <a:lnTo>
                  <a:pt x="2130" y="13490"/>
                </a:lnTo>
                <a:lnTo>
                  <a:pt x="2161" y="13478"/>
                </a:lnTo>
                <a:lnTo>
                  <a:pt x="2184" y="13453"/>
                </a:lnTo>
                <a:lnTo>
                  <a:pt x="2192" y="13427"/>
                </a:lnTo>
                <a:lnTo>
                  <a:pt x="2175" y="13406"/>
                </a:lnTo>
                <a:close/>
                <a:moveTo>
                  <a:pt x="2662" y="8268"/>
                </a:moveTo>
                <a:lnTo>
                  <a:pt x="2682" y="8209"/>
                </a:lnTo>
                <a:lnTo>
                  <a:pt x="2645" y="8205"/>
                </a:lnTo>
                <a:lnTo>
                  <a:pt x="2603" y="8236"/>
                </a:lnTo>
                <a:lnTo>
                  <a:pt x="2607" y="8278"/>
                </a:lnTo>
                <a:lnTo>
                  <a:pt x="2625" y="8287"/>
                </a:lnTo>
                <a:lnTo>
                  <a:pt x="2637" y="8283"/>
                </a:lnTo>
                <a:lnTo>
                  <a:pt x="2645" y="8274"/>
                </a:lnTo>
                <a:lnTo>
                  <a:pt x="2662" y="8268"/>
                </a:lnTo>
                <a:close/>
                <a:moveTo>
                  <a:pt x="2556" y="15087"/>
                </a:moveTo>
                <a:lnTo>
                  <a:pt x="2526" y="15092"/>
                </a:lnTo>
                <a:lnTo>
                  <a:pt x="2516" y="15102"/>
                </a:lnTo>
                <a:lnTo>
                  <a:pt x="2509" y="15117"/>
                </a:lnTo>
                <a:lnTo>
                  <a:pt x="2493" y="15135"/>
                </a:lnTo>
                <a:lnTo>
                  <a:pt x="2504" y="15199"/>
                </a:lnTo>
                <a:lnTo>
                  <a:pt x="2559" y="15180"/>
                </a:lnTo>
                <a:lnTo>
                  <a:pt x="2596" y="15126"/>
                </a:lnTo>
                <a:lnTo>
                  <a:pt x="2556" y="15087"/>
                </a:lnTo>
                <a:close/>
                <a:moveTo>
                  <a:pt x="2493" y="8035"/>
                </a:moveTo>
                <a:lnTo>
                  <a:pt x="2523" y="8003"/>
                </a:lnTo>
                <a:lnTo>
                  <a:pt x="2566" y="7984"/>
                </a:lnTo>
                <a:lnTo>
                  <a:pt x="2586" y="7958"/>
                </a:lnTo>
                <a:lnTo>
                  <a:pt x="2547" y="7910"/>
                </a:lnTo>
                <a:lnTo>
                  <a:pt x="2476" y="7929"/>
                </a:lnTo>
                <a:lnTo>
                  <a:pt x="2433" y="8000"/>
                </a:lnTo>
                <a:lnTo>
                  <a:pt x="2433" y="8059"/>
                </a:lnTo>
                <a:lnTo>
                  <a:pt x="2493" y="8035"/>
                </a:lnTo>
                <a:close/>
                <a:moveTo>
                  <a:pt x="2563" y="9919"/>
                </a:moveTo>
                <a:lnTo>
                  <a:pt x="2504" y="9966"/>
                </a:lnTo>
                <a:lnTo>
                  <a:pt x="2500" y="10004"/>
                </a:lnTo>
                <a:lnTo>
                  <a:pt x="2532" y="10015"/>
                </a:lnTo>
                <a:lnTo>
                  <a:pt x="2580" y="9982"/>
                </a:lnTo>
                <a:lnTo>
                  <a:pt x="2598" y="9966"/>
                </a:lnTo>
                <a:lnTo>
                  <a:pt x="2594" y="9942"/>
                </a:lnTo>
                <a:lnTo>
                  <a:pt x="2579" y="9921"/>
                </a:lnTo>
                <a:lnTo>
                  <a:pt x="2563" y="9919"/>
                </a:lnTo>
                <a:close/>
                <a:moveTo>
                  <a:pt x="1590" y="10581"/>
                </a:moveTo>
                <a:lnTo>
                  <a:pt x="1563" y="10587"/>
                </a:lnTo>
                <a:lnTo>
                  <a:pt x="1540" y="10616"/>
                </a:lnTo>
                <a:lnTo>
                  <a:pt x="1530" y="10648"/>
                </a:lnTo>
                <a:lnTo>
                  <a:pt x="1537" y="10663"/>
                </a:lnTo>
                <a:lnTo>
                  <a:pt x="1613" y="10656"/>
                </a:lnTo>
                <a:lnTo>
                  <a:pt x="1656" y="10617"/>
                </a:lnTo>
                <a:lnTo>
                  <a:pt x="1653" y="10581"/>
                </a:lnTo>
                <a:lnTo>
                  <a:pt x="1590" y="10581"/>
                </a:lnTo>
                <a:close/>
                <a:moveTo>
                  <a:pt x="1711" y="9054"/>
                </a:moveTo>
                <a:lnTo>
                  <a:pt x="1662" y="9050"/>
                </a:lnTo>
                <a:lnTo>
                  <a:pt x="1616" y="9063"/>
                </a:lnTo>
                <a:lnTo>
                  <a:pt x="1585" y="9086"/>
                </a:lnTo>
                <a:lnTo>
                  <a:pt x="1579" y="9118"/>
                </a:lnTo>
                <a:lnTo>
                  <a:pt x="1615" y="9142"/>
                </a:lnTo>
                <a:lnTo>
                  <a:pt x="1667" y="9127"/>
                </a:lnTo>
                <a:lnTo>
                  <a:pt x="1709" y="9092"/>
                </a:lnTo>
                <a:lnTo>
                  <a:pt x="1711" y="9054"/>
                </a:lnTo>
                <a:close/>
                <a:moveTo>
                  <a:pt x="1627" y="6634"/>
                </a:moveTo>
                <a:lnTo>
                  <a:pt x="1644" y="6670"/>
                </a:lnTo>
                <a:lnTo>
                  <a:pt x="1679" y="6662"/>
                </a:lnTo>
                <a:lnTo>
                  <a:pt x="1722" y="6648"/>
                </a:lnTo>
                <a:lnTo>
                  <a:pt x="1758" y="6661"/>
                </a:lnTo>
                <a:lnTo>
                  <a:pt x="1804" y="6614"/>
                </a:lnTo>
                <a:lnTo>
                  <a:pt x="1760" y="6582"/>
                </a:lnTo>
                <a:lnTo>
                  <a:pt x="1683" y="6584"/>
                </a:lnTo>
                <a:lnTo>
                  <a:pt x="1627" y="6634"/>
                </a:lnTo>
                <a:close/>
                <a:moveTo>
                  <a:pt x="1852" y="6872"/>
                </a:moveTo>
                <a:lnTo>
                  <a:pt x="1811" y="6858"/>
                </a:lnTo>
                <a:lnTo>
                  <a:pt x="1764" y="6867"/>
                </a:lnTo>
                <a:lnTo>
                  <a:pt x="1720" y="6892"/>
                </a:lnTo>
                <a:lnTo>
                  <a:pt x="1693" y="6923"/>
                </a:lnTo>
                <a:lnTo>
                  <a:pt x="1722" y="6950"/>
                </a:lnTo>
                <a:lnTo>
                  <a:pt x="1793" y="6948"/>
                </a:lnTo>
                <a:lnTo>
                  <a:pt x="1853" y="6921"/>
                </a:lnTo>
                <a:lnTo>
                  <a:pt x="1852" y="6872"/>
                </a:lnTo>
                <a:close/>
                <a:moveTo>
                  <a:pt x="2021" y="6716"/>
                </a:moveTo>
                <a:lnTo>
                  <a:pt x="2060" y="6701"/>
                </a:lnTo>
                <a:lnTo>
                  <a:pt x="2103" y="6698"/>
                </a:lnTo>
                <a:lnTo>
                  <a:pt x="2130" y="6683"/>
                </a:lnTo>
                <a:lnTo>
                  <a:pt x="2116" y="6629"/>
                </a:lnTo>
                <a:lnTo>
                  <a:pt x="2049" y="6620"/>
                </a:lnTo>
                <a:lnTo>
                  <a:pt x="1986" y="6665"/>
                </a:lnTo>
                <a:lnTo>
                  <a:pt x="1963" y="6715"/>
                </a:lnTo>
                <a:lnTo>
                  <a:pt x="2021" y="6716"/>
                </a:lnTo>
                <a:close/>
                <a:moveTo>
                  <a:pt x="1888" y="11577"/>
                </a:moveTo>
                <a:lnTo>
                  <a:pt x="1855" y="11596"/>
                </a:lnTo>
                <a:lnTo>
                  <a:pt x="1834" y="11627"/>
                </a:lnTo>
                <a:lnTo>
                  <a:pt x="1833" y="11656"/>
                </a:lnTo>
                <a:lnTo>
                  <a:pt x="1858" y="11674"/>
                </a:lnTo>
                <a:lnTo>
                  <a:pt x="1903" y="11679"/>
                </a:lnTo>
                <a:lnTo>
                  <a:pt x="1930" y="11636"/>
                </a:lnTo>
                <a:lnTo>
                  <a:pt x="1928" y="11586"/>
                </a:lnTo>
                <a:lnTo>
                  <a:pt x="1888" y="11577"/>
                </a:lnTo>
                <a:close/>
                <a:moveTo>
                  <a:pt x="1936" y="10167"/>
                </a:moveTo>
                <a:lnTo>
                  <a:pt x="1903" y="10154"/>
                </a:lnTo>
                <a:lnTo>
                  <a:pt x="1871" y="10187"/>
                </a:lnTo>
                <a:lnTo>
                  <a:pt x="1860" y="10229"/>
                </a:lnTo>
                <a:lnTo>
                  <a:pt x="1886" y="10244"/>
                </a:lnTo>
                <a:lnTo>
                  <a:pt x="1917" y="10234"/>
                </a:lnTo>
                <a:lnTo>
                  <a:pt x="1940" y="10213"/>
                </a:lnTo>
                <a:lnTo>
                  <a:pt x="1950" y="10187"/>
                </a:lnTo>
                <a:lnTo>
                  <a:pt x="1936" y="10167"/>
                </a:lnTo>
                <a:close/>
                <a:moveTo>
                  <a:pt x="2000" y="11241"/>
                </a:moveTo>
                <a:lnTo>
                  <a:pt x="1977" y="11253"/>
                </a:lnTo>
                <a:lnTo>
                  <a:pt x="1968" y="11283"/>
                </a:lnTo>
                <a:lnTo>
                  <a:pt x="1972" y="11312"/>
                </a:lnTo>
                <a:lnTo>
                  <a:pt x="1984" y="11325"/>
                </a:lnTo>
                <a:lnTo>
                  <a:pt x="2051" y="11301"/>
                </a:lnTo>
                <a:lnTo>
                  <a:pt x="2075" y="11258"/>
                </a:lnTo>
                <a:lnTo>
                  <a:pt x="2057" y="11227"/>
                </a:lnTo>
                <a:lnTo>
                  <a:pt x="2000" y="11241"/>
                </a:lnTo>
                <a:close/>
                <a:moveTo>
                  <a:pt x="4889" y="10484"/>
                </a:moveTo>
                <a:lnTo>
                  <a:pt x="4799" y="10505"/>
                </a:lnTo>
                <a:lnTo>
                  <a:pt x="4775" y="10537"/>
                </a:lnTo>
                <a:lnTo>
                  <a:pt x="4809" y="10568"/>
                </a:lnTo>
                <a:lnTo>
                  <a:pt x="4897" y="10589"/>
                </a:lnTo>
                <a:lnTo>
                  <a:pt x="4949" y="10577"/>
                </a:lnTo>
                <a:lnTo>
                  <a:pt x="4973" y="10531"/>
                </a:lnTo>
                <a:lnTo>
                  <a:pt x="4957" y="10488"/>
                </a:lnTo>
                <a:lnTo>
                  <a:pt x="4889" y="10484"/>
                </a:lnTo>
                <a:close/>
                <a:moveTo>
                  <a:pt x="4479" y="9855"/>
                </a:moveTo>
                <a:lnTo>
                  <a:pt x="4484" y="9863"/>
                </a:lnTo>
                <a:lnTo>
                  <a:pt x="4493" y="9865"/>
                </a:lnTo>
                <a:lnTo>
                  <a:pt x="4503" y="9864"/>
                </a:lnTo>
                <a:lnTo>
                  <a:pt x="4510" y="9856"/>
                </a:lnTo>
                <a:lnTo>
                  <a:pt x="4515" y="9845"/>
                </a:lnTo>
                <a:lnTo>
                  <a:pt x="4502" y="9841"/>
                </a:lnTo>
                <a:lnTo>
                  <a:pt x="4486" y="9843"/>
                </a:lnTo>
                <a:lnTo>
                  <a:pt x="4479" y="9855"/>
                </a:lnTo>
                <a:close/>
                <a:moveTo>
                  <a:pt x="4489" y="10094"/>
                </a:moveTo>
                <a:lnTo>
                  <a:pt x="4528" y="10106"/>
                </a:lnTo>
                <a:lnTo>
                  <a:pt x="4543" y="10064"/>
                </a:lnTo>
                <a:lnTo>
                  <a:pt x="4531" y="10028"/>
                </a:lnTo>
                <a:lnTo>
                  <a:pt x="4486" y="10056"/>
                </a:lnTo>
                <a:lnTo>
                  <a:pt x="4475" y="10066"/>
                </a:lnTo>
                <a:lnTo>
                  <a:pt x="4475" y="10074"/>
                </a:lnTo>
                <a:lnTo>
                  <a:pt x="4482" y="10084"/>
                </a:lnTo>
                <a:lnTo>
                  <a:pt x="4489" y="10094"/>
                </a:lnTo>
                <a:close/>
                <a:moveTo>
                  <a:pt x="4509" y="9878"/>
                </a:moveTo>
                <a:lnTo>
                  <a:pt x="4493" y="9879"/>
                </a:lnTo>
                <a:lnTo>
                  <a:pt x="4488" y="9894"/>
                </a:lnTo>
                <a:lnTo>
                  <a:pt x="4492" y="9910"/>
                </a:lnTo>
                <a:lnTo>
                  <a:pt x="4506" y="9911"/>
                </a:lnTo>
                <a:lnTo>
                  <a:pt x="4516" y="9903"/>
                </a:lnTo>
                <a:lnTo>
                  <a:pt x="4520" y="9893"/>
                </a:lnTo>
                <a:lnTo>
                  <a:pt x="4519" y="9883"/>
                </a:lnTo>
                <a:lnTo>
                  <a:pt x="4509" y="9878"/>
                </a:lnTo>
                <a:close/>
                <a:moveTo>
                  <a:pt x="4565" y="8142"/>
                </a:moveTo>
                <a:lnTo>
                  <a:pt x="4533" y="8153"/>
                </a:lnTo>
                <a:lnTo>
                  <a:pt x="4509" y="8181"/>
                </a:lnTo>
                <a:lnTo>
                  <a:pt x="4495" y="8217"/>
                </a:lnTo>
                <a:lnTo>
                  <a:pt x="4496" y="8250"/>
                </a:lnTo>
                <a:lnTo>
                  <a:pt x="4530" y="8249"/>
                </a:lnTo>
                <a:lnTo>
                  <a:pt x="4571" y="8214"/>
                </a:lnTo>
                <a:lnTo>
                  <a:pt x="4591" y="8171"/>
                </a:lnTo>
                <a:lnTo>
                  <a:pt x="4565" y="8142"/>
                </a:lnTo>
                <a:close/>
                <a:moveTo>
                  <a:pt x="4967" y="10737"/>
                </a:moveTo>
                <a:lnTo>
                  <a:pt x="4889" y="10624"/>
                </a:lnTo>
                <a:lnTo>
                  <a:pt x="4777" y="10638"/>
                </a:lnTo>
                <a:lnTo>
                  <a:pt x="4728" y="10719"/>
                </a:lnTo>
                <a:lnTo>
                  <a:pt x="4838" y="10812"/>
                </a:lnTo>
                <a:lnTo>
                  <a:pt x="4879" y="10826"/>
                </a:lnTo>
                <a:lnTo>
                  <a:pt x="4894" y="10815"/>
                </a:lnTo>
                <a:lnTo>
                  <a:pt x="4902" y="10789"/>
                </a:lnTo>
                <a:lnTo>
                  <a:pt x="4921" y="10760"/>
                </a:lnTo>
                <a:lnTo>
                  <a:pt x="4940" y="10820"/>
                </a:lnTo>
                <a:lnTo>
                  <a:pt x="4986" y="10806"/>
                </a:lnTo>
                <a:lnTo>
                  <a:pt x="5012" y="10763"/>
                </a:lnTo>
                <a:lnTo>
                  <a:pt x="4967" y="10737"/>
                </a:lnTo>
                <a:close/>
                <a:moveTo>
                  <a:pt x="4621" y="10416"/>
                </a:moveTo>
                <a:lnTo>
                  <a:pt x="4635" y="10411"/>
                </a:lnTo>
                <a:lnTo>
                  <a:pt x="4652" y="10411"/>
                </a:lnTo>
                <a:lnTo>
                  <a:pt x="4668" y="10416"/>
                </a:lnTo>
                <a:lnTo>
                  <a:pt x="4672" y="10429"/>
                </a:lnTo>
                <a:lnTo>
                  <a:pt x="4658" y="10434"/>
                </a:lnTo>
                <a:lnTo>
                  <a:pt x="4636" y="10432"/>
                </a:lnTo>
                <a:lnTo>
                  <a:pt x="4619" y="10424"/>
                </a:lnTo>
                <a:lnTo>
                  <a:pt x="4621" y="10416"/>
                </a:lnTo>
                <a:close/>
                <a:moveTo>
                  <a:pt x="4428" y="10364"/>
                </a:moveTo>
                <a:lnTo>
                  <a:pt x="4375" y="10488"/>
                </a:lnTo>
                <a:lnTo>
                  <a:pt x="4582" y="10523"/>
                </a:lnTo>
                <a:lnTo>
                  <a:pt x="4837" y="10460"/>
                </a:lnTo>
                <a:lnTo>
                  <a:pt x="4926" y="10286"/>
                </a:lnTo>
                <a:lnTo>
                  <a:pt x="4831" y="10244"/>
                </a:lnTo>
                <a:lnTo>
                  <a:pt x="4711" y="10264"/>
                </a:lnTo>
                <a:lnTo>
                  <a:pt x="4614" y="10325"/>
                </a:lnTo>
                <a:lnTo>
                  <a:pt x="4585" y="10414"/>
                </a:lnTo>
                <a:lnTo>
                  <a:pt x="4575" y="10432"/>
                </a:lnTo>
                <a:lnTo>
                  <a:pt x="4533" y="10410"/>
                </a:lnTo>
                <a:lnTo>
                  <a:pt x="4479" y="10378"/>
                </a:lnTo>
                <a:lnTo>
                  <a:pt x="4428" y="10364"/>
                </a:lnTo>
                <a:close/>
                <a:moveTo>
                  <a:pt x="5149" y="10243"/>
                </a:moveTo>
                <a:lnTo>
                  <a:pt x="5094" y="10223"/>
                </a:lnTo>
                <a:lnTo>
                  <a:pt x="5027" y="10242"/>
                </a:lnTo>
                <a:lnTo>
                  <a:pt x="4972" y="10285"/>
                </a:lnTo>
                <a:lnTo>
                  <a:pt x="4962" y="10340"/>
                </a:lnTo>
                <a:lnTo>
                  <a:pt x="5022" y="10435"/>
                </a:lnTo>
                <a:lnTo>
                  <a:pt x="5116" y="10421"/>
                </a:lnTo>
                <a:lnTo>
                  <a:pt x="5180" y="10341"/>
                </a:lnTo>
                <a:lnTo>
                  <a:pt x="5149" y="10243"/>
                </a:lnTo>
                <a:close/>
                <a:moveTo>
                  <a:pt x="4875" y="11687"/>
                </a:moveTo>
                <a:lnTo>
                  <a:pt x="4998" y="11786"/>
                </a:lnTo>
                <a:lnTo>
                  <a:pt x="5107" y="11710"/>
                </a:lnTo>
                <a:lnTo>
                  <a:pt x="5125" y="11592"/>
                </a:lnTo>
                <a:lnTo>
                  <a:pt x="4976" y="11566"/>
                </a:lnTo>
                <a:lnTo>
                  <a:pt x="4929" y="11614"/>
                </a:lnTo>
                <a:lnTo>
                  <a:pt x="4887" y="11646"/>
                </a:lnTo>
                <a:lnTo>
                  <a:pt x="4863" y="11668"/>
                </a:lnTo>
                <a:lnTo>
                  <a:pt x="4875" y="11687"/>
                </a:lnTo>
                <a:close/>
                <a:moveTo>
                  <a:pt x="3569" y="7307"/>
                </a:moveTo>
                <a:lnTo>
                  <a:pt x="3555" y="7215"/>
                </a:lnTo>
                <a:lnTo>
                  <a:pt x="3490" y="7197"/>
                </a:lnTo>
                <a:lnTo>
                  <a:pt x="3436" y="7240"/>
                </a:lnTo>
                <a:lnTo>
                  <a:pt x="3458" y="7331"/>
                </a:lnTo>
                <a:lnTo>
                  <a:pt x="3486" y="7333"/>
                </a:lnTo>
                <a:lnTo>
                  <a:pt x="3516" y="7329"/>
                </a:lnTo>
                <a:lnTo>
                  <a:pt x="3545" y="7321"/>
                </a:lnTo>
                <a:lnTo>
                  <a:pt x="3569" y="7307"/>
                </a:lnTo>
                <a:close/>
                <a:moveTo>
                  <a:pt x="4505" y="8605"/>
                </a:moveTo>
                <a:lnTo>
                  <a:pt x="4465" y="8530"/>
                </a:lnTo>
                <a:lnTo>
                  <a:pt x="4384" y="8539"/>
                </a:lnTo>
                <a:lnTo>
                  <a:pt x="4301" y="8597"/>
                </a:lnTo>
                <a:lnTo>
                  <a:pt x="4261" y="8674"/>
                </a:lnTo>
                <a:lnTo>
                  <a:pt x="4349" y="8750"/>
                </a:lnTo>
                <a:lnTo>
                  <a:pt x="4484" y="8788"/>
                </a:lnTo>
                <a:lnTo>
                  <a:pt x="4568" y="8751"/>
                </a:lnTo>
                <a:lnTo>
                  <a:pt x="4505" y="8605"/>
                </a:lnTo>
                <a:close/>
                <a:moveTo>
                  <a:pt x="2797" y="8461"/>
                </a:moveTo>
                <a:lnTo>
                  <a:pt x="2820" y="8417"/>
                </a:lnTo>
                <a:lnTo>
                  <a:pt x="2802" y="8369"/>
                </a:lnTo>
                <a:lnTo>
                  <a:pt x="2763" y="8343"/>
                </a:lnTo>
                <a:lnTo>
                  <a:pt x="2722" y="8353"/>
                </a:lnTo>
                <a:lnTo>
                  <a:pt x="2722" y="8403"/>
                </a:lnTo>
                <a:lnTo>
                  <a:pt x="2737" y="8443"/>
                </a:lnTo>
                <a:lnTo>
                  <a:pt x="2763" y="8466"/>
                </a:lnTo>
                <a:lnTo>
                  <a:pt x="2797" y="8461"/>
                </a:lnTo>
                <a:close/>
                <a:moveTo>
                  <a:pt x="2717" y="9838"/>
                </a:moveTo>
                <a:lnTo>
                  <a:pt x="2666" y="9857"/>
                </a:lnTo>
                <a:lnTo>
                  <a:pt x="2628" y="9888"/>
                </a:lnTo>
                <a:lnTo>
                  <a:pt x="2611" y="9920"/>
                </a:lnTo>
                <a:lnTo>
                  <a:pt x="2626" y="9944"/>
                </a:lnTo>
                <a:lnTo>
                  <a:pt x="2676" y="9948"/>
                </a:lnTo>
                <a:lnTo>
                  <a:pt x="2719" y="9915"/>
                </a:lnTo>
                <a:lnTo>
                  <a:pt x="2738" y="9870"/>
                </a:lnTo>
                <a:lnTo>
                  <a:pt x="2717" y="9838"/>
                </a:lnTo>
                <a:close/>
                <a:moveTo>
                  <a:pt x="3306" y="7907"/>
                </a:moveTo>
                <a:lnTo>
                  <a:pt x="3267" y="7892"/>
                </a:lnTo>
                <a:lnTo>
                  <a:pt x="3227" y="7902"/>
                </a:lnTo>
                <a:lnTo>
                  <a:pt x="3198" y="7911"/>
                </a:lnTo>
                <a:lnTo>
                  <a:pt x="3184" y="7890"/>
                </a:lnTo>
                <a:lnTo>
                  <a:pt x="3137" y="7856"/>
                </a:lnTo>
                <a:lnTo>
                  <a:pt x="3100" y="7912"/>
                </a:lnTo>
                <a:lnTo>
                  <a:pt x="3105" y="7971"/>
                </a:lnTo>
                <a:lnTo>
                  <a:pt x="3182" y="7943"/>
                </a:lnTo>
                <a:lnTo>
                  <a:pt x="3148" y="8019"/>
                </a:lnTo>
                <a:lnTo>
                  <a:pt x="3166" y="8075"/>
                </a:lnTo>
                <a:lnTo>
                  <a:pt x="3208" y="8080"/>
                </a:lnTo>
                <a:lnTo>
                  <a:pt x="3247" y="8007"/>
                </a:lnTo>
                <a:lnTo>
                  <a:pt x="3328" y="8019"/>
                </a:lnTo>
                <a:lnTo>
                  <a:pt x="3403" y="8000"/>
                </a:lnTo>
                <a:lnTo>
                  <a:pt x="3435" y="7952"/>
                </a:lnTo>
                <a:lnTo>
                  <a:pt x="3387" y="7876"/>
                </a:lnTo>
                <a:lnTo>
                  <a:pt x="3480" y="7827"/>
                </a:lnTo>
                <a:lnTo>
                  <a:pt x="3542" y="7845"/>
                </a:lnTo>
                <a:lnTo>
                  <a:pt x="3569" y="7906"/>
                </a:lnTo>
                <a:lnTo>
                  <a:pt x="3557" y="7988"/>
                </a:lnTo>
                <a:lnTo>
                  <a:pt x="3575" y="8035"/>
                </a:lnTo>
                <a:lnTo>
                  <a:pt x="3616" y="8028"/>
                </a:lnTo>
                <a:lnTo>
                  <a:pt x="3664" y="8012"/>
                </a:lnTo>
                <a:lnTo>
                  <a:pt x="3706" y="8030"/>
                </a:lnTo>
                <a:lnTo>
                  <a:pt x="3637" y="8201"/>
                </a:lnTo>
                <a:lnTo>
                  <a:pt x="3678" y="8279"/>
                </a:lnTo>
                <a:lnTo>
                  <a:pt x="3751" y="8269"/>
                </a:lnTo>
                <a:lnTo>
                  <a:pt x="3774" y="8179"/>
                </a:lnTo>
                <a:lnTo>
                  <a:pt x="3872" y="8049"/>
                </a:lnTo>
                <a:lnTo>
                  <a:pt x="3821" y="7984"/>
                </a:lnTo>
                <a:lnTo>
                  <a:pt x="3706" y="7886"/>
                </a:lnTo>
                <a:lnTo>
                  <a:pt x="3615" y="7657"/>
                </a:lnTo>
                <a:lnTo>
                  <a:pt x="3713" y="7640"/>
                </a:lnTo>
                <a:lnTo>
                  <a:pt x="3722" y="7611"/>
                </a:lnTo>
                <a:lnTo>
                  <a:pt x="3679" y="7571"/>
                </a:lnTo>
                <a:lnTo>
                  <a:pt x="3626" y="7527"/>
                </a:lnTo>
                <a:lnTo>
                  <a:pt x="3574" y="7421"/>
                </a:lnTo>
                <a:lnTo>
                  <a:pt x="3468" y="7463"/>
                </a:lnTo>
                <a:lnTo>
                  <a:pt x="3421" y="7536"/>
                </a:lnTo>
                <a:lnTo>
                  <a:pt x="3541" y="7523"/>
                </a:lnTo>
                <a:lnTo>
                  <a:pt x="3496" y="7556"/>
                </a:lnTo>
                <a:lnTo>
                  <a:pt x="3487" y="7596"/>
                </a:lnTo>
                <a:lnTo>
                  <a:pt x="3506" y="7632"/>
                </a:lnTo>
                <a:lnTo>
                  <a:pt x="3542" y="7655"/>
                </a:lnTo>
                <a:lnTo>
                  <a:pt x="3434" y="7687"/>
                </a:lnTo>
                <a:lnTo>
                  <a:pt x="3364" y="7744"/>
                </a:lnTo>
                <a:lnTo>
                  <a:pt x="3324" y="7821"/>
                </a:lnTo>
                <a:lnTo>
                  <a:pt x="3306" y="7907"/>
                </a:lnTo>
                <a:close/>
                <a:moveTo>
                  <a:pt x="1772" y="6458"/>
                </a:moveTo>
                <a:lnTo>
                  <a:pt x="1730" y="6432"/>
                </a:lnTo>
                <a:lnTo>
                  <a:pt x="1688" y="6452"/>
                </a:lnTo>
                <a:lnTo>
                  <a:pt x="1662" y="6493"/>
                </a:lnTo>
                <a:lnTo>
                  <a:pt x="1672" y="6534"/>
                </a:lnTo>
                <a:lnTo>
                  <a:pt x="1717" y="6536"/>
                </a:lnTo>
                <a:lnTo>
                  <a:pt x="1755" y="6520"/>
                </a:lnTo>
                <a:lnTo>
                  <a:pt x="1777" y="6493"/>
                </a:lnTo>
                <a:lnTo>
                  <a:pt x="1772" y="6458"/>
                </a:lnTo>
                <a:close/>
                <a:moveTo>
                  <a:pt x="2797" y="11708"/>
                </a:moveTo>
                <a:lnTo>
                  <a:pt x="2859" y="11673"/>
                </a:lnTo>
                <a:lnTo>
                  <a:pt x="2875" y="11632"/>
                </a:lnTo>
                <a:lnTo>
                  <a:pt x="2850" y="11612"/>
                </a:lnTo>
                <a:lnTo>
                  <a:pt x="2798" y="11634"/>
                </a:lnTo>
                <a:lnTo>
                  <a:pt x="2778" y="11648"/>
                </a:lnTo>
                <a:lnTo>
                  <a:pt x="2774" y="11676"/>
                </a:lnTo>
                <a:lnTo>
                  <a:pt x="2782" y="11701"/>
                </a:lnTo>
                <a:lnTo>
                  <a:pt x="2797" y="11708"/>
                </a:lnTo>
                <a:close/>
                <a:moveTo>
                  <a:pt x="2898" y="9828"/>
                </a:moveTo>
                <a:lnTo>
                  <a:pt x="2859" y="9824"/>
                </a:lnTo>
                <a:lnTo>
                  <a:pt x="2821" y="9836"/>
                </a:lnTo>
                <a:lnTo>
                  <a:pt x="2798" y="9860"/>
                </a:lnTo>
                <a:lnTo>
                  <a:pt x="2805" y="9891"/>
                </a:lnTo>
                <a:lnTo>
                  <a:pt x="2836" y="9922"/>
                </a:lnTo>
                <a:lnTo>
                  <a:pt x="2889" y="9901"/>
                </a:lnTo>
                <a:lnTo>
                  <a:pt x="2922" y="9860"/>
                </a:lnTo>
                <a:lnTo>
                  <a:pt x="2898" y="9828"/>
                </a:lnTo>
                <a:close/>
                <a:moveTo>
                  <a:pt x="2878" y="12926"/>
                </a:moveTo>
                <a:lnTo>
                  <a:pt x="2839" y="12932"/>
                </a:lnTo>
                <a:lnTo>
                  <a:pt x="2800" y="12953"/>
                </a:lnTo>
                <a:lnTo>
                  <a:pt x="2775" y="12984"/>
                </a:lnTo>
                <a:lnTo>
                  <a:pt x="2780" y="13017"/>
                </a:lnTo>
                <a:lnTo>
                  <a:pt x="2815" y="13041"/>
                </a:lnTo>
                <a:lnTo>
                  <a:pt x="2870" y="13005"/>
                </a:lnTo>
                <a:lnTo>
                  <a:pt x="2903" y="12952"/>
                </a:lnTo>
                <a:lnTo>
                  <a:pt x="2878" y="12926"/>
                </a:lnTo>
                <a:close/>
                <a:moveTo>
                  <a:pt x="3543" y="9887"/>
                </a:moveTo>
                <a:lnTo>
                  <a:pt x="3567" y="9888"/>
                </a:lnTo>
                <a:lnTo>
                  <a:pt x="3598" y="9868"/>
                </a:lnTo>
                <a:lnTo>
                  <a:pt x="3621" y="9840"/>
                </a:lnTo>
                <a:lnTo>
                  <a:pt x="3622" y="9822"/>
                </a:lnTo>
                <a:lnTo>
                  <a:pt x="3561" y="9807"/>
                </a:lnTo>
                <a:lnTo>
                  <a:pt x="3509" y="9829"/>
                </a:lnTo>
                <a:lnTo>
                  <a:pt x="3494" y="9865"/>
                </a:lnTo>
                <a:lnTo>
                  <a:pt x="3543" y="9887"/>
                </a:lnTo>
                <a:close/>
                <a:moveTo>
                  <a:pt x="3300" y="12011"/>
                </a:moveTo>
                <a:lnTo>
                  <a:pt x="3178" y="12104"/>
                </a:lnTo>
                <a:lnTo>
                  <a:pt x="3201" y="12127"/>
                </a:lnTo>
                <a:lnTo>
                  <a:pt x="3299" y="12114"/>
                </a:lnTo>
                <a:lnTo>
                  <a:pt x="3406" y="12102"/>
                </a:lnTo>
                <a:lnTo>
                  <a:pt x="3473" y="12052"/>
                </a:lnTo>
                <a:lnTo>
                  <a:pt x="3459" y="11996"/>
                </a:lnTo>
                <a:lnTo>
                  <a:pt x="3390" y="11971"/>
                </a:lnTo>
                <a:lnTo>
                  <a:pt x="3300" y="12011"/>
                </a:lnTo>
                <a:close/>
                <a:moveTo>
                  <a:pt x="3571" y="8931"/>
                </a:moveTo>
                <a:lnTo>
                  <a:pt x="3625" y="8924"/>
                </a:lnTo>
                <a:lnTo>
                  <a:pt x="3646" y="8886"/>
                </a:lnTo>
                <a:lnTo>
                  <a:pt x="3631" y="8858"/>
                </a:lnTo>
                <a:lnTo>
                  <a:pt x="3575" y="8880"/>
                </a:lnTo>
                <a:lnTo>
                  <a:pt x="3502" y="8849"/>
                </a:lnTo>
                <a:lnTo>
                  <a:pt x="3474" y="8902"/>
                </a:lnTo>
                <a:lnTo>
                  <a:pt x="3495" y="8956"/>
                </a:lnTo>
                <a:lnTo>
                  <a:pt x="3571" y="8931"/>
                </a:lnTo>
                <a:close/>
                <a:moveTo>
                  <a:pt x="3460" y="10322"/>
                </a:moveTo>
                <a:lnTo>
                  <a:pt x="3438" y="10332"/>
                </a:lnTo>
                <a:lnTo>
                  <a:pt x="3432" y="10351"/>
                </a:lnTo>
                <a:lnTo>
                  <a:pt x="3444" y="10367"/>
                </a:lnTo>
                <a:lnTo>
                  <a:pt x="3469" y="10367"/>
                </a:lnTo>
                <a:lnTo>
                  <a:pt x="3474" y="10351"/>
                </a:lnTo>
                <a:lnTo>
                  <a:pt x="3474" y="10342"/>
                </a:lnTo>
                <a:lnTo>
                  <a:pt x="3471" y="10332"/>
                </a:lnTo>
                <a:lnTo>
                  <a:pt x="3460" y="10322"/>
                </a:lnTo>
                <a:close/>
                <a:moveTo>
                  <a:pt x="3261" y="10782"/>
                </a:moveTo>
                <a:lnTo>
                  <a:pt x="3162" y="10752"/>
                </a:lnTo>
                <a:lnTo>
                  <a:pt x="3033" y="10803"/>
                </a:lnTo>
                <a:lnTo>
                  <a:pt x="2964" y="10869"/>
                </a:lnTo>
                <a:lnTo>
                  <a:pt x="3053" y="10889"/>
                </a:lnTo>
                <a:lnTo>
                  <a:pt x="3124" y="10873"/>
                </a:lnTo>
                <a:lnTo>
                  <a:pt x="3193" y="10881"/>
                </a:lnTo>
                <a:lnTo>
                  <a:pt x="3245" y="10864"/>
                </a:lnTo>
                <a:lnTo>
                  <a:pt x="3261" y="10782"/>
                </a:lnTo>
                <a:close/>
                <a:moveTo>
                  <a:pt x="2970" y="7510"/>
                </a:moveTo>
                <a:lnTo>
                  <a:pt x="2932" y="7522"/>
                </a:lnTo>
                <a:lnTo>
                  <a:pt x="2901" y="7555"/>
                </a:lnTo>
                <a:lnTo>
                  <a:pt x="2884" y="7596"/>
                </a:lnTo>
                <a:lnTo>
                  <a:pt x="2882" y="7634"/>
                </a:lnTo>
                <a:lnTo>
                  <a:pt x="2920" y="7636"/>
                </a:lnTo>
                <a:lnTo>
                  <a:pt x="2973" y="7597"/>
                </a:lnTo>
                <a:lnTo>
                  <a:pt x="3001" y="7543"/>
                </a:lnTo>
                <a:lnTo>
                  <a:pt x="2970" y="7510"/>
                </a:lnTo>
                <a:close/>
                <a:moveTo>
                  <a:pt x="4832" y="12596"/>
                </a:moveTo>
                <a:lnTo>
                  <a:pt x="4818" y="12555"/>
                </a:lnTo>
                <a:lnTo>
                  <a:pt x="4766" y="12532"/>
                </a:lnTo>
                <a:lnTo>
                  <a:pt x="4724" y="12533"/>
                </a:lnTo>
                <a:lnTo>
                  <a:pt x="4742" y="12566"/>
                </a:lnTo>
                <a:lnTo>
                  <a:pt x="4765" y="12585"/>
                </a:lnTo>
                <a:lnTo>
                  <a:pt x="4781" y="12608"/>
                </a:lnTo>
                <a:lnTo>
                  <a:pt x="4799" y="12618"/>
                </a:lnTo>
                <a:lnTo>
                  <a:pt x="4832" y="12596"/>
                </a:lnTo>
                <a:close/>
                <a:moveTo>
                  <a:pt x="3090" y="6664"/>
                </a:moveTo>
                <a:lnTo>
                  <a:pt x="3038" y="6671"/>
                </a:lnTo>
                <a:lnTo>
                  <a:pt x="3020" y="6706"/>
                </a:lnTo>
                <a:lnTo>
                  <a:pt x="3036" y="6743"/>
                </a:lnTo>
                <a:lnTo>
                  <a:pt x="3087" y="6759"/>
                </a:lnTo>
                <a:lnTo>
                  <a:pt x="3176" y="6754"/>
                </a:lnTo>
                <a:lnTo>
                  <a:pt x="3212" y="6702"/>
                </a:lnTo>
                <a:lnTo>
                  <a:pt x="3185" y="6655"/>
                </a:lnTo>
                <a:lnTo>
                  <a:pt x="3090" y="6664"/>
                </a:lnTo>
                <a:close/>
                <a:moveTo>
                  <a:pt x="3226" y="7704"/>
                </a:moveTo>
                <a:lnTo>
                  <a:pt x="3275" y="7705"/>
                </a:lnTo>
                <a:lnTo>
                  <a:pt x="3306" y="7681"/>
                </a:lnTo>
                <a:lnTo>
                  <a:pt x="3317" y="7640"/>
                </a:lnTo>
                <a:lnTo>
                  <a:pt x="3295" y="7597"/>
                </a:lnTo>
                <a:lnTo>
                  <a:pt x="3247" y="7596"/>
                </a:lnTo>
                <a:lnTo>
                  <a:pt x="3215" y="7620"/>
                </a:lnTo>
                <a:lnTo>
                  <a:pt x="3204" y="7660"/>
                </a:lnTo>
                <a:lnTo>
                  <a:pt x="3226" y="7704"/>
                </a:lnTo>
                <a:close/>
                <a:moveTo>
                  <a:pt x="2985" y="8045"/>
                </a:moveTo>
                <a:lnTo>
                  <a:pt x="3008" y="8056"/>
                </a:lnTo>
                <a:lnTo>
                  <a:pt x="3024" y="8056"/>
                </a:lnTo>
                <a:lnTo>
                  <a:pt x="3036" y="8047"/>
                </a:lnTo>
                <a:lnTo>
                  <a:pt x="3052" y="8031"/>
                </a:lnTo>
                <a:lnTo>
                  <a:pt x="3036" y="8002"/>
                </a:lnTo>
                <a:lnTo>
                  <a:pt x="3011" y="7996"/>
                </a:lnTo>
                <a:lnTo>
                  <a:pt x="2989" y="8012"/>
                </a:lnTo>
                <a:lnTo>
                  <a:pt x="2985" y="8045"/>
                </a:lnTo>
                <a:close/>
                <a:moveTo>
                  <a:pt x="2920" y="7734"/>
                </a:moveTo>
                <a:lnTo>
                  <a:pt x="2943" y="7746"/>
                </a:lnTo>
                <a:lnTo>
                  <a:pt x="2959" y="7746"/>
                </a:lnTo>
                <a:lnTo>
                  <a:pt x="2971" y="7737"/>
                </a:lnTo>
                <a:lnTo>
                  <a:pt x="2987" y="7719"/>
                </a:lnTo>
                <a:lnTo>
                  <a:pt x="2971" y="7691"/>
                </a:lnTo>
                <a:lnTo>
                  <a:pt x="2946" y="7686"/>
                </a:lnTo>
                <a:lnTo>
                  <a:pt x="2924" y="7701"/>
                </a:lnTo>
                <a:lnTo>
                  <a:pt x="2920" y="7734"/>
                </a:lnTo>
                <a:close/>
                <a:moveTo>
                  <a:pt x="2836" y="9597"/>
                </a:moveTo>
                <a:lnTo>
                  <a:pt x="2875" y="9603"/>
                </a:lnTo>
                <a:lnTo>
                  <a:pt x="2906" y="9579"/>
                </a:lnTo>
                <a:lnTo>
                  <a:pt x="2922" y="9544"/>
                </a:lnTo>
                <a:lnTo>
                  <a:pt x="2906" y="9518"/>
                </a:lnTo>
                <a:lnTo>
                  <a:pt x="2868" y="9529"/>
                </a:lnTo>
                <a:lnTo>
                  <a:pt x="2839" y="9549"/>
                </a:lnTo>
                <a:lnTo>
                  <a:pt x="2826" y="9574"/>
                </a:lnTo>
                <a:lnTo>
                  <a:pt x="2836" y="9597"/>
                </a:lnTo>
                <a:close/>
                <a:moveTo>
                  <a:pt x="2870" y="9427"/>
                </a:moveTo>
                <a:lnTo>
                  <a:pt x="2920" y="9445"/>
                </a:lnTo>
                <a:lnTo>
                  <a:pt x="2968" y="9427"/>
                </a:lnTo>
                <a:lnTo>
                  <a:pt x="2984" y="9397"/>
                </a:lnTo>
                <a:lnTo>
                  <a:pt x="2943" y="9375"/>
                </a:lnTo>
                <a:lnTo>
                  <a:pt x="2922" y="9371"/>
                </a:lnTo>
                <a:lnTo>
                  <a:pt x="2894" y="9388"/>
                </a:lnTo>
                <a:lnTo>
                  <a:pt x="2872" y="9411"/>
                </a:lnTo>
                <a:lnTo>
                  <a:pt x="2870" y="9427"/>
                </a:lnTo>
                <a:close/>
                <a:moveTo>
                  <a:pt x="3817" y="12251"/>
                </a:moveTo>
                <a:lnTo>
                  <a:pt x="3840" y="12262"/>
                </a:lnTo>
                <a:lnTo>
                  <a:pt x="3855" y="12262"/>
                </a:lnTo>
                <a:lnTo>
                  <a:pt x="3868" y="12253"/>
                </a:lnTo>
                <a:lnTo>
                  <a:pt x="3883" y="12237"/>
                </a:lnTo>
                <a:lnTo>
                  <a:pt x="3868" y="12207"/>
                </a:lnTo>
                <a:lnTo>
                  <a:pt x="3843" y="12202"/>
                </a:lnTo>
                <a:lnTo>
                  <a:pt x="3821" y="12217"/>
                </a:lnTo>
                <a:lnTo>
                  <a:pt x="3817" y="12251"/>
                </a:lnTo>
                <a:close/>
                <a:moveTo>
                  <a:pt x="4130" y="13572"/>
                </a:moveTo>
                <a:lnTo>
                  <a:pt x="4123" y="13557"/>
                </a:lnTo>
                <a:lnTo>
                  <a:pt x="4109" y="13554"/>
                </a:lnTo>
                <a:lnTo>
                  <a:pt x="4090" y="13559"/>
                </a:lnTo>
                <a:lnTo>
                  <a:pt x="4067" y="13568"/>
                </a:lnTo>
                <a:lnTo>
                  <a:pt x="4021" y="13616"/>
                </a:lnTo>
                <a:lnTo>
                  <a:pt x="4077" y="13647"/>
                </a:lnTo>
                <a:lnTo>
                  <a:pt x="4143" y="13641"/>
                </a:lnTo>
                <a:lnTo>
                  <a:pt x="4130" y="13572"/>
                </a:lnTo>
                <a:close/>
                <a:moveTo>
                  <a:pt x="4036" y="13189"/>
                </a:moveTo>
                <a:lnTo>
                  <a:pt x="4059" y="13179"/>
                </a:lnTo>
                <a:lnTo>
                  <a:pt x="4064" y="13159"/>
                </a:lnTo>
                <a:lnTo>
                  <a:pt x="4053" y="13144"/>
                </a:lnTo>
                <a:lnTo>
                  <a:pt x="4027" y="13144"/>
                </a:lnTo>
                <a:lnTo>
                  <a:pt x="4022" y="13158"/>
                </a:lnTo>
                <a:lnTo>
                  <a:pt x="4022" y="13168"/>
                </a:lnTo>
                <a:lnTo>
                  <a:pt x="4026" y="13177"/>
                </a:lnTo>
                <a:lnTo>
                  <a:pt x="4036" y="13189"/>
                </a:lnTo>
                <a:close/>
                <a:moveTo>
                  <a:pt x="4275" y="12454"/>
                </a:moveTo>
                <a:lnTo>
                  <a:pt x="4244" y="12426"/>
                </a:lnTo>
                <a:lnTo>
                  <a:pt x="4203" y="12428"/>
                </a:lnTo>
                <a:lnTo>
                  <a:pt x="4172" y="12453"/>
                </a:lnTo>
                <a:lnTo>
                  <a:pt x="4170" y="12500"/>
                </a:lnTo>
                <a:lnTo>
                  <a:pt x="4200" y="12528"/>
                </a:lnTo>
                <a:lnTo>
                  <a:pt x="4241" y="12528"/>
                </a:lnTo>
                <a:lnTo>
                  <a:pt x="4272" y="12503"/>
                </a:lnTo>
                <a:lnTo>
                  <a:pt x="4275" y="12454"/>
                </a:lnTo>
                <a:close/>
                <a:moveTo>
                  <a:pt x="3543" y="10663"/>
                </a:moveTo>
                <a:lnTo>
                  <a:pt x="3533" y="10640"/>
                </a:lnTo>
                <a:lnTo>
                  <a:pt x="3514" y="10637"/>
                </a:lnTo>
                <a:lnTo>
                  <a:pt x="3499" y="10648"/>
                </a:lnTo>
                <a:lnTo>
                  <a:pt x="3499" y="10673"/>
                </a:lnTo>
                <a:lnTo>
                  <a:pt x="3513" y="10677"/>
                </a:lnTo>
                <a:lnTo>
                  <a:pt x="3523" y="10679"/>
                </a:lnTo>
                <a:lnTo>
                  <a:pt x="3532" y="10673"/>
                </a:lnTo>
                <a:lnTo>
                  <a:pt x="3543" y="10663"/>
                </a:lnTo>
                <a:close/>
                <a:moveTo>
                  <a:pt x="4636" y="13695"/>
                </a:moveTo>
                <a:lnTo>
                  <a:pt x="4603" y="13693"/>
                </a:lnTo>
                <a:lnTo>
                  <a:pt x="4568" y="13704"/>
                </a:lnTo>
                <a:lnTo>
                  <a:pt x="4540" y="13726"/>
                </a:lnTo>
                <a:lnTo>
                  <a:pt x="4525" y="13753"/>
                </a:lnTo>
                <a:lnTo>
                  <a:pt x="4554" y="13765"/>
                </a:lnTo>
                <a:lnTo>
                  <a:pt x="4607" y="13754"/>
                </a:lnTo>
                <a:lnTo>
                  <a:pt x="4646" y="13728"/>
                </a:lnTo>
                <a:lnTo>
                  <a:pt x="4636" y="13695"/>
                </a:lnTo>
                <a:close/>
                <a:moveTo>
                  <a:pt x="4514" y="14659"/>
                </a:moveTo>
                <a:lnTo>
                  <a:pt x="4492" y="14658"/>
                </a:lnTo>
                <a:lnTo>
                  <a:pt x="4487" y="14678"/>
                </a:lnTo>
                <a:lnTo>
                  <a:pt x="4497" y="14700"/>
                </a:lnTo>
                <a:lnTo>
                  <a:pt x="4519" y="14703"/>
                </a:lnTo>
                <a:lnTo>
                  <a:pt x="4531" y="14692"/>
                </a:lnTo>
                <a:lnTo>
                  <a:pt x="4535" y="14678"/>
                </a:lnTo>
                <a:lnTo>
                  <a:pt x="4529" y="14665"/>
                </a:lnTo>
                <a:lnTo>
                  <a:pt x="4514" y="14659"/>
                </a:lnTo>
                <a:close/>
                <a:moveTo>
                  <a:pt x="4382" y="13432"/>
                </a:moveTo>
                <a:lnTo>
                  <a:pt x="4342" y="13503"/>
                </a:lnTo>
                <a:lnTo>
                  <a:pt x="4366" y="13578"/>
                </a:lnTo>
                <a:lnTo>
                  <a:pt x="4432" y="13622"/>
                </a:lnTo>
                <a:lnTo>
                  <a:pt x="4520" y="13594"/>
                </a:lnTo>
                <a:lnTo>
                  <a:pt x="4558" y="13525"/>
                </a:lnTo>
                <a:lnTo>
                  <a:pt x="4535" y="13451"/>
                </a:lnTo>
                <a:lnTo>
                  <a:pt x="4470" y="13408"/>
                </a:lnTo>
                <a:lnTo>
                  <a:pt x="4382" y="13432"/>
                </a:lnTo>
                <a:close/>
                <a:moveTo>
                  <a:pt x="4060" y="11480"/>
                </a:moveTo>
                <a:lnTo>
                  <a:pt x="4012" y="11479"/>
                </a:lnTo>
                <a:lnTo>
                  <a:pt x="3979" y="11505"/>
                </a:lnTo>
                <a:lnTo>
                  <a:pt x="3969" y="11544"/>
                </a:lnTo>
                <a:lnTo>
                  <a:pt x="3990" y="11589"/>
                </a:lnTo>
                <a:lnTo>
                  <a:pt x="4039" y="11590"/>
                </a:lnTo>
                <a:lnTo>
                  <a:pt x="4070" y="11564"/>
                </a:lnTo>
                <a:lnTo>
                  <a:pt x="4081" y="11525"/>
                </a:lnTo>
                <a:lnTo>
                  <a:pt x="4060" y="11480"/>
                </a:lnTo>
                <a:close/>
                <a:moveTo>
                  <a:pt x="4231" y="14808"/>
                </a:moveTo>
                <a:lnTo>
                  <a:pt x="4273" y="14888"/>
                </a:lnTo>
                <a:lnTo>
                  <a:pt x="4347" y="14903"/>
                </a:lnTo>
                <a:lnTo>
                  <a:pt x="4416" y="14868"/>
                </a:lnTo>
                <a:lnTo>
                  <a:pt x="4446" y="14793"/>
                </a:lnTo>
                <a:lnTo>
                  <a:pt x="4410" y="14710"/>
                </a:lnTo>
                <a:lnTo>
                  <a:pt x="4332" y="14691"/>
                </a:lnTo>
                <a:lnTo>
                  <a:pt x="4256" y="14725"/>
                </a:lnTo>
                <a:lnTo>
                  <a:pt x="4231" y="14808"/>
                </a:lnTo>
                <a:close/>
                <a:moveTo>
                  <a:pt x="3611" y="10985"/>
                </a:moveTo>
                <a:lnTo>
                  <a:pt x="3607" y="10960"/>
                </a:lnTo>
                <a:lnTo>
                  <a:pt x="3597" y="10947"/>
                </a:lnTo>
                <a:lnTo>
                  <a:pt x="3581" y="10943"/>
                </a:lnTo>
                <a:lnTo>
                  <a:pt x="3557" y="10950"/>
                </a:lnTo>
                <a:lnTo>
                  <a:pt x="3560" y="10975"/>
                </a:lnTo>
                <a:lnTo>
                  <a:pt x="3570" y="10989"/>
                </a:lnTo>
                <a:lnTo>
                  <a:pt x="3587" y="10993"/>
                </a:lnTo>
                <a:lnTo>
                  <a:pt x="3611" y="10985"/>
                </a:lnTo>
                <a:close/>
                <a:moveTo>
                  <a:pt x="3685" y="11618"/>
                </a:moveTo>
                <a:lnTo>
                  <a:pt x="3708" y="11631"/>
                </a:lnTo>
                <a:lnTo>
                  <a:pt x="3723" y="11631"/>
                </a:lnTo>
                <a:lnTo>
                  <a:pt x="3736" y="11620"/>
                </a:lnTo>
                <a:lnTo>
                  <a:pt x="3751" y="11604"/>
                </a:lnTo>
                <a:lnTo>
                  <a:pt x="3736" y="11576"/>
                </a:lnTo>
                <a:lnTo>
                  <a:pt x="3710" y="11571"/>
                </a:lnTo>
                <a:lnTo>
                  <a:pt x="3688" y="11586"/>
                </a:lnTo>
                <a:lnTo>
                  <a:pt x="3685" y="11618"/>
                </a:lnTo>
                <a:close/>
                <a:moveTo>
                  <a:pt x="3601" y="10735"/>
                </a:moveTo>
                <a:lnTo>
                  <a:pt x="3671" y="10737"/>
                </a:lnTo>
                <a:lnTo>
                  <a:pt x="3730" y="10760"/>
                </a:lnTo>
                <a:lnTo>
                  <a:pt x="3780" y="10754"/>
                </a:lnTo>
                <a:lnTo>
                  <a:pt x="3820" y="10675"/>
                </a:lnTo>
                <a:lnTo>
                  <a:pt x="3739" y="10621"/>
                </a:lnTo>
                <a:lnTo>
                  <a:pt x="3608" y="10644"/>
                </a:lnTo>
                <a:lnTo>
                  <a:pt x="3528" y="10696"/>
                </a:lnTo>
                <a:lnTo>
                  <a:pt x="3601" y="10735"/>
                </a:lnTo>
                <a:close/>
                <a:moveTo>
                  <a:pt x="3994" y="11170"/>
                </a:moveTo>
                <a:lnTo>
                  <a:pt x="3897" y="11106"/>
                </a:lnTo>
                <a:lnTo>
                  <a:pt x="3734" y="11128"/>
                </a:lnTo>
                <a:lnTo>
                  <a:pt x="3607" y="11204"/>
                </a:lnTo>
                <a:lnTo>
                  <a:pt x="3620" y="11307"/>
                </a:lnTo>
                <a:lnTo>
                  <a:pt x="3769" y="11268"/>
                </a:lnTo>
                <a:lnTo>
                  <a:pt x="3907" y="11272"/>
                </a:lnTo>
                <a:lnTo>
                  <a:pt x="3995" y="11260"/>
                </a:lnTo>
                <a:lnTo>
                  <a:pt x="3994" y="11170"/>
                </a:lnTo>
                <a:close/>
                <a:moveTo>
                  <a:pt x="3952" y="12836"/>
                </a:moveTo>
                <a:lnTo>
                  <a:pt x="3955" y="12860"/>
                </a:lnTo>
                <a:lnTo>
                  <a:pt x="3965" y="12874"/>
                </a:lnTo>
                <a:lnTo>
                  <a:pt x="3981" y="12878"/>
                </a:lnTo>
                <a:lnTo>
                  <a:pt x="4004" y="12870"/>
                </a:lnTo>
                <a:lnTo>
                  <a:pt x="4000" y="12846"/>
                </a:lnTo>
                <a:lnTo>
                  <a:pt x="3992" y="12832"/>
                </a:lnTo>
                <a:lnTo>
                  <a:pt x="3976" y="12830"/>
                </a:lnTo>
                <a:lnTo>
                  <a:pt x="3952" y="12836"/>
                </a:lnTo>
                <a:close/>
                <a:moveTo>
                  <a:pt x="3750" y="11929"/>
                </a:moveTo>
                <a:lnTo>
                  <a:pt x="3772" y="11941"/>
                </a:lnTo>
                <a:lnTo>
                  <a:pt x="3788" y="11941"/>
                </a:lnTo>
                <a:lnTo>
                  <a:pt x="3800" y="11931"/>
                </a:lnTo>
                <a:lnTo>
                  <a:pt x="3816" y="11915"/>
                </a:lnTo>
                <a:lnTo>
                  <a:pt x="3800" y="11887"/>
                </a:lnTo>
                <a:lnTo>
                  <a:pt x="3775" y="11881"/>
                </a:lnTo>
                <a:lnTo>
                  <a:pt x="3753" y="11897"/>
                </a:lnTo>
                <a:lnTo>
                  <a:pt x="3750" y="11929"/>
                </a:lnTo>
                <a:close/>
                <a:moveTo>
                  <a:pt x="3500" y="8750"/>
                </a:moveTo>
                <a:lnTo>
                  <a:pt x="3477" y="8718"/>
                </a:lnTo>
                <a:lnTo>
                  <a:pt x="3431" y="8721"/>
                </a:lnTo>
                <a:lnTo>
                  <a:pt x="3388" y="8745"/>
                </a:lnTo>
                <a:lnTo>
                  <a:pt x="3375" y="8778"/>
                </a:lnTo>
                <a:lnTo>
                  <a:pt x="3412" y="8792"/>
                </a:lnTo>
                <a:lnTo>
                  <a:pt x="3453" y="8792"/>
                </a:lnTo>
                <a:lnTo>
                  <a:pt x="3485" y="8777"/>
                </a:lnTo>
                <a:lnTo>
                  <a:pt x="3500" y="8750"/>
                </a:lnTo>
                <a:close/>
                <a:moveTo>
                  <a:pt x="3886" y="12526"/>
                </a:moveTo>
                <a:lnTo>
                  <a:pt x="3890" y="12550"/>
                </a:lnTo>
                <a:lnTo>
                  <a:pt x="3900" y="12564"/>
                </a:lnTo>
                <a:lnTo>
                  <a:pt x="3916" y="12568"/>
                </a:lnTo>
                <a:lnTo>
                  <a:pt x="3939" y="12560"/>
                </a:lnTo>
                <a:lnTo>
                  <a:pt x="3935" y="12536"/>
                </a:lnTo>
                <a:lnTo>
                  <a:pt x="3927" y="12522"/>
                </a:lnTo>
                <a:lnTo>
                  <a:pt x="3911" y="12519"/>
                </a:lnTo>
                <a:lnTo>
                  <a:pt x="3886" y="12526"/>
                </a:lnTo>
                <a:close/>
                <a:moveTo>
                  <a:pt x="3514" y="8610"/>
                </a:moveTo>
                <a:lnTo>
                  <a:pt x="3496" y="8548"/>
                </a:lnTo>
                <a:lnTo>
                  <a:pt x="3443" y="8541"/>
                </a:lnTo>
                <a:lnTo>
                  <a:pt x="3403" y="8579"/>
                </a:lnTo>
                <a:lnTo>
                  <a:pt x="3422" y="8647"/>
                </a:lnTo>
                <a:lnTo>
                  <a:pt x="3460" y="8683"/>
                </a:lnTo>
                <a:lnTo>
                  <a:pt x="3502" y="8683"/>
                </a:lnTo>
                <a:lnTo>
                  <a:pt x="3527" y="8656"/>
                </a:lnTo>
                <a:lnTo>
                  <a:pt x="3514" y="8610"/>
                </a:lnTo>
                <a:close/>
                <a:moveTo>
                  <a:pt x="3425" y="8218"/>
                </a:moveTo>
                <a:lnTo>
                  <a:pt x="3376" y="8217"/>
                </a:lnTo>
                <a:lnTo>
                  <a:pt x="3345" y="8241"/>
                </a:lnTo>
                <a:lnTo>
                  <a:pt x="3334" y="8282"/>
                </a:lnTo>
                <a:lnTo>
                  <a:pt x="3356" y="8325"/>
                </a:lnTo>
                <a:lnTo>
                  <a:pt x="3404" y="8326"/>
                </a:lnTo>
                <a:lnTo>
                  <a:pt x="3436" y="8302"/>
                </a:lnTo>
                <a:lnTo>
                  <a:pt x="3446" y="8261"/>
                </a:lnTo>
                <a:lnTo>
                  <a:pt x="3425" y="8218"/>
                </a:lnTo>
                <a:close/>
                <a:moveTo>
                  <a:pt x="4743" y="11334"/>
                </a:moveTo>
                <a:lnTo>
                  <a:pt x="4683" y="11314"/>
                </a:lnTo>
                <a:lnTo>
                  <a:pt x="4609" y="11325"/>
                </a:lnTo>
                <a:lnTo>
                  <a:pt x="4559" y="11371"/>
                </a:lnTo>
                <a:lnTo>
                  <a:pt x="4572" y="11454"/>
                </a:lnTo>
                <a:lnTo>
                  <a:pt x="4647" y="11503"/>
                </a:lnTo>
                <a:lnTo>
                  <a:pt x="4726" y="11436"/>
                </a:lnTo>
                <a:lnTo>
                  <a:pt x="4771" y="11347"/>
                </a:lnTo>
                <a:lnTo>
                  <a:pt x="4743" y="11334"/>
                </a:lnTo>
                <a:close/>
                <a:moveTo>
                  <a:pt x="4433" y="13187"/>
                </a:moveTo>
                <a:lnTo>
                  <a:pt x="4469" y="13186"/>
                </a:lnTo>
                <a:lnTo>
                  <a:pt x="4486" y="13170"/>
                </a:lnTo>
                <a:lnTo>
                  <a:pt x="4481" y="13153"/>
                </a:lnTo>
                <a:lnTo>
                  <a:pt x="4451" y="13152"/>
                </a:lnTo>
                <a:lnTo>
                  <a:pt x="4440" y="13153"/>
                </a:lnTo>
                <a:lnTo>
                  <a:pt x="4431" y="13166"/>
                </a:lnTo>
                <a:lnTo>
                  <a:pt x="4430" y="13180"/>
                </a:lnTo>
                <a:lnTo>
                  <a:pt x="4433" y="13187"/>
                </a:lnTo>
                <a:close/>
                <a:moveTo>
                  <a:pt x="4925" y="10411"/>
                </a:moveTo>
                <a:lnTo>
                  <a:pt x="4911" y="10424"/>
                </a:lnTo>
                <a:lnTo>
                  <a:pt x="4902" y="10442"/>
                </a:lnTo>
                <a:lnTo>
                  <a:pt x="4905" y="10454"/>
                </a:lnTo>
                <a:lnTo>
                  <a:pt x="4926" y="10452"/>
                </a:lnTo>
                <a:lnTo>
                  <a:pt x="4933" y="10437"/>
                </a:lnTo>
                <a:lnTo>
                  <a:pt x="4944" y="10419"/>
                </a:lnTo>
                <a:lnTo>
                  <a:pt x="4945" y="10407"/>
                </a:lnTo>
                <a:lnTo>
                  <a:pt x="4925" y="10411"/>
                </a:lnTo>
                <a:close/>
                <a:moveTo>
                  <a:pt x="4403" y="9644"/>
                </a:moveTo>
                <a:lnTo>
                  <a:pt x="4337" y="9633"/>
                </a:lnTo>
                <a:lnTo>
                  <a:pt x="4291" y="9663"/>
                </a:lnTo>
                <a:lnTo>
                  <a:pt x="4270" y="9716"/>
                </a:lnTo>
                <a:lnTo>
                  <a:pt x="4279" y="9777"/>
                </a:lnTo>
                <a:lnTo>
                  <a:pt x="4255" y="9875"/>
                </a:lnTo>
                <a:lnTo>
                  <a:pt x="4330" y="9910"/>
                </a:lnTo>
                <a:lnTo>
                  <a:pt x="4410" y="9846"/>
                </a:lnTo>
                <a:lnTo>
                  <a:pt x="4403" y="9644"/>
                </a:lnTo>
                <a:close/>
                <a:moveTo>
                  <a:pt x="4716" y="11063"/>
                </a:moveTo>
                <a:lnTo>
                  <a:pt x="4721" y="11023"/>
                </a:lnTo>
                <a:lnTo>
                  <a:pt x="4624" y="11006"/>
                </a:lnTo>
                <a:lnTo>
                  <a:pt x="4515" y="11035"/>
                </a:lnTo>
                <a:lnTo>
                  <a:pt x="4483" y="11136"/>
                </a:lnTo>
                <a:lnTo>
                  <a:pt x="4575" y="11199"/>
                </a:lnTo>
                <a:lnTo>
                  <a:pt x="4627" y="11162"/>
                </a:lnTo>
                <a:lnTo>
                  <a:pt x="4666" y="11095"/>
                </a:lnTo>
                <a:lnTo>
                  <a:pt x="4716" y="11063"/>
                </a:lnTo>
                <a:close/>
                <a:moveTo>
                  <a:pt x="4337" y="10218"/>
                </a:moveTo>
                <a:lnTo>
                  <a:pt x="4400" y="10229"/>
                </a:lnTo>
                <a:lnTo>
                  <a:pt x="4453" y="10199"/>
                </a:lnTo>
                <a:lnTo>
                  <a:pt x="4473" y="10144"/>
                </a:lnTo>
                <a:lnTo>
                  <a:pt x="4446" y="10079"/>
                </a:lnTo>
                <a:lnTo>
                  <a:pt x="4382" y="10068"/>
                </a:lnTo>
                <a:lnTo>
                  <a:pt x="4330" y="10098"/>
                </a:lnTo>
                <a:lnTo>
                  <a:pt x="4310" y="10153"/>
                </a:lnTo>
                <a:lnTo>
                  <a:pt x="4337" y="10218"/>
                </a:lnTo>
                <a:close/>
                <a:moveTo>
                  <a:pt x="4433" y="12230"/>
                </a:moveTo>
                <a:lnTo>
                  <a:pt x="4442" y="12234"/>
                </a:lnTo>
                <a:lnTo>
                  <a:pt x="4449" y="12231"/>
                </a:lnTo>
                <a:lnTo>
                  <a:pt x="4453" y="12226"/>
                </a:lnTo>
                <a:lnTo>
                  <a:pt x="4458" y="12220"/>
                </a:lnTo>
                <a:lnTo>
                  <a:pt x="4456" y="12197"/>
                </a:lnTo>
                <a:lnTo>
                  <a:pt x="4423" y="12198"/>
                </a:lnTo>
                <a:lnTo>
                  <a:pt x="4402" y="12212"/>
                </a:lnTo>
                <a:lnTo>
                  <a:pt x="4433" y="12230"/>
                </a:lnTo>
                <a:close/>
                <a:moveTo>
                  <a:pt x="4479" y="12315"/>
                </a:moveTo>
                <a:lnTo>
                  <a:pt x="4519" y="12317"/>
                </a:lnTo>
                <a:lnTo>
                  <a:pt x="4519" y="12290"/>
                </a:lnTo>
                <a:lnTo>
                  <a:pt x="4491" y="12262"/>
                </a:lnTo>
                <a:lnTo>
                  <a:pt x="4446" y="12257"/>
                </a:lnTo>
                <a:lnTo>
                  <a:pt x="4436" y="12273"/>
                </a:lnTo>
                <a:lnTo>
                  <a:pt x="4451" y="12285"/>
                </a:lnTo>
                <a:lnTo>
                  <a:pt x="4473" y="12296"/>
                </a:lnTo>
                <a:lnTo>
                  <a:pt x="4479" y="12315"/>
                </a:lnTo>
                <a:close/>
                <a:moveTo>
                  <a:pt x="4235" y="9451"/>
                </a:moveTo>
                <a:lnTo>
                  <a:pt x="4222" y="9457"/>
                </a:lnTo>
                <a:lnTo>
                  <a:pt x="4216" y="9453"/>
                </a:lnTo>
                <a:lnTo>
                  <a:pt x="4211" y="9443"/>
                </a:lnTo>
                <a:lnTo>
                  <a:pt x="4205" y="9430"/>
                </a:lnTo>
                <a:lnTo>
                  <a:pt x="4219" y="9441"/>
                </a:lnTo>
                <a:lnTo>
                  <a:pt x="4235" y="9451"/>
                </a:lnTo>
                <a:close/>
                <a:moveTo>
                  <a:pt x="4254" y="9316"/>
                </a:moveTo>
                <a:lnTo>
                  <a:pt x="4156" y="9398"/>
                </a:lnTo>
                <a:lnTo>
                  <a:pt x="4086" y="9420"/>
                </a:lnTo>
                <a:lnTo>
                  <a:pt x="4016" y="9412"/>
                </a:lnTo>
                <a:lnTo>
                  <a:pt x="3916" y="9411"/>
                </a:lnTo>
                <a:lnTo>
                  <a:pt x="3893" y="9473"/>
                </a:lnTo>
                <a:lnTo>
                  <a:pt x="3916" y="9511"/>
                </a:lnTo>
                <a:lnTo>
                  <a:pt x="3962" y="9524"/>
                </a:lnTo>
                <a:lnTo>
                  <a:pt x="4009" y="9510"/>
                </a:lnTo>
                <a:lnTo>
                  <a:pt x="4051" y="9523"/>
                </a:lnTo>
                <a:lnTo>
                  <a:pt x="4098" y="9516"/>
                </a:lnTo>
                <a:lnTo>
                  <a:pt x="4144" y="9516"/>
                </a:lnTo>
                <a:lnTo>
                  <a:pt x="4184" y="9543"/>
                </a:lnTo>
                <a:lnTo>
                  <a:pt x="4284" y="9585"/>
                </a:lnTo>
                <a:lnTo>
                  <a:pt x="4358" y="9482"/>
                </a:lnTo>
                <a:lnTo>
                  <a:pt x="4363" y="9353"/>
                </a:lnTo>
                <a:lnTo>
                  <a:pt x="4254" y="9316"/>
                </a:lnTo>
                <a:close/>
                <a:moveTo>
                  <a:pt x="4464" y="12597"/>
                </a:moveTo>
                <a:lnTo>
                  <a:pt x="4650" y="12524"/>
                </a:lnTo>
                <a:lnTo>
                  <a:pt x="4627" y="12405"/>
                </a:lnTo>
                <a:lnTo>
                  <a:pt x="4521" y="12341"/>
                </a:lnTo>
                <a:lnTo>
                  <a:pt x="4456" y="12440"/>
                </a:lnTo>
                <a:lnTo>
                  <a:pt x="4509" y="12486"/>
                </a:lnTo>
                <a:lnTo>
                  <a:pt x="4515" y="12508"/>
                </a:lnTo>
                <a:lnTo>
                  <a:pt x="4493" y="12536"/>
                </a:lnTo>
                <a:lnTo>
                  <a:pt x="4464" y="12597"/>
                </a:lnTo>
                <a:close/>
                <a:moveTo>
                  <a:pt x="4537" y="12240"/>
                </a:moveTo>
                <a:lnTo>
                  <a:pt x="4520" y="12271"/>
                </a:lnTo>
                <a:lnTo>
                  <a:pt x="4548" y="12289"/>
                </a:lnTo>
                <a:lnTo>
                  <a:pt x="4586" y="12305"/>
                </a:lnTo>
                <a:lnTo>
                  <a:pt x="4600" y="12336"/>
                </a:lnTo>
                <a:lnTo>
                  <a:pt x="4666" y="12335"/>
                </a:lnTo>
                <a:lnTo>
                  <a:pt x="4661" y="12290"/>
                </a:lnTo>
                <a:lnTo>
                  <a:pt x="4609" y="12244"/>
                </a:lnTo>
                <a:lnTo>
                  <a:pt x="4537" y="12240"/>
                </a:lnTo>
                <a:close/>
                <a:moveTo>
                  <a:pt x="4353" y="12259"/>
                </a:moveTo>
                <a:lnTo>
                  <a:pt x="4338" y="12259"/>
                </a:lnTo>
                <a:lnTo>
                  <a:pt x="4333" y="12275"/>
                </a:lnTo>
                <a:lnTo>
                  <a:pt x="4337" y="12291"/>
                </a:lnTo>
                <a:lnTo>
                  <a:pt x="4351" y="12293"/>
                </a:lnTo>
                <a:lnTo>
                  <a:pt x="4361" y="12285"/>
                </a:lnTo>
                <a:lnTo>
                  <a:pt x="4365" y="12273"/>
                </a:lnTo>
                <a:lnTo>
                  <a:pt x="4363" y="12265"/>
                </a:lnTo>
                <a:lnTo>
                  <a:pt x="4353" y="12259"/>
                </a:lnTo>
                <a:close/>
                <a:moveTo>
                  <a:pt x="4511" y="11386"/>
                </a:moveTo>
                <a:lnTo>
                  <a:pt x="4501" y="11380"/>
                </a:lnTo>
                <a:lnTo>
                  <a:pt x="4484" y="11382"/>
                </a:lnTo>
                <a:lnTo>
                  <a:pt x="4470" y="11391"/>
                </a:lnTo>
                <a:lnTo>
                  <a:pt x="4467" y="11399"/>
                </a:lnTo>
                <a:lnTo>
                  <a:pt x="4489" y="11419"/>
                </a:lnTo>
                <a:lnTo>
                  <a:pt x="4516" y="11419"/>
                </a:lnTo>
                <a:lnTo>
                  <a:pt x="4529" y="11407"/>
                </a:lnTo>
                <a:lnTo>
                  <a:pt x="4511" y="11386"/>
                </a:lnTo>
                <a:close/>
                <a:moveTo>
                  <a:pt x="4474" y="11753"/>
                </a:moveTo>
                <a:lnTo>
                  <a:pt x="4455" y="11720"/>
                </a:lnTo>
                <a:lnTo>
                  <a:pt x="4428" y="11703"/>
                </a:lnTo>
                <a:lnTo>
                  <a:pt x="4396" y="11703"/>
                </a:lnTo>
                <a:lnTo>
                  <a:pt x="4362" y="11718"/>
                </a:lnTo>
                <a:lnTo>
                  <a:pt x="4319" y="11794"/>
                </a:lnTo>
                <a:lnTo>
                  <a:pt x="4380" y="11846"/>
                </a:lnTo>
                <a:lnTo>
                  <a:pt x="4460" y="11843"/>
                </a:lnTo>
                <a:lnTo>
                  <a:pt x="4474" y="11753"/>
                </a:lnTo>
                <a:close/>
                <a:moveTo>
                  <a:pt x="4506" y="11540"/>
                </a:moveTo>
                <a:lnTo>
                  <a:pt x="4475" y="11571"/>
                </a:lnTo>
                <a:lnTo>
                  <a:pt x="4483" y="11578"/>
                </a:lnTo>
                <a:lnTo>
                  <a:pt x="4512" y="11575"/>
                </a:lnTo>
                <a:lnTo>
                  <a:pt x="4545" y="11566"/>
                </a:lnTo>
                <a:lnTo>
                  <a:pt x="4563" y="11548"/>
                </a:lnTo>
                <a:lnTo>
                  <a:pt x="4556" y="11530"/>
                </a:lnTo>
                <a:lnTo>
                  <a:pt x="4533" y="11524"/>
                </a:lnTo>
                <a:lnTo>
                  <a:pt x="4506" y="11540"/>
                </a:lnTo>
                <a:close/>
                <a:moveTo>
                  <a:pt x="4523" y="12043"/>
                </a:moveTo>
                <a:lnTo>
                  <a:pt x="4477" y="12028"/>
                </a:lnTo>
                <a:lnTo>
                  <a:pt x="4423" y="12048"/>
                </a:lnTo>
                <a:lnTo>
                  <a:pt x="4386" y="12086"/>
                </a:lnTo>
                <a:lnTo>
                  <a:pt x="4391" y="12130"/>
                </a:lnTo>
                <a:lnTo>
                  <a:pt x="4440" y="12173"/>
                </a:lnTo>
                <a:lnTo>
                  <a:pt x="4507" y="12164"/>
                </a:lnTo>
                <a:lnTo>
                  <a:pt x="4551" y="12117"/>
                </a:lnTo>
                <a:lnTo>
                  <a:pt x="4523" y="12043"/>
                </a:lnTo>
                <a:close/>
                <a:moveTo>
                  <a:pt x="4857" y="11582"/>
                </a:moveTo>
                <a:lnTo>
                  <a:pt x="4651" y="11657"/>
                </a:lnTo>
                <a:lnTo>
                  <a:pt x="4646" y="11775"/>
                </a:lnTo>
                <a:lnTo>
                  <a:pt x="4733" y="11811"/>
                </a:lnTo>
                <a:lnTo>
                  <a:pt x="4796" y="11651"/>
                </a:lnTo>
                <a:lnTo>
                  <a:pt x="4821" y="11634"/>
                </a:lnTo>
                <a:lnTo>
                  <a:pt x="4850" y="11627"/>
                </a:lnTo>
                <a:lnTo>
                  <a:pt x="4869" y="11614"/>
                </a:lnTo>
                <a:lnTo>
                  <a:pt x="4857" y="11582"/>
                </a:lnTo>
                <a:close/>
                <a:moveTo>
                  <a:pt x="3304" y="8153"/>
                </a:moveTo>
                <a:lnTo>
                  <a:pt x="3287" y="8128"/>
                </a:lnTo>
                <a:lnTo>
                  <a:pt x="3255" y="8133"/>
                </a:lnTo>
                <a:lnTo>
                  <a:pt x="3224" y="8153"/>
                </a:lnTo>
                <a:lnTo>
                  <a:pt x="3207" y="8172"/>
                </a:lnTo>
                <a:lnTo>
                  <a:pt x="3127" y="8163"/>
                </a:lnTo>
                <a:lnTo>
                  <a:pt x="3162" y="8247"/>
                </a:lnTo>
                <a:lnTo>
                  <a:pt x="3244" y="8289"/>
                </a:lnTo>
                <a:lnTo>
                  <a:pt x="3304" y="8153"/>
                </a:lnTo>
                <a:close/>
                <a:moveTo>
                  <a:pt x="4134" y="9309"/>
                </a:moveTo>
                <a:lnTo>
                  <a:pt x="4129" y="9258"/>
                </a:lnTo>
                <a:lnTo>
                  <a:pt x="4091" y="9263"/>
                </a:lnTo>
                <a:lnTo>
                  <a:pt x="4064" y="9297"/>
                </a:lnTo>
                <a:lnTo>
                  <a:pt x="4091" y="9337"/>
                </a:lnTo>
                <a:lnTo>
                  <a:pt x="4111" y="9337"/>
                </a:lnTo>
                <a:lnTo>
                  <a:pt x="4119" y="9331"/>
                </a:lnTo>
                <a:lnTo>
                  <a:pt x="4123" y="9320"/>
                </a:lnTo>
                <a:lnTo>
                  <a:pt x="4134" y="9309"/>
                </a:lnTo>
                <a:close/>
                <a:moveTo>
                  <a:pt x="3104" y="7070"/>
                </a:moveTo>
                <a:lnTo>
                  <a:pt x="3148" y="7061"/>
                </a:lnTo>
                <a:lnTo>
                  <a:pt x="3171" y="7043"/>
                </a:lnTo>
                <a:lnTo>
                  <a:pt x="3175" y="7015"/>
                </a:lnTo>
                <a:lnTo>
                  <a:pt x="3165" y="6976"/>
                </a:lnTo>
                <a:lnTo>
                  <a:pt x="3120" y="6969"/>
                </a:lnTo>
                <a:lnTo>
                  <a:pt x="3089" y="6992"/>
                </a:lnTo>
                <a:lnTo>
                  <a:pt x="3081" y="7030"/>
                </a:lnTo>
                <a:lnTo>
                  <a:pt x="3104" y="7070"/>
                </a:lnTo>
                <a:close/>
                <a:moveTo>
                  <a:pt x="3118" y="8676"/>
                </a:moveTo>
                <a:lnTo>
                  <a:pt x="3141" y="8689"/>
                </a:lnTo>
                <a:lnTo>
                  <a:pt x="3156" y="8689"/>
                </a:lnTo>
                <a:lnTo>
                  <a:pt x="3169" y="8679"/>
                </a:lnTo>
                <a:lnTo>
                  <a:pt x="3184" y="8662"/>
                </a:lnTo>
                <a:lnTo>
                  <a:pt x="3168" y="8634"/>
                </a:lnTo>
                <a:lnTo>
                  <a:pt x="3142" y="8629"/>
                </a:lnTo>
                <a:lnTo>
                  <a:pt x="3122" y="8644"/>
                </a:lnTo>
                <a:lnTo>
                  <a:pt x="3118" y="8676"/>
                </a:lnTo>
                <a:close/>
                <a:moveTo>
                  <a:pt x="3424" y="9048"/>
                </a:moveTo>
                <a:lnTo>
                  <a:pt x="3432" y="8974"/>
                </a:lnTo>
                <a:lnTo>
                  <a:pt x="3350" y="8950"/>
                </a:lnTo>
                <a:lnTo>
                  <a:pt x="3244" y="8951"/>
                </a:lnTo>
                <a:lnTo>
                  <a:pt x="3187" y="8951"/>
                </a:lnTo>
                <a:lnTo>
                  <a:pt x="3221" y="8996"/>
                </a:lnTo>
                <a:lnTo>
                  <a:pt x="3292" y="9043"/>
                </a:lnTo>
                <a:lnTo>
                  <a:pt x="3370" y="9067"/>
                </a:lnTo>
                <a:lnTo>
                  <a:pt x="3424" y="9048"/>
                </a:lnTo>
                <a:close/>
                <a:moveTo>
                  <a:pt x="3297" y="9555"/>
                </a:moveTo>
                <a:lnTo>
                  <a:pt x="3267" y="9501"/>
                </a:lnTo>
                <a:lnTo>
                  <a:pt x="3212" y="9495"/>
                </a:lnTo>
                <a:lnTo>
                  <a:pt x="3173" y="9523"/>
                </a:lnTo>
                <a:lnTo>
                  <a:pt x="3188" y="9574"/>
                </a:lnTo>
                <a:lnTo>
                  <a:pt x="3203" y="9591"/>
                </a:lnTo>
                <a:lnTo>
                  <a:pt x="3243" y="9586"/>
                </a:lnTo>
                <a:lnTo>
                  <a:pt x="3282" y="9571"/>
                </a:lnTo>
                <a:lnTo>
                  <a:pt x="3297" y="9555"/>
                </a:lnTo>
                <a:close/>
                <a:moveTo>
                  <a:pt x="3075" y="10238"/>
                </a:moveTo>
                <a:lnTo>
                  <a:pt x="3128" y="10244"/>
                </a:lnTo>
                <a:lnTo>
                  <a:pt x="3173" y="10265"/>
                </a:lnTo>
                <a:lnTo>
                  <a:pt x="3210" y="10262"/>
                </a:lnTo>
                <a:lnTo>
                  <a:pt x="3245" y="10202"/>
                </a:lnTo>
                <a:lnTo>
                  <a:pt x="3188" y="10157"/>
                </a:lnTo>
                <a:lnTo>
                  <a:pt x="3087" y="10167"/>
                </a:lnTo>
                <a:lnTo>
                  <a:pt x="3022" y="10204"/>
                </a:lnTo>
                <a:lnTo>
                  <a:pt x="3075" y="10238"/>
                </a:lnTo>
                <a:close/>
                <a:moveTo>
                  <a:pt x="3305" y="9297"/>
                </a:moveTo>
                <a:lnTo>
                  <a:pt x="3301" y="9272"/>
                </a:lnTo>
                <a:lnTo>
                  <a:pt x="3292" y="9259"/>
                </a:lnTo>
                <a:lnTo>
                  <a:pt x="3276" y="9255"/>
                </a:lnTo>
                <a:lnTo>
                  <a:pt x="3252" y="9262"/>
                </a:lnTo>
                <a:lnTo>
                  <a:pt x="3255" y="9287"/>
                </a:lnTo>
                <a:lnTo>
                  <a:pt x="3266" y="9301"/>
                </a:lnTo>
                <a:lnTo>
                  <a:pt x="3282" y="9305"/>
                </a:lnTo>
                <a:lnTo>
                  <a:pt x="3305" y="9297"/>
                </a:lnTo>
                <a:close/>
                <a:moveTo>
                  <a:pt x="3050" y="8355"/>
                </a:moveTo>
                <a:lnTo>
                  <a:pt x="3068" y="8383"/>
                </a:lnTo>
                <a:lnTo>
                  <a:pt x="3085" y="8424"/>
                </a:lnTo>
                <a:lnTo>
                  <a:pt x="3103" y="8439"/>
                </a:lnTo>
                <a:lnTo>
                  <a:pt x="3127" y="8395"/>
                </a:lnTo>
                <a:lnTo>
                  <a:pt x="3119" y="8358"/>
                </a:lnTo>
                <a:lnTo>
                  <a:pt x="3095" y="8319"/>
                </a:lnTo>
                <a:lnTo>
                  <a:pt x="3068" y="8307"/>
                </a:lnTo>
                <a:lnTo>
                  <a:pt x="3050" y="8355"/>
                </a:lnTo>
                <a:close/>
                <a:moveTo>
                  <a:pt x="4114" y="8698"/>
                </a:moveTo>
                <a:lnTo>
                  <a:pt x="4031" y="8746"/>
                </a:lnTo>
                <a:lnTo>
                  <a:pt x="4002" y="8764"/>
                </a:lnTo>
                <a:lnTo>
                  <a:pt x="4025" y="8787"/>
                </a:lnTo>
                <a:lnTo>
                  <a:pt x="4100" y="8852"/>
                </a:lnTo>
                <a:lnTo>
                  <a:pt x="4191" y="8854"/>
                </a:lnTo>
                <a:lnTo>
                  <a:pt x="4228" y="8776"/>
                </a:lnTo>
                <a:lnTo>
                  <a:pt x="4205" y="8695"/>
                </a:lnTo>
                <a:lnTo>
                  <a:pt x="4114" y="8698"/>
                </a:lnTo>
                <a:close/>
                <a:moveTo>
                  <a:pt x="4198" y="8942"/>
                </a:moveTo>
                <a:lnTo>
                  <a:pt x="4151" y="8909"/>
                </a:lnTo>
                <a:lnTo>
                  <a:pt x="4105" y="8947"/>
                </a:lnTo>
                <a:lnTo>
                  <a:pt x="4067" y="9016"/>
                </a:lnTo>
                <a:lnTo>
                  <a:pt x="4042" y="9078"/>
                </a:lnTo>
                <a:lnTo>
                  <a:pt x="4074" y="9106"/>
                </a:lnTo>
                <a:lnTo>
                  <a:pt x="4114" y="9108"/>
                </a:lnTo>
                <a:lnTo>
                  <a:pt x="4146" y="9114"/>
                </a:lnTo>
                <a:lnTo>
                  <a:pt x="4149" y="9156"/>
                </a:lnTo>
                <a:lnTo>
                  <a:pt x="4165" y="9269"/>
                </a:lnTo>
                <a:lnTo>
                  <a:pt x="4254" y="9220"/>
                </a:lnTo>
                <a:lnTo>
                  <a:pt x="4304" y="9085"/>
                </a:lnTo>
                <a:lnTo>
                  <a:pt x="4198" y="8942"/>
                </a:lnTo>
                <a:close/>
                <a:moveTo>
                  <a:pt x="3899" y="9049"/>
                </a:moveTo>
                <a:lnTo>
                  <a:pt x="3843" y="9109"/>
                </a:lnTo>
                <a:lnTo>
                  <a:pt x="3836" y="9178"/>
                </a:lnTo>
                <a:lnTo>
                  <a:pt x="3877" y="9217"/>
                </a:lnTo>
                <a:lnTo>
                  <a:pt x="3963" y="9193"/>
                </a:lnTo>
                <a:lnTo>
                  <a:pt x="3972" y="9113"/>
                </a:lnTo>
                <a:lnTo>
                  <a:pt x="3990" y="9035"/>
                </a:lnTo>
                <a:lnTo>
                  <a:pt x="3979" y="9000"/>
                </a:lnTo>
                <a:lnTo>
                  <a:pt x="3899" y="9049"/>
                </a:lnTo>
                <a:close/>
                <a:moveTo>
                  <a:pt x="3742" y="8464"/>
                </a:moveTo>
                <a:lnTo>
                  <a:pt x="3704" y="8487"/>
                </a:lnTo>
                <a:lnTo>
                  <a:pt x="3687" y="8509"/>
                </a:lnTo>
                <a:lnTo>
                  <a:pt x="3686" y="8532"/>
                </a:lnTo>
                <a:lnTo>
                  <a:pt x="3692" y="8555"/>
                </a:lnTo>
                <a:lnTo>
                  <a:pt x="3769" y="8606"/>
                </a:lnTo>
                <a:lnTo>
                  <a:pt x="3835" y="8557"/>
                </a:lnTo>
                <a:lnTo>
                  <a:pt x="3841" y="8483"/>
                </a:lnTo>
                <a:lnTo>
                  <a:pt x="3742" y="8464"/>
                </a:lnTo>
                <a:close/>
                <a:moveTo>
                  <a:pt x="3333" y="11081"/>
                </a:moveTo>
                <a:lnTo>
                  <a:pt x="3352" y="11064"/>
                </a:lnTo>
                <a:lnTo>
                  <a:pt x="3352" y="11037"/>
                </a:lnTo>
                <a:lnTo>
                  <a:pt x="3339" y="11016"/>
                </a:lnTo>
                <a:lnTo>
                  <a:pt x="3322" y="11011"/>
                </a:lnTo>
                <a:lnTo>
                  <a:pt x="3258" y="11057"/>
                </a:lnTo>
                <a:lnTo>
                  <a:pt x="3249" y="11097"/>
                </a:lnTo>
                <a:lnTo>
                  <a:pt x="3280" y="11113"/>
                </a:lnTo>
                <a:lnTo>
                  <a:pt x="3333" y="11081"/>
                </a:lnTo>
                <a:close/>
                <a:moveTo>
                  <a:pt x="3369" y="9597"/>
                </a:moveTo>
                <a:lnTo>
                  <a:pt x="3359" y="9574"/>
                </a:lnTo>
                <a:lnTo>
                  <a:pt x="3339" y="9570"/>
                </a:lnTo>
                <a:lnTo>
                  <a:pt x="3324" y="9581"/>
                </a:lnTo>
                <a:lnTo>
                  <a:pt x="3324" y="9607"/>
                </a:lnTo>
                <a:lnTo>
                  <a:pt x="3338" y="9612"/>
                </a:lnTo>
                <a:lnTo>
                  <a:pt x="3348" y="9612"/>
                </a:lnTo>
                <a:lnTo>
                  <a:pt x="3357" y="9607"/>
                </a:lnTo>
                <a:lnTo>
                  <a:pt x="3369" y="9597"/>
                </a:lnTo>
                <a:close/>
                <a:moveTo>
                  <a:pt x="3244" y="11860"/>
                </a:moveTo>
                <a:lnTo>
                  <a:pt x="3238" y="11878"/>
                </a:lnTo>
                <a:lnTo>
                  <a:pt x="3262" y="11885"/>
                </a:lnTo>
                <a:lnTo>
                  <a:pt x="3290" y="11881"/>
                </a:lnTo>
                <a:lnTo>
                  <a:pt x="3297" y="11866"/>
                </a:lnTo>
                <a:lnTo>
                  <a:pt x="3287" y="11855"/>
                </a:lnTo>
                <a:lnTo>
                  <a:pt x="3272" y="11848"/>
                </a:lnTo>
                <a:lnTo>
                  <a:pt x="3254" y="11850"/>
                </a:lnTo>
                <a:lnTo>
                  <a:pt x="3244" y="11860"/>
                </a:lnTo>
                <a:close/>
                <a:moveTo>
                  <a:pt x="3807" y="8774"/>
                </a:moveTo>
                <a:lnTo>
                  <a:pt x="3769" y="8797"/>
                </a:lnTo>
                <a:lnTo>
                  <a:pt x="3752" y="8820"/>
                </a:lnTo>
                <a:lnTo>
                  <a:pt x="3751" y="8843"/>
                </a:lnTo>
                <a:lnTo>
                  <a:pt x="3757" y="8866"/>
                </a:lnTo>
                <a:lnTo>
                  <a:pt x="3834" y="8917"/>
                </a:lnTo>
                <a:lnTo>
                  <a:pt x="3900" y="8867"/>
                </a:lnTo>
                <a:lnTo>
                  <a:pt x="3906" y="8793"/>
                </a:lnTo>
                <a:lnTo>
                  <a:pt x="3807" y="8774"/>
                </a:lnTo>
                <a:close/>
                <a:moveTo>
                  <a:pt x="2481" y="7473"/>
                </a:moveTo>
                <a:lnTo>
                  <a:pt x="2485" y="7508"/>
                </a:lnTo>
                <a:lnTo>
                  <a:pt x="2516" y="7526"/>
                </a:lnTo>
                <a:lnTo>
                  <a:pt x="2552" y="7523"/>
                </a:lnTo>
                <a:lnTo>
                  <a:pt x="2572" y="7500"/>
                </a:lnTo>
                <a:lnTo>
                  <a:pt x="2552" y="7472"/>
                </a:lnTo>
                <a:lnTo>
                  <a:pt x="2526" y="7457"/>
                </a:lnTo>
                <a:lnTo>
                  <a:pt x="2500" y="7455"/>
                </a:lnTo>
                <a:lnTo>
                  <a:pt x="2481" y="7473"/>
                </a:lnTo>
                <a:close/>
                <a:moveTo>
                  <a:pt x="5442" y="2482"/>
                </a:moveTo>
                <a:lnTo>
                  <a:pt x="5441" y="2509"/>
                </a:lnTo>
                <a:lnTo>
                  <a:pt x="5423" y="2548"/>
                </a:lnTo>
                <a:lnTo>
                  <a:pt x="5418" y="2583"/>
                </a:lnTo>
                <a:lnTo>
                  <a:pt x="5452" y="2592"/>
                </a:lnTo>
                <a:lnTo>
                  <a:pt x="5483" y="2541"/>
                </a:lnTo>
                <a:lnTo>
                  <a:pt x="5483" y="2478"/>
                </a:lnTo>
                <a:lnTo>
                  <a:pt x="5464" y="2445"/>
                </a:lnTo>
                <a:lnTo>
                  <a:pt x="5442" y="2482"/>
                </a:lnTo>
                <a:close/>
                <a:moveTo>
                  <a:pt x="5512" y="2211"/>
                </a:moveTo>
                <a:lnTo>
                  <a:pt x="5552" y="2197"/>
                </a:lnTo>
                <a:lnTo>
                  <a:pt x="5582" y="2160"/>
                </a:lnTo>
                <a:lnTo>
                  <a:pt x="5599" y="2114"/>
                </a:lnTo>
                <a:lnTo>
                  <a:pt x="5597" y="2074"/>
                </a:lnTo>
                <a:lnTo>
                  <a:pt x="5557" y="2072"/>
                </a:lnTo>
                <a:lnTo>
                  <a:pt x="5503" y="2119"/>
                </a:lnTo>
                <a:lnTo>
                  <a:pt x="5476" y="2177"/>
                </a:lnTo>
                <a:lnTo>
                  <a:pt x="5512" y="2211"/>
                </a:lnTo>
                <a:close/>
                <a:moveTo>
                  <a:pt x="5679" y="1099"/>
                </a:moveTo>
                <a:lnTo>
                  <a:pt x="5709" y="1073"/>
                </a:lnTo>
                <a:lnTo>
                  <a:pt x="5708" y="1037"/>
                </a:lnTo>
                <a:lnTo>
                  <a:pt x="5685" y="1008"/>
                </a:lnTo>
                <a:lnTo>
                  <a:pt x="5652" y="1006"/>
                </a:lnTo>
                <a:lnTo>
                  <a:pt x="5638" y="1039"/>
                </a:lnTo>
                <a:lnTo>
                  <a:pt x="5638" y="1071"/>
                </a:lnTo>
                <a:lnTo>
                  <a:pt x="5652" y="1093"/>
                </a:lnTo>
                <a:lnTo>
                  <a:pt x="5679" y="1099"/>
                </a:lnTo>
                <a:close/>
                <a:moveTo>
                  <a:pt x="5406" y="2412"/>
                </a:moveTo>
                <a:lnTo>
                  <a:pt x="5415" y="2424"/>
                </a:lnTo>
                <a:lnTo>
                  <a:pt x="5428" y="2427"/>
                </a:lnTo>
                <a:lnTo>
                  <a:pt x="5441" y="2425"/>
                </a:lnTo>
                <a:lnTo>
                  <a:pt x="5448" y="2415"/>
                </a:lnTo>
                <a:lnTo>
                  <a:pt x="5452" y="2397"/>
                </a:lnTo>
                <a:lnTo>
                  <a:pt x="5433" y="2391"/>
                </a:lnTo>
                <a:lnTo>
                  <a:pt x="5411" y="2396"/>
                </a:lnTo>
                <a:lnTo>
                  <a:pt x="5406" y="2412"/>
                </a:lnTo>
                <a:close/>
                <a:moveTo>
                  <a:pt x="5327" y="2846"/>
                </a:moveTo>
                <a:lnTo>
                  <a:pt x="5349" y="2840"/>
                </a:lnTo>
                <a:lnTo>
                  <a:pt x="5357" y="2825"/>
                </a:lnTo>
                <a:lnTo>
                  <a:pt x="5350" y="2812"/>
                </a:lnTo>
                <a:lnTo>
                  <a:pt x="5331" y="2816"/>
                </a:lnTo>
                <a:lnTo>
                  <a:pt x="5325" y="2818"/>
                </a:lnTo>
                <a:lnTo>
                  <a:pt x="5322" y="2830"/>
                </a:lnTo>
                <a:lnTo>
                  <a:pt x="5324" y="2841"/>
                </a:lnTo>
                <a:lnTo>
                  <a:pt x="5327" y="2846"/>
                </a:lnTo>
                <a:close/>
                <a:moveTo>
                  <a:pt x="5734" y="2517"/>
                </a:moveTo>
                <a:lnTo>
                  <a:pt x="5769" y="2476"/>
                </a:lnTo>
                <a:lnTo>
                  <a:pt x="5763" y="2439"/>
                </a:lnTo>
                <a:lnTo>
                  <a:pt x="5735" y="2425"/>
                </a:lnTo>
                <a:lnTo>
                  <a:pt x="5702" y="2455"/>
                </a:lnTo>
                <a:lnTo>
                  <a:pt x="5692" y="2471"/>
                </a:lnTo>
                <a:lnTo>
                  <a:pt x="5701" y="2495"/>
                </a:lnTo>
                <a:lnTo>
                  <a:pt x="5718" y="2514"/>
                </a:lnTo>
                <a:lnTo>
                  <a:pt x="5734" y="2517"/>
                </a:lnTo>
                <a:close/>
                <a:moveTo>
                  <a:pt x="5347" y="2806"/>
                </a:moveTo>
                <a:lnTo>
                  <a:pt x="5377" y="2794"/>
                </a:lnTo>
                <a:lnTo>
                  <a:pt x="5399" y="2760"/>
                </a:lnTo>
                <a:lnTo>
                  <a:pt x="5411" y="2732"/>
                </a:lnTo>
                <a:lnTo>
                  <a:pt x="5410" y="2738"/>
                </a:lnTo>
                <a:lnTo>
                  <a:pt x="5415" y="2750"/>
                </a:lnTo>
                <a:lnTo>
                  <a:pt x="5427" y="2750"/>
                </a:lnTo>
                <a:lnTo>
                  <a:pt x="5436" y="2739"/>
                </a:lnTo>
                <a:lnTo>
                  <a:pt x="5433" y="2724"/>
                </a:lnTo>
                <a:lnTo>
                  <a:pt x="5396" y="2674"/>
                </a:lnTo>
                <a:lnTo>
                  <a:pt x="5344" y="2706"/>
                </a:lnTo>
                <a:lnTo>
                  <a:pt x="5315" y="2769"/>
                </a:lnTo>
                <a:lnTo>
                  <a:pt x="5347" y="2806"/>
                </a:lnTo>
                <a:close/>
                <a:moveTo>
                  <a:pt x="5238" y="2808"/>
                </a:moveTo>
                <a:lnTo>
                  <a:pt x="5256" y="2961"/>
                </a:lnTo>
                <a:lnTo>
                  <a:pt x="5363" y="3008"/>
                </a:lnTo>
                <a:lnTo>
                  <a:pt x="5420" y="2962"/>
                </a:lnTo>
                <a:lnTo>
                  <a:pt x="5293" y="2839"/>
                </a:lnTo>
                <a:lnTo>
                  <a:pt x="5282" y="2832"/>
                </a:lnTo>
                <a:lnTo>
                  <a:pt x="5266" y="2797"/>
                </a:lnTo>
                <a:lnTo>
                  <a:pt x="5251" y="2775"/>
                </a:lnTo>
                <a:lnTo>
                  <a:pt x="5238" y="2808"/>
                </a:lnTo>
                <a:close/>
                <a:moveTo>
                  <a:pt x="5394" y="1861"/>
                </a:moveTo>
                <a:lnTo>
                  <a:pt x="5432" y="1820"/>
                </a:lnTo>
                <a:lnTo>
                  <a:pt x="5432" y="1778"/>
                </a:lnTo>
                <a:lnTo>
                  <a:pt x="5406" y="1758"/>
                </a:lnTo>
                <a:lnTo>
                  <a:pt x="5368" y="1787"/>
                </a:lnTo>
                <a:lnTo>
                  <a:pt x="5357" y="1804"/>
                </a:lnTo>
                <a:lnTo>
                  <a:pt x="5363" y="1832"/>
                </a:lnTo>
                <a:lnTo>
                  <a:pt x="5378" y="1855"/>
                </a:lnTo>
                <a:lnTo>
                  <a:pt x="5394" y="1861"/>
                </a:lnTo>
                <a:close/>
                <a:moveTo>
                  <a:pt x="5949" y="1834"/>
                </a:moveTo>
                <a:lnTo>
                  <a:pt x="5931" y="1870"/>
                </a:lnTo>
                <a:lnTo>
                  <a:pt x="5949" y="1903"/>
                </a:lnTo>
                <a:lnTo>
                  <a:pt x="5983" y="1921"/>
                </a:lnTo>
                <a:lnTo>
                  <a:pt x="6016" y="1911"/>
                </a:lnTo>
                <a:lnTo>
                  <a:pt x="6015" y="1874"/>
                </a:lnTo>
                <a:lnTo>
                  <a:pt x="6000" y="1843"/>
                </a:lnTo>
                <a:lnTo>
                  <a:pt x="5977" y="1828"/>
                </a:lnTo>
                <a:lnTo>
                  <a:pt x="5949" y="1834"/>
                </a:lnTo>
                <a:close/>
                <a:moveTo>
                  <a:pt x="5935" y="1339"/>
                </a:moveTo>
                <a:lnTo>
                  <a:pt x="5946" y="1349"/>
                </a:lnTo>
                <a:lnTo>
                  <a:pt x="5969" y="1347"/>
                </a:lnTo>
                <a:lnTo>
                  <a:pt x="5990" y="1337"/>
                </a:lnTo>
                <a:lnTo>
                  <a:pt x="5996" y="1325"/>
                </a:lnTo>
                <a:lnTo>
                  <a:pt x="5968" y="1291"/>
                </a:lnTo>
                <a:lnTo>
                  <a:pt x="5934" y="1287"/>
                </a:lnTo>
                <a:lnTo>
                  <a:pt x="5916" y="1307"/>
                </a:lnTo>
                <a:lnTo>
                  <a:pt x="5935" y="1339"/>
                </a:lnTo>
                <a:close/>
                <a:moveTo>
                  <a:pt x="5801" y="2632"/>
                </a:moveTo>
                <a:lnTo>
                  <a:pt x="5805" y="2629"/>
                </a:lnTo>
                <a:lnTo>
                  <a:pt x="5809" y="2625"/>
                </a:lnTo>
                <a:lnTo>
                  <a:pt x="5813" y="2620"/>
                </a:lnTo>
                <a:lnTo>
                  <a:pt x="5814" y="2615"/>
                </a:lnTo>
                <a:lnTo>
                  <a:pt x="5822" y="2673"/>
                </a:lnTo>
                <a:lnTo>
                  <a:pt x="5839" y="2718"/>
                </a:lnTo>
                <a:lnTo>
                  <a:pt x="5871" y="2739"/>
                </a:lnTo>
                <a:lnTo>
                  <a:pt x="5916" y="2729"/>
                </a:lnTo>
                <a:lnTo>
                  <a:pt x="5925" y="2779"/>
                </a:lnTo>
                <a:lnTo>
                  <a:pt x="5923" y="2834"/>
                </a:lnTo>
                <a:lnTo>
                  <a:pt x="5941" y="2867"/>
                </a:lnTo>
                <a:lnTo>
                  <a:pt x="6010" y="2855"/>
                </a:lnTo>
                <a:lnTo>
                  <a:pt x="5951" y="2518"/>
                </a:lnTo>
                <a:lnTo>
                  <a:pt x="5890" y="2410"/>
                </a:lnTo>
                <a:lnTo>
                  <a:pt x="5841" y="2454"/>
                </a:lnTo>
                <a:lnTo>
                  <a:pt x="5815" y="2575"/>
                </a:lnTo>
                <a:lnTo>
                  <a:pt x="5813" y="2566"/>
                </a:lnTo>
                <a:lnTo>
                  <a:pt x="5809" y="2557"/>
                </a:lnTo>
                <a:lnTo>
                  <a:pt x="5805" y="2551"/>
                </a:lnTo>
                <a:lnTo>
                  <a:pt x="5800" y="2546"/>
                </a:lnTo>
                <a:lnTo>
                  <a:pt x="5781" y="2557"/>
                </a:lnTo>
                <a:lnTo>
                  <a:pt x="5771" y="2592"/>
                </a:lnTo>
                <a:lnTo>
                  <a:pt x="5776" y="2625"/>
                </a:lnTo>
                <a:lnTo>
                  <a:pt x="5801" y="2632"/>
                </a:lnTo>
                <a:close/>
                <a:moveTo>
                  <a:pt x="5791" y="2247"/>
                </a:moveTo>
                <a:lnTo>
                  <a:pt x="5802" y="2268"/>
                </a:lnTo>
                <a:lnTo>
                  <a:pt x="5806" y="2287"/>
                </a:lnTo>
                <a:lnTo>
                  <a:pt x="5801" y="2305"/>
                </a:lnTo>
                <a:lnTo>
                  <a:pt x="5788" y="2326"/>
                </a:lnTo>
                <a:lnTo>
                  <a:pt x="5874" y="2368"/>
                </a:lnTo>
                <a:lnTo>
                  <a:pt x="5870" y="2272"/>
                </a:lnTo>
                <a:lnTo>
                  <a:pt x="5825" y="2183"/>
                </a:lnTo>
                <a:lnTo>
                  <a:pt x="5791" y="2247"/>
                </a:lnTo>
                <a:close/>
                <a:moveTo>
                  <a:pt x="5709" y="2303"/>
                </a:moveTo>
                <a:lnTo>
                  <a:pt x="5726" y="2335"/>
                </a:lnTo>
                <a:lnTo>
                  <a:pt x="5750" y="2319"/>
                </a:lnTo>
                <a:lnTo>
                  <a:pt x="5763" y="2280"/>
                </a:lnTo>
                <a:lnTo>
                  <a:pt x="5748" y="2243"/>
                </a:lnTo>
                <a:lnTo>
                  <a:pt x="5726" y="2244"/>
                </a:lnTo>
                <a:lnTo>
                  <a:pt x="5723" y="2263"/>
                </a:lnTo>
                <a:lnTo>
                  <a:pt x="5723" y="2287"/>
                </a:lnTo>
                <a:lnTo>
                  <a:pt x="5709" y="2303"/>
                </a:lnTo>
                <a:close/>
                <a:moveTo>
                  <a:pt x="5743" y="1964"/>
                </a:moveTo>
                <a:lnTo>
                  <a:pt x="5745" y="1990"/>
                </a:lnTo>
                <a:lnTo>
                  <a:pt x="5776" y="2007"/>
                </a:lnTo>
                <a:lnTo>
                  <a:pt x="5810" y="2014"/>
                </a:lnTo>
                <a:lnTo>
                  <a:pt x="5829" y="2005"/>
                </a:lnTo>
                <a:lnTo>
                  <a:pt x="5830" y="1932"/>
                </a:lnTo>
                <a:lnTo>
                  <a:pt x="5792" y="1898"/>
                </a:lnTo>
                <a:lnTo>
                  <a:pt x="5751" y="1906"/>
                </a:lnTo>
                <a:lnTo>
                  <a:pt x="5743" y="1964"/>
                </a:lnTo>
                <a:close/>
                <a:moveTo>
                  <a:pt x="1632" y="5821"/>
                </a:moveTo>
                <a:lnTo>
                  <a:pt x="1748" y="5796"/>
                </a:lnTo>
                <a:lnTo>
                  <a:pt x="1838" y="5803"/>
                </a:lnTo>
                <a:lnTo>
                  <a:pt x="1893" y="5791"/>
                </a:lnTo>
                <a:lnTo>
                  <a:pt x="1903" y="5703"/>
                </a:lnTo>
                <a:lnTo>
                  <a:pt x="1723" y="5662"/>
                </a:lnTo>
                <a:lnTo>
                  <a:pt x="1518" y="5686"/>
                </a:lnTo>
                <a:lnTo>
                  <a:pt x="1437" y="5747"/>
                </a:lnTo>
                <a:lnTo>
                  <a:pt x="1632" y="5821"/>
                </a:lnTo>
                <a:close/>
                <a:moveTo>
                  <a:pt x="5774" y="2012"/>
                </a:moveTo>
                <a:lnTo>
                  <a:pt x="5749" y="2032"/>
                </a:lnTo>
                <a:lnTo>
                  <a:pt x="5758" y="2058"/>
                </a:lnTo>
                <a:lnTo>
                  <a:pt x="5774" y="2090"/>
                </a:lnTo>
                <a:lnTo>
                  <a:pt x="5768" y="2122"/>
                </a:lnTo>
                <a:lnTo>
                  <a:pt x="5810" y="2151"/>
                </a:lnTo>
                <a:lnTo>
                  <a:pt x="5830" y="2112"/>
                </a:lnTo>
                <a:lnTo>
                  <a:pt x="5822" y="2049"/>
                </a:lnTo>
                <a:lnTo>
                  <a:pt x="5774" y="2012"/>
                </a:lnTo>
                <a:close/>
                <a:moveTo>
                  <a:pt x="5368" y="2287"/>
                </a:moveTo>
                <a:lnTo>
                  <a:pt x="5366" y="2299"/>
                </a:lnTo>
                <a:lnTo>
                  <a:pt x="5369" y="2310"/>
                </a:lnTo>
                <a:lnTo>
                  <a:pt x="5378" y="2317"/>
                </a:lnTo>
                <a:lnTo>
                  <a:pt x="5390" y="2315"/>
                </a:lnTo>
                <a:lnTo>
                  <a:pt x="5401" y="2308"/>
                </a:lnTo>
                <a:lnTo>
                  <a:pt x="5395" y="2293"/>
                </a:lnTo>
                <a:lnTo>
                  <a:pt x="5381" y="2282"/>
                </a:lnTo>
                <a:lnTo>
                  <a:pt x="5368" y="2287"/>
                </a:lnTo>
                <a:close/>
                <a:moveTo>
                  <a:pt x="5198" y="2589"/>
                </a:moveTo>
                <a:lnTo>
                  <a:pt x="5201" y="2622"/>
                </a:lnTo>
                <a:lnTo>
                  <a:pt x="5194" y="2655"/>
                </a:lnTo>
                <a:lnTo>
                  <a:pt x="5199" y="2678"/>
                </a:lnTo>
                <a:lnTo>
                  <a:pt x="5245" y="2681"/>
                </a:lnTo>
                <a:lnTo>
                  <a:pt x="5266" y="2631"/>
                </a:lnTo>
                <a:lnTo>
                  <a:pt x="5245" y="2573"/>
                </a:lnTo>
                <a:lnTo>
                  <a:pt x="5212" y="2545"/>
                </a:lnTo>
                <a:lnTo>
                  <a:pt x="5198" y="2589"/>
                </a:lnTo>
                <a:close/>
                <a:moveTo>
                  <a:pt x="4638" y="3501"/>
                </a:moveTo>
                <a:lnTo>
                  <a:pt x="4660" y="3502"/>
                </a:lnTo>
                <a:lnTo>
                  <a:pt x="4661" y="3475"/>
                </a:lnTo>
                <a:lnTo>
                  <a:pt x="4649" y="3457"/>
                </a:lnTo>
                <a:lnTo>
                  <a:pt x="4631" y="3480"/>
                </a:lnTo>
                <a:lnTo>
                  <a:pt x="4627" y="3487"/>
                </a:lnTo>
                <a:lnTo>
                  <a:pt x="4628" y="3492"/>
                </a:lnTo>
                <a:lnTo>
                  <a:pt x="4632" y="3497"/>
                </a:lnTo>
                <a:lnTo>
                  <a:pt x="4638" y="3501"/>
                </a:lnTo>
                <a:close/>
                <a:moveTo>
                  <a:pt x="4773" y="2764"/>
                </a:moveTo>
                <a:lnTo>
                  <a:pt x="4800" y="2781"/>
                </a:lnTo>
                <a:lnTo>
                  <a:pt x="4813" y="2758"/>
                </a:lnTo>
                <a:lnTo>
                  <a:pt x="4808" y="2722"/>
                </a:lnTo>
                <a:lnTo>
                  <a:pt x="4779" y="2697"/>
                </a:lnTo>
                <a:lnTo>
                  <a:pt x="4762" y="2709"/>
                </a:lnTo>
                <a:lnTo>
                  <a:pt x="4768" y="2725"/>
                </a:lnTo>
                <a:lnTo>
                  <a:pt x="4779" y="2744"/>
                </a:lnTo>
                <a:lnTo>
                  <a:pt x="4773" y="2764"/>
                </a:lnTo>
                <a:close/>
                <a:moveTo>
                  <a:pt x="4612" y="3252"/>
                </a:moveTo>
                <a:lnTo>
                  <a:pt x="4586" y="3246"/>
                </a:lnTo>
                <a:lnTo>
                  <a:pt x="4589" y="3266"/>
                </a:lnTo>
                <a:lnTo>
                  <a:pt x="4608" y="3285"/>
                </a:lnTo>
                <a:lnTo>
                  <a:pt x="4628" y="3278"/>
                </a:lnTo>
                <a:lnTo>
                  <a:pt x="4628" y="3270"/>
                </a:lnTo>
                <a:lnTo>
                  <a:pt x="4624" y="3262"/>
                </a:lnTo>
                <a:lnTo>
                  <a:pt x="4618" y="3257"/>
                </a:lnTo>
                <a:lnTo>
                  <a:pt x="4612" y="3252"/>
                </a:lnTo>
                <a:close/>
                <a:moveTo>
                  <a:pt x="4707" y="1110"/>
                </a:moveTo>
                <a:lnTo>
                  <a:pt x="4694" y="1076"/>
                </a:lnTo>
                <a:lnTo>
                  <a:pt x="4659" y="1065"/>
                </a:lnTo>
                <a:lnTo>
                  <a:pt x="4622" y="1076"/>
                </a:lnTo>
                <a:lnTo>
                  <a:pt x="4608" y="1104"/>
                </a:lnTo>
                <a:lnTo>
                  <a:pt x="4635" y="1128"/>
                </a:lnTo>
                <a:lnTo>
                  <a:pt x="4666" y="1137"/>
                </a:lnTo>
                <a:lnTo>
                  <a:pt x="4693" y="1133"/>
                </a:lnTo>
                <a:lnTo>
                  <a:pt x="4707" y="1110"/>
                </a:lnTo>
                <a:close/>
                <a:moveTo>
                  <a:pt x="4707" y="2242"/>
                </a:moveTo>
                <a:lnTo>
                  <a:pt x="4725" y="2261"/>
                </a:lnTo>
                <a:lnTo>
                  <a:pt x="4738" y="2247"/>
                </a:lnTo>
                <a:lnTo>
                  <a:pt x="4737" y="2224"/>
                </a:lnTo>
                <a:lnTo>
                  <a:pt x="4715" y="2217"/>
                </a:lnTo>
                <a:lnTo>
                  <a:pt x="4707" y="2223"/>
                </a:lnTo>
                <a:lnTo>
                  <a:pt x="4706" y="2228"/>
                </a:lnTo>
                <a:lnTo>
                  <a:pt x="4707" y="2233"/>
                </a:lnTo>
                <a:lnTo>
                  <a:pt x="4707" y="2242"/>
                </a:lnTo>
                <a:close/>
                <a:moveTo>
                  <a:pt x="4731" y="3223"/>
                </a:moveTo>
                <a:lnTo>
                  <a:pt x="4698" y="3204"/>
                </a:lnTo>
                <a:lnTo>
                  <a:pt x="4663" y="3218"/>
                </a:lnTo>
                <a:lnTo>
                  <a:pt x="4641" y="3247"/>
                </a:lnTo>
                <a:lnTo>
                  <a:pt x="4649" y="3279"/>
                </a:lnTo>
                <a:lnTo>
                  <a:pt x="4686" y="3280"/>
                </a:lnTo>
                <a:lnTo>
                  <a:pt x="4717" y="3269"/>
                </a:lnTo>
                <a:lnTo>
                  <a:pt x="4735" y="3248"/>
                </a:lnTo>
                <a:lnTo>
                  <a:pt x="4731" y="3223"/>
                </a:lnTo>
                <a:close/>
                <a:moveTo>
                  <a:pt x="4725" y="2896"/>
                </a:moveTo>
                <a:lnTo>
                  <a:pt x="4711" y="2902"/>
                </a:lnTo>
                <a:lnTo>
                  <a:pt x="4714" y="2916"/>
                </a:lnTo>
                <a:lnTo>
                  <a:pt x="4720" y="2932"/>
                </a:lnTo>
                <a:lnTo>
                  <a:pt x="4715" y="2946"/>
                </a:lnTo>
                <a:lnTo>
                  <a:pt x="4733" y="2962"/>
                </a:lnTo>
                <a:lnTo>
                  <a:pt x="4745" y="2946"/>
                </a:lnTo>
                <a:lnTo>
                  <a:pt x="4744" y="2916"/>
                </a:lnTo>
                <a:lnTo>
                  <a:pt x="4725" y="2896"/>
                </a:lnTo>
                <a:close/>
                <a:moveTo>
                  <a:pt x="5139" y="2859"/>
                </a:moveTo>
                <a:lnTo>
                  <a:pt x="5154" y="2869"/>
                </a:lnTo>
                <a:lnTo>
                  <a:pt x="5161" y="2855"/>
                </a:lnTo>
                <a:lnTo>
                  <a:pt x="5157" y="2835"/>
                </a:lnTo>
                <a:lnTo>
                  <a:pt x="5141" y="2823"/>
                </a:lnTo>
                <a:lnTo>
                  <a:pt x="5133" y="2828"/>
                </a:lnTo>
                <a:lnTo>
                  <a:pt x="5135" y="2839"/>
                </a:lnTo>
                <a:lnTo>
                  <a:pt x="5141" y="2849"/>
                </a:lnTo>
                <a:lnTo>
                  <a:pt x="5139" y="2859"/>
                </a:lnTo>
                <a:close/>
                <a:moveTo>
                  <a:pt x="5162" y="1469"/>
                </a:moveTo>
                <a:lnTo>
                  <a:pt x="5185" y="1468"/>
                </a:lnTo>
                <a:lnTo>
                  <a:pt x="5196" y="1454"/>
                </a:lnTo>
                <a:lnTo>
                  <a:pt x="5192" y="1441"/>
                </a:lnTo>
                <a:lnTo>
                  <a:pt x="5173" y="1438"/>
                </a:lnTo>
                <a:lnTo>
                  <a:pt x="5164" y="1441"/>
                </a:lnTo>
                <a:lnTo>
                  <a:pt x="5159" y="1451"/>
                </a:lnTo>
                <a:lnTo>
                  <a:pt x="5158" y="1463"/>
                </a:lnTo>
                <a:lnTo>
                  <a:pt x="5162" y="1469"/>
                </a:lnTo>
                <a:close/>
                <a:moveTo>
                  <a:pt x="4996" y="938"/>
                </a:moveTo>
                <a:lnTo>
                  <a:pt x="5019" y="936"/>
                </a:lnTo>
                <a:lnTo>
                  <a:pt x="5036" y="909"/>
                </a:lnTo>
                <a:lnTo>
                  <a:pt x="5042" y="877"/>
                </a:lnTo>
                <a:lnTo>
                  <a:pt x="5036" y="860"/>
                </a:lnTo>
                <a:lnTo>
                  <a:pt x="4975" y="855"/>
                </a:lnTo>
                <a:lnTo>
                  <a:pt x="4942" y="888"/>
                </a:lnTo>
                <a:lnTo>
                  <a:pt x="4947" y="927"/>
                </a:lnTo>
                <a:lnTo>
                  <a:pt x="4996" y="938"/>
                </a:lnTo>
                <a:close/>
                <a:moveTo>
                  <a:pt x="4836" y="2706"/>
                </a:moveTo>
                <a:lnTo>
                  <a:pt x="4845" y="2710"/>
                </a:lnTo>
                <a:lnTo>
                  <a:pt x="4856" y="2702"/>
                </a:lnTo>
                <a:lnTo>
                  <a:pt x="4865" y="2691"/>
                </a:lnTo>
                <a:lnTo>
                  <a:pt x="4865" y="2682"/>
                </a:lnTo>
                <a:lnTo>
                  <a:pt x="4841" y="2669"/>
                </a:lnTo>
                <a:lnTo>
                  <a:pt x="4822" y="2676"/>
                </a:lnTo>
                <a:lnTo>
                  <a:pt x="4817" y="2692"/>
                </a:lnTo>
                <a:lnTo>
                  <a:pt x="4836" y="2706"/>
                </a:lnTo>
                <a:close/>
                <a:moveTo>
                  <a:pt x="5159" y="2338"/>
                </a:moveTo>
                <a:lnTo>
                  <a:pt x="5171" y="2331"/>
                </a:lnTo>
                <a:lnTo>
                  <a:pt x="5176" y="2318"/>
                </a:lnTo>
                <a:lnTo>
                  <a:pt x="5175" y="2304"/>
                </a:lnTo>
                <a:lnTo>
                  <a:pt x="5164" y="2295"/>
                </a:lnTo>
                <a:lnTo>
                  <a:pt x="5147" y="2290"/>
                </a:lnTo>
                <a:lnTo>
                  <a:pt x="5140" y="2309"/>
                </a:lnTo>
                <a:lnTo>
                  <a:pt x="5144" y="2332"/>
                </a:lnTo>
                <a:lnTo>
                  <a:pt x="5159" y="2338"/>
                </a:lnTo>
                <a:close/>
                <a:moveTo>
                  <a:pt x="4912" y="2837"/>
                </a:moveTo>
                <a:lnTo>
                  <a:pt x="4921" y="2823"/>
                </a:lnTo>
                <a:lnTo>
                  <a:pt x="4921" y="2804"/>
                </a:lnTo>
                <a:lnTo>
                  <a:pt x="4915" y="2786"/>
                </a:lnTo>
                <a:lnTo>
                  <a:pt x="4905" y="2774"/>
                </a:lnTo>
                <a:lnTo>
                  <a:pt x="4892" y="2784"/>
                </a:lnTo>
                <a:lnTo>
                  <a:pt x="4887" y="2809"/>
                </a:lnTo>
                <a:lnTo>
                  <a:pt x="4893" y="2834"/>
                </a:lnTo>
                <a:lnTo>
                  <a:pt x="4912" y="2837"/>
                </a:lnTo>
                <a:close/>
                <a:moveTo>
                  <a:pt x="4981" y="2139"/>
                </a:moveTo>
                <a:lnTo>
                  <a:pt x="5023" y="2104"/>
                </a:lnTo>
                <a:lnTo>
                  <a:pt x="5042" y="2047"/>
                </a:lnTo>
                <a:lnTo>
                  <a:pt x="5041" y="1984"/>
                </a:lnTo>
                <a:lnTo>
                  <a:pt x="5019" y="1935"/>
                </a:lnTo>
                <a:lnTo>
                  <a:pt x="4966" y="1935"/>
                </a:lnTo>
                <a:lnTo>
                  <a:pt x="4954" y="1977"/>
                </a:lnTo>
                <a:lnTo>
                  <a:pt x="4948" y="2030"/>
                </a:lnTo>
                <a:lnTo>
                  <a:pt x="4911" y="2065"/>
                </a:lnTo>
                <a:lnTo>
                  <a:pt x="4901" y="2085"/>
                </a:lnTo>
                <a:lnTo>
                  <a:pt x="4915" y="2113"/>
                </a:lnTo>
                <a:lnTo>
                  <a:pt x="4944" y="2135"/>
                </a:lnTo>
                <a:lnTo>
                  <a:pt x="4981" y="2139"/>
                </a:lnTo>
                <a:close/>
                <a:moveTo>
                  <a:pt x="4971" y="2203"/>
                </a:moveTo>
                <a:lnTo>
                  <a:pt x="4956" y="2198"/>
                </a:lnTo>
                <a:lnTo>
                  <a:pt x="4949" y="2215"/>
                </a:lnTo>
                <a:lnTo>
                  <a:pt x="4952" y="2234"/>
                </a:lnTo>
                <a:lnTo>
                  <a:pt x="4964" y="2239"/>
                </a:lnTo>
                <a:lnTo>
                  <a:pt x="4975" y="2234"/>
                </a:lnTo>
                <a:lnTo>
                  <a:pt x="4980" y="2223"/>
                </a:lnTo>
                <a:lnTo>
                  <a:pt x="4978" y="2211"/>
                </a:lnTo>
                <a:lnTo>
                  <a:pt x="4971" y="2203"/>
                </a:lnTo>
                <a:close/>
                <a:moveTo>
                  <a:pt x="4896" y="2527"/>
                </a:moveTo>
                <a:lnTo>
                  <a:pt x="4945" y="2505"/>
                </a:lnTo>
                <a:lnTo>
                  <a:pt x="4981" y="2454"/>
                </a:lnTo>
                <a:lnTo>
                  <a:pt x="4996" y="2394"/>
                </a:lnTo>
                <a:lnTo>
                  <a:pt x="4990" y="2342"/>
                </a:lnTo>
                <a:lnTo>
                  <a:pt x="4940" y="2328"/>
                </a:lnTo>
                <a:lnTo>
                  <a:pt x="4917" y="2365"/>
                </a:lnTo>
                <a:lnTo>
                  <a:pt x="4896" y="2415"/>
                </a:lnTo>
                <a:lnTo>
                  <a:pt x="4851" y="2438"/>
                </a:lnTo>
                <a:lnTo>
                  <a:pt x="4836" y="2454"/>
                </a:lnTo>
                <a:lnTo>
                  <a:pt x="4841" y="2485"/>
                </a:lnTo>
                <a:lnTo>
                  <a:pt x="4863" y="2514"/>
                </a:lnTo>
                <a:lnTo>
                  <a:pt x="4896" y="2527"/>
                </a:lnTo>
                <a:close/>
                <a:moveTo>
                  <a:pt x="6998" y="2100"/>
                </a:moveTo>
                <a:lnTo>
                  <a:pt x="7015" y="2098"/>
                </a:lnTo>
                <a:lnTo>
                  <a:pt x="7015" y="2077"/>
                </a:lnTo>
                <a:lnTo>
                  <a:pt x="7005" y="2058"/>
                </a:lnTo>
                <a:lnTo>
                  <a:pt x="6987" y="2058"/>
                </a:lnTo>
                <a:lnTo>
                  <a:pt x="6979" y="2070"/>
                </a:lnTo>
                <a:lnTo>
                  <a:pt x="6978" y="2084"/>
                </a:lnTo>
                <a:lnTo>
                  <a:pt x="6984" y="2096"/>
                </a:lnTo>
                <a:lnTo>
                  <a:pt x="6998" y="2100"/>
                </a:lnTo>
                <a:close/>
                <a:moveTo>
                  <a:pt x="6952" y="3442"/>
                </a:moveTo>
                <a:lnTo>
                  <a:pt x="6954" y="3490"/>
                </a:lnTo>
                <a:lnTo>
                  <a:pt x="6975" y="3516"/>
                </a:lnTo>
                <a:lnTo>
                  <a:pt x="7005" y="3525"/>
                </a:lnTo>
                <a:lnTo>
                  <a:pt x="7031" y="3526"/>
                </a:lnTo>
                <a:lnTo>
                  <a:pt x="7106" y="3483"/>
                </a:lnTo>
                <a:lnTo>
                  <a:pt x="7078" y="3411"/>
                </a:lnTo>
                <a:lnTo>
                  <a:pt x="7008" y="3377"/>
                </a:lnTo>
                <a:lnTo>
                  <a:pt x="6952" y="3442"/>
                </a:lnTo>
                <a:close/>
                <a:moveTo>
                  <a:pt x="4570" y="3044"/>
                </a:moveTo>
                <a:lnTo>
                  <a:pt x="4580" y="3052"/>
                </a:lnTo>
                <a:lnTo>
                  <a:pt x="4586" y="3061"/>
                </a:lnTo>
                <a:lnTo>
                  <a:pt x="4588" y="3073"/>
                </a:lnTo>
                <a:lnTo>
                  <a:pt x="4585" y="3087"/>
                </a:lnTo>
                <a:lnTo>
                  <a:pt x="4638" y="3092"/>
                </a:lnTo>
                <a:lnTo>
                  <a:pt x="4618" y="3041"/>
                </a:lnTo>
                <a:lnTo>
                  <a:pt x="4577" y="3003"/>
                </a:lnTo>
                <a:lnTo>
                  <a:pt x="4570" y="3044"/>
                </a:lnTo>
                <a:close/>
                <a:moveTo>
                  <a:pt x="7094" y="3131"/>
                </a:moveTo>
                <a:lnTo>
                  <a:pt x="7133" y="3164"/>
                </a:lnTo>
                <a:lnTo>
                  <a:pt x="7178" y="3161"/>
                </a:lnTo>
                <a:lnTo>
                  <a:pt x="7208" y="3129"/>
                </a:lnTo>
                <a:lnTo>
                  <a:pt x="7210" y="3077"/>
                </a:lnTo>
                <a:lnTo>
                  <a:pt x="7161" y="3058"/>
                </a:lnTo>
                <a:lnTo>
                  <a:pt x="7129" y="3063"/>
                </a:lnTo>
                <a:lnTo>
                  <a:pt x="7108" y="3088"/>
                </a:lnTo>
                <a:lnTo>
                  <a:pt x="7094" y="3131"/>
                </a:lnTo>
                <a:close/>
                <a:moveTo>
                  <a:pt x="7022" y="1338"/>
                </a:moveTo>
                <a:lnTo>
                  <a:pt x="7072" y="1338"/>
                </a:lnTo>
                <a:lnTo>
                  <a:pt x="7075" y="1283"/>
                </a:lnTo>
                <a:lnTo>
                  <a:pt x="7045" y="1246"/>
                </a:lnTo>
                <a:lnTo>
                  <a:pt x="7005" y="1295"/>
                </a:lnTo>
                <a:lnTo>
                  <a:pt x="6997" y="1310"/>
                </a:lnTo>
                <a:lnTo>
                  <a:pt x="7000" y="1320"/>
                </a:lnTo>
                <a:lnTo>
                  <a:pt x="7010" y="1328"/>
                </a:lnTo>
                <a:lnTo>
                  <a:pt x="7022" y="1338"/>
                </a:lnTo>
                <a:close/>
                <a:moveTo>
                  <a:pt x="6665" y="3455"/>
                </a:moveTo>
                <a:lnTo>
                  <a:pt x="6745" y="3441"/>
                </a:lnTo>
                <a:lnTo>
                  <a:pt x="6773" y="3386"/>
                </a:lnTo>
                <a:lnTo>
                  <a:pt x="6758" y="3317"/>
                </a:lnTo>
                <a:lnTo>
                  <a:pt x="6708" y="3265"/>
                </a:lnTo>
                <a:lnTo>
                  <a:pt x="6652" y="3284"/>
                </a:lnTo>
                <a:lnTo>
                  <a:pt x="6637" y="3338"/>
                </a:lnTo>
                <a:lnTo>
                  <a:pt x="6647" y="3403"/>
                </a:lnTo>
                <a:lnTo>
                  <a:pt x="6665" y="3455"/>
                </a:lnTo>
                <a:close/>
                <a:moveTo>
                  <a:pt x="7197" y="3209"/>
                </a:moveTo>
                <a:lnTo>
                  <a:pt x="7224" y="3217"/>
                </a:lnTo>
                <a:lnTo>
                  <a:pt x="7252" y="3208"/>
                </a:lnTo>
                <a:lnTo>
                  <a:pt x="7277" y="3189"/>
                </a:lnTo>
                <a:lnTo>
                  <a:pt x="7291" y="3166"/>
                </a:lnTo>
                <a:lnTo>
                  <a:pt x="7268" y="3150"/>
                </a:lnTo>
                <a:lnTo>
                  <a:pt x="7226" y="3156"/>
                </a:lnTo>
                <a:lnTo>
                  <a:pt x="7193" y="3177"/>
                </a:lnTo>
                <a:lnTo>
                  <a:pt x="7197" y="3209"/>
                </a:lnTo>
                <a:close/>
                <a:moveTo>
                  <a:pt x="7044" y="3016"/>
                </a:moveTo>
                <a:lnTo>
                  <a:pt x="7031" y="3055"/>
                </a:lnTo>
                <a:lnTo>
                  <a:pt x="7064" y="3064"/>
                </a:lnTo>
                <a:lnTo>
                  <a:pt x="7106" y="3044"/>
                </a:lnTo>
                <a:lnTo>
                  <a:pt x="7123" y="2999"/>
                </a:lnTo>
                <a:lnTo>
                  <a:pt x="7104" y="2981"/>
                </a:lnTo>
                <a:lnTo>
                  <a:pt x="7086" y="2995"/>
                </a:lnTo>
                <a:lnTo>
                  <a:pt x="7067" y="3014"/>
                </a:lnTo>
                <a:lnTo>
                  <a:pt x="7044" y="3016"/>
                </a:lnTo>
                <a:close/>
                <a:moveTo>
                  <a:pt x="6980" y="407"/>
                </a:moveTo>
                <a:lnTo>
                  <a:pt x="6991" y="362"/>
                </a:lnTo>
                <a:lnTo>
                  <a:pt x="6964" y="326"/>
                </a:lnTo>
                <a:lnTo>
                  <a:pt x="6923" y="313"/>
                </a:lnTo>
                <a:lnTo>
                  <a:pt x="6890" y="334"/>
                </a:lnTo>
                <a:lnTo>
                  <a:pt x="6901" y="377"/>
                </a:lnTo>
                <a:lnTo>
                  <a:pt x="6924" y="409"/>
                </a:lnTo>
                <a:lnTo>
                  <a:pt x="6952" y="421"/>
                </a:lnTo>
                <a:lnTo>
                  <a:pt x="6980" y="407"/>
                </a:lnTo>
                <a:close/>
                <a:moveTo>
                  <a:pt x="7660" y="2757"/>
                </a:moveTo>
                <a:lnTo>
                  <a:pt x="7643" y="2728"/>
                </a:lnTo>
                <a:lnTo>
                  <a:pt x="7607" y="2724"/>
                </a:lnTo>
                <a:lnTo>
                  <a:pt x="7575" y="2741"/>
                </a:lnTo>
                <a:lnTo>
                  <a:pt x="7567" y="2769"/>
                </a:lnTo>
                <a:lnTo>
                  <a:pt x="7597" y="2785"/>
                </a:lnTo>
                <a:lnTo>
                  <a:pt x="7627" y="2789"/>
                </a:lnTo>
                <a:lnTo>
                  <a:pt x="7652" y="2780"/>
                </a:lnTo>
                <a:lnTo>
                  <a:pt x="7660" y="2757"/>
                </a:lnTo>
                <a:close/>
                <a:moveTo>
                  <a:pt x="7657" y="3026"/>
                </a:moveTo>
                <a:lnTo>
                  <a:pt x="7654" y="2990"/>
                </a:lnTo>
                <a:lnTo>
                  <a:pt x="7601" y="2986"/>
                </a:lnTo>
                <a:lnTo>
                  <a:pt x="7547" y="3005"/>
                </a:lnTo>
                <a:lnTo>
                  <a:pt x="7543" y="3037"/>
                </a:lnTo>
                <a:lnTo>
                  <a:pt x="7570" y="3055"/>
                </a:lnTo>
                <a:lnTo>
                  <a:pt x="7607" y="3060"/>
                </a:lnTo>
                <a:lnTo>
                  <a:pt x="7640" y="3050"/>
                </a:lnTo>
                <a:lnTo>
                  <a:pt x="7657" y="3026"/>
                </a:lnTo>
                <a:close/>
                <a:moveTo>
                  <a:pt x="6788" y="2967"/>
                </a:moveTo>
                <a:lnTo>
                  <a:pt x="6792" y="3014"/>
                </a:lnTo>
                <a:lnTo>
                  <a:pt x="6824" y="3024"/>
                </a:lnTo>
                <a:lnTo>
                  <a:pt x="6852" y="3005"/>
                </a:lnTo>
                <a:lnTo>
                  <a:pt x="6845" y="2960"/>
                </a:lnTo>
                <a:lnTo>
                  <a:pt x="6828" y="2953"/>
                </a:lnTo>
                <a:lnTo>
                  <a:pt x="6815" y="2958"/>
                </a:lnTo>
                <a:lnTo>
                  <a:pt x="6803" y="2966"/>
                </a:lnTo>
                <a:lnTo>
                  <a:pt x="6788" y="2967"/>
                </a:lnTo>
                <a:close/>
                <a:moveTo>
                  <a:pt x="7579" y="3251"/>
                </a:moveTo>
                <a:lnTo>
                  <a:pt x="7557" y="3194"/>
                </a:lnTo>
                <a:lnTo>
                  <a:pt x="7517" y="3168"/>
                </a:lnTo>
                <a:lnTo>
                  <a:pt x="7468" y="3177"/>
                </a:lnTo>
                <a:lnTo>
                  <a:pt x="7426" y="3224"/>
                </a:lnTo>
                <a:lnTo>
                  <a:pt x="7445" y="3278"/>
                </a:lnTo>
                <a:lnTo>
                  <a:pt x="7487" y="3306"/>
                </a:lnTo>
                <a:lnTo>
                  <a:pt x="7538" y="3298"/>
                </a:lnTo>
                <a:lnTo>
                  <a:pt x="7579" y="3251"/>
                </a:lnTo>
                <a:close/>
                <a:moveTo>
                  <a:pt x="7269" y="3585"/>
                </a:moveTo>
                <a:lnTo>
                  <a:pt x="7277" y="3583"/>
                </a:lnTo>
                <a:lnTo>
                  <a:pt x="7281" y="3579"/>
                </a:lnTo>
                <a:lnTo>
                  <a:pt x="7281" y="3572"/>
                </a:lnTo>
                <a:lnTo>
                  <a:pt x="7282" y="3564"/>
                </a:lnTo>
                <a:lnTo>
                  <a:pt x="7268" y="3544"/>
                </a:lnTo>
                <a:lnTo>
                  <a:pt x="7247" y="3559"/>
                </a:lnTo>
                <a:lnTo>
                  <a:pt x="7239" y="3582"/>
                </a:lnTo>
                <a:lnTo>
                  <a:pt x="7269" y="3585"/>
                </a:lnTo>
                <a:close/>
                <a:moveTo>
                  <a:pt x="7374" y="3663"/>
                </a:moveTo>
                <a:lnTo>
                  <a:pt x="7462" y="3615"/>
                </a:lnTo>
                <a:lnTo>
                  <a:pt x="7435" y="3527"/>
                </a:lnTo>
                <a:lnTo>
                  <a:pt x="7357" y="3483"/>
                </a:lnTo>
                <a:lnTo>
                  <a:pt x="7289" y="3563"/>
                </a:lnTo>
                <a:lnTo>
                  <a:pt x="7287" y="3606"/>
                </a:lnTo>
                <a:lnTo>
                  <a:pt x="7303" y="3638"/>
                </a:lnTo>
                <a:lnTo>
                  <a:pt x="7333" y="3657"/>
                </a:lnTo>
                <a:lnTo>
                  <a:pt x="7374" y="3663"/>
                </a:lnTo>
                <a:close/>
                <a:moveTo>
                  <a:pt x="7271" y="2724"/>
                </a:moveTo>
                <a:lnTo>
                  <a:pt x="7259" y="2750"/>
                </a:lnTo>
                <a:lnTo>
                  <a:pt x="7259" y="2769"/>
                </a:lnTo>
                <a:lnTo>
                  <a:pt x="7273" y="2781"/>
                </a:lnTo>
                <a:lnTo>
                  <a:pt x="7301" y="2790"/>
                </a:lnTo>
                <a:lnTo>
                  <a:pt x="7313" y="2764"/>
                </a:lnTo>
                <a:lnTo>
                  <a:pt x="7312" y="2744"/>
                </a:lnTo>
                <a:lnTo>
                  <a:pt x="7298" y="2730"/>
                </a:lnTo>
                <a:lnTo>
                  <a:pt x="7271" y="2724"/>
                </a:lnTo>
                <a:close/>
                <a:moveTo>
                  <a:pt x="5708" y="2618"/>
                </a:moveTo>
                <a:lnTo>
                  <a:pt x="5720" y="2603"/>
                </a:lnTo>
                <a:lnTo>
                  <a:pt x="5720" y="2580"/>
                </a:lnTo>
                <a:lnTo>
                  <a:pt x="5713" y="2559"/>
                </a:lnTo>
                <a:lnTo>
                  <a:pt x="5702" y="2543"/>
                </a:lnTo>
                <a:lnTo>
                  <a:pt x="5687" y="2555"/>
                </a:lnTo>
                <a:lnTo>
                  <a:pt x="5680" y="2585"/>
                </a:lnTo>
                <a:lnTo>
                  <a:pt x="5685" y="2613"/>
                </a:lnTo>
                <a:lnTo>
                  <a:pt x="5708" y="2618"/>
                </a:lnTo>
                <a:close/>
                <a:moveTo>
                  <a:pt x="7686" y="2887"/>
                </a:moveTo>
                <a:lnTo>
                  <a:pt x="7631" y="2834"/>
                </a:lnTo>
                <a:lnTo>
                  <a:pt x="7602" y="2878"/>
                </a:lnTo>
                <a:lnTo>
                  <a:pt x="7616" y="2926"/>
                </a:lnTo>
                <a:lnTo>
                  <a:pt x="7686" y="2887"/>
                </a:lnTo>
                <a:close/>
                <a:moveTo>
                  <a:pt x="7459" y="2082"/>
                </a:moveTo>
                <a:lnTo>
                  <a:pt x="7503" y="2140"/>
                </a:lnTo>
                <a:lnTo>
                  <a:pt x="7555" y="2146"/>
                </a:lnTo>
                <a:lnTo>
                  <a:pt x="7583" y="2116"/>
                </a:lnTo>
                <a:lnTo>
                  <a:pt x="7555" y="2063"/>
                </a:lnTo>
                <a:lnTo>
                  <a:pt x="7537" y="2046"/>
                </a:lnTo>
                <a:lnTo>
                  <a:pt x="7501" y="2048"/>
                </a:lnTo>
                <a:lnTo>
                  <a:pt x="7469" y="2065"/>
                </a:lnTo>
                <a:lnTo>
                  <a:pt x="7459" y="2082"/>
                </a:lnTo>
                <a:close/>
                <a:moveTo>
                  <a:pt x="7417" y="544"/>
                </a:moveTo>
                <a:lnTo>
                  <a:pt x="7463" y="505"/>
                </a:lnTo>
                <a:lnTo>
                  <a:pt x="7464" y="465"/>
                </a:lnTo>
                <a:lnTo>
                  <a:pt x="7438" y="446"/>
                </a:lnTo>
                <a:lnTo>
                  <a:pt x="7396" y="471"/>
                </a:lnTo>
                <a:lnTo>
                  <a:pt x="7382" y="486"/>
                </a:lnTo>
                <a:lnTo>
                  <a:pt x="7387" y="513"/>
                </a:lnTo>
                <a:lnTo>
                  <a:pt x="7402" y="537"/>
                </a:lnTo>
                <a:lnTo>
                  <a:pt x="7417" y="544"/>
                </a:lnTo>
                <a:close/>
                <a:moveTo>
                  <a:pt x="6176" y="2662"/>
                </a:moveTo>
                <a:lnTo>
                  <a:pt x="6142" y="2679"/>
                </a:lnTo>
                <a:lnTo>
                  <a:pt x="6144" y="2706"/>
                </a:lnTo>
                <a:lnTo>
                  <a:pt x="6165" y="2722"/>
                </a:lnTo>
                <a:lnTo>
                  <a:pt x="6198" y="2702"/>
                </a:lnTo>
                <a:lnTo>
                  <a:pt x="6191" y="2786"/>
                </a:lnTo>
                <a:lnTo>
                  <a:pt x="6234" y="2813"/>
                </a:lnTo>
                <a:lnTo>
                  <a:pt x="6285" y="2790"/>
                </a:lnTo>
                <a:lnTo>
                  <a:pt x="6304" y="2720"/>
                </a:lnTo>
                <a:lnTo>
                  <a:pt x="6332" y="2704"/>
                </a:lnTo>
                <a:lnTo>
                  <a:pt x="6342" y="2667"/>
                </a:lnTo>
                <a:lnTo>
                  <a:pt x="6336" y="2641"/>
                </a:lnTo>
                <a:lnTo>
                  <a:pt x="6313" y="2658"/>
                </a:lnTo>
                <a:lnTo>
                  <a:pt x="6284" y="2668"/>
                </a:lnTo>
                <a:lnTo>
                  <a:pt x="6234" y="2613"/>
                </a:lnTo>
                <a:lnTo>
                  <a:pt x="6190" y="2581"/>
                </a:lnTo>
                <a:lnTo>
                  <a:pt x="6176" y="2662"/>
                </a:lnTo>
                <a:close/>
                <a:moveTo>
                  <a:pt x="6084" y="2337"/>
                </a:moveTo>
                <a:lnTo>
                  <a:pt x="6142" y="2324"/>
                </a:lnTo>
                <a:lnTo>
                  <a:pt x="6165" y="2289"/>
                </a:lnTo>
                <a:lnTo>
                  <a:pt x="6151" y="2258"/>
                </a:lnTo>
                <a:lnTo>
                  <a:pt x="6102" y="2262"/>
                </a:lnTo>
                <a:lnTo>
                  <a:pt x="6081" y="2270"/>
                </a:lnTo>
                <a:lnTo>
                  <a:pt x="6072" y="2296"/>
                </a:lnTo>
                <a:lnTo>
                  <a:pt x="6074" y="2324"/>
                </a:lnTo>
                <a:lnTo>
                  <a:pt x="6084" y="2337"/>
                </a:lnTo>
                <a:close/>
                <a:moveTo>
                  <a:pt x="6342" y="2485"/>
                </a:moveTo>
                <a:lnTo>
                  <a:pt x="6331" y="2501"/>
                </a:lnTo>
                <a:lnTo>
                  <a:pt x="6314" y="2513"/>
                </a:lnTo>
                <a:lnTo>
                  <a:pt x="6308" y="2525"/>
                </a:lnTo>
                <a:lnTo>
                  <a:pt x="6327" y="2545"/>
                </a:lnTo>
                <a:lnTo>
                  <a:pt x="6356" y="2532"/>
                </a:lnTo>
                <a:lnTo>
                  <a:pt x="6369" y="2496"/>
                </a:lnTo>
                <a:lnTo>
                  <a:pt x="6365" y="2471"/>
                </a:lnTo>
                <a:lnTo>
                  <a:pt x="6342" y="2485"/>
                </a:lnTo>
                <a:close/>
                <a:moveTo>
                  <a:pt x="5900" y="2956"/>
                </a:moveTo>
                <a:lnTo>
                  <a:pt x="5878" y="2966"/>
                </a:lnTo>
                <a:lnTo>
                  <a:pt x="5867" y="2993"/>
                </a:lnTo>
                <a:lnTo>
                  <a:pt x="5871" y="3022"/>
                </a:lnTo>
                <a:lnTo>
                  <a:pt x="5888" y="3035"/>
                </a:lnTo>
                <a:lnTo>
                  <a:pt x="5909" y="3016"/>
                </a:lnTo>
                <a:lnTo>
                  <a:pt x="5926" y="2994"/>
                </a:lnTo>
                <a:lnTo>
                  <a:pt x="5926" y="2974"/>
                </a:lnTo>
                <a:lnTo>
                  <a:pt x="5900" y="2956"/>
                </a:lnTo>
                <a:close/>
                <a:moveTo>
                  <a:pt x="6322" y="2150"/>
                </a:moveTo>
                <a:lnTo>
                  <a:pt x="6346" y="2146"/>
                </a:lnTo>
                <a:lnTo>
                  <a:pt x="6364" y="2131"/>
                </a:lnTo>
                <a:lnTo>
                  <a:pt x="6372" y="2109"/>
                </a:lnTo>
                <a:lnTo>
                  <a:pt x="6361" y="2089"/>
                </a:lnTo>
                <a:lnTo>
                  <a:pt x="6337" y="2071"/>
                </a:lnTo>
                <a:lnTo>
                  <a:pt x="6313" y="2094"/>
                </a:lnTo>
                <a:lnTo>
                  <a:pt x="6302" y="2130"/>
                </a:lnTo>
                <a:lnTo>
                  <a:pt x="6322" y="2150"/>
                </a:lnTo>
                <a:close/>
                <a:moveTo>
                  <a:pt x="6072" y="2444"/>
                </a:moveTo>
                <a:lnTo>
                  <a:pt x="6092" y="2431"/>
                </a:lnTo>
                <a:lnTo>
                  <a:pt x="6102" y="2407"/>
                </a:lnTo>
                <a:lnTo>
                  <a:pt x="6104" y="2380"/>
                </a:lnTo>
                <a:lnTo>
                  <a:pt x="6098" y="2357"/>
                </a:lnTo>
                <a:lnTo>
                  <a:pt x="6076" y="2364"/>
                </a:lnTo>
                <a:lnTo>
                  <a:pt x="6055" y="2394"/>
                </a:lnTo>
                <a:lnTo>
                  <a:pt x="6049" y="2427"/>
                </a:lnTo>
                <a:lnTo>
                  <a:pt x="6072" y="2444"/>
                </a:lnTo>
                <a:close/>
                <a:moveTo>
                  <a:pt x="6853" y="3456"/>
                </a:moveTo>
                <a:lnTo>
                  <a:pt x="6828" y="3456"/>
                </a:lnTo>
                <a:lnTo>
                  <a:pt x="6803" y="3459"/>
                </a:lnTo>
                <a:lnTo>
                  <a:pt x="6788" y="3471"/>
                </a:lnTo>
                <a:lnTo>
                  <a:pt x="6794" y="3506"/>
                </a:lnTo>
                <a:lnTo>
                  <a:pt x="6835" y="3515"/>
                </a:lnTo>
                <a:lnTo>
                  <a:pt x="6877" y="3489"/>
                </a:lnTo>
                <a:lnTo>
                  <a:pt x="6891" y="3460"/>
                </a:lnTo>
                <a:lnTo>
                  <a:pt x="6853" y="3456"/>
                </a:lnTo>
                <a:close/>
                <a:moveTo>
                  <a:pt x="6049" y="2771"/>
                </a:moveTo>
                <a:lnTo>
                  <a:pt x="6063" y="2750"/>
                </a:lnTo>
                <a:lnTo>
                  <a:pt x="6060" y="2730"/>
                </a:lnTo>
                <a:lnTo>
                  <a:pt x="6046" y="2724"/>
                </a:lnTo>
                <a:lnTo>
                  <a:pt x="6032" y="2741"/>
                </a:lnTo>
                <a:lnTo>
                  <a:pt x="6027" y="2748"/>
                </a:lnTo>
                <a:lnTo>
                  <a:pt x="6033" y="2761"/>
                </a:lnTo>
                <a:lnTo>
                  <a:pt x="6042" y="2770"/>
                </a:lnTo>
                <a:lnTo>
                  <a:pt x="6049" y="2771"/>
                </a:lnTo>
                <a:close/>
                <a:moveTo>
                  <a:pt x="5520" y="323"/>
                </a:moveTo>
                <a:lnTo>
                  <a:pt x="5543" y="334"/>
                </a:lnTo>
                <a:lnTo>
                  <a:pt x="5572" y="314"/>
                </a:lnTo>
                <a:lnTo>
                  <a:pt x="5595" y="285"/>
                </a:lnTo>
                <a:lnTo>
                  <a:pt x="5596" y="263"/>
                </a:lnTo>
                <a:lnTo>
                  <a:pt x="5534" y="227"/>
                </a:lnTo>
                <a:lnTo>
                  <a:pt x="5485" y="244"/>
                </a:lnTo>
                <a:lnTo>
                  <a:pt x="5473" y="286"/>
                </a:lnTo>
                <a:lnTo>
                  <a:pt x="5520" y="323"/>
                </a:lnTo>
                <a:close/>
                <a:moveTo>
                  <a:pt x="6854" y="2331"/>
                </a:moveTo>
                <a:lnTo>
                  <a:pt x="6857" y="2341"/>
                </a:lnTo>
                <a:lnTo>
                  <a:pt x="6868" y="2347"/>
                </a:lnTo>
                <a:lnTo>
                  <a:pt x="6882" y="2349"/>
                </a:lnTo>
                <a:lnTo>
                  <a:pt x="6889" y="2345"/>
                </a:lnTo>
                <a:lnTo>
                  <a:pt x="6886" y="2317"/>
                </a:lnTo>
                <a:lnTo>
                  <a:pt x="6871" y="2304"/>
                </a:lnTo>
                <a:lnTo>
                  <a:pt x="6856" y="2308"/>
                </a:lnTo>
                <a:lnTo>
                  <a:pt x="6854" y="2331"/>
                </a:lnTo>
                <a:close/>
                <a:moveTo>
                  <a:pt x="6774" y="2195"/>
                </a:moveTo>
                <a:lnTo>
                  <a:pt x="6789" y="2203"/>
                </a:lnTo>
                <a:lnTo>
                  <a:pt x="6800" y="2200"/>
                </a:lnTo>
                <a:lnTo>
                  <a:pt x="6810" y="2189"/>
                </a:lnTo>
                <a:lnTo>
                  <a:pt x="6821" y="2177"/>
                </a:lnTo>
                <a:lnTo>
                  <a:pt x="6824" y="2126"/>
                </a:lnTo>
                <a:lnTo>
                  <a:pt x="6765" y="2123"/>
                </a:lnTo>
                <a:lnTo>
                  <a:pt x="6723" y="2151"/>
                </a:lnTo>
                <a:lnTo>
                  <a:pt x="6774" y="2195"/>
                </a:lnTo>
                <a:close/>
                <a:moveTo>
                  <a:pt x="6928" y="3303"/>
                </a:moveTo>
                <a:lnTo>
                  <a:pt x="6914" y="3287"/>
                </a:lnTo>
                <a:lnTo>
                  <a:pt x="6899" y="3296"/>
                </a:lnTo>
                <a:lnTo>
                  <a:pt x="6881" y="3310"/>
                </a:lnTo>
                <a:lnTo>
                  <a:pt x="6862" y="3310"/>
                </a:lnTo>
                <a:lnTo>
                  <a:pt x="6849" y="3340"/>
                </a:lnTo>
                <a:lnTo>
                  <a:pt x="6875" y="3349"/>
                </a:lnTo>
                <a:lnTo>
                  <a:pt x="6910" y="3338"/>
                </a:lnTo>
                <a:lnTo>
                  <a:pt x="6928" y="3303"/>
                </a:lnTo>
                <a:close/>
                <a:moveTo>
                  <a:pt x="6513" y="2440"/>
                </a:moveTo>
                <a:lnTo>
                  <a:pt x="6504" y="2503"/>
                </a:lnTo>
                <a:lnTo>
                  <a:pt x="6559" y="2505"/>
                </a:lnTo>
                <a:lnTo>
                  <a:pt x="6620" y="2463"/>
                </a:lnTo>
                <a:lnTo>
                  <a:pt x="6637" y="2393"/>
                </a:lnTo>
                <a:lnTo>
                  <a:pt x="6601" y="2374"/>
                </a:lnTo>
                <a:lnTo>
                  <a:pt x="6577" y="2398"/>
                </a:lnTo>
                <a:lnTo>
                  <a:pt x="6551" y="2431"/>
                </a:lnTo>
                <a:lnTo>
                  <a:pt x="6513" y="2440"/>
                </a:lnTo>
                <a:close/>
                <a:moveTo>
                  <a:pt x="6749" y="2588"/>
                </a:moveTo>
                <a:lnTo>
                  <a:pt x="6775" y="2583"/>
                </a:lnTo>
                <a:lnTo>
                  <a:pt x="6794" y="2565"/>
                </a:lnTo>
                <a:lnTo>
                  <a:pt x="6801" y="2541"/>
                </a:lnTo>
                <a:lnTo>
                  <a:pt x="6789" y="2520"/>
                </a:lnTo>
                <a:lnTo>
                  <a:pt x="6761" y="2501"/>
                </a:lnTo>
                <a:lnTo>
                  <a:pt x="6736" y="2528"/>
                </a:lnTo>
                <a:lnTo>
                  <a:pt x="6726" y="2567"/>
                </a:lnTo>
                <a:lnTo>
                  <a:pt x="6749" y="2588"/>
                </a:lnTo>
                <a:close/>
                <a:moveTo>
                  <a:pt x="6519" y="1380"/>
                </a:moveTo>
                <a:lnTo>
                  <a:pt x="6524" y="1368"/>
                </a:lnTo>
                <a:lnTo>
                  <a:pt x="6523" y="1356"/>
                </a:lnTo>
                <a:lnTo>
                  <a:pt x="6516" y="1345"/>
                </a:lnTo>
                <a:lnTo>
                  <a:pt x="6503" y="1344"/>
                </a:lnTo>
                <a:lnTo>
                  <a:pt x="6488" y="1349"/>
                </a:lnTo>
                <a:lnTo>
                  <a:pt x="6491" y="1368"/>
                </a:lnTo>
                <a:lnTo>
                  <a:pt x="6505" y="1384"/>
                </a:lnTo>
                <a:lnTo>
                  <a:pt x="6519" y="1380"/>
                </a:lnTo>
                <a:close/>
                <a:moveTo>
                  <a:pt x="6439" y="2641"/>
                </a:moveTo>
                <a:lnTo>
                  <a:pt x="6468" y="2629"/>
                </a:lnTo>
                <a:lnTo>
                  <a:pt x="6484" y="2593"/>
                </a:lnTo>
                <a:lnTo>
                  <a:pt x="6481" y="2566"/>
                </a:lnTo>
                <a:lnTo>
                  <a:pt x="6456" y="2580"/>
                </a:lnTo>
                <a:lnTo>
                  <a:pt x="6444" y="2597"/>
                </a:lnTo>
                <a:lnTo>
                  <a:pt x="6426" y="2608"/>
                </a:lnTo>
                <a:lnTo>
                  <a:pt x="6420" y="2621"/>
                </a:lnTo>
                <a:lnTo>
                  <a:pt x="6439" y="2641"/>
                </a:lnTo>
                <a:close/>
                <a:moveTo>
                  <a:pt x="6676" y="3030"/>
                </a:moveTo>
                <a:lnTo>
                  <a:pt x="6758" y="2993"/>
                </a:lnTo>
                <a:lnTo>
                  <a:pt x="6824" y="2924"/>
                </a:lnTo>
                <a:lnTo>
                  <a:pt x="6831" y="2876"/>
                </a:lnTo>
                <a:lnTo>
                  <a:pt x="6740" y="2902"/>
                </a:lnTo>
                <a:lnTo>
                  <a:pt x="6714" y="2935"/>
                </a:lnTo>
                <a:lnTo>
                  <a:pt x="6677" y="2962"/>
                </a:lnTo>
                <a:lnTo>
                  <a:pt x="6656" y="2990"/>
                </a:lnTo>
                <a:lnTo>
                  <a:pt x="6676" y="3030"/>
                </a:lnTo>
                <a:close/>
                <a:moveTo>
                  <a:pt x="5825" y="1489"/>
                </a:moveTo>
                <a:lnTo>
                  <a:pt x="5827" y="1478"/>
                </a:lnTo>
                <a:lnTo>
                  <a:pt x="5822" y="1468"/>
                </a:lnTo>
                <a:lnTo>
                  <a:pt x="5813" y="1461"/>
                </a:lnTo>
                <a:lnTo>
                  <a:pt x="5801" y="1463"/>
                </a:lnTo>
                <a:lnTo>
                  <a:pt x="5790" y="1471"/>
                </a:lnTo>
                <a:lnTo>
                  <a:pt x="5797" y="1485"/>
                </a:lnTo>
                <a:lnTo>
                  <a:pt x="5813" y="1496"/>
                </a:lnTo>
                <a:lnTo>
                  <a:pt x="5825" y="1489"/>
                </a:lnTo>
                <a:close/>
                <a:moveTo>
                  <a:pt x="3069" y="3483"/>
                </a:moveTo>
                <a:lnTo>
                  <a:pt x="3078" y="3534"/>
                </a:lnTo>
                <a:lnTo>
                  <a:pt x="3041" y="3579"/>
                </a:lnTo>
                <a:lnTo>
                  <a:pt x="3026" y="3616"/>
                </a:lnTo>
                <a:lnTo>
                  <a:pt x="3098" y="3642"/>
                </a:lnTo>
                <a:lnTo>
                  <a:pt x="3208" y="3610"/>
                </a:lnTo>
                <a:lnTo>
                  <a:pt x="3314" y="3670"/>
                </a:lnTo>
                <a:lnTo>
                  <a:pt x="3422" y="3669"/>
                </a:lnTo>
                <a:lnTo>
                  <a:pt x="3538" y="3453"/>
                </a:lnTo>
                <a:lnTo>
                  <a:pt x="3429" y="3413"/>
                </a:lnTo>
                <a:lnTo>
                  <a:pt x="3277" y="3366"/>
                </a:lnTo>
                <a:lnTo>
                  <a:pt x="3138" y="3371"/>
                </a:lnTo>
                <a:lnTo>
                  <a:pt x="3069" y="3483"/>
                </a:lnTo>
                <a:close/>
                <a:moveTo>
                  <a:pt x="3199" y="3014"/>
                </a:moveTo>
                <a:lnTo>
                  <a:pt x="3218" y="2985"/>
                </a:lnTo>
                <a:lnTo>
                  <a:pt x="3247" y="2971"/>
                </a:lnTo>
                <a:lnTo>
                  <a:pt x="3272" y="2958"/>
                </a:lnTo>
                <a:lnTo>
                  <a:pt x="3282" y="2929"/>
                </a:lnTo>
                <a:lnTo>
                  <a:pt x="3232" y="2912"/>
                </a:lnTo>
                <a:lnTo>
                  <a:pt x="3174" y="2944"/>
                </a:lnTo>
                <a:lnTo>
                  <a:pt x="3147" y="2989"/>
                </a:lnTo>
                <a:lnTo>
                  <a:pt x="3199" y="3014"/>
                </a:lnTo>
                <a:close/>
                <a:moveTo>
                  <a:pt x="2988" y="3255"/>
                </a:moveTo>
                <a:lnTo>
                  <a:pt x="3002" y="3288"/>
                </a:lnTo>
                <a:lnTo>
                  <a:pt x="3005" y="3322"/>
                </a:lnTo>
                <a:lnTo>
                  <a:pt x="3019" y="3343"/>
                </a:lnTo>
                <a:lnTo>
                  <a:pt x="3067" y="3330"/>
                </a:lnTo>
                <a:lnTo>
                  <a:pt x="3075" y="3274"/>
                </a:lnTo>
                <a:lnTo>
                  <a:pt x="3033" y="3223"/>
                </a:lnTo>
                <a:lnTo>
                  <a:pt x="2989" y="3208"/>
                </a:lnTo>
                <a:lnTo>
                  <a:pt x="2988" y="3255"/>
                </a:lnTo>
                <a:close/>
                <a:moveTo>
                  <a:pt x="3587" y="3522"/>
                </a:moveTo>
                <a:lnTo>
                  <a:pt x="3606" y="3555"/>
                </a:lnTo>
                <a:lnTo>
                  <a:pt x="3645" y="3574"/>
                </a:lnTo>
                <a:lnTo>
                  <a:pt x="3688" y="3585"/>
                </a:lnTo>
                <a:lnTo>
                  <a:pt x="3720" y="3595"/>
                </a:lnTo>
                <a:lnTo>
                  <a:pt x="3716" y="3526"/>
                </a:lnTo>
                <a:lnTo>
                  <a:pt x="3660" y="3466"/>
                </a:lnTo>
                <a:lnTo>
                  <a:pt x="3602" y="3452"/>
                </a:lnTo>
                <a:lnTo>
                  <a:pt x="3587" y="3522"/>
                </a:lnTo>
                <a:close/>
                <a:moveTo>
                  <a:pt x="3496" y="3226"/>
                </a:moveTo>
                <a:lnTo>
                  <a:pt x="3495" y="3185"/>
                </a:lnTo>
                <a:lnTo>
                  <a:pt x="3464" y="3162"/>
                </a:lnTo>
                <a:lnTo>
                  <a:pt x="3426" y="3161"/>
                </a:lnTo>
                <a:lnTo>
                  <a:pt x="3403" y="3187"/>
                </a:lnTo>
                <a:lnTo>
                  <a:pt x="3422" y="3220"/>
                </a:lnTo>
                <a:lnTo>
                  <a:pt x="3449" y="3242"/>
                </a:lnTo>
                <a:lnTo>
                  <a:pt x="3476" y="3245"/>
                </a:lnTo>
                <a:lnTo>
                  <a:pt x="3496" y="3226"/>
                </a:lnTo>
                <a:close/>
                <a:moveTo>
                  <a:pt x="2937" y="2683"/>
                </a:moveTo>
                <a:lnTo>
                  <a:pt x="2904" y="2707"/>
                </a:lnTo>
                <a:lnTo>
                  <a:pt x="2918" y="2738"/>
                </a:lnTo>
                <a:lnTo>
                  <a:pt x="2941" y="2775"/>
                </a:lnTo>
                <a:lnTo>
                  <a:pt x="2935" y="2812"/>
                </a:lnTo>
                <a:lnTo>
                  <a:pt x="2992" y="2844"/>
                </a:lnTo>
                <a:lnTo>
                  <a:pt x="3017" y="2797"/>
                </a:lnTo>
                <a:lnTo>
                  <a:pt x="3002" y="2725"/>
                </a:lnTo>
                <a:lnTo>
                  <a:pt x="2937" y="2683"/>
                </a:lnTo>
                <a:close/>
                <a:moveTo>
                  <a:pt x="3537" y="1226"/>
                </a:moveTo>
                <a:lnTo>
                  <a:pt x="3551" y="1189"/>
                </a:lnTo>
                <a:lnTo>
                  <a:pt x="3529" y="1157"/>
                </a:lnTo>
                <a:lnTo>
                  <a:pt x="3494" y="1143"/>
                </a:lnTo>
                <a:lnTo>
                  <a:pt x="3463" y="1157"/>
                </a:lnTo>
                <a:lnTo>
                  <a:pt x="3468" y="1193"/>
                </a:lnTo>
                <a:lnTo>
                  <a:pt x="3485" y="1221"/>
                </a:lnTo>
                <a:lnTo>
                  <a:pt x="3510" y="1235"/>
                </a:lnTo>
                <a:lnTo>
                  <a:pt x="3537" y="1226"/>
                </a:lnTo>
                <a:close/>
                <a:moveTo>
                  <a:pt x="3658" y="1334"/>
                </a:moveTo>
                <a:lnTo>
                  <a:pt x="3669" y="1345"/>
                </a:lnTo>
                <a:lnTo>
                  <a:pt x="3692" y="1343"/>
                </a:lnTo>
                <a:lnTo>
                  <a:pt x="3713" y="1334"/>
                </a:lnTo>
                <a:lnTo>
                  <a:pt x="3720" y="1323"/>
                </a:lnTo>
                <a:lnTo>
                  <a:pt x="3694" y="1286"/>
                </a:lnTo>
                <a:lnTo>
                  <a:pt x="3660" y="1282"/>
                </a:lnTo>
                <a:lnTo>
                  <a:pt x="3640" y="1301"/>
                </a:lnTo>
                <a:lnTo>
                  <a:pt x="3658" y="1334"/>
                </a:lnTo>
                <a:close/>
                <a:moveTo>
                  <a:pt x="2602" y="2201"/>
                </a:moveTo>
                <a:lnTo>
                  <a:pt x="2625" y="2212"/>
                </a:lnTo>
                <a:lnTo>
                  <a:pt x="2654" y="2196"/>
                </a:lnTo>
                <a:lnTo>
                  <a:pt x="2679" y="2169"/>
                </a:lnTo>
                <a:lnTo>
                  <a:pt x="2681" y="2149"/>
                </a:lnTo>
                <a:lnTo>
                  <a:pt x="2622" y="2108"/>
                </a:lnTo>
                <a:lnTo>
                  <a:pt x="2574" y="2121"/>
                </a:lnTo>
                <a:lnTo>
                  <a:pt x="2559" y="2160"/>
                </a:lnTo>
                <a:lnTo>
                  <a:pt x="2602" y="2201"/>
                </a:lnTo>
                <a:close/>
                <a:moveTo>
                  <a:pt x="2559" y="2547"/>
                </a:moveTo>
                <a:lnTo>
                  <a:pt x="2574" y="2560"/>
                </a:lnTo>
                <a:lnTo>
                  <a:pt x="2601" y="2555"/>
                </a:lnTo>
                <a:lnTo>
                  <a:pt x="2625" y="2541"/>
                </a:lnTo>
                <a:lnTo>
                  <a:pt x="2631" y="2525"/>
                </a:lnTo>
                <a:lnTo>
                  <a:pt x="2596" y="2486"/>
                </a:lnTo>
                <a:lnTo>
                  <a:pt x="2554" y="2485"/>
                </a:lnTo>
                <a:lnTo>
                  <a:pt x="2533" y="2510"/>
                </a:lnTo>
                <a:lnTo>
                  <a:pt x="2559" y="2547"/>
                </a:lnTo>
                <a:close/>
                <a:moveTo>
                  <a:pt x="2538" y="2727"/>
                </a:moveTo>
                <a:lnTo>
                  <a:pt x="2629" y="2747"/>
                </a:lnTo>
                <a:lnTo>
                  <a:pt x="2610" y="2667"/>
                </a:lnTo>
                <a:lnTo>
                  <a:pt x="2552" y="2599"/>
                </a:lnTo>
                <a:lnTo>
                  <a:pt x="2530" y="2659"/>
                </a:lnTo>
                <a:lnTo>
                  <a:pt x="2544" y="2676"/>
                </a:lnTo>
                <a:lnTo>
                  <a:pt x="2550" y="2691"/>
                </a:lnTo>
                <a:lnTo>
                  <a:pt x="2547" y="2707"/>
                </a:lnTo>
                <a:lnTo>
                  <a:pt x="2538" y="2727"/>
                </a:lnTo>
                <a:close/>
                <a:moveTo>
                  <a:pt x="2796" y="3849"/>
                </a:moveTo>
                <a:lnTo>
                  <a:pt x="2789" y="3798"/>
                </a:lnTo>
                <a:lnTo>
                  <a:pt x="2751" y="3753"/>
                </a:lnTo>
                <a:lnTo>
                  <a:pt x="2698" y="3721"/>
                </a:lnTo>
                <a:lnTo>
                  <a:pt x="2645" y="3713"/>
                </a:lnTo>
                <a:lnTo>
                  <a:pt x="2616" y="3753"/>
                </a:lnTo>
                <a:lnTo>
                  <a:pt x="2645" y="3783"/>
                </a:lnTo>
                <a:lnTo>
                  <a:pt x="2686" y="3816"/>
                </a:lnTo>
                <a:lnTo>
                  <a:pt x="2694" y="3862"/>
                </a:lnTo>
                <a:lnTo>
                  <a:pt x="2705" y="3881"/>
                </a:lnTo>
                <a:lnTo>
                  <a:pt x="2736" y="3885"/>
                </a:lnTo>
                <a:lnTo>
                  <a:pt x="2771" y="3875"/>
                </a:lnTo>
                <a:lnTo>
                  <a:pt x="2796" y="3849"/>
                </a:lnTo>
                <a:close/>
                <a:moveTo>
                  <a:pt x="2668" y="2742"/>
                </a:moveTo>
                <a:lnTo>
                  <a:pt x="2699" y="2802"/>
                </a:lnTo>
                <a:lnTo>
                  <a:pt x="2705" y="2868"/>
                </a:lnTo>
                <a:lnTo>
                  <a:pt x="2733" y="2906"/>
                </a:lnTo>
                <a:lnTo>
                  <a:pt x="2824" y="2878"/>
                </a:lnTo>
                <a:lnTo>
                  <a:pt x="2834" y="2771"/>
                </a:lnTo>
                <a:lnTo>
                  <a:pt x="2751" y="2678"/>
                </a:lnTo>
                <a:lnTo>
                  <a:pt x="2666" y="2650"/>
                </a:lnTo>
                <a:lnTo>
                  <a:pt x="2668" y="2742"/>
                </a:lnTo>
                <a:close/>
                <a:moveTo>
                  <a:pt x="2910" y="1041"/>
                </a:moveTo>
                <a:lnTo>
                  <a:pt x="2923" y="1051"/>
                </a:lnTo>
                <a:lnTo>
                  <a:pt x="2947" y="1046"/>
                </a:lnTo>
                <a:lnTo>
                  <a:pt x="2968" y="1034"/>
                </a:lnTo>
                <a:lnTo>
                  <a:pt x="2974" y="1021"/>
                </a:lnTo>
                <a:lnTo>
                  <a:pt x="2941" y="987"/>
                </a:lnTo>
                <a:lnTo>
                  <a:pt x="2905" y="987"/>
                </a:lnTo>
                <a:lnTo>
                  <a:pt x="2887" y="1008"/>
                </a:lnTo>
                <a:lnTo>
                  <a:pt x="2910" y="1041"/>
                </a:lnTo>
                <a:close/>
                <a:moveTo>
                  <a:pt x="2757" y="3475"/>
                </a:moveTo>
                <a:lnTo>
                  <a:pt x="2777" y="3425"/>
                </a:lnTo>
                <a:lnTo>
                  <a:pt x="2765" y="3367"/>
                </a:lnTo>
                <a:lnTo>
                  <a:pt x="2732" y="3313"/>
                </a:lnTo>
                <a:lnTo>
                  <a:pt x="2690" y="3283"/>
                </a:lnTo>
                <a:lnTo>
                  <a:pt x="2643" y="3306"/>
                </a:lnTo>
                <a:lnTo>
                  <a:pt x="2654" y="3348"/>
                </a:lnTo>
                <a:lnTo>
                  <a:pt x="2675" y="3396"/>
                </a:lnTo>
                <a:lnTo>
                  <a:pt x="2659" y="3442"/>
                </a:lnTo>
                <a:lnTo>
                  <a:pt x="2661" y="3464"/>
                </a:lnTo>
                <a:lnTo>
                  <a:pt x="2686" y="3481"/>
                </a:lnTo>
                <a:lnTo>
                  <a:pt x="2723" y="3488"/>
                </a:lnTo>
                <a:lnTo>
                  <a:pt x="2757" y="3475"/>
                </a:lnTo>
                <a:close/>
                <a:moveTo>
                  <a:pt x="2645" y="3004"/>
                </a:moveTo>
                <a:lnTo>
                  <a:pt x="2657" y="2965"/>
                </a:lnTo>
                <a:lnTo>
                  <a:pt x="2644" y="2920"/>
                </a:lnTo>
                <a:lnTo>
                  <a:pt x="2615" y="2882"/>
                </a:lnTo>
                <a:lnTo>
                  <a:pt x="2580" y="2860"/>
                </a:lnTo>
                <a:lnTo>
                  <a:pt x="2554" y="2891"/>
                </a:lnTo>
                <a:lnTo>
                  <a:pt x="2563" y="2958"/>
                </a:lnTo>
                <a:lnTo>
                  <a:pt x="2596" y="3012"/>
                </a:lnTo>
                <a:lnTo>
                  <a:pt x="2645" y="3004"/>
                </a:lnTo>
                <a:close/>
                <a:moveTo>
                  <a:pt x="4517" y="1825"/>
                </a:moveTo>
                <a:lnTo>
                  <a:pt x="4554" y="1772"/>
                </a:lnTo>
                <a:lnTo>
                  <a:pt x="4545" y="1724"/>
                </a:lnTo>
                <a:lnTo>
                  <a:pt x="4512" y="1707"/>
                </a:lnTo>
                <a:lnTo>
                  <a:pt x="4475" y="1746"/>
                </a:lnTo>
                <a:lnTo>
                  <a:pt x="4465" y="1768"/>
                </a:lnTo>
                <a:lnTo>
                  <a:pt x="4478" y="1797"/>
                </a:lnTo>
                <a:lnTo>
                  <a:pt x="4500" y="1822"/>
                </a:lnTo>
                <a:lnTo>
                  <a:pt x="4517" y="1825"/>
                </a:lnTo>
                <a:close/>
                <a:moveTo>
                  <a:pt x="4353" y="1755"/>
                </a:moveTo>
                <a:lnTo>
                  <a:pt x="4365" y="1734"/>
                </a:lnTo>
                <a:lnTo>
                  <a:pt x="4361" y="1710"/>
                </a:lnTo>
                <a:lnTo>
                  <a:pt x="4346" y="1692"/>
                </a:lnTo>
                <a:lnTo>
                  <a:pt x="4321" y="1689"/>
                </a:lnTo>
                <a:lnTo>
                  <a:pt x="4291" y="1699"/>
                </a:lnTo>
                <a:lnTo>
                  <a:pt x="4297" y="1732"/>
                </a:lnTo>
                <a:lnTo>
                  <a:pt x="4324" y="1762"/>
                </a:lnTo>
                <a:lnTo>
                  <a:pt x="4353" y="1755"/>
                </a:lnTo>
                <a:close/>
                <a:moveTo>
                  <a:pt x="2476" y="7004"/>
                </a:moveTo>
                <a:lnTo>
                  <a:pt x="2517" y="7004"/>
                </a:lnTo>
                <a:lnTo>
                  <a:pt x="2542" y="6986"/>
                </a:lnTo>
                <a:lnTo>
                  <a:pt x="2550" y="6960"/>
                </a:lnTo>
                <a:lnTo>
                  <a:pt x="2538" y="6932"/>
                </a:lnTo>
                <a:lnTo>
                  <a:pt x="2564" y="6941"/>
                </a:lnTo>
                <a:lnTo>
                  <a:pt x="2592" y="6936"/>
                </a:lnTo>
                <a:lnTo>
                  <a:pt x="2611" y="6918"/>
                </a:lnTo>
                <a:lnTo>
                  <a:pt x="2614" y="6893"/>
                </a:lnTo>
                <a:lnTo>
                  <a:pt x="2583" y="6866"/>
                </a:lnTo>
                <a:lnTo>
                  <a:pt x="2517" y="6906"/>
                </a:lnTo>
                <a:lnTo>
                  <a:pt x="2463" y="6965"/>
                </a:lnTo>
                <a:lnTo>
                  <a:pt x="2476" y="7004"/>
                </a:lnTo>
                <a:close/>
                <a:moveTo>
                  <a:pt x="4286" y="2865"/>
                </a:moveTo>
                <a:lnTo>
                  <a:pt x="4298" y="2883"/>
                </a:lnTo>
                <a:lnTo>
                  <a:pt x="4305" y="2905"/>
                </a:lnTo>
                <a:lnTo>
                  <a:pt x="4315" y="2916"/>
                </a:lnTo>
                <a:lnTo>
                  <a:pt x="4342" y="2902"/>
                </a:lnTo>
                <a:lnTo>
                  <a:pt x="4339" y="2867"/>
                </a:lnTo>
                <a:lnTo>
                  <a:pt x="4309" y="2840"/>
                </a:lnTo>
                <a:lnTo>
                  <a:pt x="4279" y="2834"/>
                </a:lnTo>
                <a:lnTo>
                  <a:pt x="4286" y="2865"/>
                </a:lnTo>
                <a:close/>
                <a:moveTo>
                  <a:pt x="4399" y="2876"/>
                </a:moveTo>
                <a:lnTo>
                  <a:pt x="4398" y="2856"/>
                </a:lnTo>
                <a:lnTo>
                  <a:pt x="4384" y="2839"/>
                </a:lnTo>
                <a:lnTo>
                  <a:pt x="4366" y="2826"/>
                </a:lnTo>
                <a:lnTo>
                  <a:pt x="4347" y="2822"/>
                </a:lnTo>
                <a:lnTo>
                  <a:pt x="4343" y="2842"/>
                </a:lnTo>
                <a:lnTo>
                  <a:pt x="4357" y="2869"/>
                </a:lnTo>
                <a:lnTo>
                  <a:pt x="4379" y="2887"/>
                </a:lnTo>
                <a:lnTo>
                  <a:pt x="4399" y="2876"/>
                </a:lnTo>
                <a:close/>
                <a:moveTo>
                  <a:pt x="4430" y="3306"/>
                </a:moveTo>
                <a:lnTo>
                  <a:pt x="4442" y="3310"/>
                </a:lnTo>
                <a:lnTo>
                  <a:pt x="4451" y="3306"/>
                </a:lnTo>
                <a:lnTo>
                  <a:pt x="4458" y="3296"/>
                </a:lnTo>
                <a:lnTo>
                  <a:pt x="4463" y="3284"/>
                </a:lnTo>
                <a:lnTo>
                  <a:pt x="4456" y="3246"/>
                </a:lnTo>
                <a:lnTo>
                  <a:pt x="4409" y="3254"/>
                </a:lnTo>
                <a:lnTo>
                  <a:pt x="4381" y="3282"/>
                </a:lnTo>
                <a:lnTo>
                  <a:pt x="4430" y="3306"/>
                </a:lnTo>
                <a:close/>
                <a:moveTo>
                  <a:pt x="4342" y="2467"/>
                </a:moveTo>
                <a:lnTo>
                  <a:pt x="4394" y="2561"/>
                </a:lnTo>
                <a:lnTo>
                  <a:pt x="4470" y="2522"/>
                </a:lnTo>
                <a:lnTo>
                  <a:pt x="4515" y="2410"/>
                </a:lnTo>
                <a:lnTo>
                  <a:pt x="4467" y="2291"/>
                </a:lnTo>
                <a:lnTo>
                  <a:pt x="4399" y="2295"/>
                </a:lnTo>
                <a:lnTo>
                  <a:pt x="4388" y="2351"/>
                </a:lnTo>
                <a:lnTo>
                  <a:pt x="4385" y="2420"/>
                </a:lnTo>
                <a:lnTo>
                  <a:pt x="4342" y="2467"/>
                </a:lnTo>
                <a:close/>
                <a:moveTo>
                  <a:pt x="4203" y="3331"/>
                </a:moveTo>
                <a:lnTo>
                  <a:pt x="4218" y="3340"/>
                </a:lnTo>
                <a:lnTo>
                  <a:pt x="4231" y="3354"/>
                </a:lnTo>
                <a:lnTo>
                  <a:pt x="4242" y="3359"/>
                </a:lnTo>
                <a:lnTo>
                  <a:pt x="4258" y="3340"/>
                </a:lnTo>
                <a:lnTo>
                  <a:pt x="4244" y="3313"/>
                </a:lnTo>
                <a:lnTo>
                  <a:pt x="4212" y="3303"/>
                </a:lnTo>
                <a:lnTo>
                  <a:pt x="4188" y="3310"/>
                </a:lnTo>
                <a:lnTo>
                  <a:pt x="4203" y="3331"/>
                </a:lnTo>
                <a:close/>
                <a:moveTo>
                  <a:pt x="3858" y="2971"/>
                </a:moveTo>
                <a:lnTo>
                  <a:pt x="3888" y="3010"/>
                </a:lnTo>
                <a:lnTo>
                  <a:pt x="3904" y="3060"/>
                </a:lnTo>
                <a:lnTo>
                  <a:pt x="3929" y="3086"/>
                </a:lnTo>
                <a:lnTo>
                  <a:pt x="3986" y="3050"/>
                </a:lnTo>
                <a:lnTo>
                  <a:pt x="3976" y="2968"/>
                </a:lnTo>
                <a:lnTo>
                  <a:pt x="3904" y="2910"/>
                </a:lnTo>
                <a:lnTo>
                  <a:pt x="3840" y="2902"/>
                </a:lnTo>
                <a:lnTo>
                  <a:pt x="3858" y="2971"/>
                </a:lnTo>
                <a:close/>
                <a:moveTo>
                  <a:pt x="4161" y="2534"/>
                </a:moveTo>
                <a:lnTo>
                  <a:pt x="4170" y="2536"/>
                </a:lnTo>
                <a:lnTo>
                  <a:pt x="4174" y="2533"/>
                </a:lnTo>
                <a:lnTo>
                  <a:pt x="4176" y="2527"/>
                </a:lnTo>
                <a:lnTo>
                  <a:pt x="4179" y="2519"/>
                </a:lnTo>
                <a:lnTo>
                  <a:pt x="4172" y="2496"/>
                </a:lnTo>
                <a:lnTo>
                  <a:pt x="4147" y="2504"/>
                </a:lnTo>
                <a:lnTo>
                  <a:pt x="4133" y="2523"/>
                </a:lnTo>
                <a:lnTo>
                  <a:pt x="4161" y="2534"/>
                </a:lnTo>
                <a:close/>
                <a:moveTo>
                  <a:pt x="4563" y="3159"/>
                </a:moveTo>
                <a:lnTo>
                  <a:pt x="4563" y="3129"/>
                </a:lnTo>
                <a:lnTo>
                  <a:pt x="4547" y="3100"/>
                </a:lnTo>
                <a:lnTo>
                  <a:pt x="4521" y="3078"/>
                </a:lnTo>
                <a:lnTo>
                  <a:pt x="4493" y="3068"/>
                </a:lnTo>
                <a:lnTo>
                  <a:pt x="4484" y="3097"/>
                </a:lnTo>
                <a:lnTo>
                  <a:pt x="4501" y="3143"/>
                </a:lnTo>
                <a:lnTo>
                  <a:pt x="4531" y="3173"/>
                </a:lnTo>
                <a:lnTo>
                  <a:pt x="4563" y="3159"/>
                </a:lnTo>
                <a:close/>
                <a:moveTo>
                  <a:pt x="3900" y="2718"/>
                </a:moveTo>
                <a:lnTo>
                  <a:pt x="3906" y="2707"/>
                </a:lnTo>
                <a:lnTo>
                  <a:pt x="3906" y="2696"/>
                </a:lnTo>
                <a:lnTo>
                  <a:pt x="3900" y="2686"/>
                </a:lnTo>
                <a:lnTo>
                  <a:pt x="3890" y="2683"/>
                </a:lnTo>
                <a:lnTo>
                  <a:pt x="3874" y="2686"/>
                </a:lnTo>
                <a:lnTo>
                  <a:pt x="3876" y="2702"/>
                </a:lnTo>
                <a:lnTo>
                  <a:pt x="3886" y="2719"/>
                </a:lnTo>
                <a:lnTo>
                  <a:pt x="3900" y="2718"/>
                </a:lnTo>
                <a:close/>
                <a:moveTo>
                  <a:pt x="3821" y="2103"/>
                </a:moveTo>
                <a:lnTo>
                  <a:pt x="3853" y="2060"/>
                </a:lnTo>
                <a:lnTo>
                  <a:pt x="3858" y="2000"/>
                </a:lnTo>
                <a:lnTo>
                  <a:pt x="3840" y="1940"/>
                </a:lnTo>
                <a:lnTo>
                  <a:pt x="3806" y="1898"/>
                </a:lnTo>
                <a:lnTo>
                  <a:pt x="3755" y="1909"/>
                </a:lnTo>
                <a:lnTo>
                  <a:pt x="3753" y="1953"/>
                </a:lnTo>
                <a:lnTo>
                  <a:pt x="3761" y="2006"/>
                </a:lnTo>
                <a:lnTo>
                  <a:pt x="3734" y="2048"/>
                </a:lnTo>
                <a:lnTo>
                  <a:pt x="3729" y="2070"/>
                </a:lnTo>
                <a:lnTo>
                  <a:pt x="3750" y="2093"/>
                </a:lnTo>
                <a:lnTo>
                  <a:pt x="3784" y="2108"/>
                </a:lnTo>
                <a:lnTo>
                  <a:pt x="3821" y="2103"/>
                </a:lnTo>
                <a:close/>
                <a:moveTo>
                  <a:pt x="3980" y="339"/>
                </a:moveTo>
                <a:lnTo>
                  <a:pt x="3989" y="349"/>
                </a:lnTo>
                <a:lnTo>
                  <a:pt x="3998" y="349"/>
                </a:lnTo>
                <a:lnTo>
                  <a:pt x="4007" y="344"/>
                </a:lnTo>
                <a:lnTo>
                  <a:pt x="4018" y="336"/>
                </a:lnTo>
                <a:lnTo>
                  <a:pt x="4032" y="302"/>
                </a:lnTo>
                <a:lnTo>
                  <a:pt x="3990" y="286"/>
                </a:lnTo>
                <a:lnTo>
                  <a:pt x="3952" y="297"/>
                </a:lnTo>
                <a:lnTo>
                  <a:pt x="3980" y="339"/>
                </a:lnTo>
                <a:close/>
                <a:moveTo>
                  <a:pt x="4018" y="2757"/>
                </a:moveTo>
                <a:lnTo>
                  <a:pt x="4058" y="2808"/>
                </a:lnTo>
                <a:lnTo>
                  <a:pt x="4102" y="2811"/>
                </a:lnTo>
                <a:lnTo>
                  <a:pt x="4125" y="2780"/>
                </a:lnTo>
                <a:lnTo>
                  <a:pt x="4098" y="2734"/>
                </a:lnTo>
                <a:lnTo>
                  <a:pt x="4082" y="2718"/>
                </a:lnTo>
                <a:lnTo>
                  <a:pt x="4053" y="2724"/>
                </a:lnTo>
                <a:lnTo>
                  <a:pt x="4026" y="2739"/>
                </a:lnTo>
                <a:lnTo>
                  <a:pt x="4018" y="2757"/>
                </a:lnTo>
                <a:close/>
                <a:moveTo>
                  <a:pt x="3928" y="3481"/>
                </a:moveTo>
                <a:lnTo>
                  <a:pt x="3955" y="3418"/>
                </a:lnTo>
                <a:lnTo>
                  <a:pt x="3941" y="3343"/>
                </a:lnTo>
                <a:lnTo>
                  <a:pt x="3900" y="3275"/>
                </a:lnTo>
                <a:lnTo>
                  <a:pt x="3845" y="3234"/>
                </a:lnTo>
                <a:lnTo>
                  <a:pt x="3785" y="3264"/>
                </a:lnTo>
                <a:lnTo>
                  <a:pt x="3799" y="3316"/>
                </a:lnTo>
                <a:lnTo>
                  <a:pt x="3825" y="3380"/>
                </a:lnTo>
                <a:lnTo>
                  <a:pt x="3804" y="3437"/>
                </a:lnTo>
                <a:lnTo>
                  <a:pt x="3804" y="3466"/>
                </a:lnTo>
                <a:lnTo>
                  <a:pt x="3837" y="3489"/>
                </a:lnTo>
                <a:lnTo>
                  <a:pt x="3885" y="3497"/>
                </a:lnTo>
                <a:lnTo>
                  <a:pt x="3928" y="3481"/>
                </a:lnTo>
                <a:close/>
                <a:moveTo>
                  <a:pt x="3980" y="3296"/>
                </a:moveTo>
                <a:lnTo>
                  <a:pt x="4006" y="3317"/>
                </a:lnTo>
                <a:lnTo>
                  <a:pt x="4022" y="3347"/>
                </a:lnTo>
                <a:lnTo>
                  <a:pt x="4042" y="3359"/>
                </a:lnTo>
                <a:lnTo>
                  <a:pt x="4076" y="3327"/>
                </a:lnTo>
                <a:lnTo>
                  <a:pt x="4058" y="3276"/>
                </a:lnTo>
                <a:lnTo>
                  <a:pt x="4002" y="3250"/>
                </a:lnTo>
                <a:lnTo>
                  <a:pt x="3960" y="3254"/>
                </a:lnTo>
                <a:lnTo>
                  <a:pt x="3980" y="3296"/>
                </a:lnTo>
                <a:close/>
                <a:moveTo>
                  <a:pt x="2204" y="4756"/>
                </a:moveTo>
                <a:lnTo>
                  <a:pt x="2112" y="4753"/>
                </a:lnTo>
                <a:lnTo>
                  <a:pt x="2127" y="4809"/>
                </a:lnTo>
                <a:lnTo>
                  <a:pt x="2198" y="4873"/>
                </a:lnTo>
                <a:lnTo>
                  <a:pt x="2270" y="4888"/>
                </a:lnTo>
                <a:lnTo>
                  <a:pt x="2317" y="4847"/>
                </a:lnTo>
                <a:lnTo>
                  <a:pt x="2308" y="4803"/>
                </a:lnTo>
                <a:lnTo>
                  <a:pt x="2263" y="4768"/>
                </a:lnTo>
                <a:lnTo>
                  <a:pt x="2204" y="4756"/>
                </a:lnTo>
                <a:close/>
                <a:moveTo>
                  <a:pt x="771" y="5644"/>
                </a:moveTo>
                <a:lnTo>
                  <a:pt x="728" y="5680"/>
                </a:lnTo>
                <a:lnTo>
                  <a:pt x="722" y="5722"/>
                </a:lnTo>
                <a:lnTo>
                  <a:pt x="745" y="5746"/>
                </a:lnTo>
                <a:lnTo>
                  <a:pt x="787" y="5722"/>
                </a:lnTo>
                <a:lnTo>
                  <a:pt x="801" y="5706"/>
                </a:lnTo>
                <a:lnTo>
                  <a:pt x="798" y="5678"/>
                </a:lnTo>
                <a:lnTo>
                  <a:pt x="785" y="5652"/>
                </a:lnTo>
                <a:lnTo>
                  <a:pt x="771" y="5644"/>
                </a:lnTo>
                <a:close/>
                <a:moveTo>
                  <a:pt x="370" y="9106"/>
                </a:moveTo>
                <a:lnTo>
                  <a:pt x="388" y="9146"/>
                </a:lnTo>
                <a:lnTo>
                  <a:pt x="438" y="9148"/>
                </a:lnTo>
                <a:lnTo>
                  <a:pt x="489" y="9127"/>
                </a:lnTo>
                <a:lnTo>
                  <a:pt x="508" y="9091"/>
                </a:lnTo>
                <a:lnTo>
                  <a:pt x="472" y="9070"/>
                </a:lnTo>
                <a:lnTo>
                  <a:pt x="430" y="9064"/>
                </a:lnTo>
                <a:lnTo>
                  <a:pt x="391" y="9076"/>
                </a:lnTo>
                <a:lnTo>
                  <a:pt x="370" y="9106"/>
                </a:lnTo>
                <a:close/>
                <a:moveTo>
                  <a:pt x="669" y="6498"/>
                </a:moveTo>
                <a:lnTo>
                  <a:pt x="636" y="6544"/>
                </a:lnTo>
                <a:lnTo>
                  <a:pt x="645" y="6582"/>
                </a:lnTo>
                <a:lnTo>
                  <a:pt x="675" y="6594"/>
                </a:lnTo>
                <a:lnTo>
                  <a:pt x="708" y="6561"/>
                </a:lnTo>
                <a:lnTo>
                  <a:pt x="717" y="6543"/>
                </a:lnTo>
                <a:lnTo>
                  <a:pt x="705" y="6520"/>
                </a:lnTo>
                <a:lnTo>
                  <a:pt x="684" y="6501"/>
                </a:lnTo>
                <a:lnTo>
                  <a:pt x="669" y="6498"/>
                </a:lnTo>
                <a:close/>
                <a:moveTo>
                  <a:pt x="144" y="6722"/>
                </a:moveTo>
                <a:lnTo>
                  <a:pt x="110" y="6768"/>
                </a:lnTo>
                <a:lnTo>
                  <a:pt x="118" y="6808"/>
                </a:lnTo>
                <a:lnTo>
                  <a:pt x="148" y="6820"/>
                </a:lnTo>
                <a:lnTo>
                  <a:pt x="182" y="6787"/>
                </a:lnTo>
                <a:lnTo>
                  <a:pt x="193" y="6769"/>
                </a:lnTo>
                <a:lnTo>
                  <a:pt x="181" y="6745"/>
                </a:lnTo>
                <a:lnTo>
                  <a:pt x="161" y="6725"/>
                </a:lnTo>
                <a:lnTo>
                  <a:pt x="144" y="6722"/>
                </a:lnTo>
                <a:close/>
                <a:moveTo>
                  <a:pt x="1683" y="1542"/>
                </a:moveTo>
                <a:lnTo>
                  <a:pt x="1753" y="1559"/>
                </a:lnTo>
                <a:lnTo>
                  <a:pt x="1763" y="1508"/>
                </a:lnTo>
                <a:lnTo>
                  <a:pt x="1728" y="1456"/>
                </a:lnTo>
                <a:lnTo>
                  <a:pt x="1666" y="1471"/>
                </a:lnTo>
                <a:lnTo>
                  <a:pt x="1656" y="1498"/>
                </a:lnTo>
                <a:lnTo>
                  <a:pt x="1660" y="1511"/>
                </a:lnTo>
                <a:lnTo>
                  <a:pt x="1672" y="1522"/>
                </a:lnTo>
                <a:lnTo>
                  <a:pt x="1683" y="1542"/>
                </a:lnTo>
                <a:close/>
                <a:moveTo>
                  <a:pt x="1678" y="4166"/>
                </a:moveTo>
                <a:lnTo>
                  <a:pt x="1658" y="4133"/>
                </a:lnTo>
                <a:lnTo>
                  <a:pt x="1620" y="4128"/>
                </a:lnTo>
                <a:lnTo>
                  <a:pt x="1585" y="4145"/>
                </a:lnTo>
                <a:lnTo>
                  <a:pt x="1574" y="4176"/>
                </a:lnTo>
                <a:lnTo>
                  <a:pt x="1606" y="4196"/>
                </a:lnTo>
                <a:lnTo>
                  <a:pt x="1641" y="4201"/>
                </a:lnTo>
                <a:lnTo>
                  <a:pt x="1667" y="4190"/>
                </a:lnTo>
                <a:lnTo>
                  <a:pt x="1678" y="4166"/>
                </a:lnTo>
                <a:close/>
                <a:moveTo>
                  <a:pt x="1796" y="3460"/>
                </a:moveTo>
                <a:lnTo>
                  <a:pt x="1838" y="3506"/>
                </a:lnTo>
                <a:lnTo>
                  <a:pt x="1875" y="3530"/>
                </a:lnTo>
                <a:lnTo>
                  <a:pt x="1909" y="3517"/>
                </a:lnTo>
                <a:lnTo>
                  <a:pt x="1942" y="3455"/>
                </a:lnTo>
                <a:lnTo>
                  <a:pt x="1889" y="3425"/>
                </a:lnTo>
                <a:lnTo>
                  <a:pt x="1816" y="3405"/>
                </a:lnTo>
                <a:lnTo>
                  <a:pt x="1771" y="3410"/>
                </a:lnTo>
                <a:lnTo>
                  <a:pt x="1796" y="3460"/>
                </a:lnTo>
                <a:close/>
                <a:moveTo>
                  <a:pt x="1299" y="1058"/>
                </a:moveTo>
                <a:lnTo>
                  <a:pt x="1296" y="1020"/>
                </a:lnTo>
                <a:lnTo>
                  <a:pt x="1261" y="1001"/>
                </a:lnTo>
                <a:lnTo>
                  <a:pt x="1223" y="1004"/>
                </a:lnTo>
                <a:lnTo>
                  <a:pt x="1201" y="1030"/>
                </a:lnTo>
                <a:lnTo>
                  <a:pt x="1223" y="1059"/>
                </a:lnTo>
                <a:lnTo>
                  <a:pt x="1252" y="1076"/>
                </a:lnTo>
                <a:lnTo>
                  <a:pt x="1280" y="1077"/>
                </a:lnTo>
                <a:lnTo>
                  <a:pt x="1299" y="1058"/>
                </a:lnTo>
                <a:close/>
                <a:moveTo>
                  <a:pt x="1336" y="7994"/>
                </a:moveTo>
                <a:lnTo>
                  <a:pt x="1296" y="7967"/>
                </a:lnTo>
                <a:lnTo>
                  <a:pt x="1251" y="7982"/>
                </a:lnTo>
                <a:lnTo>
                  <a:pt x="1222" y="8021"/>
                </a:lnTo>
                <a:lnTo>
                  <a:pt x="1228" y="8060"/>
                </a:lnTo>
                <a:lnTo>
                  <a:pt x="1275" y="8065"/>
                </a:lnTo>
                <a:lnTo>
                  <a:pt x="1315" y="8052"/>
                </a:lnTo>
                <a:lnTo>
                  <a:pt x="1339" y="8028"/>
                </a:lnTo>
                <a:lnTo>
                  <a:pt x="1336" y="7994"/>
                </a:lnTo>
                <a:close/>
                <a:moveTo>
                  <a:pt x="1322" y="9108"/>
                </a:moveTo>
                <a:lnTo>
                  <a:pt x="1304" y="9124"/>
                </a:lnTo>
                <a:lnTo>
                  <a:pt x="1299" y="9146"/>
                </a:lnTo>
                <a:lnTo>
                  <a:pt x="1307" y="9166"/>
                </a:lnTo>
                <a:lnTo>
                  <a:pt x="1327" y="9176"/>
                </a:lnTo>
                <a:lnTo>
                  <a:pt x="1357" y="9178"/>
                </a:lnTo>
                <a:lnTo>
                  <a:pt x="1363" y="9146"/>
                </a:lnTo>
                <a:lnTo>
                  <a:pt x="1350" y="9113"/>
                </a:lnTo>
                <a:lnTo>
                  <a:pt x="1322" y="9108"/>
                </a:lnTo>
                <a:close/>
                <a:moveTo>
                  <a:pt x="1402" y="7108"/>
                </a:moveTo>
                <a:lnTo>
                  <a:pt x="1353" y="7140"/>
                </a:lnTo>
                <a:lnTo>
                  <a:pt x="1344" y="7184"/>
                </a:lnTo>
                <a:lnTo>
                  <a:pt x="1367" y="7211"/>
                </a:lnTo>
                <a:lnTo>
                  <a:pt x="1413" y="7191"/>
                </a:lnTo>
                <a:lnTo>
                  <a:pt x="1428" y="7177"/>
                </a:lnTo>
                <a:lnTo>
                  <a:pt x="1427" y="7146"/>
                </a:lnTo>
                <a:lnTo>
                  <a:pt x="1416" y="7117"/>
                </a:lnTo>
                <a:lnTo>
                  <a:pt x="1402" y="7108"/>
                </a:lnTo>
                <a:close/>
                <a:moveTo>
                  <a:pt x="962" y="12669"/>
                </a:moveTo>
                <a:lnTo>
                  <a:pt x="925" y="12660"/>
                </a:lnTo>
                <a:lnTo>
                  <a:pt x="898" y="12696"/>
                </a:lnTo>
                <a:lnTo>
                  <a:pt x="894" y="12738"/>
                </a:lnTo>
                <a:lnTo>
                  <a:pt x="925" y="12750"/>
                </a:lnTo>
                <a:lnTo>
                  <a:pt x="954" y="12736"/>
                </a:lnTo>
                <a:lnTo>
                  <a:pt x="975" y="12711"/>
                </a:lnTo>
                <a:lnTo>
                  <a:pt x="980" y="12686"/>
                </a:lnTo>
                <a:lnTo>
                  <a:pt x="962" y="12669"/>
                </a:lnTo>
                <a:close/>
                <a:moveTo>
                  <a:pt x="1278" y="5278"/>
                </a:moveTo>
                <a:lnTo>
                  <a:pt x="1348" y="5229"/>
                </a:lnTo>
                <a:lnTo>
                  <a:pt x="1303" y="5178"/>
                </a:lnTo>
                <a:lnTo>
                  <a:pt x="1208" y="5159"/>
                </a:lnTo>
                <a:lnTo>
                  <a:pt x="1124" y="5208"/>
                </a:lnTo>
                <a:lnTo>
                  <a:pt x="1134" y="5256"/>
                </a:lnTo>
                <a:lnTo>
                  <a:pt x="1180" y="5257"/>
                </a:lnTo>
                <a:lnTo>
                  <a:pt x="1236" y="5251"/>
                </a:lnTo>
                <a:lnTo>
                  <a:pt x="1278" y="5278"/>
                </a:lnTo>
                <a:close/>
                <a:moveTo>
                  <a:pt x="1189" y="4855"/>
                </a:moveTo>
                <a:lnTo>
                  <a:pt x="1270" y="4827"/>
                </a:lnTo>
                <a:lnTo>
                  <a:pt x="1242" y="4766"/>
                </a:lnTo>
                <a:lnTo>
                  <a:pt x="1157" y="4723"/>
                </a:lnTo>
                <a:lnTo>
                  <a:pt x="1062" y="4747"/>
                </a:lnTo>
                <a:lnTo>
                  <a:pt x="1057" y="4796"/>
                </a:lnTo>
                <a:lnTo>
                  <a:pt x="1101" y="4809"/>
                </a:lnTo>
                <a:lnTo>
                  <a:pt x="1157" y="4818"/>
                </a:lnTo>
                <a:lnTo>
                  <a:pt x="1189" y="4855"/>
                </a:lnTo>
                <a:close/>
                <a:moveTo>
                  <a:pt x="1085" y="9178"/>
                </a:moveTo>
                <a:lnTo>
                  <a:pt x="1038" y="9175"/>
                </a:lnTo>
                <a:lnTo>
                  <a:pt x="1009" y="9212"/>
                </a:lnTo>
                <a:lnTo>
                  <a:pt x="1004" y="9260"/>
                </a:lnTo>
                <a:lnTo>
                  <a:pt x="1031" y="9292"/>
                </a:lnTo>
                <a:lnTo>
                  <a:pt x="1071" y="9272"/>
                </a:lnTo>
                <a:lnTo>
                  <a:pt x="1098" y="9240"/>
                </a:lnTo>
                <a:lnTo>
                  <a:pt x="1104" y="9206"/>
                </a:lnTo>
                <a:lnTo>
                  <a:pt x="1085" y="9178"/>
                </a:lnTo>
                <a:close/>
                <a:moveTo>
                  <a:pt x="4545" y="3469"/>
                </a:moveTo>
                <a:lnTo>
                  <a:pt x="4554" y="3475"/>
                </a:lnTo>
                <a:lnTo>
                  <a:pt x="4559" y="3484"/>
                </a:lnTo>
                <a:lnTo>
                  <a:pt x="4566" y="3488"/>
                </a:lnTo>
                <a:lnTo>
                  <a:pt x="4576" y="3479"/>
                </a:lnTo>
                <a:lnTo>
                  <a:pt x="4570" y="3462"/>
                </a:lnTo>
                <a:lnTo>
                  <a:pt x="4553" y="3453"/>
                </a:lnTo>
                <a:lnTo>
                  <a:pt x="4539" y="3456"/>
                </a:lnTo>
                <a:lnTo>
                  <a:pt x="4545" y="3469"/>
                </a:lnTo>
                <a:close/>
                <a:moveTo>
                  <a:pt x="2145" y="7337"/>
                </a:moveTo>
                <a:lnTo>
                  <a:pt x="2097" y="7335"/>
                </a:lnTo>
                <a:lnTo>
                  <a:pt x="2048" y="7357"/>
                </a:lnTo>
                <a:lnTo>
                  <a:pt x="2009" y="7396"/>
                </a:lnTo>
                <a:lnTo>
                  <a:pt x="1990" y="7439"/>
                </a:lnTo>
                <a:lnTo>
                  <a:pt x="2030" y="7458"/>
                </a:lnTo>
                <a:lnTo>
                  <a:pt x="2107" y="7435"/>
                </a:lnTo>
                <a:lnTo>
                  <a:pt x="2163" y="7388"/>
                </a:lnTo>
                <a:lnTo>
                  <a:pt x="2145" y="7337"/>
                </a:lnTo>
                <a:close/>
                <a:moveTo>
                  <a:pt x="2011" y="6115"/>
                </a:moveTo>
                <a:lnTo>
                  <a:pt x="1931" y="6114"/>
                </a:lnTo>
                <a:lnTo>
                  <a:pt x="1874" y="6174"/>
                </a:lnTo>
                <a:lnTo>
                  <a:pt x="1869" y="6223"/>
                </a:lnTo>
                <a:lnTo>
                  <a:pt x="1942" y="6194"/>
                </a:lnTo>
                <a:lnTo>
                  <a:pt x="1950" y="6244"/>
                </a:lnTo>
                <a:lnTo>
                  <a:pt x="1991" y="6226"/>
                </a:lnTo>
                <a:lnTo>
                  <a:pt x="2025" y="6171"/>
                </a:lnTo>
                <a:lnTo>
                  <a:pt x="2011" y="6115"/>
                </a:lnTo>
                <a:close/>
                <a:moveTo>
                  <a:pt x="1930" y="6253"/>
                </a:moveTo>
                <a:lnTo>
                  <a:pt x="1880" y="6277"/>
                </a:lnTo>
                <a:lnTo>
                  <a:pt x="1866" y="6319"/>
                </a:lnTo>
                <a:lnTo>
                  <a:pt x="1885" y="6347"/>
                </a:lnTo>
                <a:lnTo>
                  <a:pt x="1930" y="6333"/>
                </a:lnTo>
                <a:lnTo>
                  <a:pt x="1946" y="6321"/>
                </a:lnTo>
                <a:lnTo>
                  <a:pt x="1949" y="6292"/>
                </a:lnTo>
                <a:lnTo>
                  <a:pt x="1941" y="6264"/>
                </a:lnTo>
                <a:lnTo>
                  <a:pt x="1930" y="6253"/>
                </a:lnTo>
                <a:close/>
                <a:moveTo>
                  <a:pt x="1982" y="4663"/>
                </a:moveTo>
                <a:lnTo>
                  <a:pt x="2014" y="4668"/>
                </a:lnTo>
                <a:lnTo>
                  <a:pt x="2025" y="4636"/>
                </a:lnTo>
                <a:lnTo>
                  <a:pt x="2018" y="4598"/>
                </a:lnTo>
                <a:lnTo>
                  <a:pt x="1988" y="4589"/>
                </a:lnTo>
                <a:lnTo>
                  <a:pt x="1968" y="4603"/>
                </a:lnTo>
                <a:lnTo>
                  <a:pt x="1959" y="4626"/>
                </a:lnTo>
                <a:lnTo>
                  <a:pt x="1963" y="4649"/>
                </a:lnTo>
                <a:lnTo>
                  <a:pt x="1982" y="4663"/>
                </a:lnTo>
                <a:close/>
                <a:moveTo>
                  <a:pt x="2373" y="3540"/>
                </a:moveTo>
                <a:lnTo>
                  <a:pt x="2411" y="3544"/>
                </a:lnTo>
                <a:lnTo>
                  <a:pt x="2435" y="3515"/>
                </a:lnTo>
                <a:lnTo>
                  <a:pt x="2442" y="3476"/>
                </a:lnTo>
                <a:lnTo>
                  <a:pt x="2421" y="3450"/>
                </a:lnTo>
                <a:lnTo>
                  <a:pt x="2388" y="3465"/>
                </a:lnTo>
                <a:lnTo>
                  <a:pt x="2365" y="3489"/>
                </a:lnTo>
                <a:lnTo>
                  <a:pt x="2359" y="3516"/>
                </a:lnTo>
                <a:lnTo>
                  <a:pt x="2373" y="3540"/>
                </a:lnTo>
                <a:close/>
                <a:moveTo>
                  <a:pt x="2221" y="6892"/>
                </a:moveTo>
                <a:lnTo>
                  <a:pt x="2272" y="6880"/>
                </a:lnTo>
                <a:lnTo>
                  <a:pt x="2327" y="6888"/>
                </a:lnTo>
                <a:lnTo>
                  <a:pt x="2363" y="6875"/>
                </a:lnTo>
                <a:lnTo>
                  <a:pt x="2359" y="6805"/>
                </a:lnTo>
                <a:lnTo>
                  <a:pt x="2280" y="6780"/>
                </a:lnTo>
                <a:lnTo>
                  <a:pt x="2190" y="6820"/>
                </a:lnTo>
                <a:lnTo>
                  <a:pt x="2149" y="6876"/>
                </a:lnTo>
                <a:lnTo>
                  <a:pt x="2221" y="6892"/>
                </a:lnTo>
                <a:close/>
                <a:moveTo>
                  <a:pt x="2142" y="5462"/>
                </a:moveTo>
                <a:lnTo>
                  <a:pt x="2041" y="5490"/>
                </a:lnTo>
                <a:lnTo>
                  <a:pt x="2000" y="5617"/>
                </a:lnTo>
                <a:lnTo>
                  <a:pt x="2080" y="5715"/>
                </a:lnTo>
                <a:lnTo>
                  <a:pt x="2342" y="5654"/>
                </a:lnTo>
                <a:lnTo>
                  <a:pt x="2417" y="5551"/>
                </a:lnTo>
                <a:lnTo>
                  <a:pt x="2388" y="5419"/>
                </a:lnTo>
                <a:lnTo>
                  <a:pt x="2285" y="5356"/>
                </a:lnTo>
                <a:lnTo>
                  <a:pt x="2142" y="5462"/>
                </a:lnTo>
                <a:close/>
                <a:moveTo>
                  <a:pt x="2081" y="4194"/>
                </a:moveTo>
                <a:lnTo>
                  <a:pt x="2126" y="4220"/>
                </a:lnTo>
                <a:lnTo>
                  <a:pt x="2158" y="4259"/>
                </a:lnTo>
                <a:lnTo>
                  <a:pt x="2192" y="4272"/>
                </a:lnTo>
                <a:lnTo>
                  <a:pt x="2238" y="4221"/>
                </a:lnTo>
                <a:lnTo>
                  <a:pt x="2200" y="4150"/>
                </a:lnTo>
                <a:lnTo>
                  <a:pt x="2108" y="4123"/>
                </a:lnTo>
                <a:lnTo>
                  <a:pt x="2042" y="4138"/>
                </a:lnTo>
                <a:lnTo>
                  <a:pt x="2081" y="4194"/>
                </a:lnTo>
                <a:close/>
                <a:moveTo>
                  <a:pt x="2161" y="2322"/>
                </a:moveTo>
                <a:lnTo>
                  <a:pt x="2181" y="2314"/>
                </a:lnTo>
                <a:lnTo>
                  <a:pt x="2190" y="2287"/>
                </a:lnTo>
                <a:lnTo>
                  <a:pt x="2187" y="2258"/>
                </a:lnTo>
                <a:lnTo>
                  <a:pt x="2175" y="2245"/>
                </a:lnTo>
                <a:lnTo>
                  <a:pt x="2117" y="2261"/>
                </a:lnTo>
                <a:lnTo>
                  <a:pt x="2097" y="2298"/>
                </a:lnTo>
                <a:lnTo>
                  <a:pt x="2111" y="2328"/>
                </a:lnTo>
                <a:lnTo>
                  <a:pt x="2161" y="2322"/>
                </a:lnTo>
                <a:close/>
                <a:moveTo>
                  <a:pt x="1838" y="4977"/>
                </a:moveTo>
                <a:lnTo>
                  <a:pt x="1815" y="5052"/>
                </a:lnTo>
                <a:lnTo>
                  <a:pt x="1841" y="5097"/>
                </a:lnTo>
                <a:lnTo>
                  <a:pt x="1883" y="5092"/>
                </a:lnTo>
                <a:lnTo>
                  <a:pt x="1908" y="5018"/>
                </a:lnTo>
                <a:lnTo>
                  <a:pt x="2002" y="5037"/>
                </a:lnTo>
                <a:lnTo>
                  <a:pt x="1998" y="4987"/>
                </a:lnTo>
                <a:lnTo>
                  <a:pt x="1934" y="4943"/>
                </a:lnTo>
                <a:lnTo>
                  <a:pt x="1838" y="4977"/>
                </a:lnTo>
                <a:close/>
                <a:moveTo>
                  <a:pt x="2077" y="3792"/>
                </a:moveTo>
                <a:lnTo>
                  <a:pt x="2053" y="3749"/>
                </a:lnTo>
                <a:lnTo>
                  <a:pt x="2009" y="3742"/>
                </a:lnTo>
                <a:lnTo>
                  <a:pt x="1969" y="3764"/>
                </a:lnTo>
                <a:lnTo>
                  <a:pt x="1959" y="3805"/>
                </a:lnTo>
                <a:lnTo>
                  <a:pt x="1996" y="3830"/>
                </a:lnTo>
                <a:lnTo>
                  <a:pt x="2035" y="3837"/>
                </a:lnTo>
                <a:lnTo>
                  <a:pt x="2066" y="3824"/>
                </a:lnTo>
                <a:lnTo>
                  <a:pt x="2077" y="3792"/>
                </a:lnTo>
                <a:close/>
                <a:moveTo>
                  <a:pt x="2137" y="3516"/>
                </a:moveTo>
                <a:lnTo>
                  <a:pt x="2103" y="3554"/>
                </a:lnTo>
                <a:lnTo>
                  <a:pt x="2128" y="3588"/>
                </a:lnTo>
                <a:lnTo>
                  <a:pt x="2168" y="3627"/>
                </a:lnTo>
                <a:lnTo>
                  <a:pt x="2170" y="3674"/>
                </a:lnTo>
                <a:lnTo>
                  <a:pt x="2249" y="3698"/>
                </a:lnTo>
                <a:lnTo>
                  <a:pt x="2267" y="3634"/>
                </a:lnTo>
                <a:lnTo>
                  <a:pt x="2229" y="3550"/>
                </a:lnTo>
                <a:lnTo>
                  <a:pt x="2137" y="3516"/>
                </a:lnTo>
                <a:close/>
                <a:moveTo>
                  <a:pt x="4328" y="2030"/>
                </a:moveTo>
                <a:lnTo>
                  <a:pt x="4312" y="2030"/>
                </a:lnTo>
                <a:lnTo>
                  <a:pt x="4311" y="2047"/>
                </a:lnTo>
                <a:lnTo>
                  <a:pt x="4319" y="2065"/>
                </a:lnTo>
                <a:lnTo>
                  <a:pt x="4333" y="2066"/>
                </a:lnTo>
                <a:lnTo>
                  <a:pt x="4340" y="2057"/>
                </a:lnTo>
                <a:lnTo>
                  <a:pt x="4342" y="2046"/>
                </a:lnTo>
                <a:lnTo>
                  <a:pt x="4338" y="2035"/>
                </a:lnTo>
                <a:lnTo>
                  <a:pt x="4328" y="2030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82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9">
            <a:extLst>
              <a:ext uri="{FF2B5EF4-FFF2-40B4-BE49-F238E27FC236}">
                <a16:creationId xmlns:a16="http://schemas.microsoft.com/office/drawing/2014/main" id="{34456974-D1C7-2744-AA37-600367AB455A}"/>
              </a:ext>
            </a:extLst>
          </p:cNvPr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300110" y="1076238"/>
            <a:ext cx="6751066" cy="4904993"/>
          </a:xfrm>
          <a:custGeom>
            <a:avLst/>
            <a:gdLst>
              <a:gd name="T0" fmla="*/ 7374 w 13714"/>
              <a:gd name="T1" fmla="*/ 750 h 10799"/>
              <a:gd name="T2" fmla="*/ 818 w 13714"/>
              <a:gd name="T3" fmla="*/ 6954 h 10799"/>
              <a:gd name="T4" fmla="*/ 3258 w 13714"/>
              <a:gd name="T5" fmla="*/ 9606 h 10799"/>
              <a:gd name="T6" fmla="*/ 6989 w 13714"/>
              <a:gd name="T7" fmla="*/ 10246 h 10799"/>
              <a:gd name="T8" fmla="*/ 11694 w 13714"/>
              <a:gd name="T9" fmla="*/ 8930 h 10799"/>
              <a:gd name="T10" fmla="*/ 11880 w 13714"/>
              <a:gd name="T11" fmla="*/ 4582 h 10799"/>
              <a:gd name="T12" fmla="*/ 11642 w 13714"/>
              <a:gd name="T13" fmla="*/ 2145 h 10799"/>
              <a:gd name="T14" fmla="*/ 8640 w 13714"/>
              <a:gd name="T15" fmla="*/ 1073 h 10799"/>
              <a:gd name="T16" fmla="*/ 12450 w 13714"/>
              <a:gd name="T17" fmla="*/ 4599 h 10799"/>
              <a:gd name="T18" fmla="*/ 12047 w 13714"/>
              <a:gd name="T19" fmla="*/ 4790 h 10799"/>
              <a:gd name="T20" fmla="*/ 11720 w 13714"/>
              <a:gd name="T21" fmla="*/ 4841 h 10799"/>
              <a:gd name="T22" fmla="*/ 12017 w 13714"/>
              <a:gd name="T23" fmla="*/ 4706 h 10799"/>
              <a:gd name="T24" fmla="*/ 12569 w 13714"/>
              <a:gd name="T25" fmla="*/ 4776 h 10799"/>
              <a:gd name="T26" fmla="*/ 12352 w 13714"/>
              <a:gd name="T27" fmla="*/ 4920 h 10799"/>
              <a:gd name="T28" fmla="*/ 12495 w 13714"/>
              <a:gd name="T29" fmla="*/ 5067 h 10799"/>
              <a:gd name="T30" fmla="*/ 12401 w 13714"/>
              <a:gd name="T31" fmla="*/ 3880 h 10799"/>
              <a:gd name="T32" fmla="*/ 11779 w 13714"/>
              <a:gd name="T33" fmla="*/ 4261 h 10799"/>
              <a:gd name="T34" fmla="*/ 11844 w 13714"/>
              <a:gd name="T35" fmla="*/ 3374 h 10799"/>
              <a:gd name="T36" fmla="*/ 12346 w 13714"/>
              <a:gd name="T37" fmla="*/ 3290 h 10799"/>
              <a:gd name="T38" fmla="*/ 11496 w 13714"/>
              <a:gd name="T39" fmla="*/ 5983 h 10799"/>
              <a:gd name="T40" fmla="*/ 11300 w 13714"/>
              <a:gd name="T41" fmla="*/ 7572 h 10799"/>
              <a:gd name="T42" fmla="*/ 11127 w 13714"/>
              <a:gd name="T43" fmla="*/ 10583 h 10799"/>
              <a:gd name="T44" fmla="*/ 10877 w 13714"/>
              <a:gd name="T45" fmla="*/ 10489 h 10799"/>
              <a:gd name="T46" fmla="*/ 11405 w 13714"/>
              <a:gd name="T47" fmla="*/ 6384 h 10799"/>
              <a:gd name="T48" fmla="*/ 11457 w 13714"/>
              <a:gd name="T49" fmla="*/ 5853 h 10799"/>
              <a:gd name="T50" fmla="*/ 9286 w 13714"/>
              <a:gd name="T51" fmla="*/ 10569 h 10799"/>
              <a:gd name="T52" fmla="*/ 8776 w 13714"/>
              <a:gd name="T53" fmla="*/ 10438 h 10799"/>
              <a:gd name="T54" fmla="*/ 7889 w 13714"/>
              <a:gd name="T55" fmla="*/ 10372 h 10799"/>
              <a:gd name="T56" fmla="*/ 7252 w 13714"/>
              <a:gd name="T57" fmla="*/ 10291 h 10799"/>
              <a:gd name="T58" fmla="*/ 6210 w 13714"/>
              <a:gd name="T59" fmla="*/ 10023 h 10799"/>
              <a:gd name="T60" fmla="*/ 5175 w 13714"/>
              <a:gd name="T61" fmla="*/ 10041 h 10799"/>
              <a:gd name="T62" fmla="*/ 2477 w 13714"/>
              <a:gd name="T63" fmla="*/ 9589 h 10799"/>
              <a:gd name="T64" fmla="*/ 1572 w 13714"/>
              <a:gd name="T65" fmla="*/ 9403 h 10799"/>
              <a:gd name="T66" fmla="*/ 1261 w 13714"/>
              <a:gd name="T67" fmla="*/ 4542 h 10799"/>
              <a:gd name="T68" fmla="*/ 865 w 13714"/>
              <a:gd name="T69" fmla="*/ 8272 h 10799"/>
              <a:gd name="T70" fmla="*/ 781 w 13714"/>
              <a:gd name="T71" fmla="*/ 8034 h 10799"/>
              <a:gd name="T72" fmla="*/ 228 w 13714"/>
              <a:gd name="T73" fmla="*/ 6688 h 10799"/>
              <a:gd name="T74" fmla="*/ 1589 w 13714"/>
              <a:gd name="T75" fmla="*/ 2098 h 10799"/>
              <a:gd name="T76" fmla="*/ 1414 w 13714"/>
              <a:gd name="T77" fmla="*/ 3544 h 10799"/>
              <a:gd name="T78" fmla="*/ 7583 w 13714"/>
              <a:gd name="T79" fmla="*/ 10459 h 10799"/>
              <a:gd name="T80" fmla="*/ 6975 w 13714"/>
              <a:gd name="T81" fmla="*/ 10454 h 10799"/>
              <a:gd name="T82" fmla="*/ 7673 w 13714"/>
              <a:gd name="T83" fmla="*/ 10317 h 10799"/>
              <a:gd name="T84" fmla="*/ 2544 w 13714"/>
              <a:gd name="T85" fmla="*/ 842 h 10799"/>
              <a:gd name="T86" fmla="*/ 9386 w 13714"/>
              <a:gd name="T87" fmla="*/ 1115 h 10799"/>
              <a:gd name="T88" fmla="*/ 9443 w 13714"/>
              <a:gd name="T89" fmla="*/ 1024 h 10799"/>
              <a:gd name="T90" fmla="*/ 2406 w 13714"/>
              <a:gd name="T91" fmla="*/ 963 h 10799"/>
              <a:gd name="T92" fmla="*/ 286 w 13714"/>
              <a:gd name="T93" fmla="*/ 9164 h 10799"/>
              <a:gd name="T94" fmla="*/ 4094 w 13714"/>
              <a:gd name="T95" fmla="*/ 9860 h 10799"/>
              <a:gd name="T96" fmla="*/ 747 w 13714"/>
              <a:gd name="T97" fmla="*/ 7853 h 10799"/>
              <a:gd name="T98" fmla="*/ 1892 w 13714"/>
              <a:gd name="T99" fmla="*/ 9577 h 10799"/>
              <a:gd name="T100" fmla="*/ 1839 w 13714"/>
              <a:gd name="T101" fmla="*/ 9711 h 10799"/>
              <a:gd name="T102" fmla="*/ 1088 w 13714"/>
              <a:gd name="T103" fmla="*/ 9345 h 10799"/>
              <a:gd name="T104" fmla="*/ 3371 w 13714"/>
              <a:gd name="T105" fmla="*/ 9767 h 10799"/>
              <a:gd name="T106" fmla="*/ 3383 w 13714"/>
              <a:gd name="T107" fmla="*/ 9913 h 10799"/>
              <a:gd name="T108" fmla="*/ 11862 w 13714"/>
              <a:gd name="T109" fmla="*/ 2376 h 10799"/>
              <a:gd name="T110" fmla="*/ 11608 w 13714"/>
              <a:gd name="T111" fmla="*/ 5767 h 10799"/>
              <a:gd name="T112" fmla="*/ 11615 w 13714"/>
              <a:gd name="T113" fmla="*/ 7407 h 10799"/>
              <a:gd name="T114" fmla="*/ 11500 w 13714"/>
              <a:gd name="T115" fmla="*/ 7612 h 10799"/>
              <a:gd name="T116" fmla="*/ 11843 w 13714"/>
              <a:gd name="T117" fmla="*/ 5846 h 10799"/>
              <a:gd name="T118" fmla="*/ 11550 w 13714"/>
              <a:gd name="T119" fmla="*/ 8150 h 10799"/>
              <a:gd name="T120" fmla="*/ 11847 w 13714"/>
              <a:gd name="T121" fmla="*/ 5251 h 10799"/>
              <a:gd name="T122" fmla="*/ 11812 w 13714"/>
              <a:gd name="T123" fmla="*/ 2241 h 10799"/>
              <a:gd name="T124" fmla="*/ 11751 w 13714"/>
              <a:gd name="T125" fmla="*/ 8190 h 10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14" h="10799">
                <a:moveTo>
                  <a:pt x="11402" y="6854"/>
                </a:moveTo>
                <a:lnTo>
                  <a:pt x="11402" y="6854"/>
                </a:lnTo>
                <a:lnTo>
                  <a:pt x="11401" y="6854"/>
                </a:lnTo>
                <a:lnTo>
                  <a:pt x="11403" y="6842"/>
                </a:lnTo>
                <a:lnTo>
                  <a:pt x="11405" y="6832"/>
                </a:lnTo>
                <a:lnTo>
                  <a:pt x="11402" y="6824"/>
                </a:lnTo>
                <a:lnTo>
                  <a:pt x="11391" y="6818"/>
                </a:lnTo>
                <a:lnTo>
                  <a:pt x="11391" y="6817"/>
                </a:lnTo>
                <a:lnTo>
                  <a:pt x="11391" y="6817"/>
                </a:lnTo>
                <a:lnTo>
                  <a:pt x="11389" y="6817"/>
                </a:lnTo>
                <a:lnTo>
                  <a:pt x="11391" y="6818"/>
                </a:lnTo>
                <a:lnTo>
                  <a:pt x="11382" y="6831"/>
                </a:lnTo>
                <a:lnTo>
                  <a:pt x="11380" y="6838"/>
                </a:lnTo>
                <a:lnTo>
                  <a:pt x="11386" y="6845"/>
                </a:lnTo>
                <a:lnTo>
                  <a:pt x="11401" y="6854"/>
                </a:lnTo>
                <a:lnTo>
                  <a:pt x="11401" y="6854"/>
                </a:lnTo>
                <a:lnTo>
                  <a:pt x="11402" y="6854"/>
                </a:lnTo>
                <a:close/>
                <a:moveTo>
                  <a:pt x="5069" y="414"/>
                </a:moveTo>
                <a:lnTo>
                  <a:pt x="5069" y="414"/>
                </a:lnTo>
                <a:lnTo>
                  <a:pt x="5068" y="413"/>
                </a:lnTo>
                <a:lnTo>
                  <a:pt x="5074" y="417"/>
                </a:lnTo>
                <a:lnTo>
                  <a:pt x="5069" y="414"/>
                </a:lnTo>
                <a:lnTo>
                  <a:pt x="5074" y="417"/>
                </a:lnTo>
                <a:lnTo>
                  <a:pt x="5074" y="417"/>
                </a:lnTo>
                <a:lnTo>
                  <a:pt x="5073" y="415"/>
                </a:lnTo>
                <a:lnTo>
                  <a:pt x="5069" y="414"/>
                </a:lnTo>
                <a:lnTo>
                  <a:pt x="5068" y="413"/>
                </a:lnTo>
                <a:lnTo>
                  <a:pt x="5066" y="412"/>
                </a:lnTo>
                <a:lnTo>
                  <a:pt x="5068" y="413"/>
                </a:lnTo>
                <a:lnTo>
                  <a:pt x="5069" y="414"/>
                </a:lnTo>
                <a:lnTo>
                  <a:pt x="5069" y="414"/>
                </a:lnTo>
                <a:lnTo>
                  <a:pt x="5069" y="414"/>
                </a:lnTo>
                <a:close/>
                <a:moveTo>
                  <a:pt x="12063" y="2475"/>
                </a:moveTo>
                <a:lnTo>
                  <a:pt x="12061" y="2472"/>
                </a:lnTo>
                <a:lnTo>
                  <a:pt x="12058" y="2470"/>
                </a:lnTo>
                <a:lnTo>
                  <a:pt x="12055" y="2470"/>
                </a:lnTo>
                <a:lnTo>
                  <a:pt x="12052" y="2472"/>
                </a:lnTo>
                <a:lnTo>
                  <a:pt x="12052" y="2476"/>
                </a:lnTo>
                <a:lnTo>
                  <a:pt x="12055" y="2477"/>
                </a:lnTo>
                <a:lnTo>
                  <a:pt x="12059" y="2476"/>
                </a:lnTo>
                <a:lnTo>
                  <a:pt x="12063" y="2475"/>
                </a:lnTo>
                <a:close/>
                <a:moveTo>
                  <a:pt x="5763" y="345"/>
                </a:moveTo>
                <a:lnTo>
                  <a:pt x="5758" y="345"/>
                </a:lnTo>
                <a:lnTo>
                  <a:pt x="5759" y="348"/>
                </a:lnTo>
                <a:lnTo>
                  <a:pt x="5761" y="349"/>
                </a:lnTo>
                <a:lnTo>
                  <a:pt x="5762" y="348"/>
                </a:lnTo>
                <a:lnTo>
                  <a:pt x="5763" y="345"/>
                </a:lnTo>
                <a:close/>
                <a:moveTo>
                  <a:pt x="7536" y="731"/>
                </a:moveTo>
                <a:lnTo>
                  <a:pt x="7532" y="728"/>
                </a:lnTo>
                <a:lnTo>
                  <a:pt x="7528" y="731"/>
                </a:lnTo>
                <a:lnTo>
                  <a:pt x="7529" y="735"/>
                </a:lnTo>
                <a:lnTo>
                  <a:pt x="7533" y="735"/>
                </a:lnTo>
                <a:lnTo>
                  <a:pt x="7535" y="734"/>
                </a:lnTo>
                <a:lnTo>
                  <a:pt x="7536" y="731"/>
                </a:lnTo>
                <a:close/>
                <a:moveTo>
                  <a:pt x="8611" y="995"/>
                </a:moveTo>
                <a:lnTo>
                  <a:pt x="8616" y="997"/>
                </a:lnTo>
                <a:lnTo>
                  <a:pt x="8616" y="996"/>
                </a:lnTo>
                <a:lnTo>
                  <a:pt x="8613" y="996"/>
                </a:lnTo>
                <a:lnTo>
                  <a:pt x="8611" y="995"/>
                </a:lnTo>
                <a:close/>
                <a:moveTo>
                  <a:pt x="8621" y="1002"/>
                </a:moveTo>
                <a:lnTo>
                  <a:pt x="8621" y="1002"/>
                </a:lnTo>
                <a:lnTo>
                  <a:pt x="8621" y="1002"/>
                </a:lnTo>
                <a:lnTo>
                  <a:pt x="8622" y="1003"/>
                </a:lnTo>
                <a:lnTo>
                  <a:pt x="8623" y="1003"/>
                </a:lnTo>
                <a:lnTo>
                  <a:pt x="8623" y="1002"/>
                </a:lnTo>
                <a:lnTo>
                  <a:pt x="8623" y="1001"/>
                </a:lnTo>
                <a:lnTo>
                  <a:pt x="8623" y="1001"/>
                </a:lnTo>
                <a:lnTo>
                  <a:pt x="8621" y="1000"/>
                </a:lnTo>
                <a:lnTo>
                  <a:pt x="8617" y="998"/>
                </a:lnTo>
                <a:lnTo>
                  <a:pt x="8620" y="1000"/>
                </a:lnTo>
                <a:lnTo>
                  <a:pt x="8621" y="1002"/>
                </a:lnTo>
                <a:close/>
                <a:moveTo>
                  <a:pt x="8356" y="868"/>
                </a:moveTo>
                <a:lnTo>
                  <a:pt x="8351" y="866"/>
                </a:lnTo>
                <a:lnTo>
                  <a:pt x="8351" y="866"/>
                </a:lnTo>
                <a:lnTo>
                  <a:pt x="8352" y="867"/>
                </a:lnTo>
                <a:lnTo>
                  <a:pt x="8356" y="868"/>
                </a:lnTo>
                <a:lnTo>
                  <a:pt x="8352" y="867"/>
                </a:lnTo>
                <a:lnTo>
                  <a:pt x="8351" y="866"/>
                </a:lnTo>
                <a:lnTo>
                  <a:pt x="8351" y="866"/>
                </a:lnTo>
                <a:lnTo>
                  <a:pt x="8356" y="868"/>
                </a:lnTo>
                <a:close/>
                <a:moveTo>
                  <a:pt x="9421" y="1081"/>
                </a:moveTo>
                <a:lnTo>
                  <a:pt x="9419" y="1085"/>
                </a:lnTo>
                <a:lnTo>
                  <a:pt x="9421" y="1086"/>
                </a:lnTo>
                <a:lnTo>
                  <a:pt x="9423" y="1086"/>
                </a:lnTo>
                <a:lnTo>
                  <a:pt x="9427" y="1086"/>
                </a:lnTo>
                <a:lnTo>
                  <a:pt x="9421" y="1081"/>
                </a:lnTo>
                <a:close/>
                <a:moveTo>
                  <a:pt x="12008" y="2513"/>
                </a:moveTo>
                <a:lnTo>
                  <a:pt x="12012" y="2509"/>
                </a:lnTo>
                <a:lnTo>
                  <a:pt x="12013" y="2504"/>
                </a:lnTo>
                <a:lnTo>
                  <a:pt x="12012" y="2500"/>
                </a:lnTo>
                <a:lnTo>
                  <a:pt x="12011" y="2494"/>
                </a:lnTo>
                <a:lnTo>
                  <a:pt x="12004" y="2498"/>
                </a:lnTo>
                <a:lnTo>
                  <a:pt x="12002" y="2503"/>
                </a:lnTo>
                <a:lnTo>
                  <a:pt x="12003" y="2507"/>
                </a:lnTo>
                <a:lnTo>
                  <a:pt x="12008" y="2513"/>
                </a:lnTo>
                <a:close/>
                <a:moveTo>
                  <a:pt x="11785" y="2321"/>
                </a:moveTo>
                <a:lnTo>
                  <a:pt x="11789" y="2323"/>
                </a:lnTo>
                <a:lnTo>
                  <a:pt x="11792" y="2325"/>
                </a:lnTo>
                <a:lnTo>
                  <a:pt x="11794" y="2323"/>
                </a:lnTo>
                <a:lnTo>
                  <a:pt x="11796" y="2320"/>
                </a:lnTo>
                <a:lnTo>
                  <a:pt x="11793" y="2317"/>
                </a:lnTo>
                <a:lnTo>
                  <a:pt x="11791" y="2316"/>
                </a:lnTo>
                <a:lnTo>
                  <a:pt x="11788" y="2318"/>
                </a:lnTo>
                <a:lnTo>
                  <a:pt x="11785" y="2321"/>
                </a:lnTo>
                <a:close/>
                <a:moveTo>
                  <a:pt x="11610" y="2027"/>
                </a:moveTo>
                <a:lnTo>
                  <a:pt x="11611" y="2026"/>
                </a:lnTo>
                <a:lnTo>
                  <a:pt x="11612" y="2024"/>
                </a:lnTo>
                <a:lnTo>
                  <a:pt x="11620" y="2028"/>
                </a:lnTo>
                <a:lnTo>
                  <a:pt x="11628" y="2032"/>
                </a:lnTo>
                <a:lnTo>
                  <a:pt x="11656" y="2085"/>
                </a:lnTo>
                <a:lnTo>
                  <a:pt x="11676" y="2040"/>
                </a:lnTo>
                <a:lnTo>
                  <a:pt x="11670" y="1971"/>
                </a:lnTo>
                <a:lnTo>
                  <a:pt x="11619" y="1959"/>
                </a:lnTo>
                <a:lnTo>
                  <a:pt x="11580" y="1945"/>
                </a:lnTo>
                <a:lnTo>
                  <a:pt x="11602" y="1934"/>
                </a:lnTo>
                <a:lnTo>
                  <a:pt x="11640" y="1917"/>
                </a:lnTo>
                <a:lnTo>
                  <a:pt x="11650" y="1887"/>
                </a:lnTo>
                <a:lnTo>
                  <a:pt x="11741" y="1977"/>
                </a:lnTo>
                <a:lnTo>
                  <a:pt x="11787" y="1991"/>
                </a:lnTo>
                <a:lnTo>
                  <a:pt x="11780" y="1921"/>
                </a:lnTo>
                <a:lnTo>
                  <a:pt x="11713" y="1760"/>
                </a:lnTo>
                <a:lnTo>
                  <a:pt x="11687" y="1683"/>
                </a:lnTo>
                <a:lnTo>
                  <a:pt x="11687" y="1672"/>
                </a:lnTo>
                <a:lnTo>
                  <a:pt x="11706" y="1678"/>
                </a:lnTo>
                <a:lnTo>
                  <a:pt x="11743" y="1655"/>
                </a:lnTo>
                <a:lnTo>
                  <a:pt x="11704" y="1640"/>
                </a:lnTo>
                <a:lnTo>
                  <a:pt x="11654" y="1628"/>
                </a:lnTo>
                <a:lnTo>
                  <a:pt x="11616" y="1612"/>
                </a:lnTo>
                <a:lnTo>
                  <a:pt x="11614" y="1580"/>
                </a:lnTo>
                <a:lnTo>
                  <a:pt x="11759" y="1625"/>
                </a:lnTo>
                <a:lnTo>
                  <a:pt x="11735" y="1588"/>
                </a:lnTo>
                <a:lnTo>
                  <a:pt x="11645" y="1519"/>
                </a:lnTo>
                <a:lnTo>
                  <a:pt x="11593" y="1467"/>
                </a:lnTo>
                <a:lnTo>
                  <a:pt x="11387" y="1380"/>
                </a:lnTo>
                <a:lnTo>
                  <a:pt x="11127" y="1249"/>
                </a:lnTo>
                <a:lnTo>
                  <a:pt x="10814" y="1154"/>
                </a:lnTo>
                <a:lnTo>
                  <a:pt x="10448" y="1170"/>
                </a:lnTo>
                <a:lnTo>
                  <a:pt x="10245" y="1219"/>
                </a:lnTo>
                <a:lnTo>
                  <a:pt x="10046" y="1171"/>
                </a:lnTo>
                <a:lnTo>
                  <a:pt x="9845" y="1108"/>
                </a:lnTo>
                <a:lnTo>
                  <a:pt x="9631" y="1103"/>
                </a:lnTo>
                <a:lnTo>
                  <a:pt x="9744" y="1024"/>
                </a:lnTo>
                <a:lnTo>
                  <a:pt x="9741" y="987"/>
                </a:lnTo>
                <a:lnTo>
                  <a:pt x="9671" y="978"/>
                </a:lnTo>
                <a:lnTo>
                  <a:pt x="9581" y="983"/>
                </a:lnTo>
                <a:lnTo>
                  <a:pt x="9549" y="977"/>
                </a:lnTo>
                <a:lnTo>
                  <a:pt x="9561" y="1002"/>
                </a:lnTo>
                <a:lnTo>
                  <a:pt x="9584" y="1044"/>
                </a:lnTo>
                <a:lnTo>
                  <a:pt x="9590" y="1084"/>
                </a:lnTo>
                <a:lnTo>
                  <a:pt x="9556" y="1113"/>
                </a:lnTo>
                <a:lnTo>
                  <a:pt x="9478" y="1131"/>
                </a:lnTo>
                <a:lnTo>
                  <a:pt x="9405" y="1152"/>
                </a:lnTo>
                <a:lnTo>
                  <a:pt x="9384" y="1187"/>
                </a:lnTo>
                <a:lnTo>
                  <a:pt x="9280" y="1258"/>
                </a:lnTo>
                <a:lnTo>
                  <a:pt x="9138" y="1262"/>
                </a:lnTo>
                <a:lnTo>
                  <a:pt x="9042" y="1227"/>
                </a:lnTo>
                <a:lnTo>
                  <a:pt x="9077" y="1179"/>
                </a:lnTo>
                <a:lnTo>
                  <a:pt x="9049" y="1142"/>
                </a:lnTo>
                <a:lnTo>
                  <a:pt x="8995" y="1161"/>
                </a:lnTo>
                <a:lnTo>
                  <a:pt x="8934" y="1193"/>
                </a:lnTo>
                <a:lnTo>
                  <a:pt x="8883" y="1193"/>
                </a:lnTo>
                <a:lnTo>
                  <a:pt x="8786" y="1137"/>
                </a:lnTo>
                <a:lnTo>
                  <a:pt x="8667" y="1119"/>
                </a:lnTo>
                <a:lnTo>
                  <a:pt x="8567" y="1095"/>
                </a:lnTo>
                <a:lnTo>
                  <a:pt x="8532" y="1014"/>
                </a:lnTo>
                <a:lnTo>
                  <a:pt x="8453" y="1010"/>
                </a:lnTo>
                <a:lnTo>
                  <a:pt x="8380" y="1001"/>
                </a:lnTo>
                <a:lnTo>
                  <a:pt x="8327" y="977"/>
                </a:lnTo>
                <a:lnTo>
                  <a:pt x="8304" y="936"/>
                </a:lnTo>
                <a:lnTo>
                  <a:pt x="8313" y="944"/>
                </a:lnTo>
                <a:lnTo>
                  <a:pt x="8322" y="946"/>
                </a:lnTo>
                <a:lnTo>
                  <a:pt x="8332" y="946"/>
                </a:lnTo>
                <a:lnTo>
                  <a:pt x="8344" y="945"/>
                </a:lnTo>
                <a:lnTo>
                  <a:pt x="8330" y="933"/>
                </a:lnTo>
                <a:lnTo>
                  <a:pt x="8322" y="928"/>
                </a:lnTo>
                <a:lnTo>
                  <a:pt x="8314" y="928"/>
                </a:lnTo>
                <a:lnTo>
                  <a:pt x="8304" y="931"/>
                </a:lnTo>
                <a:lnTo>
                  <a:pt x="8306" y="916"/>
                </a:lnTo>
                <a:lnTo>
                  <a:pt x="8311" y="898"/>
                </a:lnTo>
                <a:lnTo>
                  <a:pt x="8322" y="879"/>
                </a:lnTo>
                <a:lnTo>
                  <a:pt x="8336" y="857"/>
                </a:lnTo>
                <a:lnTo>
                  <a:pt x="8213" y="886"/>
                </a:lnTo>
                <a:lnTo>
                  <a:pt x="8045" y="926"/>
                </a:lnTo>
                <a:lnTo>
                  <a:pt x="7905" y="911"/>
                </a:lnTo>
                <a:lnTo>
                  <a:pt x="7864" y="777"/>
                </a:lnTo>
                <a:lnTo>
                  <a:pt x="7793" y="792"/>
                </a:lnTo>
                <a:lnTo>
                  <a:pt x="7807" y="815"/>
                </a:lnTo>
                <a:lnTo>
                  <a:pt x="7825" y="832"/>
                </a:lnTo>
                <a:lnTo>
                  <a:pt x="7768" y="825"/>
                </a:lnTo>
                <a:lnTo>
                  <a:pt x="7738" y="744"/>
                </a:lnTo>
                <a:lnTo>
                  <a:pt x="7681" y="745"/>
                </a:lnTo>
                <a:lnTo>
                  <a:pt x="7611" y="782"/>
                </a:lnTo>
                <a:lnTo>
                  <a:pt x="7543" y="807"/>
                </a:lnTo>
                <a:lnTo>
                  <a:pt x="7472" y="772"/>
                </a:lnTo>
                <a:lnTo>
                  <a:pt x="7442" y="727"/>
                </a:lnTo>
                <a:lnTo>
                  <a:pt x="7420" y="708"/>
                </a:lnTo>
                <a:lnTo>
                  <a:pt x="7374" y="750"/>
                </a:lnTo>
                <a:lnTo>
                  <a:pt x="7293" y="730"/>
                </a:lnTo>
                <a:lnTo>
                  <a:pt x="7208" y="683"/>
                </a:lnTo>
                <a:lnTo>
                  <a:pt x="7161" y="660"/>
                </a:lnTo>
                <a:lnTo>
                  <a:pt x="7192" y="709"/>
                </a:lnTo>
                <a:lnTo>
                  <a:pt x="7124" y="700"/>
                </a:lnTo>
                <a:lnTo>
                  <a:pt x="7080" y="658"/>
                </a:lnTo>
                <a:lnTo>
                  <a:pt x="7034" y="625"/>
                </a:lnTo>
                <a:lnTo>
                  <a:pt x="6964" y="643"/>
                </a:lnTo>
                <a:lnTo>
                  <a:pt x="6872" y="644"/>
                </a:lnTo>
                <a:lnTo>
                  <a:pt x="6798" y="601"/>
                </a:lnTo>
                <a:lnTo>
                  <a:pt x="6723" y="555"/>
                </a:lnTo>
                <a:lnTo>
                  <a:pt x="6630" y="550"/>
                </a:lnTo>
                <a:lnTo>
                  <a:pt x="6619" y="588"/>
                </a:lnTo>
                <a:lnTo>
                  <a:pt x="6581" y="553"/>
                </a:lnTo>
                <a:lnTo>
                  <a:pt x="6532" y="501"/>
                </a:lnTo>
                <a:lnTo>
                  <a:pt x="6489" y="485"/>
                </a:lnTo>
                <a:lnTo>
                  <a:pt x="6382" y="534"/>
                </a:lnTo>
                <a:lnTo>
                  <a:pt x="6345" y="504"/>
                </a:lnTo>
                <a:lnTo>
                  <a:pt x="6295" y="445"/>
                </a:lnTo>
                <a:lnTo>
                  <a:pt x="6146" y="401"/>
                </a:lnTo>
                <a:lnTo>
                  <a:pt x="5920" y="392"/>
                </a:lnTo>
                <a:lnTo>
                  <a:pt x="5706" y="432"/>
                </a:lnTo>
                <a:lnTo>
                  <a:pt x="5478" y="479"/>
                </a:lnTo>
                <a:lnTo>
                  <a:pt x="5209" y="493"/>
                </a:lnTo>
                <a:lnTo>
                  <a:pt x="5200" y="457"/>
                </a:lnTo>
                <a:lnTo>
                  <a:pt x="5224" y="433"/>
                </a:lnTo>
                <a:lnTo>
                  <a:pt x="5236" y="419"/>
                </a:lnTo>
                <a:lnTo>
                  <a:pt x="5186" y="412"/>
                </a:lnTo>
                <a:lnTo>
                  <a:pt x="5170" y="423"/>
                </a:lnTo>
                <a:lnTo>
                  <a:pt x="5135" y="405"/>
                </a:lnTo>
                <a:lnTo>
                  <a:pt x="5100" y="395"/>
                </a:lnTo>
                <a:lnTo>
                  <a:pt x="5078" y="429"/>
                </a:lnTo>
                <a:lnTo>
                  <a:pt x="5106" y="461"/>
                </a:lnTo>
                <a:lnTo>
                  <a:pt x="5054" y="450"/>
                </a:lnTo>
                <a:lnTo>
                  <a:pt x="5009" y="427"/>
                </a:lnTo>
                <a:lnTo>
                  <a:pt x="5059" y="426"/>
                </a:lnTo>
                <a:lnTo>
                  <a:pt x="5040" y="412"/>
                </a:lnTo>
                <a:lnTo>
                  <a:pt x="5014" y="399"/>
                </a:lnTo>
                <a:lnTo>
                  <a:pt x="4982" y="387"/>
                </a:lnTo>
                <a:lnTo>
                  <a:pt x="4948" y="377"/>
                </a:lnTo>
                <a:lnTo>
                  <a:pt x="4948" y="372"/>
                </a:lnTo>
                <a:lnTo>
                  <a:pt x="4940" y="370"/>
                </a:lnTo>
                <a:lnTo>
                  <a:pt x="4929" y="370"/>
                </a:lnTo>
                <a:lnTo>
                  <a:pt x="4919" y="368"/>
                </a:lnTo>
                <a:lnTo>
                  <a:pt x="4920" y="371"/>
                </a:lnTo>
                <a:lnTo>
                  <a:pt x="4830" y="352"/>
                </a:lnTo>
                <a:lnTo>
                  <a:pt x="4732" y="334"/>
                </a:lnTo>
                <a:lnTo>
                  <a:pt x="4635" y="316"/>
                </a:lnTo>
                <a:lnTo>
                  <a:pt x="4547" y="294"/>
                </a:lnTo>
                <a:lnTo>
                  <a:pt x="4418" y="320"/>
                </a:lnTo>
                <a:lnTo>
                  <a:pt x="4286" y="349"/>
                </a:lnTo>
                <a:lnTo>
                  <a:pt x="4137" y="362"/>
                </a:lnTo>
                <a:lnTo>
                  <a:pt x="3956" y="343"/>
                </a:lnTo>
                <a:lnTo>
                  <a:pt x="3689" y="303"/>
                </a:lnTo>
                <a:lnTo>
                  <a:pt x="3361" y="245"/>
                </a:lnTo>
                <a:lnTo>
                  <a:pt x="3040" y="280"/>
                </a:lnTo>
                <a:lnTo>
                  <a:pt x="2793" y="525"/>
                </a:lnTo>
                <a:lnTo>
                  <a:pt x="2772" y="566"/>
                </a:lnTo>
                <a:lnTo>
                  <a:pt x="2756" y="597"/>
                </a:lnTo>
                <a:lnTo>
                  <a:pt x="2755" y="629"/>
                </a:lnTo>
                <a:lnTo>
                  <a:pt x="2774" y="667"/>
                </a:lnTo>
                <a:lnTo>
                  <a:pt x="2742" y="686"/>
                </a:lnTo>
                <a:lnTo>
                  <a:pt x="2726" y="707"/>
                </a:lnTo>
                <a:lnTo>
                  <a:pt x="2730" y="720"/>
                </a:lnTo>
                <a:lnTo>
                  <a:pt x="2763" y="721"/>
                </a:lnTo>
                <a:lnTo>
                  <a:pt x="2759" y="778"/>
                </a:lnTo>
                <a:lnTo>
                  <a:pt x="2742" y="851"/>
                </a:lnTo>
                <a:lnTo>
                  <a:pt x="2719" y="927"/>
                </a:lnTo>
                <a:lnTo>
                  <a:pt x="2702" y="988"/>
                </a:lnTo>
                <a:lnTo>
                  <a:pt x="2721" y="1029"/>
                </a:lnTo>
                <a:lnTo>
                  <a:pt x="2703" y="1059"/>
                </a:lnTo>
                <a:lnTo>
                  <a:pt x="2668" y="1063"/>
                </a:lnTo>
                <a:lnTo>
                  <a:pt x="2633" y="1025"/>
                </a:lnTo>
                <a:lnTo>
                  <a:pt x="2601" y="1067"/>
                </a:lnTo>
                <a:lnTo>
                  <a:pt x="2553" y="1099"/>
                </a:lnTo>
                <a:lnTo>
                  <a:pt x="2494" y="1113"/>
                </a:lnTo>
                <a:lnTo>
                  <a:pt x="2432" y="1103"/>
                </a:lnTo>
                <a:lnTo>
                  <a:pt x="2435" y="1049"/>
                </a:lnTo>
                <a:lnTo>
                  <a:pt x="2420" y="1033"/>
                </a:lnTo>
                <a:lnTo>
                  <a:pt x="2396" y="1006"/>
                </a:lnTo>
                <a:lnTo>
                  <a:pt x="2372" y="922"/>
                </a:lnTo>
                <a:lnTo>
                  <a:pt x="2414" y="895"/>
                </a:lnTo>
                <a:lnTo>
                  <a:pt x="2475" y="870"/>
                </a:lnTo>
                <a:lnTo>
                  <a:pt x="2523" y="838"/>
                </a:lnTo>
                <a:lnTo>
                  <a:pt x="2527" y="791"/>
                </a:lnTo>
                <a:lnTo>
                  <a:pt x="2316" y="847"/>
                </a:lnTo>
                <a:lnTo>
                  <a:pt x="2131" y="927"/>
                </a:lnTo>
                <a:lnTo>
                  <a:pt x="1958" y="1015"/>
                </a:lnTo>
                <a:lnTo>
                  <a:pt x="1786" y="1096"/>
                </a:lnTo>
                <a:lnTo>
                  <a:pt x="1845" y="1163"/>
                </a:lnTo>
                <a:lnTo>
                  <a:pt x="1838" y="1207"/>
                </a:lnTo>
                <a:lnTo>
                  <a:pt x="1808" y="1254"/>
                </a:lnTo>
                <a:lnTo>
                  <a:pt x="1795" y="1328"/>
                </a:lnTo>
                <a:lnTo>
                  <a:pt x="1688" y="1434"/>
                </a:lnTo>
                <a:lnTo>
                  <a:pt x="1652" y="1635"/>
                </a:lnTo>
                <a:lnTo>
                  <a:pt x="1636" y="1846"/>
                </a:lnTo>
                <a:lnTo>
                  <a:pt x="1583" y="1982"/>
                </a:lnTo>
                <a:lnTo>
                  <a:pt x="1647" y="1992"/>
                </a:lnTo>
                <a:lnTo>
                  <a:pt x="1676" y="2032"/>
                </a:lnTo>
                <a:lnTo>
                  <a:pt x="1670" y="2059"/>
                </a:lnTo>
                <a:lnTo>
                  <a:pt x="1624" y="2029"/>
                </a:lnTo>
                <a:lnTo>
                  <a:pt x="1583" y="2055"/>
                </a:lnTo>
                <a:lnTo>
                  <a:pt x="1625" y="2089"/>
                </a:lnTo>
                <a:lnTo>
                  <a:pt x="1676" y="2127"/>
                </a:lnTo>
                <a:lnTo>
                  <a:pt x="1662" y="2166"/>
                </a:lnTo>
                <a:lnTo>
                  <a:pt x="1707" y="2262"/>
                </a:lnTo>
                <a:lnTo>
                  <a:pt x="1652" y="2293"/>
                </a:lnTo>
                <a:lnTo>
                  <a:pt x="1576" y="2323"/>
                </a:lnTo>
                <a:lnTo>
                  <a:pt x="1558" y="2423"/>
                </a:lnTo>
                <a:lnTo>
                  <a:pt x="1557" y="2429"/>
                </a:lnTo>
                <a:lnTo>
                  <a:pt x="1550" y="2466"/>
                </a:lnTo>
                <a:lnTo>
                  <a:pt x="1557" y="2505"/>
                </a:lnTo>
                <a:lnTo>
                  <a:pt x="1591" y="2519"/>
                </a:lnTo>
                <a:lnTo>
                  <a:pt x="1619" y="2586"/>
                </a:lnTo>
                <a:lnTo>
                  <a:pt x="1606" y="2623"/>
                </a:lnTo>
                <a:lnTo>
                  <a:pt x="1568" y="2642"/>
                </a:lnTo>
                <a:lnTo>
                  <a:pt x="1521" y="2652"/>
                </a:lnTo>
                <a:lnTo>
                  <a:pt x="1522" y="2719"/>
                </a:lnTo>
                <a:lnTo>
                  <a:pt x="1557" y="2756"/>
                </a:lnTo>
                <a:lnTo>
                  <a:pt x="1601" y="2788"/>
                </a:lnTo>
                <a:lnTo>
                  <a:pt x="1639" y="2839"/>
                </a:lnTo>
                <a:lnTo>
                  <a:pt x="1545" y="2834"/>
                </a:lnTo>
                <a:lnTo>
                  <a:pt x="1550" y="2887"/>
                </a:lnTo>
                <a:lnTo>
                  <a:pt x="1586" y="2979"/>
                </a:lnTo>
                <a:lnTo>
                  <a:pt x="1585" y="3085"/>
                </a:lnTo>
                <a:lnTo>
                  <a:pt x="1606" y="3094"/>
                </a:lnTo>
                <a:lnTo>
                  <a:pt x="1662" y="3111"/>
                </a:lnTo>
                <a:lnTo>
                  <a:pt x="1699" y="3128"/>
                </a:lnTo>
                <a:lnTo>
                  <a:pt x="1662" y="3134"/>
                </a:lnTo>
                <a:lnTo>
                  <a:pt x="1604" y="3148"/>
                </a:lnTo>
                <a:lnTo>
                  <a:pt x="1591" y="3223"/>
                </a:lnTo>
                <a:lnTo>
                  <a:pt x="1597" y="3321"/>
                </a:lnTo>
                <a:lnTo>
                  <a:pt x="1594" y="3407"/>
                </a:lnTo>
                <a:lnTo>
                  <a:pt x="1563" y="3472"/>
                </a:lnTo>
                <a:lnTo>
                  <a:pt x="1479" y="3521"/>
                </a:lnTo>
                <a:lnTo>
                  <a:pt x="1417" y="3562"/>
                </a:lnTo>
                <a:lnTo>
                  <a:pt x="1447" y="3603"/>
                </a:lnTo>
                <a:lnTo>
                  <a:pt x="1448" y="3623"/>
                </a:lnTo>
                <a:lnTo>
                  <a:pt x="1429" y="3624"/>
                </a:lnTo>
                <a:lnTo>
                  <a:pt x="1404" y="3624"/>
                </a:lnTo>
                <a:lnTo>
                  <a:pt x="1383" y="3647"/>
                </a:lnTo>
                <a:lnTo>
                  <a:pt x="1354" y="3654"/>
                </a:lnTo>
                <a:lnTo>
                  <a:pt x="1413" y="3669"/>
                </a:lnTo>
                <a:lnTo>
                  <a:pt x="1465" y="3692"/>
                </a:lnTo>
                <a:lnTo>
                  <a:pt x="1418" y="3726"/>
                </a:lnTo>
                <a:lnTo>
                  <a:pt x="1415" y="3748"/>
                </a:lnTo>
                <a:lnTo>
                  <a:pt x="1401" y="3758"/>
                </a:lnTo>
                <a:lnTo>
                  <a:pt x="1376" y="3762"/>
                </a:lnTo>
                <a:lnTo>
                  <a:pt x="1334" y="3768"/>
                </a:lnTo>
                <a:lnTo>
                  <a:pt x="1368" y="3794"/>
                </a:lnTo>
                <a:lnTo>
                  <a:pt x="1401" y="3801"/>
                </a:lnTo>
                <a:lnTo>
                  <a:pt x="1405" y="3808"/>
                </a:lnTo>
                <a:lnTo>
                  <a:pt x="1355" y="3831"/>
                </a:lnTo>
                <a:lnTo>
                  <a:pt x="1316" y="3878"/>
                </a:lnTo>
                <a:lnTo>
                  <a:pt x="1336" y="3940"/>
                </a:lnTo>
                <a:lnTo>
                  <a:pt x="1380" y="3969"/>
                </a:lnTo>
                <a:lnTo>
                  <a:pt x="1405" y="3913"/>
                </a:lnTo>
                <a:lnTo>
                  <a:pt x="1452" y="3931"/>
                </a:lnTo>
                <a:lnTo>
                  <a:pt x="1510" y="3940"/>
                </a:lnTo>
                <a:lnTo>
                  <a:pt x="1548" y="3963"/>
                </a:lnTo>
                <a:lnTo>
                  <a:pt x="1536" y="4025"/>
                </a:lnTo>
                <a:lnTo>
                  <a:pt x="1475" y="4032"/>
                </a:lnTo>
                <a:lnTo>
                  <a:pt x="1399" y="4022"/>
                </a:lnTo>
                <a:lnTo>
                  <a:pt x="1329" y="4018"/>
                </a:lnTo>
                <a:lnTo>
                  <a:pt x="1289" y="4048"/>
                </a:lnTo>
                <a:lnTo>
                  <a:pt x="1133" y="4038"/>
                </a:lnTo>
                <a:lnTo>
                  <a:pt x="928" y="3999"/>
                </a:lnTo>
                <a:lnTo>
                  <a:pt x="688" y="3988"/>
                </a:lnTo>
                <a:lnTo>
                  <a:pt x="431" y="4065"/>
                </a:lnTo>
                <a:lnTo>
                  <a:pt x="325" y="4425"/>
                </a:lnTo>
                <a:lnTo>
                  <a:pt x="212" y="4827"/>
                </a:lnTo>
                <a:lnTo>
                  <a:pt x="124" y="5203"/>
                </a:lnTo>
                <a:lnTo>
                  <a:pt x="95" y="5487"/>
                </a:lnTo>
                <a:lnTo>
                  <a:pt x="244" y="5527"/>
                </a:lnTo>
                <a:lnTo>
                  <a:pt x="254" y="5641"/>
                </a:lnTo>
                <a:lnTo>
                  <a:pt x="202" y="5792"/>
                </a:lnTo>
                <a:lnTo>
                  <a:pt x="169" y="5949"/>
                </a:lnTo>
                <a:lnTo>
                  <a:pt x="116" y="6169"/>
                </a:lnTo>
                <a:lnTo>
                  <a:pt x="39" y="6430"/>
                </a:lnTo>
                <a:lnTo>
                  <a:pt x="0" y="6670"/>
                </a:lnTo>
                <a:lnTo>
                  <a:pt x="63" y="6827"/>
                </a:lnTo>
                <a:lnTo>
                  <a:pt x="177" y="6845"/>
                </a:lnTo>
                <a:lnTo>
                  <a:pt x="256" y="6828"/>
                </a:lnTo>
                <a:lnTo>
                  <a:pt x="260" y="6795"/>
                </a:lnTo>
                <a:lnTo>
                  <a:pt x="148" y="6762"/>
                </a:lnTo>
                <a:lnTo>
                  <a:pt x="141" y="6794"/>
                </a:lnTo>
                <a:lnTo>
                  <a:pt x="106" y="6784"/>
                </a:lnTo>
                <a:lnTo>
                  <a:pt x="81" y="6756"/>
                </a:lnTo>
                <a:lnTo>
                  <a:pt x="102" y="6735"/>
                </a:lnTo>
                <a:lnTo>
                  <a:pt x="304" y="6742"/>
                </a:lnTo>
                <a:lnTo>
                  <a:pt x="486" y="6780"/>
                </a:lnTo>
                <a:lnTo>
                  <a:pt x="673" y="6831"/>
                </a:lnTo>
                <a:lnTo>
                  <a:pt x="888" y="6873"/>
                </a:lnTo>
                <a:lnTo>
                  <a:pt x="894" y="6888"/>
                </a:lnTo>
                <a:lnTo>
                  <a:pt x="824" y="6898"/>
                </a:lnTo>
                <a:lnTo>
                  <a:pt x="768" y="6916"/>
                </a:lnTo>
                <a:lnTo>
                  <a:pt x="818" y="6954"/>
                </a:lnTo>
                <a:lnTo>
                  <a:pt x="915" y="6907"/>
                </a:lnTo>
                <a:lnTo>
                  <a:pt x="976" y="6910"/>
                </a:lnTo>
                <a:lnTo>
                  <a:pt x="1021" y="6958"/>
                </a:lnTo>
                <a:lnTo>
                  <a:pt x="1070" y="7046"/>
                </a:lnTo>
                <a:lnTo>
                  <a:pt x="1009" y="7078"/>
                </a:lnTo>
                <a:lnTo>
                  <a:pt x="1049" y="7098"/>
                </a:lnTo>
                <a:lnTo>
                  <a:pt x="1128" y="7103"/>
                </a:lnTo>
                <a:lnTo>
                  <a:pt x="1189" y="7087"/>
                </a:lnTo>
                <a:lnTo>
                  <a:pt x="1147" y="7108"/>
                </a:lnTo>
                <a:lnTo>
                  <a:pt x="1096" y="7121"/>
                </a:lnTo>
                <a:lnTo>
                  <a:pt x="1042" y="7126"/>
                </a:lnTo>
                <a:lnTo>
                  <a:pt x="996" y="7121"/>
                </a:lnTo>
                <a:lnTo>
                  <a:pt x="908" y="7135"/>
                </a:lnTo>
                <a:lnTo>
                  <a:pt x="916" y="7194"/>
                </a:lnTo>
                <a:lnTo>
                  <a:pt x="944" y="7243"/>
                </a:lnTo>
                <a:lnTo>
                  <a:pt x="916" y="7227"/>
                </a:lnTo>
                <a:lnTo>
                  <a:pt x="875" y="7260"/>
                </a:lnTo>
                <a:lnTo>
                  <a:pt x="928" y="7285"/>
                </a:lnTo>
                <a:lnTo>
                  <a:pt x="1014" y="7309"/>
                </a:lnTo>
                <a:lnTo>
                  <a:pt x="1080" y="7337"/>
                </a:lnTo>
                <a:lnTo>
                  <a:pt x="1009" y="7325"/>
                </a:lnTo>
                <a:lnTo>
                  <a:pt x="947" y="7332"/>
                </a:lnTo>
                <a:lnTo>
                  <a:pt x="882" y="7357"/>
                </a:lnTo>
                <a:lnTo>
                  <a:pt x="803" y="7395"/>
                </a:lnTo>
                <a:lnTo>
                  <a:pt x="903" y="7425"/>
                </a:lnTo>
                <a:lnTo>
                  <a:pt x="911" y="7441"/>
                </a:lnTo>
                <a:lnTo>
                  <a:pt x="896" y="7461"/>
                </a:lnTo>
                <a:lnTo>
                  <a:pt x="925" y="7511"/>
                </a:lnTo>
                <a:lnTo>
                  <a:pt x="859" y="7528"/>
                </a:lnTo>
                <a:lnTo>
                  <a:pt x="897" y="7563"/>
                </a:lnTo>
                <a:lnTo>
                  <a:pt x="936" y="7590"/>
                </a:lnTo>
                <a:lnTo>
                  <a:pt x="869" y="7588"/>
                </a:lnTo>
                <a:lnTo>
                  <a:pt x="832" y="7598"/>
                </a:lnTo>
                <a:lnTo>
                  <a:pt x="880" y="7646"/>
                </a:lnTo>
                <a:lnTo>
                  <a:pt x="908" y="7691"/>
                </a:lnTo>
                <a:lnTo>
                  <a:pt x="810" y="7695"/>
                </a:lnTo>
                <a:lnTo>
                  <a:pt x="816" y="7716"/>
                </a:lnTo>
                <a:lnTo>
                  <a:pt x="859" y="7728"/>
                </a:lnTo>
                <a:lnTo>
                  <a:pt x="907" y="7744"/>
                </a:lnTo>
                <a:lnTo>
                  <a:pt x="925" y="7772"/>
                </a:lnTo>
                <a:lnTo>
                  <a:pt x="859" y="7754"/>
                </a:lnTo>
                <a:lnTo>
                  <a:pt x="845" y="7777"/>
                </a:lnTo>
                <a:lnTo>
                  <a:pt x="861" y="7826"/>
                </a:lnTo>
                <a:lnTo>
                  <a:pt x="889" y="7885"/>
                </a:lnTo>
                <a:lnTo>
                  <a:pt x="835" y="7850"/>
                </a:lnTo>
                <a:lnTo>
                  <a:pt x="807" y="7857"/>
                </a:lnTo>
                <a:lnTo>
                  <a:pt x="810" y="7886"/>
                </a:lnTo>
                <a:lnTo>
                  <a:pt x="851" y="7924"/>
                </a:lnTo>
                <a:lnTo>
                  <a:pt x="817" y="7914"/>
                </a:lnTo>
                <a:lnTo>
                  <a:pt x="791" y="7917"/>
                </a:lnTo>
                <a:lnTo>
                  <a:pt x="790" y="7927"/>
                </a:lnTo>
                <a:lnTo>
                  <a:pt x="831" y="7940"/>
                </a:lnTo>
                <a:lnTo>
                  <a:pt x="877" y="8021"/>
                </a:lnTo>
                <a:lnTo>
                  <a:pt x="872" y="8052"/>
                </a:lnTo>
                <a:lnTo>
                  <a:pt x="823" y="8041"/>
                </a:lnTo>
                <a:lnTo>
                  <a:pt x="738" y="7996"/>
                </a:lnTo>
                <a:lnTo>
                  <a:pt x="771" y="8068"/>
                </a:lnTo>
                <a:lnTo>
                  <a:pt x="809" y="8113"/>
                </a:lnTo>
                <a:lnTo>
                  <a:pt x="830" y="8136"/>
                </a:lnTo>
                <a:lnTo>
                  <a:pt x="805" y="8142"/>
                </a:lnTo>
                <a:lnTo>
                  <a:pt x="842" y="8180"/>
                </a:lnTo>
                <a:lnTo>
                  <a:pt x="866" y="8218"/>
                </a:lnTo>
                <a:lnTo>
                  <a:pt x="859" y="8237"/>
                </a:lnTo>
                <a:lnTo>
                  <a:pt x="805" y="8221"/>
                </a:lnTo>
                <a:lnTo>
                  <a:pt x="756" y="8315"/>
                </a:lnTo>
                <a:lnTo>
                  <a:pt x="644" y="8313"/>
                </a:lnTo>
                <a:lnTo>
                  <a:pt x="501" y="8306"/>
                </a:lnTo>
                <a:lnTo>
                  <a:pt x="357" y="8390"/>
                </a:lnTo>
                <a:lnTo>
                  <a:pt x="403" y="8437"/>
                </a:lnTo>
                <a:lnTo>
                  <a:pt x="481" y="8447"/>
                </a:lnTo>
                <a:lnTo>
                  <a:pt x="506" y="8447"/>
                </a:lnTo>
                <a:lnTo>
                  <a:pt x="398" y="8464"/>
                </a:lnTo>
                <a:lnTo>
                  <a:pt x="386" y="8495"/>
                </a:lnTo>
                <a:lnTo>
                  <a:pt x="426" y="8493"/>
                </a:lnTo>
                <a:lnTo>
                  <a:pt x="454" y="8505"/>
                </a:lnTo>
                <a:lnTo>
                  <a:pt x="409" y="8573"/>
                </a:lnTo>
                <a:lnTo>
                  <a:pt x="507" y="8624"/>
                </a:lnTo>
                <a:lnTo>
                  <a:pt x="487" y="8657"/>
                </a:lnTo>
                <a:lnTo>
                  <a:pt x="446" y="8694"/>
                </a:lnTo>
                <a:lnTo>
                  <a:pt x="487" y="8754"/>
                </a:lnTo>
                <a:lnTo>
                  <a:pt x="474" y="8790"/>
                </a:lnTo>
                <a:lnTo>
                  <a:pt x="455" y="8795"/>
                </a:lnTo>
                <a:lnTo>
                  <a:pt x="428" y="8789"/>
                </a:lnTo>
                <a:lnTo>
                  <a:pt x="398" y="8790"/>
                </a:lnTo>
                <a:lnTo>
                  <a:pt x="395" y="8831"/>
                </a:lnTo>
                <a:lnTo>
                  <a:pt x="407" y="8852"/>
                </a:lnTo>
                <a:lnTo>
                  <a:pt x="422" y="8854"/>
                </a:lnTo>
                <a:lnTo>
                  <a:pt x="436" y="8833"/>
                </a:lnTo>
                <a:lnTo>
                  <a:pt x="479" y="8860"/>
                </a:lnTo>
                <a:lnTo>
                  <a:pt x="453" y="8871"/>
                </a:lnTo>
                <a:lnTo>
                  <a:pt x="409" y="8884"/>
                </a:lnTo>
                <a:lnTo>
                  <a:pt x="405" y="8910"/>
                </a:lnTo>
                <a:lnTo>
                  <a:pt x="386" y="8967"/>
                </a:lnTo>
                <a:lnTo>
                  <a:pt x="389" y="9008"/>
                </a:lnTo>
                <a:lnTo>
                  <a:pt x="380" y="9044"/>
                </a:lnTo>
                <a:lnTo>
                  <a:pt x="333" y="9089"/>
                </a:lnTo>
                <a:lnTo>
                  <a:pt x="351" y="9103"/>
                </a:lnTo>
                <a:lnTo>
                  <a:pt x="367" y="9118"/>
                </a:lnTo>
                <a:lnTo>
                  <a:pt x="381" y="9134"/>
                </a:lnTo>
                <a:lnTo>
                  <a:pt x="388" y="9150"/>
                </a:lnTo>
                <a:lnTo>
                  <a:pt x="357" y="9140"/>
                </a:lnTo>
                <a:lnTo>
                  <a:pt x="325" y="9126"/>
                </a:lnTo>
                <a:lnTo>
                  <a:pt x="306" y="9127"/>
                </a:lnTo>
                <a:lnTo>
                  <a:pt x="314" y="9159"/>
                </a:lnTo>
                <a:lnTo>
                  <a:pt x="441" y="9178"/>
                </a:lnTo>
                <a:lnTo>
                  <a:pt x="458" y="9210"/>
                </a:lnTo>
                <a:lnTo>
                  <a:pt x="395" y="9218"/>
                </a:lnTo>
                <a:lnTo>
                  <a:pt x="288" y="9165"/>
                </a:lnTo>
                <a:lnTo>
                  <a:pt x="417" y="9271"/>
                </a:lnTo>
                <a:lnTo>
                  <a:pt x="530" y="9299"/>
                </a:lnTo>
                <a:lnTo>
                  <a:pt x="650" y="9303"/>
                </a:lnTo>
                <a:lnTo>
                  <a:pt x="799" y="9337"/>
                </a:lnTo>
                <a:lnTo>
                  <a:pt x="819" y="9318"/>
                </a:lnTo>
                <a:lnTo>
                  <a:pt x="799" y="9288"/>
                </a:lnTo>
                <a:lnTo>
                  <a:pt x="779" y="9254"/>
                </a:lnTo>
                <a:lnTo>
                  <a:pt x="799" y="9230"/>
                </a:lnTo>
                <a:lnTo>
                  <a:pt x="819" y="9261"/>
                </a:lnTo>
                <a:lnTo>
                  <a:pt x="873" y="9244"/>
                </a:lnTo>
                <a:lnTo>
                  <a:pt x="908" y="9205"/>
                </a:lnTo>
                <a:lnTo>
                  <a:pt x="878" y="9160"/>
                </a:lnTo>
                <a:lnTo>
                  <a:pt x="810" y="9145"/>
                </a:lnTo>
                <a:lnTo>
                  <a:pt x="833" y="9114"/>
                </a:lnTo>
                <a:lnTo>
                  <a:pt x="887" y="9107"/>
                </a:lnTo>
                <a:lnTo>
                  <a:pt x="914" y="9159"/>
                </a:lnTo>
                <a:lnTo>
                  <a:pt x="996" y="9141"/>
                </a:lnTo>
                <a:lnTo>
                  <a:pt x="980" y="9169"/>
                </a:lnTo>
                <a:lnTo>
                  <a:pt x="943" y="9210"/>
                </a:lnTo>
                <a:lnTo>
                  <a:pt x="963" y="9233"/>
                </a:lnTo>
                <a:lnTo>
                  <a:pt x="984" y="9265"/>
                </a:lnTo>
                <a:lnTo>
                  <a:pt x="1031" y="9254"/>
                </a:lnTo>
                <a:lnTo>
                  <a:pt x="1073" y="9248"/>
                </a:lnTo>
                <a:lnTo>
                  <a:pt x="1080" y="9289"/>
                </a:lnTo>
                <a:lnTo>
                  <a:pt x="1128" y="9298"/>
                </a:lnTo>
                <a:lnTo>
                  <a:pt x="1162" y="9294"/>
                </a:lnTo>
                <a:lnTo>
                  <a:pt x="1173" y="9275"/>
                </a:lnTo>
                <a:lnTo>
                  <a:pt x="1152" y="9234"/>
                </a:lnTo>
                <a:lnTo>
                  <a:pt x="1139" y="9214"/>
                </a:lnTo>
                <a:lnTo>
                  <a:pt x="1186" y="9220"/>
                </a:lnTo>
                <a:lnTo>
                  <a:pt x="1231" y="9244"/>
                </a:lnTo>
                <a:lnTo>
                  <a:pt x="1206" y="9279"/>
                </a:lnTo>
                <a:lnTo>
                  <a:pt x="1233" y="9340"/>
                </a:lnTo>
                <a:lnTo>
                  <a:pt x="1219" y="9358"/>
                </a:lnTo>
                <a:lnTo>
                  <a:pt x="1181" y="9363"/>
                </a:lnTo>
                <a:lnTo>
                  <a:pt x="1138" y="9389"/>
                </a:lnTo>
                <a:lnTo>
                  <a:pt x="1487" y="9546"/>
                </a:lnTo>
                <a:lnTo>
                  <a:pt x="1639" y="9484"/>
                </a:lnTo>
                <a:lnTo>
                  <a:pt x="1706" y="9374"/>
                </a:lnTo>
                <a:lnTo>
                  <a:pt x="1792" y="9388"/>
                </a:lnTo>
                <a:lnTo>
                  <a:pt x="1783" y="9327"/>
                </a:lnTo>
                <a:lnTo>
                  <a:pt x="1805" y="9349"/>
                </a:lnTo>
                <a:lnTo>
                  <a:pt x="1842" y="9391"/>
                </a:lnTo>
                <a:lnTo>
                  <a:pt x="1887" y="9391"/>
                </a:lnTo>
                <a:lnTo>
                  <a:pt x="1902" y="9388"/>
                </a:lnTo>
                <a:lnTo>
                  <a:pt x="1921" y="9400"/>
                </a:lnTo>
                <a:lnTo>
                  <a:pt x="1939" y="9420"/>
                </a:lnTo>
                <a:lnTo>
                  <a:pt x="1949" y="9442"/>
                </a:lnTo>
                <a:lnTo>
                  <a:pt x="1965" y="9379"/>
                </a:lnTo>
                <a:lnTo>
                  <a:pt x="2022" y="9363"/>
                </a:lnTo>
                <a:lnTo>
                  <a:pt x="2088" y="9379"/>
                </a:lnTo>
                <a:lnTo>
                  <a:pt x="2136" y="9416"/>
                </a:lnTo>
                <a:lnTo>
                  <a:pt x="2098" y="9437"/>
                </a:lnTo>
                <a:lnTo>
                  <a:pt x="2088" y="9479"/>
                </a:lnTo>
                <a:lnTo>
                  <a:pt x="2102" y="9509"/>
                </a:lnTo>
                <a:lnTo>
                  <a:pt x="2139" y="9495"/>
                </a:lnTo>
                <a:lnTo>
                  <a:pt x="2125" y="9466"/>
                </a:lnTo>
                <a:lnTo>
                  <a:pt x="2141" y="9457"/>
                </a:lnTo>
                <a:lnTo>
                  <a:pt x="2163" y="9468"/>
                </a:lnTo>
                <a:lnTo>
                  <a:pt x="2172" y="9500"/>
                </a:lnTo>
                <a:lnTo>
                  <a:pt x="2252" y="9540"/>
                </a:lnTo>
                <a:lnTo>
                  <a:pt x="2275" y="9490"/>
                </a:lnTo>
                <a:lnTo>
                  <a:pt x="2289" y="9442"/>
                </a:lnTo>
                <a:lnTo>
                  <a:pt x="2348" y="9485"/>
                </a:lnTo>
                <a:lnTo>
                  <a:pt x="2374" y="9494"/>
                </a:lnTo>
                <a:lnTo>
                  <a:pt x="2335" y="9501"/>
                </a:lnTo>
                <a:lnTo>
                  <a:pt x="2295" y="9518"/>
                </a:lnTo>
                <a:lnTo>
                  <a:pt x="2318" y="9550"/>
                </a:lnTo>
                <a:lnTo>
                  <a:pt x="2393" y="9559"/>
                </a:lnTo>
                <a:lnTo>
                  <a:pt x="2411" y="9616"/>
                </a:lnTo>
                <a:lnTo>
                  <a:pt x="2432" y="9668"/>
                </a:lnTo>
                <a:lnTo>
                  <a:pt x="2513" y="9664"/>
                </a:lnTo>
                <a:lnTo>
                  <a:pt x="2517" y="9732"/>
                </a:lnTo>
                <a:lnTo>
                  <a:pt x="2456" y="9759"/>
                </a:lnTo>
                <a:lnTo>
                  <a:pt x="2398" y="9783"/>
                </a:lnTo>
                <a:lnTo>
                  <a:pt x="2414" y="9843"/>
                </a:lnTo>
                <a:lnTo>
                  <a:pt x="2467" y="9832"/>
                </a:lnTo>
                <a:lnTo>
                  <a:pt x="2514" y="9839"/>
                </a:lnTo>
                <a:lnTo>
                  <a:pt x="2550" y="9843"/>
                </a:lnTo>
                <a:lnTo>
                  <a:pt x="2569" y="9831"/>
                </a:lnTo>
                <a:lnTo>
                  <a:pt x="2596" y="9831"/>
                </a:lnTo>
                <a:lnTo>
                  <a:pt x="2584" y="9770"/>
                </a:lnTo>
                <a:lnTo>
                  <a:pt x="2602" y="9701"/>
                </a:lnTo>
                <a:lnTo>
                  <a:pt x="2722" y="9681"/>
                </a:lnTo>
                <a:lnTo>
                  <a:pt x="2740" y="9549"/>
                </a:lnTo>
                <a:lnTo>
                  <a:pt x="2905" y="9536"/>
                </a:lnTo>
                <a:lnTo>
                  <a:pt x="3109" y="9574"/>
                </a:lnTo>
                <a:lnTo>
                  <a:pt x="3243" y="9593"/>
                </a:lnTo>
                <a:lnTo>
                  <a:pt x="3258" y="9606"/>
                </a:lnTo>
                <a:lnTo>
                  <a:pt x="3280" y="9616"/>
                </a:lnTo>
                <a:lnTo>
                  <a:pt x="3309" y="9627"/>
                </a:lnTo>
                <a:lnTo>
                  <a:pt x="3343" y="9638"/>
                </a:lnTo>
                <a:lnTo>
                  <a:pt x="3340" y="9639"/>
                </a:lnTo>
                <a:lnTo>
                  <a:pt x="3337" y="9643"/>
                </a:lnTo>
                <a:lnTo>
                  <a:pt x="3334" y="9647"/>
                </a:lnTo>
                <a:lnTo>
                  <a:pt x="3334" y="9650"/>
                </a:lnTo>
                <a:lnTo>
                  <a:pt x="3341" y="9659"/>
                </a:lnTo>
                <a:lnTo>
                  <a:pt x="3350" y="9659"/>
                </a:lnTo>
                <a:lnTo>
                  <a:pt x="3357" y="9654"/>
                </a:lnTo>
                <a:lnTo>
                  <a:pt x="3361" y="9645"/>
                </a:lnTo>
                <a:lnTo>
                  <a:pt x="3361" y="9643"/>
                </a:lnTo>
                <a:lnTo>
                  <a:pt x="3360" y="9641"/>
                </a:lnTo>
                <a:lnTo>
                  <a:pt x="3593" y="9683"/>
                </a:lnTo>
                <a:lnTo>
                  <a:pt x="3815" y="9714"/>
                </a:lnTo>
                <a:lnTo>
                  <a:pt x="3900" y="9732"/>
                </a:lnTo>
                <a:lnTo>
                  <a:pt x="3729" y="9741"/>
                </a:lnTo>
                <a:lnTo>
                  <a:pt x="3733" y="9720"/>
                </a:lnTo>
                <a:lnTo>
                  <a:pt x="3687" y="9729"/>
                </a:lnTo>
                <a:lnTo>
                  <a:pt x="3655" y="9750"/>
                </a:lnTo>
                <a:lnTo>
                  <a:pt x="3703" y="9765"/>
                </a:lnTo>
                <a:lnTo>
                  <a:pt x="3863" y="9773"/>
                </a:lnTo>
                <a:lnTo>
                  <a:pt x="3985" y="9765"/>
                </a:lnTo>
                <a:lnTo>
                  <a:pt x="4096" y="9748"/>
                </a:lnTo>
                <a:lnTo>
                  <a:pt x="4220" y="9727"/>
                </a:lnTo>
                <a:lnTo>
                  <a:pt x="4257" y="9798"/>
                </a:lnTo>
                <a:lnTo>
                  <a:pt x="4244" y="9812"/>
                </a:lnTo>
                <a:lnTo>
                  <a:pt x="4208" y="9807"/>
                </a:lnTo>
                <a:lnTo>
                  <a:pt x="4179" y="9820"/>
                </a:lnTo>
                <a:lnTo>
                  <a:pt x="4203" y="9858"/>
                </a:lnTo>
                <a:lnTo>
                  <a:pt x="4223" y="9914"/>
                </a:lnTo>
                <a:lnTo>
                  <a:pt x="4232" y="9970"/>
                </a:lnTo>
                <a:lnTo>
                  <a:pt x="4225" y="10013"/>
                </a:lnTo>
                <a:lnTo>
                  <a:pt x="4362" y="10046"/>
                </a:lnTo>
                <a:lnTo>
                  <a:pt x="4552" y="10088"/>
                </a:lnTo>
                <a:lnTo>
                  <a:pt x="4725" y="10101"/>
                </a:lnTo>
                <a:lnTo>
                  <a:pt x="4812" y="10046"/>
                </a:lnTo>
                <a:lnTo>
                  <a:pt x="4847" y="10055"/>
                </a:lnTo>
                <a:lnTo>
                  <a:pt x="4846" y="10088"/>
                </a:lnTo>
                <a:lnTo>
                  <a:pt x="4860" y="10107"/>
                </a:lnTo>
                <a:lnTo>
                  <a:pt x="4940" y="10076"/>
                </a:lnTo>
                <a:lnTo>
                  <a:pt x="4893" y="10042"/>
                </a:lnTo>
                <a:lnTo>
                  <a:pt x="4860" y="10008"/>
                </a:lnTo>
                <a:lnTo>
                  <a:pt x="4865" y="9992"/>
                </a:lnTo>
                <a:lnTo>
                  <a:pt x="4926" y="10017"/>
                </a:lnTo>
                <a:lnTo>
                  <a:pt x="4976" y="10053"/>
                </a:lnTo>
                <a:lnTo>
                  <a:pt x="5017" y="10032"/>
                </a:lnTo>
                <a:lnTo>
                  <a:pt x="5064" y="10004"/>
                </a:lnTo>
                <a:lnTo>
                  <a:pt x="5130" y="10021"/>
                </a:lnTo>
                <a:lnTo>
                  <a:pt x="5047" y="10044"/>
                </a:lnTo>
                <a:lnTo>
                  <a:pt x="5051" y="10056"/>
                </a:lnTo>
                <a:lnTo>
                  <a:pt x="5111" y="10063"/>
                </a:lnTo>
                <a:lnTo>
                  <a:pt x="5194" y="10067"/>
                </a:lnTo>
                <a:lnTo>
                  <a:pt x="5165" y="10091"/>
                </a:lnTo>
                <a:lnTo>
                  <a:pt x="5101" y="10096"/>
                </a:lnTo>
                <a:lnTo>
                  <a:pt x="5077" y="10104"/>
                </a:lnTo>
                <a:lnTo>
                  <a:pt x="5166" y="10133"/>
                </a:lnTo>
                <a:lnTo>
                  <a:pt x="5208" y="10142"/>
                </a:lnTo>
                <a:lnTo>
                  <a:pt x="5210" y="10149"/>
                </a:lnTo>
                <a:lnTo>
                  <a:pt x="5181" y="10160"/>
                </a:lnTo>
                <a:lnTo>
                  <a:pt x="5133" y="10177"/>
                </a:lnTo>
                <a:lnTo>
                  <a:pt x="5176" y="10191"/>
                </a:lnTo>
                <a:lnTo>
                  <a:pt x="5208" y="10174"/>
                </a:lnTo>
                <a:lnTo>
                  <a:pt x="5241" y="10148"/>
                </a:lnTo>
                <a:lnTo>
                  <a:pt x="5292" y="10138"/>
                </a:lnTo>
                <a:lnTo>
                  <a:pt x="5269" y="10125"/>
                </a:lnTo>
                <a:lnTo>
                  <a:pt x="5254" y="10110"/>
                </a:lnTo>
                <a:lnTo>
                  <a:pt x="5251" y="10100"/>
                </a:lnTo>
                <a:lnTo>
                  <a:pt x="5273" y="10102"/>
                </a:lnTo>
                <a:lnTo>
                  <a:pt x="5321" y="10129"/>
                </a:lnTo>
                <a:lnTo>
                  <a:pt x="5330" y="10126"/>
                </a:lnTo>
                <a:lnTo>
                  <a:pt x="5306" y="10106"/>
                </a:lnTo>
                <a:lnTo>
                  <a:pt x="5261" y="10076"/>
                </a:lnTo>
                <a:lnTo>
                  <a:pt x="5321" y="10065"/>
                </a:lnTo>
                <a:lnTo>
                  <a:pt x="5302" y="10044"/>
                </a:lnTo>
                <a:lnTo>
                  <a:pt x="5296" y="10025"/>
                </a:lnTo>
                <a:lnTo>
                  <a:pt x="5392" y="10023"/>
                </a:lnTo>
                <a:lnTo>
                  <a:pt x="5480" y="10044"/>
                </a:lnTo>
                <a:lnTo>
                  <a:pt x="5512" y="10062"/>
                </a:lnTo>
                <a:lnTo>
                  <a:pt x="5484" y="10069"/>
                </a:lnTo>
                <a:lnTo>
                  <a:pt x="5391" y="10063"/>
                </a:lnTo>
                <a:lnTo>
                  <a:pt x="5449" y="10107"/>
                </a:lnTo>
                <a:lnTo>
                  <a:pt x="5487" y="10143"/>
                </a:lnTo>
                <a:lnTo>
                  <a:pt x="5539" y="10165"/>
                </a:lnTo>
                <a:lnTo>
                  <a:pt x="5640" y="10171"/>
                </a:lnTo>
                <a:lnTo>
                  <a:pt x="5757" y="10171"/>
                </a:lnTo>
                <a:lnTo>
                  <a:pt x="5753" y="10157"/>
                </a:lnTo>
                <a:lnTo>
                  <a:pt x="5685" y="10138"/>
                </a:lnTo>
                <a:lnTo>
                  <a:pt x="5609" y="10119"/>
                </a:lnTo>
                <a:lnTo>
                  <a:pt x="5692" y="10125"/>
                </a:lnTo>
                <a:lnTo>
                  <a:pt x="5775" y="10116"/>
                </a:lnTo>
                <a:lnTo>
                  <a:pt x="5842" y="10119"/>
                </a:lnTo>
                <a:lnTo>
                  <a:pt x="5884" y="10154"/>
                </a:lnTo>
                <a:lnTo>
                  <a:pt x="5866" y="10185"/>
                </a:lnTo>
                <a:lnTo>
                  <a:pt x="5935" y="10189"/>
                </a:lnTo>
                <a:lnTo>
                  <a:pt x="6036" y="10190"/>
                </a:lnTo>
                <a:lnTo>
                  <a:pt x="6113" y="10213"/>
                </a:lnTo>
                <a:lnTo>
                  <a:pt x="6122" y="10249"/>
                </a:lnTo>
                <a:lnTo>
                  <a:pt x="6083" y="10242"/>
                </a:lnTo>
                <a:lnTo>
                  <a:pt x="6043" y="10231"/>
                </a:lnTo>
                <a:lnTo>
                  <a:pt x="6050" y="10246"/>
                </a:lnTo>
                <a:lnTo>
                  <a:pt x="6140" y="10277"/>
                </a:lnTo>
                <a:lnTo>
                  <a:pt x="6183" y="10250"/>
                </a:lnTo>
                <a:lnTo>
                  <a:pt x="6214" y="10217"/>
                </a:lnTo>
                <a:lnTo>
                  <a:pt x="6269" y="10228"/>
                </a:lnTo>
                <a:lnTo>
                  <a:pt x="6289" y="10218"/>
                </a:lnTo>
                <a:lnTo>
                  <a:pt x="6298" y="10224"/>
                </a:lnTo>
                <a:lnTo>
                  <a:pt x="6293" y="10238"/>
                </a:lnTo>
                <a:lnTo>
                  <a:pt x="6271" y="10251"/>
                </a:lnTo>
                <a:lnTo>
                  <a:pt x="6260" y="10263"/>
                </a:lnTo>
                <a:lnTo>
                  <a:pt x="6269" y="10272"/>
                </a:lnTo>
                <a:lnTo>
                  <a:pt x="6286" y="10272"/>
                </a:lnTo>
                <a:lnTo>
                  <a:pt x="6300" y="10258"/>
                </a:lnTo>
                <a:lnTo>
                  <a:pt x="6334" y="10240"/>
                </a:lnTo>
                <a:lnTo>
                  <a:pt x="6339" y="10256"/>
                </a:lnTo>
                <a:lnTo>
                  <a:pt x="6336" y="10283"/>
                </a:lnTo>
                <a:lnTo>
                  <a:pt x="6346" y="10291"/>
                </a:lnTo>
                <a:lnTo>
                  <a:pt x="6420" y="10249"/>
                </a:lnTo>
                <a:lnTo>
                  <a:pt x="6507" y="10274"/>
                </a:lnTo>
                <a:lnTo>
                  <a:pt x="6584" y="10301"/>
                </a:lnTo>
                <a:lnTo>
                  <a:pt x="6628" y="10266"/>
                </a:lnTo>
                <a:lnTo>
                  <a:pt x="6649" y="10303"/>
                </a:lnTo>
                <a:lnTo>
                  <a:pt x="6633" y="10344"/>
                </a:lnTo>
                <a:lnTo>
                  <a:pt x="6595" y="10378"/>
                </a:lnTo>
                <a:lnTo>
                  <a:pt x="6556" y="10399"/>
                </a:lnTo>
                <a:lnTo>
                  <a:pt x="6605" y="10424"/>
                </a:lnTo>
                <a:lnTo>
                  <a:pt x="6639" y="10432"/>
                </a:lnTo>
                <a:lnTo>
                  <a:pt x="6675" y="10427"/>
                </a:lnTo>
                <a:lnTo>
                  <a:pt x="6728" y="10415"/>
                </a:lnTo>
                <a:lnTo>
                  <a:pt x="6672" y="10334"/>
                </a:lnTo>
                <a:lnTo>
                  <a:pt x="6695" y="10289"/>
                </a:lnTo>
                <a:lnTo>
                  <a:pt x="6725" y="10265"/>
                </a:lnTo>
                <a:lnTo>
                  <a:pt x="6688" y="10244"/>
                </a:lnTo>
                <a:lnTo>
                  <a:pt x="6723" y="10224"/>
                </a:lnTo>
                <a:lnTo>
                  <a:pt x="6731" y="10209"/>
                </a:lnTo>
                <a:lnTo>
                  <a:pt x="6718" y="10191"/>
                </a:lnTo>
                <a:lnTo>
                  <a:pt x="6689" y="10166"/>
                </a:lnTo>
                <a:lnTo>
                  <a:pt x="6683" y="10207"/>
                </a:lnTo>
                <a:lnTo>
                  <a:pt x="6656" y="10207"/>
                </a:lnTo>
                <a:lnTo>
                  <a:pt x="6614" y="10196"/>
                </a:lnTo>
                <a:lnTo>
                  <a:pt x="6564" y="10202"/>
                </a:lnTo>
                <a:lnTo>
                  <a:pt x="6532" y="10218"/>
                </a:lnTo>
                <a:lnTo>
                  <a:pt x="6507" y="10200"/>
                </a:lnTo>
                <a:lnTo>
                  <a:pt x="6484" y="10171"/>
                </a:lnTo>
                <a:lnTo>
                  <a:pt x="6461" y="10151"/>
                </a:lnTo>
                <a:lnTo>
                  <a:pt x="6401" y="10158"/>
                </a:lnTo>
                <a:lnTo>
                  <a:pt x="6428" y="10184"/>
                </a:lnTo>
                <a:lnTo>
                  <a:pt x="6461" y="10214"/>
                </a:lnTo>
                <a:lnTo>
                  <a:pt x="6418" y="10237"/>
                </a:lnTo>
                <a:lnTo>
                  <a:pt x="6330" y="10165"/>
                </a:lnTo>
                <a:lnTo>
                  <a:pt x="6292" y="10160"/>
                </a:lnTo>
                <a:lnTo>
                  <a:pt x="6246" y="10177"/>
                </a:lnTo>
                <a:lnTo>
                  <a:pt x="6135" y="10175"/>
                </a:lnTo>
                <a:lnTo>
                  <a:pt x="6046" y="10162"/>
                </a:lnTo>
                <a:lnTo>
                  <a:pt x="6061" y="10149"/>
                </a:lnTo>
                <a:lnTo>
                  <a:pt x="6134" y="10146"/>
                </a:lnTo>
                <a:lnTo>
                  <a:pt x="6216" y="10161"/>
                </a:lnTo>
                <a:lnTo>
                  <a:pt x="6213" y="10138"/>
                </a:lnTo>
                <a:lnTo>
                  <a:pt x="6202" y="10120"/>
                </a:lnTo>
                <a:lnTo>
                  <a:pt x="6211" y="10114"/>
                </a:lnTo>
                <a:lnTo>
                  <a:pt x="6264" y="10121"/>
                </a:lnTo>
                <a:lnTo>
                  <a:pt x="6251" y="10087"/>
                </a:lnTo>
                <a:lnTo>
                  <a:pt x="6266" y="10076"/>
                </a:lnTo>
                <a:lnTo>
                  <a:pt x="6290" y="10084"/>
                </a:lnTo>
                <a:lnTo>
                  <a:pt x="6307" y="10118"/>
                </a:lnTo>
                <a:lnTo>
                  <a:pt x="6435" y="10118"/>
                </a:lnTo>
                <a:lnTo>
                  <a:pt x="6500" y="10076"/>
                </a:lnTo>
                <a:lnTo>
                  <a:pt x="6568" y="10040"/>
                </a:lnTo>
                <a:lnTo>
                  <a:pt x="6703" y="10065"/>
                </a:lnTo>
                <a:lnTo>
                  <a:pt x="6573" y="10068"/>
                </a:lnTo>
                <a:lnTo>
                  <a:pt x="6581" y="10072"/>
                </a:lnTo>
                <a:lnTo>
                  <a:pt x="6634" y="10096"/>
                </a:lnTo>
                <a:lnTo>
                  <a:pt x="6642" y="10161"/>
                </a:lnTo>
                <a:lnTo>
                  <a:pt x="6693" y="10158"/>
                </a:lnTo>
                <a:lnTo>
                  <a:pt x="6768" y="10149"/>
                </a:lnTo>
                <a:lnTo>
                  <a:pt x="6844" y="10154"/>
                </a:lnTo>
                <a:lnTo>
                  <a:pt x="6896" y="10198"/>
                </a:lnTo>
                <a:lnTo>
                  <a:pt x="6991" y="10202"/>
                </a:lnTo>
                <a:lnTo>
                  <a:pt x="7063" y="10180"/>
                </a:lnTo>
                <a:lnTo>
                  <a:pt x="7127" y="10174"/>
                </a:lnTo>
                <a:lnTo>
                  <a:pt x="7196" y="10226"/>
                </a:lnTo>
                <a:lnTo>
                  <a:pt x="7168" y="10268"/>
                </a:lnTo>
                <a:lnTo>
                  <a:pt x="7160" y="10286"/>
                </a:lnTo>
                <a:lnTo>
                  <a:pt x="7151" y="10278"/>
                </a:lnTo>
                <a:lnTo>
                  <a:pt x="7121" y="10236"/>
                </a:lnTo>
                <a:lnTo>
                  <a:pt x="7117" y="10284"/>
                </a:lnTo>
                <a:lnTo>
                  <a:pt x="7091" y="10268"/>
                </a:lnTo>
                <a:lnTo>
                  <a:pt x="7040" y="10231"/>
                </a:lnTo>
                <a:lnTo>
                  <a:pt x="6965" y="10224"/>
                </a:lnTo>
                <a:lnTo>
                  <a:pt x="6903" y="10231"/>
                </a:lnTo>
                <a:lnTo>
                  <a:pt x="6903" y="10251"/>
                </a:lnTo>
                <a:lnTo>
                  <a:pt x="6886" y="10269"/>
                </a:lnTo>
                <a:lnTo>
                  <a:pt x="6778" y="10266"/>
                </a:lnTo>
                <a:lnTo>
                  <a:pt x="6829" y="10311"/>
                </a:lnTo>
                <a:lnTo>
                  <a:pt x="6885" y="10311"/>
                </a:lnTo>
                <a:lnTo>
                  <a:pt x="6940" y="10283"/>
                </a:lnTo>
                <a:lnTo>
                  <a:pt x="6989" y="10246"/>
                </a:lnTo>
                <a:lnTo>
                  <a:pt x="7000" y="10258"/>
                </a:lnTo>
                <a:lnTo>
                  <a:pt x="7010" y="10268"/>
                </a:lnTo>
                <a:lnTo>
                  <a:pt x="7001" y="10268"/>
                </a:lnTo>
                <a:lnTo>
                  <a:pt x="6993" y="10272"/>
                </a:lnTo>
                <a:lnTo>
                  <a:pt x="6987" y="10277"/>
                </a:lnTo>
                <a:lnTo>
                  <a:pt x="6983" y="10284"/>
                </a:lnTo>
                <a:lnTo>
                  <a:pt x="6995" y="10291"/>
                </a:lnTo>
                <a:lnTo>
                  <a:pt x="7005" y="10292"/>
                </a:lnTo>
                <a:lnTo>
                  <a:pt x="7015" y="10288"/>
                </a:lnTo>
                <a:lnTo>
                  <a:pt x="7025" y="10282"/>
                </a:lnTo>
                <a:lnTo>
                  <a:pt x="7122" y="10328"/>
                </a:lnTo>
                <a:lnTo>
                  <a:pt x="7238" y="10336"/>
                </a:lnTo>
                <a:lnTo>
                  <a:pt x="7369" y="10326"/>
                </a:lnTo>
                <a:lnTo>
                  <a:pt x="7510" y="10311"/>
                </a:lnTo>
                <a:lnTo>
                  <a:pt x="7537" y="10343"/>
                </a:lnTo>
                <a:lnTo>
                  <a:pt x="7560" y="10367"/>
                </a:lnTo>
                <a:lnTo>
                  <a:pt x="7602" y="10384"/>
                </a:lnTo>
                <a:lnTo>
                  <a:pt x="7685" y="10391"/>
                </a:lnTo>
                <a:lnTo>
                  <a:pt x="7625" y="10326"/>
                </a:lnTo>
                <a:lnTo>
                  <a:pt x="7583" y="10297"/>
                </a:lnTo>
                <a:lnTo>
                  <a:pt x="7549" y="10279"/>
                </a:lnTo>
                <a:lnTo>
                  <a:pt x="7512" y="10252"/>
                </a:lnTo>
                <a:lnTo>
                  <a:pt x="7449" y="10264"/>
                </a:lnTo>
                <a:lnTo>
                  <a:pt x="7363" y="10254"/>
                </a:lnTo>
                <a:lnTo>
                  <a:pt x="7319" y="10258"/>
                </a:lnTo>
                <a:lnTo>
                  <a:pt x="7388" y="10311"/>
                </a:lnTo>
                <a:lnTo>
                  <a:pt x="7313" y="10311"/>
                </a:lnTo>
                <a:lnTo>
                  <a:pt x="7277" y="10287"/>
                </a:lnTo>
                <a:lnTo>
                  <a:pt x="7266" y="10251"/>
                </a:lnTo>
                <a:lnTo>
                  <a:pt x="7266" y="10213"/>
                </a:lnTo>
                <a:lnTo>
                  <a:pt x="7309" y="10209"/>
                </a:lnTo>
                <a:lnTo>
                  <a:pt x="7352" y="10203"/>
                </a:lnTo>
                <a:lnTo>
                  <a:pt x="7397" y="10196"/>
                </a:lnTo>
                <a:lnTo>
                  <a:pt x="7442" y="10195"/>
                </a:lnTo>
                <a:lnTo>
                  <a:pt x="7454" y="10224"/>
                </a:lnTo>
                <a:lnTo>
                  <a:pt x="7471" y="10222"/>
                </a:lnTo>
                <a:lnTo>
                  <a:pt x="7491" y="10203"/>
                </a:lnTo>
                <a:lnTo>
                  <a:pt x="7513" y="10184"/>
                </a:lnTo>
                <a:lnTo>
                  <a:pt x="7537" y="10226"/>
                </a:lnTo>
                <a:lnTo>
                  <a:pt x="7557" y="10207"/>
                </a:lnTo>
                <a:lnTo>
                  <a:pt x="7585" y="10170"/>
                </a:lnTo>
                <a:lnTo>
                  <a:pt x="7635" y="10158"/>
                </a:lnTo>
                <a:lnTo>
                  <a:pt x="7654" y="10153"/>
                </a:lnTo>
                <a:lnTo>
                  <a:pt x="7659" y="10176"/>
                </a:lnTo>
                <a:lnTo>
                  <a:pt x="7668" y="10203"/>
                </a:lnTo>
                <a:lnTo>
                  <a:pt x="7695" y="10212"/>
                </a:lnTo>
                <a:lnTo>
                  <a:pt x="7659" y="10221"/>
                </a:lnTo>
                <a:lnTo>
                  <a:pt x="7631" y="10200"/>
                </a:lnTo>
                <a:lnTo>
                  <a:pt x="7611" y="10189"/>
                </a:lnTo>
                <a:lnTo>
                  <a:pt x="7599" y="10221"/>
                </a:lnTo>
                <a:lnTo>
                  <a:pt x="7700" y="10252"/>
                </a:lnTo>
                <a:lnTo>
                  <a:pt x="7761" y="10264"/>
                </a:lnTo>
                <a:lnTo>
                  <a:pt x="7794" y="10279"/>
                </a:lnTo>
                <a:lnTo>
                  <a:pt x="7804" y="10320"/>
                </a:lnTo>
                <a:lnTo>
                  <a:pt x="7751" y="10319"/>
                </a:lnTo>
                <a:lnTo>
                  <a:pt x="7751" y="10333"/>
                </a:lnTo>
                <a:lnTo>
                  <a:pt x="7783" y="10352"/>
                </a:lnTo>
                <a:lnTo>
                  <a:pt x="7822" y="10368"/>
                </a:lnTo>
                <a:lnTo>
                  <a:pt x="7733" y="10377"/>
                </a:lnTo>
                <a:lnTo>
                  <a:pt x="7785" y="10404"/>
                </a:lnTo>
                <a:lnTo>
                  <a:pt x="7890" y="10423"/>
                </a:lnTo>
                <a:lnTo>
                  <a:pt x="7957" y="10409"/>
                </a:lnTo>
                <a:lnTo>
                  <a:pt x="7938" y="10415"/>
                </a:lnTo>
                <a:lnTo>
                  <a:pt x="7938" y="10399"/>
                </a:lnTo>
                <a:lnTo>
                  <a:pt x="7946" y="10377"/>
                </a:lnTo>
                <a:lnTo>
                  <a:pt x="7953" y="10366"/>
                </a:lnTo>
                <a:lnTo>
                  <a:pt x="7975" y="10380"/>
                </a:lnTo>
                <a:lnTo>
                  <a:pt x="7978" y="10401"/>
                </a:lnTo>
                <a:lnTo>
                  <a:pt x="7984" y="10424"/>
                </a:lnTo>
                <a:lnTo>
                  <a:pt x="8015" y="10446"/>
                </a:lnTo>
                <a:lnTo>
                  <a:pt x="8067" y="10419"/>
                </a:lnTo>
                <a:lnTo>
                  <a:pt x="8105" y="10459"/>
                </a:lnTo>
                <a:lnTo>
                  <a:pt x="8118" y="10519"/>
                </a:lnTo>
                <a:lnTo>
                  <a:pt x="8088" y="10549"/>
                </a:lnTo>
                <a:lnTo>
                  <a:pt x="8151" y="10547"/>
                </a:lnTo>
                <a:lnTo>
                  <a:pt x="8157" y="10504"/>
                </a:lnTo>
                <a:lnTo>
                  <a:pt x="8142" y="10454"/>
                </a:lnTo>
                <a:lnTo>
                  <a:pt x="8138" y="10423"/>
                </a:lnTo>
                <a:lnTo>
                  <a:pt x="8218" y="10442"/>
                </a:lnTo>
                <a:lnTo>
                  <a:pt x="8269" y="10441"/>
                </a:lnTo>
                <a:lnTo>
                  <a:pt x="8323" y="10447"/>
                </a:lnTo>
                <a:lnTo>
                  <a:pt x="8411" y="10488"/>
                </a:lnTo>
                <a:lnTo>
                  <a:pt x="8384" y="10520"/>
                </a:lnTo>
                <a:lnTo>
                  <a:pt x="8343" y="10529"/>
                </a:lnTo>
                <a:lnTo>
                  <a:pt x="8305" y="10536"/>
                </a:lnTo>
                <a:lnTo>
                  <a:pt x="8285" y="10564"/>
                </a:lnTo>
                <a:lnTo>
                  <a:pt x="8320" y="10582"/>
                </a:lnTo>
                <a:lnTo>
                  <a:pt x="8329" y="10576"/>
                </a:lnTo>
                <a:lnTo>
                  <a:pt x="8346" y="10568"/>
                </a:lnTo>
                <a:lnTo>
                  <a:pt x="8407" y="10581"/>
                </a:lnTo>
                <a:lnTo>
                  <a:pt x="8454" y="10597"/>
                </a:lnTo>
                <a:lnTo>
                  <a:pt x="8479" y="10580"/>
                </a:lnTo>
                <a:lnTo>
                  <a:pt x="8515" y="10544"/>
                </a:lnTo>
                <a:lnTo>
                  <a:pt x="8590" y="10508"/>
                </a:lnTo>
                <a:lnTo>
                  <a:pt x="8622" y="10529"/>
                </a:lnTo>
                <a:lnTo>
                  <a:pt x="8655" y="10547"/>
                </a:lnTo>
                <a:lnTo>
                  <a:pt x="8672" y="10547"/>
                </a:lnTo>
                <a:lnTo>
                  <a:pt x="8654" y="10515"/>
                </a:lnTo>
                <a:lnTo>
                  <a:pt x="8766" y="10548"/>
                </a:lnTo>
                <a:lnTo>
                  <a:pt x="8816" y="10585"/>
                </a:lnTo>
                <a:lnTo>
                  <a:pt x="8859" y="10595"/>
                </a:lnTo>
                <a:lnTo>
                  <a:pt x="8952" y="10550"/>
                </a:lnTo>
                <a:lnTo>
                  <a:pt x="9004" y="10559"/>
                </a:lnTo>
                <a:lnTo>
                  <a:pt x="8996" y="10571"/>
                </a:lnTo>
                <a:lnTo>
                  <a:pt x="8967" y="10591"/>
                </a:lnTo>
                <a:lnTo>
                  <a:pt x="8954" y="10624"/>
                </a:lnTo>
                <a:lnTo>
                  <a:pt x="8968" y="10632"/>
                </a:lnTo>
                <a:lnTo>
                  <a:pt x="8979" y="10623"/>
                </a:lnTo>
                <a:lnTo>
                  <a:pt x="8993" y="10615"/>
                </a:lnTo>
                <a:lnTo>
                  <a:pt x="9016" y="10622"/>
                </a:lnTo>
                <a:lnTo>
                  <a:pt x="9046" y="10646"/>
                </a:lnTo>
                <a:lnTo>
                  <a:pt x="9026" y="10664"/>
                </a:lnTo>
                <a:lnTo>
                  <a:pt x="9005" y="10676"/>
                </a:lnTo>
                <a:lnTo>
                  <a:pt x="9036" y="10689"/>
                </a:lnTo>
                <a:lnTo>
                  <a:pt x="9117" y="10708"/>
                </a:lnTo>
                <a:lnTo>
                  <a:pt x="9128" y="10701"/>
                </a:lnTo>
                <a:lnTo>
                  <a:pt x="9117" y="10676"/>
                </a:lnTo>
                <a:lnTo>
                  <a:pt x="9139" y="10651"/>
                </a:lnTo>
                <a:lnTo>
                  <a:pt x="9212" y="10690"/>
                </a:lnTo>
                <a:lnTo>
                  <a:pt x="9286" y="10704"/>
                </a:lnTo>
                <a:lnTo>
                  <a:pt x="9362" y="10704"/>
                </a:lnTo>
                <a:lnTo>
                  <a:pt x="9441" y="10709"/>
                </a:lnTo>
                <a:lnTo>
                  <a:pt x="9460" y="10749"/>
                </a:lnTo>
                <a:lnTo>
                  <a:pt x="9545" y="10743"/>
                </a:lnTo>
                <a:lnTo>
                  <a:pt x="9636" y="10712"/>
                </a:lnTo>
                <a:lnTo>
                  <a:pt x="9673" y="10675"/>
                </a:lnTo>
                <a:lnTo>
                  <a:pt x="9701" y="10577"/>
                </a:lnTo>
                <a:lnTo>
                  <a:pt x="9736" y="10488"/>
                </a:lnTo>
                <a:lnTo>
                  <a:pt x="9814" y="10438"/>
                </a:lnTo>
                <a:lnTo>
                  <a:pt x="9963" y="10459"/>
                </a:lnTo>
                <a:lnTo>
                  <a:pt x="9829" y="10417"/>
                </a:lnTo>
                <a:lnTo>
                  <a:pt x="9840" y="10370"/>
                </a:lnTo>
                <a:lnTo>
                  <a:pt x="9945" y="10345"/>
                </a:lnTo>
                <a:lnTo>
                  <a:pt x="10097" y="10372"/>
                </a:lnTo>
                <a:lnTo>
                  <a:pt x="10084" y="10447"/>
                </a:lnTo>
                <a:lnTo>
                  <a:pt x="10066" y="10543"/>
                </a:lnTo>
                <a:lnTo>
                  <a:pt x="10073" y="10611"/>
                </a:lnTo>
                <a:lnTo>
                  <a:pt x="10131" y="10610"/>
                </a:lnTo>
                <a:lnTo>
                  <a:pt x="10183" y="10709"/>
                </a:lnTo>
                <a:lnTo>
                  <a:pt x="10211" y="10684"/>
                </a:lnTo>
                <a:lnTo>
                  <a:pt x="10229" y="10615"/>
                </a:lnTo>
                <a:lnTo>
                  <a:pt x="10250" y="10586"/>
                </a:lnTo>
                <a:lnTo>
                  <a:pt x="10252" y="10650"/>
                </a:lnTo>
                <a:lnTo>
                  <a:pt x="10270" y="10687"/>
                </a:lnTo>
                <a:lnTo>
                  <a:pt x="10290" y="10679"/>
                </a:lnTo>
                <a:lnTo>
                  <a:pt x="10298" y="10610"/>
                </a:lnTo>
                <a:lnTo>
                  <a:pt x="10340" y="10656"/>
                </a:lnTo>
                <a:lnTo>
                  <a:pt x="10383" y="10652"/>
                </a:lnTo>
                <a:lnTo>
                  <a:pt x="10423" y="10613"/>
                </a:lnTo>
                <a:lnTo>
                  <a:pt x="10448" y="10552"/>
                </a:lnTo>
                <a:lnTo>
                  <a:pt x="10478" y="10623"/>
                </a:lnTo>
                <a:lnTo>
                  <a:pt x="10531" y="10628"/>
                </a:lnTo>
                <a:lnTo>
                  <a:pt x="10586" y="10615"/>
                </a:lnTo>
                <a:lnTo>
                  <a:pt x="10621" y="10632"/>
                </a:lnTo>
                <a:lnTo>
                  <a:pt x="10629" y="10685"/>
                </a:lnTo>
                <a:lnTo>
                  <a:pt x="10652" y="10687"/>
                </a:lnTo>
                <a:lnTo>
                  <a:pt x="10678" y="10656"/>
                </a:lnTo>
                <a:lnTo>
                  <a:pt x="10692" y="10613"/>
                </a:lnTo>
                <a:lnTo>
                  <a:pt x="10723" y="10662"/>
                </a:lnTo>
                <a:lnTo>
                  <a:pt x="10767" y="10694"/>
                </a:lnTo>
                <a:lnTo>
                  <a:pt x="10816" y="10701"/>
                </a:lnTo>
                <a:lnTo>
                  <a:pt x="10866" y="10673"/>
                </a:lnTo>
                <a:lnTo>
                  <a:pt x="10891" y="10709"/>
                </a:lnTo>
                <a:lnTo>
                  <a:pt x="10930" y="10732"/>
                </a:lnTo>
                <a:lnTo>
                  <a:pt x="10968" y="10734"/>
                </a:lnTo>
                <a:lnTo>
                  <a:pt x="10998" y="10706"/>
                </a:lnTo>
                <a:lnTo>
                  <a:pt x="11014" y="10701"/>
                </a:lnTo>
                <a:lnTo>
                  <a:pt x="11012" y="10718"/>
                </a:lnTo>
                <a:lnTo>
                  <a:pt x="10998" y="10743"/>
                </a:lnTo>
                <a:lnTo>
                  <a:pt x="10981" y="10758"/>
                </a:lnTo>
                <a:lnTo>
                  <a:pt x="11024" y="10772"/>
                </a:lnTo>
                <a:lnTo>
                  <a:pt x="11035" y="10721"/>
                </a:lnTo>
                <a:lnTo>
                  <a:pt x="11043" y="10655"/>
                </a:lnTo>
                <a:lnTo>
                  <a:pt x="11079" y="10618"/>
                </a:lnTo>
                <a:lnTo>
                  <a:pt x="11084" y="10695"/>
                </a:lnTo>
                <a:lnTo>
                  <a:pt x="11067" y="10779"/>
                </a:lnTo>
                <a:lnTo>
                  <a:pt x="11071" y="10799"/>
                </a:lnTo>
                <a:lnTo>
                  <a:pt x="11136" y="10680"/>
                </a:lnTo>
                <a:lnTo>
                  <a:pt x="11239" y="10372"/>
                </a:lnTo>
                <a:lnTo>
                  <a:pt x="11323" y="10068"/>
                </a:lnTo>
                <a:lnTo>
                  <a:pt x="11383" y="9798"/>
                </a:lnTo>
                <a:lnTo>
                  <a:pt x="11415" y="9588"/>
                </a:lnTo>
                <a:lnTo>
                  <a:pt x="11372" y="9561"/>
                </a:lnTo>
                <a:lnTo>
                  <a:pt x="11431" y="9563"/>
                </a:lnTo>
                <a:lnTo>
                  <a:pt x="11522" y="9563"/>
                </a:lnTo>
                <a:lnTo>
                  <a:pt x="11571" y="9527"/>
                </a:lnTo>
                <a:lnTo>
                  <a:pt x="11589" y="9359"/>
                </a:lnTo>
                <a:lnTo>
                  <a:pt x="11615" y="9205"/>
                </a:lnTo>
                <a:lnTo>
                  <a:pt x="11644" y="9064"/>
                </a:lnTo>
                <a:lnTo>
                  <a:pt x="11676" y="8939"/>
                </a:lnTo>
                <a:lnTo>
                  <a:pt x="11677" y="8941"/>
                </a:lnTo>
                <a:lnTo>
                  <a:pt x="11678" y="8943"/>
                </a:lnTo>
                <a:lnTo>
                  <a:pt x="11681" y="8945"/>
                </a:lnTo>
                <a:lnTo>
                  <a:pt x="11682" y="8945"/>
                </a:lnTo>
                <a:lnTo>
                  <a:pt x="11690" y="8941"/>
                </a:lnTo>
                <a:lnTo>
                  <a:pt x="11695" y="8936"/>
                </a:lnTo>
                <a:lnTo>
                  <a:pt x="11694" y="8930"/>
                </a:lnTo>
                <a:lnTo>
                  <a:pt x="11685" y="8924"/>
                </a:lnTo>
                <a:lnTo>
                  <a:pt x="11682" y="8924"/>
                </a:lnTo>
                <a:lnTo>
                  <a:pt x="11680" y="8924"/>
                </a:lnTo>
                <a:lnTo>
                  <a:pt x="11691" y="8880"/>
                </a:lnTo>
                <a:lnTo>
                  <a:pt x="11704" y="8840"/>
                </a:lnTo>
                <a:lnTo>
                  <a:pt x="11715" y="8801"/>
                </a:lnTo>
                <a:lnTo>
                  <a:pt x="11726" y="8764"/>
                </a:lnTo>
                <a:lnTo>
                  <a:pt x="11740" y="8754"/>
                </a:lnTo>
                <a:lnTo>
                  <a:pt x="11740" y="8745"/>
                </a:lnTo>
                <a:lnTo>
                  <a:pt x="11729" y="8739"/>
                </a:lnTo>
                <a:lnTo>
                  <a:pt x="11715" y="8736"/>
                </a:lnTo>
                <a:lnTo>
                  <a:pt x="11724" y="8724"/>
                </a:lnTo>
                <a:lnTo>
                  <a:pt x="11733" y="8711"/>
                </a:lnTo>
                <a:lnTo>
                  <a:pt x="11732" y="8702"/>
                </a:lnTo>
                <a:lnTo>
                  <a:pt x="11713" y="8698"/>
                </a:lnTo>
                <a:lnTo>
                  <a:pt x="11681" y="8694"/>
                </a:lnTo>
                <a:lnTo>
                  <a:pt x="11666" y="8671"/>
                </a:lnTo>
                <a:lnTo>
                  <a:pt x="11664" y="8636"/>
                </a:lnTo>
                <a:lnTo>
                  <a:pt x="11670" y="8591"/>
                </a:lnTo>
                <a:lnTo>
                  <a:pt x="11671" y="8596"/>
                </a:lnTo>
                <a:lnTo>
                  <a:pt x="11675" y="8603"/>
                </a:lnTo>
                <a:lnTo>
                  <a:pt x="11678" y="8608"/>
                </a:lnTo>
                <a:lnTo>
                  <a:pt x="11682" y="8613"/>
                </a:lnTo>
                <a:lnTo>
                  <a:pt x="11684" y="8601"/>
                </a:lnTo>
                <a:lnTo>
                  <a:pt x="11682" y="8595"/>
                </a:lnTo>
                <a:lnTo>
                  <a:pt x="11678" y="8590"/>
                </a:lnTo>
                <a:lnTo>
                  <a:pt x="11671" y="8582"/>
                </a:lnTo>
                <a:lnTo>
                  <a:pt x="11680" y="8540"/>
                </a:lnTo>
                <a:lnTo>
                  <a:pt x="11687" y="8500"/>
                </a:lnTo>
                <a:lnTo>
                  <a:pt x="11692" y="8463"/>
                </a:lnTo>
                <a:lnTo>
                  <a:pt x="11690" y="8433"/>
                </a:lnTo>
                <a:lnTo>
                  <a:pt x="11597" y="8327"/>
                </a:lnTo>
                <a:lnTo>
                  <a:pt x="11465" y="8295"/>
                </a:lnTo>
                <a:lnTo>
                  <a:pt x="11368" y="8271"/>
                </a:lnTo>
                <a:lnTo>
                  <a:pt x="11377" y="8180"/>
                </a:lnTo>
                <a:lnTo>
                  <a:pt x="11350" y="8137"/>
                </a:lnTo>
                <a:lnTo>
                  <a:pt x="11354" y="8074"/>
                </a:lnTo>
                <a:lnTo>
                  <a:pt x="11388" y="8020"/>
                </a:lnTo>
                <a:lnTo>
                  <a:pt x="11451" y="8001"/>
                </a:lnTo>
                <a:lnTo>
                  <a:pt x="11386" y="7969"/>
                </a:lnTo>
                <a:lnTo>
                  <a:pt x="11356" y="7896"/>
                </a:lnTo>
                <a:lnTo>
                  <a:pt x="11369" y="7821"/>
                </a:lnTo>
                <a:lnTo>
                  <a:pt x="11431" y="7786"/>
                </a:lnTo>
                <a:lnTo>
                  <a:pt x="11437" y="7763"/>
                </a:lnTo>
                <a:lnTo>
                  <a:pt x="11403" y="7751"/>
                </a:lnTo>
                <a:lnTo>
                  <a:pt x="11373" y="7737"/>
                </a:lnTo>
                <a:lnTo>
                  <a:pt x="11382" y="7709"/>
                </a:lnTo>
                <a:lnTo>
                  <a:pt x="11354" y="7695"/>
                </a:lnTo>
                <a:lnTo>
                  <a:pt x="11304" y="7689"/>
                </a:lnTo>
                <a:lnTo>
                  <a:pt x="11290" y="7682"/>
                </a:lnTo>
                <a:lnTo>
                  <a:pt x="11365" y="7666"/>
                </a:lnTo>
                <a:lnTo>
                  <a:pt x="11344" y="7628"/>
                </a:lnTo>
                <a:lnTo>
                  <a:pt x="11349" y="7623"/>
                </a:lnTo>
                <a:lnTo>
                  <a:pt x="11373" y="7618"/>
                </a:lnTo>
                <a:lnTo>
                  <a:pt x="11412" y="7582"/>
                </a:lnTo>
                <a:lnTo>
                  <a:pt x="11440" y="7567"/>
                </a:lnTo>
                <a:lnTo>
                  <a:pt x="11405" y="7517"/>
                </a:lnTo>
                <a:lnTo>
                  <a:pt x="11383" y="7465"/>
                </a:lnTo>
                <a:lnTo>
                  <a:pt x="11448" y="7442"/>
                </a:lnTo>
                <a:lnTo>
                  <a:pt x="11422" y="7409"/>
                </a:lnTo>
                <a:lnTo>
                  <a:pt x="11462" y="7383"/>
                </a:lnTo>
                <a:lnTo>
                  <a:pt x="11532" y="7371"/>
                </a:lnTo>
                <a:lnTo>
                  <a:pt x="11594" y="7378"/>
                </a:lnTo>
                <a:lnTo>
                  <a:pt x="11621" y="7364"/>
                </a:lnTo>
                <a:lnTo>
                  <a:pt x="11552" y="7336"/>
                </a:lnTo>
                <a:lnTo>
                  <a:pt x="11454" y="7304"/>
                </a:lnTo>
                <a:lnTo>
                  <a:pt x="11389" y="7273"/>
                </a:lnTo>
                <a:lnTo>
                  <a:pt x="11454" y="7260"/>
                </a:lnTo>
                <a:lnTo>
                  <a:pt x="11486" y="7234"/>
                </a:lnTo>
                <a:lnTo>
                  <a:pt x="11504" y="7194"/>
                </a:lnTo>
                <a:lnTo>
                  <a:pt x="11532" y="7131"/>
                </a:lnTo>
                <a:lnTo>
                  <a:pt x="11554" y="7166"/>
                </a:lnTo>
                <a:lnTo>
                  <a:pt x="11587" y="7185"/>
                </a:lnTo>
                <a:lnTo>
                  <a:pt x="11625" y="7196"/>
                </a:lnTo>
                <a:lnTo>
                  <a:pt x="11659" y="7211"/>
                </a:lnTo>
                <a:lnTo>
                  <a:pt x="11648" y="7262"/>
                </a:lnTo>
                <a:lnTo>
                  <a:pt x="11659" y="7274"/>
                </a:lnTo>
                <a:lnTo>
                  <a:pt x="11678" y="7252"/>
                </a:lnTo>
                <a:lnTo>
                  <a:pt x="11696" y="7204"/>
                </a:lnTo>
                <a:lnTo>
                  <a:pt x="11657" y="7115"/>
                </a:lnTo>
                <a:lnTo>
                  <a:pt x="11540" y="7068"/>
                </a:lnTo>
                <a:lnTo>
                  <a:pt x="11433" y="7023"/>
                </a:lnTo>
                <a:lnTo>
                  <a:pt x="11429" y="6940"/>
                </a:lnTo>
                <a:lnTo>
                  <a:pt x="11412" y="6926"/>
                </a:lnTo>
                <a:lnTo>
                  <a:pt x="11442" y="6878"/>
                </a:lnTo>
                <a:lnTo>
                  <a:pt x="11448" y="6846"/>
                </a:lnTo>
                <a:lnTo>
                  <a:pt x="11365" y="6880"/>
                </a:lnTo>
                <a:lnTo>
                  <a:pt x="11347" y="6878"/>
                </a:lnTo>
                <a:lnTo>
                  <a:pt x="11352" y="6872"/>
                </a:lnTo>
                <a:lnTo>
                  <a:pt x="11363" y="6861"/>
                </a:lnTo>
                <a:lnTo>
                  <a:pt x="11361" y="6851"/>
                </a:lnTo>
                <a:lnTo>
                  <a:pt x="11295" y="6809"/>
                </a:lnTo>
                <a:lnTo>
                  <a:pt x="11314" y="6800"/>
                </a:lnTo>
                <a:lnTo>
                  <a:pt x="11379" y="6809"/>
                </a:lnTo>
                <a:lnTo>
                  <a:pt x="11454" y="6818"/>
                </a:lnTo>
                <a:lnTo>
                  <a:pt x="11422" y="6791"/>
                </a:lnTo>
                <a:lnTo>
                  <a:pt x="11428" y="6775"/>
                </a:lnTo>
                <a:lnTo>
                  <a:pt x="11449" y="6760"/>
                </a:lnTo>
                <a:lnTo>
                  <a:pt x="11463" y="6739"/>
                </a:lnTo>
                <a:lnTo>
                  <a:pt x="11463" y="6690"/>
                </a:lnTo>
                <a:lnTo>
                  <a:pt x="11468" y="6648"/>
                </a:lnTo>
                <a:lnTo>
                  <a:pt x="11476" y="6602"/>
                </a:lnTo>
                <a:lnTo>
                  <a:pt x="11481" y="6542"/>
                </a:lnTo>
                <a:lnTo>
                  <a:pt x="11518" y="6458"/>
                </a:lnTo>
                <a:lnTo>
                  <a:pt x="11507" y="6417"/>
                </a:lnTo>
                <a:lnTo>
                  <a:pt x="11501" y="6404"/>
                </a:lnTo>
                <a:lnTo>
                  <a:pt x="11561" y="6406"/>
                </a:lnTo>
                <a:lnTo>
                  <a:pt x="11517" y="6383"/>
                </a:lnTo>
                <a:lnTo>
                  <a:pt x="11503" y="6362"/>
                </a:lnTo>
                <a:lnTo>
                  <a:pt x="11519" y="6348"/>
                </a:lnTo>
                <a:lnTo>
                  <a:pt x="11570" y="6345"/>
                </a:lnTo>
                <a:lnTo>
                  <a:pt x="11536" y="6326"/>
                </a:lnTo>
                <a:lnTo>
                  <a:pt x="11519" y="6306"/>
                </a:lnTo>
                <a:lnTo>
                  <a:pt x="11524" y="6294"/>
                </a:lnTo>
                <a:lnTo>
                  <a:pt x="11559" y="6299"/>
                </a:lnTo>
                <a:lnTo>
                  <a:pt x="11550" y="6269"/>
                </a:lnTo>
                <a:lnTo>
                  <a:pt x="11551" y="6236"/>
                </a:lnTo>
                <a:lnTo>
                  <a:pt x="11549" y="6213"/>
                </a:lnTo>
                <a:lnTo>
                  <a:pt x="11523" y="6219"/>
                </a:lnTo>
                <a:lnTo>
                  <a:pt x="11514" y="6239"/>
                </a:lnTo>
                <a:lnTo>
                  <a:pt x="11509" y="6207"/>
                </a:lnTo>
                <a:lnTo>
                  <a:pt x="11509" y="6154"/>
                </a:lnTo>
                <a:lnTo>
                  <a:pt x="11514" y="6114"/>
                </a:lnTo>
                <a:lnTo>
                  <a:pt x="11563" y="6104"/>
                </a:lnTo>
                <a:lnTo>
                  <a:pt x="11551" y="6065"/>
                </a:lnTo>
                <a:lnTo>
                  <a:pt x="11535" y="6009"/>
                </a:lnTo>
                <a:lnTo>
                  <a:pt x="11570" y="5951"/>
                </a:lnTo>
                <a:lnTo>
                  <a:pt x="11570" y="5951"/>
                </a:lnTo>
                <a:lnTo>
                  <a:pt x="11571" y="5949"/>
                </a:lnTo>
                <a:lnTo>
                  <a:pt x="11573" y="5945"/>
                </a:lnTo>
                <a:lnTo>
                  <a:pt x="11571" y="5949"/>
                </a:lnTo>
                <a:lnTo>
                  <a:pt x="11570" y="5951"/>
                </a:lnTo>
                <a:lnTo>
                  <a:pt x="11545" y="5923"/>
                </a:lnTo>
                <a:lnTo>
                  <a:pt x="11543" y="5899"/>
                </a:lnTo>
                <a:lnTo>
                  <a:pt x="11552" y="5871"/>
                </a:lnTo>
                <a:lnTo>
                  <a:pt x="11559" y="5833"/>
                </a:lnTo>
                <a:lnTo>
                  <a:pt x="11566" y="5807"/>
                </a:lnTo>
                <a:lnTo>
                  <a:pt x="11554" y="5777"/>
                </a:lnTo>
                <a:lnTo>
                  <a:pt x="11555" y="5753"/>
                </a:lnTo>
                <a:lnTo>
                  <a:pt x="11608" y="5741"/>
                </a:lnTo>
                <a:lnTo>
                  <a:pt x="11601" y="5727"/>
                </a:lnTo>
                <a:lnTo>
                  <a:pt x="11569" y="5717"/>
                </a:lnTo>
                <a:lnTo>
                  <a:pt x="11538" y="5703"/>
                </a:lnTo>
                <a:lnTo>
                  <a:pt x="11536" y="5674"/>
                </a:lnTo>
                <a:lnTo>
                  <a:pt x="11541" y="5662"/>
                </a:lnTo>
                <a:lnTo>
                  <a:pt x="11546" y="5650"/>
                </a:lnTo>
                <a:lnTo>
                  <a:pt x="11550" y="5637"/>
                </a:lnTo>
                <a:lnTo>
                  <a:pt x="11552" y="5623"/>
                </a:lnTo>
                <a:lnTo>
                  <a:pt x="11568" y="5623"/>
                </a:lnTo>
                <a:lnTo>
                  <a:pt x="11583" y="5624"/>
                </a:lnTo>
                <a:lnTo>
                  <a:pt x="11597" y="5627"/>
                </a:lnTo>
                <a:lnTo>
                  <a:pt x="11612" y="5632"/>
                </a:lnTo>
                <a:lnTo>
                  <a:pt x="11611" y="5616"/>
                </a:lnTo>
                <a:lnTo>
                  <a:pt x="11597" y="5610"/>
                </a:lnTo>
                <a:lnTo>
                  <a:pt x="11575" y="5611"/>
                </a:lnTo>
                <a:lnTo>
                  <a:pt x="11554" y="5616"/>
                </a:lnTo>
                <a:lnTo>
                  <a:pt x="11566" y="5468"/>
                </a:lnTo>
                <a:lnTo>
                  <a:pt x="11566" y="5311"/>
                </a:lnTo>
                <a:lnTo>
                  <a:pt x="11582" y="5184"/>
                </a:lnTo>
                <a:lnTo>
                  <a:pt x="11638" y="5125"/>
                </a:lnTo>
                <a:lnTo>
                  <a:pt x="11661" y="5053"/>
                </a:lnTo>
                <a:lnTo>
                  <a:pt x="11628" y="4971"/>
                </a:lnTo>
                <a:lnTo>
                  <a:pt x="11587" y="4904"/>
                </a:lnTo>
                <a:lnTo>
                  <a:pt x="11586" y="4872"/>
                </a:lnTo>
                <a:lnTo>
                  <a:pt x="11602" y="4902"/>
                </a:lnTo>
                <a:lnTo>
                  <a:pt x="11647" y="4902"/>
                </a:lnTo>
                <a:lnTo>
                  <a:pt x="11686" y="4883"/>
                </a:lnTo>
                <a:lnTo>
                  <a:pt x="11685" y="4851"/>
                </a:lnTo>
                <a:lnTo>
                  <a:pt x="11645" y="4881"/>
                </a:lnTo>
                <a:lnTo>
                  <a:pt x="11614" y="4860"/>
                </a:lnTo>
                <a:lnTo>
                  <a:pt x="11593" y="4813"/>
                </a:lnTo>
                <a:lnTo>
                  <a:pt x="11591" y="4764"/>
                </a:lnTo>
                <a:lnTo>
                  <a:pt x="11603" y="4710"/>
                </a:lnTo>
                <a:lnTo>
                  <a:pt x="11622" y="4756"/>
                </a:lnTo>
                <a:lnTo>
                  <a:pt x="11653" y="4818"/>
                </a:lnTo>
                <a:lnTo>
                  <a:pt x="11700" y="4812"/>
                </a:lnTo>
                <a:lnTo>
                  <a:pt x="11752" y="4811"/>
                </a:lnTo>
                <a:lnTo>
                  <a:pt x="11703" y="4762"/>
                </a:lnTo>
                <a:lnTo>
                  <a:pt x="11658" y="4724"/>
                </a:lnTo>
                <a:lnTo>
                  <a:pt x="11726" y="4751"/>
                </a:lnTo>
                <a:lnTo>
                  <a:pt x="11749" y="4720"/>
                </a:lnTo>
                <a:lnTo>
                  <a:pt x="11650" y="4686"/>
                </a:lnTo>
                <a:lnTo>
                  <a:pt x="11551" y="4652"/>
                </a:lnTo>
                <a:lnTo>
                  <a:pt x="11569" y="4617"/>
                </a:lnTo>
                <a:lnTo>
                  <a:pt x="11616" y="4593"/>
                </a:lnTo>
                <a:lnTo>
                  <a:pt x="11649" y="4564"/>
                </a:lnTo>
                <a:lnTo>
                  <a:pt x="11653" y="4532"/>
                </a:lnTo>
                <a:lnTo>
                  <a:pt x="11612" y="4501"/>
                </a:lnTo>
                <a:lnTo>
                  <a:pt x="11653" y="4434"/>
                </a:lnTo>
                <a:lnTo>
                  <a:pt x="11726" y="4401"/>
                </a:lnTo>
                <a:lnTo>
                  <a:pt x="11798" y="4410"/>
                </a:lnTo>
                <a:lnTo>
                  <a:pt x="11841" y="4470"/>
                </a:lnTo>
                <a:lnTo>
                  <a:pt x="11836" y="4494"/>
                </a:lnTo>
                <a:lnTo>
                  <a:pt x="11829" y="4533"/>
                </a:lnTo>
                <a:lnTo>
                  <a:pt x="11830" y="4579"/>
                </a:lnTo>
                <a:lnTo>
                  <a:pt x="11848" y="4625"/>
                </a:lnTo>
                <a:lnTo>
                  <a:pt x="11880" y="4582"/>
                </a:lnTo>
                <a:lnTo>
                  <a:pt x="11919" y="4563"/>
                </a:lnTo>
                <a:lnTo>
                  <a:pt x="11973" y="4566"/>
                </a:lnTo>
                <a:lnTo>
                  <a:pt x="12041" y="4589"/>
                </a:lnTo>
                <a:lnTo>
                  <a:pt x="12097" y="4608"/>
                </a:lnTo>
                <a:lnTo>
                  <a:pt x="12086" y="4634"/>
                </a:lnTo>
                <a:lnTo>
                  <a:pt x="12064" y="4662"/>
                </a:lnTo>
                <a:lnTo>
                  <a:pt x="12090" y="4690"/>
                </a:lnTo>
                <a:lnTo>
                  <a:pt x="12141" y="4652"/>
                </a:lnTo>
                <a:lnTo>
                  <a:pt x="12208" y="4638"/>
                </a:lnTo>
                <a:lnTo>
                  <a:pt x="12240" y="4611"/>
                </a:lnTo>
                <a:lnTo>
                  <a:pt x="12189" y="4536"/>
                </a:lnTo>
                <a:lnTo>
                  <a:pt x="12156" y="4554"/>
                </a:lnTo>
                <a:lnTo>
                  <a:pt x="12053" y="4505"/>
                </a:lnTo>
                <a:lnTo>
                  <a:pt x="12020" y="4457"/>
                </a:lnTo>
                <a:lnTo>
                  <a:pt x="12198" y="4480"/>
                </a:lnTo>
                <a:lnTo>
                  <a:pt x="12167" y="4420"/>
                </a:lnTo>
                <a:lnTo>
                  <a:pt x="12072" y="4398"/>
                </a:lnTo>
                <a:lnTo>
                  <a:pt x="11982" y="4372"/>
                </a:lnTo>
                <a:lnTo>
                  <a:pt x="11965" y="4298"/>
                </a:lnTo>
                <a:lnTo>
                  <a:pt x="11947" y="4327"/>
                </a:lnTo>
                <a:lnTo>
                  <a:pt x="11928" y="4341"/>
                </a:lnTo>
                <a:lnTo>
                  <a:pt x="11906" y="4332"/>
                </a:lnTo>
                <a:lnTo>
                  <a:pt x="11881" y="4288"/>
                </a:lnTo>
                <a:lnTo>
                  <a:pt x="11931" y="4226"/>
                </a:lnTo>
                <a:lnTo>
                  <a:pt x="11989" y="4228"/>
                </a:lnTo>
                <a:lnTo>
                  <a:pt x="12048" y="4246"/>
                </a:lnTo>
                <a:lnTo>
                  <a:pt x="12095" y="4233"/>
                </a:lnTo>
                <a:lnTo>
                  <a:pt x="12082" y="4195"/>
                </a:lnTo>
                <a:lnTo>
                  <a:pt x="12099" y="4170"/>
                </a:lnTo>
                <a:lnTo>
                  <a:pt x="12128" y="4167"/>
                </a:lnTo>
                <a:lnTo>
                  <a:pt x="12157" y="4196"/>
                </a:lnTo>
                <a:lnTo>
                  <a:pt x="12110" y="4205"/>
                </a:lnTo>
                <a:lnTo>
                  <a:pt x="12117" y="4210"/>
                </a:lnTo>
                <a:lnTo>
                  <a:pt x="12146" y="4219"/>
                </a:lnTo>
                <a:lnTo>
                  <a:pt x="12170" y="4238"/>
                </a:lnTo>
                <a:lnTo>
                  <a:pt x="12253" y="4299"/>
                </a:lnTo>
                <a:lnTo>
                  <a:pt x="12338" y="4293"/>
                </a:lnTo>
                <a:lnTo>
                  <a:pt x="12430" y="4257"/>
                </a:lnTo>
                <a:lnTo>
                  <a:pt x="12532" y="4228"/>
                </a:lnTo>
                <a:lnTo>
                  <a:pt x="12500" y="4354"/>
                </a:lnTo>
                <a:lnTo>
                  <a:pt x="12547" y="4372"/>
                </a:lnTo>
                <a:lnTo>
                  <a:pt x="12634" y="4366"/>
                </a:lnTo>
                <a:lnTo>
                  <a:pt x="12719" y="4425"/>
                </a:lnTo>
                <a:lnTo>
                  <a:pt x="12807" y="4436"/>
                </a:lnTo>
                <a:lnTo>
                  <a:pt x="12760" y="4398"/>
                </a:lnTo>
                <a:lnTo>
                  <a:pt x="12723" y="4356"/>
                </a:lnTo>
                <a:lnTo>
                  <a:pt x="12839" y="4354"/>
                </a:lnTo>
                <a:lnTo>
                  <a:pt x="12904" y="4373"/>
                </a:lnTo>
                <a:lnTo>
                  <a:pt x="12977" y="4391"/>
                </a:lnTo>
                <a:lnTo>
                  <a:pt x="13047" y="4392"/>
                </a:lnTo>
                <a:lnTo>
                  <a:pt x="13105" y="4361"/>
                </a:lnTo>
                <a:lnTo>
                  <a:pt x="13096" y="4323"/>
                </a:lnTo>
                <a:lnTo>
                  <a:pt x="13107" y="4288"/>
                </a:lnTo>
                <a:lnTo>
                  <a:pt x="13139" y="4263"/>
                </a:lnTo>
                <a:lnTo>
                  <a:pt x="13189" y="4256"/>
                </a:lnTo>
                <a:lnTo>
                  <a:pt x="13212" y="4240"/>
                </a:lnTo>
                <a:lnTo>
                  <a:pt x="13191" y="4223"/>
                </a:lnTo>
                <a:lnTo>
                  <a:pt x="13170" y="4218"/>
                </a:lnTo>
                <a:lnTo>
                  <a:pt x="13189" y="4244"/>
                </a:lnTo>
                <a:lnTo>
                  <a:pt x="13163" y="4242"/>
                </a:lnTo>
                <a:lnTo>
                  <a:pt x="13149" y="4237"/>
                </a:lnTo>
                <a:lnTo>
                  <a:pt x="13142" y="4224"/>
                </a:lnTo>
                <a:lnTo>
                  <a:pt x="13137" y="4198"/>
                </a:lnTo>
                <a:lnTo>
                  <a:pt x="13165" y="4196"/>
                </a:lnTo>
                <a:lnTo>
                  <a:pt x="13194" y="4202"/>
                </a:lnTo>
                <a:lnTo>
                  <a:pt x="13213" y="4198"/>
                </a:lnTo>
                <a:lnTo>
                  <a:pt x="13208" y="4163"/>
                </a:lnTo>
                <a:lnTo>
                  <a:pt x="13176" y="4144"/>
                </a:lnTo>
                <a:lnTo>
                  <a:pt x="13209" y="4113"/>
                </a:lnTo>
                <a:lnTo>
                  <a:pt x="13233" y="4078"/>
                </a:lnTo>
                <a:lnTo>
                  <a:pt x="13172" y="4037"/>
                </a:lnTo>
                <a:lnTo>
                  <a:pt x="13182" y="4090"/>
                </a:lnTo>
                <a:lnTo>
                  <a:pt x="13166" y="4099"/>
                </a:lnTo>
                <a:lnTo>
                  <a:pt x="13139" y="4099"/>
                </a:lnTo>
                <a:lnTo>
                  <a:pt x="13115" y="4125"/>
                </a:lnTo>
                <a:lnTo>
                  <a:pt x="13098" y="4102"/>
                </a:lnTo>
                <a:lnTo>
                  <a:pt x="13100" y="4075"/>
                </a:lnTo>
                <a:lnTo>
                  <a:pt x="13116" y="4060"/>
                </a:lnTo>
                <a:lnTo>
                  <a:pt x="13143" y="4072"/>
                </a:lnTo>
                <a:lnTo>
                  <a:pt x="13137" y="4022"/>
                </a:lnTo>
                <a:lnTo>
                  <a:pt x="13110" y="4025"/>
                </a:lnTo>
                <a:lnTo>
                  <a:pt x="13082" y="4038"/>
                </a:lnTo>
                <a:lnTo>
                  <a:pt x="13069" y="4016"/>
                </a:lnTo>
                <a:lnTo>
                  <a:pt x="13002" y="3964"/>
                </a:lnTo>
                <a:lnTo>
                  <a:pt x="12937" y="4001"/>
                </a:lnTo>
                <a:lnTo>
                  <a:pt x="12883" y="4062"/>
                </a:lnTo>
                <a:lnTo>
                  <a:pt x="12848" y="4086"/>
                </a:lnTo>
                <a:lnTo>
                  <a:pt x="12771" y="4066"/>
                </a:lnTo>
                <a:lnTo>
                  <a:pt x="12713" y="4057"/>
                </a:lnTo>
                <a:lnTo>
                  <a:pt x="12678" y="4086"/>
                </a:lnTo>
                <a:lnTo>
                  <a:pt x="12677" y="4179"/>
                </a:lnTo>
                <a:lnTo>
                  <a:pt x="12621" y="4089"/>
                </a:lnTo>
                <a:lnTo>
                  <a:pt x="12702" y="3995"/>
                </a:lnTo>
                <a:lnTo>
                  <a:pt x="12785" y="3930"/>
                </a:lnTo>
                <a:lnTo>
                  <a:pt x="12733" y="3926"/>
                </a:lnTo>
                <a:lnTo>
                  <a:pt x="12637" y="3935"/>
                </a:lnTo>
                <a:lnTo>
                  <a:pt x="12553" y="3960"/>
                </a:lnTo>
                <a:lnTo>
                  <a:pt x="12508" y="3954"/>
                </a:lnTo>
                <a:lnTo>
                  <a:pt x="12529" y="3861"/>
                </a:lnTo>
                <a:lnTo>
                  <a:pt x="12520" y="3814"/>
                </a:lnTo>
                <a:lnTo>
                  <a:pt x="12497" y="3808"/>
                </a:lnTo>
                <a:lnTo>
                  <a:pt x="12465" y="3822"/>
                </a:lnTo>
                <a:lnTo>
                  <a:pt x="12429" y="3838"/>
                </a:lnTo>
                <a:lnTo>
                  <a:pt x="12395" y="3797"/>
                </a:lnTo>
                <a:lnTo>
                  <a:pt x="12356" y="3803"/>
                </a:lnTo>
                <a:lnTo>
                  <a:pt x="12314" y="3832"/>
                </a:lnTo>
                <a:lnTo>
                  <a:pt x="12276" y="3867"/>
                </a:lnTo>
                <a:lnTo>
                  <a:pt x="12276" y="3769"/>
                </a:lnTo>
                <a:lnTo>
                  <a:pt x="12347" y="3696"/>
                </a:lnTo>
                <a:lnTo>
                  <a:pt x="12346" y="3646"/>
                </a:lnTo>
                <a:lnTo>
                  <a:pt x="12134" y="3622"/>
                </a:lnTo>
                <a:lnTo>
                  <a:pt x="12197" y="3590"/>
                </a:lnTo>
                <a:lnTo>
                  <a:pt x="12246" y="3554"/>
                </a:lnTo>
                <a:lnTo>
                  <a:pt x="12268" y="3507"/>
                </a:lnTo>
                <a:lnTo>
                  <a:pt x="12246" y="3445"/>
                </a:lnTo>
                <a:lnTo>
                  <a:pt x="12288" y="3428"/>
                </a:lnTo>
                <a:lnTo>
                  <a:pt x="12269" y="3431"/>
                </a:lnTo>
                <a:lnTo>
                  <a:pt x="12225" y="3435"/>
                </a:lnTo>
                <a:lnTo>
                  <a:pt x="12189" y="3423"/>
                </a:lnTo>
                <a:lnTo>
                  <a:pt x="12288" y="3343"/>
                </a:lnTo>
                <a:lnTo>
                  <a:pt x="12362" y="3341"/>
                </a:lnTo>
                <a:lnTo>
                  <a:pt x="12413" y="3355"/>
                </a:lnTo>
                <a:lnTo>
                  <a:pt x="12439" y="3324"/>
                </a:lnTo>
                <a:lnTo>
                  <a:pt x="12412" y="3305"/>
                </a:lnTo>
                <a:lnTo>
                  <a:pt x="12430" y="3297"/>
                </a:lnTo>
                <a:lnTo>
                  <a:pt x="12455" y="3286"/>
                </a:lnTo>
                <a:lnTo>
                  <a:pt x="12449" y="3263"/>
                </a:lnTo>
                <a:lnTo>
                  <a:pt x="12389" y="3263"/>
                </a:lnTo>
                <a:lnTo>
                  <a:pt x="12370" y="3227"/>
                </a:lnTo>
                <a:lnTo>
                  <a:pt x="12383" y="3178"/>
                </a:lnTo>
                <a:lnTo>
                  <a:pt x="12416" y="3133"/>
                </a:lnTo>
                <a:lnTo>
                  <a:pt x="12417" y="3083"/>
                </a:lnTo>
                <a:lnTo>
                  <a:pt x="12402" y="3053"/>
                </a:lnTo>
                <a:lnTo>
                  <a:pt x="12367" y="3026"/>
                </a:lnTo>
                <a:lnTo>
                  <a:pt x="12309" y="2988"/>
                </a:lnTo>
                <a:lnTo>
                  <a:pt x="12389" y="2960"/>
                </a:lnTo>
                <a:lnTo>
                  <a:pt x="12451" y="2915"/>
                </a:lnTo>
                <a:lnTo>
                  <a:pt x="12462" y="2877"/>
                </a:lnTo>
                <a:lnTo>
                  <a:pt x="12384" y="2870"/>
                </a:lnTo>
                <a:lnTo>
                  <a:pt x="12310" y="2845"/>
                </a:lnTo>
                <a:lnTo>
                  <a:pt x="12348" y="2845"/>
                </a:lnTo>
                <a:lnTo>
                  <a:pt x="12401" y="2847"/>
                </a:lnTo>
                <a:lnTo>
                  <a:pt x="12373" y="2829"/>
                </a:lnTo>
                <a:lnTo>
                  <a:pt x="12427" y="2798"/>
                </a:lnTo>
                <a:lnTo>
                  <a:pt x="12462" y="2814"/>
                </a:lnTo>
                <a:lnTo>
                  <a:pt x="12483" y="2815"/>
                </a:lnTo>
                <a:lnTo>
                  <a:pt x="12495" y="2745"/>
                </a:lnTo>
                <a:lnTo>
                  <a:pt x="12588" y="2765"/>
                </a:lnTo>
                <a:lnTo>
                  <a:pt x="12603" y="2730"/>
                </a:lnTo>
                <a:lnTo>
                  <a:pt x="12570" y="2672"/>
                </a:lnTo>
                <a:lnTo>
                  <a:pt x="12518" y="2630"/>
                </a:lnTo>
                <a:lnTo>
                  <a:pt x="12450" y="2597"/>
                </a:lnTo>
                <a:lnTo>
                  <a:pt x="12454" y="2614"/>
                </a:lnTo>
                <a:lnTo>
                  <a:pt x="12469" y="2640"/>
                </a:lnTo>
                <a:lnTo>
                  <a:pt x="12435" y="2640"/>
                </a:lnTo>
                <a:lnTo>
                  <a:pt x="12397" y="2652"/>
                </a:lnTo>
                <a:lnTo>
                  <a:pt x="12366" y="2673"/>
                </a:lnTo>
                <a:lnTo>
                  <a:pt x="12353" y="2673"/>
                </a:lnTo>
                <a:lnTo>
                  <a:pt x="12365" y="2620"/>
                </a:lnTo>
                <a:lnTo>
                  <a:pt x="12351" y="2574"/>
                </a:lnTo>
                <a:lnTo>
                  <a:pt x="12356" y="2535"/>
                </a:lnTo>
                <a:lnTo>
                  <a:pt x="12374" y="2521"/>
                </a:lnTo>
                <a:lnTo>
                  <a:pt x="12398" y="2550"/>
                </a:lnTo>
                <a:lnTo>
                  <a:pt x="12457" y="2554"/>
                </a:lnTo>
                <a:lnTo>
                  <a:pt x="12451" y="2537"/>
                </a:lnTo>
                <a:lnTo>
                  <a:pt x="12412" y="2514"/>
                </a:lnTo>
                <a:lnTo>
                  <a:pt x="12361" y="2494"/>
                </a:lnTo>
                <a:lnTo>
                  <a:pt x="12345" y="2424"/>
                </a:lnTo>
                <a:lnTo>
                  <a:pt x="12329" y="2416"/>
                </a:lnTo>
                <a:lnTo>
                  <a:pt x="12325" y="2455"/>
                </a:lnTo>
                <a:lnTo>
                  <a:pt x="12345" y="2523"/>
                </a:lnTo>
                <a:lnTo>
                  <a:pt x="12288" y="2519"/>
                </a:lnTo>
                <a:lnTo>
                  <a:pt x="12292" y="2547"/>
                </a:lnTo>
                <a:lnTo>
                  <a:pt x="12292" y="2573"/>
                </a:lnTo>
                <a:lnTo>
                  <a:pt x="12225" y="2556"/>
                </a:lnTo>
                <a:lnTo>
                  <a:pt x="12146" y="2499"/>
                </a:lnTo>
                <a:lnTo>
                  <a:pt x="12085" y="2502"/>
                </a:lnTo>
                <a:lnTo>
                  <a:pt x="12036" y="2528"/>
                </a:lnTo>
                <a:lnTo>
                  <a:pt x="11999" y="2544"/>
                </a:lnTo>
                <a:lnTo>
                  <a:pt x="11973" y="2518"/>
                </a:lnTo>
                <a:lnTo>
                  <a:pt x="11960" y="2484"/>
                </a:lnTo>
                <a:lnTo>
                  <a:pt x="11955" y="2446"/>
                </a:lnTo>
                <a:lnTo>
                  <a:pt x="11951" y="2407"/>
                </a:lnTo>
                <a:lnTo>
                  <a:pt x="11891" y="2437"/>
                </a:lnTo>
                <a:lnTo>
                  <a:pt x="11849" y="2423"/>
                </a:lnTo>
                <a:lnTo>
                  <a:pt x="11810" y="2393"/>
                </a:lnTo>
                <a:lnTo>
                  <a:pt x="11759" y="2373"/>
                </a:lnTo>
                <a:lnTo>
                  <a:pt x="11742" y="2390"/>
                </a:lnTo>
                <a:lnTo>
                  <a:pt x="11749" y="2368"/>
                </a:lnTo>
                <a:lnTo>
                  <a:pt x="11742" y="2343"/>
                </a:lnTo>
                <a:lnTo>
                  <a:pt x="11689" y="2349"/>
                </a:lnTo>
                <a:lnTo>
                  <a:pt x="11745" y="2215"/>
                </a:lnTo>
                <a:lnTo>
                  <a:pt x="11686" y="2191"/>
                </a:lnTo>
                <a:lnTo>
                  <a:pt x="11593" y="2196"/>
                </a:lnTo>
                <a:lnTo>
                  <a:pt x="11550" y="2153"/>
                </a:lnTo>
                <a:lnTo>
                  <a:pt x="11592" y="2147"/>
                </a:lnTo>
                <a:lnTo>
                  <a:pt x="11642" y="2145"/>
                </a:lnTo>
                <a:lnTo>
                  <a:pt x="11687" y="2135"/>
                </a:lnTo>
                <a:lnTo>
                  <a:pt x="11714" y="2107"/>
                </a:lnTo>
                <a:lnTo>
                  <a:pt x="11698" y="2106"/>
                </a:lnTo>
                <a:lnTo>
                  <a:pt x="11681" y="2102"/>
                </a:lnTo>
                <a:lnTo>
                  <a:pt x="11666" y="2097"/>
                </a:lnTo>
                <a:lnTo>
                  <a:pt x="11650" y="2089"/>
                </a:lnTo>
                <a:lnTo>
                  <a:pt x="11650" y="2089"/>
                </a:lnTo>
                <a:lnTo>
                  <a:pt x="11650" y="2088"/>
                </a:lnTo>
                <a:lnTo>
                  <a:pt x="11650" y="2089"/>
                </a:lnTo>
                <a:lnTo>
                  <a:pt x="11649" y="2089"/>
                </a:lnTo>
                <a:lnTo>
                  <a:pt x="11607" y="2062"/>
                </a:lnTo>
                <a:lnTo>
                  <a:pt x="11579" y="2034"/>
                </a:lnTo>
                <a:lnTo>
                  <a:pt x="11578" y="2018"/>
                </a:lnTo>
                <a:lnTo>
                  <a:pt x="11610" y="2024"/>
                </a:lnTo>
                <a:lnTo>
                  <a:pt x="11610" y="2027"/>
                </a:lnTo>
                <a:close/>
                <a:moveTo>
                  <a:pt x="9042" y="1114"/>
                </a:moveTo>
                <a:lnTo>
                  <a:pt x="9007" y="1128"/>
                </a:lnTo>
                <a:lnTo>
                  <a:pt x="9002" y="1129"/>
                </a:lnTo>
                <a:lnTo>
                  <a:pt x="8999" y="1131"/>
                </a:lnTo>
                <a:lnTo>
                  <a:pt x="9004" y="1119"/>
                </a:lnTo>
                <a:lnTo>
                  <a:pt x="9002" y="1121"/>
                </a:lnTo>
                <a:lnTo>
                  <a:pt x="8999" y="1127"/>
                </a:lnTo>
                <a:lnTo>
                  <a:pt x="9007" y="1128"/>
                </a:lnTo>
                <a:lnTo>
                  <a:pt x="9014" y="1129"/>
                </a:lnTo>
                <a:lnTo>
                  <a:pt x="9023" y="1131"/>
                </a:lnTo>
                <a:lnTo>
                  <a:pt x="9033" y="1127"/>
                </a:lnTo>
                <a:lnTo>
                  <a:pt x="9042" y="1114"/>
                </a:lnTo>
                <a:close/>
                <a:moveTo>
                  <a:pt x="8557" y="1033"/>
                </a:moveTo>
                <a:lnTo>
                  <a:pt x="8552" y="1026"/>
                </a:lnTo>
                <a:lnTo>
                  <a:pt x="8546" y="1021"/>
                </a:lnTo>
                <a:lnTo>
                  <a:pt x="8539" y="1017"/>
                </a:lnTo>
                <a:lnTo>
                  <a:pt x="8532" y="1014"/>
                </a:lnTo>
                <a:lnTo>
                  <a:pt x="8537" y="1023"/>
                </a:lnTo>
                <a:lnTo>
                  <a:pt x="8541" y="1030"/>
                </a:lnTo>
                <a:lnTo>
                  <a:pt x="8547" y="1035"/>
                </a:lnTo>
                <a:lnTo>
                  <a:pt x="8557" y="1033"/>
                </a:lnTo>
                <a:close/>
                <a:moveTo>
                  <a:pt x="6844" y="590"/>
                </a:moveTo>
                <a:lnTo>
                  <a:pt x="6828" y="595"/>
                </a:lnTo>
                <a:lnTo>
                  <a:pt x="6812" y="600"/>
                </a:lnTo>
                <a:lnTo>
                  <a:pt x="6810" y="600"/>
                </a:lnTo>
                <a:lnTo>
                  <a:pt x="6809" y="599"/>
                </a:lnTo>
                <a:lnTo>
                  <a:pt x="6810" y="600"/>
                </a:lnTo>
                <a:lnTo>
                  <a:pt x="6812" y="600"/>
                </a:lnTo>
                <a:lnTo>
                  <a:pt x="6821" y="604"/>
                </a:lnTo>
                <a:lnTo>
                  <a:pt x="6829" y="604"/>
                </a:lnTo>
                <a:lnTo>
                  <a:pt x="6837" y="601"/>
                </a:lnTo>
                <a:lnTo>
                  <a:pt x="6844" y="590"/>
                </a:lnTo>
                <a:close/>
                <a:moveTo>
                  <a:pt x="6621" y="539"/>
                </a:moveTo>
                <a:lnTo>
                  <a:pt x="6624" y="543"/>
                </a:lnTo>
                <a:lnTo>
                  <a:pt x="6625" y="541"/>
                </a:lnTo>
                <a:lnTo>
                  <a:pt x="6624" y="538"/>
                </a:lnTo>
                <a:lnTo>
                  <a:pt x="6624" y="534"/>
                </a:lnTo>
                <a:lnTo>
                  <a:pt x="6623" y="536"/>
                </a:lnTo>
                <a:lnTo>
                  <a:pt x="6621" y="539"/>
                </a:lnTo>
                <a:close/>
                <a:moveTo>
                  <a:pt x="6625" y="544"/>
                </a:moveTo>
                <a:lnTo>
                  <a:pt x="6628" y="546"/>
                </a:lnTo>
                <a:lnTo>
                  <a:pt x="6625" y="544"/>
                </a:lnTo>
                <a:lnTo>
                  <a:pt x="6626" y="549"/>
                </a:lnTo>
                <a:lnTo>
                  <a:pt x="6625" y="544"/>
                </a:lnTo>
                <a:close/>
                <a:moveTo>
                  <a:pt x="8912" y="1117"/>
                </a:moveTo>
                <a:lnTo>
                  <a:pt x="8921" y="1115"/>
                </a:lnTo>
                <a:lnTo>
                  <a:pt x="8920" y="1109"/>
                </a:lnTo>
                <a:lnTo>
                  <a:pt x="8911" y="1104"/>
                </a:lnTo>
                <a:lnTo>
                  <a:pt x="8902" y="1107"/>
                </a:lnTo>
                <a:lnTo>
                  <a:pt x="8907" y="1113"/>
                </a:lnTo>
                <a:lnTo>
                  <a:pt x="8912" y="1117"/>
                </a:lnTo>
                <a:close/>
                <a:moveTo>
                  <a:pt x="5499" y="434"/>
                </a:moveTo>
                <a:lnTo>
                  <a:pt x="5506" y="431"/>
                </a:lnTo>
                <a:lnTo>
                  <a:pt x="5508" y="426"/>
                </a:lnTo>
                <a:lnTo>
                  <a:pt x="5508" y="419"/>
                </a:lnTo>
                <a:lnTo>
                  <a:pt x="5503" y="414"/>
                </a:lnTo>
                <a:lnTo>
                  <a:pt x="5496" y="417"/>
                </a:lnTo>
                <a:lnTo>
                  <a:pt x="5493" y="422"/>
                </a:lnTo>
                <a:lnTo>
                  <a:pt x="5494" y="428"/>
                </a:lnTo>
                <a:lnTo>
                  <a:pt x="5499" y="434"/>
                </a:lnTo>
                <a:close/>
                <a:moveTo>
                  <a:pt x="11760" y="2247"/>
                </a:moveTo>
                <a:lnTo>
                  <a:pt x="11765" y="2253"/>
                </a:lnTo>
                <a:lnTo>
                  <a:pt x="11771" y="2257"/>
                </a:lnTo>
                <a:lnTo>
                  <a:pt x="11777" y="2257"/>
                </a:lnTo>
                <a:lnTo>
                  <a:pt x="11782" y="2250"/>
                </a:lnTo>
                <a:lnTo>
                  <a:pt x="11777" y="2245"/>
                </a:lnTo>
                <a:lnTo>
                  <a:pt x="11771" y="2242"/>
                </a:lnTo>
                <a:lnTo>
                  <a:pt x="11766" y="2243"/>
                </a:lnTo>
                <a:lnTo>
                  <a:pt x="11760" y="2247"/>
                </a:lnTo>
                <a:close/>
                <a:moveTo>
                  <a:pt x="8519" y="946"/>
                </a:moveTo>
                <a:lnTo>
                  <a:pt x="8520" y="947"/>
                </a:lnTo>
                <a:lnTo>
                  <a:pt x="8521" y="947"/>
                </a:lnTo>
                <a:lnTo>
                  <a:pt x="8520" y="947"/>
                </a:lnTo>
                <a:lnTo>
                  <a:pt x="8520" y="947"/>
                </a:lnTo>
                <a:lnTo>
                  <a:pt x="8521" y="949"/>
                </a:lnTo>
                <a:lnTo>
                  <a:pt x="8521" y="949"/>
                </a:lnTo>
                <a:lnTo>
                  <a:pt x="8521" y="949"/>
                </a:lnTo>
                <a:lnTo>
                  <a:pt x="8521" y="949"/>
                </a:lnTo>
                <a:lnTo>
                  <a:pt x="8521" y="949"/>
                </a:lnTo>
                <a:lnTo>
                  <a:pt x="8519" y="946"/>
                </a:lnTo>
                <a:close/>
                <a:moveTo>
                  <a:pt x="8521" y="949"/>
                </a:moveTo>
                <a:lnTo>
                  <a:pt x="8520" y="946"/>
                </a:lnTo>
                <a:lnTo>
                  <a:pt x="8519" y="946"/>
                </a:lnTo>
                <a:lnTo>
                  <a:pt x="8521" y="949"/>
                </a:lnTo>
                <a:close/>
                <a:moveTo>
                  <a:pt x="8514" y="870"/>
                </a:moveTo>
                <a:lnTo>
                  <a:pt x="8509" y="872"/>
                </a:lnTo>
                <a:lnTo>
                  <a:pt x="8505" y="872"/>
                </a:lnTo>
                <a:lnTo>
                  <a:pt x="8500" y="871"/>
                </a:lnTo>
                <a:lnTo>
                  <a:pt x="8497" y="866"/>
                </a:lnTo>
                <a:lnTo>
                  <a:pt x="8500" y="861"/>
                </a:lnTo>
                <a:lnTo>
                  <a:pt x="8510" y="860"/>
                </a:lnTo>
                <a:lnTo>
                  <a:pt x="8516" y="862"/>
                </a:lnTo>
                <a:lnTo>
                  <a:pt x="8514" y="870"/>
                </a:lnTo>
                <a:close/>
                <a:moveTo>
                  <a:pt x="8813" y="909"/>
                </a:moveTo>
                <a:lnTo>
                  <a:pt x="8811" y="918"/>
                </a:lnTo>
                <a:lnTo>
                  <a:pt x="8807" y="922"/>
                </a:lnTo>
                <a:lnTo>
                  <a:pt x="8802" y="923"/>
                </a:lnTo>
                <a:lnTo>
                  <a:pt x="8794" y="925"/>
                </a:lnTo>
                <a:lnTo>
                  <a:pt x="8805" y="916"/>
                </a:lnTo>
                <a:lnTo>
                  <a:pt x="8813" y="909"/>
                </a:lnTo>
                <a:close/>
                <a:moveTo>
                  <a:pt x="8524" y="909"/>
                </a:moveTo>
                <a:lnTo>
                  <a:pt x="8635" y="926"/>
                </a:lnTo>
                <a:lnTo>
                  <a:pt x="8771" y="944"/>
                </a:lnTo>
                <a:lnTo>
                  <a:pt x="8875" y="942"/>
                </a:lnTo>
                <a:lnTo>
                  <a:pt x="8891" y="903"/>
                </a:lnTo>
                <a:lnTo>
                  <a:pt x="8799" y="882"/>
                </a:lnTo>
                <a:lnTo>
                  <a:pt x="8692" y="888"/>
                </a:lnTo>
                <a:lnTo>
                  <a:pt x="8599" y="885"/>
                </a:lnTo>
                <a:lnTo>
                  <a:pt x="8553" y="844"/>
                </a:lnTo>
                <a:lnTo>
                  <a:pt x="8483" y="846"/>
                </a:lnTo>
                <a:lnTo>
                  <a:pt x="8478" y="893"/>
                </a:lnTo>
                <a:lnTo>
                  <a:pt x="8502" y="932"/>
                </a:lnTo>
                <a:lnTo>
                  <a:pt x="8524" y="909"/>
                </a:lnTo>
                <a:close/>
                <a:moveTo>
                  <a:pt x="7293" y="695"/>
                </a:moveTo>
                <a:lnTo>
                  <a:pt x="7314" y="700"/>
                </a:lnTo>
                <a:lnTo>
                  <a:pt x="7333" y="704"/>
                </a:lnTo>
                <a:lnTo>
                  <a:pt x="7351" y="708"/>
                </a:lnTo>
                <a:lnTo>
                  <a:pt x="7366" y="711"/>
                </a:lnTo>
                <a:lnTo>
                  <a:pt x="7346" y="697"/>
                </a:lnTo>
                <a:lnTo>
                  <a:pt x="7332" y="689"/>
                </a:lnTo>
                <a:lnTo>
                  <a:pt x="7315" y="689"/>
                </a:lnTo>
                <a:lnTo>
                  <a:pt x="7293" y="695"/>
                </a:lnTo>
                <a:close/>
                <a:moveTo>
                  <a:pt x="8145" y="840"/>
                </a:moveTo>
                <a:lnTo>
                  <a:pt x="8148" y="840"/>
                </a:lnTo>
                <a:lnTo>
                  <a:pt x="8159" y="848"/>
                </a:lnTo>
                <a:lnTo>
                  <a:pt x="8169" y="848"/>
                </a:lnTo>
                <a:lnTo>
                  <a:pt x="8178" y="825"/>
                </a:lnTo>
                <a:lnTo>
                  <a:pt x="8119" y="816"/>
                </a:lnTo>
                <a:lnTo>
                  <a:pt x="8087" y="844"/>
                </a:lnTo>
                <a:lnTo>
                  <a:pt x="8091" y="866"/>
                </a:lnTo>
                <a:lnTo>
                  <a:pt x="8145" y="840"/>
                </a:lnTo>
                <a:close/>
                <a:moveTo>
                  <a:pt x="9189" y="1203"/>
                </a:moveTo>
                <a:lnTo>
                  <a:pt x="9181" y="1213"/>
                </a:lnTo>
                <a:lnTo>
                  <a:pt x="9179" y="1205"/>
                </a:lnTo>
                <a:lnTo>
                  <a:pt x="9181" y="1191"/>
                </a:lnTo>
                <a:lnTo>
                  <a:pt x="9189" y="1187"/>
                </a:lnTo>
                <a:lnTo>
                  <a:pt x="9189" y="1196"/>
                </a:lnTo>
                <a:lnTo>
                  <a:pt x="9189" y="1203"/>
                </a:lnTo>
                <a:close/>
                <a:moveTo>
                  <a:pt x="9210" y="1180"/>
                </a:moveTo>
                <a:lnTo>
                  <a:pt x="9265" y="1160"/>
                </a:lnTo>
                <a:lnTo>
                  <a:pt x="9231" y="1150"/>
                </a:lnTo>
                <a:lnTo>
                  <a:pt x="9175" y="1159"/>
                </a:lnTo>
                <a:lnTo>
                  <a:pt x="9161" y="1193"/>
                </a:lnTo>
                <a:lnTo>
                  <a:pt x="9163" y="1205"/>
                </a:lnTo>
                <a:lnTo>
                  <a:pt x="9175" y="1212"/>
                </a:lnTo>
                <a:lnTo>
                  <a:pt x="9194" y="1215"/>
                </a:lnTo>
                <a:lnTo>
                  <a:pt x="9216" y="1215"/>
                </a:lnTo>
                <a:lnTo>
                  <a:pt x="9219" y="1216"/>
                </a:lnTo>
                <a:lnTo>
                  <a:pt x="9224" y="1217"/>
                </a:lnTo>
                <a:lnTo>
                  <a:pt x="9227" y="1217"/>
                </a:lnTo>
                <a:lnTo>
                  <a:pt x="9231" y="1217"/>
                </a:lnTo>
                <a:lnTo>
                  <a:pt x="9233" y="1216"/>
                </a:lnTo>
                <a:lnTo>
                  <a:pt x="9235" y="1211"/>
                </a:lnTo>
                <a:lnTo>
                  <a:pt x="9258" y="1205"/>
                </a:lnTo>
                <a:lnTo>
                  <a:pt x="9266" y="1196"/>
                </a:lnTo>
                <a:lnTo>
                  <a:pt x="9254" y="1187"/>
                </a:lnTo>
                <a:lnTo>
                  <a:pt x="9210" y="1180"/>
                </a:lnTo>
                <a:close/>
                <a:moveTo>
                  <a:pt x="8521" y="949"/>
                </a:moveTo>
                <a:lnTo>
                  <a:pt x="8521" y="949"/>
                </a:lnTo>
                <a:lnTo>
                  <a:pt x="8521" y="949"/>
                </a:lnTo>
                <a:lnTo>
                  <a:pt x="8521" y="949"/>
                </a:lnTo>
                <a:close/>
                <a:moveTo>
                  <a:pt x="8521" y="949"/>
                </a:moveTo>
                <a:lnTo>
                  <a:pt x="8521" y="949"/>
                </a:lnTo>
                <a:lnTo>
                  <a:pt x="8521" y="949"/>
                </a:lnTo>
                <a:close/>
                <a:moveTo>
                  <a:pt x="8473" y="954"/>
                </a:moveTo>
                <a:lnTo>
                  <a:pt x="8509" y="946"/>
                </a:lnTo>
                <a:lnTo>
                  <a:pt x="8496" y="935"/>
                </a:lnTo>
                <a:lnTo>
                  <a:pt x="8459" y="933"/>
                </a:lnTo>
                <a:lnTo>
                  <a:pt x="8422" y="956"/>
                </a:lnTo>
                <a:lnTo>
                  <a:pt x="8453" y="984"/>
                </a:lnTo>
                <a:lnTo>
                  <a:pt x="8476" y="998"/>
                </a:lnTo>
                <a:lnTo>
                  <a:pt x="8486" y="991"/>
                </a:lnTo>
                <a:lnTo>
                  <a:pt x="8473" y="954"/>
                </a:lnTo>
                <a:close/>
                <a:moveTo>
                  <a:pt x="8640" y="1073"/>
                </a:moveTo>
                <a:lnTo>
                  <a:pt x="8665" y="1075"/>
                </a:lnTo>
                <a:lnTo>
                  <a:pt x="8683" y="1062"/>
                </a:lnTo>
                <a:lnTo>
                  <a:pt x="8696" y="1043"/>
                </a:lnTo>
                <a:lnTo>
                  <a:pt x="8710" y="1020"/>
                </a:lnTo>
                <a:lnTo>
                  <a:pt x="8665" y="1029"/>
                </a:lnTo>
                <a:lnTo>
                  <a:pt x="8628" y="1025"/>
                </a:lnTo>
                <a:lnTo>
                  <a:pt x="8614" y="1031"/>
                </a:lnTo>
                <a:lnTo>
                  <a:pt x="8640" y="1073"/>
                </a:lnTo>
                <a:close/>
                <a:moveTo>
                  <a:pt x="12040" y="2357"/>
                </a:moveTo>
                <a:lnTo>
                  <a:pt x="12018" y="2345"/>
                </a:lnTo>
                <a:lnTo>
                  <a:pt x="11997" y="2337"/>
                </a:lnTo>
                <a:lnTo>
                  <a:pt x="11974" y="2334"/>
                </a:lnTo>
                <a:lnTo>
                  <a:pt x="11950" y="2331"/>
                </a:lnTo>
                <a:lnTo>
                  <a:pt x="11951" y="2368"/>
                </a:lnTo>
                <a:lnTo>
                  <a:pt x="11971" y="2383"/>
                </a:lnTo>
                <a:lnTo>
                  <a:pt x="12003" y="2378"/>
                </a:lnTo>
                <a:lnTo>
                  <a:pt x="12040" y="2357"/>
                </a:lnTo>
                <a:close/>
                <a:moveTo>
                  <a:pt x="8811" y="997"/>
                </a:moveTo>
                <a:lnTo>
                  <a:pt x="8839" y="974"/>
                </a:lnTo>
                <a:lnTo>
                  <a:pt x="8808" y="954"/>
                </a:lnTo>
                <a:lnTo>
                  <a:pt x="8753" y="942"/>
                </a:lnTo>
                <a:lnTo>
                  <a:pt x="8711" y="950"/>
                </a:lnTo>
                <a:lnTo>
                  <a:pt x="8719" y="986"/>
                </a:lnTo>
                <a:lnTo>
                  <a:pt x="8735" y="998"/>
                </a:lnTo>
                <a:lnTo>
                  <a:pt x="8766" y="1000"/>
                </a:lnTo>
                <a:lnTo>
                  <a:pt x="8811" y="997"/>
                </a:lnTo>
                <a:close/>
                <a:moveTo>
                  <a:pt x="11810" y="2252"/>
                </a:moveTo>
                <a:lnTo>
                  <a:pt x="11825" y="2278"/>
                </a:lnTo>
                <a:lnTo>
                  <a:pt x="11816" y="2298"/>
                </a:lnTo>
                <a:lnTo>
                  <a:pt x="11815" y="2315"/>
                </a:lnTo>
                <a:lnTo>
                  <a:pt x="11849" y="2327"/>
                </a:lnTo>
                <a:lnTo>
                  <a:pt x="11884" y="2317"/>
                </a:lnTo>
                <a:lnTo>
                  <a:pt x="11891" y="2250"/>
                </a:lnTo>
                <a:lnTo>
                  <a:pt x="11867" y="2203"/>
                </a:lnTo>
                <a:lnTo>
                  <a:pt x="11810" y="2252"/>
                </a:lnTo>
                <a:close/>
                <a:moveTo>
                  <a:pt x="5592" y="364"/>
                </a:moveTo>
                <a:lnTo>
                  <a:pt x="5652" y="385"/>
                </a:lnTo>
                <a:lnTo>
                  <a:pt x="5696" y="400"/>
                </a:lnTo>
                <a:lnTo>
                  <a:pt x="5743" y="406"/>
                </a:lnTo>
                <a:lnTo>
                  <a:pt x="5814" y="399"/>
                </a:lnTo>
                <a:lnTo>
                  <a:pt x="5707" y="353"/>
                </a:lnTo>
                <a:lnTo>
                  <a:pt x="5566" y="339"/>
                </a:lnTo>
                <a:lnTo>
                  <a:pt x="5493" y="347"/>
                </a:lnTo>
                <a:lnTo>
                  <a:pt x="5592" y="364"/>
                </a:lnTo>
                <a:close/>
                <a:moveTo>
                  <a:pt x="11670" y="4248"/>
                </a:moveTo>
                <a:lnTo>
                  <a:pt x="11670" y="4247"/>
                </a:lnTo>
                <a:lnTo>
                  <a:pt x="11670" y="4247"/>
                </a:lnTo>
                <a:lnTo>
                  <a:pt x="11670" y="4248"/>
                </a:lnTo>
                <a:close/>
                <a:moveTo>
                  <a:pt x="11670" y="4247"/>
                </a:moveTo>
                <a:lnTo>
                  <a:pt x="11678" y="4249"/>
                </a:lnTo>
                <a:lnTo>
                  <a:pt x="11687" y="4253"/>
                </a:lnTo>
                <a:lnTo>
                  <a:pt x="11698" y="4252"/>
                </a:lnTo>
                <a:lnTo>
                  <a:pt x="11708" y="4247"/>
                </a:lnTo>
                <a:lnTo>
                  <a:pt x="11699" y="4228"/>
                </a:lnTo>
                <a:lnTo>
                  <a:pt x="11691" y="4224"/>
                </a:lnTo>
                <a:lnTo>
                  <a:pt x="11681" y="4232"/>
                </a:lnTo>
                <a:lnTo>
                  <a:pt x="11670" y="4247"/>
                </a:lnTo>
                <a:close/>
                <a:moveTo>
                  <a:pt x="12572" y="3482"/>
                </a:moveTo>
                <a:lnTo>
                  <a:pt x="12574" y="3477"/>
                </a:lnTo>
                <a:lnTo>
                  <a:pt x="12576" y="3472"/>
                </a:lnTo>
                <a:lnTo>
                  <a:pt x="12578" y="3467"/>
                </a:lnTo>
                <a:lnTo>
                  <a:pt x="12574" y="3464"/>
                </a:lnTo>
                <a:lnTo>
                  <a:pt x="12571" y="3470"/>
                </a:lnTo>
                <a:lnTo>
                  <a:pt x="12567" y="3475"/>
                </a:lnTo>
                <a:lnTo>
                  <a:pt x="12567" y="3479"/>
                </a:lnTo>
                <a:lnTo>
                  <a:pt x="12572" y="3482"/>
                </a:lnTo>
                <a:close/>
                <a:moveTo>
                  <a:pt x="12508" y="2975"/>
                </a:moveTo>
                <a:lnTo>
                  <a:pt x="12515" y="2975"/>
                </a:lnTo>
                <a:lnTo>
                  <a:pt x="12516" y="2970"/>
                </a:lnTo>
                <a:lnTo>
                  <a:pt x="12514" y="2965"/>
                </a:lnTo>
                <a:lnTo>
                  <a:pt x="12510" y="2961"/>
                </a:lnTo>
                <a:lnTo>
                  <a:pt x="12504" y="2962"/>
                </a:lnTo>
                <a:lnTo>
                  <a:pt x="12501" y="2966"/>
                </a:lnTo>
                <a:lnTo>
                  <a:pt x="12502" y="2970"/>
                </a:lnTo>
                <a:lnTo>
                  <a:pt x="12508" y="2975"/>
                </a:lnTo>
                <a:close/>
                <a:moveTo>
                  <a:pt x="12398" y="3615"/>
                </a:moveTo>
                <a:lnTo>
                  <a:pt x="12404" y="3613"/>
                </a:lnTo>
                <a:lnTo>
                  <a:pt x="12406" y="3609"/>
                </a:lnTo>
                <a:lnTo>
                  <a:pt x="12406" y="3603"/>
                </a:lnTo>
                <a:lnTo>
                  <a:pt x="12404" y="3593"/>
                </a:lnTo>
                <a:lnTo>
                  <a:pt x="12399" y="3603"/>
                </a:lnTo>
                <a:lnTo>
                  <a:pt x="12394" y="3608"/>
                </a:lnTo>
                <a:lnTo>
                  <a:pt x="12394" y="3612"/>
                </a:lnTo>
                <a:lnTo>
                  <a:pt x="12398" y="3615"/>
                </a:lnTo>
                <a:close/>
                <a:moveTo>
                  <a:pt x="12443" y="3176"/>
                </a:moveTo>
                <a:lnTo>
                  <a:pt x="12435" y="3176"/>
                </a:lnTo>
                <a:lnTo>
                  <a:pt x="12443" y="3176"/>
                </a:lnTo>
                <a:lnTo>
                  <a:pt x="12441" y="3170"/>
                </a:lnTo>
                <a:lnTo>
                  <a:pt x="12435" y="3167"/>
                </a:lnTo>
                <a:lnTo>
                  <a:pt x="12432" y="3170"/>
                </a:lnTo>
                <a:lnTo>
                  <a:pt x="12443" y="3176"/>
                </a:lnTo>
                <a:close/>
                <a:moveTo>
                  <a:pt x="12590" y="2784"/>
                </a:moveTo>
                <a:lnTo>
                  <a:pt x="12585" y="2787"/>
                </a:lnTo>
                <a:lnTo>
                  <a:pt x="12585" y="2791"/>
                </a:lnTo>
                <a:lnTo>
                  <a:pt x="12588" y="2794"/>
                </a:lnTo>
                <a:lnTo>
                  <a:pt x="12593" y="2798"/>
                </a:lnTo>
                <a:lnTo>
                  <a:pt x="12597" y="2796"/>
                </a:lnTo>
                <a:lnTo>
                  <a:pt x="12595" y="2792"/>
                </a:lnTo>
                <a:lnTo>
                  <a:pt x="12593" y="2788"/>
                </a:lnTo>
                <a:lnTo>
                  <a:pt x="12590" y="2784"/>
                </a:lnTo>
                <a:close/>
                <a:moveTo>
                  <a:pt x="12497" y="3327"/>
                </a:moveTo>
                <a:lnTo>
                  <a:pt x="12499" y="3333"/>
                </a:lnTo>
                <a:lnTo>
                  <a:pt x="12502" y="3334"/>
                </a:lnTo>
                <a:lnTo>
                  <a:pt x="12508" y="3334"/>
                </a:lnTo>
                <a:lnTo>
                  <a:pt x="12514" y="3332"/>
                </a:lnTo>
                <a:lnTo>
                  <a:pt x="12511" y="3324"/>
                </a:lnTo>
                <a:lnTo>
                  <a:pt x="12508" y="3321"/>
                </a:lnTo>
                <a:lnTo>
                  <a:pt x="12502" y="3323"/>
                </a:lnTo>
                <a:lnTo>
                  <a:pt x="12497" y="3327"/>
                </a:lnTo>
                <a:close/>
                <a:moveTo>
                  <a:pt x="12092" y="4365"/>
                </a:moveTo>
                <a:lnTo>
                  <a:pt x="12087" y="4364"/>
                </a:lnTo>
                <a:lnTo>
                  <a:pt x="12081" y="4363"/>
                </a:lnTo>
                <a:lnTo>
                  <a:pt x="12076" y="4361"/>
                </a:lnTo>
                <a:lnTo>
                  <a:pt x="12072" y="4364"/>
                </a:lnTo>
                <a:lnTo>
                  <a:pt x="12078" y="4365"/>
                </a:lnTo>
                <a:lnTo>
                  <a:pt x="12085" y="4368"/>
                </a:lnTo>
                <a:lnTo>
                  <a:pt x="12090" y="4369"/>
                </a:lnTo>
                <a:lnTo>
                  <a:pt x="12092" y="4365"/>
                </a:lnTo>
                <a:close/>
                <a:moveTo>
                  <a:pt x="12870" y="3744"/>
                </a:moveTo>
                <a:lnTo>
                  <a:pt x="12867" y="3740"/>
                </a:lnTo>
                <a:lnTo>
                  <a:pt x="12864" y="3736"/>
                </a:lnTo>
                <a:lnTo>
                  <a:pt x="12860" y="3734"/>
                </a:lnTo>
                <a:lnTo>
                  <a:pt x="12856" y="3738"/>
                </a:lnTo>
                <a:lnTo>
                  <a:pt x="12859" y="3741"/>
                </a:lnTo>
                <a:lnTo>
                  <a:pt x="12863" y="3745"/>
                </a:lnTo>
                <a:lnTo>
                  <a:pt x="12867" y="3747"/>
                </a:lnTo>
                <a:lnTo>
                  <a:pt x="12870" y="3744"/>
                </a:lnTo>
                <a:close/>
                <a:moveTo>
                  <a:pt x="12474" y="3403"/>
                </a:moveTo>
                <a:lnTo>
                  <a:pt x="12478" y="3393"/>
                </a:lnTo>
                <a:lnTo>
                  <a:pt x="12474" y="3389"/>
                </a:lnTo>
                <a:lnTo>
                  <a:pt x="12471" y="3393"/>
                </a:lnTo>
                <a:lnTo>
                  <a:pt x="12468" y="3403"/>
                </a:lnTo>
                <a:lnTo>
                  <a:pt x="12472" y="3403"/>
                </a:lnTo>
                <a:lnTo>
                  <a:pt x="12474" y="3403"/>
                </a:lnTo>
                <a:close/>
                <a:moveTo>
                  <a:pt x="13714" y="4671"/>
                </a:moveTo>
                <a:lnTo>
                  <a:pt x="13710" y="4671"/>
                </a:lnTo>
                <a:lnTo>
                  <a:pt x="13710" y="4673"/>
                </a:lnTo>
                <a:lnTo>
                  <a:pt x="13710" y="4676"/>
                </a:lnTo>
                <a:lnTo>
                  <a:pt x="13710" y="4678"/>
                </a:lnTo>
                <a:lnTo>
                  <a:pt x="13712" y="4677"/>
                </a:lnTo>
                <a:lnTo>
                  <a:pt x="13714" y="4676"/>
                </a:lnTo>
                <a:lnTo>
                  <a:pt x="13714" y="4673"/>
                </a:lnTo>
                <a:lnTo>
                  <a:pt x="13714" y="4671"/>
                </a:lnTo>
                <a:close/>
                <a:moveTo>
                  <a:pt x="13093" y="4388"/>
                </a:moveTo>
                <a:lnTo>
                  <a:pt x="13093" y="4388"/>
                </a:lnTo>
                <a:lnTo>
                  <a:pt x="13093" y="4388"/>
                </a:lnTo>
                <a:lnTo>
                  <a:pt x="13093" y="4388"/>
                </a:lnTo>
                <a:close/>
                <a:moveTo>
                  <a:pt x="13102" y="4405"/>
                </a:moveTo>
                <a:lnTo>
                  <a:pt x="13100" y="4400"/>
                </a:lnTo>
                <a:lnTo>
                  <a:pt x="13100" y="4398"/>
                </a:lnTo>
                <a:lnTo>
                  <a:pt x="13101" y="4401"/>
                </a:lnTo>
                <a:lnTo>
                  <a:pt x="13102" y="4405"/>
                </a:lnTo>
                <a:lnTo>
                  <a:pt x="13107" y="4401"/>
                </a:lnTo>
                <a:lnTo>
                  <a:pt x="13106" y="4398"/>
                </a:lnTo>
                <a:lnTo>
                  <a:pt x="13104" y="4400"/>
                </a:lnTo>
                <a:lnTo>
                  <a:pt x="13102" y="4405"/>
                </a:lnTo>
                <a:close/>
                <a:moveTo>
                  <a:pt x="12586" y="2449"/>
                </a:moveTo>
                <a:lnTo>
                  <a:pt x="12580" y="2448"/>
                </a:lnTo>
                <a:lnTo>
                  <a:pt x="12572" y="2447"/>
                </a:lnTo>
                <a:lnTo>
                  <a:pt x="12566" y="2447"/>
                </a:lnTo>
                <a:lnTo>
                  <a:pt x="12564" y="2451"/>
                </a:lnTo>
                <a:lnTo>
                  <a:pt x="12570" y="2452"/>
                </a:lnTo>
                <a:lnTo>
                  <a:pt x="12578" y="2455"/>
                </a:lnTo>
                <a:lnTo>
                  <a:pt x="12584" y="2455"/>
                </a:lnTo>
                <a:lnTo>
                  <a:pt x="12586" y="2449"/>
                </a:lnTo>
                <a:close/>
                <a:moveTo>
                  <a:pt x="12851" y="5321"/>
                </a:moveTo>
                <a:lnTo>
                  <a:pt x="12856" y="5321"/>
                </a:lnTo>
                <a:lnTo>
                  <a:pt x="12860" y="5320"/>
                </a:lnTo>
                <a:lnTo>
                  <a:pt x="12862" y="5316"/>
                </a:lnTo>
                <a:lnTo>
                  <a:pt x="12860" y="5308"/>
                </a:lnTo>
                <a:lnTo>
                  <a:pt x="12855" y="5311"/>
                </a:lnTo>
                <a:lnTo>
                  <a:pt x="12851" y="5314"/>
                </a:lnTo>
                <a:lnTo>
                  <a:pt x="12849" y="5316"/>
                </a:lnTo>
                <a:lnTo>
                  <a:pt x="12851" y="5321"/>
                </a:lnTo>
                <a:close/>
                <a:moveTo>
                  <a:pt x="11705" y="4668"/>
                </a:moveTo>
                <a:lnTo>
                  <a:pt x="11708" y="4675"/>
                </a:lnTo>
                <a:lnTo>
                  <a:pt x="11712" y="4677"/>
                </a:lnTo>
                <a:lnTo>
                  <a:pt x="11715" y="4677"/>
                </a:lnTo>
                <a:lnTo>
                  <a:pt x="11722" y="4673"/>
                </a:lnTo>
                <a:lnTo>
                  <a:pt x="11718" y="4668"/>
                </a:lnTo>
                <a:lnTo>
                  <a:pt x="11715" y="4664"/>
                </a:lnTo>
                <a:lnTo>
                  <a:pt x="11710" y="4664"/>
                </a:lnTo>
                <a:lnTo>
                  <a:pt x="11705" y="4668"/>
                </a:lnTo>
                <a:close/>
                <a:moveTo>
                  <a:pt x="11696" y="4598"/>
                </a:moveTo>
                <a:lnTo>
                  <a:pt x="11705" y="4593"/>
                </a:lnTo>
                <a:lnTo>
                  <a:pt x="11705" y="4588"/>
                </a:lnTo>
                <a:lnTo>
                  <a:pt x="11699" y="4584"/>
                </a:lnTo>
                <a:lnTo>
                  <a:pt x="11689" y="4588"/>
                </a:lnTo>
                <a:lnTo>
                  <a:pt x="11694" y="4594"/>
                </a:lnTo>
                <a:lnTo>
                  <a:pt x="11696" y="4598"/>
                </a:lnTo>
                <a:close/>
                <a:moveTo>
                  <a:pt x="12807" y="4747"/>
                </a:moveTo>
                <a:lnTo>
                  <a:pt x="12809" y="4743"/>
                </a:lnTo>
                <a:lnTo>
                  <a:pt x="12806" y="4737"/>
                </a:lnTo>
                <a:lnTo>
                  <a:pt x="12799" y="4733"/>
                </a:lnTo>
                <a:lnTo>
                  <a:pt x="12794" y="4736"/>
                </a:lnTo>
                <a:lnTo>
                  <a:pt x="12800" y="4742"/>
                </a:lnTo>
                <a:lnTo>
                  <a:pt x="12807" y="4747"/>
                </a:lnTo>
                <a:close/>
                <a:moveTo>
                  <a:pt x="12453" y="4593"/>
                </a:moveTo>
                <a:lnTo>
                  <a:pt x="12446" y="4592"/>
                </a:lnTo>
                <a:lnTo>
                  <a:pt x="12439" y="4591"/>
                </a:lnTo>
                <a:lnTo>
                  <a:pt x="12434" y="4591"/>
                </a:lnTo>
                <a:lnTo>
                  <a:pt x="12430" y="4596"/>
                </a:lnTo>
                <a:lnTo>
                  <a:pt x="12437" y="4597"/>
                </a:lnTo>
                <a:lnTo>
                  <a:pt x="12445" y="4599"/>
                </a:lnTo>
                <a:lnTo>
                  <a:pt x="12450" y="4599"/>
                </a:lnTo>
                <a:lnTo>
                  <a:pt x="12453" y="4593"/>
                </a:lnTo>
                <a:close/>
                <a:moveTo>
                  <a:pt x="13298" y="4694"/>
                </a:moveTo>
                <a:lnTo>
                  <a:pt x="13302" y="4696"/>
                </a:lnTo>
                <a:lnTo>
                  <a:pt x="13306" y="4696"/>
                </a:lnTo>
                <a:lnTo>
                  <a:pt x="13310" y="4691"/>
                </a:lnTo>
                <a:lnTo>
                  <a:pt x="13306" y="4687"/>
                </a:lnTo>
                <a:lnTo>
                  <a:pt x="13301" y="4689"/>
                </a:lnTo>
                <a:lnTo>
                  <a:pt x="13298" y="4694"/>
                </a:lnTo>
                <a:close/>
                <a:moveTo>
                  <a:pt x="12710" y="3706"/>
                </a:moveTo>
                <a:lnTo>
                  <a:pt x="12718" y="3703"/>
                </a:lnTo>
                <a:lnTo>
                  <a:pt x="12720" y="3698"/>
                </a:lnTo>
                <a:lnTo>
                  <a:pt x="12720" y="3689"/>
                </a:lnTo>
                <a:lnTo>
                  <a:pt x="12720" y="3680"/>
                </a:lnTo>
                <a:lnTo>
                  <a:pt x="12709" y="3689"/>
                </a:lnTo>
                <a:lnTo>
                  <a:pt x="12702" y="3694"/>
                </a:lnTo>
                <a:lnTo>
                  <a:pt x="12704" y="3699"/>
                </a:lnTo>
                <a:lnTo>
                  <a:pt x="12710" y="3706"/>
                </a:lnTo>
                <a:close/>
                <a:moveTo>
                  <a:pt x="12709" y="3652"/>
                </a:moveTo>
                <a:lnTo>
                  <a:pt x="12711" y="3657"/>
                </a:lnTo>
                <a:lnTo>
                  <a:pt x="12715" y="3660"/>
                </a:lnTo>
                <a:lnTo>
                  <a:pt x="12720" y="3660"/>
                </a:lnTo>
                <a:lnTo>
                  <a:pt x="12727" y="3657"/>
                </a:lnTo>
                <a:lnTo>
                  <a:pt x="12721" y="3652"/>
                </a:lnTo>
                <a:lnTo>
                  <a:pt x="12719" y="3649"/>
                </a:lnTo>
                <a:lnTo>
                  <a:pt x="12715" y="3649"/>
                </a:lnTo>
                <a:lnTo>
                  <a:pt x="12709" y="3652"/>
                </a:lnTo>
                <a:close/>
                <a:moveTo>
                  <a:pt x="12301" y="3432"/>
                </a:moveTo>
                <a:lnTo>
                  <a:pt x="12309" y="3436"/>
                </a:lnTo>
                <a:lnTo>
                  <a:pt x="12318" y="3439"/>
                </a:lnTo>
                <a:lnTo>
                  <a:pt x="12328" y="3440"/>
                </a:lnTo>
                <a:lnTo>
                  <a:pt x="12341" y="3437"/>
                </a:lnTo>
                <a:lnTo>
                  <a:pt x="12329" y="3432"/>
                </a:lnTo>
                <a:lnTo>
                  <a:pt x="12319" y="3430"/>
                </a:lnTo>
                <a:lnTo>
                  <a:pt x="12309" y="3431"/>
                </a:lnTo>
                <a:lnTo>
                  <a:pt x="12301" y="3432"/>
                </a:lnTo>
                <a:close/>
                <a:moveTo>
                  <a:pt x="12300" y="3432"/>
                </a:moveTo>
                <a:lnTo>
                  <a:pt x="12300" y="3432"/>
                </a:lnTo>
                <a:lnTo>
                  <a:pt x="12300" y="3432"/>
                </a:lnTo>
                <a:lnTo>
                  <a:pt x="12300" y="3432"/>
                </a:lnTo>
                <a:close/>
                <a:moveTo>
                  <a:pt x="12411" y="3398"/>
                </a:moveTo>
                <a:lnTo>
                  <a:pt x="12406" y="3397"/>
                </a:lnTo>
                <a:lnTo>
                  <a:pt x="12402" y="3400"/>
                </a:lnTo>
                <a:lnTo>
                  <a:pt x="12402" y="3404"/>
                </a:lnTo>
                <a:lnTo>
                  <a:pt x="12401" y="3411"/>
                </a:lnTo>
                <a:lnTo>
                  <a:pt x="12406" y="3411"/>
                </a:lnTo>
                <a:lnTo>
                  <a:pt x="12408" y="3408"/>
                </a:lnTo>
                <a:lnTo>
                  <a:pt x="12409" y="3403"/>
                </a:lnTo>
                <a:lnTo>
                  <a:pt x="12411" y="3398"/>
                </a:lnTo>
                <a:close/>
                <a:moveTo>
                  <a:pt x="12779" y="3411"/>
                </a:moveTo>
                <a:lnTo>
                  <a:pt x="12772" y="3414"/>
                </a:lnTo>
                <a:lnTo>
                  <a:pt x="12765" y="3417"/>
                </a:lnTo>
                <a:lnTo>
                  <a:pt x="12760" y="3421"/>
                </a:lnTo>
                <a:lnTo>
                  <a:pt x="12761" y="3426"/>
                </a:lnTo>
                <a:lnTo>
                  <a:pt x="12769" y="3423"/>
                </a:lnTo>
                <a:lnTo>
                  <a:pt x="12776" y="3422"/>
                </a:lnTo>
                <a:lnTo>
                  <a:pt x="12780" y="3418"/>
                </a:lnTo>
                <a:lnTo>
                  <a:pt x="12779" y="3411"/>
                </a:lnTo>
                <a:close/>
                <a:moveTo>
                  <a:pt x="12672" y="3309"/>
                </a:moveTo>
                <a:lnTo>
                  <a:pt x="12671" y="3304"/>
                </a:lnTo>
                <a:lnTo>
                  <a:pt x="12667" y="3300"/>
                </a:lnTo>
                <a:lnTo>
                  <a:pt x="12663" y="3300"/>
                </a:lnTo>
                <a:lnTo>
                  <a:pt x="12659" y="3301"/>
                </a:lnTo>
                <a:lnTo>
                  <a:pt x="12659" y="3309"/>
                </a:lnTo>
                <a:lnTo>
                  <a:pt x="12663" y="3314"/>
                </a:lnTo>
                <a:lnTo>
                  <a:pt x="12667" y="3314"/>
                </a:lnTo>
                <a:lnTo>
                  <a:pt x="12672" y="3309"/>
                </a:lnTo>
                <a:close/>
                <a:moveTo>
                  <a:pt x="12613" y="3267"/>
                </a:moveTo>
                <a:lnTo>
                  <a:pt x="12620" y="3267"/>
                </a:lnTo>
                <a:lnTo>
                  <a:pt x="12627" y="3267"/>
                </a:lnTo>
                <a:lnTo>
                  <a:pt x="12632" y="3264"/>
                </a:lnTo>
                <a:lnTo>
                  <a:pt x="12634" y="3259"/>
                </a:lnTo>
                <a:lnTo>
                  <a:pt x="12626" y="3258"/>
                </a:lnTo>
                <a:lnTo>
                  <a:pt x="12618" y="3258"/>
                </a:lnTo>
                <a:lnTo>
                  <a:pt x="12614" y="3260"/>
                </a:lnTo>
                <a:lnTo>
                  <a:pt x="12613" y="3267"/>
                </a:lnTo>
                <a:close/>
                <a:moveTo>
                  <a:pt x="12450" y="2988"/>
                </a:moveTo>
                <a:lnTo>
                  <a:pt x="12457" y="2987"/>
                </a:lnTo>
                <a:lnTo>
                  <a:pt x="12460" y="2982"/>
                </a:lnTo>
                <a:lnTo>
                  <a:pt x="12460" y="2975"/>
                </a:lnTo>
                <a:lnTo>
                  <a:pt x="12460" y="2968"/>
                </a:lnTo>
                <a:lnTo>
                  <a:pt x="12449" y="2974"/>
                </a:lnTo>
                <a:lnTo>
                  <a:pt x="12444" y="2978"/>
                </a:lnTo>
                <a:lnTo>
                  <a:pt x="12444" y="2982"/>
                </a:lnTo>
                <a:lnTo>
                  <a:pt x="12450" y="2988"/>
                </a:lnTo>
                <a:close/>
                <a:moveTo>
                  <a:pt x="11737" y="4486"/>
                </a:moveTo>
                <a:lnTo>
                  <a:pt x="11745" y="4489"/>
                </a:lnTo>
                <a:lnTo>
                  <a:pt x="11737" y="4486"/>
                </a:lnTo>
                <a:lnTo>
                  <a:pt x="11736" y="4492"/>
                </a:lnTo>
                <a:lnTo>
                  <a:pt x="11741" y="4498"/>
                </a:lnTo>
                <a:lnTo>
                  <a:pt x="11745" y="4496"/>
                </a:lnTo>
                <a:lnTo>
                  <a:pt x="11737" y="4486"/>
                </a:lnTo>
                <a:close/>
                <a:moveTo>
                  <a:pt x="13017" y="3931"/>
                </a:moveTo>
                <a:lnTo>
                  <a:pt x="13009" y="3922"/>
                </a:lnTo>
                <a:lnTo>
                  <a:pt x="13004" y="3920"/>
                </a:lnTo>
                <a:lnTo>
                  <a:pt x="12999" y="3921"/>
                </a:lnTo>
                <a:lnTo>
                  <a:pt x="12991" y="3926"/>
                </a:lnTo>
                <a:lnTo>
                  <a:pt x="12998" y="3930"/>
                </a:lnTo>
                <a:lnTo>
                  <a:pt x="13003" y="3931"/>
                </a:lnTo>
                <a:lnTo>
                  <a:pt x="13009" y="3932"/>
                </a:lnTo>
                <a:lnTo>
                  <a:pt x="13017" y="3931"/>
                </a:lnTo>
                <a:close/>
                <a:moveTo>
                  <a:pt x="12231" y="4696"/>
                </a:moveTo>
                <a:lnTo>
                  <a:pt x="12224" y="4697"/>
                </a:lnTo>
                <a:lnTo>
                  <a:pt x="12217" y="4697"/>
                </a:lnTo>
                <a:lnTo>
                  <a:pt x="12211" y="4699"/>
                </a:lnTo>
                <a:lnTo>
                  <a:pt x="12211" y="4705"/>
                </a:lnTo>
                <a:lnTo>
                  <a:pt x="12218" y="4706"/>
                </a:lnTo>
                <a:lnTo>
                  <a:pt x="12225" y="4706"/>
                </a:lnTo>
                <a:lnTo>
                  <a:pt x="12230" y="4704"/>
                </a:lnTo>
                <a:lnTo>
                  <a:pt x="12231" y="4696"/>
                </a:lnTo>
                <a:close/>
                <a:moveTo>
                  <a:pt x="11896" y="4620"/>
                </a:moveTo>
                <a:lnTo>
                  <a:pt x="11891" y="4626"/>
                </a:lnTo>
                <a:lnTo>
                  <a:pt x="11886" y="4631"/>
                </a:lnTo>
                <a:lnTo>
                  <a:pt x="11885" y="4638"/>
                </a:lnTo>
                <a:lnTo>
                  <a:pt x="11890" y="4643"/>
                </a:lnTo>
                <a:lnTo>
                  <a:pt x="11895" y="4636"/>
                </a:lnTo>
                <a:lnTo>
                  <a:pt x="11900" y="4631"/>
                </a:lnTo>
                <a:lnTo>
                  <a:pt x="11901" y="4625"/>
                </a:lnTo>
                <a:lnTo>
                  <a:pt x="11896" y="4620"/>
                </a:lnTo>
                <a:close/>
                <a:moveTo>
                  <a:pt x="11681" y="4472"/>
                </a:moveTo>
                <a:lnTo>
                  <a:pt x="11687" y="4473"/>
                </a:lnTo>
                <a:lnTo>
                  <a:pt x="11689" y="4473"/>
                </a:lnTo>
                <a:lnTo>
                  <a:pt x="11686" y="4473"/>
                </a:lnTo>
                <a:lnTo>
                  <a:pt x="11681" y="4472"/>
                </a:lnTo>
                <a:lnTo>
                  <a:pt x="11681" y="4477"/>
                </a:lnTo>
                <a:lnTo>
                  <a:pt x="11686" y="4481"/>
                </a:lnTo>
                <a:lnTo>
                  <a:pt x="11689" y="4480"/>
                </a:lnTo>
                <a:lnTo>
                  <a:pt x="11681" y="4472"/>
                </a:lnTo>
                <a:close/>
                <a:moveTo>
                  <a:pt x="12641" y="3230"/>
                </a:moveTo>
                <a:lnTo>
                  <a:pt x="12635" y="3222"/>
                </a:lnTo>
                <a:lnTo>
                  <a:pt x="12631" y="3221"/>
                </a:lnTo>
                <a:lnTo>
                  <a:pt x="12626" y="3222"/>
                </a:lnTo>
                <a:lnTo>
                  <a:pt x="12620" y="3227"/>
                </a:lnTo>
                <a:lnTo>
                  <a:pt x="12623" y="3232"/>
                </a:lnTo>
                <a:lnTo>
                  <a:pt x="12629" y="3235"/>
                </a:lnTo>
                <a:lnTo>
                  <a:pt x="12634" y="3232"/>
                </a:lnTo>
                <a:lnTo>
                  <a:pt x="12641" y="3230"/>
                </a:lnTo>
                <a:close/>
                <a:moveTo>
                  <a:pt x="12488" y="2365"/>
                </a:moveTo>
                <a:lnTo>
                  <a:pt x="12480" y="2362"/>
                </a:lnTo>
                <a:lnTo>
                  <a:pt x="12471" y="2357"/>
                </a:lnTo>
                <a:lnTo>
                  <a:pt x="12462" y="2354"/>
                </a:lnTo>
                <a:lnTo>
                  <a:pt x="12457" y="2358"/>
                </a:lnTo>
                <a:lnTo>
                  <a:pt x="12465" y="2362"/>
                </a:lnTo>
                <a:lnTo>
                  <a:pt x="12474" y="2367"/>
                </a:lnTo>
                <a:lnTo>
                  <a:pt x="12482" y="2369"/>
                </a:lnTo>
                <a:lnTo>
                  <a:pt x="12488" y="2365"/>
                </a:lnTo>
                <a:close/>
                <a:moveTo>
                  <a:pt x="12738" y="2441"/>
                </a:moveTo>
                <a:lnTo>
                  <a:pt x="12728" y="2438"/>
                </a:lnTo>
                <a:lnTo>
                  <a:pt x="12718" y="2433"/>
                </a:lnTo>
                <a:lnTo>
                  <a:pt x="12707" y="2432"/>
                </a:lnTo>
                <a:lnTo>
                  <a:pt x="12702" y="2437"/>
                </a:lnTo>
                <a:lnTo>
                  <a:pt x="12713" y="2439"/>
                </a:lnTo>
                <a:lnTo>
                  <a:pt x="12723" y="2443"/>
                </a:lnTo>
                <a:lnTo>
                  <a:pt x="12732" y="2444"/>
                </a:lnTo>
                <a:lnTo>
                  <a:pt x="12738" y="2441"/>
                </a:lnTo>
                <a:close/>
                <a:moveTo>
                  <a:pt x="12025" y="5343"/>
                </a:moveTo>
                <a:lnTo>
                  <a:pt x="12035" y="5345"/>
                </a:lnTo>
                <a:lnTo>
                  <a:pt x="12045" y="5350"/>
                </a:lnTo>
                <a:lnTo>
                  <a:pt x="12055" y="5352"/>
                </a:lnTo>
                <a:lnTo>
                  <a:pt x="12061" y="5347"/>
                </a:lnTo>
                <a:lnTo>
                  <a:pt x="12050" y="5345"/>
                </a:lnTo>
                <a:lnTo>
                  <a:pt x="12040" y="5342"/>
                </a:lnTo>
                <a:lnTo>
                  <a:pt x="12031" y="5340"/>
                </a:lnTo>
                <a:lnTo>
                  <a:pt x="12025" y="5343"/>
                </a:lnTo>
                <a:close/>
                <a:moveTo>
                  <a:pt x="13631" y="4695"/>
                </a:moveTo>
                <a:lnTo>
                  <a:pt x="13636" y="4697"/>
                </a:lnTo>
                <a:lnTo>
                  <a:pt x="13642" y="4703"/>
                </a:lnTo>
                <a:lnTo>
                  <a:pt x="13647" y="4704"/>
                </a:lnTo>
                <a:lnTo>
                  <a:pt x="13650" y="4700"/>
                </a:lnTo>
                <a:lnTo>
                  <a:pt x="13645" y="4697"/>
                </a:lnTo>
                <a:lnTo>
                  <a:pt x="13640" y="4694"/>
                </a:lnTo>
                <a:lnTo>
                  <a:pt x="13635" y="4692"/>
                </a:lnTo>
                <a:lnTo>
                  <a:pt x="13631" y="4695"/>
                </a:lnTo>
                <a:close/>
                <a:moveTo>
                  <a:pt x="12741" y="4951"/>
                </a:moveTo>
                <a:lnTo>
                  <a:pt x="12748" y="4953"/>
                </a:lnTo>
                <a:lnTo>
                  <a:pt x="12757" y="4957"/>
                </a:lnTo>
                <a:lnTo>
                  <a:pt x="12765" y="4957"/>
                </a:lnTo>
                <a:lnTo>
                  <a:pt x="12767" y="4949"/>
                </a:lnTo>
                <a:lnTo>
                  <a:pt x="12760" y="4949"/>
                </a:lnTo>
                <a:lnTo>
                  <a:pt x="12751" y="4947"/>
                </a:lnTo>
                <a:lnTo>
                  <a:pt x="12744" y="4947"/>
                </a:lnTo>
                <a:lnTo>
                  <a:pt x="12741" y="4951"/>
                </a:lnTo>
                <a:close/>
                <a:moveTo>
                  <a:pt x="12039" y="4787"/>
                </a:moveTo>
                <a:lnTo>
                  <a:pt x="12039" y="4776"/>
                </a:lnTo>
                <a:lnTo>
                  <a:pt x="12036" y="4769"/>
                </a:lnTo>
                <a:lnTo>
                  <a:pt x="12029" y="4762"/>
                </a:lnTo>
                <a:lnTo>
                  <a:pt x="12016" y="4760"/>
                </a:lnTo>
                <a:lnTo>
                  <a:pt x="12029" y="4774"/>
                </a:lnTo>
                <a:lnTo>
                  <a:pt x="12039" y="4787"/>
                </a:lnTo>
                <a:close/>
                <a:moveTo>
                  <a:pt x="12039" y="4788"/>
                </a:moveTo>
                <a:lnTo>
                  <a:pt x="12039" y="4788"/>
                </a:lnTo>
                <a:lnTo>
                  <a:pt x="12039" y="4788"/>
                </a:lnTo>
                <a:lnTo>
                  <a:pt x="12039" y="4788"/>
                </a:lnTo>
                <a:lnTo>
                  <a:pt x="12039" y="4788"/>
                </a:lnTo>
                <a:close/>
                <a:moveTo>
                  <a:pt x="12048" y="4807"/>
                </a:moveTo>
                <a:lnTo>
                  <a:pt x="12053" y="4802"/>
                </a:lnTo>
                <a:lnTo>
                  <a:pt x="12052" y="4795"/>
                </a:lnTo>
                <a:lnTo>
                  <a:pt x="12047" y="4790"/>
                </a:lnTo>
                <a:lnTo>
                  <a:pt x="12039" y="4788"/>
                </a:lnTo>
                <a:lnTo>
                  <a:pt x="12038" y="4794"/>
                </a:lnTo>
                <a:lnTo>
                  <a:pt x="12039" y="4799"/>
                </a:lnTo>
                <a:lnTo>
                  <a:pt x="12043" y="4803"/>
                </a:lnTo>
                <a:lnTo>
                  <a:pt x="12048" y="4807"/>
                </a:lnTo>
                <a:close/>
                <a:moveTo>
                  <a:pt x="13287" y="4616"/>
                </a:moveTo>
                <a:lnTo>
                  <a:pt x="13279" y="4620"/>
                </a:lnTo>
                <a:lnTo>
                  <a:pt x="13281" y="4625"/>
                </a:lnTo>
                <a:lnTo>
                  <a:pt x="13288" y="4627"/>
                </a:lnTo>
                <a:lnTo>
                  <a:pt x="13301" y="4625"/>
                </a:lnTo>
                <a:lnTo>
                  <a:pt x="13292" y="4620"/>
                </a:lnTo>
                <a:lnTo>
                  <a:pt x="13287" y="4616"/>
                </a:lnTo>
                <a:close/>
                <a:moveTo>
                  <a:pt x="12249" y="4321"/>
                </a:moveTo>
                <a:lnTo>
                  <a:pt x="12240" y="4324"/>
                </a:lnTo>
                <a:lnTo>
                  <a:pt x="12236" y="4328"/>
                </a:lnTo>
                <a:lnTo>
                  <a:pt x="12236" y="4333"/>
                </a:lnTo>
                <a:lnTo>
                  <a:pt x="12240" y="4341"/>
                </a:lnTo>
                <a:lnTo>
                  <a:pt x="12248" y="4338"/>
                </a:lnTo>
                <a:lnTo>
                  <a:pt x="12252" y="4336"/>
                </a:lnTo>
                <a:lnTo>
                  <a:pt x="12252" y="4330"/>
                </a:lnTo>
                <a:lnTo>
                  <a:pt x="12249" y="4321"/>
                </a:lnTo>
                <a:close/>
                <a:moveTo>
                  <a:pt x="12476" y="4533"/>
                </a:moveTo>
                <a:lnTo>
                  <a:pt x="12473" y="4526"/>
                </a:lnTo>
                <a:lnTo>
                  <a:pt x="12471" y="4518"/>
                </a:lnTo>
                <a:lnTo>
                  <a:pt x="12467" y="4512"/>
                </a:lnTo>
                <a:lnTo>
                  <a:pt x="12462" y="4512"/>
                </a:lnTo>
                <a:lnTo>
                  <a:pt x="12464" y="4518"/>
                </a:lnTo>
                <a:lnTo>
                  <a:pt x="12467" y="4527"/>
                </a:lnTo>
                <a:lnTo>
                  <a:pt x="12471" y="4533"/>
                </a:lnTo>
                <a:lnTo>
                  <a:pt x="12476" y="4533"/>
                </a:lnTo>
                <a:close/>
                <a:moveTo>
                  <a:pt x="12458" y="3221"/>
                </a:moveTo>
                <a:lnTo>
                  <a:pt x="12463" y="3218"/>
                </a:lnTo>
                <a:lnTo>
                  <a:pt x="12472" y="3212"/>
                </a:lnTo>
                <a:lnTo>
                  <a:pt x="12460" y="3202"/>
                </a:lnTo>
                <a:lnTo>
                  <a:pt x="12451" y="3203"/>
                </a:lnTo>
                <a:lnTo>
                  <a:pt x="12449" y="3209"/>
                </a:lnTo>
                <a:lnTo>
                  <a:pt x="12458" y="3221"/>
                </a:lnTo>
                <a:close/>
                <a:moveTo>
                  <a:pt x="12353" y="4727"/>
                </a:moveTo>
                <a:lnTo>
                  <a:pt x="12346" y="4724"/>
                </a:lnTo>
                <a:lnTo>
                  <a:pt x="12345" y="4724"/>
                </a:lnTo>
                <a:lnTo>
                  <a:pt x="12348" y="4725"/>
                </a:lnTo>
                <a:lnTo>
                  <a:pt x="12353" y="4727"/>
                </a:lnTo>
                <a:lnTo>
                  <a:pt x="12356" y="4719"/>
                </a:lnTo>
                <a:lnTo>
                  <a:pt x="12350" y="4715"/>
                </a:lnTo>
                <a:lnTo>
                  <a:pt x="12345" y="4717"/>
                </a:lnTo>
                <a:lnTo>
                  <a:pt x="12353" y="4727"/>
                </a:lnTo>
                <a:close/>
                <a:moveTo>
                  <a:pt x="12826" y="3952"/>
                </a:moveTo>
                <a:lnTo>
                  <a:pt x="12834" y="3952"/>
                </a:lnTo>
                <a:lnTo>
                  <a:pt x="12842" y="3953"/>
                </a:lnTo>
                <a:lnTo>
                  <a:pt x="12849" y="3952"/>
                </a:lnTo>
                <a:lnTo>
                  <a:pt x="12850" y="3944"/>
                </a:lnTo>
                <a:lnTo>
                  <a:pt x="12842" y="3943"/>
                </a:lnTo>
                <a:lnTo>
                  <a:pt x="12834" y="3941"/>
                </a:lnTo>
                <a:lnTo>
                  <a:pt x="12827" y="3944"/>
                </a:lnTo>
                <a:lnTo>
                  <a:pt x="12826" y="3952"/>
                </a:lnTo>
                <a:close/>
                <a:moveTo>
                  <a:pt x="12271" y="4825"/>
                </a:moveTo>
                <a:lnTo>
                  <a:pt x="12272" y="4820"/>
                </a:lnTo>
                <a:lnTo>
                  <a:pt x="12273" y="4816"/>
                </a:lnTo>
                <a:lnTo>
                  <a:pt x="12258" y="4811"/>
                </a:lnTo>
                <a:lnTo>
                  <a:pt x="12253" y="4815"/>
                </a:lnTo>
                <a:lnTo>
                  <a:pt x="12257" y="4821"/>
                </a:lnTo>
                <a:lnTo>
                  <a:pt x="12271" y="4825"/>
                </a:lnTo>
                <a:close/>
                <a:moveTo>
                  <a:pt x="11664" y="4658"/>
                </a:moveTo>
                <a:lnTo>
                  <a:pt x="11654" y="4658"/>
                </a:lnTo>
                <a:lnTo>
                  <a:pt x="11653" y="4658"/>
                </a:lnTo>
                <a:lnTo>
                  <a:pt x="11658" y="4658"/>
                </a:lnTo>
                <a:lnTo>
                  <a:pt x="11664" y="4658"/>
                </a:lnTo>
                <a:lnTo>
                  <a:pt x="11663" y="4650"/>
                </a:lnTo>
                <a:lnTo>
                  <a:pt x="11656" y="4648"/>
                </a:lnTo>
                <a:lnTo>
                  <a:pt x="11652" y="4650"/>
                </a:lnTo>
                <a:lnTo>
                  <a:pt x="11664" y="4658"/>
                </a:lnTo>
                <a:close/>
                <a:moveTo>
                  <a:pt x="12583" y="3758"/>
                </a:moveTo>
                <a:lnTo>
                  <a:pt x="12584" y="3752"/>
                </a:lnTo>
                <a:lnTo>
                  <a:pt x="12578" y="3748"/>
                </a:lnTo>
                <a:lnTo>
                  <a:pt x="12569" y="3745"/>
                </a:lnTo>
                <a:lnTo>
                  <a:pt x="12561" y="3744"/>
                </a:lnTo>
                <a:lnTo>
                  <a:pt x="12564" y="3753"/>
                </a:lnTo>
                <a:lnTo>
                  <a:pt x="12569" y="3759"/>
                </a:lnTo>
                <a:lnTo>
                  <a:pt x="12575" y="3761"/>
                </a:lnTo>
                <a:lnTo>
                  <a:pt x="12583" y="3758"/>
                </a:lnTo>
                <a:close/>
                <a:moveTo>
                  <a:pt x="12235" y="2489"/>
                </a:moveTo>
                <a:lnTo>
                  <a:pt x="12226" y="2488"/>
                </a:lnTo>
                <a:lnTo>
                  <a:pt x="12217" y="2485"/>
                </a:lnTo>
                <a:lnTo>
                  <a:pt x="12210" y="2486"/>
                </a:lnTo>
                <a:lnTo>
                  <a:pt x="12208" y="2495"/>
                </a:lnTo>
                <a:lnTo>
                  <a:pt x="12216" y="2495"/>
                </a:lnTo>
                <a:lnTo>
                  <a:pt x="12225" y="2497"/>
                </a:lnTo>
                <a:lnTo>
                  <a:pt x="12232" y="2495"/>
                </a:lnTo>
                <a:lnTo>
                  <a:pt x="12235" y="2489"/>
                </a:lnTo>
                <a:close/>
                <a:moveTo>
                  <a:pt x="5273" y="487"/>
                </a:moveTo>
                <a:lnTo>
                  <a:pt x="5268" y="478"/>
                </a:lnTo>
                <a:lnTo>
                  <a:pt x="5263" y="469"/>
                </a:lnTo>
                <a:lnTo>
                  <a:pt x="5257" y="464"/>
                </a:lnTo>
                <a:lnTo>
                  <a:pt x="5250" y="468"/>
                </a:lnTo>
                <a:lnTo>
                  <a:pt x="5255" y="474"/>
                </a:lnTo>
                <a:lnTo>
                  <a:pt x="5261" y="482"/>
                </a:lnTo>
                <a:lnTo>
                  <a:pt x="5266" y="488"/>
                </a:lnTo>
                <a:lnTo>
                  <a:pt x="5273" y="487"/>
                </a:lnTo>
                <a:close/>
                <a:moveTo>
                  <a:pt x="13339" y="4270"/>
                </a:moveTo>
                <a:lnTo>
                  <a:pt x="13348" y="4271"/>
                </a:lnTo>
                <a:lnTo>
                  <a:pt x="13357" y="4272"/>
                </a:lnTo>
                <a:lnTo>
                  <a:pt x="13365" y="4270"/>
                </a:lnTo>
                <a:lnTo>
                  <a:pt x="13366" y="4262"/>
                </a:lnTo>
                <a:lnTo>
                  <a:pt x="13357" y="4262"/>
                </a:lnTo>
                <a:lnTo>
                  <a:pt x="13348" y="4261"/>
                </a:lnTo>
                <a:lnTo>
                  <a:pt x="13340" y="4262"/>
                </a:lnTo>
                <a:lnTo>
                  <a:pt x="13339" y="4270"/>
                </a:lnTo>
                <a:close/>
                <a:moveTo>
                  <a:pt x="13110" y="4976"/>
                </a:moveTo>
                <a:lnTo>
                  <a:pt x="13116" y="4980"/>
                </a:lnTo>
                <a:lnTo>
                  <a:pt x="13123" y="4984"/>
                </a:lnTo>
                <a:lnTo>
                  <a:pt x="13128" y="4986"/>
                </a:lnTo>
                <a:lnTo>
                  <a:pt x="13133" y="4983"/>
                </a:lnTo>
                <a:lnTo>
                  <a:pt x="13126" y="4977"/>
                </a:lnTo>
                <a:lnTo>
                  <a:pt x="13120" y="4972"/>
                </a:lnTo>
                <a:lnTo>
                  <a:pt x="13115" y="4971"/>
                </a:lnTo>
                <a:lnTo>
                  <a:pt x="13110" y="4976"/>
                </a:lnTo>
                <a:close/>
                <a:moveTo>
                  <a:pt x="12474" y="3060"/>
                </a:moveTo>
                <a:lnTo>
                  <a:pt x="12469" y="3058"/>
                </a:lnTo>
                <a:lnTo>
                  <a:pt x="12465" y="3063"/>
                </a:lnTo>
                <a:lnTo>
                  <a:pt x="12462" y="3071"/>
                </a:lnTo>
                <a:lnTo>
                  <a:pt x="12457" y="3080"/>
                </a:lnTo>
                <a:lnTo>
                  <a:pt x="12468" y="3077"/>
                </a:lnTo>
                <a:lnTo>
                  <a:pt x="12476" y="3074"/>
                </a:lnTo>
                <a:lnTo>
                  <a:pt x="12477" y="3068"/>
                </a:lnTo>
                <a:lnTo>
                  <a:pt x="12474" y="3060"/>
                </a:lnTo>
                <a:close/>
                <a:moveTo>
                  <a:pt x="12367" y="4583"/>
                </a:moveTo>
                <a:lnTo>
                  <a:pt x="12376" y="4584"/>
                </a:lnTo>
                <a:lnTo>
                  <a:pt x="12378" y="4585"/>
                </a:lnTo>
                <a:lnTo>
                  <a:pt x="12374" y="4584"/>
                </a:lnTo>
                <a:lnTo>
                  <a:pt x="12367" y="4583"/>
                </a:lnTo>
                <a:lnTo>
                  <a:pt x="12369" y="4589"/>
                </a:lnTo>
                <a:lnTo>
                  <a:pt x="12375" y="4594"/>
                </a:lnTo>
                <a:lnTo>
                  <a:pt x="12378" y="4594"/>
                </a:lnTo>
                <a:lnTo>
                  <a:pt x="12367" y="4583"/>
                </a:lnTo>
                <a:close/>
                <a:moveTo>
                  <a:pt x="12792" y="3721"/>
                </a:moveTo>
                <a:lnTo>
                  <a:pt x="12784" y="3715"/>
                </a:lnTo>
                <a:lnTo>
                  <a:pt x="12776" y="3708"/>
                </a:lnTo>
                <a:lnTo>
                  <a:pt x="12769" y="3706"/>
                </a:lnTo>
                <a:lnTo>
                  <a:pt x="12762" y="3712"/>
                </a:lnTo>
                <a:lnTo>
                  <a:pt x="12770" y="3720"/>
                </a:lnTo>
                <a:lnTo>
                  <a:pt x="12778" y="3726"/>
                </a:lnTo>
                <a:lnTo>
                  <a:pt x="12785" y="3729"/>
                </a:lnTo>
                <a:lnTo>
                  <a:pt x="12792" y="3721"/>
                </a:lnTo>
                <a:close/>
                <a:moveTo>
                  <a:pt x="12790" y="2504"/>
                </a:moveTo>
                <a:lnTo>
                  <a:pt x="12802" y="2504"/>
                </a:lnTo>
                <a:lnTo>
                  <a:pt x="12812" y="2504"/>
                </a:lnTo>
                <a:lnTo>
                  <a:pt x="12822" y="2504"/>
                </a:lnTo>
                <a:lnTo>
                  <a:pt x="12835" y="2504"/>
                </a:lnTo>
                <a:lnTo>
                  <a:pt x="12822" y="2494"/>
                </a:lnTo>
                <a:lnTo>
                  <a:pt x="12812" y="2491"/>
                </a:lnTo>
                <a:lnTo>
                  <a:pt x="12802" y="2495"/>
                </a:lnTo>
                <a:lnTo>
                  <a:pt x="12790" y="2504"/>
                </a:lnTo>
                <a:close/>
                <a:moveTo>
                  <a:pt x="13544" y="4560"/>
                </a:moveTo>
                <a:lnTo>
                  <a:pt x="13538" y="4557"/>
                </a:lnTo>
                <a:lnTo>
                  <a:pt x="13530" y="4556"/>
                </a:lnTo>
                <a:lnTo>
                  <a:pt x="13524" y="4556"/>
                </a:lnTo>
                <a:lnTo>
                  <a:pt x="13522" y="4564"/>
                </a:lnTo>
                <a:lnTo>
                  <a:pt x="13529" y="4564"/>
                </a:lnTo>
                <a:lnTo>
                  <a:pt x="13537" y="4565"/>
                </a:lnTo>
                <a:lnTo>
                  <a:pt x="13542" y="4565"/>
                </a:lnTo>
                <a:lnTo>
                  <a:pt x="13544" y="4560"/>
                </a:lnTo>
                <a:close/>
                <a:moveTo>
                  <a:pt x="12930" y="3940"/>
                </a:moveTo>
                <a:lnTo>
                  <a:pt x="12915" y="3940"/>
                </a:lnTo>
                <a:lnTo>
                  <a:pt x="12907" y="3946"/>
                </a:lnTo>
                <a:lnTo>
                  <a:pt x="12907" y="3957"/>
                </a:lnTo>
                <a:lnTo>
                  <a:pt x="12914" y="3969"/>
                </a:lnTo>
                <a:lnTo>
                  <a:pt x="12923" y="3954"/>
                </a:lnTo>
                <a:lnTo>
                  <a:pt x="12930" y="3940"/>
                </a:lnTo>
                <a:close/>
                <a:moveTo>
                  <a:pt x="12297" y="3585"/>
                </a:moveTo>
                <a:lnTo>
                  <a:pt x="12305" y="3593"/>
                </a:lnTo>
                <a:lnTo>
                  <a:pt x="12315" y="3598"/>
                </a:lnTo>
                <a:lnTo>
                  <a:pt x="12325" y="3600"/>
                </a:lnTo>
                <a:lnTo>
                  <a:pt x="12338" y="3599"/>
                </a:lnTo>
                <a:lnTo>
                  <a:pt x="12327" y="3593"/>
                </a:lnTo>
                <a:lnTo>
                  <a:pt x="12316" y="3584"/>
                </a:lnTo>
                <a:lnTo>
                  <a:pt x="12306" y="3580"/>
                </a:lnTo>
                <a:lnTo>
                  <a:pt x="12297" y="3585"/>
                </a:lnTo>
                <a:close/>
                <a:moveTo>
                  <a:pt x="12318" y="3389"/>
                </a:moveTo>
                <a:lnTo>
                  <a:pt x="12306" y="3389"/>
                </a:lnTo>
                <a:lnTo>
                  <a:pt x="12299" y="3395"/>
                </a:lnTo>
                <a:lnTo>
                  <a:pt x="12296" y="3404"/>
                </a:lnTo>
                <a:lnTo>
                  <a:pt x="12304" y="3412"/>
                </a:lnTo>
                <a:lnTo>
                  <a:pt x="12311" y="3411"/>
                </a:lnTo>
                <a:lnTo>
                  <a:pt x="12316" y="3407"/>
                </a:lnTo>
                <a:lnTo>
                  <a:pt x="12319" y="3399"/>
                </a:lnTo>
                <a:lnTo>
                  <a:pt x="12318" y="3389"/>
                </a:lnTo>
                <a:close/>
                <a:moveTo>
                  <a:pt x="12420" y="2320"/>
                </a:moveTo>
                <a:lnTo>
                  <a:pt x="12408" y="2320"/>
                </a:lnTo>
                <a:lnTo>
                  <a:pt x="12398" y="2320"/>
                </a:lnTo>
                <a:lnTo>
                  <a:pt x="12388" y="2320"/>
                </a:lnTo>
                <a:lnTo>
                  <a:pt x="12378" y="2318"/>
                </a:lnTo>
                <a:lnTo>
                  <a:pt x="12390" y="2332"/>
                </a:lnTo>
                <a:lnTo>
                  <a:pt x="12398" y="2336"/>
                </a:lnTo>
                <a:lnTo>
                  <a:pt x="12407" y="2332"/>
                </a:lnTo>
                <a:lnTo>
                  <a:pt x="12420" y="2320"/>
                </a:lnTo>
                <a:close/>
                <a:moveTo>
                  <a:pt x="11708" y="4840"/>
                </a:moveTo>
                <a:lnTo>
                  <a:pt x="11720" y="4841"/>
                </a:lnTo>
                <a:lnTo>
                  <a:pt x="11735" y="4846"/>
                </a:lnTo>
                <a:lnTo>
                  <a:pt x="11746" y="4846"/>
                </a:lnTo>
                <a:lnTo>
                  <a:pt x="11752" y="4837"/>
                </a:lnTo>
                <a:lnTo>
                  <a:pt x="11740" y="4836"/>
                </a:lnTo>
                <a:lnTo>
                  <a:pt x="11726" y="4832"/>
                </a:lnTo>
                <a:lnTo>
                  <a:pt x="11713" y="4831"/>
                </a:lnTo>
                <a:lnTo>
                  <a:pt x="11708" y="4840"/>
                </a:lnTo>
                <a:close/>
                <a:moveTo>
                  <a:pt x="11664" y="5269"/>
                </a:moveTo>
                <a:lnTo>
                  <a:pt x="11676" y="5268"/>
                </a:lnTo>
                <a:lnTo>
                  <a:pt x="11689" y="5272"/>
                </a:lnTo>
                <a:lnTo>
                  <a:pt x="11703" y="5272"/>
                </a:lnTo>
                <a:lnTo>
                  <a:pt x="11719" y="5260"/>
                </a:lnTo>
                <a:lnTo>
                  <a:pt x="11700" y="5260"/>
                </a:lnTo>
                <a:lnTo>
                  <a:pt x="11682" y="5259"/>
                </a:lnTo>
                <a:lnTo>
                  <a:pt x="11670" y="5260"/>
                </a:lnTo>
                <a:lnTo>
                  <a:pt x="11664" y="5269"/>
                </a:lnTo>
                <a:close/>
                <a:moveTo>
                  <a:pt x="12514" y="3710"/>
                </a:moveTo>
                <a:lnTo>
                  <a:pt x="12527" y="3710"/>
                </a:lnTo>
                <a:lnTo>
                  <a:pt x="12538" y="3710"/>
                </a:lnTo>
                <a:lnTo>
                  <a:pt x="12550" y="3710"/>
                </a:lnTo>
                <a:lnTo>
                  <a:pt x="12561" y="3711"/>
                </a:lnTo>
                <a:lnTo>
                  <a:pt x="12550" y="3699"/>
                </a:lnTo>
                <a:lnTo>
                  <a:pt x="12538" y="3694"/>
                </a:lnTo>
                <a:lnTo>
                  <a:pt x="12527" y="3698"/>
                </a:lnTo>
                <a:lnTo>
                  <a:pt x="12514" y="3710"/>
                </a:lnTo>
                <a:close/>
                <a:moveTo>
                  <a:pt x="12360" y="3543"/>
                </a:moveTo>
                <a:lnTo>
                  <a:pt x="12364" y="3554"/>
                </a:lnTo>
                <a:lnTo>
                  <a:pt x="12369" y="3562"/>
                </a:lnTo>
                <a:lnTo>
                  <a:pt x="12379" y="3565"/>
                </a:lnTo>
                <a:lnTo>
                  <a:pt x="12394" y="3562"/>
                </a:lnTo>
                <a:lnTo>
                  <a:pt x="12388" y="3553"/>
                </a:lnTo>
                <a:lnTo>
                  <a:pt x="12381" y="3545"/>
                </a:lnTo>
                <a:lnTo>
                  <a:pt x="12373" y="3542"/>
                </a:lnTo>
                <a:lnTo>
                  <a:pt x="12360" y="3543"/>
                </a:lnTo>
                <a:close/>
                <a:moveTo>
                  <a:pt x="12384" y="3246"/>
                </a:moveTo>
                <a:lnTo>
                  <a:pt x="12393" y="3249"/>
                </a:lnTo>
                <a:lnTo>
                  <a:pt x="12402" y="3246"/>
                </a:lnTo>
                <a:lnTo>
                  <a:pt x="12408" y="3240"/>
                </a:lnTo>
                <a:lnTo>
                  <a:pt x="12415" y="3228"/>
                </a:lnTo>
                <a:lnTo>
                  <a:pt x="12401" y="3228"/>
                </a:lnTo>
                <a:lnTo>
                  <a:pt x="12389" y="3230"/>
                </a:lnTo>
                <a:lnTo>
                  <a:pt x="12383" y="3235"/>
                </a:lnTo>
                <a:lnTo>
                  <a:pt x="12384" y="3246"/>
                </a:lnTo>
                <a:close/>
                <a:moveTo>
                  <a:pt x="12383" y="3230"/>
                </a:moveTo>
                <a:lnTo>
                  <a:pt x="12383" y="3230"/>
                </a:lnTo>
                <a:lnTo>
                  <a:pt x="12383" y="3230"/>
                </a:lnTo>
                <a:lnTo>
                  <a:pt x="12383" y="3230"/>
                </a:lnTo>
                <a:close/>
                <a:moveTo>
                  <a:pt x="12542" y="2503"/>
                </a:moveTo>
                <a:lnTo>
                  <a:pt x="12539" y="2489"/>
                </a:lnTo>
                <a:lnTo>
                  <a:pt x="12538" y="2477"/>
                </a:lnTo>
                <a:lnTo>
                  <a:pt x="12537" y="2466"/>
                </a:lnTo>
                <a:lnTo>
                  <a:pt x="12536" y="2456"/>
                </a:lnTo>
                <a:lnTo>
                  <a:pt x="12528" y="2467"/>
                </a:lnTo>
                <a:lnTo>
                  <a:pt x="12524" y="2479"/>
                </a:lnTo>
                <a:lnTo>
                  <a:pt x="12527" y="2490"/>
                </a:lnTo>
                <a:lnTo>
                  <a:pt x="12542" y="2503"/>
                </a:lnTo>
                <a:close/>
                <a:moveTo>
                  <a:pt x="12580" y="2507"/>
                </a:moveTo>
                <a:lnTo>
                  <a:pt x="12572" y="2500"/>
                </a:lnTo>
                <a:lnTo>
                  <a:pt x="12565" y="2503"/>
                </a:lnTo>
                <a:lnTo>
                  <a:pt x="12556" y="2512"/>
                </a:lnTo>
                <a:lnTo>
                  <a:pt x="12546" y="2521"/>
                </a:lnTo>
                <a:lnTo>
                  <a:pt x="12561" y="2523"/>
                </a:lnTo>
                <a:lnTo>
                  <a:pt x="12572" y="2523"/>
                </a:lnTo>
                <a:lnTo>
                  <a:pt x="12578" y="2517"/>
                </a:lnTo>
                <a:lnTo>
                  <a:pt x="12580" y="2507"/>
                </a:lnTo>
                <a:close/>
                <a:moveTo>
                  <a:pt x="12533" y="2820"/>
                </a:moveTo>
                <a:lnTo>
                  <a:pt x="12542" y="2838"/>
                </a:lnTo>
                <a:lnTo>
                  <a:pt x="12552" y="2857"/>
                </a:lnTo>
                <a:lnTo>
                  <a:pt x="12556" y="2838"/>
                </a:lnTo>
                <a:lnTo>
                  <a:pt x="12555" y="2828"/>
                </a:lnTo>
                <a:lnTo>
                  <a:pt x="12548" y="2824"/>
                </a:lnTo>
                <a:lnTo>
                  <a:pt x="12533" y="2820"/>
                </a:lnTo>
                <a:close/>
                <a:moveTo>
                  <a:pt x="12578" y="2892"/>
                </a:moveTo>
                <a:lnTo>
                  <a:pt x="12572" y="2900"/>
                </a:lnTo>
                <a:lnTo>
                  <a:pt x="12576" y="2913"/>
                </a:lnTo>
                <a:lnTo>
                  <a:pt x="12584" y="2919"/>
                </a:lnTo>
                <a:lnTo>
                  <a:pt x="12595" y="2905"/>
                </a:lnTo>
                <a:lnTo>
                  <a:pt x="12597" y="2894"/>
                </a:lnTo>
                <a:lnTo>
                  <a:pt x="12589" y="2885"/>
                </a:lnTo>
                <a:lnTo>
                  <a:pt x="12581" y="2882"/>
                </a:lnTo>
                <a:lnTo>
                  <a:pt x="12578" y="2892"/>
                </a:lnTo>
                <a:close/>
                <a:moveTo>
                  <a:pt x="12378" y="4494"/>
                </a:moveTo>
                <a:lnTo>
                  <a:pt x="12388" y="4504"/>
                </a:lnTo>
                <a:lnTo>
                  <a:pt x="12399" y="4507"/>
                </a:lnTo>
                <a:lnTo>
                  <a:pt x="12411" y="4504"/>
                </a:lnTo>
                <a:lnTo>
                  <a:pt x="12422" y="4499"/>
                </a:lnTo>
                <a:lnTo>
                  <a:pt x="12412" y="4496"/>
                </a:lnTo>
                <a:lnTo>
                  <a:pt x="12402" y="4491"/>
                </a:lnTo>
                <a:lnTo>
                  <a:pt x="12392" y="4489"/>
                </a:lnTo>
                <a:lnTo>
                  <a:pt x="12378" y="4494"/>
                </a:lnTo>
                <a:close/>
                <a:moveTo>
                  <a:pt x="12374" y="4811"/>
                </a:moveTo>
                <a:lnTo>
                  <a:pt x="12389" y="4820"/>
                </a:lnTo>
                <a:lnTo>
                  <a:pt x="12409" y="4830"/>
                </a:lnTo>
                <a:lnTo>
                  <a:pt x="12404" y="4812"/>
                </a:lnTo>
                <a:lnTo>
                  <a:pt x="12397" y="4804"/>
                </a:lnTo>
                <a:lnTo>
                  <a:pt x="12387" y="4804"/>
                </a:lnTo>
                <a:lnTo>
                  <a:pt x="12374" y="4811"/>
                </a:lnTo>
                <a:close/>
                <a:moveTo>
                  <a:pt x="13256" y="4393"/>
                </a:moveTo>
                <a:lnTo>
                  <a:pt x="13246" y="4406"/>
                </a:lnTo>
                <a:lnTo>
                  <a:pt x="13232" y="4421"/>
                </a:lnTo>
                <a:lnTo>
                  <a:pt x="13253" y="4422"/>
                </a:lnTo>
                <a:lnTo>
                  <a:pt x="13265" y="4416"/>
                </a:lnTo>
                <a:lnTo>
                  <a:pt x="13267" y="4406"/>
                </a:lnTo>
                <a:lnTo>
                  <a:pt x="13256" y="4393"/>
                </a:lnTo>
                <a:close/>
                <a:moveTo>
                  <a:pt x="12073" y="5134"/>
                </a:moveTo>
                <a:lnTo>
                  <a:pt x="12089" y="5138"/>
                </a:lnTo>
                <a:lnTo>
                  <a:pt x="12103" y="5143"/>
                </a:lnTo>
                <a:lnTo>
                  <a:pt x="12114" y="5144"/>
                </a:lnTo>
                <a:lnTo>
                  <a:pt x="12118" y="5134"/>
                </a:lnTo>
                <a:lnTo>
                  <a:pt x="12109" y="5132"/>
                </a:lnTo>
                <a:lnTo>
                  <a:pt x="12099" y="5129"/>
                </a:lnTo>
                <a:lnTo>
                  <a:pt x="12087" y="5129"/>
                </a:lnTo>
                <a:lnTo>
                  <a:pt x="12073" y="5134"/>
                </a:lnTo>
                <a:close/>
                <a:moveTo>
                  <a:pt x="12508" y="2918"/>
                </a:moveTo>
                <a:lnTo>
                  <a:pt x="12518" y="2928"/>
                </a:lnTo>
                <a:lnTo>
                  <a:pt x="12527" y="2934"/>
                </a:lnTo>
                <a:lnTo>
                  <a:pt x="12538" y="2936"/>
                </a:lnTo>
                <a:lnTo>
                  <a:pt x="12551" y="2932"/>
                </a:lnTo>
                <a:lnTo>
                  <a:pt x="12543" y="2919"/>
                </a:lnTo>
                <a:lnTo>
                  <a:pt x="12534" y="2913"/>
                </a:lnTo>
                <a:lnTo>
                  <a:pt x="12523" y="2912"/>
                </a:lnTo>
                <a:lnTo>
                  <a:pt x="12508" y="2918"/>
                </a:lnTo>
                <a:close/>
                <a:moveTo>
                  <a:pt x="12989" y="3769"/>
                </a:moveTo>
                <a:lnTo>
                  <a:pt x="12980" y="3767"/>
                </a:lnTo>
                <a:lnTo>
                  <a:pt x="12971" y="3766"/>
                </a:lnTo>
                <a:lnTo>
                  <a:pt x="12961" y="3764"/>
                </a:lnTo>
                <a:lnTo>
                  <a:pt x="12949" y="3762"/>
                </a:lnTo>
                <a:lnTo>
                  <a:pt x="12960" y="3780"/>
                </a:lnTo>
                <a:lnTo>
                  <a:pt x="12970" y="3786"/>
                </a:lnTo>
                <a:lnTo>
                  <a:pt x="12979" y="3782"/>
                </a:lnTo>
                <a:lnTo>
                  <a:pt x="12989" y="3769"/>
                </a:lnTo>
                <a:close/>
                <a:moveTo>
                  <a:pt x="12621" y="2396"/>
                </a:moveTo>
                <a:lnTo>
                  <a:pt x="12609" y="2390"/>
                </a:lnTo>
                <a:lnTo>
                  <a:pt x="12598" y="2383"/>
                </a:lnTo>
                <a:lnTo>
                  <a:pt x="12588" y="2382"/>
                </a:lnTo>
                <a:lnTo>
                  <a:pt x="12576" y="2388"/>
                </a:lnTo>
                <a:lnTo>
                  <a:pt x="12586" y="2404"/>
                </a:lnTo>
                <a:lnTo>
                  <a:pt x="12594" y="2409"/>
                </a:lnTo>
                <a:lnTo>
                  <a:pt x="12604" y="2406"/>
                </a:lnTo>
                <a:lnTo>
                  <a:pt x="12621" y="2396"/>
                </a:lnTo>
                <a:close/>
                <a:moveTo>
                  <a:pt x="12327" y="4398"/>
                </a:moveTo>
                <a:lnTo>
                  <a:pt x="12314" y="4393"/>
                </a:lnTo>
                <a:lnTo>
                  <a:pt x="12304" y="4388"/>
                </a:lnTo>
                <a:lnTo>
                  <a:pt x="12292" y="4383"/>
                </a:lnTo>
                <a:lnTo>
                  <a:pt x="12281" y="4379"/>
                </a:lnTo>
                <a:lnTo>
                  <a:pt x="12287" y="4398"/>
                </a:lnTo>
                <a:lnTo>
                  <a:pt x="12295" y="4406"/>
                </a:lnTo>
                <a:lnTo>
                  <a:pt x="12306" y="4406"/>
                </a:lnTo>
                <a:lnTo>
                  <a:pt x="12327" y="4398"/>
                </a:lnTo>
                <a:close/>
                <a:moveTo>
                  <a:pt x="12673" y="4719"/>
                </a:moveTo>
                <a:lnTo>
                  <a:pt x="12669" y="4736"/>
                </a:lnTo>
                <a:lnTo>
                  <a:pt x="12672" y="4751"/>
                </a:lnTo>
                <a:lnTo>
                  <a:pt x="12681" y="4757"/>
                </a:lnTo>
                <a:lnTo>
                  <a:pt x="12697" y="4750"/>
                </a:lnTo>
                <a:lnTo>
                  <a:pt x="12693" y="4739"/>
                </a:lnTo>
                <a:lnTo>
                  <a:pt x="12688" y="4728"/>
                </a:lnTo>
                <a:lnTo>
                  <a:pt x="12683" y="4720"/>
                </a:lnTo>
                <a:lnTo>
                  <a:pt x="12673" y="4719"/>
                </a:lnTo>
                <a:close/>
                <a:moveTo>
                  <a:pt x="11909" y="4690"/>
                </a:moveTo>
                <a:lnTo>
                  <a:pt x="11919" y="4695"/>
                </a:lnTo>
                <a:lnTo>
                  <a:pt x="11932" y="4701"/>
                </a:lnTo>
                <a:lnTo>
                  <a:pt x="11945" y="4708"/>
                </a:lnTo>
                <a:lnTo>
                  <a:pt x="11959" y="4715"/>
                </a:lnTo>
                <a:lnTo>
                  <a:pt x="11948" y="4694"/>
                </a:lnTo>
                <a:lnTo>
                  <a:pt x="11940" y="4685"/>
                </a:lnTo>
                <a:lnTo>
                  <a:pt x="11927" y="4683"/>
                </a:lnTo>
                <a:lnTo>
                  <a:pt x="11909" y="4690"/>
                </a:lnTo>
                <a:close/>
                <a:moveTo>
                  <a:pt x="12687" y="3862"/>
                </a:moveTo>
                <a:lnTo>
                  <a:pt x="12671" y="3866"/>
                </a:lnTo>
                <a:lnTo>
                  <a:pt x="12664" y="3879"/>
                </a:lnTo>
                <a:lnTo>
                  <a:pt x="12663" y="3897"/>
                </a:lnTo>
                <a:lnTo>
                  <a:pt x="12664" y="3913"/>
                </a:lnTo>
                <a:lnTo>
                  <a:pt x="12676" y="3904"/>
                </a:lnTo>
                <a:lnTo>
                  <a:pt x="12685" y="3893"/>
                </a:lnTo>
                <a:lnTo>
                  <a:pt x="12690" y="3879"/>
                </a:lnTo>
                <a:lnTo>
                  <a:pt x="12687" y="3862"/>
                </a:lnTo>
                <a:close/>
                <a:moveTo>
                  <a:pt x="12640" y="3705"/>
                </a:moveTo>
                <a:lnTo>
                  <a:pt x="12627" y="3706"/>
                </a:lnTo>
                <a:lnTo>
                  <a:pt x="12614" y="3707"/>
                </a:lnTo>
                <a:lnTo>
                  <a:pt x="12603" y="3708"/>
                </a:lnTo>
                <a:lnTo>
                  <a:pt x="12590" y="3710"/>
                </a:lnTo>
                <a:lnTo>
                  <a:pt x="12594" y="3729"/>
                </a:lnTo>
                <a:lnTo>
                  <a:pt x="12608" y="3731"/>
                </a:lnTo>
                <a:lnTo>
                  <a:pt x="12626" y="3722"/>
                </a:lnTo>
                <a:lnTo>
                  <a:pt x="12640" y="3705"/>
                </a:lnTo>
                <a:close/>
                <a:moveTo>
                  <a:pt x="12572" y="3428"/>
                </a:moveTo>
                <a:lnTo>
                  <a:pt x="12585" y="3418"/>
                </a:lnTo>
                <a:lnTo>
                  <a:pt x="12581" y="3408"/>
                </a:lnTo>
                <a:lnTo>
                  <a:pt x="12570" y="3399"/>
                </a:lnTo>
                <a:lnTo>
                  <a:pt x="12555" y="3395"/>
                </a:lnTo>
                <a:lnTo>
                  <a:pt x="12556" y="3407"/>
                </a:lnTo>
                <a:lnTo>
                  <a:pt x="12557" y="3417"/>
                </a:lnTo>
                <a:lnTo>
                  <a:pt x="12562" y="3425"/>
                </a:lnTo>
                <a:lnTo>
                  <a:pt x="12572" y="3428"/>
                </a:lnTo>
                <a:close/>
                <a:moveTo>
                  <a:pt x="12054" y="4709"/>
                </a:moveTo>
                <a:lnTo>
                  <a:pt x="12035" y="4708"/>
                </a:lnTo>
                <a:lnTo>
                  <a:pt x="12017" y="4706"/>
                </a:lnTo>
                <a:lnTo>
                  <a:pt x="12001" y="4705"/>
                </a:lnTo>
                <a:lnTo>
                  <a:pt x="11984" y="4704"/>
                </a:lnTo>
                <a:lnTo>
                  <a:pt x="12015" y="4714"/>
                </a:lnTo>
                <a:lnTo>
                  <a:pt x="12033" y="4719"/>
                </a:lnTo>
                <a:lnTo>
                  <a:pt x="12043" y="4717"/>
                </a:lnTo>
                <a:lnTo>
                  <a:pt x="12054" y="4709"/>
                </a:lnTo>
                <a:close/>
                <a:moveTo>
                  <a:pt x="12334" y="5254"/>
                </a:moveTo>
                <a:lnTo>
                  <a:pt x="12343" y="5269"/>
                </a:lnTo>
                <a:lnTo>
                  <a:pt x="12352" y="5275"/>
                </a:lnTo>
                <a:lnTo>
                  <a:pt x="12362" y="5273"/>
                </a:lnTo>
                <a:lnTo>
                  <a:pt x="12375" y="5260"/>
                </a:lnTo>
                <a:lnTo>
                  <a:pt x="12366" y="5252"/>
                </a:lnTo>
                <a:lnTo>
                  <a:pt x="12356" y="5247"/>
                </a:lnTo>
                <a:lnTo>
                  <a:pt x="12346" y="5247"/>
                </a:lnTo>
                <a:lnTo>
                  <a:pt x="12334" y="5254"/>
                </a:lnTo>
                <a:close/>
                <a:moveTo>
                  <a:pt x="12366" y="2985"/>
                </a:moveTo>
                <a:lnTo>
                  <a:pt x="12374" y="2994"/>
                </a:lnTo>
                <a:lnTo>
                  <a:pt x="12383" y="3004"/>
                </a:lnTo>
                <a:lnTo>
                  <a:pt x="12392" y="3015"/>
                </a:lnTo>
                <a:lnTo>
                  <a:pt x="12401" y="3025"/>
                </a:lnTo>
                <a:lnTo>
                  <a:pt x="12403" y="3004"/>
                </a:lnTo>
                <a:lnTo>
                  <a:pt x="12398" y="2990"/>
                </a:lnTo>
                <a:lnTo>
                  <a:pt x="12385" y="2984"/>
                </a:lnTo>
                <a:lnTo>
                  <a:pt x="12366" y="2985"/>
                </a:lnTo>
                <a:close/>
                <a:moveTo>
                  <a:pt x="11784" y="4457"/>
                </a:moveTo>
                <a:lnTo>
                  <a:pt x="11779" y="4447"/>
                </a:lnTo>
                <a:lnTo>
                  <a:pt x="11770" y="4443"/>
                </a:lnTo>
                <a:lnTo>
                  <a:pt x="11760" y="4444"/>
                </a:lnTo>
                <a:lnTo>
                  <a:pt x="11747" y="4447"/>
                </a:lnTo>
                <a:lnTo>
                  <a:pt x="11754" y="4464"/>
                </a:lnTo>
                <a:lnTo>
                  <a:pt x="11766" y="4475"/>
                </a:lnTo>
                <a:lnTo>
                  <a:pt x="11778" y="4473"/>
                </a:lnTo>
                <a:lnTo>
                  <a:pt x="11784" y="4457"/>
                </a:lnTo>
                <a:close/>
                <a:moveTo>
                  <a:pt x="11761" y="5017"/>
                </a:moveTo>
                <a:lnTo>
                  <a:pt x="11775" y="5016"/>
                </a:lnTo>
                <a:lnTo>
                  <a:pt x="11791" y="5014"/>
                </a:lnTo>
                <a:lnTo>
                  <a:pt x="11806" y="5013"/>
                </a:lnTo>
                <a:lnTo>
                  <a:pt x="11822" y="5012"/>
                </a:lnTo>
                <a:lnTo>
                  <a:pt x="11798" y="4999"/>
                </a:lnTo>
                <a:lnTo>
                  <a:pt x="11783" y="4995"/>
                </a:lnTo>
                <a:lnTo>
                  <a:pt x="11771" y="5000"/>
                </a:lnTo>
                <a:lnTo>
                  <a:pt x="11761" y="5017"/>
                </a:lnTo>
                <a:close/>
                <a:moveTo>
                  <a:pt x="12027" y="5286"/>
                </a:moveTo>
                <a:lnTo>
                  <a:pt x="12039" y="5279"/>
                </a:lnTo>
                <a:lnTo>
                  <a:pt x="12043" y="5266"/>
                </a:lnTo>
                <a:lnTo>
                  <a:pt x="12041" y="5251"/>
                </a:lnTo>
                <a:lnTo>
                  <a:pt x="12034" y="5238"/>
                </a:lnTo>
                <a:lnTo>
                  <a:pt x="12022" y="5250"/>
                </a:lnTo>
                <a:lnTo>
                  <a:pt x="12017" y="5264"/>
                </a:lnTo>
                <a:lnTo>
                  <a:pt x="12017" y="5277"/>
                </a:lnTo>
                <a:lnTo>
                  <a:pt x="12027" y="5286"/>
                </a:lnTo>
                <a:close/>
                <a:moveTo>
                  <a:pt x="12636" y="3524"/>
                </a:moveTo>
                <a:lnTo>
                  <a:pt x="12654" y="3525"/>
                </a:lnTo>
                <a:lnTo>
                  <a:pt x="12657" y="3512"/>
                </a:lnTo>
                <a:lnTo>
                  <a:pt x="12651" y="3495"/>
                </a:lnTo>
                <a:lnTo>
                  <a:pt x="12645" y="3478"/>
                </a:lnTo>
                <a:lnTo>
                  <a:pt x="12635" y="3489"/>
                </a:lnTo>
                <a:lnTo>
                  <a:pt x="12630" y="3501"/>
                </a:lnTo>
                <a:lnTo>
                  <a:pt x="12630" y="3512"/>
                </a:lnTo>
                <a:lnTo>
                  <a:pt x="12636" y="3524"/>
                </a:lnTo>
                <a:close/>
                <a:moveTo>
                  <a:pt x="11629" y="5208"/>
                </a:moveTo>
                <a:lnTo>
                  <a:pt x="11610" y="5216"/>
                </a:lnTo>
                <a:lnTo>
                  <a:pt x="11603" y="5226"/>
                </a:lnTo>
                <a:lnTo>
                  <a:pt x="11606" y="5238"/>
                </a:lnTo>
                <a:lnTo>
                  <a:pt x="11615" y="5256"/>
                </a:lnTo>
                <a:lnTo>
                  <a:pt x="11631" y="5247"/>
                </a:lnTo>
                <a:lnTo>
                  <a:pt x="11636" y="5237"/>
                </a:lnTo>
                <a:lnTo>
                  <a:pt x="11635" y="5224"/>
                </a:lnTo>
                <a:lnTo>
                  <a:pt x="11629" y="5208"/>
                </a:lnTo>
                <a:close/>
                <a:moveTo>
                  <a:pt x="12699" y="2568"/>
                </a:moveTo>
                <a:lnTo>
                  <a:pt x="12695" y="2546"/>
                </a:lnTo>
                <a:lnTo>
                  <a:pt x="12691" y="2536"/>
                </a:lnTo>
                <a:lnTo>
                  <a:pt x="12681" y="2535"/>
                </a:lnTo>
                <a:lnTo>
                  <a:pt x="12664" y="2537"/>
                </a:lnTo>
                <a:lnTo>
                  <a:pt x="12668" y="2554"/>
                </a:lnTo>
                <a:lnTo>
                  <a:pt x="12672" y="2563"/>
                </a:lnTo>
                <a:lnTo>
                  <a:pt x="12681" y="2565"/>
                </a:lnTo>
                <a:lnTo>
                  <a:pt x="12699" y="2568"/>
                </a:lnTo>
                <a:close/>
                <a:moveTo>
                  <a:pt x="12337" y="4550"/>
                </a:moveTo>
                <a:lnTo>
                  <a:pt x="12356" y="4551"/>
                </a:lnTo>
                <a:lnTo>
                  <a:pt x="12375" y="4555"/>
                </a:lnTo>
                <a:lnTo>
                  <a:pt x="12393" y="4556"/>
                </a:lnTo>
                <a:lnTo>
                  <a:pt x="12409" y="4549"/>
                </a:lnTo>
                <a:lnTo>
                  <a:pt x="12392" y="4535"/>
                </a:lnTo>
                <a:lnTo>
                  <a:pt x="12373" y="4532"/>
                </a:lnTo>
                <a:lnTo>
                  <a:pt x="12352" y="4538"/>
                </a:lnTo>
                <a:lnTo>
                  <a:pt x="12337" y="4550"/>
                </a:lnTo>
                <a:close/>
                <a:moveTo>
                  <a:pt x="11759" y="4645"/>
                </a:moveTo>
                <a:lnTo>
                  <a:pt x="11760" y="4629"/>
                </a:lnTo>
                <a:lnTo>
                  <a:pt x="11726" y="4624"/>
                </a:lnTo>
                <a:lnTo>
                  <a:pt x="11698" y="4629"/>
                </a:lnTo>
                <a:lnTo>
                  <a:pt x="11713" y="4645"/>
                </a:lnTo>
                <a:lnTo>
                  <a:pt x="11724" y="4647"/>
                </a:lnTo>
                <a:lnTo>
                  <a:pt x="11736" y="4647"/>
                </a:lnTo>
                <a:lnTo>
                  <a:pt x="11747" y="4647"/>
                </a:lnTo>
                <a:lnTo>
                  <a:pt x="11759" y="4645"/>
                </a:lnTo>
                <a:close/>
                <a:moveTo>
                  <a:pt x="12420" y="4279"/>
                </a:moveTo>
                <a:lnTo>
                  <a:pt x="12399" y="4291"/>
                </a:lnTo>
                <a:lnTo>
                  <a:pt x="12401" y="4307"/>
                </a:lnTo>
                <a:lnTo>
                  <a:pt x="12417" y="4316"/>
                </a:lnTo>
                <a:lnTo>
                  <a:pt x="12440" y="4310"/>
                </a:lnTo>
                <a:lnTo>
                  <a:pt x="12440" y="4298"/>
                </a:lnTo>
                <a:lnTo>
                  <a:pt x="12437" y="4286"/>
                </a:lnTo>
                <a:lnTo>
                  <a:pt x="12431" y="4280"/>
                </a:lnTo>
                <a:lnTo>
                  <a:pt x="12420" y="4279"/>
                </a:lnTo>
                <a:close/>
                <a:moveTo>
                  <a:pt x="11980" y="5367"/>
                </a:moveTo>
                <a:lnTo>
                  <a:pt x="11992" y="5344"/>
                </a:lnTo>
                <a:lnTo>
                  <a:pt x="11989" y="5329"/>
                </a:lnTo>
                <a:lnTo>
                  <a:pt x="11976" y="5316"/>
                </a:lnTo>
                <a:lnTo>
                  <a:pt x="11956" y="5303"/>
                </a:lnTo>
                <a:lnTo>
                  <a:pt x="11952" y="5322"/>
                </a:lnTo>
                <a:lnTo>
                  <a:pt x="11956" y="5339"/>
                </a:lnTo>
                <a:lnTo>
                  <a:pt x="11965" y="5353"/>
                </a:lnTo>
                <a:lnTo>
                  <a:pt x="11980" y="5367"/>
                </a:lnTo>
                <a:close/>
                <a:moveTo>
                  <a:pt x="12743" y="4591"/>
                </a:moveTo>
                <a:lnTo>
                  <a:pt x="12719" y="4585"/>
                </a:lnTo>
                <a:lnTo>
                  <a:pt x="12704" y="4596"/>
                </a:lnTo>
                <a:lnTo>
                  <a:pt x="12695" y="4615"/>
                </a:lnTo>
                <a:lnTo>
                  <a:pt x="12686" y="4636"/>
                </a:lnTo>
                <a:lnTo>
                  <a:pt x="12701" y="4634"/>
                </a:lnTo>
                <a:lnTo>
                  <a:pt x="12720" y="4622"/>
                </a:lnTo>
                <a:lnTo>
                  <a:pt x="12737" y="4606"/>
                </a:lnTo>
                <a:lnTo>
                  <a:pt x="12743" y="4591"/>
                </a:lnTo>
                <a:close/>
                <a:moveTo>
                  <a:pt x="12258" y="4475"/>
                </a:moveTo>
                <a:lnTo>
                  <a:pt x="12280" y="4477"/>
                </a:lnTo>
                <a:lnTo>
                  <a:pt x="12301" y="4481"/>
                </a:lnTo>
                <a:lnTo>
                  <a:pt x="12323" y="4484"/>
                </a:lnTo>
                <a:lnTo>
                  <a:pt x="12345" y="4486"/>
                </a:lnTo>
                <a:lnTo>
                  <a:pt x="12333" y="4466"/>
                </a:lnTo>
                <a:lnTo>
                  <a:pt x="12318" y="4458"/>
                </a:lnTo>
                <a:lnTo>
                  <a:pt x="12295" y="4462"/>
                </a:lnTo>
                <a:lnTo>
                  <a:pt x="12258" y="4475"/>
                </a:lnTo>
                <a:close/>
                <a:moveTo>
                  <a:pt x="12338" y="4438"/>
                </a:moveTo>
                <a:lnTo>
                  <a:pt x="12310" y="4429"/>
                </a:lnTo>
                <a:lnTo>
                  <a:pt x="12283" y="4415"/>
                </a:lnTo>
                <a:lnTo>
                  <a:pt x="12258" y="4403"/>
                </a:lnTo>
                <a:lnTo>
                  <a:pt x="12229" y="4403"/>
                </a:lnTo>
                <a:lnTo>
                  <a:pt x="12254" y="4419"/>
                </a:lnTo>
                <a:lnTo>
                  <a:pt x="12286" y="4435"/>
                </a:lnTo>
                <a:lnTo>
                  <a:pt x="12316" y="4444"/>
                </a:lnTo>
                <a:lnTo>
                  <a:pt x="12338" y="4438"/>
                </a:lnTo>
                <a:close/>
                <a:moveTo>
                  <a:pt x="12760" y="3343"/>
                </a:moveTo>
                <a:lnTo>
                  <a:pt x="12781" y="3332"/>
                </a:lnTo>
                <a:lnTo>
                  <a:pt x="12795" y="3320"/>
                </a:lnTo>
                <a:lnTo>
                  <a:pt x="12795" y="3306"/>
                </a:lnTo>
                <a:lnTo>
                  <a:pt x="12775" y="3291"/>
                </a:lnTo>
                <a:lnTo>
                  <a:pt x="12761" y="3306"/>
                </a:lnTo>
                <a:lnTo>
                  <a:pt x="12748" y="3323"/>
                </a:lnTo>
                <a:lnTo>
                  <a:pt x="12744" y="3338"/>
                </a:lnTo>
                <a:lnTo>
                  <a:pt x="12760" y="3343"/>
                </a:lnTo>
                <a:close/>
                <a:moveTo>
                  <a:pt x="12776" y="4648"/>
                </a:moveTo>
                <a:lnTo>
                  <a:pt x="12755" y="4652"/>
                </a:lnTo>
                <a:lnTo>
                  <a:pt x="12756" y="4668"/>
                </a:lnTo>
                <a:lnTo>
                  <a:pt x="12771" y="4683"/>
                </a:lnTo>
                <a:lnTo>
                  <a:pt x="12792" y="4685"/>
                </a:lnTo>
                <a:lnTo>
                  <a:pt x="12799" y="4673"/>
                </a:lnTo>
                <a:lnTo>
                  <a:pt x="12798" y="4662"/>
                </a:lnTo>
                <a:lnTo>
                  <a:pt x="12790" y="4653"/>
                </a:lnTo>
                <a:lnTo>
                  <a:pt x="12776" y="4648"/>
                </a:lnTo>
                <a:close/>
                <a:moveTo>
                  <a:pt x="12068" y="4638"/>
                </a:moveTo>
                <a:lnTo>
                  <a:pt x="12064" y="4636"/>
                </a:lnTo>
                <a:lnTo>
                  <a:pt x="12063" y="4636"/>
                </a:lnTo>
                <a:lnTo>
                  <a:pt x="12064" y="4636"/>
                </a:lnTo>
                <a:lnTo>
                  <a:pt x="12068" y="4638"/>
                </a:lnTo>
                <a:lnTo>
                  <a:pt x="12068" y="4638"/>
                </a:lnTo>
                <a:close/>
                <a:moveTo>
                  <a:pt x="11982" y="4599"/>
                </a:moveTo>
                <a:lnTo>
                  <a:pt x="11982" y="4620"/>
                </a:lnTo>
                <a:lnTo>
                  <a:pt x="11987" y="4639"/>
                </a:lnTo>
                <a:lnTo>
                  <a:pt x="11996" y="4649"/>
                </a:lnTo>
                <a:lnTo>
                  <a:pt x="12012" y="4644"/>
                </a:lnTo>
                <a:lnTo>
                  <a:pt x="12047" y="4630"/>
                </a:lnTo>
                <a:lnTo>
                  <a:pt x="12045" y="4625"/>
                </a:lnTo>
                <a:lnTo>
                  <a:pt x="12020" y="4619"/>
                </a:lnTo>
                <a:lnTo>
                  <a:pt x="11982" y="4599"/>
                </a:lnTo>
                <a:close/>
                <a:moveTo>
                  <a:pt x="12579" y="2587"/>
                </a:moveTo>
                <a:lnTo>
                  <a:pt x="12595" y="2592"/>
                </a:lnTo>
                <a:lnTo>
                  <a:pt x="12608" y="2587"/>
                </a:lnTo>
                <a:lnTo>
                  <a:pt x="12620" y="2578"/>
                </a:lnTo>
                <a:lnTo>
                  <a:pt x="12634" y="2573"/>
                </a:lnTo>
                <a:lnTo>
                  <a:pt x="12613" y="2545"/>
                </a:lnTo>
                <a:lnTo>
                  <a:pt x="12599" y="2542"/>
                </a:lnTo>
                <a:lnTo>
                  <a:pt x="12589" y="2558"/>
                </a:lnTo>
                <a:lnTo>
                  <a:pt x="12579" y="2587"/>
                </a:lnTo>
                <a:close/>
                <a:moveTo>
                  <a:pt x="12481" y="4752"/>
                </a:moveTo>
                <a:lnTo>
                  <a:pt x="12481" y="4752"/>
                </a:lnTo>
                <a:lnTo>
                  <a:pt x="12480" y="4751"/>
                </a:lnTo>
                <a:lnTo>
                  <a:pt x="12480" y="4752"/>
                </a:lnTo>
                <a:lnTo>
                  <a:pt x="12481" y="4752"/>
                </a:lnTo>
                <a:close/>
                <a:moveTo>
                  <a:pt x="12569" y="4776"/>
                </a:moveTo>
                <a:lnTo>
                  <a:pt x="12546" y="4761"/>
                </a:lnTo>
                <a:lnTo>
                  <a:pt x="12525" y="4747"/>
                </a:lnTo>
                <a:lnTo>
                  <a:pt x="12504" y="4742"/>
                </a:lnTo>
                <a:lnTo>
                  <a:pt x="12481" y="4752"/>
                </a:lnTo>
                <a:lnTo>
                  <a:pt x="12499" y="4766"/>
                </a:lnTo>
                <a:lnTo>
                  <a:pt x="12518" y="4778"/>
                </a:lnTo>
                <a:lnTo>
                  <a:pt x="12541" y="4781"/>
                </a:lnTo>
                <a:lnTo>
                  <a:pt x="12569" y="4776"/>
                </a:lnTo>
                <a:close/>
                <a:moveTo>
                  <a:pt x="11826" y="4896"/>
                </a:moveTo>
                <a:lnTo>
                  <a:pt x="11826" y="4896"/>
                </a:lnTo>
                <a:lnTo>
                  <a:pt x="11826" y="4896"/>
                </a:lnTo>
                <a:lnTo>
                  <a:pt x="11826" y="4896"/>
                </a:lnTo>
                <a:lnTo>
                  <a:pt x="11826" y="4896"/>
                </a:lnTo>
                <a:close/>
                <a:moveTo>
                  <a:pt x="11751" y="4913"/>
                </a:moveTo>
                <a:lnTo>
                  <a:pt x="11844" y="4979"/>
                </a:lnTo>
                <a:lnTo>
                  <a:pt x="11885" y="4934"/>
                </a:lnTo>
                <a:lnTo>
                  <a:pt x="11877" y="4857"/>
                </a:lnTo>
                <a:lnTo>
                  <a:pt x="11820" y="4817"/>
                </a:lnTo>
                <a:lnTo>
                  <a:pt x="11787" y="4851"/>
                </a:lnTo>
                <a:lnTo>
                  <a:pt x="11802" y="4896"/>
                </a:lnTo>
                <a:lnTo>
                  <a:pt x="11811" y="4927"/>
                </a:lnTo>
                <a:lnTo>
                  <a:pt x="11751" y="4913"/>
                </a:lnTo>
                <a:close/>
                <a:moveTo>
                  <a:pt x="12612" y="2703"/>
                </a:moveTo>
                <a:lnTo>
                  <a:pt x="12630" y="2710"/>
                </a:lnTo>
                <a:lnTo>
                  <a:pt x="12646" y="2714"/>
                </a:lnTo>
                <a:lnTo>
                  <a:pt x="12663" y="2714"/>
                </a:lnTo>
                <a:lnTo>
                  <a:pt x="12679" y="2709"/>
                </a:lnTo>
                <a:lnTo>
                  <a:pt x="12660" y="2691"/>
                </a:lnTo>
                <a:lnTo>
                  <a:pt x="12640" y="2676"/>
                </a:lnTo>
                <a:lnTo>
                  <a:pt x="12622" y="2676"/>
                </a:lnTo>
                <a:lnTo>
                  <a:pt x="12612" y="2703"/>
                </a:lnTo>
                <a:close/>
                <a:moveTo>
                  <a:pt x="11852" y="4769"/>
                </a:moveTo>
                <a:lnTo>
                  <a:pt x="11875" y="4769"/>
                </a:lnTo>
                <a:lnTo>
                  <a:pt x="11899" y="4773"/>
                </a:lnTo>
                <a:lnTo>
                  <a:pt x="11919" y="4770"/>
                </a:lnTo>
                <a:lnTo>
                  <a:pt x="11936" y="4752"/>
                </a:lnTo>
                <a:lnTo>
                  <a:pt x="11914" y="4741"/>
                </a:lnTo>
                <a:lnTo>
                  <a:pt x="11889" y="4741"/>
                </a:lnTo>
                <a:lnTo>
                  <a:pt x="11867" y="4750"/>
                </a:lnTo>
                <a:lnTo>
                  <a:pt x="11852" y="4769"/>
                </a:lnTo>
                <a:close/>
                <a:moveTo>
                  <a:pt x="12083" y="5390"/>
                </a:moveTo>
                <a:lnTo>
                  <a:pt x="12104" y="5389"/>
                </a:lnTo>
                <a:lnTo>
                  <a:pt x="12123" y="5387"/>
                </a:lnTo>
                <a:lnTo>
                  <a:pt x="12142" y="5387"/>
                </a:lnTo>
                <a:lnTo>
                  <a:pt x="12162" y="5386"/>
                </a:lnTo>
                <a:lnTo>
                  <a:pt x="12137" y="5356"/>
                </a:lnTo>
                <a:lnTo>
                  <a:pt x="12118" y="5344"/>
                </a:lnTo>
                <a:lnTo>
                  <a:pt x="12101" y="5356"/>
                </a:lnTo>
                <a:lnTo>
                  <a:pt x="12083" y="5390"/>
                </a:lnTo>
                <a:close/>
                <a:moveTo>
                  <a:pt x="12119" y="5190"/>
                </a:moveTo>
                <a:lnTo>
                  <a:pt x="12119" y="5190"/>
                </a:lnTo>
                <a:lnTo>
                  <a:pt x="12119" y="5190"/>
                </a:lnTo>
                <a:lnTo>
                  <a:pt x="12096" y="5171"/>
                </a:lnTo>
                <a:lnTo>
                  <a:pt x="12071" y="5163"/>
                </a:lnTo>
                <a:lnTo>
                  <a:pt x="12044" y="5162"/>
                </a:lnTo>
                <a:lnTo>
                  <a:pt x="12016" y="5163"/>
                </a:lnTo>
                <a:lnTo>
                  <a:pt x="12034" y="5185"/>
                </a:lnTo>
                <a:lnTo>
                  <a:pt x="12061" y="5191"/>
                </a:lnTo>
                <a:lnTo>
                  <a:pt x="12090" y="5189"/>
                </a:lnTo>
                <a:lnTo>
                  <a:pt x="12119" y="5190"/>
                </a:lnTo>
                <a:close/>
                <a:moveTo>
                  <a:pt x="12119" y="5190"/>
                </a:moveTo>
                <a:lnTo>
                  <a:pt x="12120" y="5191"/>
                </a:lnTo>
                <a:lnTo>
                  <a:pt x="12119" y="5190"/>
                </a:lnTo>
                <a:close/>
                <a:moveTo>
                  <a:pt x="12547" y="3216"/>
                </a:moveTo>
                <a:lnTo>
                  <a:pt x="12537" y="3193"/>
                </a:lnTo>
                <a:lnTo>
                  <a:pt x="12537" y="3174"/>
                </a:lnTo>
                <a:lnTo>
                  <a:pt x="12539" y="3156"/>
                </a:lnTo>
                <a:lnTo>
                  <a:pt x="12530" y="3133"/>
                </a:lnTo>
                <a:lnTo>
                  <a:pt x="12506" y="3158"/>
                </a:lnTo>
                <a:lnTo>
                  <a:pt x="12499" y="3181"/>
                </a:lnTo>
                <a:lnTo>
                  <a:pt x="12510" y="3202"/>
                </a:lnTo>
                <a:lnTo>
                  <a:pt x="12547" y="3216"/>
                </a:lnTo>
                <a:close/>
                <a:moveTo>
                  <a:pt x="12671" y="3822"/>
                </a:moveTo>
                <a:lnTo>
                  <a:pt x="12645" y="3818"/>
                </a:lnTo>
                <a:lnTo>
                  <a:pt x="12617" y="3813"/>
                </a:lnTo>
                <a:lnTo>
                  <a:pt x="12588" y="3808"/>
                </a:lnTo>
                <a:lnTo>
                  <a:pt x="12556" y="3803"/>
                </a:lnTo>
                <a:lnTo>
                  <a:pt x="12578" y="3831"/>
                </a:lnTo>
                <a:lnTo>
                  <a:pt x="12614" y="3842"/>
                </a:lnTo>
                <a:lnTo>
                  <a:pt x="12650" y="3838"/>
                </a:lnTo>
                <a:lnTo>
                  <a:pt x="12671" y="3822"/>
                </a:lnTo>
                <a:close/>
                <a:moveTo>
                  <a:pt x="12180" y="4351"/>
                </a:moveTo>
                <a:lnTo>
                  <a:pt x="12165" y="4378"/>
                </a:lnTo>
                <a:lnTo>
                  <a:pt x="12156" y="4393"/>
                </a:lnTo>
                <a:lnTo>
                  <a:pt x="12166" y="4401"/>
                </a:lnTo>
                <a:lnTo>
                  <a:pt x="12203" y="4403"/>
                </a:lnTo>
                <a:lnTo>
                  <a:pt x="12211" y="4382"/>
                </a:lnTo>
                <a:lnTo>
                  <a:pt x="12218" y="4363"/>
                </a:lnTo>
                <a:lnTo>
                  <a:pt x="12212" y="4351"/>
                </a:lnTo>
                <a:lnTo>
                  <a:pt x="12180" y="4351"/>
                </a:lnTo>
                <a:close/>
                <a:moveTo>
                  <a:pt x="12614" y="3875"/>
                </a:moveTo>
                <a:lnTo>
                  <a:pt x="12589" y="3865"/>
                </a:lnTo>
                <a:lnTo>
                  <a:pt x="12567" y="3860"/>
                </a:lnTo>
                <a:lnTo>
                  <a:pt x="12553" y="3867"/>
                </a:lnTo>
                <a:lnTo>
                  <a:pt x="12546" y="3897"/>
                </a:lnTo>
                <a:lnTo>
                  <a:pt x="12579" y="3898"/>
                </a:lnTo>
                <a:lnTo>
                  <a:pt x="12616" y="3902"/>
                </a:lnTo>
                <a:lnTo>
                  <a:pt x="12635" y="3897"/>
                </a:lnTo>
                <a:lnTo>
                  <a:pt x="12614" y="3875"/>
                </a:lnTo>
                <a:close/>
                <a:moveTo>
                  <a:pt x="12631" y="3911"/>
                </a:moveTo>
                <a:lnTo>
                  <a:pt x="12631" y="3911"/>
                </a:lnTo>
                <a:lnTo>
                  <a:pt x="12630" y="3911"/>
                </a:lnTo>
                <a:lnTo>
                  <a:pt x="12631" y="3911"/>
                </a:lnTo>
                <a:close/>
                <a:moveTo>
                  <a:pt x="12648" y="4697"/>
                </a:moveTo>
                <a:lnTo>
                  <a:pt x="12620" y="4687"/>
                </a:lnTo>
                <a:lnTo>
                  <a:pt x="12597" y="4678"/>
                </a:lnTo>
                <a:lnTo>
                  <a:pt x="12572" y="4672"/>
                </a:lnTo>
                <a:lnTo>
                  <a:pt x="12544" y="4667"/>
                </a:lnTo>
                <a:lnTo>
                  <a:pt x="12569" y="4697"/>
                </a:lnTo>
                <a:lnTo>
                  <a:pt x="12590" y="4718"/>
                </a:lnTo>
                <a:lnTo>
                  <a:pt x="12614" y="4719"/>
                </a:lnTo>
                <a:lnTo>
                  <a:pt x="12648" y="4697"/>
                </a:lnTo>
                <a:close/>
                <a:moveTo>
                  <a:pt x="12192" y="4761"/>
                </a:moveTo>
                <a:lnTo>
                  <a:pt x="12213" y="4769"/>
                </a:lnTo>
                <a:lnTo>
                  <a:pt x="12235" y="4778"/>
                </a:lnTo>
                <a:lnTo>
                  <a:pt x="12258" y="4785"/>
                </a:lnTo>
                <a:lnTo>
                  <a:pt x="12282" y="4794"/>
                </a:lnTo>
                <a:lnTo>
                  <a:pt x="12273" y="4762"/>
                </a:lnTo>
                <a:lnTo>
                  <a:pt x="12246" y="4746"/>
                </a:lnTo>
                <a:lnTo>
                  <a:pt x="12215" y="4746"/>
                </a:lnTo>
                <a:lnTo>
                  <a:pt x="12192" y="4761"/>
                </a:lnTo>
                <a:close/>
                <a:moveTo>
                  <a:pt x="12313" y="4568"/>
                </a:moveTo>
                <a:lnTo>
                  <a:pt x="12294" y="4555"/>
                </a:lnTo>
                <a:lnTo>
                  <a:pt x="12290" y="4537"/>
                </a:lnTo>
                <a:lnTo>
                  <a:pt x="12290" y="4517"/>
                </a:lnTo>
                <a:lnTo>
                  <a:pt x="12282" y="4498"/>
                </a:lnTo>
                <a:lnTo>
                  <a:pt x="12252" y="4522"/>
                </a:lnTo>
                <a:lnTo>
                  <a:pt x="12254" y="4551"/>
                </a:lnTo>
                <a:lnTo>
                  <a:pt x="12278" y="4571"/>
                </a:lnTo>
                <a:lnTo>
                  <a:pt x="12313" y="4568"/>
                </a:lnTo>
                <a:close/>
                <a:moveTo>
                  <a:pt x="13492" y="4629"/>
                </a:moveTo>
                <a:lnTo>
                  <a:pt x="13512" y="4640"/>
                </a:lnTo>
                <a:lnTo>
                  <a:pt x="13535" y="4639"/>
                </a:lnTo>
                <a:lnTo>
                  <a:pt x="13554" y="4626"/>
                </a:lnTo>
                <a:lnTo>
                  <a:pt x="13562" y="4602"/>
                </a:lnTo>
                <a:lnTo>
                  <a:pt x="13530" y="4592"/>
                </a:lnTo>
                <a:lnTo>
                  <a:pt x="13511" y="4591"/>
                </a:lnTo>
                <a:lnTo>
                  <a:pt x="13500" y="4603"/>
                </a:lnTo>
                <a:lnTo>
                  <a:pt x="13492" y="4629"/>
                </a:lnTo>
                <a:close/>
                <a:moveTo>
                  <a:pt x="12276" y="5258"/>
                </a:moveTo>
                <a:lnTo>
                  <a:pt x="12258" y="5219"/>
                </a:lnTo>
                <a:lnTo>
                  <a:pt x="12216" y="5205"/>
                </a:lnTo>
                <a:lnTo>
                  <a:pt x="12166" y="5200"/>
                </a:lnTo>
                <a:lnTo>
                  <a:pt x="12120" y="5191"/>
                </a:lnTo>
                <a:lnTo>
                  <a:pt x="12160" y="5209"/>
                </a:lnTo>
                <a:lnTo>
                  <a:pt x="12198" y="5226"/>
                </a:lnTo>
                <a:lnTo>
                  <a:pt x="12238" y="5242"/>
                </a:lnTo>
                <a:lnTo>
                  <a:pt x="12276" y="5258"/>
                </a:lnTo>
                <a:close/>
                <a:moveTo>
                  <a:pt x="12474" y="3787"/>
                </a:moveTo>
                <a:lnTo>
                  <a:pt x="12495" y="3759"/>
                </a:lnTo>
                <a:lnTo>
                  <a:pt x="12480" y="3747"/>
                </a:lnTo>
                <a:lnTo>
                  <a:pt x="12448" y="3744"/>
                </a:lnTo>
                <a:lnTo>
                  <a:pt x="12411" y="3752"/>
                </a:lnTo>
                <a:lnTo>
                  <a:pt x="12425" y="3781"/>
                </a:lnTo>
                <a:lnTo>
                  <a:pt x="12431" y="3799"/>
                </a:lnTo>
                <a:lnTo>
                  <a:pt x="12443" y="3801"/>
                </a:lnTo>
                <a:lnTo>
                  <a:pt x="12474" y="3787"/>
                </a:lnTo>
                <a:close/>
                <a:moveTo>
                  <a:pt x="12421" y="3809"/>
                </a:moveTo>
                <a:lnTo>
                  <a:pt x="12422" y="3808"/>
                </a:lnTo>
                <a:lnTo>
                  <a:pt x="12421" y="3808"/>
                </a:lnTo>
                <a:lnTo>
                  <a:pt x="12421" y="3809"/>
                </a:lnTo>
                <a:close/>
                <a:moveTo>
                  <a:pt x="12480" y="4752"/>
                </a:moveTo>
                <a:lnTo>
                  <a:pt x="12449" y="4742"/>
                </a:lnTo>
                <a:lnTo>
                  <a:pt x="12413" y="4736"/>
                </a:lnTo>
                <a:lnTo>
                  <a:pt x="12381" y="4742"/>
                </a:lnTo>
                <a:lnTo>
                  <a:pt x="12361" y="4766"/>
                </a:lnTo>
                <a:lnTo>
                  <a:pt x="12397" y="4778"/>
                </a:lnTo>
                <a:lnTo>
                  <a:pt x="12431" y="4787"/>
                </a:lnTo>
                <a:lnTo>
                  <a:pt x="12459" y="4783"/>
                </a:lnTo>
                <a:lnTo>
                  <a:pt x="12480" y="4752"/>
                </a:lnTo>
                <a:close/>
                <a:moveTo>
                  <a:pt x="12660" y="3617"/>
                </a:moveTo>
                <a:lnTo>
                  <a:pt x="12667" y="3591"/>
                </a:lnTo>
                <a:lnTo>
                  <a:pt x="12637" y="3603"/>
                </a:lnTo>
                <a:lnTo>
                  <a:pt x="12599" y="3632"/>
                </a:lnTo>
                <a:lnTo>
                  <a:pt x="12575" y="3664"/>
                </a:lnTo>
                <a:lnTo>
                  <a:pt x="12613" y="3669"/>
                </a:lnTo>
                <a:lnTo>
                  <a:pt x="12648" y="3655"/>
                </a:lnTo>
                <a:lnTo>
                  <a:pt x="12668" y="3635"/>
                </a:lnTo>
                <a:lnTo>
                  <a:pt x="12660" y="3617"/>
                </a:lnTo>
                <a:close/>
                <a:moveTo>
                  <a:pt x="11993" y="5046"/>
                </a:moveTo>
                <a:lnTo>
                  <a:pt x="11973" y="5023"/>
                </a:lnTo>
                <a:lnTo>
                  <a:pt x="11970" y="5028"/>
                </a:lnTo>
                <a:lnTo>
                  <a:pt x="11980" y="5050"/>
                </a:lnTo>
                <a:lnTo>
                  <a:pt x="11999" y="5075"/>
                </a:lnTo>
                <a:lnTo>
                  <a:pt x="11908" y="5061"/>
                </a:lnTo>
                <a:lnTo>
                  <a:pt x="11951" y="5086"/>
                </a:lnTo>
                <a:lnTo>
                  <a:pt x="12017" y="5097"/>
                </a:lnTo>
                <a:lnTo>
                  <a:pt x="11993" y="5046"/>
                </a:lnTo>
                <a:close/>
                <a:moveTo>
                  <a:pt x="11918" y="4792"/>
                </a:moveTo>
                <a:lnTo>
                  <a:pt x="11905" y="4843"/>
                </a:lnTo>
                <a:lnTo>
                  <a:pt x="11955" y="4835"/>
                </a:lnTo>
                <a:lnTo>
                  <a:pt x="11996" y="4799"/>
                </a:lnTo>
                <a:lnTo>
                  <a:pt x="11957" y="4771"/>
                </a:lnTo>
                <a:lnTo>
                  <a:pt x="11945" y="4771"/>
                </a:lnTo>
                <a:lnTo>
                  <a:pt x="11934" y="4776"/>
                </a:lnTo>
                <a:lnTo>
                  <a:pt x="11926" y="4784"/>
                </a:lnTo>
                <a:lnTo>
                  <a:pt x="11918" y="4792"/>
                </a:lnTo>
                <a:close/>
                <a:moveTo>
                  <a:pt x="12306" y="4865"/>
                </a:moveTo>
                <a:lnTo>
                  <a:pt x="12305" y="4865"/>
                </a:lnTo>
                <a:lnTo>
                  <a:pt x="12305" y="4867"/>
                </a:lnTo>
                <a:lnTo>
                  <a:pt x="12306" y="4867"/>
                </a:lnTo>
                <a:lnTo>
                  <a:pt x="12306" y="4865"/>
                </a:lnTo>
                <a:close/>
                <a:moveTo>
                  <a:pt x="12328" y="4891"/>
                </a:moveTo>
                <a:lnTo>
                  <a:pt x="12332" y="4923"/>
                </a:lnTo>
                <a:lnTo>
                  <a:pt x="12352" y="4920"/>
                </a:lnTo>
                <a:lnTo>
                  <a:pt x="12380" y="4910"/>
                </a:lnTo>
                <a:lnTo>
                  <a:pt x="12407" y="4914"/>
                </a:lnTo>
                <a:lnTo>
                  <a:pt x="12423" y="4904"/>
                </a:lnTo>
                <a:lnTo>
                  <a:pt x="12376" y="4862"/>
                </a:lnTo>
                <a:lnTo>
                  <a:pt x="12324" y="4840"/>
                </a:lnTo>
                <a:lnTo>
                  <a:pt x="12328" y="4891"/>
                </a:lnTo>
                <a:close/>
                <a:moveTo>
                  <a:pt x="12058" y="4337"/>
                </a:moveTo>
                <a:lnTo>
                  <a:pt x="12086" y="4296"/>
                </a:lnTo>
                <a:lnTo>
                  <a:pt x="12066" y="4284"/>
                </a:lnTo>
                <a:lnTo>
                  <a:pt x="12018" y="4284"/>
                </a:lnTo>
                <a:lnTo>
                  <a:pt x="11968" y="4284"/>
                </a:lnTo>
                <a:lnTo>
                  <a:pt x="11980" y="4318"/>
                </a:lnTo>
                <a:lnTo>
                  <a:pt x="11998" y="4346"/>
                </a:lnTo>
                <a:lnTo>
                  <a:pt x="12022" y="4356"/>
                </a:lnTo>
                <a:lnTo>
                  <a:pt x="12058" y="4337"/>
                </a:lnTo>
                <a:close/>
                <a:moveTo>
                  <a:pt x="12036" y="4265"/>
                </a:moveTo>
                <a:lnTo>
                  <a:pt x="12036" y="4266"/>
                </a:lnTo>
                <a:lnTo>
                  <a:pt x="12038" y="4266"/>
                </a:lnTo>
                <a:lnTo>
                  <a:pt x="12036" y="4265"/>
                </a:lnTo>
                <a:close/>
                <a:moveTo>
                  <a:pt x="12569" y="4484"/>
                </a:moveTo>
                <a:lnTo>
                  <a:pt x="12527" y="4475"/>
                </a:lnTo>
                <a:lnTo>
                  <a:pt x="12472" y="4443"/>
                </a:lnTo>
                <a:lnTo>
                  <a:pt x="12439" y="4426"/>
                </a:lnTo>
                <a:lnTo>
                  <a:pt x="12462" y="4462"/>
                </a:lnTo>
                <a:lnTo>
                  <a:pt x="12455" y="4486"/>
                </a:lnTo>
                <a:lnTo>
                  <a:pt x="12543" y="4503"/>
                </a:lnTo>
                <a:lnTo>
                  <a:pt x="12617" y="4504"/>
                </a:lnTo>
                <a:lnTo>
                  <a:pt x="12569" y="4484"/>
                </a:lnTo>
                <a:close/>
                <a:moveTo>
                  <a:pt x="12637" y="4556"/>
                </a:moveTo>
                <a:lnTo>
                  <a:pt x="12567" y="4535"/>
                </a:lnTo>
                <a:lnTo>
                  <a:pt x="12542" y="4564"/>
                </a:lnTo>
                <a:lnTo>
                  <a:pt x="12555" y="4613"/>
                </a:lnTo>
                <a:lnTo>
                  <a:pt x="12599" y="4652"/>
                </a:lnTo>
                <a:lnTo>
                  <a:pt x="12632" y="4649"/>
                </a:lnTo>
                <a:lnTo>
                  <a:pt x="12657" y="4615"/>
                </a:lnTo>
                <a:lnTo>
                  <a:pt x="12662" y="4574"/>
                </a:lnTo>
                <a:lnTo>
                  <a:pt x="12637" y="4556"/>
                </a:lnTo>
                <a:close/>
                <a:moveTo>
                  <a:pt x="12392" y="4639"/>
                </a:moveTo>
                <a:lnTo>
                  <a:pt x="12430" y="4689"/>
                </a:lnTo>
                <a:lnTo>
                  <a:pt x="12494" y="4676"/>
                </a:lnTo>
                <a:lnTo>
                  <a:pt x="12509" y="4639"/>
                </a:lnTo>
                <a:lnTo>
                  <a:pt x="12402" y="4621"/>
                </a:lnTo>
                <a:lnTo>
                  <a:pt x="12341" y="4611"/>
                </a:lnTo>
                <a:lnTo>
                  <a:pt x="12302" y="4615"/>
                </a:lnTo>
                <a:lnTo>
                  <a:pt x="12286" y="4643"/>
                </a:lnTo>
                <a:lnTo>
                  <a:pt x="12295" y="4704"/>
                </a:lnTo>
                <a:lnTo>
                  <a:pt x="12316" y="4680"/>
                </a:lnTo>
                <a:lnTo>
                  <a:pt x="12334" y="4654"/>
                </a:lnTo>
                <a:lnTo>
                  <a:pt x="12356" y="4638"/>
                </a:lnTo>
                <a:lnTo>
                  <a:pt x="12392" y="4639"/>
                </a:lnTo>
                <a:close/>
                <a:moveTo>
                  <a:pt x="12444" y="5404"/>
                </a:moveTo>
                <a:lnTo>
                  <a:pt x="12445" y="5404"/>
                </a:lnTo>
                <a:lnTo>
                  <a:pt x="12446" y="5404"/>
                </a:lnTo>
                <a:lnTo>
                  <a:pt x="12445" y="5404"/>
                </a:lnTo>
                <a:lnTo>
                  <a:pt x="12444" y="5404"/>
                </a:lnTo>
                <a:close/>
                <a:moveTo>
                  <a:pt x="12300" y="5413"/>
                </a:moveTo>
                <a:lnTo>
                  <a:pt x="12297" y="5405"/>
                </a:lnTo>
                <a:lnTo>
                  <a:pt x="12301" y="5400"/>
                </a:lnTo>
                <a:lnTo>
                  <a:pt x="12308" y="5399"/>
                </a:lnTo>
                <a:lnTo>
                  <a:pt x="12315" y="5406"/>
                </a:lnTo>
                <a:lnTo>
                  <a:pt x="12306" y="5410"/>
                </a:lnTo>
                <a:lnTo>
                  <a:pt x="12300" y="5413"/>
                </a:lnTo>
                <a:close/>
                <a:moveTo>
                  <a:pt x="12369" y="5367"/>
                </a:moveTo>
                <a:lnTo>
                  <a:pt x="12328" y="5303"/>
                </a:lnTo>
                <a:lnTo>
                  <a:pt x="12300" y="5317"/>
                </a:lnTo>
                <a:lnTo>
                  <a:pt x="12286" y="5373"/>
                </a:lnTo>
                <a:lnTo>
                  <a:pt x="12281" y="5432"/>
                </a:lnTo>
                <a:lnTo>
                  <a:pt x="12399" y="5445"/>
                </a:lnTo>
                <a:lnTo>
                  <a:pt x="12402" y="5428"/>
                </a:lnTo>
                <a:lnTo>
                  <a:pt x="12365" y="5398"/>
                </a:lnTo>
                <a:lnTo>
                  <a:pt x="12369" y="5367"/>
                </a:lnTo>
                <a:close/>
                <a:moveTo>
                  <a:pt x="12534" y="3610"/>
                </a:moveTo>
                <a:lnTo>
                  <a:pt x="12546" y="3521"/>
                </a:lnTo>
                <a:lnTo>
                  <a:pt x="12464" y="3460"/>
                </a:lnTo>
                <a:lnTo>
                  <a:pt x="12399" y="3446"/>
                </a:lnTo>
                <a:lnTo>
                  <a:pt x="12464" y="3502"/>
                </a:lnTo>
                <a:lnTo>
                  <a:pt x="12506" y="3535"/>
                </a:lnTo>
                <a:lnTo>
                  <a:pt x="12467" y="3530"/>
                </a:lnTo>
                <a:lnTo>
                  <a:pt x="12420" y="3529"/>
                </a:lnTo>
                <a:lnTo>
                  <a:pt x="12436" y="3576"/>
                </a:lnTo>
                <a:lnTo>
                  <a:pt x="12500" y="3591"/>
                </a:lnTo>
                <a:lnTo>
                  <a:pt x="12491" y="3619"/>
                </a:lnTo>
                <a:lnTo>
                  <a:pt x="12480" y="3635"/>
                </a:lnTo>
                <a:lnTo>
                  <a:pt x="12534" y="3610"/>
                </a:lnTo>
                <a:close/>
                <a:moveTo>
                  <a:pt x="12302" y="5059"/>
                </a:moveTo>
                <a:lnTo>
                  <a:pt x="12311" y="5035"/>
                </a:lnTo>
                <a:lnTo>
                  <a:pt x="12332" y="5026"/>
                </a:lnTo>
                <a:lnTo>
                  <a:pt x="12352" y="5032"/>
                </a:lnTo>
                <a:lnTo>
                  <a:pt x="12362" y="5055"/>
                </a:lnTo>
                <a:lnTo>
                  <a:pt x="12347" y="5064"/>
                </a:lnTo>
                <a:lnTo>
                  <a:pt x="12332" y="5067"/>
                </a:lnTo>
                <a:lnTo>
                  <a:pt x="12318" y="5064"/>
                </a:lnTo>
                <a:lnTo>
                  <a:pt x="12302" y="5059"/>
                </a:lnTo>
                <a:close/>
                <a:moveTo>
                  <a:pt x="12439" y="5023"/>
                </a:moveTo>
                <a:lnTo>
                  <a:pt x="12361" y="5000"/>
                </a:lnTo>
                <a:lnTo>
                  <a:pt x="12301" y="5000"/>
                </a:lnTo>
                <a:lnTo>
                  <a:pt x="12249" y="5009"/>
                </a:lnTo>
                <a:lnTo>
                  <a:pt x="12193" y="5016"/>
                </a:lnTo>
                <a:lnTo>
                  <a:pt x="12218" y="5070"/>
                </a:lnTo>
                <a:lnTo>
                  <a:pt x="12297" y="5093"/>
                </a:lnTo>
                <a:lnTo>
                  <a:pt x="12385" y="5079"/>
                </a:lnTo>
                <a:lnTo>
                  <a:pt x="12439" y="5023"/>
                </a:lnTo>
                <a:close/>
                <a:moveTo>
                  <a:pt x="12143" y="4859"/>
                </a:moveTo>
                <a:lnTo>
                  <a:pt x="12106" y="4872"/>
                </a:lnTo>
                <a:lnTo>
                  <a:pt x="12052" y="4843"/>
                </a:lnTo>
                <a:lnTo>
                  <a:pt x="12007" y="4825"/>
                </a:lnTo>
                <a:lnTo>
                  <a:pt x="12003" y="4867"/>
                </a:lnTo>
                <a:lnTo>
                  <a:pt x="12012" y="4887"/>
                </a:lnTo>
                <a:lnTo>
                  <a:pt x="11983" y="4893"/>
                </a:lnTo>
                <a:lnTo>
                  <a:pt x="11966" y="4901"/>
                </a:lnTo>
                <a:lnTo>
                  <a:pt x="12013" y="4923"/>
                </a:lnTo>
                <a:lnTo>
                  <a:pt x="12026" y="4946"/>
                </a:lnTo>
                <a:lnTo>
                  <a:pt x="12015" y="4957"/>
                </a:lnTo>
                <a:lnTo>
                  <a:pt x="11993" y="4955"/>
                </a:lnTo>
                <a:lnTo>
                  <a:pt x="11974" y="4934"/>
                </a:lnTo>
                <a:lnTo>
                  <a:pt x="11938" y="4961"/>
                </a:lnTo>
                <a:lnTo>
                  <a:pt x="11966" y="4989"/>
                </a:lnTo>
                <a:lnTo>
                  <a:pt x="12017" y="5005"/>
                </a:lnTo>
                <a:lnTo>
                  <a:pt x="12049" y="4993"/>
                </a:lnTo>
                <a:lnTo>
                  <a:pt x="12061" y="4963"/>
                </a:lnTo>
                <a:lnTo>
                  <a:pt x="12104" y="4923"/>
                </a:lnTo>
                <a:lnTo>
                  <a:pt x="12161" y="4911"/>
                </a:lnTo>
                <a:lnTo>
                  <a:pt x="12215" y="4969"/>
                </a:lnTo>
                <a:lnTo>
                  <a:pt x="12286" y="4891"/>
                </a:lnTo>
                <a:lnTo>
                  <a:pt x="12276" y="4871"/>
                </a:lnTo>
                <a:lnTo>
                  <a:pt x="12217" y="4872"/>
                </a:lnTo>
                <a:lnTo>
                  <a:pt x="12143" y="4859"/>
                </a:lnTo>
                <a:close/>
                <a:moveTo>
                  <a:pt x="12548" y="5300"/>
                </a:moveTo>
                <a:lnTo>
                  <a:pt x="12533" y="5289"/>
                </a:lnTo>
                <a:lnTo>
                  <a:pt x="12513" y="5287"/>
                </a:lnTo>
                <a:lnTo>
                  <a:pt x="12494" y="5282"/>
                </a:lnTo>
                <a:lnTo>
                  <a:pt x="12482" y="5261"/>
                </a:lnTo>
                <a:lnTo>
                  <a:pt x="12532" y="5264"/>
                </a:lnTo>
                <a:lnTo>
                  <a:pt x="12581" y="5277"/>
                </a:lnTo>
                <a:lnTo>
                  <a:pt x="12597" y="5291"/>
                </a:lnTo>
                <a:lnTo>
                  <a:pt x="12548" y="5300"/>
                </a:lnTo>
                <a:close/>
                <a:moveTo>
                  <a:pt x="12454" y="5218"/>
                </a:moveTo>
                <a:lnTo>
                  <a:pt x="12422" y="5213"/>
                </a:lnTo>
                <a:lnTo>
                  <a:pt x="12385" y="5210"/>
                </a:lnTo>
                <a:lnTo>
                  <a:pt x="12359" y="5200"/>
                </a:lnTo>
                <a:lnTo>
                  <a:pt x="12357" y="5175"/>
                </a:lnTo>
                <a:lnTo>
                  <a:pt x="12387" y="5189"/>
                </a:lnTo>
                <a:lnTo>
                  <a:pt x="12422" y="5188"/>
                </a:lnTo>
                <a:lnTo>
                  <a:pt x="12449" y="5191"/>
                </a:lnTo>
                <a:lnTo>
                  <a:pt x="12454" y="5218"/>
                </a:lnTo>
                <a:close/>
                <a:moveTo>
                  <a:pt x="12620" y="4899"/>
                </a:moveTo>
                <a:lnTo>
                  <a:pt x="12612" y="4907"/>
                </a:lnTo>
                <a:lnTo>
                  <a:pt x="12604" y="4907"/>
                </a:lnTo>
                <a:lnTo>
                  <a:pt x="12598" y="4900"/>
                </a:lnTo>
                <a:lnTo>
                  <a:pt x="12597" y="4886"/>
                </a:lnTo>
                <a:lnTo>
                  <a:pt x="12608" y="4892"/>
                </a:lnTo>
                <a:lnTo>
                  <a:pt x="12620" y="4899"/>
                </a:lnTo>
                <a:close/>
                <a:moveTo>
                  <a:pt x="12688" y="4868"/>
                </a:moveTo>
                <a:lnTo>
                  <a:pt x="12671" y="4873"/>
                </a:lnTo>
                <a:lnTo>
                  <a:pt x="12654" y="4871"/>
                </a:lnTo>
                <a:lnTo>
                  <a:pt x="12636" y="4864"/>
                </a:lnTo>
                <a:lnTo>
                  <a:pt x="12618" y="4855"/>
                </a:lnTo>
                <a:lnTo>
                  <a:pt x="12640" y="4850"/>
                </a:lnTo>
                <a:lnTo>
                  <a:pt x="12658" y="4849"/>
                </a:lnTo>
                <a:lnTo>
                  <a:pt x="12673" y="4854"/>
                </a:lnTo>
                <a:lnTo>
                  <a:pt x="12688" y="4868"/>
                </a:lnTo>
                <a:close/>
                <a:moveTo>
                  <a:pt x="12685" y="5083"/>
                </a:moveTo>
                <a:lnTo>
                  <a:pt x="12665" y="5078"/>
                </a:lnTo>
                <a:lnTo>
                  <a:pt x="12651" y="5073"/>
                </a:lnTo>
                <a:lnTo>
                  <a:pt x="12658" y="5064"/>
                </a:lnTo>
                <a:lnTo>
                  <a:pt x="12667" y="5063"/>
                </a:lnTo>
                <a:lnTo>
                  <a:pt x="12677" y="5069"/>
                </a:lnTo>
                <a:lnTo>
                  <a:pt x="12685" y="5083"/>
                </a:lnTo>
                <a:close/>
                <a:moveTo>
                  <a:pt x="12905" y="5406"/>
                </a:moveTo>
                <a:lnTo>
                  <a:pt x="12826" y="5333"/>
                </a:lnTo>
                <a:lnTo>
                  <a:pt x="12821" y="5287"/>
                </a:lnTo>
                <a:lnTo>
                  <a:pt x="12818" y="5254"/>
                </a:lnTo>
                <a:lnTo>
                  <a:pt x="12744" y="5217"/>
                </a:lnTo>
                <a:lnTo>
                  <a:pt x="12597" y="5204"/>
                </a:lnTo>
                <a:lnTo>
                  <a:pt x="12623" y="5184"/>
                </a:lnTo>
                <a:lnTo>
                  <a:pt x="12741" y="5167"/>
                </a:lnTo>
                <a:lnTo>
                  <a:pt x="12862" y="5166"/>
                </a:lnTo>
                <a:lnTo>
                  <a:pt x="12793" y="5074"/>
                </a:lnTo>
                <a:lnTo>
                  <a:pt x="12724" y="4999"/>
                </a:lnTo>
                <a:lnTo>
                  <a:pt x="12690" y="4943"/>
                </a:lnTo>
                <a:lnTo>
                  <a:pt x="12724" y="4909"/>
                </a:lnTo>
                <a:lnTo>
                  <a:pt x="12741" y="4843"/>
                </a:lnTo>
                <a:lnTo>
                  <a:pt x="12704" y="4797"/>
                </a:lnTo>
                <a:lnTo>
                  <a:pt x="12640" y="4790"/>
                </a:lnTo>
                <a:lnTo>
                  <a:pt x="12578" y="4840"/>
                </a:lnTo>
                <a:lnTo>
                  <a:pt x="12543" y="4851"/>
                </a:lnTo>
                <a:lnTo>
                  <a:pt x="12505" y="4841"/>
                </a:lnTo>
                <a:lnTo>
                  <a:pt x="12478" y="4843"/>
                </a:lnTo>
                <a:lnTo>
                  <a:pt x="12483" y="4888"/>
                </a:lnTo>
                <a:lnTo>
                  <a:pt x="12518" y="4891"/>
                </a:lnTo>
                <a:lnTo>
                  <a:pt x="12541" y="4885"/>
                </a:lnTo>
                <a:lnTo>
                  <a:pt x="12551" y="4888"/>
                </a:lnTo>
                <a:lnTo>
                  <a:pt x="12542" y="4927"/>
                </a:lnTo>
                <a:lnTo>
                  <a:pt x="12457" y="4938"/>
                </a:lnTo>
                <a:lnTo>
                  <a:pt x="12477" y="4998"/>
                </a:lnTo>
                <a:lnTo>
                  <a:pt x="12519" y="5056"/>
                </a:lnTo>
                <a:lnTo>
                  <a:pt x="12495" y="5067"/>
                </a:lnTo>
                <a:lnTo>
                  <a:pt x="12436" y="5058"/>
                </a:lnTo>
                <a:lnTo>
                  <a:pt x="12445" y="5096"/>
                </a:lnTo>
                <a:lnTo>
                  <a:pt x="12490" y="5135"/>
                </a:lnTo>
                <a:lnTo>
                  <a:pt x="12539" y="5132"/>
                </a:lnTo>
                <a:lnTo>
                  <a:pt x="12519" y="5102"/>
                </a:lnTo>
                <a:lnTo>
                  <a:pt x="12544" y="5109"/>
                </a:lnTo>
                <a:lnTo>
                  <a:pt x="12562" y="5134"/>
                </a:lnTo>
                <a:lnTo>
                  <a:pt x="12527" y="5166"/>
                </a:lnTo>
                <a:lnTo>
                  <a:pt x="12453" y="5153"/>
                </a:lnTo>
                <a:lnTo>
                  <a:pt x="12352" y="5137"/>
                </a:lnTo>
                <a:lnTo>
                  <a:pt x="12280" y="5143"/>
                </a:lnTo>
                <a:lnTo>
                  <a:pt x="12290" y="5202"/>
                </a:lnTo>
                <a:lnTo>
                  <a:pt x="12370" y="5218"/>
                </a:lnTo>
                <a:lnTo>
                  <a:pt x="12422" y="5246"/>
                </a:lnTo>
                <a:lnTo>
                  <a:pt x="12445" y="5291"/>
                </a:lnTo>
                <a:lnTo>
                  <a:pt x="12436" y="5359"/>
                </a:lnTo>
                <a:lnTo>
                  <a:pt x="12478" y="5386"/>
                </a:lnTo>
                <a:lnTo>
                  <a:pt x="12476" y="5431"/>
                </a:lnTo>
                <a:lnTo>
                  <a:pt x="12480" y="5468"/>
                </a:lnTo>
                <a:lnTo>
                  <a:pt x="12539" y="5475"/>
                </a:lnTo>
                <a:lnTo>
                  <a:pt x="12663" y="5508"/>
                </a:lnTo>
                <a:lnTo>
                  <a:pt x="12766" y="5511"/>
                </a:lnTo>
                <a:lnTo>
                  <a:pt x="12848" y="5479"/>
                </a:lnTo>
                <a:lnTo>
                  <a:pt x="12905" y="5406"/>
                </a:lnTo>
                <a:close/>
                <a:moveTo>
                  <a:pt x="13093" y="4256"/>
                </a:moveTo>
                <a:lnTo>
                  <a:pt x="13079" y="4258"/>
                </a:lnTo>
                <a:lnTo>
                  <a:pt x="13072" y="4257"/>
                </a:lnTo>
                <a:lnTo>
                  <a:pt x="13068" y="4248"/>
                </a:lnTo>
                <a:lnTo>
                  <a:pt x="13067" y="4233"/>
                </a:lnTo>
                <a:lnTo>
                  <a:pt x="13072" y="4201"/>
                </a:lnTo>
                <a:lnTo>
                  <a:pt x="13098" y="4209"/>
                </a:lnTo>
                <a:lnTo>
                  <a:pt x="13116" y="4233"/>
                </a:lnTo>
                <a:lnTo>
                  <a:pt x="13093" y="4256"/>
                </a:lnTo>
                <a:close/>
                <a:moveTo>
                  <a:pt x="13061" y="4303"/>
                </a:moveTo>
                <a:lnTo>
                  <a:pt x="13068" y="4298"/>
                </a:lnTo>
                <a:lnTo>
                  <a:pt x="13068" y="4296"/>
                </a:lnTo>
                <a:lnTo>
                  <a:pt x="13065" y="4299"/>
                </a:lnTo>
                <a:lnTo>
                  <a:pt x="13061" y="4303"/>
                </a:lnTo>
                <a:lnTo>
                  <a:pt x="13056" y="4294"/>
                </a:lnTo>
                <a:lnTo>
                  <a:pt x="13059" y="4288"/>
                </a:lnTo>
                <a:lnTo>
                  <a:pt x="13063" y="4288"/>
                </a:lnTo>
                <a:lnTo>
                  <a:pt x="13061" y="4303"/>
                </a:lnTo>
                <a:close/>
                <a:moveTo>
                  <a:pt x="13004" y="4188"/>
                </a:moveTo>
                <a:lnTo>
                  <a:pt x="12947" y="4135"/>
                </a:lnTo>
                <a:lnTo>
                  <a:pt x="12963" y="4128"/>
                </a:lnTo>
                <a:lnTo>
                  <a:pt x="12998" y="4125"/>
                </a:lnTo>
                <a:lnTo>
                  <a:pt x="12999" y="4078"/>
                </a:lnTo>
                <a:lnTo>
                  <a:pt x="13036" y="4117"/>
                </a:lnTo>
                <a:lnTo>
                  <a:pt x="13060" y="4164"/>
                </a:lnTo>
                <a:lnTo>
                  <a:pt x="13056" y="4195"/>
                </a:lnTo>
                <a:lnTo>
                  <a:pt x="13004" y="4188"/>
                </a:lnTo>
                <a:close/>
                <a:moveTo>
                  <a:pt x="13045" y="4235"/>
                </a:moveTo>
                <a:lnTo>
                  <a:pt x="13039" y="4234"/>
                </a:lnTo>
                <a:lnTo>
                  <a:pt x="13032" y="4233"/>
                </a:lnTo>
                <a:lnTo>
                  <a:pt x="13027" y="4230"/>
                </a:lnTo>
                <a:lnTo>
                  <a:pt x="13027" y="4224"/>
                </a:lnTo>
                <a:lnTo>
                  <a:pt x="13035" y="4225"/>
                </a:lnTo>
                <a:lnTo>
                  <a:pt x="13042" y="4225"/>
                </a:lnTo>
                <a:lnTo>
                  <a:pt x="13046" y="4228"/>
                </a:lnTo>
                <a:lnTo>
                  <a:pt x="13045" y="4235"/>
                </a:lnTo>
                <a:close/>
                <a:moveTo>
                  <a:pt x="12983" y="4271"/>
                </a:moveTo>
                <a:lnTo>
                  <a:pt x="12962" y="4314"/>
                </a:lnTo>
                <a:lnTo>
                  <a:pt x="12928" y="4274"/>
                </a:lnTo>
                <a:lnTo>
                  <a:pt x="12918" y="4214"/>
                </a:lnTo>
                <a:lnTo>
                  <a:pt x="12969" y="4195"/>
                </a:lnTo>
                <a:lnTo>
                  <a:pt x="12988" y="4212"/>
                </a:lnTo>
                <a:lnTo>
                  <a:pt x="12995" y="4226"/>
                </a:lnTo>
                <a:lnTo>
                  <a:pt x="12994" y="4244"/>
                </a:lnTo>
                <a:lnTo>
                  <a:pt x="12983" y="4271"/>
                </a:lnTo>
                <a:close/>
                <a:moveTo>
                  <a:pt x="12881" y="4205"/>
                </a:moveTo>
                <a:lnTo>
                  <a:pt x="12840" y="4243"/>
                </a:lnTo>
                <a:lnTo>
                  <a:pt x="12809" y="4249"/>
                </a:lnTo>
                <a:lnTo>
                  <a:pt x="12808" y="4233"/>
                </a:lnTo>
                <a:lnTo>
                  <a:pt x="12858" y="4198"/>
                </a:lnTo>
                <a:lnTo>
                  <a:pt x="12856" y="4151"/>
                </a:lnTo>
                <a:lnTo>
                  <a:pt x="12892" y="4134"/>
                </a:lnTo>
                <a:lnTo>
                  <a:pt x="12916" y="4150"/>
                </a:lnTo>
                <a:lnTo>
                  <a:pt x="12881" y="4205"/>
                </a:lnTo>
                <a:close/>
                <a:moveTo>
                  <a:pt x="12849" y="4272"/>
                </a:moveTo>
                <a:lnTo>
                  <a:pt x="12841" y="4266"/>
                </a:lnTo>
                <a:lnTo>
                  <a:pt x="12842" y="4261"/>
                </a:lnTo>
                <a:lnTo>
                  <a:pt x="12851" y="4261"/>
                </a:lnTo>
                <a:lnTo>
                  <a:pt x="12862" y="4267"/>
                </a:lnTo>
                <a:lnTo>
                  <a:pt x="12854" y="4271"/>
                </a:lnTo>
                <a:lnTo>
                  <a:pt x="12849" y="4272"/>
                </a:lnTo>
                <a:close/>
                <a:moveTo>
                  <a:pt x="12761" y="4149"/>
                </a:moveTo>
                <a:lnTo>
                  <a:pt x="12769" y="4132"/>
                </a:lnTo>
                <a:lnTo>
                  <a:pt x="12779" y="4122"/>
                </a:lnTo>
                <a:lnTo>
                  <a:pt x="12790" y="4114"/>
                </a:lnTo>
                <a:lnTo>
                  <a:pt x="12802" y="4108"/>
                </a:lnTo>
                <a:lnTo>
                  <a:pt x="12799" y="4128"/>
                </a:lnTo>
                <a:lnTo>
                  <a:pt x="12790" y="4137"/>
                </a:lnTo>
                <a:lnTo>
                  <a:pt x="12776" y="4142"/>
                </a:lnTo>
                <a:lnTo>
                  <a:pt x="12761" y="4149"/>
                </a:lnTo>
                <a:close/>
                <a:moveTo>
                  <a:pt x="12762" y="4238"/>
                </a:moveTo>
                <a:lnTo>
                  <a:pt x="12749" y="4239"/>
                </a:lnTo>
                <a:lnTo>
                  <a:pt x="12738" y="4235"/>
                </a:lnTo>
                <a:lnTo>
                  <a:pt x="12727" y="4228"/>
                </a:lnTo>
                <a:lnTo>
                  <a:pt x="12714" y="4215"/>
                </a:lnTo>
                <a:lnTo>
                  <a:pt x="12737" y="4215"/>
                </a:lnTo>
                <a:lnTo>
                  <a:pt x="12758" y="4215"/>
                </a:lnTo>
                <a:lnTo>
                  <a:pt x="12770" y="4221"/>
                </a:lnTo>
                <a:lnTo>
                  <a:pt x="12762" y="4238"/>
                </a:lnTo>
                <a:close/>
                <a:moveTo>
                  <a:pt x="12702" y="4294"/>
                </a:moveTo>
                <a:lnTo>
                  <a:pt x="12693" y="4280"/>
                </a:lnTo>
                <a:lnTo>
                  <a:pt x="12687" y="4266"/>
                </a:lnTo>
                <a:lnTo>
                  <a:pt x="12687" y="4253"/>
                </a:lnTo>
                <a:lnTo>
                  <a:pt x="12696" y="4240"/>
                </a:lnTo>
                <a:lnTo>
                  <a:pt x="12706" y="4252"/>
                </a:lnTo>
                <a:lnTo>
                  <a:pt x="12707" y="4265"/>
                </a:lnTo>
                <a:lnTo>
                  <a:pt x="12704" y="4279"/>
                </a:lnTo>
                <a:lnTo>
                  <a:pt x="12702" y="4294"/>
                </a:lnTo>
                <a:close/>
                <a:moveTo>
                  <a:pt x="12928" y="4075"/>
                </a:moveTo>
                <a:lnTo>
                  <a:pt x="12935" y="4079"/>
                </a:lnTo>
                <a:lnTo>
                  <a:pt x="12943" y="4084"/>
                </a:lnTo>
                <a:lnTo>
                  <a:pt x="12944" y="4089"/>
                </a:lnTo>
                <a:lnTo>
                  <a:pt x="12938" y="4095"/>
                </a:lnTo>
                <a:lnTo>
                  <a:pt x="12930" y="4090"/>
                </a:lnTo>
                <a:lnTo>
                  <a:pt x="12925" y="4086"/>
                </a:lnTo>
                <a:lnTo>
                  <a:pt x="12923" y="4081"/>
                </a:lnTo>
                <a:lnTo>
                  <a:pt x="12928" y="4075"/>
                </a:lnTo>
                <a:close/>
                <a:moveTo>
                  <a:pt x="12966" y="3992"/>
                </a:moveTo>
                <a:lnTo>
                  <a:pt x="12990" y="3994"/>
                </a:lnTo>
                <a:lnTo>
                  <a:pt x="13012" y="4005"/>
                </a:lnTo>
                <a:lnTo>
                  <a:pt x="13026" y="4022"/>
                </a:lnTo>
                <a:lnTo>
                  <a:pt x="13033" y="4041"/>
                </a:lnTo>
                <a:lnTo>
                  <a:pt x="13004" y="4048"/>
                </a:lnTo>
                <a:lnTo>
                  <a:pt x="12979" y="4039"/>
                </a:lnTo>
                <a:lnTo>
                  <a:pt x="12963" y="4019"/>
                </a:lnTo>
                <a:lnTo>
                  <a:pt x="12966" y="3992"/>
                </a:lnTo>
                <a:close/>
                <a:moveTo>
                  <a:pt x="12644" y="4229"/>
                </a:moveTo>
                <a:lnTo>
                  <a:pt x="12651" y="4228"/>
                </a:lnTo>
                <a:lnTo>
                  <a:pt x="12653" y="4228"/>
                </a:lnTo>
                <a:lnTo>
                  <a:pt x="12649" y="4228"/>
                </a:lnTo>
                <a:lnTo>
                  <a:pt x="12644" y="4229"/>
                </a:lnTo>
                <a:lnTo>
                  <a:pt x="12644" y="4221"/>
                </a:lnTo>
                <a:lnTo>
                  <a:pt x="12650" y="4216"/>
                </a:lnTo>
                <a:lnTo>
                  <a:pt x="12654" y="4219"/>
                </a:lnTo>
                <a:lnTo>
                  <a:pt x="12644" y="4229"/>
                </a:lnTo>
                <a:close/>
                <a:moveTo>
                  <a:pt x="12607" y="4336"/>
                </a:moveTo>
                <a:lnTo>
                  <a:pt x="12603" y="4326"/>
                </a:lnTo>
                <a:lnTo>
                  <a:pt x="12608" y="4319"/>
                </a:lnTo>
                <a:lnTo>
                  <a:pt x="12618" y="4319"/>
                </a:lnTo>
                <a:lnTo>
                  <a:pt x="12625" y="4330"/>
                </a:lnTo>
                <a:lnTo>
                  <a:pt x="12614" y="4333"/>
                </a:lnTo>
                <a:lnTo>
                  <a:pt x="12607" y="4336"/>
                </a:lnTo>
                <a:close/>
                <a:moveTo>
                  <a:pt x="12572" y="4206"/>
                </a:moveTo>
                <a:lnTo>
                  <a:pt x="12550" y="4200"/>
                </a:lnTo>
                <a:lnTo>
                  <a:pt x="12533" y="4183"/>
                </a:lnTo>
                <a:lnTo>
                  <a:pt x="12516" y="4165"/>
                </a:lnTo>
                <a:lnTo>
                  <a:pt x="12499" y="4151"/>
                </a:lnTo>
                <a:lnTo>
                  <a:pt x="12530" y="4148"/>
                </a:lnTo>
                <a:lnTo>
                  <a:pt x="12570" y="4160"/>
                </a:lnTo>
                <a:lnTo>
                  <a:pt x="12593" y="4182"/>
                </a:lnTo>
                <a:lnTo>
                  <a:pt x="12572" y="4206"/>
                </a:lnTo>
                <a:close/>
                <a:moveTo>
                  <a:pt x="12537" y="4324"/>
                </a:moveTo>
                <a:lnTo>
                  <a:pt x="12536" y="4304"/>
                </a:lnTo>
                <a:lnTo>
                  <a:pt x="12547" y="4296"/>
                </a:lnTo>
                <a:lnTo>
                  <a:pt x="12562" y="4300"/>
                </a:lnTo>
                <a:lnTo>
                  <a:pt x="12572" y="4314"/>
                </a:lnTo>
                <a:lnTo>
                  <a:pt x="12567" y="4324"/>
                </a:lnTo>
                <a:lnTo>
                  <a:pt x="12558" y="4327"/>
                </a:lnTo>
                <a:lnTo>
                  <a:pt x="12548" y="4327"/>
                </a:lnTo>
                <a:lnTo>
                  <a:pt x="12537" y="4324"/>
                </a:lnTo>
                <a:close/>
                <a:moveTo>
                  <a:pt x="12584" y="4135"/>
                </a:moveTo>
                <a:lnTo>
                  <a:pt x="12580" y="4142"/>
                </a:lnTo>
                <a:lnTo>
                  <a:pt x="12574" y="4146"/>
                </a:lnTo>
                <a:lnTo>
                  <a:pt x="12566" y="4148"/>
                </a:lnTo>
                <a:lnTo>
                  <a:pt x="12558" y="4150"/>
                </a:lnTo>
                <a:lnTo>
                  <a:pt x="12560" y="4137"/>
                </a:lnTo>
                <a:lnTo>
                  <a:pt x="12564" y="4131"/>
                </a:lnTo>
                <a:lnTo>
                  <a:pt x="12570" y="4131"/>
                </a:lnTo>
                <a:lnTo>
                  <a:pt x="12584" y="4135"/>
                </a:lnTo>
                <a:close/>
                <a:moveTo>
                  <a:pt x="12595" y="3983"/>
                </a:moveTo>
                <a:lnTo>
                  <a:pt x="12616" y="3962"/>
                </a:lnTo>
                <a:lnTo>
                  <a:pt x="12637" y="3946"/>
                </a:lnTo>
                <a:lnTo>
                  <a:pt x="12663" y="3943"/>
                </a:lnTo>
                <a:lnTo>
                  <a:pt x="12692" y="3959"/>
                </a:lnTo>
                <a:lnTo>
                  <a:pt x="12654" y="3977"/>
                </a:lnTo>
                <a:lnTo>
                  <a:pt x="12609" y="4004"/>
                </a:lnTo>
                <a:lnTo>
                  <a:pt x="12581" y="4015"/>
                </a:lnTo>
                <a:lnTo>
                  <a:pt x="12595" y="3983"/>
                </a:lnTo>
                <a:close/>
                <a:moveTo>
                  <a:pt x="12471" y="4108"/>
                </a:moveTo>
                <a:lnTo>
                  <a:pt x="12460" y="4109"/>
                </a:lnTo>
                <a:lnTo>
                  <a:pt x="12453" y="4108"/>
                </a:lnTo>
                <a:lnTo>
                  <a:pt x="12450" y="4102"/>
                </a:lnTo>
                <a:lnTo>
                  <a:pt x="12451" y="4092"/>
                </a:lnTo>
                <a:lnTo>
                  <a:pt x="12460" y="4093"/>
                </a:lnTo>
                <a:lnTo>
                  <a:pt x="12468" y="4095"/>
                </a:lnTo>
                <a:lnTo>
                  <a:pt x="12472" y="4099"/>
                </a:lnTo>
                <a:lnTo>
                  <a:pt x="12471" y="4108"/>
                </a:lnTo>
                <a:close/>
                <a:moveTo>
                  <a:pt x="12347" y="3860"/>
                </a:moveTo>
                <a:lnTo>
                  <a:pt x="12365" y="3838"/>
                </a:lnTo>
                <a:lnTo>
                  <a:pt x="12387" y="3839"/>
                </a:lnTo>
                <a:lnTo>
                  <a:pt x="12407" y="3853"/>
                </a:lnTo>
                <a:lnTo>
                  <a:pt x="12423" y="3873"/>
                </a:lnTo>
                <a:lnTo>
                  <a:pt x="12401" y="3880"/>
                </a:lnTo>
                <a:lnTo>
                  <a:pt x="12383" y="3875"/>
                </a:lnTo>
                <a:lnTo>
                  <a:pt x="12365" y="3865"/>
                </a:lnTo>
                <a:lnTo>
                  <a:pt x="12347" y="3860"/>
                </a:lnTo>
                <a:close/>
                <a:moveTo>
                  <a:pt x="12381" y="4074"/>
                </a:moveTo>
                <a:lnTo>
                  <a:pt x="12376" y="4070"/>
                </a:lnTo>
                <a:lnTo>
                  <a:pt x="12375" y="4065"/>
                </a:lnTo>
                <a:lnTo>
                  <a:pt x="12379" y="4061"/>
                </a:lnTo>
                <a:lnTo>
                  <a:pt x="12385" y="4057"/>
                </a:lnTo>
                <a:lnTo>
                  <a:pt x="12390" y="4061"/>
                </a:lnTo>
                <a:lnTo>
                  <a:pt x="12392" y="4066"/>
                </a:lnTo>
                <a:lnTo>
                  <a:pt x="12388" y="4071"/>
                </a:lnTo>
                <a:lnTo>
                  <a:pt x="12381" y="4074"/>
                </a:lnTo>
                <a:close/>
                <a:moveTo>
                  <a:pt x="12325" y="4276"/>
                </a:moveTo>
                <a:lnTo>
                  <a:pt x="12306" y="4281"/>
                </a:lnTo>
                <a:lnTo>
                  <a:pt x="12290" y="4285"/>
                </a:lnTo>
                <a:lnTo>
                  <a:pt x="12271" y="4288"/>
                </a:lnTo>
                <a:lnTo>
                  <a:pt x="12252" y="4288"/>
                </a:lnTo>
                <a:lnTo>
                  <a:pt x="12278" y="4252"/>
                </a:lnTo>
                <a:lnTo>
                  <a:pt x="12309" y="4229"/>
                </a:lnTo>
                <a:lnTo>
                  <a:pt x="12331" y="4234"/>
                </a:lnTo>
                <a:lnTo>
                  <a:pt x="12325" y="4276"/>
                </a:lnTo>
                <a:close/>
                <a:moveTo>
                  <a:pt x="12238" y="4048"/>
                </a:moveTo>
                <a:lnTo>
                  <a:pt x="12240" y="4041"/>
                </a:lnTo>
                <a:lnTo>
                  <a:pt x="12245" y="4037"/>
                </a:lnTo>
                <a:lnTo>
                  <a:pt x="12253" y="4037"/>
                </a:lnTo>
                <a:lnTo>
                  <a:pt x="12262" y="4039"/>
                </a:lnTo>
                <a:lnTo>
                  <a:pt x="12262" y="4053"/>
                </a:lnTo>
                <a:lnTo>
                  <a:pt x="12254" y="4062"/>
                </a:lnTo>
                <a:lnTo>
                  <a:pt x="12244" y="4061"/>
                </a:lnTo>
                <a:lnTo>
                  <a:pt x="12238" y="4048"/>
                </a:lnTo>
                <a:close/>
                <a:moveTo>
                  <a:pt x="12213" y="3800"/>
                </a:moveTo>
                <a:lnTo>
                  <a:pt x="12189" y="3804"/>
                </a:lnTo>
                <a:lnTo>
                  <a:pt x="12169" y="3795"/>
                </a:lnTo>
                <a:lnTo>
                  <a:pt x="12147" y="3781"/>
                </a:lnTo>
                <a:lnTo>
                  <a:pt x="12124" y="3768"/>
                </a:lnTo>
                <a:lnTo>
                  <a:pt x="12157" y="3766"/>
                </a:lnTo>
                <a:lnTo>
                  <a:pt x="12197" y="3763"/>
                </a:lnTo>
                <a:lnTo>
                  <a:pt x="12221" y="3771"/>
                </a:lnTo>
                <a:lnTo>
                  <a:pt x="12213" y="3800"/>
                </a:lnTo>
                <a:close/>
                <a:moveTo>
                  <a:pt x="12210" y="4253"/>
                </a:moveTo>
                <a:lnTo>
                  <a:pt x="12206" y="4247"/>
                </a:lnTo>
                <a:lnTo>
                  <a:pt x="12206" y="4243"/>
                </a:lnTo>
                <a:lnTo>
                  <a:pt x="12210" y="4239"/>
                </a:lnTo>
                <a:lnTo>
                  <a:pt x="12215" y="4237"/>
                </a:lnTo>
                <a:lnTo>
                  <a:pt x="12218" y="4243"/>
                </a:lnTo>
                <a:lnTo>
                  <a:pt x="12218" y="4247"/>
                </a:lnTo>
                <a:lnTo>
                  <a:pt x="12216" y="4249"/>
                </a:lnTo>
                <a:lnTo>
                  <a:pt x="12210" y="4253"/>
                </a:lnTo>
                <a:close/>
                <a:moveTo>
                  <a:pt x="12157" y="4172"/>
                </a:moveTo>
                <a:lnTo>
                  <a:pt x="12155" y="4162"/>
                </a:lnTo>
                <a:lnTo>
                  <a:pt x="12153" y="4153"/>
                </a:lnTo>
                <a:lnTo>
                  <a:pt x="12156" y="4146"/>
                </a:lnTo>
                <a:lnTo>
                  <a:pt x="12165" y="4142"/>
                </a:lnTo>
                <a:lnTo>
                  <a:pt x="12169" y="4153"/>
                </a:lnTo>
                <a:lnTo>
                  <a:pt x="12171" y="4160"/>
                </a:lnTo>
                <a:lnTo>
                  <a:pt x="12167" y="4165"/>
                </a:lnTo>
                <a:lnTo>
                  <a:pt x="12157" y="4172"/>
                </a:lnTo>
                <a:close/>
                <a:moveTo>
                  <a:pt x="12123" y="3528"/>
                </a:moveTo>
                <a:lnTo>
                  <a:pt x="12129" y="3537"/>
                </a:lnTo>
                <a:lnTo>
                  <a:pt x="12132" y="3545"/>
                </a:lnTo>
                <a:lnTo>
                  <a:pt x="12131" y="3554"/>
                </a:lnTo>
                <a:lnTo>
                  <a:pt x="12127" y="3565"/>
                </a:lnTo>
                <a:lnTo>
                  <a:pt x="12118" y="3556"/>
                </a:lnTo>
                <a:lnTo>
                  <a:pt x="12114" y="3548"/>
                </a:lnTo>
                <a:lnTo>
                  <a:pt x="12117" y="3538"/>
                </a:lnTo>
                <a:lnTo>
                  <a:pt x="12123" y="3528"/>
                </a:lnTo>
                <a:close/>
                <a:moveTo>
                  <a:pt x="12096" y="3777"/>
                </a:moveTo>
                <a:lnTo>
                  <a:pt x="12086" y="3782"/>
                </a:lnTo>
                <a:lnTo>
                  <a:pt x="12075" y="3782"/>
                </a:lnTo>
                <a:lnTo>
                  <a:pt x="12064" y="3778"/>
                </a:lnTo>
                <a:lnTo>
                  <a:pt x="12053" y="3775"/>
                </a:lnTo>
                <a:lnTo>
                  <a:pt x="12061" y="3758"/>
                </a:lnTo>
                <a:lnTo>
                  <a:pt x="12082" y="3750"/>
                </a:lnTo>
                <a:lnTo>
                  <a:pt x="12100" y="3757"/>
                </a:lnTo>
                <a:lnTo>
                  <a:pt x="12096" y="3777"/>
                </a:lnTo>
                <a:close/>
                <a:moveTo>
                  <a:pt x="12089" y="3997"/>
                </a:moveTo>
                <a:lnTo>
                  <a:pt x="12081" y="3999"/>
                </a:lnTo>
                <a:lnTo>
                  <a:pt x="12076" y="3992"/>
                </a:lnTo>
                <a:lnTo>
                  <a:pt x="12073" y="3982"/>
                </a:lnTo>
                <a:lnTo>
                  <a:pt x="12071" y="3973"/>
                </a:lnTo>
                <a:lnTo>
                  <a:pt x="12081" y="3977"/>
                </a:lnTo>
                <a:lnTo>
                  <a:pt x="12089" y="3982"/>
                </a:lnTo>
                <a:lnTo>
                  <a:pt x="12091" y="3988"/>
                </a:lnTo>
                <a:lnTo>
                  <a:pt x="12089" y="3997"/>
                </a:lnTo>
                <a:close/>
                <a:moveTo>
                  <a:pt x="12015" y="3409"/>
                </a:moveTo>
                <a:lnTo>
                  <a:pt x="12030" y="3409"/>
                </a:lnTo>
                <a:lnTo>
                  <a:pt x="12045" y="3409"/>
                </a:lnTo>
                <a:lnTo>
                  <a:pt x="12059" y="3409"/>
                </a:lnTo>
                <a:lnTo>
                  <a:pt x="12075" y="3408"/>
                </a:lnTo>
                <a:lnTo>
                  <a:pt x="12062" y="3431"/>
                </a:lnTo>
                <a:lnTo>
                  <a:pt x="12049" y="3437"/>
                </a:lnTo>
                <a:lnTo>
                  <a:pt x="12035" y="3431"/>
                </a:lnTo>
                <a:lnTo>
                  <a:pt x="12015" y="3409"/>
                </a:lnTo>
                <a:close/>
                <a:moveTo>
                  <a:pt x="12008" y="3542"/>
                </a:moveTo>
                <a:lnTo>
                  <a:pt x="12002" y="3529"/>
                </a:lnTo>
                <a:lnTo>
                  <a:pt x="12007" y="3523"/>
                </a:lnTo>
                <a:lnTo>
                  <a:pt x="12016" y="3524"/>
                </a:lnTo>
                <a:lnTo>
                  <a:pt x="12024" y="3537"/>
                </a:lnTo>
                <a:lnTo>
                  <a:pt x="12013" y="3540"/>
                </a:lnTo>
                <a:lnTo>
                  <a:pt x="12008" y="3542"/>
                </a:lnTo>
                <a:close/>
                <a:moveTo>
                  <a:pt x="12085" y="3270"/>
                </a:moveTo>
                <a:lnTo>
                  <a:pt x="12066" y="3244"/>
                </a:lnTo>
                <a:lnTo>
                  <a:pt x="12068" y="3231"/>
                </a:lnTo>
                <a:lnTo>
                  <a:pt x="12087" y="3231"/>
                </a:lnTo>
                <a:lnTo>
                  <a:pt x="12120" y="3246"/>
                </a:lnTo>
                <a:lnTo>
                  <a:pt x="12092" y="3292"/>
                </a:lnTo>
                <a:lnTo>
                  <a:pt x="12036" y="3287"/>
                </a:lnTo>
                <a:lnTo>
                  <a:pt x="12012" y="3267"/>
                </a:lnTo>
                <a:lnTo>
                  <a:pt x="12085" y="3270"/>
                </a:lnTo>
                <a:close/>
                <a:moveTo>
                  <a:pt x="11988" y="2914"/>
                </a:moveTo>
                <a:lnTo>
                  <a:pt x="11994" y="2914"/>
                </a:lnTo>
                <a:lnTo>
                  <a:pt x="11998" y="2920"/>
                </a:lnTo>
                <a:lnTo>
                  <a:pt x="11997" y="2924"/>
                </a:lnTo>
                <a:lnTo>
                  <a:pt x="11989" y="2922"/>
                </a:lnTo>
                <a:lnTo>
                  <a:pt x="11988" y="2918"/>
                </a:lnTo>
                <a:lnTo>
                  <a:pt x="11988" y="2914"/>
                </a:lnTo>
                <a:close/>
                <a:moveTo>
                  <a:pt x="11965" y="3057"/>
                </a:moveTo>
                <a:lnTo>
                  <a:pt x="11955" y="3041"/>
                </a:lnTo>
                <a:lnTo>
                  <a:pt x="11943" y="3027"/>
                </a:lnTo>
                <a:lnTo>
                  <a:pt x="11936" y="3015"/>
                </a:lnTo>
                <a:lnTo>
                  <a:pt x="11938" y="3003"/>
                </a:lnTo>
                <a:lnTo>
                  <a:pt x="11965" y="3007"/>
                </a:lnTo>
                <a:lnTo>
                  <a:pt x="11980" y="3016"/>
                </a:lnTo>
                <a:lnTo>
                  <a:pt x="11980" y="3031"/>
                </a:lnTo>
                <a:lnTo>
                  <a:pt x="11965" y="3057"/>
                </a:lnTo>
                <a:close/>
                <a:moveTo>
                  <a:pt x="11938" y="3496"/>
                </a:moveTo>
                <a:lnTo>
                  <a:pt x="11926" y="3496"/>
                </a:lnTo>
                <a:lnTo>
                  <a:pt x="11913" y="3496"/>
                </a:lnTo>
                <a:lnTo>
                  <a:pt x="11904" y="3492"/>
                </a:lnTo>
                <a:lnTo>
                  <a:pt x="11904" y="3479"/>
                </a:lnTo>
                <a:lnTo>
                  <a:pt x="11915" y="3482"/>
                </a:lnTo>
                <a:lnTo>
                  <a:pt x="11928" y="3483"/>
                </a:lnTo>
                <a:lnTo>
                  <a:pt x="11937" y="3487"/>
                </a:lnTo>
                <a:lnTo>
                  <a:pt x="11938" y="3496"/>
                </a:lnTo>
                <a:close/>
                <a:moveTo>
                  <a:pt x="11885" y="3627"/>
                </a:moveTo>
                <a:lnTo>
                  <a:pt x="11904" y="3628"/>
                </a:lnTo>
                <a:lnTo>
                  <a:pt x="11922" y="3629"/>
                </a:lnTo>
                <a:lnTo>
                  <a:pt x="11912" y="3638"/>
                </a:lnTo>
                <a:lnTo>
                  <a:pt x="11903" y="3641"/>
                </a:lnTo>
                <a:lnTo>
                  <a:pt x="11895" y="3636"/>
                </a:lnTo>
                <a:lnTo>
                  <a:pt x="11885" y="3627"/>
                </a:lnTo>
                <a:close/>
                <a:moveTo>
                  <a:pt x="11895" y="4167"/>
                </a:moveTo>
                <a:lnTo>
                  <a:pt x="11881" y="4163"/>
                </a:lnTo>
                <a:lnTo>
                  <a:pt x="11868" y="4158"/>
                </a:lnTo>
                <a:lnTo>
                  <a:pt x="11858" y="4150"/>
                </a:lnTo>
                <a:lnTo>
                  <a:pt x="11854" y="4136"/>
                </a:lnTo>
                <a:lnTo>
                  <a:pt x="11877" y="4137"/>
                </a:lnTo>
                <a:lnTo>
                  <a:pt x="11901" y="4149"/>
                </a:lnTo>
                <a:lnTo>
                  <a:pt x="11913" y="4162"/>
                </a:lnTo>
                <a:lnTo>
                  <a:pt x="11895" y="4167"/>
                </a:lnTo>
                <a:close/>
                <a:moveTo>
                  <a:pt x="11866" y="4193"/>
                </a:moveTo>
                <a:lnTo>
                  <a:pt x="11868" y="4193"/>
                </a:lnTo>
                <a:lnTo>
                  <a:pt x="11869" y="4193"/>
                </a:lnTo>
                <a:lnTo>
                  <a:pt x="11871" y="4196"/>
                </a:lnTo>
                <a:lnTo>
                  <a:pt x="11872" y="4200"/>
                </a:lnTo>
                <a:lnTo>
                  <a:pt x="11869" y="4196"/>
                </a:lnTo>
                <a:lnTo>
                  <a:pt x="11866" y="4193"/>
                </a:lnTo>
                <a:close/>
                <a:moveTo>
                  <a:pt x="11886" y="4369"/>
                </a:moveTo>
                <a:lnTo>
                  <a:pt x="11913" y="4396"/>
                </a:lnTo>
                <a:lnTo>
                  <a:pt x="11909" y="4424"/>
                </a:lnTo>
                <a:lnTo>
                  <a:pt x="11898" y="4454"/>
                </a:lnTo>
                <a:lnTo>
                  <a:pt x="11896" y="4486"/>
                </a:lnTo>
                <a:lnTo>
                  <a:pt x="11873" y="4471"/>
                </a:lnTo>
                <a:lnTo>
                  <a:pt x="11866" y="4421"/>
                </a:lnTo>
                <a:lnTo>
                  <a:pt x="11871" y="4375"/>
                </a:lnTo>
                <a:lnTo>
                  <a:pt x="11886" y="4369"/>
                </a:lnTo>
                <a:close/>
                <a:moveTo>
                  <a:pt x="11855" y="4238"/>
                </a:moveTo>
                <a:lnTo>
                  <a:pt x="11792" y="4234"/>
                </a:lnTo>
                <a:lnTo>
                  <a:pt x="11763" y="4281"/>
                </a:lnTo>
                <a:lnTo>
                  <a:pt x="11733" y="4336"/>
                </a:lnTo>
                <a:lnTo>
                  <a:pt x="11668" y="4356"/>
                </a:lnTo>
                <a:lnTo>
                  <a:pt x="11580" y="4372"/>
                </a:lnTo>
                <a:lnTo>
                  <a:pt x="11569" y="4346"/>
                </a:lnTo>
                <a:lnTo>
                  <a:pt x="11615" y="4310"/>
                </a:lnTo>
                <a:lnTo>
                  <a:pt x="11701" y="4293"/>
                </a:lnTo>
                <a:lnTo>
                  <a:pt x="11644" y="4247"/>
                </a:lnTo>
                <a:lnTo>
                  <a:pt x="11640" y="4187"/>
                </a:lnTo>
                <a:lnTo>
                  <a:pt x="11681" y="4131"/>
                </a:lnTo>
                <a:lnTo>
                  <a:pt x="11756" y="4092"/>
                </a:lnTo>
                <a:lnTo>
                  <a:pt x="11778" y="4109"/>
                </a:lnTo>
                <a:lnTo>
                  <a:pt x="11775" y="4123"/>
                </a:lnTo>
                <a:lnTo>
                  <a:pt x="11759" y="4135"/>
                </a:lnTo>
                <a:lnTo>
                  <a:pt x="11743" y="4146"/>
                </a:lnTo>
                <a:lnTo>
                  <a:pt x="11773" y="4167"/>
                </a:lnTo>
                <a:lnTo>
                  <a:pt x="11815" y="4198"/>
                </a:lnTo>
                <a:lnTo>
                  <a:pt x="11849" y="4228"/>
                </a:lnTo>
                <a:lnTo>
                  <a:pt x="11855" y="4238"/>
                </a:lnTo>
                <a:close/>
                <a:moveTo>
                  <a:pt x="11816" y="4380"/>
                </a:moveTo>
                <a:lnTo>
                  <a:pt x="11810" y="4374"/>
                </a:lnTo>
                <a:lnTo>
                  <a:pt x="11822" y="4369"/>
                </a:lnTo>
                <a:lnTo>
                  <a:pt x="11843" y="4365"/>
                </a:lnTo>
                <a:lnTo>
                  <a:pt x="11858" y="4363"/>
                </a:lnTo>
                <a:lnTo>
                  <a:pt x="11848" y="4366"/>
                </a:lnTo>
                <a:lnTo>
                  <a:pt x="11839" y="4372"/>
                </a:lnTo>
                <a:lnTo>
                  <a:pt x="11827" y="4375"/>
                </a:lnTo>
                <a:lnTo>
                  <a:pt x="11816" y="4380"/>
                </a:lnTo>
                <a:close/>
                <a:moveTo>
                  <a:pt x="11779" y="4261"/>
                </a:moveTo>
                <a:lnTo>
                  <a:pt x="11792" y="4251"/>
                </a:lnTo>
                <a:lnTo>
                  <a:pt x="11805" y="4249"/>
                </a:lnTo>
                <a:lnTo>
                  <a:pt x="11813" y="4256"/>
                </a:lnTo>
                <a:lnTo>
                  <a:pt x="11813" y="4268"/>
                </a:lnTo>
                <a:lnTo>
                  <a:pt x="11805" y="4275"/>
                </a:lnTo>
                <a:lnTo>
                  <a:pt x="11796" y="4274"/>
                </a:lnTo>
                <a:lnTo>
                  <a:pt x="11788" y="4268"/>
                </a:lnTo>
                <a:lnTo>
                  <a:pt x="11779" y="4261"/>
                </a:lnTo>
                <a:close/>
                <a:moveTo>
                  <a:pt x="11547" y="3309"/>
                </a:moveTo>
                <a:lnTo>
                  <a:pt x="11550" y="3310"/>
                </a:lnTo>
                <a:lnTo>
                  <a:pt x="11552" y="3310"/>
                </a:lnTo>
                <a:lnTo>
                  <a:pt x="11555" y="3310"/>
                </a:lnTo>
                <a:lnTo>
                  <a:pt x="11557" y="3309"/>
                </a:lnTo>
                <a:lnTo>
                  <a:pt x="11554" y="3311"/>
                </a:lnTo>
                <a:lnTo>
                  <a:pt x="11551" y="3313"/>
                </a:lnTo>
                <a:lnTo>
                  <a:pt x="11549" y="3313"/>
                </a:lnTo>
                <a:lnTo>
                  <a:pt x="11547" y="3309"/>
                </a:lnTo>
                <a:close/>
                <a:moveTo>
                  <a:pt x="11629" y="3447"/>
                </a:moveTo>
                <a:lnTo>
                  <a:pt x="11650" y="3436"/>
                </a:lnTo>
                <a:lnTo>
                  <a:pt x="11671" y="3423"/>
                </a:lnTo>
                <a:lnTo>
                  <a:pt x="11691" y="3419"/>
                </a:lnTo>
                <a:lnTo>
                  <a:pt x="11708" y="3436"/>
                </a:lnTo>
                <a:lnTo>
                  <a:pt x="11689" y="3439"/>
                </a:lnTo>
                <a:lnTo>
                  <a:pt x="11670" y="3446"/>
                </a:lnTo>
                <a:lnTo>
                  <a:pt x="11649" y="3451"/>
                </a:lnTo>
                <a:lnTo>
                  <a:pt x="11629" y="3447"/>
                </a:lnTo>
                <a:close/>
                <a:moveTo>
                  <a:pt x="11600" y="4132"/>
                </a:moveTo>
                <a:lnTo>
                  <a:pt x="11610" y="4131"/>
                </a:lnTo>
                <a:lnTo>
                  <a:pt x="11620" y="4134"/>
                </a:lnTo>
                <a:lnTo>
                  <a:pt x="11629" y="4139"/>
                </a:lnTo>
                <a:lnTo>
                  <a:pt x="11636" y="4150"/>
                </a:lnTo>
                <a:lnTo>
                  <a:pt x="11619" y="4155"/>
                </a:lnTo>
                <a:lnTo>
                  <a:pt x="11601" y="4155"/>
                </a:lnTo>
                <a:lnTo>
                  <a:pt x="11591" y="4148"/>
                </a:lnTo>
                <a:lnTo>
                  <a:pt x="11600" y="4132"/>
                </a:lnTo>
                <a:close/>
                <a:moveTo>
                  <a:pt x="11656" y="2710"/>
                </a:moveTo>
                <a:lnTo>
                  <a:pt x="11644" y="2716"/>
                </a:lnTo>
                <a:lnTo>
                  <a:pt x="11631" y="2718"/>
                </a:lnTo>
                <a:lnTo>
                  <a:pt x="11619" y="2721"/>
                </a:lnTo>
                <a:lnTo>
                  <a:pt x="11605" y="2723"/>
                </a:lnTo>
                <a:lnTo>
                  <a:pt x="11617" y="2709"/>
                </a:lnTo>
                <a:lnTo>
                  <a:pt x="11628" y="2703"/>
                </a:lnTo>
                <a:lnTo>
                  <a:pt x="11639" y="2703"/>
                </a:lnTo>
                <a:lnTo>
                  <a:pt x="11656" y="2710"/>
                </a:lnTo>
                <a:close/>
                <a:moveTo>
                  <a:pt x="11670" y="2793"/>
                </a:moveTo>
                <a:lnTo>
                  <a:pt x="11662" y="2798"/>
                </a:lnTo>
                <a:lnTo>
                  <a:pt x="11657" y="2798"/>
                </a:lnTo>
                <a:lnTo>
                  <a:pt x="11653" y="2794"/>
                </a:lnTo>
                <a:lnTo>
                  <a:pt x="11647" y="2788"/>
                </a:lnTo>
                <a:lnTo>
                  <a:pt x="11653" y="2786"/>
                </a:lnTo>
                <a:lnTo>
                  <a:pt x="11658" y="2786"/>
                </a:lnTo>
                <a:lnTo>
                  <a:pt x="11663" y="2788"/>
                </a:lnTo>
                <a:lnTo>
                  <a:pt x="11670" y="2793"/>
                </a:lnTo>
                <a:close/>
                <a:moveTo>
                  <a:pt x="11633" y="2673"/>
                </a:moveTo>
                <a:lnTo>
                  <a:pt x="11647" y="2671"/>
                </a:lnTo>
                <a:lnTo>
                  <a:pt x="11658" y="2676"/>
                </a:lnTo>
                <a:lnTo>
                  <a:pt x="11668" y="2686"/>
                </a:lnTo>
                <a:lnTo>
                  <a:pt x="11678" y="2700"/>
                </a:lnTo>
                <a:lnTo>
                  <a:pt x="11667" y="2693"/>
                </a:lnTo>
                <a:lnTo>
                  <a:pt x="11657" y="2687"/>
                </a:lnTo>
                <a:lnTo>
                  <a:pt x="11644" y="2681"/>
                </a:lnTo>
                <a:lnTo>
                  <a:pt x="11633" y="2673"/>
                </a:lnTo>
                <a:close/>
                <a:moveTo>
                  <a:pt x="11596" y="3290"/>
                </a:moveTo>
                <a:lnTo>
                  <a:pt x="11615" y="3302"/>
                </a:lnTo>
                <a:lnTo>
                  <a:pt x="11610" y="3288"/>
                </a:lnTo>
                <a:lnTo>
                  <a:pt x="11607" y="3267"/>
                </a:lnTo>
                <a:lnTo>
                  <a:pt x="11640" y="3251"/>
                </a:lnTo>
                <a:lnTo>
                  <a:pt x="11647" y="3288"/>
                </a:lnTo>
                <a:lnTo>
                  <a:pt x="11624" y="3320"/>
                </a:lnTo>
                <a:lnTo>
                  <a:pt x="11598" y="3328"/>
                </a:lnTo>
                <a:lnTo>
                  <a:pt x="11596" y="3290"/>
                </a:lnTo>
                <a:close/>
                <a:moveTo>
                  <a:pt x="11577" y="2662"/>
                </a:moveTo>
                <a:lnTo>
                  <a:pt x="11578" y="2659"/>
                </a:lnTo>
                <a:lnTo>
                  <a:pt x="11580" y="2659"/>
                </a:lnTo>
                <a:lnTo>
                  <a:pt x="11584" y="2659"/>
                </a:lnTo>
                <a:lnTo>
                  <a:pt x="11587" y="2659"/>
                </a:lnTo>
                <a:lnTo>
                  <a:pt x="11583" y="2661"/>
                </a:lnTo>
                <a:lnTo>
                  <a:pt x="11580" y="2662"/>
                </a:lnTo>
                <a:lnTo>
                  <a:pt x="11579" y="2662"/>
                </a:lnTo>
                <a:lnTo>
                  <a:pt x="11577" y="2662"/>
                </a:lnTo>
                <a:close/>
                <a:moveTo>
                  <a:pt x="11569" y="2695"/>
                </a:moveTo>
                <a:lnTo>
                  <a:pt x="11571" y="2690"/>
                </a:lnTo>
                <a:lnTo>
                  <a:pt x="11578" y="2687"/>
                </a:lnTo>
                <a:lnTo>
                  <a:pt x="11584" y="2689"/>
                </a:lnTo>
                <a:lnTo>
                  <a:pt x="11592" y="2693"/>
                </a:lnTo>
                <a:lnTo>
                  <a:pt x="11580" y="2695"/>
                </a:lnTo>
                <a:lnTo>
                  <a:pt x="11569" y="2695"/>
                </a:lnTo>
                <a:close/>
                <a:moveTo>
                  <a:pt x="11571" y="3439"/>
                </a:moveTo>
                <a:lnTo>
                  <a:pt x="11577" y="3439"/>
                </a:lnTo>
                <a:lnTo>
                  <a:pt x="11571" y="3439"/>
                </a:lnTo>
                <a:lnTo>
                  <a:pt x="11571" y="3435"/>
                </a:lnTo>
                <a:lnTo>
                  <a:pt x="11575" y="3432"/>
                </a:lnTo>
                <a:lnTo>
                  <a:pt x="11578" y="3435"/>
                </a:lnTo>
                <a:lnTo>
                  <a:pt x="11571" y="3439"/>
                </a:lnTo>
                <a:close/>
                <a:moveTo>
                  <a:pt x="11563" y="3361"/>
                </a:moveTo>
                <a:lnTo>
                  <a:pt x="11574" y="3365"/>
                </a:lnTo>
                <a:lnTo>
                  <a:pt x="11579" y="3372"/>
                </a:lnTo>
                <a:lnTo>
                  <a:pt x="11578" y="3381"/>
                </a:lnTo>
                <a:lnTo>
                  <a:pt x="11566" y="3388"/>
                </a:lnTo>
                <a:lnTo>
                  <a:pt x="11565" y="3374"/>
                </a:lnTo>
                <a:lnTo>
                  <a:pt x="11563" y="3361"/>
                </a:lnTo>
                <a:close/>
                <a:moveTo>
                  <a:pt x="11578" y="3502"/>
                </a:moveTo>
                <a:lnTo>
                  <a:pt x="11571" y="3503"/>
                </a:lnTo>
                <a:lnTo>
                  <a:pt x="11565" y="3501"/>
                </a:lnTo>
                <a:lnTo>
                  <a:pt x="11561" y="3497"/>
                </a:lnTo>
                <a:lnTo>
                  <a:pt x="11557" y="3492"/>
                </a:lnTo>
                <a:lnTo>
                  <a:pt x="11568" y="3497"/>
                </a:lnTo>
                <a:lnTo>
                  <a:pt x="11578" y="3502"/>
                </a:lnTo>
                <a:close/>
                <a:moveTo>
                  <a:pt x="11740" y="2758"/>
                </a:moveTo>
                <a:lnTo>
                  <a:pt x="11743" y="2747"/>
                </a:lnTo>
                <a:lnTo>
                  <a:pt x="11746" y="2736"/>
                </a:lnTo>
                <a:lnTo>
                  <a:pt x="11750" y="2724"/>
                </a:lnTo>
                <a:lnTo>
                  <a:pt x="11754" y="2713"/>
                </a:lnTo>
                <a:lnTo>
                  <a:pt x="11759" y="2727"/>
                </a:lnTo>
                <a:lnTo>
                  <a:pt x="11759" y="2737"/>
                </a:lnTo>
                <a:lnTo>
                  <a:pt x="11754" y="2745"/>
                </a:lnTo>
                <a:lnTo>
                  <a:pt x="11740" y="2758"/>
                </a:lnTo>
                <a:close/>
                <a:moveTo>
                  <a:pt x="11569" y="2541"/>
                </a:moveTo>
                <a:lnTo>
                  <a:pt x="11622" y="2533"/>
                </a:lnTo>
                <a:lnTo>
                  <a:pt x="11645" y="2547"/>
                </a:lnTo>
                <a:lnTo>
                  <a:pt x="11658" y="2570"/>
                </a:lnTo>
                <a:lnTo>
                  <a:pt x="11680" y="2592"/>
                </a:lnTo>
                <a:lnTo>
                  <a:pt x="11741" y="2624"/>
                </a:lnTo>
                <a:lnTo>
                  <a:pt x="11705" y="2621"/>
                </a:lnTo>
                <a:lnTo>
                  <a:pt x="11629" y="2592"/>
                </a:lnTo>
                <a:lnTo>
                  <a:pt x="11569" y="2541"/>
                </a:lnTo>
                <a:close/>
                <a:moveTo>
                  <a:pt x="11571" y="2349"/>
                </a:moveTo>
                <a:lnTo>
                  <a:pt x="11600" y="2348"/>
                </a:lnTo>
                <a:lnTo>
                  <a:pt x="11615" y="2349"/>
                </a:lnTo>
                <a:lnTo>
                  <a:pt x="11611" y="2354"/>
                </a:lnTo>
                <a:lnTo>
                  <a:pt x="11584" y="2368"/>
                </a:lnTo>
                <a:lnTo>
                  <a:pt x="11577" y="2372"/>
                </a:lnTo>
                <a:lnTo>
                  <a:pt x="11574" y="2368"/>
                </a:lnTo>
                <a:lnTo>
                  <a:pt x="11573" y="2359"/>
                </a:lnTo>
                <a:lnTo>
                  <a:pt x="11571" y="2349"/>
                </a:lnTo>
                <a:close/>
                <a:moveTo>
                  <a:pt x="11600" y="2294"/>
                </a:moveTo>
                <a:lnTo>
                  <a:pt x="11602" y="2306"/>
                </a:lnTo>
                <a:lnTo>
                  <a:pt x="11598" y="2312"/>
                </a:lnTo>
                <a:lnTo>
                  <a:pt x="11591" y="2311"/>
                </a:lnTo>
                <a:lnTo>
                  <a:pt x="11579" y="2304"/>
                </a:lnTo>
                <a:lnTo>
                  <a:pt x="11591" y="2299"/>
                </a:lnTo>
                <a:lnTo>
                  <a:pt x="11600" y="2294"/>
                </a:lnTo>
                <a:close/>
                <a:moveTo>
                  <a:pt x="11649" y="2433"/>
                </a:moveTo>
                <a:lnTo>
                  <a:pt x="11654" y="2447"/>
                </a:lnTo>
                <a:lnTo>
                  <a:pt x="11653" y="2451"/>
                </a:lnTo>
                <a:lnTo>
                  <a:pt x="11645" y="2447"/>
                </a:lnTo>
                <a:lnTo>
                  <a:pt x="11633" y="2439"/>
                </a:lnTo>
                <a:lnTo>
                  <a:pt x="11642" y="2437"/>
                </a:lnTo>
                <a:lnTo>
                  <a:pt x="11649" y="2433"/>
                </a:lnTo>
                <a:close/>
                <a:moveTo>
                  <a:pt x="11673" y="2423"/>
                </a:moveTo>
                <a:lnTo>
                  <a:pt x="11676" y="2425"/>
                </a:lnTo>
                <a:lnTo>
                  <a:pt x="11678" y="2429"/>
                </a:lnTo>
                <a:lnTo>
                  <a:pt x="11676" y="2428"/>
                </a:lnTo>
                <a:lnTo>
                  <a:pt x="11673" y="2427"/>
                </a:lnTo>
                <a:lnTo>
                  <a:pt x="11672" y="2424"/>
                </a:lnTo>
                <a:lnTo>
                  <a:pt x="11673" y="2423"/>
                </a:lnTo>
                <a:close/>
                <a:moveTo>
                  <a:pt x="11690" y="2462"/>
                </a:moveTo>
                <a:lnTo>
                  <a:pt x="11698" y="2463"/>
                </a:lnTo>
                <a:lnTo>
                  <a:pt x="11704" y="2467"/>
                </a:lnTo>
                <a:lnTo>
                  <a:pt x="11708" y="2472"/>
                </a:lnTo>
                <a:lnTo>
                  <a:pt x="11709" y="2480"/>
                </a:lnTo>
                <a:lnTo>
                  <a:pt x="11704" y="2479"/>
                </a:lnTo>
                <a:lnTo>
                  <a:pt x="11696" y="2474"/>
                </a:lnTo>
                <a:lnTo>
                  <a:pt x="11690" y="2469"/>
                </a:lnTo>
                <a:lnTo>
                  <a:pt x="11690" y="2462"/>
                </a:lnTo>
                <a:close/>
                <a:moveTo>
                  <a:pt x="11763" y="2581"/>
                </a:moveTo>
                <a:lnTo>
                  <a:pt x="11763" y="2581"/>
                </a:lnTo>
                <a:lnTo>
                  <a:pt x="11763" y="2581"/>
                </a:lnTo>
                <a:lnTo>
                  <a:pt x="11761" y="2581"/>
                </a:lnTo>
                <a:lnTo>
                  <a:pt x="11763" y="2581"/>
                </a:lnTo>
                <a:close/>
                <a:moveTo>
                  <a:pt x="11738" y="2481"/>
                </a:moveTo>
                <a:lnTo>
                  <a:pt x="11749" y="2481"/>
                </a:lnTo>
                <a:lnTo>
                  <a:pt x="11759" y="2481"/>
                </a:lnTo>
                <a:lnTo>
                  <a:pt x="11768" y="2481"/>
                </a:lnTo>
                <a:lnTo>
                  <a:pt x="11778" y="2483"/>
                </a:lnTo>
                <a:lnTo>
                  <a:pt x="11770" y="2489"/>
                </a:lnTo>
                <a:lnTo>
                  <a:pt x="11759" y="2489"/>
                </a:lnTo>
                <a:lnTo>
                  <a:pt x="11749" y="2485"/>
                </a:lnTo>
                <a:lnTo>
                  <a:pt x="11738" y="2481"/>
                </a:lnTo>
                <a:close/>
                <a:moveTo>
                  <a:pt x="11782" y="2448"/>
                </a:moveTo>
                <a:lnTo>
                  <a:pt x="11793" y="2453"/>
                </a:lnTo>
                <a:lnTo>
                  <a:pt x="11794" y="2460"/>
                </a:lnTo>
                <a:lnTo>
                  <a:pt x="11791" y="2469"/>
                </a:lnTo>
                <a:lnTo>
                  <a:pt x="11782" y="2477"/>
                </a:lnTo>
                <a:lnTo>
                  <a:pt x="11783" y="2469"/>
                </a:lnTo>
                <a:lnTo>
                  <a:pt x="11783" y="2462"/>
                </a:lnTo>
                <a:lnTo>
                  <a:pt x="11783" y="2455"/>
                </a:lnTo>
                <a:lnTo>
                  <a:pt x="11782" y="2448"/>
                </a:lnTo>
                <a:close/>
                <a:moveTo>
                  <a:pt x="11831" y="3304"/>
                </a:moveTo>
                <a:lnTo>
                  <a:pt x="11822" y="3310"/>
                </a:lnTo>
                <a:lnTo>
                  <a:pt x="11816" y="3311"/>
                </a:lnTo>
                <a:lnTo>
                  <a:pt x="11811" y="3307"/>
                </a:lnTo>
                <a:lnTo>
                  <a:pt x="11802" y="3299"/>
                </a:lnTo>
                <a:lnTo>
                  <a:pt x="11817" y="3301"/>
                </a:lnTo>
                <a:lnTo>
                  <a:pt x="11831" y="3304"/>
                </a:lnTo>
                <a:close/>
                <a:moveTo>
                  <a:pt x="11864" y="3370"/>
                </a:moveTo>
                <a:lnTo>
                  <a:pt x="11844" y="3374"/>
                </a:lnTo>
                <a:lnTo>
                  <a:pt x="11835" y="3366"/>
                </a:lnTo>
                <a:lnTo>
                  <a:pt x="11830" y="3352"/>
                </a:lnTo>
                <a:lnTo>
                  <a:pt x="11827" y="3338"/>
                </a:lnTo>
                <a:lnTo>
                  <a:pt x="11845" y="3355"/>
                </a:lnTo>
                <a:lnTo>
                  <a:pt x="11864" y="3370"/>
                </a:lnTo>
                <a:close/>
                <a:moveTo>
                  <a:pt x="11855" y="2563"/>
                </a:moveTo>
                <a:lnTo>
                  <a:pt x="11862" y="2567"/>
                </a:lnTo>
                <a:lnTo>
                  <a:pt x="11859" y="2574"/>
                </a:lnTo>
                <a:lnTo>
                  <a:pt x="11852" y="2581"/>
                </a:lnTo>
                <a:lnTo>
                  <a:pt x="11844" y="2579"/>
                </a:lnTo>
                <a:lnTo>
                  <a:pt x="11849" y="2570"/>
                </a:lnTo>
                <a:lnTo>
                  <a:pt x="11855" y="2563"/>
                </a:lnTo>
                <a:close/>
                <a:moveTo>
                  <a:pt x="11913" y="3575"/>
                </a:moveTo>
                <a:lnTo>
                  <a:pt x="11889" y="3586"/>
                </a:lnTo>
                <a:lnTo>
                  <a:pt x="11869" y="3587"/>
                </a:lnTo>
                <a:lnTo>
                  <a:pt x="11855" y="3575"/>
                </a:lnTo>
                <a:lnTo>
                  <a:pt x="11848" y="3548"/>
                </a:lnTo>
                <a:lnTo>
                  <a:pt x="11864" y="3556"/>
                </a:lnTo>
                <a:lnTo>
                  <a:pt x="11881" y="3562"/>
                </a:lnTo>
                <a:lnTo>
                  <a:pt x="11898" y="3568"/>
                </a:lnTo>
                <a:lnTo>
                  <a:pt x="11913" y="3575"/>
                </a:lnTo>
                <a:close/>
                <a:moveTo>
                  <a:pt x="11864" y="3474"/>
                </a:moveTo>
                <a:lnTo>
                  <a:pt x="11852" y="3472"/>
                </a:lnTo>
                <a:lnTo>
                  <a:pt x="11839" y="3469"/>
                </a:lnTo>
                <a:lnTo>
                  <a:pt x="11824" y="3465"/>
                </a:lnTo>
                <a:lnTo>
                  <a:pt x="11807" y="3461"/>
                </a:lnTo>
                <a:lnTo>
                  <a:pt x="11827" y="3456"/>
                </a:lnTo>
                <a:lnTo>
                  <a:pt x="11847" y="3456"/>
                </a:lnTo>
                <a:lnTo>
                  <a:pt x="11861" y="3463"/>
                </a:lnTo>
                <a:lnTo>
                  <a:pt x="11864" y="3474"/>
                </a:lnTo>
                <a:close/>
                <a:moveTo>
                  <a:pt x="11942" y="2505"/>
                </a:moveTo>
                <a:lnTo>
                  <a:pt x="11923" y="2499"/>
                </a:lnTo>
                <a:lnTo>
                  <a:pt x="11904" y="2494"/>
                </a:lnTo>
                <a:lnTo>
                  <a:pt x="11885" y="2488"/>
                </a:lnTo>
                <a:lnTo>
                  <a:pt x="11866" y="2483"/>
                </a:lnTo>
                <a:lnTo>
                  <a:pt x="11886" y="2480"/>
                </a:lnTo>
                <a:lnTo>
                  <a:pt x="11900" y="2483"/>
                </a:lnTo>
                <a:lnTo>
                  <a:pt x="11917" y="2489"/>
                </a:lnTo>
                <a:lnTo>
                  <a:pt x="11942" y="2505"/>
                </a:lnTo>
                <a:close/>
                <a:moveTo>
                  <a:pt x="11946" y="2654"/>
                </a:moveTo>
                <a:lnTo>
                  <a:pt x="11971" y="2662"/>
                </a:lnTo>
                <a:lnTo>
                  <a:pt x="11988" y="2679"/>
                </a:lnTo>
                <a:lnTo>
                  <a:pt x="11989" y="2699"/>
                </a:lnTo>
                <a:lnTo>
                  <a:pt x="11971" y="2719"/>
                </a:lnTo>
                <a:lnTo>
                  <a:pt x="11950" y="2691"/>
                </a:lnTo>
                <a:lnTo>
                  <a:pt x="11923" y="2667"/>
                </a:lnTo>
                <a:lnTo>
                  <a:pt x="11913" y="2652"/>
                </a:lnTo>
                <a:lnTo>
                  <a:pt x="11946" y="2654"/>
                </a:lnTo>
                <a:close/>
                <a:moveTo>
                  <a:pt x="11917" y="3232"/>
                </a:moveTo>
                <a:lnTo>
                  <a:pt x="11913" y="3234"/>
                </a:lnTo>
                <a:lnTo>
                  <a:pt x="11909" y="3235"/>
                </a:lnTo>
                <a:lnTo>
                  <a:pt x="11906" y="3232"/>
                </a:lnTo>
                <a:lnTo>
                  <a:pt x="11905" y="3228"/>
                </a:lnTo>
                <a:lnTo>
                  <a:pt x="11908" y="3226"/>
                </a:lnTo>
                <a:lnTo>
                  <a:pt x="11910" y="3226"/>
                </a:lnTo>
                <a:lnTo>
                  <a:pt x="11914" y="3228"/>
                </a:lnTo>
                <a:lnTo>
                  <a:pt x="11917" y="3232"/>
                </a:lnTo>
                <a:close/>
                <a:moveTo>
                  <a:pt x="11913" y="3032"/>
                </a:moveTo>
                <a:lnTo>
                  <a:pt x="11917" y="3041"/>
                </a:lnTo>
                <a:lnTo>
                  <a:pt x="11913" y="3032"/>
                </a:lnTo>
                <a:lnTo>
                  <a:pt x="11922" y="3030"/>
                </a:lnTo>
                <a:lnTo>
                  <a:pt x="11927" y="3036"/>
                </a:lnTo>
                <a:lnTo>
                  <a:pt x="11924" y="3040"/>
                </a:lnTo>
                <a:lnTo>
                  <a:pt x="11913" y="3032"/>
                </a:lnTo>
                <a:close/>
                <a:moveTo>
                  <a:pt x="12002" y="2768"/>
                </a:moveTo>
                <a:lnTo>
                  <a:pt x="11974" y="2780"/>
                </a:lnTo>
                <a:lnTo>
                  <a:pt x="11943" y="2787"/>
                </a:lnTo>
                <a:lnTo>
                  <a:pt x="11920" y="2780"/>
                </a:lnTo>
                <a:lnTo>
                  <a:pt x="11918" y="2755"/>
                </a:lnTo>
                <a:lnTo>
                  <a:pt x="11940" y="2756"/>
                </a:lnTo>
                <a:lnTo>
                  <a:pt x="11961" y="2759"/>
                </a:lnTo>
                <a:lnTo>
                  <a:pt x="11982" y="2761"/>
                </a:lnTo>
                <a:lnTo>
                  <a:pt x="12002" y="2768"/>
                </a:lnTo>
                <a:close/>
                <a:moveTo>
                  <a:pt x="12027" y="2572"/>
                </a:moveTo>
                <a:lnTo>
                  <a:pt x="12026" y="2582"/>
                </a:lnTo>
                <a:lnTo>
                  <a:pt x="12020" y="2588"/>
                </a:lnTo>
                <a:lnTo>
                  <a:pt x="12010" y="2587"/>
                </a:lnTo>
                <a:lnTo>
                  <a:pt x="11999" y="2582"/>
                </a:lnTo>
                <a:lnTo>
                  <a:pt x="12013" y="2577"/>
                </a:lnTo>
                <a:lnTo>
                  <a:pt x="12027" y="2572"/>
                </a:lnTo>
                <a:close/>
                <a:moveTo>
                  <a:pt x="12059" y="3058"/>
                </a:moveTo>
                <a:lnTo>
                  <a:pt x="12078" y="3067"/>
                </a:lnTo>
                <a:lnTo>
                  <a:pt x="12086" y="3080"/>
                </a:lnTo>
                <a:lnTo>
                  <a:pt x="12083" y="3096"/>
                </a:lnTo>
                <a:lnTo>
                  <a:pt x="12077" y="3116"/>
                </a:lnTo>
                <a:lnTo>
                  <a:pt x="12057" y="3099"/>
                </a:lnTo>
                <a:lnTo>
                  <a:pt x="12049" y="3086"/>
                </a:lnTo>
                <a:lnTo>
                  <a:pt x="12050" y="3073"/>
                </a:lnTo>
                <a:lnTo>
                  <a:pt x="12059" y="3058"/>
                </a:lnTo>
                <a:close/>
                <a:moveTo>
                  <a:pt x="12086" y="2705"/>
                </a:moveTo>
                <a:lnTo>
                  <a:pt x="12096" y="2719"/>
                </a:lnTo>
                <a:lnTo>
                  <a:pt x="12087" y="2724"/>
                </a:lnTo>
                <a:lnTo>
                  <a:pt x="12069" y="2721"/>
                </a:lnTo>
                <a:lnTo>
                  <a:pt x="12050" y="2709"/>
                </a:lnTo>
                <a:lnTo>
                  <a:pt x="12071" y="2705"/>
                </a:lnTo>
                <a:lnTo>
                  <a:pt x="12086" y="2705"/>
                </a:lnTo>
                <a:close/>
                <a:moveTo>
                  <a:pt x="12104" y="2541"/>
                </a:moveTo>
                <a:lnTo>
                  <a:pt x="12122" y="2541"/>
                </a:lnTo>
                <a:lnTo>
                  <a:pt x="12131" y="2554"/>
                </a:lnTo>
                <a:lnTo>
                  <a:pt x="12128" y="2569"/>
                </a:lnTo>
                <a:lnTo>
                  <a:pt x="12114" y="2579"/>
                </a:lnTo>
                <a:lnTo>
                  <a:pt x="12091" y="2577"/>
                </a:lnTo>
                <a:lnTo>
                  <a:pt x="12081" y="2565"/>
                </a:lnTo>
                <a:lnTo>
                  <a:pt x="12083" y="2551"/>
                </a:lnTo>
                <a:lnTo>
                  <a:pt x="12104" y="2541"/>
                </a:lnTo>
                <a:close/>
                <a:moveTo>
                  <a:pt x="12151" y="2606"/>
                </a:moveTo>
                <a:lnTo>
                  <a:pt x="12147" y="2617"/>
                </a:lnTo>
                <a:lnTo>
                  <a:pt x="12138" y="2620"/>
                </a:lnTo>
                <a:lnTo>
                  <a:pt x="12128" y="2614"/>
                </a:lnTo>
                <a:lnTo>
                  <a:pt x="12124" y="2601"/>
                </a:lnTo>
                <a:lnTo>
                  <a:pt x="12133" y="2596"/>
                </a:lnTo>
                <a:lnTo>
                  <a:pt x="12141" y="2595"/>
                </a:lnTo>
                <a:lnTo>
                  <a:pt x="12147" y="2598"/>
                </a:lnTo>
                <a:lnTo>
                  <a:pt x="12151" y="2606"/>
                </a:lnTo>
                <a:close/>
                <a:moveTo>
                  <a:pt x="12189" y="2724"/>
                </a:moveTo>
                <a:lnTo>
                  <a:pt x="12180" y="2732"/>
                </a:lnTo>
                <a:lnTo>
                  <a:pt x="12170" y="2735"/>
                </a:lnTo>
                <a:lnTo>
                  <a:pt x="12160" y="2735"/>
                </a:lnTo>
                <a:lnTo>
                  <a:pt x="12150" y="2732"/>
                </a:lnTo>
                <a:lnTo>
                  <a:pt x="12157" y="2724"/>
                </a:lnTo>
                <a:lnTo>
                  <a:pt x="12166" y="2721"/>
                </a:lnTo>
                <a:lnTo>
                  <a:pt x="12178" y="2721"/>
                </a:lnTo>
                <a:lnTo>
                  <a:pt x="12189" y="2724"/>
                </a:lnTo>
                <a:close/>
                <a:moveTo>
                  <a:pt x="12210" y="2831"/>
                </a:moveTo>
                <a:lnTo>
                  <a:pt x="12192" y="2844"/>
                </a:lnTo>
                <a:lnTo>
                  <a:pt x="12173" y="2826"/>
                </a:lnTo>
                <a:lnTo>
                  <a:pt x="12167" y="2802"/>
                </a:lnTo>
                <a:lnTo>
                  <a:pt x="12188" y="2802"/>
                </a:lnTo>
                <a:lnTo>
                  <a:pt x="12198" y="2810"/>
                </a:lnTo>
                <a:lnTo>
                  <a:pt x="12204" y="2817"/>
                </a:lnTo>
                <a:lnTo>
                  <a:pt x="12208" y="2825"/>
                </a:lnTo>
                <a:lnTo>
                  <a:pt x="12210" y="2831"/>
                </a:lnTo>
                <a:close/>
                <a:moveTo>
                  <a:pt x="12267" y="2777"/>
                </a:moveTo>
                <a:lnTo>
                  <a:pt x="12258" y="2782"/>
                </a:lnTo>
                <a:lnTo>
                  <a:pt x="12240" y="2780"/>
                </a:lnTo>
                <a:lnTo>
                  <a:pt x="12225" y="2773"/>
                </a:lnTo>
                <a:lnTo>
                  <a:pt x="12220" y="2755"/>
                </a:lnTo>
                <a:lnTo>
                  <a:pt x="12238" y="2750"/>
                </a:lnTo>
                <a:lnTo>
                  <a:pt x="12248" y="2759"/>
                </a:lnTo>
                <a:lnTo>
                  <a:pt x="12255" y="2772"/>
                </a:lnTo>
                <a:lnTo>
                  <a:pt x="12267" y="2777"/>
                </a:lnTo>
                <a:close/>
                <a:moveTo>
                  <a:pt x="12297" y="2630"/>
                </a:moveTo>
                <a:lnTo>
                  <a:pt x="12272" y="2630"/>
                </a:lnTo>
                <a:lnTo>
                  <a:pt x="12252" y="2626"/>
                </a:lnTo>
                <a:lnTo>
                  <a:pt x="12236" y="2616"/>
                </a:lnTo>
                <a:lnTo>
                  <a:pt x="12227" y="2601"/>
                </a:lnTo>
                <a:lnTo>
                  <a:pt x="12245" y="2609"/>
                </a:lnTo>
                <a:lnTo>
                  <a:pt x="12263" y="2616"/>
                </a:lnTo>
                <a:lnTo>
                  <a:pt x="12280" y="2623"/>
                </a:lnTo>
                <a:lnTo>
                  <a:pt x="12297" y="2630"/>
                </a:lnTo>
                <a:close/>
                <a:moveTo>
                  <a:pt x="12281" y="2843"/>
                </a:moveTo>
                <a:lnTo>
                  <a:pt x="12257" y="2863"/>
                </a:lnTo>
                <a:lnTo>
                  <a:pt x="12252" y="2850"/>
                </a:lnTo>
                <a:lnTo>
                  <a:pt x="12263" y="2826"/>
                </a:lnTo>
                <a:lnTo>
                  <a:pt x="12288" y="2814"/>
                </a:lnTo>
                <a:lnTo>
                  <a:pt x="12295" y="2820"/>
                </a:lnTo>
                <a:lnTo>
                  <a:pt x="12295" y="2828"/>
                </a:lnTo>
                <a:lnTo>
                  <a:pt x="12290" y="2835"/>
                </a:lnTo>
                <a:lnTo>
                  <a:pt x="12281" y="2843"/>
                </a:lnTo>
                <a:close/>
                <a:moveTo>
                  <a:pt x="12316" y="3086"/>
                </a:moveTo>
                <a:lnTo>
                  <a:pt x="12301" y="3102"/>
                </a:lnTo>
                <a:lnTo>
                  <a:pt x="12290" y="3114"/>
                </a:lnTo>
                <a:lnTo>
                  <a:pt x="12281" y="3104"/>
                </a:lnTo>
                <a:lnTo>
                  <a:pt x="12283" y="3094"/>
                </a:lnTo>
                <a:lnTo>
                  <a:pt x="12296" y="3087"/>
                </a:lnTo>
                <a:lnTo>
                  <a:pt x="12316" y="3086"/>
                </a:lnTo>
                <a:close/>
                <a:moveTo>
                  <a:pt x="12375" y="2885"/>
                </a:moveTo>
                <a:lnTo>
                  <a:pt x="12381" y="2913"/>
                </a:lnTo>
                <a:lnTo>
                  <a:pt x="12357" y="2918"/>
                </a:lnTo>
                <a:lnTo>
                  <a:pt x="12325" y="2904"/>
                </a:lnTo>
                <a:lnTo>
                  <a:pt x="12309" y="2876"/>
                </a:lnTo>
                <a:lnTo>
                  <a:pt x="12324" y="2878"/>
                </a:lnTo>
                <a:lnTo>
                  <a:pt x="12339" y="2880"/>
                </a:lnTo>
                <a:lnTo>
                  <a:pt x="12356" y="2882"/>
                </a:lnTo>
                <a:lnTo>
                  <a:pt x="12375" y="2885"/>
                </a:lnTo>
                <a:close/>
                <a:moveTo>
                  <a:pt x="12343" y="3122"/>
                </a:moveTo>
                <a:lnTo>
                  <a:pt x="12347" y="3127"/>
                </a:lnTo>
                <a:lnTo>
                  <a:pt x="12348" y="3130"/>
                </a:lnTo>
                <a:lnTo>
                  <a:pt x="12346" y="3134"/>
                </a:lnTo>
                <a:lnTo>
                  <a:pt x="12341" y="3138"/>
                </a:lnTo>
                <a:lnTo>
                  <a:pt x="12337" y="3132"/>
                </a:lnTo>
                <a:lnTo>
                  <a:pt x="12337" y="3128"/>
                </a:lnTo>
                <a:lnTo>
                  <a:pt x="12338" y="3124"/>
                </a:lnTo>
                <a:lnTo>
                  <a:pt x="12343" y="3122"/>
                </a:lnTo>
                <a:close/>
                <a:moveTo>
                  <a:pt x="12352" y="3211"/>
                </a:moveTo>
                <a:lnTo>
                  <a:pt x="12347" y="3213"/>
                </a:lnTo>
                <a:lnTo>
                  <a:pt x="12345" y="3212"/>
                </a:lnTo>
                <a:lnTo>
                  <a:pt x="12342" y="3209"/>
                </a:lnTo>
                <a:lnTo>
                  <a:pt x="12342" y="3203"/>
                </a:lnTo>
                <a:lnTo>
                  <a:pt x="12346" y="3202"/>
                </a:lnTo>
                <a:lnTo>
                  <a:pt x="12350" y="3203"/>
                </a:lnTo>
                <a:lnTo>
                  <a:pt x="12351" y="3207"/>
                </a:lnTo>
                <a:lnTo>
                  <a:pt x="12352" y="3211"/>
                </a:lnTo>
                <a:close/>
                <a:moveTo>
                  <a:pt x="12359" y="3274"/>
                </a:moveTo>
                <a:lnTo>
                  <a:pt x="12355" y="3281"/>
                </a:lnTo>
                <a:lnTo>
                  <a:pt x="12351" y="3286"/>
                </a:lnTo>
                <a:lnTo>
                  <a:pt x="12346" y="3290"/>
                </a:lnTo>
                <a:lnTo>
                  <a:pt x="12341" y="3287"/>
                </a:lnTo>
                <a:lnTo>
                  <a:pt x="12342" y="3279"/>
                </a:lnTo>
                <a:lnTo>
                  <a:pt x="12346" y="3273"/>
                </a:lnTo>
                <a:lnTo>
                  <a:pt x="12351" y="3270"/>
                </a:lnTo>
                <a:lnTo>
                  <a:pt x="12359" y="3274"/>
                </a:lnTo>
                <a:close/>
                <a:moveTo>
                  <a:pt x="12302" y="3170"/>
                </a:moveTo>
                <a:lnTo>
                  <a:pt x="12281" y="3180"/>
                </a:lnTo>
                <a:lnTo>
                  <a:pt x="12274" y="3174"/>
                </a:lnTo>
                <a:lnTo>
                  <a:pt x="12278" y="3156"/>
                </a:lnTo>
                <a:lnTo>
                  <a:pt x="12288" y="3132"/>
                </a:lnTo>
                <a:lnTo>
                  <a:pt x="12302" y="3139"/>
                </a:lnTo>
                <a:lnTo>
                  <a:pt x="12310" y="3147"/>
                </a:lnTo>
                <a:lnTo>
                  <a:pt x="12311" y="3157"/>
                </a:lnTo>
                <a:lnTo>
                  <a:pt x="12302" y="3170"/>
                </a:lnTo>
                <a:close/>
                <a:moveTo>
                  <a:pt x="12235" y="3021"/>
                </a:moveTo>
                <a:lnTo>
                  <a:pt x="12239" y="3011"/>
                </a:lnTo>
                <a:lnTo>
                  <a:pt x="12250" y="3010"/>
                </a:lnTo>
                <a:lnTo>
                  <a:pt x="12266" y="3012"/>
                </a:lnTo>
                <a:lnTo>
                  <a:pt x="12278" y="3012"/>
                </a:lnTo>
                <a:lnTo>
                  <a:pt x="12268" y="3024"/>
                </a:lnTo>
                <a:lnTo>
                  <a:pt x="12257" y="3026"/>
                </a:lnTo>
                <a:lnTo>
                  <a:pt x="12246" y="3025"/>
                </a:lnTo>
                <a:lnTo>
                  <a:pt x="12235" y="3021"/>
                </a:lnTo>
                <a:close/>
                <a:moveTo>
                  <a:pt x="12197" y="3223"/>
                </a:moveTo>
                <a:lnTo>
                  <a:pt x="12212" y="3217"/>
                </a:lnTo>
                <a:lnTo>
                  <a:pt x="12227" y="3213"/>
                </a:lnTo>
                <a:lnTo>
                  <a:pt x="12240" y="3216"/>
                </a:lnTo>
                <a:lnTo>
                  <a:pt x="12253" y="3228"/>
                </a:lnTo>
                <a:lnTo>
                  <a:pt x="12239" y="3236"/>
                </a:lnTo>
                <a:lnTo>
                  <a:pt x="12225" y="3239"/>
                </a:lnTo>
                <a:lnTo>
                  <a:pt x="12212" y="3236"/>
                </a:lnTo>
                <a:lnTo>
                  <a:pt x="12197" y="3223"/>
                </a:lnTo>
                <a:close/>
                <a:moveTo>
                  <a:pt x="12254" y="3349"/>
                </a:moveTo>
                <a:lnTo>
                  <a:pt x="12225" y="3348"/>
                </a:lnTo>
                <a:lnTo>
                  <a:pt x="12196" y="3343"/>
                </a:lnTo>
                <a:lnTo>
                  <a:pt x="12171" y="3332"/>
                </a:lnTo>
                <a:lnTo>
                  <a:pt x="12155" y="3309"/>
                </a:lnTo>
                <a:lnTo>
                  <a:pt x="12188" y="3296"/>
                </a:lnTo>
                <a:lnTo>
                  <a:pt x="12221" y="3295"/>
                </a:lnTo>
                <a:lnTo>
                  <a:pt x="12246" y="3311"/>
                </a:lnTo>
                <a:lnTo>
                  <a:pt x="12254" y="3349"/>
                </a:lnTo>
                <a:close/>
                <a:moveTo>
                  <a:pt x="12169" y="3358"/>
                </a:moveTo>
                <a:lnTo>
                  <a:pt x="12188" y="3353"/>
                </a:lnTo>
                <a:lnTo>
                  <a:pt x="12202" y="3358"/>
                </a:lnTo>
                <a:lnTo>
                  <a:pt x="12213" y="3367"/>
                </a:lnTo>
                <a:lnTo>
                  <a:pt x="12225" y="3379"/>
                </a:lnTo>
                <a:lnTo>
                  <a:pt x="12210" y="3380"/>
                </a:lnTo>
                <a:lnTo>
                  <a:pt x="12194" y="3377"/>
                </a:lnTo>
                <a:lnTo>
                  <a:pt x="12182" y="3371"/>
                </a:lnTo>
                <a:lnTo>
                  <a:pt x="12169" y="3358"/>
                </a:lnTo>
                <a:close/>
                <a:moveTo>
                  <a:pt x="12122" y="2759"/>
                </a:moveTo>
                <a:lnTo>
                  <a:pt x="12127" y="2754"/>
                </a:lnTo>
                <a:lnTo>
                  <a:pt x="12131" y="2755"/>
                </a:lnTo>
                <a:lnTo>
                  <a:pt x="12134" y="2759"/>
                </a:lnTo>
                <a:lnTo>
                  <a:pt x="12138" y="2763"/>
                </a:lnTo>
                <a:lnTo>
                  <a:pt x="12133" y="2765"/>
                </a:lnTo>
                <a:lnTo>
                  <a:pt x="12129" y="2764"/>
                </a:lnTo>
                <a:lnTo>
                  <a:pt x="12125" y="2761"/>
                </a:lnTo>
                <a:lnTo>
                  <a:pt x="12122" y="2759"/>
                </a:lnTo>
                <a:close/>
                <a:moveTo>
                  <a:pt x="12078" y="3731"/>
                </a:moveTo>
                <a:lnTo>
                  <a:pt x="12078" y="3720"/>
                </a:lnTo>
                <a:lnTo>
                  <a:pt x="12077" y="3708"/>
                </a:lnTo>
                <a:lnTo>
                  <a:pt x="12077" y="3699"/>
                </a:lnTo>
                <a:lnTo>
                  <a:pt x="12077" y="3691"/>
                </a:lnTo>
                <a:lnTo>
                  <a:pt x="12091" y="3702"/>
                </a:lnTo>
                <a:lnTo>
                  <a:pt x="12096" y="3710"/>
                </a:lnTo>
                <a:lnTo>
                  <a:pt x="12091" y="3719"/>
                </a:lnTo>
                <a:lnTo>
                  <a:pt x="12078" y="3731"/>
                </a:lnTo>
                <a:close/>
                <a:moveTo>
                  <a:pt x="12153" y="3488"/>
                </a:moveTo>
                <a:lnTo>
                  <a:pt x="12145" y="3469"/>
                </a:lnTo>
                <a:lnTo>
                  <a:pt x="12131" y="3459"/>
                </a:lnTo>
                <a:lnTo>
                  <a:pt x="12113" y="3455"/>
                </a:lnTo>
                <a:lnTo>
                  <a:pt x="12092" y="3454"/>
                </a:lnTo>
                <a:lnTo>
                  <a:pt x="12119" y="3417"/>
                </a:lnTo>
                <a:lnTo>
                  <a:pt x="12151" y="3423"/>
                </a:lnTo>
                <a:lnTo>
                  <a:pt x="12169" y="3453"/>
                </a:lnTo>
                <a:lnTo>
                  <a:pt x="12153" y="3488"/>
                </a:lnTo>
                <a:close/>
                <a:moveTo>
                  <a:pt x="11945" y="4439"/>
                </a:moveTo>
                <a:lnTo>
                  <a:pt x="11952" y="4445"/>
                </a:lnTo>
                <a:lnTo>
                  <a:pt x="11954" y="4453"/>
                </a:lnTo>
                <a:lnTo>
                  <a:pt x="11950" y="4459"/>
                </a:lnTo>
                <a:lnTo>
                  <a:pt x="11942" y="4462"/>
                </a:lnTo>
                <a:lnTo>
                  <a:pt x="11937" y="4456"/>
                </a:lnTo>
                <a:lnTo>
                  <a:pt x="11936" y="4448"/>
                </a:lnTo>
                <a:lnTo>
                  <a:pt x="11938" y="4443"/>
                </a:lnTo>
                <a:lnTo>
                  <a:pt x="11945" y="4439"/>
                </a:lnTo>
                <a:close/>
                <a:moveTo>
                  <a:pt x="11942" y="4552"/>
                </a:moveTo>
                <a:lnTo>
                  <a:pt x="11938" y="4542"/>
                </a:lnTo>
                <a:lnTo>
                  <a:pt x="11940" y="4537"/>
                </a:lnTo>
                <a:lnTo>
                  <a:pt x="11945" y="4535"/>
                </a:lnTo>
                <a:lnTo>
                  <a:pt x="11954" y="4533"/>
                </a:lnTo>
                <a:lnTo>
                  <a:pt x="11957" y="4538"/>
                </a:lnTo>
                <a:lnTo>
                  <a:pt x="11955" y="4543"/>
                </a:lnTo>
                <a:lnTo>
                  <a:pt x="11950" y="4547"/>
                </a:lnTo>
                <a:lnTo>
                  <a:pt x="11942" y="4552"/>
                </a:lnTo>
                <a:close/>
                <a:moveTo>
                  <a:pt x="11978" y="4403"/>
                </a:moveTo>
                <a:lnTo>
                  <a:pt x="11984" y="4403"/>
                </a:lnTo>
                <a:lnTo>
                  <a:pt x="11990" y="4405"/>
                </a:lnTo>
                <a:lnTo>
                  <a:pt x="11994" y="4407"/>
                </a:lnTo>
                <a:lnTo>
                  <a:pt x="11993" y="4414"/>
                </a:lnTo>
                <a:lnTo>
                  <a:pt x="11988" y="4412"/>
                </a:lnTo>
                <a:lnTo>
                  <a:pt x="11982" y="4411"/>
                </a:lnTo>
                <a:lnTo>
                  <a:pt x="11978" y="4408"/>
                </a:lnTo>
                <a:lnTo>
                  <a:pt x="11978" y="4403"/>
                </a:lnTo>
                <a:close/>
                <a:moveTo>
                  <a:pt x="12151" y="4447"/>
                </a:moveTo>
                <a:lnTo>
                  <a:pt x="12155" y="4454"/>
                </a:lnTo>
                <a:lnTo>
                  <a:pt x="12156" y="4461"/>
                </a:lnTo>
                <a:lnTo>
                  <a:pt x="12155" y="4464"/>
                </a:lnTo>
                <a:lnTo>
                  <a:pt x="12148" y="4466"/>
                </a:lnTo>
                <a:lnTo>
                  <a:pt x="12145" y="4461"/>
                </a:lnTo>
                <a:lnTo>
                  <a:pt x="12143" y="4457"/>
                </a:lnTo>
                <a:lnTo>
                  <a:pt x="12146" y="4452"/>
                </a:lnTo>
                <a:lnTo>
                  <a:pt x="12151" y="4447"/>
                </a:lnTo>
                <a:close/>
                <a:moveTo>
                  <a:pt x="12127" y="4596"/>
                </a:moveTo>
                <a:lnTo>
                  <a:pt x="12115" y="4593"/>
                </a:lnTo>
                <a:lnTo>
                  <a:pt x="12105" y="4589"/>
                </a:lnTo>
                <a:lnTo>
                  <a:pt x="12092" y="4587"/>
                </a:lnTo>
                <a:lnTo>
                  <a:pt x="12080" y="4583"/>
                </a:lnTo>
                <a:lnTo>
                  <a:pt x="12095" y="4575"/>
                </a:lnTo>
                <a:lnTo>
                  <a:pt x="12108" y="4578"/>
                </a:lnTo>
                <a:lnTo>
                  <a:pt x="12118" y="4585"/>
                </a:lnTo>
                <a:lnTo>
                  <a:pt x="12127" y="4596"/>
                </a:lnTo>
                <a:close/>
                <a:moveTo>
                  <a:pt x="11538" y="4677"/>
                </a:moveTo>
                <a:lnTo>
                  <a:pt x="11556" y="4678"/>
                </a:lnTo>
                <a:lnTo>
                  <a:pt x="11563" y="4685"/>
                </a:lnTo>
                <a:lnTo>
                  <a:pt x="11561" y="4697"/>
                </a:lnTo>
                <a:lnTo>
                  <a:pt x="11556" y="4713"/>
                </a:lnTo>
                <a:lnTo>
                  <a:pt x="11545" y="4705"/>
                </a:lnTo>
                <a:lnTo>
                  <a:pt x="11540" y="4697"/>
                </a:lnTo>
                <a:lnTo>
                  <a:pt x="11537" y="4687"/>
                </a:lnTo>
                <a:lnTo>
                  <a:pt x="11538" y="4677"/>
                </a:lnTo>
                <a:close/>
                <a:moveTo>
                  <a:pt x="11560" y="5093"/>
                </a:moveTo>
                <a:lnTo>
                  <a:pt x="11557" y="5092"/>
                </a:lnTo>
                <a:lnTo>
                  <a:pt x="11556" y="5091"/>
                </a:lnTo>
                <a:lnTo>
                  <a:pt x="11556" y="5089"/>
                </a:lnTo>
                <a:lnTo>
                  <a:pt x="11559" y="5088"/>
                </a:lnTo>
                <a:lnTo>
                  <a:pt x="11561" y="5089"/>
                </a:lnTo>
                <a:lnTo>
                  <a:pt x="11563" y="5091"/>
                </a:lnTo>
                <a:lnTo>
                  <a:pt x="11563" y="5092"/>
                </a:lnTo>
                <a:lnTo>
                  <a:pt x="11560" y="5093"/>
                </a:lnTo>
                <a:close/>
                <a:moveTo>
                  <a:pt x="11549" y="4807"/>
                </a:moveTo>
                <a:lnTo>
                  <a:pt x="11549" y="4804"/>
                </a:lnTo>
                <a:lnTo>
                  <a:pt x="11550" y="4803"/>
                </a:lnTo>
                <a:lnTo>
                  <a:pt x="11552" y="4802"/>
                </a:lnTo>
                <a:lnTo>
                  <a:pt x="11555" y="4802"/>
                </a:lnTo>
                <a:lnTo>
                  <a:pt x="11556" y="4806"/>
                </a:lnTo>
                <a:lnTo>
                  <a:pt x="11555" y="4807"/>
                </a:lnTo>
                <a:lnTo>
                  <a:pt x="11552" y="4808"/>
                </a:lnTo>
                <a:lnTo>
                  <a:pt x="11549" y="4807"/>
                </a:lnTo>
                <a:close/>
                <a:moveTo>
                  <a:pt x="11550" y="5005"/>
                </a:moveTo>
                <a:lnTo>
                  <a:pt x="11551" y="5002"/>
                </a:lnTo>
                <a:lnTo>
                  <a:pt x="11554" y="4997"/>
                </a:lnTo>
                <a:lnTo>
                  <a:pt x="11556" y="4994"/>
                </a:lnTo>
                <a:lnTo>
                  <a:pt x="11560" y="4994"/>
                </a:lnTo>
                <a:lnTo>
                  <a:pt x="11557" y="4998"/>
                </a:lnTo>
                <a:lnTo>
                  <a:pt x="11556" y="5002"/>
                </a:lnTo>
                <a:lnTo>
                  <a:pt x="11554" y="5005"/>
                </a:lnTo>
                <a:lnTo>
                  <a:pt x="11550" y="5005"/>
                </a:lnTo>
                <a:close/>
                <a:moveTo>
                  <a:pt x="11596" y="5019"/>
                </a:moveTo>
                <a:lnTo>
                  <a:pt x="11592" y="5026"/>
                </a:lnTo>
                <a:lnTo>
                  <a:pt x="11587" y="5030"/>
                </a:lnTo>
                <a:lnTo>
                  <a:pt x="11582" y="5031"/>
                </a:lnTo>
                <a:lnTo>
                  <a:pt x="11574" y="5031"/>
                </a:lnTo>
                <a:lnTo>
                  <a:pt x="11583" y="5026"/>
                </a:lnTo>
                <a:lnTo>
                  <a:pt x="11596" y="5019"/>
                </a:lnTo>
                <a:close/>
                <a:moveTo>
                  <a:pt x="11578" y="5279"/>
                </a:moveTo>
                <a:lnTo>
                  <a:pt x="11578" y="5280"/>
                </a:lnTo>
                <a:lnTo>
                  <a:pt x="11578" y="5280"/>
                </a:lnTo>
                <a:lnTo>
                  <a:pt x="11578" y="5279"/>
                </a:lnTo>
                <a:lnTo>
                  <a:pt x="11578" y="5279"/>
                </a:lnTo>
                <a:lnTo>
                  <a:pt x="11578" y="5280"/>
                </a:lnTo>
                <a:lnTo>
                  <a:pt x="11579" y="5280"/>
                </a:lnTo>
                <a:lnTo>
                  <a:pt x="11579" y="5280"/>
                </a:lnTo>
                <a:lnTo>
                  <a:pt x="11578" y="5279"/>
                </a:lnTo>
                <a:close/>
                <a:moveTo>
                  <a:pt x="11529" y="4400"/>
                </a:moveTo>
                <a:lnTo>
                  <a:pt x="11531" y="4398"/>
                </a:lnTo>
                <a:lnTo>
                  <a:pt x="11529" y="4400"/>
                </a:lnTo>
                <a:lnTo>
                  <a:pt x="11529" y="4397"/>
                </a:lnTo>
                <a:lnTo>
                  <a:pt x="11529" y="4397"/>
                </a:lnTo>
                <a:lnTo>
                  <a:pt x="11529" y="4397"/>
                </a:lnTo>
                <a:lnTo>
                  <a:pt x="11529" y="4400"/>
                </a:lnTo>
                <a:close/>
                <a:moveTo>
                  <a:pt x="11529" y="5903"/>
                </a:moveTo>
                <a:lnTo>
                  <a:pt x="11528" y="5900"/>
                </a:lnTo>
                <a:lnTo>
                  <a:pt x="11528" y="5899"/>
                </a:lnTo>
                <a:lnTo>
                  <a:pt x="11529" y="5900"/>
                </a:lnTo>
                <a:lnTo>
                  <a:pt x="11529" y="5903"/>
                </a:lnTo>
                <a:close/>
                <a:moveTo>
                  <a:pt x="11499" y="5769"/>
                </a:moveTo>
                <a:lnTo>
                  <a:pt x="11490" y="5771"/>
                </a:lnTo>
                <a:lnTo>
                  <a:pt x="11482" y="5769"/>
                </a:lnTo>
                <a:lnTo>
                  <a:pt x="11475" y="5768"/>
                </a:lnTo>
                <a:lnTo>
                  <a:pt x="11468" y="5763"/>
                </a:lnTo>
                <a:lnTo>
                  <a:pt x="11476" y="5739"/>
                </a:lnTo>
                <a:lnTo>
                  <a:pt x="11505" y="5739"/>
                </a:lnTo>
                <a:lnTo>
                  <a:pt x="11523" y="5751"/>
                </a:lnTo>
                <a:lnTo>
                  <a:pt x="11499" y="5769"/>
                </a:lnTo>
                <a:close/>
                <a:moveTo>
                  <a:pt x="11489" y="5986"/>
                </a:moveTo>
                <a:lnTo>
                  <a:pt x="11496" y="5983"/>
                </a:lnTo>
                <a:lnTo>
                  <a:pt x="11503" y="5983"/>
                </a:lnTo>
                <a:lnTo>
                  <a:pt x="11510" y="5984"/>
                </a:lnTo>
                <a:lnTo>
                  <a:pt x="11517" y="5987"/>
                </a:lnTo>
                <a:lnTo>
                  <a:pt x="11503" y="5987"/>
                </a:lnTo>
                <a:lnTo>
                  <a:pt x="11489" y="5986"/>
                </a:lnTo>
                <a:close/>
                <a:moveTo>
                  <a:pt x="11504" y="6108"/>
                </a:moveTo>
                <a:lnTo>
                  <a:pt x="11504" y="6103"/>
                </a:lnTo>
                <a:lnTo>
                  <a:pt x="11508" y="6103"/>
                </a:lnTo>
                <a:lnTo>
                  <a:pt x="11512" y="6107"/>
                </a:lnTo>
                <a:lnTo>
                  <a:pt x="11512" y="6112"/>
                </a:lnTo>
                <a:lnTo>
                  <a:pt x="11508" y="6110"/>
                </a:lnTo>
                <a:lnTo>
                  <a:pt x="11504" y="6108"/>
                </a:lnTo>
                <a:close/>
                <a:moveTo>
                  <a:pt x="11499" y="6047"/>
                </a:moveTo>
                <a:lnTo>
                  <a:pt x="11490" y="6045"/>
                </a:lnTo>
                <a:lnTo>
                  <a:pt x="11489" y="6043"/>
                </a:lnTo>
                <a:lnTo>
                  <a:pt x="11493" y="6040"/>
                </a:lnTo>
                <a:lnTo>
                  <a:pt x="11500" y="6043"/>
                </a:lnTo>
                <a:lnTo>
                  <a:pt x="11500" y="6045"/>
                </a:lnTo>
                <a:lnTo>
                  <a:pt x="11499" y="6047"/>
                </a:lnTo>
                <a:close/>
                <a:moveTo>
                  <a:pt x="11462" y="5958"/>
                </a:moveTo>
                <a:lnTo>
                  <a:pt x="11454" y="5977"/>
                </a:lnTo>
                <a:lnTo>
                  <a:pt x="11430" y="5979"/>
                </a:lnTo>
                <a:lnTo>
                  <a:pt x="11407" y="5969"/>
                </a:lnTo>
                <a:lnTo>
                  <a:pt x="11403" y="5955"/>
                </a:lnTo>
                <a:lnTo>
                  <a:pt x="11437" y="5947"/>
                </a:lnTo>
                <a:lnTo>
                  <a:pt x="11463" y="5937"/>
                </a:lnTo>
                <a:lnTo>
                  <a:pt x="11476" y="5936"/>
                </a:lnTo>
                <a:lnTo>
                  <a:pt x="11462" y="5958"/>
                </a:lnTo>
                <a:close/>
                <a:moveTo>
                  <a:pt x="11420" y="6203"/>
                </a:moveTo>
                <a:lnTo>
                  <a:pt x="11398" y="6194"/>
                </a:lnTo>
                <a:lnTo>
                  <a:pt x="11388" y="6182"/>
                </a:lnTo>
                <a:lnTo>
                  <a:pt x="11387" y="6168"/>
                </a:lnTo>
                <a:lnTo>
                  <a:pt x="11393" y="6155"/>
                </a:lnTo>
                <a:lnTo>
                  <a:pt x="11407" y="6084"/>
                </a:lnTo>
                <a:lnTo>
                  <a:pt x="11435" y="6099"/>
                </a:lnTo>
                <a:lnTo>
                  <a:pt x="11449" y="6154"/>
                </a:lnTo>
                <a:lnTo>
                  <a:pt x="11420" y="6203"/>
                </a:lnTo>
                <a:close/>
                <a:moveTo>
                  <a:pt x="11414" y="6583"/>
                </a:moveTo>
                <a:lnTo>
                  <a:pt x="11416" y="6623"/>
                </a:lnTo>
                <a:lnTo>
                  <a:pt x="11403" y="6673"/>
                </a:lnTo>
                <a:lnTo>
                  <a:pt x="11387" y="6728"/>
                </a:lnTo>
                <a:lnTo>
                  <a:pt x="11382" y="6786"/>
                </a:lnTo>
                <a:lnTo>
                  <a:pt x="11351" y="6772"/>
                </a:lnTo>
                <a:lnTo>
                  <a:pt x="11330" y="6758"/>
                </a:lnTo>
                <a:lnTo>
                  <a:pt x="11312" y="6756"/>
                </a:lnTo>
                <a:lnTo>
                  <a:pt x="11294" y="6781"/>
                </a:lnTo>
                <a:lnTo>
                  <a:pt x="11295" y="6747"/>
                </a:lnTo>
                <a:lnTo>
                  <a:pt x="11333" y="6726"/>
                </a:lnTo>
                <a:lnTo>
                  <a:pt x="11359" y="6706"/>
                </a:lnTo>
                <a:lnTo>
                  <a:pt x="11322" y="6674"/>
                </a:lnTo>
                <a:lnTo>
                  <a:pt x="11345" y="6617"/>
                </a:lnTo>
                <a:lnTo>
                  <a:pt x="11360" y="6555"/>
                </a:lnTo>
                <a:lnTo>
                  <a:pt x="11379" y="6528"/>
                </a:lnTo>
                <a:lnTo>
                  <a:pt x="11414" y="6583"/>
                </a:lnTo>
                <a:close/>
                <a:moveTo>
                  <a:pt x="11273" y="6634"/>
                </a:moveTo>
                <a:lnTo>
                  <a:pt x="11266" y="6634"/>
                </a:lnTo>
                <a:lnTo>
                  <a:pt x="11263" y="6631"/>
                </a:lnTo>
                <a:lnTo>
                  <a:pt x="11267" y="6627"/>
                </a:lnTo>
                <a:lnTo>
                  <a:pt x="11273" y="6625"/>
                </a:lnTo>
                <a:lnTo>
                  <a:pt x="11284" y="6627"/>
                </a:lnTo>
                <a:lnTo>
                  <a:pt x="11286" y="6630"/>
                </a:lnTo>
                <a:lnTo>
                  <a:pt x="11282" y="6632"/>
                </a:lnTo>
                <a:lnTo>
                  <a:pt x="11273" y="6634"/>
                </a:lnTo>
                <a:close/>
                <a:moveTo>
                  <a:pt x="11298" y="6879"/>
                </a:moveTo>
                <a:lnTo>
                  <a:pt x="11355" y="6903"/>
                </a:lnTo>
                <a:lnTo>
                  <a:pt x="11349" y="6916"/>
                </a:lnTo>
                <a:lnTo>
                  <a:pt x="11310" y="6930"/>
                </a:lnTo>
                <a:lnTo>
                  <a:pt x="11275" y="6956"/>
                </a:lnTo>
                <a:lnTo>
                  <a:pt x="11265" y="6934"/>
                </a:lnTo>
                <a:lnTo>
                  <a:pt x="11266" y="6912"/>
                </a:lnTo>
                <a:lnTo>
                  <a:pt x="11277" y="6892"/>
                </a:lnTo>
                <a:lnTo>
                  <a:pt x="11298" y="6879"/>
                </a:lnTo>
                <a:close/>
                <a:moveTo>
                  <a:pt x="11296" y="6878"/>
                </a:moveTo>
                <a:lnTo>
                  <a:pt x="11290" y="6875"/>
                </a:lnTo>
                <a:lnTo>
                  <a:pt x="11284" y="6873"/>
                </a:lnTo>
                <a:lnTo>
                  <a:pt x="11280" y="6869"/>
                </a:lnTo>
                <a:lnTo>
                  <a:pt x="11279" y="6864"/>
                </a:lnTo>
                <a:lnTo>
                  <a:pt x="11281" y="6863"/>
                </a:lnTo>
                <a:lnTo>
                  <a:pt x="11286" y="6864"/>
                </a:lnTo>
                <a:lnTo>
                  <a:pt x="11293" y="6870"/>
                </a:lnTo>
                <a:lnTo>
                  <a:pt x="11296" y="6878"/>
                </a:lnTo>
                <a:close/>
                <a:moveTo>
                  <a:pt x="11350" y="6926"/>
                </a:moveTo>
                <a:lnTo>
                  <a:pt x="11354" y="6929"/>
                </a:lnTo>
                <a:lnTo>
                  <a:pt x="11356" y="6931"/>
                </a:lnTo>
                <a:lnTo>
                  <a:pt x="11358" y="6934"/>
                </a:lnTo>
                <a:lnTo>
                  <a:pt x="11356" y="6938"/>
                </a:lnTo>
                <a:lnTo>
                  <a:pt x="11352" y="6937"/>
                </a:lnTo>
                <a:lnTo>
                  <a:pt x="11350" y="6934"/>
                </a:lnTo>
                <a:lnTo>
                  <a:pt x="11350" y="6931"/>
                </a:lnTo>
                <a:lnTo>
                  <a:pt x="11350" y="6926"/>
                </a:lnTo>
                <a:close/>
                <a:moveTo>
                  <a:pt x="11379" y="7453"/>
                </a:moveTo>
                <a:lnTo>
                  <a:pt x="11361" y="7453"/>
                </a:lnTo>
                <a:lnTo>
                  <a:pt x="11351" y="7447"/>
                </a:lnTo>
                <a:lnTo>
                  <a:pt x="11346" y="7435"/>
                </a:lnTo>
                <a:lnTo>
                  <a:pt x="11346" y="7420"/>
                </a:lnTo>
                <a:lnTo>
                  <a:pt x="11364" y="7420"/>
                </a:lnTo>
                <a:lnTo>
                  <a:pt x="11374" y="7427"/>
                </a:lnTo>
                <a:lnTo>
                  <a:pt x="11378" y="7438"/>
                </a:lnTo>
                <a:lnTo>
                  <a:pt x="11379" y="7453"/>
                </a:lnTo>
                <a:close/>
                <a:moveTo>
                  <a:pt x="11380" y="7124"/>
                </a:moveTo>
                <a:lnTo>
                  <a:pt x="11383" y="7125"/>
                </a:lnTo>
                <a:lnTo>
                  <a:pt x="11386" y="7126"/>
                </a:lnTo>
                <a:lnTo>
                  <a:pt x="11386" y="7127"/>
                </a:lnTo>
                <a:lnTo>
                  <a:pt x="11384" y="7129"/>
                </a:lnTo>
                <a:lnTo>
                  <a:pt x="11382" y="7129"/>
                </a:lnTo>
                <a:lnTo>
                  <a:pt x="11379" y="7129"/>
                </a:lnTo>
                <a:lnTo>
                  <a:pt x="11379" y="7126"/>
                </a:lnTo>
                <a:lnTo>
                  <a:pt x="11380" y="7124"/>
                </a:lnTo>
                <a:close/>
                <a:moveTo>
                  <a:pt x="11346" y="7395"/>
                </a:moveTo>
                <a:lnTo>
                  <a:pt x="11346" y="7397"/>
                </a:lnTo>
                <a:lnTo>
                  <a:pt x="11344" y="7399"/>
                </a:lnTo>
                <a:lnTo>
                  <a:pt x="11341" y="7397"/>
                </a:lnTo>
                <a:lnTo>
                  <a:pt x="11341" y="7395"/>
                </a:lnTo>
                <a:lnTo>
                  <a:pt x="11344" y="7395"/>
                </a:lnTo>
                <a:lnTo>
                  <a:pt x="11346" y="7395"/>
                </a:lnTo>
                <a:close/>
                <a:moveTo>
                  <a:pt x="11340" y="6986"/>
                </a:moveTo>
                <a:lnTo>
                  <a:pt x="11340" y="6984"/>
                </a:lnTo>
                <a:lnTo>
                  <a:pt x="11340" y="6984"/>
                </a:lnTo>
                <a:lnTo>
                  <a:pt x="11341" y="6984"/>
                </a:lnTo>
                <a:lnTo>
                  <a:pt x="11344" y="6985"/>
                </a:lnTo>
                <a:lnTo>
                  <a:pt x="11340" y="6986"/>
                </a:lnTo>
                <a:close/>
                <a:moveTo>
                  <a:pt x="11344" y="7548"/>
                </a:moveTo>
                <a:lnTo>
                  <a:pt x="11332" y="7542"/>
                </a:lnTo>
                <a:lnTo>
                  <a:pt x="11338" y="7535"/>
                </a:lnTo>
                <a:lnTo>
                  <a:pt x="11354" y="7530"/>
                </a:lnTo>
                <a:lnTo>
                  <a:pt x="11372" y="7532"/>
                </a:lnTo>
                <a:lnTo>
                  <a:pt x="11375" y="7541"/>
                </a:lnTo>
                <a:lnTo>
                  <a:pt x="11368" y="7546"/>
                </a:lnTo>
                <a:lnTo>
                  <a:pt x="11355" y="7548"/>
                </a:lnTo>
                <a:lnTo>
                  <a:pt x="11344" y="7548"/>
                </a:lnTo>
                <a:close/>
                <a:moveTo>
                  <a:pt x="11349" y="7596"/>
                </a:moveTo>
                <a:lnTo>
                  <a:pt x="11345" y="7593"/>
                </a:lnTo>
                <a:lnTo>
                  <a:pt x="11346" y="7593"/>
                </a:lnTo>
                <a:lnTo>
                  <a:pt x="11349" y="7593"/>
                </a:lnTo>
                <a:lnTo>
                  <a:pt x="11350" y="7593"/>
                </a:lnTo>
                <a:lnTo>
                  <a:pt x="11349" y="7596"/>
                </a:lnTo>
                <a:close/>
                <a:moveTo>
                  <a:pt x="11335" y="7513"/>
                </a:moveTo>
                <a:lnTo>
                  <a:pt x="11332" y="7513"/>
                </a:lnTo>
                <a:lnTo>
                  <a:pt x="11330" y="7513"/>
                </a:lnTo>
                <a:lnTo>
                  <a:pt x="11328" y="7512"/>
                </a:lnTo>
                <a:lnTo>
                  <a:pt x="11328" y="7509"/>
                </a:lnTo>
                <a:lnTo>
                  <a:pt x="11331" y="7509"/>
                </a:lnTo>
                <a:lnTo>
                  <a:pt x="11333" y="7509"/>
                </a:lnTo>
                <a:lnTo>
                  <a:pt x="11335" y="7511"/>
                </a:lnTo>
                <a:lnTo>
                  <a:pt x="11335" y="7513"/>
                </a:lnTo>
                <a:close/>
                <a:moveTo>
                  <a:pt x="11322" y="6956"/>
                </a:moveTo>
                <a:lnTo>
                  <a:pt x="11326" y="6954"/>
                </a:lnTo>
                <a:lnTo>
                  <a:pt x="11328" y="6956"/>
                </a:lnTo>
                <a:lnTo>
                  <a:pt x="11332" y="6957"/>
                </a:lnTo>
                <a:lnTo>
                  <a:pt x="11335" y="6959"/>
                </a:lnTo>
                <a:lnTo>
                  <a:pt x="11331" y="6959"/>
                </a:lnTo>
                <a:lnTo>
                  <a:pt x="11327" y="6961"/>
                </a:lnTo>
                <a:lnTo>
                  <a:pt x="11323" y="6959"/>
                </a:lnTo>
                <a:lnTo>
                  <a:pt x="11322" y="6956"/>
                </a:lnTo>
                <a:close/>
                <a:moveTo>
                  <a:pt x="11319" y="7247"/>
                </a:moveTo>
                <a:lnTo>
                  <a:pt x="11318" y="7243"/>
                </a:lnTo>
                <a:lnTo>
                  <a:pt x="11319" y="7242"/>
                </a:lnTo>
                <a:lnTo>
                  <a:pt x="11321" y="7242"/>
                </a:lnTo>
                <a:lnTo>
                  <a:pt x="11323" y="7243"/>
                </a:lnTo>
                <a:lnTo>
                  <a:pt x="11324" y="7245"/>
                </a:lnTo>
                <a:lnTo>
                  <a:pt x="11323" y="7246"/>
                </a:lnTo>
                <a:lnTo>
                  <a:pt x="11322" y="7246"/>
                </a:lnTo>
                <a:lnTo>
                  <a:pt x="11319" y="7247"/>
                </a:lnTo>
                <a:close/>
                <a:moveTo>
                  <a:pt x="11312" y="7138"/>
                </a:moveTo>
                <a:lnTo>
                  <a:pt x="11314" y="7136"/>
                </a:lnTo>
                <a:lnTo>
                  <a:pt x="11317" y="7136"/>
                </a:lnTo>
                <a:lnTo>
                  <a:pt x="11319" y="7138"/>
                </a:lnTo>
                <a:lnTo>
                  <a:pt x="11322" y="7140"/>
                </a:lnTo>
                <a:lnTo>
                  <a:pt x="11319" y="7140"/>
                </a:lnTo>
                <a:lnTo>
                  <a:pt x="11317" y="7140"/>
                </a:lnTo>
                <a:lnTo>
                  <a:pt x="11314" y="7139"/>
                </a:lnTo>
                <a:lnTo>
                  <a:pt x="11312" y="7138"/>
                </a:lnTo>
                <a:close/>
                <a:moveTo>
                  <a:pt x="11312" y="7418"/>
                </a:moveTo>
                <a:lnTo>
                  <a:pt x="11313" y="7416"/>
                </a:lnTo>
                <a:lnTo>
                  <a:pt x="11313" y="7416"/>
                </a:lnTo>
                <a:lnTo>
                  <a:pt x="11314" y="7416"/>
                </a:lnTo>
                <a:lnTo>
                  <a:pt x="11316" y="7418"/>
                </a:lnTo>
                <a:lnTo>
                  <a:pt x="11312" y="7418"/>
                </a:lnTo>
                <a:close/>
                <a:moveTo>
                  <a:pt x="11298" y="7602"/>
                </a:moveTo>
                <a:lnTo>
                  <a:pt x="11300" y="7587"/>
                </a:lnTo>
                <a:lnTo>
                  <a:pt x="11302" y="7574"/>
                </a:lnTo>
                <a:lnTo>
                  <a:pt x="11307" y="7581"/>
                </a:lnTo>
                <a:lnTo>
                  <a:pt x="11308" y="7587"/>
                </a:lnTo>
                <a:lnTo>
                  <a:pt x="11307" y="7595"/>
                </a:lnTo>
                <a:lnTo>
                  <a:pt x="11298" y="7602"/>
                </a:lnTo>
                <a:close/>
                <a:moveTo>
                  <a:pt x="11291" y="7162"/>
                </a:moveTo>
                <a:lnTo>
                  <a:pt x="11291" y="7161"/>
                </a:lnTo>
                <a:lnTo>
                  <a:pt x="11293" y="7159"/>
                </a:lnTo>
                <a:lnTo>
                  <a:pt x="11299" y="7159"/>
                </a:lnTo>
                <a:lnTo>
                  <a:pt x="11300" y="7161"/>
                </a:lnTo>
                <a:lnTo>
                  <a:pt x="11298" y="7163"/>
                </a:lnTo>
                <a:lnTo>
                  <a:pt x="11291" y="7162"/>
                </a:lnTo>
                <a:close/>
                <a:moveTo>
                  <a:pt x="11284" y="7551"/>
                </a:moveTo>
                <a:lnTo>
                  <a:pt x="11296" y="7555"/>
                </a:lnTo>
                <a:lnTo>
                  <a:pt x="11302" y="7560"/>
                </a:lnTo>
                <a:lnTo>
                  <a:pt x="11302" y="7565"/>
                </a:lnTo>
                <a:lnTo>
                  <a:pt x="11300" y="7572"/>
                </a:lnTo>
                <a:lnTo>
                  <a:pt x="11294" y="7568"/>
                </a:lnTo>
                <a:lnTo>
                  <a:pt x="11289" y="7564"/>
                </a:lnTo>
                <a:lnTo>
                  <a:pt x="11285" y="7559"/>
                </a:lnTo>
                <a:lnTo>
                  <a:pt x="11284" y="7551"/>
                </a:lnTo>
                <a:close/>
                <a:moveTo>
                  <a:pt x="11272" y="6972"/>
                </a:moveTo>
                <a:lnTo>
                  <a:pt x="11273" y="6972"/>
                </a:lnTo>
                <a:lnTo>
                  <a:pt x="11272" y="6972"/>
                </a:lnTo>
                <a:lnTo>
                  <a:pt x="11273" y="6965"/>
                </a:lnTo>
                <a:lnTo>
                  <a:pt x="11275" y="6963"/>
                </a:lnTo>
                <a:lnTo>
                  <a:pt x="11273" y="6966"/>
                </a:lnTo>
                <a:lnTo>
                  <a:pt x="11272" y="6972"/>
                </a:lnTo>
                <a:close/>
                <a:moveTo>
                  <a:pt x="11275" y="7455"/>
                </a:moveTo>
                <a:lnTo>
                  <a:pt x="11275" y="7453"/>
                </a:lnTo>
                <a:lnTo>
                  <a:pt x="11273" y="7451"/>
                </a:lnTo>
                <a:lnTo>
                  <a:pt x="11276" y="7452"/>
                </a:lnTo>
                <a:lnTo>
                  <a:pt x="11277" y="7452"/>
                </a:lnTo>
                <a:lnTo>
                  <a:pt x="11277" y="7453"/>
                </a:lnTo>
                <a:lnTo>
                  <a:pt x="11275" y="7455"/>
                </a:lnTo>
                <a:close/>
                <a:moveTo>
                  <a:pt x="11253" y="7133"/>
                </a:moveTo>
                <a:lnTo>
                  <a:pt x="11253" y="7131"/>
                </a:lnTo>
                <a:lnTo>
                  <a:pt x="11254" y="7130"/>
                </a:lnTo>
                <a:lnTo>
                  <a:pt x="11256" y="7131"/>
                </a:lnTo>
                <a:lnTo>
                  <a:pt x="11257" y="7131"/>
                </a:lnTo>
                <a:lnTo>
                  <a:pt x="11253" y="7133"/>
                </a:lnTo>
                <a:close/>
                <a:moveTo>
                  <a:pt x="11235" y="6593"/>
                </a:moveTo>
                <a:lnTo>
                  <a:pt x="11231" y="6589"/>
                </a:lnTo>
                <a:lnTo>
                  <a:pt x="11230" y="6585"/>
                </a:lnTo>
                <a:lnTo>
                  <a:pt x="11233" y="6583"/>
                </a:lnTo>
                <a:lnTo>
                  <a:pt x="11238" y="6581"/>
                </a:lnTo>
                <a:lnTo>
                  <a:pt x="11244" y="6585"/>
                </a:lnTo>
                <a:lnTo>
                  <a:pt x="11247" y="6589"/>
                </a:lnTo>
                <a:lnTo>
                  <a:pt x="11244" y="6592"/>
                </a:lnTo>
                <a:lnTo>
                  <a:pt x="11235" y="6593"/>
                </a:lnTo>
                <a:close/>
                <a:moveTo>
                  <a:pt x="11247" y="7721"/>
                </a:moveTo>
                <a:lnTo>
                  <a:pt x="11243" y="7724"/>
                </a:lnTo>
                <a:lnTo>
                  <a:pt x="11237" y="7726"/>
                </a:lnTo>
                <a:lnTo>
                  <a:pt x="11230" y="7727"/>
                </a:lnTo>
                <a:lnTo>
                  <a:pt x="11226" y="7724"/>
                </a:lnTo>
                <a:lnTo>
                  <a:pt x="11228" y="7710"/>
                </a:lnTo>
                <a:lnTo>
                  <a:pt x="11238" y="7703"/>
                </a:lnTo>
                <a:lnTo>
                  <a:pt x="11248" y="7705"/>
                </a:lnTo>
                <a:lnTo>
                  <a:pt x="11247" y="7721"/>
                </a:lnTo>
                <a:close/>
                <a:moveTo>
                  <a:pt x="11242" y="7877"/>
                </a:moveTo>
                <a:lnTo>
                  <a:pt x="11234" y="7877"/>
                </a:lnTo>
                <a:lnTo>
                  <a:pt x="11233" y="7873"/>
                </a:lnTo>
                <a:lnTo>
                  <a:pt x="11237" y="7872"/>
                </a:lnTo>
                <a:lnTo>
                  <a:pt x="11243" y="7875"/>
                </a:lnTo>
                <a:lnTo>
                  <a:pt x="11243" y="7876"/>
                </a:lnTo>
                <a:lnTo>
                  <a:pt x="11242" y="7877"/>
                </a:lnTo>
                <a:close/>
                <a:moveTo>
                  <a:pt x="11235" y="7761"/>
                </a:moveTo>
                <a:lnTo>
                  <a:pt x="11237" y="7764"/>
                </a:lnTo>
                <a:lnTo>
                  <a:pt x="11237" y="7766"/>
                </a:lnTo>
                <a:lnTo>
                  <a:pt x="11235" y="7764"/>
                </a:lnTo>
                <a:lnTo>
                  <a:pt x="11235" y="7761"/>
                </a:lnTo>
                <a:close/>
                <a:moveTo>
                  <a:pt x="11235" y="7759"/>
                </a:moveTo>
                <a:lnTo>
                  <a:pt x="11231" y="7756"/>
                </a:lnTo>
                <a:lnTo>
                  <a:pt x="11229" y="7754"/>
                </a:lnTo>
                <a:lnTo>
                  <a:pt x="11229" y="7752"/>
                </a:lnTo>
                <a:lnTo>
                  <a:pt x="11231" y="7749"/>
                </a:lnTo>
                <a:lnTo>
                  <a:pt x="11234" y="7751"/>
                </a:lnTo>
                <a:lnTo>
                  <a:pt x="11235" y="7752"/>
                </a:lnTo>
                <a:lnTo>
                  <a:pt x="11235" y="7756"/>
                </a:lnTo>
                <a:lnTo>
                  <a:pt x="11235" y="7759"/>
                </a:lnTo>
                <a:close/>
                <a:moveTo>
                  <a:pt x="11230" y="7946"/>
                </a:moveTo>
                <a:lnTo>
                  <a:pt x="11228" y="7943"/>
                </a:lnTo>
                <a:lnTo>
                  <a:pt x="11225" y="7941"/>
                </a:lnTo>
                <a:lnTo>
                  <a:pt x="11224" y="7940"/>
                </a:lnTo>
                <a:lnTo>
                  <a:pt x="11226" y="7937"/>
                </a:lnTo>
                <a:lnTo>
                  <a:pt x="11231" y="7938"/>
                </a:lnTo>
                <a:lnTo>
                  <a:pt x="11235" y="7940"/>
                </a:lnTo>
                <a:lnTo>
                  <a:pt x="11234" y="7942"/>
                </a:lnTo>
                <a:lnTo>
                  <a:pt x="11230" y="7946"/>
                </a:lnTo>
                <a:close/>
                <a:moveTo>
                  <a:pt x="11215" y="7357"/>
                </a:moveTo>
                <a:lnTo>
                  <a:pt x="11212" y="7354"/>
                </a:lnTo>
                <a:lnTo>
                  <a:pt x="11212" y="7353"/>
                </a:lnTo>
                <a:lnTo>
                  <a:pt x="11214" y="7350"/>
                </a:lnTo>
                <a:lnTo>
                  <a:pt x="11216" y="7348"/>
                </a:lnTo>
                <a:lnTo>
                  <a:pt x="11219" y="7350"/>
                </a:lnTo>
                <a:lnTo>
                  <a:pt x="11219" y="7351"/>
                </a:lnTo>
                <a:lnTo>
                  <a:pt x="11217" y="7354"/>
                </a:lnTo>
                <a:lnTo>
                  <a:pt x="11215" y="7357"/>
                </a:lnTo>
                <a:close/>
                <a:moveTo>
                  <a:pt x="11198" y="8127"/>
                </a:moveTo>
                <a:lnTo>
                  <a:pt x="11196" y="8119"/>
                </a:lnTo>
                <a:lnTo>
                  <a:pt x="11196" y="8111"/>
                </a:lnTo>
                <a:lnTo>
                  <a:pt x="11198" y="8105"/>
                </a:lnTo>
                <a:lnTo>
                  <a:pt x="11203" y="8097"/>
                </a:lnTo>
                <a:lnTo>
                  <a:pt x="11215" y="8109"/>
                </a:lnTo>
                <a:lnTo>
                  <a:pt x="11219" y="8115"/>
                </a:lnTo>
                <a:lnTo>
                  <a:pt x="11214" y="8120"/>
                </a:lnTo>
                <a:lnTo>
                  <a:pt x="11198" y="8127"/>
                </a:lnTo>
                <a:close/>
                <a:moveTo>
                  <a:pt x="11195" y="8194"/>
                </a:moveTo>
                <a:lnTo>
                  <a:pt x="11187" y="8189"/>
                </a:lnTo>
                <a:lnTo>
                  <a:pt x="11191" y="8184"/>
                </a:lnTo>
                <a:lnTo>
                  <a:pt x="11201" y="8181"/>
                </a:lnTo>
                <a:lnTo>
                  <a:pt x="11211" y="8183"/>
                </a:lnTo>
                <a:lnTo>
                  <a:pt x="11214" y="8188"/>
                </a:lnTo>
                <a:lnTo>
                  <a:pt x="11210" y="8190"/>
                </a:lnTo>
                <a:lnTo>
                  <a:pt x="11202" y="8193"/>
                </a:lnTo>
                <a:lnTo>
                  <a:pt x="11195" y="8194"/>
                </a:lnTo>
                <a:close/>
                <a:moveTo>
                  <a:pt x="11175" y="7399"/>
                </a:moveTo>
                <a:lnTo>
                  <a:pt x="11167" y="7391"/>
                </a:lnTo>
                <a:lnTo>
                  <a:pt x="11174" y="7387"/>
                </a:lnTo>
                <a:lnTo>
                  <a:pt x="11188" y="7387"/>
                </a:lnTo>
                <a:lnTo>
                  <a:pt x="11195" y="7393"/>
                </a:lnTo>
                <a:lnTo>
                  <a:pt x="11184" y="7396"/>
                </a:lnTo>
                <a:lnTo>
                  <a:pt x="11175" y="7399"/>
                </a:lnTo>
                <a:close/>
                <a:moveTo>
                  <a:pt x="11159" y="6770"/>
                </a:moveTo>
                <a:lnTo>
                  <a:pt x="11161" y="6772"/>
                </a:lnTo>
                <a:lnTo>
                  <a:pt x="11165" y="6775"/>
                </a:lnTo>
                <a:lnTo>
                  <a:pt x="11159" y="6775"/>
                </a:lnTo>
                <a:lnTo>
                  <a:pt x="11158" y="6774"/>
                </a:lnTo>
                <a:lnTo>
                  <a:pt x="11158" y="6771"/>
                </a:lnTo>
                <a:lnTo>
                  <a:pt x="11159" y="6770"/>
                </a:lnTo>
                <a:close/>
                <a:moveTo>
                  <a:pt x="11170" y="6589"/>
                </a:moveTo>
                <a:lnTo>
                  <a:pt x="11165" y="6589"/>
                </a:lnTo>
                <a:lnTo>
                  <a:pt x="11161" y="6589"/>
                </a:lnTo>
                <a:lnTo>
                  <a:pt x="11159" y="6586"/>
                </a:lnTo>
                <a:lnTo>
                  <a:pt x="11158" y="6581"/>
                </a:lnTo>
                <a:lnTo>
                  <a:pt x="11163" y="6580"/>
                </a:lnTo>
                <a:lnTo>
                  <a:pt x="11167" y="6581"/>
                </a:lnTo>
                <a:lnTo>
                  <a:pt x="11169" y="6584"/>
                </a:lnTo>
                <a:lnTo>
                  <a:pt x="11170" y="6589"/>
                </a:lnTo>
                <a:close/>
                <a:moveTo>
                  <a:pt x="11163" y="6362"/>
                </a:moveTo>
                <a:lnTo>
                  <a:pt x="11173" y="6365"/>
                </a:lnTo>
                <a:lnTo>
                  <a:pt x="11173" y="6369"/>
                </a:lnTo>
                <a:lnTo>
                  <a:pt x="11165" y="6374"/>
                </a:lnTo>
                <a:lnTo>
                  <a:pt x="11156" y="6378"/>
                </a:lnTo>
                <a:lnTo>
                  <a:pt x="11160" y="6368"/>
                </a:lnTo>
                <a:lnTo>
                  <a:pt x="11163" y="6362"/>
                </a:lnTo>
                <a:close/>
                <a:moveTo>
                  <a:pt x="11093" y="6897"/>
                </a:moveTo>
                <a:lnTo>
                  <a:pt x="11118" y="6893"/>
                </a:lnTo>
                <a:lnTo>
                  <a:pt x="11140" y="6889"/>
                </a:lnTo>
                <a:lnTo>
                  <a:pt x="11155" y="6896"/>
                </a:lnTo>
                <a:lnTo>
                  <a:pt x="11156" y="6919"/>
                </a:lnTo>
                <a:lnTo>
                  <a:pt x="11140" y="6916"/>
                </a:lnTo>
                <a:lnTo>
                  <a:pt x="11126" y="6910"/>
                </a:lnTo>
                <a:lnTo>
                  <a:pt x="11110" y="6903"/>
                </a:lnTo>
                <a:lnTo>
                  <a:pt x="11093" y="6897"/>
                </a:lnTo>
                <a:close/>
                <a:moveTo>
                  <a:pt x="11150" y="7488"/>
                </a:moveTo>
                <a:lnTo>
                  <a:pt x="11150" y="7486"/>
                </a:lnTo>
                <a:lnTo>
                  <a:pt x="11150" y="7488"/>
                </a:lnTo>
                <a:lnTo>
                  <a:pt x="11145" y="7488"/>
                </a:lnTo>
                <a:lnTo>
                  <a:pt x="11150" y="7488"/>
                </a:lnTo>
                <a:close/>
                <a:moveTo>
                  <a:pt x="11136" y="7309"/>
                </a:moveTo>
                <a:lnTo>
                  <a:pt x="11140" y="7311"/>
                </a:lnTo>
                <a:lnTo>
                  <a:pt x="11144" y="7312"/>
                </a:lnTo>
                <a:lnTo>
                  <a:pt x="11147" y="7313"/>
                </a:lnTo>
                <a:lnTo>
                  <a:pt x="11150" y="7317"/>
                </a:lnTo>
                <a:lnTo>
                  <a:pt x="11142" y="7315"/>
                </a:lnTo>
                <a:lnTo>
                  <a:pt x="11136" y="7309"/>
                </a:lnTo>
                <a:close/>
                <a:moveTo>
                  <a:pt x="11139" y="7434"/>
                </a:moveTo>
                <a:lnTo>
                  <a:pt x="11139" y="7432"/>
                </a:lnTo>
                <a:lnTo>
                  <a:pt x="11140" y="7432"/>
                </a:lnTo>
                <a:lnTo>
                  <a:pt x="11142" y="7432"/>
                </a:lnTo>
                <a:lnTo>
                  <a:pt x="11144" y="7433"/>
                </a:lnTo>
                <a:lnTo>
                  <a:pt x="11144" y="7434"/>
                </a:lnTo>
                <a:lnTo>
                  <a:pt x="11141" y="7435"/>
                </a:lnTo>
                <a:lnTo>
                  <a:pt x="11140" y="7434"/>
                </a:lnTo>
                <a:lnTo>
                  <a:pt x="11139" y="7434"/>
                </a:lnTo>
                <a:close/>
                <a:moveTo>
                  <a:pt x="11135" y="7628"/>
                </a:moveTo>
                <a:lnTo>
                  <a:pt x="11137" y="7628"/>
                </a:lnTo>
                <a:lnTo>
                  <a:pt x="11135" y="7628"/>
                </a:lnTo>
                <a:lnTo>
                  <a:pt x="11135" y="7625"/>
                </a:lnTo>
                <a:lnTo>
                  <a:pt x="11136" y="7625"/>
                </a:lnTo>
                <a:lnTo>
                  <a:pt x="11136" y="7626"/>
                </a:lnTo>
                <a:lnTo>
                  <a:pt x="11135" y="7628"/>
                </a:lnTo>
                <a:close/>
                <a:moveTo>
                  <a:pt x="11121" y="7707"/>
                </a:moveTo>
                <a:lnTo>
                  <a:pt x="11109" y="7700"/>
                </a:lnTo>
                <a:lnTo>
                  <a:pt x="11110" y="7691"/>
                </a:lnTo>
                <a:lnTo>
                  <a:pt x="11117" y="7685"/>
                </a:lnTo>
                <a:lnTo>
                  <a:pt x="11128" y="7684"/>
                </a:lnTo>
                <a:lnTo>
                  <a:pt x="11136" y="7690"/>
                </a:lnTo>
                <a:lnTo>
                  <a:pt x="11135" y="7695"/>
                </a:lnTo>
                <a:lnTo>
                  <a:pt x="11128" y="7702"/>
                </a:lnTo>
                <a:lnTo>
                  <a:pt x="11121" y="7707"/>
                </a:lnTo>
                <a:close/>
                <a:moveTo>
                  <a:pt x="11112" y="7803"/>
                </a:moveTo>
                <a:lnTo>
                  <a:pt x="11114" y="7802"/>
                </a:lnTo>
                <a:lnTo>
                  <a:pt x="11117" y="7802"/>
                </a:lnTo>
                <a:lnTo>
                  <a:pt x="11118" y="7802"/>
                </a:lnTo>
                <a:lnTo>
                  <a:pt x="11119" y="7805"/>
                </a:lnTo>
                <a:lnTo>
                  <a:pt x="11117" y="7805"/>
                </a:lnTo>
                <a:lnTo>
                  <a:pt x="11114" y="7806"/>
                </a:lnTo>
                <a:lnTo>
                  <a:pt x="11113" y="7805"/>
                </a:lnTo>
                <a:lnTo>
                  <a:pt x="11112" y="7803"/>
                </a:lnTo>
                <a:close/>
                <a:moveTo>
                  <a:pt x="11096" y="7298"/>
                </a:moveTo>
                <a:lnTo>
                  <a:pt x="11099" y="7297"/>
                </a:lnTo>
                <a:lnTo>
                  <a:pt x="11100" y="7297"/>
                </a:lnTo>
                <a:lnTo>
                  <a:pt x="11100" y="7297"/>
                </a:lnTo>
                <a:lnTo>
                  <a:pt x="11102" y="7299"/>
                </a:lnTo>
                <a:lnTo>
                  <a:pt x="11096" y="7298"/>
                </a:lnTo>
                <a:close/>
                <a:moveTo>
                  <a:pt x="11107" y="10590"/>
                </a:moveTo>
                <a:lnTo>
                  <a:pt x="11091" y="10586"/>
                </a:lnTo>
                <a:lnTo>
                  <a:pt x="11088" y="10578"/>
                </a:lnTo>
                <a:lnTo>
                  <a:pt x="11093" y="10572"/>
                </a:lnTo>
                <a:lnTo>
                  <a:pt x="11107" y="10569"/>
                </a:lnTo>
                <a:lnTo>
                  <a:pt x="11122" y="10576"/>
                </a:lnTo>
                <a:lnTo>
                  <a:pt x="11127" y="10583"/>
                </a:lnTo>
                <a:lnTo>
                  <a:pt x="11122" y="10589"/>
                </a:lnTo>
                <a:lnTo>
                  <a:pt x="11107" y="10590"/>
                </a:lnTo>
                <a:close/>
                <a:moveTo>
                  <a:pt x="11076" y="7540"/>
                </a:moveTo>
                <a:lnTo>
                  <a:pt x="11076" y="7539"/>
                </a:lnTo>
                <a:lnTo>
                  <a:pt x="11075" y="7537"/>
                </a:lnTo>
                <a:lnTo>
                  <a:pt x="11082" y="7536"/>
                </a:lnTo>
                <a:lnTo>
                  <a:pt x="11085" y="7537"/>
                </a:lnTo>
                <a:lnTo>
                  <a:pt x="11084" y="7540"/>
                </a:lnTo>
                <a:lnTo>
                  <a:pt x="11076" y="7540"/>
                </a:lnTo>
                <a:close/>
                <a:moveTo>
                  <a:pt x="11077" y="10485"/>
                </a:moveTo>
                <a:lnTo>
                  <a:pt x="11072" y="10489"/>
                </a:lnTo>
                <a:lnTo>
                  <a:pt x="11063" y="10490"/>
                </a:lnTo>
                <a:lnTo>
                  <a:pt x="11056" y="10488"/>
                </a:lnTo>
                <a:lnTo>
                  <a:pt x="11051" y="10483"/>
                </a:lnTo>
                <a:lnTo>
                  <a:pt x="11052" y="10471"/>
                </a:lnTo>
                <a:lnTo>
                  <a:pt x="11062" y="10470"/>
                </a:lnTo>
                <a:lnTo>
                  <a:pt x="11074" y="10476"/>
                </a:lnTo>
                <a:lnTo>
                  <a:pt x="11077" y="10485"/>
                </a:lnTo>
                <a:close/>
                <a:moveTo>
                  <a:pt x="11109" y="6632"/>
                </a:moveTo>
                <a:lnTo>
                  <a:pt x="11112" y="6614"/>
                </a:lnTo>
                <a:lnTo>
                  <a:pt x="11114" y="6595"/>
                </a:lnTo>
                <a:lnTo>
                  <a:pt x="11126" y="6604"/>
                </a:lnTo>
                <a:lnTo>
                  <a:pt x="11124" y="6613"/>
                </a:lnTo>
                <a:lnTo>
                  <a:pt x="11118" y="6622"/>
                </a:lnTo>
                <a:lnTo>
                  <a:pt x="11109" y="6632"/>
                </a:lnTo>
                <a:close/>
                <a:moveTo>
                  <a:pt x="11109" y="6636"/>
                </a:moveTo>
                <a:lnTo>
                  <a:pt x="11116" y="6640"/>
                </a:lnTo>
                <a:lnTo>
                  <a:pt x="11121" y="6644"/>
                </a:lnTo>
                <a:lnTo>
                  <a:pt x="11117" y="6648"/>
                </a:lnTo>
                <a:lnTo>
                  <a:pt x="11112" y="6646"/>
                </a:lnTo>
                <a:lnTo>
                  <a:pt x="11109" y="6642"/>
                </a:lnTo>
                <a:lnTo>
                  <a:pt x="11109" y="6636"/>
                </a:lnTo>
                <a:close/>
                <a:moveTo>
                  <a:pt x="11107" y="6588"/>
                </a:moveTo>
                <a:lnTo>
                  <a:pt x="11107" y="6584"/>
                </a:lnTo>
                <a:lnTo>
                  <a:pt x="11109" y="6583"/>
                </a:lnTo>
                <a:lnTo>
                  <a:pt x="11113" y="6584"/>
                </a:lnTo>
                <a:lnTo>
                  <a:pt x="11114" y="6588"/>
                </a:lnTo>
                <a:lnTo>
                  <a:pt x="11113" y="6592"/>
                </a:lnTo>
                <a:lnTo>
                  <a:pt x="11112" y="6593"/>
                </a:lnTo>
                <a:lnTo>
                  <a:pt x="11109" y="6590"/>
                </a:lnTo>
                <a:lnTo>
                  <a:pt x="11107" y="6588"/>
                </a:lnTo>
                <a:close/>
                <a:moveTo>
                  <a:pt x="11089" y="6799"/>
                </a:moveTo>
                <a:lnTo>
                  <a:pt x="11093" y="6779"/>
                </a:lnTo>
                <a:lnTo>
                  <a:pt x="11100" y="6765"/>
                </a:lnTo>
                <a:lnTo>
                  <a:pt x="11110" y="6762"/>
                </a:lnTo>
                <a:lnTo>
                  <a:pt x="11122" y="6775"/>
                </a:lnTo>
                <a:lnTo>
                  <a:pt x="11109" y="6786"/>
                </a:lnTo>
                <a:lnTo>
                  <a:pt x="11089" y="6799"/>
                </a:lnTo>
                <a:close/>
                <a:moveTo>
                  <a:pt x="11053" y="6682"/>
                </a:moveTo>
                <a:lnTo>
                  <a:pt x="11067" y="6678"/>
                </a:lnTo>
                <a:lnTo>
                  <a:pt x="11077" y="6674"/>
                </a:lnTo>
                <a:lnTo>
                  <a:pt x="11086" y="6676"/>
                </a:lnTo>
                <a:lnTo>
                  <a:pt x="11096" y="6679"/>
                </a:lnTo>
                <a:lnTo>
                  <a:pt x="11089" y="6687"/>
                </a:lnTo>
                <a:lnTo>
                  <a:pt x="11080" y="6687"/>
                </a:lnTo>
                <a:lnTo>
                  <a:pt x="11068" y="6684"/>
                </a:lnTo>
                <a:lnTo>
                  <a:pt x="11053" y="6682"/>
                </a:lnTo>
                <a:close/>
                <a:moveTo>
                  <a:pt x="11060" y="7880"/>
                </a:moveTo>
                <a:lnTo>
                  <a:pt x="11060" y="7882"/>
                </a:lnTo>
                <a:lnTo>
                  <a:pt x="11060" y="7884"/>
                </a:lnTo>
                <a:lnTo>
                  <a:pt x="11058" y="7882"/>
                </a:lnTo>
                <a:lnTo>
                  <a:pt x="11056" y="7882"/>
                </a:lnTo>
                <a:lnTo>
                  <a:pt x="11060" y="7880"/>
                </a:lnTo>
                <a:close/>
                <a:moveTo>
                  <a:pt x="11090" y="7980"/>
                </a:moveTo>
                <a:lnTo>
                  <a:pt x="11091" y="7980"/>
                </a:lnTo>
                <a:lnTo>
                  <a:pt x="11094" y="7982"/>
                </a:lnTo>
                <a:lnTo>
                  <a:pt x="11095" y="7982"/>
                </a:lnTo>
                <a:lnTo>
                  <a:pt x="11095" y="7984"/>
                </a:lnTo>
                <a:lnTo>
                  <a:pt x="11093" y="7984"/>
                </a:lnTo>
                <a:lnTo>
                  <a:pt x="11091" y="7984"/>
                </a:lnTo>
                <a:lnTo>
                  <a:pt x="11090" y="7983"/>
                </a:lnTo>
                <a:lnTo>
                  <a:pt x="11090" y="7980"/>
                </a:lnTo>
                <a:close/>
                <a:moveTo>
                  <a:pt x="11052" y="6859"/>
                </a:moveTo>
                <a:lnTo>
                  <a:pt x="11072" y="6836"/>
                </a:lnTo>
                <a:lnTo>
                  <a:pt x="11094" y="6835"/>
                </a:lnTo>
                <a:lnTo>
                  <a:pt x="11109" y="6847"/>
                </a:lnTo>
                <a:lnTo>
                  <a:pt x="11108" y="6873"/>
                </a:lnTo>
                <a:lnTo>
                  <a:pt x="11094" y="6869"/>
                </a:lnTo>
                <a:lnTo>
                  <a:pt x="11080" y="6865"/>
                </a:lnTo>
                <a:lnTo>
                  <a:pt x="11066" y="6863"/>
                </a:lnTo>
                <a:lnTo>
                  <a:pt x="11052" y="6859"/>
                </a:lnTo>
                <a:close/>
                <a:moveTo>
                  <a:pt x="11150" y="6453"/>
                </a:moveTo>
                <a:lnTo>
                  <a:pt x="11150" y="6457"/>
                </a:lnTo>
                <a:lnTo>
                  <a:pt x="11149" y="6459"/>
                </a:lnTo>
                <a:lnTo>
                  <a:pt x="11147" y="6460"/>
                </a:lnTo>
                <a:lnTo>
                  <a:pt x="11144" y="6462"/>
                </a:lnTo>
                <a:lnTo>
                  <a:pt x="11145" y="6458"/>
                </a:lnTo>
                <a:lnTo>
                  <a:pt x="11145" y="6455"/>
                </a:lnTo>
                <a:lnTo>
                  <a:pt x="11146" y="6454"/>
                </a:lnTo>
                <a:lnTo>
                  <a:pt x="11150" y="6453"/>
                </a:lnTo>
                <a:close/>
                <a:moveTo>
                  <a:pt x="11149" y="6415"/>
                </a:moveTo>
                <a:lnTo>
                  <a:pt x="11146" y="6412"/>
                </a:lnTo>
                <a:lnTo>
                  <a:pt x="11145" y="6410"/>
                </a:lnTo>
                <a:lnTo>
                  <a:pt x="11145" y="6408"/>
                </a:lnTo>
                <a:lnTo>
                  <a:pt x="11149" y="6407"/>
                </a:lnTo>
                <a:lnTo>
                  <a:pt x="11151" y="6411"/>
                </a:lnTo>
                <a:lnTo>
                  <a:pt x="11153" y="6413"/>
                </a:lnTo>
                <a:lnTo>
                  <a:pt x="11151" y="6415"/>
                </a:lnTo>
                <a:lnTo>
                  <a:pt x="11149" y="6415"/>
                </a:lnTo>
                <a:close/>
                <a:moveTo>
                  <a:pt x="11028" y="1485"/>
                </a:moveTo>
                <a:lnTo>
                  <a:pt x="11044" y="1436"/>
                </a:lnTo>
                <a:lnTo>
                  <a:pt x="11026" y="1453"/>
                </a:lnTo>
                <a:lnTo>
                  <a:pt x="10987" y="1474"/>
                </a:lnTo>
                <a:lnTo>
                  <a:pt x="10937" y="1440"/>
                </a:lnTo>
                <a:lnTo>
                  <a:pt x="10918" y="1398"/>
                </a:lnTo>
                <a:lnTo>
                  <a:pt x="10863" y="1350"/>
                </a:lnTo>
                <a:lnTo>
                  <a:pt x="10832" y="1318"/>
                </a:lnTo>
                <a:lnTo>
                  <a:pt x="10885" y="1323"/>
                </a:lnTo>
                <a:lnTo>
                  <a:pt x="10956" y="1343"/>
                </a:lnTo>
                <a:lnTo>
                  <a:pt x="11037" y="1371"/>
                </a:lnTo>
                <a:lnTo>
                  <a:pt x="11110" y="1416"/>
                </a:lnTo>
                <a:lnTo>
                  <a:pt x="11164" y="1487"/>
                </a:lnTo>
                <a:lnTo>
                  <a:pt x="11127" y="1457"/>
                </a:lnTo>
                <a:lnTo>
                  <a:pt x="11100" y="1453"/>
                </a:lnTo>
                <a:lnTo>
                  <a:pt x="11071" y="1467"/>
                </a:lnTo>
                <a:lnTo>
                  <a:pt x="11028" y="1485"/>
                </a:lnTo>
                <a:close/>
                <a:moveTo>
                  <a:pt x="11039" y="6415"/>
                </a:moveTo>
                <a:lnTo>
                  <a:pt x="11042" y="6415"/>
                </a:lnTo>
                <a:lnTo>
                  <a:pt x="11039" y="6415"/>
                </a:lnTo>
                <a:lnTo>
                  <a:pt x="11043" y="6412"/>
                </a:lnTo>
                <a:lnTo>
                  <a:pt x="11039" y="6415"/>
                </a:lnTo>
                <a:close/>
                <a:moveTo>
                  <a:pt x="11015" y="6522"/>
                </a:moveTo>
                <a:lnTo>
                  <a:pt x="11012" y="6515"/>
                </a:lnTo>
                <a:lnTo>
                  <a:pt x="11011" y="6511"/>
                </a:lnTo>
                <a:lnTo>
                  <a:pt x="11012" y="6509"/>
                </a:lnTo>
                <a:lnTo>
                  <a:pt x="11019" y="6508"/>
                </a:lnTo>
                <a:lnTo>
                  <a:pt x="11023" y="6513"/>
                </a:lnTo>
                <a:lnTo>
                  <a:pt x="11024" y="6515"/>
                </a:lnTo>
                <a:lnTo>
                  <a:pt x="11021" y="6519"/>
                </a:lnTo>
                <a:lnTo>
                  <a:pt x="11015" y="6522"/>
                </a:lnTo>
                <a:close/>
                <a:moveTo>
                  <a:pt x="11019" y="7340"/>
                </a:moveTo>
                <a:lnTo>
                  <a:pt x="11016" y="7340"/>
                </a:lnTo>
                <a:lnTo>
                  <a:pt x="11014" y="7340"/>
                </a:lnTo>
                <a:lnTo>
                  <a:pt x="11012" y="7339"/>
                </a:lnTo>
                <a:lnTo>
                  <a:pt x="11011" y="7337"/>
                </a:lnTo>
                <a:lnTo>
                  <a:pt x="11014" y="7337"/>
                </a:lnTo>
                <a:lnTo>
                  <a:pt x="11018" y="7337"/>
                </a:lnTo>
                <a:lnTo>
                  <a:pt x="11019" y="7337"/>
                </a:lnTo>
                <a:lnTo>
                  <a:pt x="11019" y="7340"/>
                </a:lnTo>
                <a:close/>
                <a:moveTo>
                  <a:pt x="11009" y="6566"/>
                </a:moveTo>
                <a:lnTo>
                  <a:pt x="11006" y="6561"/>
                </a:lnTo>
                <a:lnTo>
                  <a:pt x="11007" y="6560"/>
                </a:lnTo>
                <a:lnTo>
                  <a:pt x="11011" y="6560"/>
                </a:lnTo>
                <a:lnTo>
                  <a:pt x="11015" y="6561"/>
                </a:lnTo>
                <a:lnTo>
                  <a:pt x="11018" y="6564"/>
                </a:lnTo>
                <a:lnTo>
                  <a:pt x="11015" y="6565"/>
                </a:lnTo>
                <a:lnTo>
                  <a:pt x="11012" y="6566"/>
                </a:lnTo>
                <a:lnTo>
                  <a:pt x="11009" y="6566"/>
                </a:lnTo>
                <a:close/>
                <a:moveTo>
                  <a:pt x="11000" y="7873"/>
                </a:moveTo>
                <a:lnTo>
                  <a:pt x="10998" y="7872"/>
                </a:lnTo>
                <a:lnTo>
                  <a:pt x="10997" y="7871"/>
                </a:lnTo>
                <a:lnTo>
                  <a:pt x="10997" y="7870"/>
                </a:lnTo>
                <a:lnTo>
                  <a:pt x="11000" y="7868"/>
                </a:lnTo>
                <a:lnTo>
                  <a:pt x="11002" y="7870"/>
                </a:lnTo>
                <a:lnTo>
                  <a:pt x="11002" y="7871"/>
                </a:lnTo>
                <a:lnTo>
                  <a:pt x="11002" y="7872"/>
                </a:lnTo>
                <a:lnTo>
                  <a:pt x="11000" y="7873"/>
                </a:lnTo>
                <a:close/>
                <a:moveTo>
                  <a:pt x="10991" y="6702"/>
                </a:moveTo>
                <a:lnTo>
                  <a:pt x="10983" y="6706"/>
                </a:lnTo>
                <a:lnTo>
                  <a:pt x="10974" y="6706"/>
                </a:lnTo>
                <a:lnTo>
                  <a:pt x="10967" y="6702"/>
                </a:lnTo>
                <a:lnTo>
                  <a:pt x="10964" y="6693"/>
                </a:lnTo>
                <a:lnTo>
                  <a:pt x="10972" y="6688"/>
                </a:lnTo>
                <a:lnTo>
                  <a:pt x="10983" y="6690"/>
                </a:lnTo>
                <a:lnTo>
                  <a:pt x="10992" y="6696"/>
                </a:lnTo>
                <a:lnTo>
                  <a:pt x="10991" y="6702"/>
                </a:lnTo>
                <a:close/>
                <a:moveTo>
                  <a:pt x="10911" y="10438"/>
                </a:moveTo>
                <a:lnTo>
                  <a:pt x="10912" y="10431"/>
                </a:lnTo>
                <a:lnTo>
                  <a:pt x="10918" y="10428"/>
                </a:lnTo>
                <a:lnTo>
                  <a:pt x="10927" y="10431"/>
                </a:lnTo>
                <a:lnTo>
                  <a:pt x="10935" y="10434"/>
                </a:lnTo>
                <a:lnTo>
                  <a:pt x="10930" y="10438"/>
                </a:lnTo>
                <a:lnTo>
                  <a:pt x="10923" y="10440"/>
                </a:lnTo>
                <a:lnTo>
                  <a:pt x="10917" y="10440"/>
                </a:lnTo>
                <a:lnTo>
                  <a:pt x="10911" y="10438"/>
                </a:lnTo>
                <a:close/>
                <a:moveTo>
                  <a:pt x="10908" y="7665"/>
                </a:moveTo>
                <a:lnTo>
                  <a:pt x="10907" y="7665"/>
                </a:lnTo>
                <a:lnTo>
                  <a:pt x="10904" y="7665"/>
                </a:lnTo>
                <a:lnTo>
                  <a:pt x="10903" y="7665"/>
                </a:lnTo>
                <a:lnTo>
                  <a:pt x="10904" y="7662"/>
                </a:lnTo>
                <a:lnTo>
                  <a:pt x="10907" y="7662"/>
                </a:lnTo>
                <a:lnTo>
                  <a:pt x="10908" y="7663"/>
                </a:lnTo>
                <a:lnTo>
                  <a:pt x="10909" y="7663"/>
                </a:lnTo>
                <a:lnTo>
                  <a:pt x="10908" y="7665"/>
                </a:lnTo>
                <a:close/>
                <a:moveTo>
                  <a:pt x="10884" y="1395"/>
                </a:moveTo>
                <a:lnTo>
                  <a:pt x="10880" y="1397"/>
                </a:lnTo>
                <a:lnTo>
                  <a:pt x="10877" y="1397"/>
                </a:lnTo>
                <a:lnTo>
                  <a:pt x="10879" y="1395"/>
                </a:lnTo>
                <a:lnTo>
                  <a:pt x="10883" y="1394"/>
                </a:lnTo>
                <a:lnTo>
                  <a:pt x="10885" y="1393"/>
                </a:lnTo>
                <a:lnTo>
                  <a:pt x="10884" y="1395"/>
                </a:lnTo>
                <a:close/>
                <a:moveTo>
                  <a:pt x="10877" y="10489"/>
                </a:moveTo>
                <a:lnTo>
                  <a:pt x="10872" y="10488"/>
                </a:lnTo>
                <a:lnTo>
                  <a:pt x="10875" y="10487"/>
                </a:lnTo>
                <a:lnTo>
                  <a:pt x="10876" y="10487"/>
                </a:lnTo>
                <a:lnTo>
                  <a:pt x="10877" y="10487"/>
                </a:lnTo>
                <a:lnTo>
                  <a:pt x="10877" y="10489"/>
                </a:lnTo>
                <a:close/>
                <a:moveTo>
                  <a:pt x="10828" y="10364"/>
                </a:moveTo>
                <a:lnTo>
                  <a:pt x="10823" y="10362"/>
                </a:lnTo>
                <a:lnTo>
                  <a:pt x="10819" y="10359"/>
                </a:lnTo>
                <a:lnTo>
                  <a:pt x="10819" y="10357"/>
                </a:lnTo>
                <a:lnTo>
                  <a:pt x="10825" y="10353"/>
                </a:lnTo>
                <a:lnTo>
                  <a:pt x="10834" y="10356"/>
                </a:lnTo>
                <a:lnTo>
                  <a:pt x="10838" y="10359"/>
                </a:lnTo>
                <a:lnTo>
                  <a:pt x="10835" y="10362"/>
                </a:lnTo>
                <a:lnTo>
                  <a:pt x="10828" y="10364"/>
                </a:lnTo>
                <a:close/>
                <a:moveTo>
                  <a:pt x="10774" y="1323"/>
                </a:moveTo>
                <a:lnTo>
                  <a:pt x="10776" y="1323"/>
                </a:lnTo>
                <a:lnTo>
                  <a:pt x="10774" y="1323"/>
                </a:lnTo>
                <a:lnTo>
                  <a:pt x="10776" y="1322"/>
                </a:lnTo>
                <a:lnTo>
                  <a:pt x="10774" y="1323"/>
                </a:lnTo>
                <a:close/>
                <a:moveTo>
                  <a:pt x="10765" y="10652"/>
                </a:moveTo>
                <a:lnTo>
                  <a:pt x="10764" y="10650"/>
                </a:lnTo>
                <a:lnTo>
                  <a:pt x="10765" y="10648"/>
                </a:lnTo>
                <a:lnTo>
                  <a:pt x="10767" y="10647"/>
                </a:lnTo>
                <a:lnTo>
                  <a:pt x="10769" y="10648"/>
                </a:lnTo>
                <a:lnTo>
                  <a:pt x="10770" y="10651"/>
                </a:lnTo>
                <a:lnTo>
                  <a:pt x="10769" y="10651"/>
                </a:lnTo>
                <a:lnTo>
                  <a:pt x="10767" y="10652"/>
                </a:lnTo>
                <a:lnTo>
                  <a:pt x="10765" y="10652"/>
                </a:lnTo>
                <a:close/>
                <a:moveTo>
                  <a:pt x="11165" y="6342"/>
                </a:moveTo>
                <a:lnTo>
                  <a:pt x="11164" y="6343"/>
                </a:lnTo>
                <a:lnTo>
                  <a:pt x="11163" y="6343"/>
                </a:lnTo>
                <a:lnTo>
                  <a:pt x="11161" y="6343"/>
                </a:lnTo>
                <a:lnTo>
                  <a:pt x="11160" y="6341"/>
                </a:lnTo>
                <a:lnTo>
                  <a:pt x="11161" y="6341"/>
                </a:lnTo>
                <a:lnTo>
                  <a:pt x="11164" y="6341"/>
                </a:lnTo>
                <a:lnTo>
                  <a:pt x="11165" y="6341"/>
                </a:lnTo>
                <a:lnTo>
                  <a:pt x="11165" y="6342"/>
                </a:lnTo>
                <a:close/>
                <a:moveTo>
                  <a:pt x="11161" y="5865"/>
                </a:moveTo>
                <a:lnTo>
                  <a:pt x="11159" y="5862"/>
                </a:lnTo>
                <a:lnTo>
                  <a:pt x="11163" y="5861"/>
                </a:lnTo>
                <a:lnTo>
                  <a:pt x="11167" y="5861"/>
                </a:lnTo>
                <a:lnTo>
                  <a:pt x="11167" y="5865"/>
                </a:lnTo>
                <a:lnTo>
                  <a:pt x="11164" y="5865"/>
                </a:lnTo>
                <a:lnTo>
                  <a:pt x="11161" y="5865"/>
                </a:lnTo>
                <a:close/>
                <a:moveTo>
                  <a:pt x="11172" y="6266"/>
                </a:moveTo>
                <a:lnTo>
                  <a:pt x="11173" y="6268"/>
                </a:lnTo>
                <a:lnTo>
                  <a:pt x="11172" y="6269"/>
                </a:lnTo>
                <a:lnTo>
                  <a:pt x="11170" y="6268"/>
                </a:lnTo>
                <a:lnTo>
                  <a:pt x="11168" y="6268"/>
                </a:lnTo>
                <a:lnTo>
                  <a:pt x="11172" y="6266"/>
                </a:lnTo>
                <a:close/>
                <a:moveTo>
                  <a:pt x="11196" y="6312"/>
                </a:moveTo>
                <a:lnTo>
                  <a:pt x="11188" y="6315"/>
                </a:lnTo>
                <a:lnTo>
                  <a:pt x="11182" y="6315"/>
                </a:lnTo>
                <a:lnTo>
                  <a:pt x="11175" y="6314"/>
                </a:lnTo>
                <a:lnTo>
                  <a:pt x="11170" y="6309"/>
                </a:lnTo>
                <a:lnTo>
                  <a:pt x="11177" y="6308"/>
                </a:lnTo>
                <a:lnTo>
                  <a:pt x="11183" y="6306"/>
                </a:lnTo>
                <a:lnTo>
                  <a:pt x="11189" y="6308"/>
                </a:lnTo>
                <a:lnTo>
                  <a:pt x="11196" y="6312"/>
                </a:lnTo>
                <a:close/>
                <a:moveTo>
                  <a:pt x="11195" y="1421"/>
                </a:moveTo>
                <a:lnTo>
                  <a:pt x="11198" y="1425"/>
                </a:lnTo>
                <a:lnTo>
                  <a:pt x="11201" y="1427"/>
                </a:lnTo>
                <a:lnTo>
                  <a:pt x="11202" y="1431"/>
                </a:lnTo>
                <a:lnTo>
                  <a:pt x="11201" y="1434"/>
                </a:lnTo>
                <a:lnTo>
                  <a:pt x="11196" y="1432"/>
                </a:lnTo>
                <a:lnTo>
                  <a:pt x="11192" y="1427"/>
                </a:lnTo>
                <a:lnTo>
                  <a:pt x="11191" y="1422"/>
                </a:lnTo>
                <a:lnTo>
                  <a:pt x="11195" y="1421"/>
                </a:lnTo>
                <a:close/>
                <a:moveTo>
                  <a:pt x="11201" y="5987"/>
                </a:moveTo>
                <a:lnTo>
                  <a:pt x="11198" y="5987"/>
                </a:lnTo>
                <a:lnTo>
                  <a:pt x="11197" y="5986"/>
                </a:lnTo>
                <a:lnTo>
                  <a:pt x="11197" y="5984"/>
                </a:lnTo>
                <a:lnTo>
                  <a:pt x="11200" y="5983"/>
                </a:lnTo>
                <a:lnTo>
                  <a:pt x="11202" y="5984"/>
                </a:lnTo>
                <a:lnTo>
                  <a:pt x="11203" y="5986"/>
                </a:lnTo>
                <a:lnTo>
                  <a:pt x="11203" y="5987"/>
                </a:lnTo>
                <a:lnTo>
                  <a:pt x="11201" y="5987"/>
                </a:lnTo>
                <a:close/>
                <a:moveTo>
                  <a:pt x="11193" y="6404"/>
                </a:moveTo>
                <a:lnTo>
                  <a:pt x="11192" y="6401"/>
                </a:lnTo>
                <a:lnTo>
                  <a:pt x="11196" y="6399"/>
                </a:lnTo>
                <a:lnTo>
                  <a:pt x="11201" y="6401"/>
                </a:lnTo>
                <a:lnTo>
                  <a:pt x="11203" y="6403"/>
                </a:lnTo>
                <a:lnTo>
                  <a:pt x="11198" y="6403"/>
                </a:lnTo>
                <a:lnTo>
                  <a:pt x="11193" y="6404"/>
                </a:lnTo>
                <a:close/>
                <a:moveTo>
                  <a:pt x="11198" y="6897"/>
                </a:moveTo>
                <a:lnTo>
                  <a:pt x="11196" y="6900"/>
                </a:lnTo>
                <a:lnTo>
                  <a:pt x="11193" y="6898"/>
                </a:lnTo>
                <a:lnTo>
                  <a:pt x="11192" y="6897"/>
                </a:lnTo>
                <a:lnTo>
                  <a:pt x="11195" y="6894"/>
                </a:lnTo>
                <a:lnTo>
                  <a:pt x="11197" y="6896"/>
                </a:lnTo>
                <a:lnTo>
                  <a:pt x="11198" y="6897"/>
                </a:lnTo>
                <a:close/>
                <a:moveTo>
                  <a:pt x="11193" y="6850"/>
                </a:moveTo>
                <a:lnTo>
                  <a:pt x="11188" y="6844"/>
                </a:lnTo>
                <a:lnTo>
                  <a:pt x="11188" y="6840"/>
                </a:lnTo>
                <a:lnTo>
                  <a:pt x="11192" y="6840"/>
                </a:lnTo>
                <a:lnTo>
                  <a:pt x="11200" y="6842"/>
                </a:lnTo>
                <a:lnTo>
                  <a:pt x="11202" y="6846"/>
                </a:lnTo>
                <a:lnTo>
                  <a:pt x="11201" y="6849"/>
                </a:lnTo>
                <a:lnTo>
                  <a:pt x="11198" y="6850"/>
                </a:lnTo>
                <a:lnTo>
                  <a:pt x="11193" y="6850"/>
                </a:lnTo>
                <a:close/>
                <a:moveTo>
                  <a:pt x="11214" y="7303"/>
                </a:moveTo>
                <a:lnTo>
                  <a:pt x="11216" y="7308"/>
                </a:lnTo>
                <a:lnTo>
                  <a:pt x="11214" y="7309"/>
                </a:lnTo>
                <a:lnTo>
                  <a:pt x="11210" y="7308"/>
                </a:lnTo>
                <a:lnTo>
                  <a:pt x="11209" y="7303"/>
                </a:lnTo>
                <a:lnTo>
                  <a:pt x="11211" y="7303"/>
                </a:lnTo>
                <a:lnTo>
                  <a:pt x="11214" y="7303"/>
                </a:lnTo>
                <a:close/>
                <a:moveTo>
                  <a:pt x="11219" y="6516"/>
                </a:moveTo>
                <a:lnTo>
                  <a:pt x="11214" y="6508"/>
                </a:lnTo>
                <a:lnTo>
                  <a:pt x="11223" y="6504"/>
                </a:lnTo>
                <a:lnTo>
                  <a:pt x="11235" y="6505"/>
                </a:lnTo>
                <a:lnTo>
                  <a:pt x="11243" y="6511"/>
                </a:lnTo>
                <a:lnTo>
                  <a:pt x="11243" y="6522"/>
                </a:lnTo>
                <a:lnTo>
                  <a:pt x="11235" y="6524"/>
                </a:lnTo>
                <a:lnTo>
                  <a:pt x="11225" y="6522"/>
                </a:lnTo>
                <a:lnTo>
                  <a:pt x="11219" y="6516"/>
                </a:lnTo>
                <a:close/>
                <a:moveTo>
                  <a:pt x="11231" y="6646"/>
                </a:moveTo>
                <a:lnTo>
                  <a:pt x="11231" y="6648"/>
                </a:lnTo>
                <a:lnTo>
                  <a:pt x="11231" y="6646"/>
                </a:lnTo>
                <a:lnTo>
                  <a:pt x="11235" y="6649"/>
                </a:lnTo>
                <a:lnTo>
                  <a:pt x="11231" y="6646"/>
                </a:lnTo>
                <a:close/>
                <a:moveTo>
                  <a:pt x="11234" y="7273"/>
                </a:moveTo>
                <a:lnTo>
                  <a:pt x="11234" y="7275"/>
                </a:lnTo>
                <a:lnTo>
                  <a:pt x="11233" y="7276"/>
                </a:lnTo>
                <a:lnTo>
                  <a:pt x="11231" y="7276"/>
                </a:lnTo>
                <a:lnTo>
                  <a:pt x="11229" y="7275"/>
                </a:lnTo>
                <a:lnTo>
                  <a:pt x="11229" y="7274"/>
                </a:lnTo>
                <a:lnTo>
                  <a:pt x="11230" y="7273"/>
                </a:lnTo>
                <a:lnTo>
                  <a:pt x="11231" y="7273"/>
                </a:lnTo>
                <a:lnTo>
                  <a:pt x="11234" y="7273"/>
                </a:lnTo>
                <a:close/>
                <a:moveTo>
                  <a:pt x="11239" y="6283"/>
                </a:moveTo>
                <a:lnTo>
                  <a:pt x="11249" y="6304"/>
                </a:lnTo>
                <a:lnTo>
                  <a:pt x="11248" y="6313"/>
                </a:lnTo>
                <a:lnTo>
                  <a:pt x="11235" y="6309"/>
                </a:lnTo>
                <a:lnTo>
                  <a:pt x="11212" y="6289"/>
                </a:lnTo>
                <a:lnTo>
                  <a:pt x="11224" y="6287"/>
                </a:lnTo>
                <a:lnTo>
                  <a:pt x="11239" y="6283"/>
                </a:lnTo>
                <a:close/>
                <a:moveTo>
                  <a:pt x="11254" y="6378"/>
                </a:moveTo>
                <a:lnTo>
                  <a:pt x="11249" y="6374"/>
                </a:lnTo>
                <a:lnTo>
                  <a:pt x="11247" y="6371"/>
                </a:lnTo>
                <a:lnTo>
                  <a:pt x="11247" y="6368"/>
                </a:lnTo>
                <a:lnTo>
                  <a:pt x="11252" y="6365"/>
                </a:lnTo>
                <a:lnTo>
                  <a:pt x="11258" y="6366"/>
                </a:lnTo>
                <a:lnTo>
                  <a:pt x="11261" y="6369"/>
                </a:lnTo>
                <a:lnTo>
                  <a:pt x="11259" y="6373"/>
                </a:lnTo>
                <a:lnTo>
                  <a:pt x="11254" y="6378"/>
                </a:lnTo>
                <a:close/>
                <a:moveTo>
                  <a:pt x="11275" y="6418"/>
                </a:moveTo>
                <a:lnTo>
                  <a:pt x="11275" y="6425"/>
                </a:lnTo>
                <a:lnTo>
                  <a:pt x="11267" y="6429"/>
                </a:lnTo>
                <a:lnTo>
                  <a:pt x="11257" y="6431"/>
                </a:lnTo>
                <a:lnTo>
                  <a:pt x="11248" y="6430"/>
                </a:lnTo>
                <a:lnTo>
                  <a:pt x="11248" y="6421"/>
                </a:lnTo>
                <a:lnTo>
                  <a:pt x="11256" y="6416"/>
                </a:lnTo>
                <a:lnTo>
                  <a:pt x="11265" y="6415"/>
                </a:lnTo>
                <a:lnTo>
                  <a:pt x="11275" y="6418"/>
                </a:lnTo>
                <a:close/>
                <a:moveTo>
                  <a:pt x="11293" y="6327"/>
                </a:moveTo>
                <a:lnTo>
                  <a:pt x="11295" y="6328"/>
                </a:lnTo>
                <a:lnTo>
                  <a:pt x="11296" y="6329"/>
                </a:lnTo>
                <a:lnTo>
                  <a:pt x="11295" y="6331"/>
                </a:lnTo>
                <a:lnTo>
                  <a:pt x="11293" y="6332"/>
                </a:lnTo>
                <a:lnTo>
                  <a:pt x="11290" y="6331"/>
                </a:lnTo>
                <a:lnTo>
                  <a:pt x="11289" y="6329"/>
                </a:lnTo>
                <a:lnTo>
                  <a:pt x="11290" y="6328"/>
                </a:lnTo>
                <a:lnTo>
                  <a:pt x="11293" y="6327"/>
                </a:lnTo>
                <a:close/>
                <a:moveTo>
                  <a:pt x="11289" y="6492"/>
                </a:moveTo>
                <a:lnTo>
                  <a:pt x="11290" y="6491"/>
                </a:lnTo>
                <a:lnTo>
                  <a:pt x="11290" y="6490"/>
                </a:lnTo>
                <a:lnTo>
                  <a:pt x="11291" y="6491"/>
                </a:lnTo>
                <a:lnTo>
                  <a:pt x="11293" y="6492"/>
                </a:lnTo>
                <a:lnTo>
                  <a:pt x="11289" y="6492"/>
                </a:lnTo>
                <a:close/>
                <a:moveTo>
                  <a:pt x="11296" y="6625"/>
                </a:moveTo>
                <a:lnTo>
                  <a:pt x="11300" y="6623"/>
                </a:lnTo>
                <a:lnTo>
                  <a:pt x="11303" y="6622"/>
                </a:lnTo>
                <a:lnTo>
                  <a:pt x="11307" y="6622"/>
                </a:lnTo>
                <a:lnTo>
                  <a:pt x="11308" y="6625"/>
                </a:lnTo>
                <a:lnTo>
                  <a:pt x="11307" y="6631"/>
                </a:lnTo>
                <a:lnTo>
                  <a:pt x="11299" y="6631"/>
                </a:lnTo>
                <a:lnTo>
                  <a:pt x="11294" y="6628"/>
                </a:lnTo>
                <a:lnTo>
                  <a:pt x="11296" y="6625"/>
                </a:lnTo>
                <a:close/>
                <a:moveTo>
                  <a:pt x="11308" y="6579"/>
                </a:moveTo>
                <a:lnTo>
                  <a:pt x="11313" y="6580"/>
                </a:lnTo>
                <a:lnTo>
                  <a:pt x="11313" y="6584"/>
                </a:lnTo>
                <a:lnTo>
                  <a:pt x="11310" y="6586"/>
                </a:lnTo>
                <a:lnTo>
                  <a:pt x="11305" y="6585"/>
                </a:lnTo>
                <a:lnTo>
                  <a:pt x="11307" y="6581"/>
                </a:lnTo>
                <a:lnTo>
                  <a:pt x="11308" y="6579"/>
                </a:lnTo>
                <a:close/>
                <a:moveTo>
                  <a:pt x="11318" y="6486"/>
                </a:moveTo>
                <a:lnTo>
                  <a:pt x="11318" y="6490"/>
                </a:lnTo>
                <a:lnTo>
                  <a:pt x="11318" y="6486"/>
                </a:lnTo>
                <a:lnTo>
                  <a:pt x="11324" y="6494"/>
                </a:lnTo>
                <a:lnTo>
                  <a:pt x="11318" y="6486"/>
                </a:lnTo>
                <a:close/>
                <a:moveTo>
                  <a:pt x="11331" y="6393"/>
                </a:moveTo>
                <a:lnTo>
                  <a:pt x="11330" y="6396"/>
                </a:lnTo>
                <a:lnTo>
                  <a:pt x="11328" y="6398"/>
                </a:lnTo>
                <a:lnTo>
                  <a:pt x="11327" y="6397"/>
                </a:lnTo>
                <a:lnTo>
                  <a:pt x="11327" y="6396"/>
                </a:lnTo>
                <a:lnTo>
                  <a:pt x="11328" y="6394"/>
                </a:lnTo>
                <a:lnTo>
                  <a:pt x="11331" y="6393"/>
                </a:lnTo>
                <a:close/>
                <a:moveTo>
                  <a:pt x="11414" y="6392"/>
                </a:moveTo>
                <a:lnTo>
                  <a:pt x="11406" y="6389"/>
                </a:lnTo>
                <a:lnTo>
                  <a:pt x="11397" y="6387"/>
                </a:lnTo>
                <a:lnTo>
                  <a:pt x="11405" y="6384"/>
                </a:lnTo>
                <a:lnTo>
                  <a:pt x="11412" y="6384"/>
                </a:lnTo>
                <a:lnTo>
                  <a:pt x="11417" y="6388"/>
                </a:lnTo>
                <a:lnTo>
                  <a:pt x="11414" y="6392"/>
                </a:lnTo>
                <a:close/>
                <a:moveTo>
                  <a:pt x="11377" y="6431"/>
                </a:moveTo>
                <a:lnTo>
                  <a:pt x="11387" y="6417"/>
                </a:lnTo>
                <a:lnTo>
                  <a:pt x="11403" y="6415"/>
                </a:lnTo>
                <a:lnTo>
                  <a:pt x="11416" y="6424"/>
                </a:lnTo>
                <a:lnTo>
                  <a:pt x="11412" y="6438"/>
                </a:lnTo>
                <a:lnTo>
                  <a:pt x="11396" y="6435"/>
                </a:lnTo>
                <a:lnTo>
                  <a:pt x="11377" y="6431"/>
                </a:lnTo>
                <a:close/>
                <a:moveTo>
                  <a:pt x="11382" y="6469"/>
                </a:moveTo>
                <a:lnTo>
                  <a:pt x="11392" y="6473"/>
                </a:lnTo>
                <a:lnTo>
                  <a:pt x="11401" y="6478"/>
                </a:lnTo>
                <a:lnTo>
                  <a:pt x="11410" y="6487"/>
                </a:lnTo>
                <a:lnTo>
                  <a:pt x="11419" y="6501"/>
                </a:lnTo>
                <a:lnTo>
                  <a:pt x="11391" y="6502"/>
                </a:lnTo>
                <a:lnTo>
                  <a:pt x="11366" y="6494"/>
                </a:lnTo>
                <a:lnTo>
                  <a:pt x="11360" y="6481"/>
                </a:lnTo>
                <a:lnTo>
                  <a:pt x="11382" y="6469"/>
                </a:lnTo>
                <a:close/>
                <a:moveTo>
                  <a:pt x="11342" y="6326"/>
                </a:moveTo>
                <a:lnTo>
                  <a:pt x="11396" y="6314"/>
                </a:lnTo>
                <a:lnTo>
                  <a:pt x="11411" y="6281"/>
                </a:lnTo>
                <a:lnTo>
                  <a:pt x="11415" y="6250"/>
                </a:lnTo>
                <a:lnTo>
                  <a:pt x="11434" y="6241"/>
                </a:lnTo>
                <a:lnTo>
                  <a:pt x="11443" y="6315"/>
                </a:lnTo>
                <a:lnTo>
                  <a:pt x="11405" y="6352"/>
                </a:lnTo>
                <a:lnTo>
                  <a:pt x="11359" y="6354"/>
                </a:lnTo>
                <a:lnTo>
                  <a:pt x="11342" y="6326"/>
                </a:lnTo>
                <a:close/>
                <a:moveTo>
                  <a:pt x="11345" y="5264"/>
                </a:moveTo>
                <a:lnTo>
                  <a:pt x="11349" y="5265"/>
                </a:lnTo>
                <a:lnTo>
                  <a:pt x="11347" y="5266"/>
                </a:lnTo>
                <a:lnTo>
                  <a:pt x="11345" y="5266"/>
                </a:lnTo>
                <a:lnTo>
                  <a:pt x="11340" y="5266"/>
                </a:lnTo>
                <a:lnTo>
                  <a:pt x="11342" y="5265"/>
                </a:lnTo>
                <a:lnTo>
                  <a:pt x="11345" y="5264"/>
                </a:lnTo>
                <a:close/>
                <a:moveTo>
                  <a:pt x="11346" y="1575"/>
                </a:moveTo>
                <a:lnTo>
                  <a:pt x="11349" y="1584"/>
                </a:lnTo>
                <a:lnTo>
                  <a:pt x="11351" y="1589"/>
                </a:lnTo>
                <a:lnTo>
                  <a:pt x="11350" y="1590"/>
                </a:lnTo>
                <a:lnTo>
                  <a:pt x="11342" y="1584"/>
                </a:lnTo>
                <a:lnTo>
                  <a:pt x="11344" y="1579"/>
                </a:lnTo>
                <a:lnTo>
                  <a:pt x="11346" y="1575"/>
                </a:lnTo>
                <a:close/>
                <a:moveTo>
                  <a:pt x="11352" y="5228"/>
                </a:moveTo>
                <a:lnTo>
                  <a:pt x="11349" y="5226"/>
                </a:lnTo>
                <a:lnTo>
                  <a:pt x="11349" y="5223"/>
                </a:lnTo>
                <a:lnTo>
                  <a:pt x="11351" y="5222"/>
                </a:lnTo>
                <a:lnTo>
                  <a:pt x="11355" y="5226"/>
                </a:lnTo>
                <a:lnTo>
                  <a:pt x="11355" y="5227"/>
                </a:lnTo>
                <a:lnTo>
                  <a:pt x="11352" y="5228"/>
                </a:lnTo>
                <a:close/>
                <a:moveTo>
                  <a:pt x="11349" y="6268"/>
                </a:moveTo>
                <a:lnTo>
                  <a:pt x="11352" y="6269"/>
                </a:lnTo>
                <a:lnTo>
                  <a:pt x="11351" y="6271"/>
                </a:lnTo>
                <a:lnTo>
                  <a:pt x="11350" y="6271"/>
                </a:lnTo>
                <a:lnTo>
                  <a:pt x="11349" y="6271"/>
                </a:lnTo>
                <a:lnTo>
                  <a:pt x="11349" y="6268"/>
                </a:lnTo>
                <a:close/>
                <a:moveTo>
                  <a:pt x="11351" y="6301"/>
                </a:moveTo>
                <a:lnTo>
                  <a:pt x="11350" y="6303"/>
                </a:lnTo>
                <a:lnTo>
                  <a:pt x="11351" y="6301"/>
                </a:lnTo>
                <a:lnTo>
                  <a:pt x="11354" y="6305"/>
                </a:lnTo>
                <a:lnTo>
                  <a:pt x="11351" y="6301"/>
                </a:lnTo>
                <a:close/>
                <a:moveTo>
                  <a:pt x="11384" y="6219"/>
                </a:moveTo>
                <a:lnTo>
                  <a:pt x="11380" y="6219"/>
                </a:lnTo>
                <a:lnTo>
                  <a:pt x="11379" y="6217"/>
                </a:lnTo>
                <a:lnTo>
                  <a:pt x="11377" y="6216"/>
                </a:lnTo>
                <a:lnTo>
                  <a:pt x="11377" y="6212"/>
                </a:lnTo>
                <a:lnTo>
                  <a:pt x="11379" y="6211"/>
                </a:lnTo>
                <a:lnTo>
                  <a:pt x="11382" y="6212"/>
                </a:lnTo>
                <a:lnTo>
                  <a:pt x="11383" y="6215"/>
                </a:lnTo>
                <a:lnTo>
                  <a:pt x="11384" y="6219"/>
                </a:lnTo>
                <a:close/>
                <a:moveTo>
                  <a:pt x="11439" y="5476"/>
                </a:moveTo>
                <a:lnTo>
                  <a:pt x="11403" y="5470"/>
                </a:lnTo>
                <a:lnTo>
                  <a:pt x="11383" y="5466"/>
                </a:lnTo>
                <a:lnTo>
                  <a:pt x="11372" y="5460"/>
                </a:lnTo>
                <a:lnTo>
                  <a:pt x="11361" y="5452"/>
                </a:lnTo>
                <a:lnTo>
                  <a:pt x="11391" y="5451"/>
                </a:lnTo>
                <a:lnTo>
                  <a:pt x="11410" y="5454"/>
                </a:lnTo>
                <a:lnTo>
                  <a:pt x="11422" y="5461"/>
                </a:lnTo>
                <a:lnTo>
                  <a:pt x="11439" y="5476"/>
                </a:lnTo>
                <a:close/>
                <a:moveTo>
                  <a:pt x="11373" y="1760"/>
                </a:moveTo>
                <a:lnTo>
                  <a:pt x="11373" y="1761"/>
                </a:lnTo>
                <a:lnTo>
                  <a:pt x="11373" y="1762"/>
                </a:lnTo>
                <a:lnTo>
                  <a:pt x="11370" y="1762"/>
                </a:lnTo>
                <a:lnTo>
                  <a:pt x="11369" y="1761"/>
                </a:lnTo>
                <a:lnTo>
                  <a:pt x="11373" y="1760"/>
                </a:lnTo>
                <a:close/>
                <a:moveTo>
                  <a:pt x="11379" y="1479"/>
                </a:moveTo>
                <a:lnTo>
                  <a:pt x="11384" y="1481"/>
                </a:lnTo>
                <a:lnTo>
                  <a:pt x="11384" y="1483"/>
                </a:lnTo>
                <a:lnTo>
                  <a:pt x="11382" y="1483"/>
                </a:lnTo>
                <a:lnTo>
                  <a:pt x="11378" y="1482"/>
                </a:lnTo>
                <a:lnTo>
                  <a:pt x="11378" y="1481"/>
                </a:lnTo>
                <a:lnTo>
                  <a:pt x="11379" y="1479"/>
                </a:lnTo>
                <a:close/>
                <a:moveTo>
                  <a:pt x="11430" y="5330"/>
                </a:moveTo>
                <a:lnTo>
                  <a:pt x="11443" y="5336"/>
                </a:lnTo>
                <a:lnTo>
                  <a:pt x="11445" y="5343"/>
                </a:lnTo>
                <a:lnTo>
                  <a:pt x="11440" y="5349"/>
                </a:lnTo>
                <a:lnTo>
                  <a:pt x="11428" y="5353"/>
                </a:lnTo>
                <a:lnTo>
                  <a:pt x="11420" y="5343"/>
                </a:lnTo>
                <a:lnTo>
                  <a:pt x="11416" y="5336"/>
                </a:lnTo>
                <a:lnTo>
                  <a:pt x="11419" y="5331"/>
                </a:lnTo>
                <a:lnTo>
                  <a:pt x="11430" y="5330"/>
                </a:lnTo>
                <a:close/>
                <a:moveTo>
                  <a:pt x="11431" y="5303"/>
                </a:moveTo>
                <a:lnTo>
                  <a:pt x="11429" y="5302"/>
                </a:lnTo>
                <a:lnTo>
                  <a:pt x="11429" y="5302"/>
                </a:lnTo>
                <a:lnTo>
                  <a:pt x="11430" y="5302"/>
                </a:lnTo>
                <a:lnTo>
                  <a:pt x="11431" y="5303"/>
                </a:lnTo>
                <a:lnTo>
                  <a:pt x="11429" y="5303"/>
                </a:lnTo>
                <a:lnTo>
                  <a:pt x="11428" y="5303"/>
                </a:lnTo>
                <a:lnTo>
                  <a:pt x="11429" y="5303"/>
                </a:lnTo>
                <a:lnTo>
                  <a:pt x="11431" y="5303"/>
                </a:lnTo>
                <a:close/>
                <a:moveTo>
                  <a:pt x="11438" y="5125"/>
                </a:moveTo>
                <a:lnTo>
                  <a:pt x="11440" y="5126"/>
                </a:lnTo>
                <a:lnTo>
                  <a:pt x="11442" y="5128"/>
                </a:lnTo>
                <a:lnTo>
                  <a:pt x="11440" y="5129"/>
                </a:lnTo>
                <a:lnTo>
                  <a:pt x="11438" y="5130"/>
                </a:lnTo>
                <a:lnTo>
                  <a:pt x="11435" y="5129"/>
                </a:lnTo>
                <a:lnTo>
                  <a:pt x="11434" y="5128"/>
                </a:lnTo>
                <a:lnTo>
                  <a:pt x="11435" y="5126"/>
                </a:lnTo>
                <a:lnTo>
                  <a:pt x="11438" y="5125"/>
                </a:lnTo>
                <a:close/>
                <a:moveTo>
                  <a:pt x="11442" y="1777"/>
                </a:moveTo>
                <a:lnTo>
                  <a:pt x="11440" y="1781"/>
                </a:lnTo>
                <a:lnTo>
                  <a:pt x="11440" y="1780"/>
                </a:lnTo>
                <a:lnTo>
                  <a:pt x="11439" y="1779"/>
                </a:lnTo>
                <a:lnTo>
                  <a:pt x="11440" y="1777"/>
                </a:lnTo>
                <a:lnTo>
                  <a:pt x="11442" y="1777"/>
                </a:lnTo>
                <a:close/>
                <a:moveTo>
                  <a:pt x="11443" y="5284"/>
                </a:moveTo>
                <a:lnTo>
                  <a:pt x="11442" y="5286"/>
                </a:lnTo>
                <a:lnTo>
                  <a:pt x="11440" y="5286"/>
                </a:lnTo>
                <a:lnTo>
                  <a:pt x="11439" y="5286"/>
                </a:lnTo>
                <a:lnTo>
                  <a:pt x="11439" y="5283"/>
                </a:lnTo>
                <a:lnTo>
                  <a:pt x="11442" y="5284"/>
                </a:lnTo>
                <a:lnTo>
                  <a:pt x="11443" y="5284"/>
                </a:lnTo>
                <a:close/>
                <a:moveTo>
                  <a:pt x="11447" y="5190"/>
                </a:moveTo>
                <a:lnTo>
                  <a:pt x="11451" y="5193"/>
                </a:lnTo>
                <a:lnTo>
                  <a:pt x="11453" y="5195"/>
                </a:lnTo>
                <a:lnTo>
                  <a:pt x="11451" y="5198"/>
                </a:lnTo>
                <a:lnTo>
                  <a:pt x="11445" y="5195"/>
                </a:lnTo>
                <a:lnTo>
                  <a:pt x="11443" y="5193"/>
                </a:lnTo>
                <a:lnTo>
                  <a:pt x="11447" y="5190"/>
                </a:lnTo>
                <a:close/>
                <a:moveTo>
                  <a:pt x="11415" y="5541"/>
                </a:moveTo>
                <a:lnTo>
                  <a:pt x="11411" y="5536"/>
                </a:lnTo>
                <a:lnTo>
                  <a:pt x="11412" y="5534"/>
                </a:lnTo>
                <a:lnTo>
                  <a:pt x="11416" y="5531"/>
                </a:lnTo>
                <a:lnTo>
                  <a:pt x="11422" y="5530"/>
                </a:lnTo>
                <a:lnTo>
                  <a:pt x="11424" y="5536"/>
                </a:lnTo>
                <a:lnTo>
                  <a:pt x="11424" y="5540"/>
                </a:lnTo>
                <a:lnTo>
                  <a:pt x="11421" y="5541"/>
                </a:lnTo>
                <a:lnTo>
                  <a:pt x="11415" y="5541"/>
                </a:lnTo>
                <a:close/>
                <a:moveTo>
                  <a:pt x="11428" y="5744"/>
                </a:moveTo>
                <a:lnTo>
                  <a:pt x="11426" y="5746"/>
                </a:lnTo>
                <a:lnTo>
                  <a:pt x="11424" y="5748"/>
                </a:lnTo>
                <a:lnTo>
                  <a:pt x="11421" y="5745"/>
                </a:lnTo>
                <a:lnTo>
                  <a:pt x="11422" y="5743"/>
                </a:lnTo>
                <a:lnTo>
                  <a:pt x="11426" y="5744"/>
                </a:lnTo>
                <a:lnTo>
                  <a:pt x="11428" y="5744"/>
                </a:lnTo>
                <a:close/>
                <a:moveTo>
                  <a:pt x="11424" y="5674"/>
                </a:moveTo>
                <a:lnTo>
                  <a:pt x="11419" y="5670"/>
                </a:lnTo>
                <a:lnTo>
                  <a:pt x="11414" y="5666"/>
                </a:lnTo>
                <a:lnTo>
                  <a:pt x="11414" y="5664"/>
                </a:lnTo>
                <a:lnTo>
                  <a:pt x="11419" y="5660"/>
                </a:lnTo>
                <a:lnTo>
                  <a:pt x="11426" y="5664"/>
                </a:lnTo>
                <a:lnTo>
                  <a:pt x="11430" y="5667"/>
                </a:lnTo>
                <a:lnTo>
                  <a:pt x="11430" y="5670"/>
                </a:lnTo>
                <a:lnTo>
                  <a:pt x="11424" y="5674"/>
                </a:lnTo>
                <a:close/>
                <a:moveTo>
                  <a:pt x="11422" y="6023"/>
                </a:moveTo>
                <a:lnTo>
                  <a:pt x="11405" y="6015"/>
                </a:lnTo>
                <a:lnTo>
                  <a:pt x="11401" y="6006"/>
                </a:lnTo>
                <a:lnTo>
                  <a:pt x="11410" y="6000"/>
                </a:lnTo>
                <a:lnTo>
                  <a:pt x="11431" y="6000"/>
                </a:lnTo>
                <a:lnTo>
                  <a:pt x="11435" y="6006"/>
                </a:lnTo>
                <a:lnTo>
                  <a:pt x="11433" y="6012"/>
                </a:lnTo>
                <a:lnTo>
                  <a:pt x="11428" y="6017"/>
                </a:lnTo>
                <a:lnTo>
                  <a:pt x="11422" y="6023"/>
                </a:lnTo>
                <a:close/>
                <a:moveTo>
                  <a:pt x="11415" y="6071"/>
                </a:moveTo>
                <a:lnTo>
                  <a:pt x="11410" y="6038"/>
                </a:lnTo>
                <a:lnTo>
                  <a:pt x="11433" y="6034"/>
                </a:lnTo>
                <a:lnTo>
                  <a:pt x="11456" y="6053"/>
                </a:lnTo>
                <a:lnTo>
                  <a:pt x="11449" y="6090"/>
                </a:lnTo>
                <a:lnTo>
                  <a:pt x="11438" y="6090"/>
                </a:lnTo>
                <a:lnTo>
                  <a:pt x="11439" y="6081"/>
                </a:lnTo>
                <a:lnTo>
                  <a:pt x="11437" y="6071"/>
                </a:lnTo>
                <a:lnTo>
                  <a:pt x="11415" y="6071"/>
                </a:lnTo>
                <a:close/>
                <a:moveTo>
                  <a:pt x="11473" y="5834"/>
                </a:moveTo>
                <a:lnTo>
                  <a:pt x="11481" y="5832"/>
                </a:lnTo>
                <a:lnTo>
                  <a:pt x="11489" y="5832"/>
                </a:lnTo>
                <a:lnTo>
                  <a:pt x="11495" y="5833"/>
                </a:lnTo>
                <a:lnTo>
                  <a:pt x="11499" y="5839"/>
                </a:lnTo>
                <a:lnTo>
                  <a:pt x="11494" y="5843"/>
                </a:lnTo>
                <a:lnTo>
                  <a:pt x="11486" y="5843"/>
                </a:lnTo>
                <a:lnTo>
                  <a:pt x="11479" y="5841"/>
                </a:lnTo>
                <a:lnTo>
                  <a:pt x="11473" y="5834"/>
                </a:lnTo>
                <a:close/>
                <a:moveTo>
                  <a:pt x="11494" y="5866"/>
                </a:moveTo>
                <a:lnTo>
                  <a:pt x="11493" y="5886"/>
                </a:lnTo>
                <a:lnTo>
                  <a:pt x="11447" y="5875"/>
                </a:lnTo>
                <a:lnTo>
                  <a:pt x="11405" y="5853"/>
                </a:lnTo>
                <a:lnTo>
                  <a:pt x="11419" y="5842"/>
                </a:lnTo>
                <a:lnTo>
                  <a:pt x="11438" y="5848"/>
                </a:lnTo>
                <a:lnTo>
                  <a:pt x="11457" y="5853"/>
                </a:lnTo>
                <a:lnTo>
                  <a:pt x="11475" y="5860"/>
                </a:lnTo>
                <a:lnTo>
                  <a:pt x="11494" y="5866"/>
                </a:lnTo>
                <a:close/>
                <a:moveTo>
                  <a:pt x="11463" y="5408"/>
                </a:moveTo>
                <a:lnTo>
                  <a:pt x="11456" y="5423"/>
                </a:lnTo>
                <a:lnTo>
                  <a:pt x="11437" y="5418"/>
                </a:lnTo>
                <a:lnTo>
                  <a:pt x="11420" y="5403"/>
                </a:lnTo>
                <a:lnTo>
                  <a:pt x="11417" y="5381"/>
                </a:lnTo>
                <a:lnTo>
                  <a:pt x="11430" y="5386"/>
                </a:lnTo>
                <a:lnTo>
                  <a:pt x="11442" y="5392"/>
                </a:lnTo>
                <a:lnTo>
                  <a:pt x="11452" y="5400"/>
                </a:lnTo>
                <a:lnTo>
                  <a:pt x="11463" y="5408"/>
                </a:lnTo>
                <a:close/>
                <a:moveTo>
                  <a:pt x="11472" y="5513"/>
                </a:moveTo>
                <a:lnTo>
                  <a:pt x="11476" y="5516"/>
                </a:lnTo>
                <a:lnTo>
                  <a:pt x="11473" y="5516"/>
                </a:lnTo>
                <a:lnTo>
                  <a:pt x="11472" y="5516"/>
                </a:lnTo>
                <a:lnTo>
                  <a:pt x="11471" y="5515"/>
                </a:lnTo>
                <a:lnTo>
                  <a:pt x="11472" y="5513"/>
                </a:lnTo>
                <a:close/>
                <a:moveTo>
                  <a:pt x="11507" y="5670"/>
                </a:moveTo>
                <a:lnTo>
                  <a:pt x="11509" y="5670"/>
                </a:lnTo>
                <a:lnTo>
                  <a:pt x="11512" y="5671"/>
                </a:lnTo>
                <a:lnTo>
                  <a:pt x="11509" y="5672"/>
                </a:lnTo>
                <a:lnTo>
                  <a:pt x="11507" y="5672"/>
                </a:lnTo>
                <a:lnTo>
                  <a:pt x="11505" y="5672"/>
                </a:lnTo>
                <a:lnTo>
                  <a:pt x="11507" y="5670"/>
                </a:lnTo>
                <a:close/>
                <a:moveTo>
                  <a:pt x="11505" y="6472"/>
                </a:moveTo>
                <a:lnTo>
                  <a:pt x="11503" y="6471"/>
                </a:lnTo>
                <a:lnTo>
                  <a:pt x="11505" y="6472"/>
                </a:lnTo>
                <a:lnTo>
                  <a:pt x="11500" y="6481"/>
                </a:lnTo>
                <a:lnTo>
                  <a:pt x="11505" y="6472"/>
                </a:lnTo>
                <a:close/>
                <a:moveTo>
                  <a:pt x="11443" y="7108"/>
                </a:moveTo>
                <a:lnTo>
                  <a:pt x="11447" y="7113"/>
                </a:lnTo>
                <a:lnTo>
                  <a:pt x="11448" y="7116"/>
                </a:lnTo>
                <a:lnTo>
                  <a:pt x="11445" y="7117"/>
                </a:lnTo>
                <a:lnTo>
                  <a:pt x="11439" y="7119"/>
                </a:lnTo>
                <a:lnTo>
                  <a:pt x="11435" y="7115"/>
                </a:lnTo>
                <a:lnTo>
                  <a:pt x="11435" y="7111"/>
                </a:lnTo>
                <a:lnTo>
                  <a:pt x="11438" y="7110"/>
                </a:lnTo>
                <a:lnTo>
                  <a:pt x="11443" y="7108"/>
                </a:lnTo>
                <a:close/>
                <a:moveTo>
                  <a:pt x="11454" y="7172"/>
                </a:moveTo>
                <a:lnTo>
                  <a:pt x="11465" y="7178"/>
                </a:lnTo>
                <a:lnTo>
                  <a:pt x="11467" y="7183"/>
                </a:lnTo>
                <a:lnTo>
                  <a:pt x="11465" y="7190"/>
                </a:lnTo>
                <a:lnTo>
                  <a:pt x="11461" y="7196"/>
                </a:lnTo>
                <a:lnTo>
                  <a:pt x="11451" y="7194"/>
                </a:lnTo>
                <a:lnTo>
                  <a:pt x="11443" y="7185"/>
                </a:lnTo>
                <a:lnTo>
                  <a:pt x="11443" y="7176"/>
                </a:lnTo>
                <a:lnTo>
                  <a:pt x="11454" y="7172"/>
                </a:lnTo>
                <a:close/>
                <a:moveTo>
                  <a:pt x="11459" y="7203"/>
                </a:moveTo>
                <a:lnTo>
                  <a:pt x="11462" y="7203"/>
                </a:lnTo>
                <a:lnTo>
                  <a:pt x="11463" y="7205"/>
                </a:lnTo>
                <a:lnTo>
                  <a:pt x="11462" y="7204"/>
                </a:lnTo>
                <a:lnTo>
                  <a:pt x="11459" y="7203"/>
                </a:lnTo>
                <a:close/>
                <a:moveTo>
                  <a:pt x="11454" y="7336"/>
                </a:moveTo>
                <a:lnTo>
                  <a:pt x="11454" y="7348"/>
                </a:lnTo>
                <a:lnTo>
                  <a:pt x="11454" y="7358"/>
                </a:lnTo>
                <a:lnTo>
                  <a:pt x="11454" y="7367"/>
                </a:lnTo>
                <a:lnTo>
                  <a:pt x="11453" y="7376"/>
                </a:lnTo>
                <a:lnTo>
                  <a:pt x="11430" y="7368"/>
                </a:lnTo>
                <a:lnTo>
                  <a:pt x="11422" y="7359"/>
                </a:lnTo>
                <a:lnTo>
                  <a:pt x="11430" y="7348"/>
                </a:lnTo>
                <a:lnTo>
                  <a:pt x="11454" y="7336"/>
                </a:lnTo>
                <a:close/>
                <a:moveTo>
                  <a:pt x="11443" y="7311"/>
                </a:moveTo>
                <a:lnTo>
                  <a:pt x="11443" y="7313"/>
                </a:lnTo>
                <a:lnTo>
                  <a:pt x="11443" y="7316"/>
                </a:lnTo>
                <a:lnTo>
                  <a:pt x="11440" y="7313"/>
                </a:lnTo>
                <a:lnTo>
                  <a:pt x="11439" y="7312"/>
                </a:lnTo>
                <a:lnTo>
                  <a:pt x="11440" y="7311"/>
                </a:lnTo>
                <a:lnTo>
                  <a:pt x="11443" y="7311"/>
                </a:lnTo>
                <a:close/>
                <a:moveTo>
                  <a:pt x="11312" y="9922"/>
                </a:moveTo>
                <a:lnTo>
                  <a:pt x="11316" y="9922"/>
                </a:lnTo>
                <a:lnTo>
                  <a:pt x="11318" y="9924"/>
                </a:lnTo>
                <a:lnTo>
                  <a:pt x="11319" y="9928"/>
                </a:lnTo>
                <a:lnTo>
                  <a:pt x="11321" y="9932"/>
                </a:lnTo>
                <a:lnTo>
                  <a:pt x="11316" y="9933"/>
                </a:lnTo>
                <a:lnTo>
                  <a:pt x="11312" y="9932"/>
                </a:lnTo>
                <a:lnTo>
                  <a:pt x="11310" y="9928"/>
                </a:lnTo>
                <a:lnTo>
                  <a:pt x="11312" y="9922"/>
                </a:lnTo>
                <a:close/>
                <a:moveTo>
                  <a:pt x="11345" y="9591"/>
                </a:moveTo>
                <a:lnTo>
                  <a:pt x="11364" y="9585"/>
                </a:lnTo>
                <a:lnTo>
                  <a:pt x="11377" y="9588"/>
                </a:lnTo>
                <a:lnTo>
                  <a:pt x="11382" y="9599"/>
                </a:lnTo>
                <a:lnTo>
                  <a:pt x="11377" y="9620"/>
                </a:lnTo>
                <a:lnTo>
                  <a:pt x="11363" y="9633"/>
                </a:lnTo>
                <a:lnTo>
                  <a:pt x="11349" y="9629"/>
                </a:lnTo>
                <a:lnTo>
                  <a:pt x="11341" y="9612"/>
                </a:lnTo>
                <a:lnTo>
                  <a:pt x="11345" y="9591"/>
                </a:lnTo>
                <a:close/>
                <a:moveTo>
                  <a:pt x="11391" y="9714"/>
                </a:moveTo>
                <a:lnTo>
                  <a:pt x="11391" y="9717"/>
                </a:lnTo>
                <a:lnTo>
                  <a:pt x="11391" y="9717"/>
                </a:lnTo>
                <a:lnTo>
                  <a:pt x="11389" y="9717"/>
                </a:lnTo>
                <a:lnTo>
                  <a:pt x="11387" y="9717"/>
                </a:lnTo>
                <a:lnTo>
                  <a:pt x="11391" y="9714"/>
                </a:lnTo>
                <a:close/>
                <a:moveTo>
                  <a:pt x="10465" y="10321"/>
                </a:moveTo>
                <a:lnTo>
                  <a:pt x="10466" y="10319"/>
                </a:lnTo>
                <a:lnTo>
                  <a:pt x="10467" y="10319"/>
                </a:lnTo>
                <a:lnTo>
                  <a:pt x="10469" y="10320"/>
                </a:lnTo>
                <a:lnTo>
                  <a:pt x="10470" y="10321"/>
                </a:lnTo>
                <a:lnTo>
                  <a:pt x="10465" y="10321"/>
                </a:lnTo>
                <a:close/>
                <a:moveTo>
                  <a:pt x="10246" y="10390"/>
                </a:moveTo>
                <a:lnTo>
                  <a:pt x="10246" y="10387"/>
                </a:lnTo>
                <a:lnTo>
                  <a:pt x="10247" y="10387"/>
                </a:lnTo>
                <a:lnTo>
                  <a:pt x="10247" y="10387"/>
                </a:lnTo>
                <a:lnTo>
                  <a:pt x="10248" y="10387"/>
                </a:lnTo>
                <a:lnTo>
                  <a:pt x="10246" y="10390"/>
                </a:lnTo>
                <a:close/>
                <a:moveTo>
                  <a:pt x="10236" y="10488"/>
                </a:moveTo>
                <a:lnTo>
                  <a:pt x="10231" y="10480"/>
                </a:lnTo>
                <a:lnTo>
                  <a:pt x="10231" y="10473"/>
                </a:lnTo>
                <a:lnTo>
                  <a:pt x="10233" y="10465"/>
                </a:lnTo>
                <a:lnTo>
                  <a:pt x="10237" y="10457"/>
                </a:lnTo>
                <a:lnTo>
                  <a:pt x="10242" y="10465"/>
                </a:lnTo>
                <a:lnTo>
                  <a:pt x="10241" y="10473"/>
                </a:lnTo>
                <a:lnTo>
                  <a:pt x="10238" y="10480"/>
                </a:lnTo>
                <a:lnTo>
                  <a:pt x="10236" y="10488"/>
                </a:lnTo>
                <a:close/>
                <a:moveTo>
                  <a:pt x="10233" y="10496"/>
                </a:moveTo>
                <a:lnTo>
                  <a:pt x="10236" y="10492"/>
                </a:lnTo>
                <a:lnTo>
                  <a:pt x="10236" y="10492"/>
                </a:lnTo>
                <a:lnTo>
                  <a:pt x="10236" y="10496"/>
                </a:lnTo>
                <a:lnTo>
                  <a:pt x="10236" y="10499"/>
                </a:lnTo>
                <a:lnTo>
                  <a:pt x="10234" y="10498"/>
                </a:lnTo>
                <a:lnTo>
                  <a:pt x="10233" y="10496"/>
                </a:lnTo>
                <a:close/>
                <a:moveTo>
                  <a:pt x="10190" y="10689"/>
                </a:moveTo>
                <a:lnTo>
                  <a:pt x="10191" y="10689"/>
                </a:lnTo>
                <a:lnTo>
                  <a:pt x="10194" y="10692"/>
                </a:lnTo>
                <a:lnTo>
                  <a:pt x="10191" y="10690"/>
                </a:lnTo>
                <a:lnTo>
                  <a:pt x="10190" y="10689"/>
                </a:lnTo>
                <a:close/>
                <a:moveTo>
                  <a:pt x="10191" y="10681"/>
                </a:moveTo>
                <a:lnTo>
                  <a:pt x="10190" y="10683"/>
                </a:lnTo>
                <a:lnTo>
                  <a:pt x="10191" y="10681"/>
                </a:lnTo>
                <a:lnTo>
                  <a:pt x="10191" y="10683"/>
                </a:lnTo>
                <a:lnTo>
                  <a:pt x="10191" y="10681"/>
                </a:lnTo>
                <a:close/>
                <a:moveTo>
                  <a:pt x="10088" y="10328"/>
                </a:moveTo>
                <a:lnTo>
                  <a:pt x="10074" y="10330"/>
                </a:lnTo>
                <a:lnTo>
                  <a:pt x="10065" y="10322"/>
                </a:lnTo>
                <a:lnTo>
                  <a:pt x="10067" y="10315"/>
                </a:lnTo>
                <a:lnTo>
                  <a:pt x="10088" y="10317"/>
                </a:lnTo>
                <a:lnTo>
                  <a:pt x="10088" y="10322"/>
                </a:lnTo>
                <a:lnTo>
                  <a:pt x="10088" y="10328"/>
                </a:lnTo>
                <a:close/>
                <a:moveTo>
                  <a:pt x="9761" y="10349"/>
                </a:moveTo>
                <a:lnTo>
                  <a:pt x="9773" y="10343"/>
                </a:lnTo>
                <a:lnTo>
                  <a:pt x="9787" y="10336"/>
                </a:lnTo>
                <a:lnTo>
                  <a:pt x="9800" y="10336"/>
                </a:lnTo>
                <a:lnTo>
                  <a:pt x="9815" y="10343"/>
                </a:lnTo>
                <a:lnTo>
                  <a:pt x="9796" y="10350"/>
                </a:lnTo>
                <a:lnTo>
                  <a:pt x="9784" y="10354"/>
                </a:lnTo>
                <a:lnTo>
                  <a:pt x="9773" y="10354"/>
                </a:lnTo>
                <a:lnTo>
                  <a:pt x="9761" y="10349"/>
                </a:lnTo>
                <a:close/>
                <a:moveTo>
                  <a:pt x="9764" y="10378"/>
                </a:moveTo>
                <a:lnTo>
                  <a:pt x="9769" y="10372"/>
                </a:lnTo>
                <a:lnTo>
                  <a:pt x="9784" y="10371"/>
                </a:lnTo>
                <a:lnTo>
                  <a:pt x="9798" y="10373"/>
                </a:lnTo>
                <a:lnTo>
                  <a:pt x="9801" y="10381"/>
                </a:lnTo>
                <a:lnTo>
                  <a:pt x="9792" y="10384"/>
                </a:lnTo>
                <a:lnTo>
                  <a:pt x="9784" y="10384"/>
                </a:lnTo>
                <a:lnTo>
                  <a:pt x="9773" y="10382"/>
                </a:lnTo>
                <a:lnTo>
                  <a:pt x="9764" y="10378"/>
                </a:lnTo>
                <a:close/>
                <a:moveTo>
                  <a:pt x="9599" y="1113"/>
                </a:moveTo>
                <a:lnTo>
                  <a:pt x="9601" y="1101"/>
                </a:lnTo>
                <a:lnTo>
                  <a:pt x="9603" y="1090"/>
                </a:lnTo>
                <a:lnTo>
                  <a:pt x="9610" y="1100"/>
                </a:lnTo>
                <a:lnTo>
                  <a:pt x="9612" y="1108"/>
                </a:lnTo>
                <a:lnTo>
                  <a:pt x="9609" y="1112"/>
                </a:lnTo>
                <a:lnTo>
                  <a:pt x="9599" y="1113"/>
                </a:lnTo>
                <a:close/>
                <a:moveTo>
                  <a:pt x="9403" y="10508"/>
                </a:moveTo>
                <a:lnTo>
                  <a:pt x="9399" y="10507"/>
                </a:lnTo>
                <a:lnTo>
                  <a:pt x="9393" y="10503"/>
                </a:lnTo>
                <a:lnTo>
                  <a:pt x="9401" y="10498"/>
                </a:lnTo>
                <a:lnTo>
                  <a:pt x="9408" y="10499"/>
                </a:lnTo>
                <a:lnTo>
                  <a:pt x="9409" y="10504"/>
                </a:lnTo>
                <a:lnTo>
                  <a:pt x="9403" y="10508"/>
                </a:lnTo>
                <a:close/>
                <a:moveTo>
                  <a:pt x="9389" y="10650"/>
                </a:moveTo>
                <a:lnTo>
                  <a:pt x="9385" y="10648"/>
                </a:lnTo>
                <a:lnTo>
                  <a:pt x="9379" y="10646"/>
                </a:lnTo>
                <a:lnTo>
                  <a:pt x="9385" y="10642"/>
                </a:lnTo>
                <a:lnTo>
                  <a:pt x="9390" y="10642"/>
                </a:lnTo>
                <a:lnTo>
                  <a:pt x="9393" y="10646"/>
                </a:lnTo>
                <a:lnTo>
                  <a:pt x="9389" y="10650"/>
                </a:lnTo>
                <a:close/>
                <a:moveTo>
                  <a:pt x="9365" y="10681"/>
                </a:moveTo>
                <a:lnTo>
                  <a:pt x="9361" y="10681"/>
                </a:lnTo>
                <a:lnTo>
                  <a:pt x="9356" y="10680"/>
                </a:lnTo>
                <a:lnTo>
                  <a:pt x="9359" y="10676"/>
                </a:lnTo>
                <a:lnTo>
                  <a:pt x="9365" y="10676"/>
                </a:lnTo>
                <a:lnTo>
                  <a:pt x="9367" y="10679"/>
                </a:lnTo>
                <a:lnTo>
                  <a:pt x="9365" y="10681"/>
                </a:lnTo>
                <a:close/>
                <a:moveTo>
                  <a:pt x="9303" y="10478"/>
                </a:moveTo>
                <a:lnTo>
                  <a:pt x="9297" y="10471"/>
                </a:lnTo>
                <a:lnTo>
                  <a:pt x="9296" y="10466"/>
                </a:lnTo>
                <a:lnTo>
                  <a:pt x="9298" y="10460"/>
                </a:lnTo>
                <a:lnTo>
                  <a:pt x="9305" y="10452"/>
                </a:lnTo>
                <a:lnTo>
                  <a:pt x="9311" y="10461"/>
                </a:lnTo>
                <a:lnTo>
                  <a:pt x="9312" y="10466"/>
                </a:lnTo>
                <a:lnTo>
                  <a:pt x="9310" y="10471"/>
                </a:lnTo>
                <a:lnTo>
                  <a:pt x="9303" y="10478"/>
                </a:lnTo>
                <a:close/>
                <a:moveTo>
                  <a:pt x="9254" y="10543"/>
                </a:moveTo>
                <a:lnTo>
                  <a:pt x="9269" y="10538"/>
                </a:lnTo>
                <a:lnTo>
                  <a:pt x="9279" y="10540"/>
                </a:lnTo>
                <a:lnTo>
                  <a:pt x="9284" y="10552"/>
                </a:lnTo>
                <a:lnTo>
                  <a:pt x="9286" y="10569"/>
                </a:lnTo>
                <a:lnTo>
                  <a:pt x="9272" y="10558"/>
                </a:lnTo>
                <a:lnTo>
                  <a:pt x="9254" y="10543"/>
                </a:lnTo>
                <a:close/>
                <a:moveTo>
                  <a:pt x="9221" y="10436"/>
                </a:moveTo>
                <a:lnTo>
                  <a:pt x="9231" y="10447"/>
                </a:lnTo>
                <a:lnTo>
                  <a:pt x="9241" y="10457"/>
                </a:lnTo>
                <a:lnTo>
                  <a:pt x="9228" y="10459"/>
                </a:lnTo>
                <a:lnTo>
                  <a:pt x="9221" y="10456"/>
                </a:lnTo>
                <a:lnTo>
                  <a:pt x="9219" y="10450"/>
                </a:lnTo>
                <a:lnTo>
                  <a:pt x="9221" y="10436"/>
                </a:lnTo>
                <a:close/>
                <a:moveTo>
                  <a:pt x="9194" y="10520"/>
                </a:moveTo>
                <a:lnTo>
                  <a:pt x="9199" y="10517"/>
                </a:lnTo>
                <a:lnTo>
                  <a:pt x="9194" y="10520"/>
                </a:lnTo>
                <a:lnTo>
                  <a:pt x="9193" y="10513"/>
                </a:lnTo>
                <a:lnTo>
                  <a:pt x="9195" y="10510"/>
                </a:lnTo>
                <a:lnTo>
                  <a:pt x="9198" y="10510"/>
                </a:lnTo>
                <a:lnTo>
                  <a:pt x="9194" y="10520"/>
                </a:lnTo>
                <a:close/>
                <a:moveTo>
                  <a:pt x="9177" y="10628"/>
                </a:moveTo>
                <a:lnTo>
                  <a:pt x="9176" y="10623"/>
                </a:lnTo>
                <a:lnTo>
                  <a:pt x="9176" y="10620"/>
                </a:lnTo>
                <a:lnTo>
                  <a:pt x="9189" y="10619"/>
                </a:lnTo>
                <a:lnTo>
                  <a:pt x="9193" y="10623"/>
                </a:lnTo>
                <a:lnTo>
                  <a:pt x="9189" y="10627"/>
                </a:lnTo>
                <a:lnTo>
                  <a:pt x="9177" y="10628"/>
                </a:lnTo>
                <a:close/>
                <a:moveTo>
                  <a:pt x="9167" y="10530"/>
                </a:moveTo>
                <a:lnTo>
                  <a:pt x="9179" y="10534"/>
                </a:lnTo>
                <a:lnTo>
                  <a:pt x="9194" y="10536"/>
                </a:lnTo>
                <a:lnTo>
                  <a:pt x="9185" y="10541"/>
                </a:lnTo>
                <a:lnTo>
                  <a:pt x="9176" y="10541"/>
                </a:lnTo>
                <a:lnTo>
                  <a:pt x="9168" y="10538"/>
                </a:lnTo>
                <a:lnTo>
                  <a:pt x="9167" y="10530"/>
                </a:lnTo>
                <a:close/>
                <a:moveTo>
                  <a:pt x="9147" y="10473"/>
                </a:moveTo>
                <a:lnTo>
                  <a:pt x="9119" y="10454"/>
                </a:lnTo>
                <a:lnTo>
                  <a:pt x="9068" y="10442"/>
                </a:lnTo>
                <a:lnTo>
                  <a:pt x="9030" y="10429"/>
                </a:lnTo>
                <a:lnTo>
                  <a:pt x="9041" y="10405"/>
                </a:lnTo>
                <a:lnTo>
                  <a:pt x="9106" y="10428"/>
                </a:lnTo>
                <a:lnTo>
                  <a:pt x="9165" y="10450"/>
                </a:lnTo>
                <a:lnTo>
                  <a:pt x="9189" y="10465"/>
                </a:lnTo>
                <a:lnTo>
                  <a:pt x="9147" y="10473"/>
                </a:lnTo>
                <a:close/>
                <a:moveTo>
                  <a:pt x="9145" y="10508"/>
                </a:moveTo>
                <a:lnTo>
                  <a:pt x="9130" y="10501"/>
                </a:lnTo>
                <a:lnTo>
                  <a:pt x="9115" y="10492"/>
                </a:lnTo>
                <a:lnTo>
                  <a:pt x="9100" y="10480"/>
                </a:lnTo>
                <a:lnTo>
                  <a:pt x="9086" y="10465"/>
                </a:lnTo>
                <a:lnTo>
                  <a:pt x="9112" y="10468"/>
                </a:lnTo>
                <a:lnTo>
                  <a:pt x="9140" y="10474"/>
                </a:lnTo>
                <a:lnTo>
                  <a:pt x="9156" y="10487"/>
                </a:lnTo>
                <a:lnTo>
                  <a:pt x="9145" y="10508"/>
                </a:lnTo>
                <a:close/>
                <a:moveTo>
                  <a:pt x="9087" y="10510"/>
                </a:moveTo>
                <a:lnTo>
                  <a:pt x="9101" y="10502"/>
                </a:lnTo>
                <a:lnTo>
                  <a:pt x="9116" y="10506"/>
                </a:lnTo>
                <a:lnTo>
                  <a:pt x="9126" y="10516"/>
                </a:lnTo>
                <a:lnTo>
                  <a:pt x="9130" y="10531"/>
                </a:lnTo>
                <a:lnTo>
                  <a:pt x="9114" y="10538"/>
                </a:lnTo>
                <a:lnTo>
                  <a:pt x="9098" y="10535"/>
                </a:lnTo>
                <a:lnTo>
                  <a:pt x="9088" y="10525"/>
                </a:lnTo>
                <a:lnTo>
                  <a:pt x="9087" y="10510"/>
                </a:lnTo>
                <a:close/>
                <a:moveTo>
                  <a:pt x="9086" y="10614"/>
                </a:moveTo>
                <a:lnTo>
                  <a:pt x="9106" y="10610"/>
                </a:lnTo>
                <a:lnTo>
                  <a:pt x="9119" y="10611"/>
                </a:lnTo>
                <a:lnTo>
                  <a:pt x="9126" y="10615"/>
                </a:lnTo>
                <a:lnTo>
                  <a:pt x="9135" y="10624"/>
                </a:lnTo>
                <a:lnTo>
                  <a:pt x="9121" y="10620"/>
                </a:lnTo>
                <a:lnTo>
                  <a:pt x="9109" y="10618"/>
                </a:lnTo>
                <a:lnTo>
                  <a:pt x="9097" y="10615"/>
                </a:lnTo>
                <a:lnTo>
                  <a:pt x="9086" y="10614"/>
                </a:lnTo>
                <a:close/>
                <a:moveTo>
                  <a:pt x="9067" y="10586"/>
                </a:moveTo>
                <a:lnTo>
                  <a:pt x="9061" y="10581"/>
                </a:lnTo>
                <a:lnTo>
                  <a:pt x="9063" y="10576"/>
                </a:lnTo>
                <a:lnTo>
                  <a:pt x="9068" y="10573"/>
                </a:lnTo>
                <a:lnTo>
                  <a:pt x="9075" y="10569"/>
                </a:lnTo>
                <a:lnTo>
                  <a:pt x="9079" y="10575"/>
                </a:lnTo>
                <a:lnTo>
                  <a:pt x="9077" y="10578"/>
                </a:lnTo>
                <a:lnTo>
                  <a:pt x="9072" y="10582"/>
                </a:lnTo>
                <a:lnTo>
                  <a:pt x="9067" y="10586"/>
                </a:lnTo>
                <a:close/>
                <a:moveTo>
                  <a:pt x="9041" y="10545"/>
                </a:moveTo>
                <a:lnTo>
                  <a:pt x="9053" y="10540"/>
                </a:lnTo>
                <a:lnTo>
                  <a:pt x="9059" y="10536"/>
                </a:lnTo>
                <a:lnTo>
                  <a:pt x="9063" y="10538"/>
                </a:lnTo>
                <a:lnTo>
                  <a:pt x="9069" y="10544"/>
                </a:lnTo>
                <a:lnTo>
                  <a:pt x="9063" y="10549"/>
                </a:lnTo>
                <a:lnTo>
                  <a:pt x="9056" y="10552"/>
                </a:lnTo>
                <a:lnTo>
                  <a:pt x="9050" y="10550"/>
                </a:lnTo>
                <a:lnTo>
                  <a:pt x="9041" y="10545"/>
                </a:lnTo>
                <a:close/>
                <a:moveTo>
                  <a:pt x="9042" y="10609"/>
                </a:moveTo>
                <a:lnTo>
                  <a:pt x="9032" y="10608"/>
                </a:lnTo>
                <a:lnTo>
                  <a:pt x="9019" y="10608"/>
                </a:lnTo>
                <a:lnTo>
                  <a:pt x="9009" y="10606"/>
                </a:lnTo>
                <a:lnTo>
                  <a:pt x="9004" y="10600"/>
                </a:lnTo>
                <a:lnTo>
                  <a:pt x="9014" y="10601"/>
                </a:lnTo>
                <a:lnTo>
                  <a:pt x="9027" y="10601"/>
                </a:lnTo>
                <a:lnTo>
                  <a:pt x="9037" y="10603"/>
                </a:lnTo>
                <a:lnTo>
                  <a:pt x="9042" y="10609"/>
                </a:lnTo>
                <a:close/>
                <a:moveTo>
                  <a:pt x="9005" y="10521"/>
                </a:moveTo>
                <a:lnTo>
                  <a:pt x="8961" y="10539"/>
                </a:lnTo>
                <a:lnTo>
                  <a:pt x="8928" y="10531"/>
                </a:lnTo>
                <a:lnTo>
                  <a:pt x="8888" y="10512"/>
                </a:lnTo>
                <a:lnTo>
                  <a:pt x="8821" y="10494"/>
                </a:lnTo>
                <a:lnTo>
                  <a:pt x="8846" y="10489"/>
                </a:lnTo>
                <a:lnTo>
                  <a:pt x="8888" y="10492"/>
                </a:lnTo>
                <a:lnTo>
                  <a:pt x="8918" y="10483"/>
                </a:lnTo>
                <a:lnTo>
                  <a:pt x="8906" y="10443"/>
                </a:lnTo>
                <a:lnTo>
                  <a:pt x="8919" y="10432"/>
                </a:lnTo>
                <a:lnTo>
                  <a:pt x="8942" y="10464"/>
                </a:lnTo>
                <a:lnTo>
                  <a:pt x="8970" y="10487"/>
                </a:lnTo>
                <a:lnTo>
                  <a:pt x="9002" y="10456"/>
                </a:lnTo>
                <a:lnTo>
                  <a:pt x="9028" y="10446"/>
                </a:lnTo>
                <a:lnTo>
                  <a:pt x="9042" y="10478"/>
                </a:lnTo>
                <a:lnTo>
                  <a:pt x="9037" y="10516"/>
                </a:lnTo>
                <a:lnTo>
                  <a:pt x="9005" y="10521"/>
                </a:lnTo>
                <a:close/>
                <a:moveTo>
                  <a:pt x="8860" y="10446"/>
                </a:moveTo>
                <a:lnTo>
                  <a:pt x="8868" y="10464"/>
                </a:lnTo>
                <a:lnTo>
                  <a:pt x="8854" y="10474"/>
                </a:lnTo>
                <a:lnTo>
                  <a:pt x="8833" y="10475"/>
                </a:lnTo>
                <a:lnTo>
                  <a:pt x="8814" y="10461"/>
                </a:lnTo>
                <a:lnTo>
                  <a:pt x="8827" y="10457"/>
                </a:lnTo>
                <a:lnTo>
                  <a:pt x="8839" y="10454"/>
                </a:lnTo>
                <a:lnTo>
                  <a:pt x="8850" y="10450"/>
                </a:lnTo>
                <a:lnTo>
                  <a:pt x="8860" y="10446"/>
                </a:lnTo>
                <a:close/>
                <a:moveTo>
                  <a:pt x="8746" y="10497"/>
                </a:moveTo>
                <a:lnTo>
                  <a:pt x="8738" y="10512"/>
                </a:lnTo>
                <a:lnTo>
                  <a:pt x="8701" y="10511"/>
                </a:lnTo>
                <a:lnTo>
                  <a:pt x="8686" y="10496"/>
                </a:lnTo>
                <a:lnTo>
                  <a:pt x="8742" y="10470"/>
                </a:lnTo>
                <a:lnTo>
                  <a:pt x="8777" y="10475"/>
                </a:lnTo>
                <a:lnTo>
                  <a:pt x="8793" y="10488"/>
                </a:lnTo>
                <a:lnTo>
                  <a:pt x="8784" y="10498"/>
                </a:lnTo>
                <a:lnTo>
                  <a:pt x="8746" y="10497"/>
                </a:lnTo>
                <a:close/>
                <a:moveTo>
                  <a:pt x="8799" y="10530"/>
                </a:moveTo>
                <a:lnTo>
                  <a:pt x="8794" y="10527"/>
                </a:lnTo>
                <a:lnTo>
                  <a:pt x="8791" y="10525"/>
                </a:lnTo>
                <a:lnTo>
                  <a:pt x="8793" y="10522"/>
                </a:lnTo>
                <a:lnTo>
                  <a:pt x="8798" y="10520"/>
                </a:lnTo>
                <a:lnTo>
                  <a:pt x="8802" y="10522"/>
                </a:lnTo>
                <a:lnTo>
                  <a:pt x="8803" y="10525"/>
                </a:lnTo>
                <a:lnTo>
                  <a:pt x="8802" y="10527"/>
                </a:lnTo>
                <a:lnTo>
                  <a:pt x="8799" y="10530"/>
                </a:lnTo>
                <a:close/>
                <a:moveTo>
                  <a:pt x="8653" y="10422"/>
                </a:moveTo>
                <a:lnTo>
                  <a:pt x="8644" y="10391"/>
                </a:lnTo>
                <a:lnTo>
                  <a:pt x="8660" y="10376"/>
                </a:lnTo>
                <a:lnTo>
                  <a:pt x="8695" y="10370"/>
                </a:lnTo>
                <a:lnTo>
                  <a:pt x="8734" y="10361"/>
                </a:lnTo>
                <a:lnTo>
                  <a:pt x="8724" y="10392"/>
                </a:lnTo>
                <a:lnTo>
                  <a:pt x="8698" y="10427"/>
                </a:lnTo>
                <a:lnTo>
                  <a:pt x="8670" y="10445"/>
                </a:lnTo>
                <a:lnTo>
                  <a:pt x="8653" y="10422"/>
                </a:lnTo>
                <a:close/>
                <a:moveTo>
                  <a:pt x="8597" y="10487"/>
                </a:moveTo>
                <a:lnTo>
                  <a:pt x="8542" y="10470"/>
                </a:lnTo>
                <a:lnTo>
                  <a:pt x="8532" y="10460"/>
                </a:lnTo>
                <a:lnTo>
                  <a:pt x="8555" y="10454"/>
                </a:lnTo>
                <a:lnTo>
                  <a:pt x="8604" y="10452"/>
                </a:lnTo>
                <a:lnTo>
                  <a:pt x="8632" y="10454"/>
                </a:lnTo>
                <a:lnTo>
                  <a:pt x="8637" y="10468"/>
                </a:lnTo>
                <a:lnTo>
                  <a:pt x="8625" y="10484"/>
                </a:lnTo>
                <a:lnTo>
                  <a:pt x="8597" y="10487"/>
                </a:lnTo>
                <a:close/>
                <a:moveTo>
                  <a:pt x="8628" y="10511"/>
                </a:moveTo>
                <a:lnTo>
                  <a:pt x="8623" y="10510"/>
                </a:lnTo>
                <a:lnTo>
                  <a:pt x="8620" y="10507"/>
                </a:lnTo>
                <a:lnTo>
                  <a:pt x="8620" y="10503"/>
                </a:lnTo>
                <a:lnTo>
                  <a:pt x="8623" y="10499"/>
                </a:lnTo>
                <a:lnTo>
                  <a:pt x="8628" y="10502"/>
                </a:lnTo>
                <a:lnTo>
                  <a:pt x="8631" y="10504"/>
                </a:lnTo>
                <a:lnTo>
                  <a:pt x="8632" y="10508"/>
                </a:lnTo>
                <a:lnTo>
                  <a:pt x="8628" y="10511"/>
                </a:lnTo>
                <a:close/>
                <a:moveTo>
                  <a:pt x="8551" y="10503"/>
                </a:moveTo>
                <a:lnTo>
                  <a:pt x="8547" y="10502"/>
                </a:lnTo>
                <a:lnTo>
                  <a:pt x="8542" y="10498"/>
                </a:lnTo>
                <a:lnTo>
                  <a:pt x="8548" y="10494"/>
                </a:lnTo>
                <a:lnTo>
                  <a:pt x="8555" y="10494"/>
                </a:lnTo>
                <a:lnTo>
                  <a:pt x="8556" y="10498"/>
                </a:lnTo>
                <a:lnTo>
                  <a:pt x="8551" y="10503"/>
                </a:lnTo>
                <a:close/>
                <a:moveTo>
                  <a:pt x="8751" y="10317"/>
                </a:moveTo>
                <a:lnTo>
                  <a:pt x="8769" y="10330"/>
                </a:lnTo>
                <a:lnTo>
                  <a:pt x="8751" y="10339"/>
                </a:lnTo>
                <a:lnTo>
                  <a:pt x="8718" y="10343"/>
                </a:lnTo>
                <a:lnTo>
                  <a:pt x="8691" y="10339"/>
                </a:lnTo>
                <a:lnTo>
                  <a:pt x="8682" y="10329"/>
                </a:lnTo>
                <a:lnTo>
                  <a:pt x="8701" y="10324"/>
                </a:lnTo>
                <a:lnTo>
                  <a:pt x="8730" y="10320"/>
                </a:lnTo>
                <a:lnTo>
                  <a:pt x="8751" y="10317"/>
                </a:lnTo>
                <a:close/>
                <a:moveTo>
                  <a:pt x="8714" y="10193"/>
                </a:moveTo>
                <a:lnTo>
                  <a:pt x="8776" y="10184"/>
                </a:lnTo>
                <a:lnTo>
                  <a:pt x="8765" y="10194"/>
                </a:lnTo>
                <a:lnTo>
                  <a:pt x="8737" y="10217"/>
                </a:lnTo>
                <a:lnTo>
                  <a:pt x="8755" y="10244"/>
                </a:lnTo>
                <a:lnTo>
                  <a:pt x="8725" y="10249"/>
                </a:lnTo>
                <a:lnTo>
                  <a:pt x="8707" y="10233"/>
                </a:lnTo>
                <a:lnTo>
                  <a:pt x="8702" y="10210"/>
                </a:lnTo>
                <a:lnTo>
                  <a:pt x="8714" y="10193"/>
                </a:lnTo>
                <a:close/>
                <a:moveTo>
                  <a:pt x="8781" y="10445"/>
                </a:moveTo>
                <a:lnTo>
                  <a:pt x="8775" y="10451"/>
                </a:lnTo>
                <a:lnTo>
                  <a:pt x="8767" y="10452"/>
                </a:lnTo>
                <a:lnTo>
                  <a:pt x="8761" y="10451"/>
                </a:lnTo>
                <a:lnTo>
                  <a:pt x="8757" y="10445"/>
                </a:lnTo>
                <a:lnTo>
                  <a:pt x="8763" y="10437"/>
                </a:lnTo>
                <a:lnTo>
                  <a:pt x="8770" y="10436"/>
                </a:lnTo>
                <a:lnTo>
                  <a:pt x="8776" y="10438"/>
                </a:lnTo>
                <a:lnTo>
                  <a:pt x="8781" y="10445"/>
                </a:lnTo>
                <a:close/>
                <a:moveTo>
                  <a:pt x="8794" y="10376"/>
                </a:moveTo>
                <a:lnTo>
                  <a:pt x="8832" y="10398"/>
                </a:lnTo>
                <a:lnTo>
                  <a:pt x="8827" y="10408"/>
                </a:lnTo>
                <a:lnTo>
                  <a:pt x="8797" y="10405"/>
                </a:lnTo>
                <a:lnTo>
                  <a:pt x="8761" y="10385"/>
                </a:lnTo>
                <a:lnTo>
                  <a:pt x="8760" y="10363"/>
                </a:lnTo>
                <a:lnTo>
                  <a:pt x="8769" y="10358"/>
                </a:lnTo>
                <a:lnTo>
                  <a:pt x="8783" y="10363"/>
                </a:lnTo>
                <a:lnTo>
                  <a:pt x="8794" y="10376"/>
                </a:lnTo>
                <a:close/>
                <a:moveTo>
                  <a:pt x="8977" y="10424"/>
                </a:moveTo>
                <a:lnTo>
                  <a:pt x="8971" y="10426"/>
                </a:lnTo>
                <a:lnTo>
                  <a:pt x="8965" y="10427"/>
                </a:lnTo>
                <a:lnTo>
                  <a:pt x="8958" y="10427"/>
                </a:lnTo>
                <a:lnTo>
                  <a:pt x="8957" y="10420"/>
                </a:lnTo>
                <a:lnTo>
                  <a:pt x="8963" y="10419"/>
                </a:lnTo>
                <a:lnTo>
                  <a:pt x="8970" y="10418"/>
                </a:lnTo>
                <a:lnTo>
                  <a:pt x="8975" y="10419"/>
                </a:lnTo>
                <a:lnTo>
                  <a:pt x="8977" y="10424"/>
                </a:lnTo>
                <a:close/>
                <a:moveTo>
                  <a:pt x="8900" y="10348"/>
                </a:moveTo>
                <a:lnTo>
                  <a:pt x="8930" y="10354"/>
                </a:lnTo>
                <a:lnTo>
                  <a:pt x="8961" y="10353"/>
                </a:lnTo>
                <a:lnTo>
                  <a:pt x="8990" y="10354"/>
                </a:lnTo>
                <a:lnTo>
                  <a:pt x="9016" y="10371"/>
                </a:lnTo>
                <a:lnTo>
                  <a:pt x="8933" y="10372"/>
                </a:lnTo>
                <a:lnTo>
                  <a:pt x="8847" y="10357"/>
                </a:lnTo>
                <a:lnTo>
                  <a:pt x="8818" y="10343"/>
                </a:lnTo>
                <a:lnTo>
                  <a:pt x="8900" y="10348"/>
                </a:lnTo>
                <a:close/>
                <a:moveTo>
                  <a:pt x="8875" y="10209"/>
                </a:moveTo>
                <a:lnTo>
                  <a:pt x="8890" y="10212"/>
                </a:lnTo>
                <a:lnTo>
                  <a:pt x="8907" y="10213"/>
                </a:lnTo>
                <a:lnTo>
                  <a:pt x="8916" y="10217"/>
                </a:lnTo>
                <a:lnTo>
                  <a:pt x="8904" y="10227"/>
                </a:lnTo>
                <a:lnTo>
                  <a:pt x="8861" y="10223"/>
                </a:lnTo>
                <a:lnTo>
                  <a:pt x="8833" y="10209"/>
                </a:lnTo>
                <a:lnTo>
                  <a:pt x="8832" y="10199"/>
                </a:lnTo>
                <a:lnTo>
                  <a:pt x="8875" y="10209"/>
                </a:lnTo>
                <a:close/>
                <a:moveTo>
                  <a:pt x="8944" y="10326"/>
                </a:moveTo>
                <a:lnTo>
                  <a:pt x="8934" y="10324"/>
                </a:lnTo>
                <a:lnTo>
                  <a:pt x="8924" y="10322"/>
                </a:lnTo>
                <a:lnTo>
                  <a:pt x="8914" y="10321"/>
                </a:lnTo>
                <a:lnTo>
                  <a:pt x="8901" y="10319"/>
                </a:lnTo>
                <a:lnTo>
                  <a:pt x="8915" y="10311"/>
                </a:lnTo>
                <a:lnTo>
                  <a:pt x="8924" y="10308"/>
                </a:lnTo>
                <a:lnTo>
                  <a:pt x="8933" y="10314"/>
                </a:lnTo>
                <a:lnTo>
                  <a:pt x="8944" y="10326"/>
                </a:lnTo>
                <a:close/>
                <a:moveTo>
                  <a:pt x="8985" y="1216"/>
                </a:moveTo>
                <a:lnTo>
                  <a:pt x="8994" y="1224"/>
                </a:lnTo>
                <a:lnTo>
                  <a:pt x="8996" y="1230"/>
                </a:lnTo>
                <a:lnTo>
                  <a:pt x="8994" y="1236"/>
                </a:lnTo>
                <a:lnTo>
                  <a:pt x="8985" y="1239"/>
                </a:lnTo>
                <a:lnTo>
                  <a:pt x="8979" y="1231"/>
                </a:lnTo>
                <a:lnTo>
                  <a:pt x="8975" y="1224"/>
                </a:lnTo>
                <a:lnTo>
                  <a:pt x="8976" y="1217"/>
                </a:lnTo>
                <a:lnTo>
                  <a:pt x="8985" y="1216"/>
                </a:lnTo>
                <a:close/>
                <a:moveTo>
                  <a:pt x="9005" y="10217"/>
                </a:moveTo>
                <a:lnTo>
                  <a:pt x="9010" y="10218"/>
                </a:lnTo>
                <a:lnTo>
                  <a:pt x="9018" y="10217"/>
                </a:lnTo>
                <a:lnTo>
                  <a:pt x="9024" y="10218"/>
                </a:lnTo>
                <a:lnTo>
                  <a:pt x="9026" y="10223"/>
                </a:lnTo>
                <a:lnTo>
                  <a:pt x="9018" y="10223"/>
                </a:lnTo>
                <a:lnTo>
                  <a:pt x="9009" y="10223"/>
                </a:lnTo>
                <a:lnTo>
                  <a:pt x="9004" y="10222"/>
                </a:lnTo>
                <a:lnTo>
                  <a:pt x="9005" y="10217"/>
                </a:lnTo>
                <a:close/>
                <a:moveTo>
                  <a:pt x="9086" y="10375"/>
                </a:moveTo>
                <a:lnTo>
                  <a:pt x="9081" y="10375"/>
                </a:lnTo>
                <a:lnTo>
                  <a:pt x="9086" y="10375"/>
                </a:lnTo>
                <a:lnTo>
                  <a:pt x="9084" y="10378"/>
                </a:lnTo>
                <a:lnTo>
                  <a:pt x="9081" y="10381"/>
                </a:lnTo>
                <a:lnTo>
                  <a:pt x="9078" y="10378"/>
                </a:lnTo>
                <a:lnTo>
                  <a:pt x="9086" y="10375"/>
                </a:lnTo>
                <a:close/>
                <a:moveTo>
                  <a:pt x="9087" y="10235"/>
                </a:moveTo>
                <a:lnTo>
                  <a:pt x="9087" y="10238"/>
                </a:lnTo>
                <a:lnTo>
                  <a:pt x="9087" y="10235"/>
                </a:lnTo>
                <a:lnTo>
                  <a:pt x="9091" y="10240"/>
                </a:lnTo>
                <a:lnTo>
                  <a:pt x="9087" y="10235"/>
                </a:lnTo>
                <a:close/>
                <a:moveTo>
                  <a:pt x="9182" y="10382"/>
                </a:moveTo>
                <a:lnTo>
                  <a:pt x="9194" y="10387"/>
                </a:lnTo>
                <a:lnTo>
                  <a:pt x="9196" y="10392"/>
                </a:lnTo>
                <a:lnTo>
                  <a:pt x="9191" y="10394"/>
                </a:lnTo>
                <a:lnTo>
                  <a:pt x="9181" y="10387"/>
                </a:lnTo>
                <a:lnTo>
                  <a:pt x="9181" y="10385"/>
                </a:lnTo>
                <a:lnTo>
                  <a:pt x="9182" y="10382"/>
                </a:lnTo>
                <a:close/>
                <a:moveTo>
                  <a:pt x="8492" y="10547"/>
                </a:moveTo>
                <a:lnTo>
                  <a:pt x="8482" y="10543"/>
                </a:lnTo>
                <a:lnTo>
                  <a:pt x="8481" y="10539"/>
                </a:lnTo>
                <a:lnTo>
                  <a:pt x="8485" y="10538"/>
                </a:lnTo>
                <a:lnTo>
                  <a:pt x="8493" y="10541"/>
                </a:lnTo>
                <a:lnTo>
                  <a:pt x="8493" y="10544"/>
                </a:lnTo>
                <a:lnTo>
                  <a:pt x="8492" y="10547"/>
                </a:lnTo>
                <a:close/>
                <a:moveTo>
                  <a:pt x="8423" y="10525"/>
                </a:moveTo>
                <a:lnTo>
                  <a:pt x="8432" y="10527"/>
                </a:lnTo>
                <a:lnTo>
                  <a:pt x="8443" y="10530"/>
                </a:lnTo>
                <a:lnTo>
                  <a:pt x="8453" y="10533"/>
                </a:lnTo>
                <a:lnTo>
                  <a:pt x="8464" y="10536"/>
                </a:lnTo>
                <a:lnTo>
                  <a:pt x="8450" y="10545"/>
                </a:lnTo>
                <a:lnTo>
                  <a:pt x="8441" y="10547"/>
                </a:lnTo>
                <a:lnTo>
                  <a:pt x="8434" y="10540"/>
                </a:lnTo>
                <a:lnTo>
                  <a:pt x="8423" y="10525"/>
                </a:lnTo>
                <a:close/>
                <a:moveTo>
                  <a:pt x="8460" y="10408"/>
                </a:moveTo>
                <a:lnTo>
                  <a:pt x="8455" y="10405"/>
                </a:lnTo>
                <a:lnTo>
                  <a:pt x="8460" y="10408"/>
                </a:lnTo>
                <a:lnTo>
                  <a:pt x="8453" y="10412"/>
                </a:lnTo>
                <a:lnTo>
                  <a:pt x="8460" y="10408"/>
                </a:lnTo>
                <a:close/>
                <a:moveTo>
                  <a:pt x="8448" y="1028"/>
                </a:moveTo>
                <a:lnTo>
                  <a:pt x="8451" y="1033"/>
                </a:lnTo>
                <a:lnTo>
                  <a:pt x="8451" y="1037"/>
                </a:lnTo>
                <a:lnTo>
                  <a:pt x="8446" y="1038"/>
                </a:lnTo>
                <a:lnTo>
                  <a:pt x="8440" y="1038"/>
                </a:lnTo>
                <a:lnTo>
                  <a:pt x="8437" y="1034"/>
                </a:lnTo>
                <a:lnTo>
                  <a:pt x="8439" y="1030"/>
                </a:lnTo>
                <a:lnTo>
                  <a:pt x="8443" y="1029"/>
                </a:lnTo>
                <a:lnTo>
                  <a:pt x="8448" y="1028"/>
                </a:lnTo>
                <a:close/>
                <a:moveTo>
                  <a:pt x="8408" y="10418"/>
                </a:moveTo>
                <a:lnTo>
                  <a:pt x="8402" y="10418"/>
                </a:lnTo>
                <a:lnTo>
                  <a:pt x="8397" y="10417"/>
                </a:lnTo>
                <a:lnTo>
                  <a:pt x="8393" y="10415"/>
                </a:lnTo>
                <a:lnTo>
                  <a:pt x="8393" y="10409"/>
                </a:lnTo>
                <a:lnTo>
                  <a:pt x="8398" y="10410"/>
                </a:lnTo>
                <a:lnTo>
                  <a:pt x="8403" y="10412"/>
                </a:lnTo>
                <a:lnTo>
                  <a:pt x="8408" y="10413"/>
                </a:lnTo>
                <a:lnTo>
                  <a:pt x="8408" y="10418"/>
                </a:lnTo>
                <a:close/>
                <a:moveTo>
                  <a:pt x="8332" y="10347"/>
                </a:moveTo>
                <a:lnTo>
                  <a:pt x="8328" y="10344"/>
                </a:lnTo>
                <a:lnTo>
                  <a:pt x="8323" y="10342"/>
                </a:lnTo>
                <a:lnTo>
                  <a:pt x="8330" y="10336"/>
                </a:lnTo>
                <a:lnTo>
                  <a:pt x="8337" y="10338"/>
                </a:lnTo>
                <a:lnTo>
                  <a:pt x="8338" y="10342"/>
                </a:lnTo>
                <a:lnTo>
                  <a:pt x="8332" y="10347"/>
                </a:lnTo>
                <a:close/>
                <a:moveTo>
                  <a:pt x="8304" y="10410"/>
                </a:moveTo>
                <a:lnTo>
                  <a:pt x="8310" y="10410"/>
                </a:lnTo>
                <a:lnTo>
                  <a:pt x="8304" y="10410"/>
                </a:lnTo>
                <a:lnTo>
                  <a:pt x="8305" y="10405"/>
                </a:lnTo>
                <a:lnTo>
                  <a:pt x="8310" y="10403"/>
                </a:lnTo>
                <a:lnTo>
                  <a:pt x="8311" y="10405"/>
                </a:lnTo>
                <a:lnTo>
                  <a:pt x="8304" y="10410"/>
                </a:lnTo>
                <a:close/>
                <a:moveTo>
                  <a:pt x="8272" y="10345"/>
                </a:moveTo>
                <a:lnTo>
                  <a:pt x="8269" y="10343"/>
                </a:lnTo>
                <a:lnTo>
                  <a:pt x="8268" y="10342"/>
                </a:lnTo>
                <a:lnTo>
                  <a:pt x="8279" y="10333"/>
                </a:lnTo>
                <a:lnTo>
                  <a:pt x="8286" y="10334"/>
                </a:lnTo>
                <a:lnTo>
                  <a:pt x="8285" y="10340"/>
                </a:lnTo>
                <a:lnTo>
                  <a:pt x="8272" y="10345"/>
                </a:lnTo>
                <a:close/>
                <a:moveTo>
                  <a:pt x="8212" y="10412"/>
                </a:moveTo>
                <a:lnTo>
                  <a:pt x="8204" y="10398"/>
                </a:lnTo>
                <a:lnTo>
                  <a:pt x="8193" y="10380"/>
                </a:lnTo>
                <a:lnTo>
                  <a:pt x="8221" y="10384"/>
                </a:lnTo>
                <a:lnTo>
                  <a:pt x="8234" y="10390"/>
                </a:lnTo>
                <a:lnTo>
                  <a:pt x="8231" y="10400"/>
                </a:lnTo>
                <a:lnTo>
                  <a:pt x="8212" y="10412"/>
                </a:lnTo>
                <a:close/>
                <a:moveTo>
                  <a:pt x="8212" y="10326"/>
                </a:moveTo>
                <a:lnTo>
                  <a:pt x="8207" y="10338"/>
                </a:lnTo>
                <a:lnTo>
                  <a:pt x="8209" y="10348"/>
                </a:lnTo>
                <a:lnTo>
                  <a:pt x="8216" y="10356"/>
                </a:lnTo>
                <a:lnTo>
                  <a:pt x="8230" y="10363"/>
                </a:lnTo>
                <a:lnTo>
                  <a:pt x="8197" y="10372"/>
                </a:lnTo>
                <a:lnTo>
                  <a:pt x="8179" y="10361"/>
                </a:lnTo>
                <a:lnTo>
                  <a:pt x="8183" y="10342"/>
                </a:lnTo>
                <a:lnTo>
                  <a:pt x="8212" y="10326"/>
                </a:lnTo>
                <a:close/>
                <a:moveTo>
                  <a:pt x="8162" y="10392"/>
                </a:moveTo>
                <a:lnTo>
                  <a:pt x="8159" y="10390"/>
                </a:lnTo>
                <a:lnTo>
                  <a:pt x="8159" y="10387"/>
                </a:lnTo>
                <a:lnTo>
                  <a:pt x="8160" y="10385"/>
                </a:lnTo>
                <a:lnTo>
                  <a:pt x="8165" y="10382"/>
                </a:lnTo>
                <a:lnTo>
                  <a:pt x="8166" y="10386"/>
                </a:lnTo>
                <a:lnTo>
                  <a:pt x="8167" y="10390"/>
                </a:lnTo>
                <a:lnTo>
                  <a:pt x="8166" y="10392"/>
                </a:lnTo>
                <a:lnTo>
                  <a:pt x="8162" y="10392"/>
                </a:lnTo>
                <a:close/>
                <a:moveTo>
                  <a:pt x="8134" y="10415"/>
                </a:moveTo>
                <a:lnTo>
                  <a:pt x="8072" y="10401"/>
                </a:lnTo>
                <a:lnTo>
                  <a:pt x="8031" y="10398"/>
                </a:lnTo>
                <a:lnTo>
                  <a:pt x="8025" y="10386"/>
                </a:lnTo>
                <a:lnTo>
                  <a:pt x="8071" y="10345"/>
                </a:lnTo>
                <a:lnTo>
                  <a:pt x="8113" y="10366"/>
                </a:lnTo>
                <a:lnTo>
                  <a:pt x="8134" y="10386"/>
                </a:lnTo>
                <a:lnTo>
                  <a:pt x="8141" y="10404"/>
                </a:lnTo>
                <a:lnTo>
                  <a:pt x="8134" y="10415"/>
                </a:lnTo>
                <a:close/>
                <a:moveTo>
                  <a:pt x="8025" y="10334"/>
                </a:moveTo>
                <a:lnTo>
                  <a:pt x="8034" y="10343"/>
                </a:lnTo>
                <a:lnTo>
                  <a:pt x="8032" y="10352"/>
                </a:lnTo>
                <a:lnTo>
                  <a:pt x="8021" y="10357"/>
                </a:lnTo>
                <a:lnTo>
                  <a:pt x="7998" y="10353"/>
                </a:lnTo>
                <a:lnTo>
                  <a:pt x="8012" y="10343"/>
                </a:lnTo>
                <a:lnTo>
                  <a:pt x="8025" y="10334"/>
                </a:lnTo>
                <a:close/>
                <a:moveTo>
                  <a:pt x="7979" y="10324"/>
                </a:moveTo>
                <a:lnTo>
                  <a:pt x="7942" y="10356"/>
                </a:lnTo>
                <a:lnTo>
                  <a:pt x="7909" y="10345"/>
                </a:lnTo>
                <a:lnTo>
                  <a:pt x="7876" y="10322"/>
                </a:lnTo>
                <a:lnTo>
                  <a:pt x="7840" y="10312"/>
                </a:lnTo>
                <a:lnTo>
                  <a:pt x="7889" y="10294"/>
                </a:lnTo>
                <a:lnTo>
                  <a:pt x="7962" y="10297"/>
                </a:lnTo>
                <a:lnTo>
                  <a:pt x="8010" y="10310"/>
                </a:lnTo>
                <a:lnTo>
                  <a:pt x="7979" y="10324"/>
                </a:lnTo>
                <a:close/>
                <a:moveTo>
                  <a:pt x="7920" y="10378"/>
                </a:moveTo>
                <a:lnTo>
                  <a:pt x="7908" y="10385"/>
                </a:lnTo>
                <a:lnTo>
                  <a:pt x="7892" y="10390"/>
                </a:lnTo>
                <a:lnTo>
                  <a:pt x="7889" y="10372"/>
                </a:lnTo>
                <a:lnTo>
                  <a:pt x="7904" y="10363"/>
                </a:lnTo>
                <a:lnTo>
                  <a:pt x="7919" y="10364"/>
                </a:lnTo>
                <a:lnTo>
                  <a:pt x="7920" y="10378"/>
                </a:lnTo>
                <a:close/>
                <a:moveTo>
                  <a:pt x="7802" y="10334"/>
                </a:moveTo>
                <a:lnTo>
                  <a:pt x="7807" y="10322"/>
                </a:lnTo>
                <a:lnTo>
                  <a:pt x="7820" y="10324"/>
                </a:lnTo>
                <a:lnTo>
                  <a:pt x="7836" y="10331"/>
                </a:lnTo>
                <a:lnTo>
                  <a:pt x="7853" y="10336"/>
                </a:lnTo>
                <a:lnTo>
                  <a:pt x="7836" y="10344"/>
                </a:lnTo>
                <a:lnTo>
                  <a:pt x="7822" y="10345"/>
                </a:lnTo>
                <a:lnTo>
                  <a:pt x="7811" y="10343"/>
                </a:lnTo>
                <a:lnTo>
                  <a:pt x="7802" y="10334"/>
                </a:lnTo>
                <a:close/>
                <a:moveTo>
                  <a:pt x="7815" y="10216"/>
                </a:moveTo>
                <a:lnTo>
                  <a:pt x="7808" y="10209"/>
                </a:lnTo>
                <a:lnTo>
                  <a:pt x="7806" y="10205"/>
                </a:lnTo>
                <a:lnTo>
                  <a:pt x="7806" y="10202"/>
                </a:lnTo>
                <a:lnTo>
                  <a:pt x="7811" y="10198"/>
                </a:lnTo>
                <a:lnTo>
                  <a:pt x="7815" y="10202"/>
                </a:lnTo>
                <a:lnTo>
                  <a:pt x="7817" y="10205"/>
                </a:lnTo>
                <a:lnTo>
                  <a:pt x="7817" y="10210"/>
                </a:lnTo>
                <a:lnTo>
                  <a:pt x="7815" y="10216"/>
                </a:lnTo>
                <a:close/>
                <a:moveTo>
                  <a:pt x="7844" y="10123"/>
                </a:moveTo>
                <a:lnTo>
                  <a:pt x="7829" y="10125"/>
                </a:lnTo>
                <a:lnTo>
                  <a:pt x="7813" y="10125"/>
                </a:lnTo>
                <a:lnTo>
                  <a:pt x="7798" y="10124"/>
                </a:lnTo>
                <a:lnTo>
                  <a:pt x="7782" y="10119"/>
                </a:lnTo>
                <a:lnTo>
                  <a:pt x="7799" y="10110"/>
                </a:lnTo>
                <a:lnTo>
                  <a:pt x="7815" y="10110"/>
                </a:lnTo>
                <a:lnTo>
                  <a:pt x="7830" y="10115"/>
                </a:lnTo>
                <a:lnTo>
                  <a:pt x="7844" y="10123"/>
                </a:lnTo>
                <a:close/>
                <a:moveTo>
                  <a:pt x="7733" y="10193"/>
                </a:moveTo>
                <a:lnTo>
                  <a:pt x="7746" y="10189"/>
                </a:lnTo>
                <a:lnTo>
                  <a:pt x="7757" y="10188"/>
                </a:lnTo>
                <a:lnTo>
                  <a:pt x="7769" y="10189"/>
                </a:lnTo>
                <a:lnTo>
                  <a:pt x="7779" y="10194"/>
                </a:lnTo>
                <a:lnTo>
                  <a:pt x="7769" y="10200"/>
                </a:lnTo>
                <a:lnTo>
                  <a:pt x="7757" y="10203"/>
                </a:lnTo>
                <a:lnTo>
                  <a:pt x="7746" y="10200"/>
                </a:lnTo>
                <a:lnTo>
                  <a:pt x="7733" y="10193"/>
                </a:lnTo>
                <a:close/>
                <a:moveTo>
                  <a:pt x="7750" y="10231"/>
                </a:moveTo>
                <a:lnTo>
                  <a:pt x="7742" y="10230"/>
                </a:lnTo>
                <a:lnTo>
                  <a:pt x="7733" y="10230"/>
                </a:lnTo>
                <a:lnTo>
                  <a:pt x="7727" y="10228"/>
                </a:lnTo>
                <a:lnTo>
                  <a:pt x="7726" y="10222"/>
                </a:lnTo>
                <a:lnTo>
                  <a:pt x="7734" y="10222"/>
                </a:lnTo>
                <a:lnTo>
                  <a:pt x="7742" y="10221"/>
                </a:lnTo>
                <a:lnTo>
                  <a:pt x="7748" y="10223"/>
                </a:lnTo>
                <a:lnTo>
                  <a:pt x="7750" y="10231"/>
                </a:lnTo>
                <a:close/>
                <a:moveTo>
                  <a:pt x="7723" y="838"/>
                </a:moveTo>
                <a:lnTo>
                  <a:pt x="7737" y="840"/>
                </a:lnTo>
                <a:lnTo>
                  <a:pt x="7752" y="843"/>
                </a:lnTo>
                <a:lnTo>
                  <a:pt x="7771" y="847"/>
                </a:lnTo>
                <a:lnTo>
                  <a:pt x="7793" y="851"/>
                </a:lnTo>
                <a:lnTo>
                  <a:pt x="7774" y="866"/>
                </a:lnTo>
                <a:lnTo>
                  <a:pt x="7755" y="871"/>
                </a:lnTo>
                <a:lnTo>
                  <a:pt x="7737" y="861"/>
                </a:lnTo>
                <a:lnTo>
                  <a:pt x="7723" y="838"/>
                </a:lnTo>
                <a:close/>
                <a:moveTo>
                  <a:pt x="7692" y="10116"/>
                </a:moveTo>
                <a:lnTo>
                  <a:pt x="7689" y="10114"/>
                </a:lnTo>
                <a:lnTo>
                  <a:pt x="7687" y="10111"/>
                </a:lnTo>
                <a:lnTo>
                  <a:pt x="7690" y="10107"/>
                </a:lnTo>
                <a:lnTo>
                  <a:pt x="7696" y="10102"/>
                </a:lnTo>
                <a:lnTo>
                  <a:pt x="7699" y="10107"/>
                </a:lnTo>
                <a:lnTo>
                  <a:pt x="7699" y="10111"/>
                </a:lnTo>
                <a:lnTo>
                  <a:pt x="7698" y="10115"/>
                </a:lnTo>
                <a:lnTo>
                  <a:pt x="7692" y="10116"/>
                </a:lnTo>
                <a:close/>
                <a:moveTo>
                  <a:pt x="7925" y="10266"/>
                </a:moveTo>
                <a:lnTo>
                  <a:pt x="7903" y="10274"/>
                </a:lnTo>
                <a:lnTo>
                  <a:pt x="7883" y="10275"/>
                </a:lnTo>
                <a:lnTo>
                  <a:pt x="7864" y="10273"/>
                </a:lnTo>
                <a:lnTo>
                  <a:pt x="7847" y="10265"/>
                </a:lnTo>
                <a:lnTo>
                  <a:pt x="7864" y="10261"/>
                </a:lnTo>
                <a:lnTo>
                  <a:pt x="7883" y="10260"/>
                </a:lnTo>
                <a:lnTo>
                  <a:pt x="7903" y="10260"/>
                </a:lnTo>
                <a:lnTo>
                  <a:pt x="7925" y="10266"/>
                </a:lnTo>
                <a:close/>
                <a:moveTo>
                  <a:pt x="7868" y="10227"/>
                </a:moveTo>
                <a:lnTo>
                  <a:pt x="7872" y="10233"/>
                </a:lnTo>
                <a:lnTo>
                  <a:pt x="7872" y="10240"/>
                </a:lnTo>
                <a:lnTo>
                  <a:pt x="7869" y="10246"/>
                </a:lnTo>
                <a:lnTo>
                  <a:pt x="7863" y="10249"/>
                </a:lnTo>
                <a:lnTo>
                  <a:pt x="7854" y="10238"/>
                </a:lnTo>
                <a:lnTo>
                  <a:pt x="7852" y="10231"/>
                </a:lnTo>
                <a:lnTo>
                  <a:pt x="7855" y="10227"/>
                </a:lnTo>
                <a:lnTo>
                  <a:pt x="7868" y="10227"/>
                </a:lnTo>
                <a:close/>
                <a:moveTo>
                  <a:pt x="7999" y="10272"/>
                </a:moveTo>
                <a:lnTo>
                  <a:pt x="8043" y="10278"/>
                </a:lnTo>
                <a:lnTo>
                  <a:pt x="8094" y="10286"/>
                </a:lnTo>
                <a:lnTo>
                  <a:pt x="8118" y="10294"/>
                </a:lnTo>
                <a:lnTo>
                  <a:pt x="8082" y="10302"/>
                </a:lnTo>
                <a:lnTo>
                  <a:pt x="8127" y="10331"/>
                </a:lnTo>
                <a:lnTo>
                  <a:pt x="8094" y="10331"/>
                </a:lnTo>
                <a:lnTo>
                  <a:pt x="8034" y="10310"/>
                </a:lnTo>
                <a:lnTo>
                  <a:pt x="7999" y="10272"/>
                </a:lnTo>
                <a:close/>
                <a:moveTo>
                  <a:pt x="8062" y="954"/>
                </a:moveTo>
                <a:lnTo>
                  <a:pt x="8062" y="958"/>
                </a:lnTo>
                <a:lnTo>
                  <a:pt x="8060" y="961"/>
                </a:lnTo>
                <a:lnTo>
                  <a:pt x="8059" y="961"/>
                </a:lnTo>
                <a:lnTo>
                  <a:pt x="8055" y="959"/>
                </a:lnTo>
                <a:lnTo>
                  <a:pt x="8055" y="956"/>
                </a:lnTo>
                <a:lnTo>
                  <a:pt x="8057" y="955"/>
                </a:lnTo>
                <a:lnTo>
                  <a:pt x="8059" y="954"/>
                </a:lnTo>
                <a:lnTo>
                  <a:pt x="8062" y="954"/>
                </a:lnTo>
                <a:close/>
                <a:moveTo>
                  <a:pt x="8204" y="10293"/>
                </a:moveTo>
                <a:lnTo>
                  <a:pt x="8198" y="10293"/>
                </a:lnTo>
                <a:lnTo>
                  <a:pt x="8204" y="10293"/>
                </a:lnTo>
                <a:lnTo>
                  <a:pt x="8203" y="10298"/>
                </a:lnTo>
                <a:lnTo>
                  <a:pt x="8198" y="10301"/>
                </a:lnTo>
                <a:lnTo>
                  <a:pt x="8195" y="10298"/>
                </a:lnTo>
                <a:lnTo>
                  <a:pt x="8204" y="10293"/>
                </a:lnTo>
                <a:close/>
                <a:moveTo>
                  <a:pt x="8187" y="10261"/>
                </a:moveTo>
                <a:lnTo>
                  <a:pt x="8193" y="10261"/>
                </a:lnTo>
                <a:lnTo>
                  <a:pt x="8201" y="10261"/>
                </a:lnTo>
                <a:lnTo>
                  <a:pt x="8206" y="10264"/>
                </a:lnTo>
                <a:lnTo>
                  <a:pt x="8206" y="10269"/>
                </a:lnTo>
                <a:lnTo>
                  <a:pt x="8199" y="10269"/>
                </a:lnTo>
                <a:lnTo>
                  <a:pt x="8193" y="10269"/>
                </a:lnTo>
                <a:lnTo>
                  <a:pt x="8188" y="10266"/>
                </a:lnTo>
                <a:lnTo>
                  <a:pt x="8187" y="10261"/>
                </a:lnTo>
                <a:close/>
                <a:moveTo>
                  <a:pt x="8204" y="932"/>
                </a:moveTo>
                <a:lnTo>
                  <a:pt x="8208" y="935"/>
                </a:lnTo>
                <a:lnTo>
                  <a:pt x="8209" y="939"/>
                </a:lnTo>
                <a:lnTo>
                  <a:pt x="8202" y="946"/>
                </a:lnTo>
                <a:lnTo>
                  <a:pt x="8195" y="944"/>
                </a:lnTo>
                <a:lnTo>
                  <a:pt x="8195" y="937"/>
                </a:lnTo>
                <a:lnTo>
                  <a:pt x="8204" y="932"/>
                </a:lnTo>
                <a:close/>
                <a:moveTo>
                  <a:pt x="7630" y="10102"/>
                </a:moveTo>
                <a:lnTo>
                  <a:pt x="7639" y="10100"/>
                </a:lnTo>
                <a:lnTo>
                  <a:pt x="7653" y="10097"/>
                </a:lnTo>
                <a:lnTo>
                  <a:pt x="7666" y="10097"/>
                </a:lnTo>
                <a:lnTo>
                  <a:pt x="7672" y="10104"/>
                </a:lnTo>
                <a:lnTo>
                  <a:pt x="7662" y="10111"/>
                </a:lnTo>
                <a:lnTo>
                  <a:pt x="7653" y="10114"/>
                </a:lnTo>
                <a:lnTo>
                  <a:pt x="7643" y="10111"/>
                </a:lnTo>
                <a:lnTo>
                  <a:pt x="7630" y="10102"/>
                </a:lnTo>
                <a:close/>
                <a:moveTo>
                  <a:pt x="7657" y="784"/>
                </a:moveTo>
                <a:lnTo>
                  <a:pt x="7659" y="792"/>
                </a:lnTo>
                <a:lnTo>
                  <a:pt x="7661" y="800"/>
                </a:lnTo>
                <a:lnTo>
                  <a:pt x="7657" y="804"/>
                </a:lnTo>
                <a:lnTo>
                  <a:pt x="7649" y="802"/>
                </a:lnTo>
                <a:lnTo>
                  <a:pt x="7645" y="796"/>
                </a:lnTo>
                <a:lnTo>
                  <a:pt x="7645" y="791"/>
                </a:lnTo>
                <a:lnTo>
                  <a:pt x="7649" y="787"/>
                </a:lnTo>
                <a:lnTo>
                  <a:pt x="7657" y="784"/>
                </a:lnTo>
                <a:close/>
                <a:moveTo>
                  <a:pt x="7532" y="10166"/>
                </a:moveTo>
                <a:lnTo>
                  <a:pt x="7527" y="10166"/>
                </a:lnTo>
                <a:lnTo>
                  <a:pt x="7522" y="10165"/>
                </a:lnTo>
                <a:lnTo>
                  <a:pt x="7518" y="10163"/>
                </a:lnTo>
                <a:lnTo>
                  <a:pt x="7519" y="10158"/>
                </a:lnTo>
                <a:lnTo>
                  <a:pt x="7523" y="10160"/>
                </a:lnTo>
                <a:lnTo>
                  <a:pt x="7528" y="10160"/>
                </a:lnTo>
                <a:lnTo>
                  <a:pt x="7532" y="10162"/>
                </a:lnTo>
                <a:lnTo>
                  <a:pt x="7532" y="10166"/>
                </a:lnTo>
                <a:close/>
                <a:moveTo>
                  <a:pt x="7453" y="10170"/>
                </a:moveTo>
                <a:lnTo>
                  <a:pt x="7463" y="10163"/>
                </a:lnTo>
                <a:lnTo>
                  <a:pt x="7457" y="10158"/>
                </a:lnTo>
                <a:lnTo>
                  <a:pt x="7445" y="10158"/>
                </a:lnTo>
                <a:lnTo>
                  <a:pt x="7435" y="10162"/>
                </a:lnTo>
                <a:lnTo>
                  <a:pt x="7440" y="10152"/>
                </a:lnTo>
                <a:lnTo>
                  <a:pt x="7464" y="10156"/>
                </a:lnTo>
                <a:lnTo>
                  <a:pt x="7478" y="10165"/>
                </a:lnTo>
                <a:lnTo>
                  <a:pt x="7453" y="10170"/>
                </a:lnTo>
                <a:close/>
                <a:moveTo>
                  <a:pt x="7391" y="10166"/>
                </a:moveTo>
                <a:lnTo>
                  <a:pt x="7375" y="10167"/>
                </a:lnTo>
                <a:lnTo>
                  <a:pt x="7363" y="10175"/>
                </a:lnTo>
                <a:lnTo>
                  <a:pt x="7351" y="10182"/>
                </a:lnTo>
                <a:lnTo>
                  <a:pt x="7335" y="10180"/>
                </a:lnTo>
                <a:lnTo>
                  <a:pt x="7310" y="10165"/>
                </a:lnTo>
                <a:lnTo>
                  <a:pt x="7355" y="10154"/>
                </a:lnTo>
                <a:lnTo>
                  <a:pt x="7403" y="10153"/>
                </a:lnTo>
                <a:lnTo>
                  <a:pt x="7391" y="10166"/>
                </a:lnTo>
                <a:close/>
                <a:moveTo>
                  <a:pt x="7277" y="10149"/>
                </a:moveTo>
                <a:lnTo>
                  <a:pt x="7245" y="10147"/>
                </a:lnTo>
                <a:lnTo>
                  <a:pt x="7253" y="10132"/>
                </a:lnTo>
                <a:lnTo>
                  <a:pt x="7286" y="10121"/>
                </a:lnTo>
                <a:lnTo>
                  <a:pt x="7323" y="10132"/>
                </a:lnTo>
                <a:lnTo>
                  <a:pt x="7326" y="10148"/>
                </a:lnTo>
                <a:lnTo>
                  <a:pt x="7315" y="10149"/>
                </a:lnTo>
                <a:lnTo>
                  <a:pt x="7296" y="10146"/>
                </a:lnTo>
                <a:lnTo>
                  <a:pt x="7277" y="10149"/>
                </a:lnTo>
                <a:close/>
                <a:moveTo>
                  <a:pt x="7228" y="10076"/>
                </a:moveTo>
                <a:lnTo>
                  <a:pt x="7252" y="10069"/>
                </a:lnTo>
                <a:lnTo>
                  <a:pt x="7271" y="10077"/>
                </a:lnTo>
                <a:lnTo>
                  <a:pt x="7290" y="10088"/>
                </a:lnTo>
                <a:lnTo>
                  <a:pt x="7309" y="10101"/>
                </a:lnTo>
                <a:lnTo>
                  <a:pt x="7286" y="10107"/>
                </a:lnTo>
                <a:lnTo>
                  <a:pt x="7266" y="10101"/>
                </a:lnTo>
                <a:lnTo>
                  <a:pt x="7248" y="10090"/>
                </a:lnTo>
                <a:lnTo>
                  <a:pt x="7228" y="10076"/>
                </a:lnTo>
                <a:close/>
                <a:moveTo>
                  <a:pt x="7252" y="10291"/>
                </a:moveTo>
                <a:lnTo>
                  <a:pt x="7237" y="10297"/>
                </a:lnTo>
                <a:lnTo>
                  <a:pt x="7222" y="10303"/>
                </a:lnTo>
                <a:lnTo>
                  <a:pt x="7208" y="10306"/>
                </a:lnTo>
                <a:lnTo>
                  <a:pt x="7192" y="10301"/>
                </a:lnTo>
                <a:lnTo>
                  <a:pt x="7205" y="10294"/>
                </a:lnTo>
                <a:lnTo>
                  <a:pt x="7217" y="10284"/>
                </a:lnTo>
                <a:lnTo>
                  <a:pt x="7231" y="10280"/>
                </a:lnTo>
                <a:lnTo>
                  <a:pt x="7252" y="10291"/>
                </a:lnTo>
                <a:close/>
                <a:moveTo>
                  <a:pt x="7158" y="10153"/>
                </a:moveTo>
                <a:lnTo>
                  <a:pt x="7177" y="10143"/>
                </a:lnTo>
                <a:lnTo>
                  <a:pt x="7192" y="10140"/>
                </a:lnTo>
                <a:lnTo>
                  <a:pt x="7205" y="10146"/>
                </a:lnTo>
                <a:lnTo>
                  <a:pt x="7221" y="10160"/>
                </a:lnTo>
                <a:lnTo>
                  <a:pt x="7206" y="10158"/>
                </a:lnTo>
                <a:lnTo>
                  <a:pt x="7191" y="10157"/>
                </a:lnTo>
                <a:lnTo>
                  <a:pt x="7174" y="10156"/>
                </a:lnTo>
                <a:lnTo>
                  <a:pt x="7158" y="10153"/>
                </a:lnTo>
                <a:close/>
                <a:moveTo>
                  <a:pt x="7165" y="10189"/>
                </a:moveTo>
                <a:lnTo>
                  <a:pt x="7177" y="10182"/>
                </a:lnTo>
                <a:lnTo>
                  <a:pt x="7184" y="10181"/>
                </a:lnTo>
                <a:lnTo>
                  <a:pt x="7189" y="10188"/>
                </a:lnTo>
                <a:lnTo>
                  <a:pt x="7192" y="10202"/>
                </a:lnTo>
                <a:lnTo>
                  <a:pt x="7183" y="10203"/>
                </a:lnTo>
                <a:lnTo>
                  <a:pt x="7177" y="10199"/>
                </a:lnTo>
                <a:lnTo>
                  <a:pt x="7172" y="10194"/>
                </a:lnTo>
                <a:lnTo>
                  <a:pt x="7165" y="10189"/>
                </a:lnTo>
                <a:close/>
                <a:moveTo>
                  <a:pt x="7226" y="10076"/>
                </a:moveTo>
                <a:lnTo>
                  <a:pt x="7216" y="10084"/>
                </a:lnTo>
                <a:lnTo>
                  <a:pt x="7205" y="10083"/>
                </a:lnTo>
                <a:lnTo>
                  <a:pt x="7194" y="10078"/>
                </a:lnTo>
                <a:lnTo>
                  <a:pt x="7183" y="10073"/>
                </a:lnTo>
                <a:lnTo>
                  <a:pt x="7194" y="10070"/>
                </a:lnTo>
                <a:lnTo>
                  <a:pt x="7206" y="10070"/>
                </a:lnTo>
                <a:lnTo>
                  <a:pt x="7216" y="10072"/>
                </a:lnTo>
                <a:lnTo>
                  <a:pt x="7226" y="10076"/>
                </a:lnTo>
                <a:close/>
                <a:moveTo>
                  <a:pt x="7388" y="10083"/>
                </a:moveTo>
                <a:lnTo>
                  <a:pt x="7397" y="10083"/>
                </a:lnTo>
                <a:lnTo>
                  <a:pt x="7405" y="10082"/>
                </a:lnTo>
                <a:lnTo>
                  <a:pt x="7410" y="10084"/>
                </a:lnTo>
                <a:lnTo>
                  <a:pt x="7411" y="10091"/>
                </a:lnTo>
                <a:lnTo>
                  <a:pt x="7405" y="10091"/>
                </a:lnTo>
                <a:lnTo>
                  <a:pt x="7396" y="10091"/>
                </a:lnTo>
                <a:lnTo>
                  <a:pt x="7391" y="10088"/>
                </a:lnTo>
                <a:lnTo>
                  <a:pt x="7388" y="10083"/>
                </a:lnTo>
                <a:close/>
                <a:moveTo>
                  <a:pt x="7104" y="10048"/>
                </a:moveTo>
                <a:lnTo>
                  <a:pt x="7100" y="10059"/>
                </a:lnTo>
                <a:lnTo>
                  <a:pt x="7098" y="10060"/>
                </a:lnTo>
                <a:lnTo>
                  <a:pt x="7096" y="10051"/>
                </a:lnTo>
                <a:lnTo>
                  <a:pt x="7099" y="10036"/>
                </a:lnTo>
                <a:lnTo>
                  <a:pt x="7105" y="10037"/>
                </a:lnTo>
                <a:lnTo>
                  <a:pt x="7109" y="10040"/>
                </a:lnTo>
                <a:lnTo>
                  <a:pt x="7108" y="10042"/>
                </a:lnTo>
                <a:lnTo>
                  <a:pt x="7104" y="10048"/>
                </a:lnTo>
                <a:close/>
                <a:moveTo>
                  <a:pt x="7091" y="10144"/>
                </a:moveTo>
                <a:lnTo>
                  <a:pt x="7096" y="10138"/>
                </a:lnTo>
                <a:lnTo>
                  <a:pt x="7104" y="10138"/>
                </a:lnTo>
                <a:lnTo>
                  <a:pt x="7109" y="10144"/>
                </a:lnTo>
                <a:lnTo>
                  <a:pt x="7110" y="10156"/>
                </a:lnTo>
                <a:lnTo>
                  <a:pt x="7100" y="10151"/>
                </a:lnTo>
                <a:lnTo>
                  <a:pt x="7091" y="10144"/>
                </a:lnTo>
                <a:close/>
                <a:moveTo>
                  <a:pt x="7034" y="10121"/>
                </a:moveTo>
                <a:lnTo>
                  <a:pt x="7045" y="10118"/>
                </a:lnTo>
                <a:lnTo>
                  <a:pt x="7052" y="10116"/>
                </a:lnTo>
                <a:lnTo>
                  <a:pt x="7059" y="10118"/>
                </a:lnTo>
                <a:lnTo>
                  <a:pt x="7070" y="10121"/>
                </a:lnTo>
                <a:lnTo>
                  <a:pt x="7059" y="10128"/>
                </a:lnTo>
                <a:lnTo>
                  <a:pt x="7052" y="10129"/>
                </a:lnTo>
                <a:lnTo>
                  <a:pt x="7043" y="10126"/>
                </a:lnTo>
                <a:lnTo>
                  <a:pt x="7034" y="10121"/>
                </a:lnTo>
                <a:close/>
                <a:moveTo>
                  <a:pt x="7017" y="675"/>
                </a:moveTo>
                <a:lnTo>
                  <a:pt x="7015" y="671"/>
                </a:lnTo>
                <a:lnTo>
                  <a:pt x="7015" y="669"/>
                </a:lnTo>
                <a:lnTo>
                  <a:pt x="7017" y="667"/>
                </a:lnTo>
                <a:lnTo>
                  <a:pt x="7020" y="665"/>
                </a:lnTo>
                <a:lnTo>
                  <a:pt x="7021" y="669"/>
                </a:lnTo>
                <a:lnTo>
                  <a:pt x="7021" y="671"/>
                </a:lnTo>
                <a:lnTo>
                  <a:pt x="7020" y="674"/>
                </a:lnTo>
                <a:lnTo>
                  <a:pt x="7017" y="675"/>
                </a:lnTo>
                <a:close/>
                <a:moveTo>
                  <a:pt x="6997" y="10179"/>
                </a:moveTo>
                <a:lnTo>
                  <a:pt x="6989" y="10176"/>
                </a:lnTo>
                <a:lnTo>
                  <a:pt x="6981" y="10170"/>
                </a:lnTo>
                <a:lnTo>
                  <a:pt x="6991" y="10165"/>
                </a:lnTo>
                <a:lnTo>
                  <a:pt x="7000" y="10167"/>
                </a:lnTo>
                <a:lnTo>
                  <a:pt x="7002" y="10172"/>
                </a:lnTo>
                <a:lnTo>
                  <a:pt x="6997" y="10179"/>
                </a:lnTo>
                <a:close/>
                <a:moveTo>
                  <a:pt x="6961" y="10168"/>
                </a:moveTo>
                <a:lnTo>
                  <a:pt x="6926" y="10130"/>
                </a:lnTo>
                <a:lnTo>
                  <a:pt x="6924" y="10110"/>
                </a:lnTo>
                <a:lnTo>
                  <a:pt x="6949" y="10110"/>
                </a:lnTo>
                <a:lnTo>
                  <a:pt x="6997" y="10135"/>
                </a:lnTo>
                <a:lnTo>
                  <a:pt x="6982" y="10139"/>
                </a:lnTo>
                <a:lnTo>
                  <a:pt x="6970" y="10144"/>
                </a:lnTo>
                <a:lnTo>
                  <a:pt x="6963" y="10153"/>
                </a:lnTo>
                <a:lnTo>
                  <a:pt x="6961" y="10168"/>
                </a:lnTo>
                <a:close/>
                <a:moveTo>
                  <a:pt x="6949" y="10011"/>
                </a:moveTo>
                <a:lnTo>
                  <a:pt x="6961" y="10022"/>
                </a:lnTo>
                <a:lnTo>
                  <a:pt x="6964" y="10034"/>
                </a:lnTo>
                <a:lnTo>
                  <a:pt x="6956" y="10040"/>
                </a:lnTo>
                <a:lnTo>
                  <a:pt x="6939" y="10037"/>
                </a:lnTo>
                <a:lnTo>
                  <a:pt x="6930" y="10030"/>
                </a:lnTo>
                <a:lnTo>
                  <a:pt x="6931" y="10022"/>
                </a:lnTo>
                <a:lnTo>
                  <a:pt x="6939" y="10017"/>
                </a:lnTo>
                <a:lnTo>
                  <a:pt x="6949" y="10011"/>
                </a:lnTo>
                <a:close/>
                <a:moveTo>
                  <a:pt x="6853" y="10116"/>
                </a:moveTo>
                <a:lnTo>
                  <a:pt x="6840" y="10124"/>
                </a:lnTo>
                <a:lnTo>
                  <a:pt x="6825" y="10128"/>
                </a:lnTo>
                <a:lnTo>
                  <a:pt x="6812" y="10124"/>
                </a:lnTo>
                <a:lnTo>
                  <a:pt x="6809" y="10109"/>
                </a:lnTo>
                <a:lnTo>
                  <a:pt x="6823" y="10100"/>
                </a:lnTo>
                <a:lnTo>
                  <a:pt x="6838" y="10096"/>
                </a:lnTo>
                <a:lnTo>
                  <a:pt x="6849" y="10100"/>
                </a:lnTo>
                <a:lnTo>
                  <a:pt x="6853" y="10116"/>
                </a:lnTo>
                <a:close/>
                <a:moveTo>
                  <a:pt x="6772" y="10116"/>
                </a:moveTo>
                <a:lnTo>
                  <a:pt x="6763" y="10098"/>
                </a:lnTo>
                <a:lnTo>
                  <a:pt x="6755" y="10083"/>
                </a:lnTo>
                <a:lnTo>
                  <a:pt x="6772" y="10086"/>
                </a:lnTo>
                <a:lnTo>
                  <a:pt x="6781" y="10091"/>
                </a:lnTo>
                <a:lnTo>
                  <a:pt x="6779" y="10100"/>
                </a:lnTo>
                <a:lnTo>
                  <a:pt x="6772" y="10116"/>
                </a:lnTo>
                <a:close/>
                <a:moveTo>
                  <a:pt x="6690" y="10132"/>
                </a:moveTo>
                <a:lnTo>
                  <a:pt x="6676" y="10116"/>
                </a:lnTo>
                <a:lnTo>
                  <a:pt x="6683" y="10105"/>
                </a:lnTo>
                <a:lnTo>
                  <a:pt x="6700" y="10098"/>
                </a:lnTo>
                <a:lnTo>
                  <a:pt x="6723" y="10102"/>
                </a:lnTo>
                <a:lnTo>
                  <a:pt x="6714" y="10111"/>
                </a:lnTo>
                <a:lnTo>
                  <a:pt x="6709" y="10123"/>
                </a:lnTo>
                <a:lnTo>
                  <a:pt x="6703" y="10130"/>
                </a:lnTo>
                <a:lnTo>
                  <a:pt x="6690" y="10132"/>
                </a:lnTo>
                <a:close/>
                <a:moveTo>
                  <a:pt x="6672" y="10031"/>
                </a:moveTo>
                <a:lnTo>
                  <a:pt x="6669" y="10027"/>
                </a:lnTo>
                <a:lnTo>
                  <a:pt x="6667" y="10023"/>
                </a:lnTo>
                <a:lnTo>
                  <a:pt x="6669" y="10020"/>
                </a:lnTo>
                <a:lnTo>
                  <a:pt x="6675" y="10016"/>
                </a:lnTo>
                <a:lnTo>
                  <a:pt x="6676" y="10021"/>
                </a:lnTo>
                <a:lnTo>
                  <a:pt x="6677" y="10026"/>
                </a:lnTo>
                <a:lnTo>
                  <a:pt x="6676" y="10030"/>
                </a:lnTo>
                <a:lnTo>
                  <a:pt x="6672" y="10031"/>
                </a:lnTo>
                <a:close/>
                <a:moveTo>
                  <a:pt x="6584" y="10009"/>
                </a:moveTo>
                <a:lnTo>
                  <a:pt x="6590" y="9995"/>
                </a:lnTo>
                <a:lnTo>
                  <a:pt x="6600" y="9990"/>
                </a:lnTo>
                <a:lnTo>
                  <a:pt x="6610" y="9993"/>
                </a:lnTo>
                <a:lnTo>
                  <a:pt x="6615" y="10006"/>
                </a:lnTo>
                <a:lnTo>
                  <a:pt x="6610" y="10012"/>
                </a:lnTo>
                <a:lnTo>
                  <a:pt x="6602" y="10014"/>
                </a:lnTo>
                <a:lnTo>
                  <a:pt x="6595" y="10012"/>
                </a:lnTo>
                <a:lnTo>
                  <a:pt x="6584" y="10009"/>
                </a:lnTo>
                <a:close/>
                <a:moveTo>
                  <a:pt x="6548" y="10012"/>
                </a:moveTo>
                <a:lnTo>
                  <a:pt x="6537" y="10002"/>
                </a:lnTo>
                <a:lnTo>
                  <a:pt x="6537" y="9995"/>
                </a:lnTo>
                <a:lnTo>
                  <a:pt x="6545" y="9994"/>
                </a:lnTo>
                <a:lnTo>
                  <a:pt x="6555" y="10003"/>
                </a:lnTo>
                <a:lnTo>
                  <a:pt x="6553" y="10007"/>
                </a:lnTo>
                <a:lnTo>
                  <a:pt x="6548" y="10012"/>
                </a:lnTo>
                <a:close/>
                <a:moveTo>
                  <a:pt x="6527" y="544"/>
                </a:moveTo>
                <a:lnTo>
                  <a:pt x="6532" y="545"/>
                </a:lnTo>
                <a:lnTo>
                  <a:pt x="6537" y="545"/>
                </a:lnTo>
                <a:lnTo>
                  <a:pt x="6541" y="548"/>
                </a:lnTo>
                <a:lnTo>
                  <a:pt x="6542" y="553"/>
                </a:lnTo>
                <a:lnTo>
                  <a:pt x="6536" y="554"/>
                </a:lnTo>
                <a:lnTo>
                  <a:pt x="6531" y="554"/>
                </a:lnTo>
                <a:lnTo>
                  <a:pt x="6527" y="550"/>
                </a:lnTo>
                <a:lnTo>
                  <a:pt x="6527" y="544"/>
                </a:lnTo>
                <a:close/>
                <a:moveTo>
                  <a:pt x="6428" y="10055"/>
                </a:moveTo>
                <a:lnTo>
                  <a:pt x="6432" y="10034"/>
                </a:lnTo>
                <a:lnTo>
                  <a:pt x="6437" y="10020"/>
                </a:lnTo>
                <a:lnTo>
                  <a:pt x="6451" y="10014"/>
                </a:lnTo>
                <a:lnTo>
                  <a:pt x="6477" y="10017"/>
                </a:lnTo>
                <a:lnTo>
                  <a:pt x="6467" y="10028"/>
                </a:lnTo>
                <a:lnTo>
                  <a:pt x="6458" y="10042"/>
                </a:lnTo>
                <a:lnTo>
                  <a:pt x="6447" y="10053"/>
                </a:lnTo>
                <a:lnTo>
                  <a:pt x="6428" y="10055"/>
                </a:lnTo>
                <a:close/>
                <a:moveTo>
                  <a:pt x="6427" y="10106"/>
                </a:moveTo>
                <a:lnTo>
                  <a:pt x="6420" y="10105"/>
                </a:lnTo>
                <a:lnTo>
                  <a:pt x="6414" y="10104"/>
                </a:lnTo>
                <a:lnTo>
                  <a:pt x="6409" y="10101"/>
                </a:lnTo>
                <a:lnTo>
                  <a:pt x="6410" y="10095"/>
                </a:lnTo>
                <a:lnTo>
                  <a:pt x="6416" y="10096"/>
                </a:lnTo>
                <a:lnTo>
                  <a:pt x="6423" y="10098"/>
                </a:lnTo>
                <a:lnTo>
                  <a:pt x="6428" y="10101"/>
                </a:lnTo>
                <a:lnTo>
                  <a:pt x="6427" y="10106"/>
                </a:lnTo>
                <a:close/>
                <a:moveTo>
                  <a:pt x="6443" y="9983"/>
                </a:moveTo>
                <a:lnTo>
                  <a:pt x="6446" y="9985"/>
                </a:lnTo>
                <a:lnTo>
                  <a:pt x="6449" y="9992"/>
                </a:lnTo>
                <a:lnTo>
                  <a:pt x="6439" y="9993"/>
                </a:lnTo>
                <a:lnTo>
                  <a:pt x="6433" y="9989"/>
                </a:lnTo>
                <a:lnTo>
                  <a:pt x="6434" y="9985"/>
                </a:lnTo>
                <a:lnTo>
                  <a:pt x="6443" y="9983"/>
                </a:lnTo>
                <a:close/>
                <a:moveTo>
                  <a:pt x="6337" y="10063"/>
                </a:moveTo>
                <a:lnTo>
                  <a:pt x="6331" y="10063"/>
                </a:lnTo>
                <a:lnTo>
                  <a:pt x="6323" y="10063"/>
                </a:lnTo>
                <a:lnTo>
                  <a:pt x="6317" y="10062"/>
                </a:lnTo>
                <a:lnTo>
                  <a:pt x="6314" y="10058"/>
                </a:lnTo>
                <a:lnTo>
                  <a:pt x="6321" y="10058"/>
                </a:lnTo>
                <a:lnTo>
                  <a:pt x="6328" y="10058"/>
                </a:lnTo>
                <a:lnTo>
                  <a:pt x="6335" y="10059"/>
                </a:lnTo>
                <a:lnTo>
                  <a:pt x="6337" y="10063"/>
                </a:lnTo>
                <a:close/>
                <a:moveTo>
                  <a:pt x="6210" y="10023"/>
                </a:moveTo>
                <a:lnTo>
                  <a:pt x="6201" y="10012"/>
                </a:lnTo>
                <a:lnTo>
                  <a:pt x="6202" y="10002"/>
                </a:lnTo>
                <a:lnTo>
                  <a:pt x="6208" y="9993"/>
                </a:lnTo>
                <a:lnTo>
                  <a:pt x="6210" y="9984"/>
                </a:lnTo>
                <a:lnTo>
                  <a:pt x="6234" y="9985"/>
                </a:lnTo>
                <a:lnTo>
                  <a:pt x="6237" y="9994"/>
                </a:lnTo>
                <a:lnTo>
                  <a:pt x="6227" y="10007"/>
                </a:lnTo>
                <a:lnTo>
                  <a:pt x="6210" y="10023"/>
                </a:lnTo>
                <a:close/>
                <a:moveTo>
                  <a:pt x="6165" y="479"/>
                </a:moveTo>
                <a:lnTo>
                  <a:pt x="6162" y="466"/>
                </a:lnTo>
                <a:lnTo>
                  <a:pt x="6159" y="455"/>
                </a:lnTo>
                <a:lnTo>
                  <a:pt x="6163" y="447"/>
                </a:lnTo>
                <a:lnTo>
                  <a:pt x="6176" y="442"/>
                </a:lnTo>
                <a:lnTo>
                  <a:pt x="6181" y="455"/>
                </a:lnTo>
                <a:lnTo>
                  <a:pt x="6182" y="465"/>
                </a:lnTo>
                <a:lnTo>
                  <a:pt x="6178" y="473"/>
                </a:lnTo>
                <a:lnTo>
                  <a:pt x="6165" y="479"/>
                </a:lnTo>
                <a:close/>
                <a:moveTo>
                  <a:pt x="6146" y="10114"/>
                </a:moveTo>
                <a:lnTo>
                  <a:pt x="6071" y="10110"/>
                </a:lnTo>
                <a:lnTo>
                  <a:pt x="6033" y="10107"/>
                </a:lnTo>
                <a:lnTo>
                  <a:pt x="6039" y="10093"/>
                </a:lnTo>
                <a:lnTo>
                  <a:pt x="6094" y="10060"/>
                </a:lnTo>
                <a:lnTo>
                  <a:pt x="6118" y="10073"/>
                </a:lnTo>
                <a:lnTo>
                  <a:pt x="6150" y="10092"/>
                </a:lnTo>
                <a:lnTo>
                  <a:pt x="6167" y="10109"/>
                </a:lnTo>
                <a:lnTo>
                  <a:pt x="6146" y="10114"/>
                </a:lnTo>
                <a:close/>
                <a:moveTo>
                  <a:pt x="6059" y="10016"/>
                </a:moveTo>
                <a:lnTo>
                  <a:pt x="6064" y="10017"/>
                </a:lnTo>
                <a:lnTo>
                  <a:pt x="6070" y="10018"/>
                </a:lnTo>
                <a:lnTo>
                  <a:pt x="6074" y="10021"/>
                </a:lnTo>
                <a:lnTo>
                  <a:pt x="6074" y="10026"/>
                </a:lnTo>
                <a:lnTo>
                  <a:pt x="6067" y="10025"/>
                </a:lnTo>
                <a:lnTo>
                  <a:pt x="6062" y="10022"/>
                </a:lnTo>
                <a:lnTo>
                  <a:pt x="6059" y="10020"/>
                </a:lnTo>
                <a:lnTo>
                  <a:pt x="6059" y="10016"/>
                </a:lnTo>
                <a:close/>
                <a:moveTo>
                  <a:pt x="6122" y="10021"/>
                </a:moveTo>
                <a:lnTo>
                  <a:pt x="6116" y="10028"/>
                </a:lnTo>
                <a:lnTo>
                  <a:pt x="6109" y="10031"/>
                </a:lnTo>
                <a:lnTo>
                  <a:pt x="6102" y="10030"/>
                </a:lnTo>
                <a:lnTo>
                  <a:pt x="6094" y="10021"/>
                </a:lnTo>
                <a:lnTo>
                  <a:pt x="6109" y="10021"/>
                </a:lnTo>
                <a:lnTo>
                  <a:pt x="6122" y="10021"/>
                </a:lnTo>
                <a:close/>
                <a:moveTo>
                  <a:pt x="6526" y="10226"/>
                </a:moveTo>
                <a:lnTo>
                  <a:pt x="6537" y="10223"/>
                </a:lnTo>
                <a:lnTo>
                  <a:pt x="6548" y="10227"/>
                </a:lnTo>
                <a:lnTo>
                  <a:pt x="6555" y="10237"/>
                </a:lnTo>
                <a:lnTo>
                  <a:pt x="6563" y="10254"/>
                </a:lnTo>
                <a:lnTo>
                  <a:pt x="6542" y="10255"/>
                </a:lnTo>
                <a:lnTo>
                  <a:pt x="6523" y="10250"/>
                </a:lnTo>
                <a:lnTo>
                  <a:pt x="6514" y="10240"/>
                </a:lnTo>
                <a:lnTo>
                  <a:pt x="6526" y="10226"/>
                </a:lnTo>
                <a:close/>
                <a:moveTo>
                  <a:pt x="6642" y="10231"/>
                </a:moveTo>
                <a:lnTo>
                  <a:pt x="6647" y="10238"/>
                </a:lnTo>
                <a:lnTo>
                  <a:pt x="6644" y="10244"/>
                </a:lnTo>
                <a:lnTo>
                  <a:pt x="6635" y="10244"/>
                </a:lnTo>
                <a:lnTo>
                  <a:pt x="6626" y="10238"/>
                </a:lnTo>
                <a:lnTo>
                  <a:pt x="6635" y="10233"/>
                </a:lnTo>
                <a:lnTo>
                  <a:pt x="6642" y="10231"/>
                </a:lnTo>
                <a:close/>
                <a:moveTo>
                  <a:pt x="6672" y="10376"/>
                </a:moveTo>
                <a:lnTo>
                  <a:pt x="6679" y="10380"/>
                </a:lnTo>
                <a:lnTo>
                  <a:pt x="6680" y="10384"/>
                </a:lnTo>
                <a:lnTo>
                  <a:pt x="6676" y="10389"/>
                </a:lnTo>
                <a:lnTo>
                  <a:pt x="6669" y="10395"/>
                </a:lnTo>
                <a:lnTo>
                  <a:pt x="6665" y="10389"/>
                </a:lnTo>
                <a:lnTo>
                  <a:pt x="6663" y="10382"/>
                </a:lnTo>
                <a:lnTo>
                  <a:pt x="6666" y="10378"/>
                </a:lnTo>
                <a:lnTo>
                  <a:pt x="6672" y="10376"/>
                </a:lnTo>
                <a:close/>
                <a:moveTo>
                  <a:pt x="5972" y="10162"/>
                </a:moveTo>
                <a:lnTo>
                  <a:pt x="5985" y="10157"/>
                </a:lnTo>
                <a:lnTo>
                  <a:pt x="5994" y="10156"/>
                </a:lnTo>
                <a:lnTo>
                  <a:pt x="6002" y="10158"/>
                </a:lnTo>
                <a:lnTo>
                  <a:pt x="6014" y="10166"/>
                </a:lnTo>
                <a:lnTo>
                  <a:pt x="6004" y="10165"/>
                </a:lnTo>
                <a:lnTo>
                  <a:pt x="5994" y="10163"/>
                </a:lnTo>
                <a:lnTo>
                  <a:pt x="5983" y="10163"/>
                </a:lnTo>
                <a:lnTo>
                  <a:pt x="5972" y="10162"/>
                </a:lnTo>
                <a:close/>
                <a:moveTo>
                  <a:pt x="5871" y="10109"/>
                </a:moveTo>
                <a:lnTo>
                  <a:pt x="5884" y="10088"/>
                </a:lnTo>
                <a:lnTo>
                  <a:pt x="5878" y="10072"/>
                </a:lnTo>
                <a:lnTo>
                  <a:pt x="5880" y="10065"/>
                </a:lnTo>
                <a:lnTo>
                  <a:pt x="5920" y="10077"/>
                </a:lnTo>
                <a:lnTo>
                  <a:pt x="5966" y="10101"/>
                </a:lnTo>
                <a:lnTo>
                  <a:pt x="5960" y="10111"/>
                </a:lnTo>
                <a:lnTo>
                  <a:pt x="5922" y="10112"/>
                </a:lnTo>
                <a:lnTo>
                  <a:pt x="5871" y="10109"/>
                </a:lnTo>
                <a:close/>
                <a:moveTo>
                  <a:pt x="5834" y="10112"/>
                </a:moveTo>
                <a:lnTo>
                  <a:pt x="5831" y="10111"/>
                </a:lnTo>
                <a:lnTo>
                  <a:pt x="5825" y="10107"/>
                </a:lnTo>
                <a:lnTo>
                  <a:pt x="5832" y="10104"/>
                </a:lnTo>
                <a:lnTo>
                  <a:pt x="5837" y="10105"/>
                </a:lnTo>
                <a:lnTo>
                  <a:pt x="5838" y="10107"/>
                </a:lnTo>
                <a:lnTo>
                  <a:pt x="5834" y="10112"/>
                </a:lnTo>
                <a:close/>
                <a:moveTo>
                  <a:pt x="5762" y="10072"/>
                </a:moveTo>
                <a:lnTo>
                  <a:pt x="5732" y="10076"/>
                </a:lnTo>
                <a:lnTo>
                  <a:pt x="5722" y="10060"/>
                </a:lnTo>
                <a:lnTo>
                  <a:pt x="5729" y="10046"/>
                </a:lnTo>
                <a:lnTo>
                  <a:pt x="5750" y="10056"/>
                </a:lnTo>
                <a:lnTo>
                  <a:pt x="5799" y="10062"/>
                </a:lnTo>
                <a:lnTo>
                  <a:pt x="5822" y="10072"/>
                </a:lnTo>
                <a:lnTo>
                  <a:pt x="5811" y="10078"/>
                </a:lnTo>
                <a:lnTo>
                  <a:pt x="5762" y="10072"/>
                </a:lnTo>
                <a:close/>
                <a:moveTo>
                  <a:pt x="5707" y="10072"/>
                </a:moveTo>
                <a:lnTo>
                  <a:pt x="5697" y="10081"/>
                </a:lnTo>
                <a:lnTo>
                  <a:pt x="5684" y="10083"/>
                </a:lnTo>
                <a:lnTo>
                  <a:pt x="5673" y="10078"/>
                </a:lnTo>
                <a:lnTo>
                  <a:pt x="5668" y="10064"/>
                </a:lnTo>
                <a:lnTo>
                  <a:pt x="5674" y="10054"/>
                </a:lnTo>
                <a:lnTo>
                  <a:pt x="5690" y="10053"/>
                </a:lnTo>
                <a:lnTo>
                  <a:pt x="5704" y="10059"/>
                </a:lnTo>
                <a:lnTo>
                  <a:pt x="5707" y="10072"/>
                </a:lnTo>
                <a:close/>
                <a:moveTo>
                  <a:pt x="5885" y="9999"/>
                </a:moveTo>
                <a:lnTo>
                  <a:pt x="5892" y="10000"/>
                </a:lnTo>
                <a:lnTo>
                  <a:pt x="5901" y="10002"/>
                </a:lnTo>
                <a:lnTo>
                  <a:pt x="5906" y="10004"/>
                </a:lnTo>
                <a:lnTo>
                  <a:pt x="5907" y="10011"/>
                </a:lnTo>
                <a:lnTo>
                  <a:pt x="5899" y="10009"/>
                </a:lnTo>
                <a:lnTo>
                  <a:pt x="5890" y="10009"/>
                </a:lnTo>
                <a:lnTo>
                  <a:pt x="5885" y="10007"/>
                </a:lnTo>
                <a:lnTo>
                  <a:pt x="5885" y="9999"/>
                </a:lnTo>
                <a:close/>
                <a:moveTo>
                  <a:pt x="5939" y="9995"/>
                </a:moveTo>
                <a:lnTo>
                  <a:pt x="5940" y="10012"/>
                </a:lnTo>
                <a:lnTo>
                  <a:pt x="5940" y="10026"/>
                </a:lnTo>
                <a:lnTo>
                  <a:pt x="5932" y="10020"/>
                </a:lnTo>
                <a:lnTo>
                  <a:pt x="5926" y="10012"/>
                </a:lnTo>
                <a:lnTo>
                  <a:pt x="5927" y="10004"/>
                </a:lnTo>
                <a:lnTo>
                  <a:pt x="5939" y="9995"/>
                </a:lnTo>
                <a:close/>
                <a:moveTo>
                  <a:pt x="5939" y="457"/>
                </a:moveTo>
                <a:lnTo>
                  <a:pt x="5948" y="450"/>
                </a:lnTo>
                <a:lnTo>
                  <a:pt x="5957" y="448"/>
                </a:lnTo>
                <a:lnTo>
                  <a:pt x="5966" y="451"/>
                </a:lnTo>
                <a:lnTo>
                  <a:pt x="5976" y="456"/>
                </a:lnTo>
                <a:lnTo>
                  <a:pt x="5966" y="466"/>
                </a:lnTo>
                <a:lnTo>
                  <a:pt x="5953" y="471"/>
                </a:lnTo>
                <a:lnTo>
                  <a:pt x="5943" y="469"/>
                </a:lnTo>
                <a:lnTo>
                  <a:pt x="5939" y="457"/>
                </a:lnTo>
                <a:close/>
                <a:moveTo>
                  <a:pt x="5595" y="10097"/>
                </a:moveTo>
                <a:lnTo>
                  <a:pt x="5582" y="10086"/>
                </a:lnTo>
                <a:lnTo>
                  <a:pt x="5566" y="10078"/>
                </a:lnTo>
                <a:lnTo>
                  <a:pt x="5552" y="10068"/>
                </a:lnTo>
                <a:lnTo>
                  <a:pt x="5543" y="10049"/>
                </a:lnTo>
                <a:lnTo>
                  <a:pt x="5580" y="10059"/>
                </a:lnTo>
                <a:lnTo>
                  <a:pt x="5615" y="10054"/>
                </a:lnTo>
                <a:lnTo>
                  <a:pt x="5627" y="10058"/>
                </a:lnTo>
                <a:lnTo>
                  <a:pt x="5595" y="10097"/>
                </a:lnTo>
                <a:close/>
                <a:moveTo>
                  <a:pt x="5557" y="10114"/>
                </a:moveTo>
                <a:lnTo>
                  <a:pt x="5549" y="10112"/>
                </a:lnTo>
                <a:lnTo>
                  <a:pt x="5540" y="10111"/>
                </a:lnTo>
                <a:lnTo>
                  <a:pt x="5535" y="10109"/>
                </a:lnTo>
                <a:lnTo>
                  <a:pt x="5536" y="10101"/>
                </a:lnTo>
                <a:lnTo>
                  <a:pt x="5544" y="10102"/>
                </a:lnTo>
                <a:lnTo>
                  <a:pt x="5552" y="10104"/>
                </a:lnTo>
                <a:lnTo>
                  <a:pt x="5557" y="10106"/>
                </a:lnTo>
                <a:lnTo>
                  <a:pt x="5557" y="10114"/>
                </a:lnTo>
                <a:close/>
                <a:moveTo>
                  <a:pt x="5527" y="9923"/>
                </a:moveTo>
                <a:lnTo>
                  <a:pt x="5522" y="9919"/>
                </a:lnTo>
                <a:lnTo>
                  <a:pt x="5525" y="9918"/>
                </a:lnTo>
                <a:lnTo>
                  <a:pt x="5530" y="9916"/>
                </a:lnTo>
                <a:lnTo>
                  <a:pt x="5536" y="9915"/>
                </a:lnTo>
                <a:lnTo>
                  <a:pt x="5538" y="9918"/>
                </a:lnTo>
                <a:lnTo>
                  <a:pt x="5535" y="9920"/>
                </a:lnTo>
                <a:lnTo>
                  <a:pt x="5531" y="9922"/>
                </a:lnTo>
                <a:lnTo>
                  <a:pt x="5527" y="9923"/>
                </a:lnTo>
                <a:close/>
                <a:moveTo>
                  <a:pt x="5505" y="10134"/>
                </a:moveTo>
                <a:lnTo>
                  <a:pt x="5501" y="10133"/>
                </a:lnTo>
                <a:lnTo>
                  <a:pt x="5496" y="10130"/>
                </a:lnTo>
                <a:lnTo>
                  <a:pt x="5502" y="10126"/>
                </a:lnTo>
                <a:lnTo>
                  <a:pt x="5507" y="10126"/>
                </a:lnTo>
                <a:lnTo>
                  <a:pt x="5508" y="10129"/>
                </a:lnTo>
                <a:lnTo>
                  <a:pt x="5505" y="10134"/>
                </a:lnTo>
                <a:close/>
                <a:moveTo>
                  <a:pt x="5441" y="9937"/>
                </a:moveTo>
                <a:lnTo>
                  <a:pt x="5451" y="9938"/>
                </a:lnTo>
                <a:lnTo>
                  <a:pt x="5461" y="9939"/>
                </a:lnTo>
                <a:lnTo>
                  <a:pt x="5470" y="9939"/>
                </a:lnTo>
                <a:lnTo>
                  <a:pt x="5480" y="9941"/>
                </a:lnTo>
                <a:lnTo>
                  <a:pt x="5470" y="9947"/>
                </a:lnTo>
                <a:lnTo>
                  <a:pt x="5460" y="9948"/>
                </a:lnTo>
                <a:lnTo>
                  <a:pt x="5451" y="9944"/>
                </a:lnTo>
                <a:lnTo>
                  <a:pt x="5441" y="9937"/>
                </a:lnTo>
                <a:close/>
                <a:moveTo>
                  <a:pt x="5403" y="10006"/>
                </a:moveTo>
                <a:lnTo>
                  <a:pt x="5409" y="10000"/>
                </a:lnTo>
                <a:lnTo>
                  <a:pt x="5403" y="10006"/>
                </a:lnTo>
                <a:lnTo>
                  <a:pt x="5398" y="9994"/>
                </a:lnTo>
                <a:lnTo>
                  <a:pt x="5400" y="9988"/>
                </a:lnTo>
                <a:lnTo>
                  <a:pt x="5405" y="9990"/>
                </a:lnTo>
                <a:lnTo>
                  <a:pt x="5403" y="10006"/>
                </a:lnTo>
                <a:close/>
                <a:moveTo>
                  <a:pt x="5340" y="9995"/>
                </a:moveTo>
                <a:lnTo>
                  <a:pt x="5342" y="9993"/>
                </a:lnTo>
                <a:lnTo>
                  <a:pt x="5342" y="9989"/>
                </a:lnTo>
                <a:lnTo>
                  <a:pt x="5342" y="9985"/>
                </a:lnTo>
                <a:lnTo>
                  <a:pt x="5340" y="9981"/>
                </a:lnTo>
                <a:lnTo>
                  <a:pt x="5344" y="9985"/>
                </a:lnTo>
                <a:lnTo>
                  <a:pt x="5347" y="9990"/>
                </a:lnTo>
                <a:lnTo>
                  <a:pt x="5347" y="9995"/>
                </a:lnTo>
                <a:lnTo>
                  <a:pt x="5340" y="9995"/>
                </a:lnTo>
                <a:close/>
                <a:moveTo>
                  <a:pt x="5320" y="9997"/>
                </a:moveTo>
                <a:lnTo>
                  <a:pt x="5321" y="9997"/>
                </a:lnTo>
                <a:lnTo>
                  <a:pt x="5320" y="9997"/>
                </a:lnTo>
                <a:lnTo>
                  <a:pt x="5321" y="9995"/>
                </a:lnTo>
                <a:lnTo>
                  <a:pt x="5321" y="9995"/>
                </a:lnTo>
                <a:lnTo>
                  <a:pt x="5321" y="9995"/>
                </a:lnTo>
                <a:lnTo>
                  <a:pt x="5320" y="9997"/>
                </a:lnTo>
                <a:close/>
                <a:moveTo>
                  <a:pt x="5205" y="10048"/>
                </a:moveTo>
                <a:lnTo>
                  <a:pt x="5199" y="10046"/>
                </a:lnTo>
                <a:lnTo>
                  <a:pt x="5187" y="10045"/>
                </a:lnTo>
                <a:lnTo>
                  <a:pt x="5175" y="10041"/>
                </a:lnTo>
                <a:lnTo>
                  <a:pt x="5167" y="10030"/>
                </a:lnTo>
                <a:lnTo>
                  <a:pt x="5179" y="10009"/>
                </a:lnTo>
                <a:lnTo>
                  <a:pt x="5205" y="10021"/>
                </a:lnTo>
                <a:lnTo>
                  <a:pt x="5223" y="10041"/>
                </a:lnTo>
                <a:lnTo>
                  <a:pt x="5205" y="10048"/>
                </a:lnTo>
                <a:close/>
                <a:moveTo>
                  <a:pt x="5133" y="9995"/>
                </a:moveTo>
                <a:lnTo>
                  <a:pt x="5128" y="9994"/>
                </a:lnTo>
                <a:lnTo>
                  <a:pt x="5120" y="9990"/>
                </a:lnTo>
                <a:lnTo>
                  <a:pt x="5128" y="9985"/>
                </a:lnTo>
                <a:lnTo>
                  <a:pt x="5135" y="9986"/>
                </a:lnTo>
                <a:lnTo>
                  <a:pt x="5138" y="9992"/>
                </a:lnTo>
                <a:lnTo>
                  <a:pt x="5133" y="9995"/>
                </a:lnTo>
                <a:close/>
                <a:moveTo>
                  <a:pt x="5179" y="488"/>
                </a:moveTo>
                <a:lnTo>
                  <a:pt x="5168" y="485"/>
                </a:lnTo>
                <a:lnTo>
                  <a:pt x="5157" y="483"/>
                </a:lnTo>
                <a:lnTo>
                  <a:pt x="5147" y="480"/>
                </a:lnTo>
                <a:lnTo>
                  <a:pt x="5137" y="478"/>
                </a:lnTo>
                <a:lnTo>
                  <a:pt x="5148" y="470"/>
                </a:lnTo>
                <a:lnTo>
                  <a:pt x="5158" y="469"/>
                </a:lnTo>
                <a:lnTo>
                  <a:pt x="5168" y="475"/>
                </a:lnTo>
                <a:lnTo>
                  <a:pt x="5179" y="488"/>
                </a:lnTo>
                <a:close/>
                <a:moveTo>
                  <a:pt x="4957" y="9972"/>
                </a:moveTo>
                <a:lnTo>
                  <a:pt x="4975" y="9962"/>
                </a:lnTo>
                <a:lnTo>
                  <a:pt x="4994" y="9960"/>
                </a:lnTo>
                <a:lnTo>
                  <a:pt x="5014" y="9964"/>
                </a:lnTo>
                <a:lnTo>
                  <a:pt x="5036" y="9975"/>
                </a:lnTo>
                <a:lnTo>
                  <a:pt x="5017" y="9975"/>
                </a:lnTo>
                <a:lnTo>
                  <a:pt x="4998" y="9974"/>
                </a:lnTo>
                <a:lnTo>
                  <a:pt x="4979" y="9974"/>
                </a:lnTo>
                <a:lnTo>
                  <a:pt x="4957" y="9972"/>
                </a:lnTo>
                <a:close/>
                <a:moveTo>
                  <a:pt x="4940" y="462"/>
                </a:moveTo>
                <a:lnTo>
                  <a:pt x="4895" y="443"/>
                </a:lnTo>
                <a:lnTo>
                  <a:pt x="4916" y="427"/>
                </a:lnTo>
                <a:lnTo>
                  <a:pt x="4958" y="428"/>
                </a:lnTo>
                <a:lnTo>
                  <a:pt x="4972" y="464"/>
                </a:lnTo>
                <a:lnTo>
                  <a:pt x="5012" y="499"/>
                </a:lnTo>
                <a:lnTo>
                  <a:pt x="4999" y="510"/>
                </a:lnTo>
                <a:lnTo>
                  <a:pt x="4965" y="497"/>
                </a:lnTo>
                <a:lnTo>
                  <a:pt x="4940" y="462"/>
                </a:lnTo>
                <a:close/>
                <a:moveTo>
                  <a:pt x="4895" y="9969"/>
                </a:moveTo>
                <a:lnTo>
                  <a:pt x="4886" y="9970"/>
                </a:lnTo>
                <a:lnTo>
                  <a:pt x="4877" y="9970"/>
                </a:lnTo>
                <a:lnTo>
                  <a:pt x="4867" y="9966"/>
                </a:lnTo>
                <a:lnTo>
                  <a:pt x="4856" y="9956"/>
                </a:lnTo>
                <a:lnTo>
                  <a:pt x="4870" y="9957"/>
                </a:lnTo>
                <a:lnTo>
                  <a:pt x="4883" y="9957"/>
                </a:lnTo>
                <a:lnTo>
                  <a:pt x="4892" y="9960"/>
                </a:lnTo>
                <a:lnTo>
                  <a:pt x="4895" y="9969"/>
                </a:lnTo>
                <a:close/>
                <a:moveTo>
                  <a:pt x="4748" y="414"/>
                </a:moveTo>
                <a:lnTo>
                  <a:pt x="4721" y="406"/>
                </a:lnTo>
                <a:lnTo>
                  <a:pt x="4701" y="396"/>
                </a:lnTo>
                <a:lnTo>
                  <a:pt x="4696" y="384"/>
                </a:lnTo>
                <a:lnTo>
                  <a:pt x="4716" y="366"/>
                </a:lnTo>
                <a:lnTo>
                  <a:pt x="4757" y="368"/>
                </a:lnTo>
                <a:lnTo>
                  <a:pt x="4784" y="391"/>
                </a:lnTo>
                <a:lnTo>
                  <a:pt x="4785" y="413"/>
                </a:lnTo>
                <a:lnTo>
                  <a:pt x="4748" y="414"/>
                </a:lnTo>
                <a:close/>
                <a:moveTo>
                  <a:pt x="4761" y="10050"/>
                </a:moveTo>
                <a:lnTo>
                  <a:pt x="4758" y="10046"/>
                </a:lnTo>
                <a:lnTo>
                  <a:pt x="4761" y="10044"/>
                </a:lnTo>
                <a:lnTo>
                  <a:pt x="4765" y="10042"/>
                </a:lnTo>
                <a:lnTo>
                  <a:pt x="4771" y="10044"/>
                </a:lnTo>
                <a:lnTo>
                  <a:pt x="4772" y="10048"/>
                </a:lnTo>
                <a:lnTo>
                  <a:pt x="4770" y="10049"/>
                </a:lnTo>
                <a:lnTo>
                  <a:pt x="4765" y="10050"/>
                </a:lnTo>
                <a:lnTo>
                  <a:pt x="4761" y="10050"/>
                </a:lnTo>
                <a:close/>
                <a:moveTo>
                  <a:pt x="4738" y="10018"/>
                </a:moveTo>
                <a:lnTo>
                  <a:pt x="4734" y="10016"/>
                </a:lnTo>
                <a:lnTo>
                  <a:pt x="4732" y="10012"/>
                </a:lnTo>
                <a:lnTo>
                  <a:pt x="4738" y="10009"/>
                </a:lnTo>
                <a:lnTo>
                  <a:pt x="4743" y="10012"/>
                </a:lnTo>
                <a:lnTo>
                  <a:pt x="4744" y="10016"/>
                </a:lnTo>
                <a:lnTo>
                  <a:pt x="4738" y="10018"/>
                </a:lnTo>
                <a:close/>
                <a:moveTo>
                  <a:pt x="4712" y="10064"/>
                </a:moveTo>
                <a:lnTo>
                  <a:pt x="4711" y="10062"/>
                </a:lnTo>
                <a:lnTo>
                  <a:pt x="4711" y="10059"/>
                </a:lnTo>
                <a:lnTo>
                  <a:pt x="4715" y="10058"/>
                </a:lnTo>
                <a:lnTo>
                  <a:pt x="4719" y="10059"/>
                </a:lnTo>
                <a:lnTo>
                  <a:pt x="4720" y="10062"/>
                </a:lnTo>
                <a:lnTo>
                  <a:pt x="4719" y="10064"/>
                </a:lnTo>
                <a:lnTo>
                  <a:pt x="4716" y="10064"/>
                </a:lnTo>
                <a:lnTo>
                  <a:pt x="4712" y="10064"/>
                </a:lnTo>
                <a:close/>
                <a:moveTo>
                  <a:pt x="4677" y="9939"/>
                </a:moveTo>
                <a:lnTo>
                  <a:pt x="4695" y="9942"/>
                </a:lnTo>
                <a:lnTo>
                  <a:pt x="4711" y="9943"/>
                </a:lnTo>
                <a:lnTo>
                  <a:pt x="4726" y="9946"/>
                </a:lnTo>
                <a:lnTo>
                  <a:pt x="4742" y="9952"/>
                </a:lnTo>
                <a:lnTo>
                  <a:pt x="4725" y="9960"/>
                </a:lnTo>
                <a:lnTo>
                  <a:pt x="4712" y="9961"/>
                </a:lnTo>
                <a:lnTo>
                  <a:pt x="4698" y="9955"/>
                </a:lnTo>
                <a:lnTo>
                  <a:pt x="4677" y="9939"/>
                </a:lnTo>
                <a:close/>
                <a:moveTo>
                  <a:pt x="4653" y="10041"/>
                </a:moveTo>
                <a:lnTo>
                  <a:pt x="4655" y="10032"/>
                </a:lnTo>
                <a:lnTo>
                  <a:pt x="4663" y="10031"/>
                </a:lnTo>
                <a:lnTo>
                  <a:pt x="4673" y="10036"/>
                </a:lnTo>
                <a:lnTo>
                  <a:pt x="4684" y="10041"/>
                </a:lnTo>
                <a:lnTo>
                  <a:pt x="4673" y="10048"/>
                </a:lnTo>
                <a:lnTo>
                  <a:pt x="4664" y="10050"/>
                </a:lnTo>
                <a:lnTo>
                  <a:pt x="4658" y="10048"/>
                </a:lnTo>
                <a:lnTo>
                  <a:pt x="4653" y="10041"/>
                </a:lnTo>
                <a:close/>
                <a:moveTo>
                  <a:pt x="4669" y="329"/>
                </a:moveTo>
                <a:lnTo>
                  <a:pt x="4673" y="334"/>
                </a:lnTo>
                <a:lnTo>
                  <a:pt x="4672" y="338"/>
                </a:lnTo>
                <a:lnTo>
                  <a:pt x="4669" y="339"/>
                </a:lnTo>
                <a:lnTo>
                  <a:pt x="4661" y="342"/>
                </a:lnTo>
                <a:lnTo>
                  <a:pt x="4661" y="336"/>
                </a:lnTo>
                <a:lnTo>
                  <a:pt x="4661" y="331"/>
                </a:lnTo>
                <a:lnTo>
                  <a:pt x="4664" y="329"/>
                </a:lnTo>
                <a:lnTo>
                  <a:pt x="4669" y="329"/>
                </a:lnTo>
                <a:close/>
                <a:moveTo>
                  <a:pt x="4617" y="9952"/>
                </a:moveTo>
                <a:lnTo>
                  <a:pt x="4627" y="9946"/>
                </a:lnTo>
                <a:lnTo>
                  <a:pt x="4633" y="9943"/>
                </a:lnTo>
                <a:lnTo>
                  <a:pt x="4640" y="9944"/>
                </a:lnTo>
                <a:lnTo>
                  <a:pt x="4649" y="9950"/>
                </a:lnTo>
                <a:lnTo>
                  <a:pt x="4632" y="9951"/>
                </a:lnTo>
                <a:lnTo>
                  <a:pt x="4617" y="9952"/>
                </a:lnTo>
                <a:close/>
                <a:moveTo>
                  <a:pt x="4586" y="366"/>
                </a:moveTo>
                <a:lnTo>
                  <a:pt x="4602" y="366"/>
                </a:lnTo>
                <a:lnTo>
                  <a:pt x="4616" y="364"/>
                </a:lnTo>
                <a:lnTo>
                  <a:pt x="4630" y="363"/>
                </a:lnTo>
                <a:lnTo>
                  <a:pt x="4644" y="363"/>
                </a:lnTo>
                <a:lnTo>
                  <a:pt x="4632" y="380"/>
                </a:lnTo>
                <a:lnTo>
                  <a:pt x="4622" y="386"/>
                </a:lnTo>
                <a:lnTo>
                  <a:pt x="4608" y="381"/>
                </a:lnTo>
                <a:lnTo>
                  <a:pt x="4586" y="366"/>
                </a:lnTo>
                <a:close/>
                <a:moveTo>
                  <a:pt x="4585" y="10049"/>
                </a:moveTo>
                <a:lnTo>
                  <a:pt x="4591" y="10042"/>
                </a:lnTo>
                <a:lnTo>
                  <a:pt x="4598" y="10040"/>
                </a:lnTo>
                <a:lnTo>
                  <a:pt x="4604" y="10042"/>
                </a:lnTo>
                <a:lnTo>
                  <a:pt x="4611" y="10049"/>
                </a:lnTo>
                <a:lnTo>
                  <a:pt x="4598" y="10049"/>
                </a:lnTo>
                <a:lnTo>
                  <a:pt x="4585" y="10049"/>
                </a:lnTo>
                <a:close/>
                <a:moveTo>
                  <a:pt x="4574" y="9948"/>
                </a:moveTo>
                <a:lnTo>
                  <a:pt x="4572" y="9946"/>
                </a:lnTo>
                <a:lnTo>
                  <a:pt x="4571" y="9942"/>
                </a:lnTo>
                <a:lnTo>
                  <a:pt x="4572" y="9941"/>
                </a:lnTo>
                <a:lnTo>
                  <a:pt x="4575" y="9939"/>
                </a:lnTo>
                <a:lnTo>
                  <a:pt x="4579" y="9942"/>
                </a:lnTo>
                <a:lnTo>
                  <a:pt x="4580" y="9944"/>
                </a:lnTo>
                <a:lnTo>
                  <a:pt x="4579" y="9947"/>
                </a:lnTo>
                <a:lnTo>
                  <a:pt x="4574" y="9948"/>
                </a:lnTo>
                <a:close/>
                <a:moveTo>
                  <a:pt x="4231" y="9970"/>
                </a:moveTo>
                <a:lnTo>
                  <a:pt x="4227" y="9970"/>
                </a:lnTo>
                <a:lnTo>
                  <a:pt x="4227" y="9966"/>
                </a:lnTo>
                <a:lnTo>
                  <a:pt x="4231" y="9964"/>
                </a:lnTo>
                <a:lnTo>
                  <a:pt x="4235" y="9961"/>
                </a:lnTo>
                <a:lnTo>
                  <a:pt x="4237" y="9964"/>
                </a:lnTo>
                <a:lnTo>
                  <a:pt x="4237" y="9966"/>
                </a:lnTo>
                <a:lnTo>
                  <a:pt x="4235" y="9967"/>
                </a:lnTo>
                <a:lnTo>
                  <a:pt x="4231" y="9970"/>
                </a:lnTo>
                <a:close/>
                <a:moveTo>
                  <a:pt x="3830" y="9742"/>
                </a:moveTo>
                <a:lnTo>
                  <a:pt x="3829" y="9736"/>
                </a:lnTo>
                <a:lnTo>
                  <a:pt x="3831" y="9734"/>
                </a:lnTo>
                <a:lnTo>
                  <a:pt x="3835" y="9734"/>
                </a:lnTo>
                <a:lnTo>
                  <a:pt x="3840" y="9736"/>
                </a:lnTo>
                <a:lnTo>
                  <a:pt x="3848" y="9741"/>
                </a:lnTo>
                <a:lnTo>
                  <a:pt x="3845" y="9742"/>
                </a:lnTo>
                <a:lnTo>
                  <a:pt x="3838" y="9742"/>
                </a:lnTo>
                <a:lnTo>
                  <a:pt x="3830" y="9742"/>
                </a:lnTo>
                <a:close/>
                <a:moveTo>
                  <a:pt x="3784" y="350"/>
                </a:moveTo>
                <a:lnTo>
                  <a:pt x="3779" y="347"/>
                </a:lnTo>
                <a:lnTo>
                  <a:pt x="3778" y="343"/>
                </a:lnTo>
                <a:lnTo>
                  <a:pt x="3779" y="338"/>
                </a:lnTo>
                <a:lnTo>
                  <a:pt x="3783" y="335"/>
                </a:lnTo>
                <a:lnTo>
                  <a:pt x="3789" y="339"/>
                </a:lnTo>
                <a:lnTo>
                  <a:pt x="3793" y="344"/>
                </a:lnTo>
                <a:lnTo>
                  <a:pt x="3792" y="348"/>
                </a:lnTo>
                <a:lnTo>
                  <a:pt x="3784" y="350"/>
                </a:lnTo>
                <a:close/>
                <a:moveTo>
                  <a:pt x="2644" y="9626"/>
                </a:moveTo>
                <a:lnTo>
                  <a:pt x="2640" y="9624"/>
                </a:lnTo>
                <a:lnTo>
                  <a:pt x="2637" y="9621"/>
                </a:lnTo>
                <a:lnTo>
                  <a:pt x="2637" y="9619"/>
                </a:lnTo>
                <a:lnTo>
                  <a:pt x="2640" y="9616"/>
                </a:lnTo>
                <a:lnTo>
                  <a:pt x="2643" y="9617"/>
                </a:lnTo>
                <a:lnTo>
                  <a:pt x="2644" y="9620"/>
                </a:lnTo>
                <a:lnTo>
                  <a:pt x="2646" y="9624"/>
                </a:lnTo>
                <a:lnTo>
                  <a:pt x="2644" y="9626"/>
                </a:lnTo>
                <a:close/>
                <a:moveTo>
                  <a:pt x="2554" y="9626"/>
                </a:moveTo>
                <a:lnTo>
                  <a:pt x="2537" y="9610"/>
                </a:lnTo>
                <a:lnTo>
                  <a:pt x="2541" y="9601"/>
                </a:lnTo>
                <a:lnTo>
                  <a:pt x="2558" y="9598"/>
                </a:lnTo>
                <a:lnTo>
                  <a:pt x="2582" y="9605"/>
                </a:lnTo>
                <a:lnTo>
                  <a:pt x="2568" y="9615"/>
                </a:lnTo>
                <a:lnTo>
                  <a:pt x="2554" y="9626"/>
                </a:lnTo>
                <a:close/>
                <a:moveTo>
                  <a:pt x="2556" y="9705"/>
                </a:moveTo>
                <a:lnTo>
                  <a:pt x="2551" y="9723"/>
                </a:lnTo>
                <a:lnTo>
                  <a:pt x="2545" y="9717"/>
                </a:lnTo>
                <a:lnTo>
                  <a:pt x="2546" y="9699"/>
                </a:lnTo>
                <a:lnTo>
                  <a:pt x="2567" y="9683"/>
                </a:lnTo>
                <a:lnTo>
                  <a:pt x="2567" y="9692"/>
                </a:lnTo>
                <a:lnTo>
                  <a:pt x="2564" y="9697"/>
                </a:lnTo>
                <a:lnTo>
                  <a:pt x="2559" y="9701"/>
                </a:lnTo>
                <a:lnTo>
                  <a:pt x="2556" y="9705"/>
                </a:lnTo>
                <a:close/>
                <a:moveTo>
                  <a:pt x="2512" y="9608"/>
                </a:moveTo>
                <a:lnTo>
                  <a:pt x="2465" y="9629"/>
                </a:lnTo>
                <a:lnTo>
                  <a:pt x="2463" y="9620"/>
                </a:lnTo>
                <a:lnTo>
                  <a:pt x="2477" y="9589"/>
                </a:lnTo>
                <a:lnTo>
                  <a:pt x="2479" y="9547"/>
                </a:lnTo>
                <a:lnTo>
                  <a:pt x="2495" y="9556"/>
                </a:lnTo>
                <a:lnTo>
                  <a:pt x="2509" y="9580"/>
                </a:lnTo>
                <a:lnTo>
                  <a:pt x="2517" y="9602"/>
                </a:lnTo>
                <a:lnTo>
                  <a:pt x="2512" y="9608"/>
                </a:lnTo>
                <a:close/>
                <a:moveTo>
                  <a:pt x="2508" y="9522"/>
                </a:moveTo>
                <a:lnTo>
                  <a:pt x="2507" y="9527"/>
                </a:lnTo>
                <a:lnTo>
                  <a:pt x="2505" y="9524"/>
                </a:lnTo>
                <a:lnTo>
                  <a:pt x="2505" y="9523"/>
                </a:lnTo>
                <a:lnTo>
                  <a:pt x="2507" y="9523"/>
                </a:lnTo>
                <a:lnTo>
                  <a:pt x="2508" y="9522"/>
                </a:lnTo>
                <a:close/>
                <a:moveTo>
                  <a:pt x="2556" y="9547"/>
                </a:moveTo>
                <a:lnTo>
                  <a:pt x="2558" y="9550"/>
                </a:lnTo>
                <a:lnTo>
                  <a:pt x="2558" y="9551"/>
                </a:lnTo>
                <a:lnTo>
                  <a:pt x="2556" y="9551"/>
                </a:lnTo>
                <a:lnTo>
                  <a:pt x="2554" y="9552"/>
                </a:lnTo>
                <a:lnTo>
                  <a:pt x="2556" y="9547"/>
                </a:lnTo>
                <a:close/>
                <a:moveTo>
                  <a:pt x="2447" y="9547"/>
                </a:moveTo>
                <a:lnTo>
                  <a:pt x="2442" y="9552"/>
                </a:lnTo>
                <a:lnTo>
                  <a:pt x="2439" y="9551"/>
                </a:lnTo>
                <a:lnTo>
                  <a:pt x="2441" y="9545"/>
                </a:lnTo>
                <a:lnTo>
                  <a:pt x="2446" y="9542"/>
                </a:lnTo>
                <a:lnTo>
                  <a:pt x="2447" y="9545"/>
                </a:lnTo>
                <a:lnTo>
                  <a:pt x="2447" y="9547"/>
                </a:lnTo>
                <a:close/>
                <a:moveTo>
                  <a:pt x="2432" y="9444"/>
                </a:moveTo>
                <a:lnTo>
                  <a:pt x="2430" y="9439"/>
                </a:lnTo>
                <a:lnTo>
                  <a:pt x="2433" y="9440"/>
                </a:lnTo>
                <a:lnTo>
                  <a:pt x="2433" y="9442"/>
                </a:lnTo>
                <a:lnTo>
                  <a:pt x="2433" y="9443"/>
                </a:lnTo>
                <a:lnTo>
                  <a:pt x="2432" y="9444"/>
                </a:lnTo>
                <a:close/>
                <a:moveTo>
                  <a:pt x="2415" y="9508"/>
                </a:moveTo>
                <a:lnTo>
                  <a:pt x="2410" y="9501"/>
                </a:lnTo>
                <a:lnTo>
                  <a:pt x="2410" y="9495"/>
                </a:lnTo>
                <a:lnTo>
                  <a:pt x="2414" y="9489"/>
                </a:lnTo>
                <a:lnTo>
                  <a:pt x="2420" y="9482"/>
                </a:lnTo>
                <a:lnTo>
                  <a:pt x="2424" y="9493"/>
                </a:lnTo>
                <a:lnTo>
                  <a:pt x="2425" y="9501"/>
                </a:lnTo>
                <a:lnTo>
                  <a:pt x="2423" y="9507"/>
                </a:lnTo>
                <a:lnTo>
                  <a:pt x="2415" y="9508"/>
                </a:lnTo>
                <a:close/>
                <a:moveTo>
                  <a:pt x="2381" y="1107"/>
                </a:moveTo>
                <a:lnTo>
                  <a:pt x="2353" y="1108"/>
                </a:lnTo>
                <a:lnTo>
                  <a:pt x="2339" y="1095"/>
                </a:lnTo>
                <a:lnTo>
                  <a:pt x="2345" y="1079"/>
                </a:lnTo>
                <a:lnTo>
                  <a:pt x="2377" y="1072"/>
                </a:lnTo>
                <a:lnTo>
                  <a:pt x="2397" y="1076"/>
                </a:lnTo>
                <a:lnTo>
                  <a:pt x="2409" y="1090"/>
                </a:lnTo>
                <a:lnTo>
                  <a:pt x="2405" y="1103"/>
                </a:lnTo>
                <a:lnTo>
                  <a:pt x="2381" y="1107"/>
                </a:lnTo>
                <a:close/>
                <a:moveTo>
                  <a:pt x="2300" y="1104"/>
                </a:moveTo>
                <a:lnTo>
                  <a:pt x="2290" y="1110"/>
                </a:lnTo>
                <a:lnTo>
                  <a:pt x="2279" y="1117"/>
                </a:lnTo>
                <a:lnTo>
                  <a:pt x="2266" y="1118"/>
                </a:lnTo>
                <a:lnTo>
                  <a:pt x="2258" y="1110"/>
                </a:lnTo>
                <a:lnTo>
                  <a:pt x="2269" y="1107"/>
                </a:lnTo>
                <a:lnTo>
                  <a:pt x="2284" y="1101"/>
                </a:lnTo>
                <a:lnTo>
                  <a:pt x="2295" y="1100"/>
                </a:lnTo>
                <a:lnTo>
                  <a:pt x="2300" y="1104"/>
                </a:lnTo>
                <a:close/>
                <a:moveTo>
                  <a:pt x="2238" y="9416"/>
                </a:moveTo>
                <a:lnTo>
                  <a:pt x="2237" y="9411"/>
                </a:lnTo>
                <a:lnTo>
                  <a:pt x="2237" y="9407"/>
                </a:lnTo>
                <a:lnTo>
                  <a:pt x="2238" y="9403"/>
                </a:lnTo>
                <a:lnTo>
                  <a:pt x="2243" y="9401"/>
                </a:lnTo>
                <a:lnTo>
                  <a:pt x="2244" y="9406"/>
                </a:lnTo>
                <a:lnTo>
                  <a:pt x="2244" y="9410"/>
                </a:lnTo>
                <a:lnTo>
                  <a:pt x="2243" y="9414"/>
                </a:lnTo>
                <a:lnTo>
                  <a:pt x="2238" y="9416"/>
                </a:lnTo>
                <a:close/>
                <a:moveTo>
                  <a:pt x="2216" y="9487"/>
                </a:moveTo>
                <a:lnTo>
                  <a:pt x="2207" y="9484"/>
                </a:lnTo>
                <a:lnTo>
                  <a:pt x="2206" y="9476"/>
                </a:lnTo>
                <a:lnTo>
                  <a:pt x="2209" y="9470"/>
                </a:lnTo>
                <a:lnTo>
                  <a:pt x="2219" y="9468"/>
                </a:lnTo>
                <a:lnTo>
                  <a:pt x="2224" y="9472"/>
                </a:lnTo>
                <a:lnTo>
                  <a:pt x="2225" y="9479"/>
                </a:lnTo>
                <a:lnTo>
                  <a:pt x="2223" y="9485"/>
                </a:lnTo>
                <a:lnTo>
                  <a:pt x="2216" y="9487"/>
                </a:lnTo>
                <a:close/>
                <a:moveTo>
                  <a:pt x="2171" y="9433"/>
                </a:moveTo>
                <a:lnTo>
                  <a:pt x="2163" y="9430"/>
                </a:lnTo>
                <a:lnTo>
                  <a:pt x="2159" y="9423"/>
                </a:lnTo>
                <a:lnTo>
                  <a:pt x="2159" y="9414"/>
                </a:lnTo>
                <a:lnTo>
                  <a:pt x="2160" y="9405"/>
                </a:lnTo>
                <a:lnTo>
                  <a:pt x="2176" y="9402"/>
                </a:lnTo>
                <a:lnTo>
                  <a:pt x="2187" y="9412"/>
                </a:lnTo>
                <a:lnTo>
                  <a:pt x="2188" y="9425"/>
                </a:lnTo>
                <a:lnTo>
                  <a:pt x="2171" y="9433"/>
                </a:lnTo>
                <a:close/>
                <a:moveTo>
                  <a:pt x="2223" y="9440"/>
                </a:moveTo>
                <a:lnTo>
                  <a:pt x="2223" y="9444"/>
                </a:lnTo>
                <a:lnTo>
                  <a:pt x="2223" y="9448"/>
                </a:lnTo>
                <a:lnTo>
                  <a:pt x="2221" y="9445"/>
                </a:lnTo>
                <a:lnTo>
                  <a:pt x="2220" y="9444"/>
                </a:lnTo>
                <a:lnTo>
                  <a:pt x="2220" y="9442"/>
                </a:lnTo>
                <a:lnTo>
                  <a:pt x="2223" y="9440"/>
                </a:lnTo>
                <a:close/>
                <a:moveTo>
                  <a:pt x="1939" y="9356"/>
                </a:moveTo>
                <a:lnTo>
                  <a:pt x="1939" y="9346"/>
                </a:lnTo>
                <a:lnTo>
                  <a:pt x="1939" y="9337"/>
                </a:lnTo>
                <a:lnTo>
                  <a:pt x="1941" y="9332"/>
                </a:lnTo>
                <a:lnTo>
                  <a:pt x="1949" y="9332"/>
                </a:lnTo>
                <a:lnTo>
                  <a:pt x="1945" y="9342"/>
                </a:lnTo>
                <a:lnTo>
                  <a:pt x="1939" y="9356"/>
                </a:lnTo>
                <a:close/>
                <a:moveTo>
                  <a:pt x="1931" y="9358"/>
                </a:moveTo>
                <a:lnTo>
                  <a:pt x="1932" y="9358"/>
                </a:lnTo>
                <a:lnTo>
                  <a:pt x="1931" y="9358"/>
                </a:lnTo>
                <a:lnTo>
                  <a:pt x="1932" y="9356"/>
                </a:lnTo>
                <a:lnTo>
                  <a:pt x="1931" y="9358"/>
                </a:lnTo>
                <a:close/>
                <a:moveTo>
                  <a:pt x="1906" y="1437"/>
                </a:moveTo>
                <a:lnTo>
                  <a:pt x="1902" y="1417"/>
                </a:lnTo>
                <a:lnTo>
                  <a:pt x="1904" y="1402"/>
                </a:lnTo>
                <a:lnTo>
                  <a:pt x="1915" y="1392"/>
                </a:lnTo>
                <a:lnTo>
                  <a:pt x="1934" y="1384"/>
                </a:lnTo>
                <a:lnTo>
                  <a:pt x="1929" y="1398"/>
                </a:lnTo>
                <a:lnTo>
                  <a:pt x="1925" y="1412"/>
                </a:lnTo>
                <a:lnTo>
                  <a:pt x="1918" y="1426"/>
                </a:lnTo>
                <a:lnTo>
                  <a:pt x="1906" y="1437"/>
                </a:lnTo>
                <a:close/>
                <a:moveTo>
                  <a:pt x="1856" y="1501"/>
                </a:moveTo>
                <a:lnTo>
                  <a:pt x="1857" y="1494"/>
                </a:lnTo>
                <a:lnTo>
                  <a:pt x="1870" y="1485"/>
                </a:lnTo>
                <a:lnTo>
                  <a:pt x="1888" y="1476"/>
                </a:lnTo>
                <a:lnTo>
                  <a:pt x="1901" y="1467"/>
                </a:lnTo>
                <a:lnTo>
                  <a:pt x="1898" y="1477"/>
                </a:lnTo>
                <a:lnTo>
                  <a:pt x="1889" y="1486"/>
                </a:lnTo>
                <a:lnTo>
                  <a:pt x="1874" y="1494"/>
                </a:lnTo>
                <a:lnTo>
                  <a:pt x="1856" y="1501"/>
                </a:lnTo>
                <a:close/>
                <a:moveTo>
                  <a:pt x="1839" y="1552"/>
                </a:moveTo>
                <a:lnTo>
                  <a:pt x="1830" y="1547"/>
                </a:lnTo>
                <a:lnTo>
                  <a:pt x="1829" y="1543"/>
                </a:lnTo>
                <a:lnTo>
                  <a:pt x="1836" y="1539"/>
                </a:lnTo>
                <a:lnTo>
                  <a:pt x="1846" y="1537"/>
                </a:lnTo>
                <a:lnTo>
                  <a:pt x="1855" y="1546"/>
                </a:lnTo>
                <a:lnTo>
                  <a:pt x="1857" y="1551"/>
                </a:lnTo>
                <a:lnTo>
                  <a:pt x="1852" y="1553"/>
                </a:lnTo>
                <a:lnTo>
                  <a:pt x="1839" y="1552"/>
                </a:lnTo>
                <a:close/>
                <a:moveTo>
                  <a:pt x="1838" y="1607"/>
                </a:moveTo>
                <a:lnTo>
                  <a:pt x="1827" y="1623"/>
                </a:lnTo>
                <a:lnTo>
                  <a:pt x="1828" y="1604"/>
                </a:lnTo>
                <a:lnTo>
                  <a:pt x="1838" y="1576"/>
                </a:lnTo>
                <a:lnTo>
                  <a:pt x="1853" y="1565"/>
                </a:lnTo>
                <a:lnTo>
                  <a:pt x="1850" y="1576"/>
                </a:lnTo>
                <a:lnTo>
                  <a:pt x="1846" y="1586"/>
                </a:lnTo>
                <a:lnTo>
                  <a:pt x="1842" y="1597"/>
                </a:lnTo>
                <a:lnTo>
                  <a:pt x="1838" y="1607"/>
                </a:lnTo>
                <a:close/>
                <a:moveTo>
                  <a:pt x="1824" y="1714"/>
                </a:moveTo>
                <a:lnTo>
                  <a:pt x="1823" y="1712"/>
                </a:lnTo>
                <a:lnTo>
                  <a:pt x="1822" y="1712"/>
                </a:lnTo>
                <a:lnTo>
                  <a:pt x="1822" y="1711"/>
                </a:lnTo>
                <a:lnTo>
                  <a:pt x="1824" y="1710"/>
                </a:lnTo>
                <a:lnTo>
                  <a:pt x="1825" y="1711"/>
                </a:lnTo>
                <a:lnTo>
                  <a:pt x="1824" y="1714"/>
                </a:lnTo>
                <a:close/>
                <a:moveTo>
                  <a:pt x="1909" y="1178"/>
                </a:moveTo>
                <a:lnTo>
                  <a:pt x="1908" y="1179"/>
                </a:lnTo>
                <a:lnTo>
                  <a:pt x="1909" y="1178"/>
                </a:lnTo>
                <a:lnTo>
                  <a:pt x="1911" y="1179"/>
                </a:lnTo>
                <a:lnTo>
                  <a:pt x="1909" y="1178"/>
                </a:lnTo>
                <a:close/>
                <a:moveTo>
                  <a:pt x="1752" y="9317"/>
                </a:moveTo>
                <a:lnTo>
                  <a:pt x="1739" y="9323"/>
                </a:lnTo>
                <a:lnTo>
                  <a:pt x="1725" y="9331"/>
                </a:lnTo>
                <a:lnTo>
                  <a:pt x="1713" y="9342"/>
                </a:lnTo>
                <a:lnTo>
                  <a:pt x="1706" y="9361"/>
                </a:lnTo>
                <a:lnTo>
                  <a:pt x="1707" y="9335"/>
                </a:lnTo>
                <a:lnTo>
                  <a:pt x="1721" y="9310"/>
                </a:lnTo>
                <a:lnTo>
                  <a:pt x="1739" y="9300"/>
                </a:lnTo>
                <a:lnTo>
                  <a:pt x="1752" y="9317"/>
                </a:lnTo>
                <a:close/>
                <a:moveTo>
                  <a:pt x="1633" y="9378"/>
                </a:moveTo>
                <a:lnTo>
                  <a:pt x="1636" y="9364"/>
                </a:lnTo>
                <a:lnTo>
                  <a:pt x="1641" y="9349"/>
                </a:lnTo>
                <a:lnTo>
                  <a:pt x="1647" y="9341"/>
                </a:lnTo>
                <a:lnTo>
                  <a:pt x="1655" y="9349"/>
                </a:lnTo>
                <a:lnTo>
                  <a:pt x="1664" y="9370"/>
                </a:lnTo>
                <a:lnTo>
                  <a:pt x="1665" y="9386"/>
                </a:lnTo>
                <a:lnTo>
                  <a:pt x="1657" y="9388"/>
                </a:lnTo>
                <a:lnTo>
                  <a:pt x="1633" y="9378"/>
                </a:lnTo>
                <a:close/>
                <a:moveTo>
                  <a:pt x="1633" y="9420"/>
                </a:moveTo>
                <a:lnTo>
                  <a:pt x="1634" y="9416"/>
                </a:lnTo>
                <a:lnTo>
                  <a:pt x="1636" y="9417"/>
                </a:lnTo>
                <a:lnTo>
                  <a:pt x="1636" y="9419"/>
                </a:lnTo>
                <a:lnTo>
                  <a:pt x="1636" y="9420"/>
                </a:lnTo>
                <a:lnTo>
                  <a:pt x="1633" y="9420"/>
                </a:lnTo>
                <a:close/>
                <a:moveTo>
                  <a:pt x="1650" y="9316"/>
                </a:moveTo>
                <a:lnTo>
                  <a:pt x="1652" y="9321"/>
                </a:lnTo>
                <a:lnTo>
                  <a:pt x="1651" y="9327"/>
                </a:lnTo>
                <a:lnTo>
                  <a:pt x="1648" y="9332"/>
                </a:lnTo>
                <a:lnTo>
                  <a:pt x="1646" y="9337"/>
                </a:lnTo>
                <a:lnTo>
                  <a:pt x="1645" y="9331"/>
                </a:lnTo>
                <a:lnTo>
                  <a:pt x="1645" y="9325"/>
                </a:lnTo>
                <a:lnTo>
                  <a:pt x="1646" y="9319"/>
                </a:lnTo>
                <a:lnTo>
                  <a:pt x="1650" y="9316"/>
                </a:lnTo>
                <a:close/>
                <a:moveTo>
                  <a:pt x="1629" y="9504"/>
                </a:moveTo>
                <a:lnTo>
                  <a:pt x="1611" y="9508"/>
                </a:lnTo>
                <a:lnTo>
                  <a:pt x="1592" y="9505"/>
                </a:lnTo>
                <a:lnTo>
                  <a:pt x="1578" y="9495"/>
                </a:lnTo>
                <a:lnTo>
                  <a:pt x="1575" y="9479"/>
                </a:lnTo>
                <a:lnTo>
                  <a:pt x="1590" y="9456"/>
                </a:lnTo>
                <a:lnTo>
                  <a:pt x="1608" y="9459"/>
                </a:lnTo>
                <a:lnTo>
                  <a:pt x="1622" y="9480"/>
                </a:lnTo>
                <a:lnTo>
                  <a:pt x="1629" y="9504"/>
                </a:lnTo>
                <a:close/>
                <a:moveTo>
                  <a:pt x="1572" y="9406"/>
                </a:moveTo>
                <a:lnTo>
                  <a:pt x="1569" y="9402"/>
                </a:lnTo>
                <a:lnTo>
                  <a:pt x="1572" y="9402"/>
                </a:lnTo>
                <a:lnTo>
                  <a:pt x="1572" y="9403"/>
                </a:lnTo>
                <a:lnTo>
                  <a:pt x="1572" y="9403"/>
                </a:lnTo>
                <a:lnTo>
                  <a:pt x="1572" y="9406"/>
                </a:lnTo>
                <a:close/>
                <a:moveTo>
                  <a:pt x="1558" y="9453"/>
                </a:moveTo>
                <a:lnTo>
                  <a:pt x="1557" y="9451"/>
                </a:lnTo>
                <a:lnTo>
                  <a:pt x="1557" y="9448"/>
                </a:lnTo>
                <a:lnTo>
                  <a:pt x="1559" y="9447"/>
                </a:lnTo>
                <a:lnTo>
                  <a:pt x="1562" y="9444"/>
                </a:lnTo>
                <a:lnTo>
                  <a:pt x="1562" y="9448"/>
                </a:lnTo>
                <a:lnTo>
                  <a:pt x="1562" y="9449"/>
                </a:lnTo>
                <a:lnTo>
                  <a:pt x="1561" y="9452"/>
                </a:lnTo>
                <a:lnTo>
                  <a:pt x="1558" y="9453"/>
                </a:lnTo>
                <a:close/>
                <a:moveTo>
                  <a:pt x="1527" y="4512"/>
                </a:moveTo>
                <a:lnTo>
                  <a:pt x="1538" y="4508"/>
                </a:lnTo>
                <a:lnTo>
                  <a:pt x="1527" y="4512"/>
                </a:lnTo>
                <a:lnTo>
                  <a:pt x="1527" y="4503"/>
                </a:lnTo>
                <a:lnTo>
                  <a:pt x="1534" y="4499"/>
                </a:lnTo>
                <a:lnTo>
                  <a:pt x="1535" y="4501"/>
                </a:lnTo>
                <a:lnTo>
                  <a:pt x="1527" y="4512"/>
                </a:lnTo>
                <a:close/>
                <a:moveTo>
                  <a:pt x="1543" y="4620"/>
                </a:moveTo>
                <a:lnTo>
                  <a:pt x="1540" y="4616"/>
                </a:lnTo>
                <a:lnTo>
                  <a:pt x="1539" y="4612"/>
                </a:lnTo>
                <a:lnTo>
                  <a:pt x="1541" y="4608"/>
                </a:lnTo>
                <a:lnTo>
                  <a:pt x="1547" y="4608"/>
                </a:lnTo>
                <a:lnTo>
                  <a:pt x="1550" y="4611"/>
                </a:lnTo>
                <a:lnTo>
                  <a:pt x="1549" y="4615"/>
                </a:lnTo>
                <a:lnTo>
                  <a:pt x="1547" y="4617"/>
                </a:lnTo>
                <a:lnTo>
                  <a:pt x="1543" y="4620"/>
                </a:lnTo>
                <a:close/>
                <a:moveTo>
                  <a:pt x="1526" y="4555"/>
                </a:moveTo>
                <a:lnTo>
                  <a:pt x="1531" y="4545"/>
                </a:lnTo>
                <a:lnTo>
                  <a:pt x="1535" y="4538"/>
                </a:lnTo>
                <a:lnTo>
                  <a:pt x="1540" y="4536"/>
                </a:lnTo>
                <a:lnTo>
                  <a:pt x="1547" y="4538"/>
                </a:lnTo>
                <a:lnTo>
                  <a:pt x="1543" y="4545"/>
                </a:lnTo>
                <a:lnTo>
                  <a:pt x="1539" y="4550"/>
                </a:lnTo>
                <a:lnTo>
                  <a:pt x="1534" y="4554"/>
                </a:lnTo>
                <a:lnTo>
                  <a:pt x="1526" y="4555"/>
                </a:lnTo>
                <a:close/>
                <a:moveTo>
                  <a:pt x="1510" y="4426"/>
                </a:moveTo>
                <a:lnTo>
                  <a:pt x="1508" y="4424"/>
                </a:lnTo>
                <a:lnTo>
                  <a:pt x="1508" y="4421"/>
                </a:lnTo>
                <a:lnTo>
                  <a:pt x="1510" y="4421"/>
                </a:lnTo>
                <a:lnTo>
                  <a:pt x="1513" y="4421"/>
                </a:lnTo>
                <a:lnTo>
                  <a:pt x="1513" y="4424"/>
                </a:lnTo>
                <a:lnTo>
                  <a:pt x="1513" y="4425"/>
                </a:lnTo>
                <a:lnTo>
                  <a:pt x="1511" y="4426"/>
                </a:lnTo>
                <a:lnTo>
                  <a:pt x="1510" y="4426"/>
                </a:lnTo>
                <a:close/>
                <a:moveTo>
                  <a:pt x="1482" y="9514"/>
                </a:moveTo>
                <a:lnTo>
                  <a:pt x="1482" y="9512"/>
                </a:lnTo>
                <a:lnTo>
                  <a:pt x="1482" y="9510"/>
                </a:lnTo>
                <a:lnTo>
                  <a:pt x="1483" y="9512"/>
                </a:lnTo>
                <a:lnTo>
                  <a:pt x="1484" y="9513"/>
                </a:lnTo>
                <a:lnTo>
                  <a:pt x="1482" y="9514"/>
                </a:lnTo>
                <a:close/>
                <a:moveTo>
                  <a:pt x="1475" y="4308"/>
                </a:moveTo>
                <a:lnTo>
                  <a:pt x="1475" y="4318"/>
                </a:lnTo>
                <a:lnTo>
                  <a:pt x="1476" y="4330"/>
                </a:lnTo>
                <a:lnTo>
                  <a:pt x="1470" y="4326"/>
                </a:lnTo>
                <a:lnTo>
                  <a:pt x="1468" y="4322"/>
                </a:lnTo>
                <a:lnTo>
                  <a:pt x="1470" y="4317"/>
                </a:lnTo>
                <a:lnTo>
                  <a:pt x="1475" y="4308"/>
                </a:lnTo>
                <a:close/>
                <a:moveTo>
                  <a:pt x="1454" y="4524"/>
                </a:moveTo>
                <a:lnTo>
                  <a:pt x="1443" y="4505"/>
                </a:lnTo>
                <a:lnTo>
                  <a:pt x="1438" y="4486"/>
                </a:lnTo>
                <a:lnTo>
                  <a:pt x="1440" y="4468"/>
                </a:lnTo>
                <a:lnTo>
                  <a:pt x="1448" y="4449"/>
                </a:lnTo>
                <a:lnTo>
                  <a:pt x="1460" y="4470"/>
                </a:lnTo>
                <a:lnTo>
                  <a:pt x="1470" y="4487"/>
                </a:lnTo>
                <a:lnTo>
                  <a:pt x="1469" y="4504"/>
                </a:lnTo>
                <a:lnTo>
                  <a:pt x="1454" y="4524"/>
                </a:lnTo>
                <a:close/>
                <a:moveTo>
                  <a:pt x="1413" y="4379"/>
                </a:moveTo>
                <a:lnTo>
                  <a:pt x="1423" y="4366"/>
                </a:lnTo>
                <a:lnTo>
                  <a:pt x="1438" y="4360"/>
                </a:lnTo>
                <a:lnTo>
                  <a:pt x="1450" y="4364"/>
                </a:lnTo>
                <a:lnTo>
                  <a:pt x="1452" y="4380"/>
                </a:lnTo>
                <a:lnTo>
                  <a:pt x="1443" y="4389"/>
                </a:lnTo>
                <a:lnTo>
                  <a:pt x="1433" y="4389"/>
                </a:lnTo>
                <a:lnTo>
                  <a:pt x="1423" y="4384"/>
                </a:lnTo>
                <a:lnTo>
                  <a:pt x="1413" y="4379"/>
                </a:lnTo>
                <a:close/>
                <a:moveTo>
                  <a:pt x="1417" y="4498"/>
                </a:moveTo>
                <a:lnTo>
                  <a:pt x="1410" y="4495"/>
                </a:lnTo>
                <a:lnTo>
                  <a:pt x="1409" y="4489"/>
                </a:lnTo>
                <a:lnTo>
                  <a:pt x="1409" y="4477"/>
                </a:lnTo>
                <a:lnTo>
                  <a:pt x="1408" y="4466"/>
                </a:lnTo>
                <a:lnTo>
                  <a:pt x="1415" y="4475"/>
                </a:lnTo>
                <a:lnTo>
                  <a:pt x="1419" y="4482"/>
                </a:lnTo>
                <a:lnTo>
                  <a:pt x="1420" y="4490"/>
                </a:lnTo>
                <a:lnTo>
                  <a:pt x="1417" y="4498"/>
                </a:lnTo>
                <a:close/>
                <a:moveTo>
                  <a:pt x="1414" y="9389"/>
                </a:moveTo>
                <a:lnTo>
                  <a:pt x="1414" y="9387"/>
                </a:lnTo>
                <a:lnTo>
                  <a:pt x="1415" y="9387"/>
                </a:lnTo>
                <a:lnTo>
                  <a:pt x="1415" y="9387"/>
                </a:lnTo>
                <a:lnTo>
                  <a:pt x="1417" y="9389"/>
                </a:lnTo>
                <a:lnTo>
                  <a:pt x="1414" y="9389"/>
                </a:lnTo>
                <a:close/>
                <a:moveTo>
                  <a:pt x="1399" y="4111"/>
                </a:moveTo>
                <a:lnTo>
                  <a:pt x="1377" y="4136"/>
                </a:lnTo>
                <a:lnTo>
                  <a:pt x="1373" y="4165"/>
                </a:lnTo>
                <a:lnTo>
                  <a:pt x="1367" y="4168"/>
                </a:lnTo>
                <a:lnTo>
                  <a:pt x="1341" y="4116"/>
                </a:lnTo>
                <a:lnTo>
                  <a:pt x="1377" y="4099"/>
                </a:lnTo>
                <a:lnTo>
                  <a:pt x="1410" y="4107"/>
                </a:lnTo>
                <a:lnTo>
                  <a:pt x="1424" y="4118"/>
                </a:lnTo>
                <a:lnTo>
                  <a:pt x="1399" y="4111"/>
                </a:lnTo>
                <a:close/>
                <a:moveTo>
                  <a:pt x="1391" y="4214"/>
                </a:moveTo>
                <a:lnTo>
                  <a:pt x="1387" y="4215"/>
                </a:lnTo>
                <a:lnTo>
                  <a:pt x="1386" y="4212"/>
                </a:lnTo>
                <a:lnTo>
                  <a:pt x="1385" y="4209"/>
                </a:lnTo>
                <a:lnTo>
                  <a:pt x="1383" y="4205"/>
                </a:lnTo>
                <a:lnTo>
                  <a:pt x="1389" y="4204"/>
                </a:lnTo>
                <a:lnTo>
                  <a:pt x="1394" y="4206"/>
                </a:lnTo>
                <a:lnTo>
                  <a:pt x="1395" y="4209"/>
                </a:lnTo>
                <a:lnTo>
                  <a:pt x="1391" y="4214"/>
                </a:lnTo>
                <a:close/>
                <a:moveTo>
                  <a:pt x="1373" y="4338"/>
                </a:moveTo>
                <a:lnTo>
                  <a:pt x="1369" y="4332"/>
                </a:lnTo>
                <a:lnTo>
                  <a:pt x="1372" y="4328"/>
                </a:lnTo>
                <a:lnTo>
                  <a:pt x="1378" y="4330"/>
                </a:lnTo>
                <a:lnTo>
                  <a:pt x="1385" y="4333"/>
                </a:lnTo>
                <a:lnTo>
                  <a:pt x="1378" y="4336"/>
                </a:lnTo>
                <a:lnTo>
                  <a:pt x="1373" y="4338"/>
                </a:lnTo>
                <a:close/>
                <a:moveTo>
                  <a:pt x="1361" y="4254"/>
                </a:moveTo>
                <a:lnTo>
                  <a:pt x="1353" y="4247"/>
                </a:lnTo>
                <a:lnTo>
                  <a:pt x="1352" y="4242"/>
                </a:lnTo>
                <a:lnTo>
                  <a:pt x="1357" y="4237"/>
                </a:lnTo>
                <a:lnTo>
                  <a:pt x="1367" y="4233"/>
                </a:lnTo>
                <a:lnTo>
                  <a:pt x="1363" y="4244"/>
                </a:lnTo>
                <a:lnTo>
                  <a:pt x="1361" y="4254"/>
                </a:lnTo>
                <a:close/>
                <a:moveTo>
                  <a:pt x="1357" y="9367"/>
                </a:moveTo>
                <a:lnTo>
                  <a:pt x="1354" y="9361"/>
                </a:lnTo>
                <a:lnTo>
                  <a:pt x="1353" y="9356"/>
                </a:lnTo>
                <a:lnTo>
                  <a:pt x="1354" y="9351"/>
                </a:lnTo>
                <a:lnTo>
                  <a:pt x="1358" y="9349"/>
                </a:lnTo>
                <a:lnTo>
                  <a:pt x="1361" y="9354"/>
                </a:lnTo>
                <a:lnTo>
                  <a:pt x="1363" y="9358"/>
                </a:lnTo>
                <a:lnTo>
                  <a:pt x="1362" y="9363"/>
                </a:lnTo>
                <a:lnTo>
                  <a:pt x="1357" y="9367"/>
                </a:lnTo>
                <a:close/>
                <a:moveTo>
                  <a:pt x="1429" y="4055"/>
                </a:moveTo>
                <a:lnTo>
                  <a:pt x="1418" y="4062"/>
                </a:lnTo>
                <a:lnTo>
                  <a:pt x="1406" y="4071"/>
                </a:lnTo>
                <a:lnTo>
                  <a:pt x="1396" y="4078"/>
                </a:lnTo>
                <a:lnTo>
                  <a:pt x="1387" y="4085"/>
                </a:lnTo>
                <a:lnTo>
                  <a:pt x="1382" y="4071"/>
                </a:lnTo>
                <a:lnTo>
                  <a:pt x="1390" y="4062"/>
                </a:lnTo>
                <a:lnTo>
                  <a:pt x="1406" y="4057"/>
                </a:lnTo>
                <a:lnTo>
                  <a:pt x="1429" y="4055"/>
                </a:lnTo>
                <a:close/>
                <a:moveTo>
                  <a:pt x="1473" y="4247"/>
                </a:moveTo>
                <a:lnTo>
                  <a:pt x="1479" y="4260"/>
                </a:lnTo>
                <a:lnTo>
                  <a:pt x="1471" y="4272"/>
                </a:lnTo>
                <a:lnTo>
                  <a:pt x="1459" y="4285"/>
                </a:lnTo>
                <a:lnTo>
                  <a:pt x="1447" y="4299"/>
                </a:lnTo>
                <a:lnTo>
                  <a:pt x="1437" y="4270"/>
                </a:lnTo>
                <a:lnTo>
                  <a:pt x="1436" y="4242"/>
                </a:lnTo>
                <a:lnTo>
                  <a:pt x="1447" y="4229"/>
                </a:lnTo>
                <a:lnTo>
                  <a:pt x="1473" y="4247"/>
                </a:lnTo>
                <a:close/>
                <a:moveTo>
                  <a:pt x="1531" y="3911"/>
                </a:moveTo>
                <a:lnTo>
                  <a:pt x="1531" y="3901"/>
                </a:lnTo>
                <a:lnTo>
                  <a:pt x="1531" y="3892"/>
                </a:lnTo>
                <a:lnTo>
                  <a:pt x="1538" y="3883"/>
                </a:lnTo>
                <a:lnTo>
                  <a:pt x="1555" y="3876"/>
                </a:lnTo>
                <a:lnTo>
                  <a:pt x="1561" y="3888"/>
                </a:lnTo>
                <a:lnTo>
                  <a:pt x="1553" y="3897"/>
                </a:lnTo>
                <a:lnTo>
                  <a:pt x="1541" y="3903"/>
                </a:lnTo>
                <a:lnTo>
                  <a:pt x="1531" y="3911"/>
                </a:lnTo>
                <a:close/>
                <a:moveTo>
                  <a:pt x="1324" y="9356"/>
                </a:moveTo>
                <a:lnTo>
                  <a:pt x="1317" y="9353"/>
                </a:lnTo>
                <a:lnTo>
                  <a:pt x="1315" y="9347"/>
                </a:lnTo>
                <a:lnTo>
                  <a:pt x="1317" y="9342"/>
                </a:lnTo>
                <a:lnTo>
                  <a:pt x="1324" y="9337"/>
                </a:lnTo>
                <a:lnTo>
                  <a:pt x="1326" y="9341"/>
                </a:lnTo>
                <a:lnTo>
                  <a:pt x="1329" y="9347"/>
                </a:lnTo>
                <a:lnTo>
                  <a:pt x="1327" y="9353"/>
                </a:lnTo>
                <a:lnTo>
                  <a:pt x="1324" y="9356"/>
                </a:lnTo>
                <a:close/>
                <a:moveTo>
                  <a:pt x="1305" y="9258"/>
                </a:moveTo>
                <a:lnTo>
                  <a:pt x="1299" y="9265"/>
                </a:lnTo>
                <a:lnTo>
                  <a:pt x="1297" y="9262"/>
                </a:lnTo>
                <a:lnTo>
                  <a:pt x="1297" y="9256"/>
                </a:lnTo>
                <a:lnTo>
                  <a:pt x="1298" y="9248"/>
                </a:lnTo>
                <a:lnTo>
                  <a:pt x="1302" y="9247"/>
                </a:lnTo>
                <a:lnTo>
                  <a:pt x="1305" y="9249"/>
                </a:lnTo>
                <a:lnTo>
                  <a:pt x="1306" y="9253"/>
                </a:lnTo>
                <a:lnTo>
                  <a:pt x="1305" y="9258"/>
                </a:lnTo>
                <a:close/>
                <a:moveTo>
                  <a:pt x="1264" y="9373"/>
                </a:moveTo>
                <a:lnTo>
                  <a:pt x="1261" y="9369"/>
                </a:lnTo>
                <a:lnTo>
                  <a:pt x="1263" y="9364"/>
                </a:lnTo>
                <a:lnTo>
                  <a:pt x="1264" y="9359"/>
                </a:lnTo>
                <a:lnTo>
                  <a:pt x="1268" y="9358"/>
                </a:lnTo>
                <a:lnTo>
                  <a:pt x="1284" y="9367"/>
                </a:lnTo>
                <a:lnTo>
                  <a:pt x="1289" y="9372"/>
                </a:lnTo>
                <a:lnTo>
                  <a:pt x="1283" y="9373"/>
                </a:lnTo>
                <a:lnTo>
                  <a:pt x="1264" y="9373"/>
                </a:lnTo>
                <a:close/>
                <a:moveTo>
                  <a:pt x="1243" y="9444"/>
                </a:moveTo>
                <a:lnTo>
                  <a:pt x="1242" y="9440"/>
                </a:lnTo>
                <a:lnTo>
                  <a:pt x="1241" y="9434"/>
                </a:lnTo>
                <a:lnTo>
                  <a:pt x="1250" y="9433"/>
                </a:lnTo>
                <a:lnTo>
                  <a:pt x="1254" y="9437"/>
                </a:lnTo>
                <a:lnTo>
                  <a:pt x="1252" y="9442"/>
                </a:lnTo>
                <a:lnTo>
                  <a:pt x="1243" y="9444"/>
                </a:lnTo>
                <a:close/>
                <a:moveTo>
                  <a:pt x="1245" y="4541"/>
                </a:moveTo>
                <a:lnTo>
                  <a:pt x="1251" y="4541"/>
                </a:lnTo>
                <a:lnTo>
                  <a:pt x="1257" y="4541"/>
                </a:lnTo>
                <a:lnTo>
                  <a:pt x="1261" y="4542"/>
                </a:lnTo>
                <a:lnTo>
                  <a:pt x="1261" y="4549"/>
                </a:lnTo>
                <a:lnTo>
                  <a:pt x="1256" y="4549"/>
                </a:lnTo>
                <a:lnTo>
                  <a:pt x="1250" y="4549"/>
                </a:lnTo>
                <a:lnTo>
                  <a:pt x="1246" y="4546"/>
                </a:lnTo>
                <a:lnTo>
                  <a:pt x="1245" y="4541"/>
                </a:lnTo>
                <a:close/>
                <a:moveTo>
                  <a:pt x="1249" y="4212"/>
                </a:moveTo>
                <a:lnTo>
                  <a:pt x="1247" y="4214"/>
                </a:lnTo>
                <a:lnTo>
                  <a:pt x="1249" y="4212"/>
                </a:lnTo>
                <a:lnTo>
                  <a:pt x="1249" y="4215"/>
                </a:lnTo>
                <a:lnTo>
                  <a:pt x="1249" y="4212"/>
                </a:lnTo>
                <a:close/>
                <a:moveTo>
                  <a:pt x="1268" y="4494"/>
                </a:moveTo>
                <a:lnTo>
                  <a:pt x="1273" y="4499"/>
                </a:lnTo>
                <a:lnTo>
                  <a:pt x="1273" y="4505"/>
                </a:lnTo>
                <a:lnTo>
                  <a:pt x="1269" y="4512"/>
                </a:lnTo>
                <a:lnTo>
                  <a:pt x="1261" y="4515"/>
                </a:lnTo>
                <a:lnTo>
                  <a:pt x="1257" y="4508"/>
                </a:lnTo>
                <a:lnTo>
                  <a:pt x="1257" y="4503"/>
                </a:lnTo>
                <a:lnTo>
                  <a:pt x="1261" y="4498"/>
                </a:lnTo>
                <a:lnTo>
                  <a:pt x="1268" y="4494"/>
                </a:lnTo>
                <a:close/>
                <a:moveTo>
                  <a:pt x="1265" y="9265"/>
                </a:moveTo>
                <a:lnTo>
                  <a:pt x="1266" y="9253"/>
                </a:lnTo>
                <a:lnTo>
                  <a:pt x="1268" y="9246"/>
                </a:lnTo>
                <a:lnTo>
                  <a:pt x="1269" y="9240"/>
                </a:lnTo>
                <a:lnTo>
                  <a:pt x="1271" y="9234"/>
                </a:lnTo>
                <a:lnTo>
                  <a:pt x="1275" y="9242"/>
                </a:lnTo>
                <a:lnTo>
                  <a:pt x="1274" y="9247"/>
                </a:lnTo>
                <a:lnTo>
                  <a:pt x="1270" y="9254"/>
                </a:lnTo>
                <a:lnTo>
                  <a:pt x="1265" y="9265"/>
                </a:lnTo>
                <a:close/>
                <a:moveTo>
                  <a:pt x="1284" y="9328"/>
                </a:moveTo>
                <a:lnTo>
                  <a:pt x="1278" y="9328"/>
                </a:lnTo>
                <a:lnTo>
                  <a:pt x="1274" y="9327"/>
                </a:lnTo>
                <a:lnTo>
                  <a:pt x="1273" y="9323"/>
                </a:lnTo>
                <a:lnTo>
                  <a:pt x="1273" y="9314"/>
                </a:lnTo>
                <a:lnTo>
                  <a:pt x="1279" y="9316"/>
                </a:lnTo>
                <a:lnTo>
                  <a:pt x="1283" y="9318"/>
                </a:lnTo>
                <a:lnTo>
                  <a:pt x="1284" y="9322"/>
                </a:lnTo>
                <a:lnTo>
                  <a:pt x="1284" y="9328"/>
                </a:lnTo>
                <a:close/>
                <a:moveTo>
                  <a:pt x="1306" y="4317"/>
                </a:moveTo>
                <a:lnTo>
                  <a:pt x="1305" y="4322"/>
                </a:lnTo>
                <a:lnTo>
                  <a:pt x="1301" y="4326"/>
                </a:lnTo>
                <a:lnTo>
                  <a:pt x="1296" y="4330"/>
                </a:lnTo>
                <a:lnTo>
                  <a:pt x="1291" y="4331"/>
                </a:lnTo>
                <a:lnTo>
                  <a:pt x="1291" y="4326"/>
                </a:lnTo>
                <a:lnTo>
                  <a:pt x="1294" y="4322"/>
                </a:lnTo>
                <a:lnTo>
                  <a:pt x="1301" y="4319"/>
                </a:lnTo>
                <a:lnTo>
                  <a:pt x="1306" y="4317"/>
                </a:lnTo>
                <a:close/>
                <a:moveTo>
                  <a:pt x="1310" y="4214"/>
                </a:moveTo>
                <a:lnTo>
                  <a:pt x="1306" y="4219"/>
                </a:lnTo>
                <a:lnTo>
                  <a:pt x="1303" y="4223"/>
                </a:lnTo>
                <a:lnTo>
                  <a:pt x="1302" y="4228"/>
                </a:lnTo>
                <a:lnTo>
                  <a:pt x="1301" y="4233"/>
                </a:lnTo>
                <a:lnTo>
                  <a:pt x="1297" y="4230"/>
                </a:lnTo>
                <a:lnTo>
                  <a:pt x="1296" y="4214"/>
                </a:lnTo>
                <a:lnTo>
                  <a:pt x="1299" y="4202"/>
                </a:lnTo>
                <a:lnTo>
                  <a:pt x="1310" y="4214"/>
                </a:lnTo>
                <a:close/>
                <a:moveTo>
                  <a:pt x="1313" y="4108"/>
                </a:moveTo>
                <a:lnTo>
                  <a:pt x="1306" y="4120"/>
                </a:lnTo>
                <a:lnTo>
                  <a:pt x="1297" y="4130"/>
                </a:lnTo>
                <a:lnTo>
                  <a:pt x="1296" y="4117"/>
                </a:lnTo>
                <a:lnTo>
                  <a:pt x="1296" y="4109"/>
                </a:lnTo>
                <a:lnTo>
                  <a:pt x="1302" y="4108"/>
                </a:lnTo>
                <a:lnTo>
                  <a:pt x="1313" y="4108"/>
                </a:lnTo>
                <a:close/>
                <a:moveTo>
                  <a:pt x="1320" y="4290"/>
                </a:moveTo>
                <a:lnTo>
                  <a:pt x="1316" y="4294"/>
                </a:lnTo>
                <a:lnTo>
                  <a:pt x="1313" y="4294"/>
                </a:lnTo>
                <a:lnTo>
                  <a:pt x="1312" y="4293"/>
                </a:lnTo>
                <a:lnTo>
                  <a:pt x="1311" y="4289"/>
                </a:lnTo>
                <a:lnTo>
                  <a:pt x="1312" y="4285"/>
                </a:lnTo>
                <a:lnTo>
                  <a:pt x="1315" y="4285"/>
                </a:lnTo>
                <a:lnTo>
                  <a:pt x="1317" y="4288"/>
                </a:lnTo>
                <a:lnTo>
                  <a:pt x="1320" y="4290"/>
                </a:lnTo>
                <a:close/>
                <a:moveTo>
                  <a:pt x="1316" y="4445"/>
                </a:moveTo>
                <a:lnTo>
                  <a:pt x="1316" y="4445"/>
                </a:lnTo>
                <a:lnTo>
                  <a:pt x="1316" y="4445"/>
                </a:lnTo>
                <a:lnTo>
                  <a:pt x="1316" y="4444"/>
                </a:lnTo>
                <a:lnTo>
                  <a:pt x="1317" y="4444"/>
                </a:lnTo>
                <a:lnTo>
                  <a:pt x="1316" y="4445"/>
                </a:lnTo>
                <a:lnTo>
                  <a:pt x="1316" y="4445"/>
                </a:lnTo>
                <a:close/>
                <a:moveTo>
                  <a:pt x="1324" y="4456"/>
                </a:moveTo>
                <a:lnTo>
                  <a:pt x="1322" y="4466"/>
                </a:lnTo>
                <a:lnTo>
                  <a:pt x="1313" y="4471"/>
                </a:lnTo>
                <a:lnTo>
                  <a:pt x="1306" y="4468"/>
                </a:lnTo>
                <a:lnTo>
                  <a:pt x="1302" y="4459"/>
                </a:lnTo>
                <a:lnTo>
                  <a:pt x="1313" y="4458"/>
                </a:lnTo>
                <a:lnTo>
                  <a:pt x="1324" y="4456"/>
                </a:lnTo>
                <a:close/>
                <a:moveTo>
                  <a:pt x="1228" y="4252"/>
                </a:moveTo>
                <a:lnTo>
                  <a:pt x="1228" y="4249"/>
                </a:lnTo>
                <a:lnTo>
                  <a:pt x="1228" y="4248"/>
                </a:lnTo>
                <a:lnTo>
                  <a:pt x="1234" y="4247"/>
                </a:lnTo>
                <a:lnTo>
                  <a:pt x="1236" y="4248"/>
                </a:lnTo>
                <a:lnTo>
                  <a:pt x="1234" y="4249"/>
                </a:lnTo>
                <a:lnTo>
                  <a:pt x="1228" y="4252"/>
                </a:lnTo>
                <a:close/>
                <a:moveTo>
                  <a:pt x="1220" y="7064"/>
                </a:moveTo>
                <a:lnTo>
                  <a:pt x="1218" y="7059"/>
                </a:lnTo>
                <a:lnTo>
                  <a:pt x="1215" y="7054"/>
                </a:lnTo>
                <a:lnTo>
                  <a:pt x="1219" y="7055"/>
                </a:lnTo>
                <a:lnTo>
                  <a:pt x="1222" y="7057"/>
                </a:lnTo>
                <a:lnTo>
                  <a:pt x="1222" y="7061"/>
                </a:lnTo>
                <a:lnTo>
                  <a:pt x="1220" y="7064"/>
                </a:lnTo>
                <a:close/>
                <a:moveTo>
                  <a:pt x="1200" y="4074"/>
                </a:moveTo>
                <a:lnTo>
                  <a:pt x="1196" y="4071"/>
                </a:lnTo>
                <a:lnTo>
                  <a:pt x="1195" y="4066"/>
                </a:lnTo>
                <a:lnTo>
                  <a:pt x="1196" y="4062"/>
                </a:lnTo>
                <a:lnTo>
                  <a:pt x="1200" y="4060"/>
                </a:lnTo>
                <a:lnTo>
                  <a:pt x="1205" y="4064"/>
                </a:lnTo>
                <a:lnTo>
                  <a:pt x="1208" y="4067"/>
                </a:lnTo>
                <a:lnTo>
                  <a:pt x="1206" y="4072"/>
                </a:lnTo>
                <a:lnTo>
                  <a:pt x="1200" y="4074"/>
                </a:lnTo>
                <a:close/>
                <a:moveTo>
                  <a:pt x="1196" y="6973"/>
                </a:moveTo>
                <a:lnTo>
                  <a:pt x="1176" y="6991"/>
                </a:lnTo>
                <a:lnTo>
                  <a:pt x="1150" y="6980"/>
                </a:lnTo>
                <a:lnTo>
                  <a:pt x="1139" y="6958"/>
                </a:lnTo>
                <a:lnTo>
                  <a:pt x="1162" y="6948"/>
                </a:lnTo>
                <a:lnTo>
                  <a:pt x="1166" y="6959"/>
                </a:lnTo>
                <a:lnTo>
                  <a:pt x="1182" y="6963"/>
                </a:lnTo>
                <a:lnTo>
                  <a:pt x="1198" y="6966"/>
                </a:lnTo>
                <a:lnTo>
                  <a:pt x="1196" y="6973"/>
                </a:lnTo>
                <a:close/>
                <a:moveTo>
                  <a:pt x="1156" y="6929"/>
                </a:moveTo>
                <a:lnTo>
                  <a:pt x="1149" y="6935"/>
                </a:lnTo>
                <a:lnTo>
                  <a:pt x="1140" y="6943"/>
                </a:lnTo>
                <a:lnTo>
                  <a:pt x="1139" y="6937"/>
                </a:lnTo>
                <a:lnTo>
                  <a:pt x="1143" y="6933"/>
                </a:lnTo>
                <a:lnTo>
                  <a:pt x="1149" y="6931"/>
                </a:lnTo>
                <a:lnTo>
                  <a:pt x="1156" y="6929"/>
                </a:lnTo>
                <a:close/>
                <a:moveTo>
                  <a:pt x="1145" y="9266"/>
                </a:moveTo>
                <a:lnTo>
                  <a:pt x="1149" y="9271"/>
                </a:lnTo>
                <a:lnTo>
                  <a:pt x="1149" y="9276"/>
                </a:lnTo>
                <a:lnTo>
                  <a:pt x="1149" y="9282"/>
                </a:lnTo>
                <a:lnTo>
                  <a:pt x="1149" y="9289"/>
                </a:lnTo>
                <a:lnTo>
                  <a:pt x="1145" y="9284"/>
                </a:lnTo>
                <a:lnTo>
                  <a:pt x="1142" y="9279"/>
                </a:lnTo>
                <a:lnTo>
                  <a:pt x="1142" y="9272"/>
                </a:lnTo>
                <a:lnTo>
                  <a:pt x="1145" y="9266"/>
                </a:lnTo>
                <a:close/>
                <a:moveTo>
                  <a:pt x="1084" y="9233"/>
                </a:moveTo>
                <a:lnTo>
                  <a:pt x="1083" y="9232"/>
                </a:lnTo>
                <a:lnTo>
                  <a:pt x="1085" y="9229"/>
                </a:lnTo>
                <a:lnTo>
                  <a:pt x="1084" y="9230"/>
                </a:lnTo>
                <a:lnTo>
                  <a:pt x="1084" y="9233"/>
                </a:lnTo>
                <a:close/>
                <a:moveTo>
                  <a:pt x="1074" y="9206"/>
                </a:moveTo>
                <a:lnTo>
                  <a:pt x="1064" y="9210"/>
                </a:lnTo>
                <a:lnTo>
                  <a:pt x="1054" y="9207"/>
                </a:lnTo>
                <a:lnTo>
                  <a:pt x="1043" y="9201"/>
                </a:lnTo>
                <a:lnTo>
                  <a:pt x="1032" y="9191"/>
                </a:lnTo>
                <a:lnTo>
                  <a:pt x="1047" y="9188"/>
                </a:lnTo>
                <a:lnTo>
                  <a:pt x="1069" y="9191"/>
                </a:lnTo>
                <a:lnTo>
                  <a:pt x="1082" y="9197"/>
                </a:lnTo>
                <a:lnTo>
                  <a:pt x="1074" y="9206"/>
                </a:lnTo>
                <a:close/>
                <a:moveTo>
                  <a:pt x="961" y="7634"/>
                </a:moveTo>
                <a:lnTo>
                  <a:pt x="959" y="7630"/>
                </a:lnTo>
                <a:lnTo>
                  <a:pt x="957" y="7625"/>
                </a:lnTo>
                <a:lnTo>
                  <a:pt x="963" y="7624"/>
                </a:lnTo>
                <a:lnTo>
                  <a:pt x="967" y="7628"/>
                </a:lnTo>
                <a:lnTo>
                  <a:pt x="967" y="7632"/>
                </a:lnTo>
                <a:lnTo>
                  <a:pt x="961" y="7634"/>
                </a:lnTo>
                <a:close/>
                <a:moveTo>
                  <a:pt x="928" y="7927"/>
                </a:moveTo>
                <a:lnTo>
                  <a:pt x="926" y="7924"/>
                </a:lnTo>
                <a:lnTo>
                  <a:pt x="925" y="7920"/>
                </a:lnTo>
                <a:lnTo>
                  <a:pt x="924" y="7919"/>
                </a:lnTo>
                <a:lnTo>
                  <a:pt x="926" y="7918"/>
                </a:lnTo>
                <a:lnTo>
                  <a:pt x="929" y="7919"/>
                </a:lnTo>
                <a:lnTo>
                  <a:pt x="930" y="7922"/>
                </a:lnTo>
                <a:lnTo>
                  <a:pt x="930" y="7924"/>
                </a:lnTo>
                <a:lnTo>
                  <a:pt x="928" y="7927"/>
                </a:lnTo>
                <a:close/>
                <a:moveTo>
                  <a:pt x="872" y="8904"/>
                </a:moveTo>
                <a:lnTo>
                  <a:pt x="882" y="8904"/>
                </a:lnTo>
                <a:lnTo>
                  <a:pt x="891" y="8912"/>
                </a:lnTo>
                <a:lnTo>
                  <a:pt x="903" y="8921"/>
                </a:lnTo>
                <a:lnTo>
                  <a:pt x="920" y="8929"/>
                </a:lnTo>
                <a:lnTo>
                  <a:pt x="907" y="8926"/>
                </a:lnTo>
                <a:lnTo>
                  <a:pt x="896" y="8921"/>
                </a:lnTo>
                <a:lnTo>
                  <a:pt x="883" y="8913"/>
                </a:lnTo>
                <a:lnTo>
                  <a:pt x="872" y="8904"/>
                </a:lnTo>
                <a:close/>
                <a:moveTo>
                  <a:pt x="870" y="8735"/>
                </a:moveTo>
                <a:lnTo>
                  <a:pt x="872" y="8734"/>
                </a:lnTo>
                <a:lnTo>
                  <a:pt x="873" y="8734"/>
                </a:lnTo>
                <a:lnTo>
                  <a:pt x="873" y="8735"/>
                </a:lnTo>
                <a:lnTo>
                  <a:pt x="873" y="8738"/>
                </a:lnTo>
                <a:lnTo>
                  <a:pt x="870" y="8735"/>
                </a:lnTo>
                <a:close/>
                <a:moveTo>
                  <a:pt x="855" y="8978"/>
                </a:moveTo>
                <a:lnTo>
                  <a:pt x="852" y="8973"/>
                </a:lnTo>
                <a:lnTo>
                  <a:pt x="854" y="8968"/>
                </a:lnTo>
                <a:lnTo>
                  <a:pt x="856" y="8964"/>
                </a:lnTo>
                <a:lnTo>
                  <a:pt x="861" y="8960"/>
                </a:lnTo>
                <a:lnTo>
                  <a:pt x="865" y="8967"/>
                </a:lnTo>
                <a:lnTo>
                  <a:pt x="865" y="8973"/>
                </a:lnTo>
                <a:lnTo>
                  <a:pt x="861" y="8978"/>
                </a:lnTo>
                <a:lnTo>
                  <a:pt x="855" y="8978"/>
                </a:lnTo>
                <a:close/>
                <a:moveTo>
                  <a:pt x="850" y="8868"/>
                </a:moveTo>
                <a:lnTo>
                  <a:pt x="852" y="8871"/>
                </a:lnTo>
                <a:lnTo>
                  <a:pt x="850" y="8871"/>
                </a:lnTo>
                <a:lnTo>
                  <a:pt x="850" y="8871"/>
                </a:lnTo>
                <a:lnTo>
                  <a:pt x="850" y="8870"/>
                </a:lnTo>
                <a:lnTo>
                  <a:pt x="850" y="8868"/>
                </a:lnTo>
                <a:close/>
                <a:moveTo>
                  <a:pt x="831" y="8286"/>
                </a:moveTo>
                <a:lnTo>
                  <a:pt x="844" y="8281"/>
                </a:lnTo>
                <a:lnTo>
                  <a:pt x="855" y="8274"/>
                </a:lnTo>
                <a:lnTo>
                  <a:pt x="865" y="8272"/>
                </a:lnTo>
                <a:lnTo>
                  <a:pt x="879" y="8277"/>
                </a:lnTo>
                <a:lnTo>
                  <a:pt x="872" y="8291"/>
                </a:lnTo>
                <a:lnTo>
                  <a:pt x="859" y="8295"/>
                </a:lnTo>
                <a:lnTo>
                  <a:pt x="845" y="8292"/>
                </a:lnTo>
                <a:lnTo>
                  <a:pt x="831" y="8286"/>
                </a:lnTo>
                <a:close/>
                <a:moveTo>
                  <a:pt x="837" y="8902"/>
                </a:moveTo>
                <a:lnTo>
                  <a:pt x="837" y="8898"/>
                </a:lnTo>
                <a:lnTo>
                  <a:pt x="838" y="8899"/>
                </a:lnTo>
                <a:lnTo>
                  <a:pt x="840" y="8899"/>
                </a:lnTo>
                <a:lnTo>
                  <a:pt x="838" y="8901"/>
                </a:lnTo>
                <a:lnTo>
                  <a:pt x="837" y="8902"/>
                </a:lnTo>
                <a:close/>
                <a:moveTo>
                  <a:pt x="878" y="8176"/>
                </a:moveTo>
                <a:lnTo>
                  <a:pt x="877" y="8174"/>
                </a:lnTo>
                <a:lnTo>
                  <a:pt x="878" y="8171"/>
                </a:lnTo>
                <a:lnTo>
                  <a:pt x="878" y="8169"/>
                </a:lnTo>
                <a:lnTo>
                  <a:pt x="880" y="8167"/>
                </a:lnTo>
                <a:lnTo>
                  <a:pt x="882" y="8170"/>
                </a:lnTo>
                <a:lnTo>
                  <a:pt x="882" y="8174"/>
                </a:lnTo>
                <a:lnTo>
                  <a:pt x="880" y="8176"/>
                </a:lnTo>
                <a:lnTo>
                  <a:pt x="878" y="8176"/>
                </a:lnTo>
                <a:close/>
                <a:moveTo>
                  <a:pt x="897" y="7890"/>
                </a:moveTo>
                <a:lnTo>
                  <a:pt x="897" y="7892"/>
                </a:lnTo>
                <a:lnTo>
                  <a:pt x="897" y="7898"/>
                </a:lnTo>
                <a:lnTo>
                  <a:pt x="894" y="7894"/>
                </a:lnTo>
                <a:lnTo>
                  <a:pt x="892" y="7889"/>
                </a:lnTo>
                <a:lnTo>
                  <a:pt x="893" y="7886"/>
                </a:lnTo>
                <a:lnTo>
                  <a:pt x="897" y="7890"/>
                </a:lnTo>
                <a:close/>
                <a:moveTo>
                  <a:pt x="906" y="8174"/>
                </a:moveTo>
                <a:lnTo>
                  <a:pt x="908" y="8178"/>
                </a:lnTo>
                <a:lnTo>
                  <a:pt x="910" y="8181"/>
                </a:lnTo>
                <a:lnTo>
                  <a:pt x="908" y="8187"/>
                </a:lnTo>
                <a:lnTo>
                  <a:pt x="905" y="8192"/>
                </a:lnTo>
                <a:lnTo>
                  <a:pt x="902" y="8185"/>
                </a:lnTo>
                <a:lnTo>
                  <a:pt x="900" y="8180"/>
                </a:lnTo>
                <a:lnTo>
                  <a:pt x="901" y="8176"/>
                </a:lnTo>
                <a:lnTo>
                  <a:pt x="906" y="8174"/>
                </a:lnTo>
                <a:close/>
                <a:moveTo>
                  <a:pt x="807" y="9086"/>
                </a:moveTo>
                <a:lnTo>
                  <a:pt x="809" y="9081"/>
                </a:lnTo>
                <a:lnTo>
                  <a:pt x="809" y="9084"/>
                </a:lnTo>
                <a:lnTo>
                  <a:pt x="810" y="9085"/>
                </a:lnTo>
                <a:lnTo>
                  <a:pt x="809" y="9086"/>
                </a:lnTo>
                <a:lnTo>
                  <a:pt x="807" y="9086"/>
                </a:lnTo>
                <a:close/>
                <a:moveTo>
                  <a:pt x="794" y="8663"/>
                </a:moveTo>
                <a:lnTo>
                  <a:pt x="794" y="8659"/>
                </a:lnTo>
                <a:lnTo>
                  <a:pt x="796" y="8660"/>
                </a:lnTo>
                <a:lnTo>
                  <a:pt x="796" y="8661"/>
                </a:lnTo>
                <a:lnTo>
                  <a:pt x="795" y="8663"/>
                </a:lnTo>
                <a:lnTo>
                  <a:pt x="794" y="8663"/>
                </a:lnTo>
                <a:close/>
                <a:moveTo>
                  <a:pt x="851" y="9211"/>
                </a:moveTo>
                <a:lnTo>
                  <a:pt x="841" y="9207"/>
                </a:lnTo>
                <a:lnTo>
                  <a:pt x="831" y="9205"/>
                </a:lnTo>
                <a:lnTo>
                  <a:pt x="822" y="9202"/>
                </a:lnTo>
                <a:lnTo>
                  <a:pt x="812" y="9200"/>
                </a:lnTo>
                <a:lnTo>
                  <a:pt x="823" y="9197"/>
                </a:lnTo>
                <a:lnTo>
                  <a:pt x="833" y="9198"/>
                </a:lnTo>
                <a:lnTo>
                  <a:pt x="842" y="9202"/>
                </a:lnTo>
                <a:lnTo>
                  <a:pt x="851" y="9211"/>
                </a:lnTo>
                <a:close/>
                <a:moveTo>
                  <a:pt x="780" y="9081"/>
                </a:moveTo>
                <a:lnTo>
                  <a:pt x="780" y="9079"/>
                </a:lnTo>
                <a:lnTo>
                  <a:pt x="780" y="9076"/>
                </a:lnTo>
                <a:lnTo>
                  <a:pt x="782" y="9075"/>
                </a:lnTo>
                <a:lnTo>
                  <a:pt x="784" y="9078"/>
                </a:lnTo>
                <a:lnTo>
                  <a:pt x="782" y="9081"/>
                </a:lnTo>
                <a:lnTo>
                  <a:pt x="780" y="9081"/>
                </a:lnTo>
                <a:close/>
                <a:moveTo>
                  <a:pt x="759" y="9000"/>
                </a:moveTo>
                <a:lnTo>
                  <a:pt x="752" y="8983"/>
                </a:lnTo>
                <a:lnTo>
                  <a:pt x="747" y="8967"/>
                </a:lnTo>
                <a:lnTo>
                  <a:pt x="749" y="8952"/>
                </a:lnTo>
                <a:lnTo>
                  <a:pt x="763" y="8935"/>
                </a:lnTo>
                <a:lnTo>
                  <a:pt x="766" y="8953"/>
                </a:lnTo>
                <a:lnTo>
                  <a:pt x="768" y="8969"/>
                </a:lnTo>
                <a:lnTo>
                  <a:pt x="767" y="8985"/>
                </a:lnTo>
                <a:lnTo>
                  <a:pt x="759" y="9000"/>
                </a:lnTo>
                <a:close/>
                <a:moveTo>
                  <a:pt x="749" y="9118"/>
                </a:moveTo>
                <a:lnTo>
                  <a:pt x="731" y="9117"/>
                </a:lnTo>
                <a:lnTo>
                  <a:pt x="712" y="9116"/>
                </a:lnTo>
                <a:lnTo>
                  <a:pt x="701" y="9109"/>
                </a:lnTo>
                <a:lnTo>
                  <a:pt x="706" y="9089"/>
                </a:lnTo>
                <a:lnTo>
                  <a:pt x="717" y="9097"/>
                </a:lnTo>
                <a:lnTo>
                  <a:pt x="731" y="9103"/>
                </a:lnTo>
                <a:lnTo>
                  <a:pt x="743" y="9109"/>
                </a:lnTo>
                <a:lnTo>
                  <a:pt x="749" y="9118"/>
                </a:lnTo>
                <a:close/>
                <a:moveTo>
                  <a:pt x="700" y="9244"/>
                </a:moveTo>
                <a:lnTo>
                  <a:pt x="695" y="9233"/>
                </a:lnTo>
                <a:lnTo>
                  <a:pt x="689" y="9223"/>
                </a:lnTo>
                <a:lnTo>
                  <a:pt x="689" y="9211"/>
                </a:lnTo>
                <a:lnTo>
                  <a:pt x="695" y="9200"/>
                </a:lnTo>
                <a:lnTo>
                  <a:pt x="711" y="9212"/>
                </a:lnTo>
                <a:lnTo>
                  <a:pt x="720" y="9224"/>
                </a:lnTo>
                <a:lnTo>
                  <a:pt x="717" y="9235"/>
                </a:lnTo>
                <a:lnTo>
                  <a:pt x="700" y="9244"/>
                </a:lnTo>
                <a:close/>
                <a:moveTo>
                  <a:pt x="681" y="9083"/>
                </a:moveTo>
                <a:lnTo>
                  <a:pt x="675" y="9076"/>
                </a:lnTo>
                <a:lnTo>
                  <a:pt x="674" y="9070"/>
                </a:lnTo>
                <a:lnTo>
                  <a:pt x="675" y="9062"/>
                </a:lnTo>
                <a:lnTo>
                  <a:pt x="678" y="9056"/>
                </a:lnTo>
                <a:lnTo>
                  <a:pt x="684" y="9058"/>
                </a:lnTo>
                <a:lnTo>
                  <a:pt x="687" y="9065"/>
                </a:lnTo>
                <a:lnTo>
                  <a:pt x="684" y="9075"/>
                </a:lnTo>
                <a:lnTo>
                  <a:pt x="681" y="9083"/>
                </a:lnTo>
                <a:close/>
                <a:moveTo>
                  <a:pt x="706" y="9039"/>
                </a:moveTo>
                <a:lnTo>
                  <a:pt x="712" y="9046"/>
                </a:lnTo>
                <a:lnTo>
                  <a:pt x="715" y="9055"/>
                </a:lnTo>
                <a:lnTo>
                  <a:pt x="712" y="9062"/>
                </a:lnTo>
                <a:lnTo>
                  <a:pt x="703" y="9064"/>
                </a:lnTo>
                <a:lnTo>
                  <a:pt x="692" y="9058"/>
                </a:lnTo>
                <a:lnTo>
                  <a:pt x="689" y="9048"/>
                </a:lnTo>
                <a:lnTo>
                  <a:pt x="695" y="9039"/>
                </a:lnTo>
                <a:lnTo>
                  <a:pt x="706" y="9039"/>
                </a:lnTo>
                <a:close/>
                <a:moveTo>
                  <a:pt x="712" y="8990"/>
                </a:moveTo>
                <a:lnTo>
                  <a:pt x="711" y="8992"/>
                </a:lnTo>
                <a:lnTo>
                  <a:pt x="710" y="8996"/>
                </a:lnTo>
                <a:lnTo>
                  <a:pt x="710" y="8992"/>
                </a:lnTo>
                <a:lnTo>
                  <a:pt x="710" y="8991"/>
                </a:lnTo>
                <a:lnTo>
                  <a:pt x="711" y="8990"/>
                </a:lnTo>
                <a:lnTo>
                  <a:pt x="712" y="8990"/>
                </a:lnTo>
                <a:close/>
                <a:moveTo>
                  <a:pt x="716" y="8459"/>
                </a:moveTo>
                <a:lnTo>
                  <a:pt x="716" y="8460"/>
                </a:lnTo>
                <a:lnTo>
                  <a:pt x="715" y="8460"/>
                </a:lnTo>
                <a:lnTo>
                  <a:pt x="714" y="8459"/>
                </a:lnTo>
                <a:lnTo>
                  <a:pt x="714" y="8458"/>
                </a:lnTo>
                <a:lnTo>
                  <a:pt x="716" y="8459"/>
                </a:lnTo>
                <a:close/>
                <a:moveTo>
                  <a:pt x="627" y="9211"/>
                </a:moveTo>
                <a:lnTo>
                  <a:pt x="622" y="9195"/>
                </a:lnTo>
                <a:lnTo>
                  <a:pt x="631" y="9187"/>
                </a:lnTo>
                <a:lnTo>
                  <a:pt x="645" y="9191"/>
                </a:lnTo>
                <a:lnTo>
                  <a:pt x="658" y="9210"/>
                </a:lnTo>
                <a:lnTo>
                  <a:pt x="640" y="9211"/>
                </a:lnTo>
                <a:lnTo>
                  <a:pt x="627" y="9211"/>
                </a:lnTo>
                <a:close/>
                <a:moveTo>
                  <a:pt x="619" y="9025"/>
                </a:moveTo>
                <a:lnTo>
                  <a:pt x="622" y="9029"/>
                </a:lnTo>
                <a:lnTo>
                  <a:pt x="619" y="9029"/>
                </a:lnTo>
                <a:lnTo>
                  <a:pt x="618" y="9028"/>
                </a:lnTo>
                <a:lnTo>
                  <a:pt x="619" y="9027"/>
                </a:lnTo>
                <a:lnTo>
                  <a:pt x="619" y="9025"/>
                </a:lnTo>
                <a:close/>
                <a:moveTo>
                  <a:pt x="638" y="8449"/>
                </a:moveTo>
                <a:lnTo>
                  <a:pt x="630" y="8453"/>
                </a:lnTo>
                <a:lnTo>
                  <a:pt x="621" y="8451"/>
                </a:lnTo>
                <a:lnTo>
                  <a:pt x="613" y="8449"/>
                </a:lnTo>
                <a:lnTo>
                  <a:pt x="605" y="8446"/>
                </a:lnTo>
                <a:lnTo>
                  <a:pt x="613" y="8442"/>
                </a:lnTo>
                <a:lnTo>
                  <a:pt x="622" y="8442"/>
                </a:lnTo>
                <a:lnTo>
                  <a:pt x="630" y="8445"/>
                </a:lnTo>
                <a:lnTo>
                  <a:pt x="638" y="8449"/>
                </a:lnTo>
                <a:close/>
                <a:moveTo>
                  <a:pt x="595" y="8446"/>
                </a:moveTo>
                <a:lnTo>
                  <a:pt x="593" y="8446"/>
                </a:lnTo>
                <a:lnTo>
                  <a:pt x="593" y="8446"/>
                </a:lnTo>
                <a:lnTo>
                  <a:pt x="594" y="8445"/>
                </a:lnTo>
                <a:lnTo>
                  <a:pt x="596" y="8445"/>
                </a:lnTo>
                <a:lnTo>
                  <a:pt x="600" y="8445"/>
                </a:lnTo>
                <a:lnTo>
                  <a:pt x="600" y="8446"/>
                </a:lnTo>
                <a:lnTo>
                  <a:pt x="599" y="8446"/>
                </a:lnTo>
                <a:lnTo>
                  <a:pt x="595" y="8446"/>
                </a:lnTo>
                <a:close/>
                <a:moveTo>
                  <a:pt x="589" y="9186"/>
                </a:moveTo>
                <a:lnTo>
                  <a:pt x="586" y="9182"/>
                </a:lnTo>
                <a:lnTo>
                  <a:pt x="585" y="9178"/>
                </a:lnTo>
                <a:lnTo>
                  <a:pt x="588" y="9176"/>
                </a:lnTo>
                <a:lnTo>
                  <a:pt x="594" y="9174"/>
                </a:lnTo>
                <a:lnTo>
                  <a:pt x="595" y="9179"/>
                </a:lnTo>
                <a:lnTo>
                  <a:pt x="595" y="9184"/>
                </a:lnTo>
                <a:lnTo>
                  <a:pt x="594" y="9188"/>
                </a:lnTo>
                <a:lnTo>
                  <a:pt x="589" y="9186"/>
                </a:lnTo>
                <a:close/>
                <a:moveTo>
                  <a:pt x="574" y="9240"/>
                </a:moveTo>
                <a:lnTo>
                  <a:pt x="575" y="9235"/>
                </a:lnTo>
                <a:lnTo>
                  <a:pt x="576" y="9238"/>
                </a:lnTo>
                <a:lnTo>
                  <a:pt x="577" y="9239"/>
                </a:lnTo>
                <a:lnTo>
                  <a:pt x="576" y="9240"/>
                </a:lnTo>
                <a:lnTo>
                  <a:pt x="574" y="9240"/>
                </a:lnTo>
                <a:close/>
                <a:moveTo>
                  <a:pt x="518" y="9261"/>
                </a:moveTo>
                <a:lnTo>
                  <a:pt x="514" y="9246"/>
                </a:lnTo>
                <a:lnTo>
                  <a:pt x="512" y="9232"/>
                </a:lnTo>
                <a:lnTo>
                  <a:pt x="516" y="9221"/>
                </a:lnTo>
                <a:lnTo>
                  <a:pt x="528" y="9216"/>
                </a:lnTo>
                <a:lnTo>
                  <a:pt x="534" y="9228"/>
                </a:lnTo>
                <a:lnTo>
                  <a:pt x="534" y="9238"/>
                </a:lnTo>
                <a:lnTo>
                  <a:pt x="528" y="9248"/>
                </a:lnTo>
                <a:lnTo>
                  <a:pt x="518" y="9261"/>
                </a:lnTo>
                <a:close/>
                <a:moveTo>
                  <a:pt x="441" y="8927"/>
                </a:moveTo>
                <a:lnTo>
                  <a:pt x="439" y="8927"/>
                </a:lnTo>
                <a:lnTo>
                  <a:pt x="437" y="8927"/>
                </a:lnTo>
                <a:lnTo>
                  <a:pt x="436" y="8925"/>
                </a:lnTo>
                <a:lnTo>
                  <a:pt x="436" y="8924"/>
                </a:lnTo>
                <a:lnTo>
                  <a:pt x="439" y="8922"/>
                </a:lnTo>
                <a:lnTo>
                  <a:pt x="441" y="8924"/>
                </a:lnTo>
                <a:lnTo>
                  <a:pt x="441" y="8925"/>
                </a:lnTo>
                <a:lnTo>
                  <a:pt x="441" y="8927"/>
                </a:lnTo>
                <a:close/>
                <a:moveTo>
                  <a:pt x="388" y="8400"/>
                </a:moveTo>
                <a:lnTo>
                  <a:pt x="388" y="8400"/>
                </a:lnTo>
                <a:lnTo>
                  <a:pt x="391" y="8400"/>
                </a:lnTo>
                <a:lnTo>
                  <a:pt x="389" y="8402"/>
                </a:lnTo>
                <a:lnTo>
                  <a:pt x="388" y="8400"/>
                </a:lnTo>
                <a:close/>
                <a:moveTo>
                  <a:pt x="379" y="8403"/>
                </a:moveTo>
                <a:lnTo>
                  <a:pt x="381" y="8402"/>
                </a:lnTo>
                <a:lnTo>
                  <a:pt x="379" y="8403"/>
                </a:lnTo>
                <a:lnTo>
                  <a:pt x="380" y="8402"/>
                </a:lnTo>
                <a:lnTo>
                  <a:pt x="379" y="8403"/>
                </a:lnTo>
                <a:close/>
                <a:moveTo>
                  <a:pt x="781" y="8034"/>
                </a:moveTo>
                <a:lnTo>
                  <a:pt x="780" y="8031"/>
                </a:lnTo>
                <a:lnTo>
                  <a:pt x="779" y="8027"/>
                </a:lnTo>
                <a:lnTo>
                  <a:pt x="781" y="8029"/>
                </a:lnTo>
                <a:lnTo>
                  <a:pt x="782" y="8030"/>
                </a:lnTo>
                <a:lnTo>
                  <a:pt x="782" y="8031"/>
                </a:lnTo>
                <a:lnTo>
                  <a:pt x="781" y="8034"/>
                </a:lnTo>
                <a:close/>
                <a:moveTo>
                  <a:pt x="919" y="7623"/>
                </a:moveTo>
                <a:lnTo>
                  <a:pt x="915" y="7621"/>
                </a:lnTo>
                <a:lnTo>
                  <a:pt x="910" y="7619"/>
                </a:lnTo>
                <a:lnTo>
                  <a:pt x="908" y="7616"/>
                </a:lnTo>
                <a:lnTo>
                  <a:pt x="910" y="7614"/>
                </a:lnTo>
                <a:lnTo>
                  <a:pt x="914" y="7615"/>
                </a:lnTo>
                <a:lnTo>
                  <a:pt x="917" y="7616"/>
                </a:lnTo>
                <a:lnTo>
                  <a:pt x="920" y="7619"/>
                </a:lnTo>
                <a:lnTo>
                  <a:pt x="919" y="7623"/>
                </a:lnTo>
                <a:close/>
                <a:moveTo>
                  <a:pt x="907" y="7546"/>
                </a:moveTo>
                <a:lnTo>
                  <a:pt x="905" y="7545"/>
                </a:lnTo>
                <a:lnTo>
                  <a:pt x="903" y="7542"/>
                </a:lnTo>
                <a:lnTo>
                  <a:pt x="903" y="7539"/>
                </a:lnTo>
                <a:lnTo>
                  <a:pt x="905" y="7536"/>
                </a:lnTo>
                <a:lnTo>
                  <a:pt x="908" y="7537"/>
                </a:lnTo>
                <a:lnTo>
                  <a:pt x="910" y="7540"/>
                </a:lnTo>
                <a:lnTo>
                  <a:pt x="910" y="7542"/>
                </a:lnTo>
                <a:lnTo>
                  <a:pt x="907" y="7546"/>
                </a:lnTo>
                <a:close/>
                <a:moveTo>
                  <a:pt x="1050" y="7213"/>
                </a:moveTo>
                <a:lnTo>
                  <a:pt x="1046" y="7210"/>
                </a:lnTo>
                <a:lnTo>
                  <a:pt x="1042" y="7206"/>
                </a:lnTo>
                <a:lnTo>
                  <a:pt x="1038" y="7201"/>
                </a:lnTo>
                <a:lnTo>
                  <a:pt x="1036" y="7195"/>
                </a:lnTo>
                <a:lnTo>
                  <a:pt x="1050" y="7195"/>
                </a:lnTo>
                <a:lnTo>
                  <a:pt x="1060" y="7201"/>
                </a:lnTo>
                <a:lnTo>
                  <a:pt x="1063" y="7208"/>
                </a:lnTo>
                <a:lnTo>
                  <a:pt x="1050" y="7213"/>
                </a:lnTo>
                <a:close/>
                <a:moveTo>
                  <a:pt x="980" y="7192"/>
                </a:moveTo>
                <a:lnTo>
                  <a:pt x="996" y="7203"/>
                </a:lnTo>
                <a:lnTo>
                  <a:pt x="1014" y="7213"/>
                </a:lnTo>
                <a:lnTo>
                  <a:pt x="994" y="7220"/>
                </a:lnTo>
                <a:lnTo>
                  <a:pt x="984" y="7220"/>
                </a:lnTo>
                <a:lnTo>
                  <a:pt x="980" y="7213"/>
                </a:lnTo>
                <a:lnTo>
                  <a:pt x="980" y="7192"/>
                </a:lnTo>
                <a:close/>
                <a:moveTo>
                  <a:pt x="935" y="7141"/>
                </a:moveTo>
                <a:lnTo>
                  <a:pt x="954" y="7140"/>
                </a:lnTo>
                <a:lnTo>
                  <a:pt x="966" y="7140"/>
                </a:lnTo>
                <a:lnTo>
                  <a:pt x="961" y="7150"/>
                </a:lnTo>
                <a:lnTo>
                  <a:pt x="954" y="7153"/>
                </a:lnTo>
                <a:lnTo>
                  <a:pt x="945" y="7149"/>
                </a:lnTo>
                <a:lnTo>
                  <a:pt x="935" y="7141"/>
                </a:lnTo>
                <a:close/>
                <a:moveTo>
                  <a:pt x="1116" y="6945"/>
                </a:moveTo>
                <a:lnTo>
                  <a:pt x="1117" y="6943"/>
                </a:lnTo>
                <a:lnTo>
                  <a:pt x="1116" y="6945"/>
                </a:lnTo>
                <a:lnTo>
                  <a:pt x="1114" y="6943"/>
                </a:lnTo>
                <a:lnTo>
                  <a:pt x="1116" y="6945"/>
                </a:lnTo>
                <a:close/>
                <a:moveTo>
                  <a:pt x="1101" y="6975"/>
                </a:moveTo>
                <a:lnTo>
                  <a:pt x="1097" y="6971"/>
                </a:lnTo>
                <a:lnTo>
                  <a:pt x="1094" y="6968"/>
                </a:lnTo>
                <a:lnTo>
                  <a:pt x="1094" y="6967"/>
                </a:lnTo>
                <a:lnTo>
                  <a:pt x="1101" y="6966"/>
                </a:lnTo>
                <a:lnTo>
                  <a:pt x="1102" y="6970"/>
                </a:lnTo>
                <a:lnTo>
                  <a:pt x="1105" y="6972"/>
                </a:lnTo>
                <a:lnTo>
                  <a:pt x="1106" y="6973"/>
                </a:lnTo>
                <a:lnTo>
                  <a:pt x="1101" y="6975"/>
                </a:lnTo>
                <a:close/>
                <a:moveTo>
                  <a:pt x="1017" y="4159"/>
                </a:moveTo>
                <a:lnTo>
                  <a:pt x="1012" y="4156"/>
                </a:lnTo>
                <a:lnTo>
                  <a:pt x="1009" y="4155"/>
                </a:lnTo>
                <a:lnTo>
                  <a:pt x="1014" y="4141"/>
                </a:lnTo>
                <a:lnTo>
                  <a:pt x="1019" y="4139"/>
                </a:lnTo>
                <a:lnTo>
                  <a:pt x="1022" y="4146"/>
                </a:lnTo>
                <a:lnTo>
                  <a:pt x="1017" y="4159"/>
                </a:lnTo>
                <a:close/>
                <a:moveTo>
                  <a:pt x="995" y="6860"/>
                </a:moveTo>
                <a:lnTo>
                  <a:pt x="989" y="6859"/>
                </a:lnTo>
                <a:lnTo>
                  <a:pt x="984" y="6856"/>
                </a:lnTo>
                <a:lnTo>
                  <a:pt x="979" y="6852"/>
                </a:lnTo>
                <a:lnTo>
                  <a:pt x="975" y="6849"/>
                </a:lnTo>
                <a:lnTo>
                  <a:pt x="984" y="6850"/>
                </a:lnTo>
                <a:lnTo>
                  <a:pt x="995" y="6852"/>
                </a:lnTo>
                <a:lnTo>
                  <a:pt x="1000" y="6855"/>
                </a:lnTo>
                <a:lnTo>
                  <a:pt x="995" y="6860"/>
                </a:lnTo>
                <a:close/>
                <a:moveTo>
                  <a:pt x="958" y="6733"/>
                </a:moveTo>
                <a:lnTo>
                  <a:pt x="954" y="6720"/>
                </a:lnTo>
                <a:lnTo>
                  <a:pt x="959" y="6712"/>
                </a:lnTo>
                <a:lnTo>
                  <a:pt x="970" y="6715"/>
                </a:lnTo>
                <a:lnTo>
                  <a:pt x="977" y="6728"/>
                </a:lnTo>
                <a:lnTo>
                  <a:pt x="965" y="6732"/>
                </a:lnTo>
                <a:lnTo>
                  <a:pt x="958" y="6733"/>
                </a:lnTo>
                <a:close/>
                <a:moveTo>
                  <a:pt x="973" y="5695"/>
                </a:moveTo>
                <a:lnTo>
                  <a:pt x="976" y="5698"/>
                </a:lnTo>
                <a:lnTo>
                  <a:pt x="981" y="5706"/>
                </a:lnTo>
                <a:lnTo>
                  <a:pt x="970" y="5708"/>
                </a:lnTo>
                <a:lnTo>
                  <a:pt x="963" y="5704"/>
                </a:lnTo>
                <a:lnTo>
                  <a:pt x="965" y="5699"/>
                </a:lnTo>
                <a:lnTo>
                  <a:pt x="973" y="5695"/>
                </a:lnTo>
                <a:close/>
                <a:moveTo>
                  <a:pt x="998" y="6827"/>
                </a:moveTo>
                <a:lnTo>
                  <a:pt x="999" y="6828"/>
                </a:lnTo>
                <a:lnTo>
                  <a:pt x="1000" y="6830"/>
                </a:lnTo>
                <a:lnTo>
                  <a:pt x="998" y="6828"/>
                </a:lnTo>
                <a:lnTo>
                  <a:pt x="998" y="6827"/>
                </a:lnTo>
                <a:close/>
                <a:moveTo>
                  <a:pt x="931" y="6728"/>
                </a:moveTo>
                <a:lnTo>
                  <a:pt x="925" y="6724"/>
                </a:lnTo>
                <a:lnTo>
                  <a:pt x="925" y="6719"/>
                </a:lnTo>
                <a:lnTo>
                  <a:pt x="930" y="6718"/>
                </a:lnTo>
                <a:lnTo>
                  <a:pt x="936" y="6720"/>
                </a:lnTo>
                <a:lnTo>
                  <a:pt x="933" y="6725"/>
                </a:lnTo>
                <a:lnTo>
                  <a:pt x="931" y="6728"/>
                </a:lnTo>
                <a:close/>
                <a:moveTo>
                  <a:pt x="921" y="6822"/>
                </a:moveTo>
                <a:lnTo>
                  <a:pt x="920" y="6819"/>
                </a:lnTo>
                <a:lnTo>
                  <a:pt x="921" y="6818"/>
                </a:lnTo>
                <a:lnTo>
                  <a:pt x="922" y="6817"/>
                </a:lnTo>
                <a:lnTo>
                  <a:pt x="925" y="6816"/>
                </a:lnTo>
                <a:lnTo>
                  <a:pt x="922" y="6818"/>
                </a:lnTo>
                <a:lnTo>
                  <a:pt x="921" y="6822"/>
                </a:lnTo>
                <a:close/>
                <a:moveTo>
                  <a:pt x="869" y="6729"/>
                </a:moveTo>
                <a:lnTo>
                  <a:pt x="873" y="6720"/>
                </a:lnTo>
                <a:lnTo>
                  <a:pt x="884" y="6719"/>
                </a:lnTo>
                <a:lnTo>
                  <a:pt x="897" y="6720"/>
                </a:lnTo>
                <a:lnTo>
                  <a:pt x="910" y="6720"/>
                </a:lnTo>
                <a:lnTo>
                  <a:pt x="900" y="6738"/>
                </a:lnTo>
                <a:lnTo>
                  <a:pt x="892" y="6744"/>
                </a:lnTo>
                <a:lnTo>
                  <a:pt x="883" y="6740"/>
                </a:lnTo>
                <a:lnTo>
                  <a:pt x="869" y="6729"/>
                </a:lnTo>
                <a:close/>
                <a:moveTo>
                  <a:pt x="889" y="6816"/>
                </a:moveTo>
                <a:lnTo>
                  <a:pt x="826" y="6808"/>
                </a:lnTo>
                <a:lnTo>
                  <a:pt x="809" y="6814"/>
                </a:lnTo>
                <a:lnTo>
                  <a:pt x="804" y="6818"/>
                </a:lnTo>
                <a:lnTo>
                  <a:pt x="771" y="6803"/>
                </a:lnTo>
                <a:lnTo>
                  <a:pt x="681" y="6746"/>
                </a:lnTo>
                <a:lnTo>
                  <a:pt x="740" y="6738"/>
                </a:lnTo>
                <a:lnTo>
                  <a:pt x="845" y="6766"/>
                </a:lnTo>
                <a:lnTo>
                  <a:pt x="889" y="6816"/>
                </a:lnTo>
                <a:close/>
                <a:moveTo>
                  <a:pt x="641" y="6436"/>
                </a:moveTo>
                <a:lnTo>
                  <a:pt x="647" y="6422"/>
                </a:lnTo>
                <a:lnTo>
                  <a:pt x="660" y="6421"/>
                </a:lnTo>
                <a:lnTo>
                  <a:pt x="670" y="6430"/>
                </a:lnTo>
                <a:lnTo>
                  <a:pt x="675" y="6446"/>
                </a:lnTo>
                <a:lnTo>
                  <a:pt x="664" y="6450"/>
                </a:lnTo>
                <a:lnTo>
                  <a:pt x="654" y="6450"/>
                </a:lnTo>
                <a:lnTo>
                  <a:pt x="647" y="6445"/>
                </a:lnTo>
                <a:lnTo>
                  <a:pt x="641" y="6436"/>
                </a:lnTo>
                <a:close/>
                <a:moveTo>
                  <a:pt x="821" y="6698"/>
                </a:moveTo>
                <a:lnTo>
                  <a:pt x="817" y="6701"/>
                </a:lnTo>
                <a:lnTo>
                  <a:pt x="814" y="6701"/>
                </a:lnTo>
                <a:lnTo>
                  <a:pt x="812" y="6700"/>
                </a:lnTo>
                <a:lnTo>
                  <a:pt x="808" y="6697"/>
                </a:lnTo>
                <a:lnTo>
                  <a:pt x="814" y="6697"/>
                </a:lnTo>
                <a:lnTo>
                  <a:pt x="821" y="6698"/>
                </a:lnTo>
                <a:close/>
                <a:moveTo>
                  <a:pt x="791" y="6482"/>
                </a:moveTo>
                <a:lnTo>
                  <a:pt x="780" y="6490"/>
                </a:lnTo>
                <a:lnTo>
                  <a:pt x="775" y="6495"/>
                </a:lnTo>
                <a:lnTo>
                  <a:pt x="779" y="6499"/>
                </a:lnTo>
                <a:lnTo>
                  <a:pt x="794" y="6505"/>
                </a:lnTo>
                <a:lnTo>
                  <a:pt x="803" y="6556"/>
                </a:lnTo>
                <a:lnTo>
                  <a:pt x="782" y="6548"/>
                </a:lnTo>
                <a:lnTo>
                  <a:pt x="768" y="6514"/>
                </a:lnTo>
                <a:lnTo>
                  <a:pt x="791" y="6482"/>
                </a:lnTo>
                <a:close/>
                <a:moveTo>
                  <a:pt x="570" y="6742"/>
                </a:moveTo>
                <a:lnTo>
                  <a:pt x="572" y="6732"/>
                </a:lnTo>
                <a:lnTo>
                  <a:pt x="576" y="6724"/>
                </a:lnTo>
                <a:lnTo>
                  <a:pt x="581" y="6718"/>
                </a:lnTo>
                <a:lnTo>
                  <a:pt x="591" y="6710"/>
                </a:lnTo>
                <a:lnTo>
                  <a:pt x="594" y="6725"/>
                </a:lnTo>
                <a:lnTo>
                  <a:pt x="591" y="6735"/>
                </a:lnTo>
                <a:lnTo>
                  <a:pt x="582" y="6740"/>
                </a:lnTo>
                <a:lnTo>
                  <a:pt x="570" y="6742"/>
                </a:lnTo>
                <a:close/>
                <a:moveTo>
                  <a:pt x="533" y="6728"/>
                </a:moveTo>
                <a:lnTo>
                  <a:pt x="526" y="6728"/>
                </a:lnTo>
                <a:lnTo>
                  <a:pt x="520" y="6729"/>
                </a:lnTo>
                <a:lnTo>
                  <a:pt x="518" y="6726"/>
                </a:lnTo>
                <a:lnTo>
                  <a:pt x="519" y="6719"/>
                </a:lnTo>
                <a:lnTo>
                  <a:pt x="524" y="6720"/>
                </a:lnTo>
                <a:lnTo>
                  <a:pt x="529" y="6720"/>
                </a:lnTo>
                <a:lnTo>
                  <a:pt x="533" y="6723"/>
                </a:lnTo>
                <a:lnTo>
                  <a:pt x="533" y="6728"/>
                </a:lnTo>
                <a:close/>
                <a:moveTo>
                  <a:pt x="425" y="6705"/>
                </a:moveTo>
                <a:lnTo>
                  <a:pt x="433" y="6688"/>
                </a:lnTo>
                <a:lnTo>
                  <a:pt x="440" y="6683"/>
                </a:lnTo>
                <a:lnTo>
                  <a:pt x="446" y="6686"/>
                </a:lnTo>
                <a:lnTo>
                  <a:pt x="456" y="6698"/>
                </a:lnTo>
                <a:lnTo>
                  <a:pt x="439" y="6702"/>
                </a:lnTo>
                <a:lnTo>
                  <a:pt x="425" y="6705"/>
                </a:lnTo>
                <a:close/>
                <a:moveTo>
                  <a:pt x="431" y="6744"/>
                </a:moveTo>
                <a:lnTo>
                  <a:pt x="430" y="6737"/>
                </a:lnTo>
                <a:lnTo>
                  <a:pt x="433" y="6733"/>
                </a:lnTo>
                <a:lnTo>
                  <a:pt x="440" y="6730"/>
                </a:lnTo>
                <a:lnTo>
                  <a:pt x="449" y="6730"/>
                </a:lnTo>
                <a:lnTo>
                  <a:pt x="450" y="6737"/>
                </a:lnTo>
                <a:lnTo>
                  <a:pt x="446" y="6740"/>
                </a:lnTo>
                <a:lnTo>
                  <a:pt x="439" y="6743"/>
                </a:lnTo>
                <a:lnTo>
                  <a:pt x="431" y="6744"/>
                </a:lnTo>
                <a:close/>
                <a:moveTo>
                  <a:pt x="329" y="6667"/>
                </a:moveTo>
                <a:lnTo>
                  <a:pt x="320" y="6667"/>
                </a:lnTo>
                <a:lnTo>
                  <a:pt x="312" y="6665"/>
                </a:lnTo>
                <a:lnTo>
                  <a:pt x="307" y="6663"/>
                </a:lnTo>
                <a:lnTo>
                  <a:pt x="307" y="6655"/>
                </a:lnTo>
                <a:lnTo>
                  <a:pt x="315" y="6656"/>
                </a:lnTo>
                <a:lnTo>
                  <a:pt x="323" y="6658"/>
                </a:lnTo>
                <a:lnTo>
                  <a:pt x="329" y="6660"/>
                </a:lnTo>
                <a:lnTo>
                  <a:pt x="329" y="6667"/>
                </a:lnTo>
                <a:close/>
                <a:moveTo>
                  <a:pt x="228" y="6688"/>
                </a:moveTo>
                <a:lnTo>
                  <a:pt x="218" y="6679"/>
                </a:lnTo>
                <a:lnTo>
                  <a:pt x="217" y="6672"/>
                </a:lnTo>
                <a:lnTo>
                  <a:pt x="223" y="6672"/>
                </a:lnTo>
                <a:lnTo>
                  <a:pt x="234" y="6683"/>
                </a:lnTo>
                <a:lnTo>
                  <a:pt x="231" y="6686"/>
                </a:lnTo>
                <a:lnTo>
                  <a:pt x="228" y="6688"/>
                </a:lnTo>
                <a:close/>
                <a:moveTo>
                  <a:pt x="149" y="6684"/>
                </a:moveTo>
                <a:lnTo>
                  <a:pt x="158" y="6684"/>
                </a:lnTo>
                <a:lnTo>
                  <a:pt x="167" y="6684"/>
                </a:lnTo>
                <a:lnTo>
                  <a:pt x="177" y="6684"/>
                </a:lnTo>
                <a:lnTo>
                  <a:pt x="188" y="6684"/>
                </a:lnTo>
                <a:lnTo>
                  <a:pt x="176" y="6702"/>
                </a:lnTo>
                <a:lnTo>
                  <a:pt x="169" y="6709"/>
                </a:lnTo>
                <a:lnTo>
                  <a:pt x="161" y="6702"/>
                </a:lnTo>
                <a:lnTo>
                  <a:pt x="149" y="6684"/>
                </a:lnTo>
                <a:close/>
                <a:moveTo>
                  <a:pt x="1568" y="2695"/>
                </a:moveTo>
                <a:lnTo>
                  <a:pt x="1561" y="2690"/>
                </a:lnTo>
                <a:lnTo>
                  <a:pt x="1554" y="2686"/>
                </a:lnTo>
                <a:lnTo>
                  <a:pt x="1563" y="2684"/>
                </a:lnTo>
                <a:lnTo>
                  <a:pt x="1573" y="2685"/>
                </a:lnTo>
                <a:lnTo>
                  <a:pt x="1578" y="2690"/>
                </a:lnTo>
                <a:lnTo>
                  <a:pt x="1568" y="2695"/>
                </a:lnTo>
                <a:close/>
                <a:moveTo>
                  <a:pt x="1592" y="2479"/>
                </a:moveTo>
                <a:lnTo>
                  <a:pt x="1591" y="2470"/>
                </a:lnTo>
                <a:lnTo>
                  <a:pt x="1592" y="2463"/>
                </a:lnTo>
                <a:lnTo>
                  <a:pt x="1597" y="2458"/>
                </a:lnTo>
                <a:lnTo>
                  <a:pt x="1606" y="2460"/>
                </a:lnTo>
                <a:lnTo>
                  <a:pt x="1608" y="2470"/>
                </a:lnTo>
                <a:lnTo>
                  <a:pt x="1606" y="2477"/>
                </a:lnTo>
                <a:lnTo>
                  <a:pt x="1603" y="2481"/>
                </a:lnTo>
                <a:lnTo>
                  <a:pt x="1592" y="2479"/>
                </a:lnTo>
                <a:close/>
                <a:moveTo>
                  <a:pt x="2457" y="852"/>
                </a:moveTo>
                <a:lnTo>
                  <a:pt x="2458" y="853"/>
                </a:lnTo>
                <a:lnTo>
                  <a:pt x="2460" y="854"/>
                </a:lnTo>
                <a:lnTo>
                  <a:pt x="2460" y="856"/>
                </a:lnTo>
                <a:lnTo>
                  <a:pt x="2458" y="857"/>
                </a:lnTo>
                <a:lnTo>
                  <a:pt x="2457" y="857"/>
                </a:lnTo>
                <a:lnTo>
                  <a:pt x="2456" y="856"/>
                </a:lnTo>
                <a:lnTo>
                  <a:pt x="2456" y="853"/>
                </a:lnTo>
                <a:lnTo>
                  <a:pt x="2457" y="852"/>
                </a:lnTo>
                <a:close/>
                <a:moveTo>
                  <a:pt x="11611" y="1878"/>
                </a:moveTo>
                <a:lnTo>
                  <a:pt x="11612" y="1878"/>
                </a:lnTo>
                <a:lnTo>
                  <a:pt x="11614" y="1879"/>
                </a:lnTo>
                <a:lnTo>
                  <a:pt x="11615" y="1880"/>
                </a:lnTo>
                <a:lnTo>
                  <a:pt x="11615" y="1882"/>
                </a:lnTo>
                <a:lnTo>
                  <a:pt x="11612" y="1883"/>
                </a:lnTo>
                <a:lnTo>
                  <a:pt x="11611" y="1882"/>
                </a:lnTo>
                <a:lnTo>
                  <a:pt x="11610" y="1880"/>
                </a:lnTo>
                <a:lnTo>
                  <a:pt x="11611" y="1878"/>
                </a:lnTo>
                <a:close/>
                <a:moveTo>
                  <a:pt x="11732" y="1942"/>
                </a:moveTo>
                <a:lnTo>
                  <a:pt x="11733" y="1942"/>
                </a:lnTo>
                <a:lnTo>
                  <a:pt x="11735" y="1943"/>
                </a:lnTo>
                <a:lnTo>
                  <a:pt x="11736" y="1944"/>
                </a:lnTo>
                <a:lnTo>
                  <a:pt x="11735" y="1945"/>
                </a:lnTo>
                <a:lnTo>
                  <a:pt x="11732" y="1944"/>
                </a:lnTo>
                <a:lnTo>
                  <a:pt x="11731" y="1944"/>
                </a:lnTo>
                <a:lnTo>
                  <a:pt x="11731" y="1943"/>
                </a:lnTo>
                <a:lnTo>
                  <a:pt x="11732" y="1942"/>
                </a:lnTo>
                <a:close/>
                <a:moveTo>
                  <a:pt x="12429" y="2745"/>
                </a:moveTo>
                <a:lnTo>
                  <a:pt x="12431" y="2749"/>
                </a:lnTo>
                <a:lnTo>
                  <a:pt x="12434" y="2756"/>
                </a:lnTo>
                <a:lnTo>
                  <a:pt x="12422" y="2758"/>
                </a:lnTo>
                <a:lnTo>
                  <a:pt x="12417" y="2754"/>
                </a:lnTo>
                <a:lnTo>
                  <a:pt x="12418" y="2749"/>
                </a:lnTo>
                <a:lnTo>
                  <a:pt x="12429" y="2745"/>
                </a:lnTo>
                <a:close/>
                <a:moveTo>
                  <a:pt x="12483" y="2672"/>
                </a:moveTo>
                <a:lnTo>
                  <a:pt x="12496" y="2687"/>
                </a:lnTo>
                <a:lnTo>
                  <a:pt x="12510" y="2700"/>
                </a:lnTo>
                <a:lnTo>
                  <a:pt x="12520" y="2713"/>
                </a:lnTo>
                <a:lnTo>
                  <a:pt x="12522" y="2726"/>
                </a:lnTo>
                <a:lnTo>
                  <a:pt x="12496" y="2719"/>
                </a:lnTo>
                <a:lnTo>
                  <a:pt x="12476" y="2712"/>
                </a:lnTo>
                <a:lnTo>
                  <a:pt x="12469" y="2698"/>
                </a:lnTo>
                <a:lnTo>
                  <a:pt x="12483" y="2672"/>
                </a:lnTo>
                <a:close/>
                <a:moveTo>
                  <a:pt x="12431" y="2920"/>
                </a:moveTo>
                <a:lnTo>
                  <a:pt x="12434" y="2924"/>
                </a:lnTo>
                <a:lnTo>
                  <a:pt x="12434" y="2927"/>
                </a:lnTo>
                <a:lnTo>
                  <a:pt x="12432" y="2929"/>
                </a:lnTo>
                <a:lnTo>
                  <a:pt x="12429" y="2931"/>
                </a:lnTo>
                <a:lnTo>
                  <a:pt x="12426" y="2928"/>
                </a:lnTo>
                <a:lnTo>
                  <a:pt x="12426" y="2926"/>
                </a:lnTo>
                <a:lnTo>
                  <a:pt x="12429" y="2923"/>
                </a:lnTo>
                <a:lnTo>
                  <a:pt x="12431" y="2920"/>
                </a:lnTo>
                <a:close/>
                <a:moveTo>
                  <a:pt x="235" y="6892"/>
                </a:moveTo>
                <a:lnTo>
                  <a:pt x="237" y="6898"/>
                </a:lnTo>
                <a:lnTo>
                  <a:pt x="240" y="6900"/>
                </a:lnTo>
                <a:lnTo>
                  <a:pt x="244" y="6897"/>
                </a:lnTo>
                <a:lnTo>
                  <a:pt x="249" y="6893"/>
                </a:lnTo>
                <a:lnTo>
                  <a:pt x="245" y="6891"/>
                </a:lnTo>
                <a:lnTo>
                  <a:pt x="241" y="6888"/>
                </a:lnTo>
                <a:lnTo>
                  <a:pt x="237" y="6889"/>
                </a:lnTo>
                <a:lnTo>
                  <a:pt x="235" y="6892"/>
                </a:lnTo>
                <a:close/>
                <a:moveTo>
                  <a:pt x="996" y="7064"/>
                </a:moveTo>
                <a:lnTo>
                  <a:pt x="1003" y="7063"/>
                </a:lnTo>
                <a:lnTo>
                  <a:pt x="1009" y="7063"/>
                </a:lnTo>
                <a:lnTo>
                  <a:pt x="1014" y="7061"/>
                </a:lnTo>
                <a:lnTo>
                  <a:pt x="1015" y="7056"/>
                </a:lnTo>
                <a:lnTo>
                  <a:pt x="1009" y="7056"/>
                </a:lnTo>
                <a:lnTo>
                  <a:pt x="1003" y="7056"/>
                </a:lnTo>
                <a:lnTo>
                  <a:pt x="998" y="7059"/>
                </a:lnTo>
                <a:lnTo>
                  <a:pt x="996" y="7064"/>
                </a:lnTo>
                <a:close/>
                <a:moveTo>
                  <a:pt x="593" y="6842"/>
                </a:moveTo>
                <a:lnTo>
                  <a:pt x="584" y="6835"/>
                </a:lnTo>
                <a:lnTo>
                  <a:pt x="574" y="6826"/>
                </a:lnTo>
                <a:lnTo>
                  <a:pt x="572" y="6838"/>
                </a:lnTo>
                <a:lnTo>
                  <a:pt x="576" y="6845"/>
                </a:lnTo>
                <a:lnTo>
                  <a:pt x="582" y="6846"/>
                </a:lnTo>
                <a:lnTo>
                  <a:pt x="593" y="6842"/>
                </a:lnTo>
                <a:close/>
                <a:moveTo>
                  <a:pt x="477" y="6879"/>
                </a:moveTo>
                <a:lnTo>
                  <a:pt x="472" y="6886"/>
                </a:lnTo>
                <a:lnTo>
                  <a:pt x="475" y="6891"/>
                </a:lnTo>
                <a:lnTo>
                  <a:pt x="486" y="6894"/>
                </a:lnTo>
                <a:lnTo>
                  <a:pt x="496" y="6897"/>
                </a:lnTo>
                <a:lnTo>
                  <a:pt x="495" y="6887"/>
                </a:lnTo>
                <a:lnTo>
                  <a:pt x="491" y="6880"/>
                </a:lnTo>
                <a:lnTo>
                  <a:pt x="484" y="6878"/>
                </a:lnTo>
                <a:lnTo>
                  <a:pt x="477" y="6879"/>
                </a:lnTo>
                <a:close/>
                <a:moveTo>
                  <a:pt x="754" y="6869"/>
                </a:moveTo>
                <a:lnTo>
                  <a:pt x="767" y="6866"/>
                </a:lnTo>
                <a:lnTo>
                  <a:pt x="754" y="6865"/>
                </a:lnTo>
                <a:lnTo>
                  <a:pt x="729" y="6866"/>
                </a:lnTo>
                <a:lnTo>
                  <a:pt x="706" y="6872"/>
                </a:lnTo>
                <a:lnTo>
                  <a:pt x="723" y="6882"/>
                </a:lnTo>
                <a:lnTo>
                  <a:pt x="734" y="6884"/>
                </a:lnTo>
                <a:lnTo>
                  <a:pt x="743" y="6880"/>
                </a:lnTo>
                <a:lnTo>
                  <a:pt x="754" y="6869"/>
                </a:lnTo>
                <a:close/>
                <a:moveTo>
                  <a:pt x="393" y="6900"/>
                </a:moveTo>
                <a:lnTo>
                  <a:pt x="403" y="6866"/>
                </a:lnTo>
                <a:lnTo>
                  <a:pt x="390" y="6866"/>
                </a:lnTo>
                <a:lnTo>
                  <a:pt x="366" y="6886"/>
                </a:lnTo>
                <a:lnTo>
                  <a:pt x="343" y="6914"/>
                </a:lnTo>
                <a:lnTo>
                  <a:pt x="358" y="6916"/>
                </a:lnTo>
                <a:lnTo>
                  <a:pt x="374" y="6914"/>
                </a:lnTo>
                <a:lnTo>
                  <a:pt x="386" y="6909"/>
                </a:lnTo>
                <a:lnTo>
                  <a:pt x="393" y="6900"/>
                </a:lnTo>
                <a:close/>
                <a:moveTo>
                  <a:pt x="632" y="6920"/>
                </a:moveTo>
                <a:lnTo>
                  <a:pt x="642" y="6938"/>
                </a:lnTo>
                <a:lnTo>
                  <a:pt x="649" y="6957"/>
                </a:lnTo>
                <a:lnTo>
                  <a:pt x="651" y="6977"/>
                </a:lnTo>
                <a:lnTo>
                  <a:pt x="646" y="7000"/>
                </a:lnTo>
                <a:lnTo>
                  <a:pt x="669" y="6972"/>
                </a:lnTo>
                <a:lnTo>
                  <a:pt x="674" y="6943"/>
                </a:lnTo>
                <a:lnTo>
                  <a:pt x="661" y="6923"/>
                </a:lnTo>
                <a:lnTo>
                  <a:pt x="632" y="6920"/>
                </a:lnTo>
                <a:close/>
                <a:moveTo>
                  <a:pt x="931" y="7022"/>
                </a:moveTo>
                <a:lnTo>
                  <a:pt x="953" y="7021"/>
                </a:lnTo>
                <a:lnTo>
                  <a:pt x="968" y="7031"/>
                </a:lnTo>
                <a:lnTo>
                  <a:pt x="985" y="7040"/>
                </a:lnTo>
                <a:lnTo>
                  <a:pt x="1007" y="7037"/>
                </a:lnTo>
                <a:lnTo>
                  <a:pt x="1033" y="7036"/>
                </a:lnTo>
                <a:lnTo>
                  <a:pt x="990" y="7012"/>
                </a:lnTo>
                <a:lnTo>
                  <a:pt x="936" y="6998"/>
                </a:lnTo>
                <a:lnTo>
                  <a:pt x="931" y="7022"/>
                </a:lnTo>
                <a:close/>
                <a:moveTo>
                  <a:pt x="552" y="6919"/>
                </a:moveTo>
                <a:lnTo>
                  <a:pt x="552" y="6910"/>
                </a:lnTo>
                <a:lnTo>
                  <a:pt x="547" y="6901"/>
                </a:lnTo>
                <a:lnTo>
                  <a:pt x="539" y="6896"/>
                </a:lnTo>
                <a:lnTo>
                  <a:pt x="530" y="6898"/>
                </a:lnTo>
                <a:lnTo>
                  <a:pt x="495" y="6933"/>
                </a:lnTo>
                <a:lnTo>
                  <a:pt x="504" y="6961"/>
                </a:lnTo>
                <a:lnTo>
                  <a:pt x="530" y="6963"/>
                </a:lnTo>
                <a:lnTo>
                  <a:pt x="552" y="6919"/>
                </a:lnTo>
                <a:close/>
                <a:moveTo>
                  <a:pt x="3290" y="9696"/>
                </a:moveTo>
                <a:lnTo>
                  <a:pt x="3282" y="9696"/>
                </a:lnTo>
                <a:lnTo>
                  <a:pt x="3276" y="9696"/>
                </a:lnTo>
                <a:lnTo>
                  <a:pt x="3271" y="9697"/>
                </a:lnTo>
                <a:lnTo>
                  <a:pt x="3272" y="9704"/>
                </a:lnTo>
                <a:lnTo>
                  <a:pt x="3278" y="9704"/>
                </a:lnTo>
                <a:lnTo>
                  <a:pt x="3286" y="9704"/>
                </a:lnTo>
                <a:lnTo>
                  <a:pt x="3290" y="9701"/>
                </a:lnTo>
                <a:lnTo>
                  <a:pt x="3290" y="9696"/>
                </a:lnTo>
                <a:close/>
                <a:moveTo>
                  <a:pt x="799" y="7117"/>
                </a:moveTo>
                <a:lnTo>
                  <a:pt x="802" y="7121"/>
                </a:lnTo>
                <a:lnTo>
                  <a:pt x="805" y="7122"/>
                </a:lnTo>
                <a:lnTo>
                  <a:pt x="812" y="7121"/>
                </a:lnTo>
                <a:lnTo>
                  <a:pt x="817" y="7120"/>
                </a:lnTo>
                <a:lnTo>
                  <a:pt x="812" y="7117"/>
                </a:lnTo>
                <a:lnTo>
                  <a:pt x="807" y="7116"/>
                </a:lnTo>
                <a:lnTo>
                  <a:pt x="803" y="7116"/>
                </a:lnTo>
                <a:lnTo>
                  <a:pt x="799" y="7117"/>
                </a:lnTo>
                <a:close/>
                <a:moveTo>
                  <a:pt x="1382" y="3414"/>
                </a:moveTo>
                <a:lnTo>
                  <a:pt x="1377" y="3418"/>
                </a:lnTo>
                <a:lnTo>
                  <a:pt x="1373" y="3421"/>
                </a:lnTo>
                <a:lnTo>
                  <a:pt x="1375" y="3425"/>
                </a:lnTo>
                <a:lnTo>
                  <a:pt x="1378" y="3427"/>
                </a:lnTo>
                <a:lnTo>
                  <a:pt x="1389" y="3426"/>
                </a:lnTo>
                <a:lnTo>
                  <a:pt x="1394" y="3425"/>
                </a:lnTo>
                <a:lnTo>
                  <a:pt x="1392" y="3422"/>
                </a:lnTo>
                <a:lnTo>
                  <a:pt x="1382" y="3414"/>
                </a:lnTo>
                <a:close/>
                <a:moveTo>
                  <a:pt x="688" y="7670"/>
                </a:moveTo>
                <a:lnTo>
                  <a:pt x="695" y="7668"/>
                </a:lnTo>
                <a:lnTo>
                  <a:pt x="700" y="7666"/>
                </a:lnTo>
                <a:lnTo>
                  <a:pt x="695" y="7663"/>
                </a:lnTo>
                <a:lnTo>
                  <a:pt x="687" y="7663"/>
                </a:lnTo>
                <a:lnTo>
                  <a:pt x="683" y="7665"/>
                </a:lnTo>
                <a:lnTo>
                  <a:pt x="688" y="7670"/>
                </a:lnTo>
                <a:close/>
                <a:moveTo>
                  <a:pt x="1589" y="2098"/>
                </a:moveTo>
                <a:lnTo>
                  <a:pt x="1583" y="2098"/>
                </a:lnTo>
                <a:lnTo>
                  <a:pt x="1577" y="2099"/>
                </a:lnTo>
                <a:lnTo>
                  <a:pt x="1583" y="2105"/>
                </a:lnTo>
                <a:lnTo>
                  <a:pt x="1590" y="2106"/>
                </a:lnTo>
                <a:lnTo>
                  <a:pt x="1594" y="2103"/>
                </a:lnTo>
                <a:lnTo>
                  <a:pt x="1589" y="2098"/>
                </a:lnTo>
                <a:close/>
                <a:moveTo>
                  <a:pt x="1293" y="3869"/>
                </a:moveTo>
                <a:lnTo>
                  <a:pt x="1298" y="3869"/>
                </a:lnTo>
                <a:lnTo>
                  <a:pt x="1305" y="3869"/>
                </a:lnTo>
                <a:lnTo>
                  <a:pt x="1301" y="3864"/>
                </a:lnTo>
                <a:lnTo>
                  <a:pt x="1294" y="3862"/>
                </a:lnTo>
                <a:lnTo>
                  <a:pt x="1289" y="3864"/>
                </a:lnTo>
                <a:lnTo>
                  <a:pt x="1293" y="3869"/>
                </a:lnTo>
                <a:close/>
                <a:moveTo>
                  <a:pt x="669" y="7514"/>
                </a:moveTo>
                <a:lnTo>
                  <a:pt x="661" y="7513"/>
                </a:lnTo>
                <a:lnTo>
                  <a:pt x="658" y="7514"/>
                </a:lnTo>
                <a:lnTo>
                  <a:pt x="658" y="7518"/>
                </a:lnTo>
                <a:lnTo>
                  <a:pt x="661" y="7525"/>
                </a:lnTo>
                <a:lnTo>
                  <a:pt x="668" y="7526"/>
                </a:lnTo>
                <a:lnTo>
                  <a:pt x="670" y="7523"/>
                </a:lnTo>
                <a:lnTo>
                  <a:pt x="670" y="7520"/>
                </a:lnTo>
                <a:lnTo>
                  <a:pt x="669" y="7514"/>
                </a:lnTo>
                <a:close/>
                <a:moveTo>
                  <a:pt x="1350" y="3109"/>
                </a:moveTo>
                <a:lnTo>
                  <a:pt x="1349" y="3102"/>
                </a:lnTo>
                <a:lnTo>
                  <a:pt x="1341" y="3099"/>
                </a:lnTo>
                <a:lnTo>
                  <a:pt x="1334" y="3100"/>
                </a:lnTo>
                <a:lnTo>
                  <a:pt x="1330" y="3105"/>
                </a:lnTo>
                <a:lnTo>
                  <a:pt x="1334" y="3108"/>
                </a:lnTo>
                <a:lnTo>
                  <a:pt x="1339" y="3110"/>
                </a:lnTo>
                <a:lnTo>
                  <a:pt x="1345" y="3110"/>
                </a:lnTo>
                <a:lnTo>
                  <a:pt x="1350" y="3109"/>
                </a:lnTo>
                <a:close/>
                <a:moveTo>
                  <a:pt x="1554" y="1313"/>
                </a:moveTo>
                <a:lnTo>
                  <a:pt x="1553" y="1309"/>
                </a:lnTo>
                <a:lnTo>
                  <a:pt x="1549" y="1308"/>
                </a:lnTo>
                <a:lnTo>
                  <a:pt x="1544" y="1309"/>
                </a:lnTo>
                <a:lnTo>
                  <a:pt x="1541" y="1310"/>
                </a:lnTo>
                <a:lnTo>
                  <a:pt x="1541" y="1313"/>
                </a:lnTo>
                <a:lnTo>
                  <a:pt x="1545" y="1314"/>
                </a:lnTo>
                <a:lnTo>
                  <a:pt x="1550" y="1314"/>
                </a:lnTo>
                <a:lnTo>
                  <a:pt x="1554" y="1313"/>
                </a:lnTo>
                <a:close/>
                <a:moveTo>
                  <a:pt x="670" y="7227"/>
                </a:moveTo>
                <a:lnTo>
                  <a:pt x="674" y="7231"/>
                </a:lnTo>
                <a:lnTo>
                  <a:pt x="683" y="7233"/>
                </a:lnTo>
                <a:lnTo>
                  <a:pt x="691" y="7233"/>
                </a:lnTo>
                <a:lnTo>
                  <a:pt x="696" y="7229"/>
                </a:lnTo>
                <a:lnTo>
                  <a:pt x="692" y="7225"/>
                </a:lnTo>
                <a:lnTo>
                  <a:pt x="684" y="7224"/>
                </a:lnTo>
                <a:lnTo>
                  <a:pt x="675" y="7224"/>
                </a:lnTo>
                <a:lnTo>
                  <a:pt x="670" y="7227"/>
                </a:lnTo>
                <a:close/>
                <a:moveTo>
                  <a:pt x="1275" y="3503"/>
                </a:moveTo>
                <a:lnTo>
                  <a:pt x="1285" y="3501"/>
                </a:lnTo>
                <a:lnTo>
                  <a:pt x="1294" y="3498"/>
                </a:lnTo>
                <a:lnTo>
                  <a:pt x="1289" y="3492"/>
                </a:lnTo>
                <a:lnTo>
                  <a:pt x="1278" y="3492"/>
                </a:lnTo>
                <a:lnTo>
                  <a:pt x="1270" y="3496"/>
                </a:lnTo>
                <a:lnTo>
                  <a:pt x="1275" y="3503"/>
                </a:lnTo>
                <a:close/>
                <a:moveTo>
                  <a:pt x="1589" y="1640"/>
                </a:moveTo>
                <a:lnTo>
                  <a:pt x="1597" y="1640"/>
                </a:lnTo>
                <a:lnTo>
                  <a:pt x="1601" y="1637"/>
                </a:lnTo>
                <a:lnTo>
                  <a:pt x="1600" y="1632"/>
                </a:lnTo>
                <a:lnTo>
                  <a:pt x="1594" y="1623"/>
                </a:lnTo>
                <a:lnTo>
                  <a:pt x="1581" y="1628"/>
                </a:lnTo>
                <a:lnTo>
                  <a:pt x="1575" y="1632"/>
                </a:lnTo>
                <a:lnTo>
                  <a:pt x="1577" y="1635"/>
                </a:lnTo>
                <a:lnTo>
                  <a:pt x="1589" y="1640"/>
                </a:lnTo>
                <a:close/>
                <a:moveTo>
                  <a:pt x="1236" y="3907"/>
                </a:moveTo>
                <a:lnTo>
                  <a:pt x="1228" y="3910"/>
                </a:lnTo>
                <a:lnTo>
                  <a:pt x="1233" y="3915"/>
                </a:lnTo>
                <a:lnTo>
                  <a:pt x="1245" y="3920"/>
                </a:lnTo>
                <a:lnTo>
                  <a:pt x="1256" y="3922"/>
                </a:lnTo>
                <a:lnTo>
                  <a:pt x="1257" y="3922"/>
                </a:lnTo>
                <a:lnTo>
                  <a:pt x="1256" y="3922"/>
                </a:lnTo>
                <a:lnTo>
                  <a:pt x="1254" y="3916"/>
                </a:lnTo>
                <a:lnTo>
                  <a:pt x="1249" y="3913"/>
                </a:lnTo>
                <a:lnTo>
                  <a:pt x="1242" y="3910"/>
                </a:lnTo>
                <a:lnTo>
                  <a:pt x="1236" y="3907"/>
                </a:lnTo>
                <a:close/>
                <a:moveTo>
                  <a:pt x="1256" y="3922"/>
                </a:moveTo>
                <a:lnTo>
                  <a:pt x="1257" y="3922"/>
                </a:lnTo>
                <a:lnTo>
                  <a:pt x="1256" y="3922"/>
                </a:lnTo>
                <a:close/>
                <a:moveTo>
                  <a:pt x="686" y="7357"/>
                </a:moveTo>
                <a:lnTo>
                  <a:pt x="682" y="7367"/>
                </a:lnTo>
                <a:lnTo>
                  <a:pt x="678" y="7377"/>
                </a:lnTo>
                <a:lnTo>
                  <a:pt x="691" y="7372"/>
                </a:lnTo>
                <a:lnTo>
                  <a:pt x="696" y="7368"/>
                </a:lnTo>
                <a:lnTo>
                  <a:pt x="695" y="7364"/>
                </a:lnTo>
                <a:lnTo>
                  <a:pt x="686" y="7357"/>
                </a:lnTo>
                <a:close/>
                <a:moveTo>
                  <a:pt x="1538" y="2108"/>
                </a:moveTo>
                <a:lnTo>
                  <a:pt x="1536" y="2099"/>
                </a:lnTo>
                <a:lnTo>
                  <a:pt x="1527" y="2097"/>
                </a:lnTo>
                <a:lnTo>
                  <a:pt x="1517" y="2098"/>
                </a:lnTo>
                <a:lnTo>
                  <a:pt x="1513" y="2099"/>
                </a:lnTo>
                <a:lnTo>
                  <a:pt x="1516" y="2106"/>
                </a:lnTo>
                <a:lnTo>
                  <a:pt x="1524" y="2110"/>
                </a:lnTo>
                <a:lnTo>
                  <a:pt x="1531" y="2110"/>
                </a:lnTo>
                <a:lnTo>
                  <a:pt x="1538" y="2108"/>
                </a:lnTo>
                <a:close/>
                <a:moveTo>
                  <a:pt x="1289" y="3223"/>
                </a:moveTo>
                <a:lnTo>
                  <a:pt x="1298" y="3221"/>
                </a:lnTo>
                <a:lnTo>
                  <a:pt x="1306" y="3218"/>
                </a:lnTo>
                <a:lnTo>
                  <a:pt x="1298" y="3211"/>
                </a:lnTo>
                <a:lnTo>
                  <a:pt x="1287" y="3212"/>
                </a:lnTo>
                <a:lnTo>
                  <a:pt x="1279" y="3217"/>
                </a:lnTo>
                <a:lnTo>
                  <a:pt x="1289" y="3223"/>
                </a:lnTo>
                <a:close/>
                <a:moveTo>
                  <a:pt x="1214" y="3531"/>
                </a:moveTo>
                <a:lnTo>
                  <a:pt x="1201" y="3525"/>
                </a:lnTo>
                <a:lnTo>
                  <a:pt x="1191" y="3520"/>
                </a:lnTo>
                <a:lnTo>
                  <a:pt x="1184" y="3519"/>
                </a:lnTo>
                <a:lnTo>
                  <a:pt x="1175" y="3523"/>
                </a:lnTo>
                <a:lnTo>
                  <a:pt x="1182" y="3529"/>
                </a:lnTo>
                <a:lnTo>
                  <a:pt x="1190" y="3531"/>
                </a:lnTo>
                <a:lnTo>
                  <a:pt x="1201" y="3531"/>
                </a:lnTo>
                <a:lnTo>
                  <a:pt x="1214" y="3531"/>
                </a:lnTo>
                <a:close/>
                <a:moveTo>
                  <a:pt x="1424" y="3018"/>
                </a:moveTo>
                <a:lnTo>
                  <a:pt x="1414" y="3017"/>
                </a:lnTo>
                <a:lnTo>
                  <a:pt x="1406" y="3020"/>
                </a:lnTo>
                <a:lnTo>
                  <a:pt x="1398" y="3026"/>
                </a:lnTo>
                <a:lnTo>
                  <a:pt x="1385" y="3034"/>
                </a:lnTo>
                <a:lnTo>
                  <a:pt x="1404" y="3032"/>
                </a:lnTo>
                <a:lnTo>
                  <a:pt x="1417" y="3031"/>
                </a:lnTo>
                <a:lnTo>
                  <a:pt x="1423" y="3029"/>
                </a:lnTo>
                <a:lnTo>
                  <a:pt x="1424" y="3018"/>
                </a:lnTo>
                <a:close/>
                <a:moveTo>
                  <a:pt x="822" y="6986"/>
                </a:moveTo>
                <a:lnTo>
                  <a:pt x="836" y="6990"/>
                </a:lnTo>
                <a:lnTo>
                  <a:pt x="851" y="6996"/>
                </a:lnTo>
                <a:lnTo>
                  <a:pt x="860" y="6998"/>
                </a:lnTo>
                <a:lnTo>
                  <a:pt x="858" y="6987"/>
                </a:lnTo>
                <a:lnTo>
                  <a:pt x="854" y="6979"/>
                </a:lnTo>
                <a:lnTo>
                  <a:pt x="835" y="6975"/>
                </a:lnTo>
                <a:lnTo>
                  <a:pt x="818" y="6977"/>
                </a:lnTo>
                <a:lnTo>
                  <a:pt x="822" y="6986"/>
                </a:lnTo>
                <a:close/>
                <a:moveTo>
                  <a:pt x="1394" y="3059"/>
                </a:moveTo>
                <a:lnTo>
                  <a:pt x="1385" y="3057"/>
                </a:lnTo>
                <a:lnTo>
                  <a:pt x="1378" y="3058"/>
                </a:lnTo>
                <a:lnTo>
                  <a:pt x="1371" y="3060"/>
                </a:lnTo>
                <a:lnTo>
                  <a:pt x="1364" y="3066"/>
                </a:lnTo>
                <a:lnTo>
                  <a:pt x="1371" y="3068"/>
                </a:lnTo>
                <a:lnTo>
                  <a:pt x="1378" y="3068"/>
                </a:lnTo>
                <a:lnTo>
                  <a:pt x="1386" y="3066"/>
                </a:lnTo>
                <a:lnTo>
                  <a:pt x="1394" y="3059"/>
                </a:lnTo>
                <a:close/>
                <a:moveTo>
                  <a:pt x="893" y="7309"/>
                </a:moveTo>
                <a:lnTo>
                  <a:pt x="878" y="7306"/>
                </a:lnTo>
                <a:lnTo>
                  <a:pt x="863" y="7307"/>
                </a:lnTo>
                <a:lnTo>
                  <a:pt x="856" y="7313"/>
                </a:lnTo>
                <a:lnTo>
                  <a:pt x="868" y="7326"/>
                </a:lnTo>
                <a:lnTo>
                  <a:pt x="880" y="7323"/>
                </a:lnTo>
                <a:lnTo>
                  <a:pt x="892" y="7321"/>
                </a:lnTo>
                <a:lnTo>
                  <a:pt x="898" y="7317"/>
                </a:lnTo>
                <a:lnTo>
                  <a:pt x="893" y="7309"/>
                </a:lnTo>
                <a:close/>
                <a:moveTo>
                  <a:pt x="1279" y="4020"/>
                </a:moveTo>
                <a:lnTo>
                  <a:pt x="1284" y="4008"/>
                </a:lnTo>
                <a:lnTo>
                  <a:pt x="1279" y="4001"/>
                </a:lnTo>
                <a:lnTo>
                  <a:pt x="1269" y="4000"/>
                </a:lnTo>
                <a:lnTo>
                  <a:pt x="1257" y="4006"/>
                </a:lnTo>
                <a:lnTo>
                  <a:pt x="1257" y="4014"/>
                </a:lnTo>
                <a:lnTo>
                  <a:pt x="1263" y="4018"/>
                </a:lnTo>
                <a:lnTo>
                  <a:pt x="1270" y="4019"/>
                </a:lnTo>
                <a:lnTo>
                  <a:pt x="1279" y="4020"/>
                </a:lnTo>
                <a:close/>
                <a:moveTo>
                  <a:pt x="1420" y="3444"/>
                </a:moveTo>
                <a:lnTo>
                  <a:pt x="1427" y="3449"/>
                </a:lnTo>
                <a:lnTo>
                  <a:pt x="1438" y="3451"/>
                </a:lnTo>
                <a:lnTo>
                  <a:pt x="1451" y="3451"/>
                </a:lnTo>
                <a:lnTo>
                  <a:pt x="1460" y="3445"/>
                </a:lnTo>
                <a:lnTo>
                  <a:pt x="1455" y="3435"/>
                </a:lnTo>
                <a:lnTo>
                  <a:pt x="1440" y="3435"/>
                </a:lnTo>
                <a:lnTo>
                  <a:pt x="1426" y="3440"/>
                </a:lnTo>
                <a:lnTo>
                  <a:pt x="1420" y="3444"/>
                </a:lnTo>
                <a:close/>
                <a:moveTo>
                  <a:pt x="1268" y="3960"/>
                </a:moveTo>
                <a:lnTo>
                  <a:pt x="1279" y="3950"/>
                </a:lnTo>
                <a:lnTo>
                  <a:pt x="1282" y="3941"/>
                </a:lnTo>
                <a:lnTo>
                  <a:pt x="1274" y="3931"/>
                </a:lnTo>
                <a:lnTo>
                  <a:pt x="1257" y="3922"/>
                </a:lnTo>
                <a:lnTo>
                  <a:pt x="1254" y="3931"/>
                </a:lnTo>
                <a:lnTo>
                  <a:pt x="1251" y="3940"/>
                </a:lnTo>
                <a:lnTo>
                  <a:pt x="1254" y="3949"/>
                </a:lnTo>
                <a:lnTo>
                  <a:pt x="1268" y="3960"/>
                </a:lnTo>
                <a:close/>
                <a:moveTo>
                  <a:pt x="1306" y="3627"/>
                </a:moveTo>
                <a:lnTo>
                  <a:pt x="1297" y="3627"/>
                </a:lnTo>
                <a:lnTo>
                  <a:pt x="1288" y="3628"/>
                </a:lnTo>
                <a:lnTo>
                  <a:pt x="1279" y="3629"/>
                </a:lnTo>
                <a:lnTo>
                  <a:pt x="1268" y="3632"/>
                </a:lnTo>
                <a:lnTo>
                  <a:pt x="1289" y="3640"/>
                </a:lnTo>
                <a:lnTo>
                  <a:pt x="1310" y="3638"/>
                </a:lnTo>
                <a:lnTo>
                  <a:pt x="1319" y="3633"/>
                </a:lnTo>
                <a:lnTo>
                  <a:pt x="1306" y="3627"/>
                </a:lnTo>
                <a:close/>
                <a:moveTo>
                  <a:pt x="1172" y="3650"/>
                </a:moveTo>
                <a:lnTo>
                  <a:pt x="1162" y="3657"/>
                </a:lnTo>
                <a:lnTo>
                  <a:pt x="1153" y="3666"/>
                </a:lnTo>
                <a:lnTo>
                  <a:pt x="1175" y="3666"/>
                </a:lnTo>
                <a:lnTo>
                  <a:pt x="1185" y="3664"/>
                </a:lnTo>
                <a:lnTo>
                  <a:pt x="1185" y="3659"/>
                </a:lnTo>
                <a:lnTo>
                  <a:pt x="1172" y="3650"/>
                </a:lnTo>
                <a:close/>
                <a:moveTo>
                  <a:pt x="1414" y="3528"/>
                </a:moveTo>
                <a:lnTo>
                  <a:pt x="1392" y="3530"/>
                </a:lnTo>
                <a:lnTo>
                  <a:pt x="1382" y="3535"/>
                </a:lnTo>
                <a:lnTo>
                  <a:pt x="1380" y="3543"/>
                </a:lnTo>
                <a:lnTo>
                  <a:pt x="1381" y="3553"/>
                </a:lnTo>
                <a:lnTo>
                  <a:pt x="1401" y="3549"/>
                </a:lnTo>
                <a:lnTo>
                  <a:pt x="1414" y="3544"/>
                </a:lnTo>
                <a:lnTo>
                  <a:pt x="1419" y="3537"/>
                </a:lnTo>
                <a:lnTo>
                  <a:pt x="1414" y="3528"/>
                </a:lnTo>
                <a:close/>
                <a:moveTo>
                  <a:pt x="698" y="7430"/>
                </a:moveTo>
                <a:lnTo>
                  <a:pt x="692" y="7424"/>
                </a:lnTo>
                <a:lnTo>
                  <a:pt x="678" y="7420"/>
                </a:lnTo>
                <a:lnTo>
                  <a:pt x="663" y="7420"/>
                </a:lnTo>
                <a:lnTo>
                  <a:pt x="655" y="7427"/>
                </a:lnTo>
                <a:lnTo>
                  <a:pt x="664" y="7433"/>
                </a:lnTo>
                <a:lnTo>
                  <a:pt x="677" y="7437"/>
                </a:lnTo>
                <a:lnTo>
                  <a:pt x="691" y="7437"/>
                </a:lnTo>
                <a:lnTo>
                  <a:pt x="698" y="7430"/>
                </a:lnTo>
                <a:close/>
                <a:moveTo>
                  <a:pt x="1205" y="3983"/>
                </a:moveTo>
                <a:lnTo>
                  <a:pt x="1222" y="3980"/>
                </a:lnTo>
                <a:lnTo>
                  <a:pt x="1232" y="3974"/>
                </a:lnTo>
                <a:lnTo>
                  <a:pt x="1233" y="3966"/>
                </a:lnTo>
                <a:lnTo>
                  <a:pt x="1226" y="3955"/>
                </a:lnTo>
                <a:lnTo>
                  <a:pt x="1205" y="3960"/>
                </a:lnTo>
                <a:lnTo>
                  <a:pt x="1192" y="3966"/>
                </a:lnTo>
                <a:lnTo>
                  <a:pt x="1192" y="3973"/>
                </a:lnTo>
                <a:lnTo>
                  <a:pt x="1205" y="3983"/>
                </a:lnTo>
                <a:close/>
                <a:moveTo>
                  <a:pt x="911" y="7051"/>
                </a:moveTo>
                <a:lnTo>
                  <a:pt x="928" y="7050"/>
                </a:lnTo>
                <a:lnTo>
                  <a:pt x="938" y="7047"/>
                </a:lnTo>
                <a:lnTo>
                  <a:pt x="940" y="7041"/>
                </a:lnTo>
                <a:lnTo>
                  <a:pt x="926" y="7027"/>
                </a:lnTo>
                <a:lnTo>
                  <a:pt x="905" y="7032"/>
                </a:lnTo>
                <a:lnTo>
                  <a:pt x="892" y="7036"/>
                </a:lnTo>
                <a:lnTo>
                  <a:pt x="893" y="7042"/>
                </a:lnTo>
                <a:lnTo>
                  <a:pt x="911" y="7051"/>
                </a:lnTo>
                <a:close/>
                <a:moveTo>
                  <a:pt x="796" y="7989"/>
                </a:moveTo>
                <a:lnTo>
                  <a:pt x="800" y="7998"/>
                </a:lnTo>
                <a:lnTo>
                  <a:pt x="805" y="8003"/>
                </a:lnTo>
                <a:lnTo>
                  <a:pt x="812" y="8006"/>
                </a:lnTo>
                <a:lnTo>
                  <a:pt x="821" y="8006"/>
                </a:lnTo>
                <a:lnTo>
                  <a:pt x="821" y="7985"/>
                </a:lnTo>
                <a:lnTo>
                  <a:pt x="803" y="7973"/>
                </a:lnTo>
                <a:lnTo>
                  <a:pt x="787" y="7971"/>
                </a:lnTo>
                <a:lnTo>
                  <a:pt x="796" y="7989"/>
                </a:lnTo>
                <a:close/>
                <a:moveTo>
                  <a:pt x="1232" y="3315"/>
                </a:moveTo>
                <a:lnTo>
                  <a:pt x="1249" y="3309"/>
                </a:lnTo>
                <a:lnTo>
                  <a:pt x="1268" y="3302"/>
                </a:lnTo>
                <a:lnTo>
                  <a:pt x="1240" y="3291"/>
                </a:lnTo>
                <a:lnTo>
                  <a:pt x="1212" y="3292"/>
                </a:lnTo>
                <a:lnTo>
                  <a:pt x="1203" y="3301"/>
                </a:lnTo>
                <a:lnTo>
                  <a:pt x="1232" y="3315"/>
                </a:lnTo>
                <a:close/>
                <a:moveTo>
                  <a:pt x="770" y="7215"/>
                </a:moveTo>
                <a:lnTo>
                  <a:pt x="759" y="7206"/>
                </a:lnTo>
                <a:lnTo>
                  <a:pt x="738" y="7199"/>
                </a:lnTo>
                <a:lnTo>
                  <a:pt x="717" y="7197"/>
                </a:lnTo>
                <a:lnTo>
                  <a:pt x="710" y="7208"/>
                </a:lnTo>
                <a:lnTo>
                  <a:pt x="720" y="7215"/>
                </a:lnTo>
                <a:lnTo>
                  <a:pt x="738" y="7222"/>
                </a:lnTo>
                <a:lnTo>
                  <a:pt x="757" y="7224"/>
                </a:lnTo>
                <a:lnTo>
                  <a:pt x="770" y="7215"/>
                </a:lnTo>
                <a:close/>
                <a:moveTo>
                  <a:pt x="1144" y="3926"/>
                </a:moveTo>
                <a:lnTo>
                  <a:pt x="1170" y="3915"/>
                </a:lnTo>
                <a:lnTo>
                  <a:pt x="1178" y="3907"/>
                </a:lnTo>
                <a:lnTo>
                  <a:pt x="1173" y="3898"/>
                </a:lnTo>
                <a:lnTo>
                  <a:pt x="1153" y="3887"/>
                </a:lnTo>
                <a:lnTo>
                  <a:pt x="1140" y="3894"/>
                </a:lnTo>
                <a:lnTo>
                  <a:pt x="1130" y="3903"/>
                </a:lnTo>
                <a:lnTo>
                  <a:pt x="1129" y="3913"/>
                </a:lnTo>
                <a:lnTo>
                  <a:pt x="1144" y="3926"/>
                </a:lnTo>
                <a:close/>
                <a:moveTo>
                  <a:pt x="796" y="6998"/>
                </a:moveTo>
                <a:lnTo>
                  <a:pt x="784" y="6985"/>
                </a:lnTo>
                <a:lnTo>
                  <a:pt x="766" y="6987"/>
                </a:lnTo>
                <a:lnTo>
                  <a:pt x="747" y="7000"/>
                </a:lnTo>
                <a:lnTo>
                  <a:pt x="729" y="7018"/>
                </a:lnTo>
                <a:lnTo>
                  <a:pt x="758" y="7018"/>
                </a:lnTo>
                <a:lnTo>
                  <a:pt x="787" y="7017"/>
                </a:lnTo>
                <a:lnTo>
                  <a:pt x="804" y="7012"/>
                </a:lnTo>
                <a:lnTo>
                  <a:pt x="796" y="6998"/>
                </a:lnTo>
                <a:close/>
                <a:moveTo>
                  <a:pt x="678" y="7302"/>
                </a:moveTo>
                <a:lnTo>
                  <a:pt x="711" y="7303"/>
                </a:lnTo>
                <a:lnTo>
                  <a:pt x="731" y="7301"/>
                </a:lnTo>
                <a:lnTo>
                  <a:pt x="744" y="7290"/>
                </a:lnTo>
                <a:lnTo>
                  <a:pt x="757" y="7271"/>
                </a:lnTo>
                <a:lnTo>
                  <a:pt x="730" y="7275"/>
                </a:lnTo>
                <a:lnTo>
                  <a:pt x="706" y="7280"/>
                </a:lnTo>
                <a:lnTo>
                  <a:pt x="688" y="7288"/>
                </a:lnTo>
                <a:lnTo>
                  <a:pt x="678" y="7302"/>
                </a:lnTo>
                <a:close/>
                <a:moveTo>
                  <a:pt x="735" y="7049"/>
                </a:moveTo>
                <a:lnTo>
                  <a:pt x="737" y="7066"/>
                </a:lnTo>
                <a:lnTo>
                  <a:pt x="757" y="7073"/>
                </a:lnTo>
                <a:lnTo>
                  <a:pt x="781" y="7065"/>
                </a:lnTo>
                <a:lnTo>
                  <a:pt x="793" y="7038"/>
                </a:lnTo>
                <a:lnTo>
                  <a:pt x="762" y="7035"/>
                </a:lnTo>
                <a:lnTo>
                  <a:pt x="745" y="7037"/>
                </a:lnTo>
                <a:lnTo>
                  <a:pt x="738" y="7042"/>
                </a:lnTo>
                <a:lnTo>
                  <a:pt x="735" y="7049"/>
                </a:lnTo>
                <a:close/>
                <a:moveTo>
                  <a:pt x="1249" y="3551"/>
                </a:moveTo>
                <a:lnTo>
                  <a:pt x="1224" y="3561"/>
                </a:lnTo>
                <a:lnTo>
                  <a:pt x="1204" y="3576"/>
                </a:lnTo>
                <a:lnTo>
                  <a:pt x="1189" y="3591"/>
                </a:lnTo>
                <a:lnTo>
                  <a:pt x="1184" y="3608"/>
                </a:lnTo>
                <a:lnTo>
                  <a:pt x="1224" y="3600"/>
                </a:lnTo>
                <a:lnTo>
                  <a:pt x="1246" y="3589"/>
                </a:lnTo>
                <a:lnTo>
                  <a:pt x="1254" y="3572"/>
                </a:lnTo>
                <a:lnTo>
                  <a:pt x="1249" y="3551"/>
                </a:lnTo>
                <a:close/>
                <a:moveTo>
                  <a:pt x="710" y="7171"/>
                </a:moveTo>
                <a:lnTo>
                  <a:pt x="743" y="7175"/>
                </a:lnTo>
                <a:lnTo>
                  <a:pt x="761" y="7171"/>
                </a:lnTo>
                <a:lnTo>
                  <a:pt x="761" y="7157"/>
                </a:lnTo>
                <a:lnTo>
                  <a:pt x="743" y="7129"/>
                </a:lnTo>
                <a:lnTo>
                  <a:pt x="707" y="7134"/>
                </a:lnTo>
                <a:lnTo>
                  <a:pt x="692" y="7140"/>
                </a:lnTo>
                <a:lnTo>
                  <a:pt x="695" y="7152"/>
                </a:lnTo>
                <a:lnTo>
                  <a:pt x="710" y="7171"/>
                </a:lnTo>
                <a:close/>
                <a:moveTo>
                  <a:pt x="1247" y="3799"/>
                </a:moveTo>
                <a:lnTo>
                  <a:pt x="1233" y="3794"/>
                </a:lnTo>
                <a:lnTo>
                  <a:pt x="1213" y="3791"/>
                </a:lnTo>
                <a:lnTo>
                  <a:pt x="1198" y="3794"/>
                </a:lnTo>
                <a:lnTo>
                  <a:pt x="1194" y="3808"/>
                </a:lnTo>
                <a:lnTo>
                  <a:pt x="1214" y="3822"/>
                </a:lnTo>
                <a:lnTo>
                  <a:pt x="1260" y="3832"/>
                </a:lnTo>
                <a:lnTo>
                  <a:pt x="1285" y="3827"/>
                </a:lnTo>
                <a:lnTo>
                  <a:pt x="1247" y="3799"/>
                </a:lnTo>
                <a:close/>
                <a:moveTo>
                  <a:pt x="967" y="6915"/>
                </a:moveTo>
                <a:lnTo>
                  <a:pt x="947" y="6930"/>
                </a:lnTo>
                <a:lnTo>
                  <a:pt x="931" y="6947"/>
                </a:lnTo>
                <a:lnTo>
                  <a:pt x="921" y="6965"/>
                </a:lnTo>
                <a:lnTo>
                  <a:pt x="920" y="6986"/>
                </a:lnTo>
                <a:lnTo>
                  <a:pt x="954" y="6980"/>
                </a:lnTo>
                <a:lnTo>
                  <a:pt x="976" y="6966"/>
                </a:lnTo>
                <a:lnTo>
                  <a:pt x="982" y="6944"/>
                </a:lnTo>
                <a:lnTo>
                  <a:pt x="967" y="6915"/>
                </a:lnTo>
                <a:close/>
                <a:moveTo>
                  <a:pt x="1418" y="3726"/>
                </a:moveTo>
                <a:lnTo>
                  <a:pt x="1418" y="3726"/>
                </a:lnTo>
                <a:lnTo>
                  <a:pt x="1419" y="3726"/>
                </a:lnTo>
                <a:lnTo>
                  <a:pt x="1418" y="3726"/>
                </a:lnTo>
                <a:close/>
                <a:moveTo>
                  <a:pt x="2737" y="9578"/>
                </a:moveTo>
                <a:lnTo>
                  <a:pt x="2744" y="9580"/>
                </a:lnTo>
                <a:lnTo>
                  <a:pt x="2749" y="9582"/>
                </a:lnTo>
                <a:lnTo>
                  <a:pt x="2755" y="9582"/>
                </a:lnTo>
                <a:lnTo>
                  <a:pt x="2763" y="9580"/>
                </a:lnTo>
                <a:lnTo>
                  <a:pt x="2754" y="9575"/>
                </a:lnTo>
                <a:lnTo>
                  <a:pt x="2747" y="9574"/>
                </a:lnTo>
                <a:lnTo>
                  <a:pt x="2744" y="9574"/>
                </a:lnTo>
                <a:lnTo>
                  <a:pt x="2737" y="9578"/>
                </a:lnTo>
                <a:close/>
                <a:moveTo>
                  <a:pt x="2746" y="661"/>
                </a:moveTo>
                <a:lnTo>
                  <a:pt x="2740" y="655"/>
                </a:lnTo>
                <a:lnTo>
                  <a:pt x="2735" y="650"/>
                </a:lnTo>
                <a:lnTo>
                  <a:pt x="2728" y="646"/>
                </a:lnTo>
                <a:lnTo>
                  <a:pt x="2719" y="646"/>
                </a:lnTo>
                <a:lnTo>
                  <a:pt x="2726" y="652"/>
                </a:lnTo>
                <a:lnTo>
                  <a:pt x="2731" y="658"/>
                </a:lnTo>
                <a:lnTo>
                  <a:pt x="2739" y="662"/>
                </a:lnTo>
                <a:lnTo>
                  <a:pt x="2746" y="661"/>
                </a:lnTo>
                <a:close/>
                <a:moveTo>
                  <a:pt x="7932" y="10322"/>
                </a:moveTo>
                <a:lnTo>
                  <a:pt x="7938" y="10331"/>
                </a:lnTo>
                <a:lnTo>
                  <a:pt x="7945" y="10336"/>
                </a:lnTo>
                <a:lnTo>
                  <a:pt x="7952" y="10335"/>
                </a:lnTo>
                <a:lnTo>
                  <a:pt x="7962" y="10329"/>
                </a:lnTo>
                <a:lnTo>
                  <a:pt x="7956" y="10322"/>
                </a:lnTo>
                <a:lnTo>
                  <a:pt x="7948" y="10320"/>
                </a:lnTo>
                <a:lnTo>
                  <a:pt x="7941" y="10320"/>
                </a:lnTo>
                <a:lnTo>
                  <a:pt x="7932" y="10322"/>
                </a:lnTo>
                <a:close/>
                <a:moveTo>
                  <a:pt x="5398" y="10392"/>
                </a:moveTo>
                <a:lnTo>
                  <a:pt x="5400" y="10395"/>
                </a:lnTo>
                <a:lnTo>
                  <a:pt x="5403" y="10395"/>
                </a:lnTo>
                <a:lnTo>
                  <a:pt x="5405" y="10394"/>
                </a:lnTo>
                <a:lnTo>
                  <a:pt x="5408" y="10391"/>
                </a:lnTo>
                <a:lnTo>
                  <a:pt x="5405" y="10390"/>
                </a:lnTo>
                <a:lnTo>
                  <a:pt x="5403" y="10389"/>
                </a:lnTo>
                <a:lnTo>
                  <a:pt x="5400" y="10390"/>
                </a:lnTo>
                <a:lnTo>
                  <a:pt x="5398" y="10392"/>
                </a:lnTo>
                <a:close/>
                <a:moveTo>
                  <a:pt x="6210" y="10384"/>
                </a:moveTo>
                <a:lnTo>
                  <a:pt x="6215" y="10384"/>
                </a:lnTo>
                <a:lnTo>
                  <a:pt x="6220" y="10385"/>
                </a:lnTo>
                <a:lnTo>
                  <a:pt x="6224" y="10385"/>
                </a:lnTo>
                <a:lnTo>
                  <a:pt x="6225" y="10381"/>
                </a:lnTo>
                <a:lnTo>
                  <a:pt x="6222" y="10381"/>
                </a:lnTo>
                <a:lnTo>
                  <a:pt x="6216" y="10380"/>
                </a:lnTo>
                <a:lnTo>
                  <a:pt x="6211" y="10381"/>
                </a:lnTo>
                <a:lnTo>
                  <a:pt x="6210" y="10384"/>
                </a:lnTo>
                <a:close/>
                <a:moveTo>
                  <a:pt x="5477" y="10315"/>
                </a:moveTo>
                <a:lnTo>
                  <a:pt x="5478" y="10320"/>
                </a:lnTo>
                <a:lnTo>
                  <a:pt x="5480" y="10321"/>
                </a:lnTo>
                <a:lnTo>
                  <a:pt x="5484" y="10320"/>
                </a:lnTo>
                <a:lnTo>
                  <a:pt x="5488" y="10320"/>
                </a:lnTo>
                <a:lnTo>
                  <a:pt x="5487" y="10316"/>
                </a:lnTo>
                <a:lnTo>
                  <a:pt x="5484" y="10315"/>
                </a:lnTo>
                <a:lnTo>
                  <a:pt x="5480" y="10315"/>
                </a:lnTo>
                <a:lnTo>
                  <a:pt x="5477" y="10315"/>
                </a:lnTo>
                <a:close/>
                <a:moveTo>
                  <a:pt x="5931" y="10338"/>
                </a:moveTo>
                <a:lnTo>
                  <a:pt x="5927" y="10339"/>
                </a:lnTo>
                <a:lnTo>
                  <a:pt x="5925" y="10342"/>
                </a:lnTo>
                <a:lnTo>
                  <a:pt x="5926" y="10344"/>
                </a:lnTo>
                <a:lnTo>
                  <a:pt x="5930" y="10347"/>
                </a:lnTo>
                <a:lnTo>
                  <a:pt x="5934" y="10344"/>
                </a:lnTo>
                <a:lnTo>
                  <a:pt x="5936" y="10342"/>
                </a:lnTo>
                <a:lnTo>
                  <a:pt x="5935" y="10339"/>
                </a:lnTo>
                <a:lnTo>
                  <a:pt x="5931" y="10338"/>
                </a:lnTo>
                <a:close/>
                <a:moveTo>
                  <a:pt x="7570" y="10457"/>
                </a:moveTo>
                <a:lnTo>
                  <a:pt x="7575" y="10460"/>
                </a:lnTo>
                <a:lnTo>
                  <a:pt x="7579" y="10460"/>
                </a:lnTo>
                <a:lnTo>
                  <a:pt x="7583" y="10459"/>
                </a:lnTo>
                <a:lnTo>
                  <a:pt x="7589" y="10455"/>
                </a:lnTo>
                <a:lnTo>
                  <a:pt x="7583" y="10455"/>
                </a:lnTo>
                <a:lnTo>
                  <a:pt x="7577" y="10454"/>
                </a:lnTo>
                <a:lnTo>
                  <a:pt x="7573" y="10454"/>
                </a:lnTo>
                <a:lnTo>
                  <a:pt x="7570" y="10457"/>
                </a:lnTo>
                <a:close/>
                <a:moveTo>
                  <a:pt x="7088" y="10415"/>
                </a:moveTo>
                <a:lnTo>
                  <a:pt x="7091" y="10419"/>
                </a:lnTo>
                <a:lnTo>
                  <a:pt x="7094" y="10420"/>
                </a:lnTo>
                <a:lnTo>
                  <a:pt x="7096" y="10420"/>
                </a:lnTo>
                <a:lnTo>
                  <a:pt x="7100" y="10417"/>
                </a:lnTo>
                <a:lnTo>
                  <a:pt x="7099" y="10413"/>
                </a:lnTo>
                <a:lnTo>
                  <a:pt x="7096" y="10412"/>
                </a:lnTo>
                <a:lnTo>
                  <a:pt x="7093" y="10413"/>
                </a:lnTo>
                <a:lnTo>
                  <a:pt x="7088" y="10415"/>
                </a:lnTo>
                <a:close/>
                <a:moveTo>
                  <a:pt x="7123" y="10378"/>
                </a:moveTo>
                <a:lnTo>
                  <a:pt x="7124" y="10384"/>
                </a:lnTo>
                <a:lnTo>
                  <a:pt x="7127" y="10385"/>
                </a:lnTo>
                <a:lnTo>
                  <a:pt x="7130" y="10385"/>
                </a:lnTo>
                <a:lnTo>
                  <a:pt x="7133" y="10384"/>
                </a:lnTo>
                <a:lnTo>
                  <a:pt x="7132" y="10380"/>
                </a:lnTo>
                <a:lnTo>
                  <a:pt x="7131" y="10378"/>
                </a:lnTo>
                <a:lnTo>
                  <a:pt x="7127" y="10378"/>
                </a:lnTo>
                <a:lnTo>
                  <a:pt x="7123" y="10378"/>
                </a:lnTo>
                <a:close/>
                <a:moveTo>
                  <a:pt x="7034" y="10349"/>
                </a:moveTo>
                <a:lnTo>
                  <a:pt x="7030" y="10348"/>
                </a:lnTo>
                <a:lnTo>
                  <a:pt x="7026" y="10347"/>
                </a:lnTo>
                <a:lnTo>
                  <a:pt x="7024" y="10347"/>
                </a:lnTo>
                <a:lnTo>
                  <a:pt x="7023" y="10350"/>
                </a:lnTo>
                <a:lnTo>
                  <a:pt x="7026" y="10352"/>
                </a:lnTo>
                <a:lnTo>
                  <a:pt x="7030" y="10353"/>
                </a:lnTo>
                <a:lnTo>
                  <a:pt x="7033" y="10353"/>
                </a:lnTo>
                <a:lnTo>
                  <a:pt x="7034" y="10349"/>
                </a:lnTo>
                <a:close/>
                <a:moveTo>
                  <a:pt x="6559" y="10179"/>
                </a:moveTo>
                <a:lnTo>
                  <a:pt x="6563" y="10179"/>
                </a:lnTo>
                <a:lnTo>
                  <a:pt x="6565" y="10177"/>
                </a:lnTo>
                <a:lnTo>
                  <a:pt x="6567" y="10176"/>
                </a:lnTo>
                <a:lnTo>
                  <a:pt x="6565" y="10172"/>
                </a:lnTo>
                <a:lnTo>
                  <a:pt x="6562" y="10172"/>
                </a:lnTo>
                <a:lnTo>
                  <a:pt x="6558" y="10174"/>
                </a:lnTo>
                <a:lnTo>
                  <a:pt x="6556" y="10176"/>
                </a:lnTo>
                <a:lnTo>
                  <a:pt x="6559" y="10179"/>
                </a:lnTo>
                <a:close/>
                <a:moveTo>
                  <a:pt x="7461" y="10256"/>
                </a:moveTo>
                <a:lnTo>
                  <a:pt x="7466" y="10258"/>
                </a:lnTo>
                <a:lnTo>
                  <a:pt x="7470" y="10259"/>
                </a:lnTo>
                <a:lnTo>
                  <a:pt x="7472" y="10258"/>
                </a:lnTo>
                <a:lnTo>
                  <a:pt x="7473" y="10254"/>
                </a:lnTo>
                <a:lnTo>
                  <a:pt x="7471" y="10251"/>
                </a:lnTo>
                <a:lnTo>
                  <a:pt x="7467" y="10251"/>
                </a:lnTo>
                <a:lnTo>
                  <a:pt x="7464" y="10252"/>
                </a:lnTo>
                <a:lnTo>
                  <a:pt x="7461" y="10256"/>
                </a:lnTo>
                <a:close/>
                <a:moveTo>
                  <a:pt x="5413" y="10368"/>
                </a:moveTo>
                <a:lnTo>
                  <a:pt x="5418" y="10368"/>
                </a:lnTo>
                <a:lnTo>
                  <a:pt x="5413" y="10368"/>
                </a:lnTo>
                <a:lnTo>
                  <a:pt x="5414" y="10373"/>
                </a:lnTo>
                <a:lnTo>
                  <a:pt x="5419" y="10375"/>
                </a:lnTo>
                <a:lnTo>
                  <a:pt x="5420" y="10373"/>
                </a:lnTo>
                <a:lnTo>
                  <a:pt x="5413" y="10368"/>
                </a:lnTo>
                <a:close/>
                <a:moveTo>
                  <a:pt x="4847" y="10251"/>
                </a:moveTo>
                <a:lnTo>
                  <a:pt x="4851" y="10256"/>
                </a:lnTo>
                <a:lnTo>
                  <a:pt x="4854" y="10259"/>
                </a:lnTo>
                <a:lnTo>
                  <a:pt x="4858" y="10256"/>
                </a:lnTo>
                <a:lnTo>
                  <a:pt x="4861" y="10252"/>
                </a:lnTo>
                <a:lnTo>
                  <a:pt x="4860" y="10249"/>
                </a:lnTo>
                <a:lnTo>
                  <a:pt x="4856" y="10249"/>
                </a:lnTo>
                <a:lnTo>
                  <a:pt x="4853" y="10250"/>
                </a:lnTo>
                <a:lnTo>
                  <a:pt x="4847" y="10251"/>
                </a:lnTo>
                <a:close/>
                <a:moveTo>
                  <a:pt x="5897" y="10273"/>
                </a:moveTo>
                <a:lnTo>
                  <a:pt x="5892" y="10272"/>
                </a:lnTo>
                <a:lnTo>
                  <a:pt x="5887" y="10270"/>
                </a:lnTo>
                <a:lnTo>
                  <a:pt x="5883" y="10272"/>
                </a:lnTo>
                <a:lnTo>
                  <a:pt x="5881" y="10275"/>
                </a:lnTo>
                <a:lnTo>
                  <a:pt x="5887" y="10277"/>
                </a:lnTo>
                <a:lnTo>
                  <a:pt x="5892" y="10278"/>
                </a:lnTo>
                <a:lnTo>
                  <a:pt x="5896" y="10277"/>
                </a:lnTo>
                <a:lnTo>
                  <a:pt x="5897" y="10273"/>
                </a:lnTo>
                <a:close/>
                <a:moveTo>
                  <a:pt x="7701" y="10418"/>
                </a:moveTo>
                <a:lnTo>
                  <a:pt x="7708" y="10419"/>
                </a:lnTo>
                <a:lnTo>
                  <a:pt x="7713" y="10420"/>
                </a:lnTo>
                <a:lnTo>
                  <a:pt x="7718" y="10419"/>
                </a:lnTo>
                <a:lnTo>
                  <a:pt x="7720" y="10415"/>
                </a:lnTo>
                <a:lnTo>
                  <a:pt x="7714" y="10415"/>
                </a:lnTo>
                <a:lnTo>
                  <a:pt x="7708" y="10413"/>
                </a:lnTo>
                <a:lnTo>
                  <a:pt x="7703" y="10414"/>
                </a:lnTo>
                <a:lnTo>
                  <a:pt x="7701" y="10418"/>
                </a:lnTo>
                <a:close/>
                <a:moveTo>
                  <a:pt x="7252" y="10364"/>
                </a:moveTo>
                <a:lnTo>
                  <a:pt x="7258" y="10364"/>
                </a:lnTo>
                <a:lnTo>
                  <a:pt x="7266" y="10366"/>
                </a:lnTo>
                <a:lnTo>
                  <a:pt x="7271" y="10366"/>
                </a:lnTo>
                <a:lnTo>
                  <a:pt x="7273" y="10363"/>
                </a:lnTo>
                <a:lnTo>
                  <a:pt x="7263" y="10363"/>
                </a:lnTo>
                <a:lnTo>
                  <a:pt x="7252" y="10364"/>
                </a:lnTo>
                <a:close/>
                <a:moveTo>
                  <a:pt x="5823" y="10162"/>
                </a:moveTo>
                <a:lnTo>
                  <a:pt x="5828" y="10165"/>
                </a:lnTo>
                <a:lnTo>
                  <a:pt x="5832" y="10165"/>
                </a:lnTo>
                <a:lnTo>
                  <a:pt x="5834" y="10162"/>
                </a:lnTo>
                <a:lnTo>
                  <a:pt x="5838" y="10158"/>
                </a:lnTo>
                <a:lnTo>
                  <a:pt x="5833" y="10157"/>
                </a:lnTo>
                <a:lnTo>
                  <a:pt x="5829" y="10157"/>
                </a:lnTo>
                <a:lnTo>
                  <a:pt x="5825" y="10158"/>
                </a:lnTo>
                <a:lnTo>
                  <a:pt x="5823" y="10162"/>
                </a:lnTo>
                <a:close/>
                <a:moveTo>
                  <a:pt x="5413" y="10125"/>
                </a:moveTo>
                <a:lnTo>
                  <a:pt x="5413" y="10129"/>
                </a:lnTo>
                <a:lnTo>
                  <a:pt x="5413" y="10130"/>
                </a:lnTo>
                <a:lnTo>
                  <a:pt x="5413" y="10128"/>
                </a:lnTo>
                <a:lnTo>
                  <a:pt x="5413" y="10125"/>
                </a:lnTo>
                <a:lnTo>
                  <a:pt x="5406" y="10128"/>
                </a:lnTo>
                <a:lnTo>
                  <a:pt x="5404" y="10133"/>
                </a:lnTo>
                <a:lnTo>
                  <a:pt x="5406" y="10134"/>
                </a:lnTo>
                <a:lnTo>
                  <a:pt x="5413" y="10125"/>
                </a:lnTo>
                <a:close/>
                <a:moveTo>
                  <a:pt x="5247" y="10330"/>
                </a:moveTo>
                <a:lnTo>
                  <a:pt x="5249" y="10325"/>
                </a:lnTo>
                <a:lnTo>
                  <a:pt x="5249" y="10324"/>
                </a:lnTo>
                <a:lnTo>
                  <a:pt x="5249" y="10326"/>
                </a:lnTo>
                <a:lnTo>
                  <a:pt x="5247" y="10330"/>
                </a:lnTo>
                <a:lnTo>
                  <a:pt x="5252" y="10330"/>
                </a:lnTo>
                <a:lnTo>
                  <a:pt x="5256" y="10326"/>
                </a:lnTo>
                <a:lnTo>
                  <a:pt x="5255" y="10324"/>
                </a:lnTo>
                <a:lnTo>
                  <a:pt x="5247" y="10330"/>
                </a:lnTo>
                <a:close/>
                <a:moveTo>
                  <a:pt x="8066" y="10455"/>
                </a:moveTo>
                <a:lnTo>
                  <a:pt x="8069" y="10459"/>
                </a:lnTo>
                <a:lnTo>
                  <a:pt x="8073" y="10462"/>
                </a:lnTo>
                <a:lnTo>
                  <a:pt x="8078" y="10464"/>
                </a:lnTo>
                <a:lnTo>
                  <a:pt x="8081" y="10459"/>
                </a:lnTo>
                <a:lnTo>
                  <a:pt x="8078" y="10454"/>
                </a:lnTo>
                <a:lnTo>
                  <a:pt x="8074" y="10451"/>
                </a:lnTo>
                <a:lnTo>
                  <a:pt x="8071" y="10451"/>
                </a:lnTo>
                <a:lnTo>
                  <a:pt x="8066" y="10455"/>
                </a:lnTo>
                <a:close/>
                <a:moveTo>
                  <a:pt x="7519" y="10457"/>
                </a:moveTo>
                <a:lnTo>
                  <a:pt x="7522" y="10462"/>
                </a:lnTo>
                <a:lnTo>
                  <a:pt x="7531" y="10465"/>
                </a:lnTo>
                <a:lnTo>
                  <a:pt x="7540" y="10462"/>
                </a:lnTo>
                <a:lnTo>
                  <a:pt x="7542" y="10457"/>
                </a:lnTo>
                <a:lnTo>
                  <a:pt x="7537" y="10456"/>
                </a:lnTo>
                <a:lnTo>
                  <a:pt x="7531" y="10455"/>
                </a:lnTo>
                <a:lnTo>
                  <a:pt x="7524" y="10456"/>
                </a:lnTo>
                <a:lnTo>
                  <a:pt x="7519" y="10457"/>
                </a:lnTo>
                <a:close/>
                <a:moveTo>
                  <a:pt x="7538" y="10433"/>
                </a:moveTo>
                <a:lnTo>
                  <a:pt x="7552" y="10434"/>
                </a:lnTo>
                <a:lnTo>
                  <a:pt x="7569" y="10438"/>
                </a:lnTo>
                <a:lnTo>
                  <a:pt x="7559" y="10431"/>
                </a:lnTo>
                <a:lnTo>
                  <a:pt x="7552" y="10428"/>
                </a:lnTo>
                <a:lnTo>
                  <a:pt x="7546" y="10429"/>
                </a:lnTo>
                <a:lnTo>
                  <a:pt x="7538" y="10433"/>
                </a:lnTo>
                <a:close/>
                <a:moveTo>
                  <a:pt x="5541" y="10204"/>
                </a:moveTo>
                <a:lnTo>
                  <a:pt x="5549" y="10209"/>
                </a:lnTo>
                <a:lnTo>
                  <a:pt x="5554" y="10208"/>
                </a:lnTo>
                <a:lnTo>
                  <a:pt x="5557" y="10202"/>
                </a:lnTo>
                <a:lnTo>
                  <a:pt x="5554" y="10191"/>
                </a:lnTo>
                <a:lnTo>
                  <a:pt x="5545" y="10200"/>
                </a:lnTo>
                <a:lnTo>
                  <a:pt x="5541" y="10204"/>
                </a:lnTo>
                <a:close/>
                <a:moveTo>
                  <a:pt x="6809" y="10336"/>
                </a:moveTo>
                <a:lnTo>
                  <a:pt x="6806" y="10330"/>
                </a:lnTo>
                <a:lnTo>
                  <a:pt x="6800" y="10326"/>
                </a:lnTo>
                <a:lnTo>
                  <a:pt x="6795" y="10326"/>
                </a:lnTo>
                <a:lnTo>
                  <a:pt x="6791" y="10333"/>
                </a:lnTo>
                <a:lnTo>
                  <a:pt x="6793" y="10340"/>
                </a:lnTo>
                <a:lnTo>
                  <a:pt x="6798" y="10343"/>
                </a:lnTo>
                <a:lnTo>
                  <a:pt x="6805" y="10342"/>
                </a:lnTo>
                <a:lnTo>
                  <a:pt x="6809" y="10336"/>
                </a:lnTo>
                <a:close/>
                <a:moveTo>
                  <a:pt x="4952" y="10097"/>
                </a:moveTo>
                <a:lnTo>
                  <a:pt x="4954" y="10104"/>
                </a:lnTo>
                <a:lnTo>
                  <a:pt x="4958" y="10110"/>
                </a:lnTo>
                <a:lnTo>
                  <a:pt x="4962" y="10115"/>
                </a:lnTo>
                <a:lnTo>
                  <a:pt x="4968" y="10114"/>
                </a:lnTo>
                <a:lnTo>
                  <a:pt x="4966" y="10106"/>
                </a:lnTo>
                <a:lnTo>
                  <a:pt x="4963" y="10098"/>
                </a:lnTo>
                <a:lnTo>
                  <a:pt x="4959" y="10095"/>
                </a:lnTo>
                <a:lnTo>
                  <a:pt x="4952" y="10097"/>
                </a:lnTo>
                <a:close/>
                <a:moveTo>
                  <a:pt x="6761" y="10415"/>
                </a:moveTo>
                <a:lnTo>
                  <a:pt x="6769" y="10420"/>
                </a:lnTo>
                <a:lnTo>
                  <a:pt x="6774" y="10422"/>
                </a:lnTo>
                <a:lnTo>
                  <a:pt x="6779" y="10420"/>
                </a:lnTo>
                <a:lnTo>
                  <a:pt x="6788" y="10417"/>
                </a:lnTo>
                <a:lnTo>
                  <a:pt x="6781" y="10413"/>
                </a:lnTo>
                <a:lnTo>
                  <a:pt x="6775" y="10412"/>
                </a:lnTo>
                <a:lnTo>
                  <a:pt x="6769" y="10413"/>
                </a:lnTo>
                <a:lnTo>
                  <a:pt x="6761" y="10415"/>
                </a:lnTo>
                <a:close/>
                <a:moveTo>
                  <a:pt x="4998" y="10062"/>
                </a:moveTo>
                <a:lnTo>
                  <a:pt x="4996" y="10062"/>
                </a:lnTo>
                <a:lnTo>
                  <a:pt x="4998" y="10062"/>
                </a:lnTo>
                <a:lnTo>
                  <a:pt x="5003" y="10073"/>
                </a:lnTo>
                <a:lnTo>
                  <a:pt x="5008" y="10078"/>
                </a:lnTo>
                <a:lnTo>
                  <a:pt x="5017" y="10079"/>
                </a:lnTo>
                <a:lnTo>
                  <a:pt x="5031" y="10077"/>
                </a:lnTo>
                <a:lnTo>
                  <a:pt x="5023" y="10069"/>
                </a:lnTo>
                <a:lnTo>
                  <a:pt x="5016" y="10065"/>
                </a:lnTo>
                <a:lnTo>
                  <a:pt x="5007" y="10063"/>
                </a:lnTo>
                <a:lnTo>
                  <a:pt x="4998" y="10062"/>
                </a:lnTo>
                <a:close/>
                <a:moveTo>
                  <a:pt x="4998" y="10062"/>
                </a:moveTo>
                <a:lnTo>
                  <a:pt x="4996" y="10062"/>
                </a:lnTo>
                <a:lnTo>
                  <a:pt x="4998" y="10062"/>
                </a:lnTo>
                <a:close/>
                <a:moveTo>
                  <a:pt x="6949" y="10455"/>
                </a:moveTo>
                <a:lnTo>
                  <a:pt x="6959" y="10457"/>
                </a:lnTo>
                <a:lnTo>
                  <a:pt x="6970" y="10461"/>
                </a:lnTo>
                <a:lnTo>
                  <a:pt x="6981" y="10464"/>
                </a:lnTo>
                <a:lnTo>
                  <a:pt x="6987" y="10456"/>
                </a:lnTo>
                <a:lnTo>
                  <a:pt x="6975" y="10454"/>
                </a:lnTo>
                <a:lnTo>
                  <a:pt x="6964" y="10450"/>
                </a:lnTo>
                <a:lnTo>
                  <a:pt x="6955" y="10447"/>
                </a:lnTo>
                <a:lnTo>
                  <a:pt x="6949" y="10455"/>
                </a:lnTo>
                <a:close/>
                <a:moveTo>
                  <a:pt x="5945" y="10224"/>
                </a:moveTo>
                <a:lnTo>
                  <a:pt x="5954" y="10230"/>
                </a:lnTo>
                <a:lnTo>
                  <a:pt x="5964" y="10235"/>
                </a:lnTo>
                <a:lnTo>
                  <a:pt x="5974" y="10240"/>
                </a:lnTo>
                <a:lnTo>
                  <a:pt x="5986" y="10246"/>
                </a:lnTo>
                <a:lnTo>
                  <a:pt x="5980" y="10233"/>
                </a:lnTo>
                <a:lnTo>
                  <a:pt x="5971" y="10226"/>
                </a:lnTo>
                <a:lnTo>
                  <a:pt x="5959" y="10223"/>
                </a:lnTo>
                <a:lnTo>
                  <a:pt x="5945" y="10224"/>
                </a:lnTo>
                <a:close/>
                <a:moveTo>
                  <a:pt x="7466" y="10370"/>
                </a:moveTo>
                <a:lnTo>
                  <a:pt x="7484" y="10377"/>
                </a:lnTo>
                <a:lnTo>
                  <a:pt x="7501" y="10385"/>
                </a:lnTo>
                <a:lnTo>
                  <a:pt x="7498" y="10368"/>
                </a:lnTo>
                <a:lnTo>
                  <a:pt x="7491" y="10362"/>
                </a:lnTo>
                <a:lnTo>
                  <a:pt x="7481" y="10363"/>
                </a:lnTo>
                <a:lnTo>
                  <a:pt x="7466" y="10370"/>
                </a:lnTo>
                <a:close/>
                <a:moveTo>
                  <a:pt x="4200" y="9751"/>
                </a:moveTo>
                <a:lnTo>
                  <a:pt x="4192" y="9734"/>
                </a:lnTo>
                <a:lnTo>
                  <a:pt x="4178" y="9738"/>
                </a:lnTo>
                <a:lnTo>
                  <a:pt x="4165" y="9752"/>
                </a:lnTo>
                <a:lnTo>
                  <a:pt x="4158" y="9765"/>
                </a:lnTo>
                <a:lnTo>
                  <a:pt x="4171" y="9766"/>
                </a:lnTo>
                <a:lnTo>
                  <a:pt x="4183" y="9765"/>
                </a:lnTo>
                <a:lnTo>
                  <a:pt x="4193" y="9761"/>
                </a:lnTo>
                <a:lnTo>
                  <a:pt x="4200" y="9751"/>
                </a:lnTo>
                <a:close/>
                <a:moveTo>
                  <a:pt x="5291" y="10328"/>
                </a:moveTo>
                <a:lnTo>
                  <a:pt x="5301" y="10329"/>
                </a:lnTo>
                <a:lnTo>
                  <a:pt x="5311" y="10330"/>
                </a:lnTo>
                <a:lnTo>
                  <a:pt x="5321" y="10330"/>
                </a:lnTo>
                <a:lnTo>
                  <a:pt x="5331" y="10331"/>
                </a:lnTo>
                <a:lnTo>
                  <a:pt x="5317" y="10324"/>
                </a:lnTo>
                <a:lnTo>
                  <a:pt x="5308" y="10320"/>
                </a:lnTo>
                <a:lnTo>
                  <a:pt x="5301" y="10322"/>
                </a:lnTo>
                <a:lnTo>
                  <a:pt x="5291" y="10328"/>
                </a:lnTo>
                <a:close/>
                <a:moveTo>
                  <a:pt x="5069" y="10171"/>
                </a:moveTo>
                <a:lnTo>
                  <a:pt x="5072" y="10180"/>
                </a:lnTo>
                <a:lnTo>
                  <a:pt x="5080" y="10181"/>
                </a:lnTo>
                <a:lnTo>
                  <a:pt x="5094" y="10180"/>
                </a:lnTo>
                <a:lnTo>
                  <a:pt x="5108" y="10181"/>
                </a:lnTo>
                <a:lnTo>
                  <a:pt x="5097" y="10170"/>
                </a:lnTo>
                <a:lnTo>
                  <a:pt x="5087" y="10167"/>
                </a:lnTo>
                <a:lnTo>
                  <a:pt x="5078" y="10168"/>
                </a:lnTo>
                <a:lnTo>
                  <a:pt x="5069" y="10171"/>
                </a:lnTo>
                <a:close/>
                <a:moveTo>
                  <a:pt x="7439" y="10395"/>
                </a:moveTo>
                <a:lnTo>
                  <a:pt x="7429" y="10394"/>
                </a:lnTo>
                <a:lnTo>
                  <a:pt x="7420" y="10395"/>
                </a:lnTo>
                <a:lnTo>
                  <a:pt x="7412" y="10400"/>
                </a:lnTo>
                <a:lnTo>
                  <a:pt x="7408" y="10410"/>
                </a:lnTo>
                <a:lnTo>
                  <a:pt x="7420" y="10413"/>
                </a:lnTo>
                <a:lnTo>
                  <a:pt x="7429" y="10412"/>
                </a:lnTo>
                <a:lnTo>
                  <a:pt x="7435" y="10405"/>
                </a:lnTo>
                <a:lnTo>
                  <a:pt x="7439" y="10395"/>
                </a:lnTo>
                <a:close/>
                <a:moveTo>
                  <a:pt x="6629" y="10121"/>
                </a:moveTo>
                <a:lnTo>
                  <a:pt x="6619" y="10124"/>
                </a:lnTo>
                <a:lnTo>
                  <a:pt x="6609" y="10125"/>
                </a:lnTo>
                <a:lnTo>
                  <a:pt x="6600" y="10129"/>
                </a:lnTo>
                <a:lnTo>
                  <a:pt x="6592" y="10138"/>
                </a:lnTo>
                <a:lnTo>
                  <a:pt x="6605" y="10139"/>
                </a:lnTo>
                <a:lnTo>
                  <a:pt x="6616" y="10138"/>
                </a:lnTo>
                <a:lnTo>
                  <a:pt x="6624" y="10133"/>
                </a:lnTo>
                <a:lnTo>
                  <a:pt x="6629" y="10121"/>
                </a:lnTo>
                <a:close/>
                <a:moveTo>
                  <a:pt x="6764" y="10357"/>
                </a:moveTo>
                <a:lnTo>
                  <a:pt x="6769" y="10364"/>
                </a:lnTo>
                <a:lnTo>
                  <a:pt x="6783" y="10368"/>
                </a:lnTo>
                <a:lnTo>
                  <a:pt x="6801" y="10368"/>
                </a:lnTo>
                <a:lnTo>
                  <a:pt x="6815" y="10362"/>
                </a:lnTo>
                <a:lnTo>
                  <a:pt x="6802" y="10357"/>
                </a:lnTo>
                <a:lnTo>
                  <a:pt x="6790" y="10357"/>
                </a:lnTo>
                <a:lnTo>
                  <a:pt x="6777" y="10358"/>
                </a:lnTo>
                <a:lnTo>
                  <a:pt x="6764" y="10357"/>
                </a:lnTo>
                <a:close/>
                <a:moveTo>
                  <a:pt x="6381" y="10428"/>
                </a:moveTo>
                <a:lnTo>
                  <a:pt x="6392" y="10434"/>
                </a:lnTo>
                <a:lnTo>
                  <a:pt x="6400" y="10436"/>
                </a:lnTo>
                <a:lnTo>
                  <a:pt x="6406" y="10431"/>
                </a:lnTo>
                <a:lnTo>
                  <a:pt x="6418" y="10419"/>
                </a:lnTo>
                <a:lnTo>
                  <a:pt x="6405" y="10415"/>
                </a:lnTo>
                <a:lnTo>
                  <a:pt x="6395" y="10417"/>
                </a:lnTo>
                <a:lnTo>
                  <a:pt x="6387" y="10420"/>
                </a:lnTo>
                <a:lnTo>
                  <a:pt x="6381" y="10428"/>
                </a:lnTo>
                <a:close/>
                <a:moveTo>
                  <a:pt x="4130" y="9910"/>
                </a:moveTo>
                <a:lnTo>
                  <a:pt x="4133" y="9918"/>
                </a:lnTo>
                <a:lnTo>
                  <a:pt x="4141" y="9919"/>
                </a:lnTo>
                <a:lnTo>
                  <a:pt x="4147" y="9915"/>
                </a:lnTo>
                <a:lnTo>
                  <a:pt x="4152" y="9909"/>
                </a:lnTo>
                <a:lnTo>
                  <a:pt x="4148" y="9899"/>
                </a:lnTo>
                <a:lnTo>
                  <a:pt x="4142" y="9896"/>
                </a:lnTo>
                <a:lnTo>
                  <a:pt x="4134" y="9900"/>
                </a:lnTo>
                <a:lnTo>
                  <a:pt x="4130" y="9910"/>
                </a:lnTo>
                <a:close/>
                <a:moveTo>
                  <a:pt x="6144" y="10291"/>
                </a:moveTo>
                <a:lnTo>
                  <a:pt x="6154" y="10300"/>
                </a:lnTo>
                <a:lnTo>
                  <a:pt x="6165" y="10305"/>
                </a:lnTo>
                <a:lnTo>
                  <a:pt x="6177" y="10302"/>
                </a:lnTo>
                <a:lnTo>
                  <a:pt x="6187" y="10289"/>
                </a:lnTo>
                <a:lnTo>
                  <a:pt x="6174" y="10288"/>
                </a:lnTo>
                <a:lnTo>
                  <a:pt x="6163" y="10286"/>
                </a:lnTo>
                <a:lnTo>
                  <a:pt x="6151" y="10286"/>
                </a:lnTo>
                <a:lnTo>
                  <a:pt x="6144" y="10291"/>
                </a:lnTo>
                <a:close/>
                <a:moveTo>
                  <a:pt x="7919" y="10485"/>
                </a:moveTo>
                <a:lnTo>
                  <a:pt x="7932" y="10487"/>
                </a:lnTo>
                <a:lnTo>
                  <a:pt x="7939" y="10480"/>
                </a:lnTo>
                <a:lnTo>
                  <a:pt x="7947" y="10473"/>
                </a:lnTo>
                <a:lnTo>
                  <a:pt x="7956" y="10465"/>
                </a:lnTo>
                <a:lnTo>
                  <a:pt x="7937" y="10457"/>
                </a:lnTo>
                <a:lnTo>
                  <a:pt x="7925" y="10457"/>
                </a:lnTo>
                <a:lnTo>
                  <a:pt x="7922" y="10468"/>
                </a:lnTo>
                <a:lnTo>
                  <a:pt x="7919" y="10485"/>
                </a:lnTo>
                <a:close/>
                <a:moveTo>
                  <a:pt x="7627" y="10433"/>
                </a:moveTo>
                <a:lnTo>
                  <a:pt x="7645" y="10438"/>
                </a:lnTo>
                <a:lnTo>
                  <a:pt x="7662" y="10446"/>
                </a:lnTo>
                <a:lnTo>
                  <a:pt x="7678" y="10448"/>
                </a:lnTo>
                <a:lnTo>
                  <a:pt x="7694" y="10442"/>
                </a:lnTo>
                <a:lnTo>
                  <a:pt x="7682" y="10433"/>
                </a:lnTo>
                <a:lnTo>
                  <a:pt x="7664" y="10433"/>
                </a:lnTo>
                <a:lnTo>
                  <a:pt x="7645" y="10433"/>
                </a:lnTo>
                <a:lnTo>
                  <a:pt x="7627" y="10433"/>
                </a:lnTo>
                <a:close/>
                <a:moveTo>
                  <a:pt x="9929" y="10419"/>
                </a:moveTo>
                <a:lnTo>
                  <a:pt x="9938" y="10396"/>
                </a:lnTo>
                <a:lnTo>
                  <a:pt x="9935" y="10386"/>
                </a:lnTo>
                <a:lnTo>
                  <a:pt x="9922" y="10384"/>
                </a:lnTo>
                <a:lnTo>
                  <a:pt x="9899" y="10386"/>
                </a:lnTo>
                <a:lnTo>
                  <a:pt x="9913" y="10401"/>
                </a:lnTo>
                <a:lnTo>
                  <a:pt x="9929" y="10419"/>
                </a:lnTo>
                <a:close/>
                <a:moveTo>
                  <a:pt x="7333" y="10452"/>
                </a:moveTo>
                <a:lnTo>
                  <a:pt x="7326" y="10443"/>
                </a:lnTo>
                <a:lnTo>
                  <a:pt x="7310" y="10442"/>
                </a:lnTo>
                <a:lnTo>
                  <a:pt x="7291" y="10442"/>
                </a:lnTo>
                <a:lnTo>
                  <a:pt x="7275" y="10440"/>
                </a:lnTo>
                <a:lnTo>
                  <a:pt x="7289" y="10448"/>
                </a:lnTo>
                <a:lnTo>
                  <a:pt x="7303" y="10452"/>
                </a:lnTo>
                <a:lnTo>
                  <a:pt x="7318" y="10454"/>
                </a:lnTo>
                <a:lnTo>
                  <a:pt x="7333" y="10452"/>
                </a:lnTo>
                <a:close/>
                <a:moveTo>
                  <a:pt x="5277" y="10209"/>
                </a:moveTo>
                <a:lnTo>
                  <a:pt x="5288" y="10200"/>
                </a:lnTo>
                <a:lnTo>
                  <a:pt x="5300" y="10193"/>
                </a:lnTo>
                <a:lnTo>
                  <a:pt x="5311" y="10184"/>
                </a:lnTo>
                <a:lnTo>
                  <a:pt x="5324" y="10175"/>
                </a:lnTo>
                <a:lnTo>
                  <a:pt x="5311" y="10172"/>
                </a:lnTo>
                <a:lnTo>
                  <a:pt x="5300" y="10176"/>
                </a:lnTo>
                <a:lnTo>
                  <a:pt x="5289" y="10188"/>
                </a:lnTo>
                <a:lnTo>
                  <a:pt x="5277" y="10209"/>
                </a:lnTo>
                <a:close/>
                <a:moveTo>
                  <a:pt x="6406" y="10403"/>
                </a:moveTo>
                <a:lnTo>
                  <a:pt x="6418" y="10401"/>
                </a:lnTo>
                <a:lnTo>
                  <a:pt x="6428" y="10400"/>
                </a:lnTo>
                <a:lnTo>
                  <a:pt x="6439" y="10399"/>
                </a:lnTo>
                <a:lnTo>
                  <a:pt x="6451" y="10398"/>
                </a:lnTo>
                <a:lnTo>
                  <a:pt x="6443" y="10384"/>
                </a:lnTo>
                <a:lnTo>
                  <a:pt x="6435" y="10378"/>
                </a:lnTo>
                <a:lnTo>
                  <a:pt x="6424" y="10385"/>
                </a:lnTo>
                <a:lnTo>
                  <a:pt x="6406" y="10403"/>
                </a:lnTo>
                <a:close/>
                <a:moveTo>
                  <a:pt x="7048" y="10431"/>
                </a:moveTo>
                <a:lnTo>
                  <a:pt x="7029" y="10454"/>
                </a:lnTo>
                <a:lnTo>
                  <a:pt x="7033" y="10469"/>
                </a:lnTo>
                <a:lnTo>
                  <a:pt x="7052" y="10473"/>
                </a:lnTo>
                <a:lnTo>
                  <a:pt x="7079" y="10462"/>
                </a:lnTo>
                <a:lnTo>
                  <a:pt x="7065" y="10460"/>
                </a:lnTo>
                <a:lnTo>
                  <a:pt x="7053" y="10457"/>
                </a:lnTo>
                <a:lnTo>
                  <a:pt x="7045" y="10448"/>
                </a:lnTo>
                <a:lnTo>
                  <a:pt x="7048" y="10431"/>
                </a:lnTo>
                <a:close/>
                <a:moveTo>
                  <a:pt x="5400" y="10279"/>
                </a:moveTo>
                <a:lnTo>
                  <a:pt x="5390" y="10302"/>
                </a:lnTo>
                <a:lnTo>
                  <a:pt x="5387" y="10316"/>
                </a:lnTo>
                <a:lnTo>
                  <a:pt x="5395" y="10326"/>
                </a:lnTo>
                <a:lnTo>
                  <a:pt x="5414" y="10338"/>
                </a:lnTo>
                <a:lnTo>
                  <a:pt x="5410" y="10322"/>
                </a:lnTo>
                <a:lnTo>
                  <a:pt x="5408" y="10308"/>
                </a:lnTo>
                <a:lnTo>
                  <a:pt x="5404" y="10293"/>
                </a:lnTo>
                <a:lnTo>
                  <a:pt x="5400" y="10279"/>
                </a:lnTo>
                <a:close/>
                <a:moveTo>
                  <a:pt x="6755" y="10448"/>
                </a:moveTo>
                <a:lnTo>
                  <a:pt x="6737" y="10441"/>
                </a:lnTo>
                <a:lnTo>
                  <a:pt x="6721" y="10436"/>
                </a:lnTo>
                <a:lnTo>
                  <a:pt x="6703" y="10434"/>
                </a:lnTo>
                <a:lnTo>
                  <a:pt x="6684" y="10434"/>
                </a:lnTo>
                <a:lnTo>
                  <a:pt x="6700" y="10446"/>
                </a:lnTo>
                <a:lnTo>
                  <a:pt x="6717" y="10452"/>
                </a:lnTo>
                <a:lnTo>
                  <a:pt x="6736" y="10452"/>
                </a:lnTo>
                <a:lnTo>
                  <a:pt x="6755" y="10448"/>
                </a:lnTo>
                <a:close/>
                <a:moveTo>
                  <a:pt x="6804" y="10235"/>
                </a:moveTo>
                <a:lnTo>
                  <a:pt x="6809" y="10228"/>
                </a:lnTo>
                <a:lnTo>
                  <a:pt x="6810" y="10219"/>
                </a:lnTo>
                <a:lnTo>
                  <a:pt x="6809" y="10208"/>
                </a:lnTo>
                <a:lnTo>
                  <a:pt x="6804" y="10194"/>
                </a:lnTo>
                <a:lnTo>
                  <a:pt x="6790" y="10208"/>
                </a:lnTo>
                <a:lnTo>
                  <a:pt x="6782" y="10223"/>
                </a:lnTo>
                <a:lnTo>
                  <a:pt x="6786" y="10235"/>
                </a:lnTo>
                <a:lnTo>
                  <a:pt x="6804" y="10235"/>
                </a:lnTo>
                <a:close/>
                <a:moveTo>
                  <a:pt x="7673" y="10317"/>
                </a:moveTo>
                <a:lnTo>
                  <a:pt x="7671" y="10330"/>
                </a:lnTo>
                <a:lnTo>
                  <a:pt x="7677" y="10340"/>
                </a:lnTo>
                <a:lnTo>
                  <a:pt x="7686" y="10348"/>
                </a:lnTo>
                <a:lnTo>
                  <a:pt x="7696" y="10356"/>
                </a:lnTo>
                <a:lnTo>
                  <a:pt x="7703" y="10330"/>
                </a:lnTo>
                <a:lnTo>
                  <a:pt x="7703" y="10310"/>
                </a:lnTo>
                <a:lnTo>
                  <a:pt x="7694" y="10301"/>
                </a:lnTo>
                <a:lnTo>
                  <a:pt x="7673" y="10317"/>
                </a:lnTo>
                <a:close/>
                <a:moveTo>
                  <a:pt x="6518" y="10137"/>
                </a:moveTo>
                <a:lnTo>
                  <a:pt x="6542" y="10135"/>
                </a:lnTo>
                <a:lnTo>
                  <a:pt x="6544" y="10123"/>
                </a:lnTo>
                <a:lnTo>
                  <a:pt x="6530" y="10106"/>
                </a:lnTo>
                <a:lnTo>
                  <a:pt x="6508" y="10091"/>
                </a:lnTo>
                <a:lnTo>
                  <a:pt x="6508" y="10106"/>
                </a:lnTo>
                <a:lnTo>
                  <a:pt x="6507" y="10118"/>
                </a:lnTo>
                <a:lnTo>
                  <a:pt x="6511" y="10128"/>
                </a:lnTo>
                <a:lnTo>
                  <a:pt x="6518" y="10137"/>
                </a:lnTo>
                <a:close/>
                <a:moveTo>
                  <a:pt x="5264" y="10361"/>
                </a:moveTo>
                <a:lnTo>
                  <a:pt x="5263" y="10380"/>
                </a:lnTo>
                <a:lnTo>
                  <a:pt x="5273" y="10375"/>
                </a:lnTo>
                <a:lnTo>
                  <a:pt x="5291" y="10371"/>
                </a:lnTo>
                <a:lnTo>
                  <a:pt x="5314" y="10389"/>
                </a:lnTo>
                <a:lnTo>
                  <a:pt x="5321" y="10373"/>
                </a:lnTo>
                <a:lnTo>
                  <a:pt x="5305" y="10361"/>
                </a:lnTo>
                <a:lnTo>
                  <a:pt x="5282" y="10356"/>
                </a:lnTo>
                <a:lnTo>
                  <a:pt x="5264" y="10361"/>
                </a:lnTo>
                <a:close/>
                <a:moveTo>
                  <a:pt x="7466" y="10342"/>
                </a:moveTo>
                <a:lnTo>
                  <a:pt x="7449" y="10340"/>
                </a:lnTo>
                <a:lnTo>
                  <a:pt x="7431" y="10338"/>
                </a:lnTo>
                <a:lnTo>
                  <a:pt x="7415" y="10339"/>
                </a:lnTo>
                <a:lnTo>
                  <a:pt x="7401" y="10348"/>
                </a:lnTo>
                <a:lnTo>
                  <a:pt x="7415" y="10361"/>
                </a:lnTo>
                <a:lnTo>
                  <a:pt x="7438" y="10362"/>
                </a:lnTo>
                <a:lnTo>
                  <a:pt x="7457" y="10356"/>
                </a:lnTo>
                <a:lnTo>
                  <a:pt x="7466" y="10342"/>
                </a:lnTo>
                <a:close/>
                <a:moveTo>
                  <a:pt x="6984" y="10406"/>
                </a:moveTo>
                <a:lnTo>
                  <a:pt x="6967" y="10418"/>
                </a:lnTo>
                <a:lnTo>
                  <a:pt x="6947" y="10415"/>
                </a:lnTo>
                <a:lnTo>
                  <a:pt x="6927" y="10413"/>
                </a:lnTo>
                <a:lnTo>
                  <a:pt x="6908" y="10423"/>
                </a:lnTo>
                <a:lnTo>
                  <a:pt x="6942" y="10429"/>
                </a:lnTo>
                <a:lnTo>
                  <a:pt x="6982" y="10432"/>
                </a:lnTo>
                <a:lnTo>
                  <a:pt x="7003" y="10427"/>
                </a:lnTo>
                <a:lnTo>
                  <a:pt x="6984" y="10406"/>
                </a:lnTo>
                <a:close/>
                <a:moveTo>
                  <a:pt x="6129" y="10378"/>
                </a:moveTo>
                <a:lnTo>
                  <a:pt x="6102" y="10373"/>
                </a:lnTo>
                <a:lnTo>
                  <a:pt x="6087" y="10375"/>
                </a:lnTo>
                <a:lnTo>
                  <a:pt x="6087" y="10384"/>
                </a:lnTo>
                <a:lnTo>
                  <a:pt x="6108" y="10403"/>
                </a:lnTo>
                <a:lnTo>
                  <a:pt x="6140" y="10395"/>
                </a:lnTo>
                <a:lnTo>
                  <a:pt x="6164" y="10386"/>
                </a:lnTo>
                <a:lnTo>
                  <a:pt x="6167" y="10380"/>
                </a:lnTo>
                <a:lnTo>
                  <a:pt x="6129" y="10378"/>
                </a:lnTo>
                <a:close/>
                <a:moveTo>
                  <a:pt x="7428" y="10429"/>
                </a:moveTo>
                <a:lnTo>
                  <a:pt x="7410" y="10433"/>
                </a:lnTo>
                <a:lnTo>
                  <a:pt x="7387" y="10440"/>
                </a:lnTo>
                <a:lnTo>
                  <a:pt x="7373" y="10447"/>
                </a:lnTo>
                <a:lnTo>
                  <a:pt x="7382" y="10457"/>
                </a:lnTo>
                <a:lnTo>
                  <a:pt x="7408" y="10457"/>
                </a:lnTo>
                <a:lnTo>
                  <a:pt x="7438" y="10454"/>
                </a:lnTo>
                <a:lnTo>
                  <a:pt x="7450" y="10445"/>
                </a:lnTo>
                <a:lnTo>
                  <a:pt x="7428" y="10429"/>
                </a:lnTo>
                <a:close/>
                <a:moveTo>
                  <a:pt x="7699" y="10261"/>
                </a:moveTo>
                <a:lnTo>
                  <a:pt x="7678" y="10265"/>
                </a:lnTo>
                <a:lnTo>
                  <a:pt x="7655" y="10260"/>
                </a:lnTo>
                <a:lnTo>
                  <a:pt x="7633" y="10259"/>
                </a:lnTo>
                <a:lnTo>
                  <a:pt x="7620" y="10269"/>
                </a:lnTo>
                <a:lnTo>
                  <a:pt x="7662" y="10280"/>
                </a:lnTo>
                <a:lnTo>
                  <a:pt x="7710" y="10278"/>
                </a:lnTo>
                <a:lnTo>
                  <a:pt x="7733" y="10269"/>
                </a:lnTo>
                <a:lnTo>
                  <a:pt x="7699" y="10261"/>
                </a:lnTo>
                <a:close/>
                <a:moveTo>
                  <a:pt x="7741" y="10270"/>
                </a:moveTo>
                <a:lnTo>
                  <a:pt x="7741" y="10270"/>
                </a:lnTo>
                <a:lnTo>
                  <a:pt x="7741" y="10270"/>
                </a:lnTo>
                <a:lnTo>
                  <a:pt x="7741" y="10270"/>
                </a:lnTo>
                <a:lnTo>
                  <a:pt x="7741" y="10270"/>
                </a:lnTo>
                <a:close/>
                <a:moveTo>
                  <a:pt x="7183" y="10409"/>
                </a:moveTo>
                <a:lnTo>
                  <a:pt x="7194" y="10420"/>
                </a:lnTo>
                <a:lnTo>
                  <a:pt x="7194" y="10428"/>
                </a:lnTo>
                <a:lnTo>
                  <a:pt x="7187" y="10433"/>
                </a:lnTo>
                <a:lnTo>
                  <a:pt x="7172" y="10442"/>
                </a:lnTo>
                <a:lnTo>
                  <a:pt x="7222" y="10448"/>
                </a:lnTo>
                <a:lnTo>
                  <a:pt x="7240" y="10426"/>
                </a:lnTo>
                <a:lnTo>
                  <a:pt x="7228" y="10403"/>
                </a:lnTo>
                <a:lnTo>
                  <a:pt x="7183" y="10409"/>
                </a:lnTo>
                <a:close/>
                <a:moveTo>
                  <a:pt x="6036" y="10401"/>
                </a:moveTo>
                <a:lnTo>
                  <a:pt x="5968" y="10389"/>
                </a:lnTo>
                <a:lnTo>
                  <a:pt x="5912" y="10372"/>
                </a:lnTo>
                <a:lnTo>
                  <a:pt x="5874" y="10368"/>
                </a:lnTo>
                <a:lnTo>
                  <a:pt x="5865" y="10395"/>
                </a:lnTo>
                <a:lnTo>
                  <a:pt x="5926" y="10399"/>
                </a:lnTo>
                <a:lnTo>
                  <a:pt x="5978" y="10420"/>
                </a:lnTo>
                <a:lnTo>
                  <a:pt x="6016" y="10431"/>
                </a:lnTo>
                <a:lnTo>
                  <a:pt x="6036" y="10401"/>
                </a:lnTo>
                <a:close/>
                <a:moveTo>
                  <a:pt x="1832" y="1604"/>
                </a:moveTo>
                <a:lnTo>
                  <a:pt x="1833" y="1604"/>
                </a:lnTo>
                <a:lnTo>
                  <a:pt x="1833" y="1604"/>
                </a:lnTo>
                <a:lnTo>
                  <a:pt x="1833" y="1604"/>
                </a:lnTo>
                <a:lnTo>
                  <a:pt x="1833" y="1603"/>
                </a:lnTo>
                <a:lnTo>
                  <a:pt x="1832" y="1603"/>
                </a:lnTo>
                <a:lnTo>
                  <a:pt x="1833" y="1603"/>
                </a:lnTo>
                <a:lnTo>
                  <a:pt x="1832" y="1604"/>
                </a:lnTo>
                <a:close/>
                <a:moveTo>
                  <a:pt x="1832" y="1603"/>
                </a:moveTo>
                <a:lnTo>
                  <a:pt x="1832" y="1604"/>
                </a:lnTo>
                <a:lnTo>
                  <a:pt x="1832" y="1603"/>
                </a:lnTo>
                <a:lnTo>
                  <a:pt x="1832" y="1603"/>
                </a:lnTo>
                <a:close/>
                <a:moveTo>
                  <a:pt x="7147" y="699"/>
                </a:moveTo>
                <a:lnTo>
                  <a:pt x="7147" y="704"/>
                </a:lnTo>
                <a:lnTo>
                  <a:pt x="7147" y="703"/>
                </a:lnTo>
                <a:lnTo>
                  <a:pt x="7149" y="702"/>
                </a:lnTo>
                <a:lnTo>
                  <a:pt x="7149" y="700"/>
                </a:lnTo>
                <a:lnTo>
                  <a:pt x="7147" y="699"/>
                </a:lnTo>
                <a:close/>
                <a:moveTo>
                  <a:pt x="9343" y="1023"/>
                </a:moveTo>
                <a:lnTo>
                  <a:pt x="9342" y="1024"/>
                </a:lnTo>
                <a:lnTo>
                  <a:pt x="9342" y="1025"/>
                </a:lnTo>
                <a:lnTo>
                  <a:pt x="9343" y="1025"/>
                </a:lnTo>
                <a:lnTo>
                  <a:pt x="9344" y="1025"/>
                </a:lnTo>
                <a:lnTo>
                  <a:pt x="9343" y="1023"/>
                </a:lnTo>
                <a:close/>
                <a:moveTo>
                  <a:pt x="9077" y="930"/>
                </a:moveTo>
                <a:lnTo>
                  <a:pt x="9073" y="930"/>
                </a:lnTo>
                <a:lnTo>
                  <a:pt x="9069" y="931"/>
                </a:lnTo>
                <a:lnTo>
                  <a:pt x="9073" y="931"/>
                </a:lnTo>
                <a:lnTo>
                  <a:pt x="9077" y="930"/>
                </a:lnTo>
                <a:close/>
                <a:moveTo>
                  <a:pt x="2590" y="1017"/>
                </a:moveTo>
                <a:lnTo>
                  <a:pt x="2591" y="1015"/>
                </a:lnTo>
                <a:lnTo>
                  <a:pt x="2591" y="1014"/>
                </a:lnTo>
                <a:lnTo>
                  <a:pt x="2591" y="1015"/>
                </a:lnTo>
                <a:lnTo>
                  <a:pt x="2590" y="1017"/>
                </a:lnTo>
                <a:close/>
                <a:moveTo>
                  <a:pt x="2590" y="1023"/>
                </a:moveTo>
                <a:lnTo>
                  <a:pt x="2590" y="1019"/>
                </a:lnTo>
                <a:lnTo>
                  <a:pt x="2590" y="1019"/>
                </a:lnTo>
                <a:lnTo>
                  <a:pt x="2590" y="1020"/>
                </a:lnTo>
                <a:lnTo>
                  <a:pt x="2590" y="1023"/>
                </a:lnTo>
                <a:close/>
                <a:moveTo>
                  <a:pt x="8199" y="856"/>
                </a:moveTo>
                <a:lnTo>
                  <a:pt x="8201" y="856"/>
                </a:lnTo>
                <a:lnTo>
                  <a:pt x="8198" y="854"/>
                </a:lnTo>
                <a:lnTo>
                  <a:pt x="8197" y="860"/>
                </a:lnTo>
                <a:lnTo>
                  <a:pt x="8197" y="862"/>
                </a:lnTo>
                <a:lnTo>
                  <a:pt x="8197" y="861"/>
                </a:lnTo>
                <a:lnTo>
                  <a:pt x="8199" y="856"/>
                </a:lnTo>
                <a:close/>
                <a:moveTo>
                  <a:pt x="11760" y="1641"/>
                </a:moveTo>
                <a:lnTo>
                  <a:pt x="11759" y="1640"/>
                </a:lnTo>
                <a:lnTo>
                  <a:pt x="11757" y="1640"/>
                </a:lnTo>
                <a:lnTo>
                  <a:pt x="11759" y="1641"/>
                </a:lnTo>
                <a:lnTo>
                  <a:pt x="11760" y="1641"/>
                </a:lnTo>
                <a:close/>
                <a:moveTo>
                  <a:pt x="11764" y="1644"/>
                </a:moveTo>
                <a:lnTo>
                  <a:pt x="11761" y="1642"/>
                </a:lnTo>
                <a:lnTo>
                  <a:pt x="11761" y="1642"/>
                </a:lnTo>
                <a:lnTo>
                  <a:pt x="11763" y="1644"/>
                </a:lnTo>
                <a:lnTo>
                  <a:pt x="11764" y="1644"/>
                </a:lnTo>
                <a:close/>
                <a:moveTo>
                  <a:pt x="8204" y="856"/>
                </a:moveTo>
                <a:lnTo>
                  <a:pt x="8202" y="856"/>
                </a:lnTo>
                <a:lnTo>
                  <a:pt x="8202" y="857"/>
                </a:lnTo>
                <a:lnTo>
                  <a:pt x="8203" y="857"/>
                </a:lnTo>
                <a:lnTo>
                  <a:pt x="8204" y="856"/>
                </a:lnTo>
                <a:close/>
                <a:moveTo>
                  <a:pt x="2698" y="744"/>
                </a:moveTo>
                <a:lnTo>
                  <a:pt x="2696" y="744"/>
                </a:lnTo>
                <a:lnTo>
                  <a:pt x="2695" y="744"/>
                </a:lnTo>
                <a:lnTo>
                  <a:pt x="2698" y="745"/>
                </a:lnTo>
                <a:lnTo>
                  <a:pt x="2698" y="744"/>
                </a:lnTo>
                <a:close/>
                <a:moveTo>
                  <a:pt x="2702" y="746"/>
                </a:moveTo>
                <a:lnTo>
                  <a:pt x="2704" y="742"/>
                </a:lnTo>
                <a:lnTo>
                  <a:pt x="2705" y="741"/>
                </a:lnTo>
                <a:lnTo>
                  <a:pt x="2703" y="742"/>
                </a:lnTo>
                <a:lnTo>
                  <a:pt x="2699" y="745"/>
                </a:lnTo>
                <a:lnTo>
                  <a:pt x="2700" y="745"/>
                </a:lnTo>
                <a:lnTo>
                  <a:pt x="2702" y="746"/>
                </a:lnTo>
                <a:close/>
                <a:moveTo>
                  <a:pt x="9213" y="1109"/>
                </a:moveTo>
                <a:lnTo>
                  <a:pt x="9212" y="1109"/>
                </a:lnTo>
                <a:lnTo>
                  <a:pt x="9213" y="1109"/>
                </a:lnTo>
                <a:lnTo>
                  <a:pt x="9213" y="1109"/>
                </a:lnTo>
                <a:lnTo>
                  <a:pt x="9213" y="1109"/>
                </a:lnTo>
                <a:close/>
                <a:moveTo>
                  <a:pt x="8948" y="1084"/>
                </a:moveTo>
                <a:lnTo>
                  <a:pt x="8947" y="1086"/>
                </a:lnTo>
                <a:lnTo>
                  <a:pt x="8947" y="1087"/>
                </a:lnTo>
                <a:lnTo>
                  <a:pt x="8947" y="1087"/>
                </a:lnTo>
                <a:lnTo>
                  <a:pt x="8949" y="1087"/>
                </a:lnTo>
                <a:lnTo>
                  <a:pt x="8948" y="1084"/>
                </a:lnTo>
                <a:close/>
                <a:moveTo>
                  <a:pt x="9438" y="963"/>
                </a:moveTo>
                <a:lnTo>
                  <a:pt x="9438" y="965"/>
                </a:lnTo>
                <a:lnTo>
                  <a:pt x="9436" y="973"/>
                </a:lnTo>
                <a:lnTo>
                  <a:pt x="9437" y="968"/>
                </a:lnTo>
                <a:lnTo>
                  <a:pt x="9438" y="963"/>
                </a:lnTo>
                <a:close/>
                <a:moveTo>
                  <a:pt x="11402" y="1236"/>
                </a:moveTo>
                <a:lnTo>
                  <a:pt x="11401" y="1236"/>
                </a:lnTo>
                <a:lnTo>
                  <a:pt x="11400" y="1236"/>
                </a:lnTo>
                <a:lnTo>
                  <a:pt x="11401" y="1238"/>
                </a:lnTo>
                <a:lnTo>
                  <a:pt x="11401" y="1240"/>
                </a:lnTo>
                <a:lnTo>
                  <a:pt x="11402" y="1236"/>
                </a:lnTo>
                <a:close/>
                <a:moveTo>
                  <a:pt x="11307" y="1216"/>
                </a:moveTo>
                <a:lnTo>
                  <a:pt x="11305" y="1216"/>
                </a:lnTo>
                <a:lnTo>
                  <a:pt x="11304" y="1216"/>
                </a:lnTo>
                <a:lnTo>
                  <a:pt x="11307" y="1217"/>
                </a:lnTo>
                <a:lnTo>
                  <a:pt x="11307" y="1216"/>
                </a:lnTo>
                <a:close/>
                <a:moveTo>
                  <a:pt x="2544" y="842"/>
                </a:moveTo>
                <a:lnTo>
                  <a:pt x="2544" y="840"/>
                </a:lnTo>
                <a:lnTo>
                  <a:pt x="2544" y="840"/>
                </a:lnTo>
                <a:lnTo>
                  <a:pt x="2544" y="842"/>
                </a:lnTo>
                <a:lnTo>
                  <a:pt x="2544" y="842"/>
                </a:lnTo>
                <a:lnTo>
                  <a:pt x="2546" y="846"/>
                </a:lnTo>
                <a:lnTo>
                  <a:pt x="2547" y="848"/>
                </a:lnTo>
                <a:lnTo>
                  <a:pt x="2550" y="848"/>
                </a:lnTo>
                <a:lnTo>
                  <a:pt x="2554" y="848"/>
                </a:lnTo>
                <a:lnTo>
                  <a:pt x="2549" y="844"/>
                </a:lnTo>
                <a:lnTo>
                  <a:pt x="2544" y="842"/>
                </a:lnTo>
                <a:close/>
                <a:moveTo>
                  <a:pt x="9968" y="1098"/>
                </a:moveTo>
                <a:lnTo>
                  <a:pt x="9968" y="1095"/>
                </a:lnTo>
                <a:lnTo>
                  <a:pt x="9968" y="1093"/>
                </a:lnTo>
                <a:lnTo>
                  <a:pt x="9967" y="1091"/>
                </a:lnTo>
                <a:lnTo>
                  <a:pt x="9964" y="1093"/>
                </a:lnTo>
                <a:lnTo>
                  <a:pt x="9964" y="1094"/>
                </a:lnTo>
                <a:lnTo>
                  <a:pt x="9966" y="1096"/>
                </a:lnTo>
                <a:lnTo>
                  <a:pt x="9967" y="1098"/>
                </a:lnTo>
                <a:lnTo>
                  <a:pt x="9968" y="1098"/>
                </a:lnTo>
                <a:close/>
                <a:moveTo>
                  <a:pt x="10022" y="1124"/>
                </a:moveTo>
                <a:lnTo>
                  <a:pt x="10022" y="1123"/>
                </a:lnTo>
                <a:lnTo>
                  <a:pt x="10022" y="1121"/>
                </a:lnTo>
                <a:lnTo>
                  <a:pt x="10020" y="1121"/>
                </a:lnTo>
                <a:lnTo>
                  <a:pt x="10019" y="1121"/>
                </a:lnTo>
                <a:lnTo>
                  <a:pt x="10019" y="1123"/>
                </a:lnTo>
                <a:lnTo>
                  <a:pt x="10019" y="1124"/>
                </a:lnTo>
                <a:lnTo>
                  <a:pt x="10020" y="1126"/>
                </a:lnTo>
                <a:lnTo>
                  <a:pt x="10022" y="1124"/>
                </a:lnTo>
                <a:close/>
                <a:moveTo>
                  <a:pt x="7555" y="774"/>
                </a:moveTo>
                <a:lnTo>
                  <a:pt x="7554" y="776"/>
                </a:lnTo>
                <a:lnTo>
                  <a:pt x="7552" y="777"/>
                </a:lnTo>
                <a:lnTo>
                  <a:pt x="7554" y="777"/>
                </a:lnTo>
                <a:lnTo>
                  <a:pt x="7555" y="778"/>
                </a:lnTo>
                <a:lnTo>
                  <a:pt x="7555" y="774"/>
                </a:lnTo>
                <a:close/>
                <a:moveTo>
                  <a:pt x="8611" y="1057"/>
                </a:moveTo>
                <a:lnTo>
                  <a:pt x="8611" y="1054"/>
                </a:lnTo>
                <a:lnTo>
                  <a:pt x="8611" y="1057"/>
                </a:lnTo>
                <a:lnTo>
                  <a:pt x="8613" y="1054"/>
                </a:lnTo>
                <a:lnTo>
                  <a:pt x="8611" y="1057"/>
                </a:lnTo>
                <a:close/>
                <a:moveTo>
                  <a:pt x="8421" y="927"/>
                </a:moveTo>
                <a:lnTo>
                  <a:pt x="8422" y="925"/>
                </a:lnTo>
                <a:lnTo>
                  <a:pt x="8422" y="923"/>
                </a:lnTo>
                <a:lnTo>
                  <a:pt x="8421" y="922"/>
                </a:lnTo>
                <a:lnTo>
                  <a:pt x="8420" y="921"/>
                </a:lnTo>
                <a:lnTo>
                  <a:pt x="8418" y="923"/>
                </a:lnTo>
                <a:lnTo>
                  <a:pt x="8418" y="926"/>
                </a:lnTo>
                <a:lnTo>
                  <a:pt x="8418" y="927"/>
                </a:lnTo>
                <a:lnTo>
                  <a:pt x="8421" y="927"/>
                </a:lnTo>
                <a:close/>
                <a:moveTo>
                  <a:pt x="8454" y="921"/>
                </a:moveTo>
                <a:lnTo>
                  <a:pt x="8453" y="922"/>
                </a:lnTo>
                <a:lnTo>
                  <a:pt x="8453" y="923"/>
                </a:lnTo>
                <a:lnTo>
                  <a:pt x="8453" y="923"/>
                </a:lnTo>
                <a:lnTo>
                  <a:pt x="8454" y="925"/>
                </a:lnTo>
                <a:lnTo>
                  <a:pt x="8454" y="921"/>
                </a:lnTo>
                <a:close/>
                <a:moveTo>
                  <a:pt x="8942" y="1043"/>
                </a:moveTo>
                <a:lnTo>
                  <a:pt x="8943" y="1045"/>
                </a:lnTo>
                <a:lnTo>
                  <a:pt x="8944" y="1047"/>
                </a:lnTo>
                <a:lnTo>
                  <a:pt x="8946" y="1047"/>
                </a:lnTo>
                <a:lnTo>
                  <a:pt x="8947" y="1047"/>
                </a:lnTo>
                <a:lnTo>
                  <a:pt x="8947" y="1044"/>
                </a:lnTo>
                <a:lnTo>
                  <a:pt x="8946" y="1043"/>
                </a:lnTo>
                <a:lnTo>
                  <a:pt x="8944" y="1042"/>
                </a:lnTo>
                <a:lnTo>
                  <a:pt x="8942" y="1043"/>
                </a:lnTo>
                <a:close/>
                <a:moveTo>
                  <a:pt x="9227" y="1024"/>
                </a:moveTo>
                <a:lnTo>
                  <a:pt x="9223" y="1024"/>
                </a:lnTo>
                <a:lnTo>
                  <a:pt x="9223" y="1028"/>
                </a:lnTo>
                <a:lnTo>
                  <a:pt x="9223" y="1030"/>
                </a:lnTo>
                <a:lnTo>
                  <a:pt x="9227" y="1029"/>
                </a:lnTo>
                <a:lnTo>
                  <a:pt x="9227" y="1026"/>
                </a:lnTo>
                <a:lnTo>
                  <a:pt x="9227" y="1024"/>
                </a:lnTo>
                <a:close/>
                <a:moveTo>
                  <a:pt x="9443" y="1112"/>
                </a:moveTo>
                <a:lnTo>
                  <a:pt x="9441" y="1109"/>
                </a:lnTo>
                <a:lnTo>
                  <a:pt x="9440" y="1108"/>
                </a:lnTo>
                <a:lnTo>
                  <a:pt x="9440" y="1110"/>
                </a:lnTo>
                <a:lnTo>
                  <a:pt x="9441" y="1112"/>
                </a:lnTo>
                <a:lnTo>
                  <a:pt x="9442" y="1112"/>
                </a:lnTo>
                <a:lnTo>
                  <a:pt x="9443" y="1112"/>
                </a:lnTo>
                <a:close/>
                <a:moveTo>
                  <a:pt x="9477" y="1105"/>
                </a:moveTo>
                <a:lnTo>
                  <a:pt x="9474" y="1107"/>
                </a:lnTo>
                <a:lnTo>
                  <a:pt x="9474" y="1108"/>
                </a:lnTo>
                <a:lnTo>
                  <a:pt x="9474" y="1108"/>
                </a:lnTo>
                <a:lnTo>
                  <a:pt x="9475" y="1109"/>
                </a:lnTo>
                <a:lnTo>
                  <a:pt x="9477" y="1105"/>
                </a:lnTo>
                <a:close/>
                <a:moveTo>
                  <a:pt x="11605" y="2047"/>
                </a:moveTo>
                <a:lnTo>
                  <a:pt x="11607" y="2047"/>
                </a:lnTo>
                <a:lnTo>
                  <a:pt x="11608" y="2046"/>
                </a:lnTo>
                <a:lnTo>
                  <a:pt x="11608" y="2045"/>
                </a:lnTo>
                <a:lnTo>
                  <a:pt x="11608" y="2042"/>
                </a:lnTo>
                <a:lnTo>
                  <a:pt x="11606" y="2042"/>
                </a:lnTo>
                <a:lnTo>
                  <a:pt x="11605" y="2043"/>
                </a:lnTo>
                <a:lnTo>
                  <a:pt x="11605" y="2045"/>
                </a:lnTo>
                <a:lnTo>
                  <a:pt x="11605" y="2047"/>
                </a:lnTo>
                <a:close/>
                <a:moveTo>
                  <a:pt x="10131" y="1081"/>
                </a:moveTo>
                <a:lnTo>
                  <a:pt x="10130" y="1082"/>
                </a:lnTo>
                <a:lnTo>
                  <a:pt x="10129" y="1084"/>
                </a:lnTo>
                <a:lnTo>
                  <a:pt x="10130" y="1085"/>
                </a:lnTo>
                <a:lnTo>
                  <a:pt x="10131" y="1085"/>
                </a:lnTo>
                <a:lnTo>
                  <a:pt x="10131" y="1081"/>
                </a:lnTo>
                <a:close/>
                <a:moveTo>
                  <a:pt x="10964" y="1458"/>
                </a:moveTo>
                <a:lnTo>
                  <a:pt x="10967" y="1459"/>
                </a:lnTo>
                <a:lnTo>
                  <a:pt x="10969" y="1459"/>
                </a:lnTo>
                <a:lnTo>
                  <a:pt x="10969" y="1458"/>
                </a:lnTo>
                <a:lnTo>
                  <a:pt x="10969" y="1455"/>
                </a:lnTo>
                <a:lnTo>
                  <a:pt x="10968" y="1454"/>
                </a:lnTo>
                <a:lnTo>
                  <a:pt x="10967" y="1454"/>
                </a:lnTo>
                <a:lnTo>
                  <a:pt x="10965" y="1455"/>
                </a:lnTo>
                <a:lnTo>
                  <a:pt x="10964" y="1458"/>
                </a:lnTo>
                <a:close/>
                <a:moveTo>
                  <a:pt x="10085" y="996"/>
                </a:moveTo>
                <a:lnTo>
                  <a:pt x="10083" y="998"/>
                </a:lnTo>
                <a:lnTo>
                  <a:pt x="10083" y="998"/>
                </a:lnTo>
                <a:lnTo>
                  <a:pt x="10084" y="1000"/>
                </a:lnTo>
                <a:lnTo>
                  <a:pt x="10085" y="1001"/>
                </a:lnTo>
                <a:lnTo>
                  <a:pt x="10085" y="996"/>
                </a:lnTo>
                <a:close/>
                <a:moveTo>
                  <a:pt x="10076" y="1076"/>
                </a:moveTo>
                <a:lnTo>
                  <a:pt x="10076" y="1070"/>
                </a:lnTo>
                <a:lnTo>
                  <a:pt x="10075" y="1067"/>
                </a:lnTo>
                <a:lnTo>
                  <a:pt x="10071" y="1066"/>
                </a:lnTo>
                <a:lnTo>
                  <a:pt x="10067" y="1068"/>
                </a:lnTo>
                <a:lnTo>
                  <a:pt x="10067" y="1073"/>
                </a:lnTo>
                <a:lnTo>
                  <a:pt x="10069" y="1077"/>
                </a:lnTo>
                <a:lnTo>
                  <a:pt x="10073" y="1077"/>
                </a:lnTo>
                <a:lnTo>
                  <a:pt x="10076" y="1076"/>
                </a:lnTo>
                <a:close/>
                <a:moveTo>
                  <a:pt x="9182" y="1034"/>
                </a:moveTo>
                <a:lnTo>
                  <a:pt x="9186" y="1034"/>
                </a:lnTo>
                <a:lnTo>
                  <a:pt x="9188" y="1031"/>
                </a:lnTo>
                <a:lnTo>
                  <a:pt x="9188" y="1028"/>
                </a:lnTo>
                <a:lnTo>
                  <a:pt x="9186" y="1024"/>
                </a:lnTo>
                <a:lnTo>
                  <a:pt x="9184" y="1026"/>
                </a:lnTo>
                <a:lnTo>
                  <a:pt x="9181" y="1029"/>
                </a:lnTo>
                <a:lnTo>
                  <a:pt x="9180" y="1031"/>
                </a:lnTo>
                <a:lnTo>
                  <a:pt x="9182" y="1034"/>
                </a:lnTo>
                <a:close/>
                <a:moveTo>
                  <a:pt x="11527" y="1280"/>
                </a:moveTo>
                <a:lnTo>
                  <a:pt x="11526" y="1278"/>
                </a:lnTo>
                <a:lnTo>
                  <a:pt x="11523" y="1277"/>
                </a:lnTo>
                <a:lnTo>
                  <a:pt x="11522" y="1278"/>
                </a:lnTo>
                <a:lnTo>
                  <a:pt x="11521" y="1278"/>
                </a:lnTo>
                <a:lnTo>
                  <a:pt x="11522" y="1281"/>
                </a:lnTo>
                <a:lnTo>
                  <a:pt x="11524" y="1282"/>
                </a:lnTo>
                <a:lnTo>
                  <a:pt x="11526" y="1282"/>
                </a:lnTo>
                <a:lnTo>
                  <a:pt x="11527" y="1280"/>
                </a:lnTo>
                <a:close/>
                <a:moveTo>
                  <a:pt x="2605" y="829"/>
                </a:moveTo>
                <a:lnTo>
                  <a:pt x="2602" y="830"/>
                </a:lnTo>
                <a:lnTo>
                  <a:pt x="2600" y="832"/>
                </a:lnTo>
                <a:lnTo>
                  <a:pt x="2598" y="834"/>
                </a:lnTo>
                <a:lnTo>
                  <a:pt x="2600" y="838"/>
                </a:lnTo>
                <a:lnTo>
                  <a:pt x="2602" y="837"/>
                </a:lnTo>
                <a:lnTo>
                  <a:pt x="2605" y="834"/>
                </a:lnTo>
                <a:lnTo>
                  <a:pt x="2605" y="832"/>
                </a:lnTo>
                <a:lnTo>
                  <a:pt x="2605" y="829"/>
                </a:lnTo>
                <a:close/>
                <a:moveTo>
                  <a:pt x="10187" y="1178"/>
                </a:moveTo>
                <a:lnTo>
                  <a:pt x="10187" y="1175"/>
                </a:lnTo>
                <a:lnTo>
                  <a:pt x="10185" y="1174"/>
                </a:lnTo>
                <a:lnTo>
                  <a:pt x="10183" y="1177"/>
                </a:lnTo>
                <a:lnTo>
                  <a:pt x="10183" y="1179"/>
                </a:lnTo>
                <a:lnTo>
                  <a:pt x="10186" y="1179"/>
                </a:lnTo>
                <a:lnTo>
                  <a:pt x="10187" y="1178"/>
                </a:lnTo>
                <a:close/>
                <a:moveTo>
                  <a:pt x="9452" y="977"/>
                </a:moveTo>
                <a:lnTo>
                  <a:pt x="9454" y="970"/>
                </a:lnTo>
                <a:lnTo>
                  <a:pt x="9451" y="967"/>
                </a:lnTo>
                <a:lnTo>
                  <a:pt x="9446" y="965"/>
                </a:lnTo>
                <a:lnTo>
                  <a:pt x="9440" y="963"/>
                </a:lnTo>
                <a:lnTo>
                  <a:pt x="9442" y="968"/>
                </a:lnTo>
                <a:lnTo>
                  <a:pt x="9446" y="973"/>
                </a:lnTo>
                <a:lnTo>
                  <a:pt x="9449" y="977"/>
                </a:lnTo>
                <a:lnTo>
                  <a:pt x="9452" y="977"/>
                </a:lnTo>
                <a:close/>
                <a:moveTo>
                  <a:pt x="9068" y="944"/>
                </a:moveTo>
                <a:lnTo>
                  <a:pt x="9068" y="945"/>
                </a:lnTo>
                <a:lnTo>
                  <a:pt x="9068" y="946"/>
                </a:lnTo>
                <a:lnTo>
                  <a:pt x="9068" y="945"/>
                </a:lnTo>
                <a:lnTo>
                  <a:pt x="9068" y="944"/>
                </a:lnTo>
                <a:close/>
                <a:moveTo>
                  <a:pt x="9053" y="928"/>
                </a:moveTo>
                <a:lnTo>
                  <a:pt x="9059" y="930"/>
                </a:lnTo>
                <a:lnTo>
                  <a:pt x="9053" y="928"/>
                </a:lnTo>
                <a:lnTo>
                  <a:pt x="9053" y="937"/>
                </a:lnTo>
                <a:lnTo>
                  <a:pt x="9058" y="941"/>
                </a:lnTo>
                <a:lnTo>
                  <a:pt x="9060" y="940"/>
                </a:lnTo>
                <a:lnTo>
                  <a:pt x="9053" y="928"/>
                </a:lnTo>
                <a:close/>
                <a:moveTo>
                  <a:pt x="11310" y="1217"/>
                </a:moveTo>
                <a:lnTo>
                  <a:pt x="11321" y="1220"/>
                </a:lnTo>
                <a:lnTo>
                  <a:pt x="11332" y="1222"/>
                </a:lnTo>
                <a:lnTo>
                  <a:pt x="11326" y="1213"/>
                </a:lnTo>
                <a:lnTo>
                  <a:pt x="11321" y="1210"/>
                </a:lnTo>
                <a:lnTo>
                  <a:pt x="11316" y="1211"/>
                </a:lnTo>
                <a:lnTo>
                  <a:pt x="11310" y="1217"/>
                </a:lnTo>
                <a:close/>
                <a:moveTo>
                  <a:pt x="11309" y="1219"/>
                </a:moveTo>
                <a:lnTo>
                  <a:pt x="11310" y="1217"/>
                </a:lnTo>
                <a:lnTo>
                  <a:pt x="11308" y="1217"/>
                </a:lnTo>
                <a:lnTo>
                  <a:pt x="11309" y="1217"/>
                </a:lnTo>
                <a:lnTo>
                  <a:pt x="11309" y="1219"/>
                </a:lnTo>
                <a:close/>
                <a:moveTo>
                  <a:pt x="10200" y="1095"/>
                </a:moveTo>
                <a:lnTo>
                  <a:pt x="10201" y="1093"/>
                </a:lnTo>
                <a:lnTo>
                  <a:pt x="10199" y="1090"/>
                </a:lnTo>
                <a:lnTo>
                  <a:pt x="10196" y="1091"/>
                </a:lnTo>
                <a:lnTo>
                  <a:pt x="10197" y="1094"/>
                </a:lnTo>
                <a:lnTo>
                  <a:pt x="10199" y="1095"/>
                </a:lnTo>
                <a:lnTo>
                  <a:pt x="10200" y="1095"/>
                </a:lnTo>
                <a:close/>
                <a:moveTo>
                  <a:pt x="9186" y="1112"/>
                </a:moveTo>
                <a:lnTo>
                  <a:pt x="9184" y="1113"/>
                </a:lnTo>
                <a:lnTo>
                  <a:pt x="9184" y="1115"/>
                </a:lnTo>
                <a:lnTo>
                  <a:pt x="9184" y="1118"/>
                </a:lnTo>
                <a:lnTo>
                  <a:pt x="9184" y="1122"/>
                </a:lnTo>
                <a:lnTo>
                  <a:pt x="9188" y="1121"/>
                </a:lnTo>
                <a:lnTo>
                  <a:pt x="9190" y="1118"/>
                </a:lnTo>
                <a:lnTo>
                  <a:pt x="9190" y="1115"/>
                </a:lnTo>
                <a:lnTo>
                  <a:pt x="9186" y="1112"/>
                </a:lnTo>
                <a:close/>
                <a:moveTo>
                  <a:pt x="9382" y="1115"/>
                </a:moveTo>
                <a:lnTo>
                  <a:pt x="9386" y="1115"/>
                </a:lnTo>
                <a:lnTo>
                  <a:pt x="9389" y="1113"/>
                </a:lnTo>
                <a:lnTo>
                  <a:pt x="9389" y="1109"/>
                </a:lnTo>
                <a:lnTo>
                  <a:pt x="9387" y="1105"/>
                </a:lnTo>
                <a:lnTo>
                  <a:pt x="9384" y="1104"/>
                </a:lnTo>
                <a:lnTo>
                  <a:pt x="9381" y="1107"/>
                </a:lnTo>
                <a:lnTo>
                  <a:pt x="9381" y="1110"/>
                </a:lnTo>
                <a:lnTo>
                  <a:pt x="9382" y="1115"/>
                </a:lnTo>
                <a:close/>
                <a:moveTo>
                  <a:pt x="9529" y="1107"/>
                </a:moveTo>
                <a:lnTo>
                  <a:pt x="9528" y="1103"/>
                </a:lnTo>
                <a:lnTo>
                  <a:pt x="9528" y="1101"/>
                </a:lnTo>
                <a:lnTo>
                  <a:pt x="9522" y="1103"/>
                </a:lnTo>
                <a:lnTo>
                  <a:pt x="9521" y="1105"/>
                </a:lnTo>
                <a:lnTo>
                  <a:pt x="9524" y="1108"/>
                </a:lnTo>
                <a:lnTo>
                  <a:pt x="9529" y="1107"/>
                </a:lnTo>
                <a:close/>
                <a:moveTo>
                  <a:pt x="9385" y="1063"/>
                </a:moveTo>
                <a:lnTo>
                  <a:pt x="9382" y="1065"/>
                </a:lnTo>
                <a:lnTo>
                  <a:pt x="9382" y="1066"/>
                </a:lnTo>
                <a:lnTo>
                  <a:pt x="9382" y="1070"/>
                </a:lnTo>
                <a:lnTo>
                  <a:pt x="9384" y="1072"/>
                </a:lnTo>
                <a:lnTo>
                  <a:pt x="9386" y="1072"/>
                </a:lnTo>
                <a:lnTo>
                  <a:pt x="9387" y="1070"/>
                </a:lnTo>
                <a:lnTo>
                  <a:pt x="9386" y="1066"/>
                </a:lnTo>
                <a:lnTo>
                  <a:pt x="9385" y="1063"/>
                </a:lnTo>
                <a:close/>
                <a:moveTo>
                  <a:pt x="8576" y="982"/>
                </a:moveTo>
                <a:lnTo>
                  <a:pt x="8579" y="982"/>
                </a:lnTo>
                <a:lnTo>
                  <a:pt x="8581" y="981"/>
                </a:lnTo>
                <a:lnTo>
                  <a:pt x="8581" y="979"/>
                </a:lnTo>
                <a:lnTo>
                  <a:pt x="8581" y="977"/>
                </a:lnTo>
                <a:lnTo>
                  <a:pt x="8579" y="977"/>
                </a:lnTo>
                <a:lnTo>
                  <a:pt x="8577" y="978"/>
                </a:lnTo>
                <a:lnTo>
                  <a:pt x="8576" y="979"/>
                </a:lnTo>
                <a:lnTo>
                  <a:pt x="8576" y="982"/>
                </a:lnTo>
                <a:close/>
                <a:moveTo>
                  <a:pt x="8714" y="1049"/>
                </a:moveTo>
                <a:lnTo>
                  <a:pt x="8712" y="1044"/>
                </a:lnTo>
                <a:lnTo>
                  <a:pt x="8710" y="1042"/>
                </a:lnTo>
                <a:lnTo>
                  <a:pt x="8707" y="1042"/>
                </a:lnTo>
                <a:lnTo>
                  <a:pt x="8704" y="1044"/>
                </a:lnTo>
                <a:lnTo>
                  <a:pt x="8705" y="1049"/>
                </a:lnTo>
                <a:lnTo>
                  <a:pt x="8707" y="1052"/>
                </a:lnTo>
                <a:lnTo>
                  <a:pt x="8710" y="1052"/>
                </a:lnTo>
                <a:lnTo>
                  <a:pt x="8714" y="1049"/>
                </a:lnTo>
                <a:close/>
                <a:moveTo>
                  <a:pt x="9063" y="1219"/>
                </a:moveTo>
                <a:lnTo>
                  <a:pt x="9064" y="1216"/>
                </a:lnTo>
                <a:lnTo>
                  <a:pt x="9064" y="1212"/>
                </a:lnTo>
                <a:lnTo>
                  <a:pt x="9063" y="1210"/>
                </a:lnTo>
                <a:lnTo>
                  <a:pt x="9060" y="1206"/>
                </a:lnTo>
                <a:lnTo>
                  <a:pt x="9059" y="1210"/>
                </a:lnTo>
                <a:lnTo>
                  <a:pt x="9059" y="1212"/>
                </a:lnTo>
                <a:lnTo>
                  <a:pt x="9060" y="1216"/>
                </a:lnTo>
                <a:lnTo>
                  <a:pt x="9063" y="1219"/>
                </a:lnTo>
                <a:close/>
                <a:moveTo>
                  <a:pt x="8910" y="1191"/>
                </a:moveTo>
                <a:lnTo>
                  <a:pt x="8911" y="1185"/>
                </a:lnTo>
                <a:lnTo>
                  <a:pt x="8912" y="1180"/>
                </a:lnTo>
                <a:lnTo>
                  <a:pt x="8909" y="1180"/>
                </a:lnTo>
                <a:lnTo>
                  <a:pt x="8906" y="1184"/>
                </a:lnTo>
                <a:lnTo>
                  <a:pt x="8906" y="1189"/>
                </a:lnTo>
                <a:lnTo>
                  <a:pt x="8910" y="1191"/>
                </a:lnTo>
                <a:close/>
                <a:moveTo>
                  <a:pt x="9012" y="1080"/>
                </a:moveTo>
                <a:lnTo>
                  <a:pt x="9016" y="1070"/>
                </a:lnTo>
                <a:lnTo>
                  <a:pt x="9017" y="1061"/>
                </a:lnTo>
                <a:lnTo>
                  <a:pt x="9017" y="1052"/>
                </a:lnTo>
                <a:lnTo>
                  <a:pt x="9014" y="1045"/>
                </a:lnTo>
                <a:lnTo>
                  <a:pt x="9016" y="1045"/>
                </a:lnTo>
                <a:lnTo>
                  <a:pt x="9016" y="1045"/>
                </a:lnTo>
                <a:lnTo>
                  <a:pt x="9014" y="1044"/>
                </a:lnTo>
                <a:lnTo>
                  <a:pt x="9003" y="1031"/>
                </a:lnTo>
                <a:lnTo>
                  <a:pt x="8990" y="1030"/>
                </a:lnTo>
                <a:lnTo>
                  <a:pt x="8982" y="1037"/>
                </a:lnTo>
                <a:lnTo>
                  <a:pt x="8988" y="1051"/>
                </a:lnTo>
                <a:lnTo>
                  <a:pt x="8993" y="1089"/>
                </a:lnTo>
                <a:lnTo>
                  <a:pt x="9008" y="1094"/>
                </a:lnTo>
                <a:lnTo>
                  <a:pt x="9019" y="1085"/>
                </a:lnTo>
                <a:lnTo>
                  <a:pt x="9012" y="1080"/>
                </a:lnTo>
                <a:close/>
                <a:moveTo>
                  <a:pt x="8437" y="832"/>
                </a:moveTo>
                <a:lnTo>
                  <a:pt x="8436" y="826"/>
                </a:lnTo>
                <a:lnTo>
                  <a:pt x="8435" y="824"/>
                </a:lnTo>
                <a:lnTo>
                  <a:pt x="8432" y="824"/>
                </a:lnTo>
                <a:lnTo>
                  <a:pt x="8428" y="825"/>
                </a:lnTo>
                <a:lnTo>
                  <a:pt x="8428" y="830"/>
                </a:lnTo>
                <a:lnTo>
                  <a:pt x="8430" y="833"/>
                </a:lnTo>
                <a:lnTo>
                  <a:pt x="8432" y="833"/>
                </a:lnTo>
                <a:lnTo>
                  <a:pt x="8437" y="832"/>
                </a:lnTo>
                <a:close/>
                <a:moveTo>
                  <a:pt x="8371" y="829"/>
                </a:moveTo>
                <a:lnTo>
                  <a:pt x="8370" y="821"/>
                </a:lnTo>
                <a:lnTo>
                  <a:pt x="8369" y="816"/>
                </a:lnTo>
                <a:lnTo>
                  <a:pt x="8364" y="814"/>
                </a:lnTo>
                <a:lnTo>
                  <a:pt x="8356" y="815"/>
                </a:lnTo>
                <a:lnTo>
                  <a:pt x="8358" y="823"/>
                </a:lnTo>
                <a:lnTo>
                  <a:pt x="8361" y="830"/>
                </a:lnTo>
                <a:lnTo>
                  <a:pt x="8365" y="834"/>
                </a:lnTo>
                <a:lnTo>
                  <a:pt x="8371" y="829"/>
                </a:lnTo>
                <a:close/>
                <a:moveTo>
                  <a:pt x="9917" y="1042"/>
                </a:moveTo>
                <a:lnTo>
                  <a:pt x="9912" y="1047"/>
                </a:lnTo>
                <a:lnTo>
                  <a:pt x="9911" y="1053"/>
                </a:lnTo>
                <a:lnTo>
                  <a:pt x="9912" y="1058"/>
                </a:lnTo>
                <a:lnTo>
                  <a:pt x="9917" y="1063"/>
                </a:lnTo>
                <a:lnTo>
                  <a:pt x="9920" y="1058"/>
                </a:lnTo>
                <a:lnTo>
                  <a:pt x="9921" y="1052"/>
                </a:lnTo>
                <a:lnTo>
                  <a:pt x="9921" y="1047"/>
                </a:lnTo>
                <a:lnTo>
                  <a:pt x="9917" y="1042"/>
                </a:lnTo>
                <a:close/>
                <a:moveTo>
                  <a:pt x="8543" y="1061"/>
                </a:moveTo>
                <a:lnTo>
                  <a:pt x="8546" y="1059"/>
                </a:lnTo>
                <a:lnTo>
                  <a:pt x="8548" y="1057"/>
                </a:lnTo>
                <a:lnTo>
                  <a:pt x="8547" y="1053"/>
                </a:lnTo>
                <a:lnTo>
                  <a:pt x="8544" y="1051"/>
                </a:lnTo>
                <a:lnTo>
                  <a:pt x="8542" y="1052"/>
                </a:lnTo>
                <a:lnTo>
                  <a:pt x="8542" y="1054"/>
                </a:lnTo>
                <a:lnTo>
                  <a:pt x="8542" y="1058"/>
                </a:lnTo>
                <a:lnTo>
                  <a:pt x="8543" y="1061"/>
                </a:lnTo>
                <a:close/>
                <a:moveTo>
                  <a:pt x="8902" y="970"/>
                </a:moveTo>
                <a:lnTo>
                  <a:pt x="8905" y="975"/>
                </a:lnTo>
                <a:lnTo>
                  <a:pt x="8907" y="977"/>
                </a:lnTo>
                <a:lnTo>
                  <a:pt x="8910" y="975"/>
                </a:lnTo>
                <a:lnTo>
                  <a:pt x="8911" y="970"/>
                </a:lnTo>
                <a:lnTo>
                  <a:pt x="8910" y="967"/>
                </a:lnTo>
                <a:lnTo>
                  <a:pt x="8907" y="965"/>
                </a:lnTo>
                <a:lnTo>
                  <a:pt x="8905" y="967"/>
                </a:lnTo>
                <a:lnTo>
                  <a:pt x="8902" y="970"/>
                </a:lnTo>
                <a:close/>
                <a:moveTo>
                  <a:pt x="10275" y="1101"/>
                </a:moveTo>
                <a:lnTo>
                  <a:pt x="10280" y="1104"/>
                </a:lnTo>
                <a:lnTo>
                  <a:pt x="10283" y="1103"/>
                </a:lnTo>
                <a:lnTo>
                  <a:pt x="10283" y="1100"/>
                </a:lnTo>
                <a:lnTo>
                  <a:pt x="10281" y="1096"/>
                </a:lnTo>
                <a:lnTo>
                  <a:pt x="10279" y="1096"/>
                </a:lnTo>
                <a:lnTo>
                  <a:pt x="10276" y="1098"/>
                </a:lnTo>
                <a:lnTo>
                  <a:pt x="10274" y="1099"/>
                </a:lnTo>
                <a:lnTo>
                  <a:pt x="10275" y="1101"/>
                </a:lnTo>
                <a:close/>
                <a:moveTo>
                  <a:pt x="8974" y="1137"/>
                </a:moveTo>
                <a:lnTo>
                  <a:pt x="8976" y="1137"/>
                </a:lnTo>
                <a:lnTo>
                  <a:pt x="8977" y="1135"/>
                </a:lnTo>
                <a:lnTo>
                  <a:pt x="8977" y="1128"/>
                </a:lnTo>
                <a:lnTo>
                  <a:pt x="8974" y="1127"/>
                </a:lnTo>
                <a:lnTo>
                  <a:pt x="8971" y="1131"/>
                </a:lnTo>
                <a:lnTo>
                  <a:pt x="8974" y="1137"/>
                </a:lnTo>
                <a:close/>
                <a:moveTo>
                  <a:pt x="7585" y="765"/>
                </a:moveTo>
                <a:lnTo>
                  <a:pt x="7582" y="764"/>
                </a:lnTo>
                <a:lnTo>
                  <a:pt x="7579" y="768"/>
                </a:lnTo>
                <a:lnTo>
                  <a:pt x="7579" y="773"/>
                </a:lnTo>
                <a:lnTo>
                  <a:pt x="7583" y="777"/>
                </a:lnTo>
                <a:lnTo>
                  <a:pt x="7584" y="772"/>
                </a:lnTo>
                <a:lnTo>
                  <a:pt x="7585" y="765"/>
                </a:lnTo>
                <a:close/>
                <a:moveTo>
                  <a:pt x="8337" y="900"/>
                </a:moveTo>
                <a:lnTo>
                  <a:pt x="8332" y="900"/>
                </a:lnTo>
                <a:lnTo>
                  <a:pt x="8329" y="903"/>
                </a:lnTo>
                <a:lnTo>
                  <a:pt x="8328" y="907"/>
                </a:lnTo>
                <a:lnTo>
                  <a:pt x="8328" y="912"/>
                </a:lnTo>
                <a:lnTo>
                  <a:pt x="8333" y="912"/>
                </a:lnTo>
                <a:lnTo>
                  <a:pt x="8336" y="909"/>
                </a:lnTo>
                <a:lnTo>
                  <a:pt x="8337" y="905"/>
                </a:lnTo>
                <a:lnTo>
                  <a:pt x="8337" y="900"/>
                </a:lnTo>
                <a:close/>
                <a:moveTo>
                  <a:pt x="9095" y="1081"/>
                </a:moveTo>
                <a:lnTo>
                  <a:pt x="9097" y="1087"/>
                </a:lnTo>
                <a:lnTo>
                  <a:pt x="9105" y="1087"/>
                </a:lnTo>
                <a:lnTo>
                  <a:pt x="9112" y="1082"/>
                </a:lnTo>
                <a:lnTo>
                  <a:pt x="9120" y="1080"/>
                </a:lnTo>
                <a:lnTo>
                  <a:pt x="9121" y="1080"/>
                </a:lnTo>
                <a:lnTo>
                  <a:pt x="9123" y="1080"/>
                </a:lnTo>
                <a:lnTo>
                  <a:pt x="9121" y="1079"/>
                </a:lnTo>
                <a:lnTo>
                  <a:pt x="9120" y="1080"/>
                </a:lnTo>
                <a:lnTo>
                  <a:pt x="9112" y="1076"/>
                </a:lnTo>
                <a:lnTo>
                  <a:pt x="9105" y="1073"/>
                </a:lnTo>
                <a:lnTo>
                  <a:pt x="9098" y="1073"/>
                </a:lnTo>
                <a:lnTo>
                  <a:pt x="9095" y="1081"/>
                </a:lnTo>
                <a:close/>
                <a:moveTo>
                  <a:pt x="7494" y="772"/>
                </a:moveTo>
                <a:lnTo>
                  <a:pt x="7496" y="767"/>
                </a:lnTo>
                <a:lnTo>
                  <a:pt x="7498" y="762"/>
                </a:lnTo>
                <a:lnTo>
                  <a:pt x="7498" y="756"/>
                </a:lnTo>
                <a:lnTo>
                  <a:pt x="7495" y="751"/>
                </a:lnTo>
                <a:lnTo>
                  <a:pt x="7489" y="758"/>
                </a:lnTo>
                <a:lnTo>
                  <a:pt x="7485" y="767"/>
                </a:lnTo>
                <a:lnTo>
                  <a:pt x="7487" y="773"/>
                </a:lnTo>
                <a:lnTo>
                  <a:pt x="7494" y="772"/>
                </a:lnTo>
                <a:close/>
                <a:moveTo>
                  <a:pt x="10152" y="1038"/>
                </a:moveTo>
                <a:lnTo>
                  <a:pt x="10148" y="1029"/>
                </a:lnTo>
                <a:lnTo>
                  <a:pt x="10144" y="1028"/>
                </a:lnTo>
                <a:lnTo>
                  <a:pt x="10139" y="1030"/>
                </a:lnTo>
                <a:lnTo>
                  <a:pt x="10131" y="1034"/>
                </a:lnTo>
                <a:lnTo>
                  <a:pt x="10135" y="1040"/>
                </a:lnTo>
                <a:lnTo>
                  <a:pt x="10139" y="1042"/>
                </a:lnTo>
                <a:lnTo>
                  <a:pt x="10144" y="1040"/>
                </a:lnTo>
                <a:lnTo>
                  <a:pt x="10152" y="1038"/>
                </a:lnTo>
                <a:close/>
                <a:moveTo>
                  <a:pt x="2539" y="851"/>
                </a:moveTo>
                <a:lnTo>
                  <a:pt x="2541" y="843"/>
                </a:lnTo>
                <a:lnTo>
                  <a:pt x="2532" y="838"/>
                </a:lnTo>
                <a:lnTo>
                  <a:pt x="2523" y="839"/>
                </a:lnTo>
                <a:lnTo>
                  <a:pt x="2522" y="847"/>
                </a:lnTo>
                <a:lnTo>
                  <a:pt x="2526" y="857"/>
                </a:lnTo>
                <a:lnTo>
                  <a:pt x="2530" y="861"/>
                </a:lnTo>
                <a:lnTo>
                  <a:pt x="2533" y="858"/>
                </a:lnTo>
                <a:lnTo>
                  <a:pt x="2539" y="851"/>
                </a:lnTo>
                <a:close/>
                <a:moveTo>
                  <a:pt x="9459" y="1015"/>
                </a:moveTo>
                <a:lnTo>
                  <a:pt x="9447" y="1014"/>
                </a:lnTo>
                <a:lnTo>
                  <a:pt x="9440" y="1015"/>
                </a:lnTo>
                <a:lnTo>
                  <a:pt x="9433" y="1017"/>
                </a:lnTo>
                <a:lnTo>
                  <a:pt x="9427" y="1025"/>
                </a:lnTo>
                <a:lnTo>
                  <a:pt x="9436" y="1026"/>
                </a:lnTo>
                <a:lnTo>
                  <a:pt x="9443" y="1024"/>
                </a:lnTo>
                <a:lnTo>
                  <a:pt x="9451" y="1020"/>
                </a:lnTo>
                <a:lnTo>
                  <a:pt x="9459" y="1015"/>
                </a:lnTo>
                <a:close/>
                <a:moveTo>
                  <a:pt x="9460" y="1014"/>
                </a:moveTo>
                <a:lnTo>
                  <a:pt x="9459" y="1015"/>
                </a:lnTo>
                <a:lnTo>
                  <a:pt x="9460" y="1015"/>
                </a:lnTo>
                <a:lnTo>
                  <a:pt x="9460" y="1014"/>
                </a:lnTo>
                <a:lnTo>
                  <a:pt x="9460" y="1014"/>
                </a:lnTo>
                <a:close/>
                <a:moveTo>
                  <a:pt x="9361" y="1138"/>
                </a:moveTo>
                <a:lnTo>
                  <a:pt x="9353" y="1140"/>
                </a:lnTo>
                <a:lnTo>
                  <a:pt x="9351" y="1149"/>
                </a:lnTo>
                <a:lnTo>
                  <a:pt x="9353" y="1159"/>
                </a:lnTo>
                <a:lnTo>
                  <a:pt x="9365" y="1163"/>
                </a:lnTo>
                <a:lnTo>
                  <a:pt x="9362" y="1149"/>
                </a:lnTo>
                <a:lnTo>
                  <a:pt x="9361" y="1138"/>
                </a:lnTo>
                <a:close/>
                <a:moveTo>
                  <a:pt x="6407" y="16"/>
                </a:moveTo>
                <a:lnTo>
                  <a:pt x="6407" y="8"/>
                </a:lnTo>
                <a:lnTo>
                  <a:pt x="6406" y="0"/>
                </a:lnTo>
                <a:lnTo>
                  <a:pt x="6400" y="7"/>
                </a:lnTo>
                <a:lnTo>
                  <a:pt x="6399" y="16"/>
                </a:lnTo>
                <a:lnTo>
                  <a:pt x="6401" y="21"/>
                </a:lnTo>
                <a:lnTo>
                  <a:pt x="6407" y="16"/>
                </a:lnTo>
                <a:close/>
                <a:moveTo>
                  <a:pt x="8664" y="991"/>
                </a:moveTo>
                <a:lnTo>
                  <a:pt x="8660" y="984"/>
                </a:lnTo>
                <a:lnTo>
                  <a:pt x="8656" y="979"/>
                </a:lnTo>
                <a:lnTo>
                  <a:pt x="8653" y="979"/>
                </a:lnTo>
                <a:lnTo>
                  <a:pt x="8650" y="984"/>
                </a:lnTo>
                <a:lnTo>
                  <a:pt x="8653" y="995"/>
                </a:lnTo>
                <a:lnTo>
                  <a:pt x="8655" y="1001"/>
                </a:lnTo>
                <a:lnTo>
                  <a:pt x="8659" y="1001"/>
                </a:lnTo>
                <a:lnTo>
                  <a:pt x="8664" y="991"/>
                </a:lnTo>
                <a:close/>
                <a:moveTo>
                  <a:pt x="10998" y="1432"/>
                </a:moveTo>
                <a:lnTo>
                  <a:pt x="10993" y="1440"/>
                </a:lnTo>
                <a:lnTo>
                  <a:pt x="10990" y="1450"/>
                </a:lnTo>
                <a:lnTo>
                  <a:pt x="10990" y="1460"/>
                </a:lnTo>
                <a:lnTo>
                  <a:pt x="10996" y="1464"/>
                </a:lnTo>
                <a:lnTo>
                  <a:pt x="11001" y="1458"/>
                </a:lnTo>
                <a:lnTo>
                  <a:pt x="11004" y="1450"/>
                </a:lnTo>
                <a:lnTo>
                  <a:pt x="11002" y="1441"/>
                </a:lnTo>
                <a:lnTo>
                  <a:pt x="10998" y="1432"/>
                </a:lnTo>
                <a:close/>
                <a:moveTo>
                  <a:pt x="9806" y="1025"/>
                </a:moveTo>
                <a:lnTo>
                  <a:pt x="9806" y="1017"/>
                </a:lnTo>
                <a:lnTo>
                  <a:pt x="9800" y="1011"/>
                </a:lnTo>
                <a:lnTo>
                  <a:pt x="9792" y="1010"/>
                </a:lnTo>
                <a:lnTo>
                  <a:pt x="9785" y="1017"/>
                </a:lnTo>
                <a:lnTo>
                  <a:pt x="9786" y="1025"/>
                </a:lnTo>
                <a:lnTo>
                  <a:pt x="9791" y="1028"/>
                </a:lnTo>
                <a:lnTo>
                  <a:pt x="9799" y="1026"/>
                </a:lnTo>
                <a:lnTo>
                  <a:pt x="9806" y="1025"/>
                </a:lnTo>
                <a:close/>
                <a:moveTo>
                  <a:pt x="8007" y="835"/>
                </a:moveTo>
                <a:lnTo>
                  <a:pt x="8011" y="828"/>
                </a:lnTo>
                <a:lnTo>
                  <a:pt x="8012" y="819"/>
                </a:lnTo>
                <a:lnTo>
                  <a:pt x="8011" y="810"/>
                </a:lnTo>
                <a:lnTo>
                  <a:pt x="8007" y="802"/>
                </a:lnTo>
                <a:lnTo>
                  <a:pt x="8001" y="810"/>
                </a:lnTo>
                <a:lnTo>
                  <a:pt x="7998" y="819"/>
                </a:lnTo>
                <a:lnTo>
                  <a:pt x="7999" y="828"/>
                </a:lnTo>
                <a:lnTo>
                  <a:pt x="8007" y="835"/>
                </a:lnTo>
                <a:close/>
                <a:moveTo>
                  <a:pt x="9393" y="1029"/>
                </a:moveTo>
                <a:lnTo>
                  <a:pt x="9395" y="1020"/>
                </a:lnTo>
                <a:lnTo>
                  <a:pt x="9393" y="1012"/>
                </a:lnTo>
                <a:lnTo>
                  <a:pt x="9389" y="1005"/>
                </a:lnTo>
                <a:lnTo>
                  <a:pt x="9384" y="998"/>
                </a:lnTo>
                <a:lnTo>
                  <a:pt x="9373" y="1009"/>
                </a:lnTo>
                <a:lnTo>
                  <a:pt x="9372" y="1020"/>
                </a:lnTo>
                <a:lnTo>
                  <a:pt x="9379" y="1028"/>
                </a:lnTo>
                <a:lnTo>
                  <a:pt x="9393" y="1029"/>
                </a:lnTo>
                <a:close/>
                <a:moveTo>
                  <a:pt x="9452" y="1058"/>
                </a:moveTo>
                <a:lnTo>
                  <a:pt x="9438" y="1057"/>
                </a:lnTo>
                <a:lnTo>
                  <a:pt x="9423" y="1056"/>
                </a:lnTo>
                <a:lnTo>
                  <a:pt x="9429" y="1068"/>
                </a:lnTo>
                <a:lnTo>
                  <a:pt x="9437" y="1071"/>
                </a:lnTo>
                <a:lnTo>
                  <a:pt x="9445" y="1067"/>
                </a:lnTo>
                <a:lnTo>
                  <a:pt x="9452" y="1058"/>
                </a:lnTo>
                <a:close/>
                <a:moveTo>
                  <a:pt x="9803" y="1070"/>
                </a:moveTo>
                <a:lnTo>
                  <a:pt x="9801" y="1057"/>
                </a:lnTo>
                <a:lnTo>
                  <a:pt x="9795" y="1054"/>
                </a:lnTo>
                <a:lnTo>
                  <a:pt x="9785" y="1057"/>
                </a:lnTo>
                <a:lnTo>
                  <a:pt x="9772" y="1065"/>
                </a:lnTo>
                <a:lnTo>
                  <a:pt x="9782" y="1073"/>
                </a:lnTo>
                <a:lnTo>
                  <a:pt x="9791" y="1080"/>
                </a:lnTo>
                <a:lnTo>
                  <a:pt x="9798" y="1080"/>
                </a:lnTo>
                <a:lnTo>
                  <a:pt x="9803" y="1070"/>
                </a:lnTo>
                <a:close/>
                <a:moveTo>
                  <a:pt x="9916" y="1066"/>
                </a:moveTo>
                <a:lnTo>
                  <a:pt x="9904" y="1071"/>
                </a:lnTo>
                <a:lnTo>
                  <a:pt x="9898" y="1079"/>
                </a:lnTo>
                <a:lnTo>
                  <a:pt x="9896" y="1091"/>
                </a:lnTo>
                <a:lnTo>
                  <a:pt x="9899" y="1110"/>
                </a:lnTo>
                <a:lnTo>
                  <a:pt x="9907" y="1101"/>
                </a:lnTo>
                <a:lnTo>
                  <a:pt x="9913" y="1091"/>
                </a:lnTo>
                <a:lnTo>
                  <a:pt x="9917" y="1080"/>
                </a:lnTo>
                <a:lnTo>
                  <a:pt x="9916" y="1066"/>
                </a:lnTo>
                <a:close/>
                <a:moveTo>
                  <a:pt x="10315" y="1047"/>
                </a:moveTo>
                <a:lnTo>
                  <a:pt x="10302" y="1042"/>
                </a:lnTo>
                <a:lnTo>
                  <a:pt x="10288" y="1035"/>
                </a:lnTo>
                <a:lnTo>
                  <a:pt x="10278" y="1034"/>
                </a:lnTo>
                <a:lnTo>
                  <a:pt x="10271" y="1048"/>
                </a:lnTo>
                <a:lnTo>
                  <a:pt x="10284" y="1049"/>
                </a:lnTo>
                <a:lnTo>
                  <a:pt x="10297" y="1054"/>
                </a:lnTo>
                <a:lnTo>
                  <a:pt x="10308" y="1054"/>
                </a:lnTo>
                <a:lnTo>
                  <a:pt x="10315" y="1047"/>
                </a:lnTo>
                <a:close/>
                <a:moveTo>
                  <a:pt x="9199" y="992"/>
                </a:moveTo>
                <a:lnTo>
                  <a:pt x="9204" y="982"/>
                </a:lnTo>
                <a:lnTo>
                  <a:pt x="9202" y="973"/>
                </a:lnTo>
                <a:lnTo>
                  <a:pt x="9193" y="967"/>
                </a:lnTo>
                <a:lnTo>
                  <a:pt x="9180" y="967"/>
                </a:lnTo>
                <a:lnTo>
                  <a:pt x="9179" y="974"/>
                </a:lnTo>
                <a:lnTo>
                  <a:pt x="9184" y="982"/>
                </a:lnTo>
                <a:lnTo>
                  <a:pt x="9191" y="987"/>
                </a:lnTo>
                <a:lnTo>
                  <a:pt x="9199" y="992"/>
                </a:lnTo>
                <a:close/>
                <a:moveTo>
                  <a:pt x="8052" y="834"/>
                </a:moveTo>
                <a:lnTo>
                  <a:pt x="8050" y="815"/>
                </a:lnTo>
                <a:lnTo>
                  <a:pt x="8039" y="816"/>
                </a:lnTo>
                <a:lnTo>
                  <a:pt x="8027" y="832"/>
                </a:lnTo>
                <a:lnTo>
                  <a:pt x="8029" y="853"/>
                </a:lnTo>
                <a:lnTo>
                  <a:pt x="8041" y="843"/>
                </a:lnTo>
                <a:lnTo>
                  <a:pt x="8052" y="834"/>
                </a:lnTo>
                <a:close/>
                <a:moveTo>
                  <a:pt x="9098" y="1179"/>
                </a:moveTo>
                <a:lnTo>
                  <a:pt x="9112" y="1180"/>
                </a:lnTo>
                <a:lnTo>
                  <a:pt x="9125" y="1180"/>
                </a:lnTo>
                <a:lnTo>
                  <a:pt x="9138" y="1178"/>
                </a:lnTo>
                <a:lnTo>
                  <a:pt x="9149" y="1178"/>
                </a:lnTo>
                <a:lnTo>
                  <a:pt x="9149" y="1178"/>
                </a:lnTo>
                <a:lnTo>
                  <a:pt x="9149" y="1178"/>
                </a:lnTo>
                <a:lnTo>
                  <a:pt x="9137" y="1160"/>
                </a:lnTo>
                <a:lnTo>
                  <a:pt x="9125" y="1155"/>
                </a:lnTo>
                <a:lnTo>
                  <a:pt x="9114" y="1160"/>
                </a:lnTo>
                <a:lnTo>
                  <a:pt x="9098" y="1179"/>
                </a:lnTo>
                <a:close/>
                <a:moveTo>
                  <a:pt x="9149" y="1178"/>
                </a:moveTo>
                <a:lnTo>
                  <a:pt x="9151" y="1179"/>
                </a:lnTo>
                <a:lnTo>
                  <a:pt x="9151" y="1179"/>
                </a:lnTo>
                <a:lnTo>
                  <a:pt x="9151" y="1178"/>
                </a:lnTo>
                <a:lnTo>
                  <a:pt x="9149" y="1178"/>
                </a:lnTo>
                <a:close/>
                <a:moveTo>
                  <a:pt x="9032" y="1079"/>
                </a:moveTo>
                <a:lnTo>
                  <a:pt x="9056" y="1084"/>
                </a:lnTo>
                <a:lnTo>
                  <a:pt x="9056" y="1073"/>
                </a:lnTo>
                <a:lnTo>
                  <a:pt x="9047" y="1054"/>
                </a:lnTo>
                <a:lnTo>
                  <a:pt x="9041" y="1031"/>
                </a:lnTo>
                <a:lnTo>
                  <a:pt x="9023" y="1040"/>
                </a:lnTo>
                <a:lnTo>
                  <a:pt x="9023" y="1048"/>
                </a:lnTo>
                <a:lnTo>
                  <a:pt x="9030" y="1058"/>
                </a:lnTo>
                <a:lnTo>
                  <a:pt x="9032" y="1079"/>
                </a:lnTo>
                <a:lnTo>
                  <a:pt x="9031" y="1079"/>
                </a:lnTo>
                <a:lnTo>
                  <a:pt x="9032" y="1079"/>
                </a:lnTo>
                <a:lnTo>
                  <a:pt x="9032" y="1079"/>
                </a:lnTo>
                <a:lnTo>
                  <a:pt x="9032" y="1079"/>
                </a:lnTo>
                <a:close/>
                <a:moveTo>
                  <a:pt x="9296" y="1164"/>
                </a:moveTo>
                <a:lnTo>
                  <a:pt x="9301" y="1178"/>
                </a:lnTo>
                <a:lnTo>
                  <a:pt x="9310" y="1183"/>
                </a:lnTo>
                <a:lnTo>
                  <a:pt x="9321" y="1175"/>
                </a:lnTo>
                <a:lnTo>
                  <a:pt x="9333" y="1151"/>
                </a:lnTo>
                <a:lnTo>
                  <a:pt x="9320" y="1150"/>
                </a:lnTo>
                <a:lnTo>
                  <a:pt x="9310" y="1149"/>
                </a:lnTo>
                <a:lnTo>
                  <a:pt x="9302" y="1154"/>
                </a:lnTo>
                <a:lnTo>
                  <a:pt x="9296" y="1164"/>
                </a:lnTo>
                <a:close/>
                <a:moveTo>
                  <a:pt x="2584" y="970"/>
                </a:moveTo>
                <a:lnTo>
                  <a:pt x="2579" y="968"/>
                </a:lnTo>
                <a:lnTo>
                  <a:pt x="2574" y="969"/>
                </a:lnTo>
                <a:lnTo>
                  <a:pt x="2570" y="974"/>
                </a:lnTo>
                <a:lnTo>
                  <a:pt x="2567" y="982"/>
                </a:lnTo>
                <a:lnTo>
                  <a:pt x="2572" y="1007"/>
                </a:lnTo>
                <a:lnTo>
                  <a:pt x="2590" y="1010"/>
                </a:lnTo>
                <a:lnTo>
                  <a:pt x="2600" y="996"/>
                </a:lnTo>
                <a:lnTo>
                  <a:pt x="2584" y="970"/>
                </a:lnTo>
                <a:close/>
                <a:moveTo>
                  <a:pt x="2604" y="1000"/>
                </a:moveTo>
                <a:lnTo>
                  <a:pt x="2604" y="998"/>
                </a:lnTo>
                <a:lnTo>
                  <a:pt x="2604" y="997"/>
                </a:lnTo>
                <a:lnTo>
                  <a:pt x="2604" y="998"/>
                </a:lnTo>
                <a:lnTo>
                  <a:pt x="2604" y="1000"/>
                </a:lnTo>
                <a:close/>
                <a:moveTo>
                  <a:pt x="10154" y="1182"/>
                </a:moveTo>
                <a:lnTo>
                  <a:pt x="10143" y="1169"/>
                </a:lnTo>
                <a:lnTo>
                  <a:pt x="10131" y="1161"/>
                </a:lnTo>
                <a:lnTo>
                  <a:pt x="10118" y="1159"/>
                </a:lnTo>
                <a:lnTo>
                  <a:pt x="10099" y="1159"/>
                </a:lnTo>
                <a:lnTo>
                  <a:pt x="10104" y="1174"/>
                </a:lnTo>
                <a:lnTo>
                  <a:pt x="10118" y="1178"/>
                </a:lnTo>
                <a:lnTo>
                  <a:pt x="10138" y="1179"/>
                </a:lnTo>
                <a:lnTo>
                  <a:pt x="10154" y="1182"/>
                </a:lnTo>
                <a:close/>
                <a:moveTo>
                  <a:pt x="9289" y="1001"/>
                </a:moveTo>
                <a:lnTo>
                  <a:pt x="9301" y="1000"/>
                </a:lnTo>
                <a:lnTo>
                  <a:pt x="9310" y="992"/>
                </a:lnTo>
                <a:lnTo>
                  <a:pt x="9314" y="981"/>
                </a:lnTo>
                <a:lnTo>
                  <a:pt x="9311" y="970"/>
                </a:lnTo>
                <a:lnTo>
                  <a:pt x="9293" y="964"/>
                </a:lnTo>
                <a:lnTo>
                  <a:pt x="9280" y="973"/>
                </a:lnTo>
                <a:lnTo>
                  <a:pt x="9278" y="988"/>
                </a:lnTo>
                <a:lnTo>
                  <a:pt x="9289" y="1001"/>
                </a:lnTo>
                <a:close/>
                <a:moveTo>
                  <a:pt x="2424" y="979"/>
                </a:moveTo>
                <a:lnTo>
                  <a:pt x="2434" y="956"/>
                </a:lnTo>
                <a:lnTo>
                  <a:pt x="2432" y="937"/>
                </a:lnTo>
                <a:lnTo>
                  <a:pt x="2418" y="930"/>
                </a:lnTo>
                <a:lnTo>
                  <a:pt x="2393" y="937"/>
                </a:lnTo>
                <a:lnTo>
                  <a:pt x="2393" y="937"/>
                </a:lnTo>
                <a:lnTo>
                  <a:pt x="2392" y="936"/>
                </a:lnTo>
                <a:lnTo>
                  <a:pt x="2392" y="937"/>
                </a:lnTo>
                <a:lnTo>
                  <a:pt x="2393" y="937"/>
                </a:lnTo>
                <a:lnTo>
                  <a:pt x="2400" y="950"/>
                </a:lnTo>
                <a:lnTo>
                  <a:pt x="2406" y="963"/>
                </a:lnTo>
                <a:lnTo>
                  <a:pt x="2414" y="974"/>
                </a:lnTo>
                <a:lnTo>
                  <a:pt x="2424" y="979"/>
                </a:lnTo>
                <a:close/>
                <a:moveTo>
                  <a:pt x="8823" y="1054"/>
                </a:moveTo>
                <a:lnTo>
                  <a:pt x="8844" y="1054"/>
                </a:lnTo>
                <a:lnTo>
                  <a:pt x="8864" y="1056"/>
                </a:lnTo>
                <a:lnTo>
                  <a:pt x="8883" y="1056"/>
                </a:lnTo>
                <a:lnTo>
                  <a:pt x="8901" y="1056"/>
                </a:lnTo>
                <a:lnTo>
                  <a:pt x="8879" y="1044"/>
                </a:lnTo>
                <a:lnTo>
                  <a:pt x="8859" y="1040"/>
                </a:lnTo>
                <a:lnTo>
                  <a:pt x="8841" y="1044"/>
                </a:lnTo>
                <a:lnTo>
                  <a:pt x="8823" y="1054"/>
                </a:lnTo>
                <a:close/>
                <a:moveTo>
                  <a:pt x="9098" y="970"/>
                </a:moveTo>
                <a:lnTo>
                  <a:pt x="9088" y="949"/>
                </a:lnTo>
                <a:lnTo>
                  <a:pt x="9073" y="955"/>
                </a:lnTo>
                <a:lnTo>
                  <a:pt x="9056" y="970"/>
                </a:lnTo>
                <a:lnTo>
                  <a:pt x="9039" y="977"/>
                </a:lnTo>
                <a:lnTo>
                  <a:pt x="9055" y="993"/>
                </a:lnTo>
                <a:lnTo>
                  <a:pt x="9070" y="1002"/>
                </a:lnTo>
                <a:lnTo>
                  <a:pt x="9084" y="997"/>
                </a:lnTo>
                <a:lnTo>
                  <a:pt x="9098" y="970"/>
                </a:lnTo>
                <a:close/>
                <a:moveTo>
                  <a:pt x="11270" y="1206"/>
                </a:moveTo>
                <a:lnTo>
                  <a:pt x="11243" y="1194"/>
                </a:lnTo>
                <a:lnTo>
                  <a:pt x="11217" y="1188"/>
                </a:lnTo>
                <a:lnTo>
                  <a:pt x="11192" y="1184"/>
                </a:lnTo>
                <a:lnTo>
                  <a:pt x="11170" y="1185"/>
                </a:lnTo>
                <a:lnTo>
                  <a:pt x="11196" y="1193"/>
                </a:lnTo>
                <a:lnTo>
                  <a:pt x="11220" y="1202"/>
                </a:lnTo>
                <a:lnTo>
                  <a:pt x="11245" y="1207"/>
                </a:lnTo>
                <a:lnTo>
                  <a:pt x="11270" y="1206"/>
                </a:lnTo>
                <a:close/>
                <a:moveTo>
                  <a:pt x="8376" y="919"/>
                </a:moveTo>
                <a:lnTo>
                  <a:pt x="8386" y="900"/>
                </a:lnTo>
                <a:lnTo>
                  <a:pt x="8393" y="886"/>
                </a:lnTo>
                <a:lnTo>
                  <a:pt x="8400" y="879"/>
                </a:lnTo>
                <a:lnTo>
                  <a:pt x="8414" y="880"/>
                </a:lnTo>
                <a:lnTo>
                  <a:pt x="8434" y="868"/>
                </a:lnTo>
                <a:lnTo>
                  <a:pt x="8403" y="860"/>
                </a:lnTo>
                <a:lnTo>
                  <a:pt x="8369" y="871"/>
                </a:lnTo>
                <a:lnTo>
                  <a:pt x="8376" y="919"/>
                </a:lnTo>
                <a:close/>
                <a:moveTo>
                  <a:pt x="7917" y="835"/>
                </a:moveTo>
                <a:lnTo>
                  <a:pt x="7933" y="833"/>
                </a:lnTo>
                <a:lnTo>
                  <a:pt x="7950" y="838"/>
                </a:lnTo>
                <a:lnTo>
                  <a:pt x="7964" y="842"/>
                </a:lnTo>
                <a:lnTo>
                  <a:pt x="7976" y="834"/>
                </a:lnTo>
                <a:lnTo>
                  <a:pt x="7967" y="805"/>
                </a:lnTo>
                <a:lnTo>
                  <a:pt x="7937" y="800"/>
                </a:lnTo>
                <a:lnTo>
                  <a:pt x="7910" y="812"/>
                </a:lnTo>
                <a:lnTo>
                  <a:pt x="7917" y="835"/>
                </a:lnTo>
                <a:close/>
                <a:moveTo>
                  <a:pt x="9014" y="946"/>
                </a:moveTo>
                <a:lnTo>
                  <a:pt x="9016" y="946"/>
                </a:lnTo>
                <a:lnTo>
                  <a:pt x="9014" y="946"/>
                </a:lnTo>
                <a:lnTo>
                  <a:pt x="9014" y="946"/>
                </a:lnTo>
                <a:lnTo>
                  <a:pt x="9014" y="946"/>
                </a:lnTo>
                <a:close/>
                <a:moveTo>
                  <a:pt x="9014" y="946"/>
                </a:moveTo>
                <a:lnTo>
                  <a:pt x="9003" y="921"/>
                </a:lnTo>
                <a:lnTo>
                  <a:pt x="8982" y="916"/>
                </a:lnTo>
                <a:lnTo>
                  <a:pt x="8956" y="921"/>
                </a:lnTo>
                <a:lnTo>
                  <a:pt x="8930" y="928"/>
                </a:lnTo>
                <a:lnTo>
                  <a:pt x="8943" y="942"/>
                </a:lnTo>
                <a:lnTo>
                  <a:pt x="8963" y="949"/>
                </a:lnTo>
                <a:lnTo>
                  <a:pt x="8988" y="949"/>
                </a:lnTo>
                <a:lnTo>
                  <a:pt x="9014" y="946"/>
                </a:lnTo>
                <a:close/>
                <a:moveTo>
                  <a:pt x="9003" y="968"/>
                </a:moveTo>
                <a:lnTo>
                  <a:pt x="8970" y="983"/>
                </a:lnTo>
                <a:lnTo>
                  <a:pt x="8980" y="995"/>
                </a:lnTo>
                <a:lnTo>
                  <a:pt x="9010" y="996"/>
                </a:lnTo>
                <a:lnTo>
                  <a:pt x="9037" y="977"/>
                </a:lnTo>
                <a:lnTo>
                  <a:pt x="9035" y="953"/>
                </a:lnTo>
                <a:lnTo>
                  <a:pt x="9026" y="947"/>
                </a:lnTo>
                <a:lnTo>
                  <a:pt x="9014" y="955"/>
                </a:lnTo>
                <a:lnTo>
                  <a:pt x="9003" y="968"/>
                </a:lnTo>
                <a:close/>
                <a:moveTo>
                  <a:pt x="10233" y="1194"/>
                </a:moveTo>
                <a:lnTo>
                  <a:pt x="10253" y="1194"/>
                </a:lnTo>
                <a:lnTo>
                  <a:pt x="10275" y="1198"/>
                </a:lnTo>
                <a:lnTo>
                  <a:pt x="10299" y="1198"/>
                </a:lnTo>
                <a:lnTo>
                  <a:pt x="10325" y="1189"/>
                </a:lnTo>
                <a:lnTo>
                  <a:pt x="10295" y="1180"/>
                </a:lnTo>
                <a:lnTo>
                  <a:pt x="10257" y="1175"/>
                </a:lnTo>
                <a:lnTo>
                  <a:pt x="10231" y="1179"/>
                </a:lnTo>
                <a:lnTo>
                  <a:pt x="10233" y="1194"/>
                </a:lnTo>
                <a:close/>
                <a:moveTo>
                  <a:pt x="2569" y="814"/>
                </a:moveTo>
                <a:lnTo>
                  <a:pt x="2620" y="807"/>
                </a:lnTo>
                <a:lnTo>
                  <a:pt x="2657" y="782"/>
                </a:lnTo>
                <a:lnTo>
                  <a:pt x="2663" y="762"/>
                </a:lnTo>
                <a:lnTo>
                  <a:pt x="2618" y="770"/>
                </a:lnTo>
                <a:lnTo>
                  <a:pt x="2597" y="774"/>
                </a:lnTo>
                <a:lnTo>
                  <a:pt x="2572" y="781"/>
                </a:lnTo>
                <a:lnTo>
                  <a:pt x="2556" y="792"/>
                </a:lnTo>
                <a:lnTo>
                  <a:pt x="2569" y="814"/>
                </a:lnTo>
                <a:close/>
                <a:moveTo>
                  <a:pt x="9259" y="1056"/>
                </a:moveTo>
                <a:lnTo>
                  <a:pt x="9256" y="1056"/>
                </a:lnTo>
                <a:lnTo>
                  <a:pt x="9256" y="1056"/>
                </a:lnTo>
                <a:lnTo>
                  <a:pt x="9258" y="1056"/>
                </a:lnTo>
                <a:lnTo>
                  <a:pt x="9259" y="1056"/>
                </a:lnTo>
                <a:lnTo>
                  <a:pt x="9258" y="1056"/>
                </a:lnTo>
                <a:lnTo>
                  <a:pt x="9256" y="1056"/>
                </a:lnTo>
                <a:lnTo>
                  <a:pt x="9256" y="1056"/>
                </a:lnTo>
                <a:lnTo>
                  <a:pt x="9259" y="1056"/>
                </a:lnTo>
                <a:close/>
                <a:moveTo>
                  <a:pt x="9157" y="1089"/>
                </a:moveTo>
                <a:lnTo>
                  <a:pt x="9208" y="1086"/>
                </a:lnTo>
                <a:lnTo>
                  <a:pt x="9260" y="1086"/>
                </a:lnTo>
                <a:lnTo>
                  <a:pt x="9296" y="1071"/>
                </a:lnTo>
                <a:lnTo>
                  <a:pt x="9296" y="1023"/>
                </a:lnTo>
                <a:lnTo>
                  <a:pt x="9259" y="1033"/>
                </a:lnTo>
                <a:lnTo>
                  <a:pt x="9193" y="1056"/>
                </a:lnTo>
                <a:lnTo>
                  <a:pt x="9143" y="1079"/>
                </a:lnTo>
                <a:lnTo>
                  <a:pt x="9157" y="1089"/>
                </a:lnTo>
                <a:close/>
                <a:moveTo>
                  <a:pt x="2703" y="970"/>
                </a:moveTo>
                <a:lnTo>
                  <a:pt x="2676" y="959"/>
                </a:lnTo>
                <a:lnTo>
                  <a:pt x="2656" y="946"/>
                </a:lnTo>
                <a:lnTo>
                  <a:pt x="2649" y="931"/>
                </a:lnTo>
                <a:lnTo>
                  <a:pt x="2667" y="908"/>
                </a:lnTo>
                <a:lnTo>
                  <a:pt x="2644" y="881"/>
                </a:lnTo>
                <a:lnTo>
                  <a:pt x="2626" y="881"/>
                </a:lnTo>
                <a:lnTo>
                  <a:pt x="2614" y="900"/>
                </a:lnTo>
                <a:lnTo>
                  <a:pt x="2607" y="931"/>
                </a:lnTo>
                <a:lnTo>
                  <a:pt x="2601" y="922"/>
                </a:lnTo>
                <a:lnTo>
                  <a:pt x="2590" y="911"/>
                </a:lnTo>
                <a:lnTo>
                  <a:pt x="2526" y="902"/>
                </a:lnTo>
                <a:lnTo>
                  <a:pt x="2476" y="949"/>
                </a:lnTo>
                <a:lnTo>
                  <a:pt x="2466" y="1005"/>
                </a:lnTo>
                <a:lnTo>
                  <a:pt x="2523" y="1024"/>
                </a:lnTo>
                <a:lnTo>
                  <a:pt x="2535" y="1010"/>
                </a:lnTo>
                <a:lnTo>
                  <a:pt x="2532" y="1000"/>
                </a:lnTo>
                <a:lnTo>
                  <a:pt x="2518" y="995"/>
                </a:lnTo>
                <a:lnTo>
                  <a:pt x="2499" y="998"/>
                </a:lnTo>
                <a:lnTo>
                  <a:pt x="2509" y="967"/>
                </a:lnTo>
                <a:lnTo>
                  <a:pt x="2544" y="954"/>
                </a:lnTo>
                <a:lnTo>
                  <a:pt x="2582" y="949"/>
                </a:lnTo>
                <a:lnTo>
                  <a:pt x="2607" y="941"/>
                </a:lnTo>
                <a:lnTo>
                  <a:pt x="2612" y="978"/>
                </a:lnTo>
                <a:lnTo>
                  <a:pt x="2629" y="1002"/>
                </a:lnTo>
                <a:lnTo>
                  <a:pt x="2658" y="1005"/>
                </a:lnTo>
                <a:lnTo>
                  <a:pt x="2703" y="970"/>
                </a:lnTo>
                <a:close/>
                <a:moveTo>
                  <a:pt x="2605" y="955"/>
                </a:moveTo>
                <a:lnTo>
                  <a:pt x="2605" y="956"/>
                </a:lnTo>
                <a:lnTo>
                  <a:pt x="2606" y="956"/>
                </a:lnTo>
                <a:lnTo>
                  <a:pt x="2606" y="956"/>
                </a:lnTo>
                <a:lnTo>
                  <a:pt x="2605" y="955"/>
                </a:lnTo>
                <a:close/>
                <a:moveTo>
                  <a:pt x="2826" y="9798"/>
                </a:moveTo>
                <a:lnTo>
                  <a:pt x="2828" y="9795"/>
                </a:lnTo>
                <a:lnTo>
                  <a:pt x="2828" y="9794"/>
                </a:lnTo>
                <a:lnTo>
                  <a:pt x="2826" y="9794"/>
                </a:lnTo>
                <a:lnTo>
                  <a:pt x="2825" y="9794"/>
                </a:lnTo>
                <a:lnTo>
                  <a:pt x="2826" y="9795"/>
                </a:lnTo>
                <a:lnTo>
                  <a:pt x="2826" y="9798"/>
                </a:lnTo>
                <a:close/>
                <a:moveTo>
                  <a:pt x="535" y="9350"/>
                </a:moveTo>
                <a:lnTo>
                  <a:pt x="538" y="9354"/>
                </a:lnTo>
                <a:lnTo>
                  <a:pt x="539" y="9351"/>
                </a:lnTo>
                <a:lnTo>
                  <a:pt x="539" y="9350"/>
                </a:lnTo>
                <a:lnTo>
                  <a:pt x="538" y="9350"/>
                </a:lnTo>
                <a:lnTo>
                  <a:pt x="535" y="9350"/>
                </a:lnTo>
                <a:close/>
                <a:moveTo>
                  <a:pt x="864" y="9481"/>
                </a:moveTo>
                <a:lnTo>
                  <a:pt x="865" y="9480"/>
                </a:lnTo>
                <a:lnTo>
                  <a:pt x="866" y="9479"/>
                </a:lnTo>
                <a:lnTo>
                  <a:pt x="866" y="9477"/>
                </a:lnTo>
                <a:lnTo>
                  <a:pt x="864" y="9476"/>
                </a:lnTo>
                <a:lnTo>
                  <a:pt x="864" y="9481"/>
                </a:lnTo>
                <a:close/>
                <a:moveTo>
                  <a:pt x="3715" y="9766"/>
                </a:moveTo>
                <a:lnTo>
                  <a:pt x="3714" y="9769"/>
                </a:lnTo>
                <a:lnTo>
                  <a:pt x="3714" y="9770"/>
                </a:lnTo>
                <a:lnTo>
                  <a:pt x="3714" y="9771"/>
                </a:lnTo>
                <a:lnTo>
                  <a:pt x="3715" y="9773"/>
                </a:lnTo>
                <a:lnTo>
                  <a:pt x="3717" y="9771"/>
                </a:lnTo>
                <a:lnTo>
                  <a:pt x="3718" y="9770"/>
                </a:lnTo>
                <a:lnTo>
                  <a:pt x="3717" y="9767"/>
                </a:lnTo>
                <a:lnTo>
                  <a:pt x="3715" y="9766"/>
                </a:lnTo>
                <a:close/>
                <a:moveTo>
                  <a:pt x="3107" y="9891"/>
                </a:moveTo>
                <a:lnTo>
                  <a:pt x="3112" y="9891"/>
                </a:lnTo>
                <a:lnTo>
                  <a:pt x="3114" y="9890"/>
                </a:lnTo>
                <a:lnTo>
                  <a:pt x="3110" y="9891"/>
                </a:lnTo>
                <a:lnTo>
                  <a:pt x="3107" y="9891"/>
                </a:lnTo>
                <a:close/>
                <a:moveTo>
                  <a:pt x="2069" y="9378"/>
                </a:moveTo>
                <a:lnTo>
                  <a:pt x="2066" y="9375"/>
                </a:lnTo>
                <a:lnTo>
                  <a:pt x="2066" y="9377"/>
                </a:lnTo>
                <a:lnTo>
                  <a:pt x="2067" y="9378"/>
                </a:lnTo>
                <a:lnTo>
                  <a:pt x="2069" y="9378"/>
                </a:lnTo>
                <a:close/>
                <a:moveTo>
                  <a:pt x="2065" y="9374"/>
                </a:moveTo>
                <a:lnTo>
                  <a:pt x="2064" y="9373"/>
                </a:lnTo>
                <a:lnTo>
                  <a:pt x="2064" y="9373"/>
                </a:lnTo>
                <a:lnTo>
                  <a:pt x="2064" y="9374"/>
                </a:lnTo>
                <a:lnTo>
                  <a:pt x="2065" y="9374"/>
                </a:lnTo>
                <a:close/>
                <a:moveTo>
                  <a:pt x="4029" y="9970"/>
                </a:moveTo>
                <a:lnTo>
                  <a:pt x="4027" y="9970"/>
                </a:lnTo>
                <a:lnTo>
                  <a:pt x="4027" y="9971"/>
                </a:lnTo>
                <a:lnTo>
                  <a:pt x="4027" y="9971"/>
                </a:lnTo>
                <a:lnTo>
                  <a:pt x="4029" y="9971"/>
                </a:lnTo>
                <a:lnTo>
                  <a:pt x="4030" y="9967"/>
                </a:lnTo>
                <a:lnTo>
                  <a:pt x="4031" y="9965"/>
                </a:lnTo>
                <a:lnTo>
                  <a:pt x="4030" y="9965"/>
                </a:lnTo>
                <a:lnTo>
                  <a:pt x="4029" y="9970"/>
                </a:lnTo>
                <a:close/>
                <a:moveTo>
                  <a:pt x="282" y="9162"/>
                </a:moveTo>
                <a:lnTo>
                  <a:pt x="284" y="9163"/>
                </a:lnTo>
                <a:lnTo>
                  <a:pt x="284" y="9162"/>
                </a:lnTo>
                <a:lnTo>
                  <a:pt x="283" y="9162"/>
                </a:lnTo>
                <a:lnTo>
                  <a:pt x="282" y="9162"/>
                </a:lnTo>
                <a:close/>
                <a:moveTo>
                  <a:pt x="286" y="9163"/>
                </a:moveTo>
                <a:lnTo>
                  <a:pt x="286" y="9164"/>
                </a:lnTo>
                <a:lnTo>
                  <a:pt x="288" y="9165"/>
                </a:lnTo>
                <a:lnTo>
                  <a:pt x="287" y="9164"/>
                </a:lnTo>
                <a:lnTo>
                  <a:pt x="286" y="9163"/>
                </a:lnTo>
                <a:close/>
                <a:moveTo>
                  <a:pt x="4022" y="9970"/>
                </a:moveTo>
                <a:lnTo>
                  <a:pt x="4025" y="9970"/>
                </a:lnTo>
                <a:lnTo>
                  <a:pt x="4026" y="9970"/>
                </a:lnTo>
                <a:lnTo>
                  <a:pt x="4023" y="9970"/>
                </a:lnTo>
                <a:lnTo>
                  <a:pt x="4022" y="9970"/>
                </a:lnTo>
                <a:close/>
                <a:moveTo>
                  <a:pt x="2963" y="9711"/>
                </a:moveTo>
                <a:lnTo>
                  <a:pt x="2964" y="9711"/>
                </a:lnTo>
                <a:lnTo>
                  <a:pt x="2963" y="9710"/>
                </a:lnTo>
                <a:lnTo>
                  <a:pt x="2963" y="9711"/>
                </a:lnTo>
                <a:lnTo>
                  <a:pt x="2963" y="9711"/>
                </a:lnTo>
                <a:close/>
                <a:moveTo>
                  <a:pt x="1802" y="9495"/>
                </a:moveTo>
                <a:lnTo>
                  <a:pt x="1802" y="9496"/>
                </a:lnTo>
                <a:lnTo>
                  <a:pt x="1805" y="9498"/>
                </a:lnTo>
                <a:lnTo>
                  <a:pt x="1804" y="9496"/>
                </a:lnTo>
                <a:lnTo>
                  <a:pt x="1802" y="9495"/>
                </a:lnTo>
                <a:close/>
                <a:moveTo>
                  <a:pt x="1799" y="9493"/>
                </a:moveTo>
                <a:lnTo>
                  <a:pt x="1801" y="9495"/>
                </a:lnTo>
                <a:lnTo>
                  <a:pt x="1801" y="9494"/>
                </a:lnTo>
                <a:lnTo>
                  <a:pt x="1800" y="9494"/>
                </a:lnTo>
                <a:lnTo>
                  <a:pt x="1799" y="9493"/>
                </a:lnTo>
                <a:close/>
                <a:moveTo>
                  <a:pt x="3883" y="9965"/>
                </a:moveTo>
                <a:lnTo>
                  <a:pt x="3885" y="9967"/>
                </a:lnTo>
                <a:lnTo>
                  <a:pt x="3886" y="9969"/>
                </a:lnTo>
                <a:lnTo>
                  <a:pt x="3887" y="9969"/>
                </a:lnTo>
                <a:lnTo>
                  <a:pt x="3890" y="9969"/>
                </a:lnTo>
                <a:lnTo>
                  <a:pt x="3888" y="9966"/>
                </a:lnTo>
                <a:lnTo>
                  <a:pt x="3887" y="9965"/>
                </a:lnTo>
                <a:lnTo>
                  <a:pt x="3886" y="9965"/>
                </a:lnTo>
                <a:lnTo>
                  <a:pt x="3883" y="9965"/>
                </a:lnTo>
                <a:close/>
                <a:moveTo>
                  <a:pt x="863" y="7140"/>
                </a:moveTo>
                <a:lnTo>
                  <a:pt x="850" y="7143"/>
                </a:lnTo>
                <a:lnTo>
                  <a:pt x="846" y="7144"/>
                </a:lnTo>
                <a:lnTo>
                  <a:pt x="851" y="7144"/>
                </a:lnTo>
                <a:lnTo>
                  <a:pt x="863" y="7141"/>
                </a:lnTo>
                <a:lnTo>
                  <a:pt x="877" y="7141"/>
                </a:lnTo>
                <a:lnTo>
                  <a:pt x="880" y="7141"/>
                </a:lnTo>
                <a:lnTo>
                  <a:pt x="875" y="7140"/>
                </a:lnTo>
                <a:lnTo>
                  <a:pt x="863" y="7140"/>
                </a:lnTo>
                <a:close/>
                <a:moveTo>
                  <a:pt x="842" y="7145"/>
                </a:moveTo>
                <a:lnTo>
                  <a:pt x="842" y="7145"/>
                </a:lnTo>
                <a:lnTo>
                  <a:pt x="842" y="7145"/>
                </a:lnTo>
                <a:lnTo>
                  <a:pt x="840" y="7147"/>
                </a:lnTo>
                <a:lnTo>
                  <a:pt x="840" y="7147"/>
                </a:lnTo>
                <a:lnTo>
                  <a:pt x="841" y="7147"/>
                </a:lnTo>
                <a:lnTo>
                  <a:pt x="842" y="7145"/>
                </a:lnTo>
                <a:close/>
                <a:moveTo>
                  <a:pt x="875" y="7267"/>
                </a:moveTo>
                <a:lnTo>
                  <a:pt x="877" y="7267"/>
                </a:lnTo>
                <a:lnTo>
                  <a:pt x="874" y="7266"/>
                </a:lnTo>
                <a:lnTo>
                  <a:pt x="875" y="7267"/>
                </a:lnTo>
                <a:lnTo>
                  <a:pt x="875" y="7267"/>
                </a:lnTo>
                <a:close/>
                <a:moveTo>
                  <a:pt x="877" y="7267"/>
                </a:moveTo>
                <a:lnTo>
                  <a:pt x="878" y="7267"/>
                </a:lnTo>
                <a:lnTo>
                  <a:pt x="877" y="7267"/>
                </a:lnTo>
                <a:lnTo>
                  <a:pt x="878" y="7269"/>
                </a:lnTo>
                <a:lnTo>
                  <a:pt x="877" y="7267"/>
                </a:lnTo>
                <a:close/>
                <a:moveTo>
                  <a:pt x="6414" y="10130"/>
                </a:moveTo>
                <a:lnTo>
                  <a:pt x="6418" y="10130"/>
                </a:lnTo>
                <a:lnTo>
                  <a:pt x="6420" y="10130"/>
                </a:lnTo>
                <a:lnTo>
                  <a:pt x="6418" y="10129"/>
                </a:lnTo>
                <a:lnTo>
                  <a:pt x="6414" y="10130"/>
                </a:lnTo>
                <a:lnTo>
                  <a:pt x="6397" y="10129"/>
                </a:lnTo>
                <a:lnTo>
                  <a:pt x="6377" y="10128"/>
                </a:lnTo>
                <a:lnTo>
                  <a:pt x="6363" y="10130"/>
                </a:lnTo>
                <a:lnTo>
                  <a:pt x="6360" y="10146"/>
                </a:lnTo>
                <a:lnTo>
                  <a:pt x="6374" y="10146"/>
                </a:lnTo>
                <a:lnTo>
                  <a:pt x="6388" y="10144"/>
                </a:lnTo>
                <a:lnTo>
                  <a:pt x="6402" y="10139"/>
                </a:lnTo>
                <a:lnTo>
                  <a:pt x="6414" y="10130"/>
                </a:lnTo>
                <a:close/>
                <a:moveTo>
                  <a:pt x="3242" y="9738"/>
                </a:moveTo>
                <a:lnTo>
                  <a:pt x="3242" y="9736"/>
                </a:lnTo>
                <a:lnTo>
                  <a:pt x="3242" y="9734"/>
                </a:lnTo>
                <a:lnTo>
                  <a:pt x="3242" y="9734"/>
                </a:lnTo>
                <a:lnTo>
                  <a:pt x="3239" y="9734"/>
                </a:lnTo>
                <a:lnTo>
                  <a:pt x="3242" y="9738"/>
                </a:lnTo>
                <a:close/>
                <a:moveTo>
                  <a:pt x="2726" y="9855"/>
                </a:moveTo>
                <a:lnTo>
                  <a:pt x="2727" y="9854"/>
                </a:lnTo>
                <a:lnTo>
                  <a:pt x="2728" y="9846"/>
                </a:lnTo>
                <a:lnTo>
                  <a:pt x="2727" y="9851"/>
                </a:lnTo>
                <a:lnTo>
                  <a:pt x="2726" y="9855"/>
                </a:lnTo>
                <a:close/>
                <a:moveTo>
                  <a:pt x="5883" y="10109"/>
                </a:moveTo>
                <a:lnTo>
                  <a:pt x="5885" y="10107"/>
                </a:lnTo>
                <a:lnTo>
                  <a:pt x="5885" y="10107"/>
                </a:lnTo>
                <a:lnTo>
                  <a:pt x="5885" y="10106"/>
                </a:lnTo>
                <a:lnTo>
                  <a:pt x="5884" y="10104"/>
                </a:lnTo>
                <a:lnTo>
                  <a:pt x="5883" y="10106"/>
                </a:lnTo>
                <a:lnTo>
                  <a:pt x="5883" y="10109"/>
                </a:lnTo>
                <a:close/>
                <a:moveTo>
                  <a:pt x="2451" y="9713"/>
                </a:moveTo>
                <a:lnTo>
                  <a:pt x="2453" y="9713"/>
                </a:lnTo>
                <a:lnTo>
                  <a:pt x="2455" y="9711"/>
                </a:lnTo>
                <a:lnTo>
                  <a:pt x="2453" y="9710"/>
                </a:lnTo>
                <a:lnTo>
                  <a:pt x="2453" y="9709"/>
                </a:lnTo>
                <a:lnTo>
                  <a:pt x="2451" y="9713"/>
                </a:lnTo>
                <a:close/>
                <a:moveTo>
                  <a:pt x="5801" y="10156"/>
                </a:moveTo>
                <a:lnTo>
                  <a:pt x="5803" y="10156"/>
                </a:lnTo>
                <a:lnTo>
                  <a:pt x="5801" y="10154"/>
                </a:lnTo>
                <a:lnTo>
                  <a:pt x="5801" y="10156"/>
                </a:lnTo>
                <a:lnTo>
                  <a:pt x="5801" y="10156"/>
                </a:lnTo>
                <a:close/>
                <a:moveTo>
                  <a:pt x="5805" y="10157"/>
                </a:moveTo>
                <a:lnTo>
                  <a:pt x="5806" y="10157"/>
                </a:lnTo>
                <a:lnTo>
                  <a:pt x="5809" y="10157"/>
                </a:lnTo>
                <a:lnTo>
                  <a:pt x="5805" y="10156"/>
                </a:lnTo>
                <a:lnTo>
                  <a:pt x="5805" y="10157"/>
                </a:lnTo>
                <a:close/>
                <a:moveTo>
                  <a:pt x="663" y="9571"/>
                </a:moveTo>
                <a:lnTo>
                  <a:pt x="665" y="9571"/>
                </a:lnTo>
                <a:lnTo>
                  <a:pt x="665" y="9570"/>
                </a:lnTo>
                <a:lnTo>
                  <a:pt x="665" y="9569"/>
                </a:lnTo>
                <a:lnTo>
                  <a:pt x="664" y="9568"/>
                </a:lnTo>
                <a:lnTo>
                  <a:pt x="663" y="9571"/>
                </a:lnTo>
                <a:close/>
                <a:moveTo>
                  <a:pt x="763" y="9592"/>
                </a:moveTo>
                <a:lnTo>
                  <a:pt x="766" y="9592"/>
                </a:lnTo>
                <a:lnTo>
                  <a:pt x="767" y="9591"/>
                </a:lnTo>
                <a:lnTo>
                  <a:pt x="763" y="9591"/>
                </a:lnTo>
                <a:lnTo>
                  <a:pt x="763" y="9592"/>
                </a:lnTo>
                <a:close/>
                <a:moveTo>
                  <a:pt x="2353" y="9585"/>
                </a:moveTo>
                <a:lnTo>
                  <a:pt x="2354" y="9582"/>
                </a:lnTo>
                <a:lnTo>
                  <a:pt x="2355" y="9577"/>
                </a:lnTo>
                <a:lnTo>
                  <a:pt x="2354" y="9582"/>
                </a:lnTo>
                <a:lnTo>
                  <a:pt x="2353" y="9585"/>
                </a:lnTo>
                <a:close/>
                <a:moveTo>
                  <a:pt x="2169" y="9718"/>
                </a:moveTo>
                <a:lnTo>
                  <a:pt x="2169" y="9720"/>
                </a:lnTo>
                <a:lnTo>
                  <a:pt x="2169" y="9723"/>
                </a:lnTo>
                <a:lnTo>
                  <a:pt x="2171" y="9724"/>
                </a:lnTo>
                <a:lnTo>
                  <a:pt x="2173" y="9724"/>
                </a:lnTo>
                <a:lnTo>
                  <a:pt x="2173" y="9722"/>
                </a:lnTo>
                <a:lnTo>
                  <a:pt x="2173" y="9720"/>
                </a:lnTo>
                <a:lnTo>
                  <a:pt x="2172" y="9719"/>
                </a:lnTo>
                <a:lnTo>
                  <a:pt x="2169" y="9718"/>
                </a:lnTo>
                <a:close/>
                <a:moveTo>
                  <a:pt x="2113" y="9691"/>
                </a:moveTo>
                <a:lnTo>
                  <a:pt x="2113" y="9692"/>
                </a:lnTo>
                <a:lnTo>
                  <a:pt x="2113" y="9695"/>
                </a:lnTo>
                <a:lnTo>
                  <a:pt x="2114" y="9695"/>
                </a:lnTo>
                <a:lnTo>
                  <a:pt x="2116" y="9695"/>
                </a:lnTo>
                <a:lnTo>
                  <a:pt x="2116" y="9692"/>
                </a:lnTo>
                <a:lnTo>
                  <a:pt x="2116" y="9691"/>
                </a:lnTo>
                <a:lnTo>
                  <a:pt x="2116" y="9690"/>
                </a:lnTo>
                <a:lnTo>
                  <a:pt x="2113" y="9691"/>
                </a:lnTo>
                <a:close/>
                <a:moveTo>
                  <a:pt x="7194" y="10149"/>
                </a:moveTo>
                <a:lnTo>
                  <a:pt x="7193" y="10149"/>
                </a:lnTo>
                <a:lnTo>
                  <a:pt x="7192" y="10152"/>
                </a:lnTo>
                <a:lnTo>
                  <a:pt x="7192" y="10154"/>
                </a:lnTo>
                <a:lnTo>
                  <a:pt x="7192" y="10157"/>
                </a:lnTo>
                <a:lnTo>
                  <a:pt x="7194" y="10154"/>
                </a:lnTo>
                <a:lnTo>
                  <a:pt x="7197" y="10153"/>
                </a:lnTo>
                <a:lnTo>
                  <a:pt x="7197" y="10151"/>
                </a:lnTo>
                <a:lnTo>
                  <a:pt x="7194" y="10149"/>
                </a:lnTo>
                <a:close/>
                <a:moveTo>
                  <a:pt x="6963" y="10134"/>
                </a:moveTo>
                <a:lnTo>
                  <a:pt x="6964" y="10138"/>
                </a:lnTo>
                <a:lnTo>
                  <a:pt x="6967" y="10142"/>
                </a:lnTo>
                <a:lnTo>
                  <a:pt x="6968" y="10139"/>
                </a:lnTo>
                <a:lnTo>
                  <a:pt x="6968" y="10134"/>
                </a:lnTo>
                <a:lnTo>
                  <a:pt x="6965" y="10132"/>
                </a:lnTo>
                <a:lnTo>
                  <a:pt x="6963" y="10134"/>
                </a:lnTo>
                <a:close/>
                <a:moveTo>
                  <a:pt x="6584" y="10194"/>
                </a:moveTo>
                <a:lnTo>
                  <a:pt x="6583" y="10195"/>
                </a:lnTo>
                <a:lnTo>
                  <a:pt x="6584" y="10194"/>
                </a:lnTo>
                <a:lnTo>
                  <a:pt x="6581" y="10194"/>
                </a:lnTo>
                <a:lnTo>
                  <a:pt x="6584" y="10194"/>
                </a:lnTo>
                <a:close/>
                <a:moveTo>
                  <a:pt x="6331" y="10134"/>
                </a:moveTo>
                <a:lnTo>
                  <a:pt x="6334" y="10134"/>
                </a:lnTo>
                <a:lnTo>
                  <a:pt x="6335" y="10133"/>
                </a:lnTo>
                <a:lnTo>
                  <a:pt x="6336" y="10132"/>
                </a:lnTo>
                <a:lnTo>
                  <a:pt x="6335" y="10129"/>
                </a:lnTo>
                <a:lnTo>
                  <a:pt x="6332" y="10129"/>
                </a:lnTo>
                <a:lnTo>
                  <a:pt x="6331" y="10130"/>
                </a:lnTo>
                <a:lnTo>
                  <a:pt x="6331" y="10133"/>
                </a:lnTo>
                <a:lnTo>
                  <a:pt x="6331" y="10134"/>
                </a:lnTo>
                <a:close/>
                <a:moveTo>
                  <a:pt x="836" y="8026"/>
                </a:moveTo>
                <a:lnTo>
                  <a:pt x="837" y="8030"/>
                </a:lnTo>
                <a:lnTo>
                  <a:pt x="838" y="8029"/>
                </a:lnTo>
                <a:lnTo>
                  <a:pt x="838" y="8027"/>
                </a:lnTo>
                <a:lnTo>
                  <a:pt x="837" y="8027"/>
                </a:lnTo>
                <a:lnTo>
                  <a:pt x="836" y="8026"/>
                </a:lnTo>
                <a:close/>
                <a:moveTo>
                  <a:pt x="5277" y="10115"/>
                </a:moveTo>
                <a:lnTo>
                  <a:pt x="5279" y="10115"/>
                </a:lnTo>
                <a:lnTo>
                  <a:pt x="5279" y="10111"/>
                </a:lnTo>
                <a:lnTo>
                  <a:pt x="5278" y="10109"/>
                </a:lnTo>
                <a:lnTo>
                  <a:pt x="5275" y="10110"/>
                </a:lnTo>
                <a:lnTo>
                  <a:pt x="5275" y="10112"/>
                </a:lnTo>
                <a:lnTo>
                  <a:pt x="5277" y="10115"/>
                </a:lnTo>
                <a:close/>
                <a:moveTo>
                  <a:pt x="654" y="8206"/>
                </a:moveTo>
                <a:lnTo>
                  <a:pt x="656" y="8206"/>
                </a:lnTo>
                <a:lnTo>
                  <a:pt x="658" y="8203"/>
                </a:lnTo>
                <a:lnTo>
                  <a:pt x="655" y="8202"/>
                </a:lnTo>
                <a:lnTo>
                  <a:pt x="653" y="8202"/>
                </a:lnTo>
                <a:lnTo>
                  <a:pt x="654" y="8204"/>
                </a:lnTo>
                <a:lnTo>
                  <a:pt x="654" y="8206"/>
                </a:lnTo>
                <a:close/>
                <a:moveTo>
                  <a:pt x="4027" y="9769"/>
                </a:moveTo>
                <a:lnTo>
                  <a:pt x="4029" y="9773"/>
                </a:lnTo>
                <a:lnTo>
                  <a:pt x="4030" y="9776"/>
                </a:lnTo>
                <a:lnTo>
                  <a:pt x="4032" y="9773"/>
                </a:lnTo>
                <a:lnTo>
                  <a:pt x="4032" y="9769"/>
                </a:lnTo>
                <a:lnTo>
                  <a:pt x="4030" y="9766"/>
                </a:lnTo>
                <a:lnTo>
                  <a:pt x="4027" y="9769"/>
                </a:lnTo>
                <a:close/>
                <a:moveTo>
                  <a:pt x="4094" y="9860"/>
                </a:moveTo>
                <a:lnTo>
                  <a:pt x="4095" y="9854"/>
                </a:lnTo>
                <a:lnTo>
                  <a:pt x="4092" y="9851"/>
                </a:lnTo>
                <a:lnTo>
                  <a:pt x="4088" y="9853"/>
                </a:lnTo>
                <a:lnTo>
                  <a:pt x="4090" y="9859"/>
                </a:lnTo>
                <a:lnTo>
                  <a:pt x="4091" y="9860"/>
                </a:lnTo>
                <a:lnTo>
                  <a:pt x="4094" y="9860"/>
                </a:lnTo>
                <a:close/>
                <a:moveTo>
                  <a:pt x="4008" y="9846"/>
                </a:moveTo>
                <a:lnTo>
                  <a:pt x="4012" y="9848"/>
                </a:lnTo>
                <a:lnTo>
                  <a:pt x="4011" y="9845"/>
                </a:lnTo>
                <a:lnTo>
                  <a:pt x="4011" y="9844"/>
                </a:lnTo>
                <a:lnTo>
                  <a:pt x="4009" y="9844"/>
                </a:lnTo>
                <a:lnTo>
                  <a:pt x="4008" y="9846"/>
                </a:lnTo>
                <a:close/>
                <a:moveTo>
                  <a:pt x="3659" y="9701"/>
                </a:moveTo>
                <a:lnTo>
                  <a:pt x="3661" y="9701"/>
                </a:lnTo>
                <a:lnTo>
                  <a:pt x="3662" y="9701"/>
                </a:lnTo>
                <a:lnTo>
                  <a:pt x="3661" y="9701"/>
                </a:lnTo>
                <a:lnTo>
                  <a:pt x="3659" y="9701"/>
                </a:lnTo>
                <a:close/>
                <a:moveTo>
                  <a:pt x="3596" y="9767"/>
                </a:moveTo>
                <a:lnTo>
                  <a:pt x="3596" y="9770"/>
                </a:lnTo>
                <a:lnTo>
                  <a:pt x="3596" y="9767"/>
                </a:lnTo>
                <a:lnTo>
                  <a:pt x="3592" y="9770"/>
                </a:lnTo>
                <a:lnTo>
                  <a:pt x="3596" y="9767"/>
                </a:lnTo>
                <a:close/>
                <a:moveTo>
                  <a:pt x="3794" y="9897"/>
                </a:moveTo>
                <a:lnTo>
                  <a:pt x="3794" y="9900"/>
                </a:lnTo>
                <a:lnTo>
                  <a:pt x="3794" y="9902"/>
                </a:lnTo>
                <a:lnTo>
                  <a:pt x="3796" y="9904"/>
                </a:lnTo>
                <a:lnTo>
                  <a:pt x="3797" y="9904"/>
                </a:lnTo>
                <a:lnTo>
                  <a:pt x="3798" y="9901"/>
                </a:lnTo>
                <a:lnTo>
                  <a:pt x="3798" y="9899"/>
                </a:lnTo>
                <a:lnTo>
                  <a:pt x="3797" y="9897"/>
                </a:lnTo>
                <a:lnTo>
                  <a:pt x="3794" y="9897"/>
                </a:lnTo>
                <a:close/>
                <a:moveTo>
                  <a:pt x="3760" y="9904"/>
                </a:moveTo>
                <a:lnTo>
                  <a:pt x="3761" y="9904"/>
                </a:lnTo>
                <a:lnTo>
                  <a:pt x="3762" y="9902"/>
                </a:lnTo>
                <a:lnTo>
                  <a:pt x="3762" y="9901"/>
                </a:lnTo>
                <a:lnTo>
                  <a:pt x="3760" y="9900"/>
                </a:lnTo>
                <a:lnTo>
                  <a:pt x="3760" y="9904"/>
                </a:lnTo>
                <a:close/>
                <a:moveTo>
                  <a:pt x="3247" y="9779"/>
                </a:moveTo>
                <a:lnTo>
                  <a:pt x="3247" y="9776"/>
                </a:lnTo>
                <a:lnTo>
                  <a:pt x="3245" y="9775"/>
                </a:lnTo>
                <a:lnTo>
                  <a:pt x="3244" y="9775"/>
                </a:lnTo>
                <a:lnTo>
                  <a:pt x="3242" y="9776"/>
                </a:lnTo>
                <a:lnTo>
                  <a:pt x="3243" y="9778"/>
                </a:lnTo>
                <a:lnTo>
                  <a:pt x="3244" y="9779"/>
                </a:lnTo>
                <a:lnTo>
                  <a:pt x="3245" y="9780"/>
                </a:lnTo>
                <a:lnTo>
                  <a:pt x="3247" y="9779"/>
                </a:lnTo>
                <a:close/>
                <a:moveTo>
                  <a:pt x="2318" y="9713"/>
                </a:moveTo>
                <a:lnTo>
                  <a:pt x="2320" y="9708"/>
                </a:lnTo>
                <a:lnTo>
                  <a:pt x="2318" y="9709"/>
                </a:lnTo>
                <a:lnTo>
                  <a:pt x="2317" y="9710"/>
                </a:lnTo>
                <a:lnTo>
                  <a:pt x="2317" y="9710"/>
                </a:lnTo>
                <a:lnTo>
                  <a:pt x="2318" y="9713"/>
                </a:lnTo>
                <a:close/>
                <a:moveTo>
                  <a:pt x="2084" y="9608"/>
                </a:moveTo>
                <a:lnTo>
                  <a:pt x="2086" y="9610"/>
                </a:lnTo>
                <a:lnTo>
                  <a:pt x="2086" y="9610"/>
                </a:lnTo>
                <a:lnTo>
                  <a:pt x="2086" y="9607"/>
                </a:lnTo>
                <a:lnTo>
                  <a:pt x="2086" y="9606"/>
                </a:lnTo>
                <a:lnTo>
                  <a:pt x="2084" y="9608"/>
                </a:lnTo>
                <a:close/>
                <a:moveTo>
                  <a:pt x="2949" y="9795"/>
                </a:moveTo>
                <a:lnTo>
                  <a:pt x="2951" y="9797"/>
                </a:lnTo>
                <a:lnTo>
                  <a:pt x="2952" y="9795"/>
                </a:lnTo>
                <a:lnTo>
                  <a:pt x="2952" y="9793"/>
                </a:lnTo>
                <a:lnTo>
                  <a:pt x="2952" y="9789"/>
                </a:lnTo>
                <a:lnTo>
                  <a:pt x="2950" y="9790"/>
                </a:lnTo>
                <a:lnTo>
                  <a:pt x="2949" y="9792"/>
                </a:lnTo>
                <a:lnTo>
                  <a:pt x="2949" y="9793"/>
                </a:lnTo>
                <a:lnTo>
                  <a:pt x="2949" y="9795"/>
                </a:lnTo>
                <a:close/>
                <a:moveTo>
                  <a:pt x="2721" y="9708"/>
                </a:moveTo>
                <a:lnTo>
                  <a:pt x="2723" y="9709"/>
                </a:lnTo>
                <a:lnTo>
                  <a:pt x="2724" y="9710"/>
                </a:lnTo>
                <a:lnTo>
                  <a:pt x="2724" y="9709"/>
                </a:lnTo>
                <a:lnTo>
                  <a:pt x="2723" y="9708"/>
                </a:lnTo>
                <a:lnTo>
                  <a:pt x="2722" y="9706"/>
                </a:lnTo>
                <a:lnTo>
                  <a:pt x="2721" y="9708"/>
                </a:lnTo>
                <a:close/>
                <a:moveTo>
                  <a:pt x="2686" y="9713"/>
                </a:moveTo>
                <a:lnTo>
                  <a:pt x="2688" y="9713"/>
                </a:lnTo>
                <a:lnTo>
                  <a:pt x="2689" y="9711"/>
                </a:lnTo>
                <a:lnTo>
                  <a:pt x="2688" y="9710"/>
                </a:lnTo>
                <a:lnTo>
                  <a:pt x="2686" y="9709"/>
                </a:lnTo>
                <a:lnTo>
                  <a:pt x="2686" y="9713"/>
                </a:lnTo>
                <a:close/>
                <a:moveTo>
                  <a:pt x="2171" y="9500"/>
                </a:moveTo>
                <a:lnTo>
                  <a:pt x="2171" y="9500"/>
                </a:lnTo>
                <a:lnTo>
                  <a:pt x="2171" y="9500"/>
                </a:lnTo>
                <a:lnTo>
                  <a:pt x="2165" y="9499"/>
                </a:lnTo>
                <a:lnTo>
                  <a:pt x="2163" y="9500"/>
                </a:lnTo>
                <a:lnTo>
                  <a:pt x="2162" y="9504"/>
                </a:lnTo>
                <a:lnTo>
                  <a:pt x="2162" y="9509"/>
                </a:lnTo>
                <a:lnTo>
                  <a:pt x="2164" y="9509"/>
                </a:lnTo>
                <a:lnTo>
                  <a:pt x="2167" y="9507"/>
                </a:lnTo>
                <a:lnTo>
                  <a:pt x="2168" y="9504"/>
                </a:lnTo>
                <a:lnTo>
                  <a:pt x="2171" y="9500"/>
                </a:lnTo>
                <a:close/>
                <a:moveTo>
                  <a:pt x="2171" y="9500"/>
                </a:moveTo>
                <a:lnTo>
                  <a:pt x="2171" y="9500"/>
                </a:lnTo>
                <a:lnTo>
                  <a:pt x="2171" y="9500"/>
                </a:lnTo>
                <a:close/>
                <a:moveTo>
                  <a:pt x="442" y="8759"/>
                </a:moveTo>
                <a:lnTo>
                  <a:pt x="442" y="8761"/>
                </a:lnTo>
                <a:lnTo>
                  <a:pt x="442" y="8763"/>
                </a:lnTo>
                <a:lnTo>
                  <a:pt x="445" y="8763"/>
                </a:lnTo>
                <a:lnTo>
                  <a:pt x="446" y="8761"/>
                </a:lnTo>
                <a:lnTo>
                  <a:pt x="445" y="8759"/>
                </a:lnTo>
                <a:lnTo>
                  <a:pt x="442" y="8759"/>
                </a:lnTo>
                <a:close/>
                <a:moveTo>
                  <a:pt x="1999" y="9734"/>
                </a:moveTo>
                <a:lnTo>
                  <a:pt x="2000" y="9732"/>
                </a:lnTo>
                <a:lnTo>
                  <a:pt x="2001" y="9732"/>
                </a:lnTo>
                <a:lnTo>
                  <a:pt x="2000" y="9731"/>
                </a:lnTo>
                <a:lnTo>
                  <a:pt x="1999" y="9731"/>
                </a:lnTo>
                <a:lnTo>
                  <a:pt x="1999" y="9734"/>
                </a:lnTo>
                <a:close/>
                <a:moveTo>
                  <a:pt x="979" y="9305"/>
                </a:moveTo>
                <a:lnTo>
                  <a:pt x="980" y="9307"/>
                </a:lnTo>
                <a:lnTo>
                  <a:pt x="981" y="9307"/>
                </a:lnTo>
                <a:lnTo>
                  <a:pt x="982" y="9305"/>
                </a:lnTo>
                <a:lnTo>
                  <a:pt x="982" y="9303"/>
                </a:lnTo>
                <a:lnTo>
                  <a:pt x="981" y="9302"/>
                </a:lnTo>
                <a:lnTo>
                  <a:pt x="980" y="9302"/>
                </a:lnTo>
                <a:lnTo>
                  <a:pt x="979" y="9303"/>
                </a:lnTo>
                <a:lnTo>
                  <a:pt x="979" y="9305"/>
                </a:lnTo>
                <a:close/>
                <a:moveTo>
                  <a:pt x="1116" y="9354"/>
                </a:moveTo>
                <a:lnTo>
                  <a:pt x="1117" y="9355"/>
                </a:lnTo>
                <a:lnTo>
                  <a:pt x="1119" y="9355"/>
                </a:lnTo>
                <a:lnTo>
                  <a:pt x="1121" y="9354"/>
                </a:lnTo>
                <a:lnTo>
                  <a:pt x="1121" y="9353"/>
                </a:lnTo>
                <a:lnTo>
                  <a:pt x="1119" y="9350"/>
                </a:lnTo>
                <a:lnTo>
                  <a:pt x="1117" y="9350"/>
                </a:lnTo>
                <a:lnTo>
                  <a:pt x="1116" y="9351"/>
                </a:lnTo>
                <a:lnTo>
                  <a:pt x="1116" y="9354"/>
                </a:lnTo>
                <a:close/>
                <a:moveTo>
                  <a:pt x="2048" y="9818"/>
                </a:moveTo>
                <a:lnTo>
                  <a:pt x="2050" y="9817"/>
                </a:lnTo>
                <a:lnTo>
                  <a:pt x="2050" y="9816"/>
                </a:lnTo>
                <a:lnTo>
                  <a:pt x="2050" y="9816"/>
                </a:lnTo>
                <a:lnTo>
                  <a:pt x="2047" y="9815"/>
                </a:lnTo>
                <a:lnTo>
                  <a:pt x="2048" y="9818"/>
                </a:lnTo>
                <a:close/>
                <a:moveTo>
                  <a:pt x="1473" y="9627"/>
                </a:moveTo>
                <a:lnTo>
                  <a:pt x="1475" y="9627"/>
                </a:lnTo>
                <a:lnTo>
                  <a:pt x="1475" y="9626"/>
                </a:lnTo>
                <a:lnTo>
                  <a:pt x="1475" y="9625"/>
                </a:lnTo>
                <a:lnTo>
                  <a:pt x="1474" y="9624"/>
                </a:lnTo>
                <a:lnTo>
                  <a:pt x="1473" y="9627"/>
                </a:lnTo>
                <a:close/>
                <a:moveTo>
                  <a:pt x="744" y="9416"/>
                </a:moveTo>
                <a:lnTo>
                  <a:pt x="744" y="9412"/>
                </a:lnTo>
                <a:lnTo>
                  <a:pt x="742" y="9411"/>
                </a:lnTo>
                <a:lnTo>
                  <a:pt x="739" y="9411"/>
                </a:lnTo>
                <a:lnTo>
                  <a:pt x="735" y="9411"/>
                </a:lnTo>
                <a:lnTo>
                  <a:pt x="737" y="9415"/>
                </a:lnTo>
                <a:lnTo>
                  <a:pt x="738" y="9416"/>
                </a:lnTo>
                <a:lnTo>
                  <a:pt x="740" y="9416"/>
                </a:lnTo>
                <a:lnTo>
                  <a:pt x="744" y="9416"/>
                </a:lnTo>
                <a:close/>
                <a:moveTo>
                  <a:pt x="2056" y="9739"/>
                </a:moveTo>
                <a:lnTo>
                  <a:pt x="2057" y="9745"/>
                </a:lnTo>
                <a:lnTo>
                  <a:pt x="2058" y="9748"/>
                </a:lnTo>
                <a:lnTo>
                  <a:pt x="2061" y="9748"/>
                </a:lnTo>
                <a:lnTo>
                  <a:pt x="2066" y="9747"/>
                </a:lnTo>
                <a:lnTo>
                  <a:pt x="2065" y="9741"/>
                </a:lnTo>
                <a:lnTo>
                  <a:pt x="2064" y="9738"/>
                </a:lnTo>
                <a:lnTo>
                  <a:pt x="2061" y="9738"/>
                </a:lnTo>
                <a:lnTo>
                  <a:pt x="2056" y="9739"/>
                </a:lnTo>
                <a:close/>
                <a:moveTo>
                  <a:pt x="2996" y="9787"/>
                </a:moveTo>
                <a:lnTo>
                  <a:pt x="2991" y="9787"/>
                </a:lnTo>
                <a:lnTo>
                  <a:pt x="2989" y="9789"/>
                </a:lnTo>
                <a:lnTo>
                  <a:pt x="2991" y="9792"/>
                </a:lnTo>
                <a:lnTo>
                  <a:pt x="2992" y="9795"/>
                </a:lnTo>
                <a:lnTo>
                  <a:pt x="2994" y="9794"/>
                </a:lnTo>
                <a:lnTo>
                  <a:pt x="2996" y="9792"/>
                </a:lnTo>
                <a:lnTo>
                  <a:pt x="2997" y="9789"/>
                </a:lnTo>
                <a:lnTo>
                  <a:pt x="2996" y="9787"/>
                </a:lnTo>
                <a:close/>
                <a:moveTo>
                  <a:pt x="533" y="9527"/>
                </a:moveTo>
                <a:lnTo>
                  <a:pt x="534" y="9528"/>
                </a:lnTo>
                <a:lnTo>
                  <a:pt x="535" y="9528"/>
                </a:lnTo>
                <a:lnTo>
                  <a:pt x="538" y="9528"/>
                </a:lnTo>
                <a:lnTo>
                  <a:pt x="539" y="9527"/>
                </a:lnTo>
                <a:lnTo>
                  <a:pt x="537" y="9526"/>
                </a:lnTo>
                <a:lnTo>
                  <a:pt x="535" y="9524"/>
                </a:lnTo>
                <a:lnTo>
                  <a:pt x="533" y="9524"/>
                </a:lnTo>
                <a:lnTo>
                  <a:pt x="533" y="9527"/>
                </a:lnTo>
                <a:close/>
                <a:moveTo>
                  <a:pt x="2125" y="9563"/>
                </a:moveTo>
                <a:lnTo>
                  <a:pt x="2123" y="9561"/>
                </a:lnTo>
                <a:lnTo>
                  <a:pt x="2122" y="9561"/>
                </a:lnTo>
                <a:lnTo>
                  <a:pt x="2122" y="9552"/>
                </a:lnTo>
                <a:lnTo>
                  <a:pt x="2121" y="9543"/>
                </a:lnTo>
                <a:lnTo>
                  <a:pt x="2117" y="9537"/>
                </a:lnTo>
                <a:lnTo>
                  <a:pt x="2111" y="9533"/>
                </a:lnTo>
                <a:lnTo>
                  <a:pt x="2098" y="9536"/>
                </a:lnTo>
                <a:lnTo>
                  <a:pt x="2098" y="9545"/>
                </a:lnTo>
                <a:lnTo>
                  <a:pt x="2107" y="9555"/>
                </a:lnTo>
                <a:lnTo>
                  <a:pt x="2122" y="9561"/>
                </a:lnTo>
                <a:lnTo>
                  <a:pt x="2123" y="9563"/>
                </a:lnTo>
                <a:lnTo>
                  <a:pt x="2125" y="9563"/>
                </a:lnTo>
                <a:lnTo>
                  <a:pt x="2128" y="9569"/>
                </a:lnTo>
                <a:lnTo>
                  <a:pt x="2132" y="9574"/>
                </a:lnTo>
                <a:lnTo>
                  <a:pt x="2139" y="9575"/>
                </a:lnTo>
                <a:lnTo>
                  <a:pt x="2149" y="9571"/>
                </a:lnTo>
                <a:lnTo>
                  <a:pt x="2135" y="9566"/>
                </a:lnTo>
                <a:lnTo>
                  <a:pt x="2125" y="9563"/>
                </a:lnTo>
                <a:close/>
                <a:moveTo>
                  <a:pt x="748" y="7857"/>
                </a:moveTo>
                <a:lnTo>
                  <a:pt x="751" y="7857"/>
                </a:lnTo>
                <a:lnTo>
                  <a:pt x="752" y="7854"/>
                </a:lnTo>
                <a:lnTo>
                  <a:pt x="749" y="7853"/>
                </a:lnTo>
                <a:lnTo>
                  <a:pt x="747" y="7853"/>
                </a:lnTo>
                <a:lnTo>
                  <a:pt x="747" y="7854"/>
                </a:lnTo>
                <a:lnTo>
                  <a:pt x="748" y="7857"/>
                </a:lnTo>
                <a:close/>
                <a:moveTo>
                  <a:pt x="6443" y="10036"/>
                </a:moveTo>
                <a:lnTo>
                  <a:pt x="6443" y="10036"/>
                </a:lnTo>
                <a:lnTo>
                  <a:pt x="6443" y="10036"/>
                </a:lnTo>
                <a:lnTo>
                  <a:pt x="6442" y="10036"/>
                </a:lnTo>
                <a:lnTo>
                  <a:pt x="6443" y="10037"/>
                </a:lnTo>
                <a:lnTo>
                  <a:pt x="6443" y="10037"/>
                </a:lnTo>
                <a:lnTo>
                  <a:pt x="6443" y="10037"/>
                </a:lnTo>
                <a:lnTo>
                  <a:pt x="6443" y="10036"/>
                </a:lnTo>
                <a:close/>
                <a:moveTo>
                  <a:pt x="6453" y="10025"/>
                </a:moveTo>
                <a:lnTo>
                  <a:pt x="6455" y="10027"/>
                </a:lnTo>
                <a:lnTo>
                  <a:pt x="6453" y="10025"/>
                </a:lnTo>
                <a:lnTo>
                  <a:pt x="6447" y="10032"/>
                </a:lnTo>
                <a:lnTo>
                  <a:pt x="6453" y="10025"/>
                </a:lnTo>
                <a:close/>
                <a:moveTo>
                  <a:pt x="4106" y="9803"/>
                </a:moveTo>
                <a:lnTo>
                  <a:pt x="4106" y="9803"/>
                </a:lnTo>
                <a:lnTo>
                  <a:pt x="4106" y="9803"/>
                </a:lnTo>
                <a:lnTo>
                  <a:pt x="4109" y="9797"/>
                </a:lnTo>
                <a:lnTo>
                  <a:pt x="4111" y="9790"/>
                </a:lnTo>
                <a:lnTo>
                  <a:pt x="4113" y="9784"/>
                </a:lnTo>
                <a:lnTo>
                  <a:pt x="4109" y="9778"/>
                </a:lnTo>
                <a:lnTo>
                  <a:pt x="4105" y="9784"/>
                </a:lnTo>
                <a:lnTo>
                  <a:pt x="4104" y="9790"/>
                </a:lnTo>
                <a:lnTo>
                  <a:pt x="4105" y="9797"/>
                </a:lnTo>
                <a:lnTo>
                  <a:pt x="4106" y="9803"/>
                </a:lnTo>
                <a:close/>
                <a:moveTo>
                  <a:pt x="4106" y="9803"/>
                </a:moveTo>
                <a:lnTo>
                  <a:pt x="4106" y="9803"/>
                </a:lnTo>
                <a:lnTo>
                  <a:pt x="4106" y="9803"/>
                </a:lnTo>
                <a:close/>
                <a:moveTo>
                  <a:pt x="1939" y="9636"/>
                </a:moveTo>
                <a:lnTo>
                  <a:pt x="1939" y="9639"/>
                </a:lnTo>
                <a:lnTo>
                  <a:pt x="1941" y="9640"/>
                </a:lnTo>
                <a:lnTo>
                  <a:pt x="1944" y="9639"/>
                </a:lnTo>
                <a:lnTo>
                  <a:pt x="1943" y="9635"/>
                </a:lnTo>
                <a:lnTo>
                  <a:pt x="1941" y="9635"/>
                </a:lnTo>
                <a:lnTo>
                  <a:pt x="1939" y="9636"/>
                </a:lnTo>
                <a:close/>
                <a:moveTo>
                  <a:pt x="1819" y="9508"/>
                </a:moveTo>
                <a:lnTo>
                  <a:pt x="1819" y="9508"/>
                </a:lnTo>
                <a:lnTo>
                  <a:pt x="1819" y="9509"/>
                </a:lnTo>
                <a:lnTo>
                  <a:pt x="1819" y="9508"/>
                </a:lnTo>
                <a:lnTo>
                  <a:pt x="1818" y="9508"/>
                </a:lnTo>
                <a:lnTo>
                  <a:pt x="1819" y="9509"/>
                </a:lnTo>
                <a:lnTo>
                  <a:pt x="1820" y="9507"/>
                </a:lnTo>
                <a:lnTo>
                  <a:pt x="1819" y="9508"/>
                </a:lnTo>
                <a:close/>
                <a:moveTo>
                  <a:pt x="1820" y="9507"/>
                </a:moveTo>
                <a:lnTo>
                  <a:pt x="1829" y="9500"/>
                </a:lnTo>
                <a:lnTo>
                  <a:pt x="1838" y="9495"/>
                </a:lnTo>
                <a:lnTo>
                  <a:pt x="1830" y="9493"/>
                </a:lnTo>
                <a:lnTo>
                  <a:pt x="1825" y="9495"/>
                </a:lnTo>
                <a:lnTo>
                  <a:pt x="1823" y="9500"/>
                </a:lnTo>
                <a:lnTo>
                  <a:pt x="1820" y="9507"/>
                </a:lnTo>
                <a:close/>
                <a:moveTo>
                  <a:pt x="4124" y="9747"/>
                </a:moveTo>
                <a:lnTo>
                  <a:pt x="4123" y="9748"/>
                </a:lnTo>
                <a:lnTo>
                  <a:pt x="4123" y="9751"/>
                </a:lnTo>
                <a:lnTo>
                  <a:pt x="4123" y="9753"/>
                </a:lnTo>
                <a:lnTo>
                  <a:pt x="4124" y="9756"/>
                </a:lnTo>
                <a:lnTo>
                  <a:pt x="4127" y="9752"/>
                </a:lnTo>
                <a:lnTo>
                  <a:pt x="4128" y="9750"/>
                </a:lnTo>
                <a:lnTo>
                  <a:pt x="4127" y="9748"/>
                </a:lnTo>
                <a:lnTo>
                  <a:pt x="4124" y="9747"/>
                </a:lnTo>
                <a:close/>
                <a:moveTo>
                  <a:pt x="2712" y="9841"/>
                </a:moveTo>
                <a:lnTo>
                  <a:pt x="2710" y="9849"/>
                </a:lnTo>
                <a:lnTo>
                  <a:pt x="2713" y="9853"/>
                </a:lnTo>
                <a:lnTo>
                  <a:pt x="2719" y="9854"/>
                </a:lnTo>
                <a:lnTo>
                  <a:pt x="2726" y="9855"/>
                </a:lnTo>
                <a:lnTo>
                  <a:pt x="2722" y="9851"/>
                </a:lnTo>
                <a:lnTo>
                  <a:pt x="2719" y="9846"/>
                </a:lnTo>
                <a:lnTo>
                  <a:pt x="2716" y="9843"/>
                </a:lnTo>
                <a:lnTo>
                  <a:pt x="2712" y="9841"/>
                </a:lnTo>
                <a:close/>
                <a:moveTo>
                  <a:pt x="930" y="9336"/>
                </a:moveTo>
                <a:lnTo>
                  <a:pt x="931" y="9341"/>
                </a:lnTo>
                <a:lnTo>
                  <a:pt x="933" y="9344"/>
                </a:lnTo>
                <a:lnTo>
                  <a:pt x="935" y="9342"/>
                </a:lnTo>
                <a:lnTo>
                  <a:pt x="938" y="9339"/>
                </a:lnTo>
                <a:lnTo>
                  <a:pt x="938" y="9335"/>
                </a:lnTo>
                <a:lnTo>
                  <a:pt x="936" y="9335"/>
                </a:lnTo>
                <a:lnTo>
                  <a:pt x="934" y="9335"/>
                </a:lnTo>
                <a:lnTo>
                  <a:pt x="930" y="9336"/>
                </a:lnTo>
                <a:close/>
                <a:moveTo>
                  <a:pt x="3117" y="9876"/>
                </a:moveTo>
                <a:lnTo>
                  <a:pt x="3115" y="9876"/>
                </a:lnTo>
                <a:lnTo>
                  <a:pt x="3115" y="9877"/>
                </a:lnTo>
                <a:lnTo>
                  <a:pt x="3117" y="9876"/>
                </a:lnTo>
                <a:lnTo>
                  <a:pt x="3115" y="9876"/>
                </a:lnTo>
                <a:lnTo>
                  <a:pt x="3115" y="9877"/>
                </a:lnTo>
                <a:lnTo>
                  <a:pt x="3117" y="9877"/>
                </a:lnTo>
                <a:lnTo>
                  <a:pt x="3117" y="9876"/>
                </a:lnTo>
                <a:close/>
                <a:moveTo>
                  <a:pt x="3132" y="9892"/>
                </a:moveTo>
                <a:lnTo>
                  <a:pt x="3126" y="9892"/>
                </a:lnTo>
                <a:lnTo>
                  <a:pt x="3132" y="9892"/>
                </a:lnTo>
                <a:lnTo>
                  <a:pt x="3132" y="9885"/>
                </a:lnTo>
                <a:lnTo>
                  <a:pt x="3126" y="9879"/>
                </a:lnTo>
                <a:lnTo>
                  <a:pt x="3123" y="9882"/>
                </a:lnTo>
                <a:lnTo>
                  <a:pt x="3132" y="9892"/>
                </a:lnTo>
                <a:close/>
                <a:moveTo>
                  <a:pt x="761" y="9589"/>
                </a:moveTo>
                <a:lnTo>
                  <a:pt x="761" y="9591"/>
                </a:lnTo>
                <a:lnTo>
                  <a:pt x="762" y="9591"/>
                </a:lnTo>
                <a:lnTo>
                  <a:pt x="762" y="9591"/>
                </a:lnTo>
                <a:lnTo>
                  <a:pt x="761" y="9589"/>
                </a:lnTo>
                <a:close/>
                <a:moveTo>
                  <a:pt x="759" y="9591"/>
                </a:moveTo>
                <a:lnTo>
                  <a:pt x="749" y="9588"/>
                </a:lnTo>
                <a:lnTo>
                  <a:pt x="737" y="9585"/>
                </a:lnTo>
                <a:lnTo>
                  <a:pt x="743" y="9594"/>
                </a:lnTo>
                <a:lnTo>
                  <a:pt x="749" y="9598"/>
                </a:lnTo>
                <a:lnTo>
                  <a:pt x="754" y="9596"/>
                </a:lnTo>
                <a:lnTo>
                  <a:pt x="759" y="9591"/>
                </a:lnTo>
                <a:close/>
                <a:moveTo>
                  <a:pt x="1926" y="9719"/>
                </a:moveTo>
                <a:lnTo>
                  <a:pt x="1925" y="9723"/>
                </a:lnTo>
                <a:lnTo>
                  <a:pt x="1929" y="9724"/>
                </a:lnTo>
                <a:lnTo>
                  <a:pt x="1931" y="9724"/>
                </a:lnTo>
                <a:lnTo>
                  <a:pt x="1930" y="9720"/>
                </a:lnTo>
                <a:lnTo>
                  <a:pt x="1927" y="9719"/>
                </a:lnTo>
                <a:lnTo>
                  <a:pt x="1926" y="9719"/>
                </a:lnTo>
                <a:close/>
                <a:moveTo>
                  <a:pt x="376" y="8321"/>
                </a:moveTo>
                <a:lnTo>
                  <a:pt x="379" y="8320"/>
                </a:lnTo>
                <a:lnTo>
                  <a:pt x="379" y="8316"/>
                </a:lnTo>
                <a:lnTo>
                  <a:pt x="376" y="8315"/>
                </a:lnTo>
                <a:lnTo>
                  <a:pt x="374" y="8318"/>
                </a:lnTo>
                <a:lnTo>
                  <a:pt x="374" y="8320"/>
                </a:lnTo>
                <a:lnTo>
                  <a:pt x="376" y="8321"/>
                </a:lnTo>
                <a:close/>
                <a:moveTo>
                  <a:pt x="3779" y="9803"/>
                </a:moveTo>
                <a:lnTo>
                  <a:pt x="3779" y="9806"/>
                </a:lnTo>
                <a:lnTo>
                  <a:pt x="3779" y="9808"/>
                </a:lnTo>
                <a:lnTo>
                  <a:pt x="3781" y="9808"/>
                </a:lnTo>
                <a:lnTo>
                  <a:pt x="3783" y="9806"/>
                </a:lnTo>
                <a:lnTo>
                  <a:pt x="3781" y="9803"/>
                </a:lnTo>
                <a:lnTo>
                  <a:pt x="3779" y="9803"/>
                </a:lnTo>
                <a:close/>
                <a:moveTo>
                  <a:pt x="2991" y="9708"/>
                </a:moveTo>
                <a:lnTo>
                  <a:pt x="2993" y="9708"/>
                </a:lnTo>
                <a:lnTo>
                  <a:pt x="2993" y="9705"/>
                </a:lnTo>
                <a:lnTo>
                  <a:pt x="2993" y="9703"/>
                </a:lnTo>
                <a:lnTo>
                  <a:pt x="2993" y="9699"/>
                </a:lnTo>
                <a:lnTo>
                  <a:pt x="2988" y="9700"/>
                </a:lnTo>
                <a:lnTo>
                  <a:pt x="2987" y="9703"/>
                </a:lnTo>
                <a:lnTo>
                  <a:pt x="2987" y="9705"/>
                </a:lnTo>
                <a:lnTo>
                  <a:pt x="2991" y="9708"/>
                </a:lnTo>
                <a:close/>
                <a:moveTo>
                  <a:pt x="2037" y="9431"/>
                </a:moveTo>
                <a:lnTo>
                  <a:pt x="2032" y="9433"/>
                </a:lnTo>
                <a:lnTo>
                  <a:pt x="2032" y="9437"/>
                </a:lnTo>
                <a:lnTo>
                  <a:pt x="2036" y="9439"/>
                </a:lnTo>
                <a:lnTo>
                  <a:pt x="2039" y="9435"/>
                </a:lnTo>
                <a:lnTo>
                  <a:pt x="2038" y="9433"/>
                </a:lnTo>
                <a:lnTo>
                  <a:pt x="2037" y="9431"/>
                </a:lnTo>
                <a:close/>
                <a:moveTo>
                  <a:pt x="2784" y="9704"/>
                </a:moveTo>
                <a:lnTo>
                  <a:pt x="2781" y="9704"/>
                </a:lnTo>
                <a:lnTo>
                  <a:pt x="2778" y="9706"/>
                </a:lnTo>
                <a:lnTo>
                  <a:pt x="2778" y="9710"/>
                </a:lnTo>
                <a:lnTo>
                  <a:pt x="2779" y="9714"/>
                </a:lnTo>
                <a:lnTo>
                  <a:pt x="2783" y="9715"/>
                </a:lnTo>
                <a:lnTo>
                  <a:pt x="2786" y="9713"/>
                </a:lnTo>
                <a:lnTo>
                  <a:pt x="2786" y="9709"/>
                </a:lnTo>
                <a:lnTo>
                  <a:pt x="2784" y="9704"/>
                </a:lnTo>
                <a:close/>
                <a:moveTo>
                  <a:pt x="799" y="7710"/>
                </a:moveTo>
                <a:lnTo>
                  <a:pt x="800" y="7712"/>
                </a:lnTo>
                <a:lnTo>
                  <a:pt x="802" y="7712"/>
                </a:lnTo>
                <a:lnTo>
                  <a:pt x="800" y="7712"/>
                </a:lnTo>
                <a:lnTo>
                  <a:pt x="799" y="7710"/>
                </a:lnTo>
                <a:lnTo>
                  <a:pt x="795" y="7708"/>
                </a:lnTo>
                <a:lnTo>
                  <a:pt x="789" y="7705"/>
                </a:lnTo>
                <a:lnTo>
                  <a:pt x="782" y="7707"/>
                </a:lnTo>
                <a:lnTo>
                  <a:pt x="773" y="7712"/>
                </a:lnTo>
                <a:lnTo>
                  <a:pt x="789" y="7710"/>
                </a:lnTo>
                <a:lnTo>
                  <a:pt x="799" y="7710"/>
                </a:lnTo>
                <a:close/>
                <a:moveTo>
                  <a:pt x="668" y="7976"/>
                </a:moveTo>
                <a:lnTo>
                  <a:pt x="670" y="7975"/>
                </a:lnTo>
                <a:lnTo>
                  <a:pt x="670" y="7973"/>
                </a:lnTo>
                <a:lnTo>
                  <a:pt x="670" y="7971"/>
                </a:lnTo>
                <a:lnTo>
                  <a:pt x="669" y="7969"/>
                </a:lnTo>
                <a:lnTo>
                  <a:pt x="668" y="7971"/>
                </a:lnTo>
                <a:lnTo>
                  <a:pt x="667" y="7973"/>
                </a:lnTo>
                <a:lnTo>
                  <a:pt x="667" y="7975"/>
                </a:lnTo>
                <a:lnTo>
                  <a:pt x="668" y="7976"/>
                </a:lnTo>
                <a:close/>
                <a:moveTo>
                  <a:pt x="1870" y="9477"/>
                </a:moveTo>
                <a:lnTo>
                  <a:pt x="1867" y="9480"/>
                </a:lnTo>
                <a:lnTo>
                  <a:pt x="1865" y="9482"/>
                </a:lnTo>
                <a:lnTo>
                  <a:pt x="1866" y="9485"/>
                </a:lnTo>
                <a:lnTo>
                  <a:pt x="1869" y="9489"/>
                </a:lnTo>
                <a:lnTo>
                  <a:pt x="1871" y="9487"/>
                </a:lnTo>
                <a:lnTo>
                  <a:pt x="1871" y="9485"/>
                </a:lnTo>
                <a:lnTo>
                  <a:pt x="1871" y="9481"/>
                </a:lnTo>
                <a:lnTo>
                  <a:pt x="1870" y="9477"/>
                </a:lnTo>
                <a:close/>
                <a:moveTo>
                  <a:pt x="2632" y="9713"/>
                </a:moveTo>
                <a:lnTo>
                  <a:pt x="2632" y="9715"/>
                </a:lnTo>
                <a:lnTo>
                  <a:pt x="2633" y="9718"/>
                </a:lnTo>
                <a:lnTo>
                  <a:pt x="2638" y="9715"/>
                </a:lnTo>
                <a:lnTo>
                  <a:pt x="2639" y="9713"/>
                </a:lnTo>
                <a:lnTo>
                  <a:pt x="2637" y="9711"/>
                </a:lnTo>
                <a:lnTo>
                  <a:pt x="2632" y="9713"/>
                </a:lnTo>
                <a:close/>
                <a:moveTo>
                  <a:pt x="2782" y="9756"/>
                </a:moveTo>
                <a:lnTo>
                  <a:pt x="2784" y="9755"/>
                </a:lnTo>
                <a:lnTo>
                  <a:pt x="2786" y="9751"/>
                </a:lnTo>
                <a:lnTo>
                  <a:pt x="2783" y="9747"/>
                </a:lnTo>
                <a:lnTo>
                  <a:pt x="2779" y="9747"/>
                </a:lnTo>
                <a:lnTo>
                  <a:pt x="2781" y="9752"/>
                </a:lnTo>
                <a:lnTo>
                  <a:pt x="2782" y="9756"/>
                </a:lnTo>
                <a:close/>
                <a:moveTo>
                  <a:pt x="1894" y="9578"/>
                </a:moveTo>
                <a:lnTo>
                  <a:pt x="1893" y="9575"/>
                </a:lnTo>
                <a:lnTo>
                  <a:pt x="1892" y="9577"/>
                </a:lnTo>
                <a:lnTo>
                  <a:pt x="1890" y="9579"/>
                </a:lnTo>
                <a:lnTo>
                  <a:pt x="1893" y="9582"/>
                </a:lnTo>
                <a:lnTo>
                  <a:pt x="1894" y="9580"/>
                </a:lnTo>
                <a:lnTo>
                  <a:pt x="1894" y="9578"/>
                </a:lnTo>
                <a:close/>
                <a:moveTo>
                  <a:pt x="872" y="9274"/>
                </a:moveTo>
                <a:lnTo>
                  <a:pt x="870" y="9279"/>
                </a:lnTo>
                <a:lnTo>
                  <a:pt x="872" y="9281"/>
                </a:lnTo>
                <a:lnTo>
                  <a:pt x="873" y="9282"/>
                </a:lnTo>
                <a:lnTo>
                  <a:pt x="878" y="9281"/>
                </a:lnTo>
                <a:lnTo>
                  <a:pt x="877" y="9277"/>
                </a:lnTo>
                <a:lnTo>
                  <a:pt x="877" y="9275"/>
                </a:lnTo>
                <a:lnTo>
                  <a:pt x="875" y="9272"/>
                </a:lnTo>
                <a:lnTo>
                  <a:pt x="872" y="9274"/>
                </a:lnTo>
                <a:close/>
                <a:moveTo>
                  <a:pt x="3631" y="9843"/>
                </a:moveTo>
                <a:lnTo>
                  <a:pt x="3629" y="9843"/>
                </a:lnTo>
                <a:lnTo>
                  <a:pt x="3626" y="9844"/>
                </a:lnTo>
                <a:lnTo>
                  <a:pt x="3626" y="9845"/>
                </a:lnTo>
                <a:lnTo>
                  <a:pt x="3627" y="9848"/>
                </a:lnTo>
                <a:lnTo>
                  <a:pt x="3629" y="9848"/>
                </a:lnTo>
                <a:lnTo>
                  <a:pt x="3630" y="9846"/>
                </a:lnTo>
                <a:lnTo>
                  <a:pt x="3631" y="9845"/>
                </a:lnTo>
                <a:lnTo>
                  <a:pt x="3631" y="9843"/>
                </a:lnTo>
                <a:close/>
                <a:moveTo>
                  <a:pt x="3498" y="9779"/>
                </a:moveTo>
                <a:lnTo>
                  <a:pt x="3496" y="9774"/>
                </a:lnTo>
                <a:lnTo>
                  <a:pt x="3494" y="9771"/>
                </a:lnTo>
                <a:lnTo>
                  <a:pt x="3491" y="9771"/>
                </a:lnTo>
                <a:lnTo>
                  <a:pt x="3487" y="9774"/>
                </a:lnTo>
                <a:lnTo>
                  <a:pt x="3489" y="9779"/>
                </a:lnTo>
                <a:lnTo>
                  <a:pt x="3491" y="9781"/>
                </a:lnTo>
                <a:lnTo>
                  <a:pt x="3494" y="9781"/>
                </a:lnTo>
                <a:lnTo>
                  <a:pt x="3498" y="9779"/>
                </a:lnTo>
                <a:close/>
                <a:moveTo>
                  <a:pt x="3121" y="9602"/>
                </a:moveTo>
                <a:lnTo>
                  <a:pt x="3118" y="9606"/>
                </a:lnTo>
                <a:lnTo>
                  <a:pt x="3118" y="9608"/>
                </a:lnTo>
                <a:lnTo>
                  <a:pt x="3119" y="9612"/>
                </a:lnTo>
                <a:lnTo>
                  <a:pt x="3122" y="9615"/>
                </a:lnTo>
                <a:lnTo>
                  <a:pt x="3123" y="9612"/>
                </a:lnTo>
                <a:lnTo>
                  <a:pt x="3123" y="9608"/>
                </a:lnTo>
                <a:lnTo>
                  <a:pt x="3122" y="9606"/>
                </a:lnTo>
                <a:lnTo>
                  <a:pt x="3121" y="9602"/>
                </a:lnTo>
                <a:close/>
                <a:moveTo>
                  <a:pt x="2042" y="9389"/>
                </a:moveTo>
                <a:lnTo>
                  <a:pt x="2042" y="9388"/>
                </a:lnTo>
                <a:lnTo>
                  <a:pt x="2042" y="9387"/>
                </a:lnTo>
                <a:lnTo>
                  <a:pt x="2041" y="9388"/>
                </a:lnTo>
                <a:lnTo>
                  <a:pt x="2042" y="9389"/>
                </a:lnTo>
                <a:lnTo>
                  <a:pt x="2041" y="9393"/>
                </a:lnTo>
                <a:lnTo>
                  <a:pt x="2041" y="9398"/>
                </a:lnTo>
                <a:lnTo>
                  <a:pt x="2042" y="9402"/>
                </a:lnTo>
                <a:lnTo>
                  <a:pt x="2044" y="9406"/>
                </a:lnTo>
                <a:lnTo>
                  <a:pt x="2046" y="9401"/>
                </a:lnTo>
                <a:lnTo>
                  <a:pt x="2046" y="9397"/>
                </a:lnTo>
                <a:lnTo>
                  <a:pt x="2044" y="9393"/>
                </a:lnTo>
                <a:lnTo>
                  <a:pt x="2042" y="9389"/>
                </a:lnTo>
                <a:close/>
                <a:moveTo>
                  <a:pt x="3280" y="9631"/>
                </a:moveTo>
                <a:lnTo>
                  <a:pt x="3278" y="9636"/>
                </a:lnTo>
                <a:lnTo>
                  <a:pt x="3277" y="9641"/>
                </a:lnTo>
                <a:lnTo>
                  <a:pt x="3281" y="9641"/>
                </a:lnTo>
                <a:lnTo>
                  <a:pt x="3285" y="9638"/>
                </a:lnTo>
                <a:lnTo>
                  <a:pt x="3284" y="9633"/>
                </a:lnTo>
                <a:lnTo>
                  <a:pt x="3280" y="9631"/>
                </a:lnTo>
                <a:close/>
                <a:moveTo>
                  <a:pt x="2940" y="9616"/>
                </a:moveTo>
                <a:lnTo>
                  <a:pt x="2950" y="9613"/>
                </a:lnTo>
                <a:lnTo>
                  <a:pt x="2959" y="9611"/>
                </a:lnTo>
                <a:lnTo>
                  <a:pt x="2961" y="9607"/>
                </a:lnTo>
                <a:lnTo>
                  <a:pt x="2950" y="9603"/>
                </a:lnTo>
                <a:lnTo>
                  <a:pt x="2946" y="9602"/>
                </a:lnTo>
                <a:lnTo>
                  <a:pt x="2942" y="9603"/>
                </a:lnTo>
                <a:lnTo>
                  <a:pt x="2940" y="9607"/>
                </a:lnTo>
                <a:lnTo>
                  <a:pt x="2940" y="9616"/>
                </a:lnTo>
                <a:close/>
                <a:moveTo>
                  <a:pt x="831" y="8208"/>
                </a:moveTo>
                <a:lnTo>
                  <a:pt x="828" y="8203"/>
                </a:lnTo>
                <a:lnTo>
                  <a:pt x="824" y="8203"/>
                </a:lnTo>
                <a:lnTo>
                  <a:pt x="823" y="8208"/>
                </a:lnTo>
                <a:lnTo>
                  <a:pt x="827" y="8212"/>
                </a:lnTo>
                <a:lnTo>
                  <a:pt x="830" y="8211"/>
                </a:lnTo>
                <a:lnTo>
                  <a:pt x="831" y="8208"/>
                </a:lnTo>
                <a:close/>
                <a:moveTo>
                  <a:pt x="772" y="8169"/>
                </a:moveTo>
                <a:lnTo>
                  <a:pt x="768" y="8170"/>
                </a:lnTo>
                <a:lnTo>
                  <a:pt x="767" y="8173"/>
                </a:lnTo>
                <a:lnTo>
                  <a:pt x="768" y="8175"/>
                </a:lnTo>
                <a:lnTo>
                  <a:pt x="771" y="8178"/>
                </a:lnTo>
                <a:lnTo>
                  <a:pt x="775" y="8178"/>
                </a:lnTo>
                <a:lnTo>
                  <a:pt x="776" y="8175"/>
                </a:lnTo>
                <a:lnTo>
                  <a:pt x="775" y="8173"/>
                </a:lnTo>
                <a:lnTo>
                  <a:pt x="772" y="8169"/>
                </a:lnTo>
                <a:close/>
                <a:moveTo>
                  <a:pt x="3152" y="9742"/>
                </a:moveTo>
                <a:lnTo>
                  <a:pt x="3154" y="9742"/>
                </a:lnTo>
                <a:lnTo>
                  <a:pt x="3152" y="9742"/>
                </a:lnTo>
                <a:lnTo>
                  <a:pt x="3152" y="9742"/>
                </a:lnTo>
                <a:lnTo>
                  <a:pt x="3152" y="9742"/>
                </a:lnTo>
                <a:lnTo>
                  <a:pt x="3152" y="9743"/>
                </a:lnTo>
                <a:lnTo>
                  <a:pt x="3152" y="9743"/>
                </a:lnTo>
                <a:lnTo>
                  <a:pt x="3152" y="9743"/>
                </a:lnTo>
                <a:lnTo>
                  <a:pt x="3152" y="9743"/>
                </a:lnTo>
                <a:lnTo>
                  <a:pt x="3152" y="9742"/>
                </a:lnTo>
                <a:close/>
                <a:moveTo>
                  <a:pt x="3188" y="9725"/>
                </a:moveTo>
                <a:lnTo>
                  <a:pt x="3169" y="9736"/>
                </a:lnTo>
                <a:lnTo>
                  <a:pt x="3155" y="9742"/>
                </a:lnTo>
                <a:lnTo>
                  <a:pt x="3164" y="9745"/>
                </a:lnTo>
                <a:lnTo>
                  <a:pt x="3171" y="9742"/>
                </a:lnTo>
                <a:lnTo>
                  <a:pt x="3178" y="9737"/>
                </a:lnTo>
                <a:lnTo>
                  <a:pt x="3188" y="9725"/>
                </a:lnTo>
                <a:close/>
                <a:moveTo>
                  <a:pt x="719" y="7922"/>
                </a:moveTo>
                <a:lnTo>
                  <a:pt x="712" y="7918"/>
                </a:lnTo>
                <a:lnTo>
                  <a:pt x="700" y="7910"/>
                </a:lnTo>
                <a:lnTo>
                  <a:pt x="707" y="7919"/>
                </a:lnTo>
                <a:lnTo>
                  <a:pt x="712" y="7926"/>
                </a:lnTo>
                <a:lnTo>
                  <a:pt x="715" y="7927"/>
                </a:lnTo>
                <a:lnTo>
                  <a:pt x="719" y="7922"/>
                </a:lnTo>
                <a:close/>
                <a:moveTo>
                  <a:pt x="3779" y="9994"/>
                </a:moveTo>
                <a:lnTo>
                  <a:pt x="3779" y="9998"/>
                </a:lnTo>
                <a:lnTo>
                  <a:pt x="3781" y="10000"/>
                </a:lnTo>
                <a:lnTo>
                  <a:pt x="3784" y="10002"/>
                </a:lnTo>
                <a:lnTo>
                  <a:pt x="3788" y="10000"/>
                </a:lnTo>
                <a:lnTo>
                  <a:pt x="3788" y="9995"/>
                </a:lnTo>
                <a:lnTo>
                  <a:pt x="3787" y="9993"/>
                </a:lnTo>
                <a:lnTo>
                  <a:pt x="3783" y="9993"/>
                </a:lnTo>
                <a:lnTo>
                  <a:pt x="3779" y="9994"/>
                </a:lnTo>
                <a:close/>
                <a:moveTo>
                  <a:pt x="3848" y="9995"/>
                </a:moveTo>
                <a:lnTo>
                  <a:pt x="3849" y="10004"/>
                </a:lnTo>
                <a:lnTo>
                  <a:pt x="3852" y="10009"/>
                </a:lnTo>
                <a:lnTo>
                  <a:pt x="3855" y="10012"/>
                </a:lnTo>
                <a:lnTo>
                  <a:pt x="3863" y="10009"/>
                </a:lnTo>
                <a:lnTo>
                  <a:pt x="3860" y="10002"/>
                </a:lnTo>
                <a:lnTo>
                  <a:pt x="3859" y="9995"/>
                </a:lnTo>
                <a:lnTo>
                  <a:pt x="3855" y="9992"/>
                </a:lnTo>
                <a:lnTo>
                  <a:pt x="3848" y="9995"/>
                </a:lnTo>
                <a:close/>
                <a:moveTo>
                  <a:pt x="2193" y="9574"/>
                </a:moveTo>
                <a:lnTo>
                  <a:pt x="2187" y="9574"/>
                </a:lnTo>
                <a:lnTo>
                  <a:pt x="2183" y="9577"/>
                </a:lnTo>
                <a:lnTo>
                  <a:pt x="2183" y="9580"/>
                </a:lnTo>
                <a:lnTo>
                  <a:pt x="2186" y="9584"/>
                </a:lnTo>
                <a:lnTo>
                  <a:pt x="2191" y="9584"/>
                </a:lnTo>
                <a:lnTo>
                  <a:pt x="2195" y="9582"/>
                </a:lnTo>
                <a:lnTo>
                  <a:pt x="2196" y="9578"/>
                </a:lnTo>
                <a:lnTo>
                  <a:pt x="2193" y="9574"/>
                </a:lnTo>
                <a:close/>
                <a:moveTo>
                  <a:pt x="2205" y="9624"/>
                </a:moveTo>
                <a:lnTo>
                  <a:pt x="2206" y="9630"/>
                </a:lnTo>
                <a:lnTo>
                  <a:pt x="2207" y="9634"/>
                </a:lnTo>
                <a:lnTo>
                  <a:pt x="2211" y="9636"/>
                </a:lnTo>
                <a:lnTo>
                  <a:pt x="2216" y="9639"/>
                </a:lnTo>
                <a:lnTo>
                  <a:pt x="2216" y="9640"/>
                </a:lnTo>
                <a:lnTo>
                  <a:pt x="2218" y="9641"/>
                </a:lnTo>
                <a:lnTo>
                  <a:pt x="2218" y="9640"/>
                </a:lnTo>
                <a:lnTo>
                  <a:pt x="2216" y="9639"/>
                </a:lnTo>
                <a:lnTo>
                  <a:pt x="2215" y="9634"/>
                </a:lnTo>
                <a:lnTo>
                  <a:pt x="2214" y="9627"/>
                </a:lnTo>
                <a:lnTo>
                  <a:pt x="2211" y="9624"/>
                </a:lnTo>
                <a:lnTo>
                  <a:pt x="2205" y="9624"/>
                </a:lnTo>
                <a:close/>
                <a:moveTo>
                  <a:pt x="2062" y="9518"/>
                </a:moveTo>
                <a:lnTo>
                  <a:pt x="2057" y="9519"/>
                </a:lnTo>
                <a:lnTo>
                  <a:pt x="2051" y="9523"/>
                </a:lnTo>
                <a:lnTo>
                  <a:pt x="2042" y="9531"/>
                </a:lnTo>
                <a:lnTo>
                  <a:pt x="2037" y="9537"/>
                </a:lnTo>
                <a:lnTo>
                  <a:pt x="2044" y="9546"/>
                </a:lnTo>
                <a:lnTo>
                  <a:pt x="2053" y="9543"/>
                </a:lnTo>
                <a:lnTo>
                  <a:pt x="2061" y="9532"/>
                </a:lnTo>
                <a:lnTo>
                  <a:pt x="2062" y="9518"/>
                </a:lnTo>
                <a:close/>
                <a:moveTo>
                  <a:pt x="2051" y="9500"/>
                </a:moveTo>
                <a:lnTo>
                  <a:pt x="2051" y="9507"/>
                </a:lnTo>
                <a:lnTo>
                  <a:pt x="2053" y="9512"/>
                </a:lnTo>
                <a:lnTo>
                  <a:pt x="2056" y="9514"/>
                </a:lnTo>
                <a:lnTo>
                  <a:pt x="2062" y="9517"/>
                </a:lnTo>
                <a:lnTo>
                  <a:pt x="2061" y="9510"/>
                </a:lnTo>
                <a:lnTo>
                  <a:pt x="2060" y="9505"/>
                </a:lnTo>
                <a:lnTo>
                  <a:pt x="2057" y="9501"/>
                </a:lnTo>
                <a:lnTo>
                  <a:pt x="2051" y="9500"/>
                </a:lnTo>
                <a:close/>
                <a:moveTo>
                  <a:pt x="2223" y="9775"/>
                </a:moveTo>
                <a:lnTo>
                  <a:pt x="2229" y="9769"/>
                </a:lnTo>
                <a:lnTo>
                  <a:pt x="2230" y="9764"/>
                </a:lnTo>
                <a:lnTo>
                  <a:pt x="2228" y="9759"/>
                </a:lnTo>
                <a:lnTo>
                  <a:pt x="2224" y="9752"/>
                </a:lnTo>
                <a:lnTo>
                  <a:pt x="2221" y="9759"/>
                </a:lnTo>
                <a:lnTo>
                  <a:pt x="2219" y="9764"/>
                </a:lnTo>
                <a:lnTo>
                  <a:pt x="2219" y="9770"/>
                </a:lnTo>
                <a:lnTo>
                  <a:pt x="2223" y="9775"/>
                </a:lnTo>
                <a:close/>
                <a:moveTo>
                  <a:pt x="3667" y="9764"/>
                </a:moveTo>
                <a:lnTo>
                  <a:pt x="3663" y="9765"/>
                </a:lnTo>
                <a:lnTo>
                  <a:pt x="3662" y="9767"/>
                </a:lnTo>
                <a:lnTo>
                  <a:pt x="3662" y="9771"/>
                </a:lnTo>
                <a:lnTo>
                  <a:pt x="3664" y="9774"/>
                </a:lnTo>
                <a:lnTo>
                  <a:pt x="3667" y="9773"/>
                </a:lnTo>
                <a:lnTo>
                  <a:pt x="3667" y="9770"/>
                </a:lnTo>
                <a:lnTo>
                  <a:pt x="3667" y="9766"/>
                </a:lnTo>
                <a:lnTo>
                  <a:pt x="3667" y="9764"/>
                </a:lnTo>
                <a:close/>
                <a:moveTo>
                  <a:pt x="3290" y="9851"/>
                </a:moveTo>
                <a:lnTo>
                  <a:pt x="3287" y="9848"/>
                </a:lnTo>
                <a:lnTo>
                  <a:pt x="3285" y="9845"/>
                </a:lnTo>
                <a:lnTo>
                  <a:pt x="3282" y="9846"/>
                </a:lnTo>
                <a:lnTo>
                  <a:pt x="3280" y="9851"/>
                </a:lnTo>
                <a:lnTo>
                  <a:pt x="3282" y="9857"/>
                </a:lnTo>
                <a:lnTo>
                  <a:pt x="3284" y="9858"/>
                </a:lnTo>
                <a:lnTo>
                  <a:pt x="3286" y="9855"/>
                </a:lnTo>
                <a:lnTo>
                  <a:pt x="3290" y="9851"/>
                </a:lnTo>
                <a:close/>
                <a:moveTo>
                  <a:pt x="1847" y="9711"/>
                </a:moveTo>
                <a:lnTo>
                  <a:pt x="1843" y="9710"/>
                </a:lnTo>
                <a:lnTo>
                  <a:pt x="1839" y="9711"/>
                </a:lnTo>
                <a:lnTo>
                  <a:pt x="1839" y="9714"/>
                </a:lnTo>
                <a:lnTo>
                  <a:pt x="1841" y="9718"/>
                </a:lnTo>
                <a:lnTo>
                  <a:pt x="1843" y="9718"/>
                </a:lnTo>
                <a:lnTo>
                  <a:pt x="1847" y="9717"/>
                </a:lnTo>
                <a:lnTo>
                  <a:pt x="1848" y="9715"/>
                </a:lnTo>
                <a:lnTo>
                  <a:pt x="1847" y="9711"/>
                </a:lnTo>
                <a:close/>
                <a:moveTo>
                  <a:pt x="3214" y="9685"/>
                </a:moveTo>
                <a:lnTo>
                  <a:pt x="3211" y="9685"/>
                </a:lnTo>
                <a:lnTo>
                  <a:pt x="3210" y="9686"/>
                </a:lnTo>
                <a:lnTo>
                  <a:pt x="3210" y="9694"/>
                </a:lnTo>
                <a:lnTo>
                  <a:pt x="3214" y="9695"/>
                </a:lnTo>
                <a:lnTo>
                  <a:pt x="3216" y="9691"/>
                </a:lnTo>
                <a:lnTo>
                  <a:pt x="3214" y="9685"/>
                </a:lnTo>
                <a:close/>
                <a:moveTo>
                  <a:pt x="3222" y="9627"/>
                </a:moveTo>
                <a:lnTo>
                  <a:pt x="3222" y="9627"/>
                </a:lnTo>
                <a:lnTo>
                  <a:pt x="3222" y="9627"/>
                </a:lnTo>
                <a:lnTo>
                  <a:pt x="3221" y="9629"/>
                </a:lnTo>
                <a:lnTo>
                  <a:pt x="3222" y="9629"/>
                </a:lnTo>
                <a:lnTo>
                  <a:pt x="3222" y="9627"/>
                </a:lnTo>
                <a:close/>
                <a:moveTo>
                  <a:pt x="3234" y="9650"/>
                </a:moveTo>
                <a:lnTo>
                  <a:pt x="3238" y="9644"/>
                </a:lnTo>
                <a:lnTo>
                  <a:pt x="3235" y="9638"/>
                </a:lnTo>
                <a:lnTo>
                  <a:pt x="3230" y="9631"/>
                </a:lnTo>
                <a:lnTo>
                  <a:pt x="3222" y="9629"/>
                </a:lnTo>
                <a:lnTo>
                  <a:pt x="3225" y="9635"/>
                </a:lnTo>
                <a:lnTo>
                  <a:pt x="3226" y="9641"/>
                </a:lnTo>
                <a:lnTo>
                  <a:pt x="3230" y="9647"/>
                </a:lnTo>
                <a:lnTo>
                  <a:pt x="3234" y="9650"/>
                </a:lnTo>
                <a:close/>
                <a:moveTo>
                  <a:pt x="4094" y="9817"/>
                </a:moveTo>
                <a:lnTo>
                  <a:pt x="4105" y="9812"/>
                </a:lnTo>
                <a:lnTo>
                  <a:pt x="4100" y="9802"/>
                </a:lnTo>
                <a:lnTo>
                  <a:pt x="4091" y="9795"/>
                </a:lnTo>
                <a:lnTo>
                  <a:pt x="4087" y="9804"/>
                </a:lnTo>
                <a:lnTo>
                  <a:pt x="4090" y="9812"/>
                </a:lnTo>
                <a:lnTo>
                  <a:pt x="4094" y="9817"/>
                </a:lnTo>
                <a:close/>
                <a:moveTo>
                  <a:pt x="4087" y="9792"/>
                </a:moveTo>
                <a:lnTo>
                  <a:pt x="4087" y="9792"/>
                </a:lnTo>
                <a:lnTo>
                  <a:pt x="4087" y="9792"/>
                </a:lnTo>
                <a:lnTo>
                  <a:pt x="4086" y="9792"/>
                </a:lnTo>
                <a:lnTo>
                  <a:pt x="4086" y="9793"/>
                </a:lnTo>
                <a:lnTo>
                  <a:pt x="4087" y="9793"/>
                </a:lnTo>
                <a:lnTo>
                  <a:pt x="4087" y="9792"/>
                </a:lnTo>
                <a:close/>
                <a:moveTo>
                  <a:pt x="3883" y="9925"/>
                </a:moveTo>
                <a:lnTo>
                  <a:pt x="3888" y="9925"/>
                </a:lnTo>
                <a:lnTo>
                  <a:pt x="3891" y="9923"/>
                </a:lnTo>
                <a:lnTo>
                  <a:pt x="3892" y="9919"/>
                </a:lnTo>
                <a:lnTo>
                  <a:pt x="3892" y="9914"/>
                </a:lnTo>
                <a:lnTo>
                  <a:pt x="3887" y="9914"/>
                </a:lnTo>
                <a:lnTo>
                  <a:pt x="3885" y="9916"/>
                </a:lnTo>
                <a:lnTo>
                  <a:pt x="3883" y="9920"/>
                </a:lnTo>
                <a:lnTo>
                  <a:pt x="3883" y="9925"/>
                </a:lnTo>
                <a:close/>
                <a:moveTo>
                  <a:pt x="3939" y="9821"/>
                </a:moveTo>
                <a:lnTo>
                  <a:pt x="3941" y="9829"/>
                </a:lnTo>
                <a:lnTo>
                  <a:pt x="3943" y="9832"/>
                </a:lnTo>
                <a:lnTo>
                  <a:pt x="3948" y="9832"/>
                </a:lnTo>
                <a:lnTo>
                  <a:pt x="3953" y="9827"/>
                </a:lnTo>
                <a:lnTo>
                  <a:pt x="3953" y="9822"/>
                </a:lnTo>
                <a:lnTo>
                  <a:pt x="3950" y="9818"/>
                </a:lnTo>
                <a:lnTo>
                  <a:pt x="3946" y="9818"/>
                </a:lnTo>
                <a:lnTo>
                  <a:pt x="3939" y="9821"/>
                </a:lnTo>
                <a:close/>
                <a:moveTo>
                  <a:pt x="734" y="8211"/>
                </a:moveTo>
                <a:lnTo>
                  <a:pt x="729" y="8208"/>
                </a:lnTo>
                <a:lnTo>
                  <a:pt x="723" y="8204"/>
                </a:lnTo>
                <a:lnTo>
                  <a:pt x="717" y="8204"/>
                </a:lnTo>
                <a:lnTo>
                  <a:pt x="717" y="8208"/>
                </a:lnTo>
                <a:lnTo>
                  <a:pt x="721" y="8211"/>
                </a:lnTo>
                <a:lnTo>
                  <a:pt x="726" y="8212"/>
                </a:lnTo>
                <a:lnTo>
                  <a:pt x="731" y="8213"/>
                </a:lnTo>
                <a:lnTo>
                  <a:pt x="734" y="8211"/>
                </a:lnTo>
                <a:close/>
                <a:moveTo>
                  <a:pt x="3087" y="9741"/>
                </a:moveTo>
                <a:lnTo>
                  <a:pt x="3084" y="9733"/>
                </a:lnTo>
                <a:lnTo>
                  <a:pt x="3077" y="9733"/>
                </a:lnTo>
                <a:lnTo>
                  <a:pt x="3068" y="9738"/>
                </a:lnTo>
                <a:lnTo>
                  <a:pt x="3061" y="9742"/>
                </a:lnTo>
                <a:lnTo>
                  <a:pt x="3059" y="9741"/>
                </a:lnTo>
                <a:lnTo>
                  <a:pt x="3058" y="9741"/>
                </a:lnTo>
                <a:lnTo>
                  <a:pt x="3058" y="9742"/>
                </a:lnTo>
                <a:lnTo>
                  <a:pt x="3061" y="9742"/>
                </a:lnTo>
                <a:lnTo>
                  <a:pt x="3068" y="9745"/>
                </a:lnTo>
                <a:lnTo>
                  <a:pt x="3076" y="9747"/>
                </a:lnTo>
                <a:lnTo>
                  <a:pt x="3084" y="9747"/>
                </a:lnTo>
                <a:lnTo>
                  <a:pt x="3087" y="9741"/>
                </a:lnTo>
                <a:close/>
                <a:moveTo>
                  <a:pt x="1752" y="9480"/>
                </a:moveTo>
                <a:lnTo>
                  <a:pt x="1755" y="9487"/>
                </a:lnTo>
                <a:lnTo>
                  <a:pt x="1760" y="9484"/>
                </a:lnTo>
                <a:lnTo>
                  <a:pt x="1763" y="9475"/>
                </a:lnTo>
                <a:lnTo>
                  <a:pt x="1758" y="9466"/>
                </a:lnTo>
                <a:lnTo>
                  <a:pt x="1754" y="9473"/>
                </a:lnTo>
                <a:lnTo>
                  <a:pt x="1752" y="9480"/>
                </a:lnTo>
                <a:close/>
                <a:moveTo>
                  <a:pt x="3482" y="9825"/>
                </a:moveTo>
                <a:lnTo>
                  <a:pt x="3477" y="9827"/>
                </a:lnTo>
                <a:lnTo>
                  <a:pt x="3476" y="9832"/>
                </a:lnTo>
                <a:lnTo>
                  <a:pt x="3477" y="9839"/>
                </a:lnTo>
                <a:lnTo>
                  <a:pt x="3480" y="9845"/>
                </a:lnTo>
                <a:lnTo>
                  <a:pt x="3483" y="9840"/>
                </a:lnTo>
                <a:lnTo>
                  <a:pt x="3486" y="9835"/>
                </a:lnTo>
                <a:lnTo>
                  <a:pt x="3486" y="9830"/>
                </a:lnTo>
                <a:lnTo>
                  <a:pt x="3482" y="9825"/>
                </a:lnTo>
                <a:close/>
                <a:moveTo>
                  <a:pt x="1681" y="9463"/>
                </a:moveTo>
                <a:lnTo>
                  <a:pt x="1683" y="9470"/>
                </a:lnTo>
                <a:lnTo>
                  <a:pt x="1685" y="9481"/>
                </a:lnTo>
                <a:lnTo>
                  <a:pt x="1694" y="9472"/>
                </a:lnTo>
                <a:lnTo>
                  <a:pt x="1697" y="9462"/>
                </a:lnTo>
                <a:lnTo>
                  <a:pt x="1692" y="9457"/>
                </a:lnTo>
                <a:lnTo>
                  <a:pt x="1681" y="9463"/>
                </a:lnTo>
                <a:close/>
                <a:moveTo>
                  <a:pt x="693" y="9397"/>
                </a:moveTo>
                <a:lnTo>
                  <a:pt x="695" y="9403"/>
                </a:lnTo>
                <a:lnTo>
                  <a:pt x="698" y="9405"/>
                </a:lnTo>
                <a:lnTo>
                  <a:pt x="702" y="9403"/>
                </a:lnTo>
                <a:lnTo>
                  <a:pt x="707" y="9401"/>
                </a:lnTo>
                <a:lnTo>
                  <a:pt x="705" y="9397"/>
                </a:lnTo>
                <a:lnTo>
                  <a:pt x="702" y="9395"/>
                </a:lnTo>
                <a:lnTo>
                  <a:pt x="698" y="9395"/>
                </a:lnTo>
                <a:lnTo>
                  <a:pt x="693" y="9397"/>
                </a:lnTo>
                <a:close/>
                <a:moveTo>
                  <a:pt x="1978" y="9776"/>
                </a:moveTo>
                <a:lnTo>
                  <a:pt x="1982" y="9787"/>
                </a:lnTo>
                <a:lnTo>
                  <a:pt x="1986" y="9788"/>
                </a:lnTo>
                <a:lnTo>
                  <a:pt x="1991" y="9785"/>
                </a:lnTo>
                <a:lnTo>
                  <a:pt x="1999" y="9780"/>
                </a:lnTo>
                <a:lnTo>
                  <a:pt x="1995" y="9774"/>
                </a:lnTo>
                <a:lnTo>
                  <a:pt x="1991" y="9773"/>
                </a:lnTo>
                <a:lnTo>
                  <a:pt x="1985" y="9774"/>
                </a:lnTo>
                <a:lnTo>
                  <a:pt x="1978" y="9776"/>
                </a:lnTo>
                <a:close/>
                <a:moveTo>
                  <a:pt x="4134" y="9816"/>
                </a:moveTo>
                <a:lnTo>
                  <a:pt x="4136" y="9809"/>
                </a:lnTo>
                <a:lnTo>
                  <a:pt x="4136" y="9803"/>
                </a:lnTo>
                <a:lnTo>
                  <a:pt x="4134" y="9801"/>
                </a:lnTo>
                <a:lnTo>
                  <a:pt x="4128" y="9804"/>
                </a:lnTo>
                <a:lnTo>
                  <a:pt x="4128" y="9808"/>
                </a:lnTo>
                <a:lnTo>
                  <a:pt x="4128" y="9813"/>
                </a:lnTo>
                <a:lnTo>
                  <a:pt x="4130" y="9816"/>
                </a:lnTo>
                <a:lnTo>
                  <a:pt x="4134" y="9816"/>
                </a:lnTo>
                <a:close/>
                <a:moveTo>
                  <a:pt x="2179" y="9692"/>
                </a:moveTo>
                <a:lnTo>
                  <a:pt x="2182" y="9700"/>
                </a:lnTo>
                <a:lnTo>
                  <a:pt x="2186" y="9703"/>
                </a:lnTo>
                <a:lnTo>
                  <a:pt x="2190" y="9701"/>
                </a:lnTo>
                <a:lnTo>
                  <a:pt x="2196" y="9699"/>
                </a:lnTo>
                <a:lnTo>
                  <a:pt x="2193" y="9691"/>
                </a:lnTo>
                <a:lnTo>
                  <a:pt x="2191" y="9689"/>
                </a:lnTo>
                <a:lnTo>
                  <a:pt x="2186" y="9689"/>
                </a:lnTo>
                <a:lnTo>
                  <a:pt x="2179" y="9692"/>
                </a:lnTo>
                <a:close/>
                <a:moveTo>
                  <a:pt x="2001" y="9402"/>
                </a:moveTo>
                <a:lnTo>
                  <a:pt x="1995" y="9406"/>
                </a:lnTo>
                <a:lnTo>
                  <a:pt x="1992" y="9411"/>
                </a:lnTo>
                <a:lnTo>
                  <a:pt x="1991" y="9416"/>
                </a:lnTo>
                <a:lnTo>
                  <a:pt x="1992" y="9423"/>
                </a:lnTo>
                <a:lnTo>
                  <a:pt x="1997" y="9419"/>
                </a:lnTo>
                <a:lnTo>
                  <a:pt x="2001" y="9415"/>
                </a:lnTo>
                <a:lnTo>
                  <a:pt x="2002" y="9410"/>
                </a:lnTo>
                <a:lnTo>
                  <a:pt x="2001" y="9402"/>
                </a:lnTo>
                <a:close/>
                <a:moveTo>
                  <a:pt x="2704" y="9806"/>
                </a:moveTo>
                <a:lnTo>
                  <a:pt x="2704" y="9804"/>
                </a:lnTo>
                <a:lnTo>
                  <a:pt x="2703" y="9804"/>
                </a:lnTo>
                <a:lnTo>
                  <a:pt x="2704" y="9806"/>
                </a:lnTo>
                <a:close/>
                <a:moveTo>
                  <a:pt x="2704" y="9804"/>
                </a:moveTo>
                <a:lnTo>
                  <a:pt x="2717" y="9806"/>
                </a:lnTo>
                <a:lnTo>
                  <a:pt x="2724" y="9804"/>
                </a:lnTo>
                <a:lnTo>
                  <a:pt x="2731" y="9801"/>
                </a:lnTo>
                <a:lnTo>
                  <a:pt x="2739" y="9794"/>
                </a:lnTo>
                <a:lnTo>
                  <a:pt x="2730" y="9793"/>
                </a:lnTo>
                <a:lnTo>
                  <a:pt x="2721" y="9794"/>
                </a:lnTo>
                <a:lnTo>
                  <a:pt x="2713" y="9799"/>
                </a:lnTo>
                <a:lnTo>
                  <a:pt x="2704" y="9804"/>
                </a:lnTo>
                <a:close/>
                <a:moveTo>
                  <a:pt x="2807" y="9681"/>
                </a:moveTo>
                <a:lnTo>
                  <a:pt x="2815" y="9680"/>
                </a:lnTo>
                <a:lnTo>
                  <a:pt x="2817" y="9671"/>
                </a:lnTo>
                <a:lnTo>
                  <a:pt x="2815" y="9661"/>
                </a:lnTo>
                <a:lnTo>
                  <a:pt x="2803" y="9657"/>
                </a:lnTo>
                <a:lnTo>
                  <a:pt x="2805" y="9671"/>
                </a:lnTo>
                <a:lnTo>
                  <a:pt x="2807" y="9681"/>
                </a:lnTo>
                <a:close/>
                <a:moveTo>
                  <a:pt x="3547" y="9820"/>
                </a:moveTo>
                <a:lnTo>
                  <a:pt x="3543" y="9826"/>
                </a:lnTo>
                <a:lnTo>
                  <a:pt x="3542" y="9832"/>
                </a:lnTo>
                <a:lnTo>
                  <a:pt x="3543" y="9840"/>
                </a:lnTo>
                <a:lnTo>
                  <a:pt x="3550" y="9848"/>
                </a:lnTo>
                <a:lnTo>
                  <a:pt x="3554" y="9840"/>
                </a:lnTo>
                <a:lnTo>
                  <a:pt x="3554" y="9834"/>
                </a:lnTo>
                <a:lnTo>
                  <a:pt x="3551" y="9827"/>
                </a:lnTo>
                <a:lnTo>
                  <a:pt x="3547" y="9820"/>
                </a:lnTo>
                <a:close/>
                <a:moveTo>
                  <a:pt x="1895" y="9508"/>
                </a:moveTo>
                <a:lnTo>
                  <a:pt x="1903" y="9512"/>
                </a:lnTo>
                <a:lnTo>
                  <a:pt x="1908" y="9513"/>
                </a:lnTo>
                <a:lnTo>
                  <a:pt x="1913" y="9509"/>
                </a:lnTo>
                <a:lnTo>
                  <a:pt x="1917" y="9501"/>
                </a:lnTo>
                <a:lnTo>
                  <a:pt x="1911" y="9496"/>
                </a:lnTo>
                <a:lnTo>
                  <a:pt x="1906" y="9496"/>
                </a:lnTo>
                <a:lnTo>
                  <a:pt x="1901" y="9500"/>
                </a:lnTo>
                <a:lnTo>
                  <a:pt x="1895" y="9508"/>
                </a:lnTo>
                <a:close/>
                <a:moveTo>
                  <a:pt x="1088" y="9345"/>
                </a:moveTo>
                <a:lnTo>
                  <a:pt x="1083" y="9351"/>
                </a:lnTo>
                <a:lnTo>
                  <a:pt x="1082" y="9360"/>
                </a:lnTo>
                <a:lnTo>
                  <a:pt x="1083" y="9369"/>
                </a:lnTo>
                <a:lnTo>
                  <a:pt x="1087" y="9377"/>
                </a:lnTo>
                <a:lnTo>
                  <a:pt x="1092" y="9369"/>
                </a:lnTo>
                <a:lnTo>
                  <a:pt x="1094" y="9359"/>
                </a:lnTo>
                <a:lnTo>
                  <a:pt x="1094" y="9350"/>
                </a:lnTo>
                <a:lnTo>
                  <a:pt x="1088" y="9345"/>
                </a:lnTo>
                <a:close/>
                <a:moveTo>
                  <a:pt x="3830" y="9729"/>
                </a:moveTo>
                <a:lnTo>
                  <a:pt x="3829" y="9728"/>
                </a:lnTo>
                <a:lnTo>
                  <a:pt x="3827" y="9727"/>
                </a:lnTo>
                <a:lnTo>
                  <a:pt x="3829" y="9728"/>
                </a:lnTo>
                <a:lnTo>
                  <a:pt x="3830" y="9729"/>
                </a:lnTo>
                <a:close/>
                <a:moveTo>
                  <a:pt x="2340" y="9792"/>
                </a:moveTo>
                <a:lnTo>
                  <a:pt x="2340" y="9801"/>
                </a:lnTo>
                <a:lnTo>
                  <a:pt x="2346" y="9807"/>
                </a:lnTo>
                <a:lnTo>
                  <a:pt x="2355" y="9807"/>
                </a:lnTo>
                <a:lnTo>
                  <a:pt x="2362" y="9799"/>
                </a:lnTo>
                <a:lnTo>
                  <a:pt x="2362" y="9792"/>
                </a:lnTo>
                <a:lnTo>
                  <a:pt x="2355" y="9789"/>
                </a:lnTo>
                <a:lnTo>
                  <a:pt x="2348" y="9790"/>
                </a:lnTo>
                <a:lnTo>
                  <a:pt x="2340" y="9792"/>
                </a:lnTo>
                <a:close/>
                <a:moveTo>
                  <a:pt x="3170" y="9776"/>
                </a:moveTo>
                <a:lnTo>
                  <a:pt x="3170" y="9776"/>
                </a:lnTo>
                <a:lnTo>
                  <a:pt x="3173" y="9776"/>
                </a:lnTo>
                <a:lnTo>
                  <a:pt x="3171" y="9776"/>
                </a:lnTo>
                <a:lnTo>
                  <a:pt x="3170" y="9776"/>
                </a:lnTo>
                <a:close/>
                <a:moveTo>
                  <a:pt x="3206" y="9770"/>
                </a:moveTo>
                <a:lnTo>
                  <a:pt x="3187" y="9773"/>
                </a:lnTo>
                <a:lnTo>
                  <a:pt x="3179" y="9778"/>
                </a:lnTo>
                <a:lnTo>
                  <a:pt x="3184" y="9781"/>
                </a:lnTo>
                <a:lnTo>
                  <a:pt x="3203" y="9788"/>
                </a:lnTo>
                <a:lnTo>
                  <a:pt x="3206" y="9785"/>
                </a:lnTo>
                <a:lnTo>
                  <a:pt x="3210" y="9780"/>
                </a:lnTo>
                <a:lnTo>
                  <a:pt x="3210" y="9774"/>
                </a:lnTo>
                <a:lnTo>
                  <a:pt x="3206" y="9770"/>
                </a:lnTo>
                <a:close/>
                <a:moveTo>
                  <a:pt x="2774" y="9790"/>
                </a:moveTo>
                <a:lnTo>
                  <a:pt x="2772" y="9799"/>
                </a:lnTo>
                <a:lnTo>
                  <a:pt x="2774" y="9807"/>
                </a:lnTo>
                <a:lnTo>
                  <a:pt x="2779" y="9815"/>
                </a:lnTo>
                <a:lnTo>
                  <a:pt x="2784" y="9821"/>
                </a:lnTo>
                <a:lnTo>
                  <a:pt x="2795" y="9811"/>
                </a:lnTo>
                <a:lnTo>
                  <a:pt x="2796" y="9799"/>
                </a:lnTo>
                <a:lnTo>
                  <a:pt x="2788" y="9792"/>
                </a:lnTo>
                <a:lnTo>
                  <a:pt x="2774" y="9790"/>
                </a:lnTo>
                <a:close/>
                <a:moveTo>
                  <a:pt x="2710" y="9761"/>
                </a:moveTo>
                <a:lnTo>
                  <a:pt x="2727" y="9762"/>
                </a:lnTo>
                <a:lnTo>
                  <a:pt x="2742" y="9764"/>
                </a:lnTo>
                <a:lnTo>
                  <a:pt x="2735" y="9751"/>
                </a:lnTo>
                <a:lnTo>
                  <a:pt x="2727" y="9747"/>
                </a:lnTo>
                <a:lnTo>
                  <a:pt x="2719" y="9752"/>
                </a:lnTo>
                <a:lnTo>
                  <a:pt x="2710" y="9761"/>
                </a:lnTo>
                <a:close/>
                <a:moveTo>
                  <a:pt x="995" y="9337"/>
                </a:moveTo>
                <a:lnTo>
                  <a:pt x="985" y="9342"/>
                </a:lnTo>
                <a:lnTo>
                  <a:pt x="985" y="9354"/>
                </a:lnTo>
                <a:lnTo>
                  <a:pt x="991" y="9363"/>
                </a:lnTo>
                <a:lnTo>
                  <a:pt x="999" y="9364"/>
                </a:lnTo>
                <a:lnTo>
                  <a:pt x="1005" y="9358"/>
                </a:lnTo>
                <a:lnTo>
                  <a:pt x="1009" y="9347"/>
                </a:lnTo>
                <a:lnTo>
                  <a:pt x="1007" y="9339"/>
                </a:lnTo>
                <a:lnTo>
                  <a:pt x="995" y="9337"/>
                </a:lnTo>
                <a:close/>
                <a:moveTo>
                  <a:pt x="1999" y="9524"/>
                </a:moveTo>
                <a:lnTo>
                  <a:pt x="2006" y="9505"/>
                </a:lnTo>
                <a:lnTo>
                  <a:pt x="2006" y="9493"/>
                </a:lnTo>
                <a:lnTo>
                  <a:pt x="1999" y="9486"/>
                </a:lnTo>
                <a:lnTo>
                  <a:pt x="1979" y="9485"/>
                </a:lnTo>
                <a:lnTo>
                  <a:pt x="1985" y="9495"/>
                </a:lnTo>
                <a:lnTo>
                  <a:pt x="1988" y="9504"/>
                </a:lnTo>
                <a:lnTo>
                  <a:pt x="1994" y="9514"/>
                </a:lnTo>
                <a:lnTo>
                  <a:pt x="1999" y="9524"/>
                </a:lnTo>
                <a:close/>
                <a:moveTo>
                  <a:pt x="2344" y="9747"/>
                </a:moveTo>
                <a:lnTo>
                  <a:pt x="2345" y="9760"/>
                </a:lnTo>
                <a:lnTo>
                  <a:pt x="2353" y="9764"/>
                </a:lnTo>
                <a:lnTo>
                  <a:pt x="2363" y="9760"/>
                </a:lnTo>
                <a:lnTo>
                  <a:pt x="2376" y="9753"/>
                </a:lnTo>
                <a:lnTo>
                  <a:pt x="2364" y="9743"/>
                </a:lnTo>
                <a:lnTo>
                  <a:pt x="2356" y="9737"/>
                </a:lnTo>
                <a:lnTo>
                  <a:pt x="2349" y="9737"/>
                </a:lnTo>
                <a:lnTo>
                  <a:pt x="2344" y="9747"/>
                </a:lnTo>
                <a:close/>
                <a:moveTo>
                  <a:pt x="2225" y="9751"/>
                </a:moveTo>
                <a:lnTo>
                  <a:pt x="2225" y="9751"/>
                </a:lnTo>
                <a:lnTo>
                  <a:pt x="2246" y="9734"/>
                </a:lnTo>
                <a:lnTo>
                  <a:pt x="2243" y="9718"/>
                </a:lnTo>
                <a:lnTo>
                  <a:pt x="2230" y="9718"/>
                </a:lnTo>
                <a:lnTo>
                  <a:pt x="2225" y="9751"/>
                </a:lnTo>
                <a:close/>
                <a:moveTo>
                  <a:pt x="1806" y="9766"/>
                </a:moveTo>
                <a:lnTo>
                  <a:pt x="1819" y="9773"/>
                </a:lnTo>
                <a:lnTo>
                  <a:pt x="1834" y="9779"/>
                </a:lnTo>
                <a:lnTo>
                  <a:pt x="1846" y="9780"/>
                </a:lnTo>
                <a:lnTo>
                  <a:pt x="1852" y="9766"/>
                </a:lnTo>
                <a:lnTo>
                  <a:pt x="1839" y="9764"/>
                </a:lnTo>
                <a:lnTo>
                  <a:pt x="1825" y="9760"/>
                </a:lnTo>
                <a:lnTo>
                  <a:pt x="1813" y="9759"/>
                </a:lnTo>
                <a:lnTo>
                  <a:pt x="1806" y="9766"/>
                </a:lnTo>
                <a:close/>
                <a:moveTo>
                  <a:pt x="3876" y="9881"/>
                </a:moveTo>
                <a:lnTo>
                  <a:pt x="3891" y="9892"/>
                </a:lnTo>
                <a:lnTo>
                  <a:pt x="3901" y="9897"/>
                </a:lnTo>
                <a:lnTo>
                  <a:pt x="3909" y="9897"/>
                </a:lnTo>
                <a:lnTo>
                  <a:pt x="3920" y="9893"/>
                </a:lnTo>
                <a:lnTo>
                  <a:pt x="3911" y="9883"/>
                </a:lnTo>
                <a:lnTo>
                  <a:pt x="3901" y="9879"/>
                </a:lnTo>
                <a:lnTo>
                  <a:pt x="3888" y="9879"/>
                </a:lnTo>
                <a:lnTo>
                  <a:pt x="3876" y="9881"/>
                </a:lnTo>
                <a:close/>
                <a:moveTo>
                  <a:pt x="2227" y="9668"/>
                </a:moveTo>
                <a:lnTo>
                  <a:pt x="2234" y="9669"/>
                </a:lnTo>
                <a:lnTo>
                  <a:pt x="2241" y="9669"/>
                </a:lnTo>
                <a:lnTo>
                  <a:pt x="2247" y="9663"/>
                </a:lnTo>
                <a:lnTo>
                  <a:pt x="2252" y="9652"/>
                </a:lnTo>
                <a:lnTo>
                  <a:pt x="2234" y="9645"/>
                </a:lnTo>
                <a:lnTo>
                  <a:pt x="2220" y="9647"/>
                </a:lnTo>
                <a:lnTo>
                  <a:pt x="2215" y="9655"/>
                </a:lnTo>
                <a:lnTo>
                  <a:pt x="2227" y="9668"/>
                </a:lnTo>
                <a:close/>
                <a:moveTo>
                  <a:pt x="2978" y="9829"/>
                </a:moveTo>
                <a:lnTo>
                  <a:pt x="2972" y="9839"/>
                </a:lnTo>
                <a:lnTo>
                  <a:pt x="2975" y="9848"/>
                </a:lnTo>
                <a:lnTo>
                  <a:pt x="2984" y="9854"/>
                </a:lnTo>
                <a:lnTo>
                  <a:pt x="2997" y="9854"/>
                </a:lnTo>
                <a:lnTo>
                  <a:pt x="2998" y="9846"/>
                </a:lnTo>
                <a:lnTo>
                  <a:pt x="2994" y="9839"/>
                </a:lnTo>
                <a:lnTo>
                  <a:pt x="2986" y="9834"/>
                </a:lnTo>
                <a:lnTo>
                  <a:pt x="2978" y="9829"/>
                </a:lnTo>
                <a:close/>
                <a:moveTo>
                  <a:pt x="4183" y="9994"/>
                </a:moveTo>
                <a:lnTo>
                  <a:pt x="4184" y="10012"/>
                </a:lnTo>
                <a:lnTo>
                  <a:pt x="4197" y="10011"/>
                </a:lnTo>
                <a:lnTo>
                  <a:pt x="4209" y="9997"/>
                </a:lnTo>
                <a:lnTo>
                  <a:pt x="4207" y="9974"/>
                </a:lnTo>
                <a:lnTo>
                  <a:pt x="4194" y="9984"/>
                </a:lnTo>
                <a:lnTo>
                  <a:pt x="4183" y="9994"/>
                </a:lnTo>
                <a:close/>
                <a:moveTo>
                  <a:pt x="3914" y="9815"/>
                </a:moveTo>
                <a:lnTo>
                  <a:pt x="3896" y="9809"/>
                </a:lnTo>
                <a:lnTo>
                  <a:pt x="3885" y="9807"/>
                </a:lnTo>
                <a:lnTo>
                  <a:pt x="3876" y="9809"/>
                </a:lnTo>
                <a:lnTo>
                  <a:pt x="3866" y="9817"/>
                </a:lnTo>
                <a:lnTo>
                  <a:pt x="3876" y="9821"/>
                </a:lnTo>
                <a:lnTo>
                  <a:pt x="3887" y="9825"/>
                </a:lnTo>
                <a:lnTo>
                  <a:pt x="3899" y="9823"/>
                </a:lnTo>
                <a:lnTo>
                  <a:pt x="3914" y="9815"/>
                </a:lnTo>
                <a:close/>
                <a:moveTo>
                  <a:pt x="3082" y="9643"/>
                </a:moveTo>
                <a:lnTo>
                  <a:pt x="3068" y="9640"/>
                </a:lnTo>
                <a:lnTo>
                  <a:pt x="3054" y="9641"/>
                </a:lnTo>
                <a:lnTo>
                  <a:pt x="3042" y="9643"/>
                </a:lnTo>
                <a:lnTo>
                  <a:pt x="3028" y="9643"/>
                </a:lnTo>
                <a:lnTo>
                  <a:pt x="3028" y="9641"/>
                </a:lnTo>
                <a:lnTo>
                  <a:pt x="3028" y="9641"/>
                </a:lnTo>
                <a:lnTo>
                  <a:pt x="3028" y="9643"/>
                </a:lnTo>
                <a:lnTo>
                  <a:pt x="3028" y="9643"/>
                </a:lnTo>
                <a:lnTo>
                  <a:pt x="3043" y="9661"/>
                </a:lnTo>
                <a:lnTo>
                  <a:pt x="3054" y="9667"/>
                </a:lnTo>
                <a:lnTo>
                  <a:pt x="3067" y="9661"/>
                </a:lnTo>
                <a:lnTo>
                  <a:pt x="3082" y="9643"/>
                </a:lnTo>
                <a:close/>
                <a:moveTo>
                  <a:pt x="2788" y="9649"/>
                </a:moveTo>
                <a:lnTo>
                  <a:pt x="2784" y="9639"/>
                </a:lnTo>
                <a:lnTo>
                  <a:pt x="2777" y="9635"/>
                </a:lnTo>
                <a:lnTo>
                  <a:pt x="2768" y="9635"/>
                </a:lnTo>
                <a:lnTo>
                  <a:pt x="2758" y="9639"/>
                </a:lnTo>
                <a:lnTo>
                  <a:pt x="2763" y="9663"/>
                </a:lnTo>
                <a:lnTo>
                  <a:pt x="2773" y="9671"/>
                </a:lnTo>
                <a:lnTo>
                  <a:pt x="2783" y="9664"/>
                </a:lnTo>
                <a:lnTo>
                  <a:pt x="2788" y="9649"/>
                </a:lnTo>
                <a:close/>
                <a:moveTo>
                  <a:pt x="3152" y="9743"/>
                </a:moveTo>
                <a:lnTo>
                  <a:pt x="3128" y="9738"/>
                </a:lnTo>
                <a:lnTo>
                  <a:pt x="3127" y="9747"/>
                </a:lnTo>
                <a:lnTo>
                  <a:pt x="3137" y="9766"/>
                </a:lnTo>
                <a:lnTo>
                  <a:pt x="3143" y="9789"/>
                </a:lnTo>
                <a:lnTo>
                  <a:pt x="3161" y="9780"/>
                </a:lnTo>
                <a:lnTo>
                  <a:pt x="3163" y="9774"/>
                </a:lnTo>
                <a:lnTo>
                  <a:pt x="3156" y="9764"/>
                </a:lnTo>
                <a:lnTo>
                  <a:pt x="3152" y="9743"/>
                </a:lnTo>
                <a:close/>
                <a:moveTo>
                  <a:pt x="2876" y="9655"/>
                </a:moveTo>
                <a:lnTo>
                  <a:pt x="2870" y="9641"/>
                </a:lnTo>
                <a:lnTo>
                  <a:pt x="2859" y="9636"/>
                </a:lnTo>
                <a:lnTo>
                  <a:pt x="2848" y="9644"/>
                </a:lnTo>
                <a:lnTo>
                  <a:pt x="2837" y="9668"/>
                </a:lnTo>
                <a:lnTo>
                  <a:pt x="2849" y="9671"/>
                </a:lnTo>
                <a:lnTo>
                  <a:pt x="2861" y="9671"/>
                </a:lnTo>
                <a:lnTo>
                  <a:pt x="2868" y="9667"/>
                </a:lnTo>
                <a:lnTo>
                  <a:pt x="2876" y="9655"/>
                </a:lnTo>
                <a:close/>
                <a:moveTo>
                  <a:pt x="1974" y="9633"/>
                </a:moveTo>
                <a:lnTo>
                  <a:pt x="1986" y="9647"/>
                </a:lnTo>
                <a:lnTo>
                  <a:pt x="1997" y="9653"/>
                </a:lnTo>
                <a:lnTo>
                  <a:pt x="2013" y="9655"/>
                </a:lnTo>
                <a:lnTo>
                  <a:pt x="2032" y="9655"/>
                </a:lnTo>
                <a:lnTo>
                  <a:pt x="2025" y="9641"/>
                </a:lnTo>
                <a:lnTo>
                  <a:pt x="2010" y="9636"/>
                </a:lnTo>
                <a:lnTo>
                  <a:pt x="1991" y="9635"/>
                </a:lnTo>
                <a:lnTo>
                  <a:pt x="1974" y="9633"/>
                </a:lnTo>
                <a:close/>
                <a:moveTo>
                  <a:pt x="1040" y="9345"/>
                </a:moveTo>
                <a:lnTo>
                  <a:pt x="1031" y="9360"/>
                </a:lnTo>
                <a:lnTo>
                  <a:pt x="1032" y="9372"/>
                </a:lnTo>
                <a:lnTo>
                  <a:pt x="1042" y="9379"/>
                </a:lnTo>
                <a:lnTo>
                  <a:pt x="1064" y="9384"/>
                </a:lnTo>
                <a:lnTo>
                  <a:pt x="1060" y="9360"/>
                </a:lnTo>
                <a:lnTo>
                  <a:pt x="1059" y="9337"/>
                </a:lnTo>
                <a:lnTo>
                  <a:pt x="1054" y="9330"/>
                </a:lnTo>
                <a:lnTo>
                  <a:pt x="1040" y="9345"/>
                </a:lnTo>
                <a:close/>
                <a:moveTo>
                  <a:pt x="2882" y="9818"/>
                </a:moveTo>
                <a:lnTo>
                  <a:pt x="2871" y="9821"/>
                </a:lnTo>
                <a:lnTo>
                  <a:pt x="2862" y="9829"/>
                </a:lnTo>
                <a:lnTo>
                  <a:pt x="2858" y="9839"/>
                </a:lnTo>
                <a:lnTo>
                  <a:pt x="2861" y="9849"/>
                </a:lnTo>
                <a:lnTo>
                  <a:pt x="2879" y="9857"/>
                </a:lnTo>
                <a:lnTo>
                  <a:pt x="2891" y="9848"/>
                </a:lnTo>
                <a:lnTo>
                  <a:pt x="2895" y="9832"/>
                </a:lnTo>
                <a:lnTo>
                  <a:pt x="2882" y="9818"/>
                </a:lnTo>
                <a:close/>
                <a:moveTo>
                  <a:pt x="3371" y="9767"/>
                </a:moveTo>
                <a:lnTo>
                  <a:pt x="3350" y="9767"/>
                </a:lnTo>
                <a:lnTo>
                  <a:pt x="3329" y="9767"/>
                </a:lnTo>
                <a:lnTo>
                  <a:pt x="3310" y="9766"/>
                </a:lnTo>
                <a:lnTo>
                  <a:pt x="3290" y="9766"/>
                </a:lnTo>
                <a:lnTo>
                  <a:pt x="3313" y="9779"/>
                </a:lnTo>
                <a:lnTo>
                  <a:pt x="3334" y="9783"/>
                </a:lnTo>
                <a:lnTo>
                  <a:pt x="3354" y="9779"/>
                </a:lnTo>
                <a:lnTo>
                  <a:pt x="3371" y="9767"/>
                </a:lnTo>
                <a:close/>
                <a:moveTo>
                  <a:pt x="1816" y="9574"/>
                </a:moveTo>
                <a:lnTo>
                  <a:pt x="1811" y="9542"/>
                </a:lnTo>
                <a:lnTo>
                  <a:pt x="1811" y="9513"/>
                </a:lnTo>
                <a:lnTo>
                  <a:pt x="1806" y="9503"/>
                </a:lnTo>
                <a:lnTo>
                  <a:pt x="1791" y="9529"/>
                </a:lnTo>
                <a:lnTo>
                  <a:pt x="1772" y="9551"/>
                </a:lnTo>
                <a:lnTo>
                  <a:pt x="1773" y="9563"/>
                </a:lnTo>
                <a:lnTo>
                  <a:pt x="1790" y="9568"/>
                </a:lnTo>
                <a:lnTo>
                  <a:pt x="1816" y="9574"/>
                </a:lnTo>
                <a:close/>
                <a:moveTo>
                  <a:pt x="3129" y="9827"/>
                </a:moveTo>
                <a:lnTo>
                  <a:pt x="3105" y="9820"/>
                </a:lnTo>
                <a:lnTo>
                  <a:pt x="3087" y="9839"/>
                </a:lnTo>
                <a:lnTo>
                  <a:pt x="3089" y="9864"/>
                </a:lnTo>
                <a:lnTo>
                  <a:pt x="3115" y="9876"/>
                </a:lnTo>
                <a:lnTo>
                  <a:pt x="3122" y="9853"/>
                </a:lnTo>
                <a:lnTo>
                  <a:pt x="3135" y="9846"/>
                </a:lnTo>
                <a:lnTo>
                  <a:pt x="3141" y="9841"/>
                </a:lnTo>
                <a:lnTo>
                  <a:pt x="3129" y="9827"/>
                </a:lnTo>
                <a:close/>
                <a:moveTo>
                  <a:pt x="803" y="9602"/>
                </a:moveTo>
                <a:lnTo>
                  <a:pt x="830" y="9613"/>
                </a:lnTo>
                <a:lnTo>
                  <a:pt x="858" y="9621"/>
                </a:lnTo>
                <a:lnTo>
                  <a:pt x="884" y="9624"/>
                </a:lnTo>
                <a:lnTo>
                  <a:pt x="906" y="9622"/>
                </a:lnTo>
                <a:lnTo>
                  <a:pt x="880" y="9616"/>
                </a:lnTo>
                <a:lnTo>
                  <a:pt x="855" y="9606"/>
                </a:lnTo>
                <a:lnTo>
                  <a:pt x="828" y="9601"/>
                </a:lnTo>
                <a:lnTo>
                  <a:pt x="803" y="9602"/>
                </a:lnTo>
                <a:close/>
                <a:moveTo>
                  <a:pt x="400" y="9308"/>
                </a:moveTo>
                <a:lnTo>
                  <a:pt x="417" y="9323"/>
                </a:lnTo>
                <a:lnTo>
                  <a:pt x="433" y="9336"/>
                </a:lnTo>
                <a:lnTo>
                  <a:pt x="450" y="9340"/>
                </a:lnTo>
                <a:lnTo>
                  <a:pt x="472" y="9330"/>
                </a:lnTo>
                <a:lnTo>
                  <a:pt x="456" y="9317"/>
                </a:lnTo>
                <a:lnTo>
                  <a:pt x="441" y="9303"/>
                </a:lnTo>
                <a:lnTo>
                  <a:pt x="423" y="9298"/>
                </a:lnTo>
                <a:lnTo>
                  <a:pt x="400" y="9308"/>
                </a:lnTo>
                <a:close/>
                <a:moveTo>
                  <a:pt x="3841" y="9906"/>
                </a:moveTo>
                <a:lnTo>
                  <a:pt x="3831" y="9925"/>
                </a:lnTo>
                <a:lnTo>
                  <a:pt x="3825" y="9939"/>
                </a:lnTo>
                <a:lnTo>
                  <a:pt x="3816" y="9947"/>
                </a:lnTo>
                <a:lnTo>
                  <a:pt x="3802" y="9944"/>
                </a:lnTo>
                <a:lnTo>
                  <a:pt x="3781" y="9956"/>
                </a:lnTo>
                <a:lnTo>
                  <a:pt x="3813" y="9966"/>
                </a:lnTo>
                <a:lnTo>
                  <a:pt x="3850" y="9956"/>
                </a:lnTo>
                <a:lnTo>
                  <a:pt x="3841" y="9906"/>
                </a:lnTo>
                <a:close/>
                <a:moveTo>
                  <a:pt x="3173" y="9876"/>
                </a:moveTo>
                <a:lnTo>
                  <a:pt x="3184" y="9901"/>
                </a:lnTo>
                <a:lnTo>
                  <a:pt x="3206" y="9906"/>
                </a:lnTo>
                <a:lnTo>
                  <a:pt x="3234" y="9901"/>
                </a:lnTo>
                <a:lnTo>
                  <a:pt x="3261" y="9893"/>
                </a:lnTo>
                <a:lnTo>
                  <a:pt x="3247" y="9879"/>
                </a:lnTo>
                <a:lnTo>
                  <a:pt x="3226" y="9873"/>
                </a:lnTo>
                <a:lnTo>
                  <a:pt x="3200" y="9873"/>
                </a:lnTo>
                <a:lnTo>
                  <a:pt x="3173" y="9876"/>
                </a:lnTo>
                <a:close/>
                <a:moveTo>
                  <a:pt x="3171" y="9876"/>
                </a:moveTo>
                <a:lnTo>
                  <a:pt x="3171" y="9876"/>
                </a:lnTo>
                <a:lnTo>
                  <a:pt x="3170" y="9876"/>
                </a:lnTo>
                <a:lnTo>
                  <a:pt x="3171" y="9876"/>
                </a:lnTo>
                <a:lnTo>
                  <a:pt x="3171" y="9876"/>
                </a:lnTo>
                <a:close/>
                <a:moveTo>
                  <a:pt x="3184" y="9854"/>
                </a:moveTo>
                <a:lnTo>
                  <a:pt x="3217" y="9840"/>
                </a:lnTo>
                <a:lnTo>
                  <a:pt x="3210" y="9827"/>
                </a:lnTo>
                <a:lnTo>
                  <a:pt x="3179" y="9825"/>
                </a:lnTo>
                <a:lnTo>
                  <a:pt x="3147" y="9845"/>
                </a:lnTo>
                <a:lnTo>
                  <a:pt x="3150" y="9867"/>
                </a:lnTo>
                <a:lnTo>
                  <a:pt x="3159" y="9873"/>
                </a:lnTo>
                <a:lnTo>
                  <a:pt x="3171" y="9868"/>
                </a:lnTo>
                <a:lnTo>
                  <a:pt x="3184" y="9854"/>
                </a:lnTo>
                <a:close/>
                <a:moveTo>
                  <a:pt x="1892" y="9620"/>
                </a:moveTo>
                <a:lnTo>
                  <a:pt x="1870" y="9619"/>
                </a:lnTo>
                <a:lnTo>
                  <a:pt x="1847" y="9616"/>
                </a:lnTo>
                <a:lnTo>
                  <a:pt x="1822" y="9616"/>
                </a:lnTo>
                <a:lnTo>
                  <a:pt x="1795" y="9625"/>
                </a:lnTo>
                <a:lnTo>
                  <a:pt x="1825" y="9634"/>
                </a:lnTo>
                <a:lnTo>
                  <a:pt x="1866" y="9638"/>
                </a:lnTo>
                <a:lnTo>
                  <a:pt x="1894" y="9635"/>
                </a:lnTo>
                <a:lnTo>
                  <a:pt x="1892" y="9620"/>
                </a:lnTo>
                <a:close/>
                <a:moveTo>
                  <a:pt x="4119" y="9974"/>
                </a:moveTo>
                <a:lnTo>
                  <a:pt x="4099" y="9990"/>
                </a:lnTo>
                <a:lnTo>
                  <a:pt x="4079" y="9983"/>
                </a:lnTo>
                <a:lnTo>
                  <a:pt x="4064" y="9979"/>
                </a:lnTo>
                <a:lnTo>
                  <a:pt x="4051" y="10002"/>
                </a:lnTo>
                <a:lnTo>
                  <a:pt x="4092" y="10013"/>
                </a:lnTo>
                <a:lnTo>
                  <a:pt x="4129" y="9995"/>
                </a:lnTo>
                <a:lnTo>
                  <a:pt x="4144" y="9974"/>
                </a:lnTo>
                <a:lnTo>
                  <a:pt x="4119" y="9974"/>
                </a:lnTo>
                <a:close/>
                <a:moveTo>
                  <a:pt x="851" y="9309"/>
                </a:moveTo>
                <a:lnTo>
                  <a:pt x="845" y="9331"/>
                </a:lnTo>
                <a:lnTo>
                  <a:pt x="863" y="9344"/>
                </a:lnTo>
                <a:lnTo>
                  <a:pt x="889" y="9349"/>
                </a:lnTo>
                <a:lnTo>
                  <a:pt x="911" y="9349"/>
                </a:lnTo>
                <a:lnTo>
                  <a:pt x="915" y="9327"/>
                </a:lnTo>
                <a:lnTo>
                  <a:pt x="900" y="9312"/>
                </a:lnTo>
                <a:lnTo>
                  <a:pt x="874" y="9305"/>
                </a:lnTo>
                <a:lnTo>
                  <a:pt x="851" y="9309"/>
                </a:lnTo>
                <a:close/>
                <a:moveTo>
                  <a:pt x="2154" y="9636"/>
                </a:moveTo>
                <a:lnTo>
                  <a:pt x="2143" y="9607"/>
                </a:lnTo>
                <a:lnTo>
                  <a:pt x="2130" y="9608"/>
                </a:lnTo>
                <a:lnTo>
                  <a:pt x="2121" y="9630"/>
                </a:lnTo>
                <a:lnTo>
                  <a:pt x="2123" y="9659"/>
                </a:lnTo>
                <a:lnTo>
                  <a:pt x="2164" y="9664"/>
                </a:lnTo>
                <a:lnTo>
                  <a:pt x="2185" y="9659"/>
                </a:lnTo>
                <a:lnTo>
                  <a:pt x="2183" y="9648"/>
                </a:lnTo>
                <a:lnTo>
                  <a:pt x="2154" y="9636"/>
                </a:lnTo>
                <a:close/>
                <a:moveTo>
                  <a:pt x="709" y="9313"/>
                </a:moveTo>
                <a:lnTo>
                  <a:pt x="709" y="9312"/>
                </a:lnTo>
                <a:lnTo>
                  <a:pt x="710" y="9312"/>
                </a:lnTo>
                <a:lnTo>
                  <a:pt x="709" y="9312"/>
                </a:lnTo>
                <a:lnTo>
                  <a:pt x="709" y="9313"/>
                </a:lnTo>
                <a:close/>
                <a:moveTo>
                  <a:pt x="766" y="9356"/>
                </a:moveTo>
                <a:lnTo>
                  <a:pt x="740" y="9336"/>
                </a:lnTo>
                <a:lnTo>
                  <a:pt x="719" y="9322"/>
                </a:lnTo>
                <a:lnTo>
                  <a:pt x="698" y="9322"/>
                </a:lnTo>
                <a:lnTo>
                  <a:pt x="675" y="9345"/>
                </a:lnTo>
                <a:lnTo>
                  <a:pt x="705" y="9364"/>
                </a:lnTo>
                <a:lnTo>
                  <a:pt x="726" y="9372"/>
                </a:lnTo>
                <a:lnTo>
                  <a:pt x="744" y="9369"/>
                </a:lnTo>
                <a:lnTo>
                  <a:pt x="766" y="9356"/>
                </a:lnTo>
                <a:close/>
                <a:moveTo>
                  <a:pt x="2988" y="9617"/>
                </a:moveTo>
                <a:lnTo>
                  <a:pt x="2996" y="9607"/>
                </a:lnTo>
                <a:lnTo>
                  <a:pt x="2998" y="9616"/>
                </a:lnTo>
                <a:lnTo>
                  <a:pt x="2996" y="9630"/>
                </a:lnTo>
                <a:lnTo>
                  <a:pt x="2988" y="9634"/>
                </a:lnTo>
                <a:lnTo>
                  <a:pt x="2987" y="9625"/>
                </a:lnTo>
                <a:lnTo>
                  <a:pt x="2988" y="9617"/>
                </a:lnTo>
                <a:close/>
                <a:moveTo>
                  <a:pt x="2950" y="9648"/>
                </a:moveTo>
                <a:lnTo>
                  <a:pt x="2912" y="9661"/>
                </a:lnTo>
                <a:lnTo>
                  <a:pt x="2950" y="9668"/>
                </a:lnTo>
                <a:lnTo>
                  <a:pt x="3006" y="9662"/>
                </a:lnTo>
                <a:lnTo>
                  <a:pt x="3017" y="9627"/>
                </a:lnTo>
                <a:lnTo>
                  <a:pt x="3003" y="9598"/>
                </a:lnTo>
                <a:lnTo>
                  <a:pt x="2986" y="9605"/>
                </a:lnTo>
                <a:lnTo>
                  <a:pt x="2966" y="9627"/>
                </a:lnTo>
                <a:lnTo>
                  <a:pt x="2950" y="9648"/>
                </a:lnTo>
                <a:close/>
                <a:moveTo>
                  <a:pt x="3107" y="9640"/>
                </a:moveTo>
                <a:lnTo>
                  <a:pt x="3131" y="9687"/>
                </a:lnTo>
                <a:lnTo>
                  <a:pt x="3173" y="9658"/>
                </a:lnTo>
                <a:lnTo>
                  <a:pt x="3196" y="9610"/>
                </a:lnTo>
                <a:lnTo>
                  <a:pt x="3165" y="9603"/>
                </a:lnTo>
                <a:lnTo>
                  <a:pt x="3163" y="9636"/>
                </a:lnTo>
                <a:lnTo>
                  <a:pt x="3150" y="9648"/>
                </a:lnTo>
                <a:lnTo>
                  <a:pt x="3131" y="9647"/>
                </a:lnTo>
                <a:lnTo>
                  <a:pt x="3107" y="9640"/>
                </a:lnTo>
                <a:close/>
                <a:moveTo>
                  <a:pt x="2916" y="9765"/>
                </a:moveTo>
                <a:lnTo>
                  <a:pt x="2917" y="9765"/>
                </a:lnTo>
                <a:lnTo>
                  <a:pt x="2916" y="9765"/>
                </a:lnTo>
                <a:lnTo>
                  <a:pt x="2917" y="9764"/>
                </a:lnTo>
                <a:lnTo>
                  <a:pt x="2916" y="9765"/>
                </a:lnTo>
                <a:close/>
                <a:moveTo>
                  <a:pt x="3021" y="9732"/>
                </a:moveTo>
                <a:lnTo>
                  <a:pt x="2968" y="9734"/>
                </a:lnTo>
                <a:lnTo>
                  <a:pt x="2913" y="9733"/>
                </a:lnTo>
                <a:lnTo>
                  <a:pt x="2876" y="9748"/>
                </a:lnTo>
                <a:lnTo>
                  <a:pt x="2876" y="9797"/>
                </a:lnTo>
                <a:lnTo>
                  <a:pt x="2914" y="9787"/>
                </a:lnTo>
                <a:lnTo>
                  <a:pt x="2984" y="9765"/>
                </a:lnTo>
                <a:lnTo>
                  <a:pt x="3035" y="9743"/>
                </a:lnTo>
                <a:lnTo>
                  <a:pt x="3021" y="9732"/>
                </a:lnTo>
                <a:close/>
                <a:moveTo>
                  <a:pt x="2274" y="9612"/>
                </a:moveTo>
                <a:lnTo>
                  <a:pt x="2270" y="9608"/>
                </a:lnTo>
                <a:lnTo>
                  <a:pt x="2270" y="9605"/>
                </a:lnTo>
                <a:lnTo>
                  <a:pt x="2271" y="9601"/>
                </a:lnTo>
                <a:lnTo>
                  <a:pt x="2274" y="9598"/>
                </a:lnTo>
                <a:lnTo>
                  <a:pt x="2279" y="9602"/>
                </a:lnTo>
                <a:lnTo>
                  <a:pt x="2281" y="9608"/>
                </a:lnTo>
                <a:lnTo>
                  <a:pt x="2279" y="9613"/>
                </a:lnTo>
                <a:lnTo>
                  <a:pt x="2274" y="9612"/>
                </a:lnTo>
                <a:close/>
                <a:moveTo>
                  <a:pt x="2262" y="9557"/>
                </a:moveTo>
                <a:lnTo>
                  <a:pt x="2247" y="9605"/>
                </a:lnTo>
                <a:lnTo>
                  <a:pt x="2300" y="9661"/>
                </a:lnTo>
                <a:lnTo>
                  <a:pt x="2364" y="9677"/>
                </a:lnTo>
                <a:lnTo>
                  <a:pt x="2378" y="9606"/>
                </a:lnTo>
                <a:lnTo>
                  <a:pt x="2367" y="9575"/>
                </a:lnTo>
                <a:lnTo>
                  <a:pt x="2363" y="9585"/>
                </a:lnTo>
                <a:lnTo>
                  <a:pt x="2360" y="9615"/>
                </a:lnTo>
                <a:lnTo>
                  <a:pt x="2351" y="9644"/>
                </a:lnTo>
                <a:lnTo>
                  <a:pt x="2336" y="9603"/>
                </a:lnTo>
                <a:lnTo>
                  <a:pt x="2326" y="9574"/>
                </a:lnTo>
                <a:lnTo>
                  <a:pt x="2307" y="9557"/>
                </a:lnTo>
                <a:lnTo>
                  <a:pt x="2262" y="9557"/>
                </a:lnTo>
                <a:close/>
                <a:moveTo>
                  <a:pt x="3715" y="9964"/>
                </a:moveTo>
                <a:lnTo>
                  <a:pt x="3709" y="9965"/>
                </a:lnTo>
                <a:lnTo>
                  <a:pt x="3703" y="9965"/>
                </a:lnTo>
                <a:lnTo>
                  <a:pt x="3697" y="9964"/>
                </a:lnTo>
                <a:lnTo>
                  <a:pt x="3695" y="9960"/>
                </a:lnTo>
                <a:lnTo>
                  <a:pt x="3700" y="9953"/>
                </a:lnTo>
                <a:lnTo>
                  <a:pt x="3708" y="9952"/>
                </a:lnTo>
                <a:lnTo>
                  <a:pt x="3714" y="9956"/>
                </a:lnTo>
                <a:lnTo>
                  <a:pt x="3715" y="9964"/>
                </a:lnTo>
                <a:close/>
                <a:moveTo>
                  <a:pt x="3383" y="9913"/>
                </a:moveTo>
                <a:lnTo>
                  <a:pt x="3387" y="9905"/>
                </a:lnTo>
                <a:lnTo>
                  <a:pt x="3391" y="9901"/>
                </a:lnTo>
                <a:lnTo>
                  <a:pt x="3396" y="9900"/>
                </a:lnTo>
                <a:lnTo>
                  <a:pt x="3403" y="9899"/>
                </a:lnTo>
                <a:lnTo>
                  <a:pt x="3392" y="9906"/>
                </a:lnTo>
                <a:lnTo>
                  <a:pt x="3383" y="9913"/>
                </a:lnTo>
                <a:close/>
                <a:moveTo>
                  <a:pt x="3677" y="9911"/>
                </a:moveTo>
                <a:lnTo>
                  <a:pt x="3562" y="9897"/>
                </a:lnTo>
                <a:lnTo>
                  <a:pt x="3426" y="9879"/>
                </a:lnTo>
                <a:lnTo>
                  <a:pt x="3320" y="9878"/>
                </a:lnTo>
                <a:lnTo>
                  <a:pt x="3301" y="9919"/>
                </a:lnTo>
                <a:lnTo>
                  <a:pt x="3393" y="9937"/>
                </a:lnTo>
                <a:lnTo>
                  <a:pt x="3485" y="9942"/>
                </a:lnTo>
                <a:lnTo>
                  <a:pt x="3574" y="9942"/>
                </a:lnTo>
                <a:lnTo>
                  <a:pt x="3662" y="9946"/>
                </a:lnTo>
                <a:lnTo>
                  <a:pt x="3683" y="9992"/>
                </a:lnTo>
                <a:lnTo>
                  <a:pt x="3732" y="9965"/>
                </a:lnTo>
                <a:lnTo>
                  <a:pt x="3747" y="9920"/>
                </a:lnTo>
                <a:lnTo>
                  <a:pt x="3677" y="9911"/>
                </a:lnTo>
                <a:close/>
                <a:moveTo>
                  <a:pt x="2243" y="9543"/>
                </a:moveTo>
                <a:lnTo>
                  <a:pt x="2243" y="9545"/>
                </a:lnTo>
                <a:lnTo>
                  <a:pt x="2243" y="9546"/>
                </a:lnTo>
                <a:lnTo>
                  <a:pt x="2243" y="9545"/>
                </a:lnTo>
                <a:lnTo>
                  <a:pt x="2243" y="9543"/>
                </a:lnTo>
                <a:close/>
                <a:moveTo>
                  <a:pt x="953" y="7327"/>
                </a:moveTo>
                <a:lnTo>
                  <a:pt x="952" y="7327"/>
                </a:lnTo>
                <a:lnTo>
                  <a:pt x="952" y="7326"/>
                </a:lnTo>
                <a:lnTo>
                  <a:pt x="952" y="7327"/>
                </a:lnTo>
                <a:lnTo>
                  <a:pt x="953" y="7327"/>
                </a:lnTo>
                <a:close/>
                <a:moveTo>
                  <a:pt x="11280" y="6916"/>
                </a:moveTo>
                <a:lnTo>
                  <a:pt x="11279" y="6916"/>
                </a:lnTo>
                <a:lnTo>
                  <a:pt x="11277" y="6916"/>
                </a:lnTo>
                <a:lnTo>
                  <a:pt x="11279" y="6917"/>
                </a:lnTo>
                <a:lnTo>
                  <a:pt x="11280" y="6916"/>
                </a:lnTo>
                <a:lnTo>
                  <a:pt x="11280" y="6916"/>
                </a:lnTo>
                <a:close/>
                <a:moveTo>
                  <a:pt x="11318" y="6912"/>
                </a:moveTo>
                <a:lnTo>
                  <a:pt x="11307" y="6910"/>
                </a:lnTo>
                <a:lnTo>
                  <a:pt x="11299" y="6910"/>
                </a:lnTo>
                <a:lnTo>
                  <a:pt x="11291" y="6911"/>
                </a:lnTo>
                <a:lnTo>
                  <a:pt x="11280" y="6916"/>
                </a:lnTo>
                <a:lnTo>
                  <a:pt x="11290" y="6919"/>
                </a:lnTo>
                <a:lnTo>
                  <a:pt x="11302" y="6919"/>
                </a:lnTo>
                <a:lnTo>
                  <a:pt x="11310" y="6917"/>
                </a:lnTo>
                <a:lnTo>
                  <a:pt x="11318" y="6912"/>
                </a:lnTo>
                <a:close/>
                <a:moveTo>
                  <a:pt x="11428" y="6143"/>
                </a:moveTo>
                <a:lnTo>
                  <a:pt x="11431" y="6145"/>
                </a:lnTo>
                <a:lnTo>
                  <a:pt x="11431" y="6142"/>
                </a:lnTo>
                <a:lnTo>
                  <a:pt x="11430" y="6142"/>
                </a:lnTo>
                <a:lnTo>
                  <a:pt x="11429" y="6142"/>
                </a:lnTo>
                <a:lnTo>
                  <a:pt x="11428" y="6143"/>
                </a:lnTo>
                <a:close/>
                <a:moveTo>
                  <a:pt x="10893" y="1339"/>
                </a:moveTo>
                <a:lnTo>
                  <a:pt x="10891" y="1339"/>
                </a:lnTo>
                <a:lnTo>
                  <a:pt x="10891" y="1339"/>
                </a:lnTo>
                <a:lnTo>
                  <a:pt x="10891" y="1339"/>
                </a:lnTo>
                <a:lnTo>
                  <a:pt x="10893" y="1339"/>
                </a:lnTo>
                <a:lnTo>
                  <a:pt x="10894" y="1336"/>
                </a:lnTo>
                <a:lnTo>
                  <a:pt x="10893" y="1339"/>
                </a:lnTo>
                <a:close/>
                <a:moveTo>
                  <a:pt x="10897" y="1334"/>
                </a:moveTo>
                <a:lnTo>
                  <a:pt x="10895" y="1334"/>
                </a:lnTo>
                <a:lnTo>
                  <a:pt x="10897" y="1334"/>
                </a:lnTo>
                <a:lnTo>
                  <a:pt x="10895" y="1333"/>
                </a:lnTo>
                <a:lnTo>
                  <a:pt x="10895" y="1333"/>
                </a:lnTo>
                <a:lnTo>
                  <a:pt x="10895" y="1333"/>
                </a:lnTo>
                <a:lnTo>
                  <a:pt x="10895" y="1333"/>
                </a:lnTo>
                <a:lnTo>
                  <a:pt x="10895" y="1333"/>
                </a:lnTo>
                <a:lnTo>
                  <a:pt x="10897" y="1334"/>
                </a:lnTo>
                <a:close/>
                <a:moveTo>
                  <a:pt x="10969" y="1383"/>
                </a:moveTo>
                <a:lnTo>
                  <a:pt x="10970" y="1385"/>
                </a:lnTo>
                <a:lnTo>
                  <a:pt x="10973" y="1388"/>
                </a:lnTo>
                <a:lnTo>
                  <a:pt x="10973" y="1389"/>
                </a:lnTo>
                <a:lnTo>
                  <a:pt x="10972" y="1389"/>
                </a:lnTo>
                <a:lnTo>
                  <a:pt x="10973" y="1390"/>
                </a:lnTo>
                <a:lnTo>
                  <a:pt x="10973" y="1388"/>
                </a:lnTo>
                <a:lnTo>
                  <a:pt x="10974" y="1387"/>
                </a:lnTo>
                <a:lnTo>
                  <a:pt x="10975" y="1385"/>
                </a:lnTo>
                <a:lnTo>
                  <a:pt x="10974" y="1384"/>
                </a:lnTo>
                <a:lnTo>
                  <a:pt x="10969" y="1383"/>
                </a:lnTo>
                <a:close/>
                <a:moveTo>
                  <a:pt x="10963" y="1411"/>
                </a:moveTo>
                <a:lnTo>
                  <a:pt x="10970" y="1409"/>
                </a:lnTo>
                <a:lnTo>
                  <a:pt x="10973" y="1406"/>
                </a:lnTo>
                <a:lnTo>
                  <a:pt x="10973" y="1398"/>
                </a:lnTo>
                <a:lnTo>
                  <a:pt x="10973" y="1390"/>
                </a:lnTo>
                <a:lnTo>
                  <a:pt x="10967" y="1395"/>
                </a:lnTo>
                <a:lnTo>
                  <a:pt x="10959" y="1401"/>
                </a:lnTo>
                <a:lnTo>
                  <a:pt x="10956" y="1406"/>
                </a:lnTo>
                <a:lnTo>
                  <a:pt x="10963" y="1411"/>
                </a:lnTo>
                <a:close/>
                <a:moveTo>
                  <a:pt x="10922" y="1371"/>
                </a:moveTo>
                <a:lnTo>
                  <a:pt x="10918" y="1373"/>
                </a:lnTo>
                <a:lnTo>
                  <a:pt x="10914" y="1373"/>
                </a:lnTo>
                <a:lnTo>
                  <a:pt x="10911" y="1375"/>
                </a:lnTo>
                <a:lnTo>
                  <a:pt x="10909" y="1378"/>
                </a:lnTo>
                <a:lnTo>
                  <a:pt x="10913" y="1378"/>
                </a:lnTo>
                <a:lnTo>
                  <a:pt x="10918" y="1378"/>
                </a:lnTo>
                <a:lnTo>
                  <a:pt x="10921" y="1376"/>
                </a:lnTo>
                <a:lnTo>
                  <a:pt x="10922" y="1371"/>
                </a:lnTo>
                <a:close/>
                <a:moveTo>
                  <a:pt x="11987" y="6417"/>
                </a:moveTo>
                <a:lnTo>
                  <a:pt x="11988" y="6416"/>
                </a:lnTo>
                <a:lnTo>
                  <a:pt x="11987" y="6415"/>
                </a:lnTo>
                <a:lnTo>
                  <a:pt x="11985" y="6415"/>
                </a:lnTo>
                <a:lnTo>
                  <a:pt x="11984" y="6415"/>
                </a:lnTo>
                <a:lnTo>
                  <a:pt x="11987" y="6417"/>
                </a:lnTo>
                <a:close/>
                <a:moveTo>
                  <a:pt x="11387" y="7652"/>
                </a:moveTo>
                <a:lnTo>
                  <a:pt x="11382" y="7649"/>
                </a:lnTo>
                <a:lnTo>
                  <a:pt x="11377" y="7649"/>
                </a:lnTo>
                <a:lnTo>
                  <a:pt x="11382" y="7651"/>
                </a:lnTo>
                <a:lnTo>
                  <a:pt x="11387" y="7652"/>
                </a:lnTo>
                <a:close/>
                <a:moveTo>
                  <a:pt x="11508" y="7526"/>
                </a:moveTo>
                <a:lnTo>
                  <a:pt x="11507" y="7528"/>
                </a:lnTo>
                <a:lnTo>
                  <a:pt x="11504" y="7531"/>
                </a:lnTo>
                <a:lnTo>
                  <a:pt x="11500" y="7528"/>
                </a:lnTo>
                <a:lnTo>
                  <a:pt x="11495" y="7527"/>
                </a:lnTo>
                <a:lnTo>
                  <a:pt x="11490" y="7526"/>
                </a:lnTo>
                <a:lnTo>
                  <a:pt x="11486" y="7526"/>
                </a:lnTo>
                <a:lnTo>
                  <a:pt x="11490" y="7528"/>
                </a:lnTo>
                <a:lnTo>
                  <a:pt x="11494" y="7531"/>
                </a:lnTo>
                <a:lnTo>
                  <a:pt x="11499" y="7531"/>
                </a:lnTo>
                <a:lnTo>
                  <a:pt x="11504" y="7531"/>
                </a:lnTo>
                <a:lnTo>
                  <a:pt x="11505" y="7531"/>
                </a:lnTo>
                <a:lnTo>
                  <a:pt x="11507" y="7530"/>
                </a:lnTo>
                <a:lnTo>
                  <a:pt x="11508" y="7527"/>
                </a:lnTo>
                <a:lnTo>
                  <a:pt x="11508" y="7526"/>
                </a:lnTo>
                <a:close/>
                <a:moveTo>
                  <a:pt x="11864" y="6842"/>
                </a:moveTo>
                <a:lnTo>
                  <a:pt x="11868" y="6841"/>
                </a:lnTo>
                <a:lnTo>
                  <a:pt x="11866" y="6841"/>
                </a:lnTo>
                <a:lnTo>
                  <a:pt x="11864" y="6840"/>
                </a:lnTo>
                <a:lnTo>
                  <a:pt x="11864" y="6841"/>
                </a:lnTo>
                <a:lnTo>
                  <a:pt x="11864" y="6842"/>
                </a:lnTo>
                <a:close/>
                <a:moveTo>
                  <a:pt x="11461" y="7688"/>
                </a:moveTo>
                <a:lnTo>
                  <a:pt x="11458" y="7686"/>
                </a:lnTo>
                <a:lnTo>
                  <a:pt x="11458" y="7689"/>
                </a:lnTo>
                <a:lnTo>
                  <a:pt x="11458" y="7689"/>
                </a:lnTo>
                <a:lnTo>
                  <a:pt x="11459" y="7689"/>
                </a:lnTo>
                <a:lnTo>
                  <a:pt x="11461" y="7688"/>
                </a:lnTo>
                <a:close/>
                <a:moveTo>
                  <a:pt x="11364" y="10277"/>
                </a:moveTo>
                <a:lnTo>
                  <a:pt x="11370" y="10277"/>
                </a:lnTo>
                <a:lnTo>
                  <a:pt x="11369" y="10275"/>
                </a:lnTo>
                <a:lnTo>
                  <a:pt x="11366" y="10274"/>
                </a:lnTo>
                <a:lnTo>
                  <a:pt x="11365" y="10274"/>
                </a:lnTo>
                <a:lnTo>
                  <a:pt x="11364" y="10277"/>
                </a:lnTo>
                <a:close/>
                <a:moveTo>
                  <a:pt x="11503" y="7679"/>
                </a:moveTo>
                <a:lnTo>
                  <a:pt x="11501" y="7677"/>
                </a:lnTo>
                <a:lnTo>
                  <a:pt x="11500" y="7677"/>
                </a:lnTo>
                <a:lnTo>
                  <a:pt x="11499" y="7677"/>
                </a:lnTo>
                <a:lnTo>
                  <a:pt x="11498" y="7679"/>
                </a:lnTo>
                <a:lnTo>
                  <a:pt x="11503" y="7679"/>
                </a:lnTo>
                <a:close/>
                <a:moveTo>
                  <a:pt x="11591" y="7526"/>
                </a:moveTo>
                <a:lnTo>
                  <a:pt x="11589" y="7523"/>
                </a:lnTo>
                <a:lnTo>
                  <a:pt x="11589" y="7523"/>
                </a:lnTo>
                <a:lnTo>
                  <a:pt x="11587" y="7523"/>
                </a:lnTo>
                <a:lnTo>
                  <a:pt x="11586" y="7525"/>
                </a:lnTo>
                <a:lnTo>
                  <a:pt x="11591" y="7526"/>
                </a:lnTo>
                <a:close/>
                <a:moveTo>
                  <a:pt x="11617" y="7694"/>
                </a:moveTo>
                <a:lnTo>
                  <a:pt x="11620" y="7695"/>
                </a:lnTo>
                <a:lnTo>
                  <a:pt x="11621" y="7696"/>
                </a:lnTo>
                <a:lnTo>
                  <a:pt x="11622" y="7695"/>
                </a:lnTo>
                <a:lnTo>
                  <a:pt x="11624" y="7694"/>
                </a:lnTo>
                <a:lnTo>
                  <a:pt x="11622" y="7693"/>
                </a:lnTo>
                <a:lnTo>
                  <a:pt x="11621" y="7693"/>
                </a:lnTo>
                <a:lnTo>
                  <a:pt x="11619" y="7693"/>
                </a:lnTo>
                <a:lnTo>
                  <a:pt x="11617" y="7694"/>
                </a:lnTo>
                <a:close/>
                <a:moveTo>
                  <a:pt x="11769" y="8250"/>
                </a:moveTo>
                <a:lnTo>
                  <a:pt x="11769" y="8246"/>
                </a:lnTo>
                <a:lnTo>
                  <a:pt x="11768" y="8244"/>
                </a:lnTo>
                <a:lnTo>
                  <a:pt x="11769" y="8246"/>
                </a:lnTo>
                <a:lnTo>
                  <a:pt x="11769" y="8250"/>
                </a:lnTo>
                <a:close/>
                <a:moveTo>
                  <a:pt x="11834" y="7415"/>
                </a:moveTo>
                <a:lnTo>
                  <a:pt x="11835" y="7416"/>
                </a:lnTo>
                <a:lnTo>
                  <a:pt x="11836" y="7415"/>
                </a:lnTo>
                <a:lnTo>
                  <a:pt x="11831" y="7414"/>
                </a:lnTo>
                <a:lnTo>
                  <a:pt x="11829" y="7413"/>
                </a:lnTo>
                <a:lnTo>
                  <a:pt x="11829" y="7414"/>
                </a:lnTo>
                <a:lnTo>
                  <a:pt x="11834" y="7415"/>
                </a:lnTo>
                <a:close/>
                <a:moveTo>
                  <a:pt x="11835" y="7420"/>
                </a:moveTo>
                <a:lnTo>
                  <a:pt x="11835" y="7418"/>
                </a:lnTo>
                <a:lnTo>
                  <a:pt x="11834" y="7418"/>
                </a:lnTo>
                <a:lnTo>
                  <a:pt x="11834" y="7419"/>
                </a:lnTo>
                <a:lnTo>
                  <a:pt x="11835" y="7420"/>
                </a:lnTo>
                <a:close/>
                <a:moveTo>
                  <a:pt x="11588" y="2561"/>
                </a:moveTo>
                <a:lnTo>
                  <a:pt x="11594" y="2554"/>
                </a:lnTo>
                <a:lnTo>
                  <a:pt x="11600" y="2542"/>
                </a:lnTo>
                <a:lnTo>
                  <a:pt x="11594" y="2553"/>
                </a:lnTo>
                <a:lnTo>
                  <a:pt x="11588" y="2561"/>
                </a:lnTo>
                <a:close/>
                <a:moveTo>
                  <a:pt x="11859" y="2172"/>
                </a:moveTo>
                <a:lnTo>
                  <a:pt x="11858" y="2175"/>
                </a:lnTo>
                <a:lnTo>
                  <a:pt x="11859" y="2175"/>
                </a:lnTo>
                <a:lnTo>
                  <a:pt x="11859" y="2173"/>
                </a:lnTo>
                <a:lnTo>
                  <a:pt x="11859" y="2172"/>
                </a:lnTo>
                <a:close/>
                <a:moveTo>
                  <a:pt x="11858" y="2177"/>
                </a:moveTo>
                <a:lnTo>
                  <a:pt x="11858" y="2176"/>
                </a:lnTo>
                <a:lnTo>
                  <a:pt x="11857" y="2177"/>
                </a:lnTo>
                <a:lnTo>
                  <a:pt x="11861" y="2180"/>
                </a:lnTo>
                <a:lnTo>
                  <a:pt x="11862" y="2181"/>
                </a:lnTo>
                <a:lnTo>
                  <a:pt x="11862" y="2180"/>
                </a:lnTo>
                <a:lnTo>
                  <a:pt x="11858" y="2177"/>
                </a:lnTo>
                <a:close/>
                <a:moveTo>
                  <a:pt x="11861" y="2368"/>
                </a:moveTo>
                <a:lnTo>
                  <a:pt x="11861" y="2373"/>
                </a:lnTo>
                <a:lnTo>
                  <a:pt x="11862" y="2376"/>
                </a:lnTo>
                <a:lnTo>
                  <a:pt x="11862" y="2378"/>
                </a:lnTo>
                <a:lnTo>
                  <a:pt x="11862" y="2379"/>
                </a:lnTo>
                <a:lnTo>
                  <a:pt x="11863" y="2381"/>
                </a:lnTo>
                <a:lnTo>
                  <a:pt x="11868" y="2379"/>
                </a:lnTo>
                <a:lnTo>
                  <a:pt x="11866" y="2378"/>
                </a:lnTo>
                <a:lnTo>
                  <a:pt x="11862" y="2376"/>
                </a:lnTo>
                <a:lnTo>
                  <a:pt x="11861" y="2372"/>
                </a:lnTo>
                <a:lnTo>
                  <a:pt x="11861" y="2368"/>
                </a:lnTo>
                <a:close/>
                <a:moveTo>
                  <a:pt x="11945" y="2661"/>
                </a:moveTo>
                <a:lnTo>
                  <a:pt x="11946" y="2658"/>
                </a:lnTo>
                <a:lnTo>
                  <a:pt x="11946" y="2656"/>
                </a:lnTo>
                <a:lnTo>
                  <a:pt x="11945" y="2658"/>
                </a:lnTo>
                <a:lnTo>
                  <a:pt x="11945" y="2661"/>
                </a:lnTo>
                <a:close/>
                <a:moveTo>
                  <a:pt x="11833" y="7546"/>
                </a:moveTo>
                <a:lnTo>
                  <a:pt x="11835" y="7545"/>
                </a:lnTo>
                <a:lnTo>
                  <a:pt x="11836" y="7545"/>
                </a:lnTo>
                <a:lnTo>
                  <a:pt x="11836" y="7544"/>
                </a:lnTo>
                <a:lnTo>
                  <a:pt x="11835" y="7541"/>
                </a:lnTo>
                <a:lnTo>
                  <a:pt x="11834" y="7541"/>
                </a:lnTo>
                <a:lnTo>
                  <a:pt x="11831" y="7542"/>
                </a:lnTo>
                <a:lnTo>
                  <a:pt x="11831" y="7544"/>
                </a:lnTo>
                <a:lnTo>
                  <a:pt x="11833" y="7546"/>
                </a:lnTo>
                <a:close/>
                <a:moveTo>
                  <a:pt x="11799" y="4785"/>
                </a:moveTo>
                <a:lnTo>
                  <a:pt x="11802" y="4783"/>
                </a:lnTo>
                <a:lnTo>
                  <a:pt x="11801" y="4783"/>
                </a:lnTo>
                <a:lnTo>
                  <a:pt x="11799" y="4783"/>
                </a:lnTo>
                <a:lnTo>
                  <a:pt x="11798" y="4783"/>
                </a:lnTo>
                <a:lnTo>
                  <a:pt x="11799" y="4785"/>
                </a:lnTo>
                <a:close/>
                <a:moveTo>
                  <a:pt x="11938" y="4597"/>
                </a:moveTo>
                <a:lnTo>
                  <a:pt x="11938" y="4599"/>
                </a:lnTo>
                <a:lnTo>
                  <a:pt x="11940" y="4599"/>
                </a:lnTo>
                <a:lnTo>
                  <a:pt x="11941" y="4599"/>
                </a:lnTo>
                <a:lnTo>
                  <a:pt x="11943" y="4598"/>
                </a:lnTo>
                <a:lnTo>
                  <a:pt x="11938" y="4597"/>
                </a:lnTo>
                <a:close/>
                <a:moveTo>
                  <a:pt x="11611" y="5639"/>
                </a:moveTo>
                <a:lnTo>
                  <a:pt x="11611" y="5637"/>
                </a:lnTo>
                <a:lnTo>
                  <a:pt x="11611" y="5634"/>
                </a:lnTo>
                <a:lnTo>
                  <a:pt x="11610" y="5636"/>
                </a:lnTo>
                <a:lnTo>
                  <a:pt x="11611" y="5639"/>
                </a:lnTo>
                <a:close/>
                <a:moveTo>
                  <a:pt x="11611" y="5634"/>
                </a:moveTo>
                <a:lnTo>
                  <a:pt x="11612" y="5633"/>
                </a:lnTo>
                <a:lnTo>
                  <a:pt x="11614" y="5632"/>
                </a:lnTo>
                <a:lnTo>
                  <a:pt x="11612" y="5632"/>
                </a:lnTo>
                <a:lnTo>
                  <a:pt x="11611" y="5634"/>
                </a:lnTo>
                <a:close/>
                <a:moveTo>
                  <a:pt x="11597" y="8124"/>
                </a:moveTo>
                <a:lnTo>
                  <a:pt x="11593" y="8123"/>
                </a:lnTo>
                <a:lnTo>
                  <a:pt x="11593" y="8125"/>
                </a:lnTo>
                <a:lnTo>
                  <a:pt x="11594" y="8125"/>
                </a:lnTo>
                <a:lnTo>
                  <a:pt x="11596" y="8125"/>
                </a:lnTo>
                <a:lnTo>
                  <a:pt x="11597" y="8124"/>
                </a:lnTo>
                <a:close/>
                <a:moveTo>
                  <a:pt x="12018" y="5321"/>
                </a:moveTo>
                <a:lnTo>
                  <a:pt x="12022" y="5319"/>
                </a:lnTo>
                <a:lnTo>
                  <a:pt x="12020" y="5319"/>
                </a:lnTo>
                <a:lnTo>
                  <a:pt x="12018" y="5319"/>
                </a:lnTo>
                <a:lnTo>
                  <a:pt x="12018" y="5319"/>
                </a:lnTo>
                <a:lnTo>
                  <a:pt x="12018" y="5321"/>
                </a:lnTo>
                <a:close/>
                <a:moveTo>
                  <a:pt x="11521" y="6410"/>
                </a:moveTo>
                <a:lnTo>
                  <a:pt x="11522" y="6407"/>
                </a:lnTo>
                <a:lnTo>
                  <a:pt x="11522" y="6408"/>
                </a:lnTo>
                <a:lnTo>
                  <a:pt x="11521" y="6408"/>
                </a:lnTo>
                <a:lnTo>
                  <a:pt x="11521" y="6410"/>
                </a:lnTo>
                <a:close/>
                <a:moveTo>
                  <a:pt x="11728" y="8593"/>
                </a:moveTo>
                <a:lnTo>
                  <a:pt x="11736" y="8594"/>
                </a:lnTo>
                <a:lnTo>
                  <a:pt x="11741" y="8594"/>
                </a:lnTo>
                <a:lnTo>
                  <a:pt x="11735" y="8594"/>
                </a:lnTo>
                <a:lnTo>
                  <a:pt x="11728" y="8593"/>
                </a:lnTo>
                <a:close/>
                <a:moveTo>
                  <a:pt x="11743" y="6095"/>
                </a:moveTo>
                <a:lnTo>
                  <a:pt x="11743" y="6096"/>
                </a:lnTo>
                <a:lnTo>
                  <a:pt x="11743" y="6096"/>
                </a:lnTo>
                <a:lnTo>
                  <a:pt x="11743" y="6095"/>
                </a:lnTo>
                <a:lnTo>
                  <a:pt x="11743" y="6095"/>
                </a:lnTo>
                <a:lnTo>
                  <a:pt x="11746" y="6093"/>
                </a:lnTo>
                <a:lnTo>
                  <a:pt x="11746" y="6094"/>
                </a:lnTo>
                <a:lnTo>
                  <a:pt x="11745" y="6094"/>
                </a:lnTo>
                <a:lnTo>
                  <a:pt x="11743" y="6095"/>
                </a:lnTo>
                <a:lnTo>
                  <a:pt x="11742" y="6095"/>
                </a:lnTo>
                <a:lnTo>
                  <a:pt x="11743" y="6095"/>
                </a:lnTo>
                <a:lnTo>
                  <a:pt x="11743" y="6095"/>
                </a:lnTo>
                <a:close/>
                <a:moveTo>
                  <a:pt x="11942" y="5731"/>
                </a:moveTo>
                <a:lnTo>
                  <a:pt x="11938" y="5734"/>
                </a:lnTo>
                <a:lnTo>
                  <a:pt x="11941" y="5735"/>
                </a:lnTo>
                <a:lnTo>
                  <a:pt x="11942" y="5735"/>
                </a:lnTo>
                <a:lnTo>
                  <a:pt x="11943" y="5734"/>
                </a:lnTo>
                <a:lnTo>
                  <a:pt x="11942" y="5731"/>
                </a:lnTo>
                <a:close/>
                <a:moveTo>
                  <a:pt x="11998" y="5804"/>
                </a:moveTo>
                <a:lnTo>
                  <a:pt x="11998" y="5806"/>
                </a:lnTo>
                <a:lnTo>
                  <a:pt x="11998" y="5807"/>
                </a:lnTo>
                <a:lnTo>
                  <a:pt x="11999" y="5806"/>
                </a:lnTo>
                <a:lnTo>
                  <a:pt x="11998" y="5804"/>
                </a:lnTo>
                <a:close/>
                <a:moveTo>
                  <a:pt x="11998" y="5809"/>
                </a:moveTo>
                <a:lnTo>
                  <a:pt x="11998" y="5809"/>
                </a:lnTo>
                <a:lnTo>
                  <a:pt x="11997" y="5810"/>
                </a:lnTo>
                <a:lnTo>
                  <a:pt x="11997" y="5810"/>
                </a:lnTo>
                <a:lnTo>
                  <a:pt x="11998" y="5809"/>
                </a:lnTo>
                <a:close/>
                <a:moveTo>
                  <a:pt x="11947" y="6011"/>
                </a:moveTo>
                <a:lnTo>
                  <a:pt x="11950" y="6009"/>
                </a:lnTo>
                <a:lnTo>
                  <a:pt x="11951" y="6006"/>
                </a:lnTo>
                <a:lnTo>
                  <a:pt x="11948" y="6007"/>
                </a:lnTo>
                <a:lnTo>
                  <a:pt x="11947" y="6007"/>
                </a:lnTo>
                <a:lnTo>
                  <a:pt x="11947" y="6009"/>
                </a:lnTo>
                <a:lnTo>
                  <a:pt x="11947" y="6011"/>
                </a:lnTo>
                <a:close/>
                <a:moveTo>
                  <a:pt x="11470" y="10460"/>
                </a:moveTo>
                <a:lnTo>
                  <a:pt x="11473" y="10461"/>
                </a:lnTo>
                <a:lnTo>
                  <a:pt x="11473" y="10460"/>
                </a:lnTo>
                <a:lnTo>
                  <a:pt x="11472" y="10459"/>
                </a:lnTo>
                <a:lnTo>
                  <a:pt x="11471" y="10460"/>
                </a:lnTo>
                <a:lnTo>
                  <a:pt x="11470" y="10460"/>
                </a:lnTo>
                <a:close/>
                <a:moveTo>
                  <a:pt x="11998" y="5968"/>
                </a:moveTo>
                <a:lnTo>
                  <a:pt x="11998" y="5970"/>
                </a:lnTo>
                <a:lnTo>
                  <a:pt x="11998" y="5970"/>
                </a:lnTo>
                <a:lnTo>
                  <a:pt x="12001" y="5970"/>
                </a:lnTo>
                <a:lnTo>
                  <a:pt x="12002" y="5969"/>
                </a:lnTo>
                <a:lnTo>
                  <a:pt x="11998" y="5968"/>
                </a:lnTo>
                <a:close/>
                <a:moveTo>
                  <a:pt x="11493" y="10372"/>
                </a:moveTo>
                <a:lnTo>
                  <a:pt x="11493" y="10372"/>
                </a:lnTo>
                <a:lnTo>
                  <a:pt x="11491" y="10373"/>
                </a:lnTo>
                <a:lnTo>
                  <a:pt x="11493" y="10373"/>
                </a:lnTo>
                <a:lnTo>
                  <a:pt x="11493" y="10372"/>
                </a:lnTo>
                <a:close/>
                <a:moveTo>
                  <a:pt x="11494" y="10367"/>
                </a:moveTo>
                <a:lnTo>
                  <a:pt x="11493" y="10371"/>
                </a:lnTo>
                <a:lnTo>
                  <a:pt x="11494" y="10371"/>
                </a:lnTo>
                <a:lnTo>
                  <a:pt x="11494" y="10368"/>
                </a:lnTo>
                <a:lnTo>
                  <a:pt x="11494" y="10367"/>
                </a:lnTo>
                <a:close/>
                <a:moveTo>
                  <a:pt x="11658" y="6981"/>
                </a:moveTo>
                <a:lnTo>
                  <a:pt x="11663" y="6979"/>
                </a:lnTo>
                <a:lnTo>
                  <a:pt x="11661" y="6977"/>
                </a:lnTo>
                <a:lnTo>
                  <a:pt x="11658" y="6977"/>
                </a:lnTo>
                <a:lnTo>
                  <a:pt x="11658" y="6979"/>
                </a:lnTo>
                <a:lnTo>
                  <a:pt x="11658" y="6981"/>
                </a:lnTo>
                <a:close/>
                <a:moveTo>
                  <a:pt x="11742" y="2036"/>
                </a:moveTo>
                <a:lnTo>
                  <a:pt x="11746" y="2031"/>
                </a:lnTo>
                <a:lnTo>
                  <a:pt x="11749" y="2026"/>
                </a:lnTo>
                <a:lnTo>
                  <a:pt x="11745" y="2027"/>
                </a:lnTo>
                <a:lnTo>
                  <a:pt x="11742" y="2029"/>
                </a:lnTo>
                <a:lnTo>
                  <a:pt x="11741" y="2032"/>
                </a:lnTo>
                <a:lnTo>
                  <a:pt x="11742" y="2036"/>
                </a:lnTo>
                <a:close/>
                <a:moveTo>
                  <a:pt x="11749" y="2026"/>
                </a:moveTo>
                <a:lnTo>
                  <a:pt x="11750" y="2026"/>
                </a:lnTo>
                <a:lnTo>
                  <a:pt x="11750" y="2026"/>
                </a:lnTo>
                <a:lnTo>
                  <a:pt x="11749" y="2026"/>
                </a:lnTo>
                <a:lnTo>
                  <a:pt x="11749" y="2026"/>
                </a:lnTo>
                <a:close/>
                <a:moveTo>
                  <a:pt x="11811" y="4447"/>
                </a:moveTo>
                <a:lnTo>
                  <a:pt x="11808" y="4447"/>
                </a:lnTo>
                <a:lnTo>
                  <a:pt x="11806" y="4448"/>
                </a:lnTo>
                <a:lnTo>
                  <a:pt x="11805" y="4449"/>
                </a:lnTo>
                <a:lnTo>
                  <a:pt x="11807" y="4450"/>
                </a:lnTo>
                <a:lnTo>
                  <a:pt x="11810" y="4450"/>
                </a:lnTo>
                <a:lnTo>
                  <a:pt x="11811" y="4449"/>
                </a:lnTo>
                <a:lnTo>
                  <a:pt x="11812" y="4448"/>
                </a:lnTo>
                <a:lnTo>
                  <a:pt x="11811" y="4447"/>
                </a:lnTo>
                <a:close/>
                <a:moveTo>
                  <a:pt x="11610" y="5182"/>
                </a:moveTo>
                <a:lnTo>
                  <a:pt x="11612" y="5184"/>
                </a:lnTo>
                <a:lnTo>
                  <a:pt x="11615" y="5184"/>
                </a:lnTo>
                <a:lnTo>
                  <a:pt x="11616" y="5182"/>
                </a:lnTo>
                <a:lnTo>
                  <a:pt x="11619" y="5181"/>
                </a:lnTo>
                <a:lnTo>
                  <a:pt x="11616" y="5181"/>
                </a:lnTo>
                <a:lnTo>
                  <a:pt x="11614" y="5180"/>
                </a:lnTo>
                <a:lnTo>
                  <a:pt x="11611" y="5180"/>
                </a:lnTo>
                <a:lnTo>
                  <a:pt x="11610" y="5182"/>
                </a:lnTo>
                <a:close/>
                <a:moveTo>
                  <a:pt x="11951" y="4748"/>
                </a:moveTo>
                <a:lnTo>
                  <a:pt x="11947" y="4750"/>
                </a:lnTo>
                <a:lnTo>
                  <a:pt x="11943" y="4752"/>
                </a:lnTo>
                <a:lnTo>
                  <a:pt x="11946" y="4753"/>
                </a:lnTo>
                <a:lnTo>
                  <a:pt x="11951" y="4753"/>
                </a:lnTo>
                <a:lnTo>
                  <a:pt x="11954" y="4752"/>
                </a:lnTo>
                <a:lnTo>
                  <a:pt x="11951" y="4748"/>
                </a:lnTo>
                <a:close/>
                <a:moveTo>
                  <a:pt x="12018" y="4753"/>
                </a:moveTo>
                <a:lnTo>
                  <a:pt x="12024" y="4755"/>
                </a:lnTo>
                <a:lnTo>
                  <a:pt x="12022" y="4753"/>
                </a:lnTo>
                <a:lnTo>
                  <a:pt x="12022" y="4752"/>
                </a:lnTo>
                <a:lnTo>
                  <a:pt x="12020" y="4752"/>
                </a:lnTo>
                <a:lnTo>
                  <a:pt x="12018" y="4753"/>
                </a:lnTo>
                <a:close/>
                <a:moveTo>
                  <a:pt x="11945" y="4915"/>
                </a:moveTo>
                <a:lnTo>
                  <a:pt x="11946" y="4914"/>
                </a:lnTo>
                <a:lnTo>
                  <a:pt x="11946" y="4914"/>
                </a:lnTo>
                <a:lnTo>
                  <a:pt x="11946" y="4915"/>
                </a:lnTo>
                <a:lnTo>
                  <a:pt x="11945" y="4915"/>
                </a:lnTo>
                <a:lnTo>
                  <a:pt x="11948" y="4915"/>
                </a:lnTo>
                <a:lnTo>
                  <a:pt x="11945" y="4915"/>
                </a:lnTo>
                <a:close/>
                <a:moveTo>
                  <a:pt x="11670" y="5596"/>
                </a:moveTo>
                <a:lnTo>
                  <a:pt x="11667" y="5597"/>
                </a:lnTo>
                <a:lnTo>
                  <a:pt x="11666" y="5597"/>
                </a:lnTo>
                <a:lnTo>
                  <a:pt x="11666" y="5599"/>
                </a:lnTo>
                <a:lnTo>
                  <a:pt x="11666" y="5601"/>
                </a:lnTo>
                <a:lnTo>
                  <a:pt x="11668" y="5601"/>
                </a:lnTo>
                <a:lnTo>
                  <a:pt x="11670" y="5601"/>
                </a:lnTo>
                <a:lnTo>
                  <a:pt x="11671" y="5600"/>
                </a:lnTo>
                <a:lnTo>
                  <a:pt x="11670" y="5596"/>
                </a:lnTo>
                <a:close/>
                <a:moveTo>
                  <a:pt x="11608" y="5767"/>
                </a:moveTo>
                <a:lnTo>
                  <a:pt x="11607" y="5765"/>
                </a:lnTo>
                <a:lnTo>
                  <a:pt x="11605" y="5765"/>
                </a:lnTo>
                <a:lnTo>
                  <a:pt x="11602" y="5765"/>
                </a:lnTo>
                <a:lnTo>
                  <a:pt x="11601" y="5767"/>
                </a:lnTo>
                <a:lnTo>
                  <a:pt x="11602" y="5768"/>
                </a:lnTo>
                <a:lnTo>
                  <a:pt x="11605" y="5769"/>
                </a:lnTo>
                <a:lnTo>
                  <a:pt x="11607" y="5769"/>
                </a:lnTo>
                <a:lnTo>
                  <a:pt x="11608" y="5767"/>
                </a:lnTo>
                <a:close/>
                <a:moveTo>
                  <a:pt x="11908" y="5180"/>
                </a:moveTo>
                <a:lnTo>
                  <a:pt x="11904" y="5180"/>
                </a:lnTo>
                <a:lnTo>
                  <a:pt x="11899" y="5181"/>
                </a:lnTo>
                <a:lnTo>
                  <a:pt x="11898" y="5182"/>
                </a:lnTo>
                <a:lnTo>
                  <a:pt x="11900" y="5188"/>
                </a:lnTo>
                <a:lnTo>
                  <a:pt x="11904" y="5189"/>
                </a:lnTo>
                <a:lnTo>
                  <a:pt x="11908" y="5189"/>
                </a:lnTo>
                <a:lnTo>
                  <a:pt x="11909" y="5185"/>
                </a:lnTo>
                <a:lnTo>
                  <a:pt x="11908" y="5180"/>
                </a:lnTo>
                <a:close/>
                <a:moveTo>
                  <a:pt x="11785" y="5456"/>
                </a:moveTo>
                <a:lnTo>
                  <a:pt x="11787" y="5457"/>
                </a:lnTo>
                <a:lnTo>
                  <a:pt x="11788" y="5459"/>
                </a:lnTo>
                <a:lnTo>
                  <a:pt x="11789" y="5459"/>
                </a:lnTo>
                <a:lnTo>
                  <a:pt x="11791" y="5457"/>
                </a:lnTo>
                <a:lnTo>
                  <a:pt x="11785" y="5456"/>
                </a:lnTo>
                <a:close/>
                <a:moveTo>
                  <a:pt x="11569" y="5979"/>
                </a:moveTo>
                <a:lnTo>
                  <a:pt x="11569" y="5979"/>
                </a:lnTo>
                <a:lnTo>
                  <a:pt x="11569" y="5979"/>
                </a:lnTo>
                <a:lnTo>
                  <a:pt x="11571" y="5979"/>
                </a:lnTo>
                <a:lnTo>
                  <a:pt x="11569" y="5979"/>
                </a:lnTo>
                <a:lnTo>
                  <a:pt x="11571" y="5979"/>
                </a:lnTo>
                <a:lnTo>
                  <a:pt x="11571" y="5979"/>
                </a:lnTo>
                <a:lnTo>
                  <a:pt x="11570" y="5979"/>
                </a:lnTo>
                <a:lnTo>
                  <a:pt x="11569" y="5979"/>
                </a:lnTo>
                <a:close/>
                <a:moveTo>
                  <a:pt x="11844" y="5580"/>
                </a:moveTo>
                <a:lnTo>
                  <a:pt x="11839" y="5580"/>
                </a:lnTo>
                <a:lnTo>
                  <a:pt x="11835" y="5581"/>
                </a:lnTo>
                <a:lnTo>
                  <a:pt x="11833" y="5582"/>
                </a:lnTo>
                <a:lnTo>
                  <a:pt x="11831" y="5586"/>
                </a:lnTo>
                <a:lnTo>
                  <a:pt x="11835" y="5586"/>
                </a:lnTo>
                <a:lnTo>
                  <a:pt x="11839" y="5586"/>
                </a:lnTo>
                <a:lnTo>
                  <a:pt x="11843" y="5583"/>
                </a:lnTo>
                <a:lnTo>
                  <a:pt x="11844" y="5580"/>
                </a:lnTo>
                <a:close/>
                <a:moveTo>
                  <a:pt x="11830" y="5587"/>
                </a:moveTo>
                <a:lnTo>
                  <a:pt x="11830" y="5587"/>
                </a:lnTo>
                <a:lnTo>
                  <a:pt x="11830" y="5587"/>
                </a:lnTo>
                <a:lnTo>
                  <a:pt x="11830" y="5586"/>
                </a:lnTo>
                <a:lnTo>
                  <a:pt x="11830" y="5587"/>
                </a:lnTo>
                <a:close/>
                <a:moveTo>
                  <a:pt x="11852" y="5786"/>
                </a:moveTo>
                <a:lnTo>
                  <a:pt x="11849" y="5786"/>
                </a:lnTo>
                <a:lnTo>
                  <a:pt x="11848" y="5786"/>
                </a:lnTo>
                <a:lnTo>
                  <a:pt x="11845" y="5787"/>
                </a:lnTo>
                <a:lnTo>
                  <a:pt x="11848" y="5790"/>
                </a:lnTo>
                <a:lnTo>
                  <a:pt x="11852" y="5790"/>
                </a:lnTo>
                <a:lnTo>
                  <a:pt x="11852" y="5786"/>
                </a:lnTo>
                <a:close/>
                <a:moveTo>
                  <a:pt x="12004" y="5511"/>
                </a:moveTo>
                <a:lnTo>
                  <a:pt x="12007" y="5511"/>
                </a:lnTo>
                <a:lnTo>
                  <a:pt x="12007" y="5511"/>
                </a:lnTo>
                <a:lnTo>
                  <a:pt x="12006" y="5511"/>
                </a:lnTo>
                <a:lnTo>
                  <a:pt x="12004" y="5511"/>
                </a:lnTo>
                <a:lnTo>
                  <a:pt x="12007" y="5513"/>
                </a:lnTo>
                <a:lnTo>
                  <a:pt x="12008" y="5513"/>
                </a:lnTo>
                <a:lnTo>
                  <a:pt x="12008" y="5513"/>
                </a:lnTo>
                <a:lnTo>
                  <a:pt x="12004" y="5511"/>
                </a:lnTo>
                <a:close/>
                <a:moveTo>
                  <a:pt x="11517" y="6522"/>
                </a:moveTo>
                <a:lnTo>
                  <a:pt x="11513" y="6520"/>
                </a:lnTo>
                <a:lnTo>
                  <a:pt x="11514" y="6522"/>
                </a:lnTo>
                <a:lnTo>
                  <a:pt x="11514" y="6523"/>
                </a:lnTo>
                <a:lnTo>
                  <a:pt x="11515" y="6523"/>
                </a:lnTo>
                <a:lnTo>
                  <a:pt x="11517" y="6522"/>
                </a:lnTo>
                <a:close/>
                <a:moveTo>
                  <a:pt x="11564" y="6457"/>
                </a:moveTo>
                <a:lnTo>
                  <a:pt x="11563" y="6458"/>
                </a:lnTo>
                <a:lnTo>
                  <a:pt x="11563" y="6459"/>
                </a:lnTo>
                <a:lnTo>
                  <a:pt x="11564" y="6459"/>
                </a:lnTo>
                <a:lnTo>
                  <a:pt x="11566" y="6459"/>
                </a:lnTo>
                <a:lnTo>
                  <a:pt x="11564" y="6457"/>
                </a:lnTo>
                <a:close/>
                <a:moveTo>
                  <a:pt x="11743" y="6095"/>
                </a:moveTo>
                <a:lnTo>
                  <a:pt x="11743" y="6095"/>
                </a:lnTo>
                <a:lnTo>
                  <a:pt x="11743" y="6095"/>
                </a:lnTo>
                <a:close/>
                <a:moveTo>
                  <a:pt x="11761" y="6072"/>
                </a:moveTo>
                <a:lnTo>
                  <a:pt x="11747" y="6093"/>
                </a:lnTo>
                <a:lnTo>
                  <a:pt x="11756" y="6089"/>
                </a:lnTo>
                <a:lnTo>
                  <a:pt x="11763" y="6085"/>
                </a:lnTo>
                <a:lnTo>
                  <a:pt x="11764" y="6080"/>
                </a:lnTo>
                <a:lnTo>
                  <a:pt x="11761" y="6072"/>
                </a:lnTo>
                <a:lnTo>
                  <a:pt x="11761" y="6072"/>
                </a:lnTo>
                <a:lnTo>
                  <a:pt x="11761" y="6071"/>
                </a:lnTo>
                <a:lnTo>
                  <a:pt x="11760" y="6071"/>
                </a:lnTo>
                <a:lnTo>
                  <a:pt x="11761" y="6072"/>
                </a:lnTo>
                <a:close/>
                <a:moveTo>
                  <a:pt x="11547" y="6607"/>
                </a:moveTo>
                <a:lnTo>
                  <a:pt x="11542" y="6607"/>
                </a:lnTo>
                <a:lnTo>
                  <a:pt x="11543" y="6611"/>
                </a:lnTo>
                <a:lnTo>
                  <a:pt x="11546" y="6612"/>
                </a:lnTo>
                <a:lnTo>
                  <a:pt x="11550" y="6612"/>
                </a:lnTo>
                <a:lnTo>
                  <a:pt x="11549" y="6609"/>
                </a:lnTo>
                <a:lnTo>
                  <a:pt x="11547" y="6607"/>
                </a:lnTo>
                <a:close/>
                <a:moveTo>
                  <a:pt x="11528" y="6762"/>
                </a:moveTo>
                <a:lnTo>
                  <a:pt x="11527" y="6763"/>
                </a:lnTo>
                <a:lnTo>
                  <a:pt x="11528" y="6762"/>
                </a:lnTo>
                <a:lnTo>
                  <a:pt x="11524" y="6762"/>
                </a:lnTo>
                <a:lnTo>
                  <a:pt x="11528" y="6762"/>
                </a:lnTo>
                <a:close/>
                <a:moveTo>
                  <a:pt x="11555" y="6944"/>
                </a:moveTo>
                <a:lnTo>
                  <a:pt x="11559" y="6943"/>
                </a:lnTo>
                <a:lnTo>
                  <a:pt x="11559" y="6942"/>
                </a:lnTo>
                <a:lnTo>
                  <a:pt x="11557" y="6940"/>
                </a:lnTo>
                <a:lnTo>
                  <a:pt x="11555" y="6939"/>
                </a:lnTo>
                <a:lnTo>
                  <a:pt x="11552" y="6940"/>
                </a:lnTo>
                <a:lnTo>
                  <a:pt x="11552" y="6942"/>
                </a:lnTo>
                <a:lnTo>
                  <a:pt x="11554" y="6943"/>
                </a:lnTo>
                <a:lnTo>
                  <a:pt x="11555" y="6944"/>
                </a:lnTo>
                <a:close/>
                <a:moveTo>
                  <a:pt x="11696" y="6715"/>
                </a:moveTo>
                <a:lnTo>
                  <a:pt x="11692" y="6715"/>
                </a:lnTo>
                <a:lnTo>
                  <a:pt x="11694" y="6716"/>
                </a:lnTo>
                <a:lnTo>
                  <a:pt x="11695" y="6716"/>
                </a:lnTo>
                <a:lnTo>
                  <a:pt x="11696" y="6716"/>
                </a:lnTo>
                <a:lnTo>
                  <a:pt x="11696" y="6715"/>
                </a:lnTo>
                <a:close/>
                <a:moveTo>
                  <a:pt x="11887" y="6350"/>
                </a:moveTo>
                <a:lnTo>
                  <a:pt x="11892" y="6348"/>
                </a:lnTo>
                <a:lnTo>
                  <a:pt x="11899" y="6348"/>
                </a:lnTo>
                <a:lnTo>
                  <a:pt x="11892" y="6348"/>
                </a:lnTo>
                <a:lnTo>
                  <a:pt x="11887" y="6350"/>
                </a:lnTo>
                <a:close/>
                <a:moveTo>
                  <a:pt x="11904" y="6348"/>
                </a:moveTo>
                <a:lnTo>
                  <a:pt x="11901" y="6348"/>
                </a:lnTo>
                <a:lnTo>
                  <a:pt x="11904" y="6348"/>
                </a:lnTo>
                <a:lnTo>
                  <a:pt x="11903" y="6347"/>
                </a:lnTo>
                <a:lnTo>
                  <a:pt x="11904" y="6348"/>
                </a:lnTo>
                <a:close/>
                <a:moveTo>
                  <a:pt x="11676" y="6832"/>
                </a:moveTo>
                <a:lnTo>
                  <a:pt x="11672" y="6831"/>
                </a:lnTo>
                <a:lnTo>
                  <a:pt x="11670" y="6832"/>
                </a:lnTo>
                <a:lnTo>
                  <a:pt x="11668" y="6833"/>
                </a:lnTo>
                <a:lnTo>
                  <a:pt x="11668" y="6837"/>
                </a:lnTo>
                <a:lnTo>
                  <a:pt x="11672" y="6837"/>
                </a:lnTo>
                <a:lnTo>
                  <a:pt x="11673" y="6837"/>
                </a:lnTo>
                <a:lnTo>
                  <a:pt x="11675" y="6835"/>
                </a:lnTo>
                <a:lnTo>
                  <a:pt x="11676" y="6832"/>
                </a:lnTo>
                <a:close/>
                <a:moveTo>
                  <a:pt x="11903" y="6347"/>
                </a:moveTo>
                <a:lnTo>
                  <a:pt x="11908" y="6347"/>
                </a:lnTo>
                <a:lnTo>
                  <a:pt x="11903" y="6347"/>
                </a:lnTo>
                <a:lnTo>
                  <a:pt x="11908" y="6348"/>
                </a:lnTo>
                <a:lnTo>
                  <a:pt x="11903" y="6347"/>
                </a:lnTo>
                <a:close/>
                <a:moveTo>
                  <a:pt x="11964" y="6286"/>
                </a:moveTo>
                <a:lnTo>
                  <a:pt x="11964" y="6283"/>
                </a:lnTo>
                <a:lnTo>
                  <a:pt x="11960" y="6282"/>
                </a:lnTo>
                <a:lnTo>
                  <a:pt x="11957" y="6283"/>
                </a:lnTo>
                <a:lnTo>
                  <a:pt x="11959" y="6286"/>
                </a:lnTo>
                <a:lnTo>
                  <a:pt x="11962" y="6286"/>
                </a:lnTo>
                <a:lnTo>
                  <a:pt x="11964" y="6286"/>
                </a:lnTo>
                <a:close/>
                <a:moveTo>
                  <a:pt x="11692" y="6998"/>
                </a:moveTo>
                <a:lnTo>
                  <a:pt x="11687" y="6999"/>
                </a:lnTo>
                <a:lnTo>
                  <a:pt x="11685" y="7000"/>
                </a:lnTo>
                <a:lnTo>
                  <a:pt x="11685" y="7003"/>
                </a:lnTo>
                <a:lnTo>
                  <a:pt x="11690" y="7007"/>
                </a:lnTo>
                <a:lnTo>
                  <a:pt x="11692" y="7004"/>
                </a:lnTo>
                <a:lnTo>
                  <a:pt x="11695" y="7001"/>
                </a:lnTo>
                <a:lnTo>
                  <a:pt x="11695" y="7000"/>
                </a:lnTo>
                <a:lnTo>
                  <a:pt x="11692" y="6998"/>
                </a:lnTo>
                <a:close/>
                <a:moveTo>
                  <a:pt x="11681" y="7055"/>
                </a:moveTo>
                <a:lnTo>
                  <a:pt x="11677" y="7056"/>
                </a:lnTo>
                <a:lnTo>
                  <a:pt x="11678" y="7057"/>
                </a:lnTo>
                <a:lnTo>
                  <a:pt x="11680" y="7057"/>
                </a:lnTo>
                <a:lnTo>
                  <a:pt x="11681" y="7057"/>
                </a:lnTo>
                <a:lnTo>
                  <a:pt x="11681" y="7055"/>
                </a:lnTo>
                <a:close/>
                <a:moveTo>
                  <a:pt x="11672" y="7101"/>
                </a:moveTo>
                <a:lnTo>
                  <a:pt x="11676" y="7101"/>
                </a:lnTo>
                <a:lnTo>
                  <a:pt x="11677" y="7099"/>
                </a:lnTo>
                <a:lnTo>
                  <a:pt x="11677" y="7097"/>
                </a:lnTo>
                <a:lnTo>
                  <a:pt x="11676" y="7093"/>
                </a:lnTo>
                <a:lnTo>
                  <a:pt x="11672" y="7093"/>
                </a:lnTo>
                <a:lnTo>
                  <a:pt x="11671" y="7094"/>
                </a:lnTo>
                <a:lnTo>
                  <a:pt x="11671" y="7097"/>
                </a:lnTo>
                <a:lnTo>
                  <a:pt x="11672" y="7101"/>
                </a:lnTo>
                <a:close/>
                <a:moveTo>
                  <a:pt x="9966" y="10438"/>
                </a:moveTo>
                <a:lnTo>
                  <a:pt x="9968" y="10438"/>
                </a:lnTo>
                <a:lnTo>
                  <a:pt x="9969" y="10437"/>
                </a:lnTo>
                <a:lnTo>
                  <a:pt x="9969" y="10436"/>
                </a:lnTo>
                <a:lnTo>
                  <a:pt x="9968" y="10434"/>
                </a:lnTo>
                <a:lnTo>
                  <a:pt x="9967" y="10434"/>
                </a:lnTo>
                <a:lnTo>
                  <a:pt x="9964" y="10436"/>
                </a:lnTo>
                <a:lnTo>
                  <a:pt x="9964" y="10437"/>
                </a:lnTo>
                <a:lnTo>
                  <a:pt x="9966" y="10438"/>
                </a:lnTo>
                <a:close/>
                <a:moveTo>
                  <a:pt x="11443" y="7616"/>
                </a:moveTo>
                <a:lnTo>
                  <a:pt x="11444" y="7616"/>
                </a:lnTo>
                <a:lnTo>
                  <a:pt x="11444" y="7616"/>
                </a:lnTo>
                <a:lnTo>
                  <a:pt x="11443" y="7616"/>
                </a:lnTo>
                <a:lnTo>
                  <a:pt x="11442" y="7616"/>
                </a:lnTo>
                <a:lnTo>
                  <a:pt x="11443" y="7616"/>
                </a:lnTo>
                <a:lnTo>
                  <a:pt x="11443" y="7616"/>
                </a:lnTo>
                <a:close/>
                <a:moveTo>
                  <a:pt x="11476" y="7619"/>
                </a:moveTo>
                <a:lnTo>
                  <a:pt x="11476" y="7619"/>
                </a:lnTo>
                <a:lnTo>
                  <a:pt x="11475" y="7619"/>
                </a:lnTo>
                <a:lnTo>
                  <a:pt x="11467" y="7614"/>
                </a:lnTo>
                <a:lnTo>
                  <a:pt x="11459" y="7612"/>
                </a:lnTo>
                <a:lnTo>
                  <a:pt x="11452" y="7612"/>
                </a:lnTo>
                <a:lnTo>
                  <a:pt x="11444" y="7616"/>
                </a:lnTo>
                <a:lnTo>
                  <a:pt x="11459" y="7618"/>
                </a:lnTo>
                <a:lnTo>
                  <a:pt x="11475" y="7619"/>
                </a:lnTo>
                <a:lnTo>
                  <a:pt x="11476" y="7619"/>
                </a:lnTo>
                <a:lnTo>
                  <a:pt x="11476" y="7619"/>
                </a:lnTo>
                <a:close/>
                <a:moveTo>
                  <a:pt x="11909" y="6803"/>
                </a:moveTo>
                <a:lnTo>
                  <a:pt x="11914" y="6803"/>
                </a:lnTo>
                <a:lnTo>
                  <a:pt x="11912" y="6802"/>
                </a:lnTo>
                <a:lnTo>
                  <a:pt x="11910" y="6800"/>
                </a:lnTo>
                <a:lnTo>
                  <a:pt x="11910" y="6802"/>
                </a:lnTo>
                <a:lnTo>
                  <a:pt x="11909" y="6803"/>
                </a:lnTo>
                <a:close/>
                <a:moveTo>
                  <a:pt x="11620" y="7409"/>
                </a:moveTo>
                <a:lnTo>
                  <a:pt x="11617" y="7407"/>
                </a:lnTo>
                <a:lnTo>
                  <a:pt x="11615" y="7407"/>
                </a:lnTo>
                <a:lnTo>
                  <a:pt x="11611" y="7407"/>
                </a:lnTo>
                <a:lnTo>
                  <a:pt x="11608" y="7409"/>
                </a:lnTo>
                <a:lnTo>
                  <a:pt x="11611" y="7411"/>
                </a:lnTo>
                <a:lnTo>
                  <a:pt x="11615" y="7411"/>
                </a:lnTo>
                <a:lnTo>
                  <a:pt x="11617" y="7410"/>
                </a:lnTo>
                <a:lnTo>
                  <a:pt x="11620" y="7409"/>
                </a:lnTo>
                <a:close/>
                <a:moveTo>
                  <a:pt x="11433" y="7815"/>
                </a:moveTo>
                <a:lnTo>
                  <a:pt x="11431" y="7817"/>
                </a:lnTo>
                <a:lnTo>
                  <a:pt x="11431" y="7817"/>
                </a:lnTo>
                <a:lnTo>
                  <a:pt x="11434" y="7819"/>
                </a:lnTo>
                <a:lnTo>
                  <a:pt x="11435" y="7819"/>
                </a:lnTo>
                <a:lnTo>
                  <a:pt x="11433" y="7815"/>
                </a:lnTo>
                <a:close/>
                <a:moveTo>
                  <a:pt x="11701" y="7358"/>
                </a:moveTo>
                <a:lnTo>
                  <a:pt x="11705" y="7358"/>
                </a:lnTo>
                <a:lnTo>
                  <a:pt x="11709" y="7358"/>
                </a:lnTo>
                <a:lnTo>
                  <a:pt x="11712" y="7357"/>
                </a:lnTo>
                <a:lnTo>
                  <a:pt x="11712" y="7354"/>
                </a:lnTo>
                <a:lnTo>
                  <a:pt x="11708" y="7353"/>
                </a:lnTo>
                <a:lnTo>
                  <a:pt x="11704" y="7353"/>
                </a:lnTo>
                <a:lnTo>
                  <a:pt x="11703" y="7354"/>
                </a:lnTo>
                <a:lnTo>
                  <a:pt x="11701" y="7358"/>
                </a:lnTo>
                <a:close/>
                <a:moveTo>
                  <a:pt x="11695" y="7428"/>
                </a:moveTo>
                <a:lnTo>
                  <a:pt x="11696" y="7430"/>
                </a:lnTo>
                <a:lnTo>
                  <a:pt x="11698" y="7430"/>
                </a:lnTo>
                <a:lnTo>
                  <a:pt x="11699" y="7429"/>
                </a:lnTo>
                <a:lnTo>
                  <a:pt x="11700" y="7428"/>
                </a:lnTo>
                <a:lnTo>
                  <a:pt x="11695" y="7428"/>
                </a:lnTo>
                <a:close/>
                <a:moveTo>
                  <a:pt x="11412" y="8020"/>
                </a:moveTo>
                <a:lnTo>
                  <a:pt x="11411" y="8021"/>
                </a:lnTo>
                <a:lnTo>
                  <a:pt x="11412" y="8020"/>
                </a:lnTo>
                <a:lnTo>
                  <a:pt x="11411" y="8021"/>
                </a:lnTo>
                <a:lnTo>
                  <a:pt x="11412" y="8020"/>
                </a:lnTo>
                <a:close/>
                <a:moveTo>
                  <a:pt x="11546" y="7745"/>
                </a:moveTo>
                <a:lnTo>
                  <a:pt x="11547" y="7744"/>
                </a:lnTo>
                <a:lnTo>
                  <a:pt x="11547" y="7742"/>
                </a:lnTo>
                <a:lnTo>
                  <a:pt x="11550" y="7732"/>
                </a:lnTo>
                <a:lnTo>
                  <a:pt x="11551" y="7723"/>
                </a:lnTo>
                <a:lnTo>
                  <a:pt x="11547" y="7717"/>
                </a:lnTo>
                <a:lnTo>
                  <a:pt x="11536" y="7714"/>
                </a:lnTo>
                <a:lnTo>
                  <a:pt x="11527" y="7721"/>
                </a:lnTo>
                <a:lnTo>
                  <a:pt x="11529" y="7727"/>
                </a:lnTo>
                <a:lnTo>
                  <a:pt x="11538" y="7735"/>
                </a:lnTo>
                <a:lnTo>
                  <a:pt x="11547" y="7742"/>
                </a:lnTo>
                <a:lnTo>
                  <a:pt x="11546" y="7744"/>
                </a:lnTo>
                <a:lnTo>
                  <a:pt x="11546" y="7745"/>
                </a:lnTo>
                <a:lnTo>
                  <a:pt x="11543" y="7747"/>
                </a:lnTo>
                <a:lnTo>
                  <a:pt x="11541" y="7750"/>
                </a:lnTo>
                <a:lnTo>
                  <a:pt x="11541" y="7754"/>
                </a:lnTo>
                <a:lnTo>
                  <a:pt x="11546" y="7759"/>
                </a:lnTo>
                <a:lnTo>
                  <a:pt x="11546" y="7751"/>
                </a:lnTo>
                <a:lnTo>
                  <a:pt x="11546" y="7745"/>
                </a:lnTo>
                <a:close/>
                <a:moveTo>
                  <a:pt x="11622" y="7807"/>
                </a:moveTo>
                <a:lnTo>
                  <a:pt x="11625" y="7807"/>
                </a:lnTo>
                <a:lnTo>
                  <a:pt x="11626" y="7806"/>
                </a:lnTo>
                <a:lnTo>
                  <a:pt x="11628" y="7805"/>
                </a:lnTo>
                <a:lnTo>
                  <a:pt x="11629" y="7803"/>
                </a:lnTo>
                <a:lnTo>
                  <a:pt x="11626" y="7803"/>
                </a:lnTo>
                <a:lnTo>
                  <a:pt x="11622" y="7803"/>
                </a:lnTo>
                <a:lnTo>
                  <a:pt x="11621" y="7805"/>
                </a:lnTo>
                <a:lnTo>
                  <a:pt x="11622" y="7807"/>
                </a:lnTo>
                <a:close/>
                <a:moveTo>
                  <a:pt x="11765" y="7626"/>
                </a:moveTo>
                <a:lnTo>
                  <a:pt x="11766" y="7624"/>
                </a:lnTo>
                <a:lnTo>
                  <a:pt x="11764" y="7623"/>
                </a:lnTo>
                <a:lnTo>
                  <a:pt x="11760" y="7623"/>
                </a:lnTo>
                <a:lnTo>
                  <a:pt x="11760" y="7625"/>
                </a:lnTo>
                <a:lnTo>
                  <a:pt x="11763" y="7626"/>
                </a:lnTo>
                <a:lnTo>
                  <a:pt x="11765" y="7626"/>
                </a:lnTo>
                <a:close/>
                <a:moveTo>
                  <a:pt x="11765" y="7654"/>
                </a:moveTo>
                <a:lnTo>
                  <a:pt x="11764" y="7657"/>
                </a:lnTo>
                <a:lnTo>
                  <a:pt x="11765" y="7657"/>
                </a:lnTo>
                <a:lnTo>
                  <a:pt x="11766" y="7657"/>
                </a:lnTo>
                <a:lnTo>
                  <a:pt x="11768" y="7657"/>
                </a:lnTo>
                <a:lnTo>
                  <a:pt x="11765" y="7654"/>
                </a:lnTo>
                <a:close/>
                <a:moveTo>
                  <a:pt x="11639" y="8124"/>
                </a:moveTo>
                <a:lnTo>
                  <a:pt x="11642" y="8124"/>
                </a:lnTo>
                <a:lnTo>
                  <a:pt x="11643" y="8123"/>
                </a:lnTo>
                <a:lnTo>
                  <a:pt x="11643" y="8122"/>
                </a:lnTo>
                <a:lnTo>
                  <a:pt x="11642" y="8120"/>
                </a:lnTo>
                <a:lnTo>
                  <a:pt x="11640" y="8120"/>
                </a:lnTo>
                <a:lnTo>
                  <a:pt x="11639" y="8122"/>
                </a:lnTo>
                <a:lnTo>
                  <a:pt x="11638" y="8123"/>
                </a:lnTo>
                <a:lnTo>
                  <a:pt x="11639" y="8124"/>
                </a:lnTo>
                <a:close/>
                <a:moveTo>
                  <a:pt x="11617" y="9253"/>
                </a:moveTo>
                <a:lnTo>
                  <a:pt x="11622" y="9252"/>
                </a:lnTo>
                <a:lnTo>
                  <a:pt x="11620" y="9251"/>
                </a:lnTo>
                <a:lnTo>
                  <a:pt x="11619" y="9251"/>
                </a:lnTo>
                <a:lnTo>
                  <a:pt x="11617" y="9251"/>
                </a:lnTo>
                <a:lnTo>
                  <a:pt x="11617" y="9253"/>
                </a:lnTo>
                <a:close/>
                <a:moveTo>
                  <a:pt x="11709" y="9210"/>
                </a:moveTo>
                <a:lnTo>
                  <a:pt x="11714" y="9210"/>
                </a:lnTo>
                <a:lnTo>
                  <a:pt x="11713" y="9209"/>
                </a:lnTo>
                <a:lnTo>
                  <a:pt x="11712" y="9207"/>
                </a:lnTo>
                <a:lnTo>
                  <a:pt x="11710" y="9209"/>
                </a:lnTo>
                <a:lnTo>
                  <a:pt x="11709" y="9210"/>
                </a:lnTo>
                <a:close/>
                <a:moveTo>
                  <a:pt x="11513" y="9725"/>
                </a:moveTo>
                <a:lnTo>
                  <a:pt x="11517" y="9728"/>
                </a:lnTo>
                <a:lnTo>
                  <a:pt x="11517" y="9725"/>
                </a:lnTo>
                <a:lnTo>
                  <a:pt x="11515" y="9725"/>
                </a:lnTo>
                <a:lnTo>
                  <a:pt x="11514" y="9725"/>
                </a:lnTo>
                <a:lnTo>
                  <a:pt x="11513" y="9725"/>
                </a:lnTo>
                <a:close/>
                <a:moveTo>
                  <a:pt x="11296" y="10391"/>
                </a:moveTo>
                <a:lnTo>
                  <a:pt x="11299" y="10391"/>
                </a:lnTo>
                <a:lnTo>
                  <a:pt x="11302" y="10390"/>
                </a:lnTo>
                <a:lnTo>
                  <a:pt x="11302" y="10387"/>
                </a:lnTo>
                <a:lnTo>
                  <a:pt x="11302" y="10384"/>
                </a:lnTo>
                <a:lnTo>
                  <a:pt x="11298" y="10385"/>
                </a:lnTo>
                <a:lnTo>
                  <a:pt x="11296" y="10386"/>
                </a:lnTo>
                <a:lnTo>
                  <a:pt x="11295" y="10389"/>
                </a:lnTo>
                <a:lnTo>
                  <a:pt x="11296" y="10391"/>
                </a:lnTo>
                <a:close/>
                <a:moveTo>
                  <a:pt x="11624" y="9193"/>
                </a:moveTo>
                <a:lnTo>
                  <a:pt x="11625" y="9198"/>
                </a:lnTo>
                <a:lnTo>
                  <a:pt x="11629" y="9200"/>
                </a:lnTo>
                <a:lnTo>
                  <a:pt x="11633" y="9200"/>
                </a:lnTo>
                <a:lnTo>
                  <a:pt x="11636" y="9198"/>
                </a:lnTo>
                <a:lnTo>
                  <a:pt x="11636" y="9195"/>
                </a:lnTo>
                <a:lnTo>
                  <a:pt x="11633" y="9192"/>
                </a:lnTo>
                <a:lnTo>
                  <a:pt x="11628" y="9192"/>
                </a:lnTo>
                <a:lnTo>
                  <a:pt x="11624" y="9193"/>
                </a:lnTo>
                <a:close/>
                <a:moveTo>
                  <a:pt x="11749" y="6051"/>
                </a:moveTo>
                <a:lnTo>
                  <a:pt x="11745" y="6058"/>
                </a:lnTo>
                <a:lnTo>
                  <a:pt x="11747" y="6062"/>
                </a:lnTo>
                <a:lnTo>
                  <a:pt x="11754" y="6067"/>
                </a:lnTo>
                <a:lnTo>
                  <a:pt x="11760" y="6071"/>
                </a:lnTo>
                <a:lnTo>
                  <a:pt x="11763" y="6063"/>
                </a:lnTo>
                <a:lnTo>
                  <a:pt x="11761" y="6057"/>
                </a:lnTo>
                <a:lnTo>
                  <a:pt x="11756" y="6053"/>
                </a:lnTo>
                <a:lnTo>
                  <a:pt x="11749" y="6051"/>
                </a:lnTo>
                <a:close/>
                <a:moveTo>
                  <a:pt x="11777" y="4212"/>
                </a:moveTo>
                <a:lnTo>
                  <a:pt x="11779" y="4214"/>
                </a:lnTo>
                <a:lnTo>
                  <a:pt x="11782" y="4216"/>
                </a:lnTo>
                <a:lnTo>
                  <a:pt x="11784" y="4216"/>
                </a:lnTo>
                <a:lnTo>
                  <a:pt x="11787" y="4214"/>
                </a:lnTo>
                <a:lnTo>
                  <a:pt x="11784" y="4212"/>
                </a:lnTo>
                <a:lnTo>
                  <a:pt x="11782" y="4210"/>
                </a:lnTo>
                <a:lnTo>
                  <a:pt x="11779" y="4210"/>
                </a:lnTo>
                <a:lnTo>
                  <a:pt x="11777" y="4212"/>
                </a:lnTo>
                <a:close/>
                <a:moveTo>
                  <a:pt x="11667" y="8352"/>
                </a:moveTo>
                <a:lnTo>
                  <a:pt x="11664" y="8349"/>
                </a:lnTo>
                <a:lnTo>
                  <a:pt x="11662" y="8348"/>
                </a:lnTo>
                <a:lnTo>
                  <a:pt x="11659" y="8347"/>
                </a:lnTo>
                <a:lnTo>
                  <a:pt x="11657" y="8348"/>
                </a:lnTo>
                <a:lnTo>
                  <a:pt x="11657" y="8353"/>
                </a:lnTo>
                <a:lnTo>
                  <a:pt x="11659" y="8355"/>
                </a:lnTo>
                <a:lnTo>
                  <a:pt x="11663" y="8353"/>
                </a:lnTo>
                <a:lnTo>
                  <a:pt x="11667" y="8352"/>
                </a:lnTo>
                <a:close/>
                <a:moveTo>
                  <a:pt x="11826" y="6430"/>
                </a:moveTo>
                <a:lnTo>
                  <a:pt x="11827" y="6432"/>
                </a:lnTo>
                <a:lnTo>
                  <a:pt x="11829" y="6435"/>
                </a:lnTo>
                <a:lnTo>
                  <a:pt x="11831" y="6435"/>
                </a:lnTo>
                <a:lnTo>
                  <a:pt x="11835" y="6435"/>
                </a:lnTo>
                <a:lnTo>
                  <a:pt x="11834" y="6432"/>
                </a:lnTo>
                <a:lnTo>
                  <a:pt x="11831" y="6430"/>
                </a:lnTo>
                <a:lnTo>
                  <a:pt x="11830" y="6429"/>
                </a:lnTo>
                <a:lnTo>
                  <a:pt x="11826" y="6430"/>
                </a:lnTo>
                <a:close/>
                <a:moveTo>
                  <a:pt x="11755" y="2078"/>
                </a:moveTo>
                <a:lnTo>
                  <a:pt x="11756" y="2082"/>
                </a:lnTo>
                <a:lnTo>
                  <a:pt x="11757" y="2083"/>
                </a:lnTo>
                <a:lnTo>
                  <a:pt x="11760" y="2084"/>
                </a:lnTo>
                <a:lnTo>
                  <a:pt x="11764" y="2084"/>
                </a:lnTo>
                <a:lnTo>
                  <a:pt x="11763" y="2082"/>
                </a:lnTo>
                <a:lnTo>
                  <a:pt x="11760" y="2079"/>
                </a:lnTo>
                <a:lnTo>
                  <a:pt x="11757" y="2078"/>
                </a:lnTo>
                <a:lnTo>
                  <a:pt x="11755" y="2078"/>
                </a:lnTo>
                <a:close/>
                <a:moveTo>
                  <a:pt x="11838" y="5214"/>
                </a:moveTo>
                <a:lnTo>
                  <a:pt x="11840" y="5214"/>
                </a:lnTo>
                <a:lnTo>
                  <a:pt x="11838" y="5214"/>
                </a:lnTo>
                <a:lnTo>
                  <a:pt x="11847" y="5221"/>
                </a:lnTo>
                <a:lnTo>
                  <a:pt x="11838" y="5214"/>
                </a:lnTo>
                <a:close/>
                <a:moveTo>
                  <a:pt x="11850" y="5224"/>
                </a:moveTo>
                <a:lnTo>
                  <a:pt x="11850" y="5224"/>
                </a:lnTo>
                <a:lnTo>
                  <a:pt x="11850" y="5224"/>
                </a:lnTo>
                <a:lnTo>
                  <a:pt x="11852" y="5224"/>
                </a:lnTo>
                <a:lnTo>
                  <a:pt x="11852" y="5224"/>
                </a:lnTo>
                <a:lnTo>
                  <a:pt x="11852" y="5224"/>
                </a:lnTo>
                <a:lnTo>
                  <a:pt x="11852" y="5223"/>
                </a:lnTo>
                <a:lnTo>
                  <a:pt x="11850" y="5223"/>
                </a:lnTo>
                <a:lnTo>
                  <a:pt x="11850" y="5223"/>
                </a:lnTo>
                <a:lnTo>
                  <a:pt x="11850" y="5224"/>
                </a:lnTo>
                <a:close/>
                <a:moveTo>
                  <a:pt x="11620" y="7337"/>
                </a:moveTo>
                <a:lnTo>
                  <a:pt x="11628" y="7341"/>
                </a:lnTo>
                <a:lnTo>
                  <a:pt x="11634" y="7341"/>
                </a:lnTo>
                <a:lnTo>
                  <a:pt x="11642" y="7341"/>
                </a:lnTo>
                <a:lnTo>
                  <a:pt x="11648" y="7340"/>
                </a:lnTo>
                <a:lnTo>
                  <a:pt x="11649" y="7341"/>
                </a:lnTo>
                <a:lnTo>
                  <a:pt x="11648" y="7340"/>
                </a:lnTo>
                <a:lnTo>
                  <a:pt x="11649" y="7340"/>
                </a:lnTo>
                <a:lnTo>
                  <a:pt x="11648" y="7340"/>
                </a:lnTo>
                <a:lnTo>
                  <a:pt x="11642" y="7339"/>
                </a:lnTo>
                <a:lnTo>
                  <a:pt x="11635" y="7336"/>
                </a:lnTo>
                <a:lnTo>
                  <a:pt x="11628" y="7335"/>
                </a:lnTo>
                <a:lnTo>
                  <a:pt x="11620" y="7337"/>
                </a:lnTo>
                <a:close/>
                <a:moveTo>
                  <a:pt x="11505" y="7618"/>
                </a:moveTo>
                <a:lnTo>
                  <a:pt x="11505" y="7619"/>
                </a:lnTo>
                <a:lnTo>
                  <a:pt x="11507" y="7619"/>
                </a:lnTo>
                <a:lnTo>
                  <a:pt x="11507" y="7619"/>
                </a:lnTo>
                <a:lnTo>
                  <a:pt x="11505" y="7618"/>
                </a:lnTo>
                <a:close/>
                <a:moveTo>
                  <a:pt x="11500" y="7612"/>
                </a:moveTo>
                <a:lnTo>
                  <a:pt x="11493" y="7607"/>
                </a:lnTo>
                <a:lnTo>
                  <a:pt x="11487" y="7606"/>
                </a:lnTo>
                <a:lnTo>
                  <a:pt x="11482" y="7607"/>
                </a:lnTo>
                <a:lnTo>
                  <a:pt x="11479" y="7612"/>
                </a:lnTo>
                <a:lnTo>
                  <a:pt x="11480" y="7618"/>
                </a:lnTo>
                <a:lnTo>
                  <a:pt x="11493" y="7619"/>
                </a:lnTo>
                <a:lnTo>
                  <a:pt x="11503" y="7618"/>
                </a:lnTo>
                <a:lnTo>
                  <a:pt x="11500" y="7612"/>
                </a:lnTo>
                <a:close/>
                <a:moveTo>
                  <a:pt x="11587" y="7322"/>
                </a:moveTo>
                <a:lnTo>
                  <a:pt x="11588" y="7323"/>
                </a:lnTo>
                <a:lnTo>
                  <a:pt x="11591" y="7325"/>
                </a:lnTo>
                <a:lnTo>
                  <a:pt x="11593" y="7323"/>
                </a:lnTo>
                <a:lnTo>
                  <a:pt x="11596" y="7322"/>
                </a:lnTo>
                <a:lnTo>
                  <a:pt x="11593" y="7321"/>
                </a:lnTo>
                <a:lnTo>
                  <a:pt x="11591" y="7320"/>
                </a:lnTo>
                <a:lnTo>
                  <a:pt x="11588" y="7320"/>
                </a:lnTo>
                <a:lnTo>
                  <a:pt x="11587" y="7322"/>
                </a:lnTo>
                <a:close/>
                <a:moveTo>
                  <a:pt x="11735" y="8609"/>
                </a:moveTo>
                <a:lnTo>
                  <a:pt x="11738" y="8599"/>
                </a:lnTo>
                <a:lnTo>
                  <a:pt x="11735" y="8598"/>
                </a:lnTo>
                <a:lnTo>
                  <a:pt x="11727" y="8601"/>
                </a:lnTo>
                <a:lnTo>
                  <a:pt x="11724" y="8608"/>
                </a:lnTo>
                <a:lnTo>
                  <a:pt x="11731" y="8609"/>
                </a:lnTo>
                <a:lnTo>
                  <a:pt x="11735" y="8609"/>
                </a:lnTo>
                <a:close/>
                <a:moveTo>
                  <a:pt x="11430" y="7632"/>
                </a:moveTo>
                <a:lnTo>
                  <a:pt x="11435" y="7629"/>
                </a:lnTo>
                <a:lnTo>
                  <a:pt x="11439" y="7626"/>
                </a:lnTo>
                <a:lnTo>
                  <a:pt x="11442" y="7623"/>
                </a:lnTo>
                <a:lnTo>
                  <a:pt x="11442" y="7618"/>
                </a:lnTo>
                <a:lnTo>
                  <a:pt x="11442" y="7616"/>
                </a:lnTo>
                <a:lnTo>
                  <a:pt x="11442" y="7618"/>
                </a:lnTo>
                <a:lnTo>
                  <a:pt x="11437" y="7620"/>
                </a:lnTo>
                <a:lnTo>
                  <a:pt x="11431" y="7623"/>
                </a:lnTo>
                <a:lnTo>
                  <a:pt x="11428" y="7625"/>
                </a:lnTo>
                <a:lnTo>
                  <a:pt x="11430" y="7632"/>
                </a:lnTo>
                <a:close/>
                <a:moveTo>
                  <a:pt x="11442" y="7618"/>
                </a:moveTo>
                <a:lnTo>
                  <a:pt x="11443" y="7618"/>
                </a:lnTo>
                <a:lnTo>
                  <a:pt x="11442" y="7618"/>
                </a:lnTo>
                <a:close/>
                <a:moveTo>
                  <a:pt x="11600" y="5810"/>
                </a:moveTo>
                <a:lnTo>
                  <a:pt x="11587" y="5815"/>
                </a:lnTo>
                <a:lnTo>
                  <a:pt x="11575" y="5820"/>
                </a:lnTo>
                <a:lnTo>
                  <a:pt x="11583" y="5820"/>
                </a:lnTo>
                <a:lnTo>
                  <a:pt x="11589" y="5819"/>
                </a:lnTo>
                <a:lnTo>
                  <a:pt x="11596" y="5816"/>
                </a:lnTo>
                <a:lnTo>
                  <a:pt x="11600" y="5810"/>
                </a:lnTo>
                <a:close/>
                <a:moveTo>
                  <a:pt x="11857" y="5366"/>
                </a:moveTo>
                <a:lnTo>
                  <a:pt x="11836" y="5378"/>
                </a:lnTo>
                <a:lnTo>
                  <a:pt x="11827" y="5392"/>
                </a:lnTo>
                <a:lnTo>
                  <a:pt x="11830" y="5406"/>
                </a:lnTo>
                <a:lnTo>
                  <a:pt x="11844" y="5424"/>
                </a:lnTo>
                <a:lnTo>
                  <a:pt x="11857" y="5409"/>
                </a:lnTo>
                <a:lnTo>
                  <a:pt x="11871" y="5395"/>
                </a:lnTo>
                <a:lnTo>
                  <a:pt x="11876" y="5381"/>
                </a:lnTo>
                <a:lnTo>
                  <a:pt x="11857" y="5366"/>
                </a:lnTo>
                <a:close/>
                <a:moveTo>
                  <a:pt x="11796" y="5399"/>
                </a:moveTo>
                <a:lnTo>
                  <a:pt x="11801" y="5401"/>
                </a:lnTo>
                <a:lnTo>
                  <a:pt x="11807" y="5400"/>
                </a:lnTo>
                <a:lnTo>
                  <a:pt x="11815" y="5399"/>
                </a:lnTo>
                <a:lnTo>
                  <a:pt x="11821" y="5398"/>
                </a:lnTo>
                <a:lnTo>
                  <a:pt x="11813" y="5396"/>
                </a:lnTo>
                <a:lnTo>
                  <a:pt x="11806" y="5394"/>
                </a:lnTo>
                <a:lnTo>
                  <a:pt x="11799" y="5394"/>
                </a:lnTo>
                <a:lnTo>
                  <a:pt x="11796" y="5399"/>
                </a:lnTo>
                <a:close/>
                <a:moveTo>
                  <a:pt x="11754" y="8241"/>
                </a:moveTo>
                <a:lnTo>
                  <a:pt x="11752" y="8241"/>
                </a:lnTo>
                <a:lnTo>
                  <a:pt x="11751" y="8241"/>
                </a:lnTo>
                <a:lnTo>
                  <a:pt x="11752" y="8241"/>
                </a:lnTo>
                <a:lnTo>
                  <a:pt x="11754" y="8241"/>
                </a:lnTo>
                <a:close/>
                <a:moveTo>
                  <a:pt x="11770" y="8227"/>
                </a:moveTo>
                <a:lnTo>
                  <a:pt x="11769" y="8232"/>
                </a:lnTo>
                <a:lnTo>
                  <a:pt x="11769" y="8234"/>
                </a:lnTo>
                <a:lnTo>
                  <a:pt x="11770" y="8231"/>
                </a:lnTo>
                <a:lnTo>
                  <a:pt x="11770" y="8227"/>
                </a:lnTo>
                <a:lnTo>
                  <a:pt x="11761" y="8227"/>
                </a:lnTo>
                <a:lnTo>
                  <a:pt x="11756" y="8232"/>
                </a:lnTo>
                <a:lnTo>
                  <a:pt x="11759" y="8235"/>
                </a:lnTo>
                <a:lnTo>
                  <a:pt x="11770" y="8227"/>
                </a:lnTo>
                <a:close/>
                <a:moveTo>
                  <a:pt x="11493" y="10373"/>
                </a:moveTo>
                <a:lnTo>
                  <a:pt x="11490" y="10384"/>
                </a:lnTo>
                <a:lnTo>
                  <a:pt x="11487" y="10395"/>
                </a:lnTo>
                <a:lnTo>
                  <a:pt x="11498" y="10389"/>
                </a:lnTo>
                <a:lnTo>
                  <a:pt x="11500" y="10384"/>
                </a:lnTo>
                <a:lnTo>
                  <a:pt x="11499" y="10378"/>
                </a:lnTo>
                <a:lnTo>
                  <a:pt x="11493" y="10373"/>
                </a:lnTo>
                <a:close/>
                <a:moveTo>
                  <a:pt x="11607" y="9318"/>
                </a:moveTo>
                <a:lnTo>
                  <a:pt x="11610" y="9319"/>
                </a:lnTo>
                <a:lnTo>
                  <a:pt x="11611" y="9318"/>
                </a:lnTo>
                <a:lnTo>
                  <a:pt x="11612" y="9316"/>
                </a:lnTo>
                <a:lnTo>
                  <a:pt x="11614" y="9313"/>
                </a:lnTo>
                <a:lnTo>
                  <a:pt x="11611" y="9314"/>
                </a:lnTo>
                <a:lnTo>
                  <a:pt x="11608" y="9314"/>
                </a:lnTo>
                <a:lnTo>
                  <a:pt x="11607" y="9316"/>
                </a:lnTo>
                <a:lnTo>
                  <a:pt x="11607" y="9318"/>
                </a:lnTo>
                <a:close/>
                <a:moveTo>
                  <a:pt x="11905" y="5242"/>
                </a:moveTo>
                <a:lnTo>
                  <a:pt x="11908" y="5241"/>
                </a:lnTo>
                <a:lnTo>
                  <a:pt x="11909" y="5240"/>
                </a:lnTo>
                <a:lnTo>
                  <a:pt x="11908" y="5238"/>
                </a:lnTo>
                <a:lnTo>
                  <a:pt x="11906" y="5236"/>
                </a:lnTo>
                <a:lnTo>
                  <a:pt x="11903" y="5238"/>
                </a:lnTo>
                <a:lnTo>
                  <a:pt x="11901" y="5240"/>
                </a:lnTo>
                <a:lnTo>
                  <a:pt x="11901" y="5241"/>
                </a:lnTo>
                <a:lnTo>
                  <a:pt x="11905" y="5242"/>
                </a:lnTo>
                <a:close/>
                <a:moveTo>
                  <a:pt x="11625" y="5154"/>
                </a:moveTo>
                <a:lnTo>
                  <a:pt x="11620" y="5154"/>
                </a:lnTo>
                <a:lnTo>
                  <a:pt x="11616" y="5156"/>
                </a:lnTo>
                <a:lnTo>
                  <a:pt x="11615" y="5158"/>
                </a:lnTo>
                <a:lnTo>
                  <a:pt x="11617" y="5163"/>
                </a:lnTo>
                <a:lnTo>
                  <a:pt x="11622" y="5163"/>
                </a:lnTo>
                <a:lnTo>
                  <a:pt x="11626" y="5162"/>
                </a:lnTo>
                <a:lnTo>
                  <a:pt x="11628" y="5160"/>
                </a:lnTo>
                <a:lnTo>
                  <a:pt x="11625" y="5154"/>
                </a:lnTo>
                <a:close/>
                <a:moveTo>
                  <a:pt x="11662" y="7638"/>
                </a:moveTo>
                <a:lnTo>
                  <a:pt x="11662" y="7635"/>
                </a:lnTo>
                <a:lnTo>
                  <a:pt x="11661" y="7634"/>
                </a:lnTo>
                <a:lnTo>
                  <a:pt x="11658" y="7634"/>
                </a:lnTo>
                <a:lnTo>
                  <a:pt x="11656" y="7634"/>
                </a:lnTo>
                <a:lnTo>
                  <a:pt x="11656" y="7637"/>
                </a:lnTo>
                <a:lnTo>
                  <a:pt x="11657" y="7638"/>
                </a:lnTo>
                <a:lnTo>
                  <a:pt x="11659" y="7638"/>
                </a:lnTo>
                <a:lnTo>
                  <a:pt x="11662" y="7638"/>
                </a:lnTo>
                <a:close/>
                <a:moveTo>
                  <a:pt x="11831" y="6347"/>
                </a:moveTo>
                <a:lnTo>
                  <a:pt x="11826" y="6346"/>
                </a:lnTo>
                <a:lnTo>
                  <a:pt x="11820" y="6346"/>
                </a:lnTo>
                <a:lnTo>
                  <a:pt x="11821" y="6352"/>
                </a:lnTo>
                <a:lnTo>
                  <a:pt x="11827" y="6355"/>
                </a:lnTo>
                <a:lnTo>
                  <a:pt x="11833" y="6352"/>
                </a:lnTo>
                <a:lnTo>
                  <a:pt x="11831" y="6347"/>
                </a:lnTo>
                <a:close/>
                <a:moveTo>
                  <a:pt x="11523" y="7881"/>
                </a:moveTo>
                <a:lnTo>
                  <a:pt x="11527" y="7882"/>
                </a:lnTo>
                <a:lnTo>
                  <a:pt x="11529" y="7881"/>
                </a:lnTo>
                <a:lnTo>
                  <a:pt x="11531" y="7878"/>
                </a:lnTo>
                <a:lnTo>
                  <a:pt x="11532" y="7875"/>
                </a:lnTo>
                <a:lnTo>
                  <a:pt x="11527" y="7875"/>
                </a:lnTo>
                <a:lnTo>
                  <a:pt x="11524" y="7875"/>
                </a:lnTo>
                <a:lnTo>
                  <a:pt x="11522" y="7877"/>
                </a:lnTo>
                <a:lnTo>
                  <a:pt x="11523" y="7881"/>
                </a:lnTo>
                <a:close/>
                <a:moveTo>
                  <a:pt x="11735" y="6278"/>
                </a:moveTo>
                <a:lnTo>
                  <a:pt x="11733" y="6283"/>
                </a:lnTo>
                <a:lnTo>
                  <a:pt x="11736" y="6286"/>
                </a:lnTo>
                <a:lnTo>
                  <a:pt x="11740" y="6285"/>
                </a:lnTo>
                <a:lnTo>
                  <a:pt x="11740" y="6278"/>
                </a:lnTo>
                <a:lnTo>
                  <a:pt x="11736" y="6278"/>
                </a:lnTo>
                <a:lnTo>
                  <a:pt x="11735" y="6278"/>
                </a:lnTo>
                <a:close/>
                <a:moveTo>
                  <a:pt x="11658" y="5857"/>
                </a:moveTo>
                <a:lnTo>
                  <a:pt x="11661" y="5858"/>
                </a:lnTo>
                <a:lnTo>
                  <a:pt x="11663" y="5858"/>
                </a:lnTo>
                <a:lnTo>
                  <a:pt x="11663" y="5856"/>
                </a:lnTo>
                <a:lnTo>
                  <a:pt x="11659" y="5855"/>
                </a:lnTo>
                <a:lnTo>
                  <a:pt x="11657" y="5855"/>
                </a:lnTo>
                <a:lnTo>
                  <a:pt x="11658" y="5857"/>
                </a:lnTo>
                <a:close/>
                <a:moveTo>
                  <a:pt x="11489" y="7805"/>
                </a:moveTo>
                <a:lnTo>
                  <a:pt x="11494" y="7805"/>
                </a:lnTo>
                <a:lnTo>
                  <a:pt x="11496" y="7802"/>
                </a:lnTo>
                <a:lnTo>
                  <a:pt x="11495" y="7801"/>
                </a:lnTo>
                <a:lnTo>
                  <a:pt x="11490" y="7797"/>
                </a:lnTo>
                <a:lnTo>
                  <a:pt x="11486" y="7798"/>
                </a:lnTo>
                <a:lnTo>
                  <a:pt x="11486" y="7800"/>
                </a:lnTo>
                <a:lnTo>
                  <a:pt x="11486" y="7802"/>
                </a:lnTo>
                <a:lnTo>
                  <a:pt x="11489" y="7805"/>
                </a:lnTo>
                <a:close/>
                <a:moveTo>
                  <a:pt x="11538" y="7246"/>
                </a:moveTo>
                <a:lnTo>
                  <a:pt x="11542" y="7246"/>
                </a:lnTo>
                <a:lnTo>
                  <a:pt x="11546" y="7247"/>
                </a:lnTo>
                <a:lnTo>
                  <a:pt x="11550" y="7247"/>
                </a:lnTo>
                <a:lnTo>
                  <a:pt x="11551" y="7243"/>
                </a:lnTo>
                <a:lnTo>
                  <a:pt x="11547" y="7243"/>
                </a:lnTo>
                <a:lnTo>
                  <a:pt x="11542" y="7242"/>
                </a:lnTo>
                <a:lnTo>
                  <a:pt x="11540" y="7243"/>
                </a:lnTo>
                <a:lnTo>
                  <a:pt x="11538" y="7246"/>
                </a:lnTo>
                <a:close/>
                <a:moveTo>
                  <a:pt x="11633" y="4946"/>
                </a:moveTo>
                <a:lnTo>
                  <a:pt x="11635" y="4947"/>
                </a:lnTo>
                <a:lnTo>
                  <a:pt x="11638" y="4946"/>
                </a:lnTo>
                <a:lnTo>
                  <a:pt x="11638" y="4944"/>
                </a:lnTo>
                <a:lnTo>
                  <a:pt x="11638" y="4941"/>
                </a:lnTo>
                <a:lnTo>
                  <a:pt x="11635" y="4939"/>
                </a:lnTo>
                <a:lnTo>
                  <a:pt x="11633" y="4941"/>
                </a:lnTo>
                <a:lnTo>
                  <a:pt x="11631" y="4943"/>
                </a:lnTo>
                <a:lnTo>
                  <a:pt x="11633" y="4946"/>
                </a:lnTo>
                <a:close/>
                <a:moveTo>
                  <a:pt x="11496" y="6887"/>
                </a:moveTo>
                <a:lnTo>
                  <a:pt x="11494" y="6882"/>
                </a:lnTo>
                <a:lnTo>
                  <a:pt x="11491" y="6880"/>
                </a:lnTo>
                <a:lnTo>
                  <a:pt x="11487" y="6882"/>
                </a:lnTo>
                <a:lnTo>
                  <a:pt x="11484" y="6883"/>
                </a:lnTo>
                <a:lnTo>
                  <a:pt x="11486" y="6886"/>
                </a:lnTo>
                <a:lnTo>
                  <a:pt x="11490" y="6887"/>
                </a:lnTo>
                <a:lnTo>
                  <a:pt x="11494" y="6888"/>
                </a:lnTo>
                <a:lnTo>
                  <a:pt x="11496" y="6887"/>
                </a:lnTo>
                <a:close/>
                <a:moveTo>
                  <a:pt x="11537" y="6710"/>
                </a:moveTo>
                <a:lnTo>
                  <a:pt x="11540" y="6710"/>
                </a:lnTo>
                <a:lnTo>
                  <a:pt x="11540" y="6709"/>
                </a:lnTo>
                <a:lnTo>
                  <a:pt x="11538" y="6707"/>
                </a:lnTo>
                <a:lnTo>
                  <a:pt x="11537" y="6706"/>
                </a:lnTo>
                <a:lnTo>
                  <a:pt x="11535" y="6707"/>
                </a:lnTo>
                <a:lnTo>
                  <a:pt x="11535" y="6709"/>
                </a:lnTo>
                <a:lnTo>
                  <a:pt x="11535" y="6710"/>
                </a:lnTo>
                <a:lnTo>
                  <a:pt x="11537" y="6710"/>
                </a:lnTo>
                <a:close/>
                <a:moveTo>
                  <a:pt x="11840" y="5844"/>
                </a:moveTo>
                <a:lnTo>
                  <a:pt x="11843" y="5846"/>
                </a:lnTo>
                <a:lnTo>
                  <a:pt x="11843" y="5846"/>
                </a:lnTo>
                <a:lnTo>
                  <a:pt x="11841" y="5844"/>
                </a:lnTo>
                <a:lnTo>
                  <a:pt x="11840" y="5844"/>
                </a:lnTo>
                <a:lnTo>
                  <a:pt x="11840" y="5847"/>
                </a:lnTo>
                <a:lnTo>
                  <a:pt x="11841" y="5847"/>
                </a:lnTo>
                <a:lnTo>
                  <a:pt x="11841" y="5846"/>
                </a:lnTo>
                <a:lnTo>
                  <a:pt x="11840" y="5844"/>
                </a:lnTo>
                <a:close/>
                <a:moveTo>
                  <a:pt x="11704" y="7778"/>
                </a:moveTo>
                <a:lnTo>
                  <a:pt x="11706" y="7778"/>
                </a:lnTo>
                <a:lnTo>
                  <a:pt x="11709" y="7777"/>
                </a:lnTo>
                <a:lnTo>
                  <a:pt x="11709" y="7775"/>
                </a:lnTo>
                <a:lnTo>
                  <a:pt x="11709" y="7773"/>
                </a:lnTo>
                <a:lnTo>
                  <a:pt x="11705" y="7773"/>
                </a:lnTo>
                <a:lnTo>
                  <a:pt x="11704" y="7773"/>
                </a:lnTo>
                <a:lnTo>
                  <a:pt x="11703" y="7774"/>
                </a:lnTo>
                <a:lnTo>
                  <a:pt x="11704" y="7778"/>
                </a:lnTo>
                <a:close/>
                <a:moveTo>
                  <a:pt x="11628" y="7895"/>
                </a:moveTo>
                <a:lnTo>
                  <a:pt x="11629" y="7899"/>
                </a:lnTo>
                <a:lnTo>
                  <a:pt x="11633" y="7901"/>
                </a:lnTo>
                <a:lnTo>
                  <a:pt x="11636" y="7901"/>
                </a:lnTo>
                <a:lnTo>
                  <a:pt x="11639" y="7899"/>
                </a:lnTo>
                <a:lnTo>
                  <a:pt x="11638" y="7895"/>
                </a:lnTo>
                <a:lnTo>
                  <a:pt x="11635" y="7894"/>
                </a:lnTo>
                <a:lnTo>
                  <a:pt x="11630" y="7894"/>
                </a:lnTo>
                <a:lnTo>
                  <a:pt x="11628" y="7895"/>
                </a:lnTo>
                <a:close/>
                <a:moveTo>
                  <a:pt x="11456" y="8234"/>
                </a:moveTo>
                <a:lnTo>
                  <a:pt x="11459" y="8232"/>
                </a:lnTo>
                <a:lnTo>
                  <a:pt x="11462" y="8231"/>
                </a:lnTo>
                <a:lnTo>
                  <a:pt x="11463" y="8230"/>
                </a:lnTo>
                <a:lnTo>
                  <a:pt x="11459" y="8227"/>
                </a:lnTo>
                <a:lnTo>
                  <a:pt x="11456" y="8229"/>
                </a:lnTo>
                <a:lnTo>
                  <a:pt x="11452" y="8230"/>
                </a:lnTo>
                <a:lnTo>
                  <a:pt x="11452" y="8232"/>
                </a:lnTo>
                <a:lnTo>
                  <a:pt x="11456" y="8234"/>
                </a:lnTo>
                <a:close/>
                <a:moveTo>
                  <a:pt x="11479" y="8087"/>
                </a:moveTo>
                <a:lnTo>
                  <a:pt x="11482" y="8087"/>
                </a:lnTo>
                <a:lnTo>
                  <a:pt x="11486" y="8088"/>
                </a:lnTo>
                <a:lnTo>
                  <a:pt x="11489" y="8088"/>
                </a:lnTo>
                <a:lnTo>
                  <a:pt x="11491" y="8086"/>
                </a:lnTo>
                <a:lnTo>
                  <a:pt x="11487" y="8085"/>
                </a:lnTo>
                <a:lnTo>
                  <a:pt x="11484" y="8082"/>
                </a:lnTo>
                <a:lnTo>
                  <a:pt x="11480" y="8083"/>
                </a:lnTo>
                <a:lnTo>
                  <a:pt x="11479" y="8087"/>
                </a:lnTo>
                <a:close/>
                <a:moveTo>
                  <a:pt x="11430" y="7665"/>
                </a:moveTo>
                <a:lnTo>
                  <a:pt x="11430" y="7667"/>
                </a:lnTo>
                <a:lnTo>
                  <a:pt x="11431" y="7670"/>
                </a:lnTo>
                <a:lnTo>
                  <a:pt x="11434" y="7671"/>
                </a:lnTo>
                <a:lnTo>
                  <a:pt x="11438" y="7671"/>
                </a:lnTo>
                <a:lnTo>
                  <a:pt x="11437" y="7667"/>
                </a:lnTo>
                <a:lnTo>
                  <a:pt x="11437" y="7665"/>
                </a:lnTo>
                <a:lnTo>
                  <a:pt x="11434" y="7665"/>
                </a:lnTo>
                <a:lnTo>
                  <a:pt x="11430" y="7665"/>
                </a:lnTo>
                <a:close/>
                <a:moveTo>
                  <a:pt x="11973" y="6331"/>
                </a:moveTo>
                <a:lnTo>
                  <a:pt x="11973" y="6331"/>
                </a:lnTo>
                <a:lnTo>
                  <a:pt x="11974" y="6331"/>
                </a:lnTo>
                <a:lnTo>
                  <a:pt x="11974" y="6331"/>
                </a:lnTo>
                <a:lnTo>
                  <a:pt x="11974" y="6331"/>
                </a:lnTo>
                <a:lnTo>
                  <a:pt x="11974" y="6331"/>
                </a:lnTo>
                <a:lnTo>
                  <a:pt x="11974" y="6331"/>
                </a:lnTo>
                <a:lnTo>
                  <a:pt x="11974" y="6331"/>
                </a:lnTo>
                <a:lnTo>
                  <a:pt x="11973" y="6329"/>
                </a:lnTo>
                <a:lnTo>
                  <a:pt x="11973" y="6331"/>
                </a:lnTo>
                <a:close/>
                <a:moveTo>
                  <a:pt x="11957" y="6309"/>
                </a:moveTo>
                <a:lnTo>
                  <a:pt x="11950" y="6317"/>
                </a:lnTo>
                <a:lnTo>
                  <a:pt x="11960" y="6326"/>
                </a:lnTo>
                <a:lnTo>
                  <a:pt x="11970" y="6328"/>
                </a:lnTo>
                <a:lnTo>
                  <a:pt x="11966" y="6314"/>
                </a:lnTo>
                <a:lnTo>
                  <a:pt x="11962" y="6312"/>
                </a:lnTo>
                <a:lnTo>
                  <a:pt x="11957" y="6309"/>
                </a:lnTo>
                <a:close/>
                <a:moveTo>
                  <a:pt x="11713" y="6477"/>
                </a:moveTo>
                <a:lnTo>
                  <a:pt x="11708" y="6477"/>
                </a:lnTo>
                <a:lnTo>
                  <a:pt x="11703" y="6478"/>
                </a:lnTo>
                <a:lnTo>
                  <a:pt x="11705" y="6486"/>
                </a:lnTo>
                <a:lnTo>
                  <a:pt x="11712" y="6488"/>
                </a:lnTo>
                <a:lnTo>
                  <a:pt x="11717" y="6485"/>
                </a:lnTo>
                <a:lnTo>
                  <a:pt x="11713" y="6477"/>
                </a:lnTo>
                <a:close/>
                <a:moveTo>
                  <a:pt x="11606" y="8204"/>
                </a:moveTo>
                <a:lnTo>
                  <a:pt x="11605" y="8204"/>
                </a:lnTo>
                <a:lnTo>
                  <a:pt x="11605" y="8203"/>
                </a:lnTo>
                <a:lnTo>
                  <a:pt x="11603" y="8204"/>
                </a:lnTo>
                <a:lnTo>
                  <a:pt x="11603" y="8206"/>
                </a:lnTo>
                <a:lnTo>
                  <a:pt x="11603" y="8206"/>
                </a:lnTo>
                <a:lnTo>
                  <a:pt x="11603" y="8206"/>
                </a:lnTo>
                <a:lnTo>
                  <a:pt x="11605" y="8206"/>
                </a:lnTo>
                <a:lnTo>
                  <a:pt x="11606" y="8204"/>
                </a:lnTo>
                <a:close/>
                <a:moveTo>
                  <a:pt x="11584" y="8173"/>
                </a:moveTo>
                <a:lnTo>
                  <a:pt x="11596" y="8190"/>
                </a:lnTo>
                <a:lnTo>
                  <a:pt x="11605" y="8203"/>
                </a:lnTo>
                <a:lnTo>
                  <a:pt x="11606" y="8194"/>
                </a:lnTo>
                <a:lnTo>
                  <a:pt x="11603" y="8188"/>
                </a:lnTo>
                <a:lnTo>
                  <a:pt x="11597" y="8181"/>
                </a:lnTo>
                <a:lnTo>
                  <a:pt x="11584" y="8173"/>
                </a:lnTo>
                <a:close/>
                <a:moveTo>
                  <a:pt x="11821" y="6115"/>
                </a:moveTo>
                <a:lnTo>
                  <a:pt x="11824" y="6121"/>
                </a:lnTo>
                <a:lnTo>
                  <a:pt x="11829" y="6124"/>
                </a:lnTo>
                <a:lnTo>
                  <a:pt x="11834" y="6124"/>
                </a:lnTo>
                <a:lnTo>
                  <a:pt x="11838" y="6121"/>
                </a:lnTo>
                <a:lnTo>
                  <a:pt x="11834" y="6115"/>
                </a:lnTo>
                <a:lnTo>
                  <a:pt x="11830" y="6113"/>
                </a:lnTo>
                <a:lnTo>
                  <a:pt x="11825" y="6113"/>
                </a:lnTo>
                <a:lnTo>
                  <a:pt x="11821" y="6115"/>
                </a:lnTo>
                <a:close/>
                <a:moveTo>
                  <a:pt x="11961" y="5366"/>
                </a:moveTo>
                <a:lnTo>
                  <a:pt x="11966" y="5366"/>
                </a:lnTo>
                <a:lnTo>
                  <a:pt x="11970" y="5364"/>
                </a:lnTo>
                <a:lnTo>
                  <a:pt x="11970" y="5363"/>
                </a:lnTo>
                <a:lnTo>
                  <a:pt x="11968" y="5359"/>
                </a:lnTo>
                <a:lnTo>
                  <a:pt x="11964" y="5361"/>
                </a:lnTo>
                <a:lnTo>
                  <a:pt x="11960" y="5362"/>
                </a:lnTo>
                <a:lnTo>
                  <a:pt x="11959" y="5363"/>
                </a:lnTo>
                <a:lnTo>
                  <a:pt x="11961" y="5366"/>
                </a:lnTo>
                <a:close/>
                <a:moveTo>
                  <a:pt x="11864" y="7635"/>
                </a:moveTo>
                <a:lnTo>
                  <a:pt x="11866" y="7640"/>
                </a:lnTo>
                <a:lnTo>
                  <a:pt x="11871" y="7642"/>
                </a:lnTo>
                <a:lnTo>
                  <a:pt x="11875" y="7639"/>
                </a:lnTo>
                <a:lnTo>
                  <a:pt x="11873" y="7634"/>
                </a:lnTo>
                <a:lnTo>
                  <a:pt x="11868" y="7634"/>
                </a:lnTo>
                <a:lnTo>
                  <a:pt x="11864" y="7635"/>
                </a:lnTo>
                <a:close/>
                <a:moveTo>
                  <a:pt x="11898" y="5384"/>
                </a:moveTo>
                <a:lnTo>
                  <a:pt x="11901" y="5384"/>
                </a:lnTo>
                <a:lnTo>
                  <a:pt x="11905" y="5384"/>
                </a:lnTo>
                <a:lnTo>
                  <a:pt x="11908" y="5384"/>
                </a:lnTo>
                <a:lnTo>
                  <a:pt x="11909" y="5381"/>
                </a:lnTo>
                <a:lnTo>
                  <a:pt x="11905" y="5378"/>
                </a:lnTo>
                <a:lnTo>
                  <a:pt x="11901" y="5378"/>
                </a:lnTo>
                <a:lnTo>
                  <a:pt x="11899" y="5380"/>
                </a:lnTo>
                <a:lnTo>
                  <a:pt x="11898" y="5384"/>
                </a:lnTo>
                <a:close/>
                <a:moveTo>
                  <a:pt x="11861" y="7572"/>
                </a:moveTo>
                <a:lnTo>
                  <a:pt x="11864" y="7577"/>
                </a:lnTo>
                <a:lnTo>
                  <a:pt x="11871" y="7579"/>
                </a:lnTo>
                <a:lnTo>
                  <a:pt x="11877" y="7579"/>
                </a:lnTo>
                <a:lnTo>
                  <a:pt x="11884" y="7577"/>
                </a:lnTo>
                <a:lnTo>
                  <a:pt x="11884" y="7569"/>
                </a:lnTo>
                <a:lnTo>
                  <a:pt x="11877" y="7567"/>
                </a:lnTo>
                <a:lnTo>
                  <a:pt x="11869" y="7569"/>
                </a:lnTo>
                <a:lnTo>
                  <a:pt x="11861" y="7572"/>
                </a:lnTo>
                <a:close/>
                <a:moveTo>
                  <a:pt x="11906" y="4266"/>
                </a:moveTo>
                <a:lnTo>
                  <a:pt x="11912" y="4263"/>
                </a:lnTo>
                <a:lnTo>
                  <a:pt x="11914" y="4262"/>
                </a:lnTo>
                <a:lnTo>
                  <a:pt x="11913" y="4258"/>
                </a:lnTo>
                <a:lnTo>
                  <a:pt x="11909" y="4256"/>
                </a:lnTo>
                <a:lnTo>
                  <a:pt x="11903" y="4257"/>
                </a:lnTo>
                <a:lnTo>
                  <a:pt x="11901" y="4260"/>
                </a:lnTo>
                <a:lnTo>
                  <a:pt x="11903" y="4262"/>
                </a:lnTo>
                <a:lnTo>
                  <a:pt x="11906" y="4266"/>
                </a:lnTo>
                <a:close/>
                <a:moveTo>
                  <a:pt x="11578" y="4639"/>
                </a:moveTo>
                <a:lnTo>
                  <a:pt x="11580" y="4643"/>
                </a:lnTo>
                <a:lnTo>
                  <a:pt x="11583" y="4645"/>
                </a:lnTo>
                <a:lnTo>
                  <a:pt x="11587" y="4647"/>
                </a:lnTo>
                <a:lnTo>
                  <a:pt x="11592" y="4647"/>
                </a:lnTo>
                <a:lnTo>
                  <a:pt x="11589" y="4641"/>
                </a:lnTo>
                <a:lnTo>
                  <a:pt x="11587" y="4639"/>
                </a:lnTo>
                <a:lnTo>
                  <a:pt x="11583" y="4639"/>
                </a:lnTo>
                <a:lnTo>
                  <a:pt x="11578" y="4639"/>
                </a:lnTo>
                <a:close/>
                <a:moveTo>
                  <a:pt x="11625" y="7738"/>
                </a:moveTo>
                <a:lnTo>
                  <a:pt x="11620" y="7738"/>
                </a:lnTo>
                <a:lnTo>
                  <a:pt x="11616" y="7740"/>
                </a:lnTo>
                <a:lnTo>
                  <a:pt x="11617" y="7741"/>
                </a:lnTo>
                <a:lnTo>
                  <a:pt x="11620" y="7745"/>
                </a:lnTo>
                <a:lnTo>
                  <a:pt x="11622" y="7744"/>
                </a:lnTo>
                <a:lnTo>
                  <a:pt x="11625" y="7742"/>
                </a:lnTo>
                <a:lnTo>
                  <a:pt x="11626" y="7740"/>
                </a:lnTo>
                <a:lnTo>
                  <a:pt x="11625" y="7738"/>
                </a:lnTo>
                <a:close/>
                <a:moveTo>
                  <a:pt x="11527" y="7835"/>
                </a:moveTo>
                <a:lnTo>
                  <a:pt x="11529" y="7833"/>
                </a:lnTo>
                <a:lnTo>
                  <a:pt x="11531" y="7831"/>
                </a:lnTo>
                <a:lnTo>
                  <a:pt x="11531" y="7829"/>
                </a:lnTo>
                <a:lnTo>
                  <a:pt x="11528" y="7828"/>
                </a:lnTo>
                <a:lnTo>
                  <a:pt x="11522" y="7829"/>
                </a:lnTo>
                <a:lnTo>
                  <a:pt x="11521" y="7830"/>
                </a:lnTo>
                <a:lnTo>
                  <a:pt x="11522" y="7833"/>
                </a:lnTo>
                <a:lnTo>
                  <a:pt x="11527" y="7835"/>
                </a:lnTo>
                <a:close/>
                <a:moveTo>
                  <a:pt x="11729" y="8088"/>
                </a:moveTo>
                <a:lnTo>
                  <a:pt x="11726" y="8086"/>
                </a:lnTo>
                <a:lnTo>
                  <a:pt x="11722" y="8085"/>
                </a:lnTo>
                <a:lnTo>
                  <a:pt x="11717" y="8085"/>
                </a:lnTo>
                <a:lnTo>
                  <a:pt x="11713" y="8087"/>
                </a:lnTo>
                <a:lnTo>
                  <a:pt x="11717" y="8090"/>
                </a:lnTo>
                <a:lnTo>
                  <a:pt x="11720" y="8091"/>
                </a:lnTo>
                <a:lnTo>
                  <a:pt x="11726" y="8091"/>
                </a:lnTo>
                <a:lnTo>
                  <a:pt x="11729" y="8088"/>
                </a:lnTo>
                <a:close/>
                <a:moveTo>
                  <a:pt x="11601" y="9389"/>
                </a:moveTo>
                <a:lnTo>
                  <a:pt x="11600" y="9393"/>
                </a:lnTo>
                <a:lnTo>
                  <a:pt x="11601" y="9396"/>
                </a:lnTo>
                <a:lnTo>
                  <a:pt x="11603" y="9397"/>
                </a:lnTo>
                <a:lnTo>
                  <a:pt x="11607" y="9396"/>
                </a:lnTo>
                <a:lnTo>
                  <a:pt x="11607" y="9393"/>
                </a:lnTo>
                <a:lnTo>
                  <a:pt x="11606" y="9389"/>
                </a:lnTo>
                <a:lnTo>
                  <a:pt x="11603" y="9388"/>
                </a:lnTo>
                <a:lnTo>
                  <a:pt x="11601" y="9389"/>
                </a:lnTo>
                <a:close/>
                <a:moveTo>
                  <a:pt x="11547" y="8146"/>
                </a:moveTo>
                <a:lnTo>
                  <a:pt x="11543" y="8146"/>
                </a:lnTo>
                <a:lnTo>
                  <a:pt x="11541" y="8148"/>
                </a:lnTo>
                <a:lnTo>
                  <a:pt x="11538" y="8150"/>
                </a:lnTo>
                <a:lnTo>
                  <a:pt x="11541" y="8152"/>
                </a:lnTo>
                <a:lnTo>
                  <a:pt x="11546" y="8152"/>
                </a:lnTo>
                <a:lnTo>
                  <a:pt x="11550" y="8151"/>
                </a:lnTo>
                <a:lnTo>
                  <a:pt x="11550" y="8150"/>
                </a:lnTo>
                <a:lnTo>
                  <a:pt x="11547" y="8146"/>
                </a:lnTo>
                <a:close/>
                <a:moveTo>
                  <a:pt x="11574" y="7590"/>
                </a:moveTo>
                <a:lnTo>
                  <a:pt x="11582" y="7579"/>
                </a:lnTo>
                <a:lnTo>
                  <a:pt x="11592" y="7564"/>
                </a:lnTo>
                <a:lnTo>
                  <a:pt x="11579" y="7570"/>
                </a:lnTo>
                <a:lnTo>
                  <a:pt x="11574" y="7577"/>
                </a:lnTo>
                <a:lnTo>
                  <a:pt x="11574" y="7583"/>
                </a:lnTo>
                <a:lnTo>
                  <a:pt x="11574" y="7590"/>
                </a:lnTo>
                <a:close/>
                <a:moveTo>
                  <a:pt x="11500" y="8128"/>
                </a:moveTo>
                <a:lnTo>
                  <a:pt x="11494" y="8125"/>
                </a:lnTo>
                <a:lnTo>
                  <a:pt x="11486" y="8127"/>
                </a:lnTo>
                <a:lnTo>
                  <a:pt x="11480" y="8132"/>
                </a:lnTo>
                <a:lnTo>
                  <a:pt x="11477" y="8138"/>
                </a:lnTo>
                <a:lnTo>
                  <a:pt x="11484" y="8137"/>
                </a:lnTo>
                <a:lnTo>
                  <a:pt x="11490" y="8136"/>
                </a:lnTo>
                <a:lnTo>
                  <a:pt x="11496" y="8133"/>
                </a:lnTo>
                <a:lnTo>
                  <a:pt x="11500" y="8128"/>
                </a:lnTo>
                <a:close/>
                <a:moveTo>
                  <a:pt x="11476" y="8138"/>
                </a:moveTo>
                <a:lnTo>
                  <a:pt x="11476" y="8139"/>
                </a:lnTo>
                <a:lnTo>
                  <a:pt x="11476" y="8138"/>
                </a:lnTo>
                <a:lnTo>
                  <a:pt x="11476" y="8139"/>
                </a:lnTo>
                <a:lnTo>
                  <a:pt x="11476" y="8139"/>
                </a:lnTo>
                <a:lnTo>
                  <a:pt x="11477" y="8139"/>
                </a:lnTo>
                <a:lnTo>
                  <a:pt x="11477" y="8138"/>
                </a:lnTo>
                <a:lnTo>
                  <a:pt x="11476" y="8138"/>
                </a:lnTo>
                <a:close/>
                <a:moveTo>
                  <a:pt x="11926" y="6830"/>
                </a:moveTo>
                <a:lnTo>
                  <a:pt x="11918" y="6826"/>
                </a:lnTo>
                <a:lnTo>
                  <a:pt x="11914" y="6827"/>
                </a:lnTo>
                <a:lnTo>
                  <a:pt x="11914" y="6830"/>
                </a:lnTo>
                <a:lnTo>
                  <a:pt x="11923" y="6832"/>
                </a:lnTo>
                <a:lnTo>
                  <a:pt x="11924" y="6831"/>
                </a:lnTo>
                <a:lnTo>
                  <a:pt x="11926" y="6830"/>
                </a:lnTo>
                <a:close/>
                <a:moveTo>
                  <a:pt x="11636" y="7358"/>
                </a:moveTo>
                <a:lnTo>
                  <a:pt x="11638" y="7358"/>
                </a:lnTo>
                <a:lnTo>
                  <a:pt x="11636" y="7358"/>
                </a:lnTo>
                <a:lnTo>
                  <a:pt x="11636" y="7359"/>
                </a:lnTo>
                <a:lnTo>
                  <a:pt x="11638" y="7359"/>
                </a:lnTo>
                <a:lnTo>
                  <a:pt x="11638" y="7358"/>
                </a:lnTo>
                <a:lnTo>
                  <a:pt x="11636" y="7358"/>
                </a:lnTo>
                <a:close/>
                <a:moveTo>
                  <a:pt x="11664" y="7351"/>
                </a:moveTo>
                <a:lnTo>
                  <a:pt x="11659" y="7343"/>
                </a:lnTo>
                <a:lnTo>
                  <a:pt x="11647" y="7346"/>
                </a:lnTo>
                <a:lnTo>
                  <a:pt x="11640" y="7354"/>
                </a:lnTo>
                <a:lnTo>
                  <a:pt x="11650" y="7358"/>
                </a:lnTo>
                <a:lnTo>
                  <a:pt x="11659" y="7355"/>
                </a:lnTo>
                <a:lnTo>
                  <a:pt x="11664" y="7351"/>
                </a:lnTo>
                <a:close/>
                <a:moveTo>
                  <a:pt x="11775" y="7537"/>
                </a:moveTo>
                <a:lnTo>
                  <a:pt x="11777" y="7544"/>
                </a:lnTo>
                <a:lnTo>
                  <a:pt x="11783" y="7545"/>
                </a:lnTo>
                <a:lnTo>
                  <a:pt x="11788" y="7544"/>
                </a:lnTo>
                <a:lnTo>
                  <a:pt x="11787" y="7539"/>
                </a:lnTo>
                <a:lnTo>
                  <a:pt x="11783" y="7537"/>
                </a:lnTo>
                <a:lnTo>
                  <a:pt x="11775" y="7537"/>
                </a:lnTo>
                <a:close/>
                <a:moveTo>
                  <a:pt x="11518" y="7591"/>
                </a:moveTo>
                <a:lnTo>
                  <a:pt x="11512" y="7607"/>
                </a:lnTo>
                <a:lnTo>
                  <a:pt x="11507" y="7618"/>
                </a:lnTo>
                <a:lnTo>
                  <a:pt x="11507" y="7618"/>
                </a:lnTo>
                <a:lnTo>
                  <a:pt x="11507" y="7618"/>
                </a:lnTo>
                <a:lnTo>
                  <a:pt x="11507" y="7619"/>
                </a:lnTo>
                <a:lnTo>
                  <a:pt x="11507" y="7618"/>
                </a:lnTo>
                <a:lnTo>
                  <a:pt x="11515" y="7615"/>
                </a:lnTo>
                <a:lnTo>
                  <a:pt x="11522" y="7610"/>
                </a:lnTo>
                <a:lnTo>
                  <a:pt x="11522" y="7602"/>
                </a:lnTo>
                <a:lnTo>
                  <a:pt x="11518" y="7591"/>
                </a:lnTo>
                <a:close/>
                <a:moveTo>
                  <a:pt x="11678" y="7480"/>
                </a:moveTo>
                <a:lnTo>
                  <a:pt x="11675" y="7480"/>
                </a:lnTo>
                <a:lnTo>
                  <a:pt x="11667" y="7481"/>
                </a:lnTo>
                <a:lnTo>
                  <a:pt x="11672" y="7490"/>
                </a:lnTo>
                <a:lnTo>
                  <a:pt x="11681" y="7491"/>
                </a:lnTo>
                <a:lnTo>
                  <a:pt x="11685" y="7488"/>
                </a:lnTo>
                <a:lnTo>
                  <a:pt x="11678" y="7480"/>
                </a:lnTo>
                <a:close/>
                <a:moveTo>
                  <a:pt x="9964" y="10380"/>
                </a:moveTo>
                <a:lnTo>
                  <a:pt x="9967" y="10375"/>
                </a:lnTo>
                <a:lnTo>
                  <a:pt x="9967" y="10375"/>
                </a:lnTo>
                <a:lnTo>
                  <a:pt x="9967" y="10376"/>
                </a:lnTo>
                <a:lnTo>
                  <a:pt x="9964" y="10380"/>
                </a:lnTo>
                <a:lnTo>
                  <a:pt x="9969" y="10380"/>
                </a:lnTo>
                <a:lnTo>
                  <a:pt x="9973" y="10376"/>
                </a:lnTo>
                <a:lnTo>
                  <a:pt x="9972" y="10375"/>
                </a:lnTo>
                <a:lnTo>
                  <a:pt x="9964" y="10380"/>
                </a:lnTo>
                <a:close/>
                <a:moveTo>
                  <a:pt x="11605" y="8288"/>
                </a:moveTo>
                <a:lnTo>
                  <a:pt x="11605" y="8290"/>
                </a:lnTo>
                <a:lnTo>
                  <a:pt x="11605" y="8291"/>
                </a:lnTo>
                <a:lnTo>
                  <a:pt x="11606" y="8290"/>
                </a:lnTo>
                <a:lnTo>
                  <a:pt x="11605" y="8288"/>
                </a:lnTo>
                <a:lnTo>
                  <a:pt x="11608" y="8281"/>
                </a:lnTo>
                <a:lnTo>
                  <a:pt x="11611" y="8273"/>
                </a:lnTo>
                <a:lnTo>
                  <a:pt x="11611" y="8268"/>
                </a:lnTo>
                <a:lnTo>
                  <a:pt x="11603" y="8264"/>
                </a:lnTo>
                <a:lnTo>
                  <a:pt x="11596" y="8267"/>
                </a:lnTo>
                <a:lnTo>
                  <a:pt x="11596" y="8273"/>
                </a:lnTo>
                <a:lnTo>
                  <a:pt x="11601" y="8281"/>
                </a:lnTo>
                <a:lnTo>
                  <a:pt x="11605" y="8288"/>
                </a:lnTo>
                <a:close/>
                <a:moveTo>
                  <a:pt x="11709" y="7910"/>
                </a:moveTo>
                <a:lnTo>
                  <a:pt x="11704" y="7906"/>
                </a:lnTo>
                <a:lnTo>
                  <a:pt x="11698" y="7904"/>
                </a:lnTo>
                <a:lnTo>
                  <a:pt x="11692" y="7905"/>
                </a:lnTo>
                <a:lnTo>
                  <a:pt x="11687" y="7908"/>
                </a:lnTo>
                <a:lnTo>
                  <a:pt x="11690" y="7912"/>
                </a:lnTo>
                <a:lnTo>
                  <a:pt x="11695" y="7913"/>
                </a:lnTo>
                <a:lnTo>
                  <a:pt x="11703" y="7912"/>
                </a:lnTo>
                <a:lnTo>
                  <a:pt x="11709" y="7910"/>
                </a:lnTo>
                <a:close/>
                <a:moveTo>
                  <a:pt x="11617" y="6446"/>
                </a:moveTo>
                <a:lnTo>
                  <a:pt x="11624" y="6443"/>
                </a:lnTo>
                <a:lnTo>
                  <a:pt x="11622" y="6439"/>
                </a:lnTo>
                <a:lnTo>
                  <a:pt x="11619" y="6436"/>
                </a:lnTo>
                <a:lnTo>
                  <a:pt x="11614" y="6432"/>
                </a:lnTo>
                <a:lnTo>
                  <a:pt x="11606" y="6434"/>
                </a:lnTo>
                <a:lnTo>
                  <a:pt x="11605" y="6438"/>
                </a:lnTo>
                <a:lnTo>
                  <a:pt x="11610" y="6441"/>
                </a:lnTo>
                <a:lnTo>
                  <a:pt x="11617" y="6446"/>
                </a:lnTo>
                <a:close/>
                <a:moveTo>
                  <a:pt x="11514" y="7471"/>
                </a:moveTo>
                <a:lnTo>
                  <a:pt x="11515" y="7463"/>
                </a:lnTo>
                <a:lnTo>
                  <a:pt x="11510" y="7462"/>
                </a:lnTo>
                <a:lnTo>
                  <a:pt x="11504" y="7463"/>
                </a:lnTo>
                <a:lnTo>
                  <a:pt x="11503" y="7470"/>
                </a:lnTo>
                <a:lnTo>
                  <a:pt x="11510" y="7471"/>
                </a:lnTo>
                <a:lnTo>
                  <a:pt x="11514" y="7471"/>
                </a:lnTo>
                <a:close/>
                <a:moveTo>
                  <a:pt x="11937" y="6747"/>
                </a:moveTo>
                <a:lnTo>
                  <a:pt x="11932" y="6740"/>
                </a:lnTo>
                <a:lnTo>
                  <a:pt x="11926" y="6738"/>
                </a:lnTo>
                <a:lnTo>
                  <a:pt x="11919" y="6737"/>
                </a:lnTo>
                <a:lnTo>
                  <a:pt x="11912" y="6738"/>
                </a:lnTo>
                <a:lnTo>
                  <a:pt x="11915" y="6744"/>
                </a:lnTo>
                <a:lnTo>
                  <a:pt x="11922" y="6748"/>
                </a:lnTo>
                <a:lnTo>
                  <a:pt x="11929" y="6748"/>
                </a:lnTo>
                <a:lnTo>
                  <a:pt x="11937" y="6747"/>
                </a:lnTo>
                <a:close/>
                <a:moveTo>
                  <a:pt x="11277" y="10422"/>
                </a:moveTo>
                <a:lnTo>
                  <a:pt x="11280" y="10427"/>
                </a:lnTo>
                <a:lnTo>
                  <a:pt x="11284" y="10428"/>
                </a:lnTo>
                <a:lnTo>
                  <a:pt x="11288" y="10428"/>
                </a:lnTo>
                <a:lnTo>
                  <a:pt x="11291" y="10428"/>
                </a:lnTo>
                <a:lnTo>
                  <a:pt x="11289" y="10422"/>
                </a:lnTo>
                <a:lnTo>
                  <a:pt x="11286" y="10419"/>
                </a:lnTo>
                <a:lnTo>
                  <a:pt x="11282" y="10418"/>
                </a:lnTo>
                <a:lnTo>
                  <a:pt x="11277" y="10422"/>
                </a:lnTo>
                <a:close/>
                <a:moveTo>
                  <a:pt x="11664" y="9258"/>
                </a:moveTo>
                <a:lnTo>
                  <a:pt x="11666" y="9266"/>
                </a:lnTo>
                <a:lnTo>
                  <a:pt x="11671" y="9270"/>
                </a:lnTo>
                <a:lnTo>
                  <a:pt x="11677" y="9270"/>
                </a:lnTo>
                <a:lnTo>
                  <a:pt x="11682" y="9267"/>
                </a:lnTo>
                <a:lnTo>
                  <a:pt x="11680" y="9261"/>
                </a:lnTo>
                <a:lnTo>
                  <a:pt x="11675" y="9257"/>
                </a:lnTo>
                <a:lnTo>
                  <a:pt x="11670" y="9254"/>
                </a:lnTo>
                <a:lnTo>
                  <a:pt x="11664" y="9258"/>
                </a:lnTo>
                <a:close/>
                <a:moveTo>
                  <a:pt x="11649" y="7321"/>
                </a:moveTo>
                <a:lnTo>
                  <a:pt x="11654" y="7321"/>
                </a:lnTo>
                <a:lnTo>
                  <a:pt x="11658" y="7321"/>
                </a:lnTo>
                <a:lnTo>
                  <a:pt x="11662" y="7320"/>
                </a:lnTo>
                <a:lnTo>
                  <a:pt x="11662" y="7315"/>
                </a:lnTo>
                <a:lnTo>
                  <a:pt x="11656" y="7315"/>
                </a:lnTo>
                <a:lnTo>
                  <a:pt x="11648" y="7313"/>
                </a:lnTo>
                <a:lnTo>
                  <a:pt x="11645" y="7316"/>
                </a:lnTo>
                <a:lnTo>
                  <a:pt x="11649" y="7321"/>
                </a:lnTo>
                <a:close/>
                <a:moveTo>
                  <a:pt x="11738" y="2020"/>
                </a:moveTo>
                <a:lnTo>
                  <a:pt x="11747" y="2023"/>
                </a:lnTo>
                <a:lnTo>
                  <a:pt x="11752" y="2014"/>
                </a:lnTo>
                <a:lnTo>
                  <a:pt x="11751" y="2005"/>
                </a:lnTo>
                <a:lnTo>
                  <a:pt x="11742" y="2005"/>
                </a:lnTo>
                <a:lnTo>
                  <a:pt x="11731" y="2008"/>
                </a:lnTo>
                <a:lnTo>
                  <a:pt x="11727" y="2012"/>
                </a:lnTo>
                <a:lnTo>
                  <a:pt x="11729" y="2015"/>
                </a:lnTo>
                <a:lnTo>
                  <a:pt x="11738" y="2020"/>
                </a:lnTo>
                <a:close/>
                <a:moveTo>
                  <a:pt x="11754" y="2004"/>
                </a:moveTo>
                <a:lnTo>
                  <a:pt x="11754" y="2004"/>
                </a:lnTo>
                <a:lnTo>
                  <a:pt x="11754" y="2003"/>
                </a:lnTo>
                <a:lnTo>
                  <a:pt x="11754" y="2003"/>
                </a:lnTo>
                <a:lnTo>
                  <a:pt x="11754" y="2004"/>
                </a:lnTo>
                <a:close/>
                <a:moveTo>
                  <a:pt x="11461" y="7858"/>
                </a:moveTo>
                <a:lnTo>
                  <a:pt x="11466" y="7862"/>
                </a:lnTo>
                <a:lnTo>
                  <a:pt x="11471" y="7864"/>
                </a:lnTo>
                <a:lnTo>
                  <a:pt x="11476" y="7864"/>
                </a:lnTo>
                <a:lnTo>
                  <a:pt x="11480" y="7861"/>
                </a:lnTo>
                <a:lnTo>
                  <a:pt x="11475" y="7856"/>
                </a:lnTo>
                <a:lnTo>
                  <a:pt x="11471" y="7853"/>
                </a:lnTo>
                <a:lnTo>
                  <a:pt x="11466" y="7854"/>
                </a:lnTo>
                <a:lnTo>
                  <a:pt x="11461" y="7858"/>
                </a:lnTo>
                <a:close/>
                <a:moveTo>
                  <a:pt x="11743" y="6010"/>
                </a:moveTo>
                <a:lnTo>
                  <a:pt x="11742" y="6019"/>
                </a:lnTo>
                <a:lnTo>
                  <a:pt x="11745" y="6025"/>
                </a:lnTo>
                <a:lnTo>
                  <a:pt x="11751" y="6028"/>
                </a:lnTo>
                <a:lnTo>
                  <a:pt x="11759" y="6028"/>
                </a:lnTo>
                <a:lnTo>
                  <a:pt x="11764" y="6020"/>
                </a:lnTo>
                <a:lnTo>
                  <a:pt x="11760" y="6014"/>
                </a:lnTo>
                <a:lnTo>
                  <a:pt x="11751" y="6009"/>
                </a:lnTo>
                <a:lnTo>
                  <a:pt x="11743" y="6010"/>
                </a:lnTo>
                <a:close/>
                <a:moveTo>
                  <a:pt x="11824" y="5588"/>
                </a:moveTo>
                <a:lnTo>
                  <a:pt x="11825" y="5585"/>
                </a:lnTo>
                <a:lnTo>
                  <a:pt x="11817" y="5581"/>
                </a:lnTo>
                <a:lnTo>
                  <a:pt x="11805" y="5577"/>
                </a:lnTo>
                <a:lnTo>
                  <a:pt x="11796" y="5572"/>
                </a:lnTo>
                <a:lnTo>
                  <a:pt x="11796" y="5583"/>
                </a:lnTo>
                <a:lnTo>
                  <a:pt x="11798" y="5588"/>
                </a:lnTo>
                <a:lnTo>
                  <a:pt x="11806" y="5590"/>
                </a:lnTo>
                <a:lnTo>
                  <a:pt x="11824" y="5588"/>
                </a:lnTo>
                <a:close/>
                <a:moveTo>
                  <a:pt x="11835" y="5250"/>
                </a:moveTo>
                <a:lnTo>
                  <a:pt x="11847" y="5251"/>
                </a:lnTo>
                <a:lnTo>
                  <a:pt x="11852" y="5245"/>
                </a:lnTo>
                <a:lnTo>
                  <a:pt x="11853" y="5236"/>
                </a:lnTo>
                <a:lnTo>
                  <a:pt x="11850" y="5226"/>
                </a:lnTo>
                <a:lnTo>
                  <a:pt x="11843" y="5231"/>
                </a:lnTo>
                <a:lnTo>
                  <a:pt x="11836" y="5236"/>
                </a:lnTo>
                <a:lnTo>
                  <a:pt x="11833" y="5242"/>
                </a:lnTo>
                <a:lnTo>
                  <a:pt x="11835" y="5250"/>
                </a:lnTo>
                <a:close/>
                <a:moveTo>
                  <a:pt x="11684" y="8614"/>
                </a:moveTo>
                <a:lnTo>
                  <a:pt x="11682" y="8613"/>
                </a:lnTo>
                <a:lnTo>
                  <a:pt x="11682" y="8614"/>
                </a:lnTo>
                <a:lnTo>
                  <a:pt x="11684" y="8614"/>
                </a:lnTo>
                <a:close/>
                <a:moveTo>
                  <a:pt x="12739" y="5716"/>
                </a:moveTo>
                <a:lnTo>
                  <a:pt x="12730" y="5715"/>
                </a:lnTo>
                <a:lnTo>
                  <a:pt x="12720" y="5716"/>
                </a:lnTo>
                <a:lnTo>
                  <a:pt x="12728" y="5722"/>
                </a:lnTo>
                <a:lnTo>
                  <a:pt x="12738" y="5723"/>
                </a:lnTo>
                <a:lnTo>
                  <a:pt x="12743" y="5721"/>
                </a:lnTo>
                <a:lnTo>
                  <a:pt x="12739" y="5716"/>
                </a:lnTo>
                <a:close/>
                <a:moveTo>
                  <a:pt x="11710" y="7847"/>
                </a:moveTo>
                <a:lnTo>
                  <a:pt x="11703" y="7843"/>
                </a:lnTo>
                <a:lnTo>
                  <a:pt x="11695" y="7843"/>
                </a:lnTo>
                <a:lnTo>
                  <a:pt x="11687" y="7845"/>
                </a:lnTo>
                <a:lnTo>
                  <a:pt x="11680" y="7848"/>
                </a:lnTo>
                <a:lnTo>
                  <a:pt x="11686" y="7852"/>
                </a:lnTo>
                <a:lnTo>
                  <a:pt x="11694" y="7853"/>
                </a:lnTo>
                <a:lnTo>
                  <a:pt x="11703" y="7852"/>
                </a:lnTo>
                <a:lnTo>
                  <a:pt x="11710" y="7847"/>
                </a:lnTo>
                <a:close/>
                <a:moveTo>
                  <a:pt x="11453" y="8139"/>
                </a:moveTo>
                <a:lnTo>
                  <a:pt x="11470" y="8142"/>
                </a:lnTo>
                <a:lnTo>
                  <a:pt x="11470" y="8134"/>
                </a:lnTo>
                <a:lnTo>
                  <a:pt x="11458" y="8125"/>
                </a:lnTo>
                <a:lnTo>
                  <a:pt x="11437" y="8119"/>
                </a:lnTo>
                <a:lnTo>
                  <a:pt x="11444" y="8131"/>
                </a:lnTo>
                <a:lnTo>
                  <a:pt x="11453" y="8139"/>
                </a:lnTo>
                <a:close/>
                <a:moveTo>
                  <a:pt x="11603" y="7605"/>
                </a:moveTo>
                <a:lnTo>
                  <a:pt x="11620" y="7595"/>
                </a:lnTo>
                <a:lnTo>
                  <a:pt x="11612" y="7590"/>
                </a:lnTo>
                <a:lnTo>
                  <a:pt x="11592" y="7588"/>
                </a:lnTo>
                <a:lnTo>
                  <a:pt x="11573" y="7592"/>
                </a:lnTo>
                <a:lnTo>
                  <a:pt x="11578" y="7597"/>
                </a:lnTo>
                <a:lnTo>
                  <a:pt x="11584" y="7602"/>
                </a:lnTo>
                <a:lnTo>
                  <a:pt x="11592" y="7605"/>
                </a:lnTo>
                <a:lnTo>
                  <a:pt x="11603" y="7605"/>
                </a:lnTo>
                <a:close/>
                <a:moveTo>
                  <a:pt x="11573" y="7592"/>
                </a:moveTo>
                <a:lnTo>
                  <a:pt x="11573" y="7591"/>
                </a:lnTo>
                <a:lnTo>
                  <a:pt x="11571" y="7592"/>
                </a:lnTo>
                <a:lnTo>
                  <a:pt x="11573" y="7592"/>
                </a:lnTo>
                <a:lnTo>
                  <a:pt x="11573" y="7592"/>
                </a:lnTo>
                <a:close/>
                <a:moveTo>
                  <a:pt x="11827" y="6224"/>
                </a:moveTo>
                <a:lnTo>
                  <a:pt x="11817" y="6224"/>
                </a:lnTo>
                <a:lnTo>
                  <a:pt x="11812" y="6229"/>
                </a:lnTo>
                <a:lnTo>
                  <a:pt x="11815" y="6235"/>
                </a:lnTo>
                <a:lnTo>
                  <a:pt x="11826" y="6241"/>
                </a:lnTo>
                <a:lnTo>
                  <a:pt x="11839" y="6241"/>
                </a:lnTo>
                <a:lnTo>
                  <a:pt x="11844" y="6236"/>
                </a:lnTo>
                <a:lnTo>
                  <a:pt x="11840" y="6230"/>
                </a:lnTo>
                <a:lnTo>
                  <a:pt x="11827" y="6224"/>
                </a:lnTo>
                <a:close/>
                <a:moveTo>
                  <a:pt x="11671" y="6771"/>
                </a:moveTo>
                <a:lnTo>
                  <a:pt x="11671" y="6785"/>
                </a:lnTo>
                <a:lnTo>
                  <a:pt x="11670" y="6794"/>
                </a:lnTo>
                <a:lnTo>
                  <a:pt x="11673" y="6800"/>
                </a:lnTo>
                <a:lnTo>
                  <a:pt x="11686" y="6807"/>
                </a:lnTo>
                <a:lnTo>
                  <a:pt x="11690" y="6800"/>
                </a:lnTo>
                <a:lnTo>
                  <a:pt x="11690" y="6791"/>
                </a:lnTo>
                <a:lnTo>
                  <a:pt x="11684" y="6782"/>
                </a:lnTo>
                <a:lnTo>
                  <a:pt x="11671" y="6771"/>
                </a:lnTo>
                <a:close/>
                <a:moveTo>
                  <a:pt x="11640" y="8153"/>
                </a:moveTo>
                <a:lnTo>
                  <a:pt x="11634" y="8157"/>
                </a:lnTo>
                <a:lnTo>
                  <a:pt x="11634" y="8167"/>
                </a:lnTo>
                <a:lnTo>
                  <a:pt x="11639" y="8178"/>
                </a:lnTo>
                <a:lnTo>
                  <a:pt x="11642" y="8188"/>
                </a:lnTo>
                <a:lnTo>
                  <a:pt x="11647" y="8176"/>
                </a:lnTo>
                <a:lnTo>
                  <a:pt x="11652" y="8167"/>
                </a:lnTo>
                <a:lnTo>
                  <a:pt x="11652" y="8159"/>
                </a:lnTo>
                <a:lnTo>
                  <a:pt x="11640" y="8153"/>
                </a:lnTo>
                <a:close/>
                <a:moveTo>
                  <a:pt x="11642" y="8188"/>
                </a:moveTo>
                <a:lnTo>
                  <a:pt x="11640" y="8189"/>
                </a:lnTo>
                <a:lnTo>
                  <a:pt x="11642" y="8190"/>
                </a:lnTo>
                <a:lnTo>
                  <a:pt x="11630" y="8201"/>
                </a:lnTo>
                <a:lnTo>
                  <a:pt x="11612" y="8207"/>
                </a:lnTo>
                <a:lnTo>
                  <a:pt x="11600" y="8216"/>
                </a:lnTo>
                <a:lnTo>
                  <a:pt x="11605" y="8236"/>
                </a:lnTo>
                <a:lnTo>
                  <a:pt x="11622" y="8222"/>
                </a:lnTo>
                <a:lnTo>
                  <a:pt x="11642" y="8217"/>
                </a:lnTo>
                <a:lnTo>
                  <a:pt x="11652" y="8209"/>
                </a:lnTo>
                <a:lnTo>
                  <a:pt x="11642" y="8190"/>
                </a:lnTo>
                <a:lnTo>
                  <a:pt x="11642" y="8189"/>
                </a:lnTo>
                <a:lnTo>
                  <a:pt x="11642" y="8188"/>
                </a:lnTo>
                <a:close/>
                <a:moveTo>
                  <a:pt x="11864" y="7224"/>
                </a:moveTo>
                <a:lnTo>
                  <a:pt x="11857" y="7231"/>
                </a:lnTo>
                <a:lnTo>
                  <a:pt x="11859" y="7234"/>
                </a:lnTo>
                <a:lnTo>
                  <a:pt x="11867" y="7238"/>
                </a:lnTo>
                <a:lnTo>
                  <a:pt x="11877" y="7238"/>
                </a:lnTo>
                <a:lnTo>
                  <a:pt x="11887" y="7234"/>
                </a:lnTo>
                <a:lnTo>
                  <a:pt x="11885" y="7229"/>
                </a:lnTo>
                <a:lnTo>
                  <a:pt x="11876" y="7224"/>
                </a:lnTo>
                <a:lnTo>
                  <a:pt x="11864" y="7224"/>
                </a:lnTo>
                <a:close/>
                <a:moveTo>
                  <a:pt x="11987" y="6086"/>
                </a:moveTo>
                <a:lnTo>
                  <a:pt x="11984" y="6096"/>
                </a:lnTo>
                <a:lnTo>
                  <a:pt x="11983" y="6107"/>
                </a:lnTo>
                <a:lnTo>
                  <a:pt x="11987" y="6117"/>
                </a:lnTo>
                <a:lnTo>
                  <a:pt x="11996" y="6128"/>
                </a:lnTo>
                <a:lnTo>
                  <a:pt x="12001" y="6117"/>
                </a:lnTo>
                <a:lnTo>
                  <a:pt x="12001" y="6107"/>
                </a:lnTo>
                <a:lnTo>
                  <a:pt x="11997" y="6096"/>
                </a:lnTo>
                <a:lnTo>
                  <a:pt x="11987" y="6086"/>
                </a:lnTo>
                <a:close/>
                <a:moveTo>
                  <a:pt x="11955" y="5902"/>
                </a:moveTo>
                <a:lnTo>
                  <a:pt x="11943" y="5900"/>
                </a:lnTo>
                <a:lnTo>
                  <a:pt x="11941" y="5908"/>
                </a:lnTo>
                <a:lnTo>
                  <a:pt x="11943" y="5921"/>
                </a:lnTo>
                <a:lnTo>
                  <a:pt x="11950" y="5933"/>
                </a:lnTo>
                <a:lnTo>
                  <a:pt x="11956" y="5919"/>
                </a:lnTo>
                <a:lnTo>
                  <a:pt x="11960" y="5912"/>
                </a:lnTo>
                <a:lnTo>
                  <a:pt x="11959" y="5907"/>
                </a:lnTo>
                <a:lnTo>
                  <a:pt x="11955" y="5902"/>
                </a:lnTo>
                <a:close/>
                <a:moveTo>
                  <a:pt x="11706" y="6659"/>
                </a:moveTo>
                <a:lnTo>
                  <a:pt x="11695" y="6662"/>
                </a:lnTo>
                <a:lnTo>
                  <a:pt x="11686" y="6663"/>
                </a:lnTo>
                <a:lnTo>
                  <a:pt x="11680" y="6667"/>
                </a:lnTo>
                <a:lnTo>
                  <a:pt x="11676" y="6673"/>
                </a:lnTo>
                <a:lnTo>
                  <a:pt x="11686" y="6679"/>
                </a:lnTo>
                <a:lnTo>
                  <a:pt x="11698" y="6679"/>
                </a:lnTo>
                <a:lnTo>
                  <a:pt x="11705" y="6673"/>
                </a:lnTo>
                <a:lnTo>
                  <a:pt x="11706" y="6659"/>
                </a:lnTo>
                <a:close/>
                <a:moveTo>
                  <a:pt x="11955" y="5246"/>
                </a:moveTo>
                <a:lnTo>
                  <a:pt x="11954" y="5251"/>
                </a:lnTo>
                <a:lnTo>
                  <a:pt x="11955" y="5251"/>
                </a:lnTo>
                <a:lnTo>
                  <a:pt x="11955" y="5250"/>
                </a:lnTo>
                <a:lnTo>
                  <a:pt x="11955" y="5246"/>
                </a:lnTo>
                <a:close/>
                <a:moveTo>
                  <a:pt x="11955" y="5296"/>
                </a:moveTo>
                <a:lnTo>
                  <a:pt x="11968" y="5302"/>
                </a:lnTo>
                <a:lnTo>
                  <a:pt x="11973" y="5289"/>
                </a:lnTo>
                <a:lnTo>
                  <a:pt x="11968" y="5268"/>
                </a:lnTo>
                <a:lnTo>
                  <a:pt x="11955" y="5254"/>
                </a:lnTo>
                <a:lnTo>
                  <a:pt x="11954" y="5264"/>
                </a:lnTo>
                <a:lnTo>
                  <a:pt x="11954" y="5274"/>
                </a:lnTo>
                <a:lnTo>
                  <a:pt x="11954" y="5286"/>
                </a:lnTo>
                <a:lnTo>
                  <a:pt x="11955" y="5296"/>
                </a:lnTo>
                <a:close/>
                <a:moveTo>
                  <a:pt x="11854" y="5314"/>
                </a:moveTo>
                <a:lnTo>
                  <a:pt x="11857" y="5291"/>
                </a:lnTo>
                <a:lnTo>
                  <a:pt x="11852" y="5283"/>
                </a:lnTo>
                <a:lnTo>
                  <a:pt x="11838" y="5284"/>
                </a:lnTo>
                <a:lnTo>
                  <a:pt x="11820" y="5288"/>
                </a:lnTo>
                <a:lnTo>
                  <a:pt x="11827" y="5294"/>
                </a:lnTo>
                <a:lnTo>
                  <a:pt x="11833" y="5298"/>
                </a:lnTo>
                <a:lnTo>
                  <a:pt x="11839" y="5303"/>
                </a:lnTo>
                <a:lnTo>
                  <a:pt x="11854" y="5314"/>
                </a:lnTo>
                <a:close/>
                <a:moveTo>
                  <a:pt x="11886" y="5124"/>
                </a:moveTo>
                <a:lnTo>
                  <a:pt x="11892" y="5126"/>
                </a:lnTo>
                <a:lnTo>
                  <a:pt x="11901" y="5128"/>
                </a:lnTo>
                <a:lnTo>
                  <a:pt x="11908" y="5125"/>
                </a:lnTo>
                <a:lnTo>
                  <a:pt x="11912" y="5120"/>
                </a:lnTo>
                <a:lnTo>
                  <a:pt x="11904" y="5107"/>
                </a:lnTo>
                <a:lnTo>
                  <a:pt x="11889" y="5102"/>
                </a:lnTo>
                <a:lnTo>
                  <a:pt x="11878" y="5107"/>
                </a:lnTo>
                <a:lnTo>
                  <a:pt x="11886" y="5124"/>
                </a:lnTo>
                <a:close/>
                <a:moveTo>
                  <a:pt x="11885" y="5092"/>
                </a:moveTo>
                <a:lnTo>
                  <a:pt x="11884" y="5096"/>
                </a:lnTo>
                <a:lnTo>
                  <a:pt x="11884" y="5098"/>
                </a:lnTo>
                <a:lnTo>
                  <a:pt x="11885" y="5095"/>
                </a:lnTo>
                <a:lnTo>
                  <a:pt x="11885" y="5092"/>
                </a:lnTo>
                <a:close/>
                <a:moveTo>
                  <a:pt x="11661" y="9387"/>
                </a:moveTo>
                <a:lnTo>
                  <a:pt x="11656" y="9409"/>
                </a:lnTo>
                <a:lnTo>
                  <a:pt x="11658" y="9423"/>
                </a:lnTo>
                <a:lnTo>
                  <a:pt x="11666" y="9421"/>
                </a:lnTo>
                <a:lnTo>
                  <a:pt x="11676" y="9398"/>
                </a:lnTo>
                <a:lnTo>
                  <a:pt x="11677" y="9395"/>
                </a:lnTo>
                <a:lnTo>
                  <a:pt x="11675" y="9391"/>
                </a:lnTo>
                <a:lnTo>
                  <a:pt x="11670" y="9388"/>
                </a:lnTo>
                <a:lnTo>
                  <a:pt x="11661" y="9387"/>
                </a:lnTo>
                <a:close/>
                <a:moveTo>
                  <a:pt x="11994" y="5433"/>
                </a:moveTo>
                <a:lnTo>
                  <a:pt x="11978" y="5424"/>
                </a:lnTo>
                <a:lnTo>
                  <a:pt x="11968" y="5428"/>
                </a:lnTo>
                <a:lnTo>
                  <a:pt x="11966" y="5440"/>
                </a:lnTo>
                <a:lnTo>
                  <a:pt x="11976" y="5456"/>
                </a:lnTo>
                <a:lnTo>
                  <a:pt x="11985" y="5450"/>
                </a:lnTo>
                <a:lnTo>
                  <a:pt x="11992" y="5445"/>
                </a:lnTo>
                <a:lnTo>
                  <a:pt x="11996" y="5440"/>
                </a:lnTo>
                <a:lnTo>
                  <a:pt x="11994" y="5433"/>
                </a:lnTo>
                <a:close/>
                <a:moveTo>
                  <a:pt x="11752" y="7512"/>
                </a:moveTo>
                <a:lnTo>
                  <a:pt x="11741" y="7520"/>
                </a:lnTo>
                <a:lnTo>
                  <a:pt x="11737" y="7528"/>
                </a:lnTo>
                <a:lnTo>
                  <a:pt x="11738" y="7540"/>
                </a:lnTo>
                <a:lnTo>
                  <a:pt x="11740" y="7551"/>
                </a:lnTo>
                <a:lnTo>
                  <a:pt x="11752" y="7539"/>
                </a:lnTo>
                <a:lnTo>
                  <a:pt x="11757" y="7530"/>
                </a:lnTo>
                <a:lnTo>
                  <a:pt x="11757" y="7522"/>
                </a:lnTo>
                <a:lnTo>
                  <a:pt x="11752" y="7512"/>
                </a:lnTo>
                <a:close/>
                <a:moveTo>
                  <a:pt x="11812" y="2241"/>
                </a:moveTo>
                <a:lnTo>
                  <a:pt x="11788" y="2229"/>
                </a:lnTo>
                <a:lnTo>
                  <a:pt x="11770" y="2224"/>
                </a:lnTo>
                <a:lnTo>
                  <a:pt x="11766" y="2228"/>
                </a:lnTo>
                <a:lnTo>
                  <a:pt x="11791" y="2245"/>
                </a:lnTo>
                <a:lnTo>
                  <a:pt x="11796" y="2247"/>
                </a:lnTo>
                <a:lnTo>
                  <a:pt x="11802" y="2248"/>
                </a:lnTo>
                <a:lnTo>
                  <a:pt x="11807" y="2247"/>
                </a:lnTo>
                <a:lnTo>
                  <a:pt x="11812" y="2241"/>
                </a:lnTo>
                <a:close/>
                <a:moveTo>
                  <a:pt x="11751" y="5900"/>
                </a:moveTo>
                <a:lnTo>
                  <a:pt x="11754" y="5914"/>
                </a:lnTo>
                <a:lnTo>
                  <a:pt x="11759" y="5930"/>
                </a:lnTo>
                <a:lnTo>
                  <a:pt x="11773" y="5921"/>
                </a:lnTo>
                <a:lnTo>
                  <a:pt x="11774" y="5909"/>
                </a:lnTo>
                <a:lnTo>
                  <a:pt x="11766" y="5900"/>
                </a:lnTo>
                <a:lnTo>
                  <a:pt x="11751" y="5900"/>
                </a:lnTo>
                <a:close/>
                <a:moveTo>
                  <a:pt x="11508" y="8032"/>
                </a:moveTo>
                <a:lnTo>
                  <a:pt x="11508" y="8024"/>
                </a:lnTo>
                <a:lnTo>
                  <a:pt x="11501" y="8016"/>
                </a:lnTo>
                <a:lnTo>
                  <a:pt x="11491" y="8013"/>
                </a:lnTo>
                <a:lnTo>
                  <a:pt x="11482" y="8017"/>
                </a:lnTo>
                <a:lnTo>
                  <a:pt x="11482" y="8027"/>
                </a:lnTo>
                <a:lnTo>
                  <a:pt x="11489" y="8035"/>
                </a:lnTo>
                <a:lnTo>
                  <a:pt x="11499" y="8038"/>
                </a:lnTo>
                <a:lnTo>
                  <a:pt x="11508" y="8032"/>
                </a:lnTo>
                <a:close/>
                <a:moveTo>
                  <a:pt x="11731" y="8348"/>
                </a:moveTo>
                <a:lnTo>
                  <a:pt x="11723" y="8347"/>
                </a:lnTo>
                <a:lnTo>
                  <a:pt x="11715" y="8351"/>
                </a:lnTo>
                <a:lnTo>
                  <a:pt x="11709" y="8358"/>
                </a:lnTo>
                <a:lnTo>
                  <a:pt x="11703" y="8365"/>
                </a:lnTo>
                <a:lnTo>
                  <a:pt x="11713" y="8371"/>
                </a:lnTo>
                <a:lnTo>
                  <a:pt x="11723" y="8369"/>
                </a:lnTo>
                <a:lnTo>
                  <a:pt x="11731" y="8361"/>
                </a:lnTo>
                <a:lnTo>
                  <a:pt x="11731" y="8348"/>
                </a:lnTo>
                <a:close/>
                <a:moveTo>
                  <a:pt x="11477" y="6920"/>
                </a:moveTo>
                <a:lnTo>
                  <a:pt x="11475" y="6928"/>
                </a:lnTo>
                <a:lnTo>
                  <a:pt x="11476" y="6935"/>
                </a:lnTo>
                <a:lnTo>
                  <a:pt x="11482" y="6944"/>
                </a:lnTo>
                <a:lnTo>
                  <a:pt x="11491" y="6954"/>
                </a:lnTo>
                <a:lnTo>
                  <a:pt x="11496" y="6935"/>
                </a:lnTo>
                <a:lnTo>
                  <a:pt x="11496" y="6920"/>
                </a:lnTo>
                <a:lnTo>
                  <a:pt x="11491" y="6912"/>
                </a:lnTo>
                <a:lnTo>
                  <a:pt x="11477" y="6920"/>
                </a:lnTo>
                <a:close/>
                <a:moveTo>
                  <a:pt x="11857" y="7251"/>
                </a:moveTo>
                <a:lnTo>
                  <a:pt x="11841" y="7252"/>
                </a:lnTo>
                <a:lnTo>
                  <a:pt x="11843" y="7262"/>
                </a:lnTo>
                <a:lnTo>
                  <a:pt x="11857" y="7274"/>
                </a:lnTo>
                <a:lnTo>
                  <a:pt x="11875" y="7278"/>
                </a:lnTo>
                <a:lnTo>
                  <a:pt x="11880" y="7270"/>
                </a:lnTo>
                <a:lnTo>
                  <a:pt x="11877" y="7262"/>
                </a:lnTo>
                <a:lnTo>
                  <a:pt x="11868" y="7256"/>
                </a:lnTo>
                <a:lnTo>
                  <a:pt x="11857" y="7251"/>
                </a:lnTo>
                <a:close/>
                <a:moveTo>
                  <a:pt x="11666" y="7516"/>
                </a:moveTo>
                <a:lnTo>
                  <a:pt x="11661" y="7532"/>
                </a:lnTo>
                <a:lnTo>
                  <a:pt x="11658" y="7542"/>
                </a:lnTo>
                <a:lnTo>
                  <a:pt x="11662" y="7550"/>
                </a:lnTo>
                <a:lnTo>
                  <a:pt x="11670" y="7560"/>
                </a:lnTo>
                <a:lnTo>
                  <a:pt x="11675" y="7550"/>
                </a:lnTo>
                <a:lnTo>
                  <a:pt x="11677" y="7540"/>
                </a:lnTo>
                <a:lnTo>
                  <a:pt x="11676" y="7530"/>
                </a:lnTo>
                <a:lnTo>
                  <a:pt x="11666" y="7516"/>
                </a:lnTo>
                <a:close/>
                <a:moveTo>
                  <a:pt x="11898" y="5291"/>
                </a:moveTo>
                <a:lnTo>
                  <a:pt x="11896" y="5302"/>
                </a:lnTo>
                <a:lnTo>
                  <a:pt x="11894" y="5312"/>
                </a:lnTo>
                <a:lnTo>
                  <a:pt x="11895" y="5325"/>
                </a:lnTo>
                <a:lnTo>
                  <a:pt x="11906" y="5336"/>
                </a:lnTo>
                <a:lnTo>
                  <a:pt x="11910" y="5320"/>
                </a:lnTo>
                <a:lnTo>
                  <a:pt x="11912" y="5310"/>
                </a:lnTo>
                <a:lnTo>
                  <a:pt x="11908" y="5301"/>
                </a:lnTo>
                <a:lnTo>
                  <a:pt x="11898" y="5291"/>
                </a:lnTo>
                <a:close/>
                <a:moveTo>
                  <a:pt x="11589" y="7253"/>
                </a:moveTo>
                <a:lnTo>
                  <a:pt x="11571" y="7260"/>
                </a:lnTo>
                <a:lnTo>
                  <a:pt x="11575" y="7276"/>
                </a:lnTo>
                <a:lnTo>
                  <a:pt x="11589" y="7287"/>
                </a:lnTo>
                <a:lnTo>
                  <a:pt x="11600" y="7271"/>
                </a:lnTo>
                <a:lnTo>
                  <a:pt x="11601" y="7266"/>
                </a:lnTo>
                <a:lnTo>
                  <a:pt x="11601" y="7261"/>
                </a:lnTo>
                <a:lnTo>
                  <a:pt x="11597" y="7257"/>
                </a:lnTo>
                <a:lnTo>
                  <a:pt x="11589" y="7253"/>
                </a:lnTo>
                <a:close/>
                <a:moveTo>
                  <a:pt x="11606" y="8204"/>
                </a:moveTo>
                <a:lnTo>
                  <a:pt x="11606" y="8204"/>
                </a:lnTo>
                <a:lnTo>
                  <a:pt x="11606" y="8204"/>
                </a:lnTo>
                <a:lnTo>
                  <a:pt x="11603" y="8206"/>
                </a:lnTo>
                <a:lnTo>
                  <a:pt x="11606" y="8204"/>
                </a:lnTo>
                <a:close/>
                <a:moveTo>
                  <a:pt x="11799" y="5184"/>
                </a:moveTo>
                <a:lnTo>
                  <a:pt x="11812" y="5194"/>
                </a:lnTo>
                <a:lnTo>
                  <a:pt x="11830" y="5193"/>
                </a:lnTo>
                <a:lnTo>
                  <a:pt x="11844" y="5180"/>
                </a:lnTo>
                <a:lnTo>
                  <a:pt x="11844" y="5162"/>
                </a:lnTo>
                <a:lnTo>
                  <a:pt x="11820" y="5165"/>
                </a:lnTo>
                <a:lnTo>
                  <a:pt x="11805" y="5168"/>
                </a:lnTo>
                <a:lnTo>
                  <a:pt x="11799" y="5175"/>
                </a:lnTo>
                <a:lnTo>
                  <a:pt x="11799" y="5184"/>
                </a:lnTo>
                <a:close/>
                <a:moveTo>
                  <a:pt x="11694" y="8451"/>
                </a:moveTo>
                <a:lnTo>
                  <a:pt x="11698" y="8463"/>
                </a:lnTo>
                <a:lnTo>
                  <a:pt x="11706" y="8472"/>
                </a:lnTo>
                <a:lnTo>
                  <a:pt x="11718" y="8474"/>
                </a:lnTo>
                <a:lnTo>
                  <a:pt x="11728" y="8473"/>
                </a:lnTo>
                <a:lnTo>
                  <a:pt x="11736" y="8455"/>
                </a:lnTo>
                <a:lnTo>
                  <a:pt x="11726" y="8444"/>
                </a:lnTo>
                <a:lnTo>
                  <a:pt x="11708" y="8441"/>
                </a:lnTo>
                <a:lnTo>
                  <a:pt x="11694" y="8451"/>
                </a:lnTo>
                <a:close/>
                <a:moveTo>
                  <a:pt x="11628" y="8007"/>
                </a:moveTo>
                <a:lnTo>
                  <a:pt x="11628" y="8026"/>
                </a:lnTo>
                <a:lnTo>
                  <a:pt x="11628" y="8045"/>
                </a:lnTo>
                <a:lnTo>
                  <a:pt x="11628" y="8063"/>
                </a:lnTo>
                <a:lnTo>
                  <a:pt x="11628" y="8081"/>
                </a:lnTo>
                <a:lnTo>
                  <a:pt x="11640" y="8059"/>
                </a:lnTo>
                <a:lnTo>
                  <a:pt x="11644" y="8040"/>
                </a:lnTo>
                <a:lnTo>
                  <a:pt x="11639" y="8024"/>
                </a:lnTo>
                <a:lnTo>
                  <a:pt x="11628" y="8007"/>
                </a:lnTo>
                <a:close/>
                <a:moveTo>
                  <a:pt x="11889" y="6851"/>
                </a:moveTo>
                <a:lnTo>
                  <a:pt x="11890" y="6864"/>
                </a:lnTo>
                <a:lnTo>
                  <a:pt x="11896" y="6877"/>
                </a:lnTo>
                <a:lnTo>
                  <a:pt x="11909" y="6887"/>
                </a:lnTo>
                <a:lnTo>
                  <a:pt x="11927" y="6897"/>
                </a:lnTo>
                <a:lnTo>
                  <a:pt x="11941" y="6879"/>
                </a:lnTo>
                <a:lnTo>
                  <a:pt x="11934" y="6864"/>
                </a:lnTo>
                <a:lnTo>
                  <a:pt x="11914" y="6852"/>
                </a:lnTo>
                <a:lnTo>
                  <a:pt x="11889" y="6851"/>
                </a:lnTo>
                <a:close/>
                <a:moveTo>
                  <a:pt x="11726" y="8271"/>
                </a:moveTo>
                <a:lnTo>
                  <a:pt x="11749" y="8260"/>
                </a:lnTo>
                <a:lnTo>
                  <a:pt x="11742" y="8246"/>
                </a:lnTo>
                <a:lnTo>
                  <a:pt x="11724" y="8230"/>
                </a:lnTo>
                <a:lnTo>
                  <a:pt x="11718" y="8213"/>
                </a:lnTo>
                <a:lnTo>
                  <a:pt x="11699" y="8229"/>
                </a:lnTo>
                <a:lnTo>
                  <a:pt x="11689" y="8243"/>
                </a:lnTo>
                <a:lnTo>
                  <a:pt x="11696" y="8257"/>
                </a:lnTo>
                <a:lnTo>
                  <a:pt x="11726" y="8271"/>
                </a:lnTo>
                <a:close/>
                <a:moveTo>
                  <a:pt x="11726" y="8179"/>
                </a:moveTo>
                <a:lnTo>
                  <a:pt x="11710" y="8148"/>
                </a:lnTo>
                <a:lnTo>
                  <a:pt x="11696" y="8155"/>
                </a:lnTo>
                <a:lnTo>
                  <a:pt x="11694" y="8181"/>
                </a:lnTo>
                <a:lnTo>
                  <a:pt x="11718" y="8212"/>
                </a:lnTo>
                <a:lnTo>
                  <a:pt x="11741" y="8209"/>
                </a:lnTo>
                <a:lnTo>
                  <a:pt x="11749" y="8202"/>
                </a:lnTo>
                <a:lnTo>
                  <a:pt x="11742" y="8190"/>
                </a:lnTo>
                <a:lnTo>
                  <a:pt x="11726" y="8179"/>
                </a:lnTo>
                <a:close/>
                <a:moveTo>
                  <a:pt x="11500" y="10322"/>
                </a:moveTo>
                <a:lnTo>
                  <a:pt x="11510" y="10324"/>
                </a:lnTo>
                <a:lnTo>
                  <a:pt x="11521" y="10297"/>
                </a:lnTo>
                <a:lnTo>
                  <a:pt x="11527" y="10263"/>
                </a:lnTo>
                <a:lnTo>
                  <a:pt x="11526" y="10241"/>
                </a:lnTo>
                <a:lnTo>
                  <a:pt x="11518" y="10261"/>
                </a:lnTo>
                <a:lnTo>
                  <a:pt x="11512" y="10282"/>
                </a:lnTo>
                <a:lnTo>
                  <a:pt x="11505" y="10302"/>
                </a:lnTo>
                <a:lnTo>
                  <a:pt x="11500" y="10322"/>
                </a:lnTo>
                <a:close/>
                <a:moveTo>
                  <a:pt x="11575" y="6875"/>
                </a:moveTo>
                <a:lnTo>
                  <a:pt x="11556" y="6870"/>
                </a:lnTo>
                <a:lnTo>
                  <a:pt x="11545" y="6882"/>
                </a:lnTo>
                <a:lnTo>
                  <a:pt x="11542" y="6901"/>
                </a:lnTo>
                <a:lnTo>
                  <a:pt x="11555" y="6923"/>
                </a:lnTo>
                <a:lnTo>
                  <a:pt x="11570" y="6911"/>
                </a:lnTo>
                <a:lnTo>
                  <a:pt x="11579" y="6900"/>
                </a:lnTo>
                <a:lnTo>
                  <a:pt x="11580" y="6888"/>
                </a:lnTo>
                <a:lnTo>
                  <a:pt x="11575" y="6875"/>
                </a:lnTo>
                <a:close/>
                <a:moveTo>
                  <a:pt x="11705" y="6912"/>
                </a:moveTo>
                <a:lnTo>
                  <a:pt x="11676" y="6896"/>
                </a:lnTo>
                <a:lnTo>
                  <a:pt x="11657" y="6920"/>
                </a:lnTo>
                <a:lnTo>
                  <a:pt x="11661" y="6949"/>
                </a:lnTo>
                <a:lnTo>
                  <a:pt x="11696" y="6947"/>
                </a:lnTo>
                <a:lnTo>
                  <a:pt x="11685" y="6940"/>
                </a:lnTo>
                <a:lnTo>
                  <a:pt x="11678" y="6931"/>
                </a:lnTo>
                <a:lnTo>
                  <a:pt x="11684" y="6921"/>
                </a:lnTo>
                <a:lnTo>
                  <a:pt x="11705" y="6912"/>
                </a:lnTo>
                <a:close/>
                <a:moveTo>
                  <a:pt x="11408" y="7861"/>
                </a:moveTo>
                <a:lnTo>
                  <a:pt x="11407" y="7876"/>
                </a:lnTo>
                <a:lnTo>
                  <a:pt x="11414" y="7886"/>
                </a:lnTo>
                <a:lnTo>
                  <a:pt x="11425" y="7891"/>
                </a:lnTo>
                <a:lnTo>
                  <a:pt x="11443" y="7887"/>
                </a:lnTo>
                <a:lnTo>
                  <a:pt x="11443" y="7864"/>
                </a:lnTo>
                <a:lnTo>
                  <a:pt x="11435" y="7844"/>
                </a:lnTo>
                <a:lnTo>
                  <a:pt x="11424" y="7839"/>
                </a:lnTo>
                <a:lnTo>
                  <a:pt x="11408" y="7861"/>
                </a:lnTo>
                <a:close/>
                <a:moveTo>
                  <a:pt x="11587" y="7470"/>
                </a:moveTo>
                <a:lnTo>
                  <a:pt x="11616" y="7452"/>
                </a:lnTo>
                <a:lnTo>
                  <a:pt x="11602" y="7428"/>
                </a:lnTo>
                <a:lnTo>
                  <a:pt x="11569" y="7410"/>
                </a:lnTo>
                <a:lnTo>
                  <a:pt x="11541" y="7411"/>
                </a:lnTo>
                <a:lnTo>
                  <a:pt x="11561" y="7420"/>
                </a:lnTo>
                <a:lnTo>
                  <a:pt x="11578" y="7433"/>
                </a:lnTo>
                <a:lnTo>
                  <a:pt x="11587" y="7448"/>
                </a:lnTo>
                <a:lnTo>
                  <a:pt x="11587" y="7470"/>
                </a:lnTo>
                <a:close/>
                <a:moveTo>
                  <a:pt x="11824" y="7649"/>
                </a:moveTo>
                <a:lnTo>
                  <a:pt x="11838" y="7610"/>
                </a:lnTo>
                <a:lnTo>
                  <a:pt x="11822" y="7583"/>
                </a:lnTo>
                <a:lnTo>
                  <a:pt x="11796" y="7574"/>
                </a:lnTo>
                <a:lnTo>
                  <a:pt x="11774" y="7588"/>
                </a:lnTo>
                <a:lnTo>
                  <a:pt x="11808" y="7600"/>
                </a:lnTo>
                <a:lnTo>
                  <a:pt x="11812" y="7612"/>
                </a:lnTo>
                <a:lnTo>
                  <a:pt x="11810" y="7629"/>
                </a:lnTo>
                <a:lnTo>
                  <a:pt x="11824" y="7649"/>
                </a:lnTo>
                <a:close/>
                <a:moveTo>
                  <a:pt x="11852" y="7147"/>
                </a:moveTo>
                <a:lnTo>
                  <a:pt x="11853" y="7168"/>
                </a:lnTo>
                <a:lnTo>
                  <a:pt x="11849" y="7190"/>
                </a:lnTo>
                <a:lnTo>
                  <a:pt x="11854" y="7203"/>
                </a:lnTo>
                <a:lnTo>
                  <a:pt x="11880" y="7201"/>
                </a:lnTo>
                <a:lnTo>
                  <a:pt x="11894" y="7182"/>
                </a:lnTo>
                <a:lnTo>
                  <a:pt x="11887" y="7155"/>
                </a:lnTo>
                <a:lnTo>
                  <a:pt x="11871" y="7139"/>
                </a:lnTo>
                <a:lnTo>
                  <a:pt x="11852" y="7147"/>
                </a:lnTo>
                <a:close/>
                <a:moveTo>
                  <a:pt x="11764" y="8108"/>
                </a:moveTo>
                <a:lnTo>
                  <a:pt x="11752" y="8128"/>
                </a:lnTo>
                <a:lnTo>
                  <a:pt x="11746" y="8146"/>
                </a:lnTo>
                <a:lnTo>
                  <a:pt x="11746" y="8165"/>
                </a:lnTo>
                <a:lnTo>
                  <a:pt x="11751" y="8190"/>
                </a:lnTo>
                <a:lnTo>
                  <a:pt x="11778" y="8180"/>
                </a:lnTo>
                <a:lnTo>
                  <a:pt x="11784" y="8157"/>
                </a:lnTo>
                <a:lnTo>
                  <a:pt x="11777" y="8131"/>
                </a:lnTo>
                <a:lnTo>
                  <a:pt x="11764" y="8108"/>
                </a:lnTo>
                <a:close/>
                <a:moveTo>
                  <a:pt x="11751" y="8192"/>
                </a:moveTo>
                <a:lnTo>
                  <a:pt x="11750" y="8190"/>
                </a:lnTo>
                <a:lnTo>
                  <a:pt x="11751" y="8192"/>
                </a:lnTo>
                <a:lnTo>
                  <a:pt x="11750" y="8190"/>
                </a:lnTo>
                <a:lnTo>
                  <a:pt x="11751" y="8192"/>
                </a:lnTo>
                <a:close/>
                <a:moveTo>
                  <a:pt x="11886" y="7008"/>
                </a:moveTo>
                <a:lnTo>
                  <a:pt x="11875" y="7038"/>
                </a:lnTo>
                <a:lnTo>
                  <a:pt x="11871" y="7066"/>
                </a:lnTo>
                <a:lnTo>
                  <a:pt x="11878" y="7084"/>
                </a:lnTo>
                <a:lnTo>
                  <a:pt x="11904" y="7085"/>
                </a:lnTo>
                <a:lnTo>
                  <a:pt x="11914" y="7070"/>
                </a:lnTo>
                <a:lnTo>
                  <a:pt x="11909" y="7051"/>
                </a:lnTo>
                <a:lnTo>
                  <a:pt x="11898" y="7031"/>
                </a:lnTo>
                <a:lnTo>
                  <a:pt x="11886" y="7008"/>
                </a:lnTo>
                <a:close/>
                <a:moveTo>
                  <a:pt x="11881" y="6942"/>
                </a:moveTo>
                <a:lnTo>
                  <a:pt x="11854" y="6948"/>
                </a:lnTo>
                <a:lnTo>
                  <a:pt x="11873" y="6961"/>
                </a:lnTo>
                <a:lnTo>
                  <a:pt x="11908" y="6981"/>
                </a:lnTo>
                <a:lnTo>
                  <a:pt x="11931" y="7009"/>
                </a:lnTo>
                <a:lnTo>
                  <a:pt x="11937" y="6981"/>
                </a:lnTo>
                <a:lnTo>
                  <a:pt x="11932" y="6959"/>
                </a:lnTo>
                <a:lnTo>
                  <a:pt x="11914" y="6945"/>
                </a:lnTo>
                <a:lnTo>
                  <a:pt x="11881" y="6942"/>
                </a:lnTo>
                <a:close/>
                <a:moveTo>
                  <a:pt x="11465" y="7752"/>
                </a:moveTo>
                <a:lnTo>
                  <a:pt x="11473" y="7723"/>
                </a:lnTo>
                <a:lnTo>
                  <a:pt x="11448" y="7709"/>
                </a:lnTo>
                <a:lnTo>
                  <a:pt x="11415" y="7716"/>
                </a:lnTo>
                <a:lnTo>
                  <a:pt x="11400" y="7744"/>
                </a:lnTo>
                <a:lnTo>
                  <a:pt x="11416" y="7742"/>
                </a:lnTo>
                <a:lnTo>
                  <a:pt x="11431" y="7746"/>
                </a:lnTo>
                <a:lnTo>
                  <a:pt x="11448" y="7751"/>
                </a:lnTo>
                <a:lnTo>
                  <a:pt x="11465" y="7752"/>
                </a:lnTo>
                <a:close/>
                <a:moveTo>
                  <a:pt x="11398" y="7745"/>
                </a:moveTo>
                <a:lnTo>
                  <a:pt x="11398" y="7745"/>
                </a:lnTo>
                <a:lnTo>
                  <a:pt x="11398" y="7745"/>
                </a:lnTo>
                <a:lnTo>
                  <a:pt x="11398" y="7745"/>
                </a:lnTo>
                <a:lnTo>
                  <a:pt x="11398" y="7745"/>
                </a:lnTo>
                <a:lnTo>
                  <a:pt x="11398" y="7745"/>
                </a:lnTo>
                <a:lnTo>
                  <a:pt x="11400" y="7745"/>
                </a:lnTo>
                <a:lnTo>
                  <a:pt x="11398" y="7745"/>
                </a:lnTo>
                <a:lnTo>
                  <a:pt x="11398" y="7745"/>
                </a:lnTo>
                <a:lnTo>
                  <a:pt x="11398" y="7745"/>
                </a:lnTo>
                <a:lnTo>
                  <a:pt x="11398" y="7745"/>
                </a:lnTo>
                <a:close/>
                <a:moveTo>
                  <a:pt x="11398" y="7745"/>
                </a:moveTo>
                <a:lnTo>
                  <a:pt x="11398" y="7745"/>
                </a:lnTo>
                <a:lnTo>
                  <a:pt x="11398" y="7745"/>
                </a:lnTo>
                <a:close/>
                <a:moveTo>
                  <a:pt x="11927" y="6380"/>
                </a:moveTo>
                <a:lnTo>
                  <a:pt x="11947" y="6407"/>
                </a:lnTo>
                <a:lnTo>
                  <a:pt x="11962" y="6398"/>
                </a:lnTo>
                <a:lnTo>
                  <a:pt x="11979" y="6379"/>
                </a:lnTo>
                <a:lnTo>
                  <a:pt x="12006" y="6375"/>
                </a:lnTo>
                <a:lnTo>
                  <a:pt x="11985" y="6342"/>
                </a:lnTo>
                <a:lnTo>
                  <a:pt x="11966" y="6338"/>
                </a:lnTo>
                <a:lnTo>
                  <a:pt x="11946" y="6355"/>
                </a:lnTo>
                <a:lnTo>
                  <a:pt x="11927" y="6380"/>
                </a:lnTo>
                <a:close/>
                <a:moveTo>
                  <a:pt x="11948" y="6412"/>
                </a:moveTo>
                <a:lnTo>
                  <a:pt x="11948" y="6412"/>
                </a:lnTo>
                <a:lnTo>
                  <a:pt x="11947" y="6412"/>
                </a:lnTo>
                <a:lnTo>
                  <a:pt x="11948" y="6412"/>
                </a:lnTo>
                <a:close/>
                <a:moveTo>
                  <a:pt x="11868" y="7395"/>
                </a:moveTo>
                <a:lnTo>
                  <a:pt x="11880" y="7355"/>
                </a:lnTo>
                <a:lnTo>
                  <a:pt x="11859" y="7322"/>
                </a:lnTo>
                <a:lnTo>
                  <a:pt x="11836" y="7311"/>
                </a:lnTo>
                <a:lnTo>
                  <a:pt x="11835" y="7334"/>
                </a:lnTo>
                <a:lnTo>
                  <a:pt x="11854" y="7353"/>
                </a:lnTo>
                <a:lnTo>
                  <a:pt x="11848" y="7369"/>
                </a:lnTo>
                <a:lnTo>
                  <a:pt x="11843" y="7383"/>
                </a:lnTo>
                <a:lnTo>
                  <a:pt x="11868" y="7395"/>
                </a:lnTo>
                <a:close/>
                <a:moveTo>
                  <a:pt x="11959" y="6698"/>
                </a:moveTo>
                <a:lnTo>
                  <a:pt x="11961" y="6670"/>
                </a:lnTo>
                <a:lnTo>
                  <a:pt x="11965" y="6650"/>
                </a:lnTo>
                <a:lnTo>
                  <a:pt x="11955" y="6636"/>
                </a:lnTo>
                <a:lnTo>
                  <a:pt x="11915" y="6627"/>
                </a:lnTo>
                <a:lnTo>
                  <a:pt x="11914" y="6645"/>
                </a:lnTo>
                <a:lnTo>
                  <a:pt x="11914" y="6664"/>
                </a:lnTo>
                <a:lnTo>
                  <a:pt x="11924" y="6683"/>
                </a:lnTo>
                <a:lnTo>
                  <a:pt x="11959" y="6698"/>
                </a:lnTo>
                <a:close/>
                <a:moveTo>
                  <a:pt x="11438" y="7974"/>
                </a:moveTo>
                <a:lnTo>
                  <a:pt x="11470" y="7982"/>
                </a:lnTo>
                <a:lnTo>
                  <a:pt x="11493" y="7989"/>
                </a:lnTo>
                <a:lnTo>
                  <a:pt x="11514" y="7987"/>
                </a:lnTo>
                <a:lnTo>
                  <a:pt x="11538" y="7966"/>
                </a:lnTo>
                <a:lnTo>
                  <a:pt x="11489" y="7955"/>
                </a:lnTo>
                <a:lnTo>
                  <a:pt x="11437" y="7954"/>
                </a:lnTo>
                <a:lnTo>
                  <a:pt x="11411" y="7961"/>
                </a:lnTo>
                <a:lnTo>
                  <a:pt x="11438" y="7974"/>
                </a:lnTo>
                <a:close/>
                <a:moveTo>
                  <a:pt x="11857" y="5032"/>
                </a:moveTo>
                <a:lnTo>
                  <a:pt x="11829" y="5030"/>
                </a:lnTo>
                <a:lnTo>
                  <a:pt x="11816" y="5064"/>
                </a:lnTo>
                <a:lnTo>
                  <a:pt x="11821" y="5109"/>
                </a:lnTo>
                <a:lnTo>
                  <a:pt x="11841" y="5135"/>
                </a:lnTo>
                <a:lnTo>
                  <a:pt x="11853" y="5107"/>
                </a:lnTo>
                <a:lnTo>
                  <a:pt x="11861" y="5084"/>
                </a:lnTo>
                <a:lnTo>
                  <a:pt x="11862" y="5060"/>
                </a:lnTo>
                <a:lnTo>
                  <a:pt x="11857" y="5032"/>
                </a:lnTo>
                <a:close/>
                <a:moveTo>
                  <a:pt x="11780" y="2050"/>
                </a:moveTo>
                <a:lnTo>
                  <a:pt x="11789" y="2099"/>
                </a:lnTo>
                <a:lnTo>
                  <a:pt x="11817" y="2135"/>
                </a:lnTo>
                <a:lnTo>
                  <a:pt x="11840" y="2140"/>
                </a:lnTo>
                <a:lnTo>
                  <a:pt x="11829" y="2097"/>
                </a:lnTo>
                <a:lnTo>
                  <a:pt x="11824" y="2076"/>
                </a:lnTo>
                <a:lnTo>
                  <a:pt x="11816" y="2052"/>
                </a:lnTo>
                <a:lnTo>
                  <a:pt x="11803" y="2038"/>
                </a:lnTo>
                <a:lnTo>
                  <a:pt x="11780" y="2050"/>
                </a:lnTo>
                <a:close/>
                <a:moveTo>
                  <a:pt x="11493" y="8244"/>
                </a:moveTo>
                <a:lnTo>
                  <a:pt x="11537" y="8230"/>
                </a:lnTo>
                <a:lnTo>
                  <a:pt x="11521" y="8190"/>
                </a:lnTo>
                <a:lnTo>
                  <a:pt x="11476" y="8162"/>
                </a:lnTo>
                <a:lnTo>
                  <a:pt x="11433" y="8180"/>
                </a:lnTo>
                <a:lnTo>
                  <a:pt x="11467" y="8192"/>
                </a:lnTo>
                <a:lnTo>
                  <a:pt x="11493" y="8199"/>
                </a:lnTo>
                <a:lnTo>
                  <a:pt x="11501" y="8213"/>
                </a:lnTo>
                <a:lnTo>
                  <a:pt x="11493" y="8244"/>
                </a:lnTo>
                <a:close/>
                <a:moveTo>
                  <a:pt x="11737" y="6124"/>
                </a:moveTo>
                <a:lnTo>
                  <a:pt x="11718" y="6152"/>
                </a:lnTo>
                <a:lnTo>
                  <a:pt x="11714" y="6189"/>
                </a:lnTo>
                <a:lnTo>
                  <a:pt x="11727" y="6221"/>
                </a:lnTo>
                <a:lnTo>
                  <a:pt x="11756" y="6231"/>
                </a:lnTo>
                <a:lnTo>
                  <a:pt x="11761" y="6205"/>
                </a:lnTo>
                <a:lnTo>
                  <a:pt x="11764" y="6178"/>
                </a:lnTo>
                <a:lnTo>
                  <a:pt x="11757" y="6151"/>
                </a:lnTo>
                <a:lnTo>
                  <a:pt x="11737" y="6124"/>
                </a:lnTo>
                <a:close/>
                <a:moveTo>
                  <a:pt x="11825" y="4719"/>
                </a:moveTo>
                <a:lnTo>
                  <a:pt x="11843" y="4747"/>
                </a:lnTo>
                <a:lnTo>
                  <a:pt x="11862" y="4739"/>
                </a:lnTo>
                <a:lnTo>
                  <a:pt x="11873" y="4709"/>
                </a:lnTo>
                <a:lnTo>
                  <a:pt x="11871" y="4673"/>
                </a:lnTo>
                <a:lnTo>
                  <a:pt x="11843" y="4649"/>
                </a:lnTo>
                <a:lnTo>
                  <a:pt x="11816" y="4658"/>
                </a:lnTo>
                <a:lnTo>
                  <a:pt x="11805" y="4686"/>
                </a:lnTo>
                <a:lnTo>
                  <a:pt x="11825" y="4719"/>
                </a:lnTo>
                <a:close/>
                <a:moveTo>
                  <a:pt x="11831" y="7718"/>
                </a:moveTo>
                <a:lnTo>
                  <a:pt x="11824" y="7713"/>
                </a:lnTo>
                <a:lnTo>
                  <a:pt x="11822" y="7705"/>
                </a:lnTo>
                <a:lnTo>
                  <a:pt x="11826" y="7700"/>
                </a:lnTo>
                <a:lnTo>
                  <a:pt x="11835" y="7699"/>
                </a:lnTo>
                <a:lnTo>
                  <a:pt x="11835" y="7705"/>
                </a:lnTo>
                <a:lnTo>
                  <a:pt x="11836" y="7712"/>
                </a:lnTo>
                <a:lnTo>
                  <a:pt x="11835" y="7716"/>
                </a:lnTo>
                <a:lnTo>
                  <a:pt x="11831" y="7718"/>
                </a:lnTo>
                <a:close/>
                <a:moveTo>
                  <a:pt x="11770" y="7980"/>
                </a:moveTo>
                <a:lnTo>
                  <a:pt x="11779" y="7992"/>
                </a:lnTo>
                <a:lnTo>
                  <a:pt x="11787" y="7999"/>
                </a:lnTo>
                <a:lnTo>
                  <a:pt x="11778" y="7997"/>
                </a:lnTo>
                <a:lnTo>
                  <a:pt x="11773" y="7993"/>
                </a:lnTo>
                <a:lnTo>
                  <a:pt x="11771" y="7988"/>
                </a:lnTo>
                <a:lnTo>
                  <a:pt x="11770" y="7980"/>
                </a:lnTo>
                <a:close/>
                <a:moveTo>
                  <a:pt x="11835" y="7677"/>
                </a:moveTo>
                <a:lnTo>
                  <a:pt x="11778" y="7710"/>
                </a:lnTo>
                <a:lnTo>
                  <a:pt x="11760" y="7811"/>
                </a:lnTo>
                <a:lnTo>
                  <a:pt x="11760" y="7934"/>
                </a:lnTo>
                <a:lnTo>
                  <a:pt x="11756" y="8032"/>
                </a:lnTo>
                <a:lnTo>
                  <a:pt x="11727" y="8050"/>
                </a:lnTo>
                <a:lnTo>
                  <a:pt x="11755" y="8060"/>
                </a:lnTo>
                <a:lnTo>
                  <a:pt x="11802" y="8032"/>
                </a:lnTo>
                <a:lnTo>
                  <a:pt x="11825" y="7938"/>
                </a:lnTo>
                <a:lnTo>
                  <a:pt x="11812" y="7811"/>
                </a:lnTo>
                <a:lnTo>
                  <a:pt x="11838" y="7749"/>
                </a:lnTo>
                <a:lnTo>
                  <a:pt x="11859" y="7716"/>
                </a:lnTo>
                <a:lnTo>
                  <a:pt x="11835" y="7677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70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Freeform 14">
            <a:extLst>
              <a:ext uri="{FF2B5EF4-FFF2-40B4-BE49-F238E27FC236}">
                <a16:creationId xmlns:a16="http://schemas.microsoft.com/office/drawing/2014/main" id="{1A136867-3B84-E743-A1C3-2981F23A772C}"/>
              </a:ext>
            </a:extLst>
          </p:cNvPr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5664008" y="585013"/>
            <a:ext cx="5939947" cy="5792933"/>
          </a:xfrm>
          <a:custGeom>
            <a:avLst/>
            <a:gdLst>
              <a:gd name="T0" fmla="*/ 1524 w 11945"/>
              <a:gd name="T1" fmla="*/ 7447 h 12772"/>
              <a:gd name="T2" fmla="*/ 11172 w 11945"/>
              <a:gd name="T3" fmla="*/ 8291 h 12772"/>
              <a:gd name="T4" fmla="*/ 7772 w 11945"/>
              <a:gd name="T5" fmla="*/ 12327 h 12772"/>
              <a:gd name="T6" fmla="*/ 10419 w 11945"/>
              <a:gd name="T7" fmla="*/ 11010 h 12772"/>
              <a:gd name="T8" fmla="*/ 11600 w 11945"/>
              <a:gd name="T9" fmla="*/ 3598 h 12772"/>
              <a:gd name="T10" fmla="*/ 11467 w 11945"/>
              <a:gd name="T11" fmla="*/ 5581 h 12772"/>
              <a:gd name="T12" fmla="*/ 2071 w 11945"/>
              <a:gd name="T13" fmla="*/ 3511 h 12772"/>
              <a:gd name="T14" fmla="*/ 1040 w 11945"/>
              <a:gd name="T15" fmla="*/ 5942 h 12772"/>
              <a:gd name="T16" fmla="*/ 1740 w 11945"/>
              <a:gd name="T17" fmla="*/ 8572 h 12772"/>
              <a:gd name="T18" fmla="*/ 3050 w 11945"/>
              <a:gd name="T19" fmla="*/ 10592 h 12772"/>
              <a:gd name="T20" fmla="*/ 7101 w 11945"/>
              <a:gd name="T21" fmla="*/ 11837 h 12772"/>
              <a:gd name="T22" fmla="*/ 9862 w 11945"/>
              <a:gd name="T23" fmla="*/ 10451 h 12772"/>
              <a:gd name="T24" fmla="*/ 11412 w 11945"/>
              <a:gd name="T25" fmla="*/ 7877 h 12772"/>
              <a:gd name="T26" fmla="*/ 10925 w 11945"/>
              <a:gd name="T27" fmla="*/ 5358 h 12772"/>
              <a:gd name="T28" fmla="*/ 9805 w 11945"/>
              <a:gd name="T29" fmla="*/ 3579 h 12772"/>
              <a:gd name="T30" fmla="*/ 9849 w 11945"/>
              <a:gd name="T31" fmla="*/ 1813 h 12772"/>
              <a:gd name="T32" fmla="*/ 6846 w 11945"/>
              <a:gd name="T33" fmla="*/ 1509 h 12772"/>
              <a:gd name="T34" fmla="*/ 3950 w 11945"/>
              <a:gd name="T35" fmla="*/ 1250 h 12772"/>
              <a:gd name="T36" fmla="*/ 1033 w 11945"/>
              <a:gd name="T37" fmla="*/ 9321 h 12772"/>
              <a:gd name="T38" fmla="*/ 1133 w 11945"/>
              <a:gd name="T39" fmla="*/ 9944 h 12772"/>
              <a:gd name="T40" fmla="*/ 807 w 11945"/>
              <a:gd name="T41" fmla="*/ 8379 h 12772"/>
              <a:gd name="T42" fmla="*/ 11090 w 11945"/>
              <a:gd name="T43" fmla="*/ 3184 h 12772"/>
              <a:gd name="T44" fmla="*/ 8124 w 11945"/>
              <a:gd name="T45" fmla="*/ 1536 h 12772"/>
              <a:gd name="T46" fmla="*/ 3958 w 11945"/>
              <a:gd name="T47" fmla="*/ 11236 h 12772"/>
              <a:gd name="T48" fmla="*/ 2896 w 11945"/>
              <a:gd name="T49" fmla="*/ 989 h 12772"/>
              <a:gd name="T50" fmla="*/ 8359 w 11945"/>
              <a:gd name="T51" fmla="*/ 688 h 12772"/>
              <a:gd name="T52" fmla="*/ 6844 w 11945"/>
              <a:gd name="T53" fmla="*/ 1201 h 12772"/>
              <a:gd name="T54" fmla="*/ 1466 w 11945"/>
              <a:gd name="T55" fmla="*/ 10372 h 12772"/>
              <a:gd name="T56" fmla="*/ 7642 w 11945"/>
              <a:gd name="T57" fmla="*/ 1575 h 12772"/>
              <a:gd name="T58" fmla="*/ 1326 w 11945"/>
              <a:gd name="T59" fmla="*/ 5614 h 12772"/>
              <a:gd name="T60" fmla="*/ 11085 w 11945"/>
              <a:gd name="T61" fmla="*/ 8544 h 12772"/>
              <a:gd name="T62" fmla="*/ 8485 w 11945"/>
              <a:gd name="T63" fmla="*/ 12166 h 12772"/>
              <a:gd name="T64" fmla="*/ 7572 w 11945"/>
              <a:gd name="T65" fmla="*/ 11897 h 12772"/>
              <a:gd name="T66" fmla="*/ 7933 w 11945"/>
              <a:gd name="T67" fmla="*/ 11166 h 12772"/>
              <a:gd name="T68" fmla="*/ 6457 w 11945"/>
              <a:gd name="T69" fmla="*/ 11995 h 12772"/>
              <a:gd name="T70" fmla="*/ 9300 w 11945"/>
              <a:gd name="T71" fmla="*/ 2712 h 12772"/>
              <a:gd name="T72" fmla="*/ 8618 w 11945"/>
              <a:gd name="T73" fmla="*/ 2489 h 12772"/>
              <a:gd name="T74" fmla="*/ 7386 w 11945"/>
              <a:gd name="T75" fmla="*/ 1905 h 12772"/>
              <a:gd name="T76" fmla="*/ 6928 w 11945"/>
              <a:gd name="T77" fmla="*/ 10973 h 12772"/>
              <a:gd name="T78" fmla="*/ 5601 w 11945"/>
              <a:gd name="T79" fmla="*/ 1781 h 12772"/>
              <a:gd name="T80" fmla="*/ 3809 w 11945"/>
              <a:gd name="T81" fmla="*/ 2203 h 12772"/>
              <a:gd name="T82" fmla="*/ 3072 w 11945"/>
              <a:gd name="T83" fmla="*/ 10074 h 12772"/>
              <a:gd name="T84" fmla="*/ 2460 w 11945"/>
              <a:gd name="T85" fmla="*/ 9830 h 12772"/>
              <a:gd name="T86" fmla="*/ 2991 w 11945"/>
              <a:gd name="T87" fmla="*/ 10757 h 12772"/>
              <a:gd name="T88" fmla="*/ 1785 w 11945"/>
              <a:gd name="T89" fmla="*/ 5755 h 12772"/>
              <a:gd name="T90" fmla="*/ 1428 w 11945"/>
              <a:gd name="T91" fmla="*/ 6338 h 12772"/>
              <a:gd name="T92" fmla="*/ 1203 w 11945"/>
              <a:gd name="T93" fmla="*/ 5940 h 12772"/>
              <a:gd name="T94" fmla="*/ 10082 w 11945"/>
              <a:gd name="T95" fmla="*/ 3133 h 12772"/>
              <a:gd name="T96" fmla="*/ 10632 w 11945"/>
              <a:gd name="T97" fmla="*/ 5543 h 12772"/>
              <a:gd name="T98" fmla="*/ 10542 w 11945"/>
              <a:gd name="T99" fmla="*/ 9588 h 12772"/>
              <a:gd name="T100" fmla="*/ 11057 w 11945"/>
              <a:gd name="T101" fmla="*/ 7836 h 12772"/>
              <a:gd name="T102" fmla="*/ 1640 w 11945"/>
              <a:gd name="T103" fmla="*/ 10475 h 12772"/>
              <a:gd name="T104" fmla="*/ 776 w 11945"/>
              <a:gd name="T105" fmla="*/ 9536 h 12772"/>
              <a:gd name="T106" fmla="*/ 8154 w 11945"/>
              <a:gd name="T107" fmla="*/ 1634 h 12772"/>
              <a:gd name="T108" fmla="*/ 3255 w 11945"/>
              <a:gd name="T109" fmla="*/ 1258 h 12772"/>
              <a:gd name="T110" fmla="*/ 643 w 11945"/>
              <a:gd name="T111" fmla="*/ 6817 h 12772"/>
              <a:gd name="T112" fmla="*/ 5043 w 11945"/>
              <a:gd name="T113" fmla="*/ 1213 h 12772"/>
              <a:gd name="T114" fmla="*/ 4681 w 11945"/>
              <a:gd name="T115" fmla="*/ 11859 h 12772"/>
              <a:gd name="T116" fmla="*/ 434 w 11945"/>
              <a:gd name="T117" fmla="*/ 6856 h 12772"/>
              <a:gd name="T118" fmla="*/ 7372 w 11945"/>
              <a:gd name="T119" fmla="*/ 1189 h 12772"/>
              <a:gd name="T120" fmla="*/ 5220 w 11945"/>
              <a:gd name="T121" fmla="*/ 1352 h 12772"/>
              <a:gd name="T122" fmla="*/ 3426 w 11945"/>
              <a:gd name="T123" fmla="*/ 11387 h 12772"/>
              <a:gd name="T124" fmla="*/ 5815 w 11945"/>
              <a:gd name="T125" fmla="*/ 1137 h 12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945" h="12772">
                <a:moveTo>
                  <a:pt x="6110" y="913"/>
                </a:moveTo>
                <a:lnTo>
                  <a:pt x="6110" y="916"/>
                </a:lnTo>
                <a:lnTo>
                  <a:pt x="6110" y="918"/>
                </a:lnTo>
                <a:lnTo>
                  <a:pt x="6109" y="919"/>
                </a:lnTo>
                <a:lnTo>
                  <a:pt x="6108" y="922"/>
                </a:lnTo>
                <a:lnTo>
                  <a:pt x="6105" y="919"/>
                </a:lnTo>
                <a:lnTo>
                  <a:pt x="6106" y="916"/>
                </a:lnTo>
                <a:lnTo>
                  <a:pt x="6109" y="912"/>
                </a:lnTo>
                <a:lnTo>
                  <a:pt x="6110" y="913"/>
                </a:lnTo>
                <a:close/>
                <a:moveTo>
                  <a:pt x="7925" y="11575"/>
                </a:moveTo>
                <a:lnTo>
                  <a:pt x="7928" y="11575"/>
                </a:lnTo>
                <a:lnTo>
                  <a:pt x="7929" y="11573"/>
                </a:lnTo>
                <a:lnTo>
                  <a:pt x="7929" y="11569"/>
                </a:lnTo>
                <a:lnTo>
                  <a:pt x="7925" y="11567"/>
                </a:lnTo>
                <a:lnTo>
                  <a:pt x="7924" y="11569"/>
                </a:lnTo>
                <a:lnTo>
                  <a:pt x="7924" y="11571"/>
                </a:lnTo>
                <a:lnTo>
                  <a:pt x="7924" y="11574"/>
                </a:lnTo>
                <a:lnTo>
                  <a:pt x="7925" y="11575"/>
                </a:lnTo>
                <a:close/>
                <a:moveTo>
                  <a:pt x="8213" y="11564"/>
                </a:moveTo>
                <a:lnTo>
                  <a:pt x="8223" y="11556"/>
                </a:lnTo>
                <a:lnTo>
                  <a:pt x="8222" y="11547"/>
                </a:lnTo>
                <a:lnTo>
                  <a:pt x="8212" y="11542"/>
                </a:lnTo>
                <a:lnTo>
                  <a:pt x="8198" y="11543"/>
                </a:lnTo>
                <a:lnTo>
                  <a:pt x="8185" y="11553"/>
                </a:lnTo>
                <a:lnTo>
                  <a:pt x="8186" y="11561"/>
                </a:lnTo>
                <a:lnTo>
                  <a:pt x="8196" y="11565"/>
                </a:lnTo>
                <a:lnTo>
                  <a:pt x="8213" y="11564"/>
                </a:lnTo>
                <a:close/>
                <a:moveTo>
                  <a:pt x="7926" y="11468"/>
                </a:moveTo>
                <a:lnTo>
                  <a:pt x="7917" y="11464"/>
                </a:lnTo>
                <a:lnTo>
                  <a:pt x="7910" y="11469"/>
                </a:lnTo>
                <a:lnTo>
                  <a:pt x="7906" y="11477"/>
                </a:lnTo>
                <a:lnTo>
                  <a:pt x="7911" y="11483"/>
                </a:lnTo>
                <a:lnTo>
                  <a:pt x="7919" y="11483"/>
                </a:lnTo>
                <a:lnTo>
                  <a:pt x="7925" y="11480"/>
                </a:lnTo>
                <a:lnTo>
                  <a:pt x="7930" y="11474"/>
                </a:lnTo>
                <a:lnTo>
                  <a:pt x="7926" y="11468"/>
                </a:lnTo>
                <a:close/>
                <a:moveTo>
                  <a:pt x="578" y="10095"/>
                </a:moveTo>
                <a:lnTo>
                  <a:pt x="581" y="10097"/>
                </a:lnTo>
                <a:lnTo>
                  <a:pt x="582" y="10097"/>
                </a:lnTo>
                <a:lnTo>
                  <a:pt x="583" y="10095"/>
                </a:lnTo>
                <a:lnTo>
                  <a:pt x="582" y="10091"/>
                </a:lnTo>
                <a:lnTo>
                  <a:pt x="581" y="10088"/>
                </a:lnTo>
                <a:lnTo>
                  <a:pt x="578" y="10088"/>
                </a:lnTo>
                <a:lnTo>
                  <a:pt x="577" y="10091"/>
                </a:lnTo>
                <a:lnTo>
                  <a:pt x="578" y="10095"/>
                </a:lnTo>
                <a:close/>
                <a:moveTo>
                  <a:pt x="2865" y="11264"/>
                </a:moveTo>
                <a:lnTo>
                  <a:pt x="2864" y="11263"/>
                </a:lnTo>
                <a:lnTo>
                  <a:pt x="2865" y="11261"/>
                </a:lnTo>
                <a:lnTo>
                  <a:pt x="2867" y="11259"/>
                </a:lnTo>
                <a:lnTo>
                  <a:pt x="2868" y="11261"/>
                </a:lnTo>
                <a:lnTo>
                  <a:pt x="2867" y="11263"/>
                </a:lnTo>
                <a:lnTo>
                  <a:pt x="2865" y="11264"/>
                </a:lnTo>
                <a:close/>
                <a:moveTo>
                  <a:pt x="3016" y="11401"/>
                </a:moveTo>
                <a:lnTo>
                  <a:pt x="3059" y="11426"/>
                </a:lnTo>
                <a:lnTo>
                  <a:pt x="3095" y="11413"/>
                </a:lnTo>
                <a:lnTo>
                  <a:pt x="3106" y="11382"/>
                </a:lnTo>
                <a:lnTo>
                  <a:pt x="3074" y="11345"/>
                </a:lnTo>
                <a:lnTo>
                  <a:pt x="3064" y="11332"/>
                </a:lnTo>
                <a:lnTo>
                  <a:pt x="3084" y="11320"/>
                </a:lnTo>
                <a:lnTo>
                  <a:pt x="3110" y="11303"/>
                </a:lnTo>
                <a:lnTo>
                  <a:pt x="3119" y="11276"/>
                </a:lnTo>
                <a:lnTo>
                  <a:pt x="3074" y="11261"/>
                </a:lnTo>
                <a:lnTo>
                  <a:pt x="3047" y="11290"/>
                </a:lnTo>
                <a:lnTo>
                  <a:pt x="3021" y="11322"/>
                </a:lnTo>
                <a:lnTo>
                  <a:pt x="2979" y="11314"/>
                </a:lnTo>
                <a:lnTo>
                  <a:pt x="2939" y="11258"/>
                </a:lnTo>
                <a:lnTo>
                  <a:pt x="2920" y="11210"/>
                </a:lnTo>
                <a:lnTo>
                  <a:pt x="2924" y="11161"/>
                </a:lnTo>
                <a:lnTo>
                  <a:pt x="2955" y="11105"/>
                </a:lnTo>
                <a:lnTo>
                  <a:pt x="2960" y="11053"/>
                </a:lnTo>
                <a:lnTo>
                  <a:pt x="2918" y="11068"/>
                </a:lnTo>
                <a:lnTo>
                  <a:pt x="2850" y="11099"/>
                </a:lnTo>
                <a:lnTo>
                  <a:pt x="2781" y="11093"/>
                </a:lnTo>
                <a:lnTo>
                  <a:pt x="2770" y="11158"/>
                </a:lnTo>
                <a:lnTo>
                  <a:pt x="2837" y="11264"/>
                </a:lnTo>
                <a:lnTo>
                  <a:pt x="2935" y="11361"/>
                </a:lnTo>
                <a:lnTo>
                  <a:pt x="3016" y="11401"/>
                </a:lnTo>
                <a:close/>
                <a:moveTo>
                  <a:pt x="9517" y="1995"/>
                </a:moveTo>
                <a:lnTo>
                  <a:pt x="9509" y="1985"/>
                </a:lnTo>
                <a:lnTo>
                  <a:pt x="9498" y="1980"/>
                </a:lnTo>
                <a:lnTo>
                  <a:pt x="9486" y="1980"/>
                </a:lnTo>
                <a:lnTo>
                  <a:pt x="9484" y="1987"/>
                </a:lnTo>
                <a:lnTo>
                  <a:pt x="9490" y="1998"/>
                </a:lnTo>
                <a:lnTo>
                  <a:pt x="9502" y="2004"/>
                </a:lnTo>
                <a:lnTo>
                  <a:pt x="9513" y="2004"/>
                </a:lnTo>
                <a:lnTo>
                  <a:pt x="9517" y="1995"/>
                </a:lnTo>
                <a:close/>
                <a:moveTo>
                  <a:pt x="1617" y="8630"/>
                </a:moveTo>
                <a:lnTo>
                  <a:pt x="1616" y="8619"/>
                </a:lnTo>
                <a:lnTo>
                  <a:pt x="1611" y="8610"/>
                </a:lnTo>
                <a:lnTo>
                  <a:pt x="1603" y="8608"/>
                </a:lnTo>
                <a:lnTo>
                  <a:pt x="1596" y="8616"/>
                </a:lnTo>
                <a:lnTo>
                  <a:pt x="1596" y="8626"/>
                </a:lnTo>
                <a:lnTo>
                  <a:pt x="1603" y="8632"/>
                </a:lnTo>
                <a:lnTo>
                  <a:pt x="1614" y="8635"/>
                </a:lnTo>
                <a:lnTo>
                  <a:pt x="1617" y="8630"/>
                </a:lnTo>
                <a:close/>
                <a:moveTo>
                  <a:pt x="229" y="6352"/>
                </a:moveTo>
                <a:lnTo>
                  <a:pt x="224" y="6351"/>
                </a:lnTo>
                <a:lnTo>
                  <a:pt x="220" y="6352"/>
                </a:lnTo>
                <a:lnTo>
                  <a:pt x="218" y="6355"/>
                </a:lnTo>
                <a:lnTo>
                  <a:pt x="218" y="6360"/>
                </a:lnTo>
                <a:lnTo>
                  <a:pt x="223" y="6364"/>
                </a:lnTo>
                <a:lnTo>
                  <a:pt x="228" y="6362"/>
                </a:lnTo>
                <a:lnTo>
                  <a:pt x="231" y="6359"/>
                </a:lnTo>
                <a:lnTo>
                  <a:pt x="229" y="6352"/>
                </a:lnTo>
                <a:close/>
                <a:moveTo>
                  <a:pt x="2170" y="9528"/>
                </a:moveTo>
                <a:lnTo>
                  <a:pt x="2169" y="9531"/>
                </a:lnTo>
                <a:lnTo>
                  <a:pt x="2169" y="9531"/>
                </a:lnTo>
                <a:lnTo>
                  <a:pt x="2170" y="9532"/>
                </a:lnTo>
                <a:lnTo>
                  <a:pt x="2171" y="9529"/>
                </a:lnTo>
                <a:lnTo>
                  <a:pt x="2173" y="9528"/>
                </a:lnTo>
                <a:lnTo>
                  <a:pt x="2173" y="9527"/>
                </a:lnTo>
                <a:lnTo>
                  <a:pt x="2171" y="9527"/>
                </a:lnTo>
                <a:lnTo>
                  <a:pt x="2170" y="9528"/>
                </a:lnTo>
                <a:close/>
                <a:moveTo>
                  <a:pt x="1267" y="6900"/>
                </a:moveTo>
                <a:lnTo>
                  <a:pt x="1274" y="6875"/>
                </a:lnTo>
                <a:lnTo>
                  <a:pt x="1256" y="6863"/>
                </a:lnTo>
                <a:lnTo>
                  <a:pt x="1238" y="6867"/>
                </a:lnTo>
                <a:lnTo>
                  <a:pt x="1238" y="6891"/>
                </a:lnTo>
                <a:lnTo>
                  <a:pt x="1243" y="6896"/>
                </a:lnTo>
                <a:lnTo>
                  <a:pt x="1253" y="6901"/>
                </a:lnTo>
                <a:lnTo>
                  <a:pt x="1262" y="6903"/>
                </a:lnTo>
                <a:lnTo>
                  <a:pt x="1267" y="6900"/>
                </a:lnTo>
                <a:close/>
                <a:moveTo>
                  <a:pt x="1785" y="4571"/>
                </a:moveTo>
                <a:lnTo>
                  <a:pt x="1785" y="4573"/>
                </a:lnTo>
                <a:lnTo>
                  <a:pt x="1787" y="4571"/>
                </a:lnTo>
                <a:lnTo>
                  <a:pt x="1785" y="4571"/>
                </a:lnTo>
                <a:close/>
                <a:moveTo>
                  <a:pt x="1839" y="4359"/>
                </a:moveTo>
                <a:lnTo>
                  <a:pt x="1834" y="4356"/>
                </a:lnTo>
                <a:lnTo>
                  <a:pt x="1826" y="4358"/>
                </a:lnTo>
                <a:lnTo>
                  <a:pt x="1821" y="4361"/>
                </a:lnTo>
                <a:lnTo>
                  <a:pt x="1821" y="4368"/>
                </a:lnTo>
                <a:lnTo>
                  <a:pt x="1826" y="4370"/>
                </a:lnTo>
                <a:lnTo>
                  <a:pt x="1834" y="4369"/>
                </a:lnTo>
                <a:lnTo>
                  <a:pt x="1839" y="4365"/>
                </a:lnTo>
                <a:lnTo>
                  <a:pt x="1839" y="4359"/>
                </a:lnTo>
                <a:close/>
                <a:moveTo>
                  <a:pt x="1491" y="7744"/>
                </a:moveTo>
                <a:lnTo>
                  <a:pt x="1479" y="7737"/>
                </a:lnTo>
                <a:lnTo>
                  <a:pt x="1466" y="7741"/>
                </a:lnTo>
                <a:lnTo>
                  <a:pt x="1458" y="7751"/>
                </a:lnTo>
                <a:lnTo>
                  <a:pt x="1462" y="7763"/>
                </a:lnTo>
                <a:lnTo>
                  <a:pt x="1476" y="7769"/>
                </a:lnTo>
                <a:lnTo>
                  <a:pt x="1489" y="7765"/>
                </a:lnTo>
                <a:lnTo>
                  <a:pt x="1495" y="7756"/>
                </a:lnTo>
                <a:lnTo>
                  <a:pt x="1491" y="7744"/>
                </a:lnTo>
                <a:close/>
                <a:moveTo>
                  <a:pt x="2617" y="10147"/>
                </a:moveTo>
                <a:lnTo>
                  <a:pt x="2609" y="10163"/>
                </a:lnTo>
                <a:lnTo>
                  <a:pt x="2617" y="10172"/>
                </a:lnTo>
                <a:lnTo>
                  <a:pt x="2630" y="10172"/>
                </a:lnTo>
                <a:lnTo>
                  <a:pt x="2636" y="10165"/>
                </a:lnTo>
                <a:lnTo>
                  <a:pt x="2641" y="10153"/>
                </a:lnTo>
                <a:lnTo>
                  <a:pt x="2637" y="10146"/>
                </a:lnTo>
                <a:lnTo>
                  <a:pt x="2629" y="10142"/>
                </a:lnTo>
                <a:lnTo>
                  <a:pt x="2617" y="10147"/>
                </a:lnTo>
                <a:close/>
                <a:moveTo>
                  <a:pt x="1504" y="7499"/>
                </a:moveTo>
                <a:lnTo>
                  <a:pt x="1501" y="7499"/>
                </a:lnTo>
                <a:lnTo>
                  <a:pt x="1500" y="7500"/>
                </a:lnTo>
                <a:lnTo>
                  <a:pt x="1500" y="7503"/>
                </a:lnTo>
                <a:lnTo>
                  <a:pt x="1503" y="7504"/>
                </a:lnTo>
                <a:lnTo>
                  <a:pt x="1505" y="7506"/>
                </a:lnTo>
                <a:lnTo>
                  <a:pt x="1507" y="7503"/>
                </a:lnTo>
                <a:lnTo>
                  <a:pt x="1505" y="7500"/>
                </a:lnTo>
                <a:lnTo>
                  <a:pt x="1504" y="7499"/>
                </a:lnTo>
                <a:close/>
                <a:moveTo>
                  <a:pt x="1518" y="7424"/>
                </a:moveTo>
                <a:lnTo>
                  <a:pt x="1519" y="7437"/>
                </a:lnTo>
                <a:lnTo>
                  <a:pt x="1524" y="7447"/>
                </a:lnTo>
                <a:lnTo>
                  <a:pt x="1532" y="7448"/>
                </a:lnTo>
                <a:lnTo>
                  <a:pt x="1540" y="7436"/>
                </a:lnTo>
                <a:lnTo>
                  <a:pt x="1540" y="7424"/>
                </a:lnTo>
                <a:lnTo>
                  <a:pt x="1532" y="7416"/>
                </a:lnTo>
                <a:lnTo>
                  <a:pt x="1523" y="7415"/>
                </a:lnTo>
                <a:lnTo>
                  <a:pt x="1518" y="7424"/>
                </a:lnTo>
                <a:close/>
                <a:moveTo>
                  <a:pt x="4501" y="11338"/>
                </a:moveTo>
                <a:lnTo>
                  <a:pt x="4494" y="11341"/>
                </a:lnTo>
                <a:lnTo>
                  <a:pt x="4493" y="11347"/>
                </a:lnTo>
                <a:lnTo>
                  <a:pt x="4493" y="11354"/>
                </a:lnTo>
                <a:lnTo>
                  <a:pt x="4495" y="11359"/>
                </a:lnTo>
                <a:lnTo>
                  <a:pt x="4509" y="11364"/>
                </a:lnTo>
                <a:lnTo>
                  <a:pt x="4516" y="11356"/>
                </a:lnTo>
                <a:lnTo>
                  <a:pt x="4513" y="11343"/>
                </a:lnTo>
                <a:lnTo>
                  <a:pt x="4501" y="11338"/>
                </a:lnTo>
                <a:close/>
                <a:moveTo>
                  <a:pt x="11449" y="9537"/>
                </a:moveTo>
                <a:lnTo>
                  <a:pt x="11442" y="9556"/>
                </a:lnTo>
                <a:lnTo>
                  <a:pt x="11445" y="9570"/>
                </a:lnTo>
                <a:lnTo>
                  <a:pt x="11455" y="9577"/>
                </a:lnTo>
                <a:lnTo>
                  <a:pt x="11473" y="9568"/>
                </a:lnTo>
                <a:lnTo>
                  <a:pt x="11483" y="9550"/>
                </a:lnTo>
                <a:lnTo>
                  <a:pt x="11479" y="9532"/>
                </a:lnTo>
                <a:lnTo>
                  <a:pt x="11465" y="9526"/>
                </a:lnTo>
                <a:lnTo>
                  <a:pt x="11449" y="9537"/>
                </a:lnTo>
                <a:close/>
                <a:moveTo>
                  <a:pt x="11534" y="4347"/>
                </a:moveTo>
                <a:lnTo>
                  <a:pt x="11547" y="4335"/>
                </a:lnTo>
                <a:lnTo>
                  <a:pt x="11540" y="4309"/>
                </a:lnTo>
                <a:lnTo>
                  <a:pt x="11524" y="4285"/>
                </a:lnTo>
                <a:lnTo>
                  <a:pt x="11506" y="4277"/>
                </a:lnTo>
                <a:lnTo>
                  <a:pt x="11497" y="4295"/>
                </a:lnTo>
                <a:lnTo>
                  <a:pt x="11502" y="4317"/>
                </a:lnTo>
                <a:lnTo>
                  <a:pt x="11516" y="4337"/>
                </a:lnTo>
                <a:lnTo>
                  <a:pt x="11534" y="4347"/>
                </a:lnTo>
                <a:close/>
                <a:moveTo>
                  <a:pt x="11533" y="8101"/>
                </a:moveTo>
                <a:lnTo>
                  <a:pt x="11525" y="8099"/>
                </a:lnTo>
                <a:lnTo>
                  <a:pt x="11518" y="8104"/>
                </a:lnTo>
                <a:lnTo>
                  <a:pt x="11512" y="8113"/>
                </a:lnTo>
                <a:lnTo>
                  <a:pt x="11515" y="8120"/>
                </a:lnTo>
                <a:lnTo>
                  <a:pt x="11523" y="8123"/>
                </a:lnTo>
                <a:lnTo>
                  <a:pt x="11529" y="8118"/>
                </a:lnTo>
                <a:lnTo>
                  <a:pt x="11534" y="8110"/>
                </a:lnTo>
                <a:lnTo>
                  <a:pt x="11533" y="8101"/>
                </a:lnTo>
                <a:close/>
                <a:moveTo>
                  <a:pt x="11188" y="3841"/>
                </a:moveTo>
                <a:lnTo>
                  <a:pt x="11217" y="3841"/>
                </a:lnTo>
                <a:lnTo>
                  <a:pt x="11231" y="3824"/>
                </a:lnTo>
                <a:lnTo>
                  <a:pt x="11227" y="3800"/>
                </a:lnTo>
                <a:lnTo>
                  <a:pt x="11202" y="3777"/>
                </a:lnTo>
                <a:lnTo>
                  <a:pt x="11183" y="3795"/>
                </a:lnTo>
                <a:lnTo>
                  <a:pt x="11164" y="3818"/>
                </a:lnTo>
                <a:lnTo>
                  <a:pt x="11161" y="3836"/>
                </a:lnTo>
                <a:lnTo>
                  <a:pt x="11188" y="3841"/>
                </a:lnTo>
                <a:close/>
                <a:moveTo>
                  <a:pt x="11455" y="4605"/>
                </a:moveTo>
                <a:lnTo>
                  <a:pt x="11460" y="4598"/>
                </a:lnTo>
                <a:lnTo>
                  <a:pt x="11456" y="4587"/>
                </a:lnTo>
                <a:lnTo>
                  <a:pt x="11446" y="4580"/>
                </a:lnTo>
                <a:lnTo>
                  <a:pt x="11432" y="4588"/>
                </a:lnTo>
                <a:lnTo>
                  <a:pt x="11428" y="4602"/>
                </a:lnTo>
                <a:lnTo>
                  <a:pt x="11433" y="4610"/>
                </a:lnTo>
                <a:lnTo>
                  <a:pt x="11444" y="4611"/>
                </a:lnTo>
                <a:lnTo>
                  <a:pt x="11455" y="4605"/>
                </a:lnTo>
                <a:close/>
                <a:moveTo>
                  <a:pt x="11597" y="8554"/>
                </a:moveTo>
                <a:lnTo>
                  <a:pt x="11608" y="8566"/>
                </a:lnTo>
                <a:lnTo>
                  <a:pt x="11619" y="8566"/>
                </a:lnTo>
                <a:lnTo>
                  <a:pt x="11628" y="8556"/>
                </a:lnTo>
                <a:lnTo>
                  <a:pt x="11628" y="8540"/>
                </a:lnTo>
                <a:lnTo>
                  <a:pt x="11619" y="8529"/>
                </a:lnTo>
                <a:lnTo>
                  <a:pt x="11607" y="8530"/>
                </a:lnTo>
                <a:lnTo>
                  <a:pt x="11597" y="8540"/>
                </a:lnTo>
                <a:lnTo>
                  <a:pt x="11597" y="8554"/>
                </a:lnTo>
                <a:close/>
                <a:moveTo>
                  <a:pt x="8864" y="11720"/>
                </a:moveTo>
                <a:lnTo>
                  <a:pt x="8866" y="11734"/>
                </a:lnTo>
                <a:lnTo>
                  <a:pt x="8875" y="11747"/>
                </a:lnTo>
                <a:lnTo>
                  <a:pt x="8886" y="11753"/>
                </a:lnTo>
                <a:lnTo>
                  <a:pt x="8897" y="11744"/>
                </a:lnTo>
                <a:lnTo>
                  <a:pt x="8897" y="11728"/>
                </a:lnTo>
                <a:lnTo>
                  <a:pt x="8886" y="11715"/>
                </a:lnTo>
                <a:lnTo>
                  <a:pt x="8872" y="11711"/>
                </a:lnTo>
                <a:lnTo>
                  <a:pt x="8864" y="11720"/>
                </a:lnTo>
                <a:close/>
                <a:moveTo>
                  <a:pt x="7968" y="12110"/>
                </a:moveTo>
                <a:lnTo>
                  <a:pt x="7944" y="12121"/>
                </a:lnTo>
                <a:lnTo>
                  <a:pt x="7947" y="12140"/>
                </a:lnTo>
                <a:lnTo>
                  <a:pt x="7967" y="12158"/>
                </a:lnTo>
                <a:lnTo>
                  <a:pt x="7992" y="12163"/>
                </a:lnTo>
                <a:lnTo>
                  <a:pt x="8017" y="12154"/>
                </a:lnTo>
                <a:lnTo>
                  <a:pt x="8014" y="12134"/>
                </a:lnTo>
                <a:lnTo>
                  <a:pt x="7994" y="12115"/>
                </a:lnTo>
                <a:lnTo>
                  <a:pt x="7968" y="12110"/>
                </a:lnTo>
                <a:close/>
                <a:moveTo>
                  <a:pt x="11273" y="8547"/>
                </a:moveTo>
                <a:lnTo>
                  <a:pt x="11273" y="8547"/>
                </a:lnTo>
                <a:lnTo>
                  <a:pt x="11273" y="8547"/>
                </a:lnTo>
                <a:lnTo>
                  <a:pt x="11273" y="8547"/>
                </a:lnTo>
                <a:close/>
                <a:moveTo>
                  <a:pt x="11267" y="8493"/>
                </a:moveTo>
                <a:lnTo>
                  <a:pt x="11254" y="8496"/>
                </a:lnTo>
                <a:lnTo>
                  <a:pt x="11248" y="8505"/>
                </a:lnTo>
                <a:lnTo>
                  <a:pt x="11244" y="8516"/>
                </a:lnTo>
                <a:lnTo>
                  <a:pt x="11242" y="8528"/>
                </a:lnTo>
                <a:lnTo>
                  <a:pt x="11259" y="8557"/>
                </a:lnTo>
                <a:lnTo>
                  <a:pt x="11281" y="8544"/>
                </a:lnTo>
                <a:lnTo>
                  <a:pt x="11290" y="8514"/>
                </a:lnTo>
                <a:lnTo>
                  <a:pt x="11267" y="8493"/>
                </a:lnTo>
                <a:close/>
                <a:moveTo>
                  <a:pt x="9355" y="10706"/>
                </a:moveTo>
                <a:lnTo>
                  <a:pt x="9351" y="10703"/>
                </a:lnTo>
                <a:lnTo>
                  <a:pt x="9349" y="10706"/>
                </a:lnTo>
                <a:lnTo>
                  <a:pt x="9349" y="10711"/>
                </a:lnTo>
                <a:lnTo>
                  <a:pt x="9351" y="10713"/>
                </a:lnTo>
                <a:lnTo>
                  <a:pt x="9353" y="10713"/>
                </a:lnTo>
                <a:lnTo>
                  <a:pt x="9355" y="10711"/>
                </a:lnTo>
                <a:lnTo>
                  <a:pt x="9356" y="10708"/>
                </a:lnTo>
                <a:lnTo>
                  <a:pt x="9355" y="10706"/>
                </a:lnTo>
                <a:close/>
                <a:moveTo>
                  <a:pt x="11339" y="10547"/>
                </a:moveTo>
                <a:lnTo>
                  <a:pt x="11348" y="10550"/>
                </a:lnTo>
                <a:lnTo>
                  <a:pt x="11357" y="10547"/>
                </a:lnTo>
                <a:lnTo>
                  <a:pt x="11362" y="10539"/>
                </a:lnTo>
                <a:lnTo>
                  <a:pt x="11361" y="10527"/>
                </a:lnTo>
                <a:lnTo>
                  <a:pt x="11352" y="10522"/>
                </a:lnTo>
                <a:lnTo>
                  <a:pt x="11341" y="10525"/>
                </a:lnTo>
                <a:lnTo>
                  <a:pt x="11334" y="10535"/>
                </a:lnTo>
                <a:lnTo>
                  <a:pt x="11339" y="10547"/>
                </a:lnTo>
                <a:close/>
                <a:moveTo>
                  <a:pt x="11576" y="9737"/>
                </a:moveTo>
                <a:lnTo>
                  <a:pt x="11585" y="9740"/>
                </a:lnTo>
                <a:lnTo>
                  <a:pt x="11595" y="9733"/>
                </a:lnTo>
                <a:lnTo>
                  <a:pt x="11599" y="9723"/>
                </a:lnTo>
                <a:lnTo>
                  <a:pt x="11595" y="9713"/>
                </a:lnTo>
                <a:lnTo>
                  <a:pt x="11584" y="9709"/>
                </a:lnTo>
                <a:lnTo>
                  <a:pt x="11575" y="9715"/>
                </a:lnTo>
                <a:lnTo>
                  <a:pt x="11571" y="9727"/>
                </a:lnTo>
                <a:lnTo>
                  <a:pt x="11576" y="9737"/>
                </a:lnTo>
                <a:close/>
                <a:moveTo>
                  <a:pt x="11372" y="3697"/>
                </a:moveTo>
                <a:lnTo>
                  <a:pt x="11372" y="3683"/>
                </a:lnTo>
                <a:lnTo>
                  <a:pt x="11365" y="3673"/>
                </a:lnTo>
                <a:lnTo>
                  <a:pt x="11353" y="3669"/>
                </a:lnTo>
                <a:lnTo>
                  <a:pt x="11343" y="3675"/>
                </a:lnTo>
                <a:lnTo>
                  <a:pt x="11341" y="3689"/>
                </a:lnTo>
                <a:lnTo>
                  <a:pt x="11349" y="3700"/>
                </a:lnTo>
                <a:lnTo>
                  <a:pt x="11362" y="3703"/>
                </a:lnTo>
                <a:lnTo>
                  <a:pt x="11372" y="3697"/>
                </a:lnTo>
                <a:close/>
                <a:moveTo>
                  <a:pt x="11180" y="8514"/>
                </a:moveTo>
                <a:lnTo>
                  <a:pt x="11186" y="8500"/>
                </a:lnTo>
                <a:lnTo>
                  <a:pt x="11176" y="8488"/>
                </a:lnTo>
                <a:lnTo>
                  <a:pt x="11160" y="8482"/>
                </a:lnTo>
                <a:lnTo>
                  <a:pt x="11142" y="8489"/>
                </a:lnTo>
                <a:lnTo>
                  <a:pt x="11135" y="8507"/>
                </a:lnTo>
                <a:lnTo>
                  <a:pt x="11146" y="8519"/>
                </a:lnTo>
                <a:lnTo>
                  <a:pt x="11164" y="8523"/>
                </a:lnTo>
                <a:lnTo>
                  <a:pt x="11180" y="8514"/>
                </a:lnTo>
                <a:close/>
                <a:moveTo>
                  <a:pt x="11207" y="4956"/>
                </a:moveTo>
                <a:lnTo>
                  <a:pt x="11171" y="4956"/>
                </a:lnTo>
                <a:lnTo>
                  <a:pt x="11175" y="4990"/>
                </a:lnTo>
                <a:lnTo>
                  <a:pt x="11198" y="5016"/>
                </a:lnTo>
                <a:lnTo>
                  <a:pt x="11221" y="4989"/>
                </a:lnTo>
                <a:lnTo>
                  <a:pt x="11221" y="4979"/>
                </a:lnTo>
                <a:lnTo>
                  <a:pt x="11220" y="4970"/>
                </a:lnTo>
                <a:lnTo>
                  <a:pt x="11214" y="4961"/>
                </a:lnTo>
                <a:lnTo>
                  <a:pt x="11207" y="4956"/>
                </a:lnTo>
                <a:close/>
                <a:moveTo>
                  <a:pt x="10477" y="10587"/>
                </a:moveTo>
                <a:lnTo>
                  <a:pt x="10478" y="10590"/>
                </a:lnTo>
                <a:lnTo>
                  <a:pt x="10481" y="10592"/>
                </a:lnTo>
                <a:lnTo>
                  <a:pt x="10483" y="10594"/>
                </a:lnTo>
                <a:lnTo>
                  <a:pt x="10486" y="10592"/>
                </a:lnTo>
                <a:lnTo>
                  <a:pt x="10486" y="10590"/>
                </a:lnTo>
                <a:lnTo>
                  <a:pt x="10483" y="10589"/>
                </a:lnTo>
                <a:lnTo>
                  <a:pt x="10480" y="10587"/>
                </a:lnTo>
                <a:lnTo>
                  <a:pt x="10477" y="10587"/>
                </a:lnTo>
                <a:close/>
                <a:moveTo>
                  <a:pt x="11171" y="8291"/>
                </a:moveTo>
                <a:lnTo>
                  <a:pt x="11172" y="8291"/>
                </a:lnTo>
                <a:lnTo>
                  <a:pt x="11171" y="8291"/>
                </a:lnTo>
                <a:lnTo>
                  <a:pt x="11171" y="8291"/>
                </a:lnTo>
                <a:close/>
                <a:moveTo>
                  <a:pt x="10641" y="4099"/>
                </a:moveTo>
                <a:lnTo>
                  <a:pt x="10644" y="4108"/>
                </a:lnTo>
                <a:lnTo>
                  <a:pt x="10650" y="4113"/>
                </a:lnTo>
                <a:lnTo>
                  <a:pt x="10658" y="4113"/>
                </a:lnTo>
                <a:lnTo>
                  <a:pt x="10663" y="4106"/>
                </a:lnTo>
                <a:lnTo>
                  <a:pt x="10660" y="4095"/>
                </a:lnTo>
                <a:lnTo>
                  <a:pt x="10654" y="4090"/>
                </a:lnTo>
                <a:lnTo>
                  <a:pt x="10645" y="4092"/>
                </a:lnTo>
                <a:lnTo>
                  <a:pt x="10641" y="4099"/>
                </a:lnTo>
                <a:close/>
                <a:moveTo>
                  <a:pt x="8912" y="11042"/>
                </a:moveTo>
                <a:lnTo>
                  <a:pt x="8902" y="11058"/>
                </a:lnTo>
                <a:lnTo>
                  <a:pt x="8906" y="11074"/>
                </a:lnTo>
                <a:lnTo>
                  <a:pt x="8918" y="11080"/>
                </a:lnTo>
                <a:lnTo>
                  <a:pt x="8939" y="11077"/>
                </a:lnTo>
                <a:lnTo>
                  <a:pt x="8953" y="11061"/>
                </a:lnTo>
                <a:lnTo>
                  <a:pt x="8949" y="11044"/>
                </a:lnTo>
                <a:lnTo>
                  <a:pt x="8934" y="11035"/>
                </a:lnTo>
                <a:lnTo>
                  <a:pt x="8912" y="11042"/>
                </a:lnTo>
                <a:close/>
                <a:moveTo>
                  <a:pt x="11673" y="5666"/>
                </a:moveTo>
                <a:lnTo>
                  <a:pt x="11711" y="5665"/>
                </a:lnTo>
                <a:lnTo>
                  <a:pt x="11721" y="5631"/>
                </a:lnTo>
                <a:lnTo>
                  <a:pt x="11719" y="5585"/>
                </a:lnTo>
                <a:lnTo>
                  <a:pt x="11723" y="5549"/>
                </a:lnTo>
                <a:lnTo>
                  <a:pt x="11686" y="5541"/>
                </a:lnTo>
                <a:lnTo>
                  <a:pt x="11655" y="5576"/>
                </a:lnTo>
                <a:lnTo>
                  <a:pt x="11646" y="5627"/>
                </a:lnTo>
                <a:lnTo>
                  <a:pt x="11673" y="5666"/>
                </a:lnTo>
                <a:close/>
                <a:moveTo>
                  <a:pt x="10101" y="10412"/>
                </a:moveTo>
                <a:lnTo>
                  <a:pt x="10096" y="10412"/>
                </a:lnTo>
                <a:lnTo>
                  <a:pt x="10091" y="10412"/>
                </a:lnTo>
                <a:lnTo>
                  <a:pt x="10085" y="10413"/>
                </a:lnTo>
                <a:lnTo>
                  <a:pt x="10080" y="10415"/>
                </a:lnTo>
                <a:lnTo>
                  <a:pt x="10075" y="10427"/>
                </a:lnTo>
                <a:lnTo>
                  <a:pt x="10091" y="10431"/>
                </a:lnTo>
                <a:lnTo>
                  <a:pt x="10107" y="10427"/>
                </a:lnTo>
                <a:lnTo>
                  <a:pt x="10101" y="10412"/>
                </a:lnTo>
                <a:close/>
                <a:moveTo>
                  <a:pt x="7998" y="12045"/>
                </a:moveTo>
                <a:lnTo>
                  <a:pt x="7991" y="12047"/>
                </a:lnTo>
                <a:lnTo>
                  <a:pt x="7987" y="12052"/>
                </a:lnTo>
                <a:lnTo>
                  <a:pt x="7987" y="12057"/>
                </a:lnTo>
                <a:lnTo>
                  <a:pt x="7992" y="12063"/>
                </a:lnTo>
                <a:lnTo>
                  <a:pt x="8000" y="12063"/>
                </a:lnTo>
                <a:lnTo>
                  <a:pt x="8004" y="12056"/>
                </a:lnTo>
                <a:lnTo>
                  <a:pt x="8004" y="12049"/>
                </a:lnTo>
                <a:lnTo>
                  <a:pt x="7998" y="12045"/>
                </a:lnTo>
                <a:close/>
                <a:moveTo>
                  <a:pt x="9511" y="10977"/>
                </a:moveTo>
                <a:lnTo>
                  <a:pt x="9511" y="10974"/>
                </a:lnTo>
                <a:lnTo>
                  <a:pt x="9512" y="10974"/>
                </a:lnTo>
                <a:lnTo>
                  <a:pt x="9511" y="10976"/>
                </a:lnTo>
                <a:lnTo>
                  <a:pt x="9511" y="10977"/>
                </a:lnTo>
                <a:close/>
                <a:moveTo>
                  <a:pt x="9558" y="10902"/>
                </a:moveTo>
                <a:lnTo>
                  <a:pt x="9502" y="10945"/>
                </a:lnTo>
                <a:lnTo>
                  <a:pt x="9429" y="10983"/>
                </a:lnTo>
                <a:lnTo>
                  <a:pt x="9397" y="11018"/>
                </a:lnTo>
                <a:lnTo>
                  <a:pt x="9461" y="11052"/>
                </a:lnTo>
                <a:lnTo>
                  <a:pt x="9513" y="11011"/>
                </a:lnTo>
                <a:lnTo>
                  <a:pt x="9573" y="10942"/>
                </a:lnTo>
                <a:lnTo>
                  <a:pt x="9601" y="10891"/>
                </a:lnTo>
                <a:lnTo>
                  <a:pt x="9558" y="10902"/>
                </a:lnTo>
                <a:close/>
                <a:moveTo>
                  <a:pt x="10039" y="10982"/>
                </a:moveTo>
                <a:lnTo>
                  <a:pt x="10035" y="10959"/>
                </a:lnTo>
                <a:lnTo>
                  <a:pt x="10006" y="10956"/>
                </a:lnTo>
                <a:lnTo>
                  <a:pt x="9972" y="10967"/>
                </a:lnTo>
                <a:lnTo>
                  <a:pt x="9946" y="10984"/>
                </a:lnTo>
                <a:lnTo>
                  <a:pt x="9956" y="11004"/>
                </a:lnTo>
                <a:lnTo>
                  <a:pt x="9988" y="11006"/>
                </a:lnTo>
                <a:lnTo>
                  <a:pt x="10022" y="10996"/>
                </a:lnTo>
                <a:lnTo>
                  <a:pt x="10039" y="10982"/>
                </a:lnTo>
                <a:close/>
                <a:moveTo>
                  <a:pt x="8781" y="11252"/>
                </a:moveTo>
                <a:lnTo>
                  <a:pt x="8777" y="11238"/>
                </a:lnTo>
                <a:lnTo>
                  <a:pt x="8763" y="11231"/>
                </a:lnTo>
                <a:lnTo>
                  <a:pt x="8750" y="11233"/>
                </a:lnTo>
                <a:lnTo>
                  <a:pt x="8745" y="11243"/>
                </a:lnTo>
                <a:lnTo>
                  <a:pt x="8752" y="11256"/>
                </a:lnTo>
                <a:lnTo>
                  <a:pt x="8763" y="11263"/>
                </a:lnTo>
                <a:lnTo>
                  <a:pt x="8774" y="11263"/>
                </a:lnTo>
                <a:lnTo>
                  <a:pt x="8781" y="11252"/>
                </a:lnTo>
                <a:close/>
                <a:moveTo>
                  <a:pt x="8785" y="11264"/>
                </a:moveTo>
                <a:lnTo>
                  <a:pt x="8786" y="11266"/>
                </a:lnTo>
                <a:lnTo>
                  <a:pt x="8785" y="11264"/>
                </a:lnTo>
                <a:lnTo>
                  <a:pt x="8785" y="11264"/>
                </a:lnTo>
                <a:close/>
                <a:moveTo>
                  <a:pt x="11821" y="8058"/>
                </a:moveTo>
                <a:lnTo>
                  <a:pt x="11814" y="8068"/>
                </a:lnTo>
                <a:lnTo>
                  <a:pt x="11814" y="8081"/>
                </a:lnTo>
                <a:lnTo>
                  <a:pt x="11819" y="8091"/>
                </a:lnTo>
                <a:lnTo>
                  <a:pt x="11831" y="8094"/>
                </a:lnTo>
                <a:lnTo>
                  <a:pt x="11841" y="8085"/>
                </a:lnTo>
                <a:lnTo>
                  <a:pt x="11841" y="8069"/>
                </a:lnTo>
                <a:lnTo>
                  <a:pt x="11833" y="8058"/>
                </a:lnTo>
                <a:lnTo>
                  <a:pt x="11821" y="8058"/>
                </a:lnTo>
                <a:close/>
                <a:moveTo>
                  <a:pt x="10103" y="10685"/>
                </a:moveTo>
                <a:lnTo>
                  <a:pt x="10115" y="10679"/>
                </a:lnTo>
                <a:lnTo>
                  <a:pt x="10123" y="10669"/>
                </a:lnTo>
                <a:lnTo>
                  <a:pt x="10122" y="10659"/>
                </a:lnTo>
                <a:lnTo>
                  <a:pt x="10109" y="10652"/>
                </a:lnTo>
                <a:lnTo>
                  <a:pt x="10094" y="10656"/>
                </a:lnTo>
                <a:lnTo>
                  <a:pt x="10085" y="10669"/>
                </a:lnTo>
                <a:lnTo>
                  <a:pt x="10087" y="10681"/>
                </a:lnTo>
                <a:lnTo>
                  <a:pt x="10103" y="10685"/>
                </a:lnTo>
                <a:close/>
                <a:moveTo>
                  <a:pt x="8105" y="11973"/>
                </a:moveTo>
                <a:lnTo>
                  <a:pt x="8110" y="11977"/>
                </a:lnTo>
                <a:lnTo>
                  <a:pt x="8117" y="11977"/>
                </a:lnTo>
                <a:lnTo>
                  <a:pt x="8124" y="11973"/>
                </a:lnTo>
                <a:lnTo>
                  <a:pt x="8126" y="11968"/>
                </a:lnTo>
                <a:lnTo>
                  <a:pt x="8121" y="11967"/>
                </a:lnTo>
                <a:lnTo>
                  <a:pt x="8113" y="11967"/>
                </a:lnTo>
                <a:lnTo>
                  <a:pt x="8107" y="11970"/>
                </a:lnTo>
                <a:lnTo>
                  <a:pt x="8105" y="11973"/>
                </a:lnTo>
                <a:close/>
                <a:moveTo>
                  <a:pt x="11425" y="6791"/>
                </a:moveTo>
                <a:lnTo>
                  <a:pt x="11422" y="6788"/>
                </a:lnTo>
                <a:lnTo>
                  <a:pt x="11418" y="6788"/>
                </a:lnTo>
                <a:lnTo>
                  <a:pt x="11416" y="6790"/>
                </a:lnTo>
                <a:lnTo>
                  <a:pt x="11416" y="6794"/>
                </a:lnTo>
                <a:lnTo>
                  <a:pt x="11418" y="6798"/>
                </a:lnTo>
                <a:lnTo>
                  <a:pt x="11422" y="6799"/>
                </a:lnTo>
                <a:lnTo>
                  <a:pt x="11425" y="6797"/>
                </a:lnTo>
                <a:lnTo>
                  <a:pt x="11425" y="6791"/>
                </a:lnTo>
                <a:close/>
                <a:moveTo>
                  <a:pt x="11027" y="10699"/>
                </a:moveTo>
                <a:lnTo>
                  <a:pt x="11025" y="10698"/>
                </a:lnTo>
                <a:lnTo>
                  <a:pt x="11021" y="10699"/>
                </a:lnTo>
                <a:lnTo>
                  <a:pt x="11018" y="10701"/>
                </a:lnTo>
                <a:lnTo>
                  <a:pt x="11018" y="10703"/>
                </a:lnTo>
                <a:lnTo>
                  <a:pt x="11021" y="10704"/>
                </a:lnTo>
                <a:lnTo>
                  <a:pt x="11025" y="10703"/>
                </a:lnTo>
                <a:lnTo>
                  <a:pt x="11026" y="10702"/>
                </a:lnTo>
                <a:lnTo>
                  <a:pt x="11027" y="10699"/>
                </a:lnTo>
                <a:close/>
                <a:moveTo>
                  <a:pt x="10771" y="3827"/>
                </a:moveTo>
                <a:lnTo>
                  <a:pt x="10759" y="3833"/>
                </a:lnTo>
                <a:lnTo>
                  <a:pt x="10759" y="3846"/>
                </a:lnTo>
                <a:lnTo>
                  <a:pt x="10766" y="3859"/>
                </a:lnTo>
                <a:lnTo>
                  <a:pt x="10779" y="3865"/>
                </a:lnTo>
                <a:lnTo>
                  <a:pt x="10792" y="3859"/>
                </a:lnTo>
                <a:lnTo>
                  <a:pt x="10793" y="3846"/>
                </a:lnTo>
                <a:lnTo>
                  <a:pt x="10787" y="3832"/>
                </a:lnTo>
                <a:lnTo>
                  <a:pt x="10771" y="3827"/>
                </a:lnTo>
                <a:close/>
                <a:moveTo>
                  <a:pt x="10262" y="10916"/>
                </a:moveTo>
                <a:lnTo>
                  <a:pt x="10263" y="10923"/>
                </a:lnTo>
                <a:lnTo>
                  <a:pt x="10271" y="10927"/>
                </a:lnTo>
                <a:lnTo>
                  <a:pt x="10280" y="10926"/>
                </a:lnTo>
                <a:lnTo>
                  <a:pt x="10285" y="10920"/>
                </a:lnTo>
                <a:lnTo>
                  <a:pt x="10282" y="10911"/>
                </a:lnTo>
                <a:lnTo>
                  <a:pt x="10276" y="10907"/>
                </a:lnTo>
                <a:lnTo>
                  <a:pt x="10267" y="10909"/>
                </a:lnTo>
                <a:lnTo>
                  <a:pt x="10262" y="10916"/>
                </a:lnTo>
                <a:close/>
                <a:moveTo>
                  <a:pt x="10899" y="9988"/>
                </a:moveTo>
                <a:lnTo>
                  <a:pt x="10908" y="9985"/>
                </a:lnTo>
                <a:lnTo>
                  <a:pt x="10913" y="9978"/>
                </a:lnTo>
                <a:lnTo>
                  <a:pt x="10911" y="9967"/>
                </a:lnTo>
                <a:lnTo>
                  <a:pt x="10904" y="9962"/>
                </a:lnTo>
                <a:lnTo>
                  <a:pt x="10891" y="9964"/>
                </a:lnTo>
                <a:lnTo>
                  <a:pt x="10886" y="9972"/>
                </a:lnTo>
                <a:lnTo>
                  <a:pt x="10887" y="9983"/>
                </a:lnTo>
                <a:lnTo>
                  <a:pt x="10899" y="9988"/>
                </a:lnTo>
                <a:close/>
                <a:moveTo>
                  <a:pt x="11287" y="3999"/>
                </a:moveTo>
                <a:lnTo>
                  <a:pt x="11296" y="3996"/>
                </a:lnTo>
                <a:lnTo>
                  <a:pt x="11300" y="3988"/>
                </a:lnTo>
                <a:lnTo>
                  <a:pt x="11297" y="3981"/>
                </a:lnTo>
                <a:lnTo>
                  <a:pt x="11290" y="3978"/>
                </a:lnTo>
                <a:lnTo>
                  <a:pt x="11283" y="3982"/>
                </a:lnTo>
                <a:lnTo>
                  <a:pt x="11281" y="3988"/>
                </a:lnTo>
                <a:lnTo>
                  <a:pt x="11281" y="3995"/>
                </a:lnTo>
                <a:lnTo>
                  <a:pt x="11287" y="3999"/>
                </a:lnTo>
                <a:close/>
                <a:moveTo>
                  <a:pt x="7772" y="12327"/>
                </a:moveTo>
                <a:lnTo>
                  <a:pt x="7777" y="12341"/>
                </a:lnTo>
                <a:lnTo>
                  <a:pt x="7789" y="12346"/>
                </a:lnTo>
                <a:lnTo>
                  <a:pt x="7800" y="12343"/>
                </a:lnTo>
                <a:lnTo>
                  <a:pt x="7807" y="12330"/>
                </a:lnTo>
                <a:lnTo>
                  <a:pt x="7801" y="12317"/>
                </a:lnTo>
                <a:lnTo>
                  <a:pt x="7790" y="12312"/>
                </a:lnTo>
                <a:lnTo>
                  <a:pt x="7777" y="12316"/>
                </a:lnTo>
                <a:lnTo>
                  <a:pt x="7772" y="12327"/>
                </a:lnTo>
                <a:close/>
                <a:moveTo>
                  <a:pt x="11151" y="8133"/>
                </a:moveTo>
                <a:lnTo>
                  <a:pt x="11152" y="8139"/>
                </a:lnTo>
                <a:lnTo>
                  <a:pt x="11158" y="8143"/>
                </a:lnTo>
                <a:lnTo>
                  <a:pt x="11166" y="8142"/>
                </a:lnTo>
                <a:lnTo>
                  <a:pt x="11171" y="8137"/>
                </a:lnTo>
                <a:lnTo>
                  <a:pt x="11171" y="8128"/>
                </a:lnTo>
                <a:lnTo>
                  <a:pt x="11164" y="8122"/>
                </a:lnTo>
                <a:lnTo>
                  <a:pt x="11156" y="8123"/>
                </a:lnTo>
                <a:lnTo>
                  <a:pt x="11151" y="8133"/>
                </a:lnTo>
                <a:close/>
                <a:moveTo>
                  <a:pt x="6430" y="12653"/>
                </a:moveTo>
                <a:lnTo>
                  <a:pt x="6439" y="12656"/>
                </a:lnTo>
                <a:lnTo>
                  <a:pt x="6444" y="12653"/>
                </a:lnTo>
                <a:lnTo>
                  <a:pt x="6445" y="12648"/>
                </a:lnTo>
                <a:lnTo>
                  <a:pt x="6441" y="12640"/>
                </a:lnTo>
                <a:lnTo>
                  <a:pt x="6432" y="12637"/>
                </a:lnTo>
                <a:lnTo>
                  <a:pt x="6427" y="12639"/>
                </a:lnTo>
                <a:lnTo>
                  <a:pt x="6425" y="12646"/>
                </a:lnTo>
                <a:lnTo>
                  <a:pt x="6430" y="12653"/>
                </a:lnTo>
                <a:close/>
                <a:moveTo>
                  <a:pt x="10969" y="10954"/>
                </a:moveTo>
                <a:lnTo>
                  <a:pt x="10944" y="10990"/>
                </a:lnTo>
                <a:lnTo>
                  <a:pt x="10979" y="11000"/>
                </a:lnTo>
                <a:lnTo>
                  <a:pt x="11022" y="10991"/>
                </a:lnTo>
                <a:lnTo>
                  <a:pt x="11023" y="10964"/>
                </a:lnTo>
                <a:lnTo>
                  <a:pt x="11012" y="10956"/>
                </a:lnTo>
                <a:lnTo>
                  <a:pt x="10994" y="10948"/>
                </a:lnTo>
                <a:lnTo>
                  <a:pt x="10976" y="10945"/>
                </a:lnTo>
                <a:lnTo>
                  <a:pt x="10969" y="10954"/>
                </a:lnTo>
                <a:close/>
                <a:moveTo>
                  <a:pt x="7603" y="12728"/>
                </a:moveTo>
                <a:lnTo>
                  <a:pt x="7565" y="12722"/>
                </a:lnTo>
                <a:lnTo>
                  <a:pt x="7537" y="12731"/>
                </a:lnTo>
                <a:lnTo>
                  <a:pt x="7534" y="12747"/>
                </a:lnTo>
                <a:lnTo>
                  <a:pt x="7572" y="12761"/>
                </a:lnTo>
                <a:lnTo>
                  <a:pt x="7582" y="12767"/>
                </a:lnTo>
                <a:lnTo>
                  <a:pt x="7591" y="12769"/>
                </a:lnTo>
                <a:lnTo>
                  <a:pt x="7600" y="12770"/>
                </a:lnTo>
                <a:lnTo>
                  <a:pt x="7609" y="12772"/>
                </a:lnTo>
                <a:lnTo>
                  <a:pt x="7632" y="12767"/>
                </a:lnTo>
                <a:lnTo>
                  <a:pt x="7641" y="12756"/>
                </a:lnTo>
                <a:lnTo>
                  <a:pt x="7633" y="12742"/>
                </a:lnTo>
                <a:lnTo>
                  <a:pt x="7603" y="12728"/>
                </a:lnTo>
                <a:close/>
                <a:moveTo>
                  <a:pt x="7398" y="12439"/>
                </a:moveTo>
                <a:lnTo>
                  <a:pt x="7404" y="12447"/>
                </a:lnTo>
                <a:lnTo>
                  <a:pt x="7414" y="12448"/>
                </a:lnTo>
                <a:lnTo>
                  <a:pt x="7423" y="12444"/>
                </a:lnTo>
                <a:lnTo>
                  <a:pt x="7426" y="12434"/>
                </a:lnTo>
                <a:lnTo>
                  <a:pt x="7419" y="12428"/>
                </a:lnTo>
                <a:lnTo>
                  <a:pt x="7409" y="12427"/>
                </a:lnTo>
                <a:lnTo>
                  <a:pt x="7400" y="12430"/>
                </a:lnTo>
                <a:lnTo>
                  <a:pt x="7398" y="12439"/>
                </a:lnTo>
                <a:close/>
                <a:moveTo>
                  <a:pt x="10944" y="5168"/>
                </a:moveTo>
                <a:lnTo>
                  <a:pt x="10946" y="5160"/>
                </a:lnTo>
                <a:lnTo>
                  <a:pt x="10941" y="5154"/>
                </a:lnTo>
                <a:lnTo>
                  <a:pt x="10930" y="5154"/>
                </a:lnTo>
                <a:lnTo>
                  <a:pt x="10923" y="5161"/>
                </a:lnTo>
                <a:lnTo>
                  <a:pt x="10920" y="5172"/>
                </a:lnTo>
                <a:lnTo>
                  <a:pt x="10927" y="5177"/>
                </a:lnTo>
                <a:lnTo>
                  <a:pt x="10937" y="5176"/>
                </a:lnTo>
                <a:lnTo>
                  <a:pt x="10944" y="5168"/>
                </a:lnTo>
                <a:close/>
                <a:moveTo>
                  <a:pt x="10909" y="9747"/>
                </a:moveTo>
                <a:lnTo>
                  <a:pt x="10902" y="9724"/>
                </a:lnTo>
                <a:lnTo>
                  <a:pt x="10887" y="9719"/>
                </a:lnTo>
                <a:lnTo>
                  <a:pt x="10872" y="9728"/>
                </a:lnTo>
                <a:lnTo>
                  <a:pt x="10863" y="9750"/>
                </a:lnTo>
                <a:lnTo>
                  <a:pt x="10863" y="9769"/>
                </a:lnTo>
                <a:lnTo>
                  <a:pt x="10881" y="9774"/>
                </a:lnTo>
                <a:lnTo>
                  <a:pt x="10901" y="9768"/>
                </a:lnTo>
                <a:lnTo>
                  <a:pt x="10909" y="9747"/>
                </a:lnTo>
                <a:close/>
                <a:moveTo>
                  <a:pt x="9929" y="10869"/>
                </a:moveTo>
                <a:lnTo>
                  <a:pt x="9914" y="10862"/>
                </a:lnTo>
                <a:lnTo>
                  <a:pt x="9900" y="10866"/>
                </a:lnTo>
                <a:lnTo>
                  <a:pt x="9887" y="10876"/>
                </a:lnTo>
                <a:lnTo>
                  <a:pt x="9876" y="10886"/>
                </a:lnTo>
                <a:lnTo>
                  <a:pt x="9872" y="10914"/>
                </a:lnTo>
                <a:lnTo>
                  <a:pt x="9909" y="10918"/>
                </a:lnTo>
                <a:lnTo>
                  <a:pt x="9942" y="10902"/>
                </a:lnTo>
                <a:lnTo>
                  <a:pt x="9929" y="10869"/>
                </a:lnTo>
                <a:close/>
                <a:moveTo>
                  <a:pt x="5732" y="12106"/>
                </a:moveTo>
                <a:lnTo>
                  <a:pt x="5742" y="12120"/>
                </a:lnTo>
                <a:lnTo>
                  <a:pt x="5759" y="12124"/>
                </a:lnTo>
                <a:lnTo>
                  <a:pt x="5773" y="12116"/>
                </a:lnTo>
                <a:lnTo>
                  <a:pt x="5778" y="12101"/>
                </a:lnTo>
                <a:lnTo>
                  <a:pt x="5768" y="12082"/>
                </a:lnTo>
                <a:lnTo>
                  <a:pt x="5750" y="12078"/>
                </a:lnTo>
                <a:lnTo>
                  <a:pt x="5735" y="12087"/>
                </a:lnTo>
                <a:lnTo>
                  <a:pt x="5732" y="12106"/>
                </a:lnTo>
                <a:close/>
                <a:moveTo>
                  <a:pt x="9661" y="10722"/>
                </a:moveTo>
                <a:lnTo>
                  <a:pt x="9658" y="10732"/>
                </a:lnTo>
                <a:lnTo>
                  <a:pt x="9665" y="10743"/>
                </a:lnTo>
                <a:lnTo>
                  <a:pt x="9676" y="10746"/>
                </a:lnTo>
                <a:lnTo>
                  <a:pt x="9686" y="10743"/>
                </a:lnTo>
                <a:lnTo>
                  <a:pt x="9691" y="10730"/>
                </a:lnTo>
                <a:lnTo>
                  <a:pt x="9685" y="10720"/>
                </a:lnTo>
                <a:lnTo>
                  <a:pt x="9672" y="10716"/>
                </a:lnTo>
                <a:lnTo>
                  <a:pt x="9661" y="10722"/>
                </a:lnTo>
                <a:close/>
                <a:moveTo>
                  <a:pt x="11751" y="9787"/>
                </a:moveTo>
                <a:lnTo>
                  <a:pt x="11729" y="9801"/>
                </a:lnTo>
                <a:lnTo>
                  <a:pt x="11712" y="9831"/>
                </a:lnTo>
                <a:lnTo>
                  <a:pt x="11700" y="9867"/>
                </a:lnTo>
                <a:lnTo>
                  <a:pt x="11695" y="9896"/>
                </a:lnTo>
                <a:lnTo>
                  <a:pt x="11746" y="9896"/>
                </a:lnTo>
                <a:lnTo>
                  <a:pt x="11788" y="9852"/>
                </a:lnTo>
                <a:lnTo>
                  <a:pt x="11796" y="9803"/>
                </a:lnTo>
                <a:lnTo>
                  <a:pt x="11751" y="9787"/>
                </a:lnTo>
                <a:close/>
                <a:moveTo>
                  <a:pt x="11419" y="6873"/>
                </a:moveTo>
                <a:lnTo>
                  <a:pt x="11456" y="6889"/>
                </a:lnTo>
                <a:lnTo>
                  <a:pt x="11462" y="6865"/>
                </a:lnTo>
                <a:lnTo>
                  <a:pt x="11448" y="6840"/>
                </a:lnTo>
                <a:lnTo>
                  <a:pt x="11427" y="6846"/>
                </a:lnTo>
                <a:lnTo>
                  <a:pt x="11419" y="6850"/>
                </a:lnTo>
                <a:lnTo>
                  <a:pt x="11414" y="6858"/>
                </a:lnTo>
                <a:lnTo>
                  <a:pt x="11414" y="6865"/>
                </a:lnTo>
                <a:lnTo>
                  <a:pt x="11419" y="6873"/>
                </a:lnTo>
                <a:close/>
                <a:moveTo>
                  <a:pt x="11470" y="10202"/>
                </a:moveTo>
                <a:lnTo>
                  <a:pt x="11287" y="10207"/>
                </a:lnTo>
                <a:lnTo>
                  <a:pt x="11251" y="10237"/>
                </a:lnTo>
                <a:lnTo>
                  <a:pt x="11258" y="10302"/>
                </a:lnTo>
                <a:lnTo>
                  <a:pt x="11202" y="10408"/>
                </a:lnTo>
                <a:lnTo>
                  <a:pt x="11256" y="10418"/>
                </a:lnTo>
                <a:lnTo>
                  <a:pt x="11356" y="10359"/>
                </a:lnTo>
                <a:lnTo>
                  <a:pt x="11444" y="10274"/>
                </a:lnTo>
                <a:lnTo>
                  <a:pt x="11470" y="10202"/>
                </a:lnTo>
                <a:close/>
                <a:moveTo>
                  <a:pt x="11735" y="6905"/>
                </a:moveTo>
                <a:lnTo>
                  <a:pt x="11695" y="6889"/>
                </a:lnTo>
                <a:lnTo>
                  <a:pt x="11669" y="6853"/>
                </a:lnTo>
                <a:lnTo>
                  <a:pt x="11647" y="6811"/>
                </a:lnTo>
                <a:lnTo>
                  <a:pt x="11617" y="6777"/>
                </a:lnTo>
                <a:lnTo>
                  <a:pt x="11599" y="6850"/>
                </a:lnTo>
                <a:lnTo>
                  <a:pt x="11647" y="6919"/>
                </a:lnTo>
                <a:lnTo>
                  <a:pt x="11711" y="6949"/>
                </a:lnTo>
                <a:lnTo>
                  <a:pt x="11735" y="6905"/>
                </a:lnTo>
                <a:close/>
                <a:moveTo>
                  <a:pt x="11088" y="3875"/>
                </a:moveTo>
                <a:lnTo>
                  <a:pt x="11090" y="3861"/>
                </a:lnTo>
                <a:lnTo>
                  <a:pt x="11074" y="3856"/>
                </a:lnTo>
                <a:lnTo>
                  <a:pt x="11055" y="3856"/>
                </a:lnTo>
                <a:lnTo>
                  <a:pt x="11041" y="3861"/>
                </a:lnTo>
                <a:lnTo>
                  <a:pt x="11040" y="3882"/>
                </a:lnTo>
                <a:lnTo>
                  <a:pt x="11054" y="3892"/>
                </a:lnTo>
                <a:lnTo>
                  <a:pt x="11073" y="3890"/>
                </a:lnTo>
                <a:lnTo>
                  <a:pt x="11088" y="3875"/>
                </a:lnTo>
                <a:close/>
                <a:moveTo>
                  <a:pt x="11529" y="6999"/>
                </a:moveTo>
                <a:lnTo>
                  <a:pt x="11514" y="7010"/>
                </a:lnTo>
                <a:lnTo>
                  <a:pt x="11512" y="7031"/>
                </a:lnTo>
                <a:lnTo>
                  <a:pt x="11521" y="7047"/>
                </a:lnTo>
                <a:lnTo>
                  <a:pt x="11539" y="7050"/>
                </a:lnTo>
                <a:lnTo>
                  <a:pt x="11551" y="7033"/>
                </a:lnTo>
                <a:lnTo>
                  <a:pt x="11554" y="7012"/>
                </a:lnTo>
                <a:lnTo>
                  <a:pt x="11549" y="6998"/>
                </a:lnTo>
                <a:lnTo>
                  <a:pt x="11529" y="6999"/>
                </a:lnTo>
                <a:close/>
                <a:moveTo>
                  <a:pt x="10419" y="11010"/>
                </a:moveTo>
                <a:lnTo>
                  <a:pt x="10399" y="11007"/>
                </a:lnTo>
                <a:lnTo>
                  <a:pt x="10383" y="11015"/>
                </a:lnTo>
                <a:lnTo>
                  <a:pt x="10376" y="11030"/>
                </a:lnTo>
                <a:lnTo>
                  <a:pt x="10388" y="11046"/>
                </a:lnTo>
                <a:lnTo>
                  <a:pt x="10407" y="11048"/>
                </a:lnTo>
                <a:lnTo>
                  <a:pt x="10425" y="11040"/>
                </a:lnTo>
                <a:lnTo>
                  <a:pt x="10433" y="11025"/>
                </a:lnTo>
                <a:lnTo>
                  <a:pt x="10419" y="11010"/>
                </a:lnTo>
                <a:close/>
                <a:moveTo>
                  <a:pt x="11869" y="7607"/>
                </a:moveTo>
                <a:lnTo>
                  <a:pt x="11842" y="7648"/>
                </a:lnTo>
                <a:lnTo>
                  <a:pt x="11838" y="7698"/>
                </a:lnTo>
                <a:lnTo>
                  <a:pt x="11859" y="7735"/>
                </a:lnTo>
                <a:lnTo>
                  <a:pt x="11901" y="7732"/>
                </a:lnTo>
                <a:lnTo>
                  <a:pt x="11935" y="7685"/>
                </a:lnTo>
                <a:lnTo>
                  <a:pt x="11942" y="7628"/>
                </a:lnTo>
                <a:lnTo>
                  <a:pt x="11920" y="7591"/>
                </a:lnTo>
                <a:lnTo>
                  <a:pt x="11869" y="7607"/>
                </a:lnTo>
                <a:close/>
                <a:moveTo>
                  <a:pt x="11706" y="7912"/>
                </a:moveTo>
                <a:lnTo>
                  <a:pt x="11674" y="7840"/>
                </a:lnTo>
                <a:lnTo>
                  <a:pt x="11723" y="7789"/>
                </a:lnTo>
                <a:lnTo>
                  <a:pt x="11766" y="7752"/>
                </a:lnTo>
                <a:lnTo>
                  <a:pt x="11720" y="7718"/>
                </a:lnTo>
                <a:lnTo>
                  <a:pt x="11639" y="7801"/>
                </a:lnTo>
                <a:lnTo>
                  <a:pt x="11627" y="7913"/>
                </a:lnTo>
                <a:lnTo>
                  <a:pt x="11658" y="7975"/>
                </a:lnTo>
                <a:lnTo>
                  <a:pt x="11706" y="7912"/>
                </a:lnTo>
                <a:close/>
                <a:moveTo>
                  <a:pt x="10348" y="10132"/>
                </a:moveTo>
                <a:lnTo>
                  <a:pt x="10338" y="10147"/>
                </a:lnTo>
                <a:lnTo>
                  <a:pt x="10346" y="10157"/>
                </a:lnTo>
                <a:lnTo>
                  <a:pt x="10362" y="10162"/>
                </a:lnTo>
                <a:lnTo>
                  <a:pt x="10380" y="10158"/>
                </a:lnTo>
                <a:lnTo>
                  <a:pt x="10389" y="10144"/>
                </a:lnTo>
                <a:lnTo>
                  <a:pt x="10383" y="10130"/>
                </a:lnTo>
                <a:lnTo>
                  <a:pt x="10368" y="10123"/>
                </a:lnTo>
                <a:lnTo>
                  <a:pt x="10348" y="10132"/>
                </a:lnTo>
                <a:close/>
                <a:moveTo>
                  <a:pt x="11129" y="10049"/>
                </a:moveTo>
                <a:lnTo>
                  <a:pt x="11135" y="10064"/>
                </a:lnTo>
                <a:lnTo>
                  <a:pt x="11152" y="10067"/>
                </a:lnTo>
                <a:lnTo>
                  <a:pt x="11169" y="10059"/>
                </a:lnTo>
                <a:lnTo>
                  <a:pt x="11176" y="10041"/>
                </a:lnTo>
                <a:lnTo>
                  <a:pt x="11169" y="10022"/>
                </a:lnTo>
                <a:lnTo>
                  <a:pt x="11152" y="10020"/>
                </a:lnTo>
                <a:lnTo>
                  <a:pt x="11137" y="10030"/>
                </a:lnTo>
                <a:lnTo>
                  <a:pt x="11129" y="10049"/>
                </a:lnTo>
                <a:close/>
                <a:moveTo>
                  <a:pt x="10206" y="11077"/>
                </a:moveTo>
                <a:lnTo>
                  <a:pt x="10194" y="11077"/>
                </a:lnTo>
                <a:lnTo>
                  <a:pt x="10183" y="11084"/>
                </a:lnTo>
                <a:lnTo>
                  <a:pt x="10173" y="11091"/>
                </a:lnTo>
                <a:lnTo>
                  <a:pt x="10165" y="11100"/>
                </a:lnTo>
                <a:lnTo>
                  <a:pt x="10174" y="11117"/>
                </a:lnTo>
                <a:lnTo>
                  <a:pt x="10203" y="11114"/>
                </a:lnTo>
                <a:lnTo>
                  <a:pt x="10225" y="11099"/>
                </a:lnTo>
                <a:lnTo>
                  <a:pt x="10206" y="11077"/>
                </a:lnTo>
                <a:close/>
                <a:moveTo>
                  <a:pt x="11464" y="3640"/>
                </a:moveTo>
                <a:lnTo>
                  <a:pt x="11463" y="3623"/>
                </a:lnTo>
                <a:lnTo>
                  <a:pt x="11456" y="3601"/>
                </a:lnTo>
                <a:lnTo>
                  <a:pt x="11445" y="3585"/>
                </a:lnTo>
                <a:lnTo>
                  <a:pt x="11428" y="3586"/>
                </a:lnTo>
                <a:lnTo>
                  <a:pt x="11422" y="3605"/>
                </a:lnTo>
                <a:lnTo>
                  <a:pt x="11433" y="3631"/>
                </a:lnTo>
                <a:lnTo>
                  <a:pt x="11451" y="3647"/>
                </a:lnTo>
                <a:lnTo>
                  <a:pt x="11464" y="3640"/>
                </a:lnTo>
                <a:close/>
                <a:moveTo>
                  <a:pt x="10197" y="10358"/>
                </a:moveTo>
                <a:lnTo>
                  <a:pt x="10193" y="10379"/>
                </a:lnTo>
                <a:lnTo>
                  <a:pt x="10220" y="10393"/>
                </a:lnTo>
                <a:lnTo>
                  <a:pt x="10243" y="10391"/>
                </a:lnTo>
                <a:lnTo>
                  <a:pt x="10227" y="10367"/>
                </a:lnTo>
                <a:lnTo>
                  <a:pt x="10220" y="10365"/>
                </a:lnTo>
                <a:lnTo>
                  <a:pt x="10212" y="10361"/>
                </a:lnTo>
                <a:lnTo>
                  <a:pt x="10205" y="10358"/>
                </a:lnTo>
                <a:lnTo>
                  <a:pt x="10197" y="10358"/>
                </a:lnTo>
                <a:close/>
                <a:moveTo>
                  <a:pt x="9204" y="10576"/>
                </a:moveTo>
                <a:lnTo>
                  <a:pt x="9204" y="10576"/>
                </a:lnTo>
                <a:lnTo>
                  <a:pt x="9204" y="10577"/>
                </a:lnTo>
                <a:lnTo>
                  <a:pt x="9204" y="10576"/>
                </a:lnTo>
                <a:close/>
                <a:moveTo>
                  <a:pt x="9214" y="10554"/>
                </a:moveTo>
                <a:lnTo>
                  <a:pt x="9205" y="10568"/>
                </a:lnTo>
                <a:lnTo>
                  <a:pt x="9191" y="10575"/>
                </a:lnTo>
                <a:lnTo>
                  <a:pt x="9176" y="10577"/>
                </a:lnTo>
                <a:lnTo>
                  <a:pt x="9159" y="10577"/>
                </a:lnTo>
                <a:lnTo>
                  <a:pt x="9150" y="10599"/>
                </a:lnTo>
                <a:lnTo>
                  <a:pt x="9195" y="10594"/>
                </a:lnTo>
                <a:lnTo>
                  <a:pt x="9235" y="10575"/>
                </a:lnTo>
                <a:lnTo>
                  <a:pt x="9214" y="10554"/>
                </a:lnTo>
                <a:close/>
                <a:moveTo>
                  <a:pt x="8451" y="12038"/>
                </a:moveTo>
                <a:lnTo>
                  <a:pt x="8417" y="11986"/>
                </a:lnTo>
                <a:lnTo>
                  <a:pt x="8359" y="11970"/>
                </a:lnTo>
                <a:lnTo>
                  <a:pt x="8297" y="11956"/>
                </a:lnTo>
                <a:lnTo>
                  <a:pt x="8245" y="11916"/>
                </a:lnTo>
                <a:lnTo>
                  <a:pt x="8175" y="11979"/>
                </a:lnTo>
                <a:lnTo>
                  <a:pt x="8256" y="12063"/>
                </a:lnTo>
                <a:lnTo>
                  <a:pt x="8382" y="12105"/>
                </a:lnTo>
                <a:lnTo>
                  <a:pt x="8451" y="12038"/>
                </a:lnTo>
                <a:close/>
                <a:moveTo>
                  <a:pt x="8920" y="11132"/>
                </a:moveTo>
                <a:lnTo>
                  <a:pt x="8929" y="11142"/>
                </a:lnTo>
                <a:lnTo>
                  <a:pt x="8943" y="11146"/>
                </a:lnTo>
                <a:lnTo>
                  <a:pt x="8955" y="11142"/>
                </a:lnTo>
                <a:lnTo>
                  <a:pt x="8960" y="11130"/>
                </a:lnTo>
                <a:lnTo>
                  <a:pt x="8953" y="11117"/>
                </a:lnTo>
                <a:lnTo>
                  <a:pt x="8937" y="11113"/>
                </a:lnTo>
                <a:lnTo>
                  <a:pt x="8923" y="11119"/>
                </a:lnTo>
                <a:lnTo>
                  <a:pt x="8920" y="11132"/>
                </a:lnTo>
                <a:close/>
                <a:moveTo>
                  <a:pt x="8679" y="11245"/>
                </a:moveTo>
                <a:lnTo>
                  <a:pt x="8681" y="11215"/>
                </a:lnTo>
                <a:lnTo>
                  <a:pt x="8665" y="11205"/>
                </a:lnTo>
                <a:lnTo>
                  <a:pt x="8643" y="11212"/>
                </a:lnTo>
                <a:lnTo>
                  <a:pt x="8632" y="11239"/>
                </a:lnTo>
                <a:lnTo>
                  <a:pt x="8638" y="11262"/>
                </a:lnTo>
                <a:lnTo>
                  <a:pt x="8655" y="11273"/>
                </a:lnTo>
                <a:lnTo>
                  <a:pt x="8671" y="11268"/>
                </a:lnTo>
                <a:lnTo>
                  <a:pt x="8679" y="11245"/>
                </a:lnTo>
                <a:close/>
                <a:moveTo>
                  <a:pt x="11111" y="9818"/>
                </a:moveTo>
                <a:lnTo>
                  <a:pt x="11121" y="9776"/>
                </a:lnTo>
                <a:lnTo>
                  <a:pt x="11093" y="9740"/>
                </a:lnTo>
                <a:lnTo>
                  <a:pt x="11053" y="9729"/>
                </a:lnTo>
                <a:lnTo>
                  <a:pt x="11023" y="9765"/>
                </a:lnTo>
                <a:lnTo>
                  <a:pt x="11037" y="9785"/>
                </a:lnTo>
                <a:lnTo>
                  <a:pt x="11062" y="9794"/>
                </a:lnTo>
                <a:lnTo>
                  <a:pt x="11090" y="9802"/>
                </a:lnTo>
                <a:lnTo>
                  <a:pt x="11111" y="9818"/>
                </a:lnTo>
                <a:close/>
                <a:moveTo>
                  <a:pt x="11006" y="9779"/>
                </a:moveTo>
                <a:lnTo>
                  <a:pt x="10992" y="9778"/>
                </a:lnTo>
                <a:lnTo>
                  <a:pt x="10978" y="9784"/>
                </a:lnTo>
                <a:lnTo>
                  <a:pt x="10971" y="9794"/>
                </a:lnTo>
                <a:lnTo>
                  <a:pt x="10976" y="9804"/>
                </a:lnTo>
                <a:lnTo>
                  <a:pt x="10990" y="9807"/>
                </a:lnTo>
                <a:lnTo>
                  <a:pt x="11003" y="9799"/>
                </a:lnTo>
                <a:lnTo>
                  <a:pt x="11009" y="9789"/>
                </a:lnTo>
                <a:lnTo>
                  <a:pt x="11006" y="9779"/>
                </a:lnTo>
                <a:close/>
                <a:moveTo>
                  <a:pt x="8792" y="10904"/>
                </a:moveTo>
                <a:lnTo>
                  <a:pt x="8753" y="10886"/>
                </a:lnTo>
                <a:lnTo>
                  <a:pt x="8726" y="10895"/>
                </a:lnTo>
                <a:lnTo>
                  <a:pt x="8723" y="10917"/>
                </a:lnTo>
                <a:lnTo>
                  <a:pt x="8758" y="10941"/>
                </a:lnTo>
                <a:lnTo>
                  <a:pt x="8797" y="10948"/>
                </a:lnTo>
                <a:lnTo>
                  <a:pt x="8827" y="10932"/>
                </a:lnTo>
                <a:lnTo>
                  <a:pt x="8829" y="10913"/>
                </a:lnTo>
                <a:lnTo>
                  <a:pt x="8792" y="10904"/>
                </a:lnTo>
                <a:close/>
                <a:moveTo>
                  <a:pt x="11011" y="4599"/>
                </a:moveTo>
                <a:lnTo>
                  <a:pt x="11017" y="4624"/>
                </a:lnTo>
                <a:lnTo>
                  <a:pt x="11040" y="4626"/>
                </a:lnTo>
                <a:lnTo>
                  <a:pt x="11065" y="4613"/>
                </a:lnTo>
                <a:lnTo>
                  <a:pt x="11078" y="4587"/>
                </a:lnTo>
                <a:lnTo>
                  <a:pt x="11068" y="4571"/>
                </a:lnTo>
                <a:lnTo>
                  <a:pt x="11045" y="4571"/>
                </a:lnTo>
                <a:lnTo>
                  <a:pt x="11023" y="4582"/>
                </a:lnTo>
                <a:lnTo>
                  <a:pt x="11011" y="4599"/>
                </a:lnTo>
                <a:close/>
                <a:moveTo>
                  <a:pt x="8794" y="11406"/>
                </a:moveTo>
                <a:lnTo>
                  <a:pt x="8801" y="11402"/>
                </a:lnTo>
                <a:lnTo>
                  <a:pt x="8806" y="11396"/>
                </a:lnTo>
                <a:lnTo>
                  <a:pt x="8808" y="11388"/>
                </a:lnTo>
                <a:lnTo>
                  <a:pt x="8808" y="11380"/>
                </a:lnTo>
                <a:lnTo>
                  <a:pt x="8796" y="11365"/>
                </a:lnTo>
                <a:lnTo>
                  <a:pt x="8781" y="11375"/>
                </a:lnTo>
                <a:lnTo>
                  <a:pt x="8774" y="11394"/>
                </a:lnTo>
                <a:lnTo>
                  <a:pt x="8794" y="11406"/>
                </a:lnTo>
                <a:close/>
                <a:moveTo>
                  <a:pt x="10969" y="4696"/>
                </a:moveTo>
                <a:lnTo>
                  <a:pt x="10913" y="4677"/>
                </a:lnTo>
                <a:lnTo>
                  <a:pt x="10911" y="4703"/>
                </a:lnTo>
                <a:lnTo>
                  <a:pt x="10942" y="4748"/>
                </a:lnTo>
                <a:lnTo>
                  <a:pt x="10975" y="4792"/>
                </a:lnTo>
                <a:lnTo>
                  <a:pt x="10993" y="4788"/>
                </a:lnTo>
                <a:lnTo>
                  <a:pt x="10995" y="4755"/>
                </a:lnTo>
                <a:lnTo>
                  <a:pt x="10985" y="4715"/>
                </a:lnTo>
                <a:lnTo>
                  <a:pt x="10969" y="4696"/>
                </a:lnTo>
                <a:close/>
                <a:moveTo>
                  <a:pt x="11635" y="3613"/>
                </a:moveTo>
                <a:lnTo>
                  <a:pt x="11691" y="3603"/>
                </a:lnTo>
                <a:lnTo>
                  <a:pt x="11702" y="3580"/>
                </a:lnTo>
                <a:lnTo>
                  <a:pt x="11681" y="3549"/>
                </a:lnTo>
                <a:lnTo>
                  <a:pt x="11637" y="3520"/>
                </a:lnTo>
                <a:lnTo>
                  <a:pt x="11603" y="3537"/>
                </a:lnTo>
                <a:lnTo>
                  <a:pt x="11590" y="3568"/>
                </a:lnTo>
                <a:lnTo>
                  <a:pt x="11600" y="3598"/>
                </a:lnTo>
                <a:lnTo>
                  <a:pt x="11635" y="3613"/>
                </a:lnTo>
                <a:close/>
                <a:moveTo>
                  <a:pt x="6864" y="11930"/>
                </a:moveTo>
                <a:lnTo>
                  <a:pt x="6867" y="11931"/>
                </a:lnTo>
                <a:lnTo>
                  <a:pt x="6871" y="11930"/>
                </a:lnTo>
                <a:lnTo>
                  <a:pt x="6872" y="11929"/>
                </a:lnTo>
                <a:lnTo>
                  <a:pt x="6872" y="11926"/>
                </a:lnTo>
                <a:lnTo>
                  <a:pt x="6871" y="11926"/>
                </a:lnTo>
                <a:lnTo>
                  <a:pt x="6867" y="11926"/>
                </a:lnTo>
                <a:lnTo>
                  <a:pt x="6864" y="11929"/>
                </a:lnTo>
                <a:lnTo>
                  <a:pt x="6864" y="11930"/>
                </a:lnTo>
                <a:close/>
                <a:moveTo>
                  <a:pt x="8471" y="11109"/>
                </a:moveTo>
                <a:lnTo>
                  <a:pt x="8574" y="11103"/>
                </a:lnTo>
                <a:lnTo>
                  <a:pt x="8629" y="11030"/>
                </a:lnTo>
                <a:lnTo>
                  <a:pt x="8588" y="10960"/>
                </a:lnTo>
                <a:lnTo>
                  <a:pt x="8399" y="10964"/>
                </a:lnTo>
                <a:lnTo>
                  <a:pt x="8380" y="10981"/>
                </a:lnTo>
                <a:lnTo>
                  <a:pt x="8362" y="10974"/>
                </a:lnTo>
                <a:lnTo>
                  <a:pt x="8343" y="10967"/>
                </a:lnTo>
                <a:lnTo>
                  <a:pt x="8325" y="10981"/>
                </a:lnTo>
                <a:lnTo>
                  <a:pt x="8353" y="11029"/>
                </a:lnTo>
                <a:lnTo>
                  <a:pt x="8433" y="11048"/>
                </a:lnTo>
                <a:lnTo>
                  <a:pt x="8496" y="11065"/>
                </a:lnTo>
                <a:lnTo>
                  <a:pt x="8471" y="11109"/>
                </a:lnTo>
                <a:close/>
                <a:moveTo>
                  <a:pt x="11150" y="3702"/>
                </a:moveTo>
                <a:lnTo>
                  <a:pt x="11158" y="3660"/>
                </a:lnTo>
                <a:lnTo>
                  <a:pt x="11134" y="3627"/>
                </a:lnTo>
                <a:lnTo>
                  <a:pt x="11095" y="3614"/>
                </a:lnTo>
                <a:lnTo>
                  <a:pt x="11060" y="3636"/>
                </a:lnTo>
                <a:lnTo>
                  <a:pt x="11059" y="3671"/>
                </a:lnTo>
                <a:lnTo>
                  <a:pt x="11083" y="3700"/>
                </a:lnTo>
                <a:lnTo>
                  <a:pt x="11118" y="3714"/>
                </a:lnTo>
                <a:lnTo>
                  <a:pt x="11150" y="3702"/>
                </a:lnTo>
                <a:close/>
                <a:moveTo>
                  <a:pt x="9959" y="11247"/>
                </a:moveTo>
                <a:lnTo>
                  <a:pt x="10050" y="11215"/>
                </a:lnTo>
                <a:lnTo>
                  <a:pt x="10008" y="11200"/>
                </a:lnTo>
                <a:lnTo>
                  <a:pt x="9909" y="11212"/>
                </a:lnTo>
                <a:lnTo>
                  <a:pt x="9825" y="11263"/>
                </a:lnTo>
                <a:lnTo>
                  <a:pt x="9814" y="11284"/>
                </a:lnTo>
                <a:lnTo>
                  <a:pt x="9856" y="11275"/>
                </a:lnTo>
                <a:lnTo>
                  <a:pt x="9915" y="11256"/>
                </a:lnTo>
                <a:lnTo>
                  <a:pt x="9959" y="11247"/>
                </a:lnTo>
                <a:close/>
                <a:moveTo>
                  <a:pt x="7556" y="12540"/>
                </a:moveTo>
                <a:lnTo>
                  <a:pt x="7562" y="12539"/>
                </a:lnTo>
                <a:lnTo>
                  <a:pt x="7567" y="12535"/>
                </a:lnTo>
                <a:lnTo>
                  <a:pt x="7568" y="12530"/>
                </a:lnTo>
                <a:lnTo>
                  <a:pt x="7565" y="12525"/>
                </a:lnTo>
                <a:lnTo>
                  <a:pt x="7558" y="12523"/>
                </a:lnTo>
                <a:lnTo>
                  <a:pt x="7553" y="12530"/>
                </a:lnTo>
                <a:lnTo>
                  <a:pt x="7552" y="12536"/>
                </a:lnTo>
                <a:lnTo>
                  <a:pt x="7556" y="12540"/>
                </a:lnTo>
                <a:close/>
                <a:moveTo>
                  <a:pt x="7534" y="12527"/>
                </a:moveTo>
                <a:lnTo>
                  <a:pt x="7528" y="12517"/>
                </a:lnTo>
                <a:lnTo>
                  <a:pt x="7515" y="12521"/>
                </a:lnTo>
                <a:lnTo>
                  <a:pt x="7510" y="12530"/>
                </a:lnTo>
                <a:lnTo>
                  <a:pt x="7524" y="12537"/>
                </a:lnTo>
                <a:lnTo>
                  <a:pt x="7529" y="12536"/>
                </a:lnTo>
                <a:lnTo>
                  <a:pt x="7531" y="12535"/>
                </a:lnTo>
                <a:lnTo>
                  <a:pt x="7534" y="12531"/>
                </a:lnTo>
                <a:lnTo>
                  <a:pt x="7534" y="12527"/>
                </a:lnTo>
                <a:close/>
                <a:moveTo>
                  <a:pt x="7439" y="12506"/>
                </a:moveTo>
                <a:lnTo>
                  <a:pt x="7432" y="12512"/>
                </a:lnTo>
                <a:lnTo>
                  <a:pt x="7439" y="12520"/>
                </a:lnTo>
                <a:lnTo>
                  <a:pt x="7451" y="12525"/>
                </a:lnTo>
                <a:lnTo>
                  <a:pt x="7463" y="12526"/>
                </a:lnTo>
                <a:lnTo>
                  <a:pt x="7475" y="12517"/>
                </a:lnTo>
                <a:lnTo>
                  <a:pt x="7470" y="12509"/>
                </a:lnTo>
                <a:lnTo>
                  <a:pt x="7455" y="12504"/>
                </a:lnTo>
                <a:lnTo>
                  <a:pt x="7439" y="12506"/>
                </a:lnTo>
                <a:close/>
                <a:moveTo>
                  <a:pt x="7515" y="12469"/>
                </a:moveTo>
                <a:lnTo>
                  <a:pt x="7560" y="12476"/>
                </a:lnTo>
                <a:lnTo>
                  <a:pt x="7584" y="12460"/>
                </a:lnTo>
                <a:lnTo>
                  <a:pt x="7580" y="12438"/>
                </a:lnTo>
                <a:lnTo>
                  <a:pt x="7538" y="12430"/>
                </a:lnTo>
                <a:lnTo>
                  <a:pt x="7477" y="12437"/>
                </a:lnTo>
                <a:lnTo>
                  <a:pt x="7442" y="12458"/>
                </a:lnTo>
                <a:lnTo>
                  <a:pt x="7450" y="12475"/>
                </a:lnTo>
                <a:lnTo>
                  <a:pt x="7515" y="12469"/>
                </a:lnTo>
                <a:close/>
                <a:moveTo>
                  <a:pt x="11805" y="6268"/>
                </a:moveTo>
                <a:lnTo>
                  <a:pt x="11799" y="6263"/>
                </a:lnTo>
                <a:lnTo>
                  <a:pt x="11790" y="6266"/>
                </a:lnTo>
                <a:lnTo>
                  <a:pt x="11784" y="6272"/>
                </a:lnTo>
                <a:lnTo>
                  <a:pt x="11785" y="6281"/>
                </a:lnTo>
                <a:lnTo>
                  <a:pt x="11793" y="6287"/>
                </a:lnTo>
                <a:lnTo>
                  <a:pt x="11800" y="6285"/>
                </a:lnTo>
                <a:lnTo>
                  <a:pt x="11807" y="6277"/>
                </a:lnTo>
                <a:lnTo>
                  <a:pt x="11805" y="6268"/>
                </a:lnTo>
                <a:close/>
                <a:moveTo>
                  <a:pt x="7384" y="11629"/>
                </a:moveTo>
                <a:lnTo>
                  <a:pt x="7371" y="11632"/>
                </a:lnTo>
                <a:lnTo>
                  <a:pt x="7368" y="11643"/>
                </a:lnTo>
                <a:lnTo>
                  <a:pt x="7375" y="11653"/>
                </a:lnTo>
                <a:lnTo>
                  <a:pt x="7384" y="11660"/>
                </a:lnTo>
                <a:lnTo>
                  <a:pt x="7391" y="11658"/>
                </a:lnTo>
                <a:lnTo>
                  <a:pt x="7394" y="11646"/>
                </a:lnTo>
                <a:lnTo>
                  <a:pt x="7391" y="11634"/>
                </a:lnTo>
                <a:lnTo>
                  <a:pt x="7384" y="11629"/>
                </a:lnTo>
                <a:close/>
                <a:moveTo>
                  <a:pt x="8727" y="11140"/>
                </a:moveTo>
                <a:lnTo>
                  <a:pt x="8727" y="11140"/>
                </a:lnTo>
                <a:lnTo>
                  <a:pt x="8727" y="11140"/>
                </a:lnTo>
                <a:close/>
                <a:moveTo>
                  <a:pt x="8865" y="11103"/>
                </a:moveTo>
                <a:lnTo>
                  <a:pt x="8865" y="11095"/>
                </a:lnTo>
                <a:lnTo>
                  <a:pt x="8853" y="11091"/>
                </a:lnTo>
                <a:lnTo>
                  <a:pt x="8841" y="11094"/>
                </a:lnTo>
                <a:lnTo>
                  <a:pt x="8834" y="11100"/>
                </a:lnTo>
                <a:lnTo>
                  <a:pt x="8837" y="11110"/>
                </a:lnTo>
                <a:lnTo>
                  <a:pt x="8847" y="11112"/>
                </a:lnTo>
                <a:lnTo>
                  <a:pt x="8857" y="11109"/>
                </a:lnTo>
                <a:lnTo>
                  <a:pt x="8865" y="11103"/>
                </a:lnTo>
                <a:close/>
                <a:moveTo>
                  <a:pt x="11435" y="5147"/>
                </a:moveTo>
                <a:lnTo>
                  <a:pt x="11472" y="5250"/>
                </a:lnTo>
                <a:lnTo>
                  <a:pt x="11496" y="5247"/>
                </a:lnTo>
                <a:lnTo>
                  <a:pt x="11520" y="5204"/>
                </a:lnTo>
                <a:lnTo>
                  <a:pt x="11554" y="5190"/>
                </a:lnTo>
                <a:lnTo>
                  <a:pt x="11560" y="5226"/>
                </a:lnTo>
                <a:lnTo>
                  <a:pt x="11582" y="5217"/>
                </a:lnTo>
                <a:lnTo>
                  <a:pt x="11605" y="5181"/>
                </a:lnTo>
                <a:lnTo>
                  <a:pt x="11611" y="5140"/>
                </a:lnTo>
                <a:lnTo>
                  <a:pt x="11600" y="5120"/>
                </a:lnTo>
                <a:lnTo>
                  <a:pt x="11574" y="5123"/>
                </a:lnTo>
                <a:lnTo>
                  <a:pt x="11542" y="5134"/>
                </a:lnTo>
                <a:lnTo>
                  <a:pt x="11516" y="5135"/>
                </a:lnTo>
                <a:lnTo>
                  <a:pt x="11492" y="5116"/>
                </a:lnTo>
                <a:lnTo>
                  <a:pt x="11469" y="5109"/>
                </a:lnTo>
                <a:lnTo>
                  <a:pt x="11449" y="5118"/>
                </a:lnTo>
                <a:lnTo>
                  <a:pt x="11435" y="5147"/>
                </a:lnTo>
                <a:close/>
                <a:moveTo>
                  <a:pt x="11511" y="8651"/>
                </a:moveTo>
                <a:lnTo>
                  <a:pt x="11442" y="8641"/>
                </a:lnTo>
                <a:lnTo>
                  <a:pt x="11416" y="8651"/>
                </a:lnTo>
                <a:lnTo>
                  <a:pt x="11425" y="8683"/>
                </a:lnTo>
                <a:lnTo>
                  <a:pt x="11462" y="8734"/>
                </a:lnTo>
                <a:lnTo>
                  <a:pt x="11500" y="8759"/>
                </a:lnTo>
                <a:lnTo>
                  <a:pt x="11538" y="8729"/>
                </a:lnTo>
                <a:lnTo>
                  <a:pt x="11551" y="8682"/>
                </a:lnTo>
                <a:lnTo>
                  <a:pt x="11511" y="8651"/>
                </a:lnTo>
                <a:close/>
                <a:moveTo>
                  <a:pt x="10562" y="3949"/>
                </a:moveTo>
                <a:lnTo>
                  <a:pt x="10566" y="3959"/>
                </a:lnTo>
                <a:lnTo>
                  <a:pt x="10575" y="3963"/>
                </a:lnTo>
                <a:lnTo>
                  <a:pt x="10585" y="3960"/>
                </a:lnTo>
                <a:lnTo>
                  <a:pt x="10590" y="3952"/>
                </a:lnTo>
                <a:lnTo>
                  <a:pt x="10587" y="3943"/>
                </a:lnTo>
                <a:lnTo>
                  <a:pt x="10578" y="3939"/>
                </a:lnTo>
                <a:lnTo>
                  <a:pt x="10568" y="3941"/>
                </a:lnTo>
                <a:lnTo>
                  <a:pt x="10562" y="3949"/>
                </a:lnTo>
                <a:close/>
                <a:moveTo>
                  <a:pt x="8404" y="11460"/>
                </a:moveTo>
                <a:lnTo>
                  <a:pt x="8385" y="11476"/>
                </a:lnTo>
                <a:lnTo>
                  <a:pt x="8377" y="11497"/>
                </a:lnTo>
                <a:lnTo>
                  <a:pt x="8364" y="11524"/>
                </a:lnTo>
                <a:lnTo>
                  <a:pt x="8327" y="11555"/>
                </a:lnTo>
                <a:lnTo>
                  <a:pt x="8375" y="11583"/>
                </a:lnTo>
                <a:lnTo>
                  <a:pt x="8411" y="11559"/>
                </a:lnTo>
                <a:lnTo>
                  <a:pt x="8427" y="11508"/>
                </a:lnTo>
                <a:lnTo>
                  <a:pt x="8404" y="11460"/>
                </a:lnTo>
                <a:close/>
                <a:moveTo>
                  <a:pt x="11435" y="5498"/>
                </a:moveTo>
                <a:lnTo>
                  <a:pt x="11435" y="5491"/>
                </a:lnTo>
                <a:lnTo>
                  <a:pt x="11426" y="5485"/>
                </a:lnTo>
                <a:lnTo>
                  <a:pt x="11416" y="5485"/>
                </a:lnTo>
                <a:lnTo>
                  <a:pt x="11408" y="5493"/>
                </a:lnTo>
                <a:lnTo>
                  <a:pt x="11407" y="5505"/>
                </a:lnTo>
                <a:lnTo>
                  <a:pt x="11416" y="5510"/>
                </a:lnTo>
                <a:lnTo>
                  <a:pt x="11426" y="5508"/>
                </a:lnTo>
                <a:lnTo>
                  <a:pt x="11435" y="5498"/>
                </a:lnTo>
                <a:close/>
                <a:moveTo>
                  <a:pt x="11370" y="5541"/>
                </a:moveTo>
                <a:lnTo>
                  <a:pt x="11381" y="5563"/>
                </a:lnTo>
                <a:lnTo>
                  <a:pt x="11414" y="5586"/>
                </a:lnTo>
                <a:lnTo>
                  <a:pt x="11449" y="5596"/>
                </a:lnTo>
                <a:lnTo>
                  <a:pt x="11467" y="5581"/>
                </a:lnTo>
                <a:lnTo>
                  <a:pt x="11448" y="5564"/>
                </a:lnTo>
                <a:lnTo>
                  <a:pt x="11419" y="5550"/>
                </a:lnTo>
                <a:lnTo>
                  <a:pt x="11391" y="5540"/>
                </a:lnTo>
                <a:lnTo>
                  <a:pt x="11370" y="5541"/>
                </a:lnTo>
                <a:close/>
                <a:moveTo>
                  <a:pt x="10928" y="4098"/>
                </a:moveTo>
                <a:lnTo>
                  <a:pt x="10911" y="4148"/>
                </a:lnTo>
                <a:lnTo>
                  <a:pt x="10950" y="4191"/>
                </a:lnTo>
                <a:lnTo>
                  <a:pt x="11007" y="4209"/>
                </a:lnTo>
                <a:lnTo>
                  <a:pt x="11049" y="4182"/>
                </a:lnTo>
                <a:lnTo>
                  <a:pt x="11003" y="4164"/>
                </a:lnTo>
                <a:lnTo>
                  <a:pt x="10979" y="4112"/>
                </a:lnTo>
                <a:lnTo>
                  <a:pt x="10960" y="4074"/>
                </a:lnTo>
                <a:lnTo>
                  <a:pt x="10928" y="4098"/>
                </a:lnTo>
                <a:close/>
                <a:moveTo>
                  <a:pt x="11772" y="6590"/>
                </a:moveTo>
                <a:lnTo>
                  <a:pt x="11774" y="6583"/>
                </a:lnTo>
                <a:lnTo>
                  <a:pt x="11775" y="6575"/>
                </a:lnTo>
                <a:lnTo>
                  <a:pt x="11774" y="6567"/>
                </a:lnTo>
                <a:lnTo>
                  <a:pt x="11770" y="6560"/>
                </a:lnTo>
                <a:lnTo>
                  <a:pt x="11752" y="6562"/>
                </a:lnTo>
                <a:lnTo>
                  <a:pt x="11747" y="6581"/>
                </a:lnTo>
                <a:lnTo>
                  <a:pt x="11754" y="6598"/>
                </a:lnTo>
                <a:lnTo>
                  <a:pt x="11772" y="6590"/>
                </a:lnTo>
                <a:close/>
                <a:moveTo>
                  <a:pt x="11800" y="6732"/>
                </a:moveTo>
                <a:lnTo>
                  <a:pt x="11828" y="6720"/>
                </a:lnTo>
                <a:lnTo>
                  <a:pt x="11854" y="6691"/>
                </a:lnTo>
                <a:lnTo>
                  <a:pt x="11863" y="6662"/>
                </a:lnTo>
                <a:lnTo>
                  <a:pt x="11842" y="6649"/>
                </a:lnTo>
                <a:lnTo>
                  <a:pt x="11817" y="6663"/>
                </a:lnTo>
                <a:lnTo>
                  <a:pt x="11790" y="6690"/>
                </a:lnTo>
                <a:lnTo>
                  <a:pt x="11780" y="6716"/>
                </a:lnTo>
                <a:lnTo>
                  <a:pt x="11800" y="6732"/>
                </a:lnTo>
                <a:close/>
                <a:moveTo>
                  <a:pt x="11883" y="6476"/>
                </a:moveTo>
                <a:lnTo>
                  <a:pt x="11842" y="6487"/>
                </a:lnTo>
                <a:lnTo>
                  <a:pt x="11810" y="6522"/>
                </a:lnTo>
                <a:lnTo>
                  <a:pt x="11802" y="6562"/>
                </a:lnTo>
                <a:lnTo>
                  <a:pt x="11827" y="6589"/>
                </a:lnTo>
                <a:lnTo>
                  <a:pt x="11891" y="6572"/>
                </a:lnTo>
                <a:lnTo>
                  <a:pt x="11939" y="6537"/>
                </a:lnTo>
                <a:lnTo>
                  <a:pt x="11945" y="6499"/>
                </a:lnTo>
                <a:lnTo>
                  <a:pt x="11883" y="6476"/>
                </a:lnTo>
                <a:close/>
                <a:moveTo>
                  <a:pt x="11809" y="6333"/>
                </a:moveTo>
                <a:lnTo>
                  <a:pt x="11766" y="6304"/>
                </a:lnTo>
                <a:lnTo>
                  <a:pt x="11735" y="6328"/>
                </a:lnTo>
                <a:lnTo>
                  <a:pt x="11703" y="6369"/>
                </a:lnTo>
                <a:lnTo>
                  <a:pt x="11659" y="6389"/>
                </a:lnTo>
                <a:lnTo>
                  <a:pt x="11698" y="6502"/>
                </a:lnTo>
                <a:lnTo>
                  <a:pt x="11746" y="6513"/>
                </a:lnTo>
                <a:lnTo>
                  <a:pt x="11786" y="6446"/>
                </a:lnTo>
                <a:lnTo>
                  <a:pt x="11809" y="6333"/>
                </a:lnTo>
                <a:close/>
                <a:moveTo>
                  <a:pt x="10767" y="8884"/>
                </a:moveTo>
                <a:lnTo>
                  <a:pt x="10769" y="8896"/>
                </a:lnTo>
                <a:lnTo>
                  <a:pt x="10776" y="8899"/>
                </a:lnTo>
                <a:lnTo>
                  <a:pt x="10783" y="8898"/>
                </a:lnTo>
                <a:lnTo>
                  <a:pt x="10785" y="8890"/>
                </a:lnTo>
                <a:lnTo>
                  <a:pt x="10783" y="8882"/>
                </a:lnTo>
                <a:lnTo>
                  <a:pt x="10776" y="8875"/>
                </a:lnTo>
                <a:lnTo>
                  <a:pt x="10771" y="8875"/>
                </a:lnTo>
                <a:lnTo>
                  <a:pt x="10767" y="8884"/>
                </a:lnTo>
                <a:close/>
                <a:moveTo>
                  <a:pt x="11025" y="8640"/>
                </a:moveTo>
                <a:lnTo>
                  <a:pt x="11029" y="8650"/>
                </a:lnTo>
                <a:lnTo>
                  <a:pt x="11036" y="8656"/>
                </a:lnTo>
                <a:lnTo>
                  <a:pt x="11045" y="8659"/>
                </a:lnTo>
                <a:lnTo>
                  <a:pt x="11051" y="8651"/>
                </a:lnTo>
                <a:lnTo>
                  <a:pt x="11050" y="8638"/>
                </a:lnTo>
                <a:lnTo>
                  <a:pt x="11041" y="8631"/>
                </a:lnTo>
                <a:lnTo>
                  <a:pt x="11031" y="8631"/>
                </a:lnTo>
                <a:lnTo>
                  <a:pt x="11025" y="8640"/>
                </a:lnTo>
                <a:close/>
                <a:moveTo>
                  <a:pt x="10946" y="5302"/>
                </a:moveTo>
                <a:lnTo>
                  <a:pt x="10965" y="5296"/>
                </a:lnTo>
                <a:lnTo>
                  <a:pt x="10976" y="5280"/>
                </a:lnTo>
                <a:lnTo>
                  <a:pt x="10974" y="5265"/>
                </a:lnTo>
                <a:lnTo>
                  <a:pt x="10953" y="5261"/>
                </a:lnTo>
                <a:lnTo>
                  <a:pt x="10932" y="5272"/>
                </a:lnTo>
                <a:lnTo>
                  <a:pt x="10919" y="5288"/>
                </a:lnTo>
                <a:lnTo>
                  <a:pt x="10922" y="5302"/>
                </a:lnTo>
                <a:lnTo>
                  <a:pt x="10946" y="5302"/>
                </a:lnTo>
                <a:close/>
                <a:moveTo>
                  <a:pt x="2500" y="2783"/>
                </a:moveTo>
                <a:lnTo>
                  <a:pt x="2501" y="2783"/>
                </a:lnTo>
                <a:lnTo>
                  <a:pt x="2501" y="2783"/>
                </a:lnTo>
                <a:lnTo>
                  <a:pt x="2491" y="2816"/>
                </a:lnTo>
                <a:lnTo>
                  <a:pt x="2474" y="2839"/>
                </a:lnTo>
                <a:lnTo>
                  <a:pt x="2446" y="2847"/>
                </a:lnTo>
                <a:lnTo>
                  <a:pt x="2402" y="2835"/>
                </a:lnTo>
                <a:lnTo>
                  <a:pt x="2385" y="2829"/>
                </a:lnTo>
                <a:lnTo>
                  <a:pt x="2373" y="2840"/>
                </a:lnTo>
                <a:lnTo>
                  <a:pt x="2360" y="2859"/>
                </a:lnTo>
                <a:lnTo>
                  <a:pt x="2350" y="2872"/>
                </a:lnTo>
                <a:lnTo>
                  <a:pt x="2329" y="2871"/>
                </a:lnTo>
                <a:lnTo>
                  <a:pt x="2314" y="2862"/>
                </a:lnTo>
                <a:lnTo>
                  <a:pt x="2300" y="2859"/>
                </a:lnTo>
                <a:lnTo>
                  <a:pt x="2285" y="2880"/>
                </a:lnTo>
                <a:lnTo>
                  <a:pt x="2208" y="2948"/>
                </a:lnTo>
                <a:lnTo>
                  <a:pt x="2155" y="2999"/>
                </a:lnTo>
                <a:lnTo>
                  <a:pt x="2123" y="2988"/>
                </a:lnTo>
                <a:lnTo>
                  <a:pt x="2109" y="2872"/>
                </a:lnTo>
                <a:lnTo>
                  <a:pt x="2100" y="2786"/>
                </a:lnTo>
                <a:lnTo>
                  <a:pt x="2124" y="2768"/>
                </a:lnTo>
                <a:lnTo>
                  <a:pt x="2169" y="2772"/>
                </a:lnTo>
                <a:lnTo>
                  <a:pt x="2220" y="2751"/>
                </a:lnTo>
                <a:lnTo>
                  <a:pt x="2224" y="2642"/>
                </a:lnTo>
                <a:lnTo>
                  <a:pt x="2300" y="2544"/>
                </a:lnTo>
                <a:lnTo>
                  <a:pt x="2348" y="2465"/>
                </a:lnTo>
                <a:lnTo>
                  <a:pt x="2263" y="2407"/>
                </a:lnTo>
                <a:lnTo>
                  <a:pt x="2227" y="2461"/>
                </a:lnTo>
                <a:lnTo>
                  <a:pt x="2188" y="2526"/>
                </a:lnTo>
                <a:lnTo>
                  <a:pt x="2139" y="2583"/>
                </a:lnTo>
                <a:lnTo>
                  <a:pt x="2075" y="2620"/>
                </a:lnTo>
                <a:lnTo>
                  <a:pt x="2050" y="2652"/>
                </a:lnTo>
                <a:lnTo>
                  <a:pt x="2090" y="2675"/>
                </a:lnTo>
                <a:lnTo>
                  <a:pt x="2123" y="2694"/>
                </a:lnTo>
                <a:lnTo>
                  <a:pt x="2078" y="2718"/>
                </a:lnTo>
                <a:lnTo>
                  <a:pt x="2044" y="2730"/>
                </a:lnTo>
                <a:lnTo>
                  <a:pt x="2030" y="2708"/>
                </a:lnTo>
                <a:lnTo>
                  <a:pt x="2021" y="2680"/>
                </a:lnTo>
                <a:lnTo>
                  <a:pt x="1999" y="2676"/>
                </a:lnTo>
                <a:lnTo>
                  <a:pt x="1996" y="2735"/>
                </a:lnTo>
                <a:lnTo>
                  <a:pt x="2019" y="2783"/>
                </a:lnTo>
                <a:lnTo>
                  <a:pt x="2050" y="2830"/>
                </a:lnTo>
                <a:lnTo>
                  <a:pt x="2075" y="2882"/>
                </a:lnTo>
                <a:lnTo>
                  <a:pt x="2029" y="2936"/>
                </a:lnTo>
                <a:lnTo>
                  <a:pt x="1996" y="2900"/>
                </a:lnTo>
                <a:lnTo>
                  <a:pt x="1962" y="2834"/>
                </a:lnTo>
                <a:lnTo>
                  <a:pt x="1918" y="2796"/>
                </a:lnTo>
                <a:lnTo>
                  <a:pt x="1894" y="2821"/>
                </a:lnTo>
                <a:lnTo>
                  <a:pt x="1900" y="2858"/>
                </a:lnTo>
                <a:lnTo>
                  <a:pt x="1915" y="2896"/>
                </a:lnTo>
                <a:lnTo>
                  <a:pt x="1918" y="2929"/>
                </a:lnTo>
                <a:lnTo>
                  <a:pt x="1822" y="3059"/>
                </a:lnTo>
                <a:lnTo>
                  <a:pt x="1782" y="3194"/>
                </a:lnTo>
                <a:lnTo>
                  <a:pt x="1816" y="3245"/>
                </a:lnTo>
                <a:lnTo>
                  <a:pt x="1940" y="3122"/>
                </a:lnTo>
                <a:lnTo>
                  <a:pt x="1933" y="3171"/>
                </a:lnTo>
                <a:lnTo>
                  <a:pt x="1906" y="3208"/>
                </a:lnTo>
                <a:lnTo>
                  <a:pt x="1887" y="3246"/>
                </a:lnTo>
                <a:lnTo>
                  <a:pt x="1903" y="3300"/>
                </a:lnTo>
                <a:lnTo>
                  <a:pt x="1864" y="3337"/>
                </a:lnTo>
                <a:lnTo>
                  <a:pt x="1803" y="3388"/>
                </a:lnTo>
                <a:lnTo>
                  <a:pt x="1759" y="3432"/>
                </a:lnTo>
                <a:lnTo>
                  <a:pt x="1775" y="3453"/>
                </a:lnTo>
                <a:lnTo>
                  <a:pt x="1859" y="3431"/>
                </a:lnTo>
                <a:lnTo>
                  <a:pt x="1915" y="3385"/>
                </a:lnTo>
                <a:lnTo>
                  <a:pt x="1950" y="3319"/>
                </a:lnTo>
                <a:lnTo>
                  <a:pt x="1968" y="3244"/>
                </a:lnTo>
                <a:lnTo>
                  <a:pt x="2011" y="3232"/>
                </a:lnTo>
                <a:lnTo>
                  <a:pt x="2024" y="3217"/>
                </a:lnTo>
                <a:lnTo>
                  <a:pt x="2025" y="3193"/>
                </a:lnTo>
                <a:lnTo>
                  <a:pt x="2034" y="3157"/>
                </a:lnTo>
                <a:lnTo>
                  <a:pt x="2157" y="3129"/>
                </a:lnTo>
                <a:lnTo>
                  <a:pt x="2196" y="3151"/>
                </a:lnTo>
                <a:lnTo>
                  <a:pt x="2161" y="3193"/>
                </a:lnTo>
                <a:lnTo>
                  <a:pt x="2066" y="3229"/>
                </a:lnTo>
                <a:lnTo>
                  <a:pt x="2053" y="3271"/>
                </a:lnTo>
                <a:lnTo>
                  <a:pt x="2036" y="3285"/>
                </a:lnTo>
                <a:lnTo>
                  <a:pt x="2026" y="3299"/>
                </a:lnTo>
                <a:lnTo>
                  <a:pt x="2026" y="3337"/>
                </a:lnTo>
                <a:lnTo>
                  <a:pt x="1990" y="3375"/>
                </a:lnTo>
                <a:lnTo>
                  <a:pt x="1959" y="3431"/>
                </a:lnTo>
                <a:lnTo>
                  <a:pt x="1955" y="3479"/>
                </a:lnTo>
                <a:lnTo>
                  <a:pt x="1999" y="3495"/>
                </a:lnTo>
                <a:lnTo>
                  <a:pt x="2040" y="3456"/>
                </a:lnTo>
                <a:lnTo>
                  <a:pt x="2080" y="3419"/>
                </a:lnTo>
                <a:lnTo>
                  <a:pt x="2122" y="3399"/>
                </a:lnTo>
                <a:lnTo>
                  <a:pt x="2171" y="3416"/>
                </a:lnTo>
                <a:lnTo>
                  <a:pt x="2131" y="3478"/>
                </a:lnTo>
                <a:lnTo>
                  <a:pt x="2071" y="3511"/>
                </a:lnTo>
                <a:lnTo>
                  <a:pt x="2008" y="3540"/>
                </a:lnTo>
                <a:lnTo>
                  <a:pt x="1964" y="3590"/>
                </a:lnTo>
                <a:lnTo>
                  <a:pt x="1979" y="3659"/>
                </a:lnTo>
                <a:lnTo>
                  <a:pt x="1962" y="3744"/>
                </a:lnTo>
                <a:lnTo>
                  <a:pt x="1951" y="3822"/>
                </a:lnTo>
                <a:lnTo>
                  <a:pt x="1979" y="3871"/>
                </a:lnTo>
                <a:lnTo>
                  <a:pt x="2031" y="3865"/>
                </a:lnTo>
                <a:lnTo>
                  <a:pt x="2030" y="3892"/>
                </a:lnTo>
                <a:lnTo>
                  <a:pt x="2011" y="3931"/>
                </a:lnTo>
                <a:lnTo>
                  <a:pt x="2010" y="3968"/>
                </a:lnTo>
                <a:lnTo>
                  <a:pt x="2069" y="4025"/>
                </a:lnTo>
                <a:lnTo>
                  <a:pt x="2005" y="4113"/>
                </a:lnTo>
                <a:lnTo>
                  <a:pt x="1909" y="4144"/>
                </a:lnTo>
                <a:lnTo>
                  <a:pt x="1877" y="4029"/>
                </a:lnTo>
                <a:lnTo>
                  <a:pt x="1853" y="3987"/>
                </a:lnTo>
                <a:lnTo>
                  <a:pt x="1843" y="4019"/>
                </a:lnTo>
                <a:lnTo>
                  <a:pt x="1835" y="4078"/>
                </a:lnTo>
                <a:lnTo>
                  <a:pt x="1812" y="4118"/>
                </a:lnTo>
                <a:lnTo>
                  <a:pt x="1783" y="4136"/>
                </a:lnTo>
                <a:lnTo>
                  <a:pt x="1750" y="4132"/>
                </a:lnTo>
                <a:lnTo>
                  <a:pt x="1724" y="4140"/>
                </a:lnTo>
                <a:lnTo>
                  <a:pt x="1718" y="4192"/>
                </a:lnTo>
                <a:lnTo>
                  <a:pt x="1668" y="4237"/>
                </a:lnTo>
                <a:lnTo>
                  <a:pt x="1615" y="4289"/>
                </a:lnTo>
                <a:lnTo>
                  <a:pt x="1593" y="4339"/>
                </a:lnTo>
                <a:lnTo>
                  <a:pt x="1642" y="4375"/>
                </a:lnTo>
                <a:lnTo>
                  <a:pt x="1579" y="4395"/>
                </a:lnTo>
                <a:lnTo>
                  <a:pt x="1547" y="4349"/>
                </a:lnTo>
                <a:lnTo>
                  <a:pt x="1536" y="4267"/>
                </a:lnTo>
                <a:lnTo>
                  <a:pt x="1538" y="4182"/>
                </a:lnTo>
                <a:lnTo>
                  <a:pt x="1452" y="4121"/>
                </a:lnTo>
                <a:lnTo>
                  <a:pt x="1401" y="4044"/>
                </a:lnTo>
                <a:lnTo>
                  <a:pt x="1383" y="3953"/>
                </a:lnTo>
                <a:lnTo>
                  <a:pt x="1400" y="3845"/>
                </a:lnTo>
                <a:lnTo>
                  <a:pt x="1335" y="3862"/>
                </a:lnTo>
                <a:lnTo>
                  <a:pt x="1337" y="4006"/>
                </a:lnTo>
                <a:lnTo>
                  <a:pt x="1388" y="4151"/>
                </a:lnTo>
                <a:lnTo>
                  <a:pt x="1467" y="4173"/>
                </a:lnTo>
                <a:lnTo>
                  <a:pt x="1444" y="4243"/>
                </a:lnTo>
                <a:lnTo>
                  <a:pt x="1439" y="4314"/>
                </a:lnTo>
                <a:lnTo>
                  <a:pt x="1467" y="4384"/>
                </a:lnTo>
                <a:lnTo>
                  <a:pt x="1543" y="4444"/>
                </a:lnTo>
                <a:lnTo>
                  <a:pt x="1565" y="4467"/>
                </a:lnTo>
                <a:lnTo>
                  <a:pt x="1592" y="4462"/>
                </a:lnTo>
                <a:lnTo>
                  <a:pt x="1621" y="4447"/>
                </a:lnTo>
                <a:lnTo>
                  <a:pt x="1650" y="4439"/>
                </a:lnTo>
                <a:lnTo>
                  <a:pt x="1672" y="4445"/>
                </a:lnTo>
                <a:lnTo>
                  <a:pt x="1699" y="4452"/>
                </a:lnTo>
                <a:lnTo>
                  <a:pt x="1718" y="4448"/>
                </a:lnTo>
                <a:lnTo>
                  <a:pt x="1719" y="4425"/>
                </a:lnTo>
                <a:lnTo>
                  <a:pt x="1704" y="4370"/>
                </a:lnTo>
                <a:lnTo>
                  <a:pt x="1709" y="4355"/>
                </a:lnTo>
                <a:lnTo>
                  <a:pt x="1736" y="4358"/>
                </a:lnTo>
                <a:lnTo>
                  <a:pt x="1784" y="4361"/>
                </a:lnTo>
                <a:lnTo>
                  <a:pt x="1829" y="4340"/>
                </a:lnTo>
                <a:lnTo>
                  <a:pt x="1871" y="4294"/>
                </a:lnTo>
                <a:lnTo>
                  <a:pt x="1909" y="4258"/>
                </a:lnTo>
                <a:lnTo>
                  <a:pt x="1938" y="4268"/>
                </a:lnTo>
                <a:lnTo>
                  <a:pt x="1892" y="4285"/>
                </a:lnTo>
                <a:lnTo>
                  <a:pt x="1894" y="4316"/>
                </a:lnTo>
                <a:lnTo>
                  <a:pt x="1908" y="4349"/>
                </a:lnTo>
                <a:lnTo>
                  <a:pt x="1899" y="4374"/>
                </a:lnTo>
                <a:lnTo>
                  <a:pt x="1871" y="4388"/>
                </a:lnTo>
                <a:lnTo>
                  <a:pt x="1840" y="4398"/>
                </a:lnTo>
                <a:lnTo>
                  <a:pt x="1817" y="4414"/>
                </a:lnTo>
                <a:lnTo>
                  <a:pt x="1811" y="4444"/>
                </a:lnTo>
                <a:lnTo>
                  <a:pt x="1792" y="4521"/>
                </a:lnTo>
                <a:lnTo>
                  <a:pt x="1807" y="4620"/>
                </a:lnTo>
                <a:lnTo>
                  <a:pt x="1817" y="4704"/>
                </a:lnTo>
                <a:lnTo>
                  <a:pt x="1785" y="4728"/>
                </a:lnTo>
                <a:lnTo>
                  <a:pt x="1765" y="4606"/>
                </a:lnTo>
                <a:lnTo>
                  <a:pt x="1779" y="4505"/>
                </a:lnTo>
                <a:lnTo>
                  <a:pt x="1755" y="4462"/>
                </a:lnTo>
                <a:lnTo>
                  <a:pt x="1621" y="4513"/>
                </a:lnTo>
                <a:lnTo>
                  <a:pt x="1592" y="4493"/>
                </a:lnTo>
                <a:lnTo>
                  <a:pt x="1583" y="4514"/>
                </a:lnTo>
                <a:lnTo>
                  <a:pt x="1593" y="4550"/>
                </a:lnTo>
                <a:lnTo>
                  <a:pt x="1621" y="4571"/>
                </a:lnTo>
                <a:lnTo>
                  <a:pt x="1573" y="4601"/>
                </a:lnTo>
                <a:lnTo>
                  <a:pt x="1533" y="4561"/>
                </a:lnTo>
                <a:lnTo>
                  <a:pt x="1489" y="4518"/>
                </a:lnTo>
                <a:lnTo>
                  <a:pt x="1425" y="4536"/>
                </a:lnTo>
                <a:lnTo>
                  <a:pt x="1440" y="4569"/>
                </a:lnTo>
                <a:lnTo>
                  <a:pt x="1443" y="4606"/>
                </a:lnTo>
                <a:lnTo>
                  <a:pt x="1445" y="4641"/>
                </a:lnTo>
                <a:lnTo>
                  <a:pt x="1465" y="4668"/>
                </a:lnTo>
                <a:lnTo>
                  <a:pt x="1510" y="4680"/>
                </a:lnTo>
                <a:lnTo>
                  <a:pt x="1505" y="4695"/>
                </a:lnTo>
                <a:lnTo>
                  <a:pt x="1473" y="4710"/>
                </a:lnTo>
                <a:lnTo>
                  <a:pt x="1440" y="4723"/>
                </a:lnTo>
                <a:lnTo>
                  <a:pt x="1485" y="4765"/>
                </a:lnTo>
                <a:lnTo>
                  <a:pt x="1487" y="4837"/>
                </a:lnTo>
                <a:lnTo>
                  <a:pt x="1453" y="4911"/>
                </a:lnTo>
                <a:lnTo>
                  <a:pt x="1383" y="4957"/>
                </a:lnTo>
                <a:lnTo>
                  <a:pt x="1397" y="4916"/>
                </a:lnTo>
                <a:lnTo>
                  <a:pt x="1388" y="4899"/>
                </a:lnTo>
                <a:lnTo>
                  <a:pt x="1364" y="4901"/>
                </a:lnTo>
                <a:lnTo>
                  <a:pt x="1328" y="4920"/>
                </a:lnTo>
                <a:lnTo>
                  <a:pt x="1414" y="4725"/>
                </a:lnTo>
                <a:lnTo>
                  <a:pt x="1300" y="4760"/>
                </a:lnTo>
                <a:lnTo>
                  <a:pt x="1125" y="4916"/>
                </a:lnTo>
                <a:lnTo>
                  <a:pt x="1021" y="5086"/>
                </a:lnTo>
                <a:lnTo>
                  <a:pt x="950" y="5146"/>
                </a:lnTo>
                <a:lnTo>
                  <a:pt x="1002" y="5163"/>
                </a:lnTo>
                <a:lnTo>
                  <a:pt x="1080" y="5133"/>
                </a:lnTo>
                <a:lnTo>
                  <a:pt x="1090" y="5046"/>
                </a:lnTo>
                <a:lnTo>
                  <a:pt x="1154" y="5011"/>
                </a:lnTo>
                <a:lnTo>
                  <a:pt x="1195" y="4967"/>
                </a:lnTo>
                <a:lnTo>
                  <a:pt x="1216" y="4962"/>
                </a:lnTo>
                <a:lnTo>
                  <a:pt x="1223" y="5044"/>
                </a:lnTo>
                <a:lnTo>
                  <a:pt x="1257" y="5050"/>
                </a:lnTo>
                <a:lnTo>
                  <a:pt x="1281" y="5040"/>
                </a:lnTo>
                <a:lnTo>
                  <a:pt x="1294" y="5042"/>
                </a:lnTo>
                <a:lnTo>
                  <a:pt x="1293" y="5088"/>
                </a:lnTo>
                <a:lnTo>
                  <a:pt x="1313" y="5130"/>
                </a:lnTo>
                <a:lnTo>
                  <a:pt x="1237" y="5196"/>
                </a:lnTo>
                <a:lnTo>
                  <a:pt x="1189" y="5282"/>
                </a:lnTo>
                <a:lnTo>
                  <a:pt x="1298" y="5384"/>
                </a:lnTo>
                <a:lnTo>
                  <a:pt x="1321" y="5352"/>
                </a:lnTo>
                <a:lnTo>
                  <a:pt x="1307" y="5282"/>
                </a:lnTo>
                <a:lnTo>
                  <a:pt x="1294" y="5222"/>
                </a:lnTo>
                <a:lnTo>
                  <a:pt x="1318" y="5218"/>
                </a:lnTo>
                <a:lnTo>
                  <a:pt x="1352" y="5247"/>
                </a:lnTo>
                <a:lnTo>
                  <a:pt x="1386" y="5279"/>
                </a:lnTo>
                <a:lnTo>
                  <a:pt x="1415" y="5291"/>
                </a:lnTo>
                <a:lnTo>
                  <a:pt x="1442" y="5264"/>
                </a:lnTo>
                <a:lnTo>
                  <a:pt x="1489" y="5270"/>
                </a:lnTo>
                <a:lnTo>
                  <a:pt x="1527" y="5274"/>
                </a:lnTo>
                <a:lnTo>
                  <a:pt x="1561" y="5269"/>
                </a:lnTo>
                <a:lnTo>
                  <a:pt x="1605" y="5251"/>
                </a:lnTo>
                <a:lnTo>
                  <a:pt x="1614" y="5307"/>
                </a:lnTo>
                <a:lnTo>
                  <a:pt x="1583" y="5368"/>
                </a:lnTo>
                <a:lnTo>
                  <a:pt x="1538" y="5429"/>
                </a:lnTo>
                <a:lnTo>
                  <a:pt x="1509" y="5484"/>
                </a:lnTo>
                <a:lnTo>
                  <a:pt x="1601" y="5517"/>
                </a:lnTo>
                <a:lnTo>
                  <a:pt x="1586" y="5549"/>
                </a:lnTo>
                <a:lnTo>
                  <a:pt x="1524" y="5589"/>
                </a:lnTo>
                <a:lnTo>
                  <a:pt x="1481" y="5642"/>
                </a:lnTo>
                <a:lnTo>
                  <a:pt x="1424" y="5681"/>
                </a:lnTo>
                <a:lnTo>
                  <a:pt x="1387" y="5735"/>
                </a:lnTo>
                <a:lnTo>
                  <a:pt x="1356" y="5790"/>
                </a:lnTo>
                <a:lnTo>
                  <a:pt x="1321" y="5827"/>
                </a:lnTo>
                <a:lnTo>
                  <a:pt x="1224" y="5844"/>
                </a:lnTo>
                <a:lnTo>
                  <a:pt x="1201" y="5796"/>
                </a:lnTo>
                <a:lnTo>
                  <a:pt x="1237" y="5732"/>
                </a:lnTo>
                <a:lnTo>
                  <a:pt x="1316" y="5701"/>
                </a:lnTo>
                <a:lnTo>
                  <a:pt x="1309" y="5613"/>
                </a:lnTo>
                <a:lnTo>
                  <a:pt x="1321" y="5553"/>
                </a:lnTo>
                <a:lnTo>
                  <a:pt x="1310" y="5488"/>
                </a:lnTo>
                <a:lnTo>
                  <a:pt x="1238" y="5387"/>
                </a:lnTo>
                <a:lnTo>
                  <a:pt x="1158" y="5384"/>
                </a:lnTo>
                <a:lnTo>
                  <a:pt x="1167" y="5432"/>
                </a:lnTo>
                <a:lnTo>
                  <a:pt x="1212" y="5502"/>
                </a:lnTo>
                <a:lnTo>
                  <a:pt x="1244" y="5569"/>
                </a:lnTo>
                <a:lnTo>
                  <a:pt x="1201" y="5582"/>
                </a:lnTo>
                <a:lnTo>
                  <a:pt x="1173" y="5619"/>
                </a:lnTo>
                <a:lnTo>
                  <a:pt x="1169" y="5670"/>
                </a:lnTo>
                <a:lnTo>
                  <a:pt x="1195" y="5721"/>
                </a:lnTo>
                <a:lnTo>
                  <a:pt x="1133" y="5745"/>
                </a:lnTo>
                <a:lnTo>
                  <a:pt x="1081" y="5797"/>
                </a:lnTo>
                <a:lnTo>
                  <a:pt x="1038" y="5860"/>
                </a:lnTo>
                <a:lnTo>
                  <a:pt x="997" y="5916"/>
                </a:lnTo>
                <a:lnTo>
                  <a:pt x="1006" y="5931"/>
                </a:lnTo>
                <a:lnTo>
                  <a:pt x="1023" y="5936"/>
                </a:lnTo>
                <a:lnTo>
                  <a:pt x="1040" y="5942"/>
                </a:lnTo>
                <a:lnTo>
                  <a:pt x="1052" y="5959"/>
                </a:lnTo>
                <a:lnTo>
                  <a:pt x="1076" y="6029"/>
                </a:lnTo>
                <a:lnTo>
                  <a:pt x="1113" y="5981"/>
                </a:lnTo>
                <a:lnTo>
                  <a:pt x="1149" y="5931"/>
                </a:lnTo>
                <a:lnTo>
                  <a:pt x="1174" y="5998"/>
                </a:lnTo>
                <a:lnTo>
                  <a:pt x="1089" y="6112"/>
                </a:lnTo>
                <a:lnTo>
                  <a:pt x="1098" y="6261"/>
                </a:lnTo>
                <a:lnTo>
                  <a:pt x="1121" y="6384"/>
                </a:lnTo>
                <a:lnTo>
                  <a:pt x="1072" y="6424"/>
                </a:lnTo>
                <a:lnTo>
                  <a:pt x="1034" y="6436"/>
                </a:lnTo>
                <a:lnTo>
                  <a:pt x="1025" y="6495"/>
                </a:lnTo>
                <a:lnTo>
                  <a:pt x="1019" y="6550"/>
                </a:lnTo>
                <a:lnTo>
                  <a:pt x="986" y="6550"/>
                </a:lnTo>
                <a:lnTo>
                  <a:pt x="969" y="6543"/>
                </a:lnTo>
                <a:lnTo>
                  <a:pt x="953" y="6551"/>
                </a:lnTo>
                <a:lnTo>
                  <a:pt x="939" y="6567"/>
                </a:lnTo>
                <a:lnTo>
                  <a:pt x="930" y="6584"/>
                </a:lnTo>
                <a:lnTo>
                  <a:pt x="912" y="6625"/>
                </a:lnTo>
                <a:lnTo>
                  <a:pt x="885" y="6637"/>
                </a:lnTo>
                <a:lnTo>
                  <a:pt x="870" y="6659"/>
                </a:lnTo>
                <a:lnTo>
                  <a:pt x="885" y="6721"/>
                </a:lnTo>
                <a:lnTo>
                  <a:pt x="835" y="6748"/>
                </a:lnTo>
                <a:lnTo>
                  <a:pt x="884" y="6781"/>
                </a:lnTo>
                <a:lnTo>
                  <a:pt x="946" y="6823"/>
                </a:lnTo>
                <a:lnTo>
                  <a:pt x="942" y="6877"/>
                </a:lnTo>
                <a:lnTo>
                  <a:pt x="927" y="6887"/>
                </a:lnTo>
                <a:lnTo>
                  <a:pt x="911" y="6893"/>
                </a:lnTo>
                <a:lnTo>
                  <a:pt x="897" y="6891"/>
                </a:lnTo>
                <a:lnTo>
                  <a:pt x="889" y="6870"/>
                </a:lnTo>
                <a:lnTo>
                  <a:pt x="863" y="6872"/>
                </a:lnTo>
                <a:lnTo>
                  <a:pt x="861" y="6901"/>
                </a:lnTo>
                <a:lnTo>
                  <a:pt x="861" y="6939"/>
                </a:lnTo>
                <a:lnTo>
                  <a:pt x="842" y="6967"/>
                </a:lnTo>
                <a:lnTo>
                  <a:pt x="805" y="6980"/>
                </a:lnTo>
                <a:lnTo>
                  <a:pt x="773" y="7008"/>
                </a:lnTo>
                <a:lnTo>
                  <a:pt x="749" y="7022"/>
                </a:lnTo>
                <a:lnTo>
                  <a:pt x="736" y="6993"/>
                </a:lnTo>
                <a:lnTo>
                  <a:pt x="737" y="6965"/>
                </a:lnTo>
                <a:lnTo>
                  <a:pt x="714" y="6940"/>
                </a:lnTo>
                <a:lnTo>
                  <a:pt x="686" y="6933"/>
                </a:lnTo>
                <a:lnTo>
                  <a:pt x="672" y="6954"/>
                </a:lnTo>
                <a:lnTo>
                  <a:pt x="665" y="7032"/>
                </a:lnTo>
                <a:lnTo>
                  <a:pt x="661" y="7094"/>
                </a:lnTo>
                <a:lnTo>
                  <a:pt x="681" y="7144"/>
                </a:lnTo>
                <a:lnTo>
                  <a:pt x="749" y="7178"/>
                </a:lnTo>
                <a:lnTo>
                  <a:pt x="823" y="7182"/>
                </a:lnTo>
                <a:lnTo>
                  <a:pt x="862" y="7247"/>
                </a:lnTo>
                <a:lnTo>
                  <a:pt x="907" y="7301"/>
                </a:lnTo>
                <a:lnTo>
                  <a:pt x="996" y="7265"/>
                </a:lnTo>
                <a:lnTo>
                  <a:pt x="905" y="7201"/>
                </a:lnTo>
                <a:lnTo>
                  <a:pt x="893" y="7155"/>
                </a:lnTo>
                <a:lnTo>
                  <a:pt x="944" y="7108"/>
                </a:lnTo>
                <a:lnTo>
                  <a:pt x="1046" y="7038"/>
                </a:lnTo>
                <a:lnTo>
                  <a:pt x="1042" y="7077"/>
                </a:lnTo>
                <a:lnTo>
                  <a:pt x="1012" y="7103"/>
                </a:lnTo>
                <a:lnTo>
                  <a:pt x="984" y="7129"/>
                </a:lnTo>
                <a:lnTo>
                  <a:pt x="979" y="7168"/>
                </a:lnTo>
                <a:lnTo>
                  <a:pt x="1015" y="7185"/>
                </a:lnTo>
                <a:lnTo>
                  <a:pt x="1051" y="7136"/>
                </a:lnTo>
                <a:lnTo>
                  <a:pt x="1095" y="7096"/>
                </a:lnTo>
                <a:lnTo>
                  <a:pt x="1161" y="7138"/>
                </a:lnTo>
                <a:lnTo>
                  <a:pt x="1189" y="7140"/>
                </a:lnTo>
                <a:lnTo>
                  <a:pt x="1173" y="7163"/>
                </a:lnTo>
                <a:lnTo>
                  <a:pt x="1146" y="7199"/>
                </a:lnTo>
                <a:lnTo>
                  <a:pt x="1142" y="7236"/>
                </a:lnTo>
                <a:lnTo>
                  <a:pt x="1127" y="7204"/>
                </a:lnTo>
                <a:lnTo>
                  <a:pt x="1102" y="7187"/>
                </a:lnTo>
                <a:lnTo>
                  <a:pt x="1075" y="7191"/>
                </a:lnTo>
                <a:lnTo>
                  <a:pt x="1053" y="7218"/>
                </a:lnTo>
                <a:lnTo>
                  <a:pt x="1030" y="7289"/>
                </a:lnTo>
                <a:lnTo>
                  <a:pt x="988" y="7391"/>
                </a:lnTo>
                <a:lnTo>
                  <a:pt x="933" y="7470"/>
                </a:lnTo>
                <a:lnTo>
                  <a:pt x="874" y="7470"/>
                </a:lnTo>
                <a:lnTo>
                  <a:pt x="837" y="7507"/>
                </a:lnTo>
                <a:lnTo>
                  <a:pt x="858" y="7577"/>
                </a:lnTo>
                <a:lnTo>
                  <a:pt x="905" y="7649"/>
                </a:lnTo>
                <a:lnTo>
                  <a:pt x="950" y="7691"/>
                </a:lnTo>
                <a:lnTo>
                  <a:pt x="925" y="7736"/>
                </a:lnTo>
                <a:lnTo>
                  <a:pt x="940" y="7763"/>
                </a:lnTo>
                <a:lnTo>
                  <a:pt x="977" y="7764"/>
                </a:lnTo>
                <a:lnTo>
                  <a:pt x="1015" y="7732"/>
                </a:lnTo>
                <a:lnTo>
                  <a:pt x="1091" y="7777"/>
                </a:lnTo>
                <a:lnTo>
                  <a:pt x="1126" y="7761"/>
                </a:lnTo>
                <a:lnTo>
                  <a:pt x="1159" y="7726"/>
                </a:lnTo>
                <a:lnTo>
                  <a:pt x="1231" y="7713"/>
                </a:lnTo>
                <a:lnTo>
                  <a:pt x="1214" y="7663"/>
                </a:lnTo>
                <a:lnTo>
                  <a:pt x="1244" y="7640"/>
                </a:lnTo>
                <a:lnTo>
                  <a:pt x="1298" y="7632"/>
                </a:lnTo>
                <a:lnTo>
                  <a:pt x="1347" y="7619"/>
                </a:lnTo>
                <a:lnTo>
                  <a:pt x="1293" y="7702"/>
                </a:lnTo>
                <a:lnTo>
                  <a:pt x="1248" y="7815"/>
                </a:lnTo>
                <a:lnTo>
                  <a:pt x="1237" y="7903"/>
                </a:lnTo>
                <a:lnTo>
                  <a:pt x="1289" y="7905"/>
                </a:lnTo>
                <a:lnTo>
                  <a:pt x="1299" y="7872"/>
                </a:lnTo>
                <a:lnTo>
                  <a:pt x="1328" y="7873"/>
                </a:lnTo>
                <a:lnTo>
                  <a:pt x="1356" y="7876"/>
                </a:lnTo>
                <a:lnTo>
                  <a:pt x="1365" y="7849"/>
                </a:lnTo>
                <a:lnTo>
                  <a:pt x="1375" y="7796"/>
                </a:lnTo>
                <a:lnTo>
                  <a:pt x="1428" y="7745"/>
                </a:lnTo>
                <a:lnTo>
                  <a:pt x="1487" y="7722"/>
                </a:lnTo>
                <a:lnTo>
                  <a:pt x="1522" y="7750"/>
                </a:lnTo>
                <a:lnTo>
                  <a:pt x="1561" y="7791"/>
                </a:lnTo>
                <a:lnTo>
                  <a:pt x="1603" y="7751"/>
                </a:lnTo>
                <a:lnTo>
                  <a:pt x="1653" y="7730"/>
                </a:lnTo>
                <a:lnTo>
                  <a:pt x="1715" y="7828"/>
                </a:lnTo>
                <a:lnTo>
                  <a:pt x="1629" y="7856"/>
                </a:lnTo>
                <a:lnTo>
                  <a:pt x="1543" y="7847"/>
                </a:lnTo>
                <a:lnTo>
                  <a:pt x="1463" y="7826"/>
                </a:lnTo>
                <a:lnTo>
                  <a:pt x="1393" y="7825"/>
                </a:lnTo>
                <a:lnTo>
                  <a:pt x="1403" y="7910"/>
                </a:lnTo>
                <a:lnTo>
                  <a:pt x="1428" y="7940"/>
                </a:lnTo>
                <a:lnTo>
                  <a:pt x="1468" y="7935"/>
                </a:lnTo>
                <a:lnTo>
                  <a:pt x="1527" y="7921"/>
                </a:lnTo>
                <a:lnTo>
                  <a:pt x="1498" y="7964"/>
                </a:lnTo>
                <a:lnTo>
                  <a:pt x="1521" y="8013"/>
                </a:lnTo>
                <a:lnTo>
                  <a:pt x="1550" y="8069"/>
                </a:lnTo>
                <a:lnTo>
                  <a:pt x="1537" y="8129"/>
                </a:lnTo>
                <a:lnTo>
                  <a:pt x="1491" y="8170"/>
                </a:lnTo>
                <a:lnTo>
                  <a:pt x="1453" y="8128"/>
                </a:lnTo>
                <a:lnTo>
                  <a:pt x="1425" y="8049"/>
                </a:lnTo>
                <a:lnTo>
                  <a:pt x="1417" y="7978"/>
                </a:lnTo>
                <a:lnTo>
                  <a:pt x="1358" y="7961"/>
                </a:lnTo>
                <a:lnTo>
                  <a:pt x="1317" y="8030"/>
                </a:lnTo>
                <a:lnTo>
                  <a:pt x="1281" y="8100"/>
                </a:lnTo>
                <a:lnTo>
                  <a:pt x="1235" y="8089"/>
                </a:lnTo>
                <a:lnTo>
                  <a:pt x="1265" y="8026"/>
                </a:lnTo>
                <a:lnTo>
                  <a:pt x="1248" y="8006"/>
                </a:lnTo>
                <a:lnTo>
                  <a:pt x="1207" y="8024"/>
                </a:lnTo>
                <a:lnTo>
                  <a:pt x="1170" y="8073"/>
                </a:lnTo>
                <a:lnTo>
                  <a:pt x="1128" y="8119"/>
                </a:lnTo>
                <a:lnTo>
                  <a:pt x="1153" y="8148"/>
                </a:lnTo>
                <a:lnTo>
                  <a:pt x="1209" y="8170"/>
                </a:lnTo>
                <a:lnTo>
                  <a:pt x="1262" y="8190"/>
                </a:lnTo>
                <a:lnTo>
                  <a:pt x="1314" y="8215"/>
                </a:lnTo>
                <a:lnTo>
                  <a:pt x="1337" y="8263"/>
                </a:lnTo>
                <a:lnTo>
                  <a:pt x="1358" y="8311"/>
                </a:lnTo>
                <a:lnTo>
                  <a:pt x="1403" y="8333"/>
                </a:lnTo>
                <a:lnTo>
                  <a:pt x="1461" y="8346"/>
                </a:lnTo>
                <a:lnTo>
                  <a:pt x="1508" y="8398"/>
                </a:lnTo>
                <a:lnTo>
                  <a:pt x="1526" y="8456"/>
                </a:lnTo>
                <a:lnTo>
                  <a:pt x="1496" y="8487"/>
                </a:lnTo>
                <a:lnTo>
                  <a:pt x="1465" y="8421"/>
                </a:lnTo>
                <a:lnTo>
                  <a:pt x="1382" y="8421"/>
                </a:lnTo>
                <a:lnTo>
                  <a:pt x="1285" y="8442"/>
                </a:lnTo>
                <a:lnTo>
                  <a:pt x="1207" y="8442"/>
                </a:lnTo>
                <a:lnTo>
                  <a:pt x="1192" y="8403"/>
                </a:lnTo>
                <a:lnTo>
                  <a:pt x="1195" y="8360"/>
                </a:lnTo>
                <a:lnTo>
                  <a:pt x="1184" y="8338"/>
                </a:lnTo>
                <a:lnTo>
                  <a:pt x="1133" y="8360"/>
                </a:lnTo>
                <a:lnTo>
                  <a:pt x="1076" y="8371"/>
                </a:lnTo>
                <a:lnTo>
                  <a:pt x="1116" y="8411"/>
                </a:lnTo>
                <a:lnTo>
                  <a:pt x="1160" y="8461"/>
                </a:lnTo>
                <a:lnTo>
                  <a:pt x="1125" y="8507"/>
                </a:lnTo>
                <a:lnTo>
                  <a:pt x="1198" y="8529"/>
                </a:lnTo>
                <a:lnTo>
                  <a:pt x="1253" y="8528"/>
                </a:lnTo>
                <a:lnTo>
                  <a:pt x="1304" y="8535"/>
                </a:lnTo>
                <a:lnTo>
                  <a:pt x="1369" y="8584"/>
                </a:lnTo>
                <a:lnTo>
                  <a:pt x="1473" y="8636"/>
                </a:lnTo>
                <a:lnTo>
                  <a:pt x="1546" y="8600"/>
                </a:lnTo>
                <a:lnTo>
                  <a:pt x="1603" y="8529"/>
                </a:lnTo>
                <a:lnTo>
                  <a:pt x="1664" y="8472"/>
                </a:lnTo>
                <a:lnTo>
                  <a:pt x="1718" y="8453"/>
                </a:lnTo>
                <a:lnTo>
                  <a:pt x="1712" y="8465"/>
                </a:lnTo>
                <a:lnTo>
                  <a:pt x="1699" y="8507"/>
                </a:lnTo>
                <a:lnTo>
                  <a:pt x="1740" y="8572"/>
                </a:lnTo>
                <a:lnTo>
                  <a:pt x="1715" y="8622"/>
                </a:lnTo>
                <a:lnTo>
                  <a:pt x="1673" y="8663"/>
                </a:lnTo>
                <a:lnTo>
                  <a:pt x="1656" y="8696"/>
                </a:lnTo>
                <a:lnTo>
                  <a:pt x="1703" y="8719"/>
                </a:lnTo>
                <a:lnTo>
                  <a:pt x="1668" y="8745"/>
                </a:lnTo>
                <a:lnTo>
                  <a:pt x="1606" y="8740"/>
                </a:lnTo>
                <a:lnTo>
                  <a:pt x="1560" y="8739"/>
                </a:lnTo>
                <a:lnTo>
                  <a:pt x="1583" y="8778"/>
                </a:lnTo>
                <a:lnTo>
                  <a:pt x="1602" y="8876"/>
                </a:lnTo>
                <a:lnTo>
                  <a:pt x="1653" y="8917"/>
                </a:lnTo>
                <a:lnTo>
                  <a:pt x="1685" y="8898"/>
                </a:lnTo>
                <a:lnTo>
                  <a:pt x="1650" y="8813"/>
                </a:lnTo>
                <a:lnTo>
                  <a:pt x="1650" y="8801"/>
                </a:lnTo>
                <a:lnTo>
                  <a:pt x="1684" y="8792"/>
                </a:lnTo>
                <a:lnTo>
                  <a:pt x="1724" y="8794"/>
                </a:lnTo>
                <a:lnTo>
                  <a:pt x="1746" y="8809"/>
                </a:lnTo>
                <a:lnTo>
                  <a:pt x="1782" y="8913"/>
                </a:lnTo>
                <a:lnTo>
                  <a:pt x="1718" y="8980"/>
                </a:lnTo>
                <a:lnTo>
                  <a:pt x="1616" y="8997"/>
                </a:lnTo>
                <a:lnTo>
                  <a:pt x="1535" y="8954"/>
                </a:lnTo>
                <a:lnTo>
                  <a:pt x="1500" y="8939"/>
                </a:lnTo>
                <a:lnTo>
                  <a:pt x="1482" y="8971"/>
                </a:lnTo>
                <a:lnTo>
                  <a:pt x="1463" y="9013"/>
                </a:lnTo>
                <a:lnTo>
                  <a:pt x="1430" y="9028"/>
                </a:lnTo>
                <a:lnTo>
                  <a:pt x="1382" y="8997"/>
                </a:lnTo>
                <a:lnTo>
                  <a:pt x="1368" y="9020"/>
                </a:lnTo>
                <a:lnTo>
                  <a:pt x="1374" y="9070"/>
                </a:lnTo>
                <a:lnTo>
                  <a:pt x="1379" y="9121"/>
                </a:lnTo>
                <a:lnTo>
                  <a:pt x="1310" y="9202"/>
                </a:lnTo>
                <a:lnTo>
                  <a:pt x="1344" y="9237"/>
                </a:lnTo>
                <a:lnTo>
                  <a:pt x="1431" y="9239"/>
                </a:lnTo>
                <a:lnTo>
                  <a:pt x="1529" y="9220"/>
                </a:lnTo>
                <a:lnTo>
                  <a:pt x="1555" y="9328"/>
                </a:lnTo>
                <a:lnTo>
                  <a:pt x="1552" y="9462"/>
                </a:lnTo>
                <a:lnTo>
                  <a:pt x="1578" y="9532"/>
                </a:lnTo>
                <a:lnTo>
                  <a:pt x="1681" y="9448"/>
                </a:lnTo>
                <a:lnTo>
                  <a:pt x="1699" y="9465"/>
                </a:lnTo>
                <a:lnTo>
                  <a:pt x="1709" y="9485"/>
                </a:lnTo>
                <a:lnTo>
                  <a:pt x="1721" y="9495"/>
                </a:lnTo>
                <a:lnTo>
                  <a:pt x="1745" y="9480"/>
                </a:lnTo>
                <a:lnTo>
                  <a:pt x="1745" y="9491"/>
                </a:lnTo>
                <a:lnTo>
                  <a:pt x="1740" y="9505"/>
                </a:lnTo>
                <a:lnTo>
                  <a:pt x="1732" y="9519"/>
                </a:lnTo>
                <a:lnTo>
                  <a:pt x="1721" y="9527"/>
                </a:lnTo>
                <a:lnTo>
                  <a:pt x="1723" y="9556"/>
                </a:lnTo>
                <a:lnTo>
                  <a:pt x="1737" y="9579"/>
                </a:lnTo>
                <a:lnTo>
                  <a:pt x="1735" y="9593"/>
                </a:lnTo>
                <a:lnTo>
                  <a:pt x="1690" y="9597"/>
                </a:lnTo>
                <a:lnTo>
                  <a:pt x="1668" y="9607"/>
                </a:lnTo>
                <a:lnTo>
                  <a:pt x="1658" y="9639"/>
                </a:lnTo>
                <a:lnTo>
                  <a:pt x="1647" y="9653"/>
                </a:lnTo>
                <a:lnTo>
                  <a:pt x="1619" y="9611"/>
                </a:lnTo>
                <a:lnTo>
                  <a:pt x="1589" y="9587"/>
                </a:lnTo>
                <a:lnTo>
                  <a:pt x="1574" y="9617"/>
                </a:lnTo>
                <a:lnTo>
                  <a:pt x="1566" y="9668"/>
                </a:lnTo>
                <a:lnTo>
                  <a:pt x="1560" y="9699"/>
                </a:lnTo>
                <a:lnTo>
                  <a:pt x="1521" y="9636"/>
                </a:lnTo>
                <a:lnTo>
                  <a:pt x="1507" y="9759"/>
                </a:lnTo>
                <a:lnTo>
                  <a:pt x="1523" y="9930"/>
                </a:lnTo>
                <a:lnTo>
                  <a:pt x="1574" y="10017"/>
                </a:lnTo>
                <a:lnTo>
                  <a:pt x="1614" y="10023"/>
                </a:lnTo>
                <a:lnTo>
                  <a:pt x="1622" y="9993"/>
                </a:lnTo>
                <a:lnTo>
                  <a:pt x="1624" y="9955"/>
                </a:lnTo>
                <a:lnTo>
                  <a:pt x="1642" y="9939"/>
                </a:lnTo>
                <a:lnTo>
                  <a:pt x="1662" y="10000"/>
                </a:lnTo>
                <a:lnTo>
                  <a:pt x="1712" y="10025"/>
                </a:lnTo>
                <a:lnTo>
                  <a:pt x="1775" y="10021"/>
                </a:lnTo>
                <a:lnTo>
                  <a:pt x="1838" y="9999"/>
                </a:lnTo>
                <a:lnTo>
                  <a:pt x="1829" y="9910"/>
                </a:lnTo>
                <a:lnTo>
                  <a:pt x="1861" y="9859"/>
                </a:lnTo>
                <a:lnTo>
                  <a:pt x="1919" y="9829"/>
                </a:lnTo>
                <a:lnTo>
                  <a:pt x="1996" y="9798"/>
                </a:lnTo>
                <a:lnTo>
                  <a:pt x="2013" y="9845"/>
                </a:lnTo>
                <a:lnTo>
                  <a:pt x="2043" y="9890"/>
                </a:lnTo>
                <a:lnTo>
                  <a:pt x="2071" y="9901"/>
                </a:lnTo>
                <a:lnTo>
                  <a:pt x="2083" y="9849"/>
                </a:lnTo>
                <a:lnTo>
                  <a:pt x="2087" y="9775"/>
                </a:lnTo>
                <a:lnTo>
                  <a:pt x="2064" y="9726"/>
                </a:lnTo>
                <a:lnTo>
                  <a:pt x="2029" y="9720"/>
                </a:lnTo>
                <a:lnTo>
                  <a:pt x="1999" y="9785"/>
                </a:lnTo>
                <a:lnTo>
                  <a:pt x="1960" y="9737"/>
                </a:lnTo>
                <a:lnTo>
                  <a:pt x="2005" y="9652"/>
                </a:lnTo>
                <a:lnTo>
                  <a:pt x="2078" y="9603"/>
                </a:lnTo>
                <a:lnTo>
                  <a:pt x="2125" y="9666"/>
                </a:lnTo>
                <a:lnTo>
                  <a:pt x="2160" y="9740"/>
                </a:lnTo>
                <a:lnTo>
                  <a:pt x="2178" y="9815"/>
                </a:lnTo>
                <a:lnTo>
                  <a:pt x="2179" y="9892"/>
                </a:lnTo>
                <a:lnTo>
                  <a:pt x="2165" y="9970"/>
                </a:lnTo>
                <a:lnTo>
                  <a:pt x="2145" y="9964"/>
                </a:lnTo>
                <a:lnTo>
                  <a:pt x="2127" y="9983"/>
                </a:lnTo>
                <a:lnTo>
                  <a:pt x="2115" y="10012"/>
                </a:lnTo>
                <a:lnTo>
                  <a:pt x="2114" y="10034"/>
                </a:lnTo>
                <a:lnTo>
                  <a:pt x="2171" y="10060"/>
                </a:lnTo>
                <a:lnTo>
                  <a:pt x="2220" y="10106"/>
                </a:lnTo>
                <a:lnTo>
                  <a:pt x="2250" y="10165"/>
                </a:lnTo>
                <a:lnTo>
                  <a:pt x="2254" y="10227"/>
                </a:lnTo>
                <a:lnTo>
                  <a:pt x="2267" y="10307"/>
                </a:lnTo>
                <a:lnTo>
                  <a:pt x="2315" y="10296"/>
                </a:lnTo>
                <a:lnTo>
                  <a:pt x="2387" y="10270"/>
                </a:lnTo>
                <a:lnTo>
                  <a:pt x="2469" y="10307"/>
                </a:lnTo>
                <a:lnTo>
                  <a:pt x="2506" y="10395"/>
                </a:lnTo>
                <a:lnTo>
                  <a:pt x="2585" y="10401"/>
                </a:lnTo>
                <a:lnTo>
                  <a:pt x="2687" y="10377"/>
                </a:lnTo>
                <a:lnTo>
                  <a:pt x="2794" y="10376"/>
                </a:lnTo>
                <a:lnTo>
                  <a:pt x="2751" y="10432"/>
                </a:lnTo>
                <a:lnTo>
                  <a:pt x="2667" y="10451"/>
                </a:lnTo>
                <a:lnTo>
                  <a:pt x="2594" y="10468"/>
                </a:lnTo>
                <a:lnTo>
                  <a:pt x="2581" y="10515"/>
                </a:lnTo>
                <a:lnTo>
                  <a:pt x="2657" y="10489"/>
                </a:lnTo>
                <a:lnTo>
                  <a:pt x="2727" y="10493"/>
                </a:lnTo>
                <a:lnTo>
                  <a:pt x="2766" y="10531"/>
                </a:lnTo>
                <a:lnTo>
                  <a:pt x="2752" y="10611"/>
                </a:lnTo>
                <a:lnTo>
                  <a:pt x="2914" y="10737"/>
                </a:lnTo>
                <a:lnTo>
                  <a:pt x="2798" y="10751"/>
                </a:lnTo>
                <a:lnTo>
                  <a:pt x="2603" y="10692"/>
                </a:lnTo>
                <a:lnTo>
                  <a:pt x="2528" y="10600"/>
                </a:lnTo>
                <a:lnTo>
                  <a:pt x="2515" y="10566"/>
                </a:lnTo>
                <a:lnTo>
                  <a:pt x="2480" y="10585"/>
                </a:lnTo>
                <a:lnTo>
                  <a:pt x="2448" y="10628"/>
                </a:lnTo>
                <a:lnTo>
                  <a:pt x="2451" y="10673"/>
                </a:lnTo>
                <a:lnTo>
                  <a:pt x="2474" y="10708"/>
                </a:lnTo>
                <a:lnTo>
                  <a:pt x="2527" y="10712"/>
                </a:lnTo>
                <a:lnTo>
                  <a:pt x="2571" y="10720"/>
                </a:lnTo>
                <a:lnTo>
                  <a:pt x="2567" y="10768"/>
                </a:lnTo>
                <a:lnTo>
                  <a:pt x="2673" y="10869"/>
                </a:lnTo>
                <a:lnTo>
                  <a:pt x="2668" y="10940"/>
                </a:lnTo>
                <a:lnTo>
                  <a:pt x="2668" y="10993"/>
                </a:lnTo>
                <a:lnTo>
                  <a:pt x="2784" y="11035"/>
                </a:lnTo>
                <a:lnTo>
                  <a:pt x="2798" y="10997"/>
                </a:lnTo>
                <a:lnTo>
                  <a:pt x="2762" y="10972"/>
                </a:lnTo>
                <a:lnTo>
                  <a:pt x="2718" y="10954"/>
                </a:lnTo>
                <a:lnTo>
                  <a:pt x="2706" y="10937"/>
                </a:lnTo>
                <a:lnTo>
                  <a:pt x="2769" y="10841"/>
                </a:lnTo>
                <a:lnTo>
                  <a:pt x="2850" y="10791"/>
                </a:lnTo>
                <a:lnTo>
                  <a:pt x="2902" y="10795"/>
                </a:lnTo>
                <a:lnTo>
                  <a:pt x="2878" y="10860"/>
                </a:lnTo>
                <a:lnTo>
                  <a:pt x="3073" y="10872"/>
                </a:lnTo>
                <a:lnTo>
                  <a:pt x="3092" y="10888"/>
                </a:lnTo>
                <a:lnTo>
                  <a:pt x="3087" y="10931"/>
                </a:lnTo>
                <a:lnTo>
                  <a:pt x="3207" y="11028"/>
                </a:lnTo>
                <a:lnTo>
                  <a:pt x="3264" y="11065"/>
                </a:lnTo>
                <a:lnTo>
                  <a:pt x="3342" y="11060"/>
                </a:lnTo>
                <a:lnTo>
                  <a:pt x="3385" y="11033"/>
                </a:lnTo>
                <a:lnTo>
                  <a:pt x="3338" y="10998"/>
                </a:lnTo>
                <a:lnTo>
                  <a:pt x="3300" y="10944"/>
                </a:lnTo>
                <a:lnTo>
                  <a:pt x="3273" y="10956"/>
                </a:lnTo>
                <a:lnTo>
                  <a:pt x="3245" y="10987"/>
                </a:lnTo>
                <a:lnTo>
                  <a:pt x="3202" y="10988"/>
                </a:lnTo>
                <a:lnTo>
                  <a:pt x="3211" y="10941"/>
                </a:lnTo>
                <a:lnTo>
                  <a:pt x="3230" y="10890"/>
                </a:lnTo>
                <a:lnTo>
                  <a:pt x="3245" y="10846"/>
                </a:lnTo>
                <a:lnTo>
                  <a:pt x="3241" y="10823"/>
                </a:lnTo>
                <a:lnTo>
                  <a:pt x="3171" y="10813"/>
                </a:lnTo>
                <a:lnTo>
                  <a:pt x="3112" y="10781"/>
                </a:lnTo>
                <a:lnTo>
                  <a:pt x="3077" y="10735"/>
                </a:lnTo>
                <a:lnTo>
                  <a:pt x="3082" y="10683"/>
                </a:lnTo>
                <a:lnTo>
                  <a:pt x="3047" y="10609"/>
                </a:lnTo>
                <a:lnTo>
                  <a:pt x="2971" y="10617"/>
                </a:lnTo>
                <a:lnTo>
                  <a:pt x="2892" y="10631"/>
                </a:lnTo>
                <a:lnTo>
                  <a:pt x="2855" y="10576"/>
                </a:lnTo>
                <a:lnTo>
                  <a:pt x="2851" y="10526"/>
                </a:lnTo>
                <a:lnTo>
                  <a:pt x="2893" y="10541"/>
                </a:lnTo>
                <a:lnTo>
                  <a:pt x="2955" y="10576"/>
                </a:lnTo>
                <a:lnTo>
                  <a:pt x="3012" y="10583"/>
                </a:lnTo>
                <a:lnTo>
                  <a:pt x="3050" y="10592"/>
                </a:lnTo>
                <a:lnTo>
                  <a:pt x="3083" y="10569"/>
                </a:lnTo>
                <a:lnTo>
                  <a:pt x="3111" y="10550"/>
                </a:lnTo>
                <a:lnTo>
                  <a:pt x="3134" y="10567"/>
                </a:lnTo>
                <a:lnTo>
                  <a:pt x="3083" y="10662"/>
                </a:lnTo>
                <a:lnTo>
                  <a:pt x="3148" y="10722"/>
                </a:lnTo>
                <a:lnTo>
                  <a:pt x="3253" y="10777"/>
                </a:lnTo>
                <a:lnTo>
                  <a:pt x="3316" y="10860"/>
                </a:lnTo>
                <a:lnTo>
                  <a:pt x="3390" y="10931"/>
                </a:lnTo>
                <a:lnTo>
                  <a:pt x="3455" y="10899"/>
                </a:lnTo>
                <a:lnTo>
                  <a:pt x="3524" y="10823"/>
                </a:lnTo>
                <a:lnTo>
                  <a:pt x="3612" y="10763"/>
                </a:lnTo>
                <a:lnTo>
                  <a:pt x="3619" y="10782"/>
                </a:lnTo>
                <a:lnTo>
                  <a:pt x="3626" y="10792"/>
                </a:lnTo>
                <a:lnTo>
                  <a:pt x="3623" y="10796"/>
                </a:lnTo>
                <a:lnTo>
                  <a:pt x="3601" y="10793"/>
                </a:lnTo>
                <a:lnTo>
                  <a:pt x="3544" y="10841"/>
                </a:lnTo>
                <a:lnTo>
                  <a:pt x="3526" y="10923"/>
                </a:lnTo>
                <a:lnTo>
                  <a:pt x="3520" y="11014"/>
                </a:lnTo>
                <a:lnTo>
                  <a:pt x="3500" y="11090"/>
                </a:lnTo>
                <a:lnTo>
                  <a:pt x="3331" y="11100"/>
                </a:lnTo>
                <a:lnTo>
                  <a:pt x="3293" y="11165"/>
                </a:lnTo>
                <a:lnTo>
                  <a:pt x="3298" y="11244"/>
                </a:lnTo>
                <a:lnTo>
                  <a:pt x="3261" y="11296"/>
                </a:lnTo>
                <a:lnTo>
                  <a:pt x="3261" y="11219"/>
                </a:lnTo>
                <a:lnTo>
                  <a:pt x="3222" y="11203"/>
                </a:lnTo>
                <a:lnTo>
                  <a:pt x="3180" y="11239"/>
                </a:lnTo>
                <a:lnTo>
                  <a:pt x="3170" y="11314"/>
                </a:lnTo>
                <a:lnTo>
                  <a:pt x="3166" y="11317"/>
                </a:lnTo>
                <a:lnTo>
                  <a:pt x="3162" y="11319"/>
                </a:lnTo>
                <a:lnTo>
                  <a:pt x="3166" y="11317"/>
                </a:lnTo>
                <a:lnTo>
                  <a:pt x="3168" y="11314"/>
                </a:lnTo>
                <a:lnTo>
                  <a:pt x="3165" y="11314"/>
                </a:lnTo>
                <a:lnTo>
                  <a:pt x="3163" y="11314"/>
                </a:lnTo>
                <a:lnTo>
                  <a:pt x="3162" y="11315"/>
                </a:lnTo>
                <a:lnTo>
                  <a:pt x="3162" y="11319"/>
                </a:lnTo>
                <a:lnTo>
                  <a:pt x="3132" y="11360"/>
                </a:lnTo>
                <a:lnTo>
                  <a:pt x="3195" y="11369"/>
                </a:lnTo>
                <a:lnTo>
                  <a:pt x="3291" y="11360"/>
                </a:lnTo>
                <a:lnTo>
                  <a:pt x="3356" y="11347"/>
                </a:lnTo>
                <a:lnTo>
                  <a:pt x="3405" y="11320"/>
                </a:lnTo>
                <a:lnTo>
                  <a:pt x="3386" y="11292"/>
                </a:lnTo>
                <a:lnTo>
                  <a:pt x="3358" y="11258"/>
                </a:lnTo>
                <a:lnTo>
                  <a:pt x="3377" y="11216"/>
                </a:lnTo>
                <a:lnTo>
                  <a:pt x="3408" y="11202"/>
                </a:lnTo>
                <a:lnTo>
                  <a:pt x="3408" y="11188"/>
                </a:lnTo>
                <a:lnTo>
                  <a:pt x="3395" y="11172"/>
                </a:lnTo>
                <a:lnTo>
                  <a:pt x="3391" y="11149"/>
                </a:lnTo>
                <a:lnTo>
                  <a:pt x="3452" y="11121"/>
                </a:lnTo>
                <a:lnTo>
                  <a:pt x="3483" y="11152"/>
                </a:lnTo>
                <a:lnTo>
                  <a:pt x="3506" y="11189"/>
                </a:lnTo>
                <a:lnTo>
                  <a:pt x="3545" y="11177"/>
                </a:lnTo>
                <a:lnTo>
                  <a:pt x="3553" y="11051"/>
                </a:lnTo>
                <a:lnTo>
                  <a:pt x="3595" y="11018"/>
                </a:lnTo>
                <a:lnTo>
                  <a:pt x="3647" y="11011"/>
                </a:lnTo>
                <a:lnTo>
                  <a:pt x="3687" y="10968"/>
                </a:lnTo>
                <a:lnTo>
                  <a:pt x="3720" y="10963"/>
                </a:lnTo>
                <a:lnTo>
                  <a:pt x="3754" y="10965"/>
                </a:lnTo>
                <a:lnTo>
                  <a:pt x="3771" y="10978"/>
                </a:lnTo>
                <a:lnTo>
                  <a:pt x="3749" y="11001"/>
                </a:lnTo>
                <a:lnTo>
                  <a:pt x="3734" y="11024"/>
                </a:lnTo>
                <a:lnTo>
                  <a:pt x="3745" y="11062"/>
                </a:lnTo>
                <a:lnTo>
                  <a:pt x="3752" y="11090"/>
                </a:lnTo>
                <a:lnTo>
                  <a:pt x="3724" y="11084"/>
                </a:lnTo>
                <a:lnTo>
                  <a:pt x="3669" y="11051"/>
                </a:lnTo>
                <a:lnTo>
                  <a:pt x="3629" y="11075"/>
                </a:lnTo>
                <a:lnTo>
                  <a:pt x="3623" y="11119"/>
                </a:lnTo>
                <a:lnTo>
                  <a:pt x="3665" y="11144"/>
                </a:lnTo>
                <a:lnTo>
                  <a:pt x="3771" y="11152"/>
                </a:lnTo>
                <a:lnTo>
                  <a:pt x="3846" y="11109"/>
                </a:lnTo>
                <a:lnTo>
                  <a:pt x="3925" y="11090"/>
                </a:lnTo>
                <a:lnTo>
                  <a:pt x="4046" y="11169"/>
                </a:lnTo>
                <a:lnTo>
                  <a:pt x="4130" y="11177"/>
                </a:lnTo>
                <a:lnTo>
                  <a:pt x="4177" y="11205"/>
                </a:lnTo>
                <a:lnTo>
                  <a:pt x="4203" y="11262"/>
                </a:lnTo>
                <a:lnTo>
                  <a:pt x="4222" y="11361"/>
                </a:lnTo>
                <a:lnTo>
                  <a:pt x="4087" y="11529"/>
                </a:lnTo>
                <a:lnTo>
                  <a:pt x="4303" y="11527"/>
                </a:lnTo>
                <a:lnTo>
                  <a:pt x="4647" y="11499"/>
                </a:lnTo>
                <a:lnTo>
                  <a:pt x="4894" y="11585"/>
                </a:lnTo>
                <a:lnTo>
                  <a:pt x="4934" y="11552"/>
                </a:lnTo>
                <a:lnTo>
                  <a:pt x="4997" y="11522"/>
                </a:lnTo>
                <a:lnTo>
                  <a:pt x="5037" y="11486"/>
                </a:lnTo>
                <a:lnTo>
                  <a:pt x="5002" y="11434"/>
                </a:lnTo>
                <a:lnTo>
                  <a:pt x="4976" y="11434"/>
                </a:lnTo>
                <a:lnTo>
                  <a:pt x="4954" y="11415"/>
                </a:lnTo>
                <a:lnTo>
                  <a:pt x="4925" y="11404"/>
                </a:lnTo>
                <a:lnTo>
                  <a:pt x="4876" y="11429"/>
                </a:lnTo>
                <a:lnTo>
                  <a:pt x="4865" y="11416"/>
                </a:lnTo>
                <a:lnTo>
                  <a:pt x="4876" y="11396"/>
                </a:lnTo>
                <a:lnTo>
                  <a:pt x="4888" y="11374"/>
                </a:lnTo>
                <a:lnTo>
                  <a:pt x="4874" y="11355"/>
                </a:lnTo>
                <a:lnTo>
                  <a:pt x="4860" y="11345"/>
                </a:lnTo>
                <a:lnTo>
                  <a:pt x="4860" y="11331"/>
                </a:lnTo>
                <a:lnTo>
                  <a:pt x="4866" y="11317"/>
                </a:lnTo>
                <a:lnTo>
                  <a:pt x="4871" y="11300"/>
                </a:lnTo>
                <a:lnTo>
                  <a:pt x="4904" y="11280"/>
                </a:lnTo>
                <a:lnTo>
                  <a:pt x="4930" y="11303"/>
                </a:lnTo>
                <a:lnTo>
                  <a:pt x="4974" y="11342"/>
                </a:lnTo>
                <a:lnTo>
                  <a:pt x="5065" y="11368"/>
                </a:lnTo>
                <a:lnTo>
                  <a:pt x="5083" y="11356"/>
                </a:lnTo>
                <a:lnTo>
                  <a:pt x="5075" y="11336"/>
                </a:lnTo>
                <a:lnTo>
                  <a:pt x="5088" y="11318"/>
                </a:lnTo>
                <a:lnTo>
                  <a:pt x="5172" y="11317"/>
                </a:lnTo>
                <a:lnTo>
                  <a:pt x="5132" y="11411"/>
                </a:lnTo>
                <a:lnTo>
                  <a:pt x="5169" y="11468"/>
                </a:lnTo>
                <a:lnTo>
                  <a:pt x="5242" y="11508"/>
                </a:lnTo>
                <a:lnTo>
                  <a:pt x="5311" y="11552"/>
                </a:lnTo>
                <a:lnTo>
                  <a:pt x="5372" y="11515"/>
                </a:lnTo>
                <a:lnTo>
                  <a:pt x="5431" y="11524"/>
                </a:lnTo>
                <a:lnTo>
                  <a:pt x="5503" y="11542"/>
                </a:lnTo>
                <a:lnTo>
                  <a:pt x="5597" y="11534"/>
                </a:lnTo>
                <a:lnTo>
                  <a:pt x="5659" y="11546"/>
                </a:lnTo>
                <a:lnTo>
                  <a:pt x="5733" y="11531"/>
                </a:lnTo>
                <a:lnTo>
                  <a:pt x="5803" y="11520"/>
                </a:lnTo>
                <a:lnTo>
                  <a:pt x="5861" y="11551"/>
                </a:lnTo>
                <a:lnTo>
                  <a:pt x="5806" y="11566"/>
                </a:lnTo>
                <a:lnTo>
                  <a:pt x="5741" y="11569"/>
                </a:lnTo>
                <a:lnTo>
                  <a:pt x="5682" y="11575"/>
                </a:lnTo>
                <a:lnTo>
                  <a:pt x="5651" y="11604"/>
                </a:lnTo>
                <a:lnTo>
                  <a:pt x="5761" y="11654"/>
                </a:lnTo>
                <a:lnTo>
                  <a:pt x="5811" y="11721"/>
                </a:lnTo>
                <a:lnTo>
                  <a:pt x="5859" y="11780"/>
                </a:lnTo>
                <a:lnTo>
                  <a:pt x="5968" y="11805"/>
                </a:lnTo>
                <a:lnTo>
                  <a:pt x="5960" y="11828"/>
                </a:lnTo>
                <a:lnTo>
                  <a:pt x="5975" y="11840"/>
                </a:lnTo>
                <a:lnTo>
                  <a:pt x="6002" y="11837"/>
                </a:lnTo>
                <a:lnTo>
                  <a:pt x="6025" y="11825"/>
                </a:lnTo>
                <a:lnTo>
                  <a:pt x="6029" y="11770"/>
                </a:lnTo>
                <a:lnTo>
                  <a:pt x="5949" y="11737"/>
                </a:lnTo>
                <a:lnTo>
                  <a:pt x="5877" y="11706"/>
                </a:lnTo>
                <a:lnTo>
                  <a:pt x="5904" y="11664"/>
                </a:lnTo>
                <a:lnTo>
                  <a:pt x="5959" y="11667"/>
                </a:lnTo>
                <a:lnTo>
                  <a:pt x="5985" y="11690"/>
                </a:lnTo>
                <a:lnTo>
                  <a:pt x="6005" y="11714"/>
                </a:lnTo>
                <a:lnTo>
                  <a:pt x="6040" y="11720"/>
                </a:lnTo>
                <a:lnTo>
                  <a:pt x="6054" y="11683"/>
                </a:lnTo>
                <a:lnTo>
                  <a:pt x="6027" y="11668"/>
                </a:lnTo>
                <a:lnTo>
                  <a:pt x="5999" y="11658"/>
                </a:lnTo>
                <a:lnTo>
                  <a:pt x="6008" y="11636"/>
                </a:lnTo>
                <a:lnTo>
                  <a:pt x="6039" y="11615"/>
                </a:lnTo>
                <a:lnTo>
                  <a:pt x="6030" y="11598"/>
                </a:lnTo>
                <a:lnTo>
                  <a:pt x="6008" y="11581"/>
                </a:lnTo>
                <a:lnTo>
                  <a:pt x="5999" y="11557"/>
                </a:lnTo>
                <a:lnTo>
                  <a:pt x="5988" y="11537"/>
                </a:lnTo>
                <a:lnTo>
                  <a:pt x="5965" y="11543"/>
                </a:lnTo>
                <a:lnTo>
                  <a:pt x="5940" y="11557"/>
                </a:lnTo>
                <a:lnTo>
                  <a:pt x="5918" y="11559"/>
                </a:lnTo>
                <a:lnTo>
                  <a:pt x="5975" y="11488"/>
                </a:lnTo>
                <a:lnTo>
                  <a:pt x="6044" y="11466"/>
                </a:lnTo>
                <a:lnTo>
                  <a:pt x="6084" y="11488"/>
                </a:lnTo>
                <a:lnTo>
                  <a:pt x="6049" y="11551"/>
                </a:lnTo>
                <a:lnTo>
                  <a:pt x="6150" y="11758"/>
                </a:lnTo>
                <a:lnTo>
                  <a:pt x="6333" y="11790"/>
                </a:lnTo>
                <a:lnTo>
                  <a:pt x="6547" y="11779"/>
                </a:lnTo>
                <a:lnTo>
                  <a:pt x="6737" y="11864"/>
                </a:lnTo>
                <a:lnTo>
                  <a:pt x="6813" y="11795"/>
                </a:lnTo>
                <a:lnTo>
                  <a:pt x="6873" y="11755"/>
                </a:lnTo>
                <a:lnTo>
                  <a:pt x="6909" y="11777"/>
                </a:lnTo>
                <a:lnTo>
                  <a:pt x="6913" y="11896"/>
                </a:lnTo>
                <a:lnTo>
                  <a:pt x="6916" y="11919"/>
                </a:lnTo>
                <a:lnTo>
                  <a:pt x="6957" y="11916"/>
                </a:lnTo>
                <a:lnTo>
                  <a:pt x="7011" y="11911"/>
                </a:lnTo>
                <a:lnTo>
                  <a:pt x="7049" y="11926"/>
                </a:lnTo>
                <a:lnTo>
                  <a:pt x="7100" y="11902"/>
                </a:lnTo>
                <a:lnTo>
                  <a:pt x="7101" y="11837"/>
                </a:lnTo>
                <a:lnTo>
                  <a:pt x="7068" y="11774"/>
                </a:lnTo>
                <a:lnTo>
                  <a:pt x="7016" y="11752"/>
                </a:lnTo>
                <a:lnTo>
                  <a:pt x="7055" y="11682"/>
                </a:lnTo>
                <a:lnTo>
                  <a:pt x="7093" y="11686"/>
                </a:lnTo>
                <a:lnTo>
                  <a:pt x="7116" y="11739"/>
                </a:lnTo>
                <a:lnTo>
                  <a:pt x="7111" y="11821"/>
                </a:lnTo>
                <a:lnTo>
                  <a:pt x="7166" y="11928"/>
                </a:lnTo>
                <a:lnTo>
                  <a:pt x="7268" y="12000"/>
                </a:lnTo>
                <a:lnTo>
                  <a:pt x="7343" y="11996"/>
                </a:lnTo>
                <a:lnTo>
                  <a:pt x="7320" y="11879"/>
                </a:lnTo>
                <a:lnTo>
                  <a:pt x="7264" y="11783"/>
                </a:lnTo>
                <a:lnTo>
                  <a:pt x="7230" y="11738"/>
                </a:lnTo>
                <a:lnTo>
                  <a:pt x="7235" y="11686"/>
                </a:lnTo>
                <a:lnTo>
                  <a:pt x="7295" y="11561"/>
                </a:lnTo>
                <a:lnTo>
                  <a:pt x="7360" y="11578"/>
                </a:lnTo>
                <a:lnTo>
                  <a:pt x="7432" y="11603"/>
                </a:lnTo>
                <a:lnTo>
                  <a:pt x="7507" y="11617"/>
                </a:lnTo>
                <a:lnTo>
                  <a:pt x="7580" y="11599"/>
                </a:lnTo>
                <a:lnTo>
                  <a:pt x="7417" y="11529"/>
                </a:lnTo>
                <a:lnTo>
                  <a:pt x="7430" y="11486"/>
                </a:lnTo>
                <a:lnTo>
                  <a:pt x="7554" y="11477"/>
                </a:lnTo>
                <a:lnTo>
                  <a:pt x="7726" y="11515"/>
                </a:lnTo>
                <a:lnTo>
                  <a:pt x="7759" y="11520"/>
                </a:lnTo>
                <a:lnTo>
                  <a:pt x="7771" y="11541"/>
                </a:lnTo>
                <a:lnTo>
                  <a:pt x="7780" y="11566"/>
                </a:lnTo>
                <a:lnTo>
                  <a:pt x="7805" y="11590"/>
                </a:lnTo>
                <a:lnTo>
                  <a:pt x="7818" y="11627"/>
                </a:lnTo>
                <a:lnTo>
                  <a:pt x="7854" y="11641"/>
                </a:lnTo>
                <a:lnTo>
                  <a:pt x="7883" y="11632"/>
                </a:lnTo>
                <a:lnTo>
                  <a:pt x="7872" y="11604"/>
                </a:lnTo>
                <a:lnTo>
                  <a:pt x="7836" y="11482"/>
                </a:lnTo>
                <a:lnTo>
                  <a:pt x="7873" y="11434"/>
                </a:lnTo>
                <a:lnTo>
                  <a:pt x="7957" y="11417"/>
                </a:lnTo>
                <a:lnTo>
                  <a:pt x="8063" y="11388"/>
                </a:lnTo>
                <a:lnTo>
                  <a:pt x="8119" y="11425"/>
                </a:lnTo>
                <a:lnTo>
                  <a:pt x="8141" y="11472"/>
                </a:lnTo>
                <a:lnTo>
                  <a:pt x="8163" y="11503"/>
                </a:lnTo>
                <a:lnTo>
                  <a:pt x="8217" y="11492"/>
                </a:lnTo>
                <a:lnTo>
                  <a:pt x="8340" y="11462"/>
                </a:lnTo>
                <a:lnTo>
                  <a:pt x="8488" y="11446"/>
                </a:lnTo>
                <a:lnTo>
                  <a:pt x="8559" y="11421"/>
                </a:lnTo>
                <a:lnTo>
                  <a:pt x="8448" y="11362"/>
                </a:lnTo>
                <a:lnTo>
                  <a:pt x="8403" y="11333"/>
                </a:lnTo>
                <a:lnTo>
                  <a:pt x="8387" y="11320"/>
                </a:lnTo>
                <a:lnTo>
                  <a:pt x="8403" y="11305"/>
                </a:lnTo>
                <a:lnTo>
                  <a:pt x="8443" y="11267"/>
                </a:lnTo>
                <a:lnTo>
                  <a:pt x="8386" y="11239"/>
                </a:lnTo>
                <a:lnTo>
                  <a:pt x="8389" y="11177"/>
                </a:lnTo>
                <a:lnTo>
                  <a:pt x="8371" y="11132"/>
                </a:lnTo>
                <a:lnTo>
                  <a:pt x="8252" y="11155"/>
                </a:lnTo>
                <a:lnTo>
                  <a:pt x="8298" y="11200"/>
                </a:lnTo>
                <a:lnTo>
                  <a:pt x="8260" y="11224"/>
                </a:lnTo>
                <a:lnTo>
                  <a:pt x="8184" y="11238"/>
                </a:lnTo>
                <a:lnTo>
                  <a:pt x="8119" y="11252"/>
                </a:lnTo>
                <a:lnTo>
                  <a:pt x="8088" y="11313"/>
                </a:lnTo>
                <a:lnTo>
                  <a:pt x="7998" y="11350"/>
                </a:lnTo>
                <a:lnTo>
                  <a:pt x="7898" y="11359"/>
                </a:lnTo>
                <a:lnTo>
                  <a:pt x="7840" y="11340"/>
                </a:lnTo>
                <a:lnTo>
                  <a:pt x="7837" y="11323"/>
                </a:lnTo>
                <a:lnTo>
                  <a:pt x="7826" y="11304"/>
                </a:lnTo>
                <a:lnTo>
                  <a:pt x="7812" y="11291"/>
                </a:lnTo>
                <a:lnTo>
                  <a:pt x="7796" y="11298"/>
                </a:lnTo>
                <a:lnTo>
                  <a:pt x="7782" y="11342"/>
                </a:lnTo>
                <a:lnTo>
                  <a:pt x="7758" y="11305"/>
                </a:lnTo>
                <a:lnTo>
                  <a:pt x="7749" y="11245"/>
                </a:lnTo>
                <a:lnTo>
                  <a:pt x="7779" y="11219"/>
                </a:lnTo>
                <a:lnTo>
                  <a:pt x="7809" y="11221"/>
                </a:lnTo>
                <a:lnTo>
                  <a:pt x="7837" y="11207"/>
                </a:lnTo>
                <a:lnTo>
                  <a:pt x="7847" y="11184"/>
                </a:lnTo>
                <a:lnTo>
                  <a:pt x="7829" y="11163"/>
                </a:lnTo>
                <a:lnTo>
                  <a:pt x="7768" y="11118"/>
                </a:lnTo>
                <a:lnTo>
                  <a:pt x="7721" y="11117"/>
                </a:lnTo>
                <a:lnTo>
                  <a:pt x="7687" y="11118"/>
                </a:lnTo>
                <a:lnTo>
                  <a:pt x="7665" y="11077"/>
                </a:lnTo>
                <a:lnTo>
                  <a:pt x="7581" y="11049"/>
                </a:lnTo>
                <a:lnTo>
                  <a:pt x="7576" y="11005"/>
                </a:lnTo>
                <a:lnTo>
                  <a:pt x="7567" y="10953"/>
                </a:lnTo>
                <a:lnTo>
                  <a:pt x="7473" y="10895"/>
                </a:lnTo>
                <a:lnTo>
                  <a:pt x="7455" y="10893"/>
                </a:lnTo>
                <a:lnTo>
                  <a:pt x="7473" y="10897"/>
                </a:lnTo>
                <a:lnTo>
                  <a:pt x="7503" y="10906"/>
                </a:lnTo>
                <a:lnTo>
                  <a:pt x="7525" y="10921"/>
                </a:lnTo>
                <a:lnTo>
                  <a:pt x="7632" y="11024"/>
                </a:lnTo>
                <a:lnTo>
                  <a:pt x="7710" y="11032"/>
                </a:lnTo>
                <a:lnTo>
                  <a:pt x="7767" y="10962"/>
                </a:lnTo>
                <a:lnTo>
                  <a:pt x="7814" y="10827"/>
                </a:lnTo>
                <a:lnTo>
                  <a:pt x="7920" y="10839"/>
                </a:lnTo>
                <a:lnTo>
                  <a:pt x="8018" y="10909"/>
                </a:lnTo>
                <a:lnTo>
                  <a:pt x="8102" y="10955"/>
                </a:lnTo>
                <a:lnTo>
                  <a:pt x="8170" y="10898"/>
                </a:lnTo>
                <a:lnTo>
                  <a:pt x="8164" y="10829"/>
                </a:lnTo>
                <a:lnTo>
                  <a:pt x="8163" y="10750"/>
                </a:lnTo>
                <a:lnTo>
                  <a:pt x="8135" y="10690"/>
                </a:lnTo>
                <a:lnTo>
                  <a:pt x="8047" y="10678"/>
                </a:lnTo>
                <a:lnTo>
                  <a:pt x="8012" y="10713"/>
                </a:lnTo>
                <a:lnTo>
                  <a:pt x="8001" y="10702"/>
                </a:lnTo>
                <a:lnTo>
                  <a:pt x="7996" y="10661"/>
                </a:lnTo>
                <a:lnTo>
                  <a:pt x="7975" y="10613"/>
                </a:lnTo>
                <a:lnTo>
                  <a:pt x="8073" y="10580"/>
                </a:lnTo>
                <a:lnTo>
                  <a:pt x="8176" y="10638"/>
                </a:lnTo>
                <a:lnTo>
                  <a:pt x="8282" y="10685"/>
                </a:lnTo>
                <a:lnTo>
                  <a:pt x="8385" y="10619"/>
                </a:lnTo>
                <a:lnTo>
                  <a:pt x="8424" y="10656"/>
                </a:lnTo>
                <a:lnTo>
                  <a:pt x="8373" y="10701"/>
                </a:lnTo>
                <a:lnTo>
                  <a:pt x="8307" y="10748"/>
                </a:lnTo>
                <a:lnTo>
                  <a:pt x="8303" y="10795"/>
                </a:lnTo>
                <a:lnTo>
                  <a:pt x="8352" y="10847"/>
                </a:lnTo>
                <a:lnTo>
                  <a:pt x="8391" y="10858"/>
                </a:lnTo>
                <a:lnTo>
                  <a:pt x="8429" y="10863"/>
                </a:lnTo>
                <a:lnTo>
                  <a:pt x="8474" y="10898"/>
                </a:lnTo>
                <a:lnTo>
                  <a:pt x="8487" y="10866"/>
                </a:lnTo>
                <a:lnTo>
                  <a:pt x="8496" y="10828"/>
                </a:lnTo>
                <a:lnTo>
                  <a:pt x="8512" y="10802"/>
                </a:lnTo>
                <a:lnTo>
                  <a:pt x="8546" y="10807"/>
                </a:lnTo>
                <a:lnTo>
                  <a:pt x="8546" y="10848"/>
                </a:lnTo>
                <a:lnTo>
                  <a:pt x="8555" y="10877"/>
                </a:lnTo>
                <a:lnTo>
                  <a:pt x="8578" y="10890"/>
                </a:lnTo>
                <a:lnTo>
                  <a:pt x="8618" y="10876"/>
                </a:lnTo>
                <a:lnTo>
                  <a:pt x="8657" y="10853"/>
                </a:lnTo>
                <a:lnTo>
                  <a:pt x="8662" y="10779"/>
                </a:lnTo>
                <a:lnTo>
                  <a:pt x="8680" y="10737"/>
                </a:lnTo>
                <a:lnTo>
                  <a:pt x="8762" y="10810"/>
                </a:lnTo>
                <a:lnTo>
                  <a:pt x="8794" y="10815"/>
                </a:lnTo>
                <a:lnTo>
                  <a:pt x="8810" y="10786"/>
                </a:lnTo>
                <a:lnTo>
                  <a:pt x="8846" y="10765"/>
                </a:lnTo>
                <a:lnTo>
                  <a:pt x="8941" y="10802"/>
                </a:lnTo>
                <a:lnTo>
                  <a:pt x="8981" y="10807"/>
                </a:lnTo>
                <a:lnTo>
                  <a:pt x="8955" y="10821"/>
                </a:lnTo>
                <a:lnTo>
                  <a:pt x="8907" y="10842"/>
                </a:lnTo>
                <a:lnTo>
                  <a:pt x="8878" y="10865"/>
                </a:lnTo>
                <a:lnTo>
                  <a:pt x="8925" y="10876"/>
                </a:lnTo>
                <a:lnTo>
                  <a:pt x="8950" y="10898"/>
                </a:lnTo>
                <a:lnTo>
                  <a:pt x="8968" y="10899"/>
                </a:lnTo>
                <a:lnTo>
                  <a:pt x="8992" y="10848"/>
                </a:lnTo>
                <a:lnTo>
                  <a:pt x="9043" y="10856"/>
                </a:lnTo>
                <a:lnTo>
                  <a:pt x="9086" y="10870"/>
                </a:lnTo>
                <a:lnTo>
                  <a:pt x="9135" y="10884"/>
                </a:lnTo>
                <a:lnTo>
                  <a:pt x="9199" y="10891"/>
                </a:lnTo>
                <a:lnTo>
                  <a:pt x="9235" y="10877"/>
                </a:lnTo>
                <a:lnTo>
                  <a:pt x="9232" y="10847"/>
                </a:lnTo>
                <a:lnTo>
                  <a:pt x="9214" y="10810"/>
                </a:lnTo>
                <a:lnTo>
                  <a:pt x="9209" y="10772"/>
                </a:lnTo>
                <a:lnTo>
                  <a:pt x="9291" y="10718"/>
                </a:lnTo>
                <a:lnTo>
                  <a:pt x="9253" y="10680"/>
                </a:lnTo>
                <a:lnTo>
                  <a:pt x="9158" y="10656"/>
                </a:lnTo>
                <a:lnTo>
                  <a:pt x="9070" y="10642"/>
                </a:lnTo>
                <a:lnTo>
                  <a:pt x="9108" y="10562"/>
                </a:lnTo>
                <a:lnTo>
                  <a:pt x="9200" y="10516"/>
                </a:lnTo>
                <a:lnTo>
                  <a:pt x="9313" y="10485"/>
                </a:lnTo>
                <a:lnTo>
                  <a:pt x="9415" y="10455"/>
                </a:lnTo>
                <a:lnTo>
                  <a:pt x="9349" y="10545"/>
                </a:lnTo>
                <a:lnTo>
                  <a:pt x="9406" y="10569"/>
                </a:lnTo>
                <a:lnTo>
                  <a:pt x="9491" y="10568"/>
                </a:lnTo>
                <a:lnTo>
                  <a:pt x="9508" y="10580"/>
                </a:lnTo>
                <a:lnTo>
                  <a:pt x="9471" y="10587"/>
                </a:lnTo>
                <a:lnTo>
                  <a:pt x="9472" y="10623"/>
                </a:lnTo>
                <a:lnTo>
                  <a:pt x="9499" y="10660"/>
                </a:lnTo>
                <a:lnTo>
                  <a:pt x="9537" y="10666"/>
                </a:lnTo>
                <a:lnTo>
                  <a:pt x="9587" y="10619"/>
                </a:lnTo>
                <a:lnTo>
                  <a:pt x="9615" y="10600"/>
                </a:lnTo>
                <a:lnTo>
                  <a:pt x="9654" y="10591"/>
                </a:lnTo>
                <a:lnTo>
                  <a:pt x="9735" y="10581"/>
                </a:lnTo>
                <a:lnTo>
                  <a:pt x="9786" y="10519"/>
                </a:lnTo>
                <a:lnTo>
                  <a:pt x="9834" y="10487"/>
                </a:lnTo>
                <a:lnTo>
                  <a:pt x="9862" y="10451"/>
                </a:lnTo>
                <a:lnTo>
                  <a:pt x="9848" y="10382"/>
                </a:lnTo>
                <a:lnTo>
                  <a:pt x="9914" y="10349"/>
                </a:lnTo>
                <a:lnTo>
                  <a:pt x="9972" y="10340"/>
                </a:lnTo>
                <a:lnTo>
                  <a:pt x="9996" y="10362"/>
                </a:lnTo>
                <a:lnTo>
                  <a:pt x="9965" y="10421"/>
                </a:lnTo>
                <a:lnTo>
                  <a:pt x="10043" y="10399"/>
                </a:lnTo>
                <a:lnTo>
                  <a:pt x="10081" y="10334"/>
                </a:lnTo>
                <a:lnTo>
                  <a:pt x="10113" y="10258"/>
                </a:lnTo>
                <a:lnTo>
                  <a:pt x="10171" y="10199"/>
                </a:lnTo>
                <a:lnTo>
                  <a:pt x="10233" y="10172"/>
                </a:lnTo>
                <a:lnTo>
                  <a:pt x="10259" y="10118"/>
                </a:lnTo>
                <a:lnTo>
                  <a:pt x="10277" y="10053"/>
                </a:lnTo>
                <a:lnTo>
                  <a:pt x="10309" y="9995"/>
                </a:lnTo>
                <a:lnTo>
                  <a:pt x="10338" y="9981"/>
                </a:lnTo>
                <a:lnTo>
                  <a:pt x="10369" y="9958"/>
                </a:lnTo>
                <a:lnTo>
                  <a:pt x="10382" y="9936"/>
                </a:lnTo>
                <a:lnTo>
                  <a:pt x="10355" y="9918"/>
                </a:lnTo>
                <a:lnTo>
                  <a:pt x="10375" y="9881"/>
                </a:lnTo>
                <a:lnTo>
                  <a:pt x="10357" y="9872"/>
                </a:lnTo>
                <a:lnTo>
                  <a:pt x="10319" y="9878"/>
                </a:lnTo>
                <a:lnTo>
                  <a:pt x="10282" y="9886"/>
                </a:lnTo>
                <a:lnTo>
                  <a:pt x="10225" y="9821"/>
                </a:lnTo>
                <a:lnTo>
                  <a:pt x="10182" y="9770"/>
                </a:lnTo>
                <a:lnTo>
                  <a:pt x="10151" y="9776"/>
                </a:lnTo>
                <a:lnTo>
                  <a:pt x="10133" y="9885"/>
                </a:lnTo>
                <a:lnTo>
                  <a:pt x="10075" y="9955"/>
                </a:lnTo>
                <a:lnTo>
                  <a:pt x="10036" y="9873"/>
                </a:lnTo>
                <a:lnTo>
                  <a:pt x="10054" y="9755"/>
                </a:lnTo>
                <a:lnTo>
                  <a:pt x="10161" y="9718"/>
                </a:lnTo>
                <a:lnTo>
                  <a:pt x="10239" y="9741"/>
                </a:lnTo>
                <a:lnTo>
                  <a:pt x="10326" y="9751"/>
                </a:lnTo>
                <a:lnTo>
                  <a:pt x="10368" y="9771"/>
                </a:lnTo>
                <a:lnTo>
                  <a:pt x="10318" y="9820"/>
                </a:lnTo>
                <a:lnTo>
                  <a:pt x="10337" y="9850"/>
                </a:lnTo>
                <a:lnTo>
                  <a:pt x="10384" y="9844"/>
                </a:lnTo>
                <a:lnTo>
                  <a:pt x="10431" y="9836"/>
                </a:lnTo>
                <a:lnTo>
                  <a:pt x="10455" y="9864"/>
                </a:lnTo>
                <a:lnTo>
                  <a:pt x="10444" y="9916"/>
                </a:lnTo>
                <a:lnTo>
                  <a:pt x="10495" y="9882"/>
                </a:lnTo>
                <a:lnTo>
                  <a:pt x="10561" y="9816"/>
                </a:lnTo>
                <a:lnTo>
                  <a:pt x="10597" y="9769"/>
                </a:lnTo>
                <a:lnTo>
                  <a:pt x="10602" y="9748"/>
                </a:lnTo>
                <a:lnTo>
                  <a:pt x="10599" y="9713"/>
                </a:lnTo>
                <a:lnTo>
                  <a:pt x="10606" y="9685"/>
                </a:lnTo>
                <a:lnTo>
                  <a:pt x="10636" y="9685"/>
                </a:lnTo>
                <a:lnTo>
                  <a:pt x="10640" y="9729"/>
                </a:lnTo>
                <a:lnTo>
                  <a:pt x="10654" y="9759"/>
                </a:lnTo>
                <a:lnTo>
                  <a:pt x="10676" y="9760"/>
                </a:lnTo>
                <a:lnTo>
                  <a:pt x="10703" y="9720"/>
                </a:lnTo>
                <a:lnTo>
                  <a:pt x="10713" y="9689"/>
                </a:lnTo>
                <a:lnTo>
                  <a:pt x="10695" y="9657"/>
                </a:lnTo>
                <a:lnTo>
                  <a:pt x="10678" y="9630"/>
                </a:lnTo>
                <a:lnTo>
                  <a:pt x="10692" y="9612"/>
                </a:lnTo>
                <a:lnTo>
                  <a:pt x="10719" y="9594"/>
                </a:lnTo>
                <a:lnTo>
                  <a:pt x="10745" y="9560"/>
                </a:lnTo>
                <a:lnTo>
                  <a:pt x="10770" y="9541"/>
                </a:lnTo>
                <a:lnTo>
                  <a:pt x="10799" y="9565"/>
                </a:lnTo>
                <a:lnTo>
                  <a:pt x="10757" y="9622"/>
                </a:lnTo>
                <a:lnTo>
                  <a:pt x="10784" y="9633"/>
                </a:lnTo>
                <a:lnTo>
                  <a:pt x="10825" y="9635"/>
                </a:lnTo>
                <a:lnTo>
                  <a:pt x="10827" y="9671"/>
                </a:lnTo>
                <a:lnTo>
                  <a:pt x="10857" y="9675"/>
                </a:lnTo>
                <a:lnTo>
                  <a:pt x="10888" y="9652"/>
                </a:lnTo>
                <a:lnTo>
                  <a:pt x="10925" y="9625"/>
                </a:lnTo>
                <a:lnTo>
                  <a:pt x="10971" y="9621"/>
                </a:lnTo>
                <a:lnTo>
                  <a:pt x="10999" y="9588"/>
                </a:lnTo>
                <a:lnTo>
                  <a:pt x="11025" y="9540"/>
                </a:lnTo>
                <a:lnTo>
                  <a:pt x="11059" y="9505"/>
                </a:lnTo>
                <a:lnTo>
                  <a:pt x="11113" y="9514"/>
                </a:lnTo>
                <a:lnTo>
                  <a:pt x="11164" y="9456"/>
                </a:lnTo>
                <a:lnTo>
                  <a:pt x="11144" y="9361"/>
                </a:lnTo>
                <a:lnTo>
                  <a:pt x="11086" y="9286"/>
                </a:lnTo>
                <a:lnTo>
                  <a:pt x="11018" y="9281"/>
                </a:lnTo>
                <a:lnTo>
                  <a:pt x="11007" y="9229"/>
                </a:lnTo>
                <a:lnTo>
                  <a:pt x="11049" y="9213"/>
                </a:lnTo>
                <a:lnTo>
                  <a:pt x="11095" y="9193"/>
                </a:lnTo>
                <a:lnTo>
                  <a:pt x="11097" y="9137"/>
                </a:lnTo>
                <a:lnTo>
                  <a:pt x="11172" y="9080"/>
                </a:lnTo>
                <a:lnTo>
                  <a:pt x="11269" y="8997"/>
                </a:lnTo>
                <a:lnTo>
                  <a:pt x="11324" y="8920"/>
                </a:lnTo>
                <a:lnTo>
                  <a:pt x="11274" y="8875"/>
                </a:lnTo>
                <a:lnTo>
                  <a:pt x="11189" y="8761"/>
                </a:lnTo>
                <a:lnTo>
                  <a:pt x="11144" y="8740"/>
                </a:lnTo>
                <a:lnTo>
                  <a:pt x="11114" y="8794"/>
                </a:lnTo>
                <a:lnTo>
                  <a:pt x="11065" y="8901"/>
                </a:lnTo>
                <a:lnTo>
                  <a:pt x="11085" y="8929"/>
                </a:lnTo>
                <a:lnTo>
                  <a:pt x="11076" y="8962"/>
                </a:lnTo>
                <a:lnTo>
                  <a:pt x="11060" y="8996"/>
                </a:lnTo>
                <a:lnTo>
                  <a:pt x="11057" y="9029"/>
                </a:lnTo>
                <a:lnTo>
                  <a:pt x="11085" y="9072"/>
                </a:lnTo>
                <a:lnTo>
                  <a:pt x="11062" y="9097"/>
                </a:lnTo>
                <a:lnTo>
                  <a:pt x="11029" y="9117"/>
                </a:lnTo>
                <a:lnTo>
                  <a:pt x="11022" y="9148"/>
                </a:lnTo>
                <a:lnTo>
                  <a:pt x="11002" y="9183"/>
                </a:lnTo>
                <a:lnTo>
                  <a:pt x="10976" y="9196"/>
                </a:lnTo>
                <a:lnTo>
                  <a:pt x="10951" y="9199"/>
                </a:lnTo>
                <a:lnTo>
                  <a:pt x="10928" y="9206"/>
                </a:lnTo>
                <a:lnTo>
                  <a:pt x="10892" y="9241"/>
                </a:lnTo>
                <a:lnTo>
                  <a:pt x="10886" y="9234"/>
                </a:lnTo>
                <a:lnTo>
                  <a:pt x="10891" y="9205"/>
                </a:lnTo>
                <a:lnTo>
                  <a:pt x="10887" y="9171"/>
                </a:lnTo>
                <a:lnTo>
                  <a:pt x="10852" y="9173"/>
                </a:lnTo>
                <a:lnTo>
                  <a:pt x="10839" y="9204"/>
                </a:lnTo>
                <a:lnTo>
                  <a:pt x="10832" y="9243"/>
                </a:lnTo>
                <a:lnTo>
                  <a:pt x="10816" y="9271"/>
                </a:lnTo>
                <a:lnTo>
                  <a:pt x="10779" y="9283"/>
                </a:lnTo>
                <a:lnTo>
                  <a:pt x="10746" y="9283"/>
                </a:lnTo>
                <a:lnTo>
                  <a:pt x="10736" y="9266"/>
                </a:lnTo>
                <a:lnTo>
                  <a:pt x="10767" y="9225"/>
                </a:lnTo>
                <a:lnTo>
                  <a:pt x="10737" y="9094"/>
                </a:lnTo>
                <a:lnTo>
                  <a:pt x="10806" y="8999"/>
                </a:lnTo>
                <a:lnTo>
                  <a:pt x="10905" y="8906"/>
                </a:lnTo>
                <a:lnTo>
                  <a:pt x="10969" y="8784"/>
                </a:lnTo>
                <a:lnTo>
                  <a:pt x="10992" y="8777"/>
                </a:lnTo>
                <a:lnTo>
                  <a:pt x="11008" y="8812"/>
                </a:lnTo>
                <a:lnTo>
                  <a:pt x="11025" y="8824"/>
                </a:lnTo>
                <a:lnTo>
                  <a:pt x="11049" y="8753"/>
                </a:lnTo>
                <a:lnTo>
                  <a:pt x="11043" y="8691"/>
                </a:lnTo>
                <a:lnTo>
                  <a:pt x="10976" y="8686"/>
                </a:lnTo>
                <a:lnTo>
                  <a:pt x="10896" y="8716"/>
                </a:lnTo>
                <a:lnTo>
                  <a:pt x="10849" y="8764"/>
                </a:lnTo>
                <a:lnTo>
                  <a:pt x="10839" y="8820"/>
                </a:lnTo>
                <a:lnTo>
                  <a:pt x="10830" y="8892"/>
                </a:lnTo>
                <a:lnTo>
                  <a:pt x="10802" y="8941"/>
                </a:lnTo>
                <a:lnTo>
                  <a:pt x="10736" y="8929"/>
                </a:lnTo>
                <a:lnTo>
                  <a:pt x="10747" y="8854"/>
                </a:lnTo>
                <a:lnTo>
                  <a:pt x="10787" y="8770"/>
                </a:lnTo>
                <a:lnTo>
                  <a:pt x="10839" y="8693"/>
                </a:lnTo>
                <a:lnTo>
                  <a:pt x="10890" y="8646"/>
                </a:lnTo>
                <a:lnTo>
                  <a:pt x="10902" y="8610"/>
                </a:lnTo>
                <a:lnTo>
                  <a:pt x="10905" y="8556"/>
                </a:lnTo>
                <a:lnTo>
                  <a:pt x="10934" y="8515"/>
                </a:lnTo>
                <a:lnTo>
                  <a:pt x="11030" y="8519"/>
                </a:lnTo>
                <a:lnTo>
                  <a:pt x="10965" y="8549"/>
                </a:lnTo>
                <a:lnTo>
                  <a:pt x="10960" y="8581"/>
                </a:lnTo>
                <a:lnTo>
                  <a:pt x="10992" y="8593"/>
                </a:lnTo>
                <a:lnTo>
                  <a:pt x="11035" y="8561"/>
                </a:lnTo>
                <a:lnTo>
                  <a:pt x="11063" y="8520"/>
                </a:lnTo>
                <a:lnTo>
                  <a:pt x="11029" y="8467"/>
                </a:lnTo>
                <a:lnTo>
                  <a:pt x="10999" y="8413"/>
                </a:lnTo>
                <a:lnTo>
                  <a:pt x="11041" y="8374"/>
                </a:lnTo>
                <a:lnTo>
                  <a:pt x="11077" y="8356"/>
                </a:lnTo>
                <a:lnTo>
                  <a:pt x="11059" y="8323"/>
                </a:lnTo>
                <a:lnTo>
                  <a:pt x="11017" y="8287"/>
                </a:lnTo>
                <a:lnTo>
                  <a:pt x="10984" y="8264"/>
                </a:lnTo>
                <a:lnTo>
                  <a:pt x="10943" y="8272"/>
                </a:lnTo>
                <a:lnTo>
                  <a:pt x="10891" y="8288"/>
                </a:lnTo>
                <a:lnTo>
                  <a:pt x="10860" y="8293"/>
                </a:lnTo>
                <a:lnTo>
                  <a:pt x="10882" y="8265"/>
                </a:lnTo>
                <a:lnTo>
                  <a:pt x="10909" y="8221"/>
                </a:lnTo>
                <a:lnTo>
                  <a:pt x="10956" y="8225"/>
                </a:lnTo>
                <a:lnTo>
                  <a:pt x="11009" y="8237"/>
                </a:lnTo>
                <a:lnTo>
                  <a:pt x="11060" y="8225"/>
                </a:lnTo>
                <a:lnTo>
                  <a:pt x="11062" y="8146"/>
                </a:lnTo>
                <a:lnTo>
                  <a:pt x="11088" y="8029"/>
                </a:lnTo>
                <a:lnTo>
                  <a:pt x="11125" y="7960"/>
                </a:lnTo>
                <a:lnTo>
                  <a:pt x="11157" y="8024"/>
                </a:lnTo>
                <a:lnTo>
                  <a:pt x="11189" y="8067"/>
                </a:lnTo>
                <a:lnTo>
                  <a:pt x="11200" y="8024"/>
                </a:lnTo>
                <a:lnTo>
                  <a:pt x="11218" y="7954"/>
                </a:lnTo>
                <a:lnTo>
                  <a:pt x="11273" y="7913"/>
                </a:lnTo>
                <a:lnTo>
                  <a:pt x="11327" y="7979"/>
                </a:lnTo>
                <a:lnTo>
                  <a:pt x="11346" y="8006"/>
                </a:lnTo>
                <a:lnTo>
                  <a:pt x="11363" y="7978"/>
                </a:lnTo>
                <a:lnTo>
                  <a:pt x="11412" y="7877"/>
                </a:lnTo>
                <a:lnTo>
                  <a:pt x="11399" y="7797"/>
                </a:lnTo>
                <a:lnTo>
                  <a:pt x="11374" y="7797"/>
                </a:lnTo>
                <a:lnTo>
                  <a:pt x="11341" y="7844"/>
                </a:lnTo>
                <a:lnTo>
                  <a:pt x="11304" y="7903"/>
                </a:lnTo>
                <a:lnTo>
                  <a:pt x="11288" y="7880"/>
                </a:lnTo>
                <a:lnTo>
                  <a:pt x="11259" y="7844"/>
                </a:lnTo>
                <a:lnTo>
                  <a:pt x="11223" y="7822"/>
                </a:lnTo>
                <a:lnTo>
                  <a:pt x="11195" y="7838"/>
                </a:lnTo>
                <a:lnTo>
                  <a:pt x="11181" y="7834"/>
                </a:lnTo>
                <a:lnTo>
                  <a:pt x="11181" y="7793"/>
                </a:lnTo>
                <a:lnTo>
                  <a:pt x="11195" y="7750"/>
                </a:lnTo>
                <a:lnTo>
                  <a:pt x="11223" y="7733"/>
                </a:lnTo>
                <a:lnTo>
                  <a:pt x="11249" y="7713"/>
                </a:lnTo>
                <a:lnTo>
                  <a:pt x="11240" y="7686"/>
                </a:lnTo>
                <a:lnTo>
                  <a:pt x="11222" y="7656"/>
                </a:lnTo>
                <a:lnTo>
                  <a:pt x="11221" y="7628"/>
                </a:lnTo>
                <a:lnTo>
                  <a:pt x="11249" y="7590"/>
                </a:lnTo>
                <a:lnTo>
                  <a:pt x="11244" y="7545"/>
                </a:lnTo>
                <a:lnTo>
                  <a:pt x="11227" y="7497"/>
                </a:lnTo>
                <a:lnTo>
                  <a:pt x="11225" y="7447"/>
                </a:lnTo>
                <a:lnTo>
                  <a:pt x="11253" y="7453"/>
                </a:lnTo>
                <a:lnTo>
                  <a:pt x="11282" y="7489"/>
                </a:lnTo>
                <a:lnTo>
                  <a:pt x="11307" y="7504"/>
                </a:lnTo>
                <a:lnTo>
                  <a:pt x="11324" y="7448"/>
                </a:lnTo>
                <a:lnTo>
                  <a:pt x="11391" y="7420"/>
                </a:lnTo>
                <a:lnTo>
                  <a:pt x="11455" y="7474"/>
                </a:lnTo>
                <a:lnTo>
                  <a:pt x="11521" y="7532"/>
                </a:lnTo>
                <a:lnTo>
                  <a:pt x="11599" y="7523"/>
                </a:lnTo>
                <a:lnTo>
                  <a:pt x="11665" y="7420"/>
                </a:lnTo>
                <a:lnTo>
                  <a:pt x="11683" y="7292"/>
                </a:lnTo>
                <a:lnTo>
                  <a:pt x="11640" y="7195"/>
                </a:lnTo>
                <a:lnTo>
                  <a:pt x="11520" y="7186"/>
                </a:lnTo>
                <a:lnTo>
                  <a:pt x="11460" y="7103"/>
                </a:lnTo>
                <a:lnTo>
                  <a:pt x="11357" y="7041"/>
                </a:lnTo>
                <a:lnTo>
                  <a:pt x="11245" y="7026"/>
                </a:lnTo>
                <a:lnTo>
                  <a:pt x="11157" y="7085"/>
                </a:lnTo>
                <a:lnTo>
                  <a:pt x="11183" y="7121"/>
                </a:lnTo>
                <a:lnTo>
                  <a:pt x="11281" y="7113"/>
                </a:lnTo>
                <a:lnTo>
                  <a:pt x="11363" y="7131"/>
                </a:lnTo>
                <a:lnTo>
                  <a:pt x="11339" y="7245"/>
                </a:lnTo>
                <a:lnTo>
                  <a:pt x="11301" y="7206"/>
                </a:lnTo>
                <a:lnTo>
                  <a:pt x="11265" y="7246"/>
                </a:lnTo>
                <a:lnTo>
                  <a:pt x="11234" y="7293"/>
                </a:lnTo>
                <a:lnTo>
                  <a:pt x="11206" y="7283"/>
                </a:lnTo>
                <a:lnTo>
                  <a:pt x="11241" y="7232"/>
                </a:lnTo>
                <a:lnTo>
                  <a:pt x="11227" y="7194"/>
                </a:lnTo>
                <a:lnTo>
                  <a:pt x="11184" y="7178"/>
                </a:lnTo>
                <a:lnTo>
                  <a:pt x="11130" y="7196"/>
                </a:lnTo>
                <a:lnTo>
                  <a:pt x="11099" y="7122"/>
                </a:lnTo>
                <a:lnTo>
                  <a:pt x="11031" y="6999"/>
                </a:lnTo>
                <a:lnTo>
                  <a:pt x="10993" y="6895"/>
                </a:lnTo>
                <a:lnTo>
                  <a:pt x="11046" y="6883"/>
                </a:lnTo>
                <a:lnTo>
                  <a:pt x="11119" y="7008"/>
                </a:lnTo>
                <a:lnTo>
                  <a:pt x="11146" y="6970"/>
                </a:lnTo>
                <a:lnTo>
                  <a:pt x="11157" y="6858"/>
                </a:lnTo>
                <a:lnTo>
                  <a:pt x="11189" y="6762"/>
                </a:lnTo>
                <a:lnTo>
                  <a:pt x="11227" y="6850"/>
                </a:lnTo>
                <a:lnTo>
                  <a:pt x="11264" y="6828"/>
                </a:lnTo>
                <a:lnTo>
                  <a:pt x="11311" y="6760"/>
                </a:lnTo>
                <a:lnTo>
                  <a:pt x="11380" y="6701"/>
                </a:lnTo>
                <a:lnTo>
                  <a:pt x="11391" y="6664"/>
                </a:lnTo>
                <a:lnTo>
                  <a:pt x="11369" y="6617"/>
                </a:lnTo>
                <a:lnTo>
                  <a:pt x="11355" y="6578"/>
                </a:lnTo>
                <a:lnTo>
                  <a:pt x="11393" y="6567"/>
                </a:lnTo>
                <a:lnTo>
                  <a:pt x="11477" y="6678"/>
                </a:lnTo>
                <a:lnTo>
                  <a:pt x="11506" y="6654"/>
                </a:lnTo>
                <a:lnTo>
                  <a:pt x="11477" y="6561"/>
                </a:lnTo>
                <a:lnTo>
                  <a:pt x="11386" y="6464"/>
                </a:lnTo>
                <a:lnTo>
                  <a:pt x="11399" y="6417"/>
                </a:lnTo>
                <a:lnTo>
                  <a:pt x="11416" y="6373"/>
                </a:lnTo>
                <a:lnTo>
                  <a:pt x="11425" y="6328"/>
                </a:lnTo>
                <a:lnTo>
                  <a:pt x="11418" y="6281"/>
                </a:lnTo>
                <a:lnTo>
                  <a:pt x="11439" y="6284"/>
                </a:lnTo>
                <a:lnTo>
                  <a:pt x="11448" y="6309"/>
                </a:lnTo>
                <a:lnTo>
                  <a:pt x="11455" y="6334"/>
                </a:lnTo>
                <a:lnTo>
                  <a:pt x="11472" y="6337"/>
                </a:lnTo>
                <a:lnTo>
                  <a:pt x="11497" y="6296"/>
                </a:lnTo>
                <a:lnTo>
                  <a:pt x="11493" y="6272"/>
                </a:lnTo>
                <a:lnTo>
                  <a:pt x="11467" y="6254"/>
                </a:lnTo>
                <a:lnTo>
                  <a:pt x="11426" y="6235"/>
                </a:lnTo>
                <a:lnTo>
                  <a:pt x="11432" y="6211"/>
                </a:lnTo>
                <a:lnTo>
                  <a:pt x="11440" y="6182"/>
                </a:lnTo>
                <a:lnTo>
                  <a:pt x="11435" y="6161"/>
                </a:lnTo>
                <a:lnTo>
                  <a:pt x="11408" y="6166"/>
                </a:lnTo>
                <a:lnTo>
                  <a:pt x="11361" y="6180"/>
                </a:lnTo>
                <a:lnTo>
                  <a:pt x="11304" y="6149"/>
                </a:lnTo>
                <a:lnTo>
                  <a:pt x="11248" y="6131"/>
                </a:lnTo>
                <a:lnTo>
                  <a:pt x="11204" y="6191"/>
                </a:lnTo>
                <a:lnTo>
                  <a:pt x="11188" y="6154"/>
                </a:lnTo>
                <a:lnTo>
                  <a:pt x="11180" y="6098"/>
                </a:lnTo>
                <a:lnTo>
                  <a:pt x="11189" y="6054"/>
                </a:lnTo>
                <a:lnTo>
                  <a:pt x="11221" y="6059"/>
                </a:lnTo>
                <a:lnTo>
                  <a:pt x="11203" y="6080"/>
                </a:lnTo>
                <a:lnTo>
                  <a:pt x="11213" y="6102"/>
                </a:lnTo>
                <a:lnTo>
                  <a:pt x="11237" y="6112"/>
                </a:lnTo>
                <a:lnTo>
                  <a:pt x="11260" y="6096"/>
                </a:lnTo>
                <a:lnTo>
                  <a:pt x="11273" y="6102"/>
                </a:lnTo>
                <a:lnTo>
                  <a:pt x="11287" y="6112"/>
                </a:lnTo>
                <a:lnTo>
                  <a:pt x="11299" y="6114"/>
                </a:lnTo>
                <a:lnTo>
                  <a:pt x="11307" y="6102"/>
                </a:lnTo>
                <a:lnTo>
                  <a:pt x="11292" y="6052"/>
                </a:lnTo>
                <a:lnTo>
                  <a:pt x="11325" y="6042"/>
                </a:lnTo>
                <a:lnTo>
                  <a:pt x="11380" y="6056"/>
                </a:lnTo>
                <a:lnTo>
                  <a:pt x="11432" y="6076"/>
                </a:lnTo>
                <a:lnTo>
                  <a:pt x="11507" y="6225"/>
                </a:lnTo>
                <a:lnTo>
                  <a:pt x="11537" y="6172"/>
                </a:lnTo>
                <a:lnTo>
                  <a:pt x="11562" y="6095"/>
                </a:lnTo>
                <a:lnTo>
                  <a:pt x="11630" y="6172"/>
                </a:lnTo>
                <a:lnTo>
                  <a:pt x="11637" y="6212"/>
                </a:lnTo>
                <a:lnTo>
                  <a:pt x="11665" y="6220"/>
                </a:lnTo>
                <a:lnTo>
                  <a:pt x="11701" y="6220"/>
                </a:lnTo>
                <a:lnTo>
                  <a:pt x="11733" y="6242"/>
                </a:lnTo>
                <a:lnTo>
                  <a:pt x="11766" y="6126"/>
                </a:lnTo>
                <a:lnTo>
                  <a:pt x="11712" y="5902"/>
                </a:lnTo>
                <a:lnTo>
                  <a:pt x="11628" y="5715"/>
                </a:lnTo>
                <a:lnTo>
                  <a:pt x="11565" y="5706"/>
                </a:lnTo>
                <a:lnTo>
                  <a:pt x="11571" y="5722"/>
                </a:lnTo>
                <a:lnTo>
                  <a:pt x="11576" y="5739"/>
                </a:lnTo>
                <a:lnTo>
                  <a:pt x="11574" y="5750"/>
                </a:lnTo>
                <a:lnTo>
                  <a:pt x="11553" y="5753"/>
                </a:lnTo>
                <a:lnTo>
                  <a:pt x="11482" y="5693"/>
                </a:lnTo>
                <a:lnTo>
                  <a:pt x="11427" y="5774"/>
                </a:lnTo>
                <a:lnTo>
                  <a:pt x="11394" y="5870"/>
                </a:lnTo>
                <a:lnTo>
                  <a:pt x="11391" y="5848"/>
                </a:lnTo>
                <a:lnTo>
                  <a:pt x="11411" y="5783"/>
                </a:lnTo>
                <a:lnTo>
                  <a:pt x="11362" y="5779"/>
                </a:lnTo>
                <a:lnTo>
                  <a:pt x="11332" y="5769"/>
                </a:lnTo>
                <a:lnTo>
                  <a:pt x="11402" y="5687"/>
                </a:lnTo>
                <a:lnTo>
                  <a:pt x="11418" y="5650"/>
                </a:lnTo>
                <a:lnTo>
                  <a:pt x="11361" y="5601"/>
                </a:lnTo>
                <a:lnTo>
                  <a:pt x="11296" y="5547"/>
                </a:lnTo>
                <a:lnTo>
                  <a:pt x="11286" y="5491"/>
                </a:lnTo>
                <a:lnTo>
                  <a:pt x="11318" y="5473"/>
                </a:lnTo>
                <a:lnTo>
                  <a:pt x="11347" y="5469"/>
                </a:lnTo>
                <a:lnTo>
                  <a:pt x="11376" y="5452"/>
                </a:lnTo>
                <a:lnTo>
                  <a:pt x="11408" y="5396"/>
                </a:lnTo>
                <a:lnTo>
                  <a:pt x="11431" y="5392"/>
                </a:lnTo>
                <a:lnTo>
                  <a:pt x="11453" y="5436"/>
                </a:lnTo>
                <a:lnTo>
                  <a:pt x="11469" y="5465"/>
                </a:lnTo>
                <a:lnTo>
                  <a:pt x="11478" y="5417"/>
                </a:lnTo>
                <a:lnTo>
                  <a:pt x="11464" y="5349"/>
                </a:lnTo>
                <a:lnTo>
                  <a:pt x="11390" y="5342"/>
                </a:lnTo>
                <a:lnTo>
                  <a:pt x="11304" y="5340"/>
                </a:lnTo>
                <a:lnTo>
                  <a:pt x="11249" y="5293"/>
                </a:lnTo>
                <a:lnTo>
                  <a:pt x="11295" y="5235"/>
                </a:lnTo>
                <a:lnTo>
                  <a:pt x="11295" y="5208"/>
                </a:lnTo>
                <a:lnTo>
                  <a:pt x="11262" y="5200"/>
                </a:lnTo>
                <a:lnTo>
                  <a:pt x="11204" y="5198"/>
                </a:lnTo>
                <a:lnTo>
                  <a:pt x="11214" y="5110"/>
                </a:lnTo>
                <a:lnTo>
                  <a:pt x="11203" y="5079"/>
                </a:lnTo>
                <a:lnTo>
                  <a:pt x="11164" y="5079"/>
                </a:lnTo>
                <a:lnTo>
                  <a:pt x="11087" y="5081"/>
                </a:lnTo>
                <a:lnTo>
                  <a:pt x="11064" y="5107"/>
                </a:lnTo>
                <a:lnTo>
                  <a:pt x="11073" y="5126"/>
                </a:lnTo>
                <a:lnTo>
                  <a:pt x="11096" y="5140"/>
                </a:lnTo>
                <a:lnTo>
                  <a:pt x="11120" y="5148"/>
                </a:lnTo>
                <a:lnTo>
                  <a:pt x="11068" y="5204"/>
                </a:lnTo>
                <a:lnTo>
                  <a:pt x="11078" y="5265"/>
                </a:lnTo>
                <a:lnTo>
                  <a:pt x="11129" y="5298"/>
                </a:lnTo>
                <a:lnTo>
                  <a:pt x="11199" y="5268"/>
                </a:lnTo>
                <a:lnTo>
                  <a:pt x="11167" y="5354"/>
                </a:lnTo>
                <a:lnTo>
                  <a:pt x="11170" y="5422"/>
                </a:lnTo>
                <a:lnTo>
                  <a:pt x="11132" y="5437"/>
                </a:lnTo>
                <a:lnTo>
                  <a:pt x="10974" y="5368"/>
                </a:lnTo>
                <a:lnTo>
                  <a:pt x="10925" y="5358"/>
                </a:lnTo>
                <a:lnTo>
                  <a:pt x="10910" y="5384"/>
                </a:lnTo>
                <a:lnTo>
                  <a:pt x="10923" y="5423"/>
                </a:lnTo>
                <a:lnTo>
                  <a:pt x="10957" y="5455"/>
                </a:lnTo>
                <a:lnTo>
                  <a:pt x="11026" y="5452"/>
                </a:lnTo>
                <a:lnTo>
                  <a:pt x="11093" y="5505"/>
                </a:lnTo>
                <a:lnTo>
                  <a:pt x="11114" y="5562"/>
                </a:lnTo>
                <a:lnTo>
                  <a:pt x="11043" y="5573"/>
                </a:lnTo>
                <a:lnTo>
                  <a:pt x="11018" y="5559"/>
                </a:lnTo>
                <a:lnTo>
                  <a:pt x="11008" y="5583"/>
                </a:lnTo>
                <a:lnTo>
                  <a:pt x="10997" y="5608"/>
                </a:lnTo>
                <a:lnTo>
                  <a:pt x="10969" y="5592"/>
                </a:lnTo>
                <a:lnTo>
                  <a:pt x="10957" y="5583"/>
                </a:lnTo>
                <a:lnTo>
                  <a:pt x="10947" y="5577"/>
                </a:lnTo>
                <a:lnTo>
                  <a:pt x="10937" y="5577"/>
                </a:lnTo>
                <a:lnTo>
                  <a:pt x="10928" y="5589"/>
                </a:lnTo>
                <a:lnTo>
                  <a:pt x="10913" y="5638"/>
                </a:lnTo>
                <a:lnTo>
                  <a:pt x="10886" y="5631"/>
                </a:lnTo>
                <a:lnTo>
                  <a:pt x="10862" y="5591"/>
                </a:lnTo>
                <a:lnTo>
                  <a:pt x="10850" y="5544"/>
                </a:lnTo>
                <a:lnTo>
                  <a:pt x="10783" y="5468"/>
                </a:lnTo>
                <a:lnTo>
                  <a:pt x="10817" y="5391"/>
                </a:lnTo>
                <a:lnTo>
                  <a:pt x="10868" y="5315"/>
                </a:lnTo>
                <a:lnTo>
                  <a:pt x="10852" y="5237"/>
                </a:lnTo>
                <a:lnTo>
                  <a:pt x="10797" y="5268"/>
                </a:lnTo>
                <a:lnTo>
                  <a:pt x="10789" y="5236"/>
                </a:lnTo>
                <a:lnTo>
                  <a:pt x="10787" y="5181"/>
                </a:lnTo>
                <a:lnTo>
                  <a:pt x="10748" y="5144"/>
                </a:lnTo>
                <a:lnTo>
                  <a:pt x="10718" y="5105"/>
                </a:lnTo>
                <a:lnTo>
                  <a:pt x="10734" y="5055"/>
                </a:lnTo>
                <a:lnTo>
                  <a:pt x="10766" y="5034"/>
                </a:lnTo>
                <a:lnTo>
                  <a:pt x="10783" y="5084"/>
                </a:lnTo>
                <a:lnTo>
                  <a:pt x="10895" y="5076"/>
                </a:lnTo>
                <a:lnTo>
                  <a:pt x="10993" y="5079"/>
                </a:lnTo>
                <a:lnTo>
                  <a:pt x="11018" y="5063"/>
                </a:lnTo>
                <a:lnTo>
                  <a:pt x="10913" y="4995"/>
                </a:lnTo>
                <a:lnTo>
                  <a:pt x="10880" y="4971"/>
                </a:lnTo>
                <a:lnTo>
                  <a:pt x="10855" y="4978"/>
                </a:lnTo>
                <a:lnTo>
                  <a:pt x="10831" y="4990"/>
                </a:lnTo>
                <a:lnTo>
                  <a:pt x="10795" y="4985"/>
                </a:lnTo>
                <a:lnTo>
                  <a:pt x="10736" y="4913"/>
                </a:lnTo>
                <a:lnTo>
                  <a:pt x="10718" y="4913"/>
                </a:lnTo>
                <a:lnTo>
                  <a:pt x="10696" y="4943"/>
                </a:lnTo>
                <a:lnTo>
                  <a:pt x="10624" y="4960"/>
                </a:lnTo>
                <a:lnTo>
                  <a:pt x="10606" y="4865"/>
                </a:lnTo>
                <a:lnTo>
                  <a:pt x="10557" y="4885"/>
                </a:lnTo>
                <a:lnTo>
                  <a:pt x="10496" y="4925"/>
                </a:lnTo>
                <a:lnTo>
                  <a:pt x="10441" y="4897"/>
                </a:lnTo>
                <a:lnTo>
                  <a:pt x="10436" y="4823"/>
                </a:lnTo>
                <a:lnTo>
                  <a:pt x="10514" y="4827"/>
                </a:lnTo>
                <a:lnTo>
                  <a:pt x="10624" y="4858"/>
                </a:lnTo>
                <a:lnTo>
                  <a:pt x="10711" y="4864"/>
                </a:lnTo>
                <a:lnTo>
                  <a:pt x="10717" y="4836"/>
                </a:lnTo>
                <a:lnTo>
                  <a:pt x="10711" y="4804"/>
                </a:lnTo>
                <a:lnTo>
                  <a:pt x="10696" y="4781"/>
                </a:lnTo>
                <a:lnTo>
                  <a:pt x="10669" y="4778"/>
                </a:lnTo>
                <a:lnTo>
                  <a:pt x="10601" y="4682"/>
                </a:lnTo>
                <a:lnTo>
                  <a:pt x="10562" y="4697"/>
                </a:lnTo>
                <a:lnTo>
                  <a:pt x="10529" y="4743"/>
                </a:lnTo>
                <a:lnTo>
                  <a:pt x="10471" y="4742"/>
                </a:lnTo>
                <a:lnTo>
                  <a:pt x="10583" y="4563"/>
                </a:lnTo>
                <a:lnTo>
                  <a:pt x="10723" y="4602"/>
                </a:lnTo>
                <a:lnTo>
                  <a:pt x="10832" y="4668"/>
                </a:lnTo>
                <a:lnTo>
                  <a:pt x="10850" y="4568"/>
                </a:lnTo>
                <a:lnTo>
                  <a:pt x="10888" y="4559"/>
                </a:lnTo>
                <a:lnTo>
                  <a:pt x="10900" y="4587"/>
                </a:lnTo>
                <a:lnTo>
                  <a:pt x="10905" y="4626"/>
                </a:lnTo>
                <a:lnTo>
                  <a:pt x="10927" y="4654"/>
                </a:lnTo>
                <a:lnTo>
                  <a:pt x="10958" y="4617"/>
                </a:lnTo>
                <a:lnTo>
                  <a:pt x="10993" y="4573"/>
                </a:lnTo>
                <a:lnTo>
                  <a:pt x="11018" y="4527"/>
                </a:lnTo>
                <a:lnTo>
                  <a:pt x="11026" y="4481"/>
                </a:lnTo>
                <a:lnTo>
                  <a:pt x="11077" y="4467"/>
                </a:lnTo>
                <a:lnTo>
                  <a:pt x="11127" y="4508"/>
                </a:lnTo>
                <a:lnTo>
                  <a:pt x="11170" y="4528"/>
                </a:lnTo>
                <a:lnTo>
                  <a:pt x="11198" y="4448"/>
                </a:lnTo>
                <a:lnTo>
                  <a:pt x="11202" y="4396"/>
                </a:lnTo>
                <a:lnTo>
                  <a:pt x="11199" y="4336"/>
                </a:lnTo>
                <a:lnTo>
                  <a:pt x="11189" y="4272"/>
                </a:lnTo>
                <a:lnTo>
                  <a:pt x="11169" y="4215"/>
                </a:lnTo>
                <a:lnTo>
                  <a:pt x="11087" y="4207"/>
                </a:lnTo>
                <a:lnTo>
                  <a:pt x="11079" y="4235"/>
                </a:lnTo>
                <a:lnTo>
                  <a:pt x="11095" y="4277"/>
                </a:lnTo>
                <a:lnTo>
                  <a:pt x="11083" y="4312"/>
                </a:lnTo>
                <a:lnTo>
                  <a:pt x="11002" y="4270"/>
                </a:lnTo>
                <a:lnTo>
                  <a:pt x="10925" y="4285"/>
                </a:lnTo>
                <a:lnTo>
                  <a:pt x="10873" y="4272"/>
                </a:lnTo>
                <a:lnTo>
                  <a:pt x="10860" y="4149"/>
                </a:lnTo>
                <a:lnTo>
                  <a:pt x="10885" y="4097"/>
                </a:lnTo>
                <a:lnTo>
                  <a:pt x="10868" y="4036"/>
                </a:lnTo>
                <a:lnTo>
                  <a:pt x="10825" y="3983"/>
                </a:lnTo>
                <a:lnTo>
                  <a:pt x="10770" y="3955"/>
                </a:lnTo>
                <a:lnTo>
                  <a:pt x="10748" y="4002"/>
                </a:lnTo>
                <a:lnTo>
                  <a:pt x="10741" y="4076"/>
                </a:lnTo>
                <a:lnTo>
                  <a:pt x="10724" y="4136"/>
                </a:lnTo>
                <a:lnTo>
                  <a:pt x="10674" y="4141"/>
                </a:lnTo>
                <a:lnTo>
                  <a:pt x="10607" y="4137"/>
                </a:lnTo>
                <a:lnTo>
                  <a:pt x="10582" y="4104"/>
                </a:lnTo>
                <a:lnTo>
                  <a:pt x="10569" y="4055"/>
                </a:lnTo>
                <a:lnTo>
                  <a:pt x="10542" y="4000"/>
                </a:lnTo>
                <a:lnTo>
                  <a:pt x="10486" y="4030"/>
                </a:lnTo>
                <a:lnTo>
                  <a:pt x="10477" y="4000"/>
                </a:lnTo>
                <a:lnTo>
                  <a:pt x="10494" y="3940"/>
                </a:lnTo>
                <a:lnTo>
                  <a:pt x="10518" y="3880"/>
                </a:lnTo>
                <a:lnTo>
                  <a:pt x="10569" y="3879"/>
                </a:lnTo>
                <a:lnTo>
                  <a:pt x="10616" y="3931"/>
                </a:lnTo>
                <a:lnTo>
                  <a:pt x="10653" y="3971"/>
                </a:lnTo>
                <a:lnTo>
                  <a:pt x="10678" y="3925"/>
                </a:lnTo>
                <a:lnTo>
                  <a:pt x="10718" y="3888"/>
                </a:lnTo>
                <a:lnTo>
                  <a:pt x="10663" y="3840"/>
                </a:lnTo>
                <a:lnTo>
                  <a:pt x="10610" y="3803"/>
                </a:lnTo>
                <a:lnTo>
                  <a:pt x="10652" y="3803"/>
                </a:lnTo>
                <a:lnTo>
                  <a:pt x="10681" y="3786"/>
                </a:lnTo>
                <a:lnTo>
                  <a:pt x="10673" y="3747"/>
                </a:lnTo>
                <a:lnTo>
                  <a:pt x="10657" y="3705"/>
                </a:lnTo>
                <a:lnTo>
                  <a:pt x="10662" y="3679"/>
                </a:lnTo>
                <a:lnTo>
                  <a:pt x="10717" y="3660"/>
                </a:lnTo>
                <a:lnTo>
                  <a:pt x="10700" y="3628"/>
                </a:lnTo>
                <a:lnTo>
                  <a:pt x="10678" y="3605"/>
                </a:lnTo>
                <a:lnTo>
                  <a:pt x="10719" y="3614"/>
                </a:lnTo>
                <a:lnTo>
                  <a:pt x="10750" y="3708"/>
                </a:lnTo>
                <a:lnTo>
                  <a:pt x="10809" y="3745"/>
                </a:lnTo>
                <a:lnTo>
                  <a:pt x="10840" y="3719"/>
                </a:lnTo>
                <a:lnTo>
                  <a:pt x="10780" y="3619"/>
                </a:lnTo>
                <a:lnTo>
                  <a:pt x="10811" y="3601"/>
                </a:lnTo>
                <a:lnTo>
                  <a:pt x="10837" y="3594"/>
                </a:lnTo>
                <a:lnTo>
                  <a:pt x="10855" y="3604"/>
                </a:lnTo>
                <a:lnTo>
                  <a:pt x="10859" y="3638"/>
                </a:lnTo>
                <a:lnTo>
                  <a:pt x="10947" y="3707"/>
                </a:lnTo>
                <a:lnTo>
                  <a:pt x="10961" y="3669"/>
                </a:lnTo>
                <a:lnTo>
                  <a:pt x="10928" y="3580"/>
                </a:lnTo>
                <a:lnTo>
                  <a:pt x="10871" y="3497"/>
                </a:lnTo>
                <a:lnTo>
                  <a:pt x="10815" y="3487"/>
                </a:lnTo>
                <a:lnTo>
                  <a:pt x="10774" y="3519"/>
                </a:lnTo>
                <a:lnTo>
                  <a:pt x="10734" y="3547"/>
                </a:lnTo>
                <a:lnTo>
                  <a:pt x="10685" y="3521"/>
                </a:lnTo>
                <a:lnTo>
                  <a:pt x="10654" y="3561"/>
                </a:lnTo>
                <a:lnTo>
                  <a:pt x="10616" y="3530"/>
                </a:lnTo>
                <a:lnTo>
                  <a:pt x="10587" y="3507"/>
                </a:lnTo>
                <a:lnTo>
                  <a:pt x="10579" y="3570"/>
                </a:lnTo>
                <a:lnTo>
                  <a:pt x="10513" y="3643"/>
                </a:lnTo>
                <a:lnTo>
                  <a:pt x="10483" y="3643"/>
                </a:lnTo>
                <a:lnTo>
                  <a:pt x="10448" y="3589"/>
                </a:lnTo>
                <a:lnTo>
                  <a:pt x="10361" y="3502"/>
                </a:lnTo>
                <a:lnTo>
                  <a:pt x="10305" y="3498"/>
                </a:lnTo>
                <a:lnTo>
                  <a:pt x="10296" y="3540"/>
                </a:lnTo>
                <a:lnTo>
                  <a:pt x="10299" y="3593"/>
                </a:lnTo>
                <a:lnTo>
                  <a:pt x="10277" y="3617"/>
                </a:lnTo>
                <a:lnTo>
                  <a:pt x="10241" y="3562"/>
                </a:lnTo>
                <a:lnTo>
                  <a:pt x="10197" y="3553"/>
                </a:lnTo>
                <a:lnTo>
                  <a:pt x="10154" y="3543"/>
                </a:lnTo>
                <a:lnTo>
                  <a:pt x="10124" y="3484"/>
                </a:lnTo>
                <a:lnTo>
                  <a:pt x="10054" y="3422"/>
                </a:lnTo>
                <a:lnTo>
                  <a:pt x="10000" y="3440"/>
                </a:lnTo>
                <a:lnTo>
                  <a:pt x="9950" y="3502"/>
                </a:lnTo>
                <a:lnTo>
                  <a:pt x="9900" y="3573"/>
                </a:lnTo>
                <a:lnTo>
                  <a:pt x="9949" y="3615"/>
                </a:lnTo>
                <a:lnTo>
                  <a:pt x="9977" y="3680"/>
                </a:lnTo>
                <a:lnTo>
                  <a:pt x="9974" y="3730"/>
                </a:lnTo>
                <a:lnTo>
                  <a:pt x="9929" y="3721"/>
                </a:lnTo>
                <a:lnTo>
                  <a:pt x="9933" y="3633"/>
                </a:lnTo>
                <a:lnTo>
                  <a:pt x="9885" y="3628"/>
                </a:lnTo>
                <a:lnTo>
                  <a:pt x="9814" y="3640"/>
                </a:lnTo>
                <a:lnTo>
                  <a:pt x="9750" y="3600"/>
                </a:lnTo>
                <a:lnTo>
                  <a:pt x="9768" y="3585"/>
                </a:lnTo>
                <a:lnTo>
                  <a:pt x="9805" y="3579"/>
                </a:lnTo>
                <a:lnTo>
                  <a:pt x="9838" y="3567"/>
                </a:lnTo>
                <a:lnTo>
                  <a:pt x="9848" y="3537"/>
                </a:lnTo>
                <a:lnTo>
                  <a:pt x="9763" y="3447"/>
                </a:lnTo>
                <a:lnTo>
                  <a:pt x="9778" y="3413"/>
                </a:lnTo>
                <a:lnTo>
                  <a:pt x="9810" y="3374"/>
                </a:lnTo>
                <a:lnTo>
                  <a:pt x="9773" y="3273"/>
                </a:lnTo>
                <a:lnTo>
                  <a:pt x="9867" y="3267"/>
                </a:lnTo>
                <a:lnTo>
                  <a:pt x="10007" y="3349"/>
                </a:lnTo>
                <a:lnTo>
                  <a:pt x="10122" y="3423"/>
                </a:lnTo>
                <a:lnTo>
                  <a:pt x="10146" y="3391"/>
                </a:lnTo>
                <a:lnTo>
                  <a:pt x="10132" y="3374"/>
                </a:lnTo>
                <a:lnTo>
                  <a:pt x="10146" y="3352"/>
                </a:lnTo>
                <a:lnTo>
                  <a:pt x="10163" y="3329"/>
                </a:lnTo>
                <a:lnTo>
                  <a:pt x="10159" y="3304"/>
                </a:lnTo>
                <a:lnTo>
                  <a:pt x="10160" y="3267"/>
                </a:lnTo>
                <a:lnTo>
                  <a:pt x="10193" y="3259"/>
                </a:lnTo>
                <a:lnTo>
                  <a:pt x="10236" y="3262"/>
                </a:lnTo>
                <a:lnTo>
                  <a:pt x="10270" y="3250"/>
                </a:lnTo>
                <a:lnTo>
                  <a:pt x="10261" y="3174"/>
                </a:lnTo>
                <a:lnTo>
                  <a:pt x="10290" y="3147"/>
                </a:lnTo>
                <a:lnTo>
                  <a:pt x="10329" y="3133"/>
                </a:lnTo>
                <a:lnTo>
                  <a:pt x="10348" y="3096"/>
                </a:lnTo>
                <a:lnTo>
                  <a:pt x="10324" y="3072"/>
                </a:lnTo>
                <a:lnTo>
                  <a:pt x="10290" y="3081"/>
                </a:lnTo>
                <a:lnTo>
                  <a:pt x="10250" y="3087"/>
                </a:lnTo>
                <a:lnTo>
                  <a:pt x="10210" y="3055"/>
                </a:lnTo>
                <a:lnTo>
                  <a:pt x="10241" y="3032"/>
                </a:lnTo>
                <a:lnTo>
                  <a:pt x="10230" y="2985"/>
                </a:lnTo>
                <a:lnTo>
                  <a:pt x="10194" y="2936"/>
                </a:lnTo>
                <a:lnTo>
                  <a:pt x="10152" y="2913"/>
                </a:lnTo>
                <a:lnTo>
                  <a:pt x="10142" y="2927"/>
                </a:lnTo>
                <a:lnTo>
                  <a:pt x="10137" y="2942"/>
                </a:lnTo>
                <a:lnTo>
                  <a:pt x="10128" y="2951"/>
                </a:lnTo>
                <a:lnTo>
                  <a:pt x="10109" y="2946"/>
                </a:lnTo>
                <a:lnTo>
                  <a:pt x="10087" y="2964"/>
                </a:lnTo>
                <a:lnTo>
                  <a:pt x="10101" y="3004"/>
                </a:lnTo>
                <a:lnTo>
                  <a:pt x="10118" y="3050"/>
                </a:lnTo>
                <a:lnTo>
                  <a:pt x="10110" y="3083"/>
                </a:lnTo>
                <a:lnTo>
                  <a:pt x="10081" y="3103"/>
                </a:lnTo>
                <a:lnTo>
                  <a:pt x="10048" y="3092"/>
                </a:lnTo>
                <a:lnTo>
                  <a:pt x="10020" y="3086"/>
                </a:lnTo>
                <a:lnTo>
                  <a:pt x="10006" y="3118"/>
                </a:lnTo>
                <a:lnTo>
                  <a:pt x="10064" y="3243"/>
                </a:lnTo>
                <a:lnTo>
                  <a:pt x="9979" y="3241"/>
                </a:lnTo>
                <a:lnTo>
                  <a:pt x="9834" y="3181"/>
                </a:lnTo>
                <a:lnTo>
                  <a:pt x="9710" y="3125"/>
                </a:lnTo>
                <a:lnTo>
                  <a:pt x="9712" y="3156"/>
                </a:lnTo>
                <a:lnTo>
                  <a:pt x="9700" y="3174"/>
                </a:lnTo>
                <a:lnTo>
                  <a:pt x="9680" y="3176"/>
                </a:lnTo>
                <a:lnTo>
                  <a:pt x="9656" y="3161"/>
                </a:lnTo>
                <a:lnTo>
                  <a:pt x="9638" y="3198"/>
                </a:lnTo>
                <a:lnTo>
                  <a:pt x="9656" y="3290"/>
                </a:lnTo>
                <a:lnTo>
                  <a:pt x="9662" y="3360"/>
                </a:lnTo>
                <a:lnTo>
                  <a:pt x="9605" y="3332"/>
                </a:lnTo>
                <a:lnTo>
                  <a:pt x="9541" y="3274"/>
                </a:lnTo>
                <a:lnTo>
                  <a:pt x="9545" y="3258"/>
                </a:lnTo>
                <a:lnTo>
                  <a:pt x="9577" y="3244"/>
                </a:lnTo>
                <a:lnTo>
                  <a:pt x="9600" y="3193"/>
                </a:lnTo>
                <a:lnTo>
                  <a:pt x="9596" y="3165"/>
                </a:lnTo>
                <a:lnTo>
                  <a:pt x="9579" y="3142"/>
                </a:lnTo>
                <a:lnTo>
                  <a:pt x="9559" y="3123"/>
                </a:lnTo>
                <a:lnTo>
                  <a:pt x="9540" y="3099"/>
                </a:lnTo>
                <a:lnTo>
                  <a:pt x="9575" y="3064"/>
                </a:lnTo>
                <a:lnTo>
                  <a:pt x="9561" y="3046"/>
                </a:lnTo>
                <a:lnTo>
                  <a:pt x="9531" y="3035"/>
                </a:lnTo>
                <a:lnTo>
                  <a:pt x="9514" y="3013"/>
                </a:lnTo>
                <a:lnTo>
                  <a:pt x="9537" y="2968"/>
                </a:lnTo>
                <a:lnTo>
                  <a:pt x="9581" y="2924"/>
                </a:lnTo>
                <a:lnTo>
                  <a:pt x="9625" y="2905"/>
                </a:lnTo>
                <a:lnTo>
                  <a:pt x="9649" y="2936"/>
                </a:lnTo>
                <a:lnTo>
                  <a:pt x="9680" y="2924"/>
                </a:lnTo>
                <a:lnTo>
                  <a:pt x="9703" y="2891"/>
                </a:lnTo>
                <a:lnTo>
                  <a:pt x="9705" y="2854"/>
                </a:lnTo>
                <a:lnTo>
                  <a:pt x="9674" y="2836"/>
                </a:lnTo>
                <a:lnTo>
                  <a:pt x="9635" y="2791"/>
                </a:lnTo>
                <a:lnTo>
                  <a:pt x="9681" y="2779"/>
                </a:lnTo>
                <a:lnTo>
                  <a:pt x="9761" y="2788"/>
                </a:lnTo>
                <a:lnTo>
                  <a:pt x="9824" y="2805"/>
                </a:lnTo>
                <a:lnTo>
                  <a:pt x="9817" y="2758"/>
                </a:lnTo>
                <a:lnTo>
                  <a:pt x="9722" y="2709"/>
                </a:lnTo>
                <a:lnTo>
                  <a:pt x="9621" y="2647"/>
                </a:lnTo>
                <a:lnTo>
                  <a:pt x="9597" y="2554"/>
                </a:lnTo>
                <a:lnTo>
                  <a:pt x="9545" y="2495"/>
                </a:lnTo>
                <a:lnTo>
                  <a:pt x="9551" y="2471"/>
                </a:lnTo>
                <a:lnTo>
                  <a:pt x="9568" y="2451"/>
                </a:lnTo>
                <a:lnTo>
                  <a:pt x="9545" y="2400"/>
                </a:lnTo>
                <a:lnTo>
                  <a:pt x="9587" y="2433"/>
                </a:lnTo>
                <a:lnTo>
                  <a:pt x="9629" y="2452"/>
                </a:lnTo>
                <a:lnTo>
                  <a:pt x="9656" y="2478"/>
                </a:lnTo>
                <a:lnTo>
                  <a:pt x="9656" y="2527"/>
                </a:lnTo>
                <a:lnTo>
                  <a:pt x="9705" y="2550"/>
                </a:lnTo>
                <a:lnTo>
                  <a:pt x="9735" y="2516"/>
                </a:lnTo>
                <a:lnTo>
                  <a:pt x="9732" y="2469"/>
                </a:lnTo>
                <a:lnTo>
                  <a:pt x="9689" y="2451"/>
                </a:lnTo>
                <a:lnTo>
                  <a:pt x="9614" y="2397"/>
                </a:lnTo>
                <a:lnTo>
                  <a:pt x="9586" y="2372"/>
                </a:lnTo>
                <a:lnTo>
                  <a:pt x="9581" y="2331"/>
                </a:lnTo>
                <a:lnTo>
                  <a:pt x="9572" y="2236"/>
                </a:lnTo>
                <a:lnTo>
                  <a:pt x="9560" y="2210"/>
                </a:lnTo>
                <a:lnTo>
                  <a:pt x="9523" y="2208"/>
                </a:lnTo>
                <a:lnTo>
                  <a:pt x="9481" y="2203"/>
                </a:lnTo>
                <a:lnTo>
                  <a:pt x="9456" y="2169"/>
                </a:lnTo>
                <a:lnTo>
                  <a:pt x="9419" y="2159"/>
                </a:lnTo>
                <a:lnTo>
                  <a:pt x="9378" y="2157"/>
                </a:lnTo>
                <a:lnTo>
                  <a:pt x="9342" y="2148"/>
                </a:lnTo>
                <a:lnTo>
                  <a:pt x="9326" y="2115"/>
                </a:lnTo>
                <a:lnTo>
                  <a:pt x="9304" y="2122"/>
                </a:lnTo>
                <a:lnTo>
                  <a:pt x="9309" y="2178"/>
                </a:lnTo>
                <a:lnTo>
                  <a:pt x="9304" y="2239"/>
                </a:lnTo>
                <a:lnTo>
                  <a:pt x="9253" y="2265"/>
                </a:lnTo>
                <a:lnTo>
                  <a:pt x="9244" y="2294"/>
                </a:lnTo>
                <a:lnTo>
                  <a:pt x="9242" y="2312"/>
                </a:lnTo>
                <a:lnTo>
                  <a:pt x="9230" y="2318"/>
                </a:lnTo>
                <a:lnTo>
                  <a:pt x="9197" y="2316"/>
                </a:lnTo>
                <a:lnTo>
                  <a:pt x="9141" y="2281"/>
                </a:lnTo>
                <a:lnTo>
                  <a:pt x="9103" y="2320"/>
                </a:lnTo>
                <a:lnTo>
                  <a:pt x="9066" y="2367"/>
                </a:lnTo>
                <a:lnTo>
                  <a:pt x="9015" y="2360"/>
                </a:lnTo>
                <a:lnTo>
                  <a:pt x="9044" y="2299"/>
                </a:lnTo>
                <a:lnTo>
                  <a:pt x="9080" y="2281"/>
                </a:lnTo>
                <a:lnTo>
                  <a:pt x="9070" y="2265"/>
                </a:lnTo>
                <a:lnTo>
                  <a:pt x="8968" y="2211"/>
                </a:lnTo>
                <a:lnTo>
                  <a:pt x="8979" y="2078"/>
                </a:lnTo>
                <a:lnTo>
                  <a:pt x="9050" y="2056"/>
                </a:lnTo>
                <a:lnTo>
                  <a:pt x="9132" y="2075"/>
                </a:lnTo>
                <a:lnTo>
                  <a:pt x="9179" y="2060"/>
                </a:lnTo>
                <a:lnTo>
                  <a:pt x="9232" y="2065"/>
                </a:lnTo>
                <a:lnTo>
                  <a:pt x="9266" y="2052"/>
                </a:lnTo>
                <a:lnTo>
                  <a:pt x="9271" y="2022"/>
                </a:lnTo>
                <a:lnTo>
                  <a:pt x="9238" y="1973"/>
                </a:lnTo>
                <a:lnTo>
                  <a:pt x="9304" y="1989"/>
                </a:lnTo>
                <a:lnTo>
                  <a:pt x="9311" y="1977"/>
                </a:lnTo>
                <a:lnTo>
                  <a:pt x="9307" y="1953"/>
                </a:lnTo>
                <a:lnTo>
                  <a:pt x="9346" y="1929"/>
                </a:lnTo>
                <a:lnTo>
                  <a:pt x="9409" y="1930"/>
                </a:lnTo>
                <a:lnTo>
                  <a:pt x="9398" y="1940"/>
                </a:lnTo>
                <a:lnTo>
                  <a:pt x="9359" y="1972"/>
                </a:lnTo>
                <a:lnTo>
                  <a:pt x="9330" y="2032"/>
                </a:lnTo>
                <a:lnTo>
                  <a:pt x="9401" y="2074"/>
                </a:lnTo>
                <a:lnTo>
                  <a:pt x="9503" y="2103"/>
                </a:lnTo>
                <a:lnTo>
                  <a:pt x="9612" y="2113"/>
                </a:lnTo>
                <a:lnTo>
                  <a:pt x="9710" y="2101"/>
                </a:lnTo>
                <a:lnTo>
                  <a:pt x="9737" y="2049"/>
                </a:lnTo>
                <a:lnTo>
                  <a:pt x="9709" y="2022"/>
                </a:lnTo>
                <a:lnTo>
                  <a:pt x="9658" y="2004"/>
                </a:lnTo>
                <a:lnTo>
                  <a:pt x="9617" y="1971"/>
                </a:lnTo>
                <a:lnTo>
                  <a:pt x="9586" y="1945"/>
                </a:lnTo>
                <a:lnTo>
                  <a:pt x="9546" y="1919"/>
                </a:lnTo>
                <a:lnTo>
                  <a:pt x="9530" y="1898"/>
                </a:lnTo>
                <a:lnTo>
                  <a:pt x="9565" y="1888"/>
                </a:lnTo>
                <a:lnTo>
                  <a:pt x="9609" y="1863"/>
                </a:lnTo>
                <a:lnTo>
                  <a:pt x="9638" y="1836"/>
                </a:lnTo>
                <a:lnTo>
                  <a:pt x="9672" y="1824"/>
                </a:lnTo>
                <a:lnTo>
                  <a:pt x="9731" y="1852"/>
                </a:lnTo>
                <a:lnTo>
                  <a:pt x="9710" y="1909"/>
                </a:lnTo>
                <a:lnTo>
                  <a:pt x="9736" y="1943"/>
                </a:lnTo>
                <a:lnTo>
                  <a:pt x="9792" y="1954"/>
                </a:lnTo>
                <a:lnTo>
                  <a:pt x="9867" y="1937"/>
                </a:lnTo>
                <a:lnTo>
                  <a:pt x="9905" y="1951"/>
                </a:lnTo>
                <a:lnTo>
                  <a:pt x="9923" y="1939"/>
                </a:lnTo>
                <a:lnTo>
                  <a:pt x="9924" y="1910"/>
                </a:lnTo>
                <a:lnTo>
                  <a:pt x="9915" y="1875"/>
                </a:lnTo>
                <a:lnTo>
                  <a:pt x="9937" y="1840"/>
                </a:lnTo>
                <a:lnTo>
                  <a:pt x="9901" y="1823"/>
                </a:lnTo>
                <a:lnTo>
                  <a:pt x="9849" y="1813"/>
                </a:lnTo>
                <a:lnTo>
                  <a:pt x="9823" y="1790"/>
                </a:lnTo>
                <a:lnTo>
                  <a:pt x="9751" y="1700"/>
                </a:lnTo>
                <a:lnTo>
                  <a:pt x="9646" y="1676"/>
                </a:lnTo>
                <a:lnTo>
                  <a:pt x="9528" y="1678"/>
                </a:lnTo>
                <a:lnTo>
                  <a:pt x="9423" y="1672"/>
                </a:lnTo>
                <a:lnTo>
                  <a:pt x="9387" y="1645"/>
                </a:lnTo>
                <a:lnTo>
                  <a:pt x="9351" y="1622"/>
                </a:lnTo>
                <a:lnTo>
                  <a:pt x="9316" y="1617"/>
                </a:lnTo>
                <a:lnTo>
                  <a:pt x="9275" y="1642"/>
                </a:lnTo>
                <a:lnTo>
                  <a:pt x="9234" y="1636"/>
                </a:lnTo>
                <a:lnTo>
                  <a:pt x="9193" y="1604"/>
                </a:lnTo>
                <a:lnTo>
                  <a:pt x="9156" y="1584"/>
                </a:lnTo>
                <a:lnTo>
                  <a:pt x="9126" y="1608"/>
                </a:lnTo>
                <a:lnTo>
                  <a:pt x="9108" y="1621"/>
                </a:lnTo>
                <a:lnTo>
                  <a:pt x="9097" y="1607"/>
                </a:lnTo>
                <a:lnTo>
                  <a:pt x="9097" y="1584"/>
                </a:lnTo>
                <a:lnTo>
                  <a:pt x="9112" y="1567"/>
                </a:lnTo>
                <a:lnTo>
                  <a:pt x="9196" y="1564"/>
                </a:lnTo>
                <a:lnTo>
                  <a:pt x="9243" y="1528"/>
                </a:lnTo>
                <a:lnTo>
                  <a:pt x="9237" y="1492"/>
                </a:lnTo>
                <a:lnTo>
                  <a:pt x="9162" y="1490"/>
                </a:lnTo>
                <a:lnTo>
                  <a:pt x="9135" y="1497"/>
                </a:lnTo>
                <a:lnTo>
                  <a:pt x="9118" y="1460"/>
                </a:lnTo>
                <a:lnTo>
                  <a:pt x="9123" y="1417"/>
                </a:lnTo>
                <a:lnTo>
                  <a:pt x="9158" y="1402"/>
                </a:lnTo>
                <a:lnTo>
                  <a:pt x="9188" y="1359"/>
                </a:lnTo>
                <a:lnTo>
                  <a:pt x="9237" y="1355"/>
                </a:lnTo>
                <a:lnTo>
                  <a:pt x="9297" y="1368"/>
                </a:lnTo>
                <a:lnTo>
                  <a:pt x="9360" y="1378"/>
                </a:lnTo>
                <a:lnTo>
                  <a:pt x="9452" y="1401"/>
                </a:lnTo>
                <a:lnTo>
                  <a:pt x="9363" y="1341"/>
                </a:lnTo>
                <a:lnTo>
                  <a:pt x="9209" y="1254"/>
                </a:lnTo>
                <a:lnTo>
                  <a:pt x="9106" y="1196"/>
                </a:lnTo>
                <a:lnTo>
                  <a:pt x="9010" y="1178"/>
                </a:lnTo>
                <a:lnTo>
                  <a:pt x="8971" y="1137"/>
                </a:lnTo>
                <a:lnTo>
                  <a:pt x="8948" y="1077"/>
                </a:lnTo>
                <a:lnTo>
                  <a:pt x="8897" y="1005"/>
                </a:lnTo>
                <a:lnTo>
                  <a:pt x="8844" y="1030"/>
                </a:lnTo>
                <a:lnTo>
                  <a:pt x="8804" y="1067"/>
                </a:lnTo>
                <a:lnTo>
                  <a:pt x="8759" y="1090"/>
                </a:lnTo>
                <a:lnTo>
                  <a:pt x="8693" y="1072"/>
                </a:lnTo>
                <a:lnTo>
                  <a:pt x="8670" y="1115"/>
                </a:lnTo>
                <a:lnTo>
                  <a:pt x="8774" y="1129"/>
                </a:lnTo>
                <a:lnTo>
                  <a:pt x="8892" y="1141"/>
                </a:lnTo>
                <a:lnTo>
                  <a:pt x="8904" y="1178"/>
                </a:lnTo>
                <a:lnTo>
                  <a:pt x="8774" y="1206"/>
                </a:lnTo>
                <a:lnTo>
                  <a:pt x="8697" y="1182"/>
                </a:lnTo>
                <a:lnTo>
                  <a:pt x="8648" y="1245"/>
                </a:lnTo>
                <a:lnTo>
                  <a:pt x="8608" y="1537"/>
                </a:lnTo>
                <a:lnTo>
                  <a:pt x="8713" y="1434"/>
                </a:lnTo>
                <a:lnTo>
                  <a:pt x="8739" y="1459"/>
                </a:lnTo>
                <a:lnTo>
                  <a:pt x="8746" y="1511"/>
                </a:lnTo>
                <a:lnTo>
                  <a:pt x="8799" y="1491"/>
                </a:lnTo>
                <a:lnTo>
                  <a:pt x="8819" y="1486"/>
                </a:lnTo>
                <a:lnTo>
                  <a:pt x="8839" y="1491"/>
                </a:lnTo>
                <a:lnTo>
                  <a:pt x="8855" y="1491"/>
                </a:lnTo>
                <a:lnTo>
                  <a:pt x="8860" y="1474"/>
                </a:lnTo>
                <a:lnTo>
                  <a:pt x="8884" y="1373"/>
                </a:lnTo>
                <a:lnTo>
                  <a:pt x="8960" y="1382"/>
                </a:lnTo>
                <a:lnTo>
                  <a:pt x="9034" y="1463"/>
                </a:lnTo>
                <a:lnTo>
                  <a:pt x="9051" y="1579"/>
                </a:lnTo>
                <a:lnTo>
                  <a:pt x="9079" y="1653"/>
                </a:lnTo>
                <a:lnTo>
                  <a:pt x="9136" y="1726"/>
                </a:lnTo>
                <a:lnTo>
                  <a:pt x="9162" y="1770"/>
                </a:lnTo>
                <a:lnTo>
                  <a:pt x="9094" y="1754"/>
                </a:lnTo>
                <a:lnTo>
                  <a:pt x="9081" y="1733"/>
                </a:lnTo>
                <a:lnTo>
                  <a:pt x="9061" y="1724"/>
                </a:lnTo>
                <a:lnTo>
                  <a:pt x="9038" y="1726"/>
                </a:lnTo>
                <a:lnTo>
                  <a:pt x="9018" y="1740"/>
                </a:lnTo>
                <a:lnTo>
                  <a:pt x="8969" y="1772"/>
                </a:lnTo>
                <a:lnTo>
                  <a:pt x="8986" y="1821"/>
                </a:lnTo>
                <a:lnTo>
                  <a:pt x="8988" y="1856"/>
                </a:lnTo>
                <a:lnTo>
                  <a:pt x="8901" y="1851"/>
                </a:lnTo>
                <a:lnTo>
                  <a:pt x="8889" y="1873"/>
                </a:lnTo>
                <a:lnTo>
                  <a:pt x="8883" y="1884"/>
                </a:lnTo>
                <a:lnTo>
                  <a:pt x="8879" y="1879"/>
                </a:lnTo>
                <a:lnTo>
                  <a:pt x="8875" y="1858"/>
                </a:lnTo>
                <a:lnTo>
                  <a:pt x="8861" y="1817"/>
                </a:lnTo>
                <a:lnTo>
                  <a:pt x="8808" y="1796"/>
                </a:lnTo>
                <a:lnTo>
                  <a:pt x="8764" y="1775"/>
                </a:lnTo>
                <a:lnTo>
                  <a:pt x="8782" y="1726"/>
                </a:lnTo>
                <a:lnTo>
                  <a:pt x="8760" y="1676"/>
                </a:lnTo>
                <a:lnTo>
                  <a:pt x="8723" y="1682"/>
                </a:lnTo>
                <a:lnTo>
                  <a:pt x="8674" y="1706"/>
                </a:lnTo>
                <a:lnTo>
                  <a:pt x="8614" y="1704"/>
                </a:lnTo>
                <a:lnTo>
                  <a:pt x="8555" y="1693"/>
                </a:lnTo>
                <a:lnTo>
                  <a:pt x="8564" y="1747"/>
                </a:lnTo>
                <a:lnTo>
                  <a:pt x="8567" y="1808"/>
                </a:lnTo>
                <a:lnTo>
                  <a:pt x="8490" y="1819"/>
                </a:lnTo>
                <a:lnTo>
                  <a:pt x="8512" y="1842"/>
                </a:lnTo>
                <a:lnTo>
                  <a:pt x="8524" y="1868"/>
                </a:lnTo>
                <a:lnTo>
                  <a:pt x="8518" y="1893"/>
                </a:lnTo>
                <a:lnTo>
                  <a:pt x="8485" y="1911"/>
                </a:lnTo>
                <a:lnTo>
                  <a:pt x="8445" y="1877"/>
                </a:lnTo>
                <a:lnTo>
                  <a:pt x="8410" y="1898"/>
                </a:lnTo>
                <a:lnTo>
                  <a:pt x="8369" y="1933"/>
                </a:lnTo>
                <a:lnTo>
                  <a:pt x="8316" y="1935"/>
                </a:lnTo>
                <a:lnTo>
                  <a:pt x="8190" y="1856"/>
                </a:lnTo>
                <a:lnTo>
                  <a:pt x="8199" y="1831"/>
                </a:lnTo>
                <a:lnTo>
                  <a:pt x="8268" y="1824"/>
                </a:lnTo>
                <a:lnTo>
                  <a:pt x="8324" y="1805"/>
                </a:lnTo>
                <a:lnTo>
                  <a:pt x="8245" y="1735"/>
                </a:lnTo>
                <a:lnTo>
                  <a:pt x="8259" y="1669"/>
                </a:lnTo>
                <a:lnTo>
                  <a:pt x="8303" y="1604"/>
                </a:lnTo>
                <a:lnTo>
                  <a:pt x="8322" y="1537"/>
                </a:lnTo>
                <a:lnTo>
                  <a:pt x="8287" y="1522"/>
                </a:lnTo>
                <a:lnTo>
                  <a:pt x="8294" y="1495"/>
                </a:lnTo>
                <a:lnTo>
                  <a:pt x="8325" y="1478"/>
                </a:lnTo>
                <a:lnTo>
                  <a:pt x="8358" y="1490"/>
                </a:lnTo>
                <a:lnTo>
                  <a:pt x="8378" y="1499"/>
                </a:lnTo>
                <a:lnTo>
                  <a:pt x="8405" y="1508"/>
                </a:lnTo>
                <a:lnTo>
                  <a:pt x="8427" y="1511"/>
                </a:lnTo>
                <a:lnTo>
                  <a:pt x="8433" y="1500"/>
                </a:lnTo>
                <a:lnTo>
                  <a:pt x="8353" y="1398"/>
                </a:lnTo>
                <a:lnTo>
                  <a:pt x="8302" y="1407"/>
                </a:lnTo>
                <a:lnTo>
                  <a:pt x="8255" y="1431"/>
                </a:lnTo>
                <a:lnTo>
                  <a:pt x="8185" y="1375"/>
                </a:lnTo>
                <a:lnTo>
                  <a:pt x="8157" y="1422"/>
                </a:lnTo>
                <a:lnTo>
                  <a:pt x="8192" y="1492"/>
                </a:lnTo>
                <a:lnTo>
                  <a:pt x="8236" y="1555"/>
                </a:lnTo>
                <a:lnTo>
                  <a:pt x="8233" y="1580"/>
                </a:lnTo>
                <a:lnTo>
                  <a:pt x="8172" y="1600"/>
                </a:lnTo>
                <a:lnTo>
                  <a:pt x="8178" y="1662"/>
                </a:lnTo>
                <a:lnTo>
                  <a:pt x="8196" y="1729"/>
                </a:lnTo>
                <a:lnTo>
                  <a:pt x="8167" y="1771"/>
                </a:lnTo>
                <a:lnTo>
                  <a:pt x="8070" y="1765"/>
                </a:lnTo>
                <a:lnTo>
                  <a:pt x="7956" y="1726"/>
                </a:lnTo>
                <a:lnTo>
                  <a:pt x="7879" y="1709"/>
                </a:lnTo>
                <a:lnTo>
                  <a:pt x="7896" y="1762"/>
                </a:lnTo>
                <a:lnTo>
                  <a:pt x="7863" y="1771"/>
                </a:lnTo>
                <a:lnTo>
                  <a:pt x="7823" y="1766"/>
                </a:lnTo>
                <a:lnTo>
                  <a:pt x="7782" y="1751"/>
                </a:lnTo>
                <a:lnTo>
                  <a:pt x="7745" y="1732"/>
                </a:lnTo>
                <a:lnTo>
                  <a:pt x="7682" y="1807"/>
                </a:lnTo>
                <a:lnTo>
                  <a:pt x="7607" y="1784"/>
                </a:lnTo>
                <a:lnTo>
                  <a:pt x="7521" y="1729"/>
                </a:lnTo>
                <a:lnTo>
                  <a:pt x="7423" y="1710"/>
                </a:lnTo>
                <a:lnTo>
                  <a:pt x="7400" y="1744"/>
                </a:lnTo>
                <a:lnTo>
                  <a:pt x="7422" y="1784"/>
                </a:lnTo>
                <a:lnTo>
                  <a:pt x="7432" y="1818"/>
                </a:lnTo>
                <a:lnTo>
                  <a:pt x="7382" y="1838"/>
                </a:lnTo>
                <a:lnTo>
                  <a:pt x="7356" y="1810"/>
                </a:lnTo>
                <a:lnTo>
                  <a:pt x="7338" y="1775"/>
                </a:lnTo>
                <a:lnTo>
                  <a:pt x="7318" y="1748"/>
                </a:lnTo>
                <a:lnTo>
                  <a:pt x="7279" y="1742"/>
                </a:lnTo>
                <a:lnTo>
                  <a:pt x="7233" y="1681"/>
                </a:lnTo>
                <a:lnTo>
                  <a:pt x="7212" y="1625"/>
                </a:lnTo>
                <a:lnTo>
                  <a:pt x="7228" y="1590"/>
                </a:lnTo>
                <a:lnTo>
                  <a:pt x="7295" y="1590"/>
                </a:lnTo>
                <a:lnTo>
                  <a:pt x="7320" y="1546"/>
                </a:lnTo>
                <a:lnTo>
                  <a:pt x="7295" y="1536"/>
                </a:lnTo>
                <a:lnTo>
                  <a:pt x="7245" y="1538"/>
                </a:lnTo>
                <a:lnTo>
                  <a:pt x="7198" y="1534"/>
                </a:lnTo>
                <a:lnTo>
                  <a:pt x="7147" y="1523"/>
                </a:lnTo>
                <a:lnTo>
                  <a:pt x="7118" y="1541"/>
                </a:lnTo>
                <a:lnTo>
                  <a:pt x="7092" y="1566"/>
                </a:lnTo>
                <a:lnTo>
                  <a:pt x="7054" y="1579"/>
                </a:lnTo>
                <a:lnTo>
                  <a:pt x="7013" y="1542"/>
                </a:lnTo>
                <a:lnTo>
                  <a:pt x="6941" y="1547"/>
                </a:lnTo>
                <a:lnTo>
                  <a:pt x="6900" y="1575"/>
                </a:lnTo>
                <a:lnTo>
                  <a:pt x="6953" y="1607"/>
                </a:lnTo>
                <a:lnTo>
                  <a:pt x="6895" y="1609"/>
                </a:lnTo>
                <a:lnTo>
                  <a:pt x="6839" y="1600"/>
                </a:lnTo>
                <a:lnTo>
                  <a:pt x="6812" y="1571"/>
                </a:lnTo>
                <a:lnTo>
                  <a:pt x="6846" y="1509"/>
                </a:lnTo>
                <a:lnTo>
                  <a:pt x="6762" y="1472"/>
                </a:lnTo>
                <a:lnTo>
                  <a:pt x="6742" y="1441"/>
                </a:lnTo>
                <a:lnTo>
                  <a:pt x="6732" y="1413"/>
                </a:lnTo>
                <a:lnTo>
                  <a:pt x="6676" y="1387"/>
                </a:lnTo>
                <a:lnTo>
                  <a:pt x="6613" y="1333"/>
                </a:lnTo>
                <a:lnTo>
                  <a:pt x="6531" y="1345"/>
                </a:lnTo>
                <a:lnTo>
                  <a:pt x="6471" y="1348"/>
                </a:lnTo>
                <a:lnTo>
                  <a:pt x="6480" y="1275"/>
                </a:lnTo>
                <a:lnTo>
                  <a:pt x="6528" y="1241"/>
                </a:lnTo>
                <a:lnTo>
                  <a:pt x="6497" y="1233"/>
                </a:lnTo>
                <a:lnTo>
                  <a:pt x="6432" y="1244"/>
                </a:lnTo>
                <a:lnTo>
                  <a:pt x="6380" y="1271"/>
                </a:lnTo>
                <a:lnTo>
                  <a:pt x="6332" y="1255"/>
                </a:lnTo>
                <a:lnTo>
                  <a:pt x="6308" y="1221"/>
                </a:lnTo>
                <a:lnTo>
                  <a:pt x="6285" y="1185"/>
                </a:lnTo>
                <a:lnTo>
                  <a:pt x="6240" y="1168"/>
                </a:lnTo>
                <a:lnTo>
                  <a:pt x="6108" y="1178"/>
                </a:lnTo>
                <a:lnTo>
                  <a:pt x="6106" y="1240"/>
                </a:lnTo>
                <a:lnTo>
                  <a:pt x="6141" y="1334"/>
                </a:lnTo>
                <a:lnTo>
                  <a:pt x="6117" y="1436"/>
                </a:lnTo>
                <a:lnTo>
                  <a:pt x="6080" y="1432"/>
                </a:lnTo>
                <a:lnTo>
                  <a:pt x="6041" y="1426"/>
                </a:lnTo>
                <a:lnTo>
                  <a:pt x="6026" y="1413"/>
                </a:lnTo>
                <a:lnTo>
                  <a:pt x="6057" y="1387"/>
                </a:lnTo>
                <a:lnTo>
                  <a:pt x="6089" y="1394"/>
                </a:lnTo>
                <a:lnTo>
                  <a:pt x="6035" y="1314"/>
                </a:lnTo>
                <a:lnTo>
                  <a:pt x="5963" y="1254"/>
                </a:lnTo>
                <a:lnTo>
                  <a:pt x="5937" y="1322"/>
                </a:lnTo>
                <a:lnTo>
                  <a:pt x="5866" y="1248"/>
                </a:lnTo>
                <a:lnTo>
                  <a:pt x="5822" y="1282"/>
                </a:lnTo>
                <a:lnTo>
                  <a:pt x="5844" y="1350"/>
                </a:lnTo>
                <a:lnTo>
                  <a:pt x="5970" y="1374"/>
                </a:lnTo>
                <a:lnTo>
                  <a:pt x="5927" y="1416"/>
                </a:lnTo>
                <a:lnTo>
                  <a:pt x="5896" y="1441"/>
                </a:lnTo>
                <a:lnTo>
                  <a:pt x="5904" y="1459"/>
                </a:lnTo>
                <a:lnTo>
                  <a:pt x="5974" y="1477"/>
                </a:lnTo>
                <a:lnTo>
                  <a:pt x="5918" y="1519"/>
                </a:lnTo>
                <a:lnTo>
                  <a:pt x="5857" y="1495"/>
                </a:lnTo>
                <a:lnTo>
                  <a:pt x="5797" y="1435"/>
                </a:lnTo>
                <a:lnTo>
                  <a:pt x="5750" y="1370"/>
                </a:lnTo>
                <a:lnTo>
                  <a:pt x="5682" y="1384"/>
                </a:lnTo>
                <a:lnTo>
                  <a:pt x="5603" y="1393"/>
                </a:lnTo>
                <a:lnTo>
                  <a:pt x="5563" y="1410"/>
                </a:lnTo>
                <a:lnTo>
                  <a:pt x="5607" y="1449"/>
                </a:lnTo>
                <a:lnTo>
                  <a:pt x="5435" y="1458"/>
                </a:lnTo>
                <a:lnTo>
                  <a:pt x="5421" y="1533"/>
                </a:lnTo>
                <a:lnTo>
                  <a:pt x="5383" y="1636"/>
                </a:lnTo>
                <a:lnTo>
                  <a:pt x="5140" y="1726"/>
                </a:lnTo>
                <a:lnTo>
                  <a:pt x="5114" y="1705"/>
                </a:lnTo>
                <a:lnTo>
                  <a:pt x="5130" y="1672"/>
                </a:lnTo>
                <a:lnTo>
                  <a:pt x="5155" y="1639"/>
                </a:lnTo>
                <a:lnTo>
                  <a:pt x="5162" y="1616"/>
                </a:lnTo>
                <a:lnTo>
                  <a:pt x="5097" y="1623"/>
                </a:lnTo>
                <a:lnTo>
                  <a:pt x="5080" y="1640"/>
                </a:lnTo>
                <a:lnTo>
                  <a:pt x="5066" y="1649"/>
                </a:lnTo>
                <a:lnTo>
                  <a:pt x="5006" y="1632"/>
                </a:lnTo>
                <a:lnTo>
                  <a:pt x="4963" y="1730"/>
                </a:lnTo>
                <a:lnTo>
                  <a:pt x="5010" y="1734"/>
                </a:lnTo>
                <a:lnTo>
                  <a:pt x="5111" y="1734"/>
                </a:lnTo>
                <a:lnTo>
                  <a:pt x="5228" y="1817"/>
                </a:lnTo>
                <a:lnTo>
                  <a:pt x="5181" y="1838"/>
                </a:lnTo>
                <a:lnTo>
                  <a:pt x="5118" y="1854"/>
                </a:lnTo>
                <a:lnTo>
                  <a:pt x="5052" y="1865"/>
                </a:lnTo>
                <a:lnTo>
                  <a:pt x="4997" y="1870"/>
                </a:lnTo>
                <a:lnTo>
                  <a:pt x="4960" y="1895"/>
                </a:lnTo>
                <a:lnTo>
                  <a:pt x="4922" y="1933"/>
                </a:lnTo>
                <a:lnTo>
                  <a:pt x="4897" y="1944"/>
                </a:lnTo>
                <a:lnTo>
                  <a:pt x="4898" y="1891"/>
                </a:lnTo>
                <a:lnTo>
                  <a:pt x="4885" y="1847"/>
                </a:lnTo>
                <a:lnTo>
                  <a:pt x="4856" y="1827"/>
                </a:lnTo>
                <a:lnTo>
                  <a:pt x="4818" y="1813"/>
                </a:lnTo>
                <a:lnTo>
                  <a:pt x="4776" y="1794"/>
                </a:lnTo>
                <a:lnTo>
                  <a:pt x="4720" y="1697"/>
                </a:lnTo>
                <a:lnTo>
                  <a:pt x="4711" y="1612"/>
                </a:lnTo>
                <a:lnTo>
                  <a:pt x="4669" y="1585"/>
                </a:lnTo>
                <a:lnTo>
                  <a:pt x="4511" y="1664"/>
                </a:lnTo>
                <a:lnTo>
                  <a:pt x="4470" y="1662"/>
                </a:lnTo>
                <a:lnTo>
                  <a:pt x="4433" y="1677"/>
                </a:lnTo>
                <a:lnTo>
                  <a:pt x="4392" y="1696"/>
                </a:lnTo>
                <a:lnTo>
                  <a:pt x="4345" y="1702"/>
                </a:lnTo>
                <a:lnTo>
                  <a:pt x="4312" y="1700"/>
                </a:lnTo>
                <a:lnTo>
                  <a:pt x="4325" y="1677"/>
                </a:lnTo>
                <a:lnTo>
                  <a:pt x="4340" y="1630"/>
                </a:lnTo>
                <a:lnTo>
                  <a:pt x="4313" y="1557"/>
                </a:lnTo>
                <a:lnTo>
                  <a:pt x="4233" y="1542"/>
                </a:lnTo>
                <a:lnTo>
                  <a:pt x="4276" y="1513"/>
                </a:lnTo>
                <a:lnTo>
                  <a:pt x="4363" y="1463"/>
                </a:lnTo>
                <a:lnTo>
                  <a:pt x="4410" y="1392"/>
                </a:lnTo>
                <a:lnTo>
                  <a:pt x="4462" y="1337"/>
                </a:lnTo>
                <a:lnTo>
                  <a:pt x="4574" y="1359"/>
                </a:lnTo>
                <a:lnTo>
                  <a:pt x="4657" y="1412"/>
                </a:lnTo>
                <a:lnTo>
                  <a:pt x="4615" y="1458"/>
                </a:lnTo>
                <a:lnTo>
                  <a:pt x="4596" y="1411"/>
                </a:lnTo>
                <a:lnTo>
                  <a:pt x="4548" y="1397"/>
                </a:lnTo>
                <a:lnTo>
                  <a:pt x="4499" y="1411"/>
                </a:lnTo>
                <a:lnTo>
                  <a:pt x="4479" y="1446"/>
                </a:lnTo>
                <a:lnTo>
                  <a:pt x="4509" y="1481"/>
                </a:lnTo>
                <a:lnTo>
                  <a:pt x="4525" y="1515"/>
                </a:lnTo>
                <a:lnTo>
                  <a:pt x="4516" y="1546"/>
                </a:lnTo>
                <a:lnTo>
                  <a:pt x="4476" y="1570"/>
                </a:lnTo>
                <a:lnTo>
                  <a:pt x="4439" y="1608"/>
                </a:lnTo>
                <a:lnTo>
                  <a:pt x="4511" y="1602"/>
                </a:lnTo>
                <a:lnTo>
                  <a:pt x="4615" y="1565"/>
                </a:lnTo>
                <a:lnTo>
                  <a:pt x="4672" y="1514"/>
                </a:lnTo>
                <a:lnTo>
                  <a:pt x="4709" y="1514"/>
                </a:lnTo>
                <a:lnTo>
                  <a:pt x="4735" y="1536"/>
                </a:lnTo>
                <a:lnTo>
                  <a:pt x="4755" y="1560"/>
                </a:lnTo>
                <a:lnTo>
                  <a:pt x="4777" y="1565"/>
                </a:lnTo>
                <a:lnTo>
                  <a:pt x="4805" y="1516"/>
                </a:lnTo>
                <a:lnTo>
                  <a:pt x="4778" y="1488"/>
                </a:lnTo>
                <a:lnTo>
                  <a:pt x="4737" y="1467"/>
                </a:lnTo>
                <a:lnTo>
                  <a:pt x="4722" y="1441"/>
                </a:lnTo>
                <a:lnTo>
                  <a:pt x="4731" y="1402"/>
                </a:lnTo>
                <a:lnTo>
                  <a:pt x="4782" y="1399"/>
                </a:lnTo>
                <a:lnTo>
                  <a:pt x="4830" y="1398"/>
                </a:lnTo>
                <a:lnTo>
                  <a:pt x="4832" y="1361"/>
                </a:lnTo>
                <a:lnTo>
                  <a:pt x="4864" y="1343"/>
                </a:lnTo>
                <a:lnTo>
                  <a:pt x="4911" y="1352"/>
                </a:lnTo>
                <a:lnTo>
                  <a:pt x="4953" y="1359"/>
                </a:lnTo>
                <a:lnTo>
                  <a:pt x="4968" y="1332"/>
                </a:lnTo>
                <a:lnTo>
                  <a:pt x="4814" y="1252"/>
                </a:lnTo>
                <a:lnTo>
                  <a:pt x="4857" y="1201"/>
                </a:lnTo>
                <a:lnTo>
                  <a:pt x="4918" y="1157"/>
                </a:lnTo>
                <a:lnTo>
                  <a:pt x="4816" y="1100"/>
                </a:lnTo>
                <a:lnTo>
                  <a:pt x="4866" y="986"/>
                </a:lnTo>
                <a:lnTo>
                  <a:pt x="4848" y="914"/>
                </a:lnTo>
                <a:lnTo>
                  <a:pt x="4767" y="888"/>
                </a:lnTo>
                <a:lnTo>
                  <a:pt x="4629" y="908"/>
                </a:lnTo>
                <a:lnTo>
                  <a:pt x="4580" y="884"/>
                </a:lnTo>
                <a:lnTo>
                  <a:pt x="4518" y="872"/>
                </a:lnTo>
                <a:lnTo>
                  <a:pt x="4485" y="883"/>
                </a:lnTo>
                <a:lnTo>
                  <a:pt x="4520" y="927"/>
                </a:lnTo>
                <a:lnTo>
                  <a:pt x="4501" y="933"/>
                </a:lnTo>
                <a:lnTo>
                  <a:pt x="4465" y="936"/>
                </a:lnTo>
                <a:lnTo>
                  <a:pt x="4436" y="944"/>
                </a:lnTo>
                <a:lnTo>
                  <a:pt x="4436" y="961"/>
                </a:lnTo>
                <a:lnTo>
                  <a:pt x="4539" y="1029"/>
                </a:lnTo>
                <a:lnTo>
                  <a:pt x="4605" y="1109"/>
                </a:lnTo>
                <a:lnTo>
                  <a:pt x="4594" y="1184"/>
                </a:lnTo>
                <a:lnTo>
                  <a:pt x="4460" y="1235"/>
                </a:lnTo>
                <a:lnTo>
                  <a:pt x="4429" y="1227"/>
                </a:lnTo>
                <a:lnTo>
                  <a:pt x="4441" y="1212"/>
                </a:lnTo>
                <a:lnTo>
                  <a:pt x="4469" y="1194"/>
                </a:lnTo>
                <a:lnTo>
                  <a:pt x="4488" y="1178"/>
                </a:lnTo>
                <a:lnTo>
                  <a:pt x="4411" y="1133"/>
                </a:lnTo>
                <a:lnTo>
                  <a:pt x="4339" y="1160"/>
                </a:lnTo>
                <a:lnTo>
                  <a:pt x="4268" y="1205"/>
                </a:lnTo>
                <a:lnTo>
                  <a:pt x="4197" y="1216"/>
                </a:lnTo>
                <a:lnTo>
                  <a:pt x="4222" y="1161"/>
                </a:lnTo>
                <a:lnTo>
                  <a:pt x="4257" y="1118"/>
                </a:lnTo>
                <a:lnTo>
                  <a:pt x="4304" y="1090"/>
                </a:lnTo>
                <a:lnTo>
                  <a:pt x="4364" y="1080"/>
                </a:lnTo>
                <a:lnTo>
                  <a:pt x="4372" y="1038"/>
                </a:lnTo>
                <a:lnTo>
                  <a:pt x="4264" y="1024"/>
                </a:lnTo>
                <a:lnTo>
                  <a:pt x="4140" y="1045"/>
                </a:lnTo>
                <a:lnTo>
                  <a:pt x="4102" y="1109"/>
                </a:lnTo>
                <a:lnTo>
                  <a:pt x="4147" y="1143"/>
                </a:lnTo>
                <a:lnTo>
                  <a:pt x="4153" y="1175"/>
                </a:lnTo>
                <a:lnTo>
                  <a:pt x="4129" y="1183"/>
                </a:lnTo>
                <a:lnTo>
                  <a:pt x="4085" y="1143"/>
                </a:lnTo>
                <a:lnTo>
                  <a:pt x="4073" y="1171"/>
                </a:lnTo>
                <a:lnTo>
                  <a:pt x="4119" y="1227"/>
                </a:lnTo>
                <a:lnTo>
                  <a:pt x="4141" y="1263"/>
                </a:lnTo>
                <a:lnTo>
                  <a:pt x="4065" y="1233"/>
                </a:lnTo>
                <a:lnTo>
                  <a:pt x="3950" y="1250"/>
                </a:lnTo>
                <a:lnTo>
                  <a:pt x="3949" y="1198"/>
                </a:lnTo>
                <a:lnTo>
                  <a:pt x="3947" y="1121"/>
                </a:lnTo>
                <a:lnTo>
                  <a:pt x="3831" y="1058"/>
                </a:lnTo>
                <a:lnTo>
                  <a:pt x="3790" y="1072"/>
                </a:lnTo>
                <a:lnTo>
                  <a:pt x="3818" y="1124"/>
                </a:lnTo>
                <a:lnTo>
                  <a:pt x="3849" y="1185"/>
                </a:lnTo>
                <a:lnTo>
                  <a:pt x="3819" y="1222"/>
                </a:lnTo>
                <a:lnTo>
                  <a:pt x="3789" y="1234"/>
                </a:lnTo>
                <a:lnTo>
                  <a:pt x="3810" y="1253"/>
                </a:lnTo>
                <a:lnTo>
                  <a:pt x="3854" y="1272"/>
                </a:lnTo>
                <a:lnTo>
                  <a:pt x="3884" y="1285"/>
                </a:lnTo>
                <a:lnTo>
                  <a:pt x="3822" y="1310"/>
                </a:lnTo>
                <a:lnTo>
                  <a:pt x="3721" y="1277"/>
                </a:lnTo>
                <a:lnTo>
                  <a:pt x="3661" y="1275"/>
                </a:lnTo>
                <a:lnTo>
                  <a:pt x="3725" y="1392"/>
                </a:lnTo>
                <a:lnTo>
                  <a:pt x="3670" y="1436"/>
                </a:lnTo>
                <a:lnTo>
                  <a:pt x="3672" y="1469"/>
                </a:lnTo>
                <a:lnTo>
                  <a:pt x="3682" y="1501"/>
                </a:lnTo>
                <a:lnTo>
                  <a:pt x="3652" y="1538"/>
                </a:lnTo>
                <a:lnTo>
                  <a:pt x="3562" y="1589"/>
                </a:lnTo>
                <a:lnTo>
                  <a:pt x="3427" y="1669"/>
                </a:lnTo>
                <a:lnTo>
                  <a:pt x="3328" y="1740"/>
                </a:lnTo>
                <a:lnTo>
                  <a:pt x="3347" y="1767"/>
                </a:lnTo>
                <a:lnTo>
                  <a:pt x="3399" y="1767"/>
                </a:lnTo>
                <a:lnTo>
                  <a:pt x="3445" y="1756"/>
                </a:lnTo>
                <a:lnTo>
                  <a:pt x="3479" y="1766"/>
                </a:lnTo>
                <a:lnTo>
                  <a:pt x="3492" y="1833"/>
                </a:lnTo>
                <a:lnTo>
                  <a:pt x="3517" y="1828"/>
                </a:lnTo>
                <a:lnTo>
                  <a:pt x="3544" y="1793"/>
                </a:lnTo>
                <a:lnTo>
                  <a:pt x="3562" y="1772"/>
                </a:lnTo>
                <a:lnTo>
                  <a:pt x="3563" y="1816"/>
                </a:lnTo>
                <a:lnTo>
                  <a:pt x="3519" y="1887"/>
                </a:lnTo>
                <a:lnTo>
                  <a:pt x="3399" y="1909"/>
                </a:lnTo>
                <a:lnTo>
                  <a:pt x="3277" y="1935"/>
                </a:lnTo>
                <a:lnTo>
                  <a:pt x="3230" y="2026"/>
                </a:lnTo>
                <a:lnTo>
                  <a:pt x="3186" y="2040"/>
                </a:lnTo>
                <a:lnTo>
                  <a:pt x="3177" y="1999"/>
                </a:lnTo>
                <a:lnTo>
                  <a:pt x="3165" y="1959"/>
                </a:lnTo>
                <a:lnTo>
                  <a:pt x="3112" y="1979"/>
                </a:lnTo>
                <a:lnTo>
                  <a:pt x="3055" y="2003"/>
                </a:lnTo>
                <a:lnTo>
                  <a:pt x="3028" y="1975"/>
                </a:lnTo>
                <a:lnTo>
                  <a:pt x="2995" y="1958"/>
                </a:lnTo>
                <a:lnTo>
                  <a:pt x="2916" y="2019"/>
                </a:lnTo>
                <a:lnTo>
                  <a:pt x="2890" y="2003"/>
                </a:lnTo>
                <a:lnTo>
                  <a:pt x="2877" y="1970"/>
                </a:lnTo>
                <a:lnTo>
                  <a:pt x="2867" y="1938"/>
                </a:lnTo>
                <a:lnTo>
                  <a:pt x="2844" y="1925"/>
                </a:lnTo>
                <a:lnTo>
                  <a:pt x="2781" y="1995"/>
                </a:lnTo>
                <a:lnTo>
                  <a:pt x="2723" y="2069"/>
                </a:lnTo>
                <a:lnTo>
                  <a:pt x="2671" y="2145"/>
                </a:lnTo>
                <a:lnTo>
                  <a:pt x="2631" y="2231"/>
                </a:lnTo>
                <a:lnTo>
                  <a:pt x="2667" y="2213"/>
                </a:lnTo>
                <a:lnTo>
                  <a:pt x="2716" y="2180"/>
                </a:lnTo>
                <a:lnTo>
                  <a:pt x="2753" y="2167"/>
                </a:lnTo>
                <a:lnTo>
                  <a:pt x="2756" y="2208"/>
                </a:lnTo>
                <a:lnTo>
                  <a:pt x="2719" y="2234"/>
                </a:lnTo>
                <a:lnTo>
                  <a:pt x="2685" y="2252"/>
                </a:lnTo>
                <a:lnTo>
                  <a:pt x="2667" y="2276"/>
                </a:lnTo>
                <a:lnTo>
                  <a:pt x="2678" y="2323"/>
                </a:lnTo>
                <a:lnTo>
                  <a:pt x="2674" y="2365"/>
                </a:lnTo>
                <a:lnTo>
                  <a:pt x="2733" y="2392"/>
                </a:lnTo>
                <a:lnTo>
                  <a:pt x="2784" y="2443"/>
                </a:lnTo>
                <a:lnTo>
                  <a:pt x="2758" y="2560"/>
                </a:lnTo>
                <a:lnTo>
                  <a:pt x="2738" y="2568"/>
                </a:lnTo>
                <a:lnTo>
                  <a:pt x="2721" y="2549"/>
                </a:lnTo>
                <a:lnTo>
                  <a:pt x="2705" y="2525"/>
                </a:lnTo>
                <a:lnTo>
                  <a:pt x="2686" y="2520"/>
                </a:lnTo>
                <a:lnTo>
                  <a:pt x="2679" y="2568"/>
                </a:lnTo>
                <a:lnTo>
                  <a:pt x="2644" y="2592"/>
                </a:lnTo>
                <a:lnTo>
                  <a:pt x="2603" y="2615"/>
                </a:lnTo>
                <a:lnTo>
                  <a:pt x="2581" y="2652"/>
                </a:lnTo>
                <a:lnTo>
                  <a:pt x="2544" y="2666"/>
                </a:lnTo>
                <a:lnTo>
                  <a:pt x="2524" y="2695"/>
                </a:lnTo>
                <a:lnTo>
                  <a:pt x="2511" y="2733"/>
                </a:lnTo>
                <a:lnTo>
                  <a:pt x="2504" y="2774"/>
                </a:lnTo>
                <a:lnTo>
                  <a:pt x="2499" y="2775"/>
                </a:lnTo>
                <a:lnTo>
                  <a:pt x="2495" y="2778"/>
                </a:lnTo>
                <a:lnTo>
                  <a:pt x="2495" y="2780"/>
                </a:lnTo>
                <a:lnTo>
                  <a:pt x="2500" y="2783"/>
                </a:lnTo>
                <a:close/>
                <a:moveTo>
                  <a:pt x="5170" y="979"/>
                </a:moveTo>
                <a:lnTo>
                  <a:pt x="5168" y="1006"/>
                </a:lnTo>
                <a:lnTo>
                  <a:pt x="5197" y="1021"/>
                </a:lnTo>
                <a:lnTo>
                  <a:pt x="5232" y="1020"/>
                </a:lnTo>
                <a:lnTo>
                  <a:pt x="5246" y="993"/>
                </a:lnTo>
                <a:lnTo>
                  <a:pt x="5237" y="972"/>
                </a:lnTo>
                <a:lnTo>
                  <a:pt x="5219" y="967"/>
                </a:lnTo>
                <a:lnTo>
                  <a:pt x="5195" y="973"/>
                </a:lnTo>
                <a:lnTo>
                  <a:pt x="5170" y="979"/>
                </a:lnTo>
                <a:close/>
                <a:moveTo>
                  <a:pt x="2322" y="2369"/>
                </a:moveTo>
                <a:lnTo>
                  <a:pt x="2336" y="2363"/>
                </a:lnTo>
                <a:lnTo>
                  <a:pt x="2348" y="2353"/>
                </a:lnTo>
                <a:lnTo>
                  <a:pt x="2360" y="2341"/>
                </a:lnTo>
                <a:lnTo>
                  <a:pt x="2370" y="2331"/>
                </a:lnTo>
                <a:lnTo>
                  <a:pt x="2356" y="2315"/>
                </a:lnTo>
                <a:lnTo>
                  <a:pt x="2327" y="2329"/>
                </a:lnTo>
                <a:lnTo>
                  <a:pt x="2306" y="2353"/>
                </a:lnTo>
                <a:lnTo>
                  <a:pt x="2322" y="2369"/>
                </a:lnTo>
                <a:close/>
                <a:moveTo>
                  <a:pt x="8452" y="790"/>
                </a:moveTo>
                <a:lnTo>
                  <a:pt x="8465" y="785"/>
                </a:lnTo>
                <a:lnTo>
                  <a:pt x="8468" y="774"/>
                </a:lnTo>
                <a:lnTo>
                  <a:pt x="8461" y="764"/>
                </a:lnTo>
                <a:lnTo>
                  <a:pt x="8448" y="758"/>
                </a:lnTo>
                <a:lnTo>
                  <a:pt x="8432" y="762"/>
                </a:lnTo>
                <a:lnTo>
                  <a:pt x="8429" y="773"/>
                </a:lnTo>
                <a:lnTo>
                  <a:pt x="8436" y="785"/>
                </a:lnTo>
                <a:lnTo>
                  <a:pt x="8452" y="790"/>
                </a:lnTo>
                <a:close/>
                <a:moveTo>
                  <a:pt x="2915" y="11463"/>
                </a:moveTo>
                <a:lnTo>
                  <a:pt x="2914" y="11464"/>
                </a:lnTo>
                <a:lnTo>
                  <a:pt x="2913" y="11466"/>
                </a:lnTo>
                <a:lnTo>
                  <a:pt x="2914" y="11468"/>
                </a:lnTo>
                <a:lnTo>
                  <a:pt x="2915" y="11469"/>
                </a:lnTo>
                <a:lnTo>
                  <a:pt x="2918" y="11468"/>
                </a:lnTo>
                <a:lnTo>
                  <a:pt x="2918" y="11466"/>
                </a:lnTo>
                <a:lnTo>
                  <a:pt x="2918" y="11464"/>
                </a:lnTo>
                <a:lnTo>
                  <a:pt x="2915" y="11463"/>
                </a:lnTo>
                <a:close/>
                <a:moveTo>
                  <a:pt x="10752" y="2371"/>
                </a:moveTo>
                <a:lnTo>
                  <a:pt x="10755" y="2363"/>
                </a:lnTo>
                <a:lnTo>
                  <a:pt x="10752" y="2355"/>
                </a:lnTo>
                <a:lnTo>
                  <a:pt x="10745" y="2351"/>
                </a:lnTo>
                <a:lnTo>
                  <a:pt x="10737" y="2355"/>
                </a:lnTo>
                <a:lnTo>
                  <a:pt x="10732" y="2364"/>
                </a:lnTo>
                <a:lnTo>
                  <a:pt x="10736" y="2372"/>
                </a:lnTo>
                <a:lnTo>
                  <a:pt x="10743" y="2374"/>
                </a:lnTo>
                <a:lnTo>
                  <a:pt x="10752" y="2371"/>
                </a:lnTo>
                <a:close/>
                <a:moveTo>
                  <a:pt x="190" y="7584"/>
                </a:moveTo>
                <a:lnTo>
                  <a:pt x="206" y="7569"/>
                </a:lnTo>
                <a:lnTo>
                  <a:pt x="210" y="7546"/>
                </a:lnTo>
                <a:lnTo>
                  <a:pt x="202" y="7528"/>
                </a:lnTo>
                <a:lnTo>
                  <a:pt x="182" y="7530"/>
                </a:lnTo>
                <a:lnTo>
                  <a:pt x="169" y="7546"/>
                </a:lnTo>
                <a:lnTo>
                  <a:pt x="163" y="7565"/>
                </a:lnTo>
                <a:lnTo>
                  <a:pt x="168" y="7581"/>
                </a:lnTo>
                <a:lnTo>
                  <a:pt x="190" y="7584"/>
                </a:lnTo>
                <a:close/>
                <a:moveTo>
                  <a:pt x="772" y="5272"/>
                </a:moveTo>
                <a:lnTo>
                  <a:pt x="767" y="5258"/>
                </a:lnTo>
                <a:lnTo>
                  <a:pt x="755" y="5251"/>
                </a:lnTo>
                <a:lnTo>
                  <a:pt x="742" y="5254"/>
                </a:lnTo>
                <a:lnTo>
                  <a:pt x="731" y="5264"/>
                </a:lnTo>
                <a:lnTo>
                  <a:pt x="734" y="5275"/>
                </a:lnTo>
                <a:lnTo>
                  <a:pt x="749" y="5283"/>
                </a:lnTo>
                <a:lnTo>
                  <a:pt x="765" y="5284"/>
                </a:lnTo>
                <a:lnTo>
                  <a:pt x="772" y="5272"/>
                </a:lnTo>
                <a:close/>
                <a:moveTo>
                  <a:pt x="2993" y="12172"/>
                </a:moveTo>
                <a:lnTo>
                  <a:pt x="2995" y="12173"/>
                </a:lnTo>
                <a:lnTo>
                  <a:pt x="2997" y="12172"/>
                </a:lnTo>
                <a:lnTo>
                  <a:pt x="2998" y="12170"/>
                </a:lnTo>
                <a:lnTo>
                  <a:pt x="2997" y="12167"/>
                </a:lnTo>
                <a:lnTo>
                  <a:pt x="2995" y="12166"/>
                </a:lnTo>
                <a:lnTo>
                  <a:pt x="2993" y="12167"/>
                </a:lnTo>
                <a:lnTo>
                  <a:pt x="2993" y="12170"/>
                </a:lnTo>
                <a:lnTo>
                  <a:pt x="2993" y="12172"/>
                </a:lnTo>
                <a:close/>
                <a:moveTo>
                  <a:pt x="1713" y="2964"/>
                </a:moveTo>
                <a:lnTo>
                  <a:pt x="1705" y="2975"/>
                </a:lnTo>
                <a:lnTo>
                  <a:pt x="1714" y="2982"/>
                </a:lnTo>
                <a:lnTo>
                  <a:pt x="1729" y="2982"/>
                </a:lnTo>
                <a:lnTo>
                  <a:pt x="1741" y="2975"/>
                </a:lnTo>
                <a:lnTo>
                  <a:pt x="1746" y="2959"/>
                </a:lnTo>
                <a:lnTo>
                  <a:pt x="1738" y="2951"/>
                </a:lnTo>
                <a:lnTo>
                  <a:pt x="1724" y="2952"/>
                </a:lnTo>
                <a:lnTo>
                  <a:pt x="1713" y="2964"/>
                </a:lnTo>
                <a:close/>
                <a:moveTo>
                  <a:pt x="991" y="9302"/>
                </a:moveTo>
                <a:lnTo>
                  <a:pt x="995" y="9321"/>
                </a:lnTo>
                <a:lnTo>
                  <a:pt x="1006" y="9333"/>
                </a:lnTo>
                <a:lnTo>
                  <a:pt x="1020" y="9335"/>
                </a:lnTo>
                <a:lnTo>
                  <a:pt x="1033" y="9321"/>
                </a:lnTo>
                <a:lnTo>
                  <a:pt x="1033" y="9295"/>
                </a:lnTo>
                <a:lnTo>
                  <a:pt x="1019" y="9284"/>
                </a:lnTo>
                <a:lnTo>
                  <a:pt x="1000" y="9285"/>
                </a:lnTo>
                <a:lnTo>
                  <a:pt x="991" y="9302"/>
                </a:lnTo>
                <a:close/>
                <a:moveTo>
                  <a:pt x="895" y="6259"/>
                </a:moveTo>
                <a:lnTo>
                  <a:pt x="897" y="6262"/>
                </a:lnTo>
                <a:lnTo>
                  <a:pt x="900" y="6262"/>
                </a:lnTo>
                <a:lnTo>
                  <a:pt x="903" y="6259"/>
                </a:lnTo>
                <a:lnTo>
                  <a:pt x="903" y="6256"/>
                </a:lnTo>
                <a:lnTo>
                  <a:pt x="900" y="6252"/>
                </a:lnTo>
                <a:lnTo>
                  <a:pt x="898" y="6252"/>
                </a:lnTo>
                <a:lnTo>
                  <a:pt x="895" y="6254"/>
                </a:lnTo>
                <a:lnTo>
                  <a:pt x="895" y="6259"/>
                </a:lnTo>
                <a:close/>
                <a:moveTo>
                  <a:pt x="500" y="5665"/>
                </a:moveTo>
                <a:lnTo>
                  <a:pt x="509" y="5673"/>
                </a:lnTo>
                <a:lnTo>
                  <a:pt x="523" y="5674"/>
                </a:lnTo>
                <a:lnTo>
                  <a:pt x="535" y="5667"/>
                </a:lnTo>
                <a:lnTo>
                  <a:pt x="540" y="5656"/>
                </a:lnTo>
                <a:lnTo>
                  <a:pt x="532" y="5647"/>
                </a:lnTo>
                <a:lnTo>
                  <a:pt x="517" y="5647"/>
                </a:lnTo>
                <a:lnTo>
                  <a:pt x="504" y="5652"/>
                </a:lnTo>
                <a:lnTo>
                  <a:pt x="500" y="5665"/>
                </a:lnTo>
                <a:close/>
                <a:moveTo>
                  <a:pt x="576" y="6557"/>
                </a:moveTo>
                <a:lnTo>
                  <a:pt x="573" y="6553"/>
                </a:lnTo>
                <a:lnTo>
                  <a:pt x="569" y="6552"/>
                </a:lnTo>
                <a:lnTo>
                  <a:pt x="565" y="6556"/>
                </a:lnTo>
                <a:lnTo>
                  <a:pt x="564" y="6561"/>
                </a:lnTo>
                <a:lnTo>
                  <a:pt x="567" y="6567"/>
                </a:lnTo>
                <a:lnTo>
                  <a:pt x="571" y="6567"/>
                </a:lnTo>
                <a:lnTo>
                  <a:pt x="574" y="6565"/>
                </a:lnTo>
                <a:lnTo>
                  <a:pt x="576" y="6557"/>
                </a:lnTo>
                <a:close/>
                <a:moveTo>
                  <a:pt x="6473" y="1138"/>
                </a:moveTo>
                <a:lnTo>
                  <a:pt x="6473" y="1152"/>
                </a:lnTo>
                <a:lnTo>
                  <a:pt x="6482" y="1160"/>
                </a:lnTo>
                <a:lnTo>
                  <a:pt x="6495" y="1160"/>
                </a:lnTo>
                <a:lnTo>
                  <a:pt x="6505" y="1150"/>
                </a:lnTo>
                <a:lnTo>
                  <a:pt x="6504" y="1135"/>
                </a:lnTo>
                <a:lnTo>
                  <a:pt x="6494" y="1124"/>
                </a:lnTo>
                <a:lnTo>
                  <a:pt x="6481" y="1123"/>
                </a:lnTo>
                <a:lnTo>
                  <a:pt x="6473" y="1138"/>
                </a:lnTo>
                <a:close/>
                <a:moveTo>
                  <a:pt x="2412" y="1991"/>
                </a:moveTo>
                <a:lnTo>
                  <a:pt x="2463" y="1931"/>
                </a:lnTo>
                <a:lnTo>
                  <a:pt x="2491" y="1868"/>
                </a:lnTo>
                <a:lnTo>
                  <a:pt x="2474" y="1832"/>
                </a:lnTo>
                <a:lnTo>
                  <a:pt x="2397" y="1855"/>
                </a:lnTo>
                <a:lnTo>
                  <a:pt x="2346" y="1942"/>
                </a:lnTo>
                <a:lnTo>
                  <a:pt x="2309" y="2035"/>
                </a:lnTo>
                <a:lnTo>
                  <a:pt x="2320" y="2071"/>
                </a:lnTo>
                <a:lnTo>
                  <a:pt x="2412" y="1991"/>
                </a:lnTo>
                <a:close/>
                <a:moveTo>
                  <a:pt x="10173" y="2815"/>
                </a:moveTo>
                <a:lnTo>
                  <a:pt x="10184" y="2807"/>
                </a:lnTo>
                <a:lnTo>
                  <a:pt x="10183" y="2789"/>
                </a:lnTo>
                <a:lnTo>
                  <a:pt x="10173" y="2773"/>
                </a:lnTo>
                <a:lnTo>
                  <a:pt x="10156" y="2768"/>
                </a:lnTo>
                <a:lnTo>
                  <a:pt x="10147" y="2780"/>
                </a:lnTo>
                <a:lnTo>
                  <a:pt x="10147" y="2798"/>
                </a:lnTo>
                <a:lnTo>
                  <a:pt x="10156" y="2812"/>
                </a:lnTo>
                <a:lnTo>
                  <a:pt x="10173" y="2815"/>
                </a:lnTo>
                <a:close/>
                <a:moveTo>
                  <a:pt x="3176" y="12103"/>
                </a:moveTo>
                <a:lnTo>
                  <a:pt x="3177" y="12116"/>
                </a:lnTo>
                <a:lnTo>
                  <a:pt x="3185" y="12124"/>
                </a:lnTo>
                <a:lnTo>
                  <a:pt x="3195" y="12125"/>
                </a:lnTo>
                <a:lnTo>
                  <a:pt x="3204" y="12115"/>
                </a:lnTo>
                <a:lnTo>
                  <a:pt x="3204" y="12099"/>
                </a:lnTo>
                <a:lnTo>
                  <a:pt x="3196" y="12092"/>
                </a:lnTo>
                <a:lnTo>
                  <a:pt x="3185" y="12092"/>
                </a:lnTo>
                <a:lnTo>
                  <a:pt x="3176" y="12103"/>
                </a:lnTo>
                <a:close/>
                <a:moveTo>
                  <a:pt x="981" y="5237"/>
                </a:moveTo>
                <a:lnTo>
                  <a:pt x="987" y="5255"/>
                </a:lnTo>
                <a:lnTo>
                  <a:pt x="1002" y="5260"/>
                </a:lnTo>
                <a:lnTo>
                  <a:pt x="1016" y="5252"/>
                </a:lnTo>
                <a:lnTo>
                  <a:pt x="1023" y="5235"/>
                </a:lnTo>
                <a:lnTo>
                  <a:pt x="1016" y="5221"/>
                </a:lnTo>
                <a:lnTo>
                  <a:pt x="1002" y="5218"/>
                </a:lnTo>
                <a:lnTo>
                  <a:pt x="987" y="5223"/>
                </a:lnTo>
                <a:lnTo>
                  <a:pt x="981" y="5237"/>
                </a:lnTo>
                <a:close/>
                <a:moveTo>
                  <a:pt x="1416" y="9585"/>
                </a:moveTo>
                <a:lnTo>
                  <a:pt x="1411" y="9582"/>
                </a:lnTo>
                <a:lnTo>
                  <a:pt x="1406" y="9583"/>
                </a:lnTo>
                <a:lnTo>
                  <a:pt x="1402" y="9585"/>
                </a:lnTo>
                <a:lnTo>
                  <a:pt x="1401" y="9592"/>
                </a:lnTo>
                <a:lnTo>
                  <a:pt x="1405" y="9598"/>
                </a:lnTo>
                <a:lnTo>
                  <a:pt x="1411" y="9597"/>
                </a:lnTo>
                <a:lnTo>
                  <a:pt x="1417" y="9593"/>
                </a:lnTo>
                <a:lnTo>
                  <a:pt x="1416" y="9585"/>
                </a:lnTo>
                <a:close/>
                <a:moveTo>
                  <a:pt x="492" y="6329"/>
                </a:moveTo>
                <a:lnTo>
                  <a:pt x="492" y="6329"/>
                </a:lnTo>
                <a:lnTo>
                  <a:pt x="492" y="6329"/>
                </a:lnTo>
                <a:close/>
                <a:moveTo>
                  <a:pt x="492" y="6331"/>
                </a:moveTo>
                <a:lnTo>
                  <a:pt x="492" y="6331"/>
                </a:lnTo>
                <a:lnTo>
                  <a:pt x="492" y="6331"/>
                </a:lnTo>
                <a:lnTo>
                  <a:pt x="492" y="6329"/>
                </a:lnTo>
                <a:lnTo>
                  <a:pt x="492" y="6331"/>
                </a:lnTo>
                <a:close/>
                <a:moveTo>
                  <a:pt x="5429" y="1034"/>
                </a:moveTo>
                <a:lnTo>
                  <a:pt x="5423" y="1026"/>
                </a:lnTo>
                <a:lnTo>
                  <a:pt x="5412" y="1024"/>
                </a:lnTo>
                <a:lnTo>
                  <a:pt x="5405" y="1029"/>
                </a:lnTo>
                <a:lnTo>
                  <a:pt x="5403" y="1039"/>
                </a:lnTo>
                <a:lnTo>
                  <a:pt x="5410" y="1048"/>
                </a:lnTo>
                <a:lnTo>
                  <a:pt x="5420" y="1048"/>
                </a:lnTo>
                <a:lnTo>
                  <a:pt x="5429" y="1043"/>
                </a:lnTo>
                <a:lnTo>
                  <a:pt x="5429" y="1034"/>
                </a:lnTo>
                <a:close/>
                <a:moveTo>
                  <a:pt x="3749" y="11481"/>
                </a:moveTo>
                <a:lnTo>
                  <a:pt x="3749" y="11481"/>
                </a:lnTo>
                <a:lnTo>
                  <a:pt x="3749" y="11481"/>
                </a:lnTo>
                <a:close/>
                <a:moveTo>
                  <a:pt x="2073" y="10037"/>
                </a:moveTo>
                <a:lnTo>
                  <a:pt x="2071" y="10035"/>
                </a:lnTo>
                <a:lnTo>
                  <a:pt x="2069" y="10035"/>
                </a:lnTo>
                <a:lnTo>
                  <a:pt x="2068" y="10036"/>
                </a:lnTo>
                <a:lnTo>
                  <a:pt x="2069" y="10040"/>
                </a:lnTo>
                <a:lnTo>
                  <a:pt x="2071" y="10042"/>
                </a:lnTo>
                <a:lnTo>
                  <a:pt x="2073" y="10042"/>
                </a:lnTo>
                <a:lnTo>
                  <a:pt x="2075" y="10040"/>
                </a:lnTo>
                <a:lnTo>
                  <a:pt x="2073" y="10037"/>
                </a:lnTo>
                <a:close/>
                <a:moveTo>
                  <a:pt x="302" y="4887"/>
                </a:moveTo>
                <a:lnTo>
                  <a:pt x="304" y="4892"/>
                </a:lnTo>
                <a:lnTo>
                  <a:pt x="311" y="4892"/>
                </a:lnTo>
                <a:lnTo>
                  <a:pt x="316" y="4890"/>
                </a:lnTo>
                <a:lnTo>
                  <a:pt x="317" y="4883"/>
                </a:lnTo>
                <a:lnTo>
                  <a:pt x="313" y="4878"/>
                </a:lnTo>
                <a:lnTo>
                  <a:pt x="308" y="4878"/>
                </a:lnTo>
                <a:lnTo>
                  <a:pt x="303" y="4881"/>
                </a:lnTo>
                <a:lnTo>
                  <a:pt x="302" y="4887"/>
                </a:lnTo>
                <a:close/>
                <a:moveTo>
                  <a:pt x="1778" y="2563"/>
                </a:moveTo>
                <a:lnTo>
                  <a:pt x="1785" y="2562"/>
                </a:lnTo>
                <a:lnTo>
                  <a:pt x="1789" y="2556"/>
                </a:lnTo>
                <a:lnTo>
                  <a:pt x="1788" y="2549"/>
                </a:lnTo>
                <a:lnTo>
                  <a:pt x="1783" y="2546"/>
                </a:lnTo>
                <a:lnTo>
                  <a:pt x="1775" y="2548"/>
                </a:lnTo>
                <a:lnTo>
                  <a:pt x="1771" y="2553"/>
                </a:lnTo>
                <a:lnTo>
                  <a:pt x="1771" y="2559"/>
                </a:lnTo>
                <a:lnTo>
                  <a:pt x="1778" y="2563"/>
                </a:lnTo>
                <a:close/>
                <a:moveTo>
                  <a:pt x="2168" y="2234"/>
                </a:moveTo>
                <a:lnTo>
                  <a:pt x="2173" y="2234"/>
                </a:lnTo>
                <a:lnTo>
                  <a:pt x="2174" y="2232"/>
                </a:lnTo>
                <a:lnTo>
                  <a:pt x="2173" y="2227"/>
                </a:lnTo>
                <a:lnTo>
                  <a:pt x="2170" y="2224"/>
                </a:lnTo>
                <a:lnTo>
                  <a:pt x="2168" y="2223"/>
                </a:lnTo>
                <a:lnTo>
                  <a:pt x="2165" y="2227"/>
                </a:lnTo>
                <a:lnTo>
                  <a:pt x="2166" y="2232"/>
                </a:lnTo>
                <a:lnTo>
                  <a:pt x="2168" y="2234"/>
                </a:lnTo>
                <a:close/>
                <a:moveTo>
                  <a:pt x="7914" y="818"/>
                </a:moveTo>
                <a:lnTo>
                  <a:pt x="7905" y="814"/>
                </a:lnTo>
                <a:lnTo>
                  <a:pt x="7896" y="818"/>
                </a:lnTo>
                <a:lnTo>
                  <a:pt x="7891" y="827"/>
                </a:lnTo>
                <a:lnTo>
                  <a:pt x="7892" y="835"/>
                </a:lnTo>
                <a:lnTo>
                  <a:pt x="7901" y="841"/>
                </a:lnTo>
                <a:lnTo>
                  <a:pt x="7911" y="837"/>
                </a:lnTo>
                <a:lnTo>
                  <a:pt x="7916" y="827"/>
                </a:lnTo>
                <a:lnTo>
                  <a:pt x="7914" y="818"/>
                </a:lnTo>
                <a:close/>
                <a:moveTo>
                  <a:pt x="7241" y="1387"/>
                </a:moveTo>
                <a:lnTo>
                  <a:pt x="7245" y="1364"/>
                </a:lnTo>
                <a:lnTo>
                  <a:pt x="7211" y="1351"/>
                </a:lnTo>
                <a:lnTo>
                  <a:pt x="7177" y="1355"/>
                </a:lnTo>
                <a:lnTo>
                  <a:pt x="7184" y="1379"/>
                </a:lnTo>
                <a:lnTo>
                  <a:pt x="7197" y="1383"/>
                </a:lnTo>
                <a:lnTo>
                  <a:pt x="7212" y="1385"/>
                </a:lnTo>
                <a:lnTo>
                  <a:pt x="7227" y="1388"/>
                </a:lnTo>
                <a:lnTo>
                  <a:pt x="7241" y="1387"/>
                </a:lnTo>
                <a:close/>
                <a:moveTo>
                  <a:pt x="1103" y="9958"/>
                </a:moveTo>
                <a:lnTo>
                  <a:pt x="1112" y="9969"/>
                </a:lnTo>
                <a:lnTo>
                  <a:pt x="1127" y="9971"/>
                </a:lnTo>
                <a:lnTo>
                  <a:pt x="1140" y="9967"/>
                </a:lnTo>
                <a:lnTo>
                  <a:pt x="1144" y="9957"/>
                </a:lnTo>
                <a:lnTo>
                  <a:pt x="1133" y="9944"/>
                </a:lnTo>
                <a:lnTo>
                  <a:pt x="1118" y="9941"/>
                </a:lnTo>
                <a:lnTo>
                  <a:pt x="1105" y="9944"/>
                </a:lnTo>
                <a:lnTo>
                  <a:pt x="1103" y="9958"/>
                </a:lnTo>
                <a:close/>
                <a:moveTo>
                  <a:pt x="309" y="7544"/>
                </a:moveTo>
                <a:lnTo>
                  <a:pt x="303" y="7534"/>
                </a:lnTo>
                <a:lnTo>
                  <a:pt x="290" y="7535"/>
                </a:lnTo>
                <a:lnTo>
                  <a:pt x="278" y="7542"/>
                </a:lnTo>
                <a:lnTo>
                  <a:pt x="270" y="7554"/>
                </a:lnTo>
                <a:lnTo>
                  <a:pt x="275" y="7568"/>
                </a:lnTo>
                <a:lnTo>
                  <a:pt x="290" y="7570"/>
                </a:lnTo>
                <a:lnTo>
                  <a:pt x="306" y="7563"/>
                </a:lnTo>
                <a:lnTo>
                  <a:pt x="309" y="7544"/>
                </a:lnTo>
                <a:close/>
                <a:moveTo>
                  <a:pt x="689" y="3305"/>
                </a:moveTo>
                <a:lnTo>
                  <a:pt x="703" y="3311"/>
                </a:lnTo>
                <a:lnTo>
                  <a:pt x="714" y="3306"/>
                </a:lnTo>
                <a:lnTo>
                  <a:pt x="720" y="3295"/>
                </a:lnTo>
                <a:lnTo>
                  <a:pt x="717" y="3279"/>
                </a:lnTo>
                <a:lnTo>
                  <a:pt x="708" y="3269"/>
                </a:lnTo>
                <a:lnTo>
                  <a:pt x="695" y="3276"/>
                </a:lnTo>
                <a:lnTo>
                  <a:pt x="688" y="3288"/>
                </a:lnTo>
                <a:lnTo>
                  <a:pt x="689" y="3305"/>
                </a:lnTo>
                <a:close/>
                <a:moveTo>
                  <a:pt x="1150" y="3330"/>
                </a:moveTo>
                <a:lnTo>
                  <a:pt x="1164" y="3324"/>
                </a:lnTo>
                <a:lnTo>
                  <a:pt x="1168" y="3311"/>
                </a:lnTo>
                <a:lnTo>
                  <a:pt x="1163" y="3300"/>
                </a:lnTo>
                <a:lnTo>
                  <a:pt x="1149" y="3295"/>
                </a:lnTo>
                <a:lnTo>
                  <a:pt x="1139" y="3302"/>
                </a:lnTo>
                <a:lnTo>
                  <a:pt x="1135" y="3315"/>
                </a:lnTo>
                <a:lnTo>
                  <a:pt x="1139" y="3327"/>
                </a:lnTo>
                <a:lnTo>
                  <a:pt x="1150" y="3330"/>
                </a:lnTo>
                <a:close/>
                <a:moveTo>
                  <a:pt x="10104" y="2596"/>
                </a:moveTo>
                <a:lnTo>
                  <a:pt x="10118" y="2590"/>
                </a:lnTo>
                <a:lnTo>
                  <a:pt x="10121" y="2578"/>
                </a:lnTo>
                <a:lnTo>
                  <a:pt x="10112" y="2567"/>
                </a:lnTo>
                <a:lnTo>
                  <a:pt x="10096" y="2565"/>
                </a:lnTo>
                <a:lnTo>
                  <a:pt x="10086" y="2572"/>
                </a:lnTo>
                <a:lnTo>
                  <a:pt x="10085" y="2583"/>
                </a:lnTo>
                <a:lnTo>
                  <a:pt x="10092" y="2592"/>
                </a:lnTo>
                <a:lnTo>
                  <a:pt x="10104" y="2596"/>
                </a:lnTo>
                <a:close/>
                <a:moveTo>
                  <a:pt x="7292" y="960"/>
                </a:moveTo>
                <a:lnTo>
                  <a:pt x="7293" y="956"/>
                </a:lnTo>
                <a:lnTo>
                  <a:pt x="7291" y="955"/>
                </a:lnTo>
                <a:lnTo>
                  <a:pt x="7287" y="956"/>
                </a:lnTo>
                <a:lnTo>
                  <a:pt x="7284" y="958"/>
                </a:lnTo>
                <a:lnTo>
                  <a:pt x="7283" y="960"/>
                </a:lnTo>
                <a:lnTo>
                  <a:pt x="7286" y="961"/>
                </a:lnTo>
                <a:lnTo>
                  <a:pt x="7290" y="961"/>
                </a:lnTo>
                <a:lnTo>
                  <a:pt x="7292" y="960"/>
                </a:lnTo>
                <a:close/>
                <a:moveTo>
                  <a:pt x="2765" y="11920"/>
                </a:moveTo>
                <a:lnTo>
                  <a:pt x="2752" y="11938"/>
                </a:lnTo>
                <a:lnTo>
                  <a:pt x="2758" y="11952"/>
                </a:lnTo>
                <a:lnTo>
                  <a:pt x="2776" y="11959"/>
                </a:lnTo>
                <a:lnTo>
                  <a:pt x="2797" y="11957"/>
                </a:lnTo>
                <a:lnTo>
                  <a:pt x="2809" y="11944"/>
                </a:lnTo>
                <a:lnTo>
                  <a:pt x="2803" y="11924"/>
                </a:lnTo>
                <a:lnTo>
                  <a:pt x="2785" y="11911"/>
                </a:lnTo>
                <a:lnTo>
                  <a:pt x="2765" y="11920"/>
                </a:lnTo>
                <a:close/>
                <a:moveTo>
                  <a:pt x="546" y="6070"/>
                </a:moveTo>
                <a:lnTo>
                  <a:pt x="567" y="6063"/>
                </a:lnTo>
                <a:lnTo>
                  <a:pt x="571" y="6049"/>
                </a:lnTo>
                <a:lnTo>
                  <a:pt x="562" y="6038"/>
                </a:lnTo>
                <a:lnTo>
                  <a:pt x="541" y="6035"/>
                </a:lnTo>
                <a:lnTo>
                  <a:pt x="527" y="6042"/>
                </a:lnTo>
                <a:lnTo>
                  <a:pt x="526" y="6053"/>
                </a:lnTo>
                <a:lnTo>
                  <a:pt x="534" y="6065"/>
                </a:lnTo>
                <a:lnTo>
                  <a:pt x="546" y="6070"/>
                </a:lnTo>
                <a:close/>
                <a:moveTo>
                  <a:pt x="335" y="4745"/>
                </a:moveTo>
                <a:lnTo>
                  <a:pt x="341" y="4753"/>
                </a:lnTo>
                <a:lnTo>
                  <a:pt x="350" y="4751"/>
                </a:lnTo>
                <a:lnTo>
                  <a:pt x="357" y="4741"/>
                </a:lnTo>
                <a:lnTo>
                  <a:pt x="355" y="4729"/>
                </a:lnTo>
                <a:lnTo>
                  <a:pt x="351" y="4724"/>
                </a:lnTo>
                <a:lnTo>
                  <a:pt x="344" y="4727"/>
                </a:lnTo>
                <a:lnTo>
                  <a:pt x="336" y="4733"/>
                </a:lnTo>
                <a:lnTo>
                  <a:pt x="335" y="4745"/>
                </a:lnTo>
                <a:close/>
                <a:moveTo>
                  <a:pt x="4149" y="12036"/>
                </a:moveTo>
                <a:lnTo>
                  <a:pt x="4154" y="12036"/>
                </a:lnTo>
                <a:lnTo>
                  <a:pt x="4158" y="12032"/>
                </a:lnTo>
                <a:lnTo>
                  <a:pt x="4158" y="12028"/>
                </a:lnTo>
                <a:lnTo>
                  <a:pt x="4154" y="12024"/>
                </a:lnTo>
                <a:lnTo>
                  <a:pt x="4148" y="12023"/>
                </a:lnTo>
                <a:lnTo>
                  <a:pt x="4144" y="12027"/>
                </a:lnTo>
                <a:lnTo>
                  <a:pt x="4144" y="12032"/>
                </a:lnTo>
                <a:lnTo>
                  <a:pt x="4149" y="12036"/>
                </a:lnTo>
                <a:close/>
                <a:moveTo>
                  <a:pt x="9020" y="1079"/>
                </a:moveTo>
                <a:lnTo>
                  <a:pt x="9010" y="1076"/>
                </a:lnTo>
                <a:lnTo>
                  <a:pt x="9000" y="1082"/>
                </a:lnTo>
                <a:lnTo>
                  <a:pt x="8992" y="1094"/>
                </a:lnTo>
                <a:lnTo>
                  <a:pt x="8993" y="1104"/>
                </a:lnTo>
                <a:lnTo>
                  <a:pt x="9002" y="1108"/>
                </a:lnTo>
                <a:lnTo>
                  <a:pt x="9015" y="1101"/>
                </a:lnTo>
                <a:lnTo>
                  <a:pt x="9023" y="1090"/>
                </a:lnTo>
                <a:lnTo>
                  <a:pt x="9020" y="1079"/>
                </a:lnTo>
                <a:close/>
                <a:moveTo>
                  <a:pt x="7829" y="60"/>
                </a:moveTo>
                <a:lnTo>
                  <a:pt x="7831" y="45"/>
                </a:lnTo>
                <a:lnTo>
                  <a:pt x="7821" y="33"/>
                </a:lnTo>
                <a:lnTo>
                  <a:pt x="7807" y="30"/>
                </a:lnTo>
                <a:lnTo>
                  <a:pt x="7794" y="39"/>
                </a:lnTo>
                <a:lnTo>
                  <a:pt x="7791" y="55"/>
                </a:lnTo>
                <a:lnTo>
                  <a:pt x="7801" y="68"/>
                </a:lnTo>
                <a:lnTo>
                  <a:pt x="7815" y="72"/>
                </a:lnTo>
                <a:lnTo>
                  <a:pt x="7829" y="60"/>
                </a:lnTo>
                <a:close/>
                <a:moveTo>
                  <a:pt x="396" y="6584"/>
                </a:moveTo>
                <a:lnTo>
                  <a:pt x="394" y="6589"/>
                </a:lnTo>
                <a:lnTo>
                  <a:pt x="396" y="6594"/>
                </a:lnTo>
                <a:lnTo>
                  <a:pt x="400" y="6595"/>
                </a:lnTo>
                <a:lnTo>
                  <a:pt x="405" y="6594"/>
                </a:lnTo>
                <a:lnTo>
                  <a:pt x="408" y="6589"/>
                </a:lnTo>
                <a:lnTo>
                  <a:pt x="405" y="6584"/>
                </a:lnTo>
                <a:lnTo>
                  <a:pt x="401" y="6583"/>
                </a:lnTo>
                <a:lnTo>
                  <a:pt x="396" y="6584"/>
                </a:lnTo>
                <a:close/>
                <a:moveTo>
                  <a:pt x="178" y="7676"/>
                </a:moveTo>
                <a:lnTo>
                  <a:pt x="172" y="7686"/>
                </a:lnTo>
                <a:lnTo>
                  <a:pt x="171" y="7698"/>
                </a:lnTo>
                <a:lnTo>
                  <a:pt x="173" y="7709"/>
                </a:lnTo>
                <a:lnTo>
                  <a:pt x="178" y="7721"/>
                </a:lnTo>
                <a:lnTo>
                  <a:pt x="204" y="7716"/>
                </a:lnTo>
                <a:lnTo>
                  <a:pt x="217" y="7693"/>
                </a:lnTo>
                <a:lnTo>
                  <a:pt x="210" y="7674"/>
                </a:lnTo>
                <a:lnTo>
                  <a:pt x="178" y="7676"/>
                </a:lnTo>
                <a:close/>
                <a:moveTo>
                  <a:pt x="8737" y="877"/>
                </a:moveTo>
                <a:lnTo>
                  <a:pt x="8709" y="847"/>
                </a:lnTo>
                <a:lnTo>
                  <a:pt x="8676" y="832"/>
                </a:lnTo>
                <a:lnTo>
                  <a:pt x="8652" y="841"/>
                </a:lnTo>
                <a:lnTo>
                  <a:pt x="8652" y="884"/>
                </a:lnTo>
                <a:lnTo>
                  <a:pt x="8685" y="904"/>
                </a:lnTo>
                <a:lnTo>
                  <a:pt x="8730" y="916"/>
                </a:lnTo>
                <a:lnTo>
                  <a:pt x="8758" y="909"/>
                </a:lnTo>
                <a:lnTo>
                  <a:pt x="8737" y="877"/>
                </a:lnTo>
                <a:close/>
                <a:moveTo>
                  <a:pt x="596" y="5251"/>
                </a:moveTo>
                <a:lnTo>
                  <a:pt x="592" y="5254"/>
                </a:lnTo>
                <a:lnTo>
                  <a:pt x="590" y="5260"/>
                </a:lnTo>
                <a:lnTo>
                  <a:pt x="591" y="5266"/>
                </a:lnTo>
                <a:lnTo>
                  <a:pt x="596" y="5270"/>
                </a:lnTo>
                <a:lnTo>
                  <a:pt x="600" y="5268"/>
                </a:lnTo>
                <a:lnTo>
                  <a:pt x="602" y="5261"/>
                </a:lnTo>
                <a:lnTo>
                  <a:pt x="601" y="5255"/>
                </a:lnTo>
                <a:lnTo>
                  <a:pt x="596" y="5251"/>
                </a:lnTo>
                <a:close/>
                <a:moveTo>
                  <a:pt x="345" y="7880"/>
                </a:moveTo>
                <a:lnTo>
                  <a:pt x="355" y="7878"/>
                </a:lnTo>
                <a:lnTo>
                  <a:pt x="359" y="7872"/>
                </a:lnTo>
                <a:lnTo>
                  <a:pt x="358" y="7864"/>
                </a:lnTo>
                <a:lnTo>
                  <a:pt x="350" y="7859"/>
                </a:lnTo>
                <a:lnTo>
                  <a:pt x="340" y="7861"/>
                </a:lnTo>
                <a:lnTo>
                  <a:pt x="336" y="7867"/>
                </a:lnTo>
                <a:lnTo>
                  <a:pt x="337" y="7875"/>
                </a:lnTo>
                <a:lnTo>
                  <a:pt x="345" y="7880"/>
                </a:lnTo>
                <a:close/>
                <a:moveTo>
                  <a:pt x="1671" y="3717"/>
                </a:moveTo>
                <a:lnTo>
                  <a:pt x="1663" y="3720"/>
                </a:lnTo>
                <a:lnTo>
                  <a:pt x="1661" y="3728"/>
                </a:lnTo>
                <a:lnTo>
                  <a:pt x="1663" y="3735"/>
                </a:lnTo>
                <a:lnTo>
                  <a:pt x="1671" y="3740"/>
                </a:lnTo>
                <a:lnTo>
                  <a:pt x="1678" y="3739"/>
                </a:lnTo>
                <a:lnTo>
                  <a:pt x="1681" y="3730"/>
                </a:lnTo>
                <a:lnTo>
                  <a:pt x="1677" y="3721"/>
                </a:lnTo>
                <a:lnTo>
                  <a:pt x="1671" y="3717"/>
                </a:lnTo>
                <a:close/>
                <a:moveTo>
                  <a:pt x="807" y="8379"/>
                </a:moveTo>
                <a:lnTo>
                  <a:pt x="804" y="8394"/>
                </a:lnTo>
                <a:lnTo>
                  <a:pt x="811" y="8400"/>
                </a:lnTo>
                <a:lnTo>
                  <a:pt x="825" y="8400"/>
                </a:lnTo>
                <a:lnTo>
                  <a:pt x="839" y="8393"/>
                </a:lnTo>
                <a:lnTo>
                  <a:pt x="844" y="8379"/>
                </a:lnTo>
                <a:lnTo>
                  <a:pt x="837" y="8370"/>
                </a:lnTo>
                <a:lnTo>
                  <a:pt x="821" y="8369"/>
                </a:lnTo>
                <a:lnTo>
                  <a:pt x="807" y="8379"/>
                </a:lnTo>
                <a:close/>
                <a:moveTo>
                  <a:pt x="2669" y="1746"/>
                </a:moveTo>
                <a:lnTo>
                  <a:pt x="2669" y="1732"/>
                </a:lnTo>
                <a:lnTo>
                  <a:pt x="2664" y="1719"/>
                </a:lnTo>
                <a:lnTo>
                  <a:pt x="2653" y="1712"/>
                </a:lnTo>
                <a:lnTo>
                  <a:pt x="2640" y="1718"/>
                </a:lnTo>
                <a:lnTo>
                  <a:pt x="2636" y="1735"/>
                </a:lnTo>
                <a:lnTo>
                  <a:pt x="2646" y="1752"/>
                </a:lnTo>
                <a:lnTo>
                  <a:pt x="2662" y="1758"/>
                </a:lnTo>
                <a:lnTo>
                  <a:pt x="2669" y="1746"/>
                </a:lnTo>
                <a:close/>
                <a:moveTo>
                  <a:pt x="2711" y="1767"/>
                </a:moveTo>
                <a:lnTo>
                  <a:pt x="2730" y="1758"/>
                </a:lnTo>
                <a:lnTo>
                  <a:pt x="2743" y="1739"/>
                </a:lnTo>
                <a:lnTo>
                  <a:pt x="2743" y="1720"/>
                </a:lnTo>
                <a:lnTo>
                  <a:pt x="2728" y="1710"/>
                </a:lnTo>
                <a:lnTo>
                  <a:pt x="2709" y="1721"/>
                </a:lnTo>
                <a:lnTo>
                  <a:pt x="2696" y="1743"/>
                </a:lnTo>
                <a:lnTo>
                  <a:pt x="2695" y="1763"/>
                </a:lnTo>
                <a:lnTo>
                  <a:pt x="2711" y="1767"/>
                </a:lnTo>
                <a:close/>
                <a:moveTo>
                  <a:pt x="1319" y="3750"/>
                </a:moveTo>
                <a:lnTo>
                  <a:pt x="1308" y="3754"/>
                </a:lnTo>
                <a:lnTo>
                  <a:pt x="1302" y="3764"/>
                </a:lnTo>
                <a:lnTo>
                  <a:pt x="1303" y="3775"/>
                </a:lnTo>
                <a:lnTo>
                  <a:pt x="1314" y="3781"/>
                </a:lnTo>
                <a:lnTo>
                  <a:pt x="1326" y="3777"/>
                </a:lnTo>
                <a:lnTo>
                  <a:pt x="1331" y="3767"/>
                </a:lnTo>
                <a:lnTo>
                  <a:pt x="1330" y="3756"/>
                </a:lnTo>
                <a:lnTo>
                  <a:pt x="1319" y="3750"/>
                </a:lnTo>
                <a:close/>
                <a:moveTo>
                  <a:pt x="253" y="7488"/>
                </a:moveTo>
                <a:lnTo>
                  <a:pt x="250" y="7492"/>
                </a:lnTo>
                <a:lnTo>
                  <a:pt x="250" y="7497"/>
                </a:lnTo>
                <a:lnTo>
                  <a:pt x="253" y="7500"/>
                </a:lnTo>
                <a:lnTo>
                  <a:pt x="259" y="7500"/>
                </a:lnTo>
                <a:lnTo>
                  <a:pt x="265" y="7494"/>
                </a:lnTo>
                <a:lnTo>
                  <a:pt x="266" y="7490"/>
                </a:lnTo>
                <a:lnTo>
                  <a:pt x="261" y="7486"/>
                </a:lnTo>
                <a:lnTo>
                  <a:pt x="253" y="7488"/>
                </a:lnTo>
                <a:close/>
                <a:moveTo>
                  <a:pt x="176" y="4336"/>
                </a:moveTo>
                <a:lnTo>
                  <a:pt x="182" y="4331"/>
                </a:lnTo>
                <a:lnTo>
                  <a:pt x="188" y="4318"/>
                </a:lnTo>
                <a:lnTo>
                  <a:pt x="188" y="4304"/>
                </a:lnTo>
                <a:lnTo>
                  <a:pt x="176" y="4299"/>
                </a:lnTo>
                <a:lnTo>
                  <a:pt x="164" y="4305"/>
                </a:lnTo>
                <a:lnTo>
                  <a:pt x="163" y="4316"/>
                </a:lnTo>
                <a:lnTo>
                  <a:pt x="167" y="4328"/>
                </a:lnTo>
                <a:lnTo>
                  <a:pt x="176" y="4336"/>
                </a:lnTo>
                <a:close/>
                <a:moveTo>
                  <a:pt x="303" y="6842"/>
                </a:moveTo>
                <a:lnTo>
                  <a:pt x="301" y="6847"/>
                </a:lnTo>
                <a:lnTo>
                  <a:pt x="304" y="6850"/>
                </a:lnTo>
                <a:lnTo>
                  <a:pt x="308" y="6850"/>
                </a:lnTo>
                <a:lnTo>
                  <a:pt x="306" y="6844"/>
                </a:lnTo>
                <a:lnTo>
                  <a:pt x="304" y="6842"/>
                </a:lnTo>
                <a:lnTo>
                  <a:pt x="303" y="6842"/>
                </a:lnTo>
                <a:close/>
                <a:moveTo>
                  <a:pt x="3850" y="12191"/>
                </a:moveTo>
                <a:lnTo>
                  <a:pt x="3828" y="12195"/>
                </a:lnTo>
                <a:lnTo>
                  <a:pt x="3814" y="12212"/>
                </a:lnTo>
                <a:lnTo>
                  <a:pt x="3810" y="12233"/>
                </a:lnTo>
                <a:lnTo>
                  <a:pt x="3818" y="12254"/>
                </a:lnTo>
                <a:lnTo>
                  <a:pt x="3845" y="12259"/>
                </a:lnTo>
                <a:lnTo>
                  <a:pt x="3863" y="12237"/>
                </a:lnTo>
                <a:lnTo>
                  <a:pt x="3866" y="12209"/>
                </a:lnTo>
                <a:lnTo>
                  <a:pt x="3850" y="12191"/>
                </a:lnTo>
                <a:close/>
                <a:moveTo>
                  <a:pt x="600" y="4155"/>
                </a:moveTo>
                <a:lnTo>
                  <a:pt x="609" y="4144"/>
                </a:lnTo>
                <a:lnTo>
                  <a:pt x="606" y="4132"/>
                </a:lnTo>
                <a:lnTo>
                  <a:pt x="595" y="4123"/>
                </a:lnTo>
                <a:lnTo>
                  <a:pt x="581" y="4123"/>
                </a:lnTo>
                <a:lnTo>
                  <a:pt x="574" y="4132"/>
                </a:lnTo>
                <a:lnTo>
                  <a:pt x="577" y="4145"/>
                </a:lnTo>
                <a:lnTo>
                  <a:pt x="587" y="4155"/>
                </a:lnTo>
                <a:lnTo>
                  <a:pt x="600" y="4155"/>
                </a:lnTo>
                <a:close/>
                <a:moveTo>
                  <a:pt x="9983" y="1770"/>
                </a:moveTo>
                <a:lnTo>
                  <a:pt x="9977" y="1765"/>
                </a:lnTo>
                <a:lnTo>
                  <a:pt x="9969" y="1767"/>
                </a:lnTo>
                <a:lnTo>
                  <a:pt x="9963" y="1774"/>
                </a:lnTo>
                <a:lnTo>
                  <a:pt x="9965" y="1781"/>
                </a:lnTo>
                <a:lnTo>
                  <a:pt x="9972" y="1784"/>
                </a:lnTo>
                <a:lnTo>
                  <a:pt x="9978" y="1782"/>
                </a:lnTo>
                <a:lnTo>
                  <a:pt x="9983" y="1777"/>
                </a:lnTo>
                <a:lnTo>
                  <a:pt x="9983" y="1770"/>
                </a:lnTo>
                <a:close/>
                <a:moveTo>
                  <a:pt x="1265" y="3283"/>
                </a:moveTo>
                <a:lnTo>
                  <a:pt x="1262" y="3279"/>
                </a:lnTo>
                <a:lnTo>
                  <a:pt x="1257" y="3279"/>
                </a:lnTo>
                <a:lnTo>
                  <a:pt x="1252" y="3279"/>
                </a:lnTo>
                <a:lnTo>
                  <a:pt x="1249" y="3281"/>
                </a:lnTo>
                <a:lnTo>
                  <a:pt x="1253" y="3286"/>
                </a:lnTo>
                <a:lnTo>
                  <a:pt x="1258" y="3288"/>
                </a:lnTo>
                <a:lnTo>
                  <a:pt x="1263" y="3287"/>
                </a:lnTo>
                <a:lnTo>
                  <a:pt x="1265" y="3283"/>
                </a:lnTo>
                <a:close/>
                <a:moveTo>
                  <a:pt x="9625" y="2997"/>
                </a:moveTo>
                <a:lnTo>
                  <a:pt x="9625" y="2997"/>
                </a:lnTo>
                <a:lnTo>
                  <a:pt x="9625" y="2997"/>
                </a:lnTo>
                <a:close/>
                <a:moveTo>
                  <a:pt x="732" y="5100"/>
                </a:moveTo>
                <a:lnTo>
                  <a:pt x="727" y="5100"/>
                </a:lnTo>
                <a:lnTo>
                  <a:pt x="723" y="5101"/>
                </a:lnTo>
                <a:lnTo>
                  <a:pt x="721" y="5105"/>
                </a:lnTo>
                <a:lnTo>
                  <a:pt x="721" y="5110"/>
                </a:lnTo>
                <a:lnTo>
                  <a:pt x="726" y="5115"/>
                </a:lnTo>
                <a:lnTo>
                  <a:pt x="734" y="5112"/>
                </a:lnTo>
                <a:lnTo>
                  <a:pt x="737" y="5106"/>
                </a:lnTo>
                <a:lnTo>
                  <a:pt x="732" y="5100"/>
                </a:lnTo>
                <a:close/>
                <a:moveTo>
                  <a:pt x="1298" y="2836"/>
                </a:moveTo>
                <a:lnTo>
                  <a:pt x="1305" y="2833"/>
                </a:lnTo>
                <a:lnTo>
                  <a:pt x="1307" y="2822"/>
                </a:lnTo>
                <a:lnTo>
                  <a:pt x="1302" y="2812"/>
                </a:lnTo>
                <a:lnTo>
                  <a:pt x="1293" y="2810"/>
                </a:lnTo>
                <a:lnTo>
                  <a:pt x="1282" y="2816"/>
                </a:lnTo>
                <a:lnTo>
                  <a:pt x="1281" y="2825"/>
                </a:lnTo>
                <a:lnTo>
                  <a:pt x="1288" y="2833"/>
                </a:lnTo>
                <a:lnTo>
                  <a:pt x="1298" y="2836"/>
                </a:lnTo>
                <a:close/>
                <a:moveTo>
                  <a:pt x="5128" y="737"/>
                </a:moveTo>
                <a:lnTo>
                  <a:pt x="5144" y="743"/>
                </a:lnTo>
                <a:lnTo>
                  <a:pt x="5160" y="748"/>
                </a:lnTo>
                <a:lnTo>
                  <a:pt x="5178" y="750"/>
                </a:lnTo>
                <a:lnTo>
                  <a:pt x="5195" y="750"/>
                </a:lnTo>
                <a:lnTo>
                  <a:pt x="5210" y="721"/>
                </a:lnTo>
                <a:lnTo>
                  <a:pt x="5181" y="699"/>
                </a:lnTo>
                <a:lnTo>
                  <a:pt x="5142" y="699"/>
                </a:lnTo>
                <a:lnTo>
                  <a:pt x="5128" y="737"/>
                </a:lnTo>
                <a:close/>
                <a:moveTo>
                  <a:pt x="6435" y="426"/>
                </a:moveTo>
                <a:lnTo>
                  <a:pt x="6458" y="419"/>
                </a:lnTo>
                <a:lnTo>
                  <a:pt x="6462" y="401"/>
                </a:lnTo>
                <a:lnTo>
                  <a:pt x="6452" y="384"/>
                </a:lnTo>
                <a:lnTo>
                  <a:pt x="6430" y="373"/>
                </a:lnTo>
                <a:lnTo>
                  <a:pt x="6404" y="381"/>
                </a:lnTo>
                <a:lnTo>
                  <a:pt x="6401" y="396"/>
                </a:lnTo>
                <a:lnTo>
                  <a:pt x="6412" y="413"/>
                </a:lnTo>
                <a:lnTo>
                  <a:pt x="6435" y="426"/>
                </a:lnTo>
                <a:close/>
                <a:moveTo>
                  <a:pt x="10355" y="2116"/>
                </a:moveTo>
                <a:lnTo>
                  <a:pt x="10356" y="2106"/>
                </a:lnTo>
                <a:lnTo>
                  <a:pt x="10352" y="2098"/>
                </a:lnTo>
                <a:lnTo>
                  <a:pt x="10345" y="2094"/>
                </a:lnTo>
                <a:lnTo>
                  <a:pt x="10338" y="2099"/>
                </a:lnTo>
                <a:lnTo>
                  <a:pt x="10337" y="2108"/>
                </a:lnTo>
                <a:lnTo>
                  <a:pt x="10341" y="2117"/>
                </a:lnTo>
                <a:lnTo>
                  <a:pt x="10348" y="2121"/>
                </a:lnTo>
                <a:lnTo>
                  <a:pt x="10355" y="2116"/>
                </a:lnTo>
                <a:close/>
                <a:moveTo>
                  <a:pt x="893" y="8533"/>
                </a:moveTo>
                <a:lnTo>
                  <a:pt x="899" y="8528"/>
                </a:lnTo>
                <a:lnTo>
                  <a:pt x="899" y="8518"/>
                </a:lnTo>
                <a:lnTo>
                  <a:pt x="891" y="8510"/>
                </a:lnTo>
                <a:lnTo>
                  <a:pt x="883" y="8506"/>
                </a:lnTo>
                <a:lnTo>
                  <a:pt x="872" y="8511"/>
                </a:lnTo>
                <a:lnTo>
                  <a:pt x="872" y="8521"/>
                </a:lnTo>
                <a:lnTo>
                  <a:pt x="880" y="8530"/>
                </a:lnTo>
                <a:lnTo>
                  <a:pt x="893" y="8533"/>
                </a:lnTo>
                <a:close/>
                <a:moveTo>
                  <a:pt x="469" y="6557"/>
                </a:moveTo>
                <a:lnTo>
                  <a:pt x="479" y="6560"/>
                </a:lnTo>
                <a:lnTo>
                  <a:pt x="485" y="6553"/>
                </a:lnTo>
                <a:lnTo>
                  <a:pt x="488" y="6543"/>
                </a:lnTo>
                <a:lnTo>
                  <a:pt x="484" y="6534"/>
                </a:lnTo>
                <a:lnTo>
                  <a:pt x="471" y="6529"/>
                </a:lnTo>
                <a:lnTo>
                  <a:pt x="464" y="6536"/>
                </a:lnTo>
                <a:lnTo>
                  <a:pt x="462" y="6547"/>
                </a:lnTo>
                <a:lnTo>
                  <a:pt x="469" y="6557"/>
                </a:lnTo>
                <a:close/>
                <a:moveTo>
                  <a:pt x="983" y="4080"/>
                </a:moveTo>
                <a:lnTo>
                  <a:pt x="973" y="4078"/>
                </a:lnTo>
                <a:lnTo>
                  <a:pt x="964" y="4078"/>
                </a:lnTo>
                <a:lnTo>
                  <a:pt x="959" y="4083"/>
                </a:lnTo>
                <a:lnTo>
                  <a:pt x="963" y="4092"/>
                </a:lnTo>
                <a:lnTo>
                  <a:pt x="973" y="4098"/>
                </a:lnTo>
                <a:lnTo>
                  <a:pt x="983" y="4094"/>
                </a:lnTo>
                <a:lnTo>
                  <a:pt x="988" y="4086"/>
                </a:lnTo>
                <a:lnTo>
                  <a:pt x="983" y="4080"/>
                </a:lnTo>
                <a:close/>
                <a:moveTo>
                  <a:pt x="11068" y="3184"/>
                </a:moveTo>
                <a:lnTo>
                  <a:pt x="11090" y="3184"/>
                </a:lnTo>
                <a:lnTo>
                  <a:pt x="11097" y="3167"/>
                </a:lnTo>
                <a:lnTo>
                  <a:pt x="11088" y="3147"/>
                </a:lnTo>
                <a:lnTo>
                  <a:pt x="11060" y="3139"/>
                </a:lnTo>
                <a:lnTo>
                  <a:pt x="11031" y="3125"/>
                </a:lnTo>
                <a:lnTo>
                  <a:pt x="11031" y="3139"/>
                </a:lnTo>
                <a:lnTo>
                  <a:pt x="11046" y="3164"/>
                </a:lnTo>
                <a:lnTo>
                  <a:pt x="11068" y="3184"/>
                </a:lnTo>
                <a:close/>
                <a:moveTo>
                  <a:pt x="7775" y="1089"/>
                </a:moveTo>
                <a:lnTo>
                  <a:pt x="7775" y="1091"/>
                </a:lnTo>
                <a:lnTo>
                  <a:pt x="7777" y="1093"/>
                </a:lnTo>
                <a:lnTo>
                  <a:pt x="7780" y="1094"/>
                </a:lnTo>
                <a:lnTo>
                  <a:pt x="7782" y="1093"/>
                </a:lnTo>
                <a:lnTo>
                  <a:pt x="7782" y="1091"/>
                </a:lnTo>
                <a:lnTo>
                  <a:pt x="7780" y="1089"/>
                </a:lnTo>
                <a:lnTo>
                  <a:pt x="7777" y="1087"/>
                </a:lnTo>
                <a:lnTo>
                  <a:pt x="7775" y="1089"/>
                </a:lnTo>
                <a:close/>
                <a:moveTo>
                  <a:pt x="9986" y="2215"/>
                </a:moveTo>
                <a:lnTo>
                  <a:pt x="10002" y="2232"/>
                </a:lnTo>
                <a:lnTo>
                  <a:pt x="10021" y="2237"/>
                </a:lnTo>
                <a:lnTo>
                  <a:pt x="10033" y="2228"/>
                </a:lnTo>
                <a:lnTo>
                  <a:pt x="10026" y="2205"/>
                </a:lnTo>
                <a:lnTo>
                  <a:pt x="10007" y="2190"/>
                </a:lnTo>
                <a:lnTo>
                  <a:pt x="9986" y="2185"/>
                </a:lnTo>
                <a:lnTo>
                  <a:pt x="9974" y="2191"/>
                </a:lnTo>
                <a:lnTo>
                  <a:pt x="9986" y="2215"/>
                </a:lnTo>
                <a:close/>
                <a:moveTo>
                  <a:pt x="2550" y="797"/>
                </a:moveTo>
                <a:lnTo>
                  <a:pt x="2552" y="795"/>
                </a:lnTo>
                <a:lnTo>
                  <a:pt x="2552" y="793"/>
                </a:lnTo>
                <a:lnTo>
                  <a:pt x="2550" y="792"/>
                </a:lnTo>
                <a:lnTo>
                  <a:pt x="2547" y="793"/>
                </a:lnTo>
                <a:lnTo>
                  <a:pt x="2544" y="795"/>
                </a:lnTo>
                <a:lnTo>
                  <a:pt x="2544" y="797"/>
                </a:lnTo>
                <a:lnTo>
                  <a:pt x="2547" y="797"/>
                </a:lnTo>
                <a:lnTo>
                  <a:pt x="2550" y="797"/>
                </a:lnTo>
                <a:close/>
                <a:moveTo>
                  <a:pt x="583" y="4028"/>
                </a:moveTo>
                <a:lnTo>
                  <a:pt x="581" y="4018"/>
                </a:lnTo>
                <a:lnTo>
                  <a:pt x="572" y="4011"/>
                </a:lnTo>
                <a:lnTo>
                  <a:pt x="562" y="4010"/>
                </a:lnTo>
                <a:lnTo>
                  <a:pt x="555" y="4019"/>
                </a:lnTo>
                <a:lnTo>
                  <a:pt x="559" y="4032"/>
                </a:lnTo>
                <a:lnTo>
                  <a:pt x="568" y="4039"/>
                </a:lnTo>
                <a:lnTo>
                  <a:pt x="578" y="4038"/>
                </a:lnTo>
                <a:lnTo>
                  <a:pt x="583" y="4028"/>
                </a:lnTo>
                <a:close/>
                <a:moveTo>
                  <a:pt x="1109" y="3660"/>
                </a:moveTo>
                <a:lnTo>
                  <a:pt x="1099" y="3656"/>
                </a:lnTo>
                <a:lnTo>
                  <a:pt x="1093" y="3663"/>
                </a:lnTo>
                <a:lnTo>
                  <a:pt x="1094" y="3675"/>
                </a:lnTo>
                <a:lnTo>
                  <a:pt x="1102" y="3687"/>
                </a:lnTo>
                <a:lnTo>
                  <a:pt x="1112" y="3691"/>
                </a:lnTo>
                <a:lnTo>
                  <a:pt x="1117" y="3683"/>
                </a:lnTo>
                <a:lnTo>
                  <a:pt x="1116" y="3670"/>
                </a:lnTo>
                <a:lnTo>
                  <a:pt x="1109" y="3660"/>
                </a:lnTo>
                <a:close/>
                <a:moveTo>
                  <a:pt x="2361" y="1808"/>
                </a:moveTo>
                <a:lnTo>
                  <a:pt x="2397" y="1786"/>
                </a:lnTo>
                <a:lnTo>
                  <a:pt x="2426" y="1746"/>
                </a:lnTo>
                <a:lnTo>
                  <a:pt x="2431" y="1710"/>
                </a:lnTo>
                <a:lnTo>
                  <a:pt x="2392" y="1702"/>
                </a:lnTo>
                <a:lnTo>
                  <a:pt x="2375" y="1725"/>
                </a:lnTo>
                <a:lnTo>
                  <a:pt x="2359" y="1756"/>
                </a:lnTo>
                <a:lnTo>
                  <a:pt x="2350" y="1785"/>
                </a:lnTo>
                <a:lnTo>
                  <a:pt x="2361" y="1808"/>
                </a:lnTo>
                <a:close/>
                <a:moveTo>
                  <a:pt x="10331" y="2252"/>
                </a:moveTo>
                <a:lnTo>
                  <a:pt x="10319" y="2243"/>
                </a:lnTo>
                <a:lnTo>
                  <a:pt x="10308" y="2246"/>
                </a:lnTo>
                <a:lnTo>
                  <a:pt x="10301" y="2255"/>
                </a:lnTo>
                <a:lnTo>
                  <a:pt x="10303" y="2269"/>
                </a:lnTo>
                <a:lnTo>
                  <a:pt x="10313" y="2279"/>
                </a:lnTo>
                <a:lnTo>
                  <a:pt x="10326" y="2276"/>
                </a:lnTo>
                <a:lnTo>
                  <a:pt x="10333" y="2266"/>
                </a:lnTo>
                <a:lnTo>
                  <a:pt x="10331" y="2252"/>
                </a:lnTo>
                <a:close/>
                <a:moveTo>
                  <a:pt x="1498" y="9549"/>
                </a:moveTo>
                <a:lnTo>
                  <a:pt x="1501" y="9538"/>
                </a:lnTo>
                <a:lnTo>
                  <a:pt x="1493" y="9528"/>
                </a:lnTo>
                <a:lnTo>
                  <a:pt x="1480" y="9524"/>
                </a:lnTo>
                <a:lnTo>
                  <a:pt x="1470" y="9535"/>
                </a:lnTo>
                <a:lnTo>
                  <a:pt x="1468" y="9546"/>
                </a:lnTo>
                <a:lnTo>
                  <a:pt x="1476" y="9552"/>
                </a:lnTo>
                <a:lnTo>
                  <a:pt x="1487" y="9554"/>
                </a:lnTo>
                <a:lnTo>
                  <a:pt x="1498" y="9549"/>
                </a:lnTo>
                <a:close/>
                <a:moveTo>
                  <a:pt x="1081" y="10048"/>
                </a:moveTo>
                <a:lnTo>
                  <a:pt x="1072" y="10049"/>
                </a:lnTo>
                <a:lnTo>
                  <a:pt x="1063" y="10053"/>
                </a:lnTo>
                <a:lnTo>
                  <a:pt x="1057" y="10058"/>
                </a:lnTo>
                <a:lnTo>
                  <a:pt x="1052" y="10064"/>
                </a:lnTo>
                <a:lnTo>
                  <a:pt x="1058" y="10083"/>
                </a:lnTo>
                <a:lnTo>
                  <a:pt x="1079" y="10078"/>
                </a:lnTo>
                <a:lnTo>
                  <a:pt x="1094" y="10063"/>
                </a:lnTo>
                <a:lnTo>
                  <a:pt x="1081" y="10048"/>
                </a:lnTo>
                <a:close/>
                <a:moveTo>
                  <a:pt x="5516" y="359"/>
                </a:moveTo>
                <a:lnTo>
                  <a:pt x="5513" y="345"/>
                </a:lnTo>
                <a:lnTo>
                  <a:pt x="5504" y="334"/>
                </a:lnTo>
                <a:lnTo>
                  <a:pt x="5493" y="330"/>
                </a:lnTo>
                <a:lnTo>
                  <a:pt x="5485" y="342"/>
                </a:lnTo>
                <a:lnTo>
                  <a:pt x="5486" y="354"/>
                </a:lnTo>
                <a:lnTo>
                  <a:pt x="5496" y="364"/>
                </a:lnTo>
                <a:lnTo>
                  <a:pt x="5508" y="367"/>
                </a:lnTo>
                <a:lnTo>
                  <a:pt x="5516" y="359"/>
                </a:lnTo>
                <a:close/>
                <a:moveTo>
                  <a:pt x="1588" y="2295"/>
                </a:moveTo>
                <a:lnTo>
                  <a:pt x="1583" y="2297"/>
                </a:lnTo>
                <a:lnTo>
                  <a:pt x="1579" y="2301"/>
                </a:lnTo>
                <a:lnTo>
                  <a:pt x="1579" y="2306"/>
                </a:lnTo>
                <a:lnTo>
                  <a:pt x="1583" y="2309"/>
                </a:lnTo>
                <a:lnTo>
                  <a:pt x="1589" y="2309"/>
                </a:lnTo>
                <a:lnTo>
                  <a:pt x="1593" y="2304"/>
                </a:lnTo>
                <a:lnTo>
                  <a:pt x="1592" y="2298"/>
                </a:lnTo>
                <a:lnTo>
                  <a:pt x="1588" y="2295"/>
                </a:lnTo>
                <a:close/>
                <a:moveTo>
                  <a:pt x="5263" y="921"/>
                </a:moveTo>
                <a:lnTo>
                  <a:pt x="5267" y="907"/>
                </a:lnTo>
                <a:lnTo>
                  <a:pt x="5257" y="902"/>
                </a:lnTo>
                <a:lnTo>
                  <a:pt x="5242" y="904"/>
                </a:lnTo>
                <a:lnTo>
                  <a:pt x="5229" y="911"/>
                </a:lnTo>
                <a:lnTo>
                  <a:pt x="5225" y="922"/>
                </a:lnTo>
                <a:lnTo>
                  <a:pt x="5235" y="930"/>
                </a:lnTo>
                <a:lnTo>
                  <a:pt x="5251" y="930"/>
                </a:lnTo>
                <a:lnTo>
                  <a:pt x="5263" y="921"/>
                </a:lnTo>
                <a:close/>
                <a:moveTo>
                  <a:pt x="2154" y="10138"/>
                </a:moveTo>
                <a:lnTo>
                  <a:pt x="2146" y="10143"/>
                </a:lnTo>
                <a:lnTo>
                  <a:pt x="2143" y="10153"/>
                </a:lnTo>
                <a:lnTo>
                  <a:pt x="2146" y="10163"/>
                </a:lnTo>
                <a:lnTo>
                  <a:pt x="2155" y="10167"/>
                </a:lnTo>
                <a:lnTo>
                  <a:pt x="2162" y="10163"/>
                </a:lnTo>
                <a:lnTo>
                  <a:pt x="2165" y="10153"/>
                </a:lnTo>
                <a:lnTo>
                  <a:pt x="2161" y="10143"/>
                </a:lnTo>
                <a:lnTo>
                  <a:pt x="2154" y="10138"/>
                </a:lnTo>
                <a:close/>
                <a:moveTo>
                  <a:pt x="411" y="8248"/>
                </a:moveTo>
                <a:lnTo>
                  <a:pt x="416" y="8258"/>
                </a:lnTo>
                <a:lnTo>
                  <a:pt x="428" y="8260"/>
                </a:lnTo>
                <a:lnTo>
                  <a:pt x="438" y="8255"/>
                </a:lnTo>
                <a:lnTo>
                  <a:pt x="442" y="8243"/>
                </a:lnTo>
                <a:lnTo>
                  <a:pt x="437" y="8232"/>
                </a:lnTo>
                <a:lnTo>
                  <a:pt x="425" y="8230"/>
                </a:lnTo>
                <a:lnTo>
                  <a:pt x="415" y="8236"/>
                </a:lnTo>
                <a:lnTo>
                  <a:pt x="411" y="8248"/>
                </a:lnTo>
                <a:close/>
                <a:moveTo>
                  <a:pt x="1533" y="2946"/>
                </a:moveTo>
                <a:lnTo>
                  <a:pt x="1551" y="2934"/>
                </a:lnTo>
                <a:lnTo>
                  <a:pt x="1564" y="2900"/>
                </a:lnTo>
                <a:lnTo>
                  <a:pt x="1560" y="2864"/>
                </a:lnTo>
                <a:lnTo>
                  <a:pt x="1532" y="2850"/>
                </a:lnTo>
                <a:lnTo>
                  <a:pt x="1503" y="2859"/>
                </a:lnTo>
                <a:lnTo>
                  <a:pt x="1501" y="2886"/>
                </a:lnTo>
                <a:lnTo>
                  <a:pt x="1515" y="2918"/>
                </a:lnTo>
                <a:lnTo>
                  <a:pt x="1533" y="2946"/>
                </a:lnTo>
                <a:close/>
                <a:moveTo>
                  <a:pt x="8973" y="1518"/>
                </a:moveTo>
                <a:lnTo>
                  <a:pt x="8968" y="1514"/>
                </a:lnTo>
                <a:lnTo>
                  <a:pt x="8962" y="1515"/>
                </a:lnTo>
                <a:lnTo>
                  <a:pt x="8955" y="1519"/>
                </a:lnTo>
                <a:lnTo>
                  <a:pt x="8955" y="1527"/>
                </a:lnTo>
                <a:lnTo>
                  <a:pt x="8960" y="1532"/>
                </a:lnTo>
                <a:lnTo>
                  <a:pt x="8967" y="1530"/>
                </a:lnTo>
                <a:lnTo>
                  <a:pt x="8972" y="1525"/>
                </a:lnTo>
                <a:lnTo>
                  <a:pt x="8973" y="1518"/>
                </a:lnTo>
                <a:close/>
                <a:moveTo>
                  <a:pt x="3577" y="623"/>
                </a:moveTo>
                <a:lnTo>
                  <a:pt x="3576" y="623"/>
                </a:lnTo>
                <a:lnTo>
                  <a:pt x="3576" y="623"/>
                </a:lnTo>
                <a:lnTo>
                  <a:pt x="3576" y="623"/>
                </a:lnTo>
                <a:lnTo>
                  <a:pt x="3577" y="624"/>
                </a:lnTo>
                <a:lnTo>
                  <a:pt x="3579" y="624"/>
                </a:lnTo>
                <a:lnTo>
                  <a:pt x="3579" y="624"/>
                </a:lnTo>
                <a:lnTo>
                  <a:pt x="3579" y="624"/>
                </a:lnTo>
                <a:lnTo>
                  <a:pt x="3577" y="623"/>
                </a:lnTo>
                <a:close/>
                <a:moveTo>
                  <a:pt x="8127" y="1527"/>
                </a:moveTo>
                <a:lnTo>
                  <a:pt x="8125" y="1528"/>
                </a:lnTo>
                <a:lnTo>
                  <a:pt x="8124" y="1530"/>
                </a:lnTo>
                <a:lnTo>
                  <a:pt x="8122" y="1533"/>
                </a:lnTo>
                <a:lnTo>
                  <a:pt x="8124" y="1536"/>
                </a:lnTo>
                <a:lnTo>
                  <a:pt x="8125" y="1536"/>
                </a:lnTo>
                <a:lnTo>
                  <a:pt x="8127" y="1533"/>
                </a:lnTo>
                <a:lnTo>
                  <a:pt x="8129" y="1529"/>
                </a:lnTo>
                <a:lnTo>
                  <a:pt x="8127" y="1527"/>
                </a:lnTo>
                <a:close/>
                <a:moveTo>
                  <a:pt x="686" y="3165"/>
                </a:moveTo>
                <a:lnTo>
                  <a:pt x="685" y="3152"/>
                </a:lnTo>
                <a:lnTo>
                  <a:pt x="675" y="3145"/>
                </a:lnTo>
                <a:lnTo>
                  <a:pt x="662" y="3143"/>
                </a:lnTo>
                <a:lnTo>
                  <a:pt x="653" y="3152"/>
                </a:lnTo>
                <a:lnTo>
                  <a:pt x="655" y="3165"/>
                </a:lnTo>
                <a:lnTo>
                  <a:pt x="665" y="3171"/>
                </a:lnTo>
                <a:lnTo>
                  <a:pt x="678" y="3173"/>
                </a:lnTo>
                <a:lnTo>
                  <a:pt x="686" y="3165"/>
                </a:lnTo>
                <a:close/>
                <a:moveTo>
                  <a:pt x="3323" y="12116"/>
                </a:moveTo>
                <a:lnTo>
                  <a:pt x="3335" y="12122"/>
                </a:lnTo>
                <a:lnTo>
                  <a:pt x="3344" y="12116"/>
                </a:lnTo>
                <a:lnTo>
                  <a:pt x="3349" y="12105"/>
                </a:lnTo>
                <a:lnTo>
                  <a:pt x="3347" y="12091"/>
                </a:lnTo>
                <a:lnTo>
                  <a:pt x="3335" y="12083"/>
                </a:lnTo>
                <a:lnTo>
                  <a:pt x="3324" y="12088"/>
                </a:lnTo>
                <a:lnTo>
                  <a:pt x="3317" y="12102"/>
                </a:lnTo>
                <a:lnTo>
                  <a:pt x="3323" y="12116"/>
                </a:lnTo>
                <a:close/>
                <a:moveTo>
                  <a:pt x="1349" y="4274"/>
                </a:moveTo>
                <a:lnTo>
                  <a:pt x="1361" y="4265"/>
                </a:lnTo>
                <a:lnTo>
                  <a:pt x="1361" y="4248"/>
                </a:lnTo>
                <a:lnTo>
                  <a:pt x="1354" y="4237"/>
                </a:lnTo>
                <a:lnTo>
                  <a:pt x="1338" y="4240"/>
                </a:lnTo>
                <a:lnTo>
                  <a:pt x="1335" y="4249"/>
                </a:lnTo>
                <a:lnTo>
                  <a:pt x="1335" y="4261"/>
                </a:lnTo>
                <a:lnTo>
                  <a:pt x="1338" y="4270"/>
                </a:lnTo>
                <a:lnTo>
                  <a:pt x="1349" y="4274"/>
                </a:lnTo>
                <a:close/>
                <a:moveTo>
                  <a:pt x="8366" y="1011"/>
                </a:moveTo>
                <a:lnTo>
                  <a:pt x="8380" y="1006"/>
                </a:lnTo>
                <a:lnTo>
                  <a:pt x="8383" y="995"/>
                </a:lnTo>
                <a:lnTo>
                  <a:pt x="8381" y="981"/>
                </a:lnTo>
                <a:lnTo>
                  <a:pt x="8369" y="973"/>
                </a:lnTo>
                <a:lnTo>
                  <a:pt x="8357" y="975"/>
                </a:lnTo>
                <a:lnTo>
                  <a:pt x="8350" y="988"/>
                </a:lnTo>
                <a:lnTo>
                  <a:pt x="8353" y="1002"/>
                </a:lnTo>
                <a:lnTo>
                  <a:pt x="8366" y="1011"/>
                </a:lnTo>
                <a:close/>
                <a:moveTo>
                  <a:pt x="4452" y="716"/>
                </a:moveTo>
                <a:lnTo>
                  <a:pt x="4446" y="707"/>
                </a:lnTo>
                <a:lnTo>
                  <a:pt x="4434" y="706"/>
                </a:lnTo>
                <a:lnTo>
                  <a:pt x="4427" y="711"/>
                </a:lnTo>
                <a:lnTo>
                  <a:pt x="4425" y="722"/>
                </a:lnTo>
                <a:lnTo>
                  <a:pt x="4432" y="731"/>
                </a:lnTo>
                <a:lnTo>
                  <a:pt x="4443" y="732"/>
                </a:lnTo>
                <a:lnTo>
                  <a:pt x="4451" y="727"/>
                </a:lnTo>
                <a:lnTo>
                  <a:pt x="4452" y="716"/>
                </a:lnTo>
                <a:close/>
                <a:moveTo>
                  <a:pt x="1333" y="4412"/>
                </a:moveTo>
                <a:lnTo>
                  <a:pt x="1333" y="4410"/>
                </a:lnTo>
                <a:lnTo>
                  <a:pt x="1330" y="4409"/>
                </a:lnTo>
                <a:lnTo>
                  <a:pt x="1327" y="4407"/>
                </a:lnTo>
                <a:lnTo>
                  <a:pt x="1324" y="4407"/>
                </a:lnTo>
                <a:lnTo>
                  <a:pt x="1326" y="4410"/>
                </a:lnTo>
                <a:lnTo>
                  <a:pt x="1328" y="4412"/>
                </a:lnTo>
                <a:lnTo>
                  <a:pt x="1331" y="4412"/>
                </a:lnTo>
                <a:lnTo>
                  <a:pt x="1333" y="4412"/>
                </a:lnTo>
                <a:close/>
                <a:moveTo>
                  <a:pt x="2671" y="10577"/>
                </a:moveTo>
                <a:lnTo>
                  <a:pt x="2669" y="10572"/>
                </a:lnTo>
                <a:lnTo>
                  <a:pt x="2667" y="10568"/>
                </a:lnTo>
                <a:lnTo>
                  <a:pt x="2658" y="10566"/>
                </a:lnTo>
                <a:lnTo>
                  <a:pt x="2657" y="10572"/>
                </a:lnTo>
                <a:lnTo>
                  <a:pt x="2662" y="10578"/>
                </a:lnTo>
                <a:lnTo>
                  <a:pt x="2671" y="10577"/>
                </a:lnTo>
                <a:close/>
                <a:moveTo>
                  <a:pt x="6696" y="909"/>
                </a:moveTo>
                <a:lnTo>
                  <a:pt x="6686" y="914"/>
                </a:lnTo>
                <a:lnTo>
                  <a:pt x="6683" y="923"/>
                </a:lnTo>
                <a:lnTo>
                  <a:pt x="6687" y="931"/>
                </a:lnTo>
                <a:lnTo>
                  <a:pt x="6697" y="935"/>
                </a:lnTo>
                <a:lnTo>
                  <a:pt x="6709" y="931"/>
                </a:lnTo>
                <a:lnTo>
                  <a:pt x="6711" y="921"/>
                </a:lnTo>
                <a:lnTo>
                  <a:pt x="6706" y="913"/>
                </a:lnTo>
                <a:lnTo>
                  <a:pt x="6696" y="909"/>
                </a:lnTo>
                <a:close/>
                <a:moveTo>
                  <a:pt x="1817" y="2756"/>
                </a:moveTo>
                <a:lnTo>
                  <a:pt x="1805" y="2792"/>
                </a:lnTo>
                <a:lnTo>
                  <a:pt x="1819" y="2796"/>
                </a:lnTo>
                <a:lnTo>
                  <a:pt x="1847" y="2782"/>
                </a:lnTo>
                <a:lnTo>
                  <a:pt x="1873" y="2760"/>
                </a:lnTo>
                <a:lnTo>
                  <a:pt x="1886" y="2728"/>
                </a:lnTo>
                <a:lnTo>
                  <a:pt x="1868" y="2721"/>
                </a:lnTo>
                <a:lnTo>
                  <a:pt x="1840" y="2731"/>
                </a:lnTo>
                <a:lnTo>
                  <a:pt x="1817" y="2756"/>
                </a:lnTo>
                <a:close/>
                <a:moveTo>
                  <a:pt x="1279" y="4202"/>
                </a:moveTo>
                <a:lnTo>
                  <a:pt x="1279" y="4206"/>
                </a:lnTo>
                <a:lnTo>
                  <a:pt x="1281" y="4209"/>
                </a:lnTo>
                <a:lnTo>
                  <a:pt x="1285" y="4209"/>
                </a:lnTo>
                <a:lnTo>
                  <a:pt x="1288" y="4206"/>
                </a:lnTo>
                <a:lnTo>
                  <a:pt x="1288" y="4200"/>
                </a:lnTo>
                <a:lnTo>
                  <a:pt x="1285" y="4197"/>
                </a:lnTo>
                <a:lnTo>
                  <a:pt x="1281" y="4197"/>
                </a:lnTo>
                <a:lnTo>
                  <a:pt x="1279" y="4202"/>
                </a:lnTo>
                <a:close/>
                <a:moveTo>
                  <a:pt x="9298" y="1129"/>
                </a:moveTo>
                <a:lnTo>
                  <a:pt x="9341" y="1128"/>
                </a:lnTo>
                <a:lnTo>
                  <a:pt x="9384" y="1142"/>
                </a:lnTo>
                <a:lnTo>
                  <a:pt x="9424" y="1155"/>
                </a:lnTo>
                <a:lnTo>
                  <a:pt x="9453" y="1149"/>
                </a:lnTo>
                <a:lnTo>
                  <a:pt x="9406" y="1109"/>
                </a:lnTo>
                <a:lnTo>
                  <a:pt x="9326" y="1084"/>
                </a:lnTo>
                <a:lnTo>
                  <a:pt x="9271" y="1085"/>
                </a:lnTo>
                <a:lnTo>
                  <a:pt x="9298" y="1129"/>
                </a:lnTo>
                <a:close/>
                <a:moveTo>
                  <a:pt x="108" y="4330"/>
                </a:moveTo>
                <a:lnTo>
                  <a:pt x="117" y="4313"/>
                </a:lnTo>
                <a:lnTo>
                  <a:pt x="115" y="4298"/>
                </a:lnTo>
                <a:lnTo>
                  <a:pt x="102" y="4288"/>
                </a:lnTo>
                <a:lnTo>
                  <a:pt x="84" y="4290"/>
                </a:lnTo>
                <a:lnTo>
                  <a:pt x="73" y="4305"/>
                </a:lnTo>
                <a:lnTo>
                  <a:pt x="78" y="4322"/>
                </a:lnTo>
                <a:lnTo>
                  <a:pt x="92" y="4333"/>
                </a:lnTo>
                <a:lnTo>
                  <a:pt x="108" y="4330"/>
                </a:lnTo>
                <a:close/>
                <a:moveTo>
                  <a:pt x="471" y="7119"/>
                </a:moveTo>
                <a:lnTo>
                  <a:pt x="464" y="7129"/>
                </a:lnTo>
                <a:lnTo>
                  <a:pt x="469" y="7140"/>
                </a:lnTo>
                <a:lnTo>
                  <a:pt x="480" y="7148"/>
                </a:lnTo>
                <a:lnTo>
                  <a:pt x="493" y="7145"/>
                </a:lnTo>
                <a:lnTo>
                  <a:pt x="499" y="7134"/>
                </a:lnTo>
                <a:lnTo>
                  <a:pt x="494" y="7122"/>
                </a:lnTo>
                <a:lnTo>
                  <a:pt x="484" y="7117"/>
                </a:lnTo>
                <a:lnTo>
                  <a:pt x="471" y="7119"/>
                </a:lnTo>
                <a:close/>
                <a:moveTo>
                  <a:pt x="512" y="7196"/>
                </a:moveTo>
                <a:lnTo>
                  <a:pt x="506" y="7183"/>
                </a:lnTo>
                <a:lnTo>
                  <a:pt x="493" y="7183"/>
                </a:lnTo>
                <a:lnTo>
                  <a:pt x="483" y="7191"/>
                </a:lnTo>
                <a:lnTo>
                  <a:pt x="480" y="7205"/>
                </a:lnTo>
                <a:lnTo>
                  <a:pt x="488" y="7214"/>
                </a:lnTo>
                <a:lnTo>
                  <a:pt x="499" y="7215"/>
                </a:lnTo>
                <a:lnTo>
                  <a:pt x="508" y="7208"/>
                </a:lnTo>
                <a:lnTo>
                  <a:pt x="512" y="7196"/>
                </a:lnTo>
                <a:close/>
                <a:moveTo>
                  <a:pt x="8438" y="1564"/>
                </a:moveTo>
                <a:lnTo>
                  <a:pt x="8439" y="1552"/>
                </a:lnTo>
                <a:lnTo>
                  <a:pt x="8429" y="1547"/>
                </a:lnTo>
                <a:lnTo>
                  <a:pt x="8417" y="1546"/>
                </a:lnTo>
                <a:lnTo>
                  <a:pt x="8406" y="1550"/>
                </a:lnTo>
                <a:lnTo>
                  <a:pt x="8405" y="1558"/>
                </a:lnTo>
                <a:lnTo>
                  <a:pt x="8414" y="1567"/>
                </a:lnTo>
                <a:lnTo>
                  <a:pt x="8427" y="1570"/>
                </a:lnTo>
                <a:lnTo>
                  <a:pt x="8438" y="1564"/>
                </a:lnTo>
                <a:close/>
                <a:moveTo>
                  <a:pt x="6467" y="628"/>
                </a:moveTo>
                <a:lnTo>
                  <a:pt x="6483" y="633"/>
                </a:lnTo>
                <a:lnTo>
                  <a:pt x="6495" y="624"/>
                </a:lnTo>
                <a:lnTo>
                  <a:pt x="6499" y="608"/>
                </a:lnTo>
                <a:lnTo>
                  <a:pt x="6491" y="591"/>
                </a:lnTo>
                <a:lnTo>
                  <a:pt x="6474" y="585"/>
                </a:lnTo>
                <a:lnTo>
                  <a:pt x="6462" y="595"/>
                </a:lnTo>
                <a:lnTo>
                  <a:pt x="6458" y="611"/>
                </a:lnTo>
                <a:lnTo>
                  <a:pt x="6467" y="628"/>
                </a:lnTo>
                <a:close/>
                <a:moveTo>
                  <a:pt x="6865" y="580"/>
                </a:moveTo>
                <a:lnTo>
                  <a:pt x="6858" y="569"/>
                </a:lnTo>
                <a:lnTo>
                  <a:pt x="6845" y="567"/>
                </a:lnTo>
                <a:lnTo>
                  <a:pt x="6835" y="573"/>
                </a:lnTo>
                <a:lnTo>
                  <a:pt x="6832" y="586"/>
                </a:lnTo>
                <a:lnTo>
                  <a:pt x="6841" y="596"/>
                </a:lnTo>
                <a:lnTo>
                  <a:pt x="6853" y="599"/>
                </a:lnTo>
                <a:lnTo>
                  <a:pt x="6863" y="592"/>
                </a:lnTo>
                <a:lnTo>
                  <a:pt x="6865" y="580"/>
                </a:lnTo>
                <a:close/>
                <a:moveTo>
                  <a:pt x="838" y="9715"/>
                </a:moveTo>
                <a:lnTo>
                  <a:pt x="837" y="9729"/>
                </a:lnTo>
                <a:lnTo>
                  <a:pt x="842" y="9737"/>
                </a:lnTo>
                <a:lnTo>
                  <a:pt x="849" y="9737"/>
                </a:lnTo>
                <a:lnTo>
                  <a:pt x="860" y="9727"/>
                </a:lnTo>
                <a:lnTo>
                  <a:pt x="858" y="9713"/>
                </a:lnTo>
                <a:lnTo>
                  <a:pt x="851" y="9705"/>
                </a:lnTo>
                <a:lnTo>
                  <a:pt x="843" y="9705"/>
                </a:lnTo>
                <a:lnTo>
                  <a:pt x="838" y="9715"/>
                </a:lnTo>
                <a:close/>
                <a:moveTo>
                  <a:pt x="3958" y="11236"/>
                </a:moveTo>
                <a:lnTo>
                  <a:pt x="3925" y="11229"/>
                </a:lnTo>
                <a:lnTo>
                  <a:pt x="3921" y="11261"/>
                </a:lnTo>
                <a:lnTo>
                  <a:pt x="3910" y="11301"/>
                </a:lnTo>
                <a:lnTo>
                  <a:pt x="3860" y="11322"/>
                </a:lnTo>
                <a:lnTo>
                  <a:pt x="3887" y="11352"/>
                </a:lnTo>
                <a:lnTo>
                  <a:pt x="3926" y="11333"/>
                </a:lnTo>
                <a:lnTo>
                  <a:pt x="3957" y="11289"/>
                </a:lnTo>
                <a:lnTo>
                  <a:pt x="3958" y="11236"/>
                </a:lnTo>
                <a:close/>
                <a:moveTo>
                  <a:pt x="3076" y="11455"/>
                </a:moveTo>
                <a:lnTo>
                  <a:pt x="3081" y="11478"/>
                </a:lnTo>
                <a:lnTo>
                  <a:pt x="3102" y="11478"/>
                </a:lnTo>
                <a:lnTo>
                  <a:pt x="3119" y="11466"/>
                </a:lnTo>
                <a:lnTo>
                  <a:pt x="3105" y="11449"/>
                </a:lnTo>
                <a:lnTo>
                  <a:pt x="3097" y="11448"/>
                </a:lnTo>
                <a:lnTo>
                  <a:pt x="3088" y="11448"/>
                </a:lnTo>
                <a:lnTo>
                  <a:pt x="3081" y="11449"/>
                </a:lnTo>
                <a:lnTo>
                  <a:pt x="3076" y="11455"/>
                </a:lnTo>
                <a:close/>
                <a:moveTo>
                  <a:pt x="4531" y="12"/>
                </a:moveTo>
                <a:lnTo>
                  <a:pt x="4539" y="13"/>
                </a:lnTo>
                <a:lnTo>
                  <a:pt x="4545" y="9"/>
                </a:lnTo>
                <a:lnTo>
                  <a:pt x="4545" y="3"/>
                </a:lnTo>
                <a:lnTo>
                  <a:pt x="4537" y="0"/>
                </a:lnTo>
                <a:lnTo>
                  <a:pt x="4537" y="0"/>
                </a:lnTo>
                <a:lnTo>
                  <a:pt x="4532" y="2"/>
                </a:lnTo>
                <a:lnTo>
                  <a:pt x="4530" y="4"/>
                </a:lnTo>
                <a:lnTo>
                  <a:pt x="4529" y="8"/>
                </a:lnTo>
                <a:lnTo>
                  <a:pt x="4531" y="12"/>
                </a:lnTo>
                <a:close/>
                <a:moveTo>
                  <a:pt x="526" y="4654"/>
                </a:moveTo>
                <a:lnTo>
                  <a:pt x="553" y="4690"/>
                </a:lnTo>
                <a:lnTo>
                  <a:pt x="559" y="4742"/>
                </a:lnTo>
                <a:lnTo>
                  <a:pt x="569" y="4787"/>
                </a:lnTo>
                <a:lnTo>
                  <a:pt x="610" y="4801"/>
                </a:lnTo>
                <a:lnTo>
                  <a:pt x="637" y="4798"/>
                </a:lnTo>
                <a:lnTo>
                  <a:pt x="655" y="4836"/>
                </a:lnTo>
                <a:lnTo>
                  <a:pt x="676" y="4882"/>
                </a:lnTo>
                <a:lnTo>
                  <a:pt x="713" y="4904"/>
                </a:lnTo>
                <a:lnTo>
                  <a:pt x="748" y="4865"/>
                </a:lnTo>
                <a:lnTo>
                  <a:pt x="797" y="4841"/>
                </a:lnTo>
                <a:lnTo>
                  <a:pt x="843" y="4812"/>
                </a:lnTo>
                <a:lnTo>
                  <a:pt x="869" y="4761"/>
                </a:lnTo>
                <a:lnTo>
                  <a:pt x="857" y="4737"/>
                </a:lnTo>
                <a:lnTo>
                  <a:pt x="865" y="4728"/>
                </a:lnTo>
                <a:lnTo>
                  <a:pt x="886" y="4722"/>
                </a:lnTo>
                <a:lnTo>
                  <a:pt x="912" y="4701"/>
                </a:lnTo>
                <a:lnTo>
                  <a:pt x="904" y="4669"/>
                </a:lnTo>
                <a:lnTo>
                  <a:pt x="855" y="4653"/>
                </a:lnTo>
                <a:lnTo>
                  <a:pt x="792" y="4649"/>
                </a:lnTo>
                <a:lnTo>
                  <a:pt x="750" y="4655"/>
                </a:lnTo>
                <a:lnTo>
                  <a:pt x="695" y="4592"/>
                </a:lnTo>
                <a:lnTo>
                  <a:pt x="615" y="4569"/>
                </a:lnTo>
                <a:lnTo>
                  <a:pt x="546" y="4589"/>
                </a:lnTo>
                <a:lnTo>
                  <a:pt x="526" y="4654"/>
                </a:lnTo>
                <a:close/>
                <a:moveTo>
                  <a:pt x="4723" y="541"/>
                </a:moveTo>
                <a:lnTo>
                  <a:pt x="4723" y="544"/>
                </a:lnTo>
                <a:lnTo>
                  <a:pt x="4726" y="545"/>
                </a:lnTo>
                <a:lnTo>
                  <a:pt x="4729" y="544"/>
                </a:lnTo>
                <a:lnTo>
                  <a:pt x="4731" y="543"/>
                </a:lnTo>
                <a:lnTo>
                  <a:pt x="4730" y="540"/>
                </a:lnTo>
                <a:lnTo>
                  <a:pt x="4727" y="539"/>
                </a:lnTo>
                <a:lnTo>
                  <a:pt x="4725" y="539"/>
                </a:lnTo>
                <a:lnTo>
                  <a:pt x="4723" y="541"/>
                </a:lnTo>
                <a:close/>
                <a:moveTo>
                  <a:pt x="4746" y="489"/>
                </a:moveTo>
                <a:lnTo>
                  <a:pt x="4746" y="496"/>
                </a:lnTo>
                <a:lnTo>
                  <a:pt x="4750" y="501"/>
                </a:lnTo>
                <a:lnTo>
                  <a:pt x="4755" y="502"/>
                </a:lnTo>
                <a:lnTo>
                  <a:pt x="4760" y="497"/>
                </a:lnTo>
                <a:lnTo>
                  <a:pt x="4760" y="490"/>
                </a:lnTo>
                <a:lnTo>
                  <a:pt x="4755" y="487"/>
                </a:lnTo>
                <a:lnTo>
                  <a:pt x="4749" y="487"/>
                </a:lnTo>
                <a:lnTo>
                  <a:pt x="4746" y="489"/>
                </a:lnTo>
                <a:close/>
                <a:moveTo>
                  <a:pt x="1732" y="802"/>
                </a:moveTo>
                <a:lnTo>
                  <a:pt x="1735" y="795"/>
                </a:lnTo>
                <a:lnTo>
                  <a:pt x="1736" y="786"/>
                </a:lnTo>
                <a:lnTo>
                  <a:pt x="1735" y="777"/>
                </a:lnTo>
                <a:lnTo>
                  <a:pt x="1732" y="769"/>
                </a:lnTo>
                <a:lnTo>
                  <a:pt x="1710" y="763"/>
                </a:lnTo>
                <a:lnTo>
                  <a:pt x="1704" y="786"/>
                </a:lnTo>
                <a:lnTo>
                  <a:pt x="1710" y="809"/>
                </a:lnTo>
                <a:lnTo>
                  <a:pt x="1732" y="802"/>
                </a:lnTo>
                <a:close/>
                <a:moveTo>
                  <a:pt x="3651" y="11711"/>
                </a:moveTo>
                <a:lnTo>
                  <a:pt x="3651" y="11710"/>
                </a:lnTo>
                <a:lnTo>
                  <a:pt x="3651" y="11711"/>
                </a:lnTo>
                <a:close/>
                <a:moveTo>
                  <a:pt x="5196" y="12023"/>
                </a:moveTo>
                <a:lnTo>
                  <a:pt x="5188" y="12026"/>
                </a:lnTo>
                <a:lnTo>
                  <a:pt x="5183" y="12033"/>
                </a:lnTo>
                <a:lnTo>
                  <a:pt x="5182" y="12043"/>
                </a:lnTo>
                <a:lnTo>
                  <a:pt x="5187" y="12050"/>
                </a:lnTo>
                <a:lnTo>
                  <a:pt x="5192" y="12049"/>
                </a:lnTo>
                <a:lnTo>
                  <a:pt x="5198" y="12040"/>
                </a:lnTo>
                <a:lnTo>
                  <a:pt x="5201" y="12029"/>
                </a:lnTo>
                <a:lnTo>
                  <a:pt x="5196" y="12023"/>
                </a:lnTo>
                <a:close/>
                <a:moveTo>
                  <a:pt x="6910" y="838"/>
                </a:moveTo>
                <a:lnTo>
                  <a:pt x="6895" y="835"/>
                </a:lnTo>
                <a:lnTo>
                  <a:pt x="6874" y="837"/>
                </a:lnTo>
                <a:lnTo>
                  <a:pt x="6853" y="841"/>
                </a:lnTo>
                <a:lnTo>
                  <a:pt x="6837" y="844"/>
                </a:lnTo>
                <a:lnTo>
                  <a:pt x="6850" y="872"/>
                </a:lnTo>
                <a:lnTo>
                  <a:pt x="6888" y="885"/>
                </a:lnTo>
                <a:lnTo>
                  <a:pt x="6919" y="877"/>
                </a:lnTo>
                <a:lnTo>
                  <a:pt x="6910" y="838"/>
                </a:lnTo>
                <a:close/>
                <a:moveTo>
                  <a:pt x="7041" y="1208"/>
                </a:moveTo>
                <a:lnTo>
                  <a:pt x="7041" y="1208"/>
                </a:lnTo>
                <a:lnTo>
                  <a:pt x="7041" y="1208"/>
                </a:lnTo>
                <a:close/>
                <a:moveTo>
                  <a:pt x="7039" y="1280"/>
                </a:moveTo>
                <a:lnTo>
                  <a:pt x="7158" y="1301"/>
                </a:lnTo>
                <a:lnTo>
                  <a:pt x="7138" y="1239"/>
                </a:lnTo>
                <a:lnTo>
                  <a:pt x="7051" y="1177"/>
                </a:lnTo>
                <a:lnTo>
                  <a:pt x="6971" y="1199"/>
                </a:lnTo>
                <a:lnTo>
                  <a:pt x="6915" y="1225"/>
                </a:lnTo>
                <a:lnTo>
                  <a:pt x="6928" y="1253"/>
                </a:lnTo>
                <a:lnTo>
                  <a:pt x="6980" y="1275"/>
                </a:lnTo>
                <a:lnTo>
                  <a:pt x="7039" y="1280"/>
                </a:lnTo>
                <a:close/>
                <a:moveTo>
                  <a:pt x="776" y="5681"/>
                </a:moveTo>
                <a:lnTo>
                  <a:pt x="765" y="5690"/>
                </a:lnTo>
                <a:lnTo>
                  <a:pt x="768" y="5702"/>
                </a:lnTo>
                <a:lnTo>
                  <a:pt x="778" y="5711"/>
                </a:lnTo>
                <a:lnTo>
                  <a:pt x="793" y="5709"/>
                </a:lnTo>
                <a:lnTo>
                  <a:pt x="802" y="5699"/>
                </a:lnTo>
                <a:lnTo>
                  <a:pt x="798" y="5689"/>
                </a:lnTo>
                <a:lnTo>
                  <a:pt x="788" y="5683"/>
                </a:lnTo>
                <a:lnTo>
                  <a:pt x="776" y="5681"/>
                </a:lnTo>
                <a:close/>
                <a:moveTo>
                  <a:pt x="2132" y="10403"/>
                </a:moveTo>
                <a:lnTo>
                  <a:pt x="2132" y="10417"/>
                </a:lnTo>
                <a:lnTo>
                  <a:pt x="2142" y="10427"/>
                </a:lnTo>
                <a:lnTo>
                  <a:pt x="2157" y="10429"/>
                </a:lnTo>
                <a:lnTo>
                  <a:pt x="2171" y="10423"/>
                </a:lnTo>
                <a:lnTo>
                  <a:pt x="2178" y="10404"/>
                </a:lnTo>
                <a:lnTo>
                  <a:pt x="2166" y="10391"/>
                </a:lnTo>
                <a:lnTo>
                  <a:pt x="2148" y="10390"/>
                </a:lnTo>
                <a:lnTo>
                  <a:pt x="2132" y="10403"/>
                </a:lnTo>
                <a:close/>
                <a:moveTo>
                  <a:pt x="1668" y="2618"/>
                </a:moveTo>
                <a:lnTo>
                  <a:pt x="1678" y="2618"/>
                </a:lnTo>
                <a:lnTo>
                  <a:pt x="1686" y="2615"/>
                </a:lnTo>
                <a:lnTo>
                  <a:pt x="1692" y="2607"/>
                </a:lnTo>
                <a:lnTo>
                  <a:pt x="1696" y="2597"/>
                </a:lnTo>
                <a:lnTo>
                  <a:pt x="1684" y="2584"/>
                </a:lnTo>
                <a:lnTo>
                  <a:pt x="1663" y="2591"/>
                </a:lnTo>
                <a:lnTo>
                  <a:pt x="1653" y="2606"/>
                </a:lnTo>
                <a:lnTo>
                  <a:pt x="1668" y="2618"/>
                </a:lnTo>
                <a:close/>
                <a:moveTo>
                  <a:pt x="466" y="6639"/>
                </a:moveTo>
                <a:lnTo>
                  <a:pt x="469" y="6646"/>
                </a:lnTo>
                <a:lnTo>
                  <a:pt x="475" y="6645"/>
                </a:lnTo>
                <a:lnTo>
                  <a:pt x="481" y="6637"/>
                </a:lnTo>
                <a:lnTo>
                  <a:pt x="485" y="6630"/>
                </a:lnTo>
                <a:lnTo>
                  <a:pt x="483" y="6625"/>
                </a:lnTo>
                <a:lnTo>
                  <a:pt x="476" y="6627"/>
                </a:lnTo>
                <a:lnTo>
                  <a:pt x="469" y="6632"/>
                </a:lnTo>
                <a:lnTo>
                  <a:pt x="466" y="6639"/>
                </a:lnTo>
                <a:close/>
                <a:moveTo>
                  <a:pt x="6616" y="1126"/>
                </a:moveTo>
                <a:lnTo>
                  <a:pt x="6625" y="1121"/>
                </a:lnTo>
                <a:lnTo>
                  <a:pt x="6627" y="1112"/>
                </a:lnTo>
                <a:lnTo>
                  <a:pt x="6625" y="1101"/>
                </a:lnTo>
                <a:lnTo>
                  <a:pt x="6617" y="1096"/>
                </a:lnTo>
                <a:lnTo>
                  <a:pt x="6603" y="1101"/>
                </a:lnTo>
                <a:lnTo>
                  <a:pt x="6598" y="1112"/>
                </a:lnTo>
                <a:lnTo>
                  <a:pt x="6603" y="1122"/>
                </a:lnTo>
                <a:lnTo>
                  <a:pt x="6616" y="1126"/>
                </a:lnTo>
                <a:close/>
                <a:moveTo>
                  <a:pt x="2914" y="986"/>
                </a:moveTo>
                <a:lnTo>
                  <a:pt x="2920" y="972"/>
                </a:lnTo>
                <a:lnTo>
                  <a:pt x="2913" y="956"/>
                </a:lnTo>
                <a:lnTo>
                  <a:pt x="2898" y="947"/>
                </a:lnTo>
                <a:lnTo>
                  <a:pt x="2882" y="954"/>
                </a:lnTo>
                <a:lnTo>
                  <a:pt x="2876" y="970"/>
                </a:lnTo>
                <a:lnTo>
                  <a:pt x="2882" y="983"/>
                </a:lnTo>
                <a:lnTo>
                  <a:pt x="2896" y="989"/>
                </a:lnTo>
                <a:lnTo>
                  <a:pt x="2914" y="986"/>
                </a:lnTo>
                <a:close/>
                <a:moveTo>
                  <a:pt x="7865" y="1271"/>
                </a:moveTo>
                <a:lnTo>
                  <a:pt x="7898" y="1306"/>
                </a:lnTo>
                <a:lnTo>
                  <a:pt x="7933" y="1357"/>
                </a:lnTo>
                <a:lnTo>
                  <a:pt x="7954" y="1418"/>
                </a:lnTo>
                <a:lnTo>
                  <a:pt x="7950" y="1483"/>
                </a:lnTo>
                <a:lnTo>
                  <a:pt x="8035" y="1496"/>
                </a:lnTo>
                <a:lnTo>
                  <a:pt x="8029" y="1394"/>
                </a:lnTo>
                <a:lnTo>
                  <a:pt x="7963" y="1285"/>
                </a:lnTo>
                <a:lnTo>
                  <a:pt x="7865" y="1271"/>
                </a:lnTo>
                <a:close/>
                <a:moveTo>
                  <a:pt x="1116" y="9836"/>
                </a:moveTo>
                <a:lnTo>
                  <a:pt x="1104" y="9849"/>
                </a:lnTo>
                <a:lnTo>
                  <a:pt x="1103" y="9868"/>
                </a:lnTo>
                <a:lnTo>
                  <a:pt x="1112" y="9882"/>
                </a:lnTo>
                <a:lnTo>
                  <a:pt x="1127" y="9882"/>
                </a:lnTo>
                <a:lnTo>
                  <a:pt x="1135" y="9871"/>
                </a:lnTo>
                <a:lnTo>
                  <a:pt x="1136" y="9853"/>
                </a:lnTo>
                <a:lnTo>
                  <a:pt x="1130" y="9839"/>
                </a:lnTo>
                <a:lnTo>
                  <a:pt x="1116" y="9836"/>
                </a:lnTo>
                <a:close/>
                <a:moveTo>
                  <a:pt x="1132" y="9832"/>
                </a:moveTo>
                <a:lnTo>
                  <a:pt x="1132" y="9832"/>
                </a:lnTo>
                <a:lnTo>
                  <a:pt x="1132" y="9832"/>
                </a:lnTo>
                <a:lnTo>
                  <a:pt x="1132" y="9832"/>
                </a:lnTo>
                <a:close/>
                <a:moveTo>
                  <a:pt x="1160" y="8707"/>
                </a:moveTo>
                <a:lnTo>
                  <a:pt x="1133" y="8736"/>
                </a:lnTo>
                <a:lnTo>
                  <a:pt x="1098" y="8753"/>
                </a:lnTo>
                <a:lnTo>
                  <a:pt x="1062" y="8770"/>
                </a:lnTo>
                <a:lnTo>
                  <a:pt x="1038" y="8801"/>
                </a:lnTo>
                <a:lnTo>
                  <a:pt x="1082" y="8812"/>
                </a:lnTo>
                <a:lnTo>
                  <a:pt x="1161" y="8761"/>
                </a:lnTo>
                <a:lnTo>
                  <a:pt x="1209" y="8707"/>
                </a:lnTo>
                <a:lnTo>
                  <a:pt x="1160" y="8707"/>
                </a:lnTo>
                <a:close/>
                <a:moveTo>
                  <a:pt x="168" y="8549"/>
                </a:moveTo>
                <a:lnTo>
                  <a:pt x="157" y="8561"/>
                </a:lnTo>
                <a:lnTo>
                  <a:pt x="155" y="8576"/>
                </a:lnTo>
                <a:lnTo>
                  <a:pt x="163" y="8588"/>
                </a:lnTo>
                <a:lnTo>
                  <a:pt x="181" y="8588"/>
                </a:lnTo>
                <a:lnTo>
                  <a:pt x="197" y="8576"/>
                </a:lnTo>
                <a:lnTo>
                  <a:pt x="199" y="8561"/>
                </a:lnTo>
                <a:lnTo>
                  <a:pt x="188" y="8549"/>
                </a:lnTo>
                <a:lnTo>
                  <a:pt x="168" y="8549"/>
                </a:lnTo>
                <a:close/>
                <a:moveTo>
                  <a:pt x="159" y="8549"/>
                </a:moveTo>
                <a:lnTo>
                  <a:pt x="160" y="8549"/>
                </a:lnTo>
                <a:lnTo>
                  <a:pt x="159" y="8549"/>
                </a:lnTo>
                <a:lnTo>
                  <a:pt x="159" y="8549"/>
                </a:lnTo>
                <a:lnTo>
                  <a:pt x="159" y="8549"/>
                </a:lnTo>
                <a:close/>
                <a:moveTo>
                  <a:pt x="326" y="6608"/>
                </a:moveTo>
                <a:lnTo>
                  <a:pt x="315" y="6600"/>
                </a:lnTo>
                <a:lnTo>
                  <a:pt x="294" y="6595"/>
                </a:lnTo>
                <a:lnTo>
                  <a:pt x="276" y="6598"/>
                </a:lnTo>
                <a:lnTo>
                  <a:pt x="273" y="6609"/>
                </a:lnTo>
                <a:lnTo>
                  <a:pt x="285" y="6621"/>
                </a:lnTo>
                <a:lnTo>
                  <a:pt x="307" y="6626"/>
                </a:lnTo>
                <a:lnTo>
                  <a:pt x="325" y="6622"/>
                </a:lnTo>
                <a:lnTo>
                  <a:pt x="326" y="6608"/>
                </a:lnTo>
                <a:close/>
                <a:moveTo>
                  <a:pt x="602" y="9686"/>
                </a:moveTo>
                <a:lnTo>
                  <a:pt x="600" y="9690"/>
                </a:lnTo>
                <a:lnTo>
                  <a:pt x="599" y="9694"/>
                </a:lnTo>
                <a:lnTo>
                  <a:pt x="600" y="9699"/>
                </a:lnTo>
                <a:lnTo>
                  <a:pt x="601" y="9701"/>
                </a:lnTo>
                <a:lnTo>
                  <a:pt x="606" y="9698"/>
                </a:lnTo>
                <a:lnTo>
                  <a:pt x="607" y="9692"/>
                </a:lnTo>
                <a:lnTo>
                  <a:pt x="606" y="9687"/>
                </a:lnTo>
                <a:lnTo>
                  <a:pt x="602" y="9686"/>
                </a:lnTo>
                <a:close/>
                <a:moveTo>
                  <a:pt x="569" y="9754"/>
                </a:moveTo>
                <a:lnTo>
                  <a:pt x="564" y="9759"/>
                </a:lnTo>
                <a:lnTo>
                  <a:pt x="565" y="9766"/>
                </a:lnTo>
                <a:lnTo>
                  <a:pt x="571" y="9773"/>
                </a:lnTo>
                <a:lnTo>
                  <a:pt x="578" y="9771"/>
                </a:lnTo>
                <a:lnTo>
                  <a:pt x="582" y="9765"/>
                </a:lnTo>
                <a:lnTo>
                  <a:pt x="581" y="9759"/>
                </a:lnTo>
                <a:lnTo>
                  <a:pt x="576" y="9755"/>
                </a:lnTo>
                <a:lnTo>
                  <a:pt x="569" y="9754"/>
                </a:lnTo>
                <a:close/>
                <a:moveTo>
                  <a:pt x="1453" y="2442"/>
                </a:moveTo>
                <a:lnTo>
                  <a:pt x="1493" y="2429"/>
                </a:lnTo>
                <a:lnTo>
                  <a:pt x="1498" y="2395"/>
                </a:lnTo>
                <a:lnTo>
                  <a:pt x="1480" y="2373"/>
                </a:lnTo>
                <a:lnTo>
                  <a:pt x="1451" y="2397"/>
                </a:lnTo>
                <a:lnTo>
                  <a:pt x="1444" y="2410"/>
                </a:lnTo>
                <a:lnTo>
                  <a:pt x="1438" y="2423"/>
                </a:lnTo>
                <a:lnTo>
                  <a:pt x="1439" y="2435"/>
                </a:lnTo>
                <a:lnTo>
                  <a:pt x="1453" y="2442"/>
                </a:lnTo>
                <a:close/>
                <a:moveTo>
                  <a:pt x="1177" y="2572"/>
                </a:moveTo>
                <a:lnTo>
                  <a:pt x="1186" y="2569"/>
                </a:lnTo>
                <a:lnTo>
                  <a:pt x="1191" y="2562"/>
                </a:lnTo>
                <a:lnTo>
                  <a:pt x="1192" y="2553"/>
                </a:lnTo>
                <a:lnTo>
                  <a:pt x="1195" y="2544"/>
                </a:lnTo>
                <a:lnTo>
                  <a:pt x="1184" y="2511"/>
                </a:lnTo>
                <a:lnTo>
                  <a:pt x="1159" y="2521"/>
                </a:lnTo>
                <a:lnTo>
                  <a:pt x="1149" y="2549"/>
                </a:lnTo>
                <a:lnTo>
                  <a:pt x="1177" y="2572"/>
                </a:lnTo>
                <a:close/>
                <a:moveTo>
                  <a:pt x="735" y="2119"/>
                </a:moveTo>
                <a:lnTo>
                  <a:pt x="765" y="2115"/>
                </a:lnTo>
                <a:lnTo>
                  <a:pt x="795" y="2103"/>
                </a:lnTo>
                <a:lnTo>
                  <a:pt x="805" y="2089"/>
                </a:lnTo>
                <a:lnTo>
                  <a:pt x="776" y="2078"/>
                </a:lnTo>
                <a:lnTo>
                  <a:pt x="750" y="2077"/>
                </a:lnTo>
                <a:lnTo>
                  <a:pt x="726" y="2087"/>
                </a:lnTo>
                <a:lnTo>
                  <a:pt x="716" y="2103"/>
                </a:lnTo>
                <a:lnTo>
                  <a:pt x="735" y="2119"/>
                </a:lnTo>
                <a:close/>
                <a:moveTo>
                  <a:pt x="5041" y="997"/>
                </a:moveTo>
                <a:lnTo>
                  <a:pt x="5052" y="970"/>
                </a:lnTo>
                <a:lnTo>
                  <a:pt x="5011" y="965"/>
                </a:lnTo>
                <a:lnTo>
                  <a:pt x="4965" y="977"/>
                </a:lnTo>
                <a:lnTo>
                  <a:pt x="4963" y="997"/>
                </a:lnTo>
                <a:lnTo>
                  <a:pt x="4982" y="1001"/>
                </a:lnTo>
                <a:lnTo>
                  <a:pt x="5001" y="1002"/>
                </a:lnTo>
                <a:lnTo>
                  <a:pt x="5021" y="1001"/>
                </a:lnTo>
                <a:lnTo>
                  <a:pt x="5041" y="997"/>
                </a:lnTo>
                <a:close/>
                <a:moveTo>
                  <a:pt x="9051" y="2140"/>
                </a:moveTo>
                <a:lnTo>
                  <a:pt x="9043" y="2163"/>
                </a:lnTo>
                <a:lnTo>
                  <a:pt x="9058" y="2185"/>
                </a:lnTo>
                <a:lnTo>
                  <a:pt x="9085" y="2201"/>
                </a:lnTo>
                <a:lnTo>
                  <a:pt x="9109" y="2210"/>
                </a:lnTo>
                <a:lnTo>
                  <a:pt x="9114" y="2187"/>
                </a:lnTo>
                <a:lnTo>
                  <a:pt x="9099" y="2157"/>
                </a:lnTo>
                <a:lnTo>
                  <a:pt x="9075" y="2136"/>
                </a:lnTo>
                <a:lnTo>
                  <a:pt x="9051" y="2140"/>
                </a:lnTo>
                <a:close/>
                <a:moveTo>
                  <a:pt x="3347" y="11808"/>
                </a:moveTo>
                <a:lnTo>
                  <a:pt x="3331" y="11784"/>
                </a:lnTo>
                <a:lnTo>
                  <a:pt x="3296" y="11793"/>
                </a:lnTo>
                <a:lnTo>
                  <a:pt x="3268" y="11819"/>
                </a:lnTo>
                <a:lnTo>
                  <a:pt x="3279" y="11841"/>
                </a:lnTo>
                <a:lnTo>
                  <a:pt x="3296" y="11835"/>
                </a:lnTo>
                <a:lnTo>
                  <a:pt x="3315" y="11828"/>
                </a:lnTo>
                <a:lnTo>
                  <a:pt x="3333" y="11819"/>
                </a:lnTo>
                <a:lnTo>
                  <a:pt x="3347" y="11808"/>
                </a:lnTo>
                <a:close/>
                <a:moveTo>
                  <a:pt x="2166" y="2035"/>
                </a:moveTo>
                <a:lnTo>
                  <a:pt x="2162" y="2035"/>
                </a:lnTo>
                <a:lnTo>
                  <a:pt x="2157" y="2035"/>
                </a:lnTo>
                <a:lnTo>
                  <a:pt x="2162" y="2035"/>
                </a:lnTo>
                <a:lnTo>
                  <a:pt x="2166" y="2035"/>
                </a:lnTo>
                <a:close/>
                <a:moveTo>
                  <a:pt x="1918" y="2122"/>
                </a:moveTo>
                <a:lnTo>
                  <a:pt x="1997" y="2112"/>
                </a:lnTo>
                <a:lnTo>
                  <a:pt x="2097" y="2121"/>
                </a:lnTo>
                <a:lnTo>
                  <a:pt x="2175" y="2110"/>
                </a:lnTo>
                <a:lnTo>
                  <a:pt x="2184" y="2038"/>
                </a:lnTo>
                <a:lnTo>
                  <a:pt x="2187" y="2024"/>
                </a:lnTo>
                <a:lnTo>
                  <a:pt x="2204" y="1990"/>
                </a:lnTo>
                <a:lnTo>
                  <a:pt x="2207" y="1962"/>
                </a:lnTo>
                <a:lnTo>
                  <a:pt x="2164" y="1965"/>
                </a:lnTo>
                <a:lnTo>
                  <a:pt x="2113" y="2001"/>
                </a:lnTo>
                <a:lnTo>
                  <a:pt x="2052" y="2028"/>
                </a:lnTo>
                <a:lnTo>
                  <a:pt x="1999" y="2055"/>
                </a:lnTo>
                <a:lnTo>
                  <a:pt x="1971" y="2088"/>
                </a:lnTo>
                <a:lnTo>
                  <a:pt x="1950" y="2083"/>
                </a:lnTo>
                <a:lnTo>
                  <a:pt x="1923" y="2079"/>
                </a:lnTo>
                <a:lnTo>
                  <a:pt x="1906" y="2088"/>
                </a:lnTo>
                <a:lnTo>
                  <a:pt x="1918" y="2122"/>
                </a:lnTo>
                <a:close/>
                <a:moveTo>
                  <a:pt x="595" y="4270"/>
                </a:moveTo>
                <a:lnTo>
                  <a:pt x="610" y="4280"/>
                </a:lnTo>
                <a:lnTo>
                  <a:pt x="625" y="4274"/>
                </a:lnTo>
                <a:lnTo>
                  <a:pt x="637" y="4260"/>
                </a:lnTo>
                <a:lnTo>
                  <a:pt x="639" y="4242"/>
                </a:lnTo>
                <a:lnTo>
                  <a:pt x="625" y="4229"/>
                </a:lnTo>
                <a:lnTo>
                  <a:pt x="607" y="4234"/>
                </a:lnTo>
                <a:lnTo>
                  <a:pt x="593" y="4249"/>
                </a:lnTo>
                <a:lnTo>
                  <a:pt x="595" y="4270"/>
                </a:lnTo>
                <a:close/>
                <a:moveTo>
                  <a:pt x="8345" y="683"/>
                </a:moveTo>
                <a:lnTo>
                  <a:pt x="8340" y="688"/>
                </a:lnTo>
                <a:lnTo>
                  <a:pt x="8340" y="694"/>
                </a:lnTo>
                <a:lnTo>
                  <a:pt x="8345" y="699"/>
                </a:lnTo>
                <a:lnTo>
                  <a:pt x="8353" y="699"/>
                </a:lnTo>
                <a:lnTo>
                  <a:pt x="8359" y="694"/>
                </a:lnTo>
                <a:lnTo>
                  <a:pt x="8359" y="688"/>
                </a:lnTo>
                <a:lnTo>
                  <a:pt x="8353" y="683"/>
                </a:lnTo>
                <a:lnTo>
                  <a:pt x="8345" y="683"/>
                </a:lnTo>
                <a:close/>
                <a:moveTo>
                  <a:pt x="8288" y="669"/>
                </a:moveTo>
                <a:lnTo>
                  <a:pt x="8293" y="664"/>
                </a:lnTo>
                <a:lnTo>
                  <a:pt x="8289" y="655"/>
                </a:lnTo>
                <a:lnTo>
                  <a:pt x="8280" y="650"/>
                </a:lnTo>
                <a:lnTo>
                  <a:pt x="8269" y="650"/>
                </a:lnTo>
                <a:lnTo>
                  <a:pt x="8262" y="657"/>
                </a:lnTo>
                <a:lnTo>
                  <a:pt x="8268" y="664"/>
                </a:lnTo>
                <a:lnTo>
                  <a:pt x="8278" y="667"/>
                </a:lnTo>
                <a:lnTo>
                  <a:pt x="8288" y="669"/>
                </a:lnTo>
                <a:close/>
                <a:moveTo>
                  <a:pt x="5401" y="11643"/>
                </a:moveTo>
                <a:lnTo>
                  <a:pt x="5401" y="11653"/>
                </a:lnTo>
                <a:lnTo>
                  <a:pt x="5410" y="11660"/>
                </a:lnTo>
                <a:lnTo>
                  <a:pt x="5420" y="11662"/>
                </a:lnTo>
                <a:lnTo>
                  <a:pt x="5429" y="11655"/>
                </a:lnTo>
                <a:lnTo>
                  <a:pt x="5430" y="11643"/>
                </a:lnTo>
                <a:lnTo>
                  <a:pt x="5423" y="11635"/>
                </a:lnTo>
                <a:lnTo>
                  <a:pt x="5411" y="11634"/>
                </a:lnTo>
                <a:lnTo>
                  <a:pt x="5401" y="11643"/>
                </a:lnTo>
                <a:close/>
                <a:moveTo>
                  <a:pt x="3130" y="11142"/>
                </a:moveTo>
                <a:lnTo>
                  <a:pt x="3124" y="11131"/>
                </a:lnTo>
                <a:lnTo>
                  <a:pt x="3111" y="11133"/>
                </a:lnTo>
                <a:lnTo>
                  <a:pt x="3097" y="11145"/>
                </a:lnTo>
                <a:lnTo>
                  <a:pt x="3091" y="11160"/>
                </a:lnTo>
                <a:lnTo>
                  <a:pt x="3097" y="11172"/>
                </a:lnTo>
                <a:lnTo>
                  <a:pt x="3110" y="11169"/>
                </a:lnTo>
                <a:lnTo>
                  <a:pt x="3124" y="11158"/>
                </a:lnTo>
                <a:lnTo>
                  <a:pt x="3130" y="11142"/>
                </a:lnTo>
                <a:close/>
                <a:moveTo>
                  <a:pt x="10616" y="2787"/>
                </a:moveTo>
                <a:lnTo>
                  <a:pt x="10640" y="2784"/>
                </a:lnTo>
                <a:lnTo>
                  <a:pt x="10652" y="2766"/>
                </a:lnTo>
                <a:lnTo>
                  <a:pt x="10648" y="2746"/>
                </a:lnTo>
                <a:lnTo>
                  <a:pt x="10625" y="2736"/>
                </a:lnTo>
                <a:lnTo>
                  <a:pt x="10599" y="2738"/>
                </a:lnTo>
                <a:lnTo>
                  <a:pt x="10587" y="2758"/>
                </a:lnTo>
                <a:lnTo>
                  <a:pt x="10592" y="2778"/>
                </a:lnTo>
                <a:lnTo>
                  <a:pt x="10616" y="2787"/>
                </a:lnTo>
                <a:close/>
                <a:moveTo>
                  <a:pt x="777" y="9556"/>
                </a:moveTo>
                <a:lnTo>
                  <a:pt x="768" y="9560"/>
                </a:lnTo>
                <a:lnTo>
                  <a:pt x="763" y="9566"/>
                </a:lnTo>
                <a:lnTo>
                  <a:pt x="762" y="9575"/>
                </a:lnTo>
                <a:lnTo>
                  <a:pt x="767" y="9584"/>
                </a:lnTo>
                <a:lnTo>
                  <a:pt x="779" y="9585"/>
                </a:lnTo>
                <a:lnTo>
                  <a:pt x="790" y="9574"/>
                </a:lnTo>
                <a:lnTo>
                  <a:pt x="790" y="9561"/>
                </a:lnTo>
                <a:lnTo>
                  <a:pt x="777" y="9556"/>
                </a:lnTo>
                <a:close/>
                <a:moveTo>
                  <a:pt x="844" y="9596"/>
                </a:moveTo>
                <a:lnTo>
                  <a:pt x="824" y="9596"/>
                </a:lnTo>
                <a:lnTo>
                  <a:pt x="805" y="9625"/>
                </a:lnTo>
                <a:lnTo>
                  <a:pt x="795" y="9663"/>
                </a:lnTo>
                <a:lnTo>
                  <a:pt x="798" y="9690"/>
                </a:lnTo>
                <a:lnTo>
                  <a:pt x="825" y="9690"/>
                </a:lnTo>
                <a:lnTo>
                  <a:pt x="844" y="9663"/>
                </a:lnTo>
                <a:lnTo>
                  <a:pt x="852" y="9625"/>
                </a:lnTo>
                <a:lnTo>
                  <a:pt x="844" y="9596"/>
                </a:lnTo>
                <a:close/>
                <a:moveTo>
                  <a:pt x="3328" y="893"/>
                </a:moveTo>
                <a:lnTo>
                  <a:pt x="3338" y="899"/>
                </a:lnTo>
                <a:lnTo>
                  <a:pt x="3354" y="897"/>
                </a:lnTo>
                <a:lnTo>
                  <a:pt x="3368" y="889"/>
                </a:lnTo>
                <a:lnTo>
                  <a:pt x="3371" y="879"/>
                </a:lnTo>
                <a:lnTo>
                  <a:pt x="3361" y="874"/>
                </a:lnTo>
                <a:lnTo>
                  <a:pt x="3344" y="875"/>
                </a:lnTo>
                <a:lnTo>
                  <a:pt x="3330" y="881"/>
                </a:lnTo>
                <a:lnTo>
                  <a:pt x="3328" y="893"/>
                </a:lnTo>
                <a:close/>
                <a:moveTo>
                  <a:pt x="662" y="8118"/>
                </a:moveTo>
                <a:lnTo>
                  <a:pt x="638" y="8119"/>
                </a:lnTo>
                <a:lnTo>
                  <a:pt x="624" y="8142"/>
                </a:lnTo>
                <a:lnTo>
                  <a:pt x="621" y="8171"/>
                </a:lnTo>
                <a:lnTo>
                  <a:pt x="634" y="8192"/>
                </a:lnTo>
                <a:lnTo>
                  <a:pt x="660" y="8188"/>
                </a:lnTo>
                <a:lnTo>
                  <a:pt x="676" y="8166"/>
                </a:lnTo>
                <a:lnTo>
                  <a:pt x="678" y="8138"/>
                </a:lnTo>
                <a:lnTo>
                  <a:pt x="662" y="8118"/>
                </a:lnTo>
                <a:close/>
                <a:moveTo>
                  <a:pt x="2258" y="10428"/>
                </a:moveTo>
                <a:lnTo>
                  <a:pt x="2269" y="10414"/>
                </a:lnTo>
                <a:lnTo>
                  <a:pt x="2272" y="10396"/>
                </a:lnTo>
                <a:lnTo>
                  <a:pt x="2264" y="10386"/>
                </a:lnTo>
                <a:lnTo>
                  <a:pt x="2245" y="10389"/>
                </a:lnTo>
                <a:lnTo>
                  <a:pt x="2234" y="10403"/>
                </a:lnTo>
                <a:lnTo>
                  <a:pt x="2232" y="10421"/>
                </a:lnTo>
                <a:lnTo>
                  <a:pt x="2241" y="10432"/>
                </a:lnTo>
                <a:lnTo>
                  <a:pt x="2258" y="10428"/>
                </a:lnTo>
                <a:close/>
                <a:moveTo>
                  <a:pt x="2509" y="2583"/>
                </a:moveTo>
                <a:lnTo>
                  <a:pt x="2502" y="2525"/>
                </a:lnTo>
                <a:lnTo>
                  <a:pt x="2417" y="2590"/>
                </a:lnTo>
                <a:lnTo>
                  <a:pt x="2309" y="2699"/>
                </a:lnTo>
                <a:lnTo>
                  <a:pt x="2238" y="2772"/>
                </a:lnTo>
                <a:lnTo>
                  <a:pt x="2266" y="2814"/>
                </a:lnTo>
                <a:lnTo>
                  <a:pt x="2313" y="2794"/>
                </a:lnTo>
                <a:lnTo>
                  <a:pt x="2364" y="2765"/>
                </a:lnTo>
                <a:lnTo>
                  <a:pt x="2406" y="2772"/>
                </a:lnTo>
                <a:lnTo>
                  <a:pt x="2417" y="2727"/>
                </a:lnTo>
                <a:lnTo>
                  <a:pt x="2394" y="2707"/>
                </a:lnTo>
                <a:lnTo>
                  <a:pt x="2403" y="2671"/>
                </a:lnTo>
                <a:lnTo>
                  <a:pt x="2509" y="2583"/>
                </a:lnTo>
                <a:close/>
                <a:moveTo>
                  <a:pt x="3056" y="10977"/>
                </a:moveTo>
                <a:lnTo>
                  <a:pt x="3044" y="10981"/>
                </a:lnTo>
                <a:lnTo>
                  <a:pt x="3036" y="10991"/>
                </a:lnTo>
                <a:lnTo>
                  <a:pt x="3036" y="11004"/>
                </a:lnTo>
                <a:lnTo>
                  <a:pt x="3042" y="11012"/>
                </a:lnTo>
                <a:lnTo>
                  <a:pt x="3056" y="11011"/>
                </a:lnTo>
                <a:lnTo>
                  <a:pt x="3064" y="11000"/>
                </a:lnTo>
                <a:lnTo>
                  <a:pt x="3064" y="10986"/>
                </a:lnTo>
                <a:lnTo>
                  <a:pt x="3056" y="10977"/>
                </a:lnTo>
                <a:close/>
                <a:moveTo>
                  <a:pt x="4941" y="1448"/>
                </a:moveTo>
                <a:lnTo>
                  <a:pt x="4936" y="1439"/>
                </a:lnTo>
                <a:lnTo>
                  <a:pt x="4925" y="1435"/>
                </a:lnTo>
                <a:lnTo>
                  <a:pt x="4913" y="1436"/>
                </a:lnTo>
                <a:lnTo>
                  <a:pt x="4908" y="1443"/>
                </a:lnTo>
                <a:lnTo>
                  <a:pt x="4911" y="1460"/>
                </a:lnTo>
                <a:lnTo>
                  <a:pt x="4923" y="1466"/>
                </a:lnTo>
                <a:lnTo>
                  <a:pt x="4937" y="1462"/>
                </a:lnTo>
                <a:lnTo>
                  <a:pt x="4941" y="1448"/>
                </a:lnTo>
                <a:close/>
                <a:moveTo>
                  <a:pt x="5065" y="1245"/>
                </a:moveTo>
                <a:lnTo>
                  <a:pt x="5077" y="1276"/>
                </a:lnTo>
                <a:lnTo>
                  <a:pt x="5112" y="1324"/>
                </a:lnTo>
                <a:lnTo>
                  <a:pt x="5150" y="1356"/>
                </a:lnTo>
                <a:lnTo>
                  <a:pt x="5176" y="1341"/>
                </a:lnTo>
                <a:lnTo>
                  <a:pt x="5153" y="1281"/>
                </a:lnTo>
                <a:lnTo>
                  <a:pt x="5123" y="1213"/>
                </a:lnTo>
                <a:lnTo>
                  <a:pt x="5093" y="1184"/>
                </a:lnTo>
                <a:lnTo>
                  <a:pt x="5065" y="1245"/>
                </a:lnTo>
                <a:close/>
                <a:moveTo>
                  <a:pt x="3097" y="11938"/>
                </a:moveTo>
                <a:lnTo>
                  <a:pt x="3073" y="11949"/>
                </a:lnTo>
                <a:lnTo>
                  <a:pt x="3077" y="11972"/>
                </a:lnTo>
                <a:lnTo>
                  <a:pt x="3093" y="11984"/>
                </a:lnTo>
                <a:lnTo>
                  <a:pt x="3110" y="11963"/>
                </a:lnTo>
                <a:lnTo>
                  <a:pt x="3110" y="11956"/>
                </a:lnTo>
                <a:lnTo>
                  <a:pt x="3107" y="11948"/>
                </a:lnTo>
                <a:lnTo>
                  <a:pt x="3104" y="11940"/>
                </a:lnTo>
                <a:lnTo>
                  <a:pt x="3097" y="11938"/>
                </a:lnTo>
                <a:close/>
                <a:moveTo>
                  <a:pt x="9307" y="2019"/>
                </a:moveTo>
                <a:lnTo>
                  <a:pt x="9309" y="2018"/>
                </a:lnTo>
                <a:lnTo>
                  <a:pt x="9309" y="2015"/>
                </a:lnTo>
                <a:lnTo>
                  <a:pt x="9308" y="2014"/>
                </a:lnTo>
                <a:lnTo>
                  <a:pt x="9305" y="2015"/>
                </a:lnTo>
                <a:lnTo>
                  <a:pt x="9304" y="2018"/>
                </a:lnTo>
                <a:lnTo>
                  <a:pt x="9307" y="2019"/>
                </a:lnTo>
                <a:close/>
                <a:moveTo>
                  <a:pt x="9923" y="2808"/>
                </a:moveTo>
                <a:lnTo>
                  <a:pt x="9945" y="2801"/>
                </a:lnTo>
                <a:lnTo>
                  <a:pt x="9956" y="2787"/>
                </a:lnTo>
                <a:lnTo>
                  <a:pt x="9952" y="2773"/>
                </a:lnTo>
                <a:lnTo>
                  <a:pt x="9932" y="2764"/>
                </a:lnTo>
                <a:lnTo>
                  <a:pt x="9915" y="2770"/>
                </a:lnTo>
                <a:lnTo>
                  <a:pt x="9909" y="2786"/>
                </a:lnTo>
                <a:lnTo>
                  <a:pt x="9912" y="2801"/>
                </a:lnTo>
                <a:lnTo>
                  <a:pt x="9923" y="2808"/>
                </a:lnTo>
                <a:close/>
                <a:moveTo>
                  <a:pt x="939" y="9233"/>
                </a:moveTo>
                <a:lnTo>
                  <a:pt x="937" y="9224"/>
                </a:lnTo>
                <a:lnTo>
                  <a:pt x="935" y="9211"/>
                </a:lnTo>
                <a:lnTo>
                  <a:pt x="930" y="9202"/>
                </a:lnTo>
                <a:lnTo>
                  <a:pt x="922" y="9206"/>
                </a:lnTo>
                <a:lnTo>
                  <a:pt x="919" y="9221"/>
                </a:lnTo>
                <a:lnTo>
                  <a:pt x="925" y="9234"/>
                </a:lnTo>
                <a:lnTo>
                  <a:pt x="933" y="9241"/>
                </a:lnTo>
                <a:lnTo>
                  <a:pt x="939" y="9233"/>
                </a:lnTo>
                <a:close/>
                <a:moveTo>
                  <a:pt x="6844" y="1192"/>
                </a:moveTo>
                <a:lnTo>
                  <a:pt x="6835" y="1185"/>
                </a:lnTo>
                <a:lnTo>
                  <a:pt x="6825" y="1188"/>
                </a:lnTo>
                <a:lnTo>
                  <a:pt x="6818" y="1197"/>
                </a:lnTo>
                <a:lnTo>
                  <a:pt x="6820" y="1208"/>
                </a:lnTo>
                <a:lnTo>
                  <a:pt x="6827" y="1213"/>
                </a:lnTo>
                <a:lnTo>
                  <a:pt x="6836" y="1210"/>
                </a:lnTo>
                <a:lnTo>
                  <a:pt x="6844" y="1201"/>
                </a:lnTo>
                <a:lnTo>
                  <a:pt x="6844" y="1192"/>
                </a:lnTo>
                <a:close/>
                <a:moveTo>
                  <a:pt x="853" y="7616"/>
                </a:moveTo>
                <a:lnTo>
                  <a:pt x="842" y="7615"/>
                </a:lnTo>
                <a:lnTo>
                  <a:pt x="829" y="7615"/>
                </a:lnTo>
                <a:lnTo>
                  <a:pt x="816" y="7618"/>
                </a:lnTo>
                <a:lnTo>
                  <a:pt x="805" y="7620"/>
                </a:lnTo>
                <a:lnTo>
                  <a:pt x="805" y="7639"/>
                </a:lnTo>
                <a:lnTo>
                  <a:pt x="835" y="7648"/>
                </a:lnTo>
                <a:lnTo>
                  <a:pt x="863" y="7642"/>
                </a:lnTo>
                <a:lnTo>
                  <a:pt x="853" y="7616"/>
                </a:lnTo>
                <a:close/>
                <a:moveTo>
                  <a:pt x="10329" y="2975"/>
                </a:moveTo>
                <a:lnTo>
                  <a:pt x="10374" y="2971"/>
                </a:lnTo>
                <a:lnTo>
                  <a:pt x="10401" y="2932"/>
                </a:lnTo>
                <a:lnTo>
                  <a:pt x="10405" y="2881"/>
                </a:lnTo>
                <a:lnTo>
                  <a:pt x="10380" y="2842"/>
                </a:lnTo>
                <a:lnTo>
                  <a:pt x="10318" y="2861"/>
                </a:lnTo>
                <a:lnTo>
                  <a:pt x="10280" y="2887"/>
                </a:lnTo>
                <a:lnTo>
                  <a:pt x="10280" y="2924"/>
                </a:lnTo>
                <a:lnTo>
                  <a:pt x="10329" y="2975"/>
                </a:lnTo>
                <a:close/>
                <a:moveTo>
                  <a:pt x="232" y="6758"/>
                </a:moveTo>
                <a:lnTo>
                  <a:pt x="214" y="6702"/>
                </a:lnTo>
                <a:lnTo>
                  <a:pt x="168" y="6735"/>
                </a:lnTo>
                <a:lnTo>
                  <a:pt x="145" y="6788"/>
                </a:lnTo>
                <a:lnTo>
                  <a:pt x="196" y="6789"/>
                </a:lnTo>
                <a:lnTo>
                  <a:pt x="214" y="6772"/>
                </a:lnTo>
                <a:lnTo>
                  <a:pt x="232" y="6758"/>
                </a:lnTo>
                <a:close/>
                <a:moveTo>
                  <a:pt x="172" y="6682"/>
                </a:moveTo>
                <a:lnTo>
                  <a:pt x="166" y="6656"/>
                </a:lnTo>
                <a:lnTo>
                  <a:pt x="143" y="6664"/>
                </a:lnTo>
                <a:lnTo>
                  <a:pt x="127" y="6686"/>
                </a:lnTo>
                <a:lnTo>
                  <a:pt x="141" y="6706"/>
                </a:lnTo>
                <a:lnTo>
                  <a:pt x="152" y="6705"/>
                </a:lnTo>
                <a:lnTo>
                  <a:pt x="159" y="6699"/>
                </a:lnTo>
                <a:lnTo>
                  <a:pt x="167" y="6690"/>
                </a:lnTo>
                <a:lnTo>
                  <a:pt x="172" y="6682"/>
                </a:lnTo>
                <a:close/>
                <a:moveTo>
                  <a:pt x="562" y="6807"/>
                </a:moveTo>
                <a:lnTo>
                  <a:pt x="562" y="6811"/>
                </a:lnTo>
                <a:lnTo>
                  <a:pt x="564" y="6813"/>
                </a:lnTo>
                <a:lnTo>
                  <a:pt x="568" y="6813"/>
                </a:lnTo>
                <a:lnTo>
                  <a:pt x="571" y="6809"/>
                </a:lnTo>
                <a:lnTo>
                  <a:pt x="571" y="6804"/>
                </a:lnTo>
                <a:lnTo>
                  <a:pt x="569" y="6802"/>
                </a:lnTo>
                <a:lnTo>
                  <a:pt x="565" y="6802"/>
                </a:lnTo>
                <a:lnTo>
                  <a:pt x="562" y="6807"/>
                </a:lnTo>
                <a:close/>
                <a:moveTo>
                  <a:pt x="8423" y="1796"/>
                </a:moveTo>
                <a:lnTo>
                  <a:pt x="8439" y="1775"/>
                </a:lnTo>
                <a:lnTo>
                  <a:pt x="8405" y="1757"/>
                </a:lnTo>
                <a:lnTo>
                  <a:pt x="8367" y="1757"/>
                </a:lnTo>
                <a:lnTo>
                  <a:pt x="8367" y="1786"/>
                </a:lnTo>
                <a:lnTo>
                  <a:pt x="8378" y="1794"/>
                </a:lnTo>
                <a:lnTo>
                  <a:pt x="8394" y="1796"/>
                </a:lnTo>
                <a:lnTo>
                  <a:pt x="8409" y="1798"/>
                </a:lnTo>
                <a:lnTo>
                  <a:pt x="8423" y="1796"/>
                </a:lnTo>
                <a:close/>
                <a:moveTo>
                  <a:pt x="8439" y="1642"/>
                </a:moveTo>
                <a:lnTo>
                  <a:pt x="8396" y="1631"/>
                </a:lnTo>
                <a:lnTo>
                  <a:pt x="8377" y="1641"/>
                </a:lnTo>
                <a:lnTo>
                  <a:pt x="8383" y="1668"/>
                </a:lnTo>
                <a:lnTo>
                  <a:pt x="8410" y="1705"/>
                </a:lnTo>
                <a:lnTo>
                  <a:pt x="8447" y="1709"/>
                </a:lnTo>
                <a:lnTo>
                  <a:pt x="8471" y="1690"/>
                </a:lnTo>
                <a:lnTo>
                  <a:pt x="8474" y="1663"/>
                </a:lnTo>
                <a:lnTo>
                  <a:pt x="8439" y="1642"/>
                </a:lnTo>
                <a:close/>
                <a:moveTo>
                  <a:pt x="5187" y="919"/>
                </a:moveTo>
                <a:lnTo>
                  <a:pt x="5173" y="898"/>
                </a:lnTo>
                <a:lnTo>
                  <a:pt x="5146" y="877"/>
                </a:lnTo>
                <a:lnTo>
                  <a:pt x="5116" y="867"/>
                </a:lnTo>
                <a:lnTo>
                  <a:pt x="5090" y="874"/>
                </a:lnTo>
                <a:lnTo>
                  <a:pt x="5095" y="902"/>
                </a:lnTo>
                <a:lnTo>
                  <a:pt x="5127" y="925"/>
                </a:lnTo>
                <a:lnTo>
                  <a:pt x="5164" y="933"/>
                </a:lnTo>
                <a:lnTo>
                  <a:pt x="5187" y="919"/>
                </a:lnTo>
                <a:close/>
                <a:moveTo>
                  <a:pt x="1490" y="8926"/>
                </a:moveTo>
                <a:lnTo>
                  <a:pt x="1493" y="8921"/>
                </a:lnTo>
                <a:lnTo>
                  <a:pt x="1495" y="8916"/>
                </a:lnTo>
                <a:lnTo>
                  <a:pt x="1495" y="8910"/>
                </a:lnTo>
                <a:lnTo>
                  <a:pt x="1496" y="8904"/>
                </a:lnTo>
                <a:lnTo>
                  <a:pt x="1482" y="8899"/>
                </a:lnTo>
                <a:lnTo>
                  <a:pt x="1470" y="8912"/>
                </a:lnTo>
                <a:lnTo>
                  <a:pt x="1470" y="8927"/>
                </a:lnTo>
                <a:lnTo>
                  <a:pt x="1490" y="8926"/>
                </a:lnTo>
                <a:close/>
                <a:moveTo>
                  <a:pt x="2360" y="10768"/>
                </a:moveTo>
                <a:lnTo>
                  <a:pt x="2367" y="10760"/>
                </a:lnTo>
                <a:lnTo>
                  <a:pt x="2373" y="10748"/>
                </a:lnTo>
                <a:lnTo>
                  <a:pt x="2370" y="10737"/>
                </a:lnTo>
                <a:lnTo>
                  <a:pt x="2359" y="10734"/>
                </a:lnTo>
                <a:lnTo>
                  <a:pt x="2345" y="10741"/>
                </a:lnTo>
                <a:lnTo>
                  <a:pt x="2341" y="10755"/>
                </a:lnTo>
                <a:lnTo>
                  <a:pt x="2346" y="10767"/>
                </a:lnTo>
                <a:lnTo>
                  <a:pt x="2360" y="10768"/>
                </a:lnTo>
                <a:close/>
                <a:moveTo>
                  <a:pt x="3184" y="1093"/>
                </a:moveTo>
                <a:lnTo>
                  <a:pt x="3199" y="1063"/>
                </a:lnTo>
                <a:lnTo>
                  <a:pt x="3185" y="1037"/>
                </a:lnTo>
                <a:lnTo>
                  <a:pt x="3154" y="1024"/>
                </a:lnTo>
                <a:lnTo>
                  <a:pt x="3121" y="1033"/>
                </a:lnTo>
                <a:lnTo>
                  <a:pt x="3116" y="1059"/>
                </a:lnTo>
                <a:lnTo>
                  <a:pt x="3130" y="1086"/>
                </a:lnTo>
                <a:lnTo>
                  <a:pt x="3156" y="1100"/>
                </a:lnTo>
                <a:lnTo>
                  <a:pt x="3184" y="1093"/>
                </a:lnTo>
                <a:close/>
                <a:moveTo>
                  <a:pt x="8148" y="1170"/>
                </a:moveTo>
                <a:lnTo>
                  <a:pt x="8144" y="1165"/>
                </a:lnTo>
                <a:lnTo>
                  <a:pt x="8136" y="1165"/>
                </a:lnTo>
                <a:lnTo>
                  <a:pt x="8130" y="1169"/>
                </a:lnTo>
                <a:lnTo>
                  <a:pt x="8129" y="1175"/>
                </a:lnTo>
                <a:lnTo>
                  <a:pt x="8134" y="1179"/>
                </a:lnTo>
                <a:lnTo>
                  <a:pt x="8140" y="1179"/>
                </a:lnTo>
                <a:lnTo>
                  <a:pt x="8147" y="1177"/>
                </a:lnTo>
                <a:lnTo>
                  <a:pt x="8148" y="1170"/>
                </a:lnTo>
                <a:close/>
                <a:moveTo>
                  <a:pt x="5512" y="11643"/>
                </a:moveTo>
                <a:lnTo>
                  <a:pt x="5514" y="11643"/>
                </a:lnTo>
                <a:lnTo>
                  <a:pt x="5516" y="11641"/>
                </a:lnTo>
                <a:lnTo>
                  <a:pt x="5517" y="11637"/>
                </a:lnTo>
                <a:lnTo>
                  <a:pt x="5517" y="11635"/>
                </a:lnTo>
                <a:lnTo>
                  <a:pt x="5514" y="11635"/>
                </a:lnTo>
                <a:lnTo>
                  <a:pt x="5513" y="11637"/>
                </a:lnTo>
                <a:lnTo>
                  <a:pt x="5512" y="11640"/>
                </a:lnTo>
                <a:lnTo>
                  <a:pt x="5512" y="11643"/>
                </a:lnTo>
                <a:close/>
                <a:moveTo>
                  <a:pt x="5480" y="11608"/>
                </a:moveTo>
                <a:lnTo>
                  <a:pt x="5484" y="11613"/>
                </a:lnTo>
                <a:lnTo>
                  <a:pt x="5490" y="11613"/>
                </a:lnTo>
                <a:lnTo>
                  <a:pt x="5495" y="11611"/>
                </a:lnTo>
                <a:lnTo>
                  <a:pt x="5495" y="11603"/>
                </a:lnTo>
                <a:lnTo>
                  <a:pt x="5491" y="11597"/>
                </a:lnTo>
                <a:lnTo>
                  <a:pt x="5485" y="11597"/>
                </a:lnTo>
                <a:lnTo>
                  <a:pt x="5480" y="11601"/>
                </a:lnTo>
                <a:lnTo>
                  <a:pt x="5480" y="11608"/>
                </a:lnTo>
                <a:close/>
                <a:moveTo>
                  <a:pt x="157" y="6412"/>
                </a:moveTo>
                <a:lnTo>
                  <a:pt x="134" y="6376"/>
                </a:lnTo>
                <a:lnTo>
                  <a:pt x="98" y="6407"/>
                </a:lnTo>
                <a:lnTo>
                  <a:pt x="74" y="6466"/>
                </a:lnTo>
                <a:lnTo>
                  <a:pt x="82" y="6509"/>
                </a:lnTo>
                <a:lnTo>
                  <a:pt x="110" y="6499"/>
                </a:lnTo>
                <a:lnTo>
                  <a:pt x="130" y="6473"/>
                </a:lnTo>
                <a:lnTo>
                  <a:pt x="144" y="6441"/>
                </a:lnTo>
                <a:lnTo>
                  <a:pt x="157" y="6412"/>
                </a:lnTo>
                <a:close/>
                <a:moveTo>
                  <a:pt x="671" y="6110"/>
                </a:moveTo>
                <a:lnTo>
                  <a:pt x="671" y="6100"/>
                </a:lnTo>
                <a:lnTo>
                  <a:pt x="665" y="6094"/>
                </a:lnTo>
                <a:lnTo>
                  <a:pt x="657" y="6094"/>
                </a:lnTo>
                <a:lnTo>
                  <a:pt x="651" y="6103"/>
                </a:lnTo>
                <a:lnTo>
                  <a:pt x="652" y="6113"/>
                </a:lnTo>
                <a:lnTo>
                  <a:pt x="658" y="6118"/>
                </a:lnTo>
                <a:lnTo>
                  <a:pt x="666" y="6118"/>
                </a:lnTo>
                <a:lnTo>
                  <a:pt x="671" y="6110"/>
                </a:lnTo>
                <a:close/>
                <a:moveTo>
                  <a:pt x="712" y="6169"/>
                </a:moveTo>
                <a:lnTo>
                  <a:pt x="704" y="6163"/>
                </a:lnTo>
                <a:lnTo>
                  <a:pt x="692" y="6159"/>
                </a:lnTo>
                <a:lnTo>
                  <a:pt x="680" y="6159"/>
                </a:lnTo>
                <a:lnTo>
                  <a:pt x="674" y="6164"/>
                </a:lnTo>
                <a:lnTo>
                  <a:pt x="680" y="6178"/>
                </a:lnTo>
                <a:lnTo>
                  <a:pt x="695" y="6182"/>
                </a:lnTo>
                <a:lnTo>
                  <a:pt x="708" y="6178"/>
                </a:lnTo>
                <a:lnTo>
                  <a:pt x="712" y="6169"/>
                </a:lnTo>
                <a:close/>
                <a:moveTo>
                  <a:pt x="647" y="6230"/>
                </a:moveTo>
                <a:lnTo>
                  <a:pt x="657" y="6240"/>
                </a:lnTo>
                <a:lnTo>
                  <a:pt x="670" y="6235"/>
                </a:lnTo>
                <a:lnTo>
                  <a:pt x="680" y="6222"/>
                </a:lnTo>
                <a:lnTo>
                  <a:pt x="683" y="6207"/>
                </a:lnTo>
                <a:lnTo>
                  <a:pt x="671" y="6192"/>
                </a:lnTo>
                <a:lnTo>
                  <a:pt x="655" y="6196"/>
                </a:lnTo>
                <a:lnTo>
                  <a:pt x="643" y="6210"/>
                </a:lnTo>
                <a:lnTo>
                  <a:pt x="647" y="6230"/>
                </a:lnTo>
                <a:close/>
                <a:moveTo>
                  <a:pt x="1440" y="10312"/>
                </a:moveTo>
                <a:lnTo>
                  <a:pt x="1438" y="10335"/>
                </a:lnTo>
                <a:lnTo>
                  <a:pt x="1449" y="10359"/>
                </a:lnTo>
                <a:lnTo>
                  <a:pt x="1466" y="10372"/>
                </a:lnTo>
                <a:lnTo>
                  <a:pt x="1482" y="10362"/>
                </a:lnTo>
                <a:lnTo>
                  <a:pt x="1479" y="10343"/>
                </a:lnTo>
                <a:lnTo>
                  <a:pt x="1467" y="10319"/>
                </a:lnTo>
                <a:lnTo>
                  <a:pt x="1452" y="10305"/>
                </a:lnTo>
                <a:lnTo>
                  <a:pt x="1440" y="10312"/>
                </a:lnTo>
                <a:close/>
                <a:moveTo>
                  <a:pt x="1396" y="10338"/>
                </a:moveTo>
                <a:lnTo>
                  <a:pt x="1335" y="10337"/>
                </a:lnTo>
                <a:lnTo>
                  <a:pt x="1318" y="10357"/>
                </a:lnTo>
                <a:lnTo>
                  <a:pt x="1337" y="10387"/>
                </a:lnTo>
                <a:lnTo>
                  <a:pt x="1386" y="10418"/>
                </a:lnTo>
                <a:lnTo>
                  <a:pt x="1409" y="10403"/>
                </a:lnTo>
                <a:lnTo>
                  <a:pt x="1421" y="10377"/>
                </a:lnTo>
                <a:lnTo>
                  <a:pt x="1419" y="10352"/>
                </a:lnTo>
                <a:lnTo>
                  <a:pt x="1396" y="10338"/>
                </a:lnTo>
                <a:close/>
                <a:moveTo>
                  <a:pt x="11133" y="3363"/>
                </a:moveTo>
                <a:lnTo>
                  <a:pt x="11133" y="3365"/>
                </a:lnTo>
                <a:lnTo>
                  <a:pt x="11132" y="3365"/>
                </a:lnTo>
                <a:lnTo>
                  <a:pt x="11133" y="3363"/>
                </a:lnTo>
                <a:close/>
                <a:moveTo>
                  <a:pt x="10862" y="3142"/>
                </a:moveTo>
                <a:lnTo>
                  <a:pt x="10930" y="3192"/>
                </a:lnTo>
                <a:lnTo>
                  <a:pt x="10941" y="3237"/>
                </a:lnTo>
                <a:lnTo>
                  <a:pt x="10936" y="3279"/>
                </a:lnTo>
                <a:lnTo>
                  <a:pt x="10957" y="3315"/>
                </a:lnTo>
                <a:lnTo>
                  <a:pt x="11058" y="3361"/>
                </a:lnTo>
                <a:lnTo>
                  <a:pt x="11076" y="3404"/>
                </a:lnTo>
                <a:lnTo>
                  <a:pt x="11067" y="3446"/>
                </a:lnTo>
                <a:lnTo>
                  <a:pt x="11088" y="3487"/>
                </a:lnTo>
                <a:lnTo>
                  <a:pt x="11221" y="3464"/>
                </a:lnTo>
                <a:lnTo>
                  <a:pt x="11107" y="3285"/>
                </a:lnTo>
                <a:lnTo>
                  <a:pt x="10928" y="3120"/>
                </a:lnTo>
                <a:lnTo>
                  <a:pt x="10862" y="3142"/>
                </a:lnTo>
                <a:close/>
                <a:moveTo>
                  <a:pt x="637" y="7381"/>
                </a:moveTo>
                <a:lnTo>
                  <a:pt x="642" y="7368"/>
                </a:lnTo>
                <a:lnTo>
                  <a:pt x="634" y="7355"/>
                </a:lnTo>
                <a:lnTo>
                  <a:pt x="619" y="7350"/>
                </a:lnTo>
                <a:lnTo>
                  <a:pt x="604" y="7357"/>
                </a:lnTo>
                <a:lnTo>
                  <a:pt x="597" y="7372"/>
                </a:lnTo>
                <a:lnTo>
                  <a:pt x="605" y="7382"/>
                </a:lnTo>
                <a:lnTo>
                  <a:pt x="621" y="7386"/>
                </a:lnTo>
                <a:lnTo>
                  <a:pt x="637" y="7381"/>
                </a:lnTo>
                <a:close/>
                <a:moveTo>
                  <a:pt x="3456" y="797"/>
                </a:moveTo>
                <a:lnTo>
                  <a:pt x="3473" y="791"/>
                </a:lnTo>
                <a:lnTo>
                  <a:pt x="3487" y="781"/>
                </a:lnTo>
                <a:lnTo>
                  <a:pt x="3501" y="769"/>
                </a:lnTo>
                <a:lnTo>
                  <a:pt x="3515" y="760"/>
                </a:lnTo>
                <a:lnTo>
                  <a:pt x="3498" y="730"/>
                </a:lnTo>
                <a:lnTo>
                  <a:pt x="3458" y="737"/>
                </a:lnTo>
                <a:lnTo>
                  <a:pt x="3431" y="765"/>
                </a:lnTo>
                <a:lnTo>
                  <a:pt x="3456" y="797"/>
                </a:lnTo>
                <a:close/>
                <a:moveTo>
                  <a:pt x="1265" y="9255"/>
                </a:moveTo>
                <a:lnTo>
                  <a:pt x="1265" y="9252"/>
                </a:lnTo>
                <a:lnTo>
                  <a:pt x="1261" y="9252"/>
                </a:lnTo>
                <a:lnTo>
                  <a:pt x="1257" y="9252"/>
                </a:lnTo>
                <a:lnTo>
                  <a:pt x="1254" y="9255"/>
                </a:lnTo>
                <a:lnTo>
                  <a:pt x="1254" y="9258"/>
                </a:lnTo>
                <a:lnTo>
                  <a:pt x="1258" y="9260"/>
                </a:lnTo>
                <a:lnTo>
                  <a:pt x="1262" y="9258"/>
                </a:lnTo>
                <a:lnTo>
                  <a:pt x="1265" y="9255"/>
                </a:lnTo>
                <a:close/>
                <a:moveTo>
                  <a:pt x="1205" y="9289"/>
                </a:moveTo>
                <a:lnTo>
                  <a:pt x="1209" y="9281"/>
                </a:lnTo>
                <a:lnTo>
                  <a:pt x="1206" y="9274"/>
                </a:lnTo>
                <a:lnTo>
                  <a:pt x="1201" y="9267"/>
                </a:lnTo>
                <a:lnTo>
                  <a:pt x="1193" y="9269"/>
                </a:lnTo>
                <a:lnTo>
                  <a:pt x="1189" y="9275"/>
                </a:lnTo>
                <a:lnTo>
                  <a:pt x="1192" y="9283"/>
                </a:lnTo>
                <a:lnTo>
                  <a:pt x="1197" y="9289"/>
                </a:lnTo>
                <a:lnTo>
                  <a:pt x="1205" y="9289"/>
                </a:lnTo>
                <a:close/>
                <a:moveTo>
                  <a:pt x="6925" y="1420"/>
                </a:moveTo>
                <a:lnTo>
                  <a:pt x="6933" y="1418"/>
                </a:lnTo>
                <a:lnTo>
                  <a:pt x="6938" y="1412"/>
                </a:lnTo>
                <a:lnTo>
                  <a:pt x="6938" y="1404"/>
                </a:lnTo>
                <a:lnTo>
                  <a:pt x="6934" y="1398"/>
                </a:lnTo>
                <a:lnTo>
                  <a:pt x="6923" y="1398"/>
                </a:lnTo>
                <a:lnTo>
                  <a:pt x="6916" y="1404"/>
                </a:lnTo>
                <a:lnTo>
                  <a:pt x="6918" y="1413"/>
                </a:lnTo>
                <a:lnTo>
                  <a:pt x="6925" y="1420"/>
                </a:lnTo>
                <a:close/>
                <a:moveTo>
                  <a:pt x="6971" y="1379"/>
                </a:moveTo>
                <a:lnTo>
                  <a:pt x="6967" y="1393"/>
                </a:lnTo>
                <a:lnTo>
                  <a:pt x="6976" y="1406"/>
                </a:lnTo>
                <a:lnTo>
                  <a:pt x="6990" y="1413"/>
                </a:lnTo>
                <a:lnTo>
                  <a:pt x="7002" y="1407"/>
                </a:lnTo>
                <a:lnTo>
                  <a:pt x="7002" y="1396"/>
                </a:lnTo>
                <a:lnTo>
                  <a:pt x="6993" y="1383"/>
                </a:lnTo>
                <a:lnTo>
                  <a:pt x="6981" y="1376"/>
                </a:lnTo>
                <a:lnTo>
                  <a:pt x="6971" y="1379"/>
                </a:lnTo>
                <a:close/>
                <a:moveTo>
                  <a:pt x="10546" y="3495"/>
                </a:moveTo>
                <a:lnTo>
                  <a:pt x="10545" y="3498"/>
                </a:lnTo>
                <a:lnTo>
                  <a:pt x="10546" y="3500"/>
                </a:lnTo>
                <a:lnTo>
                  <a:pt x="10547" y="3502"/>
                </a:lnTo>
                <a:lnTo>
                  <a:pt x="10550" y="3503"/>
                </a:lnTo>
                <a:lnTo>
                  <a:pt x="10551" y="3501"/>
                </a:lnTo>
                <a:lnTo>
                  <a:pt x="10550" y="3498"/>
                </a:lnTo>
                <a:lnTo>
                  <a:pt x="10548" y="3496"/>
                </a:lnTo>
                <a:lnTo>
                  <a:pt x="10546" y="3495"/>
                </a:lnTo>
                <a:close/>
                <a:moveTo>
                  <a:pt x="10560" y="3383"/>
                </a:moveTo>
                <a:lnTo>
                  <a:pt x="10551" y="3363"/>
                </a:lnTo>
                <a:lnTo>
                  <a:pt x="10542" y="3372"/>
                </a:lnTo>
                <a:lnTo>
                  <a:pt x="10536" y="3395"/>
                </a:lnTo>
                <a:lnTo>
                  <a:pt x="10531" y="3416"/>
                </a:lnTo>
                <a:lnTo>
                  <a:pt x="10542" y="3428"/>
                </a:lnTo>
                <a:lnTo>
                  <a:pt x="10552" y="3419"/>
                </a:lnTo>
                <a:lnTo>
                  <a:pt x="10560" y="3400"/>
                </a:lnTo>
                <a:lnTo>
                  <a:pt x="10560" y="3383"/>
                </a:lnTo>
                <a:close/>
                <a:moveTo>
                  <a:pt x="5495" y="760"/>
                </a:moveTo>
                <a:lnTo>
                  <a:pt x="5480" y="809"/>
                </a:lnTo>
                <a:lnTo>
                  <a:pt x="5513" y="825"/>
                </a:lnTo>
                <a:lnTo>
                  <a:pt x="5555" y="814"/>
                </a:lnTo>
                <a:lnTo>
                  <a:pt x="5563" y="778"/>
                </a:lnTo>
                <a:lnTo>
                  <a:pt x="5549" y="768"/>
                </a:lnTo>
                <a:lnTo>
                  <a:pt x="5530" y="759"/>
                </a:lnTo>
                <a:lnTo>
                  <a:pt x="5509" y="754"/>
                </a:lnTo>
                <a:lnTo>
                  <a:pt x="5495" y="760"/>
                </a:lnTo>
                <a:close/>
                <a:moveTo>
                  <a:pt x="10794" y="3265"/>
                </a:moveTo>
                <a:lnTo>
                  <a:pt x="10825" y="3297"/>
                </a:lnTo>
                <a:lnTo>
                  <a:pt x="10836" y="3279"/>
                </a:lnTo>
                <a:lnTo>
                  <a:pt x="10832" y="3241"/>
                </a:lnTo>
                <a:lnTo>
                  <a:pt x="10812" y="3206"/>
                </a:lnTo>
                <a:lnTo>
                  <a:pt x="10775" y="3178"/>
                </a:lnTo>
                <a:lnTo>
                  <a:pt x="10764" y="3193"/>
                </a:lnTo>
                <a:lnTo>
                  <a:pt x="10771" y="3229"/>
                </a:lnTo>
                <a:lnTo>
                  <a:pt x="10794" y="3265"/>
                </a:lnTo>
                <a:close/>
                <a:moveTo>
                  <a:pt x="694" y="5580"/>
                </a:moveTo>
                <a:lnTo>
                  <a:pt x="716" y="5585"/>
                </a:lnTo>
                <a:lnTo>
                  <a:pt x="727" y="5564"/>
                </a:lnTo>
                <a:lnTo>
                  <a:pt x="740" y="5541"/>
                </a:lnTo>
                <a:lnTo>
                  <a:pt x="764" y="5535"/>
                </a:lnTo>
                <a:lnTo>
                  <a:pt x="790" y="5460"/>
                </a:lnTo>
                <a:lnTo>
                  <a:pt x="760" y="5437"/>
                </a:lnTo>
                <a:lnTo>
                  <a:pt x="714" y="5475"/>
                </a:lnTo>
                <a:lnTo>
                  <a:pt x="694" y="5580"/>
                </a:lnTo>
                <a:close/>
                <a:moveTo>
                  <a:pt x="279" y="6146"/>
                </a:moveTo>
                <a:lnTo>
                  <a:pt x="284" y="6144"/>
                </a:lnTo>
                <a:lnTo>
                  <a:pt x="285" y="6137"/>
                </a:lnTo>
                <a:lnTo>
                  <a:pt x="284" y="6131"/>
                </a:lnTo>
                <a:lnTo>
                  <a:pt x="280" y="6127"/>
                </a:lnTo>
                <a:lnTo>
                  <a:pt x="275" y="6131"/>
                </a:lnTo>
                <a:lnTo>
                  <a:pt x="274" y="6137"/>
                </a:lnTo>
                <a:lnTo>
                  <a:pt x="275" y="6142"/>
                </a:lnTo>
                <a:lnTo>
                  <a:pt x="279" y="6146"/>
                </a:lnTo>
                <a:close/>
                <a:moveTo>
                  <a:pt x="2522" y="10876"/>
                </a:moveTo>
                <a:lnTo>
                  <a:pt x="2547" y="10855"/>
                </a:lnTo>
                <a:lnTo>
                  <a:pt x="2556" y="10828"/>
                </a:lnTo>
                <a:lnTo>
                  <a:pt x="2546" y="10804"/>
                </a:lnTo>
                <a:lnTo>
                  <a:pt x="2515" y="10791"/>
                </a:lnTo>
                <a:lnTo>
                  <a:pt x="2491" y="10806"/>
                </a:lnTo>
                <a:lnTo>
                  <a:pt x="2485" y="10838"/>
                </a:lnTo>
                <a:lnTo>
                  <a:pt x="2495" y="10869"/>
                </a:lnTo>
                <a:lnTo>
                  <a:pt x="2522" y="10876"/>
                </a:lnTo>
                <a:close/>
                <a:moveTo>
                  <a:pt x="1197" y="4691"/>
                </a:moveTo>
                <a:lnTo>
                  <a:pt x="1174" y="4715"/>
                </a:lnTo>
                <a:lnTo>
                  <a:pt x="1173" y="4739"/>
                </a:lnTo>
                <a:lnTo>
                  <a:pt x="1188" y="4752"/>
                </a:lnTo>
                <a:lnTo>
                  <a:pt x="1220" y="4745"/>
                </a:lnTo>
                <a:lnTo>
                  <a:pt x="1235" y="4719"/>
                </a:lnTo>
                <a:lnTo>
                  <a:pt x="1235" y="4689"/>
                </a:lnTo>
                <a:lnTo>
                  <a:pt x="1221" y="4672"/>
                </a:lnTo>
                <a:lnTo>
                  <a:pt x="1197" y="4691"/>
                </a:lnTo>
                <a:close/>
                <a:moveTo>
                  <a:pt x="7650" y="1579"/>
                </a:moveTo>
                <a:lnTo>
                  <a:pt x="7659" y="1576"/>
                </a:lnTo>
                <a:lnTo>
                  <a:pt x="7660" y="1570"/>
                </a:lnTo>
                <a:lnTo>
                  <a:pt x="7658" y="1562"/>
                </a:lnTo>
                <a:lnTo>
                  <a:pt x="7649" y="1558"/>
                </a:lnTo>
                <a:lnTo>
                  <a:pt x="7641" y="1561"/>
                </a:lnTo>
                <a:lnTo>
                  <a:pt x="7638" y="1569"/>
                </a:lnTo>
                <a:lnTo>
                  <a:pt x="7642" y="1575"/>
                </a:lnTo>
                <a:lnTo>
                  <a:pt x="7650" y="1579"/>
                </a:lnTo>
                <a:close/>
                <a:moveTo>
                  <a:pt x="1996" y="9904"/>
                </a:moveTo>
                <a:lnTo>
                  <a:pt x="1996" y="9890"/>
                </a:lnTo>
                <a:lnTo>
                  <a:pt x="1983" y="9887"/>
                </a:lnTo>
                <a:lnTo>
                  <a:pt x="1966" y="9891"/>
                </a:lnTo>
                <a:lnTo>
                  <a:pt x="1955" y="9900"/>
                </a:lnTo>
                <a:lnTo>
                  <a:pt x="1955" y="9914"/>
                </a:lnTo>
                <a:lnTo>
                  <a:pt x="1969" y="9919"/>
                </a:lnTo>
                <a:lnTo>
                  <a:pt x="1985" y="9915"/>
                </a:lnTo>
                <a:lnTo>
                  <a:pt x="1996" y="9904"/>
                </a:lnTo>
                <a:close/>
                <a:moveTo>
                  <a:pt x="2259" y="1644"/>
                </a:moveTo>
                <a:lnTo>
                  <a:pt x="2294" y="1625"/>
                </a:lnTo>
                <a:lnTo>
                  <a:pt x="2329" y="1593"/>
                </a:lnTo>
                <a:lnTo>
                  <a:pt x="2345" y="1562"/>
                </a:lnTo>
                <a:lnTo>
                  <a:pt x="2314" y="1543"/>
                </a:lnTo>
                <a:lnTo>
                  <a:pt x="2285" y="1561"/>
                </a:lnTo>
                <a:lnTo>
                  <a:pt x="2252" y="1598"/>
                </a:lnTo>
                <a:lnTo>
                  <a:pt x="2238" y="1632"/>
                </a:lnTo>
                <a:lnTo>
                  <a:pt x="2259" y="1644"/>
                </a:lnTo>
                <a:close/>
                <a:moveTo>
                  <a:pt x="420" y="4487"/>
                </a:moveTo>
                <a:lnTo>
                  <a:pt x="415" y="4500"/>
                </a:lnTo>
                <a:lnTo>
                  <a:pt x="413" y="4513"/>
                </a:lnTo>
                <a:lnTo>
                  <a:pt x="410" y="4526"/>
                </a:lnTo>
                <a:lnTo>
                  <a:pt x="408" y="4538"/>
                </a:lnTo>
                <a:lnTo>
                  <a:pt x="427" y="4541"/>
                </a:lnTo>
                <a:lnTo>
                  <a:pt x="446" y="4513"/>
                </a:lnTo>
                <a:lnTo>
                  <a:pt x="448" y="4484"/>
                </a:lnTo>
                <a:lnTo>
                  <a:pt x="420" y="4487"/>
                </a:lnTo>
                <a:close/>
                <a:moveTo>
                  <a:pt x="737" y="4414"/>
                </a:moveTo>
                <a:lnTo>
                  <a:pt x="758" y="4407"/>
                </a:lnTo>
                <a:lnTo>
                  <a:pt x="765" y="4393"/>
                </a:lnTo>
                <a:lnTo>
                  <a:pt x="762" y="4379"/>
                </a:lnTo>
                <a:lnTo>
                  <a:pt x="741" y="4374"/>
                </a:lnTo>
                <a:lnTo>
                  <a:pt x="726" y="4379"/>
                </a:lnTo>
                <a:lnTo>
                  <a:pt x="720" y="4393"/>
                </a:lnTo>
                <a:lnTo>
                  <a:pt x="723" y="4409"/>
                </a:lnTo>
                <a:lnTo>
                  <a:pt x="737" y="4414"/>
                </a:lnTo>
                <a:close/>
                <a:moveTo>
                  <a:pt x="662" y="4423"/>
                </a:moveTo>
                <a:lnTo>
                  <a:pt x="644" y="4451"/>
                </a:lnTo>
                <a:lnTo>
                  <a:pt x="630" y="4489"/>
                </a:lnTo>
                <a:lnTo>
                  <a:pt x="633" y="4515"/>
                </a:lnTo>
                <a:lnTo>
                  <a:pt x="665" y="4508"/>
                </a:lnTo>
                <a:lnTo>
                  <a:pt x="681" y="4485"/>
                </a:lnTo>
                <a:lnTo>
                  <a:pt x="690" y="4451"/>
                </a:lnTo>
                <a:lnTo>
                  <a:pt x="686" y="4424"/>
                </a:lnTo>
                <a:lnTo>
                  <a:pt x="662" y="4423"/>
                </a:lnTo>
                <a:close/>
                <a:moveTo>
                  <a:pt x="610" y="4358"/>
                </a:moveTo>
                <a:lnTo>
                  <a:pt x="588" y="4369"/>
                </a:lnTo>
                <a:lnTo>
                  <a:pt x="576" y="4388"/>
                </a:lnTo>
                <a:lnTo>
                  <a:pt x="567" y="4412"/>
                </a:lnTo>
                <a:lnTo>
                  <a:pt x="559" y="4437"/>
                </a:lnTo>
                <a:lnTo>
                  <a:pt x="615" y="4431"/>
                </a:lnTo>
                <a:lnTo>
                  <a:pt x="685" y="4368"/>
                </a:lnTo>
                <a:lnTo>
                  <a:pt x="704" y="4318"/>
                </a:lnTo>
                <a:lnTo>
                  <a:pt x="610" y="4358"/>
                </a:lnTo>
                <a:close/>
                <a:moveTo>
                  <a:pt x="9919" y="2480"/>
                </a:moveTo>
                <a:lnTo>
                  <a:pt x="9908" y="2448"/>
                </a:lnTo>
                <a:lnTo>
                  <a:pt x="9889" y="2432"/>
                </a:lnTo>
                <a:lnTo>
                  <a:pt x="9862" y="2429"/>
                </a:lnTo>
                <a:lnTo>
                  <a:pt x="9830" y="2435"/>
                </a:lnTo>
                <a:lnTo>
                  <a:pt x="9770" y="2393"/>
                </a:lnTo>
                <a:lnTo>
                  <a:pt x="9791" y="2453"/>
                </a:lnTo>
                <a:lnTo>
                  <a:pt x="9853" y="2516"/>
                </a:lnTo>
                <a:lnTo>
                  <a:pt x="9919" y="2480"/>
                </a:lnTo>
                <a:close/>
                <a:moveTo>
                  <a:pt x="2947" y="10888"/>
                </a:moveTo>
                <a:lnTo>
                  <a:pt x="2946" y="10890"/>
                </a:lnTo>
                <a:lnTo>
                  <a:pt x="2947" y="10891"/>
                </a:lnTo>
                <a:lnTo>
                  <a:pt x="2951" y="10891"/>
                </a:lnTo>
                <a:lnTo>
                  <a:pt x="2955" y="10890"/>
                </a:lnTo>
                <a:lnTo>
                  <a:pt x="2956" y="10888"/>
                </a:lnTo>
                <a:lnTo>
                  <a:pt x="2953" y="10886"/>
                </a:lnTo>
                <a:lnTo>
                  <a:pt x="2949" y="10885"/>
                </a:lnTo>
                <a:lnTo>
                  <a:pt x="2947" y="10888"/>
                </a:lnTo>
                <a:close/>
                <a:moveTo>
                  <a:pt x="10031" y="2988"/>
                </a:moveTo>
                <a:lnTo>
                  <a:pt x="10017" y="3007"/>
                </a:lnTo>
                <a:lnTo>
                  <a:pt x="10020" y="3025"/>
                </a:lnTo>
                <a:lnTo>
                  <a:pt x="10034" y="3036"/>
                </a:lnTo>
                <a:lnTo>
                  <a:pt x="10058" y="3034"/>
                </a:lnTo>
                <a:lnTo>
                  <a:pt x="10071" y="3018"/>
                </a:lnTo>
                <a:lnTo>
                  <a:pt x="10067" y="2998"/>
                </a:lnTo>
                <a:lnTo>
                  <a:pt x="10053" y="2984"/>
                </a:lnTo>
                <a:lnTo>
                  <a:pt x="10031" y="2988"/>
                </a:lnTo>
                <a:close/>
                <a:moveTo>
                  <a:pt x="8305" y="1873"/>
                </a:moveTo>
                <a:lnTo>
                  <a:pt x="8310" y="1891"/>
                </a:lnTo>
                <a:lnTo>
                  <a:pt x="8329" y="1898"/>
                </a:lnTo>
                <a:lnTo>
                  <a:pt x="8352" y="1900"/>
                </a:lnTo>
                <a:lnTo>
                  <a:pt x="8369" y="1895"/>
                </a:lnTo>
                <a:lnTo>
                  <a:pt x="8368" y="1874"/>
                </a:lnTo>
                <a:lnTo>
                  <a:pt x="8344" y="1859"/>
                </a:lnTo>
                <a:lnTo>
                  <a:pt x="8319" y="1855"/>
                </a:lnTo>
                <a:lnTo>
                  <a:pt x="8305" y="1873"/>
                </a:lnTo>
                <a:close/>
                <a:moveTo>
                  <a:pt x="2721" y="1373"/>
                </a:moveTo>
                <a:lnTo>
                  <a:pt x="2660" y="1467"/>
                </a:lnTo>
                <a:lnTo>
                  <a:pt x="2654" y="1571"/>
                </a:lnTo>
                <a:lnTo>
                  <a:pt x="2705" y="1639"/>
                </a:lnTo>
                <a:lnTo>
                  <a:pt x="2813" y="1622"/>
                </a:lnTo>
                <a:lnTo>
                  <a:pt x="2862" y="1580"/>
                </a:lnTo>
                <a:lnTo>
                  <a:pt x="2920" y="1534"/>
                </a:lnTo>
                <a:lnTo>
                  <a:pt x="2967" y="1482"/>
                </a:lnTo>
                <a:lnTo>
                  <a:pt x="2984" y="1418"/>
                </a:lnTo>
                <a:lnTo>
                  <a:pt x="2989" y="1396"/>
                </a:lnTo>
                <a:lnTo>
                  <a:pt x="3014" y="1385"/>
                </a:lnTo>
                <a:lnTo>
                  <a:pt x="3035" y="1370"/>
                </a:lnTo>
                <a:lnTo>
                  <a:pt x="3026" y="1334"/>
                </a:lnTo>
                <a:lnTo>
                  <a:pt x="3016" y="1295"/>
                </a:lnTo>
                <a:lnTo>
                  <a:pt x="3077" y="1257"/>
                </a:lnTo>
                <a:lnTo>
                  <a:pt x="3102" y="1229"/>
                </a:lnTo>
                <a:lnTo>
                  <a:pt x="2986" y="1222"/>
                </a:lnTo>
                <a:lnTo>
                  <a:pt x="2937" y="1324"/>
                </a:lnTo>
                <a:lnTo>
                  <a:pt x="2901" y="1357"/>
                </a:lnTo>
                <a:lnTo>
                  <a:pt x="2841" y="1361"/>
                </a:lnTo>
                <a:lnTo>
                  <a:pt x="2721" y="1373"/>
                </a:lnTo>
                <a:close/>
                <a:moveTo>
                  <a:pt x="977" y="6431"/>
                </a:moveTo>
                <a:lnTo>
                  <a:pt x="1001" y="6435"/>
                </a:lnTo>
                <a:lnTo>
                  <a:pt x="1018" y="6418"/>
                </a:lnTo>
                <a:lnTo>
                  <a:pt x="1030" y="6393"/>
                </a:lnTo>
                <a:lnTo>
                  <a:pt x="1042" y="6370"/>
                </a:lnTo>
                <a:lnTo>
                  <a:pt x="1071" y="6314"/>
                </a:lnTo>
                <a:lnTo>
                  <a:pt x="1023" y="6326"/>
                </a:lnTo>
                <a:lnTo>
                  <a:pt x="967" y="6374"/>
                </a:lnTo>
                <a:lnTo>
                  <a:pt x="977" y="6431"/>
                </a:lnTo>
                <a:close/>
                <a:moveTo>
                  <a:pt x="8881" y="1757"/>
                </a:moveTo>
                <a:lnTo>
                  <a:pt x="8888" y="1732"/>
                </a:lnTo>
                <a:lnTo>
                  <a:pt x="8861" y="1718"/>
                </a:lnTo>
                <a:lnTo>
                  <a:pt x="8834" y="1721"/>
                </a:lnTo>
                <a:lnTo>
                  <a:pt x="8838" y="1753"/>
                </a:lnTo>
                <a:lnTo>
                  <a:pt x="8847" y="1761"/>
                </a:lnTo>
                <a:lnTo>
                  <a:pt x="8858" y="1762"/>
                </a:lnTo>
                <a:lnTo>
                  <a:pt x="8870" y="1761"/>
                </a:lnTo>
                <a:lnTo>
                  <a:pt x="8881" y="1757"/>
                </a:lnTo>
                <a:close/>
                <a:moveTo>
                  <a:pt x="1178" y="5213"/>
                </a:moveTo>
                <a:lnTo>
                  <a:pt x="1178" y="5195"/>
                </a:lnTo>
                <a:lnTo>
                  <a:pt x="1156" y="5174"/>
                </a:lnTo>
                <a:lnTo>
                  <a:pt x="1127" y="5157"/>
                </a:lnTo>
                <a:lnTo>
                  <a:pt x="1104" y="5152"/>
                </a:lnTo>
                <a:lnTo>
                  <a:pt x="1093" y="5176"/>
                </a:lnTo>
                <a:lnTo>
                  <a:pt x="1114" y="5202"/>
                </a:lnTo>
                <a:lnTo>
                  <a:pt x="1150" y="5217"/>
                </a:lnTo>
                <a:lnTo>
                  <a:pt x="1178" y="5213"/>
                </a:lnTo>
                <a:close/>
                <a:moveTo>
                  <a:pt x="1338" y="5429"/>
                </a:moveTo>
                <a:lnTo>
                  <a:pt x="1332" y="5436"/>
                </a:lnTo>
                <a:lnTo>
                  <a:pt x="1333" y="5442"/>
                </a:lnTo>
                <a:lnTo>
                  <a:pt x="1341" y="5447"/>
                </a:lnTo>
                <a:lnTo>
                  <a:pt x="1350" y="5447"/>
                </a:lnTo>
                <a:lnTo>
                  <a:pt x="1352" y="5445"/>
                </a:lnTo>
                <a:lnTo>
                  <a:pt x="1350" y="5438"/>
                </a:lnTo>
                <a:lnTo>
                  <a:pt x="1345" y="5432"/>
                </a:lnTo>
                <a:lnTo>
                  <a:pt x="1338" y="5429"/>
                </a:lnTo>
                <a:close/>
                <a:moveTo>
                  <a:pt x="1421" y="5353"/>
                </a:moveTo>
                <a:lnTo>
                  <a:pt x="1410" y="5348"/>
                </a:lnTo>
                <a:lnTo>
                  <a:pt x="1397" y="5353"/>
                </a:lnTo>
                <a:lnTo>
                  <a:pt x="1388" y="5363"/>
                </a:lnTo>
                <a:lnTo>
                  <a:pt x="1389" y="5376"/>
                </a:lnTo>
                <a:lnTo>
                  <a:pt x="1401" y="5384"/>
                </a:lnTo>
                <a:lnTo>
                  <a:pt x="1415" y="5378"/>
                </a:lnTo>
                <a:lnTo>
                  <a:pt x="1424" y="5364"/>
                </a:lnTo>
                <a:lnTo>
                  <a:pt x="1421" y="5353"/>
                </a:lnTo>
                <a:close/>
                <a:moveTo>
                  <a:pt x="1336" y="5680"/>
                </a:moveTo>
                <a:lnTo>
                  <a:pt x="1414" y="5604"/>
                </a:lnTo>
                <a:lnTo>
                  <a:pt x="1493" y="5461"/>
                </a:lnTo>
                <a:lnTo>
                  <a:pt x="1524" y="5357"/>
                </a:lnTo>
                <a:lnTo>
                  <a:pt x="1461" y="5395"/>
                </a:lnTo>
                <a:lnTo>
                  <a:pt x="1416" y="5459"/>
                </a:lnTo>
                <a:lnTo>
                  <a:pt x="1363" y="5536"/>
                </a:lnTo>
                <a:lnTo>
                  <a:pt x="1326" y="5614"/>
                </a:lnTo>
                <a:lnTo>
                  <a:pt x="1336" y="5680"/>
                </a:lnTo>
                <a:close/>
                <a:moveTo>
                  <a:pt x="1098" y="5611"/>
                </a:moveTo>
                <a:lnTo>
                  <a:pt x="1077" y="5620"/>
                </a:lnTo>
                <a:lnTo>
                  <a:pt x="1079" y="5639"/>
                </a:lnTo>
                <a:lnTo>
                  <a:pt x="1093" y="5655"/>
                </a:lnTo>
                <a:lnTo>
                  <a:pt x="1114" y="5651"/>
                </a:lnTo>
                <a:lnTo>
                  <a:pt x="1123" y="5638"/>
                </a:lnTo>
                <a:lnTo>
                  <a:pt x="1121" y="5625"/>
                </a:lnTo>
                <a:lnTo>
                  <a:pt x="1112" y="5615"/>
                </a:lnTo>
                <a:lnTo>
                  <a:pt x="1098" y="5611"/>
                </a:lnTo>
                <a:close/>
                <a:moveTo>
                  <a:pt x="988" y="5655"/>
                </a:moveTo>
                <a:lnTo>
                  <a:pt x="1021" y="5638"/>
                </a:lnTo>
                <a:lnTo>
                  <a:pt x="1049" y="5614"/>
                </a:lnTo>
                <a:lnTo>
                  <a:pt x="1056" y="5589"/>
                </a:lnTo>
                <a:lnTo>
                  <a:pt x="1025" y="5567"/>
                </a:lnTo>
                <a:lnTo>
                  <a:pt x="995" y="5580"/>
                </a:lnTo>
                <a:lnTo>
                  <a:pt x="972" y="5605"/>
                </a:lnTo>
                <a:lnTo>
                  <a:pt x="965" y="5634"/>
                </a:lnTo>
                <a:lnTo>
                  <a:pt x="988" y="5655"/>
                </a:lnTo>
                <a:close/>
                <a:moveTo>
                  <a:pt x="5337" y="1626"/>
                </a:moveTo>
                <a:lnTo>
                  <a:pt x="5344" y="1626"/>
                </a:lnTo>
                <a:lnTo>
                  <a:pt x="5346" y="1620"/>
                </a:lnTo>
                <a:lnTo>
                  <a:pt x="5345" y="1611"/>
                </a:lnTo>
                <a:lnTo>
                  <a:pt x="5337" y="1604"/>
                </a:lnTo>
                <a:lnTo>
                  <a:pt x="5331" y="1606"/>
                </a:lnTo>
                <a:lnTo>
                  <a:pt x="5330" y="1612"/>
                </a:lnTo>
                <a:lnTo>
                  <a:pt x="5332" y="1621"/>
                </a:lnTo>
                <a:lnTo>
                  <a:pt x="5337" y="1626"/>
                </a:lnTo>
                <a:close/>
                <a:moveTo>
                  <a:pt x="5363" y="1530"/>
                </a:moveTo>
                <a:lnTo>
                  <a:pt x="5368" y="1481"/>
                </a:lnTo>
                <a:lnTo>
                  <a:pt x="5326" y="1477"/>
                </a:lnTo>
                <a:lnTo>
                  <a:pt x="5290" y="1504"/>
                </a:lnTo>
                <a:lnTo>
                  <a:pt x="5312" y="1544"/>
                </a:lnTo>
                <a:lnTo>
                  <a:pt x="5326" y="1547"/>
                </a:lnTo>
                <a:lnTo>
                  <a:pt x="5340" y="1546"/>
                </a:lnTo>
                <a:lnTo>
                  <a:pt x="5353" y="1541"/>
                </a:lnTo>
                <a:lnTo>
                  <a:pt x="5363" y="1530"/>
                </a:lnTo>
                <a:close/>
                <a:moveTo>
                  <a:pt x="7500" y="1590"/>
                </a:moveTo>
                <a:lnTo>
                  <a:pt x="7440" y="1616"/>
                </a:lnTo>
                <a:lnTo>
                  <a:pt x="7475" y="1634"/>
                </a:lnTo>
                <a:lnTo>
                  <a:pt x="7547" y="1631"/>
                </a:lnTo>
                <a:lnTo>
                  <a:pt x="7596" y="1592"/>
                </a:lnTo>
                <a:lnTo>
                  <a:pt x="7584" y="1555"/>
                </a:lnTo>
                <a:lnTo>
                  <a:pt x="7572" y="1502"/>
                </a:lnTo>
                <a:lnTo>
                  <a:pt x="7556" y="1471"/>
                </a:lnTo>
                <a:lnTo>
                  <a:pt x="7525" y="1497"/>
                </a:lnTo>
                <a:lnTo>
                  <a:pt x="7530" y="1525"/>
                </a:lnTo>
                <a:lnTo>
                  <a:pt x="7535" y="1556"/>
                </a:lnTo>
                <a:lnTo>
                  <a:pt x="7528" y="1580"/>
                </a:lnTo>
                <a:lnTo>
                  <a:pt x="7500" y="1590"/>
                </a:lnTo>
                <a:close/>
                <a:moveTo>
                  <a:pt x="11076" y="8595"/>
                </a:moveTo>
                <a:lnTo>
                  <a:pt x="11078" y="8599"/>
                </a:lnTo>
                <a:lnTo>
                  <a:pt x="11090" y="8604"/>
                </a:lnTo>
                <a:lnTo>
                  <a:pt x="11102" y="8605"/>
                </a:lnTo>
                <a:lnTo>
                  <a:pt x="11110" y="8602"/>
                </a:lnTo>
                <a:lnTo>
                  <a:pt x="11106" y="8594"/>
                </a:lnTo>
                <a:lnTo>
                  <a:pt x="11095" y="8593"/>
                </a:lnTo>
                <a:lnTo>
                  <a:pt x="11083" y="8594"/>
                </a:lnTo>
                <a:lnTo>
                  <a:pt x="11076" y="8595"/>
                </a:lnTo>
                <a:close/>
                <a:moveTo>
                  <a:pt x="10976" y="10226"/>
                </a:moveTo>
                <a:lnTo>
                  <a:pt x="10971" y="10226"/>
                </a:lnTo>
                <a:lnTo>
                  <a:pt x="10965" y="10227"/>
                </a:lnTo>
                <a:lnTo>
                  <a:pt x="10958" y="10230"/>
                </a:lnTo>
                <a:lnTo>
                  <a:pt x="10953" y="10231"/>
                </a:lnTo>
                <a:lnTo>
                  <a:pt x="10952" y="10245"/>
                </a:lnTo>
                <a:lnTo>
                  <a:pt x="10970" y="10247"/>
                </a:lnTo>
                <a:lnTo>
                  <a:pt x="10985" y="10242"/>
                </a:lnTo>
                <a:lnTo>
                  <a:pt x="10976" y="10226"/>
                </a:lnTo>
                <a:close/>
                <a:moveTo>
                  <a:pt x="11287" y="3897"/>
                </a:moveTo>
                <a:lnTo>
                  <a:pt x="11276" y="3871"/>
                </a:lnTo>
                <a:lnTo>
                  <a:pt x="11251" y="3860"/>
                </a:lnTo>
                <a:lnTo>
                  <a:pt x="11228" y="3866"/>
                </a:lnTo>
                <a:lnTo>
                  <a:pt x="11223" y="3892"/>
                </a:lnTo>
                <a:lnTo>
                  <a:pt x="11246" y="3916"/>
                </a:lnTo>
                <a:lnTo>
                  <a:pt x="11279" y="3931"/>
                </a:lnTo>
                <a:lnTo>
                  <a:pt x="11300" y="3927"/>
                </a:lnTo>
                <a:lnTo>
                  <a:pt x="11287" y="3897"/>
                </a:lnTo>
                <a:close/>
                <a:moveTo>
                  <a:pt x="7921" y="10935"/>
                </a:moveTo>
                <a:lnTo>
                  <a:pt x="7924" y="10926"/>
                </a:lnTo>
                <a:lnTo>
                  <a:pt x="7921" y="10917"/>
                </a:lnTo>
                <a:lnTo>
                  <a:pt x="7915" y="10912"/>
                </a:lnTo>
                <a:lnTo>
                  <a:pt x="7906" y="10914"/>
                </a:lnTo>
                <a:lnTo>
                  <a:pt x="7901" y="10923"/>
                </a:lnTo>
                <a:lnTo>
                  <a:pt x="7903" y="10934"/>
                </a:lnTo>
                <a:lnTo>
                  <a:pt x="7912" y="10939"/>
                </a:lnTo>
                <a:lnTo>
                  <a:pt x="7921" y="10935"/>
                </a:lnTo>
                <a:close/>
                <a:moveTo>
                  <a:pt x="11598" y="7724"/>
                </a:moveTo>
                <a:lnTo>
                  <a:pt x="11598" y="7726"/>
                </a:lnTo>
                <a:lnTo>
                  <a:pt x="11598" y="7724"/>
                </a:lnTo>
                <a:lnTo>
                  <a:pt x="11598" y="7724"/>
                </a:lnTo>
                <a:close/>
                <a:moveTo>
                  <a:pt x="11668" y="7606"/>
                </a:moveTo>
                <a:lnTo>
                  <a:pt x="11668" y="7606"/>
                </a:lnTo>
                <a:lnTo>
                  <a:pt x="11668" y="7606"/>
                </a:lnTo>
                <a:lnTo>
                  <a:pt x="11668" y="7606"/>
                </a:lnTo>
                <a:close/>
                <a:moveTo>
                  <a:pt x="11604" y="7755"/>
                </a:moveTo>
                <a:lnTo>
                  <a:pt x="11654" y="7719"/>
                </a:lnTo>
                <a:lnTo>
                  <a:pt x="11693" y="7607"/>
                </a:lnTo>
                <a:lnTo>
                  <a:pt x="11687" y="7530"/>
                </a:lnTo>
                <a:lnTo>
                  <a:pt x="11600" y="7598"/>
                </a:lnTo>
                <a:lnTo>
                  <a:pt x="11552" y="7587"/>
                </a:lnTo>
                <a:lnTo>
                  <a:pt x="11498" y="7619"/>
                </a:lnTo>
                <a:lnTo>
                  <a:pt x="11470" y="7671"/>
                </a:lnTo>
                <a:lnTo>
                  <a:pt x="11493" y="7719"/>
                </a:lnTo>
                <a:lnTo>
                  <a:pt x="11537" y="7719"/>
                </a:lnTo>
                <a:lnTo>
                  <a:pt x="11558" y="7703"/>
                </a:lnTo>
                <a:lnTo>
                  <a:pt x="11575" y="7704"/>
                </a:lnTo>
                <a:lnTo>
                  <a:pt x="11604" y="7755"/>
                </a:lnTo>
                <a:close/>
                <a:moveTo>
                  <a:pt x="11492" y="8461"/>
                </a:moveTo>
                <a:lnTo>
                  <a:pt x="11505" y="8442"/>
                </a:lnTo>
                <a:lnTo>
                  <a:pt x="11493" y="8423"/>
                </a:lnTo>
                <a:lnTo>
                  <a:pt x="11477" y="8416"/>
                </a:lnTo>
                <a:lnTo>
                  <a:pt x="11473" y="8431"/>
                </a:lnTo>
                <a:lnTo>
                  <a:pt x="11431" y="8416"/>
                </a:lnTo>
                <a:lnTo>
                  <a:pt x="11425" y="8435"/>
                </a:lnTo>
                <a:lnTo>
                  <a:pt x="11448" y="8459"/>
                </a:lnTo>
                <a:lnTo>
                  <a:pt x="11492" y="8461"/>
                </a:lnTo>
                <a:close/>
                <a:moveTo>
                  <a:pt x="11571" y="6543"/>
                </a:moveTo>
                <a:lnTo>
                  <a:pt x="11565" y="6530"/>
                </a:lnTo>
                <a:lnTo>
                  <a:pt x="11553" y="6527"/>
                </a:lnTo>
                <a:lnTo>
                  <a:pt x="11542" y="6532"/>
                </a:lnTo>
                <a:lnTo>
                  <a:pt x="11534" y="6544"/>
                </a:lnTo>
                <a:lnTo>
                  <a:pt x="11539" y="6557"/>
                </a:lnTo>
                <a:lnTo>
                  <a:pt x="11552" y="6562"/>
                </a:lnTo>
                <a:lnTo>
                  <a:pt x="11565" y="6558"/>
                </a:lnTo>
                <a:lnTo>
                  <a:pt x="11571" y="6543"/>
                </a:lnTo>
                <a:close/>
                <a:moveTo>
                  <a:pt x="11365" y="9806"/>
                </a:moveTo>
                <a:lnTo>
                  <a:pt x="11370" y="9813"/>
                </a:lnTo>
                <a:lnTo>
                  <a:pt x="11377" y="9811"/>
                </a:lnTo>
                <a:lnTo>
                  <a:pt x="11384" y="9803"/>
                </a:lnTo>
                <a:lnTo>
                  <a:pt x="11386" y="9794"/>
                </a:lnTo>
                <a:lnTo>
                  <a:pt x="11381" y="9783"/>
                </a:lnTo>
                <a:lnTo>
                  <a:pt x="11374" y="9783"/>
                </a:lnTo>
                <a:lnTo>
                  <a:pt x="11366" y="9792"/>
                </a:lnTo>
                <a:lnTo>
                  <a:pt x="11365" y="9806"/>
                </a:lnTo>
                <a:close/>
                <a:moveTo>
                  <a:pt x="11771" y="7935"/>
                </a:moveTo>
                <a:lnTo>
                  <a:pt x="11786" y="7926"/>
                </a:lnTo>
                <a:lnTo>
                  <a:pt x="11789" y="7912"/>
                </a:lnTo>
                <a:lnTo>
                  <a:pt x="11781" y="7900"/>
                </a:lnTo>
                <a:lnTo>
                  <a:pt x="11763" y="7901"/>
                </a:lnTo>
                <a:lnTo>
                  <a:pt x="11752" y="7912"/>
                </a:lnTo>
                <a:lnTo>
                  <a:pt x="11748" y="7927"/>
                </a:lnTo>
                <a:lnTo>
                  <a:pt x="11753" y="7937"/>
                </a:lnTo>
                <a:lnTo>
                  <a:pt x="11771" y="7935"/>
                </a:lnTo>
                <a:close/>
                <a:moveTo>
                  <a:pt x="8991" y="11696"/>
                </a:moveTo>
                <a:lnTo>
                  <a:pt x="8965" y="11701"/>
                </a:lnTo>
                <a:lnTo>
                  <a:pt x="8950" y="11719"/>
                </a:lnTo>
                <a:lnTo>
                  <a:pt x="8953" y="11742"/>
                </a:lnTo>
                <a:lnTo>
                  <a:pt x="8973" y="11763"/>
                </a:lnTo>
                <a:lnTo>
                  <a:pt x="8992" y="11756"/>
                </a:lnTo>
                <a:lnTo>
                  <a:pt x="9006" y="11733"/>
                </a:lnTo>
                <a:lnTo>
                  <a:pt x="9007" y="11707"/>
                </a:lnTo>
                <a:lnTo>
                  <a:pt x="8991" y="11696"/>
                </a:lnTo>
                <a:close/>
                <a:moveTo>
                  <a:pt x="7894" y="12595"/>
                </a:moveTo>
                <a:lnTo>
                  <a:pt x="7896" y="12605"/>
                </a:lnTo>
                <a:lnTo>
                  <a:pt x="7911" y="12618"/>
                </a:lnTo>
                <a:lnTo>
                  <a:pt x="7930" y="12624"/>
                </a:lnTo>
                <a:lnTo>
                  <a:pt x="7948" y="12615"/>
                </a:lnTo>
                <a:lnTo>
                  <a:pt x="7949" y="12600"/>
                </a:lnTo>
                <a:lnTo>
                  <a:pt x="7934" y="12591"/>
                </a:lnTo>
                <a:lnTo>
                  <a:pt x="7911" y="12590"/>
                </a:lnTo>
                <a:lnTo>
                  <a:pt x="7894" y="12595"/>
                </a:lnTo>
                <a:close/>
                <a:moveTo>
                  <a:pt x="11111" y="8538"/>
                </a:moveTo>
                <a:lnTo>
                  <a:pt x="11100" y="8529"/>
                </a:lnTo>
                <a:lnTo>
                  <a:pt x="11090" y="8533"/>
                </a:lnTo>
                <a:lnTo>
                  <a:pt x="11085" y="8544"/>
                </a:lnTo>
                <a:lnTo>
                  <a:pt x="11091" y="8557"/>
                </a:lnTo>
                <a:lnTo>
                  <a:pt x="11102" y="8562"/>
                </a:lnTo>
                <a:lnTo>
                  <a:pt x="11113" y="8558"/>
                </a:lnTo>
                <a:lnTo>
                  <a:pt x="11116" y="8549"/>
                </a:lnTo>
                <a:lnTo>
                  <a:pt x="11111" y="8538"/>
                </a:lnTo>
                <a:close/>
                <a:moveTo>
                  <a:pt x="11661" y="4997"/>
                </a:moveTo>
                <a:lnTo>
                  <a:pt x="11672" y="5004"/>
                </a:lnTo>
                <a:lnTo>
                  <a:pt x="11684" y="4998"/>
                </a:lnTo>
                <a:lnTo>
                  <a:pt x="11695" y="4985"/>
                </a:lnTo>
                <a:lnTo>
                  <a:pt x="11695" y="4975"/>
                </a:lnTo>
                <a:lnTo>
                  <a:pt x="11681" y="4974"/>
                </a:lnTo>
                <a:lnTo>
                  <a:pt x="11665" y="4979"/>
                </a:lnTo>
                <a:lnTo>
                  <a:pt x="11656" y="4988"/>
                </a:lnTo>
                <a:lnTo>
                  <a:pt x="11661" y="4997"/>
                </a:lnTo>
                <a:close/>
                <a:moveTo>
                  <a:pt x="11338" y="6816"/>
                </a:moveTo>
                <a:lnTo>
                  <a:pt x="11352" y="6811"/>
                </a:lnTo>
                <a:lnTo>
                  <a:pt x="11355" y="6795"/>
                </a:lnTo>
                <a:lnTo>
                  <a:pt x="11347" y="6780"/>
                </a:lnTo>
                <a:lnTo>
                  <a:pt x="11329" y="6775"/>
                </a:lnTo>
                <a:lnTo>
                  <a:pt x="11316" y="6783"/>
                </a:lnTo>
                <a:lnTo>
                  <a:pt x="11315" y="6795"/>
                </a:lnTo>
                <a:lnTo>
                  <a:pt x="11324" y="6808"/>
                </a:lnTo>
                <a:lnTo>
                  <a:pt x="11338" y="6816"/>
                </a:lnTo>
                <a:close/>
                <a:moveTo>
                  <a:pt x="10854" y="9005"/>
                </a:moveTo>
                <a:lnTo>
                  <a:pt x="10848" y="9016"/>
                </a:lnTo>
                <a:lnTo>
                  <a:pt x="10852" y="9027"/>
                </a:lnTo>
                <a:lnTo>
                  <a:pt x="10863" y="9032"/>
                </a:lnTo>
                <a:lnTo>
                  <a:pt x="10876" y="9029"/>
                </a:lnTo>
                <a:lnTo>
                  <a:pt x="10887" y="9016"/>
                </a:lnTo>
                <a:lnTo>
                  <a:pt x="10883" y="9005"/>
                </a:lnTo>
                <a:lnTo>
                  <a:pt x="10871" y="8999"/>
                </a:lnTo>
                <a:lnTo>
                  <a:pt x="10854" y="9005"/>
                </a:lnTo>
                <a:close/>
                <a:moveTo>
                  <a:pt x="10837" y="10154"/>
                </a:moveTo>
                <a:lnTo>
                  <a:pt x="10840" y="10170"/>
                </a:lnTo>
                <a:lnTo>
                  <a:pt x="10849" y="10176"/>
                </a:lnTo>
                <a:lnTo>
                  <a:pt x="10860" y="10172"/>
                </a:lnTo>
                <a:lnTo>
                  <a:pt x="10869" y="10161"/>
                </a:lnTo>
                <a:lnTo>
                  <a:pt x="10868" y="10147"/>
                </a:lnTo>
                <a:lnTo>
                  <a:pt x="10858" y="10140"/>
                </a:lnTo>
                <a:lnTo>
                  <a:pt x="10846" y="10143"/>
                </a:lnTo>
                <a:lnTo>
                  <a:pt x="10837" y="10154"/>
                </a:lnTo>
                <a:close/>
                <a:moveTo>
                  <a:pt x="11265" y="9976"/>
                </a:moveTo>
                <a:lnTo>
                  <a:pt x="11272" y="9969"/>
                </a:lnTo>
                <a:lnTo>
                  <a:pt x="11273" y="9957"/>
                </a:lnTo>
                <a:lnTo>
                  <a:pt x="11270" y="9947"/>
                </a:lnTo>
                <a:lnTo>
                  <a:pt x="11265" y="9938"/>
                </a:lnTo>
                <a:lnTo>
                  <a:pt x="11240" y="9933"/>
                </a:lnTo>
                <a:lnTo>
                  <a:pt x="11231" y="9950"/>
                </a:lnTo>
                <a:lnTo>
                  <a:pt x="11240" y="9971"/>
                </a:lnTo>
                <a:lnTo>
                  <a:pt x="11265" y="9976"/>
                </a:lnTo>
                <a:close/>
                <a:moveTo>
                  <a:pt x="11795" y="7063"/>
                </a:moveTo>
                <a:lnTo>
                  <a:pt x="11779" y="7061"/>
                </a:lnTo>
                <a:lnTo>
                  <a:pt x="11768" y="7073"/>
                </a:lnTo>
                <a:lnTo>
                  <a:pt x="11767" y="7089"/>
                </a:lnTo>
                <a:lnTo>
                  <a:pt x="11780" y="7102"/>
                </a:lnTo>
                <a:lnTo>
                  <a:pt x="11799" y="7107"/>
                </a:lnTo>
                <a:lnTo>
                  <a:pt x="11809" y="7096"/>
                </a:lnTo>
                <a:lnTo>
                  <a:pt x="11809" y="7078"/>
                </a:lnTo>
                <a:lnTo>
                  <a:pt x="11795" y="7063"/>
                </a:lnTo>
                <a:close/>
                <a:moveTo>
                  <a:pt x="11121" y="8339"/>
                </a:moveTo>
                <a:lnTo>
                  <a:pt x="11142" y="8319"/>
                </a:lnTo>
                <a:lnTo>
                  <a:pt x="11138" y="8300"/>
                </a:lnTo>
                <a:lnTo>
                  <a:pt x="11119" y="8295"/>
                </a:lnTo>
                <a:lnTo>
                  <a:pt x="11100" y="8315"/>
                </a:lnTo>
                <a:lnTo>
                  <a:pt x="11092" y="8332"/>
                </a:lnTo>
                <a:lnTo>
                  <a:pt x="11096" y="8346"/>
                </a:lnTo>
                <a:lnTo>
                  <a:pt x="11106" y="8351"/>
                </a:lnTo>
                <a:lnTo>
                  <a:pt x="11121" y="8339"/>
                </a:lnTo>
                <a:close/>
                <a:moveTo>
                  <a:pt x="7863" y="11049"/>
                </a:moveTo>
                <a:lnTo>
                  <a:pt x="7880" y="11072"/>
                </a:lnTo>
                <a:lnTo>
                  <a:pt x="7921" y="11072"/>
                </a:lnTo>
                <a:lnTo>
                  <a:pt x="7956" y="11056"/>
                </a:lnTo>
                <a:lnTo>
                  <a:pt x="7954" y="11028"/>
                </a:lnTo>
                <a:lnTo>
                  <a:pt x="7931" y="11026"/>
                </a:lnTo>
                <a:lnTo>
                  <a:pt x="7907" y="11033"/>
                </a:lnTo>
                <a:lnTo>
                  <a:pt x="7883" y="11042"/>
                </a:lnTo>
                <a:lnTo>
                  <a:pt x="7863" y="11049"/>
                </a:lnTo>
                <a:close/>
                <a:moveTo>
                  <a:pt x="7119" y="12624"/>
                </a:moveTo>
                <a:lnTo>
                  <a:pt x="7101" y="12629"/>
                </a:lnTo>
                <a:lnTo>
                  <a:pt x="7091" y="12642"/>
                </a:lnTo>
                <a:lnTo>
                  <a:pt x="7092" y="12657"/>
                </a:lnTo>
                <a:lnTo>
                  <a:pt x="7107" y="12667"/>
                </a:lnTo>
                <a:lnTo>
                  <a:pt x="7123" y="12667"/>
                </a:lnTo>
                <a:lnTo>
                  <a:pt x="7129" y="12653"/>
                </a:lnTo>
                <a:lnTo>
                  <a:pt x="7129" y="12635"/>
                </a:lnTo>
                <a:lnTo>
                  <a:pt x="7119" y="12624"/>
                </a:lnTo>
                <a:close/>
                <a:moveTo>
                  <a:pt x="8555" y="12147"/>
                </a:moveTo>
                <a:lnTo>
                  <a:pt x="8583" y="12130"/>
                </a:lnTo>
                <a:lnTo>
                  <a:pt x="8573" y="12103"/>
                </a:lnTo>
                <a:lnTo>
                  <a:pt x="8550" y="12091"/>
                </a:lnTo>
                <a:lnTo>
                  <a:pt x="8539" y="12117"/>
                </a:lnTo>
                <a:lnTo>
                  <a:pt x="8540" y="12126"/>
                </a:lnTo>
                <a:lnTo>
                  <a:pt x="8543" y="12135"/>
                </a:lnTo>
                <a:lnTo>
                  <a:pt x="8548" y="12144"/>
                </a:lnTo>
                <a:lnTo>
                  <a:pt x="8555" y="12147"/>
                </a:lnTo>
                <a:close/>
                <a:moveTo>
                  <a:pt x="10915" y="3431"/>
                </a:moveTo>
                <a:lnTo>
                  <a:pt x="10902" y="3441"/>
                </a:lnTo>
                <a:lnTo>
                  <a:pt x="10905" y="3463"/>
                </a:lnTo>
                <a:lnTo>
                  <a:pt x="10919" y="3483"/>
                </a:lnTo>
                <a:lnTo>
                  <a:pt x="10937" y="3489"/>
                </a:lnTo>
                <a:lnTo>
                  <a:pt x="10944" y="3479"/>
                </a:lnTo>
                <a:lnTo>
                  <a:pt x="10939" y="3459"/>
                </a:lnTo>
                <a:lnTo>
                  <a:pt x="10928" y="3440"/>
                </a:lnTo>
                <a:lnTo>
                  <a:pt x="10915" y="3431"/>
                </a:lnTo>
                <a:close/>
                <a:moveTo>
                  <a:pt x="11412" y="9461"/>
                </a:moveTo>
                <a:lnTo>
                  <a:pt x="11427" y="9437"/>
                </a:lnTo>
                <a:lnTo>
                  <a:pt x="11405" y="9424"/>
                </a:lnTo>
                <a:lnTo>
                  <a:pt x="11379" y="9429"/>
                </a:lnTo>
                <a:lnTo>
                  <a:pt x="11376" y="9459"/>
                </a:lnTo>
                <a:lnTo>
                  <a:pt x="11384" y="9467"/>
                </a:lnTo>
                <a:lnTo>
                  <a:pt x="11393" y="9468"/>
                </a:lnTo>
                <a:lnTo>
                  <a:pt x="11402" y="9466"/>
                </a:lnTo>
                <a:lnTo>
                  <a:pt x="11412" y="9461"/>
                </a:lnTo>
                <a:close/>
                <a:moveTo>
                  <a:pt x="9039" y="11048"/>
                </a:moveTo>
                <a:lnTo>
                  <a:pt x="9019" y="11053"/>
                </a:lnTo>
                <a:lnTo>
                  <a:pt x="9007" y="11067"/>
                </a:lnTo>
                <a:lnTo>
                  <a:pt x="9010" y="11082"/>
                </a:lnTo>
                <a:lnTo>
                  <a:pt x="9027" y="11096"/>
                </a:lnTo>
                <a:lnTo>
                  <a:pt x="9047" y="11091"/>
                </a:lnTo>
                <a:lnTo>
                  <a:pt x="9056" y="11079"/>
                </a:lnTo>
                <a:lnTo>
                  <a:pt x="9053" y="11062"/>
                </a:lnTo>
                <a:lnTo>
                  <a:pt x="9039" y="11048"/>
                </a:lnTo>
                <a:close/>
                <a:moveTo>
                  <a:pt x="11730" y="5715"/>
                </a:moveTo>
                <a:lnTo>
                  <a:pt x="11702" y="5713"/>
                </a:lnTo>
                <a:lnTo>
                  <a:pt x="11696" y="5735"/>
                </a:lnTo>
                <a:lnTo>
                  <a:pt x="11707" y="5760"/>
                </a:lnTo>
                <a:lnTo>
                  <a:pt x="11730" y="5771"/>
                </a:lnTo>
                <a:lnTo>
                  <a:pt x="11737" y="5759"/>
                </a:lnTo>
                <a:lnTo>
                  <a:pt x="11739" y="5743"/>
                </a:lnTo>
                <a:lnTo>
                  <a:pt x="11738" y="5726"/>
                </a:lnTo>
                <a:lnTo>
                  <a:pt x="11730" y="5715"/>
                </a:lnTo>
                <a:close/>
                <a:moveTo>
                  <a:pt x="11030" y="3454"/>
                </a:moveTo>
                <a:lnTo>
                  <a:pt x="11048" y="3447"/>
                </a:lnTo>
                <a:lnTo>
                  <a:pt x="11053" y="3428"/>
                </a:lnTo>
                <a:lnTo>
                  <a:pt x="11046" y="3409"/>
                </a:lnTo>
                <a:lnTo>
                  <a:pt x="11034" y="3397"/>
                </a:lnTo>
                <a:lnTo>
                  <a:pt x="10997" y="3399"/>
                </a:lnTo>
                <a:lnTo>
                  <a:pt x="10981" y="3418"/>
                </a:lnTo>
                <a:lnTo>
                  <a:pt x="10993" y="3441"/>
                </a:lnTo>
                <a:lnTo>
                  <a:pt x="11030" y="3454"/>
                </a:lnTo>
                <a:close/>
                <a:moveTo>
                  <a:pt x="7663" y="12528"/>
                </a:moveTo>
                <a:lnTo>
                  <a:pt x="7623" y="12526"/>
                </a:lnTo>
                <a:lnTo>
                  <a:pt x="7598" y="12532"/>
                </a:lnTo>
                <a:lnTo>
                  <a:pt x="7596" y="12544"/>
                </a:lnTo>
                <a:lnTo>
                  <a:pt x="7633" y="12559"/>
                </a:lnTo>
                <a:lnTo>
                  <a:pt x="7641" y="12604"/>
                </a:lnTo>
                <a:lnTo>
                  <a:pt x="7666" y="12597"/>
                </a:lnTo>
                <a:lnTo>
                  <a:pt x="7683" y="12563"/>
                </a:lnTo>
                <a:lnTo>
                  <a:pt x="7663" y="12528"/>
                </a:lnTo>
                <a:close/>
                <a:moveTo>
                  <a:pt x="8549" y="12195"/>
                </a:moveTo>
                <a:lnTo>
                  <a:pt x="8541" y="12203"/>
                </a:lnTo>
                <a:lnTo>
                  <a:pt x="8544" y="12214"/>
                </a:lnTo>
                <a:lnTo>
                  <a:pt x="8552" y="12224"/>
                </a:lnTo>
                <a:lnTo>
                  <a:pt x="8559" y="12232"/>
                </a:lnTo>
                <a:lnTo>
                  <a:pt x="8587" y="12234"/>
                </a:lnTo>
                <a:lnTo>
                  <a:pt x="8595" y="12210"/>
                </a:lnTo>
                <a:lnTo>
                  <a:pt x="8582" y="12187"/>
                </a:lnTo>
                <a:lnTo>
                  <a:pt x="8549" y="12195"/>
                </a:lnTo>
                <a:close/>
                <a:moveTo>
                  <a:pt x="8459" y="12142"/>
                </a:moveTo>
                <a:lnTo>
                  <a:pt x="8425" y="12147"/>
                </a:lnTo>
                <a:lnTo>
                  <a:pt x="8417" y="12163"/>
                </a:lnTo>
                <a:lnTo>
                  <a:pt x="8428" y="12180"/>
                </a:lnTo>
                <a:lnTo>
                  <a:pt x="8460" y="12185"/>
                </a:lnTo>
                <a:lnTo>
                  <a:pt x="8479" y="12184"/>
                </a:lnTo>
                <a:lnTo>
                  <a:pt x="8485" y="12166"/>
                </a:lnTo>
                <a:lnTo>
                  <a:pt x="8478" y="12147"/>
                </a:lnTo>
                <a:lnTo>
                  <a:pt x="8459" y="12142"/>
                </a:lnTo>
                <a:close/>
                <a:moveTo>
                  <a:pt x="9426" y="11258"/>
                </a:moveTo>
                <a:lnTo>
                  <a:pt x="9401" y="11243"/>
                </a:lnTo>
                <a:lnTo>
                  <a:pt x="9372" y="11250"/>
                </a:lnTo>
                <a:lnTo>
                  <a:pt x="9351" y="11275"/>
                </a:lnTo>
                <a:lnTo>
                  <a:pt x="9351" y="11303"/>
                </a:lnTo>
                <a:lnTo>
                  <a:pt x="9382" y="11303"/>
                </a:lnTo>
                <a:lnTo>
                  <a:pt x="9416" y="11300"/>
                </a:lnTo>
                <a:lnTo>
                  <a:pt x="9435" y="11289"/>
                </a:lnTo>
                <a:lnTo>
                  <a:pt x="9426" y="11258"/>
                </a:lnTo>
                <a:close/>
                <a:moveTo>
                  <a:pt x="11468" y="8279"/>
                </a:moveTo>
                <a:lnTo>
                  <a:pt x="11423" y="8279"/>
                </a:lnTo>
                <a:lnTo>
                  <a:pt x="11440" y="8306"/>
                </a:lnTo>
                <a:lnTo>
                  <a:pt x="11482" y="8325"/>
                </a:lnTo>
                <a:lnTo>
                  <a:pt x="11516" y="8307"/>
                </a:lnTo>
                <a:lnTo>
                  <a:pt x="11510" y="8295"/>
                </a:lnTo>
                <a:lnTo>
                  <a:pt x="11496" y="8290"/>
                </a:lnTo>
                <a:lnTo>
                  <a:pt x="11481" y="8286"/>
                </a:lnTo>
                <a:lnTo>
                  <a:pt x="11468" y="8279"/>
                </a:lnTo>
                <a:close/>
                <a:moveTo>
                  <a:pt x="11419" y="10558"/>
                </a:moveTo>
                <a:lnTo>
                  <a:pt x="11432" y="10572"/>
                </a:lnTo>
                <a:lnTo>
                  <a:pt x="11451" y="10569"/>
                </a:lnTo>
                <a:lnTo>
                  <a:pt x="11468" y="10557"/>
                </a:lnTo>
                <a:lnTo>
                  <a:pt x="11470" y="10536"/>
                </a:lnTo>
                <a:lnTo>
                  <a:pt x="11462" y="10519"/>
                </a:lnTo>
                <a:lnTo>
                  <a:pt x="11446" y="10524"/>
                </a:lnTo>
                <a:lnTo>
                  <a:pt x="11430" y="10540"/>
                </a:lnTo>
                <a:lnTo>
                  <a:pt x="11419" y="10558"/>
                </a:lnTo>
                <a:close/>
                <a:moveTo>
                  <a:pt x="8532" y="11243"/>
                </a:moveTo>
                <a:lnTo>
                  <a:pt x="8553" y="11244"/>
                </a:lnTo>
                <a:lnTo>
                  <a:pt x="8568" y="11239"/>
                </a:lnTo>
                <a:lnTo>
                  <a:pt x="8582" y="11228"/>
                </a:lnTo>
                <a:lnTo>
                  <a:pt x="8594" y="11214"/>
                </a:lnTo>
                <a:lnTo>
                  <a:pt x="8591" y="11172"/>
                </a:lnTo>
                <a:lnTo>
                  <a:pt x="8541" y="11177"/>
                </a:lnTo>
                <a:lnTo>
                  <a:pt x="8502" y="11207"/>
                </a:lnTo>
                <a:lnTo>
                  <a:pt x="8532" y="11243"/>
                </a:lnTo>
                <a:close/>
                <a:moveTo>
                  <a:pt x="11790" y="3792"/>
                </a:moveTo>
                <a:lnTo>
                  <a:pt x="11790" y="3778"/>
                </a:lnTo>
                <a:lnTo>
                  <a:pt x="11785" y="3768"/>
                </a:lnTo>
                <a:lnTo>
                  <a:pt x="11775" y="3764"/>
                </a:lnTo>
                <a:lnTo>
                  <a:pt x="11762" y="3770"/>
                </a:lnTo>
                <a:lnTo>
                  <a:pt x="11703" y="3770"/>
                </a:lnTo>
                <a:lnTo>
                  <a:pt x="11710" y="3800"/>
                </a:lnTo>
                <a:lnTo>
                  <a:pt x="11751" y="3822"/>
                </a:lnTo>
                <a:lnTo>
                  <a:pt x="11790" y="3792"/>
                </a:lnTo>
                <a:close/>
                <a:moveTo>
                  <a:pt x="11185" y="10424"/>
                </a:moveTo>
                <a:lnTo>
                  <a:pt x="11048" y="10461"/>
                </a:lnTo>
                <a:lnTo>
                  <a:pt x="10964" y="10544"/>
                </a:lnTo>
                <a:lnTo>
                  <a:pt x="10878" y="10646"/>
                </a:lnTo>
                <a:lnTo>
                  <a:pt x="10736" y="10737"/>
                </a:lnTo>
                <a:lnTo>
                  <a:pt x="10737" y="10856"/>
                </a:lnTo>
                <a:lnTo>
                  <a:pt x="10797" y="10870"/>
                </a:lnTo>
                <a:lnTo>
                  <a:pt x="10877" y="10842"/>
                </a:lnTo>
                <a:lnTo>
                  <a:pt x="10942" y="10838"/>
                </a:lnTo>
                <a:lnTo>
                  <a:pt x="10970" y="10814"/>
                </a:lnTo>
                <a:lnTo>
                  <a:pt x="10983" y="10781"/>
                </a:lnTo>
                <a:lnTo>
                  <a:pt x="10974" y="10758"/>
                </a:lnTo>
                <a:lnTo>
                  <a:pt x="10936" y="10763"/>
                </a:lnTo>
                <a:lnTo>
                  <a:pt x="10894" y="10720"/>
                </a:lnTo>
                <a:lnTo>
                  <a:pt x="11007" y="10636"/>
                </a:lnTo>
                <a:lnTo>
                  <a:pt x="11146" y="10531"/>
                </a:lnTo>
                <a:lnTo>
                  <a:pt x="11185" y="10424"/>
                </a:lnTo>
                <a:close/>
                <a:moveTo>
                  <a:pt x="11251" y="9467"/>
                </a:moveTo>
                <a:lnTo>
                  <a:pt x="11244" y="9434"/>
                </a:lnTo>
                <a:lnTo>
                  <a:pt x="11214" y="9426"/>
                </a:lnTo>
                <a:lnTo>
                  <a:pt x="11186" y="9442"/>
                </a:lnTo>
                <a:lnTo>
                  <a:pt x="11184" y="9476"/>
                </a:lnTo>
                <a:lnTo>
                  <a:pt x="11199" y="9487"/>
                </a:lnTo>
                <a:lnTo>
                  <a:pt x="11220" y="9489"/>
                </a:lnTo>
                <a:lnTo>
                  <a:pt x="11239" y="9482"/>
                </a:lnTo>
                <a:lnTo>
                  <a:pt x="11251" y="9467"/>
                </a:lnTo>
                <a:close/>
                <a:moveTo>
                  <a:pt x="7400" y="11769"/>
                </a:moveTo>
                <a:lnTo>
                  <a:pt x="7386" y="11739"/>
                </a:lnTo>
                <a:lnTo>
                  <a:pt x="7344" y="11730"/>
                </a:lnTo>
                <a:lnTo>
                  <a:pt x="7301" y="11738"/>
                </a:lnTo>
                <a:lnTo>
                  <a:pt x="7284" y="11758"/>
                </a:lnTo>
                <a:lnTo>
                  <a:pt x="7312" y="11774"/>
                </a:lnTo>
                <a:lnTo>
                  <a:pt x="7343" y="11783"/>
                </a:lnTo>
                <a:lnTo>
                  <a:pt x="7374" y="11781"/>
                </a:lnTo>
                <a:lnTo>
                  <a:pt x="7400" y="11769"/>
                </a:lnTo>
                <a:close/>
                <a:moveTo>
                  <a:pt x="10084" y="11510"/>
                </a:moveTo>
                <a:lnTo>
                  <a:pt x="10058" y="11506"/>
                </a:lnTo>
                <a:lnTo>
                  <a:pt x="10025" y="11509"/>
                </a:lnTo>
                <a:lnTo>
                  <a:pt x="10005" y="11522"/>
                </a:lnTo>
                <a:lnTo>
                  <a:pt x="10014" y="11542"/>
                </a:lnTo>
                <a:lnTo>
                  <a:pt x="10045" y="11550"/>
                </a:lnTo>
                <a:lnTo>
                  <a:pt x="10085" y="11545"/>
                </a:lnTo>
                <a:lnTo>
                  <a:pt x="10107" y="11531"/>
                </a:lnTo>
                <a:lnTo>
                  <a:pt x="10084" y="11510"/>
                </a:lnTo>
                <a:close/>
                <a:moveTo>
                  <a:pt x="11304" y="9529"/>
                </a:moveTo>
                <a:lnTo>
                  <a:pt x="11348" y="9515"/>
                </a:lnTo>
                <a:lnTo>
                  <a:pt x="11361" y="9463"/>
                </a:lnTo>
                <a:lnTo>
                  <a:pt x="11346" y="9410"/>
                </a:lnTo>
                <a:lnTo>
                  <a:pt x="11301" y="9392"/>
                </a:lnTo>
                <a:lnTo>
                  <a:pt x="11287" y="9420"/>
                </a:lnTo>
                <a:lnTo>
                  <a:pt x="11287" y="9457"/>
                </a:lnTo>
                <a:lnTo>
                  <a:pt x="11296" y="9496"/>
                </a:lnTo>
                <a:lnTo>
                  <a:pt x="11304" y="9529"/>
                </a:lnTo>
                <a:close/>
                <a:moveTo>
                  <a:pt x="10557" y="11107"/>
                </a:moveTo>
                <a:lnTo>
                  <a:pt x="10537" y="11110"/>
                </a:lnTo>
                <a:lnTo>
                  <a:pt x="10514" y="11121"/>
                </a:lnTo>
                <a:lnTo>
                  <a:pt x="10497" y="11137"/>
                </a:lnTo>
                <a:lnTo>
                  <a:pt x="10495" y="11156"/>
                </a:lnTo>
                <a:lnTo>
                  <a:pt x="10531" y="11166"/>
                </a:lnTo>
                <a:lnTo>
                  <a:pt x="10570" y="11155"/>
                </a:lnTo>
                <a:lnTo>
                  <a:pt x="10587" y="11131"/>
                </a:lnTo>
                <a:lnTo>
                  <a:pt x="10557" y="11107"/>
                </a:lnTo>
                <a:close/>
                <a:moveTo>
                  <a:pt x="10062" y="10611"/>
                </a:moveTo>
                <a:lnTo>
                  <a:pt x="10068" y="10575"/>
                </a:lnTo>
                <a:lnTo>
                  <a:pt x="10047" y="10555"/>
                </a:lnTo>
                <a:lnTo>
                  <a:pt x="10011" y="10552"/>
                </a:lnTo>
                <a:lnTo>
                  <a:pt x="9975" y="10562"/>
                </a:lnTo>
                <a:lnTo>
                  <a:pt x="9983" y="10585"/>
                </a:lnTo>
                <a:lnTo>
                  <a:pt x="10007" y="10608"/>
                </a:lnTo>
                <a:lnTo>
                  <a:pt x="10036" y="10620"/>
                </a:lnTo>
                <a:lnTo>
                  <a:pt x="10062" y="10611"/>
                </a:lnTo>
                <a:close/>
                <a:moveTo>
                  <a:pt x="8675" y="11845"/>
                </a:moveTo>
                <a:lnTo>
                  <a:pt x="8675" y="11845"/>
                </a:lnTo>
                <a:lnTo>
                  <a:pt x="8675" y="11845"/>
                </a:lnTo>
                <a:close/>
                <a:moveTo>
                  <a:pt x="8492" y="11789"/>
                </a:moveTo>
                <a:lnTo>
                  <a:pt x="8490" y="11790"/>
                </a:lnTo>
                <a:lnTo>
                  <a:pt x="8489" y="11790"/>
                </a:lnTo>
                <a:lnTo>
                  <a:pt x="8490" y="11789"/>
                </a:lnTo>
                <a:lnTo>
                  <a:pt x="8492" y="11788"/>
                </a:lnTo>
                <a:lnTo>
                  <a:pt x="8493" y="11786"/>
                </a:lnTo>
                <a:lnTo>
                  <a:pt x="8494" y="11786"/>
                </a:lnTo>
                <a:lnTo>
                  <a:pt x="8494" y="11788"/>
                </a:lnTo>
                <a:lnTo>
                  <a:pt x="8492" y="11789"/>
                </a:lnTo>
                <a:close/>
                <a:moveTo>
                  <a:pt x="8445" y="11760"/>
                </a:moveTo>
                <a:lnTo>
                  <a:pt x="8445" y="11761"/>
                </a:lnTo>
                <a:lnTo>
                  <a:pt x="8445" y="11760"/>
                </a:lnTo>
                <a:lnTo>
                  <a:pt x="8446" y="11760"/>
                </a:lnTo>
                <a:lnTo>
                  <a:pt x="8445" y="11760"/>
                </a:lnTo>
                <a:close/>
                <a:moveTo>
                  <a:pt x="8217" y="11901"/>
                </a:moveTo>
                <a:lnTo>
                  <a:pt x="8217" y="11901"/>
                </a:lnTo>
                <a:lnTo>
                  <a:pt x="8217" y="11901"/>
                </a:lnTo>
                <a:lnTo>
                  <a:pt x="8217" y="11900"/>
                </a:lnTo>
                <a:lnTo>
                  <a:pt x="8217" y="11901"/>
                </a:lnTo>
                <a:close/>
                <a:moveTo>
                  <a:pt x="8745" y="11765"/>
                </a:moveTo>
                <a:lnTo>
                  <a:pt x="8659" y="11728"/>
                </a:lnTo>
                <a:lnTo>
                  <a:pt x="8545" y="11729"/>
                </a:lnTo>
                <a:lnTo>
                  <a:pt x="8473" y="11723"/>
                </a:lnTo>
                <a:lnTo>
                  <a:pt x="8510" y="11663"/>
                </a:lnTo>
                <a:lnTo>
                  <a:pt x="8395" y="11621"/>
                </a:lnTo>
                <a:lnTo>
                  <a:pt x="8252" y="11606"/>
                </a:lnTo>
                <a:lnTo>
                  <a:pt x="8106" y="11594"/>
                </a:lnTo>
                <a:lnTo>
                  <a:pt x="7978" y="11565"/>
                </a:lnTo>
                <a:lnTo>
                  <a:pt x="8042" y="11681"/>
                </a:lnTo>
                <a:lnTo>
                  <a:pt x="8093" y="11766"/>
                </a:lnTo>
                <a:lnTo>
                  <a:pt x="8066" y="11789"/>
                </a:lnTo>
                <a:lnTo>
                  <a:pt x="7900" y="11718"/>
                </a:lnTo>
                <a:lnTo>
                  <a:pt x="7850" y="11685"/>
                </a:lnTo>
                <a:lnTo>
                  <a:pt x="7796" y="11677"/>
                </a:lnTo>
                <a:lnTo>
                  <a:pt x="7744" y="11690"/>
                </a:lnTo>
                <a:lnTo>
                  <a:pt x="7696" y="11715"/>
                </a:lnTo>
                <a:lnTo>
                  <a:pt x="7642" y="11696"/>
                </a:lnTo>
                <a:lnTo>
                  <a:pt x="7580" y="11665"/>
                </a:lnTo>
                <a:lnTo>
                  <a:pt x="7528" y="11657"/>
                </a:lnTo>
                <a:lnTo>
                  <a:pt x="7505" y="11701"/>
                </a:lnTo>
                <a:lnTo>
                  <a:pt x="7571" y="11737"/>
                </a:lnTo>
                <a:lnTo>
                  <a:pt x="7534" y="11799"/>
                </a:lnTo>
                <a:lnTo>
                  <a:pt x="7500" y="11861"/>
                </a:lnTo>
                <a:lnTo>
                  <a:pt x="7572" y="11897"/>
                </a:lnTo>
                <a:lnTo>
                  <a:pt x="7675" y="11865"/>
                </a:lnTo>
                <a:lnTo>
                  <a:pt x="7781" y="11889"/>
                </a:lnTo>
                <a:lnTo>
                  <a:pt x="7849" y="11903"/>
                </a:lnTo>
                <a:lnTo>
                  <a:pt x="7837" y="11841"/>
                </a:lnTo>
                <a:lnTo>
                  <a:pt x="7891" y="11808"/>
                </a:lnTo>
                <a:lnTo>
                  <a:pt x="7925" y="11819"/>
                </a:lnTo>
                <a:lnTo>
                  <a:pt x="7959" y="11845"/>
                </a:lnTo>
                <a:lnTo>
                  <a:pt x="8013" y="11855"/>
                </a:lnTo>
                <a:lnTo>
                  <a:pt x="8129" y="11888"/>
                </a:lnTo>
                <a:lnTo>
                  <a:pt x="8219" y="11879"/>
                </a:lnTo>
                <a:lnTo>
                  <a:pt x="8316" y="11859"/>
                </a:lnTo>
                <a:lnTo>
                  <a:pt x="8448" y="11860"/>
                </a:lnTo>
                <a:lnTo>
                  <a:pt x="8501" y="11844"/>
                </a:lnTo>
                <a:lnTo>
                  <a:pt x="8543" y="11860"/>
                </a:lnTo>
                <a:lnTo>
                  <a:pt x="8582" y="11893"/>
                </a:lnTo>
                <a:lnTo>
                  <a:pt x="8623" y="11924"/>
                </a:lnTo>
                <a:lnTo>
                  <a:pt x="8660" y="11883"/>
                </a:lnTo>
                <a:lnTo>
                  <a:pt x="8722" y="11840"/>
                </a:lnTo>
                <a:lnTo>
                  <a:pt x="8764" y="11799"/>
                </a:lnTo>
                <a:lnTo>
                  <a:pt x="8745" y="11765"/>
                </a:lnTo>
                <a:close/>
                <a:moveTo>
                  <a:pt x="11435" y="8386"/>
                </a:moveTo>
                <a:lnTo>
                  <a:pt x="11426" y="8344"/>
                </a:lnTo>
                <a:lnTo>
                  <a:pt x="11411" y="8319"/>
                </a:lnTo>
                <a:lnTo>
                  <a:pt x="11386" y="8314"/>
                </a:lnTo>
                <a:lnTo>
                  <a:pt x="11348" y="8338"/>
                </a:lnTo>
                <a:lnTo>
                  <a:pt x="11330" y="8370"/>
                </a:lnTo>
                <a:lnTo>
                  <a:pt x="11358" y="8394"/>
                </a:lnTo>
                <a:lnTo>
                  <a:pt x="11404" y="8402"/>
                </a:lnTo>
                <a:lnTo>
                  <a:pt x="11435" y="8386"/>
                </a:lnTo>
                <a:close/>
                <a:moveTo>
                  <a:pt x="9786" y="10665"/>
                </a:moveTo>
                <a:lnTo>
                  <a:pt x="9766" y="10678"/>
                </a:lnTo>
                <a:lnTo>
                  <a:pt x="9750" y="10689"/>
                </a:lnTo>
                <a:lnTo>
                  <a:pt x="9735" y="10698"/>
                </a:lnTo>
                <a:lnTo>
                  <a:pt x="9721" y="10711"/>
                </a:lnTo>
                <a:lnTo>
                  <a:pt x="9745" y="10749"/>
                </a:lnTo>
                <a:lnTo>
                  <a:pt x="9788" y="10730"/>
                </a:lnTo>
                <a:lnTo>
                  <a:pt x="9814" y="10689"/>
                </a:lnTo>
                <a:lnTo>
                  <a:pt x="9786" y="10665"/>
                </a:lnTo>
                <a:close/>
                <a:moveTo>
                  <a:pt x="11800" y="5847"/>
                </a:moveTo>
                <a:lnTo>
                  <a:pt x="11771" y="5877"/>
                </a:lnTo>
                <a:lnTo>
                  <a:pt x="11762" y="5909"/>
                </a:lnTo>
                <a:lnTo>
                  <a:pt x="11777" y="5931"/>
                </a:lnTo>
                <a:lnTo>
                  <a:pt x="11824" y="5931"/>
                </a:lnTo>
                <a:lnTo>
                  <a:pt x="11851" y="5975"/>
                </a:lnTo>
                <a:lnTo>
                  <a:pt x="11860" y="6035"/>
                </a:lnTo>
                <a:lnTo>
                  <a:pt x="11869" y="6091"/>
                </a:lnTo>
                <a:lnTo>
                  <a:pt x="11903" y="6128"/>
                </a:lnTo>
                <a:lnTo>
                  <a:pt x="11930" y="5997"/>
                </a:lnTo>
                <a:lnTo>
                  <a:pt x="11907" y="5832"/>
                </a:lnTo>
                <a:lnTo>
                  <a:pt x="11856" y="5745"/>
                </a:lnTo>
                <a:lnTo>
                  <a:pt x="11800" y="5847"/>
                </a:lnTo>
                <a:close/>
                <a:moveTo>
                  <a:pt x="6006" y="12167"/>
                </a:moveTo>
                <a:lnTo>
                  <a:pt x="5979" y="12162"/>
                </a:lnTo>
                <a:lnTo>
                  <a:pt x="5946" y="12157"/>
                </a:lnTo>
                <a:lnTo>
                  <a:pt x="5915" y="12161"/>
                </a:lnTo>
                <a:lnTo>
                  <a:pt x="5898" y="12177"/>
                </a:lnTo>
                <a:lnTo>
                  <a:pt x="5929" y="12205"/>
                </a:lnTo>
                <a:lnTo>
                  <a:pt x="5984" y="12208"/>
                </a:lnTo>
                <a:lnTo>
                  <a:pt x="6022" y="12192"/>
                </a:lnTo>
                <a:lnTo>
                  <a:pt x="6006" y="12167"/>
                </a:lnTo>
                <a:close/>
                <a:moveTo>
                  <a:pt x="8823" y="11202"/>
                </a:moveTo>
                <a:lnTo>
                  <a:pt x="8829" y="11240"/>
                </a:lnTo>
                <a:lnTo>
                  <a:pt x="8857" y="11262"/>
                </a:lnTo>
                <a:lnTo>
                  <a:pt x="8880" y="11261"/>
                </a:lnTo>
                <a:lnTo>
                  <a:pt x="8870" y="11226"/>
                </a:lnTo>
                <a:lnTo>
                  <a:pt x="8881" y="11182"/>
                </a:lnTo>
                <a:lnTo>
                  <a:pt x="8865" y="11159"/>
                </a:lnTo>
                <a:lnTo>
                  <a:pt x="8841" y="11164"/>
                </a:lnTo>
                <a:lnTo>
                  <a:pt x="8823" y="11202"/>
                </a:lnTo>
                <a:close/>
                <a:moveTo>
                  <a:pt x="11092" y="9941"/>
                </a:moveTo>
                <a:lnTo>
                  <a:pt x="11072" y="9932"/>
                </a:lnTo>
                <a:lnTo>
                  <a:pt x="11046" y="9952"/>
                </a:lnTo>
                <a:lnTo>
                  <a:pt x="11026" y="9986"/>
                </a:lnTo>
                <a:lnTo>
                  <a:pt x="11017" y="10013"/>
                </a:lnTo>
                <a:lnTo>
                  <a:pt x="11044" y="10031"/>
                </a:lnTo>
                <a:lnTo>
                  <a:pt x="11072" y="10011"/>
                </a:lnTo>
                <a:lnTo>
                  <a:pt x="11092" y="9974"/>
                </a:lnTo>
                <a:lnTo>
                  <a:pt x="11092" y="9941"/>
                </a:lnTo>
                <a:close/>
                <a:moveTo>
                  <a:pt x="11607" y="5195"/>
                </a:moveTo>
                <a:lnTo>
                  <a:pt x="11625" y="5221"/>
                </a:lnTo>
                <a:lnTo>
                  <a:pt x="11650" y="5250"/>
                </a:lnTo>
                <a:lnTo>
                  <a:pt x="11677" y="5265"/>
                </a:lnTo>
                <a:lnTo>
                  <a:pt x="11701" y="5246"/>
                </a:lnTo>
                <a:lnTo>
                  <a:pt x="11692" y="5202"/>
                </a:lnTo>
                <a:lnTo>
                  <a:pt x="11665" y="5167"/>
                </a:lnTo>
                <a:lnTo>
                  <a:pt x="11633" y="5160"/>
                </a:lnTo>
                <a:lnTo>
                  <a:pt x="11607" y="5195"/>
                </a:lnTo>
                <a:close/>
                <a:moveTo>
                  <a:pt x="11286" y="6995"/>
                </a:moveTo>
                <a:lnTo>
                  <a:pt x="11332" y="7009"/>
                </a:lnTo>
                <a:lnTo>
                  <a:pt x="11384" y="6996"/>
                </a:lnTo>
                <a:lnTo>
                  <a:pt x="11404" y="6973"/>
                </a:lnTo>
                <a:lnTo>
                  <a:pt x="11356" y="6956"/>
                </a:lnTo>
                <a:lnTo>
                  <a:pt x="11353" y="6948"/>
                </a:lnTo>
                <a:lnTo>
                  <a:pt x="11352" y="6940"/>
                </a:lnTo>
                <a:lnTo>
                  <a:pt x="11352" y="6933"/>
                </a:lnTo>
                <a:lnTo>
                  <a:pt x="11356" y="6926"/>
                </a:lnTo>
                <a:lnTo>
                  <a:pt x="11365" y="6869"/>
                </a:lnTo>
                <a:lnTo>
                  <a:pt x="11316" y="6878"/>
                </a:lnTo>
                <a:lnTo>
                  <a:pt x="11270" y="6928"/>
                </a:lnTo>
                <a:lnTo>
                  <a:pt x="11286" y="6995"/>
                </a:lnTo>
                <a:close/>
                <a:moveTo>
                  <a:pt x="11321" y="3987"/>
                </a:moveTo>
                <a:lnTo>
                  <a:pt x="11290" y="4029"/>
                </a:lnTo>
                <a:lnTo>
                  <a:pt x="11258" y="4020"/>
                </a:lnTo>
                <a:lnTo>
                  <a:pt x="11223" y="4000"/>
                </a:lnTo>
                <a:lnTo>
                  <a:pt x="11181" y="4010"/>
                </a:lnTo>
                <a:lnTo>
                  <a:pt x="11226" y="4089"/>
                </a:lnTo>
                <a:lnTo>
                  <a:pt x="11329" y="4106"/>
                </a:lnTo>
                <a:lnTo>
                  <a:pt x="11393" y="4069"/>
                </a:lnTo>
                <a:lnTo>
                  <a:pt x="11321" y="3987"/>
                </a:lnTo>
                <a:close/>
                <a:moveTo>
                  <a:pt x="11307" y="9286"/>
                </a:moveTo>
                <a:lnTo>
                  <a:pt x="11320" y="9193"/>
                </a:lnTo>
                <a:lnTo>
                  <a:pt x="11299" y="9116"/>
                </a:lnTo>
                <a:lnTo>
                  <a:pt x="11267" y="9102"/>
                </a:lnTo>
                <a:lnTo>
                  <a:pt x="11248" y="9199"/>
                </a:lnTo>
                <a:lnTo>
                  <a:pt x="11195" y="9211"/>
                </a:lnTo>
                <a:lnTo>
                  <a:pt x="11211" y="9281"/>
                </a:lnTo>
                <a:lnTo>
                  <a:pt x="11260" y="9331"/>
                </a:lnTo>
                <a:lnTo>
                  <a:pt x="11307" y="9286"/>
                </a:lnTo>
                <a:close/>
                <a:moveTo>
                  <a:pt x="11281" y="3414"/>
                </a:moveTo>
                <a:lnTo>
                  <a:pt x="11362" y="3449"/>
                </a:lnTo>
                <a:lnTo>
                  <a:pt x="11361" y="3431"/>
                </a:lnTo>
                <a:lnTo>
                  <a:pt x="11320" y="3381"/>
                </a:lnTo>
                <a:lnTo>
                  <a:pt x="11288" y="3324"/>
                </a:lnTo>
                <a:lnTo>
                  <a:pt x="11248" y="3315"/>
                </a:lnTo>
                <a:lnTo>
                  <a:pt x="11231" y="3346"/>
                </a:lnTo>
                <a:lnTo>
                  <a:pt x="11241" y="3388"/>
                </a:lnTo>
                <a:lnTo>
                  <a:pt x="11281" y="3414"/>
                </a:lnTo>
                <a:close/>
                <a:moveTo>
                  <a:pt x="6452" y="12368"/>
                </a:moveTo>
                <a:lnTo>
                  <a:pt x="6406" y="12390"/>
                </a:lnTo>
                <a:lnTo>
                  <a:pt x="6355" y="12413"/>
                </a:lnTo>
                <a:lnTo>
                  <a:pt x="6336" y="12437"/>
                </a:lnTo>
                <a:lnTo>
                  <a:pt x="6384" y="12460"/>
                </a:lnTo>
                <a:lnTo>
                  <a:pt x="6435" y="12476"/>
                </a:lnTo>
                <a:lnTo>
                  <a:pt x="6467" y="12446"/>
                </a:lnTo>
                <a:lnTo>
                  <a:pt x="6474" y="12399"/>
                </a:lnTo>
                <a:lnTo>
                  <a:pt x="6452" y="12368"/>
                </a:lnTo>
                <a:close/>
                <a:moveTo>
                  <a:pt x="6412" y="12282"/>
                </a:moveTo>
                <a:lnTo>
                  <a:pt x="6476" y="12271"/>
                </a:lnTo>
                <a:lnTo>
                  <a:pt x="6434" y="12247"/>
                </a:lnTo>
                <a:lnTo>
                  <a:pt x="6352" y="12237"/>
                </a:lnTo>
                <a:lnTo>
                  <a:pt x="6300" y="12274"/>
                </a:lnTo>
                <a:lnTo>
                  <a:pt x="6283" y="12316"/>
                </a:lnTo>
                <a:lnTo>
                  <a:pt x="6320" y="12313"/>
                </a:lnTo>
                <a:lnTo>
                  <a:pt x="6374" y="12294"/>
                </a:lnTo>
                <a:lnTo>
                  <a:pt x="6412" y="12282"/>
                </a:lnTo>
                <a:close/>
                <a:moveTo>
                  <a:pt x="10117" y="11320"/>
                </a:moveTo>
                <a:lnTo>
                  <a:pt x="10084" y="11306"/>
                </a:lnTo>
                <a:lnTo>
                  <a:pt x="10022" y="11310"/>
                </a:lnTo>
                <a:lnTo>
                  <a:pt x="9965" y="11328"/>
                </a:lnTo>
                <a:lnTo>
                  <a:pt x="9946" y="11361"/>
                </a:lnTo>
                <a:lnTo>
                  <a:pt x="9991" y="11374"/>
                </a:lnTo>
                <a:lnTo>
                  <a:pt x="10061" y="11373"/>
                </a:lnTo>
                <a:lnTo>
                  <a:pt x="10117" y="11356"/>
                </a:lnTo>
                <a:lnTo>
                  <a:pt x="10117" y="11320"/>
                </a:lnTo>
                <a:close/>
                <a:moveTo>
                  <a:pt x="7948" y="11266"/>
                </a:moveTo>
                <a:lnTo>
                  <a:pt x="8010" y="11264"/>
                </a:lnTo>
                <a:lnTo>
                  <a:pt x="8071" y="11245"/>
                </a:lnTo>
                <a:lnTo>
                  <a:pt x="8101" y="11210"/>
                </a:lnTo>
                <a:lnTo>
                  <a:pt x="8068" y="11155"/>
                </a:lnTo>
                <a:lnTo>
                  <a:pt x="8045" y="11194"/>
                </a:lnTo>
                <a:lnTo>
                  <a:pt x="8029" y="11201"/>
                </a:lnTo>
                <a:lnTo>
                  <a:pt x="8014" y="11184"/>
                </a:lnTo>
                <a:lnTo>
                  <a:pt x="7991" y="11156"/>
                </a:lnTo>
                <a:lnTo>
                  <a:pt x="7943" y="11154"/>
                </a:lnTo>
                <a:lnTo>
                  <a:pt x="7933" y="11166"/>
                </a:lnTo>
                <a:lnTo>
                  <a:pt x="7950" y="11187"/>
                </a:lnTo>
                <a:lnTo>
                  <a:pt x="7989" y="11210"/>
                </a:lnTo>
                <a:lnTo>
                  <a:pt x="7985" y="11226"/>
                </a:lnTo>
                <a:lnTo>
                  <a:pt x="7962" y="11238"/>
                </a:lnTo>
                <a:lnTo>
                  <a:pt x="7943" y="11249"/>
                </a:lnTo>
                <a:lnTo>
                  <a:pt x="7948" y="11266"/>
                </a:lnTo>
                <a:close/>
                <a:moveTo>
                  <a:pt x="10764" y="9820"/>
                </a:moveTo>
                <a:lnTo>
                  <a:pt x="10731" y="9787"/>
                </a:lnTo>
                <a:lnTo>
                  <a:pt x="10690" y="9790"/>
                </a:lnTo>
                <a:lnTo>
                  <a:pt x="10667" y="9820"/>
                </a:lnTo>
                <a:lnTo>
                  <a:pt x="10686" y="9864"/>
                </a:lnTo>
                <a:lnTo>
                  <a:pt x="10718" y="9890"/>
                </a:lnTo>
                <a:lnTo>
                  <a:pt x="10762" y="9882"/>
                </a:lnTo>
                <a:lnTo>
                  <a:pt x="10788" y="9854"/>
                </a:lnTo>
                <a:lnTo>
                  <a:pt x="10764" y="9820"/>
                </a:lnTo>
                <a:close/>
                <a:moveTo>
                  <a:pt x="11343" y="8178"/>
                </a:moveTo>
                <a:lnTo>
                  <a:pt x="11416" y="8185"/>
                </a:lnTo>
                <a:lnTo>
                  <a:pt x="11400" y="8123"/>
                </a:lnTo>
                <a:lnTo>
                  <a:pt x="11338" y="8062"/>
                </a:lnTo>
                <a:lnTo>
                  <a:pt x="11267" y="8076"/>
                </a:lnTo>
                <a:lnTo>
                  <a:pt x="11269" y="8113"/>
                </a:lnTo>
                <a:lnTo>
                  <a:pt x="11249" y="8141"/>
                </a:lnTo>
                <a:lnTo>
                  <a:pt x="11227" y="8170"/>
                </a:lnTo>
                <a:lnTo>
                  <a:pt x="11228" y="8206"/>
                </a:lnTo>
                <a:lnTo>
                  <a:pt x="11240" y="8234"/>
                </a:lnTo>
                <a:lnTo>
                  <a:pt x="11268" y="8255"/>
                </a:lnTo>
                <a:lnTo>
                  <a:pt x="11293" y="8260"/>
                </a:lnTo>
                <a:lnTo>
                  <a:pt x="11299" y="8236"/>
                </a:lnTo>
                <a:lnTo>
                  <a:pt x="11290" y="8215"/>
                </a:lnTo>
                <a:lnTo>
                  <a:pt x="11300" y="8189"/>
                </a:lnTo>
                <a:lnTo>
                  <a:pt x="11321" y="8171"/>
                </a:lnTo>
                <a:lnTo>
                  <a:pt x="11343" y="8178"/>
                </a:lnTo>
                <a:close/>
                <a:moveTo>
                  <a:pt x="9047" y="11411"/>
                </a:moveTo>
                <a:lnTo>
                  <a:pt x="8908" y="11426"/>
                </a:lnTo>
                <a:lnTo>
                  <a:pt x="8754" y="11444"/>
                </a:lnTo>
                <a:lnTo>
                  <a:pt x="8690" y="11474"/>
                </a:lnTo>
                <a:lnTo>
                  <a:pt x="8823" y="11525"/>
                </a:lnTo>
                <a:lnTo>
                  <a:pt x="8878" y="11562"/>
                </a:lnTo>
                <a:lnTo>
                  <a:pt x="8951" y="11542"/>
                </a:lnTo>
                <a:lnTo>
                  <a:pt x="9018" y="11483"/>
                </a:lnTo>
                <a:lnTo>
                  <a:pt x="9047" y="11411"/>
                </a:lnTo>
                <a:close/>
                <a:moveTo>
                  <a:pt x="11369" y="4242"/>
                </a:moveTo>
                <a:lnTo>
                  <a:pt x="11324" y="4187"/>
                </a:lnTo>
                <a:lnTo>
                  <a:pt x="11291" y="4181"/>
                </a:lnTo>
                <a:lnTo>
                  <a:pt x="11284" y="4216"/>
                </a:lnTo>
                <a:lnTo>
                  <a:pt x="11319" y="4285"/>
                </a:lnTo>
                <a:lnTo>
                  <a:pt x="11319" y="4312"/>
                </a:lnTo>
                <a:lnTo>
                  <a:pt x="11300" y="4342"/>
                </a:lnTo>
                <a:lnTo>
                  <a:pt x="11290" y="4368"/>
                </a:lnTo>
                <a:lnTo>
                  <a:pt x="11315" y="4378"/>
                </a:lnTo>
                <a:lnTo>
                  <a:pt x="11376" y="4356"/>
                </a:lnTo>
                <a:lnTo>
                  <a:pt x="11414" y="4326"/>
                </a:lnTo>
                <a:lnTo>
                  <a:pt x="11418" y="4286"/>
                </a:lnTo>
                <a:lnTo>
                  <a:pt x="11369" y="4242"/>
                </a:lnTo>
                <a:close/>
                <a:moveTo>
                  <a:pt x="8153" y="11114"/>
                </a:moveTo>
                <a:lnTo>
                  <a:pt x="8224" y="11099"/>
                </a:lnTo>
                <a:lnTo>
                  <a:pt x="8167" y="11040"/>
                </a:lnTo>
                <a:lnTo>
                  <a:pt x="8068" y="11006"/>
                </a:lnTo>
                <a:lnTo>
                  <a:pt x="8012" y="11065"/>
                </a:lnTo>
                <a:lnTo>
                  <a:pt x="7975" y="11094"/>
                </a:lnTo>
                <a:lnTo>
                  <a:pt x="8017" y="11095"/>
                </a:lnTo>
                <a:lnTo>
                  <a:pt x="8092" y="11094"/>
                </a:lnTo>
                <a:lnTo>
                  <a:pt x="8153" y="11114"/>
                </a:lnTo>
                <a:close/>
                <a:moveTo>
                  <a:pt x="10741" y="10657"/>
                </a:moveTo>
                <a:lnTo>
                  <a:pt x="10797" y="10634"/>
                </a:lnTo>
                <a:lnTo>
                  <a:pt x="10855" y="10596"/>
                </a:lnTo>
                <a:lnTo>
                  <a:pt x="10894" y="10549"/>
                </a:lnTo>
                <a:lnTo>
                  <a:pt x="10891" y="10498"/>
                </a:lnTo>
                <a:lnTo>
                  <a:pt x="10779" y="10440"/>
                </a:lnTo>
                <a:lnTo>
                  <a:pt x="10655" y="10534"/>
                </a:lnTo>
                <a:lnTo>
                  <a:pt x="10612" y="10650"/>
                </a:lnTo>
                <a:lnTo>
                  <a:pt x="10741" y="10657"/>
                </a:lnTo>
                <a:close/>
                <a:moveTo>
                  <a:pt x="10654" y="10224"/>
                </a:moveTo>
                <a:lnTo>
                  <a:pt x="10654" y="10226"/>
                </a:lnTo>
                <a:lnTo>
                  <a:pt x="10652" y="10227"/>
                </a:lnTo>
                <a:lnTo>
                  <a:pt x="10653" y="10226"/>
                </a:lnTo>
                <a:lnTo>
                  <a:pt x="10654" y="10224"/>
                </a:lnTo>
                <a:close/>
                <a:moveTo>
                  <a:pt x="10402" y="10535"/>
                </a:moveTo>
                <a:lnTo>
                  <a:pt x="10566" y="10424"/>
                </a:lnTo>
                <a:lnTo>
                  <a:pt x="10653" y="10417"/>
                </a:lnTo>
                <a:lnTo>
                  <a:pt x="10710" y="10433"/>
                </a:lnTo>
                <a:lnTo>
                  <a:pt x="10783" y="10396"/>
                </a:lnTo>
                <a:lnTo>
                  <a:pt x="10752" y="10306"/>
                </a:lnTo>
                <a:lnTo>
                  <a:pt x="10773" y="10250"/>
                </a:lnTo>
                <a:lnTo>
                  <a:pt x="10804" y="10180"/>
                </a:lnTo>
                <a:lnTo>
                  <a:pt x="10807" y="10048"/>
                </a:lnTo>
                <a:lnTo>
                  <a:pt x="10788" y="10018"/>
                </a:lnTo>
                <a:lnTo>
                  <a:pt x="10753" y="10006"/>
                </a:lnTo>
                <a:lnTo>
                  <a:pt x="10717" y="9998"/>
                </a:lnTo>
                <a:lnTo>
                  <a:pt x="10687" y="9985"/>
                </a:lnTo>
                <a:lnTo>
                  <a:pt x="10676" y="9953"/>
                </a:lnTo>
                <a:lnTo>
                  <a:pt x="10664" y="9919"/>
                </a:lnTo>
                <a:lnTo>
                  <a:pt x="10645" y="9897"/>
                </a:lnTo>
                <a:lnTo>
                  <a:pt x="10612" y="9905"/>
                </a:lnTo>
                <a:lnTo>
                  <a:pt x="10532" y="9922"/>
                </a:lnTo>
                <a:lnTo>
                  <a:pt x="10494" y="9920"/>
                </a:lnTo>
                <a:lnTo>
                  <a:pt x="10489" y="9948"/>
                </a:lnTo>
                <a:lnTo>
                  <a:pt x="10508" y="10048"/>
                </a:lnTo>
                <a:lnTo>
                  <a:pt x="10531" y="10097"/>
                </a:lnTo>
                <a:lnTo>
                  <a:pt x="10417" y="10199"/>
                </a:lnTo>
                <a:lnTo>
                  <a:pt x="10312" y="10305"/>
                </a:lnTo>
                <a:lnTo>
                  <a:pt x="10359" y="10366"/>
                </a:lnTo>
                <a:lnTo>
                  <a:pt x="10469" y="10309"/>
                </a:lnTo>
                <a:lnTo>
                  <a:pt x="10522" y="10321"/>
                </a:lnTo>
                <a:lnTo>
                  <a:pt x="10514" y="10370"/>
                </a:lnTo>
                <a:lnTo>
                  <a:pt x="10441" y="10419"/>
                </a:lnTo>
                <a:lnTo>
                  <a:pt x="10368" y="10424"/>
                </a:lnTo>
                <a:lnTo>
                  <a:pt x="10320" y="10457"/>
                </a:lnTo>
                <a:lnTo>
                  <a:pt x="10267" y="10487"/>
                </a:lnTo>
                <a:lnTo>
                  <a:pt x="10177" y="10484"/>
                </a:lnTo>
                <a:lnTo>
                  <a:pt x="10129" y="10531"/>
                </a:lnTo>
                <a:lnTo>
                  <a:pt x="10122" y="10597"/>
                </a:lnTo>
                <a:lnTo>
                  <a:pt x="10151" y="10633"/>
                </a:lnTo>
                <a:lnTo>
                  <a:pt x="10213" y="10583"/>
                </a:lnTo>
                <a:lnTo>
                  <a:pt x="10234" y="10587"/>
                </a:lnTo>
                <a:lnTo>
                  <a:pt x="10201" y="10617"/>
                </a:lnTo>
                <a:lnTo>
                  <a:pt x="10171" y="10650"/>
                </a:lnTo>
                <a:lnTo>
                  <a:pt x="10206" y="10669"/>
                </a:lnTo>
                <a:lnTo>
                  <a:pt x="10238" y="10715"/>
                </a:lnTo>
                <a:lnTo>
                  <a:pt x="10284" y="10703"/>
                </a:lnTo>
                <a:lnTo>
                  <a:pt x="10323" y="10652"/>
                </a:lnTo>
                <a:lnTo>
                  <a:pt x="10336" y="10583"/>
                </a:lnTo>
                <a:lnTo>
                  <a:pt x="10356" y="10578"/>
                </a:lnTo>
                <a:lnTo>
                  <a:pt x="10378" y="10568"/>
                </a:lnTo>
                <a:lnTo>
                  <a:pt x="10396" y="10553"/>
                </a:lnTo>
                <a:lnTo>
                  <a:pt x="10402" y="10535"/>
                </a:lnTo>
                <a:close/>
                <a:moveTo>
                  <a:pt x="9416" y="11082"/>
                </a:moveTo>
                <a:lnTo>
                  <a:pt x="9317" y="11020"/>
                </a:lnTo>
                <a:lnTo>
                  <a:pt x="9332" y="10978"/>
                </a:lnTo>
                <a:lnTo>
                  <a:pt x="9397" y="10936"/>
                </a:lnTo>
                <a:lnTo>
                  <a:pt x="9444" y="10871"/>
                </a:lnTo>
                <a:lnTo>
                  <a:pt x="9392" y="10814"/>
                </a:lnTo>
                <a:lnTo>
                  <a:pt x="9328" y="10849"/>
                </a:lnTo>
                <a:lnTo>
                  <a:pt x="9255" y="10912"/>
                </a:lnTo>
                <a:lnTo>
                  <a:pt x="9176" y="10935"/>
                </a:lnTo>
                <a:lnTo>
                  <a:pt x="9078" y="11026"/>
                </a:lnTo>
                <a:lnTo>
                  <a:pt x="9095" y="11067"/>
                </a:lnTo>
                <a:lnTo>
                  <a:pt x="9174" y="11072"/>
                </a:lnTo>
                <a:lnTo>
                  <a:pt x="9261" y="11054"/>
                </a:lnTo>
                <a:lnTo>
                  <a:pt x="9286" y="11079"/>
                </a:lnTo>
                <a:lnTo>
                  <a:pt x="9265" y="11104"/>
                </a:lnTo>
                <a:lnTo>
                  <a:pt x="9234" y="11136"/>
                </a:lnTo>
                <a:lnTo>
                  <a:pt x="9232" y="11174"/>
                </a:lnTo>
                <a:lnTo>
                  <a:pt x="9269" y="11211"/>
                </a:lnTo>
                <a:lnTo>
                  <a:pt x="9318" y="11175"/>
                </a:lnTo>
                <a:lnTo>
                  <a:pt x="9370" y="11116"/>
                </a:lnTo>
                <a:lnTo>
                  <a:pt x="9416" y="11082"/>
                </a:lnTo>
                <a:close/>
                <a:moveTo>
                  <a:pt x="6389" y="12056"/>
                </a:moveTo>
                <a:lnTo>
                  <a:pt x="6396" y="12056"/>
                </a:lnTo>
                <a:lnTo>
                  <a:pt x="6406" y="12056"/>
                </a:lnTo>
                <a:lnTo>
                  <a:pt x="6416" y="12059"/>
                </a:lnTo>
                <a:lnTo>
                  <a:pt x="6420" y="12061"/>
                </a:lnTo>
                <a:lnTo>
                  <a:pt x="6413" y="12065"/>
                </a:lnTo>
                <a:lnTo>
                  <a:pt x="6397" y="12064"/>
                </a:lnTo>
                <a:lnTo>
                  <a:pt x="6385" y="12060"/>
                </a:lnTo>
                <a:lnTo>
                  <a:pt x="6389" y="12056"/>
                </a:lnTo>
                <a:close/>
                <a:moveTo>
                  <a:pt x="6457" y="11995"/>
                </a:moveTo>
                <a:lnTo>
                  <a:pt x="6459" y="11993"/>
                </a:lnTo>
                <a:lnTo>
                  <a:pt x="6459" y="11993"/>
                </a:lnTo>
                <a:lnTo>
                  <a:pt x="6459" y="11994"/>
                </a:lnTo>
                <a:lnTo>
                  <a:pt x="6458" y="11995"/>
                </a:lnTo>
                <a:lnTo>
                  <a:pt x="6455" y="11996"/>
                </a:lnTo>
                <a:lnTo>
                  <a:pt x="6455" y="11998"/>
                </a:lnTo>
                <a:lnTo>
                  <a:pt x="6455" y="11996"/>
                </a:lnTo>
                <a:lnTo>
                  <a:pt x="6457" y="11995"/>
                </a:lnTo>
                <a:close/>
                <a:moveTo>
                  <a:pt x="6550" y="12050"/>
                </a:moveTo>
                <a:lnTo>
                  <a:pt x="6518" y="12060"/>
                </a:lnTo>
                <a:lnTo>
                  <a:pt x="6483" y="12059"/>
                </a:lnTo>
                <a:lnTo>
                  <a:pt x="6454" y="12046"/>
                </a:lnTo>
                <a:lnTo>
                  <a:pt x="6438" y="12027"/>
                </a:lnTo>
                <a:lnTo>
                  <a:pt x="6471" y="11993"/>
                </a:lnTo>
                <a:lnTo>
                  <a:pt x="6533" y="11973"/>
                </a:lnTo>
                <a:lnTo>
                  <a:pt x="6574" y="11951"/>
                </a:lnTo>
                <a:lnTo>
                  <a:pt x="6541" y="11907"/>
                </a:lnTo>
                <a:lnTo>
                  <a:pt x="6338" y="11984"/>
                </a:lnTo>
                <a:lnTo>
                  <a:pt x="6141" y="11943"/>
                </a:lnTo>
                <a:lnTo>
                  <a:pt x="5992" y="11884"/>
                </a:lnTo>
                <a:lnTo>
                  <a:pt x="5929" y="11905"/>
                </a:lnTo>
                <a:lnTo>
                  <a:pt x="5949" y="11930"/>
                </a:lnTo>
                <a:lnTo>
                  <a:pt x="5965" y="11951"/>
                </a:lnTo>
                <a:lnTo>
                  <a:pt x="5963" y="11963"/>
                </a:lnTo>
                <a:lnTo>
                  <a:pt x="5922" y="11967"/>
                </a:lnTo>
                <a:lnTo>
                  <a:pt x="5928" y="12004"/>
                </a:lnTo>
                <a:lnTo>
                  <a:pt x="6017" y="12017"/>
                </a:lnTo>
                <a:lnTo>
                  <a:pt x="6129" y="12022"/>
                </a:lnTo>
                <a:lnTo>
                  <a:pt x="6205" y="12040"/>
                </a:lnTo>
                <a:lnTo>
                  <a:pt x="6290" y="12131"/>
                </a:lnTo>
                <a:lnTo>
                  <a:pt x="6462" y="12124"/>
                </a:lnTo>
                <a:lnTo>
                  <a:pt x="6592" y="12077"/>
                </a:lnTo>
                <a:lnTo>
                  <a:pt x="6550" y="12050"/>
                </a:lnTo>
                <a:close/>
                <a:moveTo>
                  <a:pt x="3875" y="1406"/>
                </a:moveTo>
                <a:lnTo>
                  <a:pt x="3875" y="1404"/>
                </a:lnTo>
                <a:lnTo>
                  <a:pt x="3874" y="1403"/>
                </a:lnTo>
                <a:lnTo>
                  <a:pt x="3949" y="1418"/>
                </a:lnTo>
                <a:lnTo>
                  <a:pt x="4012" y="1449"/>
                </a:lnTo>
                <a:lnTo>
                  <a:pt x="4037" y="1490"/>
                </a:lnTo>
                <a:lnTo>
                  <a:pt x="4005" y="1530"/>
                </a:lnTo>
                <a:lnTo>
                  <a:pt x="4004" y="1580"/>
                </a:lnTo>
                <a:lnTo>
                  <a:pt x="4041" y="1581"/>
                </a:lnTo>
                <a:lnTo>
                  <a:pt x="4028" y="1595"/>
                </a:lnTo>
                <a:lnTo>
                  <a:pt x="3878" y="1687"/>
                </a:lnTo>
                <a:lnTo>
                  <a:pt x="3861" y="1656"/>
                </a:lnTo>
                <a:lnTo>
                  <a:pt x="3884" y="1617"/>
                </a:lnTo>
                <a:lnTo>
                  <a:pt x="3915" y="1572"/>
                </a:lnTo>
                <a:lnTo>
                  <a:pt x="3920" y="1530"/>
                </a:lnTo>
                <a:lnTo>
                  <a:pt x="3875" y="1509"/>
                </a:lnTo>
                <a:lnTo>
                  <a:pt x="3807" y="1532"/>
                </a:lnTo>
                <a:lnTo>
                  <a:pt x="3758" y="1550"/>
                </a:lnTo>
                <a:lnTo>
                  <a:pt x="3772" y="1514"/>
                </a:lnTo>
                <a:lnTo>
                  <a:pt x="3767" y="1460"/>
                </a:lnTo>
                <a:lnTo>
                  <a:pt x="3787" y="1425"/>
                </a:lnTo>
                <a:lnTo>
                  <a:pt x="3826" y="1407"/>
                </a:lnTo>
                <a:lnTo>
                  <a:pt x="3874" y="1403"/>
                </a:lnTo>
                <a:lnTo>
                  <a:pt x="3874" y="1404"/>
                </a:lnTo>
                <a:lnTo>
                  <a:pt x="3875" y="1406"/>
                </a:lnTo>
                <a:close/>
                <a:moveTo>
                  <a:pt x="7228" y="11460"/>
                </a:moveTo>
                <a:lnTo>
                  <a:pt x="7228" y="11460"/>
                </a:lnTo>
                <a:lnTo>
                  <a:pt x="7228" y="11460"/>
                </a:lnTo>
                <a:lnTo>
                  <a:pt x="7228" y="11460"/>
                </a:lnTo>
                <a:close/>
                <a:moveTo>
                  <a:pt x="7228" y="11460"/>
                </a:moveTo>
                <a:lnTo>
                  <a:pt x="7228" y="11460"/>
                </a:lnTo>
                <a:lnTo>
                  <a:pt x="7228" y="11460"/>
                </a:lnTo>
                <a:lnTo>
                  <a:pt x="7228" y="11460"/>
                </a:lnTo>
                <a:lnTo>
                  <a:pt x="7228" y="11460"/>
                </a:lnTo>
                <a:lnTo>
                  <a:pt x="7228" y="11460"/>
                </a:lnTo>
                <a:close/>
                <a:moveTo>
                  <a:pt x="7228" y="11460"/>
                </a:moveTo>
                <a:lnTo>
                  <a:pt x="7228" y="11460"/>
                </a:lnTo>
                <a:lnTo>
                  <a:pt x="7230" y="11459"/>
                </a:lnTo>
                <a:lnTo>
                  <a:pt x="7228" y="11460"/>
                </a:lnTo>
                <a:close/>
                <a:moveTo>
                  <a:pt x="7228" y="11460"/>
                </a:moveTo>
                <a:lnTo>
                  <a:pt x="7228" y="11460"/>
                </a:lnTo>
                <a:lnTo>
                  <a:pt x="7228" y="11460"/>
                </a:lnTo>
                <a:close/>
                <a:moveTo>
                  <a:pt x="8822" y="10190"/>
                </a:moveTo>
                <a:lnTo>
                  <a:pt x="8822" y="10190"/>
                </a:lnTo>
                <a:lnTo>
                  <a:pt x="8822" y="10190"/>
                </a:lnTo>
                <a:lnTo>
                  <a:pt x="8822" y="10190"/>
                </a:lnTo>
                <a:lnTo>
                  <a:pt x="8820" y="10190"/>
                </a:lnTo>
                <a:lnTo>
                  <a:pt x="8822" y="10190"/>
                </a:lnTo>
                <a:lnTo>
                  <a:pt x="8822" y="10190"/>
                </a:lnTo>
                <a:lnTo>
                  <a:pt x="8822" y="10190"/>
                </a:lnTo>
                <a:lnTo>
                  <a:pt x="8822" y="10190"/>
                </a:lnTo>
                <a:close/>
                <a:moveTo>
                  <a:pt x="9619" y="10144"/>
                </a:moveTo>
                <a:lnTo>
                  <a:pt x="9564" y="10143"/>
                </a:lnTo>
                <a:lnTo>
                  <a:pt x="9521" y="10118"/>
                </a:lnTo>
                <a:lnTo>
                  <a:pt x="9499" y="10076"/>
                </a:lnTo>
                <a:lnTo>
                  <a:pt x="9509" y="10021"/>
                </a:lnTo>
                <a:lnTo>
                  <a:pt x="9484" y="10006"/>
                </a:lnTo>
                <a:lnTo>
                  <a:pt x="9442" y="9992"/>
                </a:lnTo>
                <a:lnTo>
                  <a:pt x="9418" y="9980"/>
                </a:lnTo>
                <a:lnTo>
                  <a:pt x="9447" y="9969"/>
                </a:lnTo>
                <a:lnTo>
                  <a:pt x="9508" y="9958"/>
                </a:lnTo>
                <a:lnTo>
                  <a:pt x="9578" y="9972"/>
                </a:lnTo>
                <a:lnTo>
                  <a:pt x="9642" y="10000"/>
                </a:lnTo>
                <a:lnTo>
                  <a:pt x="9691" y="10035"/>
                </a:lnTo>
                <a:lnTo>
                  <a:pt x="9649" y="10069"/>
                </a:lnTo>
                <a:lnTo>
                  <a:pt x="9685" y="10091"/>
                </a:lnTo>
                <a:lnTo>
                  <a:pt x="9705" y="10112"/>
                </a:lnTo>
                <a:lnTo>
                  <a:pt x="9619" y="10144"/>
                </a:lnTo>
                <a:close/>
                <a:moveTo>
                  <a:pt x="9603" y="10274"/>
                </a:moveTo>
                <a:lnTo>
                  <a:pt x="9603" y="10273"/>
                </a:lnTo>
                <a:lnTo>
                  <a:pt x="9603" y="10273"/>
                </a:lnTo>
                <a:lnTo>
                  <a:pt x="9603" y="10273"/>
                </a:lnTo>
                <a:lnTo>
                  <a:pt x="9603" y="10274"/>
                </a:lnTo>
                <a:lnTo>
                  <a:pt x="9605" y="10274"/>
                </a:lnTo>
                <a:lnTo>
                  <a:pt x="9605" y="10275"/>
                </a:lnTo>
                <a:lnTo>
                  <a:pt x="9605" y="10275"/>
                </a:lnTo>
                <a:lnTo>
                  <a:pt x="9603" y="10274"/>
                </a:lnTo>
                <a:close/>
                <a:moveTo>
                  <a:pt x="9508" y="10315"/>
                </a:moveTo>
                <a:lnTo>
                  <a:pt x="9461" y="10409"/>
                </a:lnTo>
                <a:lnTo>
                  <a:pt x="9425" y="10395"/>
                </a:lnTo>
                <a:lnTo>
                  <a:pt x="9424" y="10334"/>
                </a:lnTo>
                <a:lnTo>
                  <a:pt x="9479" y="10287"/>
                </a:lnTo>
                <a:lnTo>
                  <a:pt x="9476" y="10214"/>
                </a:lnTo>
                <a:lnTo>
                  <a:pt x="9499" y="10209"/>
                </a:lnTo>
                <a:lnTo>
                  <a:pt x="9518" y="10251"/>
                </a:lnTo>
                <a:lnTo>
                  <a:pt x="9508" y="10315"/>
                </a:lnTo>
                <a:close/>
                <a:moveTo>
                  <a:pt x="9393" y="2940"/>
                </a:moveTo>
                <a:lnTo>
                  <a:pt x="9393" y="2910"/>
                </a:lnTo>
                <a:lnTo>
                  <a:pt x="9420" y="2892"/>
                </a:lnTo>
                <a:lnTo>
                  <a:pt x="9453" y="2894"/>
                </a:lnTo>
                <a:lnTo>
                  <a:pt x="9474" y="2923"/>
                </a:lnTo>
                <a:lnTo>
                  <a:pt x="9449" y="2917"/>
                </a:lnTo>
                <a:lnTo>
                  <a:pt x="9430" y="2926"/>
                </a:lnTo>
                <a:lnTo>
                  <a:pt x="9414" y="2937"/>
                </a:lnTo>
                <a:lnTo>
                  <a:pt x="9393" y="2940"/>
                </a:lnTo>
                <a:close/>
                <a:moveTo>
                  <a:pt x="9384" y="3175"/>
                </a:moveTo>
                <a:lnTo>
                  <a:pt x="9376" y="3164"/>
                </a:lnTo>
                <a:lnTo>
                  <a:pt x="9372" y="3151"/>
                </a:lnTo>
                <a:lnTo>
                  <a:pt x="9374" y="3138"/>
                </a:lnTo>
                <a:lnTo>
                  <a:pt x="9384" y="3129"/>
                </a:lnTo>
                <a:lnTo>
                  <a:pt x="9386" y="3139"/>
                </a:lnTo>
                <a:lnTo>
                  <a:pt x="9390" y="3159"/>
                </a:lnTo>
                <a:lnTo>
                  <a:pt x="9391" y="3173"/>
                </a:lnTo>
                <a:lnTo>
                  <a:pt x="9384" y="3175"/>
                </a:lnTo>
                <a:close/>
                <a:moveTo>
                  <a:pt x="9378" y="3371"/>
                </a:moveTo>
                <a:lnTo>
                  <a:pt x="9374" y="3372"/>
                </a:lnTo>
                <a:lnTo>
                  <a:pt x="9370" y="3369"/>
                </a:lnTo>
                <a:lnTo>
                  <a:pt x="9370" y="3365"/>
                </a:lnTo>
                <a:lnTo>
                  <a:pt x="9374" y="3361"/>
                </a:lnTo>
                <a:lnTo>
                  <a:pt x="9379" y="3360"/>
                </a:lnTo>
                <a:lnTo>
                  <a:pt x="9382" y="3362"/>
                </a:lnTo>
                <a:lnTo>
                  <a:pt x="9382" y="3366"/>
                </a:lnTo>
                <a:lnTo>
                  <a:pt x="9378" y="3371"/>
                </a:lnTo>
                <a:close/>
                <a:moveTo>
                  <a:pt x="9350" y="2479"/>
                </a:moveTo>
                <a:lnTo>
                  <a:pt x="9305" y="2437"/>
                </a:lnTo>
                <a:lnTo>
                  <a:pt x="9291" y="2414"/>
                </a:lnTo>
                <a:lnTo>
                  <a:pt x="9311" y="2418"/>
                </a:lnTo>
                <a:lnTo>
                  <a:pt x="9363" y="2458"/>
                </a:lnTo>
                <a:lnTo>
                  <a:pt x="9420" y="2489"/>
                </a:lnTo>
                <a:lnTo>
                  <a:pt x="9435" y="2502"/>
                </a:lnTo>
                <a:lnTo>
                  <a:pt x="9411" y="2499"/>
                </a:lnTo>
                <a:lnTo>
                  <a:pt x="9350" y="2479"/>
                </a:lnTo>
                <a:close/>
                <a:moveTo>
                  <a:pt x="9354" y="2665"/>
                </a:moveTo>
                <a:lnTo>
                  <a:pt x="9353" y="2665"/>
                </a:lnTo>
                <a:lnTo>
                  <a:pt x="9353" y="2665"/>
                </a:lnTo>
                <a:lnTo>
                  <a:pt x="9353" y="2663"/>
                </a:lnTo>
                <a:lnTo>
                  <a:pt x="9354" y="2663"/>
                </a:lnTo>
                <a:lnTo>
                  <a:pt x="9355" y="2663"/>
                </a:lnTo>
                <a:lnTo>
                  <a:pt x="9355" y="2663"/>
                </a:lnTo>
                <a:lnTo>
                  <a:pt x="9355" y="2665"/>
                </a:lnTo>
                <a:lnTo>
                  <a:pt x="9354" y="2665"/>
                </a:lnTo>
                <a:close/>
                <a:moveTo>
                  <a:pt x="9300" y="2712"/>
                </a:moveTo>
                <a:lnTo>
                  <a:pt x="9302" y="2709"/>
                </a:lnTo>
                <a:lnTo>
                  <a:pt x="9305" y="2709"/>
                </a:lnTo>
                <a:lnTo>
                  <a:pt x="9312" y="2710"/>
                </a:lnTo>
                <a:lnTo>
                  <a:pt x="9316" y="2710"/>
                </a:lnTo>
                <a:lnTo>
                  <a:pt x="9313" y="2712"/>
                </a:lnTo>
                <a:lnTo>
                  <a:pt x="9309" y="2716"/>
                </a:lnTo>
                <a:lnTo>
                  <a:pt x="9304" y="2717"/>
                </a:lnTo>
                <a:lnTo>
                  <a:pt x="9300" y="2712"/>
                </a:lnTo>
                <a:close/>
                <a:moveTo>
                  <a:pt x="9247" y="3315"/>
                </a:moveTo>
                <a:lnTo>
                  <a:pt x="9216" y="3333"/>
                </a:lnTo>
                <a:lnTo>
                  <a:pt x="9188" y="3351"/>
                </a:lnTo>
                <a:lnTo>
                  <a:pt x="9165" y="3352"/>
                </a:lnTo>
                <a:lnTo>
                  <a:pt x="9151" y="3316"/>
                </a:lnTo>
                <a:lnTo>
                  <a:pt x="9190" y="3292"/>
                </a:lnTo>
                <a:lnTo>
                  <a:pt x="9235" y="3287"/>
                </a:lnTo>
                <a:lnTo>
                  <a:pt x="9263" y="3296"/>
                </a:lnTo>
                <a:lnTo>
                  <a:pt x="9247" y="3315"/>
                </a:lnTo>
                <a:close/>
                <a:moveTo>
                  <a:pt x="9255" y="10375"/>
                </a:moveTo>
                <a:lnTo>
                  <a:pt x="9246" y="10404"/>
                </a:lnTo>
                <a:lnTo>
                  <a:pt x="9234" y="10396"/>
                </a:lnTo>
                <a:lnTo>
                  <a:pt x="9227" y="10371"/>
                </a:lnTo>
                <a:lnTo>
                  <a:pt x="9232" y="10344"/>
                </a:lnTo>
                <a:lnTo>
                  <a:pt x="9249" y="10317"/>
                </a:lnTo>
                <a:lnTo>
                  <a:pt x="9261" y="10323"/>
                </a:lnTo>
                <a:lnTo>
                  <a:pt x="9265" y="10345"/>
                </a:lnTo>
                <a:lnTo>
                  <a:pt x="9255" y="10375"/>
                </a:lnTo>
                <a:close/>
                <a:moveTo>
                  <a:pt x="9178" y="10018"/>
                </a:moveTo>
                <a:lnTo>
                  <a:pt x="9178" y="10018"/>
                </a:lnTo>
                <a:lnTo>
                  <a:pt x="9179" y="10017"/>
                </a:lnTo>
                <a:lnTo>
                  <a:pt x="9179" y="10018"/>
                </a:lnTo>
                <a:lnTo>
                  <a:pt x="9178" y="10018"/>
                </a:lnTo>
                <a:close/>
                <a:moveTo>
                  <a:pt x="9140" y="10121"/>
                </a:moveTo>
                <a:lnTo>
                  <a:pt x="9125" y="10143"/>
                </a:lnTo>
                <a:lnTo>
                  <a:pt x="9103" y="10160"/>
                </a:lnTo>
                <a:lnTo>
                  <a:pt x="9083" y="10160"/>
                </a:lnTo>
                <a:lnTo>
                  <a:pt x="9075" y="10132"/>
                </a:lnTo>
                <a:lnTo>
                  <a:pt x="9097" y="10116"/>
                </a:lnTo>
                <a:lnTo>
                  <a:pt x="9131" y="10104"/>
                </a:lnTo>
                <a:lnTo>
                  <a:pt x="9154" y="10104"/>
                </a:lnTo>
                <a:lnTo>
                  <a:pt x="9140" y="10121"/>
                </a:lnTo>
                <a:close/>
                <a:moveTo>
                  <a:pt x="9097" y="10227"/>
                </a:moveTo>
                <a:lnTo>
                  <a:pt x="9095" y="10219"/>
                </a:lnTo>
                <a:lnTo>
                  <a:pt x="9102" y="10216"/>
                </a:lnTo>
                <a:lnTo>
                  <a:pt x="9109" y="10216"/>
                </a:lnTo>
                <a:lnTo>
                  <a:pt x="9113" y="10218"/>
                </a:lnTo>
                <a:lnTo>
                  <a:pt x="9111" y="10222"/>
                </a:lnTo>
                <a:lnTo>
                  <a:pt x="9106" y="10226"/>
                </a:lnTo>
                <a:lnTo>
                  <a:pt x="9100" y="10228"/>
                </a:lnTo>
                <a:lnTo>
                  <a:pt x="9097" y="10227"/>
                </a:lnTo>
                <a:close/>
                <a:moveTo>
                  <a:pt x="9072" y="10428"/>
                </a:moveTo>
                <a:lnTo>
                  <a:pt x="9071" y="10429"/>
                </a:lnTo>
                <a:lnTo>
                  <a:pt x="9071" y="10428"/>
                </a:lnTo>
                <a:lnTo>
                  <a:pt x="9071" y="10428"/>
                </a:lnTo>
                <a:lnTo>
                  <a:pt x="9072" y="10428"/>
                </a:lnTo>
                <a:lnTo>
                  <a:pt x="9074" y="10427"/>
                </a:lnTo>
                <a:lnTo>
                  <a:pt x="9075" y="10427"/>
                </a:lnTo>
                <a:lnTo>
                  <a:pt x="9074" y="10428"/>
                </a:lnTo>
                <a:lnTo>
                  <a:pt x="9072" y="10428"/>
                </a:lnTo>
                <a:close/>
                <a:moveTo>
                  <a:pt x="9053" y="3201"/>
                </a:moveTo>
                <a:lnTo>
                  <a:pt x="9048" y="3134"/>
                </a:lnTo>
                <a:lnTo>
                  <a:pt x="9070" y="3105"/>
                </a:lnTo>
                <a:lnTo>
                  <a:pt x="9103" y="3113"/>
                </a:lnTo>
                <a:lnTo>
                  <a:pt x="9132" y="3159"/>
                </a:lnTo>
                <a:lnTo>
                  <a:pt x="9117" y="3178"/>
                </a:lnTo>
                <a:lnTo>
                  <a:pt x="9132" y="3201"/>
                </a:lnTo>
                <a:lnTo>
                  <a:pt x="9150" y="3226"/>
                </a:lnTo>
                <a:lnTo>
                  <a:pt x="9140" y="3253"/>
                </a:lnTo>
                <a:lnTo>
                  <a:pt x="9125" y="3234"/>
                </a:lnTo>
                <a:lnTo>
                  <a:pt x="9102" y="3220"/>
                </a:lnTo>
                <a:lnTo>
                  <a:pt x="9076" y="3211"/>
                </a:lnTo>
                <a:lnTo>
                  <a:pt x="9053" y="3201"/>
                </a:lnTo>
                <a:close/>
                <a:moveTo>
                  <a:pt x="9061" y="9958"/>
                </a:moveTo>
                <a:lnTo>
                  <a:pt x="9038" y="9978"/>
                </a:lnTo>
                <a:lnTo>
                  <a:pt x="9002" y="9986"/>
                </a:lnTo>
                <a:lnTo>
                  <a:pt x="8969" y="10000"/>
                </a:lnTo>
                <a:lnTo>
                  <a:pt x="8958" y="10036"/>
                </a:lnTo>
                <a:lnTo>
                  <a:pt x="8941" y="9998"/>
                </a:lnTo>
                <a:lnTo>
                  <a:pt x="8981" y="9957"/>
                </a:lnTo>
                <a:lnTo>
                  <a:pt x="9035" y="9937"/>
                </a:lnTo>
                <a:lnTo>
                  <a:pt x="9061" y="9958"/>
                </a:lnTo>
                <a:close/>
                <a:moveTo>
                  <a:pt x="8969" y="10051"/>
                </a:moveTo>
                <a:lnTo>
                  <a:pt x="8972" y="10054"/>
                </a:lnTo>
                <a:lnTo>
                  <a:pt x="8974" y="10056"/>
                </a:lnTo>
                <a:lnTo>
                  <a:pt x="8974" y="10059"/>
                </a:lnTo>
                <a:lnTo>
                  <a:pt x="8972" y="10056"/>
                </a:lnTo>
                <a:lnTo>
                  <a:pt x="8969" y="10053"/>
                </a:lnTo>
                <a:lnTo>
                  <a:pt x="8969" y="10051"/>
                </a:lnTo>
                <a:close/>
                <a:moveTo>
                  <a:pt x="8936" y="3086"/>
                </a:moveTo>
                <a:lnTo>
                  <a:pt x="8936" y="3089"/>
                </a:lnTo>
                <a:lnTo>
                  <a:pt x="8936" y="3089"/>
                </a:lnTo>
                <a:lnTo>
                  <a:pt x="8935" y="3089"/>
                </a:lnTo>
                <a:lnTo>
                  <a:pt x="8936" y="3086"/>
                </a:lnTo>
                <a:lnTo>
                  <a:pt x="8936" y="3083"/>
                </a:lnTo>
                <a:lnTo>
                  <a:pt x="8937" y="3083"/>
                </a:lnTo>
                <a:lnTo>
                  <a:pt x="8937" y="3085"/>
                </a:lnTo>
                <a:lnTo>
                  <a:pt x="8936" y="3086"/>
                </a:lnTo>
                <a:close/>
                <a:moveTo>
                  <a:pt x="8916" y="10391"/>
                </a:moveTo>
                <a:lnTo>
                  <a:pt x="8890" y="10390"/>
                </a:lnTo>
                <a:lnTo>
                  <a:pt x="8855" y="10385"/>
                </a:lnTo>
                <a:lnTo>
                  <a:pt x="8820" y="10376"/>
                </a:lnTo>
                <a:lnTo>
                  <a:pt x="8799" y="10365"/>
                </a:lnTo>
                <a:lnTo>
                  <a:pt x="8827" y="10375"/>
                </a:lnTo>
                <a:lnTo>
                  <a:pt x="8864" y="10375"/>
                </a:lnTo>
                <a:lnTo>
                  <a:pt x="8898" y="10377"/>
                </a:lnTo>
                <a:lnTo>
                  <a:pt x="8916" y="10391"/>
                </a:lnTo>
                <a:close/>
                <a:moveTo>
                  <a:pt x="8822" y="10190"/>
                </a:moveTo>
                <a:lnTo>
                  <a:pt x="8822" y="10190"/>
                </a:lnTo>
                <a:lnTo>
                  <a:pt x="8822" y="10190"/>
                </a:lnTo>
                <a:close/>
                <a:moveTo>
                  <a:pt x="8782" y="2778"/>
                </a:moveTo>
                <a:lnTo>
                  <a:pt x="8755" y="2765"/>
                </a:lnTo>
                <a:lnTo>
                  <a:pt x="8785" y="2763"/>
                </a:lnTo>
                <a:lnTo>
                  <a:pt x="8838" y="2761"/>
                </a:lnTo>
                <a:lnTo>
                  <a:pt x="8881" y="2749"/>
                </a:lnTo>
                <a:lnTo>
                  <a:pt x="8898" y="2775"/>
                </a:lnTo>
                <a:lnTo>
                  <a:pt x="8866" y="2778"/>
                </a:lnTo>
                <a:lnTo>
                  <a:pt x="8816" y="2773"/>
                </a:lnTo>
                <a:lnTo>
                  <a:pt x="8782" y="2778"/>
                </a:lnTo>
                <a:close/>
                <a:moveTo>
                  <a:pt x="8776" y="10258"/>
                </a:moveTo>
                <a:lnTo>
                  <a:pt x="8776" y="10258"/>
                </a:lnTo>
                <a:lnTo>
                  <a:pt x="8776" y="10258"/>
                </a:lnTo>
                <a:lnTo>
                  <a:pt x="8776" y="10258"/>
                </a:lnTo>
                <a:close/>
                <a:moveTo>
                  <a:pt x="8743" y="2699"/>
                </a:moveTo>
                <a:lnTo>
                  <a:pt x="8741" y="2699"/>
                </a:lnTo>
                <a:lnTo>
                  <a:pt x="8743" y="2699"/>
                </a:lnTo>
                <a:close/>
                <a:moveTo>
                  <a:pt x="8712" y="2581"/>
                </a:moveTo>
                <a:lnTo>
                  <a:pt x="8717" y="2558"/>
                </a:lnTo>
                <a:lnTo>
                  <a:pt x="8732" y="2556"/>
                </a:lnTo>
                <a:lnTo>
                  <a:pt x="8750" y="2569"/>
                </a:lnTo>
                <a:lnTo>
                  <a:pt x="8766" y="2588"/>
                </a:lnTo>
                <a:lnTo>
                  <a:pt x="8755" y="2597"/>
                </a:lnTo>
                <a:lnTo>
                  <a:pt x="8735" y="2600"/>
                </a:lnTo>
                <a:lnTo>
                  <a:pt x="8717" y="2595"/>
                </a:lnTo>
                <a:lnTo>
                  <a:pt x="8712" y="2581"/>
                </a:lnTo>
                <a:close/>
                <a:moveTo>
                  <a:pt x="8721" y="9826"/>
                </a:moveTo>
                <a:lnTo>
                  <a:pt x="8722" y="9824"/>
                </a:lnTo>
                <a:lnTo>
                  <a:pt x="8725" y="9824"/>
                </a:lnTo>
                <a:lnTo>
                  <a:pt x="8723" y="9825"/>
                </a:lnTo>
                <a:lnTo>
                  <a:pt x="8721" y="9826"/>
                </a:lnTo>
                <a:close/>
                <a:moveTo>
                  <a:pt x="8709" y="10414"/>
                </a:moveTo>
                <a:lnTo>
                  <a:pt x="8690" y="10422"/>
                </a:lnTo>
                <a:lnTo>
                  <a:pt x="8670" y="10428"/>
                </a:lnTo>
                <a:lnTo>
                  <a:pt x="8656" y="10426"/>
                </a:lnTo>
                <a:lnTo>
                  <a:pt x="8660" y="10403"/>
                </a:lnTo>
                <a:lnTo>
                  <a:pt x="8675" y="10393"/>
                </a:lnTo>
                <a:lnTo>
                  <a:pt x="8693" y="10393"/>
                </a:lnTo>
                <a:lnTo>
                  <a:pt x="8707" y="10401"/>
                </a:lnTo>
                <a:lnTo>
                  <a:pt x="8709" y="10414"/>
                </a:lnTo>
                <a:close/>
                <a:moveTo>
                  <a:pt x="8659" y="10325"/>
                </a:moveTo>
                <a:lnTo>
                  <a:pt x="8657" y="10325"/>
                </a:lnTo>
                <a:lnTo>
                  <a:pt x="8657" y="10326"/>
                </a:lnTo>
                <a:lnTo>
                  <a:pt x="8657" y="10325"/>
                </a:lnTo>
                <a:lnTo>
                  <a:pt x="8659" y="10324"/>
                </a:lnTo>
                <a:lnTo>
                  <a:pt x="8660" y="10323"/>
                </a:lnTo>
                <a:lnTo>
                  <a:pt x="8660" y="10323"/>
                </a:lnTo>
                <a:lnTo>
                  <a:pt x="8660" y="10323"/>
                </a:lnTo>
                <a:lnTo>
                  <a:pt x="8659" y="10325"/>
                </a:lnTo>
                <a:close/>
                <a:moveTo>
                  <a:pt x="8699" y="9886"/>
                </a:moveTo>
                <a:lnTo>
                  <a:pt x="8701" y="9886"/>
                </a:lnTo>
                <a:lnTo>
                  <a:pt x="8699" y="9886"/>
                </a:lnTo>
                <a:lnTo>
                  <a:pt x="8699" y="9886"/>
                </a:lnTo>
                <a:close/>
                <a:moveTo>
                  <a:pt x="8618" y="2489"/>
                </a:moveTo>
                <a:lnTo>
                  <a:pt x="8531" y="2493"/>
                </a:lnTo>
                <a:lnTo>
                  <a:pt x="8572" y="2466"/>
                </a:lnTo>
                <a:lnTo>
                  <a:pt x="8678" y="2435"/>
                </a:lnTo>
                <a:lnTo>
                  <a:pt x="8783" y="2428"/>
                </a:lnTo>
                <a:lnTo>
                  <a:pt x="8790" y="2441"/>
                </a:lnTo>
                <a:lnTo>
                  <a:pt x="8766" y="2448"/>
                </a:lnTo>
                <a:lnTo>
                  <a:pt x="8732" y="2461"/>
                </a:lnTo>
                <a:lnTo>
                  <a:pt x="8717" y="2488"/>
                </a:lnTo>
                <a:lnTo>
                  <a:pt x="8701" y="2498"/>
                </a:lnTo>
                <a:lnTo>
                  <a:pt x="8680" y="2489"/>
                </a:lnTo>
                <a:lnTo>
                  <a:pt x="8653" y="2480"/>
                </a:lnTo>
                <a:lnTo>
                  <a:pt x="8618" y="2489"/>
                </a:lnTo>
                <a:close/>
                <a:moveTo>
                  <a:pt x="8521" y="10426"/>
                </a:moveTo>
                <a:lnTo>
                  <a:pt x="8522" y="10423"/>
                </a:lnTo>
                <a:lnTo>
                  <a:pt x="8524" y="10422"/>
                </a:lnTo>
                <a:lnTo>
                  <a:pt x="8525" y="10423"/>
                </a:lnTo>
                <a:lnTo>
                  <a:pt x="8521" y="10426"/>
                </a:lnTo>
                <a:close/>
                <a:moveTo>
                  <a:pt x="8512" y="2070"/>
                </a:moveTo>
                <a:lnTo>
                  <a:pt x="8513" y="2071"/>
                </a:lnTo>
                <a:lnTo>
                  <a:pt x="8512" y="2070"/>
                </a:lnTo>
                <a:close/>
                <a:moveTo>
                  <a:pt x="8451" y="10706"/>
                </a:moveTo>
                <a:lnTo>
                  <a:pt x="8464" y="10702"/>
                </a:lnTo>
                <a:lnTo>
                  <a:pt x="8482" y="10698"/>
                </a:lnTo>
                <a:lnTo>
                  <a:pt x="8498" y="10698"/>
                </a:lnTo>
                <a:lnTo>
                  <a:pt x="8508" y="10706"/>
                </a:lnTo>
                <a:lnTo>
                  <a:pt x="8502" y="10715"/>
                </a:lnTo>
                <a:lnTo>
                  <a:pt x="8484" y="10713"/>
                </a:lnTo>
                <a:lnTo>
                  <a:pt x="8464" y="10707"/>
                </a:lnTo>
                <a:lnTo>
                  <a:pt x="8451" y="10706"/>
                </a:lnTo>
                <a:close/>
                <a:moveTo>
                  <a:pt x="8468" y="10824"/>
                </a:moveTo>
                <a:lnTo>
                  <a:pt x="8452" y="10824"/>
                </a:lnTo>
                <a:lnTo>
                  <a:pt x="8454" y="10814"/>
                </a:lnTo>
                <a:lnTo>
                  <a:pt x="8464" y="10810"/>
                </a:lnTo>
                <a:lnTo>
                  <a:pt x="8476" y="10821"/>
                </a:lnTo>
                <a:lnTo>
                  <a:pt x="8471" y="10823"/>
                </a:lnTo>
                <a:lnTo>
                  <a:pt x="8468" y="10824"/>
                </a:lnTo>
                <a:close/>
                <a:moveTo>
                  <a:pt x="8473" y="10610"/>
                </a:moveTo>
                <a:lnTo>
                  <a:pt x="8470" y="10610"/>
                </a:lnTo>
                <a:lnTo>
                  <a:pt x="8469" y="10608"/>
                </a:lnTo>
                <a:lnTo>
                  <a:pt x="8473" y="10610"/>
                </a:lnTo>
                <a:lnTo>
                  <a:pt x="8473" y="10610"/>
                </a:lnTo>
                <a:close/>
                <a:moveTo>
                  <a:pt x="8448" y="2457"/>
                </a:moveTo>
                <a:lnTo>
                  <a:pt x="8461" y="2463"/>
                </a:lnTo>
                <a:lnTo>
                  <a:pt x="8469" y="2483"/>
                </a:lnTo>
                <a:lnTo>
                  <a:pt x="8476" y="2506"/>
                </a:lnTo>
                <a:lnTo>
                  <a:pt x="8489" y="2520"/>
                </a:lnTo>
                <a:lnTo>
                  <a:pt x="8471" y="2520"/>
                </a:lnTo>
                <a:lnTo>
                  <a:pt x="8454" y="2502"/>
                </a:lnTo>
                <a:lnTo>
                  <a:pt x="8443" y="2478"/>
                </a:lnTo>
                <a:lnTo>
                  <a:pt x="8448" y="2457"/>
                </a:lnTo>
                <a:close/>
                <a:moveTo>
                  <a:pt x="8536" y="2001"/>
                </a:moveTo>
                <a:lnTo>
                  <a:pt x="8558" y="1979"/>
                </a:lnTo>
                <a:lnTo>
                  <a:pt x="8590" y="1987"/>
                </a:lnTo>
                <a:lnTo>
                  <a:pt x="8623" y="1999"/>
                </a:lnTo>
                <a:lnTo>
                  <a:pt x="8645" y="1982"/>
                </a:lnTo>
                <a:lnTo>
                  <a:pt x="8647" y="1961"/>
                </a:lnTo>
                <a:lnTo>
                  <a:pt x="8655" y="1935"/>
                </a:lnTo>
                <a:lnTo>
                  <a:pt x="8667" y="1916"/>
                </a:lnTo>
                <a:lnTo>
                  <a:pt x="8685" y="1917"/>
                </a:lnTo>
                <a:lnTo>
                  <a:pt x="8699" y="2001"/>
                </a:lnTo>
                <a:lnTo>
                  <a:pt x="8638" y="2070"/>
                </a:lnTo>
                <a:lnTo>
                  <a:pt x="8562" y="2083"/>
                </a:lnTo>
                <a:lnTo>
                  <a:pt x="8536" y="2001"/>
                </a:lnTo>
                <a:close/>
                <a:moveTo>
                  <a:pt x="8739" y="2075"/>
                </a:moveTo>
                <a:lnTo>
                  <a:pt x="8741" y="2080"/>
                </a:lnTo>
                <a:lnTo>
                  <a:pt x="8739" y="2080"/>
                </a:lnTo>
                <a:lnTo>
                  <a:pt x="8736" y="2080"/>
                </a:lnTo>
                <a:lnTo>
                  <a:pt x="8732" y="2078"/>
                </a:lnTo>
                <a:lnTo>
                  <a:pt x="8731" y="2074"/>
                </a:lnTo>
                <a:lnTo>
                  <a:pt x="8732" y="2071"/>
                </a:lnTo>
                <a:lnTo>
                  <a:pt x="8736" y="2073"/>
                </a:lnTo>
                <a:lnTo>
                  <a:pt x="8739" y="2075"/>
                </a:lnTo>
                <a:close/>
                <a:moveTo>
                  <a:pt x="8792" y="1929"/>
                </a:moveTo>
                <a:lnTo>
                  <a:pt x="8794" y="1930"/>
                </a:lnTo>
                <a:lnTo>
                  <a:pt x="8794" y="1931"/>
                </a:lnTo>
                <a:lnTo>
                  <a:pt x="8792" y="1931"/>
                </a:lnTo>
                <a:lnTo>
                  <a:pt x="8792" y="1931"/>
                </a:lnTo>
                <a:lnTo>
                  <a:pt x="8792" y="1930"/>
                </a:lnTo>
                <a:lnTo>
                  <a:pt x="8792" y="1929"/>
                </a:lnTo>
                <a:close/>
                <a:moveTo>
                  <a:pt x="8848" y="1990"/>
                </a:moveTo>
                <a:lnTo>
                  <a:pt x="8850" y="1984"/>
                </a:lnTo>
                <a:lnTo>
                  <a:pt x="8853" y="1977"/>
                </a:lnTo>
                <a:lnTo>
                  <a:pt x="8858" y="1972"/>
                </a:lnTo>
                <a:lnTo>
                  <a:pt x="8865" y="1973"/>
                </a:lnTo>
                <a:lnTo>
                  <a:pt x="8857" y="1986"/>
                </a:lnTo>
                <a:lnTo>
                  <a:pt x="8851" y="2004"/>
                </a:lnTo>
                <a:lnTo>
                  <a:pt x="8847" y="2010"/>
                </a:lnTo>
                <a:lnTo>
                  <a:pt x="8848" y="1990"/>
                </a:lnTo>
                <a:close/>
                <a:moveTo>
                  <a:pt x="8983" y="2470"/>
                </a:moveTo>
                <a:lnTo>
                  <a:pt x="8992" y="2472"/>
                </a:lnTo>
                <a:lnTo>
                  <a:pt x="8999" y="2480"/>
                </a:lnTo>
                <a:lnTo>
                  <a:pt x="9000" y="2489"/>
                </a:lnTo>
                <a:lnTo>
                  <a:pt x="8996" y="2497"/>
                </a:lnTo>
                <a:lnTo>
                  <a:pt x="8987" y="2492"/>
                </a:lnTo>
                <a:lnTo>
                  <a:pt x="8978" y="2480"/>
                </a:lnTo>
                <a:lnTo>
                  <a:pt x="8976" y="2470"/>
                </a:lnTo>
                <a:lnTo>
                  <a:pt x="8983" y="2470"/>
                </a:lnTo>
                <a:close/>
                <a:moveTo>
                  <a:pt x="9047" y="2957"/>
                </a:moveTo>
                <a:lnTo>
                  <a:pt x="9047" y="2957"/>
                </a:lnTo>
                <a:lnTo>
                  <a:pt x="9047" y="2957"/>
                </a:lnTo>
                <a:lnTo>
                  <a:pt x="9047" y="2956"/>
                </a:lnTo>
                <a:lnTo>
                  <a:pt x="9047" y="2957"/>
                </a:lnTo>
                <a:close/>
                <a:moveTo>
                  <a:pt x="9093" y="2947"/>
                </a:moveTo>
                <a:lnTo>
                  <a:pt x="9104" y="2954"/>
                </a:lnTo>
                <a:lnTo>
                  <a:pt x="9123" y="2969"/>
                </a:lnTo>
                <a:lnTo>
                  <a:pt x="9149" y="2987"/>
                </a:lnTo>
                <a:lnTo>
                  <a:pt x="9176" y="2994"/>
                </a:lnTo>
                <a:lnTo>
                  <a:pt x="9190" y="3043"/>
                </a:lnTo>
                <a:lnTo>
                  <a:pt x="9155" y="3039"/>
                </a:lnTo>
                <a:lnTo>
                  <a:pt x="9109" y="3001"/>
                </a:lnTo>
                <a:lnTo>
                  <a:pt x="9093" y="2947"/>
                </a:lnTo>
                <a:close/>
                <a:moveTo>
                  <a:pt x="9230" y="2371"/>
                </a:moveTo>
                <a:lnTo>
                  <a:pt x="9230" y="2371"/>
                </a:lnTo>
                <a:lnTo>
                  <a:pt x="9230" y="2371"/>
                </a:lnTo>
                <a:lnTo>
                  <a:pt x="9230" y="2371"/>
                </a:lnTo>
                <a:lnTo>
                  <a:pt x="9230" y="2371"/>
                </a:lnTo>
                <a:close/>
                <a:moveTo>
                  <a:pt x="8282" y="10400"/>
                </a:moveTo>
                <a:lnTo>
                  <a:pt x="8284" y="10400"/>
                </a:lnTo>
                <a:lnTo>
                  <a:pt x="8284" y="10403"/>
                </a:lnTo>
                <a:lnTo>
                  <a:pt x="8282" y="10401"/>
                </a:lnTo>
                <a:lnTo>
                  <a:pt x="8282" y="10400"/>
                </a:lnTo>
                <a:close/>
                <a:moveTo>
                  <a:pt x="8190" y="1956"/>
                </a:moveTo>
                <a:lnTo>
                  <a:pt x="8152" y="1943"/>
                </a:lnTo>
                <a:lnTo>
                  <a:pt x="8134" y="1906"/>
                </a:lnTo>
                <a:lnTo>
                  <a:pt x="8122" y="1866"/>
                </a:lnTo>
                <a:lnTo>
                  <a:pt x="8106" y="1844"/>
                </a:lnTo>
                <a:lnTo>
                  <a:pt x="8103" y="1822"/>
                </a:lnTo>
                <a:lnTo>
                  <a:pt x="8148" y="1844"/>
                </a:lnTo>
                <a:lnTo>
                  <a:pt x="8192" y="1893"/>
                </a:lnTo>
                <a:lnTo>
                  <a:pt x="8190" y="1956"/>
                </a:lnTo>
                <a:close/>
                <a:moveTo>
                  <a:pt x="7996" y="1875"/>
                </a:moveTo>
                <a:lnTo>
                  <a:pt x="7995" y="1875"/>
                </a:lnTo>
                <a:lnTo>
                  <a:pt x="7994" y="1873"/>
                </a:lnTo>
                <a:lnTo>
                  <a:pt x="7995" y="1873"/>
                </a:lnTo>
                <a:lnTo>
                  <a:pt x="7996" y="1873"/>
                </a:lnTo>
                <a:lnTo>
                  <a:pt x="7996" y="1874"/>
                </a:lnTo>
                <a:lnTo>
                  <a:pt x="7996" y="1875"/>
                </a:lnTo>
                <a:close/>
                <a:moveTo>
                  <a:pt x="7470" y="11184"/>
                </a:moveTo>
                <a:lnTo>
                  <a:pt x="7488" y="11205"/>
                </a:lnTo>
                <a:lnTo>
                  <a:pt x="7474" y="11210"/>
                </a:lnTo>
                <a:lnTo>
                  <a:pt x="7447" y="11202"/>
                </a:lnTo>
                <a:lnTo>
                  <a:pt x="7425" y="11187"/>
                </a:lnTo>
                <a:lnTo>
                  <a:pt x="7425" y="11165"/>
                </a:lnTo>
                <a:lnTo>
                  <a:pt x="7435" y="11163"/>
                </a:lnTo>
                <a:lnTo>
                  <a:pt x="7451" y="11172"/>
                </a:lnTo>
                <a:lnTo>
                  <a:pt x="7470" y="11184"/>
                </a:lnTo>
                <a:close/>
                <a:moveTo>
                  <a:pt x="7398" y="11318"/>
                </a:moveTo>
                <a:lnTo>
                  <a:pt x="7377" y="11360"/>
                </a:lnTo>
                <a:lnTo>
                  <a:pt x="7332" y="11382"/>
                </a:lnTo>
                <a:lnTo>
                  <a:pt x="7300" y="11379"/>
                </a:lnTo>
                <a:lnTo>
                  <a:pt x="7320" y="11346"/>
                </a:lnTo>
                <a:lnTo>
                  <a:pt x="7358" y="11338"/>
                </a:lnTo>
                <a:lnTo>
                  <a:pt x="7403" y="11318"/>
                </a:lnTo>
                <a:lnTo>
                  <a:pt x="7426" y="11303"/>
                </a:lnTo>
                <a:lnTo>
                  <a:pt x="7398" y="11318"/>
                </a:lnTo>
                <a:close/>
                <a:moveTo>
                  <a:pt x="7425" y="11494"/>
                </a:moveTo>
                <a:lnTo>
                  <a:pt x="7425" y="11494"/>
                </a:lnTo>
                <a:lnTo>
                  <a:pt x="7425" y="11494"/>
                </a:lnTo>
                <a:close/>
                <a:moveTo>
                  <a:pt x="7370" y="11472"/>
                </a:moveTo>
                <a:lnTo>
                  <a:pt x="7337" y="11478"/>
                </a:lnTo>
                <a:lnTo>
                  <a:pt x="7307" y="11481"/>
                </a:lnTo>
                <a:lnTo>
                  <a:pt x="7304" y="11476"/>
                </a:lnTo>
                <a:lnTo>
                  <a:pt x="7342" y="11459"/>
                </a:lnTo>
                <a:lnTo>
                  <a:pt x="7367" y="11435"/>
                </a:lnTo>
                <a:lnTo>
                  <a:pt x="7391" y="11440"/>
                </a:lnTo>
                <a:lnTo>
                  <a:pt x="7398" y="11458"/>
                </a:lnTo>
                <a:lnTo>
                  <a:pt x="7370" y="11472"/>
                </a:lnTo>
                <a:close/>
                <a:moveTo>
                  <a:pt x="7344" y="11557"/>
                </a:moveTo>
                <a:lnTo>
                  <a:pt x="7344" y="11556"/>
                </a:lnTo>
                <a:lnTo>
                  <a:pt x="7344" y="11557"/>
                </a:lnTo>
                <a:lnTo>
                  <a:pt x="7346" y="11557"/>
                </a:lnTo>
                <a:lnTo>
                  <a:pt x="7344" y="11557"/>
                </a:lnTo>
                <a:close/>
                <a:moveTo>
                  <a:pt x="7329" y="1921"/>
                </a:moveTo>
                <a:lnTo>
                  <a:pt x="7343" y="1911"/>
                </a:lnTo>
                <a:lnTo>
                  <a:pt x="7356" y="1905"/>
                </a:lnTo>
                <a:lnTo>
                  <a:pt x="7370" y="1901"/>
                </a:lnTo>
                <a:lnTo>
                  <a:pt x="7386" y="1905"/>
                </a:lnTo>
                <a:lnTo>
                  <a:pt x="7402" y="1933"/>
                </a:lnTo>
                <a:lnTo>
                  <a:pt x="7372" y="1954"/>
                </a:lnTo>
                <a:lnTo>
                  <a:pt x="7335" y="1956"/>
                </a:lnTo>
                <a:lnTo>
                  <a:pt x="7329" y="1921"/>
                </a:lnTo>
                <a:close/>
                <a:moveTo>
                  <a:pt x="7506" y="11137"/>
                </a:moveTo>
                <a:lnTo>
                  <a:pt x="7507" y="11138"/>
                </a:lnTo>
                <a:lnTo>
                  <a:pt x="7507" y="11138"/>
                </a:lnTo>
                <a:lnTo>
                  <a:pt x="7507" y="11138"/>
                </a:lnTo>
                <a:lnTo>
                  <a:pt x="7506" y="11138"/>
                </a:lnTo>
                <a:lnTo>
                  <a:pt x="7505" y="11137"/>
                </a:lnTo>
                <a:lnTo>
                  <a:pt x="7505" y="11137"/>
                </a:lnTo>
                <a:lnTo>
                  <a:pt x="7505" y="11137"/>
                </a:lnTo>
                <a:lnTo>
                  <a:pt x="7506" y="11137"/>
                </a:lnTo>
                <a:close/>
                <a:moveTo>
                  <a:pt x="7560" y="11037"/>
                </a:moveTo>
                <a:lnTo>
                  <a:pt x="7558" y="11037"/>
                </a:lnTo>
                <a:lnTo>
                  <a:pt x="7558" y="11037"/>
                </a:lnTo>
                <a:lnTo>
                  <a:pt x="7560" y="11037"/>
                </a:lnTo>
                <a:lnTo>
                  <a:pt x="7560" y="11037"/>
                </a:lnTo>
                <a:close/>
                <a:moveTo>
                  <a:pt x="7675" y="11276"/>
                </a:moveTo>
                <a:lnTo>
                  <a:pt x="7675" y="11278"/>
                </a:lnTo>
                <a:lnTo>
                  <a:pt x="7673" y="11280"/>
                </a:lnTo>
                <a:lnTo>
                  <a:pt x="7669" y="11280"/>
                </a:lnTo>
                <a:lnTo>
                  <a:pt x="7666" y="11280"/>
                </a:lnTo>
                <a:lnTo>
                  <a:pt x="7665" y="11278"/>
                </a:lnTo>
                <a:lnTo>
                  <a:pt x="7669" y="11277"/>
                </a:lnTo>
                <a:lnTo>
                  <a:pt x="7673" y="11276"/>
                </a:lnTo>
                <a:lnTo>
                  <a:pt x="7675" y="11276"/>
                </a:lnTo>
                <a:close/>
                <a:moveTo>
                  <a:pt x="8120" y="11365"/>
                </a:moveTo>
                <a:lnTo>
                  <a:pt x="8145" y="11364"/>
                </a:lnTo>
                <a:lnTo>
                  <a:pt x="8167" y="11350"/>
                </a:lnTo>
                <a:lnTo>
                  <a:pt x="8187" y="11332"/>
                </a:lnTo>
                <a:lnTo>
                  <a:pt x="8208" y="11322"/>
                </a:lnTo>
                <a:lnTo>
                  <a:pt x="8214" y="11362"/>
                </a:lnTo>
                <a:lnTo>
                  <a:pt x="8167" y="11392"/>
                </a:lnTo>
                <a:lnTo>
                  <a:pt x="8119" y="11397"/>
                </a:lnTo>
                <a:lnTo>
                  <a:pt x="8120" y="11365"/>
                </a:lnTo>
                <a:close/>
                <a:moveTo>
                  <a:pt x="8164" y="11411"/>
                </a:moveTo>
                <a:lnTo>
                  <a:pt x="8163" y="11411"/>
                </a:lnTo>
                <a:lnTo>
                  <a:pt x="8164" y="11411"/>
                </a:lnTo>
                <a:lnTo>
                  <a:pt x="8164" y="11411"/>
                </a:lnTo>
                <a:close/>
                <a:moveTo>
                  <a:pt x="7464" y="11589"/>
                </a:moveTo>
                <a:lnTo>
                  <a:pt x="7465" y="11588"/>
                </a:lnTo>
                <a:lnTo>
                  <a:pt x="7465" y="11588"/>
                </a:lnTo>
                <a:lnTo>
                  <a:pt x="7465" y="11588"/>
                </a:lnTo>
                <a:lnTo>
                  <a:pt x="7464" y="11589"/>
                </a:lnTo>
                <a:lnTo>
                  <a:pt x="7464" y="11590"/>
                </a:lnTo>
                <a:lnTo>
                  <a:pt x="7463" y="11590"/>
                </a:lnTo>
                <a:lnTo>
                  <a:pt x="7463" y="11590"/>
                </a:lnTo>
                <a:lnTo>
                  <a:pt x="7464" y="11589"/>
                </a:lnTo>
                <a:close/>
                <a:moveTo>
                  <a:pt x="7254" y="11128"/>
                </a:moveTo>
                <a:lnTo>
                  <a:pt x="7255" y="11133"/>
                </a:lnTo>
                <a:lnTo>
                  <a:pt x="7260" y="11140"/>
                </a:lnTo>
                <a:lnTo>
                  <a:pt x="7267" y="11146"/>
                </a:lnTo>
                <a:lnTo>
                  <a:pt x="7273" y="11154"/>
                </a:lnTo>
                <a:lnTo>
                  <a:pt x="7267" y="11149"/>
                </a:lnTo>
                <a:lnTo>
                  <a:pt x="7260" y="11145"/>
                </a:lnTo>
                <a:lnTo>
                  <a:pt x="7255" y="11138"/>
                </a:lnTo>
                <a:lnTo>
                  <a:pt x="7254" y="11128"/>
                </a:lnTo>
                <a:close/>
                <a:moveTo>
                  <a:pt x="7217" y="11314"/>
                </a:moveTo>
                <a:lnTo>
                  <a:pt x="7222" y="11308"/>
                </a:lnTo>
                <a:lnTo>
                  <a:pt x="7233" y="11309"/>
                </a:lnTo>
                <a:lnTo>
                  <a:pt x="7245" y="11312"/>
                </a:lnTo>
                <a:lnTo>
                  <a:pt x="7250" y="11313"/>
                </a:lnTo>
                <a:lnTo>
                  <a:pt x="7244" y="11318"/>
                </a:lnTo>
                <a:lnTo>
                  <a:pt x="7232" y="11318"/>
                </a:lnTo>
                <a:lnTo>
                  <a:pt x="7222" y="11317"/>
                </a:lnTo>
                <a:lnTo>
                  <a:pt x="7217" y="11314"/>
                </a:lnTo>
                <a:close/>
                <a:moveTo>
                  <a:pt x="7228" y="11460"/>
                </a:moveTo>
                <a:lnTo>
                  <a:pt x="7228" y="11460"/>
                </a:lnTo>
                <a:lnTo>
                  <a:pt x="7228" y="11460"/>
                </a:lnTo>
                <a:lnTo>
                  <a:pt x="7228" y="11460"/>
                </a:lnTo>
                <a:lnTo>
                  <a:pt x="7228" y="11460"/>
                </a:lnTo>
                <a:close/>
                <a:moveTo>
                  <a:pt x="7228" y="11460"/>
                </a:moveTo>
                <a:lnTo>
                  <a:pt x="7228" y="11460"/>
                </a:lnTo>
                <a:lnTo>
                  <a:pt x="7228" y="11460"/>
                </a:lnTo>
                <a:lnTo>
                  <a:pt x="7228" y="11460"/>
                </a:lnTo>
                <a:close/>
                <a:moveTo>
                  <a:pt x="7217" y="2158"/>
                </a:moveTo>
                <a:lnTo>
                  <a:pt x="7212" y="2175"/>
                </a:lnTo>
                <a:lnTo>
                  <a:pt x="7207" y="2186"/>
                </a:lnTo>
                <a:lnTo>
                  <a:pt x="7197" y="2192"/>
                </a:lnTo>
                <a:lnTo>
                  <a:pt x="7177" y="2197"/>
                </a:lnTo>
                <a:lnTo>
                  <a:pt x="7174" y="2168"/>
                </a:lnTo>
                <a:lnTo>
                  <a:pt x="7193" y="2129"/>
                </a:lnTo>
                <a:lnTo>
                  <a:pt x="7203" y="2092"/>
                </a:lnTo>
                <a:lnTo>
                  <a:pt x="7175" y="2069"/>
                </a:lnTo>
                <a:lnTo>
                  <a:pt x="7217" y="2038"/>
                </a:lnTo>
                <a:lnTo>
                  <a:pt x="7240" y="2063"/>
                </a:lnTo>
                <a:lnTo>
                  <a:pt x="7241" y="2112"/>
                </a:lnTo>
                <a:lnTo>
                  <a:pt x="7217" y="2158"/>
                </a:lnTo>
                <a:close/>
                <a:moveTo>
                  <a:pt x="7166" y="11686"/>
                </a:moveTo>
                <a:lnTo>
                  <a:pt x="7169" y="11686"/>
                </a:lnTo>
                <a:lnTo>
                  <a:pt x="7171" y="11685"/>
                </a:lnTo>
                <a:lnTo>
                  <a:pt x="7169" y="11686"/>
                </a:lnTo>
                <a:lnTo>
                  <a:pt x="7166" y="11686"/>
                </a:lnTo>
                <a:close/>
                <a:moveTo>
                  <a:pt x="7079" y="11602"/>
                </a:moveTo>
                <a:lnTo>
                  <a:pt x="7091" y="11602"/>
                </a:lnTo>
                <a:lnTo>
                  <a:pt x="7102" y="11601"/>
                </a:lnTo>
                <a:lnTo>
                  <a:pt x="7115" y="11601"/>
                </a:lnTo>
                <a:lnTo>
                  <a:pt x="7124" y="11602"/>
                </a:lnTo>
                <a:lnTo>
                  <a:pt x="7119" y="11607"/>
                </a:lnTo>
                <a:lnTo>
                  <a:pt x="7102" y="11609"/>
                </a:lnTo>
                <a:lnTo>
                  <a:pt x="7084" y="11608"/>
                </a:lnTo>
                <a:lnTo>
                  <a:pt x="7079" y="11602"/>
                </a:lnTo>
                <a:close/>
                <a:moveTo>
                  <a:pt x="7044" y="1777"/>
                </a:moveTo>
                <a:lnTo>
                  <a:pt x="6924" y="1781"/>
                </a:lnTo>
                <a:lnTo>
                  <a:pt x="6877" y="1788"/>
                </a:lnTo>
                <a:lnTo>
                  <a:pt x="6862" y="1767"/>
                </a:lnTo>
                <a:lnTo>
                  <a:pt x="6837" y="1690"/>
                </a:lnTo>
                <a:lnTo>
                  <a:pt x="6867" y="1704"/>
                </a:lnTo>
                <a:lnTo>
                  <a:pt x="6901" y="1724"/>
                </a:lnTo>
                <a:lnTo>
                  <a:pt x="6928" y="1728"/>
                </a:lnTo>
                <a:lnTo>
                  <a:pt x="6935" y="1693"/>
                </a:lnTo>
                <a:lnTo>
                  <a:pt x="6946" y="1681"/>
                </a:lnTo>
                <a:lnTo>
                  <a:pt x="6957" y="1702"/>
                </a:lnTo>
                <a:lnTo>
                  <a:pt x="6976" y="1728"/>
                </a:lnTo>
                <a:lnTo>
                  <a:pt x="7012" y="1729"/>
                </a:lnTo>
                <a:lnTo>
                  <a:pt x="7078" y="1720"/>
                </a:lnTo>
                <a:lnTo>
                  <a:pt x="7119" y="1749"/>
                </a:lnTo>
                <a:lnTo>
                  <a:pt x="7113" y="1780"/>
                </a:lnTo>
                <a:lnTo>
                  <a:pt x="7044" y="1777"/>
                </a:lnTo>
                <a:close/>
                <a:moveTo>
                  <a:pt x="6896" y="11370"/>
                </a:moveTo>
                <a:lnTo>
                  <a:pt x="6893" y="11371"/>
                </a:lnTo>
                <a:lnTo>
                  <a:pt x="6893" y="11370"/>
                </a:lnTo>
                <a:lnTo>
                  <a:pt x="6893" y="11370"/>
                </a:lnTo>
                <a:lnTo>
                  <a:pt x="6895" y="11369"/>
                </a:lnTo>
                <a:lnTo>
                  <a:pt x="6896" y="11369"/>
                </a:lnTo>
                <a:lnTo>
                  <a:pt x="6897" y="11369"/>
                </a:lnTo>
                <a:lnTo>
                  <a:pt x="6896" y="11369"/>
                </a:lnTo>
                <a:lnTo>
                  <a:pt x="6896" y="11370"/>
                </a:lnTo>
                <a:close/>
                <a:moveTo>
                  <a:pt x="6915" y="11422"/>
                </a:moveTo>
                <a:lnTo>
                  <a:pt x="6918" y="11422"/>
                </a:lnTo>
                <a:lnTo>
                  <a:pt x="6919" y="11424"/>
                </a:lnTo>
                <a:lnTo>
                  <a:pt x="6919" y="11425"/>
                </a:lnTo>
                <a:lnTo>
                  <a:pt x="6920" y="11427"/>
                </a:lnTo>
                <a:lnTo>
                  <a:pt x="6919" y="11429"/>
                </a:lnTo>
                <a:lnTo>
                  <a:pt x="6915" y="11426"/>
                </a:lnTo>
                <a:lnTo>
                  <a:pt x="6913" y="11424"/>
                </a:lnTo>
                <a:lnTo>
                  <a:pt x="6915" y="11422"/>
                </a:lnTo>
                <a:close/>
                <a:moveTo>
                  <a:pt x="6902" y="11485"/>
                </a:moveTo>
                <a:lnTo>
                  <a:pt x="6909" y="11478"/>
                </a:lnTo>
                <a:lnTo>
                  <a:pt x="6921" y="11467"/>
                </a:lnTo>
                <a:lnTo>
                  <a:pt x="6932" y="11466"/>
                </a:lnTo>
                <a:lnTo>
                  <a:pt x="6934" y="11487"/>
                </a:lnTo>
                <a:lnTo>
                  <a:pt x="6927" y="11503"/>
                </a:lnTo>
                <a:lnTo>
                  <a:pt x="6916" y="11508"/>
                </a:lnTo>
                <a:lnTo>
                  <a:pt x="6906" y="11501"/>
                </a:lnTo>
                <a:lnTo>
                  <a:pt x="6902" y="11485"/>
                </a:lnTo>
                <a:close/>
                <a:moveTo>
                  <a:pt x="6933" y="1872"/>
                </a:moveTo>
                <a:lnTo>
                  <a:pt x="6934" y="1875"/>
                </a:lnTo>
                <a:lnTo>
                  <a:pt x="6934" y="1878"/>
                </a:lnTo>
                <a:lnTo>
                  <a:pt x="6933" y="1878"/>
                </a:lnTo>
                <a:lnTo>
                  <a:pt x="6930" y="1874"/>
                </a:lnTo>
                <a:lnTo>
                  <a:pt x="6928" y="1869"/>
                </a:lnTo>
                <a:lnTo>
                  <a:pt x="6928" y="1866"/>
                </a:lnTo>
                <a:lnTo>
                  <a:pt x="6929" y="1868"/>
                </a:lnTo>
                <a:lnTo>
                  <a:pt x="6933" y="1872"/>
                </a:lnTo>
                <a:close/>
                <a:moveTo>
                  <a:pt x="6928" y="10973"/>
                </a:moveTo>
                <a:lnTo>
                  <a:pt x="6906" y="10977"/>
                </a:lnTo>
                <a:lnTo>
                  <a:pt x="6881" y="10979"/>
                </a:lnTo>
                <a:lnTo>
                  <a:pt x="6862" y="10988"/>
                </a:lnTo>
                <a:lnTo>
                  <a:pt x="6859" y="11011"/>
                </a:lnTo>
                <a:lnTo>
                  <a:pt x="6850" y="10972"/>
                </a:lnTo>
                <a:lnTo>
                  <a:pt x="6885" y="10942"/>
                </a:lnTo>
                <a:lnTo>
                  <a:pt x="6923" y="10937"/>
                </a:lnTo>
                <a:lnTo>
                  <a:pt x="6928" y="10973"/>
                </a:lnTo>
                <a:close/>
                <a:moveTo>
                  <a:pt x="6979" y="11636"/>
                </a:moveTo>
                <a:lnTo>
                  <a:pt x="6937" y="11667"/>
                </a:lnTo>
                <a:lnTo>
                  <a:pt x="6849" y="11685"/>
                </a:lnTo>
                <a:lnTo>
                  <a:pt x="6766" y="11677"/>
                </a:lnTo>
                <a:lnTo>
                  <a:pt x="6744" y="11639"/>
                </a:lnTo>
                <a:lnTo>
                  <a:pt x="6798" y="11650"/>
                </a:lnTo>
                <a:lnTo>
                  <a:pt x="6876" y="11627"/>
                </a:lnTo>
                <a:lnTo>
                  <a:pt x="6947" y="11608"/>
                </a:lnTo>
                <a:lnTo>
                  <a:pt x="6979" y="11636"/>
                </a:lnTo>
                <a:close/>
                <a:moveTo>
                  <a:pt x="6862" y="11744"/>
                </a:moveTo>
                <a:lnTo>
                  <a:pt x="6860" y="11746"/>
                </a:lnTo>
                <a:lnTo>
                  <a:pt x="6860" y="11746"/>
                </a:lnTo>
                <a:lnTo>
                  <a:pt x="6860" y="11746"/>
                </a:lnTo>
                <a:lnTo>
                  <a:pt x="6862" y="11744"/>
                </a:lnTo>
                <a:lnTo>
                  <a:pt x="6864" y="11742"/>
                </a:lnTo>
                <a:lnTo>
                  <a:pt x="6864" y="11742"/>
                </a:lnTo>
                <a:lnTo>
                  <a:pt x="6864" y="11743"/>
                </a:lnTo>
                <a:lnTo>
                  <a:pt x="6862" y="11744"/>
                </a:lnTo>
                <a:close/>
                <a:moveTo>
                  <a:pt x="6779" y="11825"/>
                </a:moveTo>
                <a:lnTo>
                  <a:pt x="6779" y="11825"/>
                </a:lnTo>
                <a:lnTo>
                  <a:pt x="6779" y="11825"/>
                </a:lnTo>
                <a:lnTo>
                  <a:pt x="6779" y="11825"/>
                </a:lnTo>
                <a:lnTo>
                  <a:pt x="6779" y="11825"/>
                </a:lnTo>
                <a:close/>
                <a:moveTo>
                  <a:pt x="6724" y="11531"/>
                </a:moveTo>
                <a:lnTo>
                  <a:pt x="6741" y="11529"/>
                </a:lnTo>
                <a:lnTo>
                  <a:pt x="6760" y="11532"/>
                </a:lnTo>
                <a:lnTo>
                  <a:pt x="6775" y="11541"/>
                </a:lnTo>
                <a:lnTo>
                  <a:pt x="6776" y="11557"/>
                </a:lnTo>
                <a:lnTo>
                  <a:pt x="6762" y="11555"/>
                </a:lnTo>
                <a:lnTo>
                  <a:pt x="6743" y="11551"/>
                </a:lnTo>
                <a:lnTo>
                  <a:pt x="6728" y="11543"/>
                </a:lnTo>
                <a:lnTo>
                  <a:pt x="6724" y="11531"/>
                </a:lnTo>
                <a:close/>
                <a:moveTo>
                  <a:pt x="6622" y="11471"/>
                </a:moveTo>
                <a:lnTo>
                  <a:pt x="6613" y="11499"/>
                </a:lnTo>
                <a:lnTo>
                  <a:pt x="6597" y="11525"/>
                </a:lnTo>
                <a:lnTo>
                  <a:pt x="6580" y="11552"/>
                </a:lnTo>
                <a:lnTo>
                  <a:pt x="6569" y="11579"/>
                </a:lnTo>
                <a:lnTo>
                  <a:pt x="6523" y="11531"/>
                </a:lnTo>
                <a:lnTo>
                  <a:pt x="6531" y="11458"/>
                </a:lnTo>
                <a:lnTo>
                  <a:pt x="6571" y="11418"/>
                </a:lnTo>
                <a:lnTo>
                  <a:pt x="6622" y="11471"/>
                </a:lnTo>
                <a:close/>
                <a:moveTo>
                  <a:pt x="6611" y="11655"/>
                </a:moveTo>
                <a:lnTo>
                  <a:pt x="6611" y="11657"/>
                </a:lnTo>
                <a:lnTo>
                  <a:pt x="6611" y="11657"/>
                </a:lnTo>
                <a:lnTo>
                  <a:pt x="6612" y="11654"/>
                </a:lnTo>
                <a:lnTo>
                  <a:pt x="6611" y="11655"/>
                </a:lnTo>
                <a:close/>
                <a:moveTo>
                  <a:pt x="5784" y="1711"/>
                </a:moveTo>
                <a:lnTo>
                  <a:pt x="5759" y="1721"/>
                </a:lnTo>
                <a:lnTo>
                  <a:pt x="5715" y="1705"/>
                </a:lnTo>
                <a:lnTo>
                  <a:pt x="5671" y="1676"/>
                </a:lnTo>
                <a:lnTo>
                  <a:pt x="5640" y="1649"/>
                </a:lnTo>
                <a:lnTo>
                  <a:pt x="5680" y="1625"/>
                </a:lnTo>
                <a:lnTo>
                  <a:pt x="5724" y="1636"/>
                </a:lnTo>
                <a:lnTo>
                  <a:pt x="5763" y="1670"/>
                </a:lnTo>
                <a:lnTo>
                  <a:pt x="5784" y="1711"/>
                </a:lnTo>
                <a:close/>
                <a:moveTo>
                  <a:pt x="5735" y="11217"/>
                </a:moveTo>
                <a:lnTo>
                  <a:pt x="5733" y="11219"/>
                </a:lnTo>
                <a:lnTo>
                  <a:pt x="5733" y="11219"/>
                </a:lnTo>
                <a:lnTo>
                  <a:pt x="5732" y="11219"/>
                </a:lnTo>
                <a:lnTo>
                  <a:pt x="5732" y="11217"/>
                </a:lnTo>
                <a:lnTo>
                  <a:pt x="5733" y="11216"/>
                </a:lnTo>
                <a:lnTo>
                  <a:pt x="5735" y="11217"/>
                </a:lnTo>
                <a:close/>
                <a:moveTo>
                  <a:pt x="5782" y="11394"/>
                </a:moveTo>
                <a:lnTo>
                  <a:pt x="5718" y="11416"/>
                </a:lnTo>
                <a:lnTo>
                  <a:pt x="5652" y="11413"/>
                </a:lnTo>
                <a:lnTo>
                  <a:pt x="5593" y="11402"/>
                </a:lnTo>
                <a:lnTo>
                  <a:pt x="5554" y="11393"/>
                </a:lnTo>
                <a:lnTo>
                  <a:pt x="5598" y="11357"/>
                </a:lnTo>
                <a:lnTo>
                  <a:pt x="5644" y="11314"/>
                </a:lnTo>
                <a:lnTo>
                  <a:pt x="5666" y="11270"/>
                </a:lnTo>
                <a:lnTo>
                  <a:pt x="5638" y="11229"/>
                </a:lnTo>
                <a:lnTo>
                  <a:pt x="5647" y="11202"/>
                </a:lnTo>
                <a:lnTo>
                  <a:pt x="5665" y="11231"/>
                </a:lnTo>
                <a:lnTo>
                  <a:pt x="5684" y="11284"/>
                </a:lnTo>
                <a:lnTo>
                  <a:pt x="5698" y="11322"/>
                </a:lnTo>
                <a:lnTo>
                  <a:pt x="5708" y="11347"/>
                </a:lnTo>
                <a:lnTo>
                  <a:pt x="5741" y="11351"/>
                </a:lnTo>
                <a:lnTo>
                  <a:pt x="5773" y="11359"/>
                </a:lnTo>
                <a:lnTo>
                  <a:pt x="5782" y="11394"/>
                </a:lnTo>
                <a:close/>
                <a:moveTo>
                  <a:pt x="5558" y="11472"/>
                </a:moveTo>
                <a:lnTo>
                  <a:pt x="5535" y="11478"/>
                </a:lnTo>
                <a:lnTo>
                  <a:pt x="5519" y="11478"/>
                </a:lnTo>
                <a:lnTo>
                  <a:pt x="5519" y="11473"/>
                </a:lnTo>
                <a:lnTo>
                  <a:pt x="5540" y="11460"/>
                </a:lnTo>
                <a:lnTo>
                  <a:pt x="5561" y="11464"/>
                </a:lnTo>
                <a:lnTo>
                  <a:pt x="5580" y="11476"/>
                </a:lnTo>
                <a:lnTo>
                  <a:pt x="5584" y="11482"/>
                </a:lnTo>
                <a:lnTo>
                  <a:pt x="5558" y="11472"/>
                </a:lnTo>
                <a:close/>
                <a:moveTo>
                  <a:pt x="5490" y="1780"/>
                </a:moveTo>
                <a:lnTo>
                  <a:pt x="5457" y="1812"/>
                </a:lnTo>
                <a:lnTo>
                  <a:pt x="5405" y="1832"/>
                </a:lnTo>
                <a:lnTo>
                  <a:pt x="5358" y="1835"/>
                </a:lnTo>
                <a:lnTo>
                  <a:pt x="5342" y="1805"/>
                </a:lnTo>
                <a:lnTo>
                  <a:pt x="5395" y="1775"/>
                </a:lnTo>
                <a:lnTo>
                  <a:pt x="5396" y="1751"/>
                </a:lnTo>
                <a:lnTo>
                  <a:pt x="5381" y="1730"/>
                </a:lnTo>
                <a:lnTo>
                  <a:pt x="5381" y="1710"/>
                </a:lnTo>
                <a:lnTo>
                  <a:pt x="5437" y="1700"/>
                </a:lnTo>
                <a:lnTo>
                  <a:pt x="5493" y="1712"/>
                </a:lnTo>
                <a:lnTo>
                  <a:pt x="5519" y="1742"/>
                </a:lnTo>
                <a:lnTo>
                  <a:pt x="5490" y="1780"/>
                </a:lnTo>
                <a:close/>
                <a:moveTo>
                  <a:pt x="5391" y="1907"/>
                </a:moveTo>
                <a:lnTo>
                  <a:pt x="5284" y="1965"/>
                </a:lnTo>
                <a:lnTo>
                  <a:pt x="5160" y="1993"/>
                </a:lnTo>
                <a:lnTo>
                  <a:pt x="5028" y="2023"/>
                </a:lnTo>
                <a:lnTo>
                  <a:pt x="4894" y="2088"/>
                </a:lnTo>
                <a:lnTo>
                  <a:pt x="5000" y="2140"/>
                </a:lnTo>
                <a:lnTo>
                  <a:pt x="5030" y="2185"/>
                </a:lnTo>
                <a:lnTo>
                  <a:pt x="4978" y="2219"/>
                </a:lnTo>
                <a:lnTo>
                  <a:pt x="4829" y="2236"/>
                </a:lnTo>
                <a:lnTo>
                  <a:pt x="4734" y="2231"/>
                </a:lnTo>
                <a:lnTo>
                  <a:pt x="4755" y="2199"/>
                </a:lnTo>
                <a:lnTo>
                  <a:pt x="4804" y="2149"/>
                </a:lnTo>
                <a:lnTo>
                  <a:pt x="4785" y="2092"/>
                </a:lnTo>
                <a:lnTo>
                  <a:pt x="4787" y="2085"/>
                </a:lnTo>
                <a:lnTo>
                  <a:pt x="4796" y="2078"/>
                </a:lnTo>
                <a:lnTo>
                  <a:pt x="4809" y="2069"/>
                </a:lnTo>
                <a:lnTo>
                  <a:pt x="4819" y="2065"/>
                </a:lnTo>
                <a:lnTo>
                  <a:pt x="4944" y="2015"/>
                </a:lnTo>
                <a:lnTo>
                  <a:pt x="5080" y="1938"/>
                </a:lnTo>
                <a:lnTo>
                  <a:pt x="5228" y="1886"/>
                </a:lnTo>
                <a:lnTo>
                  <a:pt x="5391" y="1907"/>
                </a:lnTo>
                <a:close/>
                <a:moveTo>
                  <a:pt x="5314" y="11387"/>
                </a:moveTo>
                <a:lnTo>
                  <a:pt x="5300" y="11397"/>
                </a:lnTo>
                <a:lnTo>
                  <a:pt x="5289" y="11406"/>
                </a:lnTo>
                <a:lnTo>
                  <a:pt x="5279" y="11410"/>
                </a:lnTo>
                <a:lnTo>
                  <a:pt x="5268" y="11399"/>
                </a:lnTo>
                <a:lnTo>
                  <a:pt x="5274" y="11375"/>
                </a:lnTo>
                <a:lnTo>
                  <a:pt x="5299" y="11356"/>
                </a:lnTo>
                <a:lnTo>
                  <a:pt x="5322" y="11356"/>
                </a:lnTo>
                <a:lnTo>
                  <a:pt x="5314" y="11387"/>
                </a:lnTo>
                <a:close/>
                <a:moveTo>
                  <a:pt x="5181" y="11401"/>
                </a:moveTo>
                <a:lnTo>
                  <a:pt x="5187" y="11401"/>
                </a:lnTo>
                <a:lnTo>
                  <a:pt x="5192" y="11404"/>
                </a:lnTo>
                <a:lnTo>
                  <a:pt x="5196" y="11410"/>
                </a:lnTo>
                <a:lnTo>
                  <a:pt x="5200" y="11415"/>
                </a:lnTo>
                <a:lnTo>
                  <a:pt x="5190" y="11408"/>
                </a:lnTo>
                <a:lnTo>
                  <a:pt x="5181" y="11401"/>
                </a:lnTo>
                <a:close/>
                <a:moveTo>
                  <a:pt x="5503" y="1515"/>
                </a:moveTo>
                <a:lnTo>
                  <a:pt x="5526" y="1519"/>
                </a:lnTo>
                <a:lnTo>
                  <a:pt x="5555" y="1528"/>
                </a:lnTo>
                <a:lnTo>
                  <a:pt x="5578" y="1539"/>
                </a:lnTo>
                <a:lnTo>
                  <a:pt x="5579" y="1555"/>
                </a:lnTo>
                <a:lnTo>
                  <a:pt x="5545" y="1579"/>
                </a:lnTo>
                <a:lnTo>
                  <a:pt x="5510" y="1576"/>
                </a:lnTo>
                <a:lnTo>
                  <a:pt x="5491" y="1555"/>
                </a:lnTo>
                <a:lnTo>
                  <a:pt x="5503" y="1515"/>
                </a:lnTo>
                <a:close/>
                <a:moveTo>
                  <a:pt x="5573" y="1789"/>
                </a:moveTo>
                <a:lnTo>
                  <a:pt x="5573" y="1788"/>
                </a:lnTo>
                <a:lnTo>
                  <a:pt x="5573" y="1786"/>
                </a:lnTo>
                <a:lnTo>
                  <a:pt x="5573" y="1788"/>
                </a:lnTo>
                <a:lnTo>
                  <a:pt x="5573" y="1789"/>
                </a:lnTo>
                <a:close/>
                <a:moveTo>
                  <a:pt x="5633" y="11113"/>
                </a:moveTo>
                <a:lnTo>
                  <a:pt x="5619" y="11108"/>
                </a:lnTo>
                <a:lnTo>
                  <a:pt x="5605" y="11105"/>
                </a:lnTo>
                <a:lnTo>
                  <a:pt x="5589" y="11105"/>
                </a:lnTo>
                <a:lnTo>
                  <a:pt x="5575" y="11105"/>
                </a:lnTo>
                <a:lnTo>
                  <a:pt x="5584" y="11100"/>
                </a:lnTo>
                <a:lnTo>
                  <a:pt x="5602" y="11100"/>
                </a:lnTo>
                <a:lnTo>
                  <a:pt x="5621" y="11105"/>
                </a:lnTo>
                <a:lnTo>
                  <a:pt x="5633" y="11113"/>
                </a:lnTo>
                <a:close/>
                <a:moveTo>
                  <a:pt x="5626" y="1762"/>
                </a:moveTo>
                <a:lnTo>
                  <a:pt x="5656" y="1770"/>
                </a:lnTo>
                <a:lnTo>
                  <a:pt x="5638" y="1776"/>
                </a:lnTo>
                <a:lnTo>
                  <a:pt x="5601" y="1781"/>
                </a:lnTo>
                <a:lnTo>
                  <a:pt x="5573" y="1786"/>
                </a:lnTo>
                <a:lnTo>
                  <a:pt x="5565" y="1762"/>
                </a:lnTo>
                <a:lnTo>
                  <a:pt x="5577" y="1756"/>
                </a:lnTo>
                <a:lnTo>
                  <a:pt x="5600" y="1758"/>
                </a:lnTo>
                <a:lnTo>
                  <a:pt x="5626" y="1762"/>
                </a:lnTo>
                <a:close/>
                <a:moveTo>
                  <a:pt x="4650" y="10992"/>
                </a:moveTo>
                <a:lnTo>
                  <a:pt x="4609" y="10988"/>
                </a:lnTo>
                <a:lnTo>
                  <a:pt x="4599" y="10973"/>
                </a:lnTo>
                <a:lnTo>
                  <a:pt x="4608" y="10949"/>
                </a:lnTo>
                <a:lnTo>
                  <a:pt x="4620" y="10920"/>
                </a:lnTo>
                <a:lnTo>
                  <a:pt x="4638" y="10942"/>
                </a:lnTo>
                <a:lnTo>
                  <a:pt x="4664" y="10960"/>
                </a:lnTo>
                <a:lnTo>
                  <a:pt x="4674" y="10977"/>
                </a:lnTo>
                <a:lnTo>
                  <a:pt x="4650" y="10992"/>
                </a:lnTo>
                <a:close/>
                <a:moveTo>
                  <a:pt x="4588" y="11295"/>
                </a:moveTo>
                <a:lnTo>
                  <a:pt x="4559" y="11309"/>
                </a:lnTo>
                <a:lnTo>
                  <a:pt x="4557" y="11327"/>
                </a:lnTo>
                <a:lnTo>
                  <a:pt x="4571" y="11347"/>
                </a:lnTo>
                <a:lnTo>
                  <a:pt x="4590" y="11365"/>
                </a:lnTo>
                <a:lnTo>
                  <a:pt x="4545" y="11383"/>
                </a:lnTo>
                <a:lnTo>
                  <a:pt x="4508" y="11412"/>
                </a:lnTo>
                <a:lnTo>
                  <a:pt x="4474" y="11424"/>
                </a:lnTo>
                <a:lnTo>
                  <a:pt x="4437" y="11387"/>
                </a:lnTo>
                <a:lnTo>
                  <a:pt x="4476" y="11324"/>
                </a:lnTo>
                <a:lnTo>
                  <a:pt x="4550" y="11277"/>
                </a:lnTo>
                <a:lnTo>
                  <a:pt x="4606" y="11262"/>
                </a:lnTo>
                <a:lnTo>
                  <a:pt x="4588" y="11295"/>
                </a:lnTo>
                <a:close/>
                <a:moveTo>
                  <a:pt x="4425" y="2220"/>
                </a:moveTo>
                <a:lnTo>
                  <a:pt x="4406" y="2227"/>
                </a:lnTo>
                <a:lnTo>
                  <a:pt x="4401" y="2222"/>
                </a:lnTo>
                <a:lnTo>
                  <a:pt x="4409" y="2213"/>
                </a:lnTo>
                <a:lnTo>
                  <a:pt x="4424" y="2204"/>
                </a:lnTo>
                <a:lnTo>
                  <a:pt x="4439" y="2197"/>
                </a:lnTo>
                <a:lnTo>
                  <a:pt x="4445" y="2204"/>
                </a:lnTo>
                <a:lnTo>
                  <a:pt x="4439" y="2214"/>
                </a:lnTo>
                <a:lnTo>
                  <a:pt x="4425" y="2220"/>
                </a:lnTo>
                <a:close/>
                <a:moveTo>
                  <a:pt x="4366" y="1860"/>
                </a:moveTo>
                <a:lnTo>
                  <a:pt x="4321" y="1846"/>
                </a:lnTo>
                <a:lnTo>
                  <a:pt x="4299" y="1875"/>
                </a:lnTo>
                <a:lnTo>
                  <a:pt x="4283" y="1898"/>
                </a:lnTo>
                <a:lnTo>
                  <a:pt x="4248" y="1864"/>
                </a:lnTo>
                <a:lnTo>
                  <a:pt x="4242" y="1861"/>
                </a:lnTo>
                <a:lnTo>
                  <a:pt x="4306" y="1846"/>
                </a:lnTo>
                <a:lnTo>
                  <a:pt x="4369" y="1837"/>
                </a:lnTo>
                <a:lnTo>
                  <a:pt x="4366" y="1860"/>
                </a:lnTo>
                <a:close/>
                <a:moveTo>
                  <a:pt x="4354" y="10904"/>
                </a:moveTo>
                <a:lnTo>
                  <a:pt x="4362" y="10902"/>
                </a:lnTo>
                <a:lnTo>
                  <a:pt x="4369" y="10900"/>
                </a:lnTo>
                <a:lnTo>
                  <a:pt x="4367" y="10903"/>
                </a:lnTo>
                <a:lnTo>
                  <a:pt x="4362" y="10904"/>
                </a:lnTo>
                <a:lnTo>
                  <a:pt x="4357" y="10904"/>
                </a:lnTo>
                <a:lnTo>
                  <a:pt x="4354" y="10904"/>
                </a:lnTo>
                <a:close/>
                <a:moveTo>
                  <a:pt x="4369" y="11044"/>
                </a:moveTo>
                <a:lnTo>
                  <a:pt x="4317" y="11146"/>
                </a:lnTo>
                <a:lnTo>
                  <a:pt x="4297" y="11215"/>
                </a:lnTo>
                <a:lnTo>
                  <a:pt x="4283" y="11211"/>
                </a:lnTo>
                <a:lnTo>
                  <a:pt x="4255" y="11096"/>
                </a:lnTo>
                <a:lnTo>
                  <a:pt x="4243" y="11010"/>
                </a:lnTo>
                <a:lnTo>
                  <a:pt x="4261" y="10984"/>
                </a:lnTo>
                <a:lnTo>
                  <a:pt x="4303" y="11002"/>
                </a:lnTo>
                <a:lnTo>
                  <a:pt x="4369" y="11044"/>
                </a:lnTo>
                <a:close/>
                <a:moveTo>
                  <a:pt x="4279" y="11443"/>
                </a:moveTo>
                <a:lnTo>
                  <a:pt x="4273" y="11441"/>
                </a:lnTo>
                <a:lnTo>
                  <a:pt x="4265" y="11438"/>
                </a:lnTo>
                <a:lnTo>
                  <a:pt x="4262" y="11432"/>
                </a:lnTo>
                <a:lnTo>
                  <a:pt x="4268" y="11430"/>
                </a:lnTo>
                <a:lnTo>
                  <a:pt x="4274" y="11431"/>
                </a:lnTo>
                <a:lnTo>
                  <a:pt x="4279" y="11435"/>
                </a:lnTo>
                <a:lnTo>
                  <a:pt x="4282" y="11440"/>
                </a:lnTo>
                <a:lnTo>
                  <a:pt x="4279" y="11443"/>
                </a:lnTo>
                <a:close/>
                <a:moveTo>
                  <a:pt x="4246" y="11116"/>
                </a:moveTo>
                <a:lnTo>
                  <a:pt x="4246" y="11116"/>
                </a:lnTo>
                <a:lnTo>
                  <a:pt x="4246" y="11116"/>
                </a:lnTo>
                <a:close/>
                <a:moveTo>
                  <a:pt x="4195" y="2065"/>
                </a:moveTo>
                <a:lnTo>
                  <a:pt x="4181" y="2052"/>
                </a:lnTo>
                <a:lnTo>
                  <a:pt x="4186" y="2036"/>
                </a:lnTo>
                <a:lnTo>
                  <a:pt x="4191" y="2015"/>
                </a:lnTo>
                <a:lnTo>
                  <a:pt x="4181" y="1996"/>
                </a:lnTo>
                <a:lnTo>
                  <a:pt x="4197" y="1952"/>
                </a:lnTo>
                <a:lnTo>
                  <a:pt x="4237" y="1980"/>
                </a:lnTo>
                <a:lnTo>
                  <a:pt x="4252" y="2033"/>
                </a:lnTo>
                <a:lnTo>
                  <a:pt x="4195" y="2065"/>
                </a:lnTo>
                <a:close/>
                <a:moveTo>
                  <a:pt x="4232" y="11448"/>
                </a:moveTo>
                <a:lnTo>
                  <a:pt x="4232" y="11449"/>
                </a:lnTo>
                <a:lnTo>
                  <a:pt x="4232" y="11448"/>
                </a:lnTo>
                <a:lnTo>
                  <a:pt x="4232" y="11446"/>
                </a:lnTo>
                <a:lnTo>
                  <a:pt x="4232" y="11448"/>
                </a:lnTo>
                <a:close/>
                <a:moveTo>
                  <a:pt x="4158" y="11088"/>
                </a:moveTo>
                <a:lnTo>
                  <a:pt x="4138" y="11079"/>
                </a:lnTo>
                <a:lnTo>
                  <a:pt x="4138" y="11043"/>
                </a:lnTo>
                <a:lnTo>
                  <a:pt x="4150" y="11010"/>
                </a:lnTo>
                <a:lnTo>
                  <a:pt x="4172" y="11006"/>
                </a:lnTo>
                <a:lnTo>
                  <a:pt x="4206" y="11038"/>
                </a:lnTo>
                <a:lnTo>
                  <a:pt x="4224" y="11048"/>
                </a:lnTo>
                <a:lnTo>
                  <a:pt x="4213" y="11058"/>
                </a:lnTo>
                <a:lnTo>
                  <a:pt x="4158" y="11088"/>
                </a:lnTo>
                <a:close/>
                <a:moveTo>
                  <a:pt x="4074" y="1860"/>
                </a:moveTo>
                <a:lnTo>
                  <a:pt x="4059" y="1914"/>
                </a:lnTo>
                <a:lnTo>
                  <a:pt x="4040" y="1935"/>
                </a:lnTo>
                <a:lnTo>
                  <a:pt x="4024" y="1920"/>
                </a:lnTo>
                <a:lnTo>
                  <a:pt x="4022" y="1864"/>
                </a:lnTo>
                <a:lnTo>
                  <a:pt x="3949" y="1858"/>
                </a:lnTo>
                <a:lnTo>
                  <a:pt x="3901" y="1917"/>
                </a:lnTo>
                <a:lnTo>
                  <a:pt x="3854" y="1961"/>
                </a:lnTo>
                <a:lnTo>
                  <a:pt x="3782" y="1909"/>
                </a:lnTo>
                <a:lnTo>
                  <a:pt x="3838" y="1791"/>
                </a:lnTo>
                <a:lnTo>
                  <a:pt x="3915" y="1770"/>
                </a:lnTo>
                <a:lnTo>
                  <a:pt x="4003" y="1790"/>
                </a:lnTo>
                <a:lnTo>
                  <a:pt x="4093" y="1798"/>
                </a:lnTo>
                <a:lnTo>
                  <a:pt x="4112" y="1765"/>
                </a:lnTo>
                <a:lnTo>
                  <a:pt x="4154" y="1777"/>
                </a:lnTo>
                <a:lnTo>
                  <a:pt x="4161" y="1816"/>
                </a:lnTo>
                <a:lnTo>
                  <a:pt x="4074" y="1860"/>
                </a:lnTo>
                <a:close/>
                <a:moveTo>
                  <a:pt x="4061" y="2043"/>
                </a:moveTo>
                <a:lnTo>
                  <a:pt x="4050" y="2056"/>
                </a:lnTo>
                <a:lnTo>
                  <a:pt x="4034" y="2070"/>
                </a:lnTo>
                <a:lnTo>
                  <a:pt x="4019" y="2077"/>
                </a:lnTo>
                <a:lnTo>
                  <a:pt x="4008" y="2068"/>
                </a:lnTo>
                <a:lnTo>
                  <a:pt x="4013" y="2051"/>
                </a:lnTo>
                <a:lnTo>
                  <a:pt x="4028" y="2042"/>
                </a:lnTo>
                <a:lnTo>
                  <a:pt x="4047" y="2040"/>
                </a:lnTo>
                <a:lnTo>
                  <a:pt x="4061" y="2043"/>
                </a:lnTo>
                <a:close/>
                <a:moveTo>
                  <a:pt x="3977" y="2257"/>
                </a:moveTo>
                <a:lnTo>
                  <a:pt x="3961" y="2280"/>
                </a:lnTo>
                <a:lnTo>
                  <a:pt x="3947" y="2278"/>
                </a:lnTo>
                <a:lnTo>
                  <a:pt x="3943" y="2264"/>
                </a:lnTo>
                <a:lnTo>
                  <a:pt x="3961" y="2250"/>
                </a:lnTo>
                <a:lnTo>
                  <a:pt x="3998" y="2255"/>
                </a:lnTo>
                <a:lnTo>
                  <a:pt x="4020" y="2260"/>
                </a:lnTo>
                <a:lnTo>
                  <a:pt x="4017" y="2261"/>
                </a:lnTo>
                <a:lnTo>
                  <a:pt x="3977" y="2257"/>
                </a:lnTo>
                <a:close/>
                <a:moveTo>
                  <a:pt x="3919" y="2154"/>
                </a:moveTo>
                <a:lnTo>
                  <a:pt x="3916" y="2148"/>
                </a:lnTo>
                <a:lnTo>
                  <a:pt x="3913" y="2141"/>
                </a:lnTo>
                <a:lnTo>
                  <a:pt x="3915" y="2138"/>
                </a:lnTo>
                <a:lnTo>
                  <a:pt x="3922" y="2138"/>
                </a:lnTo>
                <a:lnTo>
                  <a:pt x="3929" y="2144"/>
                </a:lnTo>
                <a:lnTo>
                  <a:pt x="3927" y="2153"/>
                </a:lnTo>
                <a:lnTo>
                  <a:pt x="3924" y="2158"/>
                </a:lnTo>
                <a:lnTo>
                  <a:pt x="3919" y="2154"/>
                </a:lnTo>
                <a:close/>
                <a:moveTo>
                  <a:pt x="3887" y="11023"/>
                </a:moveTo>
                <a:lnTo>
                  <a:pt x="3887" y="11023"/>
                </a:lnTo>
                <a:lnTo>
                  <a:pt x="3887" y="11023"/>
                </a:lnTo>
                <a:lnTo>
                  <a:pt x="3887" y="11023"/>
                </a:lnTo>
                <a:close/>
                <a:moveTo>
                  <a:pt x="3878" y="10776"/>
                </a:moveTo>
                <a:lnTo>
                  <a:pt x="3877" y="10774"/>
                </a:lnTo>
                <a:lnTo>
                  <a:pt x="3875" y="10773"/>
                </a:lnTo>
                <a:lnTo>
                  <a:pt x="3879" y="10777"/>
                </a:lnTo>
                <a:lnTo>
                  <a:pt x="3878" y="10776"/>
                </a:lnTo>
                <a:close/>
                <a:moveTo>
                  <a:pt x="3866" y="2049"/>
                </a:moveTo>
                <a:lnTo>
                  <a:pt x="3859" y="2071"/>
                </a:lnTo>
                <a:lnTo>
                  <a:pt x="3852" y="2097"/>
                </a:lnTo>
                <a:lnTo>
                  <a:pt x="3842" y="2108"/>
                </a:lnTo>
                <a:lnTo>
                  <a:pt x="3819" y="2092"/>
                </a:lnTo>
                <a:lnTo>
                  <a:pt x="3818" y="2066"/>
                </a:lnTo>
                <a:lnTo>
                  <a:pt x="3835" y="2041"/>
                </a:lnTo>
                <a:lnTo>
                  <a:pt x="3855" y="2031"/>
                </a:lnTo>
                <a:lnTo>
                  <a:pt x="3866" y="2049"/>
                </a:lnTo>
                <a:close/>
                <a:moveTo>
                  <a:pt x="3821" y="2204"/>
                </a:moveTo>
                <a:lnTo>
                  <a:pt x="3821" y="2203"/>
                </a:lnTo>
                <a:lnTo>
                  <a:pt x="3821" y="2204"/>
                </a:lnTo>
                <a:close/>
                <a:moveTo>
                  <a:pt x="3808" y="2203"/>
                </a:moveTo>
                <a:lnTo>
                  <a:pt x="3808" y="2201"/>
                </a:lnTo>
                <a:lnTo>
                  <a:pt x="3808" y="2203"/>
                </a:lnTo>
                <a:lnTo>
                  <a:pt x="3809" y="2203"/>
                </a:lnTo>
                <a:lnTo>
                  <a:pt x="3808" y="2203"/>
                </a:lnTo>
                <a:close/>
                <a:moveTo>
                  <a:pt x="3804" y="2166"/>
                </a:moveTo>
                <a:lnTo>
                  <a:pt x="3803" y="2175"/>
                </a:lnTo>
                <a:lnTo>
                  <a:pt x="3800" y="2183"/>
                </a:lnTo>
                <a:lnTo>
                  <a:pt x="3796" y="2189"/>
                </a:lnTo>
                <a:lnTo>
                  <a:pt x="3794" y="2182"/>
                </a:lnTo>
                <a:lnTo>
                  <a:pt x="3798" y="2175"/>
                </a:lnTo>
                <a:lnTo>
                  <a:pt x="3804" y="2166"/>
                </a:lnTo>
                <a:lnTo>
                  <a:pt x="3808" y="2162"/>
                </a:lnTo>
                <a:lnTo>
                  <a:pt x="3804" y="2166"/>
                </a:lnTo>
                <a:close/>
                <a:moveTo>
                  <a:pt x="3656" y="2213"/>
                </a:moveTo>
                <a:lnTo>
                  <a:pt x="3656" y="2213"/>
                </a:lnTo>
                <a:lnTo>
                  <a:pt x="3656" y="2213"/>
                </a:lnTo>
                <a:lnTo>
                  <a:pt x="3656" y="2213"/>
                </a:lnTo>
                <a:close/>
                <a:moveTo>
                  <a:pt x="3803" y="2288"/>
                </a:moveTo>
                <a:lnTo>
                  <a:pt x="3773" y="2304"/>
                </a:lnTo>
                <a:lnTo>
                  <a:pt x="3744" y="2304"/>
                </a:lnTo>
                <a:lnTo>
                  <a:pt x="3722" y="2288"/>
                </a:lnTo>
                <a:lnTo>
                  <a:pt x="3716" y="2255"/>
                </a:lnTo>
                <a:lnTo>
                  <a:pt x="3698" y="2451"/>
                </a:lnTo>
                <a:lnTo>
                  <a:pt x="3646" y="2420"/>
                </a:lnTo>
                <a:lnTo>
                  <a:pt x="3571" y="2354"/>
                </a:lnTo>
                <a:lnTo>
                  <a:pt x="3484" y="2443"/>
                </a:lnTo>
                <a:lnTo>
                  <a:pt x="3456" y="2329"/>
                </a:lnTo>
                <a:lnTo>
                  <a:pt x="3428" y="2259"/>
                </a:lnTo>
                <a:lnTo>
                  <a:pt x="3436" y="2194"/>
                </a:lnTo>
                <a:lnTo>
                  <a:pt x="3517" y="2098"/>
                </a:lnTo>
                <a:lnTo>
                  <a:pt x="3510" y="2173"/>
                </a:lnTo>
                <a:lnTo>
                  <a:pt x="3575" y="2152"/>
                </a:lnTo>
                <a:lnTo>
                  <a:pt x="3655" y="2084"/>
                </a:lnTo>
                <a:lnTo>
                  <a:pt x="3694" y="2018"/>
                </a:lnTo>
                <a:lnTo>
                  <a:pt x="3660" y="2001"/>
                </a:lnTo>
                <a:lnTo>
                  <a:pt x="3617" y="1987"/>
                </a:lnTo>
                <a:lnTo>
                  <a:pt x="3596" y="1970"/>
                </a:lnTo>
                <a:lnTo>
                  <a:pt x="3629" y="1940"/>
                </a:lnTo>
                <a:lnTo>
                  <a:pt x="3728" y="2060"/>
                </a:lnTo>
                <a:lnTo>
                  <a:pt x="3660" y="2124"/>
                </a:lnTo>
                <a:lnTo>
                  <a:pt x="3565" y="2181"/>
                </a:lnTo>
                <a:lnTo>
                  <a:pt x="3581" y="2279"/>
                </a:lnTo>
                <a:lnTo>
                  <a:pt x="3622" y="2261"/>
                </a:lnTo>
                <a:lnTo>
                  <a:pt x="3651" y="2231"/>
                </a:lnTo>
                <a:lnTo>
                  <a:pt x="3675" y="2196"/>
                </a:lnTo>
                <a:lnTo>
                  <a:pt x="3700" y="2172"/>
                </a:lnTo>
                <a:lnTo>
                  <a:pt x="3730" y="2195"/>
                </a:lnTo>
                <a:lnTo>
                  <a:pt x="3767" y="2215"/>
                </a:lnTo>
                <a:lnTo>
                  <a:pt x="3796" y="2243"/>
                </a:lnTo>
                <a:lnTo>
                  <a:pt x="3803" y="2288"/>
                </a:lnTo>
                <a:close/>
                <a:moveTo>
                  <a:pt x="3646" y="10805"/>
                </a:moveTo>
                <a:lnTo>
                  <a:pt x="3650" y="10801"/>
                </a:lnTo>
                <a:lnTo>
                  <a:pt x="3658" y="10799"/>
                </a:lnTo>
                <a:lnTo>
                  <a:pt x="3666" y="10795"/>
                </a:lnTo>
                <a:lnTo>
                  <a:pt x="3672" y="10795"/>
                </a:lnTo>
                <a:lnTo>
                  <a:pt x="3683" y="10796"/>
                </a:lnTo>
                <a:lnTo>
                  <a:pt x="3673" y="10804"/>
                </a:lnTo>
                <a:lnTo>
                  <a:pt x="3656" y="10809"/>
                </a:lnTo>
                <a:lnTo>
                  <a:pt x="3646" y="10805"/>
                </a:lnTo>
                <a:close/>
                <a:moveTo>
                  <a:pt x="3609" y="2476"/>
                </a:moveTo>
                <a:lnTo>
                  <a:pt x="3609" y="2474"/>
                </a:lnTo>
                <a:lnTo>
                  <a:pt x="3608" y="2472"/>
                </a:lnTo>
                <a:lnTo>
                  <a:pt x="3610" y="2466"/>
                </a:lnTo>
                <a:lnTo>
                  <a:pt x="3612" y="2471"/>
                </a:lnTo>
                <a:lnTo>
                  <a:pt x="3613" y="2478"/>
                </a:lnTo>
                <a:lnTo>
                  <a:pt x="3609" y="2476"/>
                </a:lnTo>
                <a:close/>
                <a:moveTo>
                  <a:pt x="3505" y="2559"/>
                </a:moveTo>
                <a:lnTo>
                  <a:pt x="3500" y="2553"/>
                </a:lnTo>
                <a:lnTo>
                  <a:pt x="3493" y="2546"/>
                </a:lnTo>
                <a:lnTo>
                  <a:pt x="3486" y="2540"/>
                </a:lnTo>
                <a:lnTo>
                  <a:pt x="3477" y="2540"/>
                </a:lnTo>
                <a:lnTo>
                  <a:pt x="3488" y="2537"/>
                </a:lnTo>
                <a:lnTo>
                  <a:pt x="3500" y="2542"/>
                </a:lnTo>
                <a:lnTo>
                  <a:pt x="3507" y="2551"/>
                </a:lnTo>
                <a:lnTo>
                  <a:pt x="3505" y="2559"/>
                </a:lnTo>
                <a:close/>
                <a:moveTo>
                  <a:pt x="3447" y="2550"/>
                </a:moveTo>
                <a:lnTo>
                  <a:pt x="3455" y="2545"/>
                </a:lnTo>
                <a:lnTo>
                  <a:pt x="3464" y="2544"/>
                </a:lnTo>
                <a:lnTo>
                  <a:pt x="3455" y="2546"/>
                </a:lnTo>
                <a:lnTo>
                  <a:pt x="3447" y="2550"/>
                </a:lnTo>
                <a:close/>
                <a:moveTo>
                  <a:pt x="3399" y="2498"/>
                </a:moveTo>
                <a:lnTo>
                  <a:pt x="3236" y="2429"/>
                </a:lnTo>
                <a:lnTo>
                  <a:pt x="3135" y="2565"/>
                </a:lnTo>
                <a:lnTo>
                  <a:pt x="3042" y="2738"/>
                </a:lnTo>
                <a:lnTo>
                  <a:pt x="2907" y="2782"/>
                </a:lnTo>
                <a:lnTo>
                  <a:pt x="2876" y="2815"/>
                </a:lnTo>
                <a:lnTo>
                  <a:pt x="2842" y="2824"/>
                </a:lnTo>
                <a:lnTo>
                  <a:pt x="2811" y="2835"/>
                </a:lnTo>
                <a:lnTo>
                  <a:pt x="2785" y="2875"/>
                </a:lnTo>
                <a:lnTo>
                  <a:pt x="2761" y="2880"/>
                </a:lnTo>
                <a:lnTo>
                  <a:pt x="2749" y="2872"/>
                </a:lnTo>
                <a:lnTo>
                  <a:pt x="2752" y="2857"/>
                </a:lnTo>
                <a:lnTo>
                  <a:pt x="2767" y="2839"/>
                </a:lnTo>
                <a:lnTo>
                  <a:pt x="2879" y="2730"/>
                </a:lnTo>
                <a:lnTo>
                  <a:pt x="2812" y="2760"/>
                </a:lnTo>
                <a:lnTo>
                  <a:pt x="2662" y="2852"/>
                </a:lnTo>
                <a:lnTo>
                  <a:pt x="2524" y="2927"/>
                </a:lnTo>
                <a:lnTo>
                  <a:pt x="2641" y="2680"/>
                </a:lnTo>
                <a:lnTo>
                  <a:pt x="2695" y="2684"/>
                </a:lnTo>
                <a:lnTo>
                  <a:pt x="2751" y="2721"/>
                </a:lnTo>
                <a:lnTo>
                  <a:pt x="2869" y="2573"/>
                </a:lnTo>
                <a:lnTo>
                  <a:pt x="2907" y="2582"/>
                </a:lnTo>
                <a:lnTo>
                  <a:pt x="2888" y="2610"/>
                </a:lnTo>
                <a:lnTo>
                  <a:pt x="2878" y="2646"/>
                </a:lnTo>
                <a:lnTo>
                  <a:pt x="2938" y="2681"/>
                </a:lnTo>
                <a:lnTo>
                  <a:pt x="2980" y="2595"/>
                </a:lnTo>
                <a:lnTo>
                  <a:pt x="3053" y="2534"/>
                </a:lnTo>
                <a:lnTo>
                  <a:pt x="3129" y="2469"/>
                </a:lnTo>
                <a:lnTo>
                  <a:pt x="3180" y="2374"/>
                </a:lnTo>
                <a:lnTo>
                  <a:pt x="3221" y="2323"/>
                </a:lnTo>
                <a:lnTo>
                  <a:pt x="3228" y="2232"/>
                </a:lnTo>
                <a:lnTo>
                  <a:pt x="3235" y="2186"/>
                </a:lnTo>
                <a:lnTo>
                  <a:pt x="3273" y="2269"/>
                </a:lnTo>
                <a:lnTo>
                  <a:pt x="3295" y="2293"/>
                </a:lnTo>
                <a:lnTo>
                  <a:pt x="3333" y="2306"/>
                </a:lnTo>
                <a:lnTo>
                  <a:pt x="3363" y="2322"/>
                </a:lnTo>
                <a:lnTo>
                  <a:pt x="3365" y="2357"/>
                </a:lnTo>
                <a:lnTo>
                  <a:pt x="3333" y="2360"/>
                </a:lnTo>
                <a:lnTo>
                  <a:pt x="3306" y="2359"/>
                </a:lnTo>
                <a:lnTo>
                  <a:pt x="3291" y="2371"/>
                </a:lnTo>
                <a:lnTo>
                  <a:pt x="3291" y="2410"/>
                </a:lnTo>
                <a:lnTo>
                  <a:pt x="3329" y="2424"/>
                </a:lnTo>
                <a:lnTo>
                  <a:pt x="3389" y="2439"/>
                </a:lnTo>
                <a:lnTo>
                  <a:pt x="3427" y="2463"/>
                </a:lnTo>
                <a:lnTo>
                  <a:pt x="3399" y="2498"/>
                </a:lnTo>
                <a:close/>
                <a:moveTo>
                  <a:pt x="3381" y="10636"/>
                </a:moveTo>
                <a:lnTo>
                  <a:pt x="3382" y="10634"/>
                </a:lnTo>
                <a:lnTo>
                  <a:pt x="3384" y="10634"/>
                </a:lnTo>
                <a:lnTo>
                  <a:pt x="3385" y="10634"/>
                </a:lnTo>
                <a:lnTo>
                  <a:pt x="3386" y="10636"/>
                </a:lnTo>
                <a:lnTo>
                  <a:pt x="3385" y="10637"/>
                </a:lnTo>
                <a:lnTo>
                  <a:pt x="3384" y="10637"/>
                </a:lnTo>
                <a:lnTo>
                  <a:pt x="3382" y="10637"/>
                </a:lnTo>
                <a:lnTo>
                  <a:pt x="3381" y="10636"/>
                </a:lnTo>
                <a:close/>
                <a:moveTo>
                  <a:pt x="3268" y="10452"/>
                </a:moveTo>
                <a:lnTo>
                  <a:pt x="3254" y="10456"/>
                </a:lnTo>
                <a:lnTo>
                  <a:pt x="3241" y="10454"/>
                </a:lnTo>
                <a:lnTo>
                  <a:pt x="3228" y="10451"/>
                </a:lnTo>
                <a:lnTo>
                  <a:pt x="3214" y="10450"/>
                </a:lnTo>
                <a:lnTo>
                  <a:pt x="3213" y="10440"/>
                </a:lnTo>
                <a:lnTo>
                  <a:pt x="3240" y="10432"/>
                </a:lnTo>
                <a:lnTo>
                  <a:pt x="3268" y="10433"/>
                </a:lnTo>
                <a:lnTo>
                  <a:pt x="3268" y="10452"/>
                </a:lnTo>
                <a:close/>
                <a:moveTo>
                  <a:pt x="3172" y="2523"/>
                </a:moveTo>
                <a:lnTo>
                  <a:pt x="3171" y="2523"/>
                </a:lnTo>
                <a:lnTo>
                  <a:pt x="3171" y="2523"/>
                </a:lnTo>
                <a:lnTo>
                  <a:pt x="3171" y="2523"/>
                </a:lnTo>
                <a:lnTo>
                  <a:pt x="3172" y="2523"/>
                </a:lnTo>
                <a:lnTo>
                  <a:pt x="3174" y="2523"/>
                </a:lnTo>
                <a:lnTo>
                  <a:pt x="3174" y="2523"/>
                </a:lnTo>
                <a:lnTo>
                  <a:pt x="3174" y="2523"/>
                </a:lnTo>
                <a:lnTo>
                  <a:pt x="3172" y="2523"/>
                </a:lnTo>
                <a:close/>
                <a:moveTo>
                  <a:pt x="3128" y="2817"/>
                </a:moveTo>
                <a:lnTo>
                  <a:pt x="3109" y="2814"/>
                </a:lnTo>
                <a:lnTo>
                  <a:pt x="3098" y="2803"/>
                </a:lnTo>
                <a:lnTo>
                  <a:pt x="3098" y="2788"/>
                </a:lnTo>
                <a:lnTo>
                  <a:pt x="3112" y="2775"/>
                </a:lnTo>
                <a:lnTo>
                  <a:pt x="3125" y="2775"/>
                </a:lnTo>
                <a:lnTo>
                  <a:pt x="3135" y="2789"/>
                </a:lnTo>
                <a:lnTo>
                  <a:pt x="3139" y="2807"/>
                </a:lnTo>
                <a:lnTo>
                  <a:pt x="3128" y="2817"/>
                </a:lnTo>
                <a:close/>
                <a:moveTo>
                  <a:pt x="3067" y="10087"/>
                </a:moveTo>
                <a:lnTo>
                  <a:pt x="3054" y="10093"/>
                </a:lnTo>
                <a:lnTo>
                  <a:pt x="3042" y="10098"/>
                </a:lnTo>
                <a:lnTo>
                  <a:pt x="3033" y="10096"/>
                </a:lnTo>
                <a:lnTo>
                  <a:pt x="3032" y="10079"/>
                </a:lnTo>
                <a:lnTo>
                  <a:pt x="3050" y="10070"/>
                </a:lnTo>
                <a:lnTo>
                  <a:pt x="3072" y="10074"/>
                </a:lnTo>
                <a:lnTo>
                  <a:pt x="3083" y="10083"/>
                </a:lnTo>
                <a:lnTo>
                  <a:pt x="3067" y="10087"/>
                </a:lnTo>
                <a:close/>
                <a:moveTo>
                  <a:pt x="3037" y="10343"/>
                </a:moveTo>
                <a:lnTo>
                  <a:pt x="3031" y="10338"/>
                </a:lnTo>
                <a:lnTo>
                  <a:pt x="3027" y="10326"/>
                </a:lnTo>
                <a:lnTo>
                  <a:pt x="3028" y="10316"/>
                </a:lnTo>
                <a:lnTo>
                  <a:pt x="3036" y="10314"/>
                </a:lnTo>
                <a:lnTo>
                  <a:pt x="3041" y="10319"/>
                </a:lnTo>
                <a:lnTo>
                  <a:pt x="3042" y="10329"/>
                </a:lnTo>
                <a:lnTo>
                  <a:pt x="3040" y="10339"/>
                </a:lnTo>
                <a:lnTo>
                  <a:pt x="3037" y="10343"/>
                </a:lnTo>
                <a:close/>
                <a:moveTo>
                  <a:pt x="2877" y="9906"/>
                </a:moveTo>
                <a:lnTo>
                  <a:pt x="2877" y="9906"/>
                </a:lnTo>
                <a:lnTo>
                  <a:pt x="2877" y="9906"/>
                </a:lnTo>
                <a:close/>
                <a:moveTo>
                  <a:pt x="2720" y="10101"/>
                </a:moveTo>
                <a:lnTo>
                  <a:pt x="2665" y="10074"/>
                </a:lnTo>
                <a:lnTo>
                  <a:pt x="2667" y="10119"/>
                </a:lnTo>
                <a:lnTo>
                  <a:pt x="2678" y="10180"/>
                </a:lnTo>
                <a:lnTo>
                  <a:pt x="2653" y="10203"/>
                </a:lnTo>
                <a:lnTo>
                  <a:pt x="2569" y="10241"/>
                </a:lnTo>
                <a:lnTo>
                  <a:pt x="2546" y="10265"/>
                </a:lnTo>
                <a:lnTo>
                  <a:pt x="2523" y="10252"/>
                </a:lnTo>
                <a:lnTo>
                  <a:pt x="2444" y="10175"/>
                </a:lnTo>
                <a:lnTo>
                  <a:pt x="2427" y="10152"/>
                </a:lnTo>
                <a:lnTo>
                  <a:pt x="2404" y="10109"/>
                </a:lnTo>
                <a:lnTo>
                  <a:pt x="2388" y="10070"/>
                </a:lnTo>
                <a:lnTo>
                  <a:pt x="2390" y="10060"/>
                </a:lnTo>
                <a:lnTo>
                  <a:pt x="2450" y="10088"/>
                </a:lnTo>
                <a:lnTo>
                  <a:pt x="2550" y="10074"/>
                </a:lnTo>
                <a:lnTo>
                  <a:pt x="2651" y="10063"/>
                </a:lnTo>
                <a:lnTo>
                  <a:pt x="2720" y="10101"/>
                </a:lnTo>
                <a:close/>
                <a:moveTo>
                  <a:pt x="2361" y="4013"/>
                </a:moveTo>
                <a:lnTo>
                  <a:pt x="2286" y="4019"/>
                </a:lnTo>
                <a:lnTo>
                  <a:pt x="2269" y="4078"/>
                </a:lnTo>
                <a:lnTo>
                  <a:pt x="2257" y="4141"/>
                </a:lnTo>
                <a:lnTo>
                  <a:pt x="2192" y="4164"/>
                </a:lnTo>
                <a:lnTo>
                  <a:pt x="2156" y="4174"/>
                </a:lnTo>
                <a:lnTo>
                  <a:pt x="2171" y="4113"/>
                </a:lnTo>
                <a:lnTo>
                  <a:pt x="2196" y="4023"/>
                </a:lnTo>
                <a:lnTo>
                  <a:pt x="2188" y="3949"/>
                </a:lnTo>
                <a:lnTo>
                  <a:pt x="2215" y="3924"/>
                </a:lnTo>
                <a:lnTo>
                  <a:pt x="2280" y="3930"/>
                </a:lnTo>
                <a:lnTo>
                  <a:pt x="2355" y="3930"/>
                </a:lnTo>
                <a:lnTo>
                  <a:pt x="2417" y="3885"/>
                </a:lnTo>
                <a:lnTo>
                  <a:pt x="2427" y="3910"/>
                </a:lnTo>
                <a:lnTo>
                  <a:pt x="2415" y="3968"/>
                </a:lnTo>
                <a:lnTo>
                  <a:pt x="2389" y="4018"/>
                </a:lnTo>
                <a:lnTo>
                  <a:pt x="2361" y="4013"/>
                </a:lnTo>
                <a:close/>
                <a:moveTo>
                  <a:pt x="2327" y="9461"/>
                </a:moveTo>
                <a:lnTo>
                  <a:pt x="2323" y="9458"/>
                </a:lnTo>
                <a:lnTo>
                  <a:pt x="2325" y="9458"/>
                </a:lnTo>
                <a:lnTo>
                  <a:pt x="2329" y="9461"/>
                </a:lnTo>
                <a:lnTo>
                  <a:pt x="2333" y="9463"/>
                </a:lnTo>
                <a:lnTo>
                  <a:pt x="2329" y="9463"/>
                </a:lnTo>
                <a:lnTo>
                  <a:pt x="2327" y="9461"/>
                </a:lnTo>
                <a:close/>
                <a:moveTo>
                  <a:pt x="2310" y="9606"/>
                </a:moveTo>
                <a:lnTo>
                  <a:pt x="2308" y="9606"/>
                </a:lnTo>
                <a:lnTo>
                  <a:pt x="2306" y="9606"/>
                </a:lnTo>
                <a:lnTo>
                  <a:pt x="2308" y="9606"/>
                </a:lnTo>
                <a:lnTo>
                  <a:pt x="2310" y="9606"/>
                </a:lnTo>
                <a:lnTo>
                  <a:pt x="2313" y="9606"/>
                </a:lnTo>
                <a:lnTo>
                  <a:pt x="2313" y="9607"/>
                </a:lnTo>
                <a:lnTo>
                  <a:pt x="2311" y="9607"/>
                </a:lnTo>
                <a:lnTo>
                  <a:pt x="2310" y="9606"/>
                </a:lnTo>
                <a:close/>
                <a:moveTo>
                  <a:pt x="2253" y="9555"/>
                </a:moveTo>
                <a:lnTo>
                  <a:pt x="2254" y="9546"/>
                </a:lnTo>
                <a:lnTo>
                  <a:pt x="2267" y="9541"/>
                </a:lnTo>
                <a:lnTo>
                  <a:pt x="2283" y="9538"/>
                </a:lnTo>
                <a:lnTo>
                  <a:pt x="2296" y="9541"/>
                </a:lnTo>
                <a:lnTo>
                  <a:pt x="2296" y="9550"/>
                </a:lnTo>
                <a:lnTo>
                  <a:pt x="2283" y="9556"/>
                </a:lnTo>
                <a:lnTo>
                  <a:pt x="2267" y="9559"/>
                </a:lnTo>
                <a:lnTo>
                  <a:pt x="2253" y="9555"/>
                </a:lnTo>
                <a:close/>
                <a:moveTo>
                  <a:pt x="2297" y="9611"/>
                </a:moveTo>
                <a:lnTo>
                  <a:pt x="2296" y="9611"/>
                </a:lnTo>
                <a:lnTo>
                  <a:pt x="2296" y="9611"/>
                </a:lnTo>
                <a:lnTo>
                  <a:pt x="2296" y="9611"/>
                </a:lnTo>
                <a:lnTo>
                  <a:pt x="2297" y="9611"/>
                </a:lnTo>
                <a:lnTo>
                  <a:pt x="2297" y="9610"/>
                </a:lnTo>
                <a:lnTo>
                  <a:pt x="2297" y="9610"/>
                </a:lnTo>
                <a:lnTo>
                  <a:pt x="2297" y="9610"/>
                </a:lnTo>
                <a:lnTo>
                  <a:pt x="2297" y="9611"/>
                </a:lnTo>
                <a:close/>
                <a:moveTo>
                  <a:pt x="2235" y="8290"/>
                </a:moveTo>
                <a:lnTo>
                  <a:pt x="2238" y="8291"/>
                </a:lnTo>
                <a:lnTo>
                  <a:pt x="2238" y="8292"/>
                </a:lnTo>
                <a:lnTo>
                  <a:pt x="2238" y="8291"/>
                </a:lnTo>
                <a:lnTo>
                  <a:pt x="2235" y="8290"/>
                </a:lnTo>
                <a:lnTo>
                  <a:pt x="2234" y="8288"/>
                </a:lnTo>
                <a:lnTo>
                  <a:pt x="2232" y="8287"/>
                </a:lnTo>
                <a:lnTo>
                  <a:pt x="2234" y="8287"/>
                </a:lnTo>
                <a:lnTo>
                  <a:pt x="2235" y="8290"/>
                </a:lnTo>
                <a:close/>
                <a:moveTo>
                  <a:pt x="2221" y="9974"/>
                </a:moveTo>
                <a:lnTo>
                  <a:pt x="2229" y="9971"/>
                </a:lnTo>
                <a:lnTo>
                  <a:pt x="2239" y="9970"/>
                </a:lnTo>
                <a:lnTo>
                  <a:pt x="2249" y="9971"/>
                </a:lnTo>
                <a:lnTo>
                  <a:pt x="2255" y="9975"/>
                </a:lnTo>
                <a:lnTo>
                  <a:pt x="2249" y="9976"/>
                </a:lnTo>
                <a:lnTo>
                  <a:pt x="2239" y="9976"/>
                </a:lnTo>
                <a:lnTo>
                  <a:pt x="2229" y="9975"/>
                </a:lnTo>
                <a:lnTo>
                  <a:pt x="2221" y="9974"/>
                </a:lnTo>
                <a:close/>
                <a:moveTo>
                  <a:pt x="2196" y="9975"/>
                </a:moveTo>
                <a:lnTo>
                  <a:pt x="2197" y="9976"/>
                </a:lnTo>
                <a:lnTo>
                  <a:pt x="2199" y="9976"/>
                </a:lnTo>
                <a:lnTo>
                  <a:pt x="2198" y="9978"/>
                </a:lnTo>
                <a:lnTo>
                  <a:pt x="2196" y="9975"/>
                </a:lnTo>
                <a:close/>
                <a:moveTo>
                  <a:pt x="2176" y="9579"/>
                </a:moveTo>
                <a:lnTo>
                  <a:pt x="2147" y="9580"/>
                </a:lnTo>
                <a:lnTo>
                  <a:pt x="2141" y="9564"/>
                </a:lnTo>
                <a:lnTo>
                  <a:pt x="2151" y="9541"/>
                </a:lnTo>
                <a:lnTo>
                  <a:pt x="2176" y="9522"/>
                </a:lnTo>
                <a:lnTo>
                  <a:pt x="2179" y="9546"/>
                </a:lnTo>
                <a:lnTo>
                  <a:pt x="2188" y="9577"/>
                </a:lnTo>
                <a:lnTo>
                  <a:pt x="2190" y="9594"/>
                </a:lnTo>
                <a:lnTo>
                  <a:pt x="2176" y="9579"/>
                </a:lnTo>
                <a:close/>
                <a:moveTo>
                  <a:pt x="2148" y="9193"/>
                </a:moveTo>
                <a:lnTo>
                  <a:pt x="2148" y="9192"/>
                </a:lnTo>
                <a:lnTo>
                  <a:pt x="2148" y="9193"/>
                </a:lnTo>
                <a:lnTo>
                  <a:pt x="2150" y="9193"/>
                </a:lnTo>
                <a:lnTo>
                  <a:pt x="2148" y="9193"/>
                </a:lnTo>
                <a:close/>
                <a:moveTo>
                  <a:pt x="2117" y="9064"/>
                </a:moveTo>
                <a:lnTo>
                  <a:pt x="2122" y="9044"/>
                </a:lnTo>
                <a:lnTo>
                  <a:pt x="2133" y="9034"/>
                </a:lnTo>
                <a:lnTo>
                  <a:pt x="2145" y="9039"/>
                </a:lnTo>
                <a:lnTo>
                  <a:pt x="2151" y="9060"/>
                </a:lnTo>
                <a:lnTo>
                  <a:pt x="2132" y="9061"/>
                </a:lnTo>
                <a:lnTo>
                  <a:pt x="2117" y="9064"/>
                </a:lnTo>
                <a:close/>
                <a:moveTo>
                  <a:pt x="2123" y="8943"/>
                </a:moveTo>
                <a:lnTo>
                  <a:pt x="2122" y="8943"/>
                </a:lnTo>
                <a:lnTo>
                  <a:pt x="2120" y="8944"/>
                </a:lnTo>
                <a:lnTo>
                  <a:pt x="2123" y="8943"/>
                </a:lnTo>
                <a:lnTo>
                  <a:pt x="2123" y="8943"/>
                </a:lnTo>
                <a:close/>
                <a:moveTo>
                  <a:pt x="2134" y="4013"/>
                </a:moveTo>
                <a:lnTo>
                  <a:pt x="2134" y="4011"/>
                </a:lnTo>
                <a:lnTo>
                  <a:pt x="2134" y="4011"/>
                </a:lnTo>
                <a:lnTo>
                  <a:pt x="2134" y="4013"/>
                </a:lnTo>
                <a:close/>
                <a:moveTo>
                  <a:pt x="2132" y="3926"/>
                </a:moveTo>
                <a:lnTo>
                  <a:pt x="2134" y="3931"/>
                </a:lnTo>
                <a:lnTo>
                  <a:pt x="2132" y="3934"/>
                </a:lnTo>
                <a:lnTo>
                  <a:pt x="2125" y="3935"/>
                </a:lnTo>
                <a:lnTo>
                  <a:pt x="2119" y="3932"/>
                </a:lnTo>
                <a:lnTo>
                  <a:pt x="2117" y="3929"/>
                </a:lnTo>
                <a:lnTo>
                  <a:pt x="2122" y="3925"/>
                </a:lnTo>
                <a:lnTo>
                  <a:pt x="2129" y="3925"/>
                </a:lnTo>
                <a:lnTo>
                  <a:pt x="2132" y="3926"/>
                </a:lnTo>
                <a:close/>
                <a:moveTo>
                  <a:pt x="2305" y="3091"/>
                </a:moveTo>
                <a:lnTo>
                  <a:pt x="2306" y="3090"/>
                </a:lnTo>
                <a:lnTo>
                  <a:pt x="2305" y="3091"/>
                </a:lnTo>
                <a:lnTo>
                  <a:pt x="2305" y="3091"/>
                </a:lnTo>
                <a:close/>
                <a:moveTo>
                  <a:pt x="2482" y="3866"/>
                </a:moveTo>
                <a:lnTo>
                  <a:pt x="2482" y="3868"/>
                </a:lnTo>
                <a:lnTo>
                  <a:pt x="2482" y="3868"/>
                </a:lnTo>
                <a:lnTo>
                  <a:pt x="2482" y="3868"/>
                </a:lnTo>
                <a:lnTo>
                  <a:pt x="2481" y="3866"/>
                </a:lnTo>
                <a:lnTo>
                  <a:pt x="2481" y="3866"/>
                </a:lnTo>
                <a:lnTo>
                  <a:pt x="2481" y="3865"/>
                </a:lnTo>
                <a:lnTo>
                  <a:pt x="2481" y="3865"/>
                </a:lnTo>
                <a:lnTo>
                  <a:pt x="2482" y="3866"/>
                </a:lnTo>
                <a:close/>
                <a:moveTo>
                  <a:pt x="2463" y="9824"/>
                </a:moveTo>
                <a:lnTo>
                  <a:pt x="2472" y="9825"/>
                </a:lnTo>
                <a:lnTo>
                  <a:pt x="2482" y="9830"/>
                </a:lnTo>
                <a:lnTo>
                  <a:pt x="2485" y="9836"/>
                </a:lnTo>
                <a:lnTo>
                  <a:pt x="2473" y="9840"/>
                </a:lnTo>
                <a:lnTo>
                  <a:pt x="2466" y="9841"/>
                </a:lnTo>
                <a:lnTo>
                  <a:pt x="2462" y="9838"/>
                </a:lnTo>
                <a:lnTo>
                  <a:pt x="2460" y="9830"/>
                </a:lnTo>
                <a:lnTo>
                  <a:pt x="2463" y="9824"/>
                </a:lnTo>
                <a:close/>
                <a:moveTo>
                  <a:pt x="2536" y="9667"/>
                </a:moveTo>
                <a:lnTo>
                  <a:pt x="2537" y="9668"/>
                </a:lnTo>
                <a:lnTo>
                  <a:pt x="2536" y="9668"/>
                </a:lnTo>
                <a:lnTo>
                  <a:pt x="2536" y="9667"/>
                </a:lnTo>
                <a:lnTo>
                  <a:pt x="2536" y="9667"/>
                </a:lnTo>
                <a:close/>
                <a:moveTo>
                  <a:pt x="2536" y="9766"/>
                </a:moveTo>
                <a:lnTo>
                  <a:pt x="2516" y="9788"/>
                </a:lnTo>
                <a:lnTo>
                  <a:pt x="2505" y="9765"/>
                </a:lnTo>
                <a:lnTo>
                  <a:pt x="2505" y="9733"/>
                </a:lnTo>
                <a:lnTo>
                  <a:pt x="2525" y="9729"/>
                </a:lnTo>
                <a:lnTo>
                  <a:pt x="2532" y="9737"/>
                </a:lnTo>
                <a:lnTo>
                  <a:pt x="2537" y="9746"/>
                </a:lnTo>
                <a:lnTo>
                  <a:pt x="2537" y="9756"/>
                </a:lnTo>
                <a:lnTo>
                  <a:pt x="2536" y="9766"/>
                </a:lnTo>
                <a:close/>
                <a:moveTo>
                  <a:pt x="2693" y="10008"/>
                </a:moveTo>
                <a:lnTo>
                  <a:pt x="2683" y="10007"/>
                </a:lnTo>
                <a:lnTo>
                  <a:pt x="2668" y="10002"/>
                </a:lnTo>
                <a:lnTo>
                  <a:pt x="2657" y="9994"/>
                </a:lnTo>
                <a:lnTo>
                  <a:pt x="2654" y="9988"/>
                </a:lnTo>
                <a:lnTo>
                  <a:pt x="2665" y="9989"/>
                </a:lnTo>
                <a:lnTo>
                  <a:pt x="2682" y="9994"/>
                </a:lnTo>
                <a:lnTo>
                  <a:pt x="2693" y="10000"/>
                </a:lnTo>
                <a:lnTo>
                  <a:pt x="2693" y="10008"/>
                </a:lnTo>
                <a:close/>
                <a:moveTo>
                  <a:pt x="2622" y="3773"/>
                </a:moveTo>
                <a:lnTo>
                  <a:pt x="2650" y="3781"/>
                </a:lnTo>
                <a:lnTo>
                  <a:pt x="2681" y="3795"/>
                </a:lnTo>
                <a:lnTo>
                  <a:pt x="2692" y="3808"/>
                </a:lnTo>
                <a:lnTo>
                  <a:pt x="2659" y="3813"/>
                </a:lnTo>
                <a:lnTo>
                  <a:pt x="2615" y="3836"/>
                </a:lnTo>
                <a:lnTo>
                  <a:pt x="2595" y="3831"/>
                </a:lnTo>
                <a:lnTo>
                  <a:pt x="2599" y="3806"/>
                </a:lnTo>
                <a:lnTo>
                  <a:pt x="2622" y="3773"/>
                </a:lnTo>
                <a:close/>
                <a:moveTo>
                  <a:pt x="2390" y="3780"/>
                </a:moveTo>
                <a:lnTo>
                  <a:pt x="2413" y="3694"/>
                </a:lnTo>
                <a:lnTo>
                  <a:pt x="2457" y="3679"/>
                </a:lnTo>
                <a:lnTo>
                  <a:pt x="2508" y="3661"/>
                </a:lnTo>
                <a:lnTo>
                  <a:pt x="2556" y="3570"/>
                </a:lnTo>
                <a:lnTo>
                  <a:pt x="2604" y="3565"/>
                </a:lnTo>
                <a:lnTo>
                  <a:pt x="2579" y="3646"/>
                </a:lnTo>
                <a:lnTo>
                  <a:pt x="2514" y="3733"/>
                </a:lnTo>
                <a:lnTo>
                  <a:pt x="2443" y="3740"/>
                </a:lnTo>
                <a:lnTo>
                  <a:pt x="2415" y="3722"/>
                </a:lnTo>
                <a:lnTo>
                  <a:pt x="2399" y="3758"/>
                </a:lnTo>
                <a:lnTo>
                  <a:pt x="2393" y="3794"/>
                </a:lnTo>
                <a:lnTo>
                  <a:pt x="2390" y="3780"/>
                </a:lnTo>
                <a:close/>
                <a:moveTo>
                  <a:pt x="2998" y="2518"/>
                </a:moveTo>
                <a:lnTo>
                  <a:pt x="2981" y="2506"/>
                </a:lnTo>
                <a:lnTo>
                  <a:pt x="2988" y="2490"/>
                </a:lnTo>
                <a:lnTo>
                  <a:pt x="3004" y="2472"/>
                </a:lnTo>
                <a:lnTo>
                  <a:pt x="3019" y="2457"/>
                </a:lnTo>
                <a:lnTo>
                  <a:pt x="3021" y="2467"/>
                </a:lnTo>
                <a:lnTo>
                  <a:pt x="3013" y="2486"/>
                </a:lnTo>
                <a:lnTo>
                  <a:pt x="3004" y="2507"/>
                </a:lnTo>
                <a:lnTo>
                  <a:pt x="2998" y="2518"/>
                </a:lnTo>
                <a:close/>
                <a:moveTo>
                  <a:pt x="3116" y="2195"/>
                </a:moveTo>
                <a:lnTo>
                  <a:pt x="3116" y="2195"/>
                </a:lnTo>
                <a:lnTo>
                  <a:pt x="3116" y="2195"/>
                </a:lnTo>
                <a:close/>
                <a:moveTo>
                  <a:pt x="2997" y="2089"/>
                </a:moveTo>
                <a:lnTo>
                  <a:pt x="3032" y="2108"/>
                </a:lnTo>
                <a:lnTo>
                  <a:pt x="3062" y="2094"/>
                </a:lnTo>
                <a:lnTo>
                  <a:pt x="3091" y="2094"/>
                </a:lnTo>
                <a:lnTo>
                  <a:pt x="3125" y="2152"/>
                </a:lnTo>
                <a:lnTo>
                  <a:pt x="3087" y="2183"/>
                </a:lnTo>
                <a:lnTo>
                  <a:pt x="3021" y="2157"/>
                </a:lnTo>
                <a:lnTo>
                  <a:pt x="2974" y="2112"/>
                </a:lnTo>
                <a:lnTo>
                  <a:pt x="2997" y="2089"/>
                </a:lnTo>
                <a:close/>
                <a:moveTo>
                  <a:pt x="3269" y="2036"/>
                </a:moveTo>
                <a:lnTo>
                  <a:pt x="3279" y="2023"/>
                </a:lnTo>
                <a:lnTo>
                  <a:pt x="3288" y="2041"/>
                </a:lnTo>
                <a:lnTo>
                  <a:pt x="3296" y="2073"/>
                </a:lnTo>
                <a:lnTo>
                  <a:pt x="3305" y="2096"/>
                </a:lnTo>
                <a:lnTo>
                  <a:pt x="3324" y="2117"/>
                </a:lnTo>
                <a:lnTo>
                  <a:pt x="3363" y="2112"/>
                </a:lnTo>
                <a:lnTo>
                  <a:pt x="3396" y="2103"/>
                </a:lnTo>
                <a:lnTo>
                  <a:pt x="3396" y="2117"/>
                </a:lnTo>
                <a:lnTo>
                  <a:pt x="3319" y="2161"/>
                </a:lnTo>
                <a:lnTo>
                  <a:pt x="3293" y="2147"/>
                </a:lnTo>
                <a:lnTo>
                  <a:pt x="3287" y="2099"/>
                </a:lnTo>
                <a:lnTo>
                  <a:pt x="3269" y="2036"/>
                </a:lnTo>
                <a:close/>
                <a:moveTo>
                  <a:pt x="3311" y="1993"/>
                </a:moveTo>
                <a:lnTo>
                  <a:pt x="3311" y="1993"/>
                </a:lnTo>
                <a:lnTo>
                  <a:pt x="3310" y="1993"/>
                </a:lnTo>
                <a:lnTo>
                  <a:pt x="3310" y="1993"/>
                </a:lnTo>
                <a:lnTo>
                  <a:pt x="3311" y="1993"/>
                </a:lnTo>
                <a:close/>
                <a:moveTo>
                  <a:pt x="3310" y="1993"/>
                </a:moveTo>
                <a:lnTo>
                  <a:pt x="3311" y="1993"/>
                </a:lnTo>
                <a:lnTo>
                  <a:pt x="3311" y="1993"/>
                </a:lnTo>
                <a:lnTo>
                  <a:pt x="3312" y="1993"/>
                </a:lnTo>
                <a:lnTo>
                  <a:pt x="3310" y="1993"/>
                </a:lnTo>
                <a:close/>
                <a:moveTo>
                  <a:pt x="3391" y="1939"/>
                </a:moveTo>
                <a:lnTo>
                  <a:pt x="3396" y="1944"/>
                </a:lnTo>
                <a:lnTo>
                  <a:pt x="3395" y="1949"/>
                </a:lnTo>
                <a:lnTo>
                  <a:pt x="3391" y="1953"/>
                </a:lnTo>
                <a:lnTo>
                  <a:pt x="3385" y="1954"/>
                </a:lnTo>
                <a:lnTo>
                  <a:pt x="3382" y="1951"/>
                </a:lnTo>
                <a:lnTo>
                  <a:pt x="3384" y="1944"/>
                </a:lnTo>
                <a:lnTo>
                  <a:pt x="3386" y="1939"/>
                </a:lnTo>
                <a:lnTo>
                  <a:pt x="3391" y="1939"/>
                </a:lnTo>
                <a:close/>
                <a:moveTo>
                  <a:pt x="3647" y="1900"/>
                </a:moveTo>
                <a:lnTo>
                  <a:pt x="3656" y="1903"/>
                </a:lnTo>
                <a:lnTo>
                  <a:pt x="3668" y="1897"/>
                </a:lnTo>
                <a:lnTo>
                  <a:pt x="3679" y="1889"/>
                </a:lnTo>
                <a:lnTo>
                  <a:pt x="3686" y="1888"/>
                </a:lnTo>
                <a:lnTo>
                  <a:pt x="3675" y="1901"/>
                </a:lnTo>
                <a:lnTo>
                  <a:pt x="3659" y="1916"/>
                </a:lnTo>
                <a:lnTo>
                  <a:pt x="3647" y="1920"/>
                </a:lnTo>
                <a:lnTo>
                  <a:pt x="3647" y="1900"/>
                </a:lnTo>
                <a:close/>
                <a:moveTo>
                  <a:pt x="3879" y="1380"/>
                </a:moveTo>
                <a:lnTo>
                  <a:pt x="3880" y="1380"/>
                </a:lnTo>
                <a:lnTo>
                  <a:pt x="3879" y="1380"/>
                </a:lnTo>
                <a:lnTo>
                  <a:pt x="3878" y="1380"/>
                </a:lnTo>
                <a:lnTo>
                  <a:pt x="3879" y="1380"/>
                </a:lnTo>
                <a:close/>
                <a:moveTo>
                  <a:pt x="4080" y="1676"/>
                </a:moveTo>
                <a:lnTo>
                  <a:pt x="4073" y="1669"/>
                </a:lnTo>
                <a:lnTo>
                  <a:pt x="4062" y="1668"/>
                </a:lnTo>
                <a:lnTo>
                  <a:pt x="4052" y="1667"/>
                </a:lnTo>
                <a:lnTo>
                  <a:pt x="4043" y="1664"/>
                </a:lnTo>
                <a:lnTo>
                  <a:pt x="4051" y="1658"/>
                </a:lnTo>
                <a:lnTo>
                  <a:pt x="4062" y="1660"/>
                </a:lnTo>
                <a:lnTo>
                  <a:pt x="4073" y="1667"/>
                </a:lnTo>
                <a:lnTo>
                  <a:pt x="4080" y="1676"/>
                </a:lnTo>
                <a:close/>
                <a:moveTo>
                  <a:pt x="4166" y="1374"/>
                </a:moveTo>
                <a:lnTo>
                  <a:pt x="4192" y="1317"/>
                </a:lnTo>
                <a:lnTo>
                  <a:pt x="4242" y="1280"/>
                </a:lnTo>
                <a:lnTo>
                  <a:pt x="4304" y="1267"/>
                </a:lnTo>
                <a:lnTo>
                  <a:pt x="4372" y="1281"/>
                </a:lnTo>
                <a:lnTo>
                  <a:pt x="4326" y="1336"/>
                </a:lnTo>
                <a:lnTo>
                  <a:pt x="4231" y="1388"/>
                </a:lnTo>
                <a:lnTo>
                  <a:pt x="4154" y="1410"/>
                </a:lnTo>
                <a:lnTo>
                  <a:pt x="4166" y="1374"/>
                </a:lnTo>
                <a:close/>
                <a:moveTo>
                  <a:pt x="4181" y="1124"/>
                </a:moveTo>
                <a:lnTo>
                  <a:pt x="4180" y="1132"/>
                </a:lnTo>
                <a:lnTo>
                  <a:pt x="4177" y="1137"/>
                </a:lnTo>
                <a:lnTo>
                  <a:pt x="4176" y="1135"/>
                </a:lnTo>
                <a:lnTo>
                  <a:pt x="4177" y="1131"/>
                </a:lnTo>
                <a:lnTo>
                  <a:pt x="4180" y="1127"/>
                </a:lnTo>
                <a:lnTo>
                  <a:pt x="4181" y="1124"/>
                </a:lnTo>
                <a:close/>
                <a:moveTo>
                  <a:pt x="4576" y="2287"/>
                </a:moveTo>
                <a:lnTo>
                  <a:pt x="4610" y="2284"/>
                </a:lnTo>
                <a:lnTo>
                  <a:pt x="4644" y="2279"/>
                </a:lnTo>
                <a:lnTo>
                  <a:pt x="4666" y="2288"/>
                </a:lnTo>
                <a:lnTo>
                  <a:pt x="4656" y="2321"/>
                </a:lnTo>
                <a:lnTo>
                  <a:pt x="4647" y="2298"/>
                </a:lnTo>
                <a:lnTo>
                  <a:pt x="4630" y="2292"/>
                </a:lnTo>
                <a:lnTo>
                  <a:pt x="4618" y="2301"/>
                </a:lnTo>
                <a:lnTo>
                  <a:pt x="4618" y="2323"/>
                </a:lnTo>
                <a:lnTo>
                  <a:pt x="4577" y="2317"/>
                </a:lnTo>
                <a:lnTo>
                  <a:pt x="4540" y="2298"/>
                </a:lnTo>
                <a:lnTo>
                  <a:pt x="4531" y="2283"/>
                </a:lnTo>
                <a:lnTo>
                  <a:pt x="4576" y="2287"/>
                </a:lnTo>
                <a:close/>
                <a:moveTo>
                  <a:pt x="2949" y="10690"/>
                </a:moveTo>
                <a:lnTo>
                  <a:pt x="2944" y="10692"/>
                </a:lnTo>
                <a:lnTo>
                  <a:pt x="2939" y="10693"/>
                </a:lnTo>
                <a:lnTo>
                  <a:pt x="2934" y="10695"/>
                </a:lnTo>
                <a:lnTo>
                  <a:pt x="2932" y="10698"/>
                </a:lnTo>
                <a:lnTo>
                  <a:pt x="2933" y="10694"/>
                </a:lnTo>
                <a:lnTo>
                  <a:pt x="2938" y="10692"/>
                </a:lnTo>
                <a:lnTo>
                  <a:pt x="2944" y="10690"/>
                </a:lnTo>
                <a:lnTo>
                  <a:pt x="2949" y="10690"/>
                </a:lnTo>
                <a:close/>
                <a:moveTo>
                  <a:pt x="3003" y="10771"/>
                </a:moveTo>
                <a:lnTo>
                  <a:pt x="3000" y="10773"/>
                </a:lnTo>
                <a:lnTo>
                  <a:pt x="2997" y="10769"/>
                </a:lnTo>
                <a:lnTo>
                  <a:pt x="2993" y="10762"/>
                </a:lnTo>
                <a:lnTo>
                  <a:pt x="2991" y="10757"/>
                </a:lnTo>
                <a:lnTo>
                  <a:pt x="2994" y="10754"/>
                </a:lnTo>
                <a:lnTo>
                  <a:pt x="2998" y="10758"/>
                </a:lnTo>
                <a:lnTo>
                  <a:pt x="3002" y="10764"/>
                </a:lnTo>
                <a:lnTo>
                  <a:pt x="3003" y="10771"/>
                </a:lnTo>
                <a:close/>
                <a:moveTo>
                  <a:pt x="2769" y="10487"/>
                </a:moveTo>
                <a:lnTo>
                  <a:pt x="2769" y="10487"/>
                </a:lnTo>
                <a:lnTo>
                  <a:pt x="2769" y="10487"/>
                </a:lnTo>
                <a:close/>
                <a:moveTo>
                  <a:pt x="2048" y="9144"/>
                </a:moveTo>
                <a:lnTo>
                  <a:pt x="1973" y="9164"/>
                </a:lnTo>
                <a:lnTo>
                  <a:pt x="1920" y="9215"/>
                </a:lnTo>
                <a:lnTo>
                  <a:pt x="1889" y="9286"/>
                </a:lnTo>
                <a:lnTo>
                  <a:pt x="1873" y="9365"/>
                </a:lnTo>
                <a:lnTo>
                  <a:pt x="1864" y="9381"/>
                </a:lnTo>
                <a:lnTo>
                  <a:pt x="1831" y="9398"/>
                </a:lnTo>
                <a:lnTo>
                  <a:pt x="1816" y="9419"/>
                </a:lnTo>
                <a:lnTo>
                  <a:pt x="1857" y="9442"/>
                </a:lnTo>
                <a:lnTo>
                  <a:pt x="2006" y="9316"/>
                </a:lnTo>
                <a:lnTo>
                  <a:pt x="2062" y="9305"/>
                </a:lnTo>
                <a:lnTo>
                  <a:pt x="2017" y="9373"/>
                </a:lnTo>
                <a:lnTo>
                  <a:pt x="1866" y="9481"/>
                </a:lnTo>
                <a:lnTo>
                  <a:pt x="1808" y="9499"/>
                </a:lnTo>
                <a:lnTo>
                  <a:pt x="1791" y="9453"/>
                </a:lnTo>
                <a:lnTo>
                  <a:pt x="1780" y="9383"/>
                </a:lnTo>
                <a:lnTo>
                  <a:pt x="1745" y="9331"/>
                </a:lnTo>
                <a:lnTo>
                  <a:pt x="1687" y="9339"/>
                </a:lnTo>
                <a:lnTo>
                  <a:pt x="1640" y="9327"/>
                </a:lnTo>
                <a:lnTo>
                  <a:pt x="1630" y="9300"/>
                </a:lnTo>
                <a:lnTo>
                  <a:pt x="1684" y="9263"/>
                </a:lnTo>
                <a:lnTo>
                  <a:pt x="1678" y="9211"/>
                </a:lnTo>
                <a:lnTo>
                  <a:pt x="1682" y="9146"/>
                </a:lnTo>
                <a:lnTo>
                  <a:pt x="1701" y="9111"/>
                </a:lnTo>
                <a:lnTo>
                  <a:pt x="1733" y="9149"/>
                </a:lnTo>
                <a:lnTo>
                  <a:pt x="1779" y="9146"/>
                </a:lnTo>
                <a:lnTo>
                  <a:pt x="1824" y="9118"/>
                </a:lnTo>
                <a:lnTo>
                  <a:pt x="1866" y="9106"/>
                </a:lnTo>
                <a:lnTo>
                  <a:pt x="1901" y="9149"/>
                </a:lnTo>
                <a:lnTo>
                  <a:pt x="1956" y="9098"/>
                </a:lnTo>
                <a:lnTo>
                  <a:pt x="2010" y="9094"/>
                </a:lnTo>
                <a:lnTo>
                  <a:pt x="2045" y="9117"/>
                </a:lnTo>
                <a:lnTo>
                  <a:pt x="2048" y="9144"/>
                </a:lnTo>
                <a:close/>
                <a:moveTo>
                  <a:pt x="2055" y="9381"/>
                </a:moveTo>
                <a:lnTo>
                  <a:pt x="2057" y="9381"/>
                </a:lnTo>
                <a:lnTo>
                  <a:pt x="2057" y="9381"/>
                </a:lnTo>
                <a:lnTo>
                  <a:pt x="2055" y="9381"/>
                </a:lnTo>
                <a:lnTo>
                  <a:pt x="2055" y="9381"/>
                </a:lnTo>
                <a:close/>
                <a:moveTo>
                  <a:pt x="1997" y="9566"/>
                </a:moveTo>
                <a:lnTo>
                  <a:pt x="1962" y="9644"/>
                </a:lnTo>
                <a:lnTo>
                  <a:pt x="1889" y="9681"/>
                </a:lnTo>
                <a:lnTo>
                  <a:pt x="1806" y="9706"/>
                </a:lnTo>
                <a:lnTo>
                  <a:pt x="1743" y="9757"/>
                </a:lnTo>
                <a:lnTo>
                  <a:pt x="1759" y="9810"/>
                </a:lnTo>
                <a:lnTo>
                  <a:pt x="1727" y="9830"/>
                </a:lnTo>
                <a:lnTo>
                  <a:pt x="1671" y="9832"/>
                </a:lnTo>
                <a:lnTo>
                  <a:pt x="1619" y="9838"/>
                </a:lnTo>
                <a:lnTo>
                  <a:pt x="1631" y="9787"/>
                </a:lnTo>
                <a:lnTo>
                  <a:pt x="1675" y="9768"/>
                </a:lnTo>
                <a:lnTo>
                  <a:pt x="1723" y="9754"/>
                </a:lnTo>
                <a:lnTo>
                  <a:pt x="1749" y="9718"/>
                </a:lnTo>
                <a:lnTo>
                  <a:pt x="1789" y="9634"/>
                </a:lnTo>
                <a:lnTo>
                  <a:pt x="1871" y="9545"/>
                </a:lnTo>
                <a:lnTo>
                  <a:pt x="1954" y="9505"/>
                </a:lnTo>
                <a:lnTo>
                  <a:pt x="1997" y="9566"/>
                </a:lnTo>
                <a:close/>
                <a:moveTo>
                  <a:pt x="1780" y="8395"/>
                </a:moveTo>
                <a:lnTo>
                  <a:pt x="1780" y="8416"/>
                </a:lnTo>
                <a:lnTo>
                  <a:pt x="1778" y="8413"/>
                </a:lnTo>
                <a:lnTo>
                  <a:pt x="1778" y="8397"/>
                </a:lnTo>
                <a:lnTo>
                  <a:pt x="1783" y="8376"/>
                </a:lnTo>
                <a:lnTo>
                  <a:pt x="1788" y="8369"/>
                </a:lnTo>
                <a:lnTo>
                  <a:pt x="1789" y="8374"/>
                </a:lnTo>
                <a:lnTo>
                  <a:pt x="1785" y="8385"/>
                </a:lnTo>
                <a:lnTo>
                  <a:pt x="1780" y="8395"/>
                </a:lnTo>
                <a:close/>
                <a:moveTo>
                  <a:pt x="1782" y="7946"/>
                </a:moveTo>
                <a:lnTo>
                  <a:pt x="1780" y="7946"/>
                </a:lnTo>
                <a:lnTo>
                  <a:pt x="1780" y="7946"/>
                </a:lnTo>
                <a:lnTo>
                  <a:pt x="1780" y="7945"/>
                </a:lnTo>
                <a:lnTo>
                  <a:pt x="1782" y="7943"/>
                </a:lnTo>
                <a:lnTo>
                  <a:pt x="1783" y="7945"/>
                </a:lnTo>
                <a:lnTo>
                  <a:pt x="1782" y="7946"/>
                </a:lnTo>
                <a:close/>
                <a:moveTo>
                  <a:pt x="1765" y="7503"/>
                </a:moveTo>
                <a:lnTo>
                  <a:pt x="1700" y="7478"/>
                </a:lnTo>
                <a:lnTo>
                  <a:pt x="1654" y="7428"/>
                </a:lnTo>
                <a:lnTo>
                  <a:pt x="1654" y="7395"/>
                </a:lnTo>
                <a:lnTo>
                  <a:pt x="1727" y="7416"/>
                </a:lnTo>
                <a:lnTo>
                  <a:pt x="1782" y="7409"/>
                </a:lnTo>
                <a:lnTo>
                  <a:pt x="1796" y="7425"/>
                </a:lnTo>
                <a:lnTo>
                  <a:pt x="1785" y="7458"/>
                </a:lnTo>
                <a:lnTo>
                  <a:pt x="1765" y="7503"/>
                </a:lnTo>
                <a:close/>
                <a:moveTo>
                  <a:pt x="1648" y="7245"/>
                </a:moveTo>
                <a:lnTo>
                  <a:pt x="1649" y="7245"/>
                </a:lnTo>
                <a:lnTo>
                  <a:pt x="1648" y="7245"/>
                </a:lnTo>
                <a:close/>
                <a:moveTo>
                  <a:pt x="1617" y="5953"/>
                </a:moveTo>
                <a:lnTo>
                  <a:pt x="1629" y="5946"/>
                </a:lnTo>
                <a:lnTo>
                  <a:pt x="1639" y="5942"/>
                </a:lnTo>
                <a:lnTo>
                  <a:pt x="1649" y="5944"/>
                </a:lnTo>
                <a:lnTo>
                  <a:pt x="1659" y="5953"/>
                </a:lnTo>
                <a:lnTo>
                  <a:pt x="1652" y="5958"/>
                </a:lnTo>
                <a:lnTo>
                  <a:pt x="1639" y="5960"/>
                </a:lnTo>
                <a:lnTo>
                  <a:pt x="1626" y="5958"/>
                </a:lnTo>
                <a:lnTo>
                  <a:pt x="1617" y="5953"/>
                </a:lnTo>
                <a:close/>
                <a:moveTo>
                  <a:pt x="1601" y="5153"/>
                </a:moveTo>
                <a:lnTo>
                  <a:pt x="1584" y="5130"/>
                </a:lnTo>
                <a:lnTo>
                  <a:pt x="1592" y="5106"/>
                </a:lnTo>
                <a:lnTo>
                  <a:pt x="1614" y="5092"/>
                </a:lnTo>
                <a:lnTo>
                  <a:pt x="1636" y="5102"/>
                </a:lnTo>
                <a:lnTo>
                  <a:pt x="1642" y="5129"/>
                </a:lnTo>
                <a:lnTo>
                  <a:pt x="1639" y="5156"/>
                </a:lnTo>
                <a:lnTo>
                  <a:pt x="1625" y="5168"/>
                </a:lnTo>
                <a:lnTo>
                  <a:pt x="1601" y="5153"/>
                </a:lnTo>
                <a:close/>
                <a:moveTo>
                  <a:pt x="1663" y="4568"/>
                </a:moveTo>
                <a:lnTo>
                  <a:pt x="1687" y="4547"/>
                </a:lnTo>
                <a:lnTo>
                  <a:pt x="1699" y="4550"/>
                </a:lnTo>
                <a:lnTo>
                  <a:pt x="1703" y="4566"/>
                </a:lnTo>
                <a:lnTo>
                  <a:pt x="1701" y="4596"/>
                </a:lnTo>
                <a:lnTo>
                  <a:pt x="1682" y="4610"/>
                </a:lnTo>
                <a:lnTo>
                  <a:pt x="1654" y="4593"/>
                </a:lnTo>
                <a:lnTo>
                  <a:pt x="1640" y="4571"/>
                </a:lnTo>
                <a:lnTo>
                  <a:pt x="1663" y="4568"/>
                </a:lnTo>
                <a:close/>
                <a:moveTo>
                  <a:pt x="1650" y="4902"/>
                </a:moveTo>
                <a:lnTo>
                  <a:pt x="1663" y="4902"/>
                </a:lnTo>
                <a:lnTo>
                  <a:pt x="1668" y="4915"/>
                </a:lnTo>
                <a:lnTo>
                  <a:pt x="1668" y="4932"/>
                </a:lnTo>
                <a:lnTo>
                  <a:pt x="1671" y="4942"/>
                </a:lnTo>
                <a:lnTo>
                  <a:pt x="1661" y="4936"/>
                </a:lnTo>
                <a:lnTo>
                  <a:pt x="1648" y="4925"/>
                </a:lnTo>
                <a:lnTo>
                  <a:pt x="1642" y="4914"/>
                </a:lnTo>
                <a:lnTo>
                  <a:pt x="1650" y="4902"/>
                </a:lnTo>
                <a:close/>
                <a:moveTo>
                  <a:pt x="1765" y="5279"/>
                </a:moveTo>
                <a:lnTo>
                  <a:pt x="1785" y="5348"/>
                </a:lnTo>
                <a:lnTo>
                  <a:pt x="1741" y="5377"/>
                </a:lnTo>
                <a:lnTo>
                  <a:pt x="1692" y="5422"/>
                </a:lnTo>
                <a:lnTo>
                  <a:pt x="1704" y="5536"/>
                </a:lnTo>
                <a:lnTo>
                  <a:pt x="1677" y="5498"/>
                </a:lnTo>
                <a:lnTo>
                  <a:pt x="1656" y="5452"/>
                </a:lnTo>
                <a:lnTo>
                  <a:pt x="1656" y="5412"/>
                </a:lnTo>
                <a:lnTo>
                  <a:pt x="1694" y="5381"/>
                </a:lnTo>
                <a:lnTo>
                  <a:pt x="1708" y="5334"/>
                </a:lnTo>
                <a:lnTo>
                  <a:pt x="1704" y="5277"/>
                </a:lnTo>
                <a:lnTo>
                  <a:pt x="1713" y="5245"/>
                </a:lnTo>
                <a:lnTo>
                  <a:pt x="1765" y="5279"/>
                </a:lnTo>
                <a:close/>
                <a:moveTo>
                  <a:pt x="1740" y="4780"/>
                </a:moveTo>
                <a:lnTo>
                  <a:pt x="1754" y="4783"/>
                </a:lnTo>
                <a:lnTo>
                  <a:pt x="1761" y="4794"/>
                </a:lnTo>
                <a:lnTo>
                  <a:pt x="1760" y="4809"/>
                </a:lnTo>
                <a:lnTo>
                  <a:pt x="1747" y="4820"/>
                </a:lnTo>
                <a:lnTo>
                  <a:pt x="1729" y="4812"/>
                </a:lnTo>
                <a:lnTo>
                  <a:pt x="1723" y="4804"/>
                </a:lnTo>
                <a:lnTo>
                  <a:pt x="1727" y="4794"/>
                </a:lnTo>
                <a:lnTo>
                  <a:pt x="1740" y="4780"/>
                </a:lnTo>
                <a:close/>
                <a:moveTo>
                  <a:pt x="1778" y="4894"/>
                </a:moveTo>
                <a:lnTo>
                  <a:pt x="1775" y="4902"/>
                </a:lnTo>
                <a:lnTo>
                  <a:pt x="1768" y="4911"/>
                </a:lnTo>
                <a:lnTo>
                  <a:pt x="1760" y="4920"/>
                </a:lnTo>
                <a:lnTo>
                  <a:pt x="1754" y="4928"/>
                </a:lnTo>
                <a:lnTo>
                  <a:pt x="1759" y="4920"/>
                </a:lnTo>
                <a:lnTo>
                  <a:pt x="1765" y="4909"/>
                </a:lnTo>
                <a:lnTo>
                  <a:pt x="1771" y="4899"/>
                </a:lnTo>
                <a:lnTo>
                  <a:pt x="1778" y="4894"/>
                </a:lnTo>
                <a:close/>
                <a:moveTo>
                  <a:pt x="1813" y="5801"/>
                </a:moveTo>
                <a:lnTo>
                  <a:pt x="1812" y="5811"/>
                </a:lnTo>
                <a:lnTo>
                  <a:pt x="1806" y="5816"/>
                </a:lnTo>
                <a:lnTo>
                  <a:pt x="1797" y="5818"/>
                </a:lnTo>
                <a:lnTo>
                  <a:pt x="1788" y="5818"/>
                </a:lnTo>
                <a:lnTo>
                  <a:pt x="1751" y="5806"/>
                </a:lnTo>
                <a:lnTo>
                  <a:pt x="1759" y="5772"/>
                </a:lnTo>
                <a:lnTo>
                  <a:pt x="1785" y="5755"/>
                </a:lnTo>
                <a:lnTo>
                  <a:pt x="1813" y="5801"/>
                </a:lnTo>
                <a:close/>
                <a:moveTo>
                  <a:pt x="1810" y="8796"/>
                </a:moveTo>
                <a:lnTo>
                  <a:pt x="1802" y="8789"/>
                </a:lnTo>
                <a:lnTo>
                  <a:pt x="1796" y="8776"/>
                </a:lnTo>
                <a:lnTo>
                  <a:pt x="1793" y="8764"/>
                </a:lnTo>
                <a:lnTo>
                  <a:pt x="1797" y="8759"/>
                </a:lnTo>
                <a:lnTo>
                  <a:pt x="1803" y="8777"/>
                </a:lnTo>
                <a:lnTo>
                  <a:pt x="1810" y="8796"/>
                </a:lnTo>
                <a:close/>
                <a:moveTo>
                  <a:pt x="1830" y="8829"/>
                </a:moveTo>
                <a:lnTo>
                  <a:pt x="1825" y="8820"/>
                </a:lnTo>
                <a:lnTo>
                  <a:pt x="1821" y="8810"/>
                </a:lnTo>
                <a:lnTo>
                  <a:pt x="1826" y="8819"/>
                </a:lnTo>
                <a:lnTo>
                  <a:pt x="1830" y="8829"/>
                </a:lnTo>
                <a:close/>
                <a:moveTo>
                  <a:pt x="1835" y="9085"/>
                </a:moveTo>
                <a:lnTo>
                  <a:pt x="1835" y="9085"/>
                </a:lnTo>
                <a:lnTo>
                  <a:pt x="1835" y="9085"/>
                </a:lnTo>
                <a:close/>
                <a:moveTo>
                  <a:pt x="1833" y="8981"/>
                </a:moveTo>
                <a:lnTo>
                  <a:pt x="1835" y="8969"/>
                </a:lnTo>
                <a:lnTo>
                  <a:pt x="1841" y="8966"/>
                </a:lnTo>
                <a:lnTo>
                  <a:pt x="1850" y="8967"/>
                </a:lnTo>
                <a:lnTo>
                  <a:pt x="1862" y="8969"/>
                </a:lnTo>
                <a:lnTo>
                  <a:pt x="1848" y="8974"/>
                </a:lnTo>
                <a:lnTo>
                  <a:pt x="1833" y="8981"/>
                </a:lnTo>
                <a:close/>
                <a:moveTo>
                  <a:pt x="1825" y="8568"/>
                </a:moveTo>
                <a:lnTo>
                  <a:pt x="1852" y="8542"/>
                </a:lnTo>
                <a:lnTo>
                  <a:pt x="1864" y="8570"/>
                </a:lnTo>
                <a:lnTo>
                  <a:pt x="1856" y="8609"/>
                </a:lnTo>
                <a:lnTo>
                  <a:pt x="1819" y="8614"/>
                </a:lnTo>
                <a:lnTo>
                  <a:pt x="1803" y="8600"/>
                </a:lnTo>
                <a:lnTo>
                  <a:pt x="1798" y="8582"/>
                </a:lnTo>
                <a:lnTo>
                  <a:pt x="1805" y="8570"/>
                </a:lnTo>
                <a:lnTo>
                  <a:pt x="1825" y="8568"/>
                </a:lnTo>
                <a:close/>
                <a:moveTo>
                  <a:pt x="1871" y="8313"/>
                </a:moveTo>
                <a:lnTo>
                  <a:pt x="1884" y="8311"/>
                </a:lnTo>
                <a:lnTo>
                  <a:pt x="1881" y="8324"/>
                </a:lnTo>
                <a:lnTo>
                  <a:pt x="1872" y="8342"/>
                </a:lnTo>
                <a:lnTo>
                  <a:pt x="1866" y="8356"/>
                </a:lnTo>
                <a:lnTo>
                  <a:pt x="1861" y="8341"/>
                </a:lnTo>
                <a:lnTo>
                  <a:pt x="1853" y="8323"/>
                </a:lnTo>
                <a:lnTo>
                  <a:pt x="1854" y="8310"/>
                </a:lnTo>
                <a:lnTo>
                  <a:pt x="1871" y="8313"/>
                </a:lnTo>
                <a:close/>
                <a:moveTo>
                  <a:pt x="1877" y="7503"/>
                </a:moveTo>
                <a:lnTo>
                  <a:pt x="1872" y="7504"/>
                </a:lnTo>
                <a:lnTo>
                  <a:pt x="1868" y="7504"/>
                </a:lnTo>
                <a:lnTo>
                  <a:pt x="1875" y="7502"/>
                </a:lnTo>
                <a:lnTo>
                  <a:pt x="1877" y="7503"/>
                </a:lnTo>
                <a:close/>
                <a:moveTo>
                  <a:pt x="1884" y="4499"/>
                </a:moveTo>
                <a:lnTo>
                  <a:pt x="1881" y="4503"/>
                </a:lnTo>
                <a:lnTo>
                  <a:pt x="1878" y="4507"/>
                </a:lnTo>
                <a:lnTo>
                  <a:pt x="1884" y="4499"/>
                </a:lnTo>
                <a:close/>
                <a:moveTo>
                  <a:pt x="1892" y="8449"/>
                </a:moveTo>
                <a:lnTo>
                  <a:pt x="1884" y="8450"/>
                </a:lnTo>
                <a:lnTo>
                  <a:pt x="1871" y="8454"/>
                </a:lnTo>
                <a:lnTo>
                  <a:pt x="1859" y="8455"/>
                </a:lnTo>
                <a:lnTo>
                  <a:pt x="1850" y="8450"/>
                </a:lnTo>
                <a:lnTo>
                  <a:pt x="1861" y="8444"/>
                </a:lnTo>
                <a:lnTo>
                  <a:pt x="1871" y="8441"/>
                </a:lnTo>
                <a:lnTo>
                  <a:pt x="1881" y="8442"/>
                </a:lnTo>
                <a:lnTo>
                  <a:pt x="1892" y="8449"/>
                </a:lnTo>
                <a:close/>
                <a:moveTo>
                  <a:pt x="1890" y="5501"/>
                </a:moveTo>
                <a:lnTo>
                  <a:pt x="1892" y="5496"/>
                </a:lnTo>
                <a:lnTo>
                  <a:pt x="1894" y="5494"/>
                </a:lnTo>
                <a:lnTo>
                  <a:pt x="1894" y="5497"/>
                </a:lnTo>
                <a:lnTo>
                  <a:pt x="1892" y="5501"/>
                </a:lnTo>
                <a:lnTo>
                  <a:pt x="1890" y="5506"/>
                </a:lnTo>
                <a:lnTo>
                  <a:pt x="1889" y="5507"/>
                </a:lnTo>
                <a:lnTo>
                  <a:pt x="1889" y="5505"/>
                </a:lnTo>
                <a:lnTo>
                  <a:pt x="1890" y="5501"/>
                </a:lnTo>
                <a:close/>
                <a:moveTo>
                  <a:pt x="1903" y="8215"/>
                </a:moveTo>
                <a:lnTo>
                  <a:pt x="1901" y="8218"/>
                </a:lnTo>
                <a:lnTo>
                  <a:pt x="1899" y="8221"/>
                </a:lnTo>
                <a:lnTo>
                  <a:pt x="1900" y="8217"/>
                </a:lnTo>
                <a:lnTo>
                  <a:pt x="1903" y="8215"/>
                </a:lnTo>
                <a:close/>
                <a:moveTo>
                  <a:pt x="1904" y="6066"/>
                </a:moveTo>
                <a:lnTo>
                  <a:pt x="1905" y="6067"/>
                </a:lnTo>
                <a:lnTo>
                  <a:pt x="1904" y="6068"/>
                </a:lnTo>
                <a:lnTo>
                  <a:pt x="1903" y="6070"/>
                </a:lnTo>
                <a:lnTo>
                  <a:pt x="1901" y="6070"/>
                </a:lnTo>
                <a:lnTo>
                  <a:pt x="1901" y="6068"/>
                </a:lnTo>
                <a:lnTo>
                  <a:pt x="1901" y="6067"/>
                </a:lnTo>
                <a:lnTo>
                  <a:pt x="1903" y="6067"/>
                </a:lnTo>
                <a:lnTo>
                  <a:pt x="1904" y="6066"/>
                </a:lnTo>
                <a:close/>
                <a:moveTo>
                  <a:pt x="1938" y="5008"/>
                </a:moveTo>
                <a:lnTo>
                  <a:pt x="1940" y="5008"/>
                </a:lnTo>
                <a:lnTo>
                  <a:pt x="1938" y="5008"/>
                </a:lnTo>
                <a:lnTo>
                  <a:pt x="1938" y="5008"/>
                </a:lnTo>
                <a:close/>
                <a:moveTo>
                  <a:pt x="1945" y="9041"/>
                </a:moveTo>
                <a:lnTo>
                  <a:pt x="1945" y="9041"/>
                </a:lnTo>
                <a:lnTo>
                  <a:pt x="1945" y="9041"/>
                </a:lnTo>
                <a:lnTo>
                  <a:pt x="1945" y="9041"/>
                </a:lnTo>
                <a:lnTo>
                  <a:pt x="1945" y="9041"/>
                </a:lnTo>
                <a:close/>
                <a:moveTo>
                  <a:pt x="1941" y="5684"/>
                </a:moveTo>
                <a:lnTo>
                  <a:pt x="1942" y="5683"/>
                </a:lnTo>
                <a:lnTo>
                  <a:pt x="1943" y="5683"/>
                </a:lnTo>
                <a:lnTo>
                  <a:pt x="1945" y="5683"/>
                </a:lnTo>
                <a:lnTo>
                  <a:pt x="1946" y="5684"/>
                </a:lnTo>
                <a:lnTo>
                  <a:pt x="1945" y="5685"/>
                </a:lnTo>
                <a:lnTo>
                  <a:pt x="1942" y="5685"/>
                </a:lnTo>
                <a:lnTo>
                  <a:pt x="1941" y="5685"/>
                </a:lnTo>
                <a:lnTo>
                  <a:pt x="1941" y="5684"/>
                </a:lnTo>
                <a:close/>
                <a:moveTo>
                  <a:pt x="2024" y="4426"/>
                </a:moveTo>
                <a:lnTo>
                  <a:pt x="2024" y="4426"/>
                </a:lnTo>
                <a:lnTo>
                  <a:pt x="2024" y="4426"/>
                </a:lnTo>
                <a:lnTo>
                  <a:pt x="2024" y="4426"/>
                </a:lnTo>
                <a:close/>
                <a:moveTo>
                  <a:pt x="1563" y="9120"/>
                </a:moveTo>
                <a:lnTo>
                  <a:pt x="1565" y="9113"/>
                </a:lnTo>
                <a:lnTo>
                  <a:pt x="1569" y="9106"/>
                </a:lnTo>
                <a:lnTo>
                  <a:pt x="1566" y="9113"/>
                </a:lnTo>
                <a:lnTo>
                  <a:pt x="1563" y="9120"/>
                </a:lnTo>
                <a:close/>
                <a:moveTo>
                  <a:pt x="1535" y="9201"/>
                </a:moveTo>
                <a:lnTo>
                  <a:pt x="1531" y="9200"/>
                </a:lnTo>
                <a:lnTo>
                  <a:pt x="1531" y="9199"/>
                </a:lnTo>
                <a:lnTo>
                  <a:pt x="1533" y="9199"/>
                </a:lnTo>
                <a:lnTo>
                  <a:pt x="1535" y="9201"/>
                </a:lnTo>
                <a:close/>
                <a:moveTo>
                  <a:pt x="1468" y="8574"/>
                </a:moveTo>
                <a:lnTo>
                  <a:pt x="1467" y="8572"/>
                </a:lnTo>
                <a:lnTo>
                  <a:pt x="1467" y="8571"/>
                </a:lnTo>
                <a:lnTo>
                  <a:pt x="1468" y="8568"/>
                </a:lnTo>
                <a:lnTo>
                  <a:pt x="1470" y="8568"/>
                </a:lnTo>
                <a:lnTo>
                  <a:pt x="1471" y="8568"/>
                </a:lnTo>
                <a:lnTo>
                  <a:pt x="1471" y="8571"/>
                </a:lnTo>
                <a:lnTo>
                  <a:pt x="1470" y="8572"/>
                </a:lnTo>
                <a:lnTo>
                  <a:pt x="1468" y="8574"/>
                </a:lnTo>
                <a:close/>
                <a:moveTo>
                  <a:pt x="1616" y="6119"/>
                </a:moveTo>
                <a:lnTo>
                  <a:pt x="1593" y="6203"/>
                </a:lnTo>
                <a:lnTo>
                  <a:pt x="1594" y="6284"/>
                </a:lnTo>
                <a:lnTo>
                  <a:pt x="1569" y="6340"/>
                </a:lnTo>
                <a:lnTo>
                  <a:pt x="1468" y="6352"/>
                </a:lnTo>
                <a:lnTo>
                  <a:pt x="1482" y="6272"/>
                </a:lnTo>
                <a:lnTo>
                  <a:pt x="1524" y="6189"/>
                </a:lnTo>
                <a:lnTo>
                  <a:pt x="1538" y="6127"/>
                </a:lnTo>
                <a:lnTo>
                  <a:pt x="1470" y="6112"/>
                </a:lnTo>
                <a:lnTo>
                  <a:pt x="1417" y="6121"/>
                </a:lnTo>
                <a:lnTo>
                  <a:pt x="1401" y="6102"/>
                </a:lnTo>
                <a:lnTo>
                  <a:pt x="1434" y="6077"/>
                </a:lnTo>
                <a:lnTo>
                  <a:pt x="1528" y="6075"/>
                </a:lnTo>
                <a:lnTo>
                  <a:pt x="1543" y="6071"/>
                </a:lnTo>
                <a:lnTo>
                  <a:pt x="1556" y="6063"/>
                </a:lnTo>
                <a:lnTo>
                  <a:pt x="1563" y="6051"/>
                </a:lnTo>
                <a:lnTo>
                  <a:pt x="1563" y="6033"/>
                </a:lnTo>
                <a:lnTo>
                  <a:pt x="1587" y="6010"/>
                </a:lnTo>
                <a:lnTo>
                  <a:pt x="1607" y="6035"/>
                </a:lnTo>
                <a:lnTo>
                  <a:pt x="1619" y="6081"/>
                </a:lnTo>
                <a:lnTo>
                  <a:pt x="1616" y="6119"/>
                </a:lnTo>
                <a:close/>
                <a:moveTo>
                  <a:pt x="1487" y="7210"/>
                </a:moveTo>
                <a:lnTo>
                  <a:pt x="1491" y="7215"/>
                </a:lnTo>
                <a:lnTo>
                  <a:pt x="1495" y="7220"/>
                </a:lnTo>
                <a:lnTo>
                  <a:pt x="1491" y="7215"/>
                </a:lnTo>
                <a:lnTo>
                  <a:pt x="1487" y="7210"/>
                </a:lnTo>
                <a:close/>
                <a:moveTo>
                  <a:pt x="1482" y="7199"/>
                </a:moveTo>
                <a:lnTo>
                  <a:pt x="1482" y="7200"/>
                </a:lnTo>
                <a:lnTo>
                  <a:pt x="1485" y="7204"/>
                </a:lnTo>
                <a:lnTo>
                  <a:pt x="1482" y="7201"/>
                </a:lnTo>
                <a:lnTo>
                  <a:pt x="1482" y="7199"/>
                </a:lnTo>
                <a:close/>
                <a:moveTo>
                  <a:pt x="1578" y="7587"/>
                </a:moveTo>
                <a:lnTo>
                  <a:pt x="1549" y="7633"/>
                </a:lnTo>
                <a:lnTo>
                  <a:pt x="1501" y="7591"/>
                </a:lnTo>
                <a:lnTo>
                  <a:pt x="1465" y="7516"/>
                </a:lnTo>
                <a:lnTo>
                  <a:pt x="1470" y="7460"/>
                </a:lnTo>
                <a:lnTo>
                  <a:pt x="1537" y="7376"/>
                </a:lnTo>
                <a:lnTo>
                  <a:pt x="1558" y="7395"/>
                </a:lnTo>
                <a:lnTo>
                  <a:pt x="1560" y="7479"/>
                </a:lnTo>
                <a:lnTo>
                  <a:pt x="1578" y="7587"/>
                </a:lnTo>
                <a:close/>
                <a:moveTo>
                  <a:pt x="1423" y="6338"/>
                </a:moveTo>
                <a:lnTo>
                  <a:pt x="1428" y="6338"/>
                </a:lnTo>
                <a:lnTo>
                  <a:pt x="1434" y="6341"/>
                </a:lnTo>
                <a:lnTo>
                  <a:pt x="1439" y="6343"/>
                </a:lnTo>
                <a:lnTo>
                  <a:pt x="1442" y="6347"/>
                </a:lnTo>
                <a:lnTo>
                  <a:pt x="1438" y="6347"/>
                </a:lnTo>
                <a:lnTo>
                  <a:pt x="1431" y="6345"/>
                </a:lnTo>
                <a:lnTo>
                  <a:pt x="1425" y="6342"/>
                </a:lnTo>
                <a:lnTo>
                  <a:pt x="1423" y="6338"/>
                </a:lnTo>
                <a:close/>
                <a:moveTo>
                  <a:pt x="1425" y="6935"/>
                </a:moveTo>
                <a:lnTo>
                  <a:pt x="1434" y="6940"/>
                </a:lnTo>
                <a:lnTo>
                  <a:pt x="1430" y="6951"/>
                </a:lnTo>
                <a:lnTo>
                  <a:pt x="1423" y="6963"/>
                </a:lnTo>
                <a:lnTo>
                  <a:pt x="1419" y="6972"/>
                </a:lnTo>
                <a:lnTo>
                  <a:pt x="1419" y="6963"/>
                </a:lnTo>
                <a:lnTo>
                  <a:pt x="1419" y="6951"/>
                </a:lnTo>
                <a:lnTo>
                  <a:pt x="1420" y="6939"/>
                </a:lnTo>
                <a:lnTo>
                  <a:pt x="1425" y="6935"/>
                </a:lnTo>
                <a:close/>
                <a:moveTo>
                  <a:pt x="1437" y="7601"/>
                </a:moveTo>
                <a:lnTo>
                  <a:pt x="1425" y="7619"/>
                </a:lnTo>
                <a:lnTo>
                  <a:pt x="1415" y="7626"/>
                </a:lnTo>
                <a:lnTo>
                  <a:pt x="1411" y="7621"/>
                </a:lnTo>
                <a:lnTo>
                  <a:pt x="1416" y="7598"/>
                </a:lnTo>
                <a:lnTo>
                  <a:pt x="1430" y="7581"/>
                </a:lnTo>
                <a:lnTo>
                  <a:pt x="1440" y="7572"/>
                </a:lnTo>
                <a:lnTo>
                  <a:pt x="1443" y="7576"/>
                </a:lnTo>
                <a:lnTo>
                  <a:pt x="1437" y="7601"/>
                </a:lnTo>
                <a:close/>
                <a:moveTo>
                  <a:pt x="1398" y="7332"/>
                </a:moveTo>
                <a:lnTo>
                  <a:pt x="1398" y="7332"/>
                </a:lnTo>
                <a:lnTo>
                  <a:pt x="1398" y="7332"/>
                </a:lnTo>
                <a:lnTo>
                  <a:pt x="1398" y="7332"/>
                </a:lnTo>
                <a:close/>
                <a:moveTo>
                  <a:pt x="1396" y="6588"/>
                </a:moveTo>
                <a:lnTo>
                  <a:pt x="1397" y="6586"/>
                </a:lnTo>
                <a:lnTo>
                  <a:pt x="1397" y="6585"/>
                </a:lnTo>
                <a:lnTo>
                  <a:pt x="1398" y="6586"/>
                </a:lnTo>
                <a:lnTo>
                  <a:pt x="1398" y="6588"/>
                </a:lnTo>
                <a:lnTo>
                  <a:pt x="1398" y="6588"/>
                </a:lnTo>
                <a:lnTo>
                  <a:pt x="1397" y="6589"/>
                </a:lnTo>
                <a:lnTo>
                  <a:pt x="1397" y="6588"/>
                </a:lnTo>
                <a:lnTo>
                  <a:pt x="1396" y="6588"/>
                </a:lnTo>
                <a:close/>
                <a:moveTo>
                  <a:pt x="1389" y="7187"/>
                </a:moveTo>
                <a:lnTo>
                  <a:pt x="1374" y="7195"/>
                </a:lnTo>
                <a:lnTo>
                  <a:pt x="1369" y="7182"/>
                </a:lnTo>
                <a:lnTo>
                  <a:pt x="1370" y="7159"/>
                </a:lnTo>
                <a:lnTo>
                  <a:pt x="1373" y="7140"/>
                </a:lnTo>
                <a:lnTo>
                  <a:pt x="1386" y="7139"/>
                </a:lnTo>
                <a:lnTo>
                  <a:pt x="1393" y="7153"/>
                </a:lnTo>
                <a:lnTo>
                  <a:pt x="1396" y="7173"/>
                </a:lnTo>
                <a:lnTo>
                  <a:pt x="1389" y="7187"/>
                </a:lnTo>
                <a:close/>
                <a:moveTo>
                  <a:pt x="1382" y="7470"/>
                </a:moveTo>
                <a:lnTo>
                  <a:pt x="1369" y="7456"/>
                </a:lnTo>
                <a:lnTo>
                  <a:pt x="1358" y="7436"/>
                </a:lnTo>
                <a:lnTo>
                  <a:pt x="1350" y="7413"/>
                </a:lnTo>
                <a:lnTo>
                  <a:pt x="1346" y="7394"/>
                </a:lnTo>
                <a:lnTo>
                  <a:pt x="1368" y="7406"/>
                </a:lnTo>
                <a:lnTo>
                  <a:pt x="1383" y="7423"/>
                </a:lnTo>
                <a:lnTo>
                  <a:pt x="1389" y="7443"/>
                </a:lnTo>
                <a:lnTo>
                  <a:pt x="1382" y="7470"/>
                </a:lnTo>
                <a:close/>
                <a:moveTo>
                  <a:pt x="1358" y="7609"/>
                </a:moveTo>
                <a:lnTo>
                  <a:pt x="1360" y="7607"/>
                </a:lnTo>
                <a:lnTo>
                  <a:pt x="1363" y="7606"/>
                </a:lnTo>
                <a:lnTo>
                  <a:pt x="1360" y="7607"/>
                </a:lnTo>
                <a:lnTo>
                  <a:pt x="1358" y="7609"/>
                </a:lnTo>
                <a:close/>
                <a:moveTo>
                  <a:pt x="1304" y="7284"/>
                </a:moveTo>
                <a:lnTo>
                  <a:pt x="1262" y="7281"/>
                </a:lnTo>
                <a:lnTo>
                  <a:pt x="1257" y="7253"/>
                </a:lnTo>
                <a:lnTo>
                  <a:pt x="1272" y="7219"/>
                </a:lnTo>
                <a:lnTo>
                  <a:pt x="1290" y="7199"/>
                </a:lnTo>
                <a:lnTo>
                  <a:pt x="1318" y="7239"/>
                </a:lnTo>
                <a:lnTo>
                  <a:pt x="1352" y="7257"/>
                </a:lnTo>
                <a:lnTo>
                  <a:pt x="1360" y="7266"/>
                </a:lnTo>
                <a:lnTo>
                  <a:pt x="1304" y="7284"/>
                </a:lnTo>
                <a:close/>
                <a:moveTo>
                  <a:pt x="1210" y="7586"/>
                </a:moveTo>
                <a:lnTo>
                  <a:pt x="1174" y="7633"/>
                </a:lnTo>
                <a:lnTo>
                  <a:pt x="1135" y="7611"/>
                </a:lnTo>
                <a:lnTo>
                  <a:pt x="1094" y="7560"/>
                </a:lnTo>
                <a:lnTo>
                  <a:pt x="1048" y="7523"/>
                </a:lnTo>
                <a:lnTo>
                  <a:pt x="1102" y="7541"/>
                </a:lnTo>
                <a:lnTo>
                  <a:pt x="1181" y="7542"/>
                </a:lnTo>
                <a:lnTo>
                  <a:pt x="1233" y="7550"/>
                </a:lnTo>
                <a:lnTo>
                  <a:pt x="1210" y="7586"/>
                </a:lnTo>
                <a:close/>
                <a:moveTo>
                  <a:pt x="1051" y="7642"/>
                </a:moveTo>
                <a:lnTo>
                  <a:pt x="1046" y="7643"/>
                </a:lnTo>
                <a:lnTo>
                  <a:pt x="1039" y="7642"/>
                </a:lnTo>
                <a:lnTo>
                  <a:pt x="1035" y="7638"/>
                </a:lnTo>
                <a:lnTo>
                  <a:pt x="1038" y="7633"/>
                </a:lnTo>
                <a:lnTo>
                  <a:pt x="1044" y="7630"/>
                </a:lnTo>
                <a:lnTo>
                  <a:pt x="1049" y="7633"/>
                </a:lnTo>
                <a:lnTo>
                  <a:pt x="1053" y="7637"/>
                </a:lnTo>
                <a:lnTo>
                  <a:pt x="1051" y="7642"/>
                </a:lnTo>
                <a:close/>
                <a:moveTo>
                  <a:pt x="1188" y="7041"/>
                </a:moveTo>
                <a:lnTo>
                  <a:pt x="1175" y="6995"/>
                </a:lnTo>
                <a:lnTo>
                  <a:pt x="1188" y="6949"/>
                </a:lnTo>
                <a:lnTo>
                  <a:pt x="1198" y="6901"/>
                </a:lnTo>
                <a:lnTo>
                  <a:pt x="1179" y="6851"/>
                </a:lnTo>
                <a:lnTo>
                  <a:pt x="1163" y="6833"/>
                </a:lnTo>
                <a:lnTo>
                  <a:pt x="1181" y="6832"/>
                </a:lnTo>
                <a:lnTo>
                  <a:pt x="1212" y="6836"/>
                </a:lnTo>
                <a:lnTo>
                  <a:pt x="1235" y="6835"/>
                </a:lnTo>
                <a:lnTo>
                  <a:pt x="1220" y="6700"/>
                </a:lnTo>
                <a:lnTo>
                  <a:pt x="1251" y="6655"/>
                </a:lnTo>
                <a:lnTo>
                  <a:pt x="1293" y="6701"/>
                </a:lnTo>
                <a:lnTo>
                  <a:pt x="1310" y="6837"/>
                </a:lnTo>
                <a:lnTo>
                  <a:pt x="1344" y="6809"/>
                </a:lnTo>
                <a:lnTo>
                  <a:pt x="1373" y="6800"/>
                </a:lnTo>
                <a:lnTo>
                  <a:pt x="1384" y="6813"/>
                </a:lnTo>
                <a:lnTo>
                  <a:pt x="1364" y="6845"/>
                </a:lnTo>
                <a:lnTo>
                  <a:pt x="1337" y="6867"/>
                </a:lnTo>
                <a:lnTo>
                  <a:pt x="1346" y="6892"/>
                </a:lnTo>
                <a:lnTo>
                  <a:pt x="1358" y="6924"/>
                </a:lnTo>
                <a:lnTo>
                  <a:pt x="1332" y="6963"/>
                </a:lnTo>
                <a:lnTo>
                  <a:pt x="1321" y="6953"/>
                </a:lnTo>
                <a:lnTo>
                  <a:pt x="1305" y="6962"/>
                </a:lnTo>
                <a:lnTo>
                  <a:pt x="1294" y="6980"/>
                </a:lnTo>
                <a:lnTo>
                  <a:pt x="1291" y="6998"/>
                </a:lnTo>
                <a:lnTo>
                  <a:pt x="1326" y="7014"/>
                </a:lnTo>
                <a:lnTo>
                  <a:pt x="1356" y="7035"/>
                </a:lnTo>
                <a:lnTo>
                  <a:pt x="1363" y="7057"/>
                </a:lnTo>
                <a:lnTo>
                  <a:pt x="1328" y="7082"/>
                </a:lnTo>
                <a:lnTo>
                  <a:pt x="1314" y="7042"/>
                </a:lnTo>
                <a:lnTo>
                  <a:pt x="1277" y="7033"/>
                </a:lnTo>
                <a:lnTo>
                  <a:pt x="1230" y="7038"/>
                </a:lnTo>
                <a:lnTo>
                  <a:pt x="1188" y="7041"/>
                </a:lnTo>
                <a:close/>
                <a:moveTo>
                  <a:pt x="1125" y="6807"/>
                </a:moveTo>
                <a:lnTo>
                  <a:pt x="1072" y="6837"/>
                </a:lnTo>
                <a:lnTo>
                  <a:pt x="1072" y="6818"/>
                </a:lnTo>
                <a:lnTo>
                  <a:pt x="1108" y="6790"/>
                </a:lnTo>
                <a:lnTo>
                  <a:pt x="1163" y="6794"/>
                </a:lnTo>
                <a:lnTo>
                  <a:pt x="1158" y="6800"/>
                </a:lnTo>
                <a:lnTo>
                  <a:pt x="1146" y="6804"/>
                </a:lnTo>
                <a:lnTo>
                  <a:pt x="1133" y="6805"/>
                </a:lnTo>
                <a:lnTo>
                  <a:pt x="1125" y="6807"/>
                </a:lnTo>
                <a:close/>
                <a:moveTo>
                  <a:pt x="1290" y="6452"/>
                </a:moveTo>
                <a:lnTo>
                  <a:pt x="1263" y="6441"/>
                </a:lnTo>
                <a:lnTo>
                  <a:pt x="1249" y="6420"/>
                </a:lnTo>
                <a:lnTo>
                  <a:pt x="1252" y="6398"/>
                </a:lnTo>
                <a:lnTo>
                  <a:pt x="1279" y="6387"/>
                </a:lnTo>
                <a:lnTo>
                  <a:pt x="1289" y="6401"/>
                </a:lnTo>
                <a:lnTo>
                  <a:pt x="1294" y="6420"/>
                </a:lnTo>
                <a:lnTo>
                  <a:pt x="1295" y="6439"/>
                </a:lnTo>
                <a:lnTo>
                  <a:pt x="1290" y="6452"/>
                </a:lnTo>
                <a:close/>
                <a:moveTo>
                  <a:pt x="1200" y="6201"/>
                </a:moveTo>
                <a:lnTo>
                  <a:pt x="1228" y="6186"/>
                </a:lnTo>
                <a:lnTo>
                  <a:pt x="1245" y="6156"/>
                </a:lnTo>
                <a:lnTo>
                  <a:pt x="1263" y="6140"/>
                </a:lnTo>
                <a:lnTo>
                  <a:pt x="1286" y="6164"/>
                </a:lnTo>
                <a:lnTo>
                  <a:pt x="1328" y="6200"/>
                </a:lnTo>
                <a:lnTo>
                  <a:pt x="1360" y="6234"/>
                </a:lnTo>
                <a:lnTo>
                  <a:pt x="1359" y="6253"/>
                </a:lnTo>
                <a:lnTo>
                  <a:pt x="1303" y="6242"/>
                </a:lnTo>
                <a:lnTo>
                  <a:pt x="1286" y="6256"/>
                </a:lnTo>
                <a:lnTo>
                  <a:pt x="1265" y="6280"/>
                </a:lnTo>
                <a:lnTo>
                  <a:pt x="1251" y="6292"/>
                </a:lnTo>
                <a:lnTo>
                  <a:pt x="1253" y="6273"/>
                </a:lnTo>
                <a:lnTo>
                  <a:pt x="1274" y="6236"/>
                </a:lnTo>
                <a:lnTo>
                  <a:pt x="1224" y="6225"/>
                </a:lnTo>
                <a:lnTo>
                  <a:pt x="1175" y="6219"/>
                </a:lnTo>
                <a:lnTo>
                  <a:pt x="1200" y="6201"/>
                </a:lnTo>
                <a:close/>
                <a:moveTo>
                  <a:pt x="1203" y="5940"/>
                </a:moveTo>
                <a:lnTo>
                  <a:pt x="1203" y="5946"/>
                </a:lnTo>
                <a:lnTo>
                  <a:pt x="1202" y="5955"/>
                </a:lnTo>
                <a:lnTo>
                  <a:pt x="1200" y="5964"/>
                </a:lnTo>
                <a:lnTo>
                  <a:pt x="1197" y="5967"/>
                </a:lnTo>
                <a:lnTo>
                  <a:pt x="1195" y="5961"/>
                </a:lnTo>
                <a:lnTo>
                  <a:pt x="1197" y="5953"/>
                </a:lnTo>
                <a:lnTo>
                  <a:pt x="1202" y="5945"/>
                </a:lnTo>
                <a:lnTo>
                  <a:pt x="1203" y="5940"/>
                </a:lnTo>
                <a:close/>
                <a:moveTo>
                  <a:pt x="1428" y="5970"/>
                </a:moveTo>
                <a:lnTo>
                  <a:pt x="1431" y="5973"/>
                </a:lnTo>
                <a:lnTo>
                  <a:pt x="1433" y="5975"/>
                </a:lnTo>
                <a:lnTo>
                  <a:pt x="1430" y="5975"/>
                </a:lnTo>
                <a:lnTo>
                  <a:pt x="1426" y="5973"/>
                </a:lnTo>
                <a:lnTo>
                  <a:pt x="1421" y="5970"/>
                </a:lnTo>
                <a:lnTo>
                  <a:pt x="1421" y="5968"/>
                </a:lnTo>
                <a:lnTo>
                  <a:pt x="1424" y="5968"/>
                </a:lnTo>
                <a:lnTo>
                  <a:pt x="1428" y="5970"/>
                </a:lnTo>
                <a:close/>
                <a:moveTo>
                  <a:pt x="1491" y="5748"/>
                </a:moveTo>
                <a:lnTo>
                  <a:pt x="1489" y="5753"/>
                </a:lnTo>
                <a:lnTo>
                  <a:pt x="1486" y="5758"/>
                </a:lnTo>
                <a:lnTo>
                  <a:pt x="1484" y="5757"/>
                </a:lnTo>
                <a:lnTo>
                  <a:pt x="1486" y="5751"/>
                </a:lnTo>
                <a:lnTo>
                  <a:pt x="1491" y="5748"/>
                </a:lnTo>
                <a:lnTo>
                  <a:pt x="1491" y="5748"/>
                </a:lnTo>
                <a:close/>
                <a:moveTo>
                  <a:pt x="974" y="6723"/>
                </a:moveTo>
                <a:lnTo>
                  <a:pt x="962" y="6709"/>
                </a:lnTo>
                <a:lnTo>
                  <a:pt x="958" y="6692"/>
                </a:lnTo>
                <a:lnTo>
                  <a:pt x="960" y="6672"/>
                </a:lnTo>
                <a:lnTo>
                  <a:pt x="963" y="6649"/>
                </a:lnTo>
                <a:lnTo>
                  <a:pt x="972" y="6663"/>
                </a:lnTo>
                <a:lnTo>
                  <a:pt x="973" y="6683"/>
                </a:lnTo>
                <a:lnTo>
                  <a:pt x="972" y="6704"/>
                </a:lnTo>
                <a:lnTo>
                  <a:pt x="974" y="6723"/>
                </a:lnTo>
                <a:close/>
                <a:moveTo>
                  <a:pt x="1508" y="5163"/>
                </a:moveTo>
                <a:lnTo>
                  <a:pt x="1465" y="5180"/>
                </a:lnTo>
                <a:lnTo>
                  <a:pt x="1428" y="5156"/>
                </a:lnTo>
                <a:lnTo>
                  <a:pt x="1405" y="5114"/>
                </a:lnTo>
                <a:lnTo>
                  <a:pt x="1405" y="5073"/>
                </a:lnTo>
                <a:lnTo>
                  <a:pt x="1437" y="5093"/>
                </a:lnTo>
                <a:lnTo>
                  <a:pt x="1490" y="5123"/>
                </a:lnTo>
                <a:lnTo>
                  <a:pt x="1528" y="5151"/>
                </a:lnTo>
                <a:lnTo>
                  <a:pt x="1508" y="5163"/>
                </a:lnTo>
                <a:close/>
                <a:moveTo>
                  <a:pt x="1331" y="5218"/>
                </a:moveTo>
                <a:lnTo>
                  <a:pt x="1333" y="5218"/>
                </a:lnTo>
                <a:lnTo>
                  <a:pt x="1336" y="5219"/>
                </a:lnTo>
                <a:lnTo>
                  <a:pt x="1335" y="5219"/>
                </a:lnTo>
                <a:lnTo>
                  <a:pt x="1333" y="5219"/>
                </a:lnTo>
                <a:lnTo>
                  <a:pt x="1332" y="5219"/>
                </a:lnTo>
                <a:lnTo>
                  <a:pt x="1331" y="5218"/>
                </a:lnTo>
                <a:close/>
                <a:moveTo>
                  <a:pt x="1262" y="4911"/>
                </a:moveTo>
                <a:lnTo>
                  <a:pt x="1261" y="4904"/>
                </a:lnTo>
                <a:lnTo>
                  <a:pt x="1262" y="4895"/>
                </a:lnTo>
                <a:lnTo>
                  <a:pt x="1265" y="4890"/>
                </a:lnTo>
                <a:lnTo>
                  <a:pt x="1271" y="4891"/>
                </a:lnTo>
                <a:lnTo>
                  <a:pt x="1271" y="4896"/>
                </a:lnTo>
                <a:lnTo>
                  <a:pt x="1268" y="4901"/>
                </a:lnTo>
                <a:lnTo>
                  <a:pt x="1265" y="4906"/>
                </a:lnTo>
                <a:lnTo>
                  <a:pt x="1262" y="4911"/>
                </a:lnTo>
                <a:close/>
                <a:moveTo>
                  <a:pt x="2003" y="2976"/>
                </a:moveTo>
                <a:lnTo>
                  <a:pt x="2008" y="2978"/>
                </a:lnTo>
                <a:lnTo>
                  <a:pt x="2013" y="2979"/>
                </a:lnTo>
                <a:lnTo>
                  <a:pt x="2007" y="2979"/>
                </a:lnTo>
                <a:lnTo>
                  <a:pt x="2003" y="2976"/>
                </a:lnTo>
                <a:close/>
                <a:moveTo>
                  <a:pt x="1815" y="3157"/>
                </a:moveTo>
                <a:lnTo>
                  <a:pt x="1815" y="3156"/>
                </a:lnTo>
                <a:lnTo>
                  <a:pt x="1816" y="3155"/>
                </a:lnTo>
                <a:lnTo>
                  <a:pt x="1816" y="3157"/>
                </a:lnTo>
                <a:lnTo>
                  <a:pt x="1815" y="3157"/>
                </a:lnTo>
                <a:close/>
                <a:moveTo>
                  <a:pt x="8297" y="1416"/>
                </a:moveTo>
                <a:lnTo>
                  <a:pt x="8294" y="1415"/>
                </a:lnTo>
                <a:lnTo>
                  <a:pt x="8292" y="1413"/>
                </a:lnTo>
                <a:lnTo>
                  <a:pt x="8294" y="1415"/>
                </a:lnTo>
                <a:lnTo>
                  <a:pt x="8297" y="1416"/>
                </a:lnTo>
                <a:close/>
                <a:moveTo>
                  <a:pt x="9123" y="1800"/>
                </a:moveTo>
                <a:lnTo>
                  <a:pt x="9148" y="1817"/>
                </a:lnTo>
                <a:lnTo>
                  <a:pt x="9188" y="1832"/>
                </a:lnTo>
                <a:lnTo>
                  <a:pt x="9216" y="1847"/>
                </a:lnTo>
                <a:lnTo>
                  <a:pt x="9202" y="1864"/>
                </a:lnTo>
                <a:lnTo>
                  <a:pt x="9169" y="1863"/>
                </a:lnTo>
                <a:lnTo>
                  <a:pt x="9141" y="1849"/>
                </a:lnTo>
                <a:lnTo>
                  <a:pt x="9123" y="1827"/>
                </a:lnTo>
                <a:lnTo>
                  <a:pt x="9123" y="1800"/>
                </a:lnTo>
                <a:close/>
                <a:moveTo>
                  <a:pt x="9219" y="1681"/>
                </a:moveTo>
                <a:lnTo>
                  <a:pt x="9230" y="1698"/>
                </a:lnTo>
                <a:lnTo>
                  <a:pt x="9216" y="1697"/>
                </a:lnTo>
                <a:lnTo>
                  <a:pt x="9195" y="1687"/>
                </a:lnTo>
                <a:lnTo>
                  <a:pt x="9181" y="1674"/>
                </a:lnTo>
                <a:lnTo>
                  <a:pt x="9186" y="1672"/>
                </a:lnTo>
                <a:lnTo>
                  <a:pt x="9199" y="1674"/>
                </a:lnTo>
                <a:lnTo>
                  <a:pt x="9211" y="1678"/>
                </a:lnTo>
                <a:lnTo>
                  <a:pt x="9219" y="1681"/>
                </a:lnTo>
                <a:close/>
                <a:moveTo>
                  <a:pt x="8797" y="1298"/>
                </a:moveTo>
                <a:lnTo>
                  <a:pt x="8772" y="1294"/>
                </a:lnTo>
                <a:lnTo>
                  <a:pt x="8757" y="1277"/>
                </a:lnTo>
                <a:lnTo>
                  <a:pt x="8758" y="1261"/>
                </a:lnTo>
                <a:lnTo>
                  <a:pt x="8782" y="1253"/>
                </a:lnTo>
                <a:lnTo>
                  <a:pt x="8808" y="1261"/>
                </a:lnTo>
                <a:lnTo>
                  <a:pt x="8824" y="1275"/>
                </a:lnTo>
                <a:lnTo>
                  <a:pt x="8824" y="1290"/>
                </a:lnTo>
                <a:lnTo>
                  <a:pt x="8797" y="1298"/>
                </a:lnTo>
                <a:close/>
                <a:moveTo>
                  <a:pt x="9356" y="1803"/>
                </a:moveTo>
                <a:lnTo>
                  <a:pt x="9364" y="1804"/>
                </a:lnTo>
                <a:lnTo>
                  <a:pt x="9372" y="1808"/>
                </a:lnTo>
                <a:lnTo>
                  <a:pt x="9378" y="1814"/>
                </a:lnTo>
                <a:lnTo>
                  <a:pt x="9381" y="1822"/>
                </a:lnTo>
                <a:lnTo>
                  <a:pt x="9363" y="1835"/>
                </a:lnTo>
                <a:lnTo>
                  <a:pt x="9342" y="1824"/>
                </a:lnTo>
                <a:lnTo>
                  <a:pt x="9333" y="1809"/>
                </a:lnTo>
                <a:lnTo>
                  <a:pt x="9356" y="1803"/>
                </a:lnTo>
                <a:close/>
                <a:moveTo>
                  <a:pt x="9428" y="1971"/>
                </a:moveTo>
                <a:lnTo>
                  <a:pt x="9454" y="1947"/>
                </a:lnTo>
                <a:lnTo>
                  <a:pt x="9507" y="1962"/>
                </a:lnTo>
                <a:lnTo>
                  <a:pt x="9555" y="1996"/>
                </a:lnTo>
                <a:lnTo>
                  <a:pt x="9567" y="2032"/>
                </a:lnTo>
                <a:lnTo>
                  <a:pt x="9526" y="2029"/>
                </a:lnTo>
                <a:lnTo>
                  <a:pt x="9477" y="2021"/>
                </a:lnTo>
                <a:lnTo>
                  <a:pt x="9439" y="2003"/>
                </a:lnTo>
                <a:lnTo>
                  <a:pt x="9428" y="1971"/>
                </a:lnTo>
                <a:close/>
                <a:moveTo>
                  <a:pt x="9457" y="1816"/>
                </a:moveTo>
                <a:lnTo>
                  <a:pt x="9471" y="1831"/>
                </a:lnTo>
                <a:lnTo>
                  <a:pt x="9482" y="1849"/>
                </a:lnTo>
                <a:lnTo>
                  <a:pt x="9488" y="1868"/>
                </a:lnTo>
                <a:lnTo>
                  <a:pt x="9480" y="1883"/>
                </a:lnTo>
                <a:lnTo>
                  <a:pt x="9470" y="1866"/>
                </a:lnTo>
                <a:lnTo>
                  <a:pt x="9454" y="1844"/>
                </a:lnTo>
                <a:lnTo>
                  <a:pt x="9446" y="1823"/>
                </a:lnTo>
                <a:lnTo>
                  <a:pt x="9457" y="1816"/>
                </a:lnTo>
                <a:close/>
                <a:moveTo>
                  <a:pt x="9551" y="2084"/>
                </a:moveTo>
                <a:lnTo>
                  <a:pt x="9550" y="2083"/>
                </a:lnTo>
                <a:lnTo>
                  <a:pt x="9551" y="2082"/>
                </a:lnTo>
                <a:lnTo>
                  <a:pt x="9551" y="2083"/>
                </a:lnTo>
                <a:lnTo>
                  <a:pt x="9551" y="2084"/>
                </a:lnTo>
                <a:close/>
                <a:moveTo>
                  <a:pt x="9843" y="1854"/>
                </a:moveTo>
                <a:lnTo>
                  <a:pt x="9849" y="1865"/>
                </a:lnTo>
                <a:lnTo>
                  <a:pt x="9848" y="1868"/>
                </a:lnTo>
                <a:lnTo>
                  <a:pt x="9840" y="1864"/>
                </a:lnTo>
                <a:lnTo>
                  <a:pt x="9830" y="1859"/>
                </a:lnTo>
                <a:lnTo>
                  <a:pt x="9823" y="1854"/>
                </a:lnTo>
                <a:lnTo>
                  <a:pt x="9826" y="1851"/>
                </a:lnTo>
                <a:lnTo>
                  <a:pt x="9834" y="1851"/>
                </a:lnTo>
                <a:lnTo>
                  <a:pt x="9843" y="1854"/>
                </a:lnTo>
                <a:close/>
                <a:moveTo>
                  <a:pt x="9621" y="2091"/>
                </a:moveTo>
                <a:lnTo>
                  <a:pt x="9620" y="2091"/>
                </a:lnTo>
                <a:lnTo>
                  <a:pt x="9621" y="2092"/>
                </a:lnTo>
                <a:lnTo>
                  <a:pt x="9621" y="2091"/>
                </a:lnTo>
                <a:close/>
                <a:moveTo>
                  <a:pt x="9563" y="2261"/>
                </a:moveTo>
                <a:lnTo>
                  <a:pt x="9563" y="2260"/>
                </a:lnTo>
                <a:lnTo>
                  <a:pt x="9563" y="2260"/>
                </a:lnTo>
                <a:lnTo>
                  <a:pt x="9563" y="2260"/>
                </a:lnTo>
                <a:lnTo>
                  <a:pt x="9563" y="2261"/>
                </a:lnTo>
                <a:lnTo>
                  <a:pt x="9561" y="2261"/>
                </a:lnTo>
                <a:lnTo>
                  <a:pt x="9561" y="2262"/>
                </a:lnTo>
                <a:lnTo>
                  <a:pt x="9561" y="2261"/>
                </a:lnTo>
                <a:lnTo>
                  <a:pt x="9563" y="2261"/>
                </a:lnTo>
                <a:close/>
                <a:moveTo>
                  <a:pt x="9675" y="2849"/>
                </a:moveTo>
                <a:lnTo>
                  <a:pt x="9676" y="2848"/>
                </a:lnTo>
                <a:lnTo>
                  <a:pt x="9675" y="2849"/>
                </a:lnTo>
                <a:lnTo>
                  <a:pt x="9674" y="2850"/>
                </a:lnTo>
                <a:lnTo>
                  <a:pt x="9675" y="2849"/>
                </a:lnTo>
                <a:close/>
                <a:moveTo>
                  <a:pt x="9733" y="10379"/>
                </a:moveTo>
                <a:lnTo>
                  <a:pt x="9758" y="10357"/>
                </a:lnTo>
                <a:lnTo>
                  <a:pt x="9761" y="10380"/>
                </a:lnTo>
                <a:lnTo>
                  <a:pt x="9754" y="10419"/>
                </a:lnTo>
                <a:lnTo>
                  <a:pt x="9744" y="10452"/>
                </a:lnTo>
                <a:lnTo>
                  <a:pt x="9737" y="10436"/>
                </a:lnTo>
                <a:lnTo>
                  <a:pt x="9733" y="10417"/>
                </a:lnTo>
                <a:lnTo>
                  <a:pt x="9732" y="10398"/>
                </a:lnTo>
                <a:lnTo>
                  <a:pt x="9733" y="10379"/>
                </a:lnTo>
                <a:close/>
                <a:moveTo>
                  <a:pt x="10082" y="3133"/>
                </a:moveTo>
                <a:lnTo>
                  <a:pt x="10085" y="3136"/>
                </a:lnTo>
                <a:lnTo>
                  <a:pt x="10084" y="3136"/>
                </a:lnTo>
                <a:lnTo>
                  <a:pt x="10082" y="3134"/>
                </a:lnTo>
                <a:lnTo>
                  <a:pt x="10082" y="3133"/>
                </a:lnTo>
                <a:close/>
                <a:moveTo>
                  <a:pt x="10078" y="3125"/>
                </a:moveTo>
                <a:lnTo>
                  <a:pt x="10078" y="3125"/>
                </a:lnTo>
                <a:lnTo>
                  <a:pt x="10078" y="3125"/>
                </a:lnTo>
                <a:lnTo>
                  <a:pt x="10078" y="3125"/>
                </a:lnTo>
                <a:close/>
                <a:moveTo>
                  <a:pt x="10137" y="3324"/>
                </a:moveTo>
                <a:lnTo>
                  <a:pt x="10137" y="3325"/>
                </a:lnTo>
                <a:lnTo>
                  <a:pt x="10137" y="3324"/>
                </a:lnTo>
                <a:lnTo>
                  <a:pt x="10137" y="3324"/>
                </a:lnTo>
                <a:close/>
                <a:moveTo>
                  <a:pt x="9805" y="4002"/>
                </a:moveTo>
                <a:lnTo>
                  <a:pt x="9806" y="4000"/>
                </a:lnTo>
                <a:lnTo>
                  <a:pt x="9807" y="4000"/>
                </a:lnTo>
                <a:lnTo>
                  <a:pt x="9807" y="4001"/>
                </a:lnTo>
                <a:lnTo>
                  <a:pt x="9807" y="4004"/>
                </a:lnTo>
                <a:lnTo>
                  <a:pt x="9806" y="4005"/>
                </a:lnTo>
                <a:lnTo>
                  <a:pt x="9805" y="4006"/>
                </a:lnTo>
                <a:lnTo>
                  <a:pt x="9805" y="4005"/>
                </a:lnTo>
                <a:lnTo>
                  <a:pt x="9805" y="4002"/>
                </a:lnTo>
                <a:close/>
                <a:moveTo>
                  <a:pt x="9886" y="4244"/>
                </a:moveTo>
                <a:lnTo>
                  <a:pt x="9894" y="4252"/>
                </a:lnTo>
                <a:lnTo>
                  <a:pt x="9904" y="4257"/>
                </a:lnTo>
                <a:lnTo>
                  <a:pt x="9909" y="4265"/>
                </a:lnTo>
                <a:lnTo>
                  <a:pt x="9904" y="4275"/>
                </a:lnTo>
                <a:lnTo>
                  <a:pt x="9889" y="4281"/>
                </a:lnTo>
                <a:lnTo>
                  <a:pt x="9879" y="4271"/>
                </a:lnTo>
                <a:lnTo>
                  <a:pt x="9877" y="4254"/>
                </a:lnTo>
                <a:lnTo>
                  <a:pt x="9886" y="4244"/>
                </a:lnTo>
                <a:close/>
                <a:moveTo>
                  <a:pt x="9891" y="9868"/>
                </a:moveTo>
                <a:lnTo>
                  <a:pt x="9893" y="9867"/>
                </a:lnTo>
                <a:lnTo>
                  <a:pt x="9894" y="9867"/>
                </a:lnTo>
                <a:lnTo>
                  <a:pt x="9894" y="9868"/>
                </a:lnTo>
                <a:lnTo>
                  <a:pt x="9895" y="9869"/>
                </a:lnTo>
                <a:lnTo>
                  <a:pt x="9893" y="9869"/>
                </a:lnTo>
                <a:lnTo>
                  <a:pt x="9891" y="9868"/>
                </a:lnTo>
                <a:close/>
                <a:moveTo>
                  <a:pt x="9932" y="9687"/>
                </a:moveTo>
                <a:lnTo>
                  <a:pt x="9951" y="9676"/>
                </a:lnTo>
                <a:lnTo>
                  <a:pt x="9960" y="9699"/>
                </a:lnTo>
                <a:lnTo>
                  <a:pt x="9956" y="9727"/>
                </a:lnTo>
                <a:lnTo>
                  <a:pt x="9935" y="9727"/>
                </a:lnTo>
                <a:lnTo>
                  <a:pt x="9927" y="9719"/>
                </a:lnTo>
                <a:lnTo>
                  <a:pt x="9926" y="9709"/>
                </a:lnTo>
                <a:lnTo>
                  <a:pt x="9928" y="9698"/>
                </a:lnTo>
                <a:lnTo>
                  <a:pt x="9932" y="9687"/>
                </a:lnTo>
                <a:close/>
                <a:moveTo>
                  <a:pt x="10005" y="3878"/>
                </a:moveTo>
                <a:lnTo>
                  <a:pt x="10011" y="3889"/>
                </a:lnTo>
                <a:lnTo>
                  <a:pt x="10010" y="3907"/>
                </a:lnTo>
                <a:lnTo>
                  <a:pt x="10002" y="3921"/>
                </a:lnTo>
                <a:lnTo>
                  <a:pt x="9989" y="3922"/>
                </a:lnTo>
                <a:lnTo>
                  <a:pt x="9980" y="3910"/>
                </a:lnTo>
                <a:lnTo>
                  <a:pt x="9987" y="3894"/>
                </a:lnTo>
                <a:lnTo>
                  <a:pt x="9998" y="3882"/>
                </a:lnTo>
                <a:lnTo>
                  <a:pt x="10005" y="3878"/>
                </a:lnTo>
                <a:close/>
                <a:moveTo>
                  <a:pt x="10005" y="3846"/>
                </a:moveTo>
                <a:lnTo>
                  <a:pt x="10006" y="3845"/>
                </a:lnTo>
                <a:lnTo>
                  <a:pt x="10005" y="3846"/>
                </a:lnTo>
                <a:close/>
                <a:moveTo>
                  <a:pt x="10017" y="3780"/>
                </a:moveTo>
                <a:lnTo>
                  <a:pt x="10039" y="3768"/>
                </a:lnTo>
                <a:lnTo>
                  <a:pt x="10061" y="3791"/>
                </a:lnTo>
                <a:lnTo>
                  <a:pt x="10068" y="3823"/>
                </a:lnTo>
                <a:lnTo>
                  <a:pt x="10053" y="3834"/>
                </a:lnTo>
                <a:lnTo>
                  <a:pt x="10035" y="3827"/>
                </a:lnTo>
                <a:lnTo>
                  <a:pt x="10020" y="3814"/>
                </a:lnTo>
                <a:lnTo>
                  <a:pt x="10011" y="3798"/>
                </a:lnTo>
                <a:lnTo>
                  <a:pt x="10017" y="3780"/>
                </a:lnTo>
                <a:close/>
                <a:moveTo>
                  <a:pt x="10078" y="4028"/>
                </a:moveTo>
                <a:lnTo>
                  <a:pt x="10081" y="4029"/>
                </a:lnTo>
                <a:lnTo>
                  <a:pt x="10080" y="4033"/>
                </a:lnTo>
                <a:lnTo>
                  <a:pt x="10076" y="4038"/>
                </a:lnTo>
                <a:lnTo>
                  <a:pt x="10075" y="4039"/>
                </a:lnTo>
                <a:lnTo>
                  <a:pt x="10076" y="4033"/>
                </a:lnTo>
                <a:lnTo>
                  <a:pt x="10078" y="4028"/>
                </a:lnTo>
                <a:close/>
                <a:moveTo>
                  <a:pt x="10089" y="3692"/>
                </a:moveTo>
                <a:lnTo>
                  <a:pt x="10135" y="3682"/>
                </a:lnTo>
                <a:lnTo>
                  <a:pt x="10188" y="3646"/>
                </a:lnTo>
                <a:lnTo>
                  <a:pt x="10222" y="3636"/>
                </a:lnTo>
                <a:lnTo>
                  <a:pt x="10217" y="3698"/>
                </a:lnTo>
                <a:lnTo>
                  <a:pt x="10238" y="3726"/>
                </a:lnTo>
                <a:lnTo>
                  <a:pt x="10289" y="3742"/>
                </a:lnTo>
                <a:lnTo>
                  <a:pt x="10332" y="3761"/>
                </a:lnTo>
                <a:lnTo>
                  <a:pt x="10332" y="3805"/>
                </a:lnTo>
                <a:lnTo>
                  <a:pt x="10259" y="3792"/>
                </a:lnTo>
                <a:lnTo>
                  <a:pt x="10193" y="3757"/>
                </a:lnTo>
                <a:lnTo>
                  <a:pt x="10142" y="3747"/>
                </a:lnTo>
                <a:lnTo>
                  <a:pt x="10114" y="3813"/>
                </a:lnTo>
                <a:lnTo>
                  <a:pt x="10114" y="3772"/>
                </a:lnTo>
                <a:lnTo>
                  <a:pt x="10099" y="3738"/>
                </a:lnTo>
                <a:lnTo>
                  <a:pt x="10085" y="3711"/>
                </a:lnTo>
                <a:lnTo>
                  <a:pt x="10089" y="3692"/>
                </a:lnTo>
                <a:close/>
                <a:moveTo>
                  <a:pt x="10115" y="3580"/>
                </a:moveTo>
                <a:lnTo>
                  <a:pt x="10117" y="3581"/>
                </a:lnTo>
                <a:lnTo>
                  <a:pt x="10115" y="3580"/>
                </a:lnTo>
                <a:lnTo>
                  <a:pt x="10115" y="3580"/>
                </a:lnTo>
                <a:close/>
                <a:moveTo>
                  <a:pt x="10364" y="4164"/>
                </a:moveTo>
                <a:lnTo>
                  <a:pt x="10379" y="4168"/>
                </a:lnTo>
                <a:lnTo>
                  <a:pt x="10396" y="4181"/>
                </a:lnTo>
                <a:lnTo>
                  <a:pt x="10411" y="4196"/>
                </a:lnTo>
                <a:lnTo>
                  <a:pt x="10422" y="4209"/>
                </a:lnTo>
                <a:lnTo>
                  <a:pt x="10426" y="4226"/>
                </a:lnTo>
                <a:lnTo>
                  <a:pt x="10398" y="4226"/>
                </a:lnTo>
                <a:lnTo>
                  <a:pt x="10370" y="4230"/>
                </a:lnTo>
                <a:lnTo>
                  <a:pt x="10373" y="4254"/>
                </a:lnTo>
                <a:lnTo>
                  <a:pt x="10326" y="4347"/>
                </a:lnTo>
                <a:lnTo>
                  <a:pt x="10286" y="4332"/>
                </a:lnTo>
                <a:lnTo>
                  <a:pt x="10287" y="4256"/>
                </a:lnTo>
                <a:lnTo>
                  <a:pt x="10364" y="4164"/>
                </a:lnTo>
                <a:close/>
                <a:moveTo>
                  <a:pt x="10448" y="4405"/>
                </a:moveTo>
                <a:lnTo>
                  <a:pt x="10464" y="4407"/>
                </a:lnTo>
                <a:lnTo>
                  <a:pt x="10473" y="4410"/>
                </a:lnTo>
                <a:lnTo>
                  <a:pt x="10473" y="4417"/>
                </a:lnTo>
                <a:lnTo>
                  <a:pt x="10467" y="4435"/>
                </a:lnTo>
                <a:lnTo>
                  <a:pt x="10457" y="4512"/>
                </a:lnTo>
                <a:lnTo>
                  <a:pt x="10393" y="4475"/>
                </a:lnTo>
                <a:lnTo>
                  <a:pt x="10361" y="4410"/>
                </a:lnTo>
                <a:lnTo>
                  <a:pt x="10448" y="4405"/>
                </a:lnTo>
                <a:close/>
                <a:moveTo>
                  <a:pt x="10452" y="4023"/>
                </a:moveTo>
                <a:lnTo>
                  <a:pt x="10457" y="4019"/>
                </a:lnTo>
                <a:lnTo>
                  <a:pt x="10457" y="4023"/>
                </a:lnTo>
                <a:lnTo>
                  <a:pt x="10453" y="4027"/>
                </a:lnTo>
                <a:lnTo>
                  <a:pt x="10448" y="4028"/>
                </a:lnTo>
                <a:lnTo>
                  <a:pt x="10449" y="4025"/>
                </a:lnTo>
                <a:lnTo>
                  <a:pt x="10452" y="4023"/>
                </a:lnTo>
                <a:close/>
                <a:moveTo>
                  <a:pt x="10469" y="4249"/>
                </a:moveTo>
                <a:lnTo>
                  <a:pt x="10487" y="4253"/>
                </a:lnTo>
                <a:lnTo>
                  <a:pt x="10469" y="4274"/>
                </a:lnTo>
                <a:lnTo>
                  <a:pt x="10450" y="4283"/>
                </a:lnTo>
                <a:lnTo>
                  <a:pt x="10466" y="4254"/>
                </a:lnTo>
                <a:lnTo>
                  <a:pt x="10468" y="4253"/>
                </a:lnTo>
                <a:lnTo>
                  <a:pt x="10469" y="4249"/>
                </a:lnTo>
                <a:close/>
                <a:moveTo>
                  <a:pt x="10434" y="5040"/>
                </a:moveTo>
                <a:lnTo>
                  <a:pt x="10467" y="5045"/>
                </a:lnTo>
                <a:lnTo>
                  <a:pt x="10476" y="5076"/>
                </a:lnTo>
                <a:lnTo>
                  <a:pt x="10467" y="5110"/>
                </a:lnTo>
                <a:lnTo>
                  <a:pt x="10447" y="5126"/>
                </a:lnTo>
                <a:lnTo>
                  <a:pt x="10426" y="5109"/>
                </a:lnTo>
                <a:lnTo>
                  <a:pt x="10412" y="5082"/>
                </a:lnTo>
                <a:lnTo>
                  <a:pt x="10412" y="5055"/>
                </a:lnTo>
                <a:lnTo>
                  <a:pt x="10434" y="5040"/>
                </a:lnTo>
                <a:close/>
                <a:moveTo>
                  <a:pt x="10482" y="4971"/>
                </a:moveTo>
                <a:lnTo>
                  <a:pt x="10492" y="4967"/>
                </a:lnTo>
                <a:lnTo>
                  <a:pt x="10494" y="4979"/>
                </a:lnTo>
                <a:lnTo>
                  <a:pt x="10489" y="4990"/>
                </a:lnTo>
                <a:lnTo>
                  <a:pt x="10476" y="4990"/>
                </a:lnTo>
                <a:lnTo>
                  <a:pt x="10478" y="4981"/>
                </a:lnTo>
                <a:lnTo>
                  <a:pt x="10482" y="4971"/>
                </a:lnTo>
                <a:close/>
                <a:moveTo>
                  <a:pt x="10500" y="5697"/>
                </a:moveTo>
                <a:lnTo>
                  <a:pt x="10525" y="5734"/>
                </a:lnTo>
                <a:lnTo>
                  <a:pt x="10537" y="5774"/>
                </a:lnTo>
                <a:lnTo>
                  <a:pt x="10527" y="5806"/>
                </a:lnTo>
                <a:lnTo>
                  <a:pt x="10486" y="5818"/>
                </a:lnTo>
                <a:lnTo>
                  <a:pt x="10505" y="5787"/>
                </a:lnTo>
                <a:lnTo>
                  <a:pt x="10506" y="5754"/>
                </a:lnTo>
                <a:lnTo>
                  <a:pt x="10501" y="5722"/>
                </a:lnTo>
                <a:lnTo>
                  <a:pt x="10500" y="5697"/>
                </a:lnTo>
                <a:close/>
                <a:moveTo>
                  <a:pt x="10592" y="9255"/>
                </a:moveTo>
                <a:lnTo>
                  <a:pt x="10575" y="9299"/>
                </a:lnTo>
                <a:lnTo>
                  <a:pt x="10529" y="9288"/>
                </a:lnTo>
                <a:lnTo>
                  <a:pt x="10471" y="9262"/>
                </a:lnTo>
                <a:lnTo>
                  <a:pt x="10421" y="9262"/>
                </a:lnTo>
                <a:lnTo>
                  <a:pt x="10457" y="9220"/>
                </a:lnTo>
                <a:lnTo>
                  <a:pt x="10508" y="9201"/>
                </a:lnTo>
                <a:lnTo>
                  <a:pt x="10557" y="9210"/>
                </a:lnTo>
                <a:lnTo>
                  <a:pt x="10592" y="9255"/>
                </a:lnTo>
                <a:close/>
                <a:moveTo>
                  <a:pt x="10615" y="5525"/>
                </a:moveTo>
                <a:lnTo>
                  <a:pt x="10629" y="5496"/>
                </a:lnTo>
                <a:lnTo>
                  <a:pt x="10638" y="5512"/>
                </a:lnTo>
                <a:lnTo>
                  <a:pt x="10632" y="5543"/>
                </a:lnTo>
                <a:lnTo>
                  <a:pt x="10602" y="5552"/>
                </a:lnTo>
                <a:lnTo>
                  <a:pt x="10596" y="5547"/>
                </a:lnTo>
                <a:lnTo>
                  <a:pt x="10601" y="5538"/>
                </a:lnTo>
                <a:lnTo>
                  <a:pt x="10610" y="5529"/>
                </a:lnTo>
                <a:lnTo>
                  <a:pt x="10615" y="5525"/>
                </a:lnTo>
                <a:close/>
                <a:moveTo>
                  <a:pt x="10645" y="8421"/>
                </a:moveTo>
                <a:lnTo>
                  <a:pt x="10657" y="8435"/>
                </a:lnTo>
                <a:lnTo>
                  <a:pt x="10664" y="8441"/>
                </a:lnTo>
                <a:lnTo>
                  <a:pt x="10652" y="8446"/>
                </a:lnTo>
                <a:lnTo>
                  <a:pt x="10645" y="8442"/>
                </a:lnTo>
                <a:lnTo>
                  <a:pt x="10643" y="8433"/>
                </a:lnTo>
                <a:lnTo>
                  <a:pt x="10645" y="8421"/>
                </a:lnTo>
                <a:close/>
                <a:moveTo>
                  <a:pt x="10683" y="5573"/>
                </a:moveTo>
                <a:lnTo>
                  <a:pt x="10696" y="5577"/>
                </a:lnTo>
                <a:lnTo>
                  <a:pt x="10697" y="5594"/>
                </a:lnTo>
                <a:lnTo>
                  <a:pt x="10690" y="5609"/>
                </a:lnTo>
                <a:lnTo>
                  <a:pt x="10680" y="5613"/>
                </a:lnTo>
                <a:lnTo>
                  <a:pt x="10671" y="5604"/>
                </a:lnTo>
                <a:lnTo>
                  <a:pt x="10669" y="5592"/>
                </a:lnTo>
                <a:lnTo>
                  <a:pt x="10673" y="5580"/>
                </a:lnTo>
                <a:lnTo>
                  <a:pt x="10683" y="5573"/>
                </a:lnTo>
                <a:close/>
                <a:moveTo>
                  <a:pt x="10703" y="7695"/>
                </a:moveTo>
                <a:lnTo>
                  <a:pt x="10703" y="7696"/>
                </a:lnTo>
                <a:lnTo>
                  <a:pt x="10701" y="7698"/>
                </a:lnTo>
                <a:lnTo>
                  <a:pt x="10703" y="7696"/>
                </a:lnTo>
                <a:lnTo>
                  <a:pt x="10703" y="7695"/>
                </a:lnTo>
                <a:close/>
                <a:moveTo>
                  <a:pt x="10704" y="7606"/>
                </a:moveTo>
                <a:lnTo>
                  <a:pt x="10750" y="7598"/>
                </a:lnTo>
                <a:lnTo>
                  <a:pt x="10809" y="7607"/>
                </a:lnTo>
                <a:lnTo>
                  <a:pt x="10846" y="7623"/>
                </a:lnTo>
                <a:lnTo>
                  <a:pt x="10823" y="7634"/>
                </a:lnTo>
                <a:lnTo>
                  <a:pt x="10775" y="7630"/>
                </a:lnTo>
                <a:lnTo>
                  <a:pt x="10750" y="7653"/>
                </a:lnTo>
                <a:lnTo>
                  <a:pt x="10731" y="7660"/>
                </a:lnTo>
                <a:lnTo>
                  <a:pt x="10704" y="7606"/>
                </a:lnTo>
                <a:close/>
                <a:moveTo>
                  <a:pt x="10751" y="6122"/>
                </a:moveTo>
                <a:lnTo>
                  <a:pt x="10747" y="6124"/>
                </a:lnTo>
                <a:lnTo>
                  <a:pt x="10743" y="6121"/>
                </a:lnTo>
                <a:lnTo>
                  <a:pt x="10741" y="6114"/>
                </a:lnTo>
                <a:lnTo>
                  <a:pt x="10739" y="6110"/>
                </a:lnTo>
                <a:lnTo>
                  <a:pt x="10747" y="6109"/>
                </a:lnTo>
                <a:lnTo>
                  <a:pt x="10752" y="6110"/>
                </a:lnTo>
                <a:lnTo>
                  <a:pt x="10755" y="6116"/>
                </a:lnTo>
                <a:lnTo>
                  <a:pt x="10751" y="6122"/>
                </a:lnTo>
                <a:close/>
                <a:moveTo>
                  <a:pt x="10713" y="5955"/>
                </a:moveTo>
                <a:lnTo>
                  <a:pt x="10745" y="5949"/>
                </a:lnTo>
                <a:lnTo>
                  <a:pt x="10751" y="5919"/>
                </a:lnTo>
                <a:lnTo>
                  <a:pt x="10759" y="5888"/>
                </a:lnTo>
                <a:lnTo>
                  <a:pt x="10792" y="5875"/>
                </a:lnTo>
                <a:lnTo>
                  <a:pt x="10848" y="5899"/>
                </a:lnTo>
                <a:lnTo>
                  <a:pt x="10803" y="5968"/>
                </a:lnTo>
                <a:lnTo>
                  <a:pt x="10732" y="6010"/>
                </a:lnTo>
                <a:lnTo>
                  <a:pt x="10713" y="5955"/>
                </a:lnTo>
                <a:close/>
                <a:moveTo>
                  <a:pt x="10794" y="5717"/>
                </a:moveTo>
                <a:lnTo>
                  <a:pt x="10825" y="5673"/>
                </a:lnTo>
                <a:lnTo>
                  <a:pt x="10887" y="5676"/>
                </a:lnTo>
                <a:lnTo>
                  <a:pt x="10924" y="5718"/>
                </a:lnTo>
                <a:lnTo>
                  <a:pt x="10878" y="5787"/>
                </a:lnTo>
                <a:lnTo>
                  <a:pt x="10848" y="5779"/>
                </a:lnTo>
                <a:lnTo>
                  <a:pt x="10862" y="5759"/>
                </a:lnTo>
                <a:lnTo>
                  <a:pt x="10877" y="5730"/>
                </a:lnTo>
                <a:lnTo>
                  <a:pt x="10846" y="5692"/>
                </a:lnTo>
                <a:lnTo>
                  <a:pt x="10825" y="5706"/>
                </a:lnTo>
                <a:lnTo>
                  <a:pt x="10812" y="5732"/>
                </a:lnTo>
                <a:lnTo>
                  <a:pt x="10804" y="5745"/>
                </a:lnTo>
                <a:lnTo>
                  <a:pt x="10794" y="5717"/>
                </a:lnTo>
                <a:close/>
                <a:moveTo>
                  <a:pt x="10919" y="6959"/>
                </a:moveTo>
                <a:lnTo>
                  <a:pt x="10900" y="6957"/>
                </a:lnTo>
                <a:lnTo>
                  <a:pt x="10877" y="6956"/>
                </a:lnTo>
                <a:lnTo>
                  <a:pt x="10863" y="6952"/>
                </a:lnTo>
                <a:lnTo>
                  <a:pt x="10874" y="6939"/>
                </a:lnTo>
                <a:lnTo>
                  <a:pt x="10895" y="6933"/>
                </a:lnTo>
                <a:lnTo>
                  <a:pt x="10911" y="6930"/>
                </a:lnTo>
                <a:lnTo>
                  <a:pt x="10920" y="6938"/>
                </a:lnTo>
                <a:lnTo>
                  <a:pt x="10919" y="6959"/>
                </a:lnTo>
                <a:close/>
                <a:moveTo>
                  <a:pt x="10863" y="7811"/>
                </a:moveTo>
                <a:lnTo>
                  <a:pt x="10862" y="7811"/>
                </a:lnTo>
                <a:lnTo>
                  <a:pt x="10860" y="7812"/>
                </a:lnTo>
                <a:lnTo>
                  <a:pt x="10862" y="7811"/>
                </a:lnTo>
                <a:lnTo>
                  <a:pt x="10862" y="7810"/>
                </a:lnTo>
                <a:lnTo>
                  <a:pt x="10863" y="7810"/>
                </a:lnTo>
                <a:lnTo>
                  <a:pt x="10864" y="7808"/>
                </a:lnTo>
                <a:lnTo>
                  <a:pt x="10863" y="7810"/>
                </a:lnTo>
                <a:lnTo>
                  <a:pt x="10863" y="7811"/>
                </a:lnTo>
                <a:close/>
                <a:moveTo>
                  <a:pt x="10911" y="8426"/>
                </a:moveTo>
                <a:lnTo>
                  <a:pt x="10924" y="8441"/>
                </a:lnTo>
                <a:lnTo>
                  <a:pt x="10916" y="8467"/>
                </a:lnTo>
                <a:lnTo>
                  <a:pt x="10899" y="8486"/>
                </a:lnTo>
                <a:lnTo>
                  <a:pt x="10877" y="8481"/>
                </a:lnTo>
                <a:lnTo>
                  <a:pt x="10853" y="8458"/>
                </a:lnTo>
                <a:lnTo>
                  <a:pt x="10857" y="8439"/>
                </a:lnTo>
                <a:lnTo>
                  <a:pt x="10880" y="8426"/>
                </a:lnTo>
                <a:lnTo>
                  <a:pt x="10911" y="8426"/>
                </a:lnTo>
                <a:close/>
                <a:moveTo>
                  <a:pt x="10836" y="8460"/>
                </a:moveTo>
                <a:lnTo>
                  <a:pt x="10834" y="8461"/>
                </a:lnTo>
                <a:lnTo>
                  <a:pt x="10834" y="8461"/>
                </a:lnTo>
                <a:lnTo>
                  <a:pt x="10834" y="8460"/>
                </a:lnTo>
                <a:lnTo>
                  <a:pt x="10834" y="8459"/>
                </a:lnTo>
                <a:lnTo>
                  <a:pt x="10836" y="8459"/>
                </a:lnTo>
                <a:lnTo>
                  <a:pt x="10836" y="8459"/>
                </a:lnTo>
                <a:lnTo>
                  <a:pt x="10836" y="8459"/>
                </a:lnTo>
                <a:lnTo>
                  <a:pt x="10836" y="8460"/>
                </a:lnTo>
                <a:close/>
                <a:moveTo>
                  <a:pt x="10821" y="8157"/>
                </a:moveTo>
                <a:lnTo>
                  <a:pt x="10825" y="8156"/>
                </a:lnTo>
                <a:lnTo>
                  <a:pt x="10827" y="8157"/>
                </a:lnTo>
                <a:lnTo>
                  <a:pt x="10829" y="8157"/>
                </a:lnTo>
                <a:lnTo>
                  <a:pt x="10826" y="8159"/>
                </a:lnTo>
                <a:lnTo>
                  <a:pt x="10822" y="8159"/>
                </a:lnTo>
                <a:lnTo>
                  <a:pt x="10821" y="8157"/>
                </a:lnTo>
                <a:close/>
                <a:moveTo>
                  <a:pt x="10779" y="7775"/>
                </a:moveTo>
                <a:lnTo>
                  <a:pt x="10761" y="7774"/>
                </a:lnTo>
                <a:lnTo>
                  <a:pt x="10745" y="7761"/>
                </a:lnTo>
                <a:lnTo>
                  <a:pt x="10734" y="7746"/>
                </a:lnTo>
                <a:lnTo>
                  <a:pt x="10732" y="7732"/>
                </a:lnTo>
                <a:lnTo>
                  <a:pt x="10770" y="7740"/>
                </a:lnTo>
                <a:lnTo>
                  <a:pt x="10806" y="7740"/>
                </a:lnTo>
                <a:lnTo>
                  <a:pt x="10816" y="7747"/>
                </a:lnTo>
                <a:lnTo>
                  <a:pt x="10779" y="7775"/>
                </a:lnTo>
                <a:close/>
                <a:moveTo>
                  <a:pt x="10812" y="7887"/>
                </a:moveTo>
                <a:lnTo>
                  <a:pt x="10789" y="7907"/>
                </a:lnTo>
                <a:lnTo>
                  <a:pt x="10771" y="7919"/>
                </a:lnTo>
                <a:lnTo>
                  <a:pt x="10751" y="7921"/>
                </a:lnTo>
                <a:lnTo>
                  <a:pt x="10720" y="7904"/>
                </a:lnTo>
                <a:lnTo>
                  <a:pt x="10696" y="7870"/>
                </a:lnTo>
                <a:lnTo>
                  <a:pt x="10731" y="7862"/>
                </a:lnTo>
                <a:lnTo>
                  <a:pt x="10783" y="7871"/>
                </a:lnTo>
                <a:lnTo>
                  <a:pt x="10812" y="7887"/>
                </a:lnTo>
                <a:close/>
                <a:moveTo>
                  <a:pt x="10779" y="8082"/>
                </a:moveTo>
                <a:lnTo>
                  <a:pt x="10775" y="8083"/>
                </a:lnTo>
                <a:lnTo>
                  <a:pt x="10774" y="8083"/>
                </a:lnTo>
                <a:lnTo>
                  <a:pt x="10774" y="8082"/>
                </a:lnTo>
                <a:lnTo>
                  <a:pt x="10778" y="8081"/>
                </a:lnTo>
                <a:lnTo>
                  <a:pt x="10781" y="8080"/>
                </a:lnTo>
                <a:lnTo>
                  <a:pt x="10783" y="8080"/>
                </a:lnTo>
                <a:lnTo>
                  <a:pt x="10783" y="8081"/>
                </a:lnTo>
                <a:lnTo>
                  <a:pt x="10779" y="8082"/>
                </a:lnTo>
                <a:close/>
                <a:moveTo>
                  <a:pt x="10692" y="9403"/>
                </a:moveTo>
                <a:lnTo>
                  <a:pt x="10669" y="9420"/>
                </a:lnTo>
                <a:lnTo>
                  <a:pt x="10645" y="9429"/>
                </a:lnTo>
                <a:lnTo>
                  <a:pt x="10634" y="9423"/>
                </a:lnTo>
                <a:lnTo>
                  <a:pt x="10649" y="9396"/>
                </a:lnTo>
                <a:lnTo>
                  <a:pt x="10660" y="9387"/>
                </a:lnTo>
                <a:lnTo>
                  <a:pt x="10683" y="9386"/>
                </a:lnTo>
                <a:lnTo>
                  <a:pt x="10700" y="9392"/>
                </a:lnTo>
                <a:lnTo>
                  <a:pt x="10692" y="9403"/>
                </a:lnTo>
                <a:close/>
                <a:moveTo>
                  <a:pt x="10622" y="8997"/>
                </a:moveTo>
                <a:lnTo>
                  <a:pt x="10630" y="8958"/>
                </a:lnTo>
                <a:lnTo>
                  <a:pt x="10660" y="8950"/>
                </a:lnTo>
                <a:lnTo>
                  <a:pt x="10688" y="8969"/>
                </a:lnTo>
                <a:lnTo>
                  <a:pt x="10686" y="9005"/>
                </a:lnTo>
                <a:lnTo>
                  <a:pt x="10671" y="9009"/>
                </a:lnTo>
                <a:lnTo>
                  <a:pt x="10653" y="9008"/>
                </a:lnTo>
                <a:lnTo>
                  <a:pt x="10636" y="9004"/>
                </a:lnTo>
                <a:lnTo>
                  <a:pt x="10622" y="8997"/>
                </a:lnTo>
                <a:close/>
                <a:moveTo>
                  <a:pt x="10611" y="9453"/>
                </a:moveTo>
                <a:lnTo>
                  <a:pt x="10608" y="9453"/>
                </a:lnTo>
                <a:lnTo>
                  <a:pt x="10608" y="9453"/>
                </a:lnTo>
                <a:lnTo>
                  <a:pt x="10608" y="9452"/>
                </a:lnTo>
                <a:lnTo>
                  <a:pt x="10610" y="9452"/>
                </a:lnTo>
                <a:lnTo>
                  <a:pt x="10612" y="9451"/>
                </a:lnTo>
                <a:lnTo>
                  <a:pt x="10612" y="9451"/>
                </a:lnTo>
                <a:lnTo>
                  <a:pt x="10612" y="9452"/>
                </a:lnTo>
                <a:lnTo>
                  <a:pt x="10611" y="9453"/>
                </a:lnTo>
                <a:close/>
                <a:moveTo>
                  <a:pt x="10574" y="9560"/>
                </a:moveTo>
                <a:lnTo>
                  <a:pt x="10542" y="9588"/>
                </a:lnTo>
                <a:lnTo>
                  <a:pt x="10497" y="9598"/>
                </a:lnTo>
                <a:lnTo>
                  <a:pt x="10476" y="9589"/>
                </a:lnTo>
                <a:lnTo>
                  <a:pt x="10511" y="9559"/>
                </a:lnTo>
                <a:lnTo>
                  <a:pt x="10536" y="9495"/>
                </a:lnTo>
                <a:lnTo>
                  <a:pt x="10573" y="9480"/>
                </a:lnTo>
                <a:lnTo>
                  <a:pt x="10596" y="9505"/>
                </a:lnTo>
                <a:lnTo>
                  <a:pt x="10574" y="9560"/>
                </a:lnTo>
                <a:close/>
                <a:moveTo>
                  <a:pt x="10559" y="9661"/>
                </a:moveTo>
                <a:lnTo>
                  <a:pt x="10564" y="9653"/>
                </a:lnTo>
                <a:lnTo>
                  <a:pt x="10571" y="9638"/>
                </a:lnTo>
                <a:lnTo>
                  <a:pt x="10579" y="9621"/>
                </a:lnTo>
                <a:lnTo>
                  <a:pt x="10580" y="9613"/>
                </a:lnTo>
                <a:lnTo>
                  <a:pt x="10587" y="9622"/>
                </a:lnTo>
                <a:lnTo>
                  <a:pt x="10579" y="9640"/>
                </a:lnTo>
                <a:lnTo>
                  <a:pt x="10568" y="9657"/>
                </a:lnTo>
                <a:lnTo>
                  <a:pt x="10559" y="9661"/>
                </a:lnTo>
                <a:close/>
                <a:moveTo>
                  <a:pt x="10439" y="9365"/>
                </a:moveTo>
                <a:lnTo>
                  <a:pt x="10444" y="9345"/>
                </a:lnTo>
                <a:lnTo>
                  <a:pt x="10459" y="9325"/>
                </a:lnTo>
                <a:lnTo>
                  <a:pt x="10478" y="9308"/>
                </a:lnTo>
                <a:lnTo>
                  <a:pt x="10495" y="9299"/>
                </a:lnTo>
                <a:lnTo>
                  <a:pt x="10483" y="9347"/>
                </a:lnTo>
                <a:lnTo>
                  <a:pt x="10475" y="9405"/>
                </a:lnTo>
                <a:lnTo>
                  <a:pt x="10462" y="9426"/>
                </a:lnTo>
                <a:lnTo>
                  <a:pt x="10439" y="9365"/>
                </a:lnTo>
                <a:close/>
                <a:moveTo>
                  <a:pt x="10405" y="5967"/>
                </a:moveTo>
                <a:lnTo>
                  <a:pt x="10424" y="5964"/>
                </a:lnTo>
                <a:lnTo>
                  <a:pt x="10436" y="5953"/>
                </a:lnTo>
                <a:lnTo>
                  <a:pt x="10445" y="5939"/>
                </a:lnTo>
                <a:lnTo>
                  <a:pt x="10457" y="5926"/>
                </a:lnTo>
                <a:lnTo>
                  <a:pt x="10481" y="5914"/>
                </a:lnTo>
                <a:lnTo>
                  <a:pt x="10472" y="5942"/>
                </a:lnTo>
                <a:lnTo>
                  <a:pt x="10441" y="5972"/>
                </a:lnTo>
                <a:lnTo>
                  <a:pt x="10405" y="5967"/>
                </a:lnTo>
                <a:close/>
                <a:moveTo>
                  <a:pt x="10392" y="4887"/>
                </a:moveTo>
                <a:lnTo>
                  <a:pt x="10392" y="4883"/>
                </a:lnTo>
                <a:lnTo>
                  <a:pt x="10392" y="4881"/>
                </a:lnTo>
                <a:lnTo>
                  <a:pt x="10393" y="4887"/>
                </a:lnTo>
                <a:lnTo>
                  <a:pt x="10392" y="4887"/>
                </a:lnTo>
                <a:close/>
                <a:moveTo>
                  <a:pt x="10341" y="4733"/>
                </a:moveTo>
                <a:lnTo>
                  <a:pt x="10341" y="4732"/>
                </a:lnTo>
                <a:lnTo>
                  <a:pt x="10342" y="4731"/>
                </a:lnTo>
                <a:lnTo>
                  <a:pt x="10345" y="4729"/>
                </a:lnTo>
                <a:lnTo>
                  <a:pt x="10346" y="4731"/>
                </a:lnTo>
                <a:lnTo>
                  <a:pt x="10347" y="4733"/>
                </a:lnTo>
                <a:lnTo>
                  <a:pt x="10346" y="4736"/>
                </a:lnTo>
                <a:lnTo>
                  <a:pt x="10342" y="4736"/>
                </a:lnTo>
                <a:lnTo>
                  <a:pt x="10341" y="4733"/>
                </a:lnTo>
                <a:close/>
                <a:moveTo>
                  <a:pt x="10264" y="4351"/>
                </a:moveTo>
                <a:lnTo>
                  <a:pt x="10266" y="4353"/>
                </a:lnTo>
                <a:lnTo>
                  <a:pt x="10267" y="4353"/>
                </a:lnTo>
                <a:lnTo>
                  <a:pt x="10266" y="4353"/>
                </a:lnTo>
                <a:lnTo>
                  <a:pt x="10264" y="4351"/>
                </a:lnTo>
                <a:close/>
                <a:moveTo>
                  <a:pt x="10185" y="4353"/>
                </a:moveTo>
                <a:lnTo>
                  <a:pt x="10194" y="4367"/>
                </a:lnTo>
                <a:lnTo>
                  <a:pt x="10211" y="4384"/>
                </a:lnTo>
                <a:lnTo>
                  <a:pt x="10224" y="4402"/>
                </a:lnTo>
                <a:lnTo>
                  <a:pt x="10220" y="4412"/>
                </a:lnTo>
                <a:lnTo>
                  <a:pt x="10212" y="4403"/>
                </a:lnTo>
                <a:lnTo>
                  <a:pt x="10199" y="4384"/>
                </a:lnTo>
                <a:lnTo>
                  <a:pt x="10188" y="4364"/>
                </a:lnTo>
                <a:lnTo>
                  <a:pt x="10185" y="4353"/>
                </a:lnTo>
                <a:close/>
                <a:moveTo>
                  <a:pt x="10201" y="4527"/>
                </a:moveTo>
                <a:lnTo>
                  <a:pt x="10193" y="4519"/>
                </a:lnTo>
                <a:lnTo>
                  <a:pt x="10194" y="4509"/>
                </a:lnTo>
                <a:lnTo>
                  <a:pt x="10198" y="4496"/>
                </a:lnTo>
                <a:lnTo>
                  <a:pt x="10198" y="4485"/>
                </a:lnTo>
                <a:lnTo>
                  <a:pt x="10216" y="4498"/>
                </a:lnTo>
                <a:lnTo>
                  <a:pt x="10227" y="4514"/>
                </a:lnTo>
                <a:lnTo>
                  <a:pt x="10224" y="4527"/>
                </a:lnTo>
                <a:lnTo>
                  <a:pt x="10201" y="4527"/>
                </a:lnTo>
                <a:close/>
                <a:moveTo>
                  <a:pt x="10101" y="3926"/>
                </a:moveTo>
                <a:lnTo>
                  <a:pt x="10099" y="3913"/>
                </a:lnTo>
                <a:lnTo>
                  <a:pt x="10099" y="3901"/>
                </a:lnTo>
                <a:lnTo>
                  <a:pt x="10101" y="3902"/>
                </a:lnTo>
                <a:lnTo>
                  <a:pt x="10104" y="3912"/>
                </a:lnTo>
                <a:lnTo>
                  <a:pt x="10104" y="3924"/>
                </a:lnTo>
                <a:lnTo>
                  <a:pt x="10101" y="3926"/>
                </a:lnTo>
                <a:close/>
                <a:moveTo>
                  <a:pt x="10705" y="3892"/>
                </a:moveTo>
                <a:lnTo>
                  <a:pt x="10705" y="3893"/>
                </a:lnTo>
                <a:lnTo>
                  <a:pt x="10705" y="3892"/>
                </a:lnTo>
                <a:lnTo>
                  <a:pt x="10705" y="3892"/>
                </a:lnTo>
                <a:lnTo>
                  <a:pt x="10705" y="3892"/>
                </a:lnTo>
                <a:close/>
                <a:moveTo>
                  <a:pt x="10587" y="4353"/>
                </a:moveTo>
                <a:lnTo>
                  <a:pt x="10594" y="4340"/>
                </a:lnTo>
                <a:lnTo>
                  <a:pt x="10604" y="4342"/>
                </a:lnTo>
                <a:lnTo>
                  <a:pt x="10616" y="4355"/>
                </a:lnTo>
                <a:lnTo>
                  <a:pt x="10621" y="4368"/>
                </a:lnTo>
                <a:lnTo>
                  <a:pt x="10606" y="4368"/>
                </a:lnTo>
                <a:lnTo>
                  <a:pt x="10593" y="4374"/>
                </a:lnTo>
                <a:lnTo>
                  <a:pt x="10585" y="4374"/>
                </a:lnTo>
                <a:lnTo>
                  <a:pt x="10587" y="4353"/>
                </a:lnTo>
                <a:close/>
                <a:moveTo>
                  <a:pt x="10802" y="4158"/>
                </a:moveTo>
                <a:lnTo>
                  <a:pt x="10807" y="4187"/>
                </a:lnTo>
                <a:lnTo>
                  <a:pt x="10788" y="4190"/>
                </a:lnTo>
                <a:lnTo>
                  <a:pt x="10761" y="4174"/>
                </a:lnTo>
                <a:lnTo>
                  <a:pt x="10742" y="4151"/>
                </a:lnTo>
                <a:lnTo>
                  <a:pt x="10751" y="4151"/>
                </a:lnTo>
                <a:lnTo>
                  <a:pt x="10770" y="4153"/>
                </a:lnTo>
                <a:lnTo>
                  <a:pt x="10790" y="4155"/>
                </a:lnTo>
                <a:lnTo>
                  <a:pt x="10802" y="4158"/>
                </a:lnTo>
                <a:close/>
                <a:moveTo>
                  <a:pt x="10911" y="4491"/>
                </a:moveTo>
                <a:lnTo>
                  <a:pt x="10915" y="4489"/>
                </a:lnTo>
                <a:lnTo>
                  <a:pt x="10919" y="4490"/>
                </a:lnTo>
                <a:lnTo>
                  <a:pt x="10922" y="4494"/>
                </a:lnTo>
                <a:lnTo>
                  <a:pt x="10920" y="4498"/>
                </a:lnTo>
                <a:lnTo>
                  <a:pt x="10918" y="4498"/>
                </a:lnTo>
                <a:lnTo>
                  <a:pt x="10914" y="4496"/>
                </a:lnTo>
                <a:lnTo>
                  <a:pt x="10911" y="4494"/>
                </a:lnTo>
                <a:lnTo>
                  <a:pt x="10911" y="4491"/>
                </a:lnTo>
                <a:close/>
                <a:moveTo>
                  <a:pt x="10988" y="7661"/>
                </a:moveTo>
                <a:lnTo>
                  <a:pt x="10993" y="7667"/>
                </a:lnTo>
                <a:lnTo>
                  <a:pt x="10994" y="7689"/>
                </a:lnTo>
                <a:lnTo>
                  <a:pt x="10989" y="7709"/>
                </a:lnTo>
                <a:lnTo>
                  <a:pt x="10974" y="7709"/>
                </a:lnTo>
                <a:lnTo>
                  <a:pt x="10966" y="7696"/>
                </a:lnTo>
                <a:lnTo>
                  <a:pt x="10969" y="7682"/>
                </a:lnTo>
                <a:lnTo>
                  <a:pt x="10978" y="7671"/>
                </a:lnTo>
                <a:lnTo>
                  <a:pt x="10988" y="7661"/>
                </a:lnTo>
                <a:close/>
                <a:moveTo>
                  <a:pt x="10988" y="6028"/>
                </a:moveTo>
                <a:lnTo>
                  <a:pt x="10994" y="6000"/>
                </a:lnTo>
                <a:lnTo>
                  <a:pt x="11026" y="5991"/>
                </a:lnTo>
                <a:lnTo>
                  <a:pt x="11063" y="6001"/>
                </a:lnTo>
                <a:lnTo>
                  <a:pt x="11082" y="6029"/>
                </a:lnTo>
                <a:lnTo>
                  <a:pt x="11065" y="6044"/>
                </a:lnTo>
                <a:lnTo>
                  <a:pt x="11020" y="6052"/>
                </a:lnTo>
                <a:lnTo>
                  <a:pt x="10981" y="6047"/>
                </a:lnTo>
                <a:lnTo>
                  <a:pt x="10988" y="6028"/>
                </a:lnTo>
                <a:close/>
                <a:moveTo>
                  <a:pt x="10985" y="5638"/>
                </a:moveTo>
                <a:lnTo>
                  <a:pt x="10985" y="5641"/>
                </a:lnTo>
                <a:lnTo>
                  <a:pt x="10985" y="5643"/>
                </a:lnTo>
                <a:lnTo>
                  <a:pt x="10984" y="5645"/>
                </a:lnTo>
                <a:lnTo>
                  <a:pt x="10983" y="5645"/>
                </a:lnTo>
                <a:lnTo>
                  <a:pt x="10983" y="5642"/>
                </a:lnTo>
                <a:lnTo>
                  <a:pt x="10983" y="5641"/>
                </a:lnTo>
                <a:lnTo>
                  <a:pt x="10984" y="5639"/>
                </a:lnTo>
                <a:lnTo>
                  <a:pt x="10985" y="5638"/>
                </a:lnTo>
                <a:close/>
                <a:moveTo>
                  <a:pt x="11072" y="5717"/>
                </a:moveTo>
                <a:lnTo>
                  <a:pt x="11110" y="5720"/>
                </a:lnTo>
                <a:lnTo>
                  <a:pt x="11123" y="5693"/>
                </a:lnTo>
                <a:lnTo>
                  <a:pt x="11129" y="5655"/>
                </a:lnTo>
                <a:lnTo>
                  <a:pt x="11150" y="5622"/>
                </a:lnTo>
                <a:lnTo>
                  <a:pt x="11209" y="5706"/>
                </a:lnTo>
                <a:lnTo>
                  <a:pt x="11207" y="5771"/>
                </a:lnTo>
                <a:lnTo>
                  <a:pt x="11156" y="5785"/>
                </a:lnTo>
                <a:lnTo>
                  <a:pt x="11072" y="5717"/>
                </a:lnTo>
                <a:close/>
                <a:moveTo>
                  <a:pt x="11078" y="6280"/>
                </a:moveTo>
                <a:lnTo>
                  <a:pt x="11069" y="6252"/>
                </a:lnTo>
                <a:lnTo>
                  <a:pt x="11065" y="6220"/>
                </a:lnTo>
                <a:lnTo>
                  <a:pt x="11055" y="6192"/>
                </a:lnTo>
                <a:lnTo>
                  <a:pt x="11031" y="6173"/>
                </a:lnTo>
                <a:lnTo>
                  <a:pt x="11062" y="6180"/>
                </a:lnTo>
                <a:lnTo>
                  <a:pt x="11085" y="6212"/>
                </a:lnTo>
                <a:lnTo>
                  <a:pt x="11093" y="6250"/>
                </a:lnTo>
                <a:lnTo>
                  <a:pt x="11078" y="6280"/>
                </a:lnTo>
                <a:close/>
                <a:moveTo>
                  <a:pt x="11265" y="6550"/>
                </a:moveTo>
                <a:lnTo>
                  <a:pt x="11279" y="6570"/>
                </a:lnTo>
                <a:lnTo>
                  <a:pt x="11281" y="6606"/>
                </a:lnTo>
                <a:lnTo>
                  <a:pt x="11274" y="6636"/>
                </a:lnTo>
                <a:lnTo>
                  <a:pt x="11259" y="6646"/>
                </a:lnTo>
                <a:lnTo>
                  <a:pt x="11253" y="6620"/>
                </a:lnTo>
                <a:lnTo>
                  <a:pt x="11242" y="6585"/>
                </a:lnTo>
                <a:lnTo>
                  <a:pt x="11242" y="6558"/>
                </a:lnTo>
                <a:lnTo>
                  <a:pt x="11265" y="6550"/>
                </a:lnTo>
                <a:close/>
                <a:moveTo>
                  <a:pt x="11057" y="7836"/>
                </a:moveTo>
                <a:lnTo>
                  <a:pt x="11055" y="7838"/>
                </a:lnTo>
                <a:lnTo>
                  <a:pt x="11054" y="7835"/>
                </a:lnTo>
                <a:lnTo>
                  <a:pt x="11054" y="7835"/>
                </a:lnTo>
                <a:lnTo>
                  <a:pt x="11055" y="7835"/>
                </a:lnTo>
                <a:lnTo>
                  <a:pt x="11057" y="7835"/>
                </a:lnTo>
                <a:lnTo>
                  <a:pt x="11057" y="7836"/>
                </a:lnTo>
                <a:close/>
                <a:moveTo>
                  <a:pt x="11086" y="7313"/>
                </a:moveTo>
                <a:lnTo>
                  <a:pt x="11091" y="7283"/>
                </a:lnTo>
                <a:lnTo>
                  <a:pt x="11105" y="7259"/>
                </a:lnTo>
                <a:lnTo>
                  <a:pt x="11123" y="7253"/>
                </a:lnTo>
                <a:lnTo>
                  <a:pt x="11142" y="7279"/>
                </a:lnTo>
                <a:lnTo>
                  <a:pt x="11141" y="7311"/>
                </a:lnTo>
                <a:lnTo>
                  <a:pt x="11121" y="7332"/>
                </a:lnTo>
                <a:lnTo>
                  <a:pt x="11099" y="7336"/>
                </a:lnTo>
                <a:lnTo>
                  <a:pt x="11086" y="7313"/>
                </a:lnTo>
                <a:close/>
                <a:moveTo>
                  <a:pt x="11147" y="7428"/>
                </a:moveTo>
                <a:lnTo>
                  <a:pt x="11150" y="7433"/>
                </a:lnTo>
                <a:lnTo>
                  <a:pt x="11148" y="7437"/>
                </a:lnTo>
                <a:lnTo>
                  <a:pt x="11146" y="7439"/>
                </a:lnTo>
                <a:lnTo>
                  <a:pt x="11142" y="7437"/>
                </a:lnTo>
                <a:lnTo>
                  <a:pt x="11141" y="7433"/>
                </a:lnTo>
                <a:lnTo>
                  <a:pt x="11141" y="7428"/>
                </a:lnTo>
                <a:lnTo>
                  <a:pt x="11143" y="7425"/>
                </a:lnTo>
                <a:lnTo>
                  <a:pt x="11147" y="7428"/>
                </a:lnTo>
                <a:close/>
                <a:moveTo>
                  <a:pt x="11351" y="7385"/>
                </a:moveTo>
                <a:lnTo>
                  <a:pt x="11351" y="7385"/>
                </a:lnTo>
                <a:lnTo>
                  <a:pt x="11351" y="7385"/>
                </a:lnTo>
                <a:close/>
                <a:moveTo>
                  <a:pt x="10990" y="8754"/>
                </a:moveTo>
                <a:lnTo>
                  <a:pt x="10990" y="8754"/>
                </a:lnTo>
                <a:lnTo>
                  <a:pt x="10990" y="8754"/>
                </a:lnTo>
                <a:lnTo>
                  <a:pt x="10990" y="8754"/>
                </a:lnTo>
                <a:close/>
                <a:moveTo>
                  <a:pt x="10787" y="9395"/>
                </a:moveTo>
                <a:lnTo>
                  <a:pt x="10799" y="9387"/>
                </a:lnTo>
                <a:lnTo>
                  <a:pt x="10806" y="9397"/>
                </a:lnTo>
                <a:lnTo>
                  <a:pt x="10808" y="9414"/>
                </a:lnTo>
                <a:lnTo>
                  <a:pt x="10813" y="9426"/>
                </a:lnTo>
                <a:lnTo>
                  <a:pt x="10794" y="9424"/>
                </a:lnTo>
                <a:lnTo>
                  <a:pt x="10776" y="9411"/>
                </a:lnTo>
                <a:lnTo>
                  <a:pt x="10771" y="9397"/>
                </a:lnTo>
                <a:lnTo>
                  <a:pt x="10787" y="9395"/>
                </a:lnTo>
                <a:close/>
                <a:moveTo>
                  <a:pt x="10788" y="9456"/>
                </a:moveTo>
                <a:lnTo>
                  <a:pt x="10788" y="9454"/>
                </a:lnTo>
                <a:lnTo>
                  <a:pt x="10788" y="9454"/>
                </a:lnTo>
                <a:lnTo>
                  <a:pt x="10788" y="9456"/>
                </a:lnTo>
                <a:lnTo>
                  <a:pt x="10788" y="9456"/>
                </a:lnTo>
                <a:close/>
                <a:moveTo>
                  <a:pt x="10859" y="9183"/>
                </a:moveTo>
                <a:lnTo>
                  <a:pt x="10859" y="9183"/>
                </a:lnTo>
                <a:lnTo>
                  <a:pt x="10859" y="9183"/>
                </a:lnTo>
                <a:close/>
                <a:moveTo>
                  <a:pt x="10928" y="9209"/>
                </a:moveTo>
                <a:lnTo>
                  <a:pt x="10929" y="9210"/>
                </a:lnTo>
                <a:lnTo>
                  <a:pt x="10929" y="9211"/>
                </a:lnTo>
                <a:lnTo>
                  <a:pt x="10929" y="9213"/>
                </a:lnTo>
                <a:lnTo>
                  <a:pt x="10927" y="9213"/>
                </a:lnTo>
                <a:lnTo>
                  <a:pt x="10928" y="9209"/>
                </a:lnTo>
                <a:close/>
                <a:moveTo>
                  <a:pt x="11041" y="9378"/>
                </a:moveTo>
                <a:lnTo>
                  <a:pt x="11044" y="9381"/>
                </a:lnTo>
                <a:lnTo>
                  <a:pt x="11044" y="9382"/>
                </a:lnTo>
                <a:lnTo>
                  <a:pt x="11043" y="9381"/>
                </a:lnTo>
                <a:lnTo>
                  <a:pt x="11041" y="9381"/>
                </a:lnTo>
                <a:lnTo>
                  <a:pt x="11041" y="9379"/>
                </a:lnTo>
                <a:lnTo>
                  <a:pt x="11041" y="9378"/>
                </a:lnTo>
                <a:close/>
                <a:moveTo>
                  <a:pt x="10194" y="9863"/>
                </a:moveTo>
                <a:lnTo>
                  <a:pt x="10196" y="9863"/>
                </a:lnTo>
                <a:lnTo>
                  <a:pt x="10196" y="9866"/>
                </a:lnTo>
                <a:lnTo>
                  <a:pt x="10193" y="9868"/>
                </a:lnTo>
                <a:lnTo>
                  <a:pt x="10192" y="9869"/>
                </a:lnTo>
                <a:lnTo>
                  <a:pt x="10191" y="9868"/>
                </a:lnTo>
                <a:lnTo>
                  <a:pt x="10191" y="9866"/>
                </a:lnTo>
                <a:lnTo>
                  <a:pt x="10192" y="9864"/>
                </a:lnTo>
                <a:lnTo>
                  <a:pt x="10194" y="9863"/>
                </a:lnTo>
                <a:close/>
                <a:moveTo>
                  <a:pt x="8019" y="725"/>
                </a:moveTo>
                <a:lnTo>
                  <a:pt x="8061" y="731"/>
                </a:lnTo>
                <a:lnTo>
                  <a:pt x="8080" y="706"/>
                </a:lnTo>
                <a:lnTo>
                  <a:pt x="8071" y="675"/>
                </a:lnTo>
                <a:lnTo>
                  <a:pt x="8031" y="660"/>
                </a:lnTo>
                <a:lnTo>
                  <a:pt x="8018" y="674"/>
                </a:lnTo>
                <a:lnTo>
                  <a:pt x="8013" y="690"/>
                </a:lnTo>
                <a:lnTo>
                  <a:pt x="8013" y="708"/>
                </a:lnTo>
                <a:lnTo>
                  <a:pt x="8019" y="725"/>
                </a:lnTo>
                <a:close/>
                <a:moveTo>
                  <a:pt x="921" y="8912"/>
                </a:moveTo>
                <a:lnTo>
                  <a:pt x="918" y="8913"/>
                </a:lnTo>
                <a:lnTo>
                  <a:pt x="918" y="8916"/>
                </a:lnTo>
                <a:lnTo>
                  <a:pt x="919" y="8920"/>
                </a:lnTo>
                <a:lnTo>
                  <a:pt x="921" y="8921"/>
                </a:lnTo>
                <a:lnTo>
                  <a:pt x="923" y="8922"/>
                </a:lnTo>
                <a:lnTo>
                  <a:pt x="925" y="8918"/>
                </a:lnTo>
                <a:lnTo>
                  <a:pt x="923" y="8913"/>
                </a:lnTo>
                <a:lnTo>
                  <a:pt x="921" y="8912"/>
                </a:lnTo>
                <a:close/>
                <a:moveTo>
                  <a:pt x="662" y="2092"/>
                </a:moveTo>
                <a:lnTo>
                  <a:pt x="671" y="2091"/>
                </a:lnTo>
                <a:lnTo>
                  <a:pt x="676" y="2085"/>
                </a:lnTo>
                <a:lnTo>
                  <a:pt x="676" y="2079"/>
                </a:lnTo>
                <a:lnTo>
                  <a:pt x="671" y="2073"/>
                </a:lnTo>
                <a:lnTo>
                  <a:pt x="662" y="2073"/>
                </a:lnTo>
                <a:lnTo>
                  <a:pt x="656" y="2078"/>
                </a:lnTo>
                <a:lnTo>
                  <a:pt x="653" y="2087"/>
                </a:lnTo>
                <a:lnTo>
                  <a:pt x="662" y="2092"/>
                </a:lnTo>
                <a:close/>
                <a:moveTo>
                  <a:pt x="1903" y="9957"/>
                </a:moveTo>
                <a:lnTo>
                  <a:pt x="1931" y="9972"/>
                </a:lnTo>
                <a:lnTo>
                  <a:pt x="1936" y="9941"/>
                </a:lnTo>
                <a:lnTo>
                  <a:pt x="1924" y="9906"/>
                </a:lnTo>
                <a:lnTo>
                  <a:pt x="1903" y="9913"/>
                </a:lnTo>
                <a:lnTo>
                  <a:pt x="1909" y="9925"/>
                </a:lnTo>
                <a:lnTo>
                  <a:pt x="1908" y="9936"/>
                </a:lnTo>
                <a:lnTo>
                  <a:pt x="1904" y="9944"/>
                </a:lnTo>
                <a:lnTo>
                  <a:pt x="1903" y="9957"/>
                </a:lnTo>
                <a:close/>
                <a:moveTo>
                  <a:pt x="893" y="2229"/>
                </a:moveTo>
                <a:lnTo>
                  <a:pt x="902" y="2225"/>
                </a:lnTo>
                <a:lnTo>
                  <a:pt x="903" y="2217"/>
                </a:lnTo>
                <a:lnTo>
                  <a:pt x="899" y="2206"/>
                </a:lnTo>
                <a:lnTo>
                  <a:pt x="889" y="2203"/>
                </a:lnTo>
                <a:lnTo>
                  <a:pt x="876" y="2206"/>
                </a:lnTo>
                <a:lnTo>
                  <a:pt x="875" y="2217"/>
                </a:lnTo>
                <a:lnTo>
                  <a:pt x="881" y="2225"/>
                </a:lnTo>
                <a:lnTo>
                  <a:pt x="893" y="2229"/>
                </a:lnTo>
                <a:close/>
                <a:moveTo>
                  <a:pt x="9791" y="3041"/>
                </a:moveTo>
                <a:lnTo>
                  <a:pt x="9786" y="3054"/>
                </a:lnTo>
                <a:lnTo>
                  <a:pt x="9791" y="3064"/>
                </a:lnTo>
                <a:lnTo>
                  <a:pt x="9801" y="3069"/>
                </a:lnTo>
                <a:lnTo>
                  <a:pt x="9812" y="3063"/>
                </a:lnTo>
                <a:lnTo>
                  <a:pt x="9815" y="3052"/>
                </a:lnTo>
                <a:lnTo>
                  <a:pt x="9811" y="3041"/>
                </a:lnTo>
                <a:lnTo>
                  <a:pt x="9801" y="3038"/>
                </a:lnTo>
                <a:lnTo>
                  <a:pt x="9791" y="3041"/>
                </a:lnTo>
                <a:close/>
                <a:moveTo>
                  <a:pt x="6812" y="902"/>
                </a:moveTo>
                <a:lnTo>
                  <a:pt x="6804" y="899"/>
                </a:lnTo>
                <a:lnTo>
                  <a:pt x="6794" y="898"/>
                </a:lnTo>
                <a:lnTo>
                  <a:pt x="6778" y="908"/>
                </a:lnTo>
                <a:lnTo>
                  <a:pt x="6789" y="917"/>
                </a:lnTo>
                <a:lnTo>
                  <a:pt x="6808" y="917"/>
                </a:lnTo>
                <a:lnTo>
                  <a:pt x="6812" y="902"/>
                </a:lnTo>
                <a:close/>
                <a:moveTo>
                  <a:pt x="1309" y="3404"/>
                </a:moveTo>
                <a:lnTo>
                  <a:pt x="1299" y="3413"/>
                </a:lnTo>
                <a:lnTo>
                  <a:pt x="1307" y="3427"/>
                </a:lnTo>
                <a:lnTo>
                  <a:pt x="1321" y="3433"/>
                </a:lnTo>
                <a:lnTo>
                  <a:pt x="1330" y="3425"/>
                </a:lnTo>
                <a:lnTo>
                  <a:pt x="1328" y="3417"/>
                </a:lnTo>
                <a:lnTo>
                  <a:pt x="1323" y="3411"/>
                </a:lnTo>
                <a:lnTo>
                  <a:pt x="1317" y="3407"/>
                </a:lnTo>
                <a:lnTo>
                  <a:pt x="1309" y="3404"/>
                </a:lnTo>
                <a:close/>
                <a:moveTo>
                  <a:pt x="1293" y="3353"/>
                </a:moveTo>
                <a:lnTo>
                  <a:pt x="1298" y="3370"/>
                </a:lnTo>
                <a:lnTo>
                  <a:pt x="1313" y="3367"/>
                </a:lnTo>
                <a:lnTo>
                  <a:pt x="1324" y="3356"/>
                </a:lnTo>
                <a:lnTo>
                  <a:pt x="1312" y="3344"/>
                </a:lnTo>
                <a:lnTo>
                  <a:pt x="1307" y="3344"/>
                </a:lnTo>
                <a:lnTo>
                  <a:pt x="1300" y="3346"/>
                </a:lnTo>
                <a:lnTo>
                  <a:pt x="1296" y="3349"/>
                </a:lnTo>
                <a:lnTo>
                  <a:pt x="1293" y="3353"/>
                </a:lnTo>
                <a:close/>
                <a:moveTo>
                  <a:pt x="229" y="4835"/>
                </a:moveTo>
                <a:lnTo>
                  <a:pt x="242" y="4831"/>
                </a:lnTo>
                <a:lnTo>
                  <a:pt x="246" y="4818"/>
                </a:lnTo>
                <a:lnTo>
                  <a:pt x="241" y="4806"/>
                </a:lnTo>
                <a:lnTo>
                  <a:pt x="225" y="4802"/>
                </a:lnTo>
                <a:lnTo>
                  <a:pt x="215" y="4807"/>
                </a:lnTo>
                <a:lnTo>
                  <a:pt x="215" y="4818"/>
                </a:lnTo>
                <a:lnTo>
                  <a:pt x="220" y="4830"/>
                </a:lnTo>
                <a:lnTo>
                  <a:pt x="229" y="4835"/>
                </a:lnTo>
                <a:close/>
                <a:moveTo>
                  <a:pt x="1621" y="10461"/>
                </a:moveTo>
                <a:lnTo>
                  <a:pt x="1607" y="10465"/>
                </a:lnTo>
                <a:lnTo>
                  <a:pt x="1605" y="10477"/>
                </a:lnTo>
                <a:lnTo>
                  <a:pt x="1610" y="10489"/>
                </a:lnTo>
                <a:lnTo>
                  <a:pt x="1621" y="10492"/>
                </a:lnTo>
                <a:lnTo>
                  <a:pt x="1635" y="10484"/>
                </a:lnTo>
                <a:lnTo>
                  <a:pt x="1640" y="10475"/>
                </a:lnTo>
                <a:lnTo>
                  <a:pt x="1636" y="10468"/>
                </a:lnTo>
                <a:lnTo>
                  <a:pt x="1621" y="10461"/>
                </a:lnTo>
                <a:close/>
                <a:moveTo>
                  <a:pt x="2129" y="1566"/>
                </a:moveTo>
                <a:lnTo>
                  <a:pt x="2138" y="1575"/>
                </a:lnTo>
                <a:lnTo>
                  <a:pt x="2146" y="1576"/>
                </a:lnTo>
                <a:lnTo>
                  <a:pt x="2151" y="1569"/>
                </a:lnTo>
                <a:lnTo>
                  <a:pt x="2152" y="1556"/>
                </a:lnTo>
                <a:lnTo>
                  <a:pt x="2147" y="1547"/>
                </a:lnTo>
                <a:lnTo>
                  <a:pt x="2136" y="1546"/>
                </a:lnTo>
                <a:lnTo>
                  <a:pt x="2128" y="1552"/>
                </a:lnTo>
                <a:lnTo>
                  <a:pt x="2129" y="1566"/>
                </a:lnTo>
                <a:close/>
                <a:moveTo>
                  <a:pt x="3902" y="993"/>
                </a:moveTo>
                <a:lnTo>
                  <a:pt x="3908" y="986"/>
                </a:lnTo>
                <a:lnTo>
                  <a:pt x="3906" y="975"/>
                </a:lnTo>
                <a:lnTo>
                  <a:pt x="3898" y="968"/>
                </a:lnTo>
                <a:lnTo>
                  <a:pt x="3885" y="970"/>
                </a:lnTo>
                <a:lnTo>
                  <a:pt x="3878" y="981"/>
                </a:lnTo>
                <a:lnTo>
                  <a:pt x="3880" y="989"/>
                </a:lnTo>
                <a:lnTo>
                  <a:pt x="3889" y="995"/>
                </a:lnTo>
                <a:lnTo>
                  <a:pt x="3902" y="993"/>
                </a:lnTo>
                <a:close/>
                <a:moveTo>
                  <a:pt x="1392" y="3554"/>
                </a:moveTo>
                <a:lnTo>
                  <a:pt x="1384" y="3572"/>
                </a:lnTo>
                <a:lnTo>
                  <a:pt x="1391" y="3595"/>
                </a:lnTo>
                <a:lnTo>
                  <a:pt x="1402" y="3610"/>
                </a:lnTo>
                <a:lnTo>
                  <a:pt x="1415" y="3600"/>
                </a:lnTo>
                <a:lnTo>
                  <a:pt x="1416" y="3586"/>
                </a:lnTo>
                <a:lnTo>
                  <a:pt x="1415" y="3567"/>
                </a:lnTo>
                <a:lnTo>
                  <a:pt x="1407" y="3554"/>
                </a:lnTo>
                <a:lnTo>
                  <a:pt x="1392" y="3554"/>
                </a:lnTo>
                <a:close/>
                <a:moveTo>
                  <a:pt x="2435" y="10743"/>
                </a:moveTo>
                <a:lnTo>
                  <a:pt x="2418" y="10750"/>
                </a:lnTo>
                <a:lnTo>
                  <a:pt x="2418" y="10765"/>
                </a:lnTo>
                <a:lnTo>
                  <a:pt x="2430" y="10774"/>
                </a:lnTo>
                <a:lnTo>
                  <a:pt x="2445" y="10764"/>
                </a:lnTo>
                <a:lnTo>
                  <a:pt x="2445" y="10758"/>
                </a:lnTo>
                <a:lnTo>
                  <a:pt x="2443" y="10751"/>
                </a:lnTo>
                <a:lnTo>
                  <a:pt x="2439" y="10746"/>
                </a:lnTo>
                <a:lnTo>
                  <a:pt x="2435" y="10743"/>
                </a:lnTo>
                <a:close/>
                <a:moveTo>
                  <a:pt x="1773" y="3101"/>
                </a:moveTo>
                <a:lnTo>
                  <a:pt x="1779" y="3090"/>
                </a:lnTo>
                <a:lnTo>
                  <a:pt x="1777" y="3082"/>
                </a:lnTo>
                <a:lnTo>
                  <a:pt x="1766" y="3077"/>
                </a:lnTo>
                <a:lnTo>
                  <a:pt x="1754" y="3080"/>
                </a:lnTo>
                <a:lnTo>
                  <a:pt x="1745" y="3089"/>
                </a:lnTo>
                <a:lnTo>
                  <a:pt x="1749" y="3099"/>
                </a:lnTo>
                <a:lnTo>
                  <a:pt x="1760" y="3105"/>
                </a:lnTo>
                <a:lnTo>
                  <a:pt x="1773" y="3101"/>
                </a:lnTo>
                <a:close/>
                <a:moveTo>
                  <a:pt x="7705" y="1670"/>
                </a:moveTo>
                <a:lnTo>
                  <a:pt x="7692" y="1701"/>
                </a:lnTo>
                <a:lnTo>
                  <a:pt x="7717" y="1714"/>
                </a:lnTo>
                <a:lnTo>
                  <a:pt x="7745" y="1706"/>
                </a:lnTo>
                <a:lnTo>
                  <a:pt x="7737" y="1678"/>
                </a:lnTo>
                <a:lnTo>
                  <a:pt x="7729" y="1673"/>
                </a:lnTo>
                <a:lnTo>
                  <a:pt x="7721" y="1669"/>
                </a:lnTo>
                <a:lnTo>
                  <a:pt x="7714" y="1667"/>
                </a:lnTo>
                <a:lnTo>
                  <a:pt x="7705" y="1670"/>
                </a:lnTo>
                <a:close/>
                <a:moveTo>
                  <a:pt x="964" y="6088"/>
                </a:moveTo>
                <a:lnTo>
                  <a:pt x="959" y="6100"/>
                </a:lnTo>
                <a:lnTo>
                  <a:pt x="968" y="6110"/>
                </a:lnTo>
                <a:lnTo>
                  <a:pt x="982" y="6110"/>
                </a:lnTo>
                <a:lnTo>
                  <a:pt x="991" y="6099"/>
                </a:lnTo>
                <a:lnTo>
                  <a:pt x="990" y="6089"/>
                </a:lnTo>
                <a:lnTo>
                  <a:pt x="983" y="6084"/>
                </a:lnTo>
                <a:lnTo>
                  <a:pt x="974" y="6084"/>
                </a:lnTo>
                <a:lnTo>
                  <a:pt x="964" y="6088"/>
                </a:lnTo>
                <a:close/>
                <a:moveTo>
                  <a:pt x="1370" y="2943"/>
                </a:moveTo>
                <a:lnTo>
                  <a:pt x="1384" y="2946"/>
                </a:lnTo>
                <a:lnTo>
                  <a:pt x="1396" y="2937"/>
                </a:lnTo>
                <a:lnTo>
                  <a:pt x="1400" y="2923"/>
                </a:lnTo>
                <a:lnTo>
                  <a:pt x="1394" y="2912"/>
                </a:lnTo>
                <a:lnTo>
                  <a:pt x="1380" y="2909"/>
                </a:lnTo>
                <a:lnTo>
                  <a:pt x="1368" y="2917"/>
                </a:lnTo>
                <a:lnTo>
                  <a:pt x="1361" y="2929"/>
                </a:lnTo>
                <a:lnTo>
                  <a:pt x="1370" y="2943"/>
                </a:lnTo>
                <a:close/>
                <a:moveTo>
                  <a:pt x="674" y="9846"/>
                </a:moveTo>
                <a:lnTo>
                  <a:pt x="679" y="9860"/>
                </a:lnTo>
                <a:lnTo>
                  <a:pt x="688" y="9866"/>
                </a:lnTo>
                <a:lnTo>
                  <a:pt x="698" y="9862"/>
                </a:lnTo>
                <a:lnTo>
                  <a:pt x="706" y="9849"/>
                </a:lnTo>
                <a:lnTo>
                  <a:pt x="704" y="9831"/>
                </a:lnTo>
                <a:lnTo>
                  <a:pt x="694" y="9826"/>
                </a:lnTo>
                <a:lnTo>
                  <a:pt x="680" y="9831"/>
                </a:lnTo>
                <a:lnTo>
                  <a:pt x="674" y="9846"/>
                </a:lnTo>
                <a:close/>
                <a:moveTo>
                  <a:pt x="5214" y="11632"/>
                </a:moveTo>
                <a:lnTo>
                  <a:pt x="5210" y="11620"/>
                </a:lnTo>
                <a:lnTo>
                  <a:pt x="5201" y="11613"/>
                </a:lnTo>
                <a:lnTo>
                  <a:pt x="5191" y="11615"/>
                </a:lnTo>
                <a:lnTo>
                  <a:pt x="5183" y="11623"/>
                </a:lnTo>
                <a:lnTo>
                  <a:pt x="5184" y="11637"/>
                </a:lnTo>
                <a:lnTo>
                  <a:pt x="5195" y="11645"/>
                </a:lnTo>
                <a:lnTo>
                  <a:pt x="5207" y="11644"/>
                </a:lnTo>
                <a:lnTo>
                  <a:pt x="5214" y="11632"/>
                </a:lnTo>
                <a:close/>
                <a:moveTo>
                  <a:pt x="2553" y="1135"/>
                </a:moveTo>
                <a:lnTo>
                  <a:pt x="2564" y="1121"/>
                </a:lnTo>
                <a:lnTo>
                  <a:pt x="2561" y="1105"/>
                </a:lnTo>
                <a:lnTo>
                  <a:pt x="2550" y="1096"/>
                </a:lnTo>
                <a:lnTo>
                  <a:pt x="2533" y="1103"/>
                </a:lnTo>
                <a:lnTo>
                  <a:pt x="2528" y="1115"/>
                </a:lnTo>
                <a:lnTo>
                  <a:pt x="2530" y="1131"/>
                </a:lnTo>
                <a:lnTo>
                  <a:pt x="2541" y="1140"/>
                </a:lnTo>
                <a:lnTo>
                  <a:pt x="2553" y="1135"/>
                </a:lnTo>
                <a:close/>
                <a:moveTo>
                  <a:pt x="1170" y="10228"/>
                </a:moveTo>
                <a:lnTo>
                  <a:pt x="1154" y="10231"/>
                </a:lnTo>
                <a:lnTo>
                  <a:pt x="1149" y="10242"/>
                </a:lnTo>
                <a:lnTo>
                  <a:pt x="1154" y="10254"/>
                </a:lnTo>
                <a:lnTo>
                  <a:pt x="1169" y="10261"/>
                </a:lnTo>
                <a:lnTo>
                  <a:pt x="1183" y="10256"/>
                </a:lnTo>
                <a:lnTo>
                  <a:pt x="1188" y="10244"/>
                </a:lnTo>
                <a:lnTo>
                  <a:pt x="1183" y="10232"/>
                </a:lnTo>
                <a:lnTo>
                  <a:pt x="1170" y="10228"/>
                </a:lnTo>
                <a:close/>
                <a:moveTo>
                  <a:pt x="9723" y="2680"/>
                </a:moveTo>
                <a:lnTo>
                  <a:pt x="9730" y="2670"/>
                </a:lnTo>
                <a:lnTo>
                  <a:pt x="9727" y="2660"/>
                </a:lnTo>
                <a:lnTo>
                  <a:pt x="9717" y="2653"/>
                </a:lnTo>
                <a:lnTo>
                  <a:pt x="9704" y="2656"/>
                </a:lnTo>
                <a:lnTo>
                  <a:pt x="9696" y="2667"/>
                </a:lnTo>
                <a:lnTo>
                  <a:pt x="9700" y="2679"/>
                </a:lnTo>
                <a:lnTo>
                  <a:pt x="9709" y="2684"/>
                </a:lnTo>
                <a:lnTo>
                  <a:pt x="9723" y="2680"/>
                </a:lnTo>
                <a:close/>
                <a:moveTo>
                  <a:pt x="1019" y="4214"/>
                </a:moveTo>
                <a:lnTo>
                  <a:pt x="1033" y="4209"/>
                </a:lnTo>
                <a:lnTo>
                  <a:pt x="1035" y="4196"/>
                </a:lnTo>
                <a:lnTo>
                  <a:pt x="1028" y="4182"/>
                </a:lnTo>
                <a:lnTo>
                  <a:pt x="1014" y="4174"/>
                </a:lnTo>
                <a:lnTo>
                  <a:pt x="1002" y="4178"/>
                </a:lnTo>
                <a:lnTo>
                  <a:pt x="1001" y="4190"/>
                </a:lnTo>
                <a:lnTo>
                  <a:pt x="1009" y="4205"/>
                </a:lnTo>
                <a:lnTo>
                  <a:pt x="1019" y="4214"/>
                </a:lnTo>
                <a:close/>
                <a:moveTo>
                  <a:pt x="2230" y="10548"/>
                </a:moveTo>
                <a:lnTo>
                  <a:pt x="2287" y="10540"/>
                </a:lnTo>
                <a:lnTo>
                  <a:pt x="2333" y="10536"/>
                </a:lnTo>
                <a:lnTo>
                  <a:pt x="2353" y="10513"/>
                </a:lnTo>
                <a:lnTo>
                  <a:pt x="2332" y="10445"/>
                </a:lnTo>
                <a:lnTo>
                  <a:pt x="2285" y="10477"/>
                </a:lnTo>
                <a:lnTo>
                  <a:pt x="2240" y="10477"/>
                </a:lnTo>
                <a:lnTo>
                  <a:pt x="2216" y="10487"/>
                </a:lnTo>
                <a:lnTo>
                  <a:pt x="2230" y="10548"/>
                </a:lnTo>
                <a:close/>
                <a:moveTo>
                  <a:pt x="10435" y="2983"/>
                </a:moveTo>
                <a:lnTo>
                  <a:pt x="10450" y="2979"/>
                </a:lnTo>
                <a:lnTo>
                  <a:pt x="10461" y="2965"/>
                </a:lnTo>
                <a:lnTo>
                  <a:pt x="10462" y="2948"/>
                </a:lnTo>
                <a:lnTo>
                  <a:pt x="10450" y="2938"/>
                </a:lnTo>
                <a:lnTo>
                  <a:pt x="10436" y="2945"/>
                </a:lnTo>
                <a:lnTo>
                  <a:pt x="10430" y="2955"/>
                </a:lnTo>
                <a:lnTo>
                  <a:pt x="10430" y="2969"/>
                </a:lnTo>
                <a:lnTo>
                  <a:pt x="10435" y="2983"/>
                </a:lnTo>
                <a:close/>
                <a:moveTo>
                  <a:pt x="1191" y="9372"/>
                </a:moveTo>
                <a:lnTo>
                  <a:pt x="1202" y="9368"/>
                </a:lnTo>
                <a:lnTo>
                  <a:pt x="1220" y="9355"/>
                </a:lnTo>
                <a:lnTo>
                  <a:pt x="1234" y="9341"/>
                </a:lnTo>
                <a:lnTo>
                  <a:pt x="1233" y="9331"/>
                </a:lnTo>
                <a:lnTo>
                  <a:pt x="1215" y="9332"/>
                </a:lnTo>
                <a:lnTo>
                  <a:pt x="1198" y="9341"/>
                </a:lnTo>
                <a:lnTo>
                  <a:pt x="1188" y="9355"/>
                </a:lnTo>
                <a:lnTo>
                  <a:pt x="1191" y="9372"/>
                </a:lnTo>
                <a:close/>
                <a:moveTo>
                  <a:pt x="8787" y="1553"/>
                </a:moveTo>
                <a:lnTo>
                  <a:pt x="8785" y="1564"/>
                </a:lnTo>
                <a:lnTo>
                  <a:pt x="8792" y="1575"/>
                </a:lnTo>
                <a:lnTo>
                  <a:pt x="8802" y="1584"/>
                </a:lnTo>
                <a:lnTo>
                  <a:pt x="8813" y="1588"/>
                </a:lnTo>
                <a:lnTo>
                  <a:pt x="8832" y="1579"/>
                </a:lnTo>
                <a:lnTo>
                  <a:pt x="8828" y="1560"/>
                </a:lnTo>
                <a:lnTo>
                  <a:pt x="8810" y="1547"/>
                </a:lnTo>
                <a:lnTo>
                  <a:pt x="8787" y="1553"/>
                </a:lnTo>
                <a:close/>
                <a:moveTo>
                  <a:pt x="776" y="9536"/>
                </a:moveTo>
                <a:lnTo>
                  <a:pt x="783" y="9522"/>
                </a:lnTo>
                <a:lnTo>
                  <a:pt x="770" y="9510"/>
                </a:lnTo>
                <a:lnTo>
                  <a:pt x="750" y="9505"/>
                </a:lnTo>
                <a:lnTo>
                  <a:pt x="740" y="9512"/>
                </a:lnTo>
                <a:lnTo>
                  <a:pt x="744" y="9526"/>
                </a:lnTo>
                <a:lnTo>
                  <a:pt x="750" y="9536"/>
                </a:lnTo>
                <a:lnTo>
                  <a:pt x="762" y="9541"/>
                </a:lnTo>
                <a:lnTo>
                  <a:pt x="776" y="9536"/>
                </a:lnTo>
                <a:close/>
                <a:moveTo>
                  <a:pt x="1238" y="8924"/>
                </a:moveTo>
                <a:lnTo>
                  <a:pt x="1220" y="8931"/>
                </a:lnTo>
                <a:lnTo>
                  <a:pt x="1210" y="8949"/>
                </a:lnTo>
                <a:lnTo>
                  <a:pt x="1211" y="8964"/>
                </a:lnTo>
                <a:lnTo>
                  <a:pt x="1225" y="8968"/>
                </a:lnTo>
                <a:lnTo>
                  <a:pt x="1239" y="8959"/>
                </a:lnTo>
                <a:lnTo>
                  <a:pt x="1251" y="8944"/>
                </a:lnTo>
                <a:lnTo>
                  <a:pt x="1252" y="8930"/>
                </a:lnTo>
                <a:lnTo>
                  <a:pt x="1238" y="8924"/>
                </a:lnTo>
                <a:close/>
                <a:moveTo>
                  <a:pt x="2331" y="2570"/>
                </a:moveTo>
                <a:lnTo>
                  <a:pt x="2332" y="2582"/>
                </a:lnTo>
                <a:lnTo>
                  <a:pt x="2336" y="2590"/>
                </a:lnTo>
                <a:lnTo>
                  <a:pt x="2342" y="2593"/>
                </a:lnTo>
                <a:lnTo>
                  <a:pt x="2352" y="2597"/>
                </a:lnTo>
                <a:lnTo>
                  <a:pt x="2369" y="2581"/>
                </a:lnTo>
                <a:lnTo>
                  <a:pt x="2360" y="2558"/>
                </a:lnTo>
                <a:lnTo>
                  <a:pt x="2342" y="2549"/>
                </a:lnTo>
                <a:lnTo>
                  <a:pt x="2331" y="2570"/>
                </a:lnTo>
                <a:close/>
                <a:moveTo>
                  <a:pt x="5881" y="179"/>
                </a:moveTo>
                <a:lnTo>
                  <a:pt x="5895" y="171"/>
                </a:lnTo>
                <a:lnTo>
                  <a:pt x="5896" y="157"/>
                </a:lnTo>
                <a:lnTo>
                  <a:pt x="5889" y="143"/>
                </a:lnTo>
                <a:lnTo>
                  <a:pt x="5877" y="134"/>
                </a:lnTo>
                <a:lnTo>
                  <a:pt x="5859" y="139"/>
                </a:lnTo>
                <a:lnTo>
                  <a:pt x="5856" y="154"/>
                </a:lnTo>
                <a:lnTo>
                  <a:pt x="5863" y="171"/>
                </a:lnTo>
                <a:lnTo>
                  <a:pt x="5881" y="179"/>
                </a:lnTo>
                <a:close/>
                <a:moveTo>
                  <a:pt x="5793" y="128"/>
                </a:moveTo>
                <a:lnTo>
                  <a:pt x="5797" y="104"/>
                </a:lnTo>
                <a:lnTo>
                  <a:pt x="5788" y="88"/>
                </a:lnTo>
                <a:lnTo>
                  <a:pt x="5774" y="86"/>
                </a:lnTo>
                <a:lnTo>
                  <a:pt x="5761" y="106"/>
                </a:lnTo>
                <a:lnTo>
                  <a:pt x="5764" y="125"/>
                </a:lnTo>
                <a:lnTo>
                  <a:pt x="5772" y="139"/>
                </a:lnTo>
                <a:lnTo>
                  <a:pt x="5783" y="144"/>
                </a:lnTo>
                <a:lnTo>
                  <a:pt x="5793" y="128"/>
                </a:lnTo>
                <a:close/>
                <a:moveTo>
                  <a:pt x="7367" y="604"/>
                </a:moveTo>
                <a:lnTo>
                  <a:pt x="7385" y="606"/>
                </a:lnTo>
                <a:lnTo>
                  <a:pt x="7395" y="597"/>
                </a:lnTo>
                <a:lnTo>
                  <a:pt x="7396" y="583"/>
                </a:lnTo>
                <a:lnTo>
                  <a:pt x="7384" y="571"/>
                </a:lnTo>
                <a:lnTo>
                  <a:pt x="7362" y="567"/>
                </a:lnTo>
                <a:lnTo>
                  <a:pt x="7351" y="578"/>
                </a:lnTo>
                <a:lnTo>
                  <a:pt x="7352" y="594"/>
                </a:lnTo>
                <a:lnTo>
                  <a:pt x="7367" y="604"/>
                </a:lnTo>
                <a:close/>
                <a:moveTo>
                  <a:pt x="503" y="4894"/>
                </a:moveTo>
                <a:lnTo>
                  <a:pt x="523" y="4891"/>
                </a:lnTo>
                <a:lnTo>
                  <a:pt x="534" y="4877"/>
                </a:lnTo>
                <a:lnTo>
                  <a:pt x="534" y="4859"/>
                </a:lnTo>
                <a:lnTo>
                  <a:pt x="520" y="4844"/>
                </a:lnTo>
                <a:lnTo>
                  <a:pt x="504" y="4848"/>
                </a:lnTo>
                <a:lnTo>
                  <a:pt x="493" y="4864"/>
                </a:lnTo>
                <a:lnTo>
                  <a:pt x="490" y="4882"/>
                </a:lnTo>
                <a:lnTo>
                  <a:pt x="503" y="4894"/>
                </a:lnTo>
                <a:close/>
                <a:moveTo>
                  <a:pt x="7160" y="296"/>
                </a:moveTo>
                <a:lnTo>
                  <a:pt x="7180" y="297"/>
                </a:lnTo>
                <a:lnTo>
                  <a:pt x="7185" y="283"/>
                </a:lnTo>
                <a:lnTo>
                  <a:pt x="7179" y="265"/>
                </a:lnTo>
                <a:lnTo>
                  <a:pt x="7163" y="252"/>
                </a:lnTo>
                <a:lnTo>
                  <a:pt x="7149" y="255"/>
                </a:lnTo>
                <a:lnTo>
                  <a:pt x="7143" y="269"/>
                </a:lnTo>
                <a:lnTo>
                  <a:pt x="7147" y="286"/>
                </a:lnTo>
                <a:lnTo>
                  <a:pt x="7160" y="296"/>
                </a:lnTo>
                <a:close/>
                <a:moveTo>
                  <a:pt x="10070" y="2357"/>
                </a:moveTo>
                <a:lnTo>
                  <a:pt x="10087" y="2349"/>
                </a:lnTo>
                <a:lnTo>
                  <a:pt x="10087" y="2335"/>
                </a:lnTo>
                <a:lnTo>
                  <a:pt x="10076" y="2323"/>
                </a:lnTo>
                <a:lnTo>
                  <a:pt x="10057" y="2322"/>
                </a:lnTo>
                <a:lnTo>
                  <a:pt x="10044" y="2329"/>
                </a:lnTo>
                <a:lnTo>
                  <a:pt x="10045" y="2340"/>
                </a:lnTo>
                <a:lnTo>
                  <a:pt x="10056" y="2351"/>
                </a:lnTo>
                <a:lnTo>
                  <a:pt x="10070" y="2357"/>
                </a:lnTo>
                <a:close/>
                <a:moveTo>
                  <a:pt x="3282" y="1261"/>
                </a:moveTo>
                <a:lnTo>
                  <a:pt x="3301" y="1252"/>
                </a:lnTo>
                <a:lnTo>
                  <a:pt x="3310" y="1234"/>
                </a:lnTo>
                <a:lnTo>
                  <a:pt x="3306" y="1217"/>
                </a:lnTo>
                <a:lnTo>
                  <a:pt x="3288" y="1211"/>
                </a:lnTo>
                <a:lnTo>
                  <a:pt x="3274" y="1220"/>
                </a:lnTo>
                <a:lnTo>
                  <a:pt x="3267" y="1236"/>
                </a:lnTo>
                <a:lnTo>
                  <a:pt x="3268" y="1253"/>
                </a:lnTo>
                <a:lnTo>
                  <a:pt x="3282" y="1261"/>
                </a:lnTo>
                <a:close/>
                <a:moveTo>
                  <a:pt x="1044" y="9956"/>
                </a:moveTo>
                <a:lnTo>
                  <a:pt x="1023" y="9943"/>
                </a:lnTo>
                <a:lnTo>
                  <a:pt x="1010" y="9955"/>
                </a:lnTo>
                <a:lnTo>
                  <a:pt x="1007" y="9978"/>
                </a:lnTo>
                <a:lnTo>
                  <a:pt x="1020" y="9998"/>
                </a:lnTo>
                <a:lnTo>
                  <a:pt x="1039" y="9997"/>
                </a:lnTo>
                <a:lnTo>
                  <a:pt x="1053" y="9986"/>
                </a:lnTo>
                <a:lnTo>
                  <a:pt x="1057" y="9972"/>
                </a:lnTo>
                <a:lnTo>
                  <a:pt x="1044" y="9956"/>
                </a:lnTo>
                <a:close/>
                <a:moveTo>
                  <a:pt x="1653" y="4170"/>
                </a:moveTo>
                <a:lnTo>
                  <a:pt x="1638" y="4172"/>
                </a:lnTo>
                <a:lnTo>
                  <a:pt x="1628" y="4184"/>
                </a:lnTo>
                <a:lnTo>
                  <a:pt x="1625" y="4201"/>
                </a:lnTo>
                <a:lnTo>
                  <a:pt x="1636" y="4212"/>
                </a:lnTo>
                <a:lnTo>
                  <a:pt x="1652" y="4210"/>
                </a:lnTo>
                <a:lnTo>
                  <a:pt x="1662" y="4197"/>
                </a:lnTo>
                <a:lnTo>
                  <a:pt x="1663" y="4182"/>
                </a:lnTo>
                <a:lnTo>
                  <a:pt x="1653" y="4170"/>
                </a:lnTo>
                <a:close/>
                <a:moveTo>
                  <a:pt x="5690" y="919"/>
                </a:moveTo>
                <a:lnTo>
                  <a:pt x="5710" y="907"/>
                </a:lnTo>
                <a:lnTo>
                  <a:pt x="5713" y="885"/>
                </a:lnTo>
                <a:lnTo>
                  <a:pt x="5701" y="870"/>
                </a:lnTo>
                <a:lnTo>
                  <a:pt x="5679" y="879"/>
                </a:lnTo>
                <a:lnTo>
                  <a:pt x="5675" y="889"/>
                </a:lnTo>
                <a:lnTo>
                  <a:pt x="5675" y="904"/>
                </a:lnTo>
                <a:lnTo>
                  <a:pt x="5679" y="916"/>
                </a:lnTo>
                <a:lnTo>
                  <a:pt x="5690" y="919"/>
                </a:lnTo>
                <a:close/>
                <a:moveTo>
                  <a:pt x="1507" y="3996"/>
                </a:moveTo>
                <a:lnTo>
                  <a:pt x="1496" y="4004"/>
                </a:lnTo>
                <a:lnTo>
                  <a:pt x="1490" y="4015"/>
                </a:lnTo>
                <a:lnTo>
                  <a:pt x="1491" y="4027"/>
                </a:lnTo>
                <a:lnTo>
                  <a:pt x="1501" y="4033"/>
                </a:lnTo>
                <a:lnTo>
                  <a:pt x="1517" y="4029"/>
                </a:lnTo>
                <a:lnTo>
                  <a:pt x="1523" y="4015"/>
                </a:lnTo>
                <a:lnTo>
                  <a:pt x="1519" y="4001"/>
                </a:lnTo>
                <a:lnTo>
                  <a:pt x="1507" y="3996"/>
                </a:lnTo>
                <a:close/>
                <a:moveTo>
                  <a:pt x="7511" y="83"/>
                </a:moveTo>
                <a:lnTo>
                  <a:pt x="7529" y="84"/>
                </a:lnTo>
                <a:lnTo>
                  <a:pt x="7539" y="73"/>
                </a:lnTo>
                <a:lnTo>
                  <a:pt x="7538" y="56"/>
                </a:lnTo>
                <a:lnTo>
                  <a:pt x="7523" y="45"/>
                </a:lnTo>
                <a:lnTo>
                  <a:pt x="7501" y="40"/>
                </a:lnTo>
                <a:lnTo>
                  <a:pt x="7493" y="50"/>
                </a:lnTo>
                <a:lnTo>
                  <a:pt x="7497" y="67"/>
                </a:lnTo>
                <a:lnTo>
                  <a:pt x="7511" y="83"/>
                </a:lnTo>
                <a:close/>
                <a:moveTo>
                  <a:pt x="3646" y="1243"/>
                </a:moveTo>
                <a:lnTo>
                  <a:pt x="3654" y="1243"/>
                </a:lnTo>
                <a:lnTo>
                  <a:pt x="3659" y="1235"/>
                </a:lnTo>
                <a:lnTo>
                  <a:pt x="3661" y="1224"/>
                </a:lnTo>
                <a:lnTo>
                  <a:pt x="3661" y="1215"/>
                </a:lnTo>
                <a:lnTo>
                  <a:pt x="3640" y="1198"/>
                </a:lnTo>
                <a:lnTo>
                  <a:pt x="3624" y="1207"/>
                </a:lnTo>
                <a:lnTo>
                  <a:pt x="3623" y="1227"/>
                </a:lnTo>
                <a:lnTo>
                  <a:pt x="3646" y="1243"/>
                </a:lnTo>
                <a:close/>
                <a:moveTo>
                  <a:pt x="246" y="8565"/>
                </a:moveTo>
                <a:lnTo>
                  <a:pt x="241" y="8572"/>
                </a:lnTo>
                <a:lnTo>
                  <a:pt x="234" y="8579"/>
                </a:lnTo>
                <a:lnTo>
                  <a:pt x="229" y="8585"/>
                </a:lnTo>
                <a:lnTo>
                  <a:pt x="231" y="8596"/>
                </a:lnTo>
                <a:lnTo>
                  <a:pt x="256" y="8608"/>
                </a:lnTo>
                <a:lnTo>
                  <a:pt x="271" y="8588"/>
                </a:lnTo>
                <a:lnTo>
                  <a:pt x="270" y="8565"/>
                </a:lnTo>
                <a:lnTo>
                  <a:pt x="246" y="8565"/>
                </a:lnTo>
                <a:close/>
                <a:moveTo>
                  <a:pt x="1354" y="8864"/>
                </a:moveTo>
                <a:lnTo>
                  <a:pt x="1337" y="8857"/>
                </a:lnTo>
                <a:lnTo>
                  <a:pt x="1322" y="8864"/>
                </a:lnTo>
                <a:lnTo>
                  <a:pt x="1314" y="8878"/>
                </a:lnTo>
                <a:lnTo>
                  <a:pt x="1321" y="8894"/>
                </a:lnTo>
                <a:lnTo>
                  <a:pt x="1337" y="8901"/>
                </a:lnTo>
                <a:lnTo>
                  <a:pt x="1354" y="8896"/>
                </a:lnTo>
                <a:lnTo>
                  <a:pt x="1363" y="8882"/>
                </a:lnTo>
                <a:lnTo>
                  <a:pt x="1354" y="8864"/>
                </a:lnTo>
                <a:close/>
                <a:moveTo>
                  <a:pt x="8112" y="1654"/>
                </a:moveTo>
                <a:lnTo>
                  <a:pt x="8134" y="1663"/>
                </a:lnTo>
                <a:lnTo>
                  <a:pt x="8148" y="1654"/>
                </a:lnTo>
                <a:lnTo>
                  <a:pt x="8154" y="1634"/>
                </a:lnTo>
                <a:lnTo>
                  <a:pt x="8149" y="1609"/>
                </a:lnTo>
                <a:lnTo>
                  <a:pt x="8129" y="1606"/>
                </a:lnTo>
                <a:lnTo>
                  <a:pt x="8111" y="1618"/>
                </a:lnTo>
                <a:lnTo>
                  <a:pt x="8103" y="1637"/>
                </a:lnTo>
                <a:lnTo>
                  <a:pt x="8112" y="1654"/>
                </a:lnTo>
                <a:close/>
                <a:moveTo>
                  <a:pt x="9106" y="825"/>
                </a:moveTo>
                <a:lnTo>
                  <a:pt x="9118" y="827"/>
                </a:lnTo>
                <a:lnTo>
                  <a:pt x="9130" y="824"/>
                </a:lnTo>
                <a:lnTo>
                  <a:pt x="9140" y="816"/>
                </a:lnTo>
                <a:lnTo>
                  <a:pt x="9144" y="805"/>
                </a:lnTo>
                <a:lnTo>
                  <a:pt x="9123" y="786"/>
                </a:lnTo>
                <a:lnTo>
                  <a:pt x="9098" y="788"/>
                </a:lnTo>
                <a:lnTo>
                  <a:pt x="9086" y="804"/>
                </a:lnTo>
                <a:lnTo>
                  <a:pt x="9106" y="825"/>
                </a:lnTo>
                <a:close/>
                <a:moveTo>
                  <a:pt x="4023" y="11350"/>
                </a:moveTo>
                <a:lnTo>
                  <a:pt x="4012" y="11348"/>
                </a:lnTo>
                <a:lnTo>
                  <a:pt x="3998" y="11350"/>
                </a:lnTo>
                <a:lnTo>
                  <a:pt x="3985" y="11355"/>
                </a:lnTo>
                <a:lnTo>
                  <a:pt x="3980" y="11365"/>
                </a:lnTo>
                <a:lnTo>
                  <a:pt x="3994" y="11389"/>
                </a:lnTo>
                <a:lnTo>
                  <a:pt x="4020" y="11388"/>
                </a:lnTo>
                <a:lnTo>
                  <a:pt x="4037" y="11373"/>
                </a:lnTo>
                <a:lnTo>
                  <a:pt x="4023" y="11350"/>
                </a:lnTo>
                <a:close/>
                <a:moveTo>
                  <a:pt x="2455" y="11030"/>
                </a:moveTo>
                <a:lnTo>
                  <a:pt x="2446" y="11048"/>
                </a:lnTo>
                <a:lnTo>
                  <a:pt x="2448" y="11065"/>
                </a:lnTo>
                <a:lnTo>
                  <a:pt x="2459" y="11072"/>
                </a:lnTo>
                <a:lnTo>
                  <a:pt x="2477" y="11066"/>
                </a:lnTo>
                <a:lnTo>
                  <a:pt x="2491" y="11049"/>
                </a:lnTo>
                <a:lnTo>
                  <a:pt x="2487" y="11033"/>
                </a:lnTo>
                <a:lnTo>
                  <a:pt x="2473" y="11024"/>
                </a:lnTo>
                <a:lnTo>
                  <a:pt x="2455" y="11030"/>
                </a:lnTo>
                <a:close/>
                <a:moveTo>
                  <a:pt x="3151" y="991"/>
                </a:moveTo>
                <a:lnTo>
                  <a:pt x="3154" y="973"/>
                </a:lnTo>
                <a:lnTo>
                  <a:pt x="3146" y="964"/>
                </a:lnTo>
                <a:lnTo>
                  <a:pt x="3130" y="963"/>
                </a:lnTo>
                <a:lnTo>
                  <a:pt x="3114" y="970"/>
                </a:lnTo>
                <a:lnTo>
                  <a:pt x="3109" y="987"/>
                </a:lnTo>
                <a:lnTo>
                  <a:pt x="3121" y="998"/>
                </a:lnTo>
                <a:lnTo>
                  <a:pt x="3139" y="1002"/>
                </a:lnTo>
                <a:lnTo>
                  <a:pt x="3151" y="991"/>
                </a:lnTo>
                <a:close/>
                <a:moveTo>
                  <a:pt x="4648" y="291"/>
                </a:moveTo>
                <a:lnTo>
                  <a:pt x="4664" y="286"/>
                </a:lnTo>
                <a:lnTo>
                  <a:pt x="4672" y="272"/>
                </a:lnTo>
                <a:lnTo>
                  <a:pt x="4672" y="256"/>
                </a:lnTo>
                <a:lnTo>
                  <a:pt x="4660" y="247"/>
                </a:lnTo>
                <a:lnTo>
                  <a:pt x="4637" y="250"/>
                </a:lnTo>
                <a:lnTo>
                  <a:pt x="4624" y="265"/>
                </a:lnTo>
                <a:lnTo>
                  <a:pt x="4627" y="282"/>
                </a:lnTo>
                <a:lnTo>
                  <a:pt x="4648" y="291"/>
                </a:lnTo>
                <a:close/>
                <a:moveTo>
                  <a:pt x="595" y="6741"/>
                </a:moveTo>
                <a:lnTo>
                  <a:pt x="588" y="6725"/>
                </a:lnTo>
                <a:lnTo>
                  <a:pt x="572" y="6718"/>
                </a:lnTo>
                <a:lnTo>
                  <a:pt x="553" y="6719"/>
                </a:lnTo>
                <a:lnTo>
                  <a:pt x="541" y="6729"/>
                </a:lnTo>
                <a:lnTo>
                  <a:pt x="545" y="6746"/>
                </a:lnTo>
                <a:lnTo>
                  <a:pt x="564" y="6756"/>
                </a:lnTo>
                <a:lnTo>
                  <a:pt x="583" y="6756"/>
                </a:lnTo>
                <a:lnTo>
                  <a:pt x="595" y="6741"/>
                </a:lnTo>
                <a:close/>
                <a:moveTo>
                  <a:pt x="1447" y="3851"/>
                </a:moveTo>
                <a:lnTo>
                  <a:pt x="1435" y="3855"/>
                </a:lnTo>
                <a:lnTo>
                  <a:pt x="1429" y="3868"/>
                </a:lnTo>
                <a:lnTo>
                  <a:pt x="1430" y="3883"/>
                </a:lnTo>
                <a:lnTo>
                  <a:pt x="1440" y="3893"/>
                </a:lnTo>
                <a:lnTo>
                  <a:pt x="1454" y="3889"/>
                </a:lnTo>
                <a:lnTo>
                  <a:pt x="1459" y="3875"/>
                </a:lnTo>
                <a:lnTo>
                  <a:pt x="1458" y="3860"/>
                </a:lnTo>
                <a:lnTo>
                  <a:pt x="1447" y="3851"/>
                </a:lnTo>
                <a:close/>
                <a:moveTo>
                  <a:pt x="1808" y="2358"/>
                </a:moveTo>
                <a:lnTo>
                  <a:pt x="1829" y="2348"/>
                </a:lnTo>
                <a:lnTo>
                  <a:pt x="1835" y="2330"/>
                </a:lnTo>
                <a:lnTo>
                  <a:pt x="1829" y="2312"/>
                </a:lnTo>
                <a:lnTo>
                  <a:pt x="1808" y="2302"/>
                </a:lnTo>
                <a:lnTo>
                  <a:pt x="1789" y="2309"/>
                </a:lnTo>
                <a:lnTo>
                  <a:pt x="1783" y="2329"/>
                </a:lnTo>
                <a:lnTo>
                  <a:pt x="1791" y="2349"/>
                </a:lnTo>
                <a:lnTo>
                  <a:pt x="1808" y="2358"/>
                </a:lnTo>
                <a:close/>
                <a:moveTo>
                  <a:pt x="9718" y="2614"/>
                </a:moveTo>
                <a:lnTo>
                  <a:pt x="9710" y="2600"/>
                </a:lnTo>
                <a:lnTo>
                  <a:pt x="9694" y="2584"/>
                </a:lnTo>
                <a:lnTo>
                  <a:pt x="9676" y="2574"/>
                </a:lnTo>
                <a:lnTo>
                  <a:pt x="9666" y="2576"/>
                </a:lnTo>
                <a:lnTo>
                  <a:pt x="9663" y="2602"/>
                </a:lnTo>
                <a:lnTo>
                  <a:pt x="9679" y="2624"/>
                </a:lnTo>
                <a:lnTo>
                  <a:pt x="9700" y="2632"/>
                </a:lnTo>
                <a:lnTo>
                  <a:pt x="9718" y="2614"/>
                </a:lnTo>
                <a:close/>
                <a:moveTo>
                  <a:pt x="1698" y="10067"/>
                </a:moveTo>
                <a:lnTo>
                  <a:pt x="1692" y="10051"/>
                </a:lnTo>
                <a:lnTo>
                  <a:pt x="1676" y="10053"/>
                </a:lnTo>
                <a:lnTo>
                  <a:pt x="1661" y="10064"/>
                </a:lnTo>
                <a:lnTo>
                  <a:pt x="1654" y="10079"/>
                </a:lnTo>
                <a:lnTo>
                  <a:pt x="1671" y="10112"/>
                </a:lnTo>
                <a:lnTo>
                  <a:pt x="1698" y="10118"/>
                </a:lnTo>
                <a:lnTo>
                  <a:pt x="1712" y="10102"/>
                </a:lnTo>
                <a:lnTo>
                  <a:pt x="1698" y="10067"/>
                </a:lnTo>
                <a:close/>
                <a:moveTo>
                  <a:pt x="3824" y="828"/>
                </a:moveTo>
                <a:lnTo>
                  <a:pt x="3821" y="809"/>
                </a:lnTo>
                <a:lnTo>
                  <a:pt x="3808" y="788"/>
                </a:lnTo>
                <a:lnTo>
                  <a:pt x="3791" y="778"/>
                </a:lnTo>
                <a:lnTo>
                  <a:pt x="3778" y="790"/>
                </a:lnTo>
                <a:lnTo>
                  <a:pt x="3780" y="813"/>
                </a:lnTo>
                <a:lnTo>
                  <a:pt x="3791" y="835"/>
                </a:lnTo>
                <a:lnTo>
                  <a:pt x="3808" y="844"/>
                </a:lnTo>
                <a:lnTo>
                  <a:pt x="3824" y="828"/>
                </a:lnTo>
                <a:close/>
                <a:moveTo>
                  <a:pt x="1983" y="2593"/>
                </a:moveTo>
                <a:lnTo>
                  <a:pt x="1994" y="2611"/>
                </a:lnTo>
                <a:lnTo>
                  <a:pt x="2012" y="2607"/>
                </a:lnTo>
                <a:lnTo>
                  <a:pt x="2025" y="2591"/>
                </a:lnTo>
                <a:lnTo>
                  <a:pt x="2021" y="2570"/>
                </a:lnTo>
                <a:lnTo>
                  <a:pt x="2011" y="2556"/>
                </a:lnTo>
                <a:lnTo>
                  <a:pt x="1997" y="2559"/>
                </a:lnTo>
                <a:lnTo>
                  <a:pt x="1984" y="2573"/>
                </a:lnTo>
                <a:lnTo>
                  <a:pt x="1983" y="2593"/>
                </a:lnTo>
                <a:close/>
                <a:moveTo>
                  <a:pt x="1168" y="3514"/>
                </a:moveTo>
                <a:lnTo>
                  <a:pt x="1174" y="3533"/>
                </a:lnTo>
                <a:lnTo>
                  <a:pt x="1189" y="3549"/>
                </a:lnTo>
                <a:lnTo>
                  <a:pt x="1209" y="3554"/>
                </a:lnTo>
                <a:lnTo>
                  <a:pt x="1224" y="3542"/>
                </a:lnTo>
                <a:lnTo>
                  <a:pt x="1221" y="3520"/>
                </a:lnTo>
                <a:lnTo>
                  <a:pt x="1205" y="3505"/>
                </a:lnTo>
                <a:lnTo>
                  <a:pt x="1183" y="3501"/>
                </a:lnTo>
                <a:lnTo>
                  <a:pt x="1168" y="3514"/>
                </a:lnTo>
                <a:close/>
                <a:moveTo>
                  <a:pt x="1467" y="4076"/>
                </a:moveTo>
                <a:lnTo>
                  <a:pt x="1484" y="4075"/>
                </a:lnTo>
                <a:lnTo>
                  <a:pt x="1493" y="4061"/>
                </a:lnTo>
                <a:lnTo>
                  <a:pt x="1494" y="4044"/>
                </a:lnTo>
                <a:lnTo>
                  <a:pt x="1484" y="4033"/>
                </a:lnTo>
                <a:lnTo>
                  <a:pt x="1467" y="4036"/>
                </a:lnTo>
                <a:lnTo>
                  <a:pt x="1457" y="4048"/>
                </a:lnTo>
                <a:lnTo>
                  <a:pt x="1456" y="4065"/>
                </a:lnTo>
                <a:lnTo>
                  <a:pt x="1467" y="4076"/>
                </a:lnTo>
                <a:close/>
                <a:moveTo>
                  <a:pt x="195" y="6532"/>
                </a:moveTo>
                <a:lnTo>
                  <a:pt x="169" y="6543"/>
                </a:lnTo>
                <a:lnTo>
                  <a:pt x="181" y="6580"/>
                </a:lnTo>
                <a:lnTo>
                  <a:pt x="209" y="6609"/>
                </a:lnTo>
                <a:lnTo>
                  <a:pt x="236" y="6593"/>
                </a:lnTo>
                <a:lnTo>
                  <a:pt x="222" y="6576"/>
                </a:lnTo>
                <a:lnTo>
                  <a:pt x="213" y="6570"/>
                </a:lnTo>
                <a:lnTo>
                  <a:pt x="205" y="6560"/>
                </a:lnTo>
                <a:lnTo>
                  <a:pt x="195" y="6532"/>
                </a:lnTo>
                <a:close/>
                <a:moveTo>
                  <a:pt x="2248" y="12158"/>
                </a:moveTo>
                <a:lnTo>
                  <a:pt x="2266" y="12162"/>
                </a:lnTo>
                <a:lnTo>
                  <a:pt x="2281" y="12154"/>
                </a:lnTo>
                <a:lnTo>
                  <a:pt x="2287" y="12139"/>
                </a:lnTo>
                <a:lnTo>
                  <a:pt x="2280" y="12121"/>
                </a:lnTo>
                <a:lnTo>
                  <a:pt x="2263" y="12106"/>
                </a:lnTo>
                <a:lnTo>
                  <a:pt x="2244" y="12114"/>
                </a:lnTo>
                <a:lnTo>
                  <a:pt x="2235" y="12135"/>
                </a:lnTo>
                <a:lnTo>
                  <a:pt x="2248" y="12158"/>
                </a:lnTo>
                <a:close/>
                <a:moveTo>
                  <a:pt x="2612" y="12022"/>
                </a:moveTo>
                <a:lnTo>
                  <a:pt x="2592" y="12022"/>
                </a:lnTo>
                <a:lnTo>
                  <a:pt x="2579" y="12035"/>
                </a:lnTo>
                <a:lnTo>
                  <a:pt x="2575" y="12054"/>
                </a:lnTo>
                <a:lnTo>
                  <a:pt x="2586" y="12069"/>
                </a:lnTo>
                <a:lnTo>
                  <a:pt x="2612" y="12068"/>
                </a:lnTo>
                <a:lnTo>
                  <a:pt x="2631" y="12054"/>
                </a:lnTo>
                <a:lnTo>
                  <a:pt x="2635" y="12036"/>
                </a:lnTo>
                <a:lnTo>
                  <a:pt x="2612" y="12022"/>
                </a:lnTo>
                <a:close/>
                <a:moveTo>
                  <a:pt x="3213" y="1280"/>
                </a:moveTo>
                <a:lnTo>
                  <a:pt x="3214" y="1305"/>
                </a:lnTo>
                <a:lnTo>
                  <a:pt x="3222" y="1322"/>
                </a:lnTo>
                <a:lnTo>
                  <a:pt x="3236" y="1324"/>
                </a:lnTo>
                <a:lnTo>
                  <a:pt x="3255" y="1304"/>
                </a:lnTo>
                <a:lnTo>
                  <a:pt x="3265" y="1275"/>
                </a:lnTo>
                <a:lnTo>
                  <a:pt x="3255" y="1258"/>
                </a:lnTo>
                <a:lnTo>
                  <a:pt x="3233" y="1258"/>
                </a:lnTo>
                <a:lnTo>
                  <a:pt x="3213" y="1280"/>
                </a:lnTo>
                <a:close/>
                <a:moveTo>
                  <a:pt x="5055" y="235"/>
                </a:moveTo>
                <a:lnTo>
                  <a:pt x="5077" y="238"/>
                </a:lnTo>
                <a:lnTo>
                  <a:pt x="5108" y="233"/>
                </a:lnTo>
                <a:lnTo>
                  <a:pt x="5126" y="223"/>
                </a:lnTo>
                <a:lnTo>
                  <a:pt x="5113" y="207"/>
                </a:lnTo>
                <a:lnTo>
                  <a:pt x="5089" y="202"/>
                </a:lnTo>
                <a:lnTo>
                  <a:pt x="5058" y="207"/>
                </a:lnTo>
                <a:lnTo>
                  <a:pt x="5041" y="218"/>
                </a:lnTo>
                <a:lnTo>
                  <a:pt x="5055" y="235"/>
                </a:lnTo>
                <a:close/>
                <a:moveTo>
                  <a:pt x="317" y="3747"/>
                </a:moveTo>
                <a:lnTo>
                  <a:pt x="335" y="3752"/>
                </a:lnTo>
                <a:lnTo>
                  <a:pt x="349" y="3743"/>
                </a:lnTo>
                <a:lnTo>
                  <a:pt x="355" y="3726"/>
                </a:lnTo>
                <a:lnTo>
                  <a:pt x="348" y="3708"/>
                </a:lnTo>
                <a:lnTo>
                  <a:pt x="325" y="3698"/>
                </a:lnTo>
                <a:lnTo>
                  <a:pt x="304" y="3712"/>
                </a:lnTo>
                <a:lnTo>
                  <a:pt x="298" y="3734"/>
                </a:lnTo>
                <a:lnTo>
                  <a:pt x="317" y="3747"/>
                </a:lnTo>
                <a:close/>
                <a:moveTo>
                  <a:pt x="9907" y="3212"/>
                </a:moveTo>
                <a:lnTo>
                  <a:pt x="9923" y="3199"/>
                </a:lnTo>
                <a:lnTo>
                  <a:pt x="9929" y="3174"/>
                </a:lnTo>
                <a:lnTo>
                  <a:pt x="9922" y="3148"/>
                </a:lnTo>
                <a:lnTo>
                  <a:pt x="9898" y="3139"/>
                </a:lnTo>
                <a:lnTo>
                  <a:pt x="9885" y="3155"/>
                </a:lnTo>
                <a:lnTo>
                  <a:pt x="9884" y="3176"/>
                </a:lnTo>
                <a:lnTo>
                  <a:pt x="9891" y="3198"/>
                </a:lnTo>
                <a:lnTo>
                  <a:pt x="9907" y="3212"/>
                </a:lnTo>
                <a:close/>
                <a:moveTo>
                  <a:pt x="3151" y="685"/>
                </a:moveTo>
                <a:lnTo>
                  <a:pt x="3199" y="684"/>
                </a:lnTo>
                <a:lnTo>
                  <a:pt x="3253" y="676"/>
                </a:lnTo>
                <a:lnTo>
                  <a:pt x="3302" y="664"/>
                </a:lnTo>
                <a:lnTo>
                  <a:pt x="3338" y="647"/>
                </a:lnTo>
                <a:lnTo>
                  <a:pt x="3326" y="606"/>
                </a:lnTo>
                <a:lnTo>
                  <a:pt x="3235" y="616"/>
                </a:lnTo>
                <a:lnTo>
                  <a:pt x="3147" y="651"/>
                </a:lnTo>
                <a:lnTo>
                  <a:pt x="3151" y="685"/>
                </a:lnTo>
                <a:close/>
                <a:moveTo>
                  <a:pt x="912" y="3017"/>
                </a:moveTo>
                <a:lnTo>
                  <a:pt x="930" y="2997"/>
                </a:lnTo>
                <a:lnTo>
                  <a:pt x="923" y="2982"/>
                </a:lnTo>
                <a:lnTo>
                  <a:pt x="903" y="2975"/>
                </a:lnTo>
                <a:lnTo>
                  <a:pt x="879" y="2984"/>
                </a:lnTo>
                <a:lnTo>
                  <a:pt x="856" y="2998"/>
                </a:lnTo>
                <a:lnTo>
                  <a:pt x="863" y="3013"/>
                </a:lnTo>
                <a:lnTo>
                  <a:pt x="886" y="3024"/>
                </a:lnTo>
                <a:lnTo>
                  <a:pt x="912" y="3017"/>
                </a:lnTo>
                <a:close/>
                <a:moveTo>
                  <a:pt x="1766" y="3973"/>
                </a:moveTo>
                <a:lnTo>
                  <a:pt x="1771" y="3982"/>
                </a:lnTo>
                <a:lnTo>
                  <a:pt x="1777" y="3992"/>
                </a:lnTo>
                <a:lnTo>
                  <a:pt x="1784" y="3999"/>
                </a:lnTo>
                <a:lnTo>
                  <a:pt x="1793" y="4000"/>
                </a:lnTo>
                <a:lnTo>
                  <a:pt x="1806" y="3977"/>
                </a:lnTo>
                <a:lnTo>
                  <a:pt x="1793" y="3954"/>
                </a:lnTo>
                <a:lnTo>
                  <a:pt x="1774" y="3948"/>
                </a:lnTo>
                <a:lnTo>
                  <a:pt x="1766" y="3973"/>
                </a:lnTo>
                <a:close/>
                <a:moveTo>
                  <a:pt x="253" y="4392"/>
                </a:moveTo>
                <a:lnTo>
                  <a:pt x="294" y="4415"/>
                </a:lnTo>
                <a:lnTo>
                  <a:pt x="326" y="4374"/>
                </a:lnTo>
                <a:lnTo>
                  <a:pt x="331" y="4330"/>
                </a:lnTo>
                <a:lnTo>
                  <a:pt x="292" y="4342"/>
                </a:lnTo>
                <a:lnTo>
                  <a:pt x="275" y="4351"/>
                </a:lnTo>
                <a:lnTo>
                  <a:pt x="257" y="4361"/>
                </a:lnTo>
                <a:lnTo>
                  <a:pt x="247" y="4374"/>
                </a:lnTo>
                <a:lnTo>
                  <a:pt x="253" y="4392"/>
                </a:lnTo>
                <a:close/>
                <a:moveTo>
                  <a:pt x="718" y="9678"/>
                </a:moveTo>
                <a:lnTo>
                  <a:pt x="717" y="9710"/>
                </a:lnTo>
                <a:lnTo>
                  <a:pt x="741" y="9723"/>
                </a:lnTo>
                <a:lnTo>
                  <a:pt x="764" y="9714"/>
                </a:lnTo>
                <a:lnTo>
                  <a:pt x="758" y="9685"/>
                </a:lnTo>
                <a:lnTo>
                  <a:pt x="749" y="9681"/>
                </a:lnTo>
                <a:lnTo>
                  <a:pt x="736" y="9680"/>
                </a:lnTo>
                <a:lnTo>
                  <a:pt x="725" y="9680"/>
                </a:lnTo>
                <a:lnTo>
                  <a:pt x="718" y="9678"/>
                </a:lnTo>
                <a:close/>
                <a:moveTo>
                  <a:pt x="932" y="8488"/>
                </a:moveTo>
                <a:lnTo>
                  <a:pt x="926" y="8502"/>
                </a:lnTo>
                <a:lnTo>
                  <a:pt x="936" y="8515"/>
                </a:lnTo>
                <a:lnTo>
                  <a:pt x="954" y="8526"/>
                </a:lnTo>
                <a:lnTo>
                  <a:pt x="969" y="8532"/>
                </a:lnTo>
                <a:lnTo>
                  <a:pt x="988" y="8514"/>
                </a:lnTo>
                <a:lnTo>
                  <a:pt x="983" y="8491"/>
                </a:lnTo>
                <a:lnTo>
                  <a:pt x="962" y="8478"/>
                </a:lnTo>
                <a:lnTo>
                  <a:pt x="932" y="8488"/>
                </a:lnTo>
                <a:close/>
                <a:moveTo>
                  <a:pt x="3344" y="12257"/>
                </a:moveTo>
                <a:lnTo>
                  <a:pt x="3323" y="12269"/>
                </a:lnTo>
                <a:lnTo>
                  <a:pt x="3312" y="12294"/>
                </a:lnTo>
                <a:lnTo>
                  <a:pt x="3317" y="12317"/>
                </a:lnTo>
                <a:lnTo>
                  <a:pt x="3339" y="12322"/>
                </a:lnTo>
                <a:lnTo>
                  <a:pt x="3361" y="12311"/>
                </a:lnTo>
                <a:lnTo>
                  <a:pt x="3370" y="12290"/>
                </a:lnTo>
                <a:lnTo>
                  <a:pt x="3365" y="12269"/>
                </a:lnTo>
                <a:lnTo>
                  <a:pt x="3344" y="12257"/>
                </a:lnTo>
                <a:close/>
                <a:moveTo>
                  <a:pt x="1414" y="2153"/>
                </a:moveTo>
                <a:lnTo>
                  <a:pt x="1423" y="2147"/>
                </a:lnTo>
                <a:lnTo>
                  <a:pt x="1429" y="2138"/>
                </a:lnTo>
                <a:lnTo>
                  <a:pt x="1437" y="2131"/>
                </a:lnTo>
                <a:lnTo>
                  <a:pt x="1447" y="2129"/>
                </a:lnTo>
                <a:lnTo>
                  <a:pt x="1448" y="2088"/>
                </a:lnTo>
                <a:lnTo>
                  <a:pt x="1415" y="2096"/>
                </a:lnTo>
                <a:lnTo>
                  <a:pt x="1389" y="2126"/>
                </a:lnTo>
                <a:lnTo>
                  <a:pt x="1414" y="2153"/>
                </a:lnTo>
                <a:close/>
                <a:moveTo>
                  <a:pt x="2916" y="909"/>
                </a:moveTo>
                <a:lnTo>
                  <a:pt x="2941" y="911"/>
                </a:lnTo>
                <a:lnTo>
                  <a:pt x="2965" y="895"/>
                </a:lnTo>
                <a:lnTo>
                  <a:pt x="2972" y="871"/>
                </a:lnTo>
                <a:lnTo>
                  <a:pt x="2949" y="849"/>
                </a:lnTo>
                <a:lnTo>
                  <a:pt x="2925" y="851"/>
                </a:lnTo>
                <a:lnTo>
                  <a:pt x="2909" y="869"/>
                </a:lnTo>
                <a:lnTo>
                  <a:pt x="2904" y="891"/>
                </a:lnTo>
                <a:lnTo>
                  <a:pt x="2916" y="909"/>
                </a:lnTo>
                <a:close/>
                <a:moveTo>
                  <a:pt x="163" y="6193"/>
                </a:moveTo>
                <a:lnTo>
                  <a:pt x="197" y="6231"/>
                </a:lnTo>
                <a:lnTo>
                  <a:pt x="233" y="6233"/>
                </a:lnTo>
                <a:lnTo>
                  <a:pt x="259" y="6202"/>
                </a:lnTo>
                <a:lnTo>
                  <a:pt x="256" y="6147"/>
                </a:lnTo>
                <a:lnTo>
                  <a:pt x="229" y="6124"/>
                </a:lnTo>
                <a:lnTo>
                  <a:pt x="197" y="6132"/>
                </a:lnTo>
                <a:lnTo>
                  <a:pt x="172" y="6160"/>
                </a:lnTo>
                <a:lnTo>
                  <a:pt x="163" y="6193"/>
                </a:lnTo>
                <a:close/>
                <a:moveTo>
                  <a:pt x="8434" y="1219"/>
                </a:moveTo>
                <a:lnTo>
                  <a:pt x="8429" y="1220"/>
                </a:lnTo>
                <a:lnTo>
                  <a:pt x="8423" y="1219"/>
                </a:lnTo>
                <a:lnTo>
                  <a:pt x="8418" y="1217"/>
                </a:lnTo>
                <a:lnTo>
                  <a:pt x="8413" y="1216"/>
                </a:lnTo>
                <a:lnTo>
                  <a:pt x="8417" y="1215"/>
                </a:lnTo>
                <a:lnTo>
                  <a:pt x="8424" y="1215"/>
                </a:lnTo>
                <a:lnTo>
                  <a:pt x="8432" y="1216"/>
                </a:lnTo>
                <a:lnTo>
                  <a:pt x="8434" y="1219"/>
                </a:lnTo>
                <a:close/>
                <a:moveTo>
                  <a:pt x="8222" y="1149"/>
                </a:moveTo>
                <a:lnTo>
                  <a:pt x="8325" y="1171"/>
                </a:lnTo>
                <a:lnTo>
                  <a:pt x="8348" y="1230"/>
                </a:lnTo>
                <a:lnTo>
                  <a:pt x="8391" y="1281"/>
                </a:lnTo>
                <a:lnTo>
                  <a:pt x="8557" y="1277"/>
                </a:lnTo>
                <a:lnTo>
                  <a:pt x="8571" y="1217"/>
                </a:lnTo>
                <a:lnTo>
                  <a:pt x="8501" y="1192"/>
                </a:lnTo>
                <a:lnTo>
                  <a:pt x="8397" y="1150"/>
                </a:lnTo>
                <a:lnTo>
                  <a:pt x="8315" y="1044"/>
                </a:lnTo>
                <a:lnTo>
                  <a:pt x="8268" y="1084"/>
                </a:lnTo>
                <a:lnTo>
                  <a:pt x="8198" y="1091"/>
                </a:lnTo>
                <a:lnTo>
                  <a:pt x="8163" y="1101"/>
                </a:lnTo>
                <a:lnTo>
                  <a:pt x="8222" y="1149"/>
                </a:lnTo>
                <a:close/>
                <a:moveTo>
                  <a:pt x="2222" y="10656"/>
                </a:moveTo>
                <a:lnTo>
                  <a:pt x="2222" y="10650"/>
                </a:lnTo>
                <a:lnTo>
                  <a:pt x="2226" y="10642"/>
                </a:lnTo>
                <a:lnTo>
                  <a:pt x="2229" y="10634"/>
                </a:lnTo>
                <a:lnTo>
                  <a:pt x="2225" y="10623"/>
                </a:lnTo>
                <a:lnTo>
                  <a:pt x="2189" y="10606"/>
                </a:lnTo>
                <a:lnTo>
                  <a:pt x="2175" y="10639"/>
                </a:lnTo>
                <a:lnTo>
                  <a:pt x="2185" y="10673"/>
                </a:lnTo>
                <a:lnTo>
                  <a:pt x="2222" y="10656"/>
                </a:lnTo>
                <a:close/>
                <a:moveTo>
                  <a:pt x="750" y="3725"/>
                </a:moveTo>
                <a:lnTo>
                  <a:pt x="774" y="3739"/>
                </a:lnTo>
                <a:lnTo>
                  <a:pt x="792" y="3716"/>
                </a:lnTo>
                <a:lnTo>
                  <a:pt x="797" y="3679"/>
                </a:lnTo>
                <a:lnTo>
                  <a:pt x="786" y="3651"/>
                </a:lnTo>
                <a:lnTo>
                  <a:pt x="751" y="3643"/>
                </a:lnTo>
                <a:lnTo>
                  <a:pt x="736" y="3663"/>
                </a:lnTo>
                <a:lnTo>
                  <a:pt x="736" y="3693"/>
                </a:lnTo>
                <a:lnTo>
                  <a:pt x="750" y="3725"/>
                </a:lnTo>
                <a:close/>
                <a:moveTo>
                  <a:pt x="667" y="6779"/>
                </a:moveTo>
                <a:lnTo>
                  <a:pt x="644" y="6767"/>
                </a:lnTo>
                <a:lnTo>
                  <a:pt x="623" y="6767"/>
                </a:lnTo>
                <a:lnTo>
                  <a:pt x="614" y="6777"/>
                </a:lnTo>
                <a:lnTo>
                  <a:pt x="627" y="6798"/>
                </a:lnTo>
                <a:lnTo>
                  <a:pt x="643" y="6817"/>
                </a:lnTo>
                <a:lnTo>
                  <a:pt x="666" y="6818"/>
                </a:lnTo>
                <a:lnTo>
                  <a:pt x="679" y="6804"/>
                </a:lnTo>
                <a:lnTo>
                  <a:pt x="667" y="6779"/>
                </a:lnTo>
                <a:close/>
                <a:moveTo>
                  <a:pt x="2241" y="10673"/>
                </a:moveTo>
                <a:lnTo>
                  <a:pt x="2235" y="10685"/>
                </a:lnTo>
                <a:lnTo>
                  <a:pt x="2235" y="10701"/>
                </a:lnTo>
                <a:lnTo>
                  <a:pt x="2239" y="10717"/>
                </a:lnTo>
                <a:lnTo>
                  <a:pt x="2241" y="10731"/>
                </a:lnTo>
                <a:lnTo>
                  <a:pt x="2269" y="10735"/>
                </a:lnTo>
                <a:lnTo>
                  <a:pt x="2280" y="10694"/>
                </a:lnTo>
                <a:lnTo>
                  <a:pt x="2271" y="10657"/>
                </a:lnTo>
                <a:lnTo>
                  <a:pt x="2241" y="10673"/>
                </a:lnTo>
                <a:close/>
                <a:moveTo>
                  <a:pt x="1284" y="8987"/>
                </a:moveTo>
                <a:lnTo>
                  <a:pt x="1291" y="9005"/>
                </a:lnTo>
                <a:lnTo>
                  <a:pt x="1330" y="8999"/>
                </a:lnTo>
                <a:lnTo>
                  <a:pt x="1373" y="8981"/>
                </a:lnTo>
                <a:lnTo>
                  <a:pt x="1396" y="8967"/>
                </a:lnTo>
                <a:lnTo>
                  <a:pt x="1409" y="8918"/>
                </a:lnTo>
                <a:lnTo>
                  <a:pt x="1375" y="8924"/>
                </a:lnTo>
                <a:lnTo>
                  <a:pt x="1323" y="8955"/>
                </a:lnTo>
                <a:lnTo>
                  <a:pt x="1284" y="8987"/>
                </a:lnTo>
                <a:close/>
                <a:moveTo>
                  <a:pt x="5453" y="695"/>
                </a:moveTo>
                <a:lnTo>
                  <a:pt x="5476" y="709"/>
                </a:lnTo>
                <a:lnTo>
                  <a:pt x="5505" y="715"/>
                </a:lnTo>
                <a:lnTo>
                  <a:pt x="5524" y="706"/>
                </a:lnTo>
                <a:lnTo>
                  <a:pt x="5514" y="683"/>
                </a:lnTo>
                <a:lnTo>
                  <a:pt x="5494" y="669"/>
                </a:lnTo>
                <a:lnTo>
                  <a:pt x="5466" y="667"/>
                </a:lnTo>
                <a:lnTo>
                  <a:pt x="5447" y="676"/>
                </a:lnTo>
                <a:lnTo>
                  <a:pt x="5453" y="695"/>
                </a:lnTo>
                <a:close/>
                <a:moveTo>
                  <a:pt x="1237" y="4305"/>
                </a:moveTo>
                <a:lnTo>
                  <a:pt x="1220" y="4308"/>
                </a:lnTo>
                <a:lnTo>
                  <a:pt x="1209" y="4331"/>
                </a:lnTo>
                <a:lnTo>
                  <a:pt x="1207" y="4358"/>
                </a:lnTo>
                <a:lnTo>
                  <a:pt x="1223" y="4377"/>
                </a:lnTo>
                <a:lnTo>
                  <a:pt x="1242" y="4374"/>
                </a:lnTo>
                <a:lnTo>
                  <a:pt x="1249" y="4351"/>
                </a:lnTo>
                <a:lnTo>
                  <a:pt x="1247" y="4325"/>
                </a:lnTo>
                <a:lnTo>
                  <a:pt x="1237" y="4305"/>
                </a:lnTo>
                <a:close/>
                <a:moveTo>
                  <a:pt x="2615" y="2251"/>
                </a:moveTo>
                <a:lnTo>
                  <a:pt x="2593" y="2242"/>
                </a:lnTo>
                <a:lnTo>
                  <a:pt x="2571" y="2261"/>
                </a:lnTo>
                <a:lnTo>
                  <a:pt x="2547" y="2276"/>
                </a:lnTo>
                <a:lnTo>
                  <a:pt x="2522" y="2257"/>
                </a:lnTo>
                <a:lnTo>
                  <a:pt x="2434" y="2267"/>
                </a:lnTo>
                <a:lnTo>
                  <a:pt x="2459" y="2302"/>
                </a:lnTo>
                <a:lnTo>
                  <a:pt x="2539" y="2312"/>
                </a:lnTo>
                <a:lnTo>
                  <a:pt x="2615" y="2251"/>
                </a:lnTo>
                <a:close/>
                <a:moveTo>
                  <a:pt x="334" y="5349"/>
                </a:moveTo>
                <a:lnTo>
                  <a:pt x="315" y="5359"/>
                </a:lnTo>
                <a:lnTo>
                  <a:pt x="309" y="5380"/>
                </a:lnTo>
                <a:lnTo>
                  <a:pt x="315" y="5401"/>
                </a:lnTo>
                <a:lnTo>
                  <a:pt x="329" y="5418"/>
                </a:lnTo>
                <a:lnTo>
                  <a:pt x="359" y="5405"/>
                </a:lnTo>
                <a:lnTo>
                  <a:pt x="374" y="5380"/>
                </a:lnTo>
                <a:lnTo>
                  <a:pt x="368" y="5357"/>
                </a:lnTo>
                <a:lnTo>
                  <a:pt x="334" y="5349"/>
                </a:lnTo>
                <a:close/>
                <a:moveTo>
                  <a:pt x="6474" y="1062"/>
                </a:moveTo>
                <a:lnTo>
                  <a:pt x="6474" y="1076"/>
                </a:lnTo>
                <a:lnTo>
                  <a:pt x="6519" y="1089"/>
                </a:lnTo>
                <a:lnTo>
                  <a:pt x="6566" y="1087"/>
                </a:lnTo>
                <a:lnTo>
                  <a:pt x="6578" y="1058"/>
                </a:lnTo>
                <a:lnTo>
                  <a:pt x="6555" y="1049"/>
                </a:lnTo>
                <a:lnTo>
                  <a:pt x="6529" y="1054"/>
                </a:lnTo>
                <a:lnTo>
                  <a:pt x="6503" y="1063"/>
                </a:lnTo>
                <a:lnTo>
                  <a:pt x="6474" y="1062"/>
                </a:lnTo>
                <a:close/>
                <a:moveTo>
                  <a:pt x="6752" y="828"/>
                </a:moveTo>
                <a:lnTo>
                  <a:pt x="6775" y="858"/>
                </a:lnTo>
                <a:lnTo>
                  <a:pt x="6830" y="838"/>
                </a:lnTo>
                <a:lnTo>
                  <a:pt x="6916" y="807"/>
                </a:lnTo>
                <a:lnTo>
                  <a:pt x="7032" y="811"/>
                </a:lnTo>
                <a:lnTo>
                  <a:pt x="7012" y="772"/>
                </a:lnTo>
                <a:lnTo>
                  <a:pt x="6969" y="745"/>
                </a:lnTo>
                <a:lnTo>
                  <a:pt x="6913" y="737"/>
                </a:lnTo>
                <a:lnTo>
                  <a:pt x="6853" y="754"/>
                </a:lnTo>
                <a:lnTo>
                  <a:pt x="6839" y="788"/>
                </a:lnTo>
                <a:lnTo>
                  <a:pt x="6795" y="793"/>
                </a:lnTo>
                <a:lnTo>
                  <a:pt x="6756" y="796"/>
                </a:lnTo>
                <a:lnTo>
                  <a:pt x="6752" y="828"/>
                </a:lnTo>
                <a:close/>
                <a:moveTo>
                  <a:pt x="2681" y="1851"/>
                </a:moveTo>
                <a:lnTo>
                  <a:pt x="2686" y="1837"/>
                </a:lnTo>
                <a:lnTo>
                  <a:pt x="2685" y="1822"/>
                </a:lnTo>
                <a:lnTo>
                  <a:pt x="2677" y="1808"/>
                </a:lnTo>
                <a:lnTo>
                  <a:pt x="2668" y="1795"/>
                </a:lnTo>
                <a:lnTo>
                  <a:pt x="2634" y="1798"/>
                </a:lnTo>
                <a:lnTo>
                  <a:pt x="2625" y="1832"/>
                </a:lnTo>
                <a:lnTo>
                  <a:pt x="2640" y="1863"/>
                </a:lnTo>
                <a:lnTo>
                  <a:pt x="2681" y="1851"/>
                </a:lnTo>
                <a:close/>
                <a:moveTo>
                  <a:pt x="10615" y="3104"/>
                </a:moveTo>
                <a:lnTo>
                  <a:pt x="10582" y="3101"/>
                </a:lnTo>
                <a:lnTo>
                  <a:pt x="10571" y="3139"/>
                </a:lnTo>
                <a:lnTo>
                  <a:pt x="10583" y="3190"/>
                </a:lnTo>
                <a:lnTo>
                  <a:pt x="10611" y="3221"/>
                </a:lnTo>
                <a:lnTo>
                  <a:pt x="10622" y="3199"/>
                </a:lnTo>
                <a:lnTo>
                  <a:pt x="10624" y="3167"/>
                </a:lnTo>
                <a:lnTo>
                  <a:pt x="10618" y="3133"/>
                </a:lnTo>
                <a:lnTo>
                  <a:pt x="10615" y="3104"/>
                </a:lnTo>
                <a:close/>
                <a:moveTo>
                  <a:pt x="914" y="7816"/>
                </a:moveTo>
                <a:lnTo>
                  <a:pt x="894" y="7824"/>
                </a:lnTo>
                <a:lnTo>
                  <a:pt x="874" y="7839"/>
                </a:lnTo>
                <a:lnTo>
                  <a:pt x="861" y="7859"/>
                </a:lnTo>
                <a:lnTo>
                  <a:pt x="866" y="7880"/>
                </a:lnTo>
                <a:lnTo>
                  <a:pt x="888" y="7891"/>
                </a:lnTo>
                <a:lnTo>
                  <a:pt x="917" y="7871"/>
                </a:lnTo>
                <a:lnTo>
                  <a:pt x="933" y="7838"/>
                </a:lnTo>
                <a:lnTo>
                  <a:pt x="914" y="7816"/>
                </a:lnTo>
                <a:close/>
                <a:moveTo>
                  <a:pt x="1392" y="10077"/>
                </a:moveTo>
                <a:lnTo>
                  <a:pt x="1407" y="10092"/>
                </a:lnTo>
                <a:lnTo>
                  <a:pt x="1437" y="10090"/>
                </a:lnTo>
                <a:lnTo>
                  <a:pt x="1462" y="10078"/>
                </a:lnTo>
                <a:lnTo>
                  <a:pt x="1472" y="10062"/>
                </a:lnTo>
                <a:lnTo>
                  <a:pt x="1451" y="10040"/>
                </a:lnTo>
                <a:lnTo>
                  <a:pt x="1423" y="10035"/>
                </a:lnTo>
                <a:lnTo>
                  <a:pt x="1398" y="10048"/>
                </a:lnTo>
                <a:lnTo>
                  <a:pt x="1392" y="10077"/>
                </a:lnTo>
                <a:close/>
                <a:moveTo>
                  <a:pt x="1752" y="10233"/>
                </a:moveTo>
                <a:lnTo>
                  <a:pt x="1764" y="10263"/>
                </a:lnTo>
                <a:lnTo>
                  <a:pt x="1792" y="10260"/>
                </a:lnTo>
                <a:lnTo>
                  <a:pt x="1820" y="10237"/>
                </a:lnTo>
                <a:lnTo>
                  <a:pt x="1835" y="10208"/>
                </a:lnTo>
                <a:lnTo>
                  <a:pt x="1821" y="10190"/>
                </a:lnTo>
                <a:lnTo>
                  <a:pt x="1793" y="10191"/>
                </a:lnTo>
                <a:lnTo>
                  <a:pt x="1765" y="10208"/>
                </a:lnTo>
                <a:lnTo>
                  <a:pt x="1752" y="10233"/>
                </a:lnTo>
                <a:close/>
                <a:moveTo>
                  <a:pt x="4807" y="471"/>
                </a:moveTo>
                <a:lnTo>
                  <a:pt x="4833" y="483"/>
                </a:lnTo>
                <a:lnTo>
                  <a:pt x="4858" y="493"/>
                </a:lnTo>
                <a:lnTo>
                  <a:pt x="4880" y="492"/>
                </a:lnTo>
                <a:lnTo>
                  <a:pt x="4898" y="468"/>
                </a:lnTo>
                <a:lnTo>
                  <a:pt x="4889" y="438"/>
                </a:lnTo>
                <a:lnTo>
                  <a:pt x="4849" y="433"/>
                </a:lnTo>
                <a:lnTo>
                  <a:pt x="4811" y="445"/>
                </a:lnTo>
                <a:lnTo>
                  <a:pt x="4807" y="471"/>
                </a:lnTo>
                <a:close/>
                <a:moveTo>
                  <a:pt x="8492" y="1322"/>
                </a:moveTo>
                <a:lnTo>
                  <a:pt x="8451" y="1315"/>
                </a:lnTo>
                <a:lnTo>
                  <a:pt x="8409" y="1318"/>
                </a:lnTo>
                <a:lnTo>
                  <a:pt x="8385" y="1336"/>
                </a:lnTo>
                <a:lnTo>
                  <a:pt x="8394" y="1374"/>
                </a:lnTo>
                <a:lnTo>
                  <a:pt x="8424" y="1370"/>
                </a:lnTo>
                <a:lnTo>
                  <a:pt x="8474" y="1355"/>
                </a:lnTo>
                <a:lnTo>
                  <a:pt x="8507" y="1337"/>
                </a:lnTo>
                <a:lnTo>
                  <a:pt x="8492" y="1322"/>
                </a:lnTo>
                <a:close/>
                <a:moveTo>
                  <a:pt x="5614" y="11715"/>
                </a:moveTo>
                <a:lnTo>
                  <a:pt x="5594" y="11730"/>
                </a:lnTo>
                <a:lnTo>
                  <a:pt x="5584" y="11756"/>
                </a:lnTo>
                <a:lnTo>
                  <a:pt x="5580" y="11785"/>
                </a:lnTo>
                <a:lnTo>
                  <a:pt x="5578" y="11809"/>
                </a:lnTo>
                <a:lnTo>
                  <a:pt x="5612" y="11804"/>
                </a:lnTo>
                <a:lnTo>
                  <a:pt x="5640" y="11765"/>
                </a:lnTo>
                <a:lnTo>
                  <a:pt x="5645" y="11724"/>
                </a:lnTo>
                <a:lnTo>
                  <a:pt x="5614" y="11715"/>
                </a:lnTo>
                <a:close/>
                <a:moveTo>
                  <a:pt x="7153" y="1487"/>
                </a:moveTo>
                <a:lnTo>
                  <a:pt x="7199" y="1480"/>
                </a:lnTo>
                <a:lnTo>
                  <a:pt x="7194" y="1459"/>
                </a:lnTo>
                <a:lnTo>
                  <a:pt x="7158" y="1444"/>
                </a:lnTo>
                <a:lnTo>
                  <a:pt x="7115" y="1448"/>
                </a:lnTo>
                <a:lnTo>
                  <a:pt x="7095" y="1469"/>
                </a:lnTo>
                <a:lnTo>
                  <a:pt x="7104" y="1494"/>
                </a:lnTo>
                <a:lnTo>
                  <a:pt x="7127" y="1505"/>
                </a:lnTo>
                <a:lnTo>
                  <a:pt x="7153" y="1487"/>
                </a:lnTo>
                <a:close/>
                <a:moveTo>
                  <a:pt x="4949" y="1255"/>
                </a:moveTo>
                <a:lnTo>
                  <a:pt x="4978" y="1275"/>
                </a:lnTo>
                <a:lnTo>
                  <a:pt x="5009" y="1269"/>
                </a:lnTo>
                <a:lnTo>
                  <a:pt x="5033" y="1247"/>
                </a:lnTo>
                <a:lnTo>
                  <a:pt x="5043" y="1213"/>
                </a:lnTo>
                <a:lnTo>
                  <a:pt x="5020" y="1210"/>
                </a:lnTo>
                <a:lnTo>
                  <a:pt x="4990" y="1217"/>
                </a:lnTo>
                <a:lnTo>
                  <a:pt x="4963" y="1235"/>
                </a:lnTo>
                <a:lnTo>
                  <a:pt x="4949" y="1255"/>
                </a:lnTo>
                <a:close/>
                <a:moveTo>
                  <a:pt x="1770" y="3612"/>
                </a:moveTo>
                <a:lnTo>
                  <a:pt x="1708" y="3702"/>
                </a:lnTo>
                <a:lnTo>
                  <a:pt x="1756" y="3719"/>
                </a:lnTo>
                <a:lnTo>
                  <a:pt x="1838" y="3665"/>
                </a:lnTo>
                <a:lnTo>
                  <a:pt x="1877" y="3547"/>
                </a:lnTo>
                <a:lnTo>
                  <a:pt x="1912" y="3470"/>
                </a:lnTo>
                <a:lnTo>
                  <a:pt x="1871" y="3482"/>
                </a:lnTo>
                <a:lnTo>
                  <a:pt x="1806" y="3540"/>
                </a:lnTo>
                <a:lnTo>
                  <a:pt x="1770" y="3612"/>
                </a:lnTo>
                <a:close/>
                <a:moveTo>
                  <a:pt x="372" y="2483"/>
                </a:moveTo>
                <a:lnTo>
                  <a:pt x="400" y="2478"/>
                </a:lnTo>
                <a:lnTo>
                  <a:pt x="428" y="2453"/>
                </a:lnTo>
                <a:lnTo>
                  <a:pt x="439" y="2425"/>
                </a:lnTo>
                <a:lnTo>
                  <a:pt x="422" y="2406"/>
                </a:lnTo>
                <a:lnTo>
                  <a:pt x="394" y="2418"/>
                </a:lnTo>
                <a:lnTo>
                  <a:pt x="367" y="2438"/>
                </a:lnTo>
                <a:lnTo>
                  <a:pt x="354" y="2461"/>
                </a:lnTo>
                <a:lnTo>
                  <a:pt x="372" y="2483"/>
                </a:lnTo>
                <a:close/>
                <a:moveTo>
                  <a:pt x="1318" y="9599"/>
                </a:moveTo>
                <a:lnTo>
                  <a:pt x="1317" y="9598"/>
                </a:lnTo>
                <a:lnTo>
                  <a:pt x="1317" y="9597"/>
                </a:lnTo>
                <a:lnTo>
                  <a:pt x="1319" y="9597"/>
                </a:lnTo>
                <a:lnTo>
                  <a:pt x="1321" y="9598"/>
                </a:lnTo>
                <a:lnTo>
                  <a:pt x="1319" y="9599"/>
                </a:lnTo>
                <a:lnTo>
                  <a:pt x="1318" y="9599"/>
                </a:lnTo>
                <a:close/>
                <a:moveTo>
                  <a:pt x="951" y="9638"/>
                </a:moveTo>
                <a:lnTo>
                  <a:pt x="950" y="9636"/>
                </a:lnTo>
                <a:lnTo>
                  <a:pt x="949" y="9634"/>
                </a:lnTo>
                <a:lnTo>
                  <a:pt x="950" y="9633"/>
                </a:lnTo>
                <a:lnTo>
                  <a:pt x="951" y="9634"/>
                </a:lnTo>
                <a:lnTo>
                  <a:pt x="953" y="9635"/>
                </a:lnTo>
                <a:lnTo>
                  <a:pt x="951" y="9638"/>
                </a:lnTo>
                <a:close/>
                <a:moveTo>
                  <a:pt x="1352" y="9655"/>
                </a:moveTo>
                <a:lnTo>
                  <a:pt x="1356" y="9596"/>
                </a:lnTo>
                <a:lnTo>
                  <a:pt x="1349" y="9477"/>
                </a:lnTo>
                <a:lnTo>
                  <a:pt x="1328" y="9391"/>
                </a:lnTo>
                <a:lnTo>
                  <a:pt x="1294" y="9421"/>
                </a:lnTo>
                <a:lnTo>
                  <a:pt x="1289" y="9512"/>
                </a:lnTo>
                <a:lnTo>
                  <a:pt x="1260" y="9527"/>
                </a:lnTo>
                <a:lnTo>
                  <a:pt x="1216" y="9487"/>
                </a:lnTo>
                <a:lnTo>
                  <a:pt x="1173" y="9414"/>
                </a:lnTo>
                <a:lnTo>
                  <a:pt x="1139" y="9420"/>
                </a:lnTo>
                <a:lnTo>
                  <a:pt x="1118" y="9452"/>
                </a:lnTo>
                <a:lnTo>
                  <a:pt x="1108" y="9494"/>
                </a:lnTo>
                <a:lnTo>
                  <a:pt x="1103" y="9532"/>
                </a:lnTo>
                <a:lnTo>
                  <a:pt x="1122" y="9551"/>
                </a:lnTo>
                <a:lnTo>
                  <a:pt x="1155" y="9549"/>
                </a:lnTo>
                <a:lnTo>
                  <a:pt x="1177" y="9549"/>
                </a:lnTo>
                <a:lnTo>
                  <a:pt x="1160" y="9583"/>
                </a:lnTo>
                <a:lnTo>
                  <a:pt x="983" y="9540"/>
                </a:lnTo>
                <a:lnTo>
                  <a:pt x="888" y="9487"/>
                </a:lnTo>
                <a:lnTo>
                  <a:pt x="867" y="9519"/>
                </a:lnTo>
                <a:lnTo>
                  <a:pt x="914" y="9727"/>
                </a:lnTo>
                <a:lnTo>
                  <a:pt x="939" y="9733"/>
                </a:lnTo>
                <a:lnTo>
                  <a:pt x="1006" y="9715"/>
                </a:lnTo>
                <a:lnTo>
                  <a:pt x="1084" y="9710"/>
                </a:lnTo>
                <a:lnTo>
                  <a:pt x="1137" y="9751"/>
                </a:lnTo>
                <a:lnTo>
                  <a:pt x="1163" y="9757"/>
                </a:lnTo>
                <a:lnTo>
                  <a:pt x="1186" y="9746"/>
                </a:lnTo>
                <a:lnTo>
                  <a:pt x="1203" y="9724"/>
                </a:lnTo>
                <a:lnTo>
                  <a:pt x="1214" y="9699"/>
                </a:lnTo>
                <a:lnTo>
                  <a:pt x="1251" y="9695"/>
                </a:lnTo>
                <a:lnTo>
                  <a:pt x="1295" y="9694"/>
                </a:lnTo>
                <a:lnTo>
                  <a:pt x="1333" y="9685"/>
                </a:lnTo>
                <a:lnTo>
                  <a:pt x="1352" y="9655"/>
                </a:lnTo>
                <a:close/>
                <a:moveTo>
                  <a:pt x="76" y="5666"/>
                </a:moveTo>
                <a:lnTo>
                  <a:pt x="82" y="5633"/>
                </a:lnTo>
                <a:lnTo>
                  <a:pt x="48" y="5638"/>
                </a:lnTo>
                <a:lnTo>
                  <a:pt x="11" y="5666"/>
                </a:lnTo>
                <a:lnTo>
                  <a:pt x="0" y="5704"/>
                </a:lnTo>
                <a:lnTo>
                  <a:pt x="17" y="5718"/>
                </a:lnTo>
                <a:lnTo>
                  <a:pt x="39" y="5707"/>
                </a:lnTo>
                <a:lnTo>
                  <a:pt x="61" y="5687"/>
                </a:lnTo>
                <a:lnTo>
                  <a:pt x="76" y="5666"/>
                </a:lnTo>
                <a:close/>
                <a:moveTo>
                  <a:pt x="386" y="4573"/>
                </a:moveTo>
                <a:lnTo>
                  <a:pt x="332" y="4559"/>
                </a:lnTo>
                <a:lnTo>
                  <a:pt x="309" y="4602"/>
                </a:lnTo>
                <a:lnTo>
                  <a:pt x="321" y="4645"/>
                </a:lnTo>
                <a:lnTo>
                  <a:pt x="369" y="4636"/>
                </a:lnTo>
                <a:lnTo>
                  <a:pt x="373" y="4620"/>
                </a:lnTo>
                <a:lnTo>
                  <a:pt x="380" y="4605"/>
                </a:lnTo>
                <a:lnTo>
                  <a:pt x="385" y="4588"/>
                </a:lnTo>
                <a:lnTo>
                  <a:pt x="386" y="4573"/>
                </a:lnTo>
                <a:close/>
                <a:moveTo>
                  <a:pt x="8957" y="1704"/>
                </a:moveTo>
                <a:lnTo>
                  <a:pt x="8987" y="1715"/>
                </a:lnTo>
                <a:lnTo>
                  <a:pt x="9021" y="1704"/>
                </a:lnTo>
                <a:lnTo>
                  <a:pt x="9044" y="1678"/>
                </a:lnTo>
                <a:lnTo>
                  <a:pt x="9039" y="1645"/>
                </a:lnTo>
                <a:lnTo>
                  <a:pt x="9009" y="1630"/>
                </a:lnTo>
                <a:lnTo>
                  <a:pt x="8977" y="1641"/>
                </a:lnTo>
                <a:lnTo>
                  <a:pt x="8955" y="1670"/>
                </a:lnTo>
                <a:lnTo>
                  <a:pt x="8957" y="1704"/>
                </a:lnTo>
                <a:close/>
                <a:moveTo>
                  <a:pt x="443" y="6285"/>
                </a:moveTo>
                <a:lnTo>
                  <a:pt x="368" y="6219"/>
                </a:lnTo>
                <a:lnTo>
                  <a:pt x="327" y="6186"/>
                </a:lnTo>
                <a:lnTo>
                  <a:pt x="307" y="6208"/>
                </a:lnTo>
                <a:lnTo>
                  <a:pt x="289" y="6313"/>
                </a:lnTo>
                <a:lnTo>
                  <a:pt x="340" y="6333"/>
                </a:lnTo>
                <a:lnTo>
                  <a:pt x="425" y="6359"/>
                </a:lnTo>
                <a:lnTo>
                  <a:pt x="481" y="6354"/>
                </a:lnTo>
                <a:lnTo>
                  <a:pt x="443" y="6285"/>
                </a:lnTo>
                <a:close/>
                <a:moveTo>
                  <a:pt x="756" y="5867"/>
                </a:moveTo>
                <a:lnTo>
                  <a:pt x="740" y="5855"/>
                </a:lnTo>
                <a:lnTo>
                  <a:pt x="725" y="5843"/>
                </a:lnTo>
                <a:lnTo>
                  <a:pt x="712" y="5829"/>
                </a:lnTo>
                <a:lnTo>
                  <a:pt x="706" y="5809"/>
                </a:lnTo>
                <a:lnTo>
                  <a:pt x="674" y="5837"/>
                </a:lnTo>
                <a:lnTo>
                  <a:pt x="694" y="5883"/>
                </a:lnTo>
                <a:lnTo>
                  <a:pt x="732" y="5907"/>
                </a:lnTo>
                <a:lnTo>
                  <a:pt x="756" y="5867"/>
                </a:lnTo>
                <a:close/>
                <a:moveTo>
                  <a:pt x="8674" y="296"/>
                </a:moveTo>
                <a:lnTo>
                  <a:pt x="8723" y="305"/>
                </a:lnTo>
                <a:lnTo>
                  <a:pt x="8760" y="305"/>
                </a:lnTo>
                <a:lnTo>
                  <a:pt x="8767" y="291"/>
                </a:lnTo>
                <a:lnTo>
                  <a:pt x="8722" y="255"/>
                </a:lnTo>
                <a:lnTo>
                  <a:pt x="8693" y="230"/>
                </a:lnTo>
                <a:lnTo>
                  <a:pt x="8667" y="238"/>
                </a:lnTo>
                <a:lnTo>
                  <a:pt x="8656" y="266"/>
                </a:lnTo>
                <a:lnTo>
                  <a:pt x="8674" y="296"/>
                </a:lnTo>
                <a:close/>
                <a:moveTo>
                  <a:pt x="4233" y="670"/>
                </a:moveTo>
                <a:lnTo>
                  <a:pt x="4200" y="679"/>
                </a:lnTo>
                <a:lnTo>
                  <a:pt x="4199" y="704"/>
                </a:lnTo>
                <a:lnTo>
                  <a:pt x="4219" y="729"/>
                </a:lnTo>
                <a:lnTo>
                  <a:pt x="4250" y="729"/>
                </a:lnTo>
                <a:lnTo>
                  <a:pt x="4287" y="703"/>
                </a:lnTo>
                <a:lnTo>
                  <a:pt x="4296" y="680"/>
                </a:lnTo>
                <a:lnTo>
                  <a:pt x="4278" y="666"/>
                </a:lnTo>
                <a:lnTo>
                  <a:pt x="4233" y="670"/>
                </a:lnTo>
                <a:close/>
                <a:moveTo>
                  <a:pt x="10603" y="3478"/>
                </a:moveTo>
                <a:lnTo>
                  <a:pt x="10635" y="3456"/>
                </a:lnTo>
                <a:lnTo>
                  <a:pt x="10636" y="3405"/>
                </a:lnTo>
                <a:lnTo>
                  <a:pt x="10620" y="3362"/>
                </a:lnTo>
                <a:lnTo>
                  <a:pt x="10592" y="3361"/>
                </a:lnTo>
                <a:lnTo>
                  <a:pt x="10589" y="3391"/>
                </a:lnTo>
                <a:lnTo>
                  <a:pt x="10583" y="3427"/>
                </a:lnTo>
                <a:lnTo>
                  <a:pt x="10583" y="3459"/>
                </a:lnTo>
                <a:lnTo>
                  <a:pt x="10603" y="3478"/>
                </a:lnTo>
                <a:close/>
                <a:moveTo>
                  <a:pt x="5104" y="11584"/>
                </a:moveTo>
                <a:lnTo>
                  <a:pt x="5136" y="11532"/>
                </a:lnTo>
                <a:lnTo>
                  <a:pt x="5066" y="11560"/>
                </a:lnTo>
                <a:lnTo>
                  <a:pt x="4959" y="11609"/>
                </a:lnTo>
                <a:lnTo>
                  <a:pt x="4881" y="11625"/>
                </a:lnTo>
                <a:lnTo>
                  <a:pt x="4779" y="11627"/>
                </a:lnTo>
                <a:lnTo>
                  <a:pt x="4678" y="11635"/>
                </a:lnTo>
                <a:lnTo>
                  <a:pt x="4583" y="11653"/>
                </a:lnTo>
                <a:lnTo>
                  <a:pt x="4501" y="11682"/>
                </a:lnTo>
                <a:lnTo>
                  <a:pt x="4448" y="11696"/>
                </a:lnTo>
                <a:lnTo>
                  <a:pt x="4474" y="11746"/>
                </a:lnTo>
                <a:lnTo>
                  <a:pt x="4512" y="11812"/>
                </a:lnTo>
                <a:lnTo>
                  <a:pt x="4494" y="11874"/>
                </a:lnTo>
                <a:lnTo>
                  <a:pt x="4450" y="11931"/>
                </a:lnTo>
                <a:lnTo>
                  <a:pt x="4460" y="11967"/>
                </a:lnTo>
                <a:lnTo>
                  <a:pt x="4489" y="11970"/>
                </a:lnTo>
                <a:lnTo>
                  <a:pt x="4501" y="11928"/>
                </a:lnTo>
                <a:lnTo>
                  <a:pt x="4540" y="11934"/>
                </a:lnTo>
                <a:lnTo>
                  <a:pt x="4577" y="11924"/>
                </a:lnTo>
                <a:lnTo>
                  <a:pt x="4616" y="11917"/>
                </a:lnTo>
                <a:lnTo>
                  <a:pt x="4661" y="11929"/>
                </a:lnTo>
                <a:lnTo>
                  <a:pt x="4672" y="11901"/>
                </a:lnTo>
                <a:lnTo>
                  <a:pt x="4674" y="11878"/>
                </a:lnTo>
                <a:lnTo>
                  <a:pt x="4681" y="11859"/>
                </a:lnTo>
                <a:lnTo>
                  <a:pt x="4709" y="11847"/>
                </a:lnTo>
                <a:lnTo>
                  <a:pt x="4737" y="11858"/>
                </a:lnTo>
                <a:lnTo>
                  <a:pt x="4749" y="11816"/>
                </a:lnTo>
                <a:lnTo>
                  <a:pt x="4764" y="11755"/>
                </a:lnTo>
                <a:lnTo>
                  <a:pt x="4801" y="11706"/>
                </a:lnTo>
                <a:lnTo>
                  <a:pt x="4827" y="11733"/>
                </a:lnTo>
                <a:lnTo>
                  <a:pt x="4853" y="11739"/>
                </a:lnTo>
                <a:lnTo>
                  <a:pt x="4876" y="11727"/>
                </a:lnTo>
                <a:lnTo>
                  <a:pt x="4892" y="11693"/>
                </a:lnTo>
                <a:lnTo>
                  <a:pt x="4962" y="11705"/>
                </a:lnTo>
                <a:lnTo>
                  <a:pt x="5015" y="11743"/>
                </a:lnTo>
                <a:lnTo>
                  <a:pt x="5060" y="11729"/>
                </a:lnTo>
                <a:lnTo>
                  <a:pt x="5104" y="11584"/>
                </a:lnTo>
                <a:close/>
                <a:moveTo>
                  <a:pt x="4225" y="283"/>
                </a:moveTo>
                <a:lnTo>
                  <a:pt x="4255" y="310"/>
                </a:lnTo>
                <a:lnTo>
                  <a:pt x="4274" y="289"/>
                </a:lnTo>
                <a:lnTo>
                  <a:pt x="4276" y="251"/>
                </a:lnTo>
                <a:lnTo>
                  <a:pt x="4255" y="222"/>
                </a:lnTo>
                <a:lnTo>
                  <a:pt x="4220" y="232"/>
                </a:lnTo>
                <a:lnTo>
                  <a:pt x="4190" y="241"/>
                </a:lnTo>
                <a:lnTo>
                  <a:pt x="4183" y="255"/>
                </a:lnTo>
                <a:lnTo>
                  <a:pt x="4225" y="283"/>
                </a:lnTo>
                <a:close/>
                <a:moveTo>
                  <a:pt x="2109" y="951"/>
                </a:moveTo>
                <a:lnTo>
                  <a:pt x="2138" y="928"/>
                </a:lnTo>
                <a:lnTo>
                  <a:pt x="2160" y="907"/>
                </a:lnTo>
                <a:lnTo>
                  <a:pt x="2159" y="889"/>
                </a:lnTo>
                <a:lnTo>
                  <a:pt x="2120" y="879"/>
                </a:lnTo>
                <a:lnTo>
                  <a:pt x="2089" y="894"/>
                </a:lnTo>
                <a:lnTo>
                  <a:pt x="2071" y="925"/>
                </a:lnTo>
                <a:lnTo>
                  <a:pt x="2075" y="951"/>
                </a:lnTo>
                <a:lnTo>
                  <a:pt x="2109" y="951"/>
                </a:lnTo>
                <a:close/>
                <a:moveTo>
                  <a:pt x="925" y="8067"/>
                </a:moveTo>
                <a:lnTo>
                  <a:pt x="893" y="8067"/>
                </a:lnTo>
                <a:lnTo>
                  <a:pt x="867" y="8103"/>
                </a:lnTo>
                <a:lnTo>
                  <a:pt x="856" y="8148"/>
                </a:lnTo>
                <a:lnTo>
                  <a:pt x="862" y="8175"/>
                </a:lnTo>
                <a:lnTo>
                  <a:pt x="894" y="8153"/>
                </a:lnTo>
                <a:lnTo>
                  <a:pt x="930" y="8129"/>
                </a:lnTo>
                <a:lnTo>
                  <a:pt x="947" y="8101"/>
                </a:lnTo>
                <a:lnTo>
                  <a:pt x="925" y="8067"/>
                </a:lnTo>
                <a:close/>
                <a:moveTo>
                  <a:pt x="6705" y="1304"/>
                </a:moveTo>
                <a:lnTo>
                  <a:pt x="6743" y="1350"/>
                </a:lnTo>
                <a:lnTo>
                  <a:pt x="6799" y="1370"/>
                </a:lnTo>
                <a:lnTo>
                  <a:pt x="6857" y="1365"/>
                </a:lnTo>
                <a:lnTo>
                  <a:pt x="6904" y="1336"/>
                </a:lnTo>
                <a:lnTo>
                  <a:pt x="6878" y="1308"/>
                </a:lnTo>
                <a:lnTo>
                  <a:pt x="6844" y="1303"/>
                </a:lnTo>
                <a:lnTo>
                  <a:pt x="6807" y="1301"/>
                </a:lnTo>
                <a:lnTo>
                  <a:pt x="6774" y="1284"/>
                </a:lnTo>
                <a:lnTo>
                  <a:pt x="6724" y="1234"/>
                </a:lnTo>
                <a:lnTo>
                  <a:pt x="6678" y="1224"/>
                </a:lnTo>
                <a:lnTo>
                  <a:pt x="6664" y="1248"/>
                </a:lnTo>
                <a:lnTo>
                  <a:pt x="6705" y="1304"/>
                </a:lnTo>
                <a:close/>
                <a:moveTo>
                  <a:pt x="1195" y="3753"/>
                </a:moveTo>
                <a:lnTo>
                  <a:pt x="1169" y="3776"/>
                </a:lnTo>
                <a:lnTo>
                  <a:pt x="1153" y="3815"/>
                </a:lnTo>
                <a:lnTo>
                  <a:pt x="1154" y="3850"/>
                </a:lnTo>
                <a:lnTo>
                  <a:pt x="1179" y="3864"/>
                </a:lnTo>
                <a:lnTo>
                  <a:pt x="1198" y="3833"/>
                </a:lnTo>
                <a:lnTo>
                  <a:pt x="1220" y="3791"/>
                </a:lnTo>
                <a:lnTo>
                  <a:pt x="1226" y="3758"/>
                </a:lnTo>
                <a:lnTo>
                  <a:pt x="1195" y="3753"/>
                </a:lnTo>
                <a:close/>
                <a:moveTo>
                  <a:pt x="7011" y="451"/>
                </a:moveTo>
                <a:lnTo>
                  <a:pt x="7070" y="460"/>
                </a:lnTo>
                <a:lnTo>
                  <a:pt x="7059" y="437"/>
                </a:lnTo>
                <a:lnTo>
                  <a:pt x="7009" y="408"/>
                </a:lnTo>
                <a:lnTo>
                  <a:pt x="6951" y="401"/>
                </a:lnTo>
                <a:lnTo>
                  <a:pt x="6924" y="423"/>
                </a:lnTo>
                <a:lnTo>
                  <a:pt x="6942" y="437"/>
                </a:lnTo>
                <a:lnTo>
                  <a:pt x="6979" y="446"/>
                </a:lnTo>
                <a:lnTo>
                  <a:pt x="7011" y="451"/>
                </a:lnTo>
                <a:close/>
                <a:moveTo>
                  <a:pt x="1093" y="3813"/>
                </a:moveTo>
                <a:lnTo>
                  <a:pt x="1119" y="3795"/>
                </a:lnTo>
                <a:lnTo>
                  <a:pt x="1151" y="3772"/>
                </a:lnTo>
                <a:lnTo>
                  <a:pt x="1175" y="3745"/>
                </a:lnTo>
                <a:lnTo>
                  <a:pt x="1178" y="3716"/>
                </a:lnTo>
                <a:lnTo>
                  <a:pt x="1142" y="3714"/>
                </a:lnTo>
                <a:lnTo>
                  <a:pt x="1102" y="3744"/>
                </a:lnTo>
                <a:lnTo>
                  <a:pt x="1077" y="3785"/>
                </a:lnTo>
                <a:lnTo>
                  <a:pt x="1093" y="3813"/>
                </a:lnTo>
                <a:close/>
                <a:moveTo>
                  <a:pt x="1908" y="2582"/>
                </a:moveTo>
                <a:lnTo>
                  <a:pt x="1965" y="2489"/>
                </a:lnTo>
                <a:lnTo>
                  <a:pt x="2054" y="2429"/>
                </a:lnTo>
                <a:lnTo>
                  <a:pt x="2124" y="2368"/>
                </a:lnTo>
                <a:lnTo>
                  <a:pt x="2124" y="2274"/>
                </a:lnTo>
                <a:lnTo>
                  <a:pt x="2035" y="2292"/>
                </a:lnTo>
                <a:lnTo>
                  <a:pt x="1931" y="2434"/>
                </a:lnTo>
                <a:lnTo>
                  <a:pt x="1868" y="2573"/>
                </a:lnTo>
                <a:lnTo>
                  <a:pt x="1908" y="2582"/>
                </a:lnTo>
                <a:close/>
                <a:moveTo>
                  <a:pt x="3400" y="11421"/>
                </a:moveTo>
                <a:lnTo>
                  <a:pt x="3351" y="11399"/>
                </a:lnTo>
                <a:lnTo>
                  <a:pt x="3287" y="11397"/>
                </a:lnTo>
                <a:lnTo>
                  <a:pt x="3250" y="11412"/>
                </a:lnTo>
                <a:lnTo>
                  <a:pt x="3279" y="11450"/>
                </a:lnTo>
                <a:lnTo>
                  <a:pt x="3320" y="11458"/>
                </a:lnTo>
                <a:lnTo>
                  <a:pt x="3377" y="11459"/>
                </a:lnTo>
                <a:lnTo>
                  <a:pt x="3414" y="11449"/>
                </a:lnTo>
                <a:lnTo>
                  <a:pt x="3400" y="11421"/>
                </a:lnTo>
                <a:close/>
                <a:moveTo>
                  <a:pt x="8678" y="456"/>
                </a:moveTo>
                <a:lnTo>
                  <a:pt x="8745" y="479"/>
                </a:lnTo>
                <a:lnTo>
                  <a:pt x="8802" y="493"/>
                </a:lnTo>
                <a:lnTo>
                  <a:pt x="8818" y="484"/>
                </a:lnTo>
                <a:lnTo>
                  <a:pt x="8759" y="438"/>
                </a:lnTo>
                <a:lnTo>
                  <a:pt x="8713" y="387"/>
                </a:lnTo>
                <a:lnTo>
                  <a:pt x="8648" y="399"/>
                </a:lnTo>
                <a:lnTo>
                  <a:pt x="8619" y="436"/>
                </a:lnTo>
                <a:lnTo>
                  <a:pt x="8678" y="456"/>
                </a:lnTo>
                <a:close/>
                <a:moveTo>
                  <a:pt x="2097" y="11216"/>
                </a:moveTo>
                <a:lnTo>
                  <a:pt x="2072" y="11205"/>
                </a:lnTo>
                <a:lnTo>
                  <a:pt x="2043" y="11193"/>
                </a:lnTo>
                <a:lnTo>
                  <a:pt x="2016" y="11193"/>
                </a:lnTo>
                <a:lnTo>
                  <a:pt x="1998" y="11215"/>
                </a:lnTo>
                <a:lnTo>
                  <a:pt x="2033" y="11249"/>
                </a:lnTo>
                <a:lnTo>
                  <a:pt x="2086" y="11264"/>
                </a:lnTo>
                <a:lnTo>
                  <a:pt x="2120" y="11256"/>
                </a:lnTo>
                <a:lnTo>
                  <a:pt x="2097" y="11216"/>
                </a:lnTo>
                <a:close/>
                <a:moveTo>
                  <a:pt x="444" y="7068"/>
                </a:moveTo>
                <a:lnTo>
                  <a:pt x="478" y="7080"/>
                </a:lnTo>
                <a:lnTo>
                  <a:pt x="504" y="7074"/>
                </a:lnTo>
                <a:lnTo>
                  <a:pt x="513" y="7051"/>
                </a:lnTo>
                <a:lnTo>
                  <a:pt x="495" y="7019"/>
                </a:lnTo>
                <a:lnTo>
                  <a:pt x="444" y="7012"/>
                </a:lnTo>
                <a:lnTo>
                  <a:pt x="402" y="7021"/>
                </a:lnTo>
                <a:lnTo>
                  <a:pt x="394" y="7041"/>
                </a:lnTo>
                <a:lnTo>
                  <a:pt x="444" y="7068"/>
                </a:lnTo>
                <a:close/>
                <a:moveTo>
                  <a:pt x="639" y="5739"/>
                </a:moveTo>
                <a:lnTo>
                  <a:pt x="670" y="5748"/>
                </a:lnTo>
                <a:lnTo>
                  <a:pt x="703" y="5727"/>
                </a:lnTo>
                <a:lnTo>
                  <a:pt x="727" y="5692"/>
                </a:lnTo>
                <a:lnTo>
                  <a:pt x="732" y="5656"/>
                </a:lnTo>
                <a:lnTo>
                  <a:pt x="700" y="5641"/>
                </a:lnTo>
                <a:lnTo>
                  <a:pt x="667" y="5661"/>
                </a:lnTo>
                <a:lnTo>
                  <a:pt x="643" y="5701"/>
                </a:lnTo>
                <a:lnTo>
                  <a:pt x="639" y="5739"/>
                </a:lnTo>
                <a:close/>
                <a:moveTo>
                  <a:pt x="937" y="4865"/>
                </a:moveTo>
                <a:lnTo>
                  <a:pt x="939" y="4867"/>
                </a:lnTo>
                <a:lnTo>
                  <a:pt x="937" y="4865"/>
                </a:lnTo>
                <a:close/>
                <a:moveTo>
                  <a:pt x="1010" y="4902"/>
                </a:moveTo>
                <a:lnTo>
                  <a:pt x="1035" y="4846"/>
                </a:lnTo>
                <a:lnTo>
                  <a:pt x="1015" y="4816"/>
                </a:lnTo>
                <a:lnTo>
                  <a:pt x="972" y="4794"/>
                </a:lnTo>
                <a:lnTo>
                  <a:pt x="931" y="4764"/>
                </a:lnTo>
                <a:lnTo>
                  <a:pt x="921" y="4785"/>
                </a:lnTo>
                <a:lnTo>
                  <a:pt x="925" y="4816"/>
                </a:lnTo>
                <a:lnTo>
                  <a:pt x="926" y="4840"/>
                </a:lnTo>
                <a:lnTo>
                  <a:pt x="908" y="4845"/>
                </a:lnTo>
                <a:lnTo>
                  <a:pt x="885" y="4862"/>
                </a:lnTo>
                <a:lnTo>
                  <a:pt x="900" y="4915"/>
                </a:lnTo>
                <a:lnTo>
                  <a:pt x="945" y="4948"/>
                </a:lnTo>
                <a:lnTo>
                  <a:pt x="1010" y="4902"/>
                </a:lnTo>
                <a:close/>
                <a:moveTo>
                  <a:pt x="10579" y="3074"/>
                </a:moveTo>
                <a:lnTo>
                  <a:pt x="10622" y="3069"/>
                </a:lnTo>
                <a:lnTo>
                  <a:pt x="10671" y="3052"/>
                </a:lnTo>
                <a:lnTo>
                  <a:pt x="10694" y="3025"/>
                </a:lnTo>
                <a:lnTo>
                  <a:pt x="10662" y="2992"/>
                </a:lnTo>
                <a:lnTo>
                  <a:pt x="10634" y="3029"/>
                </a:lnTo>
                <a:lnTo>
                  <a:pt x="10603" y="3030"/>
                </a:lnTo>
                <a:lnTo>
                  <a:pt x="10569" y="3020"/>
                </a:lnTo>
                <a:lnTo>
                  <a:pt x="10532" y="3017"/>
                </a:lnTo>
                <a:lnTo>
                  <a:pt x="10517" y="3043"/>
                </a:lnTo>
                <a:lnTo>
                  <a:pt x="10527" y="3068"/>
                </a:lnTo>
                <a:lnTo>
                  <a:pt x="10551" y="3083"/>
                </a:lnTo>
                <a:lnTo>
                  <a:pt x="10579" y="3074"/>
                </a:lnTo>
                <a:close/>
                <a:moveTo>
                  <a:pt x="469" y="6841"/>
                </a:moveTo>
                <a:lnTo>
                  <a:pt x="434" y="6856"/>
                </a:lnTo>
                <a:lnTo>
                  <a:pt x="420" y="6881"/>
                </a:lnTo>
                <a:lnTo>
                  <a:pt x="429" y="6909"/>
                </a:lnTo>
                <a:lnTo>
                  <a:pt x="460" y="6930"/>
                </a:lnTo>
                <a:lnTo>
                  <a:pt x="499" y="6897"/>
                </a:lnTo>
                <a:lnTo>
                  <a:pt x="529" y="6860"/>
                </a:lnTo>
                <a:lnTo>
                  <a:pt x="526" y="6836"/>
                </a:lnTo>
                <a:lnTo>
                  <a:pt x="469" y="6841"/>
                </a:lnTo>
                <a:close/>
                <a:moveTo>
                  <a:pt x="444" y="6776"/>
                </a:moveTo>
                <a:lnTo>
                  <a:pt x="478" y="6760"/>
                </a:lnTo>
                <a:lnTo>
                  <a:pt x="465" y="6720"/>
                </a:lnTo>
                <a:lnTo>
                  <a:pt x="425" y="6692"/>
                </a:lnTo>
                <a:lnTo>
                  <a:pt x="386" y="6710"/>
                </a:lnTo>
                <a:lnTo>
                  <a:pt x="373" y="6738"/>
                </a:lnTo>
                <a:lnTo>
                  <a:pt x="388" y="6762"/>
                </a:lnTo>
                <a:lnTo>
                  <a:pt x="418" y="6777"/>
                </a:lnTo>
                <a:lnTo>
                  <a:pt x="444" y="6776"/>
                </a:lnTo>
                <a:close/>
                <a:moveTo>
                  <a:pt x="1545" y="2022"/>
                </a:moveTo>
                <a:lnTo>
                  <a:pt x="1565" y="2003"/>
                </a:lnTo>
                <a:lnTo>
                  <a:pt x="1589" y="1986"/>
                </a:lnTo>
                <a:lnTo>
                  <a:pt x="1614" y="1971"/>
                </a:lnTo>
                <a:lnTo>
                  <a:pt x="1629" y="1953"/>
                </a:lnTo>
                <a:lnTo>
                  <a:pt x="1621" y="1910"/>
                </a:lnTo>
                <a:lnTo>
                  <a:pt x="1560" y="1945"/>
                </a:lnTo>
                <a:lnTo>
                  <a:pt x="1513" y="2001"/>
                </a:lnTo>
                <a:lnTo>
                  <a:pt x="1545" y="2022"/>
                </a:lnTo>
                <a:close/>
                <a:moveTo>
                  <a:pt x="695" y="7369"/>
                </a:moveTo>
                <a:lnTo>
                  <a:pt x="700" y="7390"/>
                </a:lnTo>
                <a:lnTo>
                  <a:pt x="720" y="7402"/>
                </a:lnTo>
                <a:lnTo>
                  <a:pt x="740" y="7402"/>
                </a:lnTo>
                <a:lnTo>
                  <a:pt x="751" y="7388"/>
                </a:lnTo>
                <a:lnTo>
                  <a:pt x="796" y="7341"/>
                </a:lnTo>
                <a:lnTo>
                  <a:pt x="763" y="7301"/>
                </a:lnTo>
                <a:lnTo>
                  <a:pt x="709" y="7298"/>
                </a:lnTo>
                <a:lnTo>
                  <a:pt x="695" y="7369"/>
                </a:lnTo>
                <a:close/>
                <a:moveTo>
                  <a:pt x="3296" y="1440"/>
                </a:moveTo>
                <a:lnTo>
                  <a:pt x="3199" y="1469"/>
                </a:lnTo>
                <a:lnTo>
                  <a:pt x="3087" y="1523"/>
                </a:lnTo>
                <a:lnTo>
                  <a:pt x="3026" y="1589"/>
                </a:lnTo>
                <a:lnTo>
                  <a:pt x="3082" y="1660"/>
                </a:lnTo>
                <a:lnTo>
                  <a:pt x="3125" y="1706"/>
                </a:lnTo>
                <a:lnTo>
                  <a:pt x="3083" y="1749"/>
                </a:lnTo>
                <a:lnTo>
                  <a:pt x="3009" y="1794"/>
                </a:lnTo>
                <a:lnTo>
                  <a:pt x="2953" y="1838"/>
                </a:lnTo>
                <a:lnTo>
                  <a:pt x="2955" y="1886"/>
                </a:lnTo>
                <a:lnTo>
                  <a:pt x="2984" y="1879"/>
                </a:lnTo>
                <a:lnTo>
                  <a:pt x="3022" y="1847"/>
                </a:lnTo>
                <a:lnTo>
                  <a:pt x="3055" y="1814"/>
                </a:lnTo>
                <a:lnTo>
                  <a:pt x="3126" y="1784"/>
                </a:lnTo>
                <a:lnTo>
                  <a:pt x="3191" y="1770"/>
                </a:lnTo>
                <a:lnTo>
                  <a:pt x="3244" y="1733"/>
                </a:lnTo>
                <a:lnTo>
                  <a:pt x="3277" y="1636"/>
                </a:lnTo>
                <a:lnTo>
                  <a:pt x="3247" y="1600"/>
                </a:lnTo>
                <a:lnTo>
                  <a:pt x="3186" y="1613"/>
                </a:lnTo>
                <a:lnTo>
                  <a:pt x="3138" y="1614"/>
                </a:lnTo>
                <a:lnTo>
                  <a:pt x="3151" y="1539"/>
                </a:lnTo>
                <a:lnTo>
                  <a:pt x="3245" y="1496"/>
                </a:lnTo>
                <a:lnTo>
                  <a:pt x="3349" y="1446"/>
                </a:lnTo>
                <a:lnTo>
                  <a:pt x="3390" y="1418"/>
                </a:lnTo>
                <a:lnTo>
                  <a:pt x="3296" y="1440"/>
                </a:lnTo>
                <a:close/>
                <a:moveTo>
                  <a:pt x="7878" y="1118"/>
                </a:moveTo>
                <a:lnTo>
                  <a:pt x="7832" y="1096"/>
                </a:lnTo>
                <a:lnTo>
                  <a:pt x="7805" y="1149"/>
                </a:lnTo>
                <a:lnTo>
                  <a:pt x="7810" y="1208"/>
                </a:lnTo>
                <a:lnTo>
                  <a:pt x="7852" y="1211"/>
                </a:lnTo>
                <a:lnTo>
                  <a:pt x="7869" y="1187"/>
                </a:lnTo>
                <a:lnTo>
                  <a:pt x="7886" y="1164"/>
                </a:lnTo>
                <a:lnTo>
                  <a:pt x="7892" y="1141"/>
                </a:lnTo>
                <a:lnTo>
                  <a:pt x="7878" y="1118"/>
                </a:lnTo>
                <a:close/>
                <a:moveTo>
                  <a:pt x="9434" y="1457"/>
                </a:moveTo>
                <a:lnTo>
                  <a:pt x="9410" y="1441"/>
                </a:lnTo>
                <a:lnTo>
                  <a:pt x="9386" y="1435"/>
                </a:lnTo>
                <a:lnTo>
                  <a:pt x="9360" y="1440"/>
                </a:lnTo>
                <a:lnTo>
                  <a:pt x="9339" y="1455"/>
                </a:lnTo>
                <a:lnTo>
                  <a:pt x="9356" y="1525"/>
                </a:lnTo>
                <a:lnTo>
                  <a:pt x="9439" y="1553"/>
                </a:lnTo>
                <a:lnTo>
                  <a:pt x="9497" y="1533"/>
                </a:lnTo>
                <a:lnTo>
                  <a:pt x="9434" y="1457"/>
                </a:lnTo>
                <a:close/>
                <a:moveTo>
                  <a:pt x="1128" y="8192"/>
                </a:moveTo>
                <a:lnTo>
                  <a:pt x="1127" y="8174"/>
                </a:lnTo>
                <a:lnTo>
                  <a:pt x="1091" y="8167"/>
                </a:lnTo>
                <a:lnTo>
                  <a:pt x="1043" y="8160"/>
                </a:lnTo>
                <a:lnTo>
                  <a:pt x="1005" y="8141"/>
                </a:lnTo>
                <a:lnTo>
                  <a:pt x="1018" y="8220"/>
                </a:lnTo>
                <a:lnTo>
                  <a:pt x="1040" y="8278"/>
                </a:lnTo>
                <a:lnTo>
                  <a:pt x="1076" y="8279"/>
                </a:lnTo>
                <a:lnTo>
                  <a:pt x="1128" y="8192"/>
                </a:lnTo>
                <a:close/>
                <a:moveTo>
                  <a:pt x="5996" y="1086"/>
                </a:moveTo>
                <a:lnTo>
                  <a:pt x="6047" y="1121"/>
                </a:lnTo>
                <a:lnTo>
                  <a:pt x="6090" y="1119"/>
                </a:lnTo>
                <a:lnTo>
                  <a:pt x="6110" y="1090"/>
                </a:lnTo>
                <a:lnTo>
                  <a:pt x="6089" y="1037"/>
                </a:lnTo>
                <a:lnTo>
                  <a:pt x="6035" y="1029"/>
                </a:lnTo>
                <a:lnTo>
                  <a:pt x="5988" y="1025"/>
                </a:lnTo>
                <a:lnTo>
                  <a:pt x="5968" y="1040"/>
                </a:lnTo>
                <a:lnTo>
                  <a:pt x="5996" y="1086"/>
                </a:lnTo>
                <a:close/>
                <a:moveTo>
                  <a:pt x="4648" y="68"/>
                </a:moveTo>
                <a:lnTo>
                  <a:pt x="4678" y="102"/>
                </a:lnTo>
                <a:lnTo>
                  <a:pt x="4745" y="100"/>
                </a:lnTo>
                <a:lnTo>
                  <a:pt x="4801" y="76"/>
                </a:lnTo>
                <a:lnTo>
                  <a:pt x="4795" y="40"/>
                </a:lnTo>
                <a:lnTo>
                  <a:pt x="4732" y="55"/>
                </a:lnTo>
                <a:lnTo>
                  <a:pt x="4684" y="41"/>
                </a:lnTo>
                <a:lnTo>
                  <a:pt x="4655" y="35"/>
                </a:lnTo>
                <a:lnTo>
                  <a:pt x="4648" y="68"/>
                </a:lnTo>
                <a:close/>
                <a:moveTo>
                  <a:pt x="2401" y="751"/>
                </a:moveTo>
                <a:lnTo>
                  <a:pt x="2436" y="748"/>
                </a:lnTo>
                <a:lnTo>
                  <a:pt x="2482" y="732"/>
                </a:lnTo>
                <a:lnTo>
                  <a:pt x="2515" y="708"/>
                </a:lnTo>
                <a:lnTo>
                  <a:pt x="2510" y="676"/>
                </a:lnTo>
                <a:lnTo>
                  <a:pt x="2457" y="670"/>
                </a:lnTo>
                <a:lnTo>
                  <a:pt x="2401" y="678"/>
                </a:lnTo>
                <a:lnTo>
                  <a:pt x="2373" y="703"/>
                </a:lnTo>
                <a:lnTo>
                  <a:pt x="2401" y="751"/>
                </a:lnTo>
                <a:close/>
                <a:moveTo>
                  <a:pt x="2635" y="2066"/>
                </a:moveTo>
                <a:lnTo>
                  <a:pt x="2572" y="2041"/>
                </a:lnTo>
                <a:lnTo>
                  <a:pt x="2599" y="1986"/>
                </a:lnTo>
                <a:lnTo>
                  <a:pt x="2625" y="1944"/>
                </a:lnTo>
                <a:lnTo>
                  <a:pt x="2564" y="1954"/>
                </a:lnTo>
                <a:lnTo>
                  <a:pt x="2376" y="2094"/>
                </a:lnTo>
                <a:lnTo>
                  <a:pt x="2352" y="2164"/>
                </a:lnTo>
                <a:lnTo>
                  <a:pt x="2451" y="2158"/>
                </a:lnTo>
                <a:lnTo>
                  <a:pt x="2635" y="2066"/>
                </a:lnTo>
                <a:close/>
                <a:moveTo>
                  <a:pt x="442" y="6448"/>
                </a:moveTo>
                <a:lnTo>
                  <a:pt x="348" y="6424"/>
                </a:lnTo>
                <a:lnTo>
                  <a:pt x="315" y="6499"/>
                </a:lnTo>
                <a:lnTo>
                  <a:pt x="335" y="6569"/>
                </a:lnTo>
                <a:lnTo>
                  <a:pt x="399" y="6533"/>
                </a:lnTo>
                <a:lnTo>
                  <a:pt x="381" y="6499"/>
                </a:lnTo>
                <a:lnTo>
                  <a:pt x="397" y="6485"/>
                </a:lnTo>
                <a:lnTo>
                  <a:pt x="427" y="6473"/>
                </a:lnTo>
                <a:lnTo>
                  <a:pt x="442" y="6448"/>
                </a:lnTo>
                <a:close/>
                <a:moveTo>
                  <a:pt x="3414" y="1063"/>
                </a:moveTo>
                <a:lnTo>
                  <a:pt x="3455" y="1113"/>
                </a:lnTo>
                <a:lnTo>
                  <a:pt x="3477" y="1141"/>
                </a:lnTo>
                <a:lnTo>
                  <a:pt x="3503" y="1135"/>
                </a:lnTo>
                <a:lnTo>
                  <a:pt x="3557" y="1076"/>
                </a:lnTo>
                <a:lnTo>
                  <a:pt x="3519" y="1058"/>
                </a:lnTo>
                <a:lnTo>
                  <a:pt x="3458" y="1034"/>
                </a:lnTo>
                <a:lnTo>
                  <a:pt x="3410" y="1029"/>
                </a:lnTo>
                <a:lnTo>
                  <a:pt x="3414" y="1063"/>
                </a:lnTo>
                <a:close/>
                <a:moveTo>
                  <a:pt x="373" y="8785"/>
                </a:moveTo>
                <a:lnTo>
                  <a:pt x="304" y="8805"/>
                </a:lnTo>
                <a:lnTo>
                  <a:pt x="304" y="8875"/>
                </a:lnTo>
                <a:lnTo>
                  <a:pt x="336" y="8915"/>
                </a:lnTo>
                <a:lnTo>
                  <a:pt x="368" y="8846"/>
                </a:lnTo>
                <a:lnTo>
                  <a:pt x="383" y="8843"/>
                </a:lnTo>
                <a:lnTo>
                  <a:pt x="391" y="8819"/>
                </a:lnTo>
                <a:lnTo>
                  <a:pt x="388" y="8794"/>
                </a:lnTo>
                <a:lnTo>
                  <a:pt x="373" y="8785"/>
                </a:lnTo>
                <a:close/>
                <a:moveTo>
                  <a:pt x="7268" y="1299"/>
                </a:moveTo>
                <a:lnTo>
                  <a:pt x="7347" y="1346"/>
                </a:lnTo>
                <a:lnTo>
                  <a:pt x="7414" y="1390"/>
                </a:lnTo>
                <a:lnTo>
                  <a:pt x="7423" y="1439"/>
                </a:lnTo>
                <a:lnTo>
                  <a:pt x="7330" y="1495"/>
                </a:lnTo>
                <a:lnTo>
                  <a:pt x="7358" y="1505"/>
                </a:lnTo>
                <a:lnTo>
                  <a:pt x="7402" y="1505"/>
                </a:lnTo>
                <a:lnTo>
                  <a:pt x="7442" y="1491"/>
                </a:lnTo>
                <a:lnTo>
                  <a:pt x="7463" y="1457"/>
                </a:lnTo>
                <a:lnTo>
                  <a:pt x="7528" y="1443"/>
                </a:lnTo>
                <a:lnTo>
                  <a:pt x="7621" y="1435"/>
                </a:lnTo>
                <a:lnTo>
                  <a:pt x="7696" y="1421"/>
                </a:lnTo>
                <a:lnTo>
                  <a:pt x="7709" y="1388"/>
                </a:lnTo>
                <a:lnTo>
                  <a:pt x="7531" y="1380"/>
                </a:lnTo>
                <a:lnTo>
                  <a:pt x="7440" y="1266"/>
                </a:lnTo>
                <a:lnTo>
                  <a:pt x="7372" y="1189"/>
                </a:lnTo>
                <a:lnTo>
                  <a:pt x="7268" y="1299"/>
                </a:lnTo>
                <a:close/>
                <a:moveTo>
                  <a:pt x="6590" y="409"/>
                </a:moveTo>
                <a:lnTo>
                  <a:pt x="6687" y="401"/>
                </a:lnTo>
                <a:lnTo>
                  <a:pt x="6730" y="376"/>
                </a:lnTo>
                <a:lnTo>
                  <a:pt x="6718" y="338"/>
                </a:lnTo>
                <a:lnTo>
                  <a:pt x="6644" y="293"/>
                </a:lnTo>
                <a:lnTo>
                  <a:pt x="6616" y="322"/>
                </a:lnTo>
                <a:lnTo>
                  <a:pt x="6580" y="352"/>
                </a:lnTo>
                <a:lnTo>
                  <a:pt x="6564" y="381"/>
                </a:lnTo>
                <a:lnTo>
                  <a:pt x="6590" y="409"/>
                </a:lnTo>
                <a:close/>
                <a:moveTo>
                  <a:pt x="875" y="5065"/>
                </a:moveTo>
                <a:lnTo>
                  <a:pt x="879" y="5036"/>
                </a:lnTo>
                <a:lnTo>
                  <a:pt x="844" y="5026"/>
                </a:lnTo>
                <a:lnTo>
                  <a:pt x="795" y="5021"/>
                </a:lnTo>
                <a:lnTo>
                  <a:pt x="755" y="5013"/>
                </a:lnTo>
                <a:lnTo>
                  <a:pt x="721" y="5040"/>
                </a:lnTo>
                <a:lnTo>
                  <a:pt x="717" y="5073"/>
                </a:lnTo>
                <a:lnTo>
                  <a:pt x="736" y="5090"/>
                </a:lnTo>
                <a:lnTo>
                  <a:pt x="772" y="5063"/>
                </a:lnTo>
                <a:lnTo>
                  <a:pt x="804" y="5082"/>
                </a:lnTo>
                <a:lnTo>
                  <a:pt x="827" y="5096"/>
                </a:lnTo>
                <a:lnTo>
                  <a:pt x="848" y="5095"/>
                </a:lnTo>
                <a:lnTo>
                  <a:pt x="875" y="5065"/>
                </a:lnTo>
                <a:close/>
                <a:moveTo>
                  <a:pt x="1654" y="3189"/>
                </a:moveTo>
                <a:lnTo>
                  <a:pt x="1666" y="3218"/>
                </a:lnTo>
                <a:lnTo>
                  <a:pt x="1659" y="3236"/>
                </a:lnTo>
                <a:lnTo>
                  <a:pt x="1639" y="3236"/>
                </a:lnTo>
                <a:lnTo>
                  <a:pt x="1615" y="3213"/>
                </a:lnTo>
                <a:lnTo>
                  <a:pt x="1574" y="3226"/>
                </a:lnTo>
                <a:lnTo>
                  <a:pt x="1541" y="3254"/>
                </a:lnTo>
                <a:lnTo>
                  <a:pt x="1513" y="3263"/>
                </a:lnTo>
                <a:lnTo>
                  <a:pt x="1486" y="3217"/>
                </a:lnTo>
                <a:lnTo>
                  <a:pt x="1442" y="3218"/>
                </a:lnTo>
                <a:lnTo>
                  <a:pt x="1429" y="3245"/>
                </a:lnTo>
                <a:lnTo>
                  <a:pt x="1445" y="3282"/>
                </a:lnTo>
                <a:lnTo>
                  <a:pt x="1484" y="3314"/>
                </a:lnTo>
                <a:lnTo>
                  <a:pt x="1487" y="3337"/>
                </a:lnTo>
                <a:lnTo>
                  <a:pt x="1472" y="3362"/>
                </a:lnTo>
                <a:lnTo>
                  <a:pt x="1465" y="3379"/>
                </a:lnTo>
                <a:lnTo>
                  <a:pt x="1493" y="3371"/>
                </a:lnTo>
                <a:lnTo>
                  <a:pt x="1549" y="3329"/>
                </a:lnTo>
                <a:lnTo>
                  <a:pt x="1606" y="3306"/>
                </a:lnTo>
                <a:lnTo>
                  <a:pt x="1666" y="3297"/>
                </a:lnTo>
                <a:lnTo>
                  <a:pt x="1735" y="3299"/>
                </a:lnTo>
                <a:lnTo>
                  <a:pt x="1723" y="3249"/>
                </a:lnTo>
                <a:lnTo>
                  <a:pt x="1719" y="3194"/>
                </a:lnTo>
                <a:lnTo>
                  <a:pt x="1721" y="3136"/>
                </a:lnTo>
                <a:lnTo>
                  <a:pt x="1721" y="3074"/>
                </a:lnTo>
                <a:lnTo>
                  <a:pt x="1690" y="3076"/>
                </a:lnTo>
                <a:lnTo>
                  <a:pt x="1664" y="3109"/>
                </a:lnTo>
                <a:lnTo>
                  <a:pt x="1650" y="3153"/>
                </a:lnTo>
                <a:lnTo>
                  <a:pt x="1654" y="3189"/>
                </a:lnTo>
                <a:close/>
                <a:moveTo>
                  <a:pt x="1316" y="10137"/>
                </a:moveTo>
                <a:lnTo>
                  <a:pt x="1350" y="10153"/>
                </a:lnTo>
                <a:lnTo>
                  <a:pt x="1366" y="10110"/>
                </a:lnTo>
                <a:lnTo>
                  <a:pt x="1358" y="10050"/>
                </a:lnTo>
                <a:lnTo>
                  <a:pt x="1319" y="10017"/>
                </a:lnTo>
                <a:lnTo>
                  <a:pt x="1270" y="10037"/>
                </a:lnTo>
                <a:lnTo>
                  <a:pt x="1254" y="10073"/>
                </a:lnTo>
                <a:lnTo>
                  <a:pt x="1270" y="10110"/>
                </a:lnTo>
                <a:lnTo>
                  <a:pt x="1316" y="10137"/>
                </a:lnTo>
                <a:close/>
                <a:moveTo>
                  <a:pt x="778" y="4214"/>
                </a:moveTo>
                <a:lnTo>
                  <a:pt x="739" y="4261"/>
                </a:lnTo>
                <a:lnTo>
                  <a:pt x="765" y="4288"/>
                </a:lnTo>
                <a:lnTo>
                  <a:pt x="824" y="4297"/>
                </a:lnTo>
                <a:lnTo>
                  <a:pt x="876" y="4285"/>
                </a:lnTo>
                <a:lnTo>
                  <a:pt x="872" y="4253"/>
                </a:lnTo>
                <a:lnTo>
                  <a:pt x="844" y="4224"/>
                </a:lnTo>
                <a:lnTo>
                  <a:pt x="809" y="4207"/>
                </a:lnTo>
                <a:lnTo>
                  <a:pt x="778" y="4214"/>
                </a:lnTo>
                <a:close/>
                <a:moveTo>
                  <a:pt x="1945" y="10363"/>
                </a:moveTo>
                <a:lnTo>
                  <a:pt x="1926" y="10316"/>
                </a:lnTo>
                <a:lnTo>
                  <a:pt x="1872" y="10317"/>
                </a:lnTo>
                <a:lnTo>
                  <a:pt x="1830" y="10353"/>
                </a:lnTo>
                <a:lnTo>
                  <a:pt x="1843" y="10414"/>
                </a:lnTo>
                <a:lnTo>
                  <a:pt x="1871" y="10413"/>
                </a:lnTo>
                <a:lnTo>
                  <a:pt x="1915" y="10407"/>
                </a:lnTo>
                <a:lnTo>
                  <a:pt x="1948" y="10391"/>
                </a:lnTo>
                <a:lnTo>
                  <a:pt x="1945" y="10363"/>
                </a:lnTo>
                <a:close/>
                <a:moveTo>
                  <a:pt x="7709" y="998"/>
                </a:moveTo>
                <a:lnTo>
                  <a:pt x="7711" y="1042"/>
                </a:lnTo>
                <a:lnTo>
                  <a:pt x="7761" y="1048"/>
                </a:lnTo>
                <a:lnTo>
                  <a:pt x="7823" y="1035"/>
                </a:lnTo>
                <a:lnTo>
                  <a:pt x="7865" y="1019"/>
                </a:lnTo>
                <a:lnTo>
                  <a:pt x="7869" y="996"/>
                </a:lnTo>
                <a:lnTo>
                  <a:pt x="7873" y="970"/>
                </a:lnTo>
                <a:lnTo>
                  <a:pt x="7883" y="956"/>
                </a:lnTo>
                <a:lnTo>
                  <a:pt x="7910" y="964"/>
                </a:lnTo>
                <a:lnTo>
                  <a:pt x="7883" y="935"/>
                </a:lnTo>
                <a:lnTo>
                  <a:pt x="7776" y="914"/>
                </a:lnTo>
                <a:lnTo>
                  <a:pt x="7686" y="927"/>
                </a:lnTo>
                <a:lnTo>
                  <a:pt x="7709" y="998"/>
                </a:lnTo>
                <a:close/>
                <a:moveTo>
                  <a:pt x="92" y="5819"/>
                </a:moveTo>
                <a:lnTo>
                  <a:pt x="126" y="5806"/>
                </a:lnTo>
                <a:lnTo>
                  <a:pt x="158" y="5800"/>
                </a:lnTo>
                <a:lnTo>
                  <a:pt x="176" y="5782"/>
                </a:lnTo>
                <a:lnTo>
                  <a:pt x="168" y="5735"/>
                </a:lnTo>
                <a:lnTo>
                  <a:pt x="110" y="5715"/>
                </a:lnTo>
                <a:lnTo>
                  <a:pt x="60" y="5739"/>
                </a:lnTo>
                <a:lnTo>
                  <a:pt x="45" y="5781"/>
                </a:lnTo>
                <a:lnTo>
                  <a:pt x="92" y="5819"/>
                </a:lnTo>
                <a:close/>
                <a:moveTo>
                  <a:pt x="2586" y="1164"/>
                </a:moveTo>
                <a:lnTo>
                  <a:pt x="2635" y="1155"/>
                </a:lnTo>
                <a:lnTo>
                  <a:pt x="2696" y="1149"/>
                </a:lnTo>
                <a:lnTo>
                  <a:pt x="2742" y="1132"/>
                </a:lnTo>
                <a:lnTo>
                  <a:pt x="2743" y="1099"/>
                </a:lnTo>
                <a:lnTo>
                  <a:pt x="2699" y="1072"/>
                </a:lnTo>
                <a:lnTo>
                  <a:pt x="2641" y="1082"/>
                </a:lnTo>
                <a:lnTo>
                  <a:pt x="2597" y="1118"/>
                </a:lnTo>
                <a:lnTo>
                  <a:pt x="2586" y="1164"/>
                </a:lnTo>
                <a:close/>
                <a:moveTo>
                  <a:pt x="842" y="8926"/>
                </a:moveTo>
                <a:lnTo>
                  <a:pt x="791" y="8892"/>
                </a:lnTo>
                <a:lnTo>
                  <a:pt x="783" y="8865"/>
                </a:lnTo>
                <a:lnTo>
                  <a:pt x="786" y="8845"/>
                </a:lnTo>
                <a:lnTo>
                  <a:pt x="765" y="8832"/>
                </a:lnTo>
                <a:lnTo>
                  <a:pt x="679" y="8920"/>
                </a:lnTo>
                <a:lnTo>
                  <a:pt x="679" y="8948"/>
                </a:lnTo>
                <a:lnTo>
                  <a:pt x="742" y="8941"/>
                </a:lnTo>
                <a:lnTo>
                  <a:pt x="842" y="8926"/>
                </a:lnTo>
                <a:close/>
                <a:moveTo>
                  <a:pt x="8349" y="296"/>
                </a:moveTo>
                <a:lnTo>
                  <a:pt x="8372" y="329"/>
                </a:lnTo>
                <a:lnTo>
                  <a:pt x="8411" y="328"/>
                </a:lnTo>
                <a:lnTo>
                  <a:pt x="8439" y="306"/>
                </a:lnTo>
                <a:lnTo>
                  <a:pt x="8431" y="274"/>
                </a:lnTo>
                <a:lnTo>
                  <a:pt x="8395" y="226"/>
                </a:lnTo>
                <a:lnTo>
                  <a:pt x="8343" y="218"/>
                </a:lnTo>
                <a:lnTo>
                  <a:pt x="8315" y="245"/>
                </a:lnTo>
                <a:lnTo>
                  <a:pt x="8349" y="296"/>
                </a:lnTo>
                <a:close/>
                <a:moveTo>
                  <a:pt x="5204" y="11681"/>
                </a:moveTo>
                <a:lnTo>
                  <a:pt x="5183" y="11663"/>
                </a:lnTo>
                <a:lnTo>
                  <a:pt x="5173" y="11676"/>
                </a:lnTo>
                <a:lnTo>
                  <a:pt x="5165" y="11702"/>
                </a:lnTo>
                <a:lnTo>
                  <a:pt x="5156" y="11724"/>
                </a:lnTo>
                <a:lnTo>
                  <a:pt x="5139" y="11724"/>
                </a:lnTo>
                <a:lnTo>
                  <a:pt x="5127" y="11733"/>
                </a:lnTo>
                <a:lnTo>
                  <a:pt x="5125" y="11746"/>
                </a:lnTo>
                <a:lnTo>
                  <a:pt x="5136" y="11760"/>
                </a:lnTo>
                <a:lnTo>
                  <a:pt x="5190" y="11789"/>
                </a:lnTo>
                <a:lnTo>
                  <a:pt x="5237" y="11769"/>
                </a:lnTo>
                <a:lnTo>
                  <a:pt x="5251" y="11723"/>
                </a:lnTo>
                <a:lnTo>
                  <a:pt x="5204" y="11681"/>
                </a:lnTo>
                <a:close/>
                <a:moveTo>
                  <a:pt x="3199" y="11640"/>
                </a:moveTo>
                <a:lnTo>
                  <a:pt x="3165" y="11625"/>
                </a:lnTo>
                <a:lnTo>
                  <a:pt x="3123" y="11617"/>
                </a:lnTo>
                <a:lnTo>
                  <a:pt x="3090" y="11626"/>
                </a:lnTo>
                <a:lnTo>
                  <a:pt x="3082" y="11662"/>
                </a:lnTo>
                <a:lnTo>
                  <a:pt x="3121" y="11718"/>
                </a:lnTo>
                <a:lnTo>
                  <a:pt x="3191" y="11725"/>
                </a:lnTo>
                <a:lnTo>
                  <a:pt x="3236" y="11695"/>
                </a:lnTo>
                <a:lnTo>
                  <a:pt x="3199" y="11640"/>
                </a:lnTo>
                <a:close/>
                <a:moveTo>
                  <a:pt x="5188" y="1502"/>
                </a:moveTo>
                <a:lnTo>
                  <a:pt x="5184" y="1502"/>
                </a:lnTo>
                <a:lnTo>
                  <a:pt x="5179" y="1496"/>
                </a:lnTo>
                <a:lnTo>
                  <a:pt x="5178" y="1490"/>
                </a:lnTo>
                <a:lnTo>
                  <a:pt x="5184" y="1491"/>
                </a:lnTo>
                <a:lnTo>
                  <a:pt x="5191" y="1494"/>
                </a:lnTo>
                <a:lnTo>
                  <a:pt x="5192" y="1496"/>
                </a:lnTo>
                <a:lnTo>
                  <a:pt x="5191" y="1499"/>
                </a:lnTo>
                <a:lnTo>
                  <a:pt x="5188" y="1502"/>
                </a:lnTo>
                <a:close/>
                <a:moveTo>
                  <a:pt x="5225" y="1248"/>
                </a:moveTo>
                <a:lnTo>
                  <a:pt x="5190" y="1219"/>
                </a:lnTo>
                <a:lnTo>
                  <a:pt x="5173" y="1248"/>
                </a:lnTo>
                <a:lnTo>
                  <a:pt x="5181" y="1295"/>
                </a:lnTo>
                <a:lnTo>
                  <a:pt x="5219" y="1323"/>
                </a:lnTo>
                <a:lnTo>
                  <a:pt x="5220" y="1352"/>
                </a:lnTo>
                <a:lnTo>
                  <a:pt x="5192" y="1360"/>
                </a:lnTo>
                <a:lnTo>
                  <a:pt x="5167" y="1366"/>
                </a:lnTo>
                <a:lnTo>
                  <a:pt x="5182" y="1394"/>
                </a:lnTo>
                <a:lnTo>
                  <a:pt x="5094" y="1490"/>
                </a:lnTo>
                <a:lnTo>
                  <a:pt x="4993" y="1506"/>
                </a:lnTo>
                <a:lnTo>
                  <a:pt x="4906" y="1500"/>
                </a:lnTo>
                <a:lnTo>
                  <a:pt x="4860" y="1525"/>
                </a:lnTo>
                <a:lnTo>
                  <a:pt x="4886" y="1571"/>
                </a:lnTo>
                <a:lnTo>
                  <a:pt x="4828" y="1593"/>
                </a:lnTo>
                <a:lnTo>
                  <a:pt x="4762" y="1620"/>
                </a:lnTo>
                <a:lnTo>
                  <a:pt x="4765" y="1679"/>
                </a:lnTo>
                <a:lnTo>
                  <a:pt x="4886" y="1627"/>
                </a:lnTo>
                <a:lnTo>
                  <a:pt x="5004" y="1584"/>
                </a:lnTo>
                <a:lnTo>
                  <a:pt x="5121" y="1564"/>
                </a:lnTo>
                <a:lnTo>
                  <a:pt x="5246" y="1585"/>
                </a:lnTo>
                <a:lnTo>
                  <a:pt x="5242" y="1648"/>
                </a:lnTo>
                <a:lnTo>
                  <a:pt x="5267" y="1650"/>
                </a:lnTo>
                <a:lnTo>
                  <a:pt x="5281" y="1599"/>
                </a:lnTo>
                <a:lnTo>
                  <a:pt x="5243" y="1502"/>
                </a:lnTo>
                <a:lnTo>
                  <a:pt x="5296" y="1374"/>
                </a:lnTo>
                <a:lnTo>
                  <a:pt x="5360" y="1343"/>
                </a:lnTo>
                <a:lnTo>
                  <a:pt x="5439" y="1369"/>
                </a:lnTo>
                <a:lnTo>
                  <a:pt x="5544" y="1406"/>
                </a:lnTo>
                <a:lnTo>
                  <a:pt x="5504" y="1243"/>
                </a:lnTo>
                <a:lnTo>
                  <a:pt x="5577" y="1192"/>
                </a:lnTo>
                <a:lnTo>
                  <a:pt x="5652" y="1156"/>
                </a:lnTo>
                <a:lnTo>
                  <a:pt x="5617" y="1042"/>
                </a:lnTo>
                <a:lnTo>
                  <a:pt x="5610" y="1019"/>
                </a:lnTo>
                <a:lnTo>
                  <a:pt x="5621" y="991"/>
                </a:lnTo>
                <a:lnTo>
                  <a:pt x="5619" y="975"/>
                </a:lnTo>
                <a:lnTo>
                  <a:pt x="5570" y="988"/>
                </a:lnTo>
                <a:lnTo>
                  <a:pt x="5558" y="1012"/>
                </a:lnTo>
                <a:lnTo>
                  <a:pt x="5566" y="1043"/>
                </a:lnTo>
                <a:lnTo>
                  <a:pt x="5566" y="1067"/>
                </a:lnTo>
                <a:lnTo>
                  <a:pt x="5523" y="1075"/>
                </a:lnTo>
                <a:lnTo>
                  <a:pt x="5504" y="1066"/>
                </a:lnTo>
                <a:lnTo>
                  <a:pt x="5489" y="1073"/>
                </a:lnTo>
                <a:lnTo>
                  <a:pt x="5481" y="1089"/>
                </a:lnTo>
                <a:lnTo>
                  <a:pt x="5488" y="1108"/>
                </a:lnTo>
                <a:lnTo>
                  <a:pt x="5518" y="1112"/>
                </a:lnTo>
                <a:lnTo>
                  <a:pt x="5554" y="1105"/>
                </a:lnTo>
                <a:lnTo>
                  <a:pt x="5574" y="1109"/>
                </a:lnTo>
                <a:lnTo>
                  <a:pt x="5560" y="1140"/>
                </a:lnTo>
                <a:lnTo>
                  <a:pt x="5465" y="1169"/>
                </a:lnTo>
                <a:lnTo>
                  <a:pt x="5403" y="1238"/>
                </a:lnTo>
                <a:lnTo>
                  <a:pt x="5372" y="1284"/>
                </a:lnTo>
                <a:lnTo>
                  <a:pt x="5359" y="1244"/>
                </a:lnTo>
                <a:lnTo>
                  <a:pt x="5335" y="1225"/>
                </a:lnTo>
                <a:lnTo>
                  <a:pt x="5295" y="1230"/>
                </a:lnTo>
                <a:lnTo>
                  <a:pt x="5254" y="1244"/>
                </a:lnTo>
                <a:lnTo>
                  <a:pt x="5225" y="1248"/>
                </a:lnTo>
                <a:close/>
                <a:moveTo>
                  <a:pt x="302" y="5040"/>
                </a:moveTo>
                <a:lnTo>
                  <a:pt x="341" y="4978"/>
                </a:lnTo>
                <a:lnTo>
                  <a:pt x="346" y="4937"/>
                </a:lnTo>
                <a:lnTo>
                  <a:pt x="315" y="4922"/>
                </a:lnTo>
                <a:lnTo>
                  <a:pt x="242" y="4934"/>
                </a:lnTo>
                <a:lnTo>
                  <a:pt x="219" y="4967"/>
                </a:lnTo>
                <a:lnTo>
                  <a:pt x="227" y="5032"/>
                </a:lnTo>
                <a:lnTo>
                  <a:pt x="257" y="5074"/>
                </a:lnTo>
                <a:lnTo>
                  <a:pt x="302" y="5040"/>
                </a:lnTo>
                <a:close/>
                <a:moveTo>
                  <a:pt x="3084" y="11598"/>
                </a:moveTo>
                <a:lnTo>
                  <a:pt x="3022" y="11504"/>
                </a:lnTo>
                <a:lnTo>
                  <a:pt x="2958" y="11531"/>
                </a:lnTo>
                <a:lnTo>
                  <a:pt x="2932" y="11597"/>
                </a:lnTo>
                <a:lnTo>
                  <a:pt x="2980" y="11621"/>
                </a:lnTo>
                <a:lnTo>
                  <a:pt x="3011" y="11611"/>
                </a:lnTo>
                <a:lnTo>
                  <a:pt x="3046" y="11617"/>
                </a:lnTo>
                <a:lnTo>
                  <a:pt x="3076" y="11620"/>
                </a:lnTo>
                <a:lnTo>
                  <a:pt x="3084" y="11598"/>
                </a:lnTo>
                <a:close/>
                <a:moveTo>
                  <a:pt x="1749" y="3946"/>
                </a:moveTo>
                <a:lnTo>
                  <a:pt x="1712" y="3880"/>
                </a:lnTo>
                <a:lnTo>
                  <a:pt x="1626" y="3916"/>
                </a:lnTo>
                <a:lnTo>
                  <a:pt x="1570" y="3985"/>
                </a:lnTo>
                <a:lnTo>
                  <a:pt x="1617" y="4018"/>
                </a:lnTo>
                <a:lnTo>
                  <a:pt x="1645" y="3983"/>
                </a:lnTo>
                <a:lnTo>
                  <a:pt x="1675" y="3962"/>
                </a:lnTo>
                <a:lnTo>
                  <a:pt x="1708" y="3952"/>
                </a:lnTo>
                <a:lnTo>
                  <a:pt x="1749" y="3946"/>
                </a:lnTo>
                <a:close/>
                <a:moveTo>
                  <a:pt x="5877" y="1122"/>
                </a:moveTo>
                <a:lnTo>
                  <a:pt x="5915" y="1071"/>
                </a:lnTo>
                <a:lnTo>
                  <a:pt x="5903" y="1017"/>
                </a:lnTo>
                <a:lnTo>
                  <a:pt x="5856" y="991"/>
                </a:lnTo>
                <a:lnTo>
                  <a:pt x="5791" y="1021"/>
                </a:lnTo>
                <a:lnTo>
                  <a:pt x="5794" y="1061"/>
                </a:lnTo>
                <a:lnTo>
                  <a:pt x="5810" y="1091"/>
                </a:lnTo>
                <a:lnTo>
                  <a:pt x="5836" y="1112"/>
                </a:lnTo>
                <a:lnTo>
                  <a:pt x="5877" y="1122"/>
                </a:lnTo>
                <a:close/>
                <a:moveTo>
                  <a:pt x="1056" y="5368"/>
                </a:moveTo>
                <a:lnTo>
                  <a:pt x="1037" y="5389"/>
                </a:lnTo>
                <a:lnTo>
                  <a:pt x="1020" y="5412"/>
                </a:lnTo>
                <a:lnTo>
                  <a:pt x="1006" y="5436"/>
                </a:lnTo>
                <a:lnTo>
                  <a:pt x="996" y="5461"/>
                </a:lnTo>
                <a:lnTo>
                  <a:pt x="1047" y="5492"/>
                </a:lnTo>
                <a:lnTo>
                  <a:pt x="1105" y="5426"/>
                </a:lnTo>
                <a:lnTo>
                  <a:pt x="1125" y="5354"/>
                </a:lnTo>
                <a:lnTo>
                  <a:pt x="1056" y="5368"/>
                </a:lnTo>
                <a:close/>
                <a:moveTo>
                  <a:pt x="2027" y="10422"/>
                </a:moveTo>
                <a:lnTo>
                  <a:pt x="2083" y="10403"/>
                </a:lnTo>
                <a:lnTo>
                  <a:pt x="2076" y="10335"/>
                </a:lnTo>
                <a:lnTo>
                  <a:pt x="2030" y="10268"/>
                </a:lnTo>
                <a:lnTo>
                  <a:pt x="1970" y="10246"/>
                </a:lnTo>
                <a:lnTo>
                  <a:pt x="1964" y="10289"/>
                </a:lnTo>
                <a:lnTo>
                  <a:pt x="1980" y="10337"/>
                </a:lnTo>
                <a:lnTo>
                  <a:pt x="2006" y="10381"/>
                </a:lnTo>
                <a:lnTo>
                  <a:pt x="2027" y="10422"/>
                </a:lnTo>
                <a:close/>
                <a:moveTo>
                  <a:pt x="5009" y="11887"/>
                </a:moveTo>
                <a:lnTo>
                  <a:pt x="4958" y="11886"/>
                </a:lnTo>
                <a:lnTo>
                  <a:pt x="4897" y="11900"/>
                </a:lnTo>
                <a:lnTo>
                  <a:pt x="4830" y="11916"/>
                </a:lnTo>
                <a:lnTo>
                  <a:pt x="4764" y="11926"/>
                </a:lnTo>
                <a:lnTo>
                  <a:pt x="4781" y="11961"/>
                </a:lnTo>
                <a:lnTo>
                  <a:pt x="4888" y="11971"/>
                </a:lnTo>
                <a:lnTo>
                  <a:pt x="4995" y="11949"/>
                </a:lnTo>
                <a:lnTo>
                  <a:pt x="5009" y="11887"/>
                </a:lnTo>
                <a:close/>
                <a:moveTo>
                  <a:pt x="916" y="6174"/>
                </a:moveTo>
                <a:lnTo>
                  <a:pt x="944" y="6126"/>
                </a:lnTo>
                <a:lnTo>
                  <a:pt x="933" y="6068"/>
                </a:lnTo>
                <a:lnTo>
                  <a:pt x="895" y="6025"/>
                </a:lnTo>
                <a:lnTo>
                  <a:pt x="841" y="6023"/>
                </a:lnTo>
                <a:lnTo>
                  <a:pt x="809" y="6072"/>
                </a:lnTo>
                <a:lnTo>
                  <a:pt x="825" y="6117"/>
                </a:lnTo>
                <a:lnTo>
                  <a:pt x="867" y="6152"/>
                </a:lnTo>
                <a:lnTo>
                  <a:pt x="916" y="6174"/>
                </a:lnTo>
                <a:close/>
                <a:moveTo>
                  <a:pt x="4866" y="624"/>
                </a:moveTo>
                <a:lnTo>
                  <a:pt x="4805" y="642"/>
                </a:lnTo>
                <a:lnTo>
                  <a:pt x="4801" y="676"/>
                </a:lnTo>
                <a:lnTo>
                  <a:pt x="4809" y="712"/>
                </a:lnTo>
                <a:lnTo>
                  <a:pt x="4785" y="737"/>
                </a:lnTo>
                <a:lnTo>
                  <a:pt x="4764" y="758"/>
                </a:lnTo>
                <a:lnTo>
                  <a:pt x="4788" y="772"/>
                </a:lnTo>
                <a:lnTo>
                  <a:pt x="4829" y="782"/>
                </a:lnTo>
                <a:lnTo>
                  <a:pt x="4860" y="793"/>
                </a:lnTo>
                <a:lnTo>
                  <a:pt x="4878" y="802"/>
                </a:lnTo>
                <a:lnTo>
                  <a:pt x="4900" y="801"/>
                </a:lnTo>
                <a:lnTo>
                  <a:pt x="4920" y="799"/>
                </a:lnTo>
                <a:lnTo>
                  <a:pt x="4923" y="809"/>
                </a:lnTo>
                <a:lnTo>
                  <a:pt x="4932" y="871"/>
                </a:lnTo>
                <a:lnTo>
                  <a:pt x="4970" y="889"/>
                </a:lnTo>
                <a:lnTo>
                  <a:pt x="5005" y="865"/>
                </a:lnTo>
                <a:lnTo>
                  <a:pt x="5005" y="804"/>
                </a:lnTo>
                <a:lnTo>
                  <a:pt x="5048" y="786"/>
                </a:lnTo>
                <a:lnTo>
                  <a:pt x="5084" y="773"/>
                </a:lnTo>
                <a:lnTo>
                  <a:pt x="5084" y="764"/>
                </a:lnTo>
                <a:lnTo>
                  <a:pt x="5023" y="758"/>
                </a:lnTo>
                <a:lnTo>
                  <a:pt x="4979" y="723"/>
                </a:lnTo>
                <a:lnTo>
                  <a:pt x="4955" y="660"/>
                </a:lnTo>
                <a:lnTo>
                  <a:pt x="4927" y="611"/>
                </a:lnTo>
                <a:lnTo>
                  <a:pt x="4866" y="624"/>
                </a:lnTo>
                <a:close/>
                <a:moveTo>
                  <a:pt x="1175" y="7880"/>
                </a:moveTo>
                <a:lnTo>
                  <a:pt x="1001" y="7845"/>
                </a:lnTo>
                <a:lnTo>
                  <a:pt x="969" y="7940"/>
                </a:lnTo>
                <a:lnTo>
                  <a:pt x="1010" y="8010"/>
                </a:lnTo>
                <a:lnTo>
                  <a:pt x="1058" y="7896"/>
                </a:lnTo>
                <a:lnTo>
                  <a:pt x="1084" y="7957"/>
                </a:lnTo>
                <a:lnTo>
                  <a:pt x="1121" y="7970"/>
                </a:lnTo>
                <a:lnTo>
                  <a:pt x="1155" y="7941"/>
                </a:lnTo>
                <a:lnTo>
                  <a:pt x="1175" y="7880"/>
                </a:lnTo>
                <a:close/>
                <a:moveTo>
                  <a:pt x="3753" y="11320"/>
                </a:moveTo>
                <a:lnTo>
                  <a:pt x="3682" y="11343"/>
                </a:lnTo>
                <a:lnTo>
                  <a:pt x="3660" y="11322"/>
                </a:lnTo>
                <a:lnTo>
                  <a:pt x="3643" y="11290"/>
                </a:lnTo>
                <a:lnTo>
                  <a:pt x="3585" y="11282"/>
                </a:lnTo>
                <a:lnTo>
                  <a:pt x="3517" y="11331"/>
                </a:lnTo>
                <a:lnTo>
                  <a:pt x="3461" y="11350"/>
                </a:lnTo>
                <a:lnTo>
                  <a:pt x="3426" y="11387"/>
                </a:lnTo>
                <a:lnTo>
                  <a:pt x="3424" y="11491"/>
                </a:lnTo>
                <a:lnTo>
                  <a:pt x="3446" y="11506"/>
                </a:lnTo>
                <a:lnTo>
                  <a:pt x="3458" y="11485"/>
                </a:lnTo>
                <a:lnTo>
                  <a:pt x="3468" y="11450"/>
                </a:lnTo>
                <a:lnTo>
                  <a:pt x="3480" y="11429"/>
                </a:lnTo>
                <a:lnTo>
                  <a:pt x="3554" y="11445"/>
                </a:lnTo>
                <a:lnTo>
                  <a:pt x="3656" y="11432"/>
                </a:lnTo>
                <a:lnTo>
                  <a:pt x="3736" y="11392"/>
                </a:lnTo>
                <a:lnTo>
                  <a:pt x="3753" y="11320"/>
                </a:lnTo>
                <a:close/>
                <a:moveTo>
                  <a:pt x="7934" y="1609"/>
                </a:moveTo>
                <a:lnTo>
                  <a:pt x="7929" y="1691"/>
                </a:lnTo>
                <a:lnTo>
                  <a:pt x="7972" y="1687"/>
                </a:lnTo>
                <a:lnTo>
                  <a:pt x="8029" y="1644"/>
                </a:lnTo>
                <a:lnTo>
                  <a:pt x="8069" y="1607"/>
                </a:lnTo>
                <a:lnTo>
                  <a:pt x="8010" y="1558"/>
                </a:lnTo>
                <a:lnTo>
                  <a:pt x="7986" y="1524"/>
                </a:lnTo>
                <a:lnTo>
                  <a:pt x="7970" y="1532"/>
                </a:lnTo>
                <a:lnTo>
                  <a:pt x="7934" y="1609"/>
                </a:lnTo>
                <a:close/>
                <a:moveTo>
                  <a:pt x="1174" y="3910"/>
                </a:moveTo>
                <a:lnTo>
                  <a:pt x="1147" y="3955"/>
                </a:lnTo>
                <a:lnTo>
                  <a:pt x="1153" y="4027"/>
                </a:lnTo>
                <a:lnTo>
                  <a:pt x="1178" y="4076"/>
                </a:lnTo>
                <a:lnTo>
                  <a:pt x="1209" y="4056"/>
                </a:lnTo>
                <a:lnTo>
                  <a:pt x="1228" y="4033"/>
                </a:lnTo>
                <a:lnTo>
                  <a:pt x="1261" y="4016"/>
                </a:lnTo>
                <a:lnTo>
                  <a:pt x="1282" y="4000"/>
                </a:lnTo>
                <a:lnTo>
                  <a:pt x="1266" y="3973"/>
                </a:lnTo>
                <a:lnTo>
                  <a:pt x="1253" y="3939"/>
                </a:lnTo>
                <a:lnTo>
                  <a:pt x="1244" y="3902"/>
                </a:lnTo>
                <a:lnTo>
                  <a:pt x="1224" y="3884"/>
                </a:lnTo>
                <a:lnTo>
                  <a:pt x="1174" y="3910"/>
                </a:lnTo>
                <a:close/>
                <a:moveTo>
                  <a:pt x="10365" y="3409"/>
                </a:moveTo>
                <a:lnTo>
                  <a:pt x="10312" y="3397"/>
                </a:lnTo>
                <a:lnTo>
                  <a:pt x="10256" y="3375"/>
                </a:lnTo>
                <a:lnTo>
                  <a:pt x="10220" y="3379"/>
                </a:lnTo>
                <a:lnTo>
                  <a:pt x="10231" y="3442"/>
                </a:lnTo>
                <a:lnTo>
                  <a:pt x="10266" y="3477"/>
                </a:lnTo>
                <a:lnTo>
                  <a:pt x="10317" y="3479"/>
                </a:lnTo>
                <a:lnTo>
                  <a:pt x="10370" y="3481"/>
                </a:lnTo>
                <a:lnTo>
                  <a:pt x="10411" y="3511"/>
                </a:lnTo>
                <a:lnTo>
                  <a:pt x="10468" y="3552"/>
                </a:lnTo>
                <a:lnTo>
                  <a:pt x="10472" y="3514"/>
                </a:lnTo>
                <a:lnTo>
                  <a:pt x="10434" y="3449"/>
                </a:lnTo>
                <a:lnTo>
                  <a:pt x="10365" y="3409"/>
                </a:lnTo>
                <a:close/>
                <a:moveTo>
                  <a:pt x="953" y="5637"/>
                </a:moveTo>
                <a:lnTo>
                  <a:pt x="875" y="5627"/>
                </a:lnTo>
                <a:lnTo>
                  <a:pt x="856" y="5698"/>
                </a:lnTo>
                <a:lnTo>
                  <a:pt x="893" y="5772"/>
                </a:lnTo>
                <a:lnTo>
                  <a:pt x="982" y="5776"/>
                </a:lnTo>
                <a:lnTo>
                  <a:pt x="1026" y="5764"/>
                </a:lnTo>
                <a:lnTo>
                  <a:pt x="1009" y="5730"/>
                </a:lnTo>
                <a:lnTo>
                  <a:pt x="969" y="5684"/>
                </a:lnTo>
                <a:lnTo>
                  <a:pt x="953" y="5637"/>
                </a:lnTo>
                <a:close/>
                <a:moveTo>
                  <a:pt x="946" y="4388"/>
                </a:moveTo>
                <a:lnTo>
                  <a:pt x="945" y="4387"/>
                </a:lnTo>
                <a:lnTo>
                  <a:pt x="945" y="4387"/>
                </a:lnTo>
                <a:lnTo>
                  <a:pt x="946" y="4388"/>
                </a:lnTo>
                <a:close/>
                <a:moveTo>
                  <a:pt x="1094" y="4393"/>
                </a:moveTo>
                <a:lnTo>
                  <a:pt x="1126" y="4386"/>
                </a:lnTo>
                <a:lnTo>
                  <a:pt x="1112" y="4402"/>
                </a:lnTo>
                <a:lnTo>
                  <a:pt x="1081" y="4423"/>
                </a:lnTo>
                <a:lnTo>
                  <a:pt x="1066" y="4429"/>
                </a:lnTo>
                <a:lnTo>
                  <a:pt x="1068" y="4417"/>
                </a:lnTo>
                <a:lnTo>
                  <a:pt x="1075" y="4407"/>
                </a:lnTo>
                <a:lnTo>
                  <a:pt x="1082" y="4400"/>
                </a:lnTo>
                <a:lnTo>
                  <a:pt x="1094" y="4393"/>
                </a:lnTo>
                <a:close/>
                <a:moveTo>
                  <a:pt x="1080" y="4332"/>
                </a:moveTo>
                <a:lnTo>
                  <a:pt x="1080" y="4332"/>
                </a:lnTo>
                <a:lnTo>
                  <a:pt x="1080" y="4332"/>
                </a:lnTo>
                <a:lnTo>
                  <a:pt x="1080" y="4332"/>
                </a:lnTo>
                <a:lnTo>
                  <a:pt x="1080" y="4332"/>
                </a:lnTo>
                <a:close/>
                <a:moveTo>
                  <a:pt x="930" y="4312"/>
                </a:moveTo>
                <a:lnTo>
                  <a:pt x="891" y="4330"/>
                </a:lnTo>
                <a:lnTo>
                  <a:pt x="894" y="4388"/>
                </a:lnTo>
                <a:lnTo>
                  <a:pt x="898" y="4448"/>
                </a:lnTo>
                <a:lnTo>
                  <a:pt x="866" y="4475"/>
                </a:lnTo>
                <a:lnTo>
                  <a:pt x="857" y="4491"/>
                </a:lnTo>
                <a:lnTo>
                  <a:pt x="866" y="4508"/>
                </a:lnTo>
                <a:lnTo>
                  <a:pt x="883" y="4523"/>
                </a:lnTo>
                <a:lnTo>
                  <a:pt x="897" y="4537"/>
                </a:lnTo>
                <a:lnTo>
                  <a:pt x="877" y="4551"/>
                </a:lnTo>
                <a:lnTo>
                  <a:pt x="866" y="4571"/>
                </a:lnTo>
                <a:lnTo>
                  <a:pt x="870" y="4585"/>
                </a:lnTo>
                <a:lnTo>
                  <a:pt x="899" y="4583"/>
                </a:lnTo>
                <a:lnTo>
                  <a:pt x="1019" y="4571"/>
                </a:lnTo>
                <a:lnTo>
                  <a:pt x="1086" y="4619"/>
                </a:lnTo>
                <a:lnTo>
                  <a:pt x="1140" y="4639"/>
                </a:lnTo>
                <a:lnTo>
                  <a:pt x="1214" y="4541"/>
                </a:lnTo>
                <a:lnTo>
                  <a:pt x="1187" y="4452"/>
                </a:lnTo>
                <a:lnTo>
                  <a:pt x="1189" y="4345"/>
                </a:lnTo>
                <a:lnTo>
                  <a:pt x="1181" y="4249"/>
                </a:lnTo>
                <a:lnTo>
                  <a:pt x="1118" y="4196"/>
                </a:lnTo>
                <a:lnTo>
                  <a:pt x="1074" y="4219"/>
                </a:lnTo>
                <a:lnTo>
                  <a:pt x="1029" y="4303"/>
                </a:lnTo>
                <a:lnTo>
                  <a:pt x="981" y="4363"/>
                </a:lnTo>
                <a:lnTo>
                  <a:pt x="930" y="4312"/>
                </a:lnTo>
                <a:close/>
                <a:moveTo>
                  <a:pt x="1380" y="9731"/>
                </a:moveTo>
                <a:lnTo>
                  <a:pt x="1310" y="9748"/>
                </a:lnTo>
                <a:lnTo>
                  <a:pt x="1285" y="9810"/>
                </a:lnTo>
                <a:lnTo>
                  <a:pt x="1304" y="9876"/>
                </a:lnTo>
                <a:lnTo>
                  <a:pt x="1364" y="9906"/>
                </a:lnTo>
                <a:lnTo>
                  <a:pt x="1375" y="9858"/>
                </a:lnTo>
                <a:lnTo>
                  <a:pt x="1410" y="9790"/>
                </a:lnTo>
                <a:lnTo>
                  <a:pt x="1425" y="9737"/>
                </a:lnTo>
                <a:lnTo>
                  <a:pt x="1380" y="9731"/>
                </a:lnTo>
                <a:close/>
                <a:moveTo>
                  <a:pt x="4073" y="11528"/>
                </a:moveTo>
                <a:lnTo>
                  <a:pt x="4073" y="11528"/>
                </a:lnTo>
                <a:lnTo>
                  <a:pt x="4073" y="11528"/>
                </a:lnTo>
                <a:lnTo>
                  <a:pt x="4073" y="11528"/>
                </a:lnTo>
                <a:close/>
                <a:moveTo>
                  <a:pt x="3874" y="1065"/>
                </a:moveTo>
                <a:lnTo>
                  <a:pt x="3874" y="1065"/>
                </a:lnTo>
                <a:lnTo>
                  <a:pt x="3875" y="1065"/>
                </a:lnTo>
                <a:lnTo>
                  <a:pt x="3874" y="1065"/>
                </a:lnTo>
                <a:close/>
                <a:moveTo>
                  <a:pt x="652" y="7621"/>
                </a:moveTo>
                <a:lnTo>
                  <a:pt x="700" y="7618"/>
                </a:lnTo>
                <a:lnTo>
                  <a:pt x="699" y="7558"/>
                </a:lnTo>
                <a:lnTo>
                  <a:pt x="660" y="7494"/>
                </a:lnTo>
                <a:lnTo>
                  <a:pt x="595" y="7483"/>
                </a:lnTo>
                <a:lnTo>
                  <a:pt x="562" y="7492"/>
                </a:lnTo>
                <a:lnTo>
                  <a:pt x="545" y="7541"/>
                </a:lnTo>
                <a:lnTo>
                  <a:pt x="527" y="7584"/>
                </a:lnTo>
                <a:lnTo>
                  <a:pt x="486" y="7572"/>
                </a:lnTo>
                <a:lnTo>
                  <a:pt x="443" y="7600"/>
                </a:lnTo>
                <a:lnTo>
                  <a:pt x="458" y="7677"/>
                </a:lnTo>
                <a:lnTo>
                  <a:pt x="516" y="7735"/>
                </a:lnTo>
                <a:lnTo>
                  <a:pt x="599" y="7703"/>
                </a:lnTo>
                <a:lnTo>
                  <a:pt x="600" y="7668"/>
                </a:lnTo>
                <a:lnTo>
                  <a:pt x="600" y="7637"/>
                </a:lnTo>
                <a:lnTo>
                  <a:pt x="613" y="7618"/>
                </a:lnTo>
                <a:lnTo>
                  <a:pt x="652" y="7621"/>
                </a:lnTo>
                <a:close/>
                <a:moveTo>
                  <a:pt x="7055" y="932"/>
                </a:moveTo>
                <a:lnTo>
                  <a:pt x="7035" y="1009"/>
                </a:lnTo>
                <a:lnTo>
                  <a:pt x="7082" y="1081"/>
                </a:lnTo>
                <a:lnTo>
                  <a:pt x="7162" y="1143"/>
                </a:lnTo>
                <a:lnTo>
                  <a:pt x="7235" y="1191"/>
                </a:lnTo>
                <a:lnTo>
                  <a:pt x="7278" y="1119"/>
                </a:lnTo>
                <a:lnTo>
                  <a:pt x="7249" y="1005"/>
                </a:lnTo>
                <a:lnTo>
                  <a:pt x="7169" y="918"/>
                </a:lnTo>
                <a:lnTo>
                  <a:pt x="7055" y="932"/>
                </a:lnTo>
                <a:close/>
                <a:moveTo>
                  <a:pt x="1493" y="3826"/>
                </a:moveTo>
                <a:lnTo>
                  <a:pt x="1494" y="3826"/>
                </a:lnTo>
                <a:lnTo>
                  <a:pt x="1494" y="3826"/>
                </a:lnTo>
                <a:lnTo>
                  <a:pt x="1493" y="3827"/>
                </a:lnTo>
                <a:lnTo>
                  <a:pt x="1493" y="3826"/>
                </a:lnTo>
                <a:close/>
                <a:moveTo>
                  <a:pt x="1538" y="3869"/>
                </a:moveTo>
                <a:lnTo>
                  <a:pt x="1563" y="3918"/>
                </a:lnTo>
                <a:lnTo>
                  <a:pt x="1611" y="3894"/>
                </a:lnTo>
                <a:lnTo>
                  <a:pt x="1633" y="3837"/>
                </a:lnTo>
                <a:lnTo>
                  <a:pt x="1573" y="3791"/>
                </a:lnTo>
                <a:lnTo>
                  <a:pt x="1549" y="3762"/>
                </a:lnTo>
                <a:lnTo>
                  <a:pt x="1558" y="3735"/>
                </a:lnTo>
                <a:lnTo>
                  <a:pt x="1574" y="3708"/>
                </a:lnTo>
                <a:lnTo>
                  <a:pt x="1578" y="3678"/>
                </a:lnTo>
                <a:lnTo>
                  <a:pt x="1537" y="3657"/>
                </a:lnTo>
                <a:lnTo>
                  <a:pt x="1494" y="3627"/>
                </a:lnTo>
                <a:lnTo>
                  <a:pt x="1453" y="3612"/>
                </a:lnTo>
                <a:lnTo>
                  <a:pt x="1416" y="3633"/>
                </a:lnTo>
                <a:lnTo>
                  <a:pt x="1388" y="3762"/>
                </a:lnTo>
                <a:lnTo>
                  <a:pt x="1451" y="3812"/>
                </a:lnTo>
                <a:lnTo>
                  <a:pt x="1526" y="3832"/>
                </a:lnTo>
                <a:lnTo>
                  <a:pt x="1538" y="3869"/>
                </a:lnTo>
                <a:close/>
                <a:moveTo>
                  <a:pt x="5750" y="1285"/>
                </a:moveTo>
                <a:lnTo>
                  <a:pt x="5784" y="1239"/>
                </a:lnTo>
                <a:lnTo>
                  <a:pt x="5811" y="1180"/>
                </a:lnTo>
                <a:lnTo>
                  <a:pt x="5815" y="1137"/>
                </a:lnTo>
                <a:lnTo>
                  <a:pt x="5777" y="1140"/>
                </a:lnTo>
                <a:lnTo>
                  <a:pt x="5726" y="1178"/>
                </a:lnTo>
                <a:lnTo>
                  <a:pt x="5679" y="1227"/>
                </a:lnTo>
                <a:lnTo>
                  <a:pt x="5626" y="1263"/>
                </a:lnTo>
                <a:lnTo>
                  <a:pt x="5559" y="1262"/>
                </a:lnTo>
                <a:lnTo>
                  <a:pt x="5577" y="1326"/>
                </a:lnTo>
                <a:lnTo>
                  <a:pt x="5656" y="1351"/>
                </a:lnTo>
                <a:lnTo>
                  <a:pt x="5735" y="1338"/>
                </a:lnTo>
                <a:lnTo>
                  <a:pt x="5750" y="1285"/>
                </a:lnTo>
                <a:close/>
                <a:moveTo>
                  <a:pt x="2555" y="1410"/>
                </a:moveTo>
                <a:lnTo>
                  <a:pt x="2462" y="1203"/>
                </a:lnTo>
                <a:lnTo>
                  <a:pt x="2420" y="1295"/>
                </a:lnTo>
                <a:lnTo>
                  <a:pt x="2430" y="1499"/>
                </a:lnTo>
                <a:lnTo>
                  <a:pt x="2494" y="1634"/>
                </a:lnTo>
                <a:lnTo>
                  <a:pt x="2530" y="1564"/>
                </a:lnTo>
                <a:lnTo>
                  <a:pt x="2565" y="1518"/>
                </a:lnTo>
                <a:lnTo>
                  <a:pt x="2579" y="1473"/>
                </a:lnTo>
                <a:lnTo>
                  <a:pt x="2555" y="1410"/>
                </a:lnTo>
                <a:close/>
                <a:moveTo>
                  <a:pt x="614" y="6427"/>
                </a:moveTo>
                <a:lnTo>
                  <a:pt x="681" y="6448"/>
                </a:lnTo>
                <a:lnTo>
                  <a:pt x="684" y="6482"/>
                </a:lnTo>
                <a:lnTo>
                  <a:pt x="671" y="6527"/>
                </a:lnTo>
                <a:lnTo>
                  <a:pt x="693" y="6572"/>
                </a:lnTo>
                <a:lnTo>
                  <a:pt x="732" y="6565"/>
                </a:lnTo>
                <a:lnTo>
                  <a:pt x="774" y="6527"/>
                </a:lnTo>
                <a:lnTo>
                  <a:pt x="807" y="6478"/>
                </a:lnTo>
                <a:lnTo>
                  <a:pt x="824" y="6438"/>
                </a:lnTo>
                <a:lnTo>
                  <a:pt x="830" y="6416"/>
                </a:lnTo>
                <a:lnTo>
                  <a:pt x="804" y="6406"/>
                </a:lnTo>
                <a:lnTo>
                  <a:pt x="774" y="6392"/>
                </a:lnTo>
                <a:lnTo>
                  <a:pt x="769" y="6356"/>
                </a:lnTo>
                <a:lnTo>
                  <a:pt x="748" y="6289"/>
                </a:lnTo>
                <a:lnTo>
                  <a:pt x="702" y="6320"/>
                </a:lnTo>
                <a:lnTo>
                  <a:pt x="648" y="6370"/>
                </a:lnTo>
                <a:lnTo>
                  <a:pt x="604" y="6352"/>
                </a:lnTo>
                <a:lnTo>
                  <a:pt x="559" y="6393"/>
                </a:lnTo>
                <a:lnTo>
                  <a:pt x="543" y="6445"/>
                </a:lnTo>
                <a:lnTo>
                  <a:pt x="560" y="6468"/>
                </a:lnTo>
                <a:lnTo>
                  <a:pt x="614" y="6427"/>
                </a:lnTo>
                <a:close/>
                <a:moveTo>
                  <a:pt x="2794" y="11737"/>
                </a:moveTo>
                <a:lnTo>
                  <a:pt x="2743" y="11646"/>
                </a:lnTo>
                <a:lnTo>
                  <a:pt x="2676" y="11556"/>
                </a:lnTo>
                <a:lnTo>
                  <a:pt x="2621" y="11531"/>
                </a:lnTo>
                <a:lnTo>
                  <a:pt x="2615" y="11636"/>
                </a:lnTo>
                <a:lnTo>
                  <a:pt x="2592" y="11771"/>
                </a:lnTo>
                <a:lnTo>
                  <a:pt x="2622" y="11827"/>
                </a:lnTo>
                <a:lnTo>
                  <a:pt x="2693" y="11813"/>
                </a:lnTo>
                <a:lnTo>
                  <a:pt x="2794" y="11737"/>
                </a:lnTo>
                <a:close/>
                <a:moveTo>
                  <a:pt x="732" y="6724"/>
                </a:moveTo>
                <a:lnTo>
                  <a:pt x="829" y="6670"/>
                </a:lnTo>
                <a:lnTo>
                  <a:pt x="919" y="6565"/>
                </a:lnTo>
                <a:lnTo>
                  <a:pt x="951" y="6458"/>
                </a:lnTo>
                <a:lnTo>
                  <a:pt x="872" y="6399"/>
                </a:lnTo>
                <a:lnTo>
                  <a:pt x="838" y="6469"/>
                </a:lnTo>
                <a:lnTo>
                  <a:pt x="807" y="6560"/>
                </a:lnTo>
                <a:lnTo>
                  <a:pt x="755" y="6622"/>
                </a:lnTo>
                <a:lnTo>
                  <a:pt x="661" y="6616"/>
                </a:lnTo>
                <a:lnTo>
                  <a:pt x="627" y="6663"/>
                </a:lnTo>
                <a:lnTo>
                  <a:pt x="651" y="6724"/>
                </a:lnTo>
                <a:lnTo>
                  <a:pt x="698" y="6757"/>
                </a:lnTo>
                <a:lnTo>
                  <a:pt x="732" y="6724"/>
                </a:lnTo>
                <a:close/>
                <a:moveTo>
                  <a:pt x="2608" y="11425"/>
                </a:moveTo>
                <a:lnTo>
                  <a:pt x="2585" y="11369"/>
                </a:lnTo>
                <a:lnTo>
                  <a:pt x="2556" y="11310"/>
                </a:lnTo>
                <a:lnTo>
                  <a:pt x="2533" y="11245"/>
                </a:lnTo>
                <a:lnTo>
                  <a:pt x="2525" y="11168"/>
                </a:lnTo>
                <a:lnTo>
                  <a:pt x="2471" y="11164"/>
                </a:lnTo>
                <a:lnTo>
                  <a:pt x="2441" y="11144"/>
                </a:lnTo>
                <a:lnTo>
                  <a:pt x="2418" y="11109"/>
                </a:lnTo>
                <a:lnTo>
                  <a:pt x="2385" y="11065"/>
                </a:lnTo>
                <a:lnTo>
                  <a:pt x="2317" y="11061"/>
                </a:lnTo>
                <a:lnTo>
                  <a:pt x="2338" y="11110"/>
                </a:lnTo>
                <a:lnTo>
                  <a:pt x="2369" y="11180"/>
                </a:lnTo>
                <a:lnTo>
                  <a:pt x="2334" y="11238"/>
                </a:lnTo>
                <a:lnTo>
                  <a:pt x="2342" y="11309"/>
                </a:lnTo>
                <a:lnTo>
                  <a:pt x="2274" y="11396"/>
                </a:lnTo>
                <a:lnTo>
                  <a:pt x="2211" y="11474"/>
                </a:lnTo>
                <a:lnTo>
                  <a:pt x="2231" y="11523"/>
                </a:lnTo>
                <a:lnTo>
                  <a:pt x="2255" y="11515"/>
                </a:lnTo>
                <a:lnTo>
                  <a:pt x="2274" y="11500"/>
                </a:lnTo>
                <a:lnTo>
                  <a:pt x="2291" y="11494"/>
                </a:lnTo>
                <a:lnTo>
                  <a:pt x="2311" y="11511"/>
                </a:lnTo>
                <a:lnTo>
                  <a:pt x="2409" y="11508"/>
                </a:lnTo>
                <a:lnTo>
                  <a:pt x="2444" y="11457"/>
                </a:lnTo>
                <a:lnTo>
                  <a:pt x="2487" y="11412"/>
                </a:lnTo>
                <a:lnTo>
                  <a:pt x="2608" y="11425"/>
                </a:lnTo>
                <a:close/>
                <a:moveTo>
                  <a:pt x="5733" y="773"/>
                </a:moveTo>
                <a:lnTo>
                  <a:pt x="5794" y="860"/>
                </a:lnTo>
                <a:lnTo>
                  <a:pt x="5866" y="865"/>
                </a:lnTo>
                <a:lnTo>
                  <a:pt x="5922" y="871"/>
                </a:lnTo>
                <a:lnTo>
                  <a:pt x="5937" y="959"/>
                </a:lnTo>
                <a:lnTo>
                  <a:pt x="5959" y="975"/>
                </a:lnTo>
                <a:lnTo>
                  <a:pt x="5997" y="973"/>
                </a:lnTo>
                <a:lnTo>
                  <a:pt x="6026" y="974"/>
                </a:lnTo>
                <a:lnTo>
                  <a:pt x="6025" y="997"/>
                </a:lnTo>
                <a:lnTo>
                  <a:pt x="6122" y="1017"/>
                </a:lnTo>
                <a:lnTo>
                  <a:pt x="6259" y="983"/>
                </a:lnTo>
                <a:lnTo>
                  <a:pt x="6361" y="923"/>
                </a:lnTo>
                <a:lnTo>
                  <a:pt x="6350" y="869"/>
                </a:lnTo>
                <a:lnTo>
                  <a:pt x="6295" y="833"/>
                </a:lnTo>
                <a:lnTo>
                  <a:pt x="6212" y="842"/>
                </a:lnTo>
                <a:lnTo>
                  <a:pt x="6126" y="856"/>
                </a:lnTo>
                <a:lnTo>
                  <a:pt x="6058" y="834"/>
                </a:lnTo>
                <a:lnTo>
                  <a:pt x="6096" y="768"/>
                </a:lnTo>
                <a:lnTo>
                  <a:pt x="5946" y="726"/>
                </a:lnTo>
                <a:lnTo>
                  <a:pt x="5769" y="722"/>
                </a:lnTo>
                <a:lnTo>
                  <a:pt x="5733" y="773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24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Freeform 15">
            <a:extLst>
              <a:ext uri="{FF2B5EF4-FFF2-40B4-BE49-F238E27FC236}">
                <a16:creationId xmlns:a16="http://schemas.microsoft.com/office/drawing/2014/main" id="{AD59C8D0-C9CB-D041-A031-BD254D30F81E}"/>
              </a:ext>
            </a:extLst>
          </p:cNvPr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192113" y="1269010"/>
            <a:ext cx="6635989" cy="4580995"/>
          </a:xfrm>
          <a:custGeom>
            <a:avLst/>
            <a:gdLst>
              <a:gd name="T0" fmla="*/ 533 w 12682"/>
              <a:gd name="T1" fmla="*/ 3638 h 6737"/>
              <a:gd name="T2" fmla="*/ 11800 w 12682"/>
              <a:gd name="T3" fmla="*/ 3522 h 6737"/>
              <a:gd name="T4" fmla="*/ 581 w 12682"/>
              <a:gd name="T5" fmla="*/ 3535 h 6737"/>
              <a:gd name="T6" fmla="*/ 10015 w 12682"/>
              <a:gd name="T7" fmla="*/ 1776 h 6737"/>
              <a:gd name="T8" fmla="*/ 762 w 12682"/>
              <a:gd name="T9" fmla="*/ 1717 h 6737"/>
              <a:gd name="T10" fmla="*/ 3865 w 12682"/>
              <a:gd name="T11" fmla="*/ 4962 h 6737"/>
              <a:gd name="T12" fmla="*/ 9576 w 12682"/>
              <a:gd name="T13" fmla="*/ 5877 h 6737"/>
              <a:gd name="T14" fmla="*/ 11714 w 12682"/>
              <a:gd name="T15" fmla="*/ 4506 h 6737"/>
              <a:gd name="T16" fmla="*/ 7850 w 12682"/>
              <a:gd name="T17" fmla="*/ 5134 h 6737"/>
              <a:gd name="T18" fmla="*/ 12041 w 12682"/>
              <a:gd name="T19" fmla="*/ 4655 h 6737"/>
              <a:gd name="T20" fmla="*/ 11813 w 12682"/>
              <a:gd name="T21" fmla="*/ 4436 h 6737"/>
              <a:gd name="T22" fmla="*/ 633 w 12682"/>
              <a:gd name="T23" fmla="*/ 2481 h 6737"/>
              <a:gd name="T24" fmla="*/ 8361 w 12682"/>
              <a:gd name="T25" fmla="*/ 4673 h 6737"/>
              <a:gd name="T26" fmla="*/ 11960 w 12682"/>
              <a:gd name="T27" fmla="*/ 5012 h 6737"/>
              <a:gd name="T28" fmla="*/ 925 w 12682"/>
              <a:gd name="T29" fmla="*/ 3895 h 6737"/>
              <a:gd name="T30" fmla="*/ 11513 w 12682"/>
              <a:gd name="T31" fmla="*/ 4631 h 6737"/>
              <a:gd name="T32" fmla="*/ 10693 w 12682"/>
              <a:gd name="T33" fmla="*/ 5600 h 6737"/>
              <a:gd name="T34" fmla="*/ 11090 w 12682"/>
              <a:gd name="T35" fmla="*/ 4561 h 6737"/>
              <a:gd name="T36" fmla="*/ 11262 w 12682"/>
              <a:gd name="T37" fmla="*/ 5800 h 6737"/>
              <a:gd name="T38" fmla="*/ 11252 w 12682"/>
              <a:gd name="T39" fmla="*/ 5707 h 6737"/>
              <a:gd name="T40" fmla="*/ 10474 w 12682"/>
              <a:gd name="T41" fmla="*/ 5079 h 6737"/>
              <a:gd name="T42" fmla="*/ 10588 w 12682"/>
              <a:gd name="T43" fmla="*/ 5443 h 6737"/>
              <a:gd name="T44" fmla="*/ 8753 w 12682"/>
              <a:gd name="T45" fmla="*/ 1128 h 6737"/>
              <a:gd name="T46" fmla="*/ 11336 w 12682"/>
              <a:gd name="T47" fmla="*/ 4150 h 6737"/>
              <a:gd name="T48" fmla="*/ 12170 w 12682"/>
              <a:gd name="T49" fmla="*/ 2804 h 6737"/>
              <a:gd name="T50" fmla="*/ 10679 w 12682"/>
              <a:gd name="T51" fmla="*/ 2075 h 6737"/>
              <a:gd name="T52" fmla="*/ 3462 w 12682"/>
              <a:gd name="T53" fmla="*/ 381 h 6737"/>
              <a:gd name="T54" fmla="*/ 1066 w 12682"/>
              <a:gd name="T55" fmla="*/ 777 h 6737"/>
              <a:gd name="T56" fmla="*/ 7709 w 12682"/>
              <a:gd name="T57" fmla="*/ 731 h 6737"/>
              <a:gd name="T58" fmla="*/ 11562 w 12682"/>
              <a:gd name="T59" fmla="*/ 3358 h 6737"/>
              <a:gd name="T60" fmla="*/ 8199 w 12682"/>
              <a:gd name="T61" fmla="*/ 1001 h 6737"/>
              <a:gd name="T62" fmla="*/ 1816 w 12682"/>
              <a:gd name="T63" fmla="*/ 276 h 6737"/>
              <a:gd name="T64" fmla="*/ 10489 w 12682"/>
              <a:gd name="T65" fmla="*/ 1574 h 6737"/>
              <a:gd name="T66" fmla="*/ 10449 w 12682"/>
              <a:gd name="T67" fmla="*/ 1868 h 6737"/>
              <a:gd name="T68" fmla="*/ 7753 w 12682"/>
              <a:gd name="T69" fmla="*/ 4916 h 6737"/>
              <a:gd name="T70" fmla="*/ 4689 w 12682"/>
              <a:gd name="T71" fmla="*/ 4631 h 6737"/>
              <a:gd name="T72" fmla="*/ 2871 w 12682"/>
              <a:gd name="T73" fmla="*/ 4597 h 6737"/>
              <a:gd name="T74" fmla="*/ 827 w 12682"/>
              <a:gd name="T75" fmla="*/ 3590 h 6737"/>
              <a:gd name="T76" fmla="*/ 2015 w 12682"/>
              <a:gd name="T77" fmla="*/ 593 h 6737"/>
              <a:gd name="T78" fmla="*/ 7118 w 12682"/>
              <a:gd name="T79" fmla="*/ 1179 h 6737"/>
              <a:gd name="T80" fmla="*/ 8343 w 12682"/>
              <a:gd name="T81" fmla="*/ 1366 h 6737"/>
              <a:gd name="T82" fmla="*/ 9259 w 12682"/>
              <a:gd name="T83" fmla="*/ 1404 h 6737"/>
              <a:gd name="T84" fmla="*/ 11133 w 12682"/>
              <a:gd name="T85" fmla="*/ 2759 h 6737"/>
              <a:gd name="T86" fmla="*/ 10491 w 12682"/>
              <a:gd name="T87" fmla="*/ 4483 h 6737"/>
              <a:gd name="T88" fmla="*/ 2643 w 12682"/>
              <a:gd name="T89" fmla="*/ 4271 h 6737"/>
              <a:gd name="T90" fmla="*/ 9018 w 12682"/>
              <a:gd name="T91" fmla="*/ 1607 h 6737"/>
              <a:gd name="T92" fmla="*/ 10391 w 12682"/>
              <a:gd name="T93" fmla="*/ 4379 h 6737"/>
              <a:gd name="T94" fmla="*/ 5511 w 12682"/>
              <a:gd name="T95" fmla="*/ 3451 h 6737"/>
              <a:gd name="T96" fmla="*/ 7197 w 12682"/>
              <a:gd name="T97" fmla="*/ 3547 h 6737"/>
              <a:gd name="T98" fmla="*/ 6663 w 12682"/>
              <a:gd name="T99" fmla="*/ 4074 h 6737"/>
              <a:gd name="T100" fmla="*/ 10941 w 12682"/>
              <a:gd name="T101" fmla="*/ 2986 h 6737"/>
              <a:gd name="T102" fmla="*/ 10755 w 12682"/>
              <a:gd name="T103" fmla="*/ 2843 h 6737"/>
              <a:gd name="T104" fmla="*/ 3314 w 12682"/>
              <a:gd name="T105" fmla="*/ 3396 h 6737"/>
              <a:gd name="T106" fmla="*/ 8177 w 12682"/>
              <a:gd name="T107" fmla="*/ 1339 h 6737"/>
              <a:gd name="T108" fmla="*/ 9543 w 12682"/>
              <a:gd name="T109" fmla="*/ 6283 h 6737"/>
              <a:gd name="T110" fmla="*/ 11040 w 12682"/>
              <a:gd name="T111" fmla="*/ 4315 h 6737"/>
              <a:gd name="T112" fmla="*/ 5424 w 12682"/>
              <a:gd name="T113" fmla="*/ 5222 h 6737"/>
              <a:gd name="T114" fmla="*/ 3579 w 12682"/>
              <a:gd name="T115" fmla="*/ 5012 h 6737"/>
              <a:gd name="T116" fmla="*/ 6965 w 12682"/>
              <a:gd name="T117" fmla="*/ 5121 h 6737"/>
              <a:gd name="T118" fmla="*/ 8868 w 12682"/>
              <a:gd name="T119" fmla="*/ 6628 h 6737"/>
              <a:gd name="T120" fmla="*/ 8026 w 12682"/>
              <a:gd name="T121" fmla="*/ 5501 h 6737"/>
              <a:gd name="T122" fmla="*/ 4697 w 12682"/>
              <a:gd name="T123" fmla="*/ 5535 h 6737"/>
              <a:gd name="T124" fmla="*/ 8235 w 12682"/>
              <a:gd name="T125" fmla="*/ 6078 h 67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682" h="6737">
                <a:moveTo>
                  <a:pt x="8095" y="5265"/>
                </a:moveTo>
                <a:lnTo>
                  <a:pt x="8095" y="5265"/>
                </a:lnTo>
                <a:lnTo>
                  <a:pt x="8095" y="5265"/>
                </a:lnTo>
                <a:lnTo>
                  <a:pt x="8095" y="5265"/>
                </a:lnTo>
                <a:close/>
                <a:moveTo>
                  <a:pt x="944" y="2402"/>
                </a:moveTo>
                <a:lnTo>
                  <a:pt x="945" y="2402"/>
                </a:lnTo>
                <a:lnTo>
                  <a:pt x="945" y="2402"/>
                </a:lnTo>
                <a:lnTo>
                  <a:pt x="945" y="2402"/>
                </a:lnTo>
                <a:lnTo>
                  <a:pt x="944" y="2402"/>
                </a:lnTo>
                <a:lnTo>
                  <a:pt x="944" y="2402"/>
                </a:lnTo>
                <a:close/>
                <a:moveTo>
                  <a:pt x="10843" y="4886"/>
                </a:moveTo>
                <a:lnTo>
                  <a:pt x="10844" y="4890"/>
                </a:lnTo>
                <a:lnTo>
                  <a:pt x="10814" y="4876"/>
                </a:lnTo>
                <a:lnTo>
                  <a:pt x="10796" y="4856"/>
                </a:lnTo>
                <a:lnTo>
                  <a:pt x="10798" y="4830"/>
                </a:lnTo>
                <a:lnTo>
                  <a:pt x="10822" y="4798"/>
                </a:lnTo>
                <a:lnTo>
                  <a:pt x="10881" y="4803"/>
                </a:lnTo>
                <a:lnTo>
                  <a:pt x="10950" y="4817"/>
                </a:lnTo>
                <a:lnTo>
                  <a:pt x="11016" y="4839"/>
                </a:lnTo>
                <a:lnTo>
                  <a:pt x="11066" y="4867"/>
                </a:lnTo>
                <a:lnTo>
                  <a:pt x="11016" y="4887"/>
                </a:lnTo>
                <a:lnTo>
                  <a:pt x="10957" y="4897"/>
                </a:lnTo>
                <a:lnTo>
                  <a:pt x="10898" y="4898"/>
                </a:lnTo>
                <a:lnTo>
                  <a:pt x="10844" y="4890"/>
                </a:lnTo>
                <a:lnTo>
                  <a:pt x="10844" y="4887"/>
                </a:lnTo>
                <a:lnTo>
                  <a:pt x="10843" y="4886"/>
                </a:lnTo>
                <a:close/>
                <a:moveTo>
                  <a:pt x="10885" y="4860"/>
                </a:moveTo>
                <a:lnTo>
                  <a:pt x="10898" y="4858"/>
                </a:lnTo>
                <a:lnTo>
                  <a:pt x="10913" y="4856"/>
                </a:lnTo>
                <a:lnTo>
                  <a:pt x="10926" y="4851"/>
                </a:lnTo>
                <a:lnTo>
                  <a:pt x="10931" y="4842"/>
                </a:lnTo>
                <a:lnTo>
                  <a:pt x="10909" y="4837"/>
                </a:lnTo>
                <a:lnTo>
                  <a:pt x="10884" y="4837"/>
                </a:lnTo>
                <a:lnTo>
                  <a:pt x="10871" y="4845"/>
                </a:lnTo>
                <a:lnTo>
                  <a:pt x="10885" y="4860"/>
                </a:lnTo>
                <a:close/>
                <a:moveTo>
                  <a:pt x="10679" y="5329"/>
                </a:moveTo>
                <a:lnTo>
                  <a:pt x="10690" y="5324"/>
                </a:lnTo>
                <a:lnTo>
                  <a:pt x="10693" y="5315"/>
                </a:lnTo>
                <a:lnTo>
                  <a:pt x="10687" y="5306"/>
                </a:lnTo>
                <a:lnTo>
                  <a:pt x="10675" y="5301"/>
                </a:lnTo>
                <a:lnTo>
                  <a:pt x="10667" y="5301"/>
                </a:lnTo>
                <a:lnTo>
                  <a:pt x="10661" y="5302"/>
                </a:lnTo>
                <a:lnTo>
                  <a:pt x="10680" y="5283"/>
                </a:lnTo>
                <a:lnTo>
                  <a:pt x="10709" y="5271"/>
                </a:lnTo>
                <a:lnTo>
                  <a:pt x="10750" y="5273"/>
                </a:lnTo>
                <a:lnTo>
                  <a:pt x="10807" y="5284"/>
                </a:lnTo>
                <a:lnTo>
                  <a:pt x="10828" y="5229"/>
                </a:lnTo>
                <a:lnTo>
                  <a:pt x="10852" y="5259"/>
                </a:lnTo>
                <a:lnTo>
                  <a:pt x="10843" y="5304"/>
                </a:lnTo>
                <a:lnTo>
                  <a:pt x="10769" y="5303"/>
                </a:lnTo>
                <a:lnTo>
                  <a:pt x="10736" y="5330"/>
                </a:lnTo>
                <a:lnTo>
                  <a:pt x="10742" y="5411"/>
                </a:lnTo>
                <a:lnTo>
                  <a:pt x="10735" y="5492"/>
                </a:lnTo>
                <a:lnTo>
                  <a:pt x="10661" y="5520"/>
                </a:lnTo>
                <a:lnTo>
                  <a:pt x="10657" y="5470"/>
                </a:lnTo>
                <a:lnTo>
                  <a:pt x="10651" y="5418"/>
                </a:lnTo>
                <a:lnTo>
                  <a:pt x="10648" y="5367"/>
                </a:lnTo>
                <a:lnTo>
                  <a:pt x="10652" y="5322"/>
                </a:lnTo>
                <a:lnTo>
                  <a:pt x="10657" y="5325"/>
                </a:lnTo>
                <a:lnTo>
                  <a:pt x="10662" y="5327"/>
                </a:lnTo>
                <a:lnTo>
                  <a:pt x="10670" y="5329"/>
                </a:lnTo>
                <a:lnTo>
                  <a:pt x="10679" y="5329"/>
                </a:lnTo>
                <a:close/>
                <a:moveTo>
                  <a:pt x="10745" y="4974"/>
                </a:moveTo>
                <a:lnTo>
                  <a:pt x="10749" y="4972"/>
                </a:lnTo>
                <a:lnTo>
                  <a:pt x="10752" y="4971"/>
                </a:lnTo>
                <a:lnTo>
                  <a:pt x="10750" y="4971"/>
                </a:lnTo>
                <a:lnTo>
                  <a:pt x="10747" y="4971"/>
                </a:lnTo>
                <a:lnTo>
                  <a:pt x="10746" y="4972"/>
                </a:lnTo>
                <a:lnTo>
                  <a:pt x="10745" y="4974"/>
                </a:lnTo>
                <a:close/>
                <a:moveTo>
                  <a:pt x="10560" y="5167"/>
                </a:moveTo>
                <a:lnTo>
                  <a:pt x="10563" y="5168"/>
                </a:lnTo>
                <a:lnTo>
                  <a:pt x="10566" y="5171"/>
                </a:lnTo>
                <a:lnTo>
                  <a:pt x="10569" y="5171"/>
                </a:lnTo>
                <a:lnTo>
                  <a:pt x="10572" y="5168"/>
                </a:lnTo>
                <a:lnTo>
                  <a:pt x="10569" y="5163"/>
                </a:lnTo>
                <a:lnTo>
                  <a:pt x="10566" y="5162"/>
                </a:lnTo>
                <a:lnTo>
                  <a:pt x="10564" y="5163"/>
                </a:lnTo>
                <a:lnTo>
                  <a:pt x="10560" y="5167"/>
                </a:lnTo>
                <a:close/>
                <a:moveTo>
                  <a:pt x="10402" y="5451"/>
                </a:moveTo>
                <a:lnTo>
                  <a:pt x="10402" y="5451"/>
                </a:lnTo>
                <a:lnTo>
                  <a:pt x="10403" y="5451"/>
                </a:lnTo>
                <a:lnTo>
                  <a:pt x="10402" y="5450"/>
                </a:lnTo>
                <a:lnTo>
                  <a:pt x="10402" y="5451"/>
                </a:lnTo>
                <a:lnTo>
                  <a:pt x="10402" y="5450"/>
                </a:lnTo>
                <a:lnTo>
                  <a:pt x="10397" y="5448"/>
                </a:lnTo>
                <a:lnTo>
                  <a:pt x="10395" y="5447"/>
                </a:lnTo>
                <a:lnTo>
                  <a:pt x="10396" y="5448"/>
                </a:lnTo>
                <a:lnTo>
                  <a:pt x="10402" y="5451"/>
                </a:lnTo>
                <a:close/>
                <a:moveTo>
                  <a:pt x="10271" y="5535"/>
                </a:moveTo>
                <a:lnTo>
                  <a:pt x="10270" y="5535"/>
                </a:lnTo>
                <a:lnTo>
                  <a:pt x="10270" y="5534"/>
                </a:lnTo>
                <a:lnTo>
                  <a:pt x="10271" y="5535"/>
                </a:lnTo>
                <a:close/>
                <a:moveTo>
                  <a:pt x="10270" y="5534"/>
                </a:moveTo>
                <a:lnTo>
                  <a:pt x="10266" y="5537"/>
                </a:lnTo>
                <a:lnTo>
                  <a:pt x="10263" y="5539"/>
                </a:lnTo>
                <a:lnTo>
                  <a:pt x="10266" y="5537"/>
                </a:lnTo>
                <a:lnTo>
                  <a:pt x="10271" y="5535"/>
                </a:lnTo>
                <a:lnTo>
                  <a:pt x="10271" y="5535"/>
                </a:lnTo>
                <a:lnTo>
                  <a:pt x="10270" y="5534"/>
                </a:lnTo>
                <a:close/>
                <a:moveTo>
                  <a:pt x="10326" y="4919"/>
                </a:moveTo>
                <a:lnTo>
                  <a:pt x="10331" y="4923"/>
                </a:lnTo>
                <a:lnTo>
                  <a:pt x="10335" y="4924"/>
                </a:lnTo>
                <a:lnTo>
                  <a:pt x="10339" y="4923"/>
                </a:lnTo>
                <a:lnTo>
                  <a:pt x="10342" y="4918"/>
                </a:lnTo>
                <a:lnTo>
                  <a:pt x="10339" y="4918"/>
                </a:lnTo>
                <a:lnTo>
                  <a:pt x="10335" y="4916"/>
                </a:lnTo>
                <a:lnTo>
                  <a:pt x="10330" y="4916"/>
                </a:lnTo>
                <a:lnTo>
                  <a:pt x="10326" y="4919"/>
                </a:lnTo>
                <a:close/>
                <a:moveTo>
                  <a:pt x="180" y="1705"/>
                </a:moveTo>
                <a:lnTo>
                  <a:pt x="179" y="1707"/>
                </a:lnTo>
                <a:lnTo>
                  <a:pt x="179" y="1708"/>
                </a:lnTo>
                <a:lnTo>
                  <a:pt x="181" y="1708"/>
                </a:lnTo>
                <a:lnTo>
                  <a:pt x="184" y="1708"/>
                </a:lnTo>
                <a:lnTo>
                  <a:pt x="180" y="1705"/>
                </a:lnTo>
                <a:close/>
                <a:moveTo>
                  <a:pt x="184" y="1823"/>
                </a:moveTo>
                <a:lnTo>
                  <a:pt x="182" y="1819"/>
                </a:lnTo>
                <a:lnTo>
                  <a:pt x="181" y="1820"/>
                </a:lnTo>
                <a:lnTo>
                  <a:pt x="181" y="1820"/>
                </a:lnTo>
                <a:lnTo>
                  <a:pt x="181" y="1822"/>
                </a:lnTo>
                <a:lnTo>
                  <a:pt x="184" y="1823"/>
                </a:lnTo>
                <a:close/>
                <a:moveTo>
                  <a:pt x="51" y="2752"/>
                </a:moveTo>
                <a:lnTo>
                  <a:pt x="45" y="2751"/>
                </a:lnTo>
                <a:lnTo>
                  <a:pt x="42" y="2751"/>
                </a:lnTo>
                <a:lnTo>
                  <a:pt x="45" y="2751"/>
                </a:lnTo>
                <a:lnTo>
                  <a:pt x="51" y="2754"/>
                </a:lnTo>
                <a:lnTo>
                  <a:pt x="51" y="2754"/>
                </a:lnTo>
                <a:lnTo>
                  <a:pt x="51" y="2752"/>
                </a:lnTo>
                <a:close/>
                <a:moveTo>
                  <a:pt x="55" y="2757"/>
                </a:moveTo>
                <a:lnTo>
                  <a:pt x="54" y="2756"/>
                </a:lnTo>
                <a:lnTo>
                  <a:pt x="55" y="2757"/>
                </a:lnTo>
                <a:lnTo>
                  <a:pt x="54" y="2755"/>
                </a:lnTo>
                <a:lnTo>
                  <a:pt x="55" y="2757"/>
                </a:lnTo>
                <a:close/>
                <a:moveTo>
                  <a:pt x="10173" y="5604"/>
                </a:moveTo>
                <a:lnTo>
                  <a:pt x="10173" y="5606"/>
                </a:lnTo>
                <a:lnTo>
                  <a:pt x="10174" y="5607"/>
                </a:lnTo>
                <a:lnTo>
                  <a:pt x="10177" y="5609"/>
                </a:lnTo>
                <a:lnTo>
                  <a:pt x="10179" y="5607"/>
                </a:lnTo>
                <a:lnTo>
                  <a:pt x="10178" y="5605"/>
                </a:lnTo>
                <a:lnTo>
                  <a:pt x="10177" y="5602"/>
                </a:lnTo>
                <a:lnTo>
                  <a:pt x="10176" y="5602"/>
                </a:lnTo>
                <a:lnTo>
                  <a:pt x="10173" y="5604"/>
                </a:lnTo>
                <a:close/>
                <a:moveTo>
                  <a:pt x="485" y="1357"/>
                </a:moveTo>
                <a:lnTo>
                  <a:pt x="492" y="1360"/>
                </a:lnTo>
                <a:lnTo>
                  <a:pt x="493" y="1360"/>
                </a:lnTo>
                <a:lnTo>
                  <a:pt x="492" y="1358"/>
                </a:lnTo>
                <a:lnTo>
                  <a:pt x="485" y="1357"/>
                </a:lnTo>
                <a:lnTo>
                  <a:pt x="485" y="1357"/>
                </a:lnTo>
                <a:lnTo>
                  <a:pt x="485" y="1357"/>
                </a:lnTo>
                <a:lnTo>
                  <a:pt x="485" y="1357"/>
                </a:lnTo>
                <a:lnTo>
                  <a:pt x="485" y="1357"/>
                </a:lnTo>
                <a:close/>
                <a:moveTo>
                  <a:pt x="357" y="2862"/>
                </a:moveTo>
                <a:lnTo>
                  <a:pt x="358" y="2863"/>
                </a:lnTo>
                <a:lnTo>
                  <a:pt x="359" y="2864"/>
                </a:lnTo>
                <a:lnTo>
                  <a:pt x="361" y="2864"/>
                </a:lnTo>
                <a:lnTo>
                  <a:pt x="361" y="2862"/>
                </a:lnTo>
                <a:lnTo>
                  <a:pt x="357" y="2862"/>
                </a:lnTo>
                <a:close/>
                <a:moveTo>
                  <a:pt x="396" y="2622"/>
                </a:moveTo>
                <a:lnTo>
                  <a:pt x="401" y="2621"/>
                </a:lnTo>
                <a:lnTo>
                  <a:pt x="399" y="2619"/>
                </a:lnTo>
                <a:lnTo>
                  <a:pt x="398" y="2619"/>
                </a:lnTo>
                <a:lnTo>
                  <a:pt x="398" y="2619"/>
                </a:lnTo>
                <a:lnTo>
                  <a:pt x="396" y="2622"/>
                </a:lnTo>
                <a:close/>
                <a:moveTo>
                  <a:pt x="689" y="1216"/>
                </a:moveTo>
                <a:lnTo>
                  <a:pt x="689" y="1213"/>
                </a:lnTo>
                <a:lnTo>
                  <a:pt x="687" y="1212"/>
                </a:lnTo>
                <a:lnTo>
                  <a:pt x="685" y="1213"/>
                </a:lnTo>
                <a:lnTo>
                  <a:pt x="683" y="1215"/>
                </a:lnTo>
                <a:lnTo>
                  <a:pt x="684" y="1217"/>
                </a:lnTo>
                <a:lnTo>
                  <a:pt x="685" y="1218"/>
                </a:lnTo>
                <a:lnTo>
                  <a:pt x="688" y="1218"/>
                </a:lnTo>
                <a:lnTo>
                  <a:pt x="689" y="1216"/>
                </a:lnTo>
                <a:close/>
                <a:moveTo>
                  <a:pt x="522" y="2244"/>
                </a:moveTo>
                <a:lnTo>
                  <a:pt x="521" y="2246"/>
                </a:lnTo>
                <a:lnTo>
                  <a:pt x="520" y="2248"/>
                </a:lnTo>
                <a:lnTo>
                  <a:pt x="524" y="2249"/>
                </a:lnTo>
                <a:lnTo>
                  <a:pt x="525" y="2248"/>
                </a:lnTo>
                <a:lnTo>
                  <a:pt x="525" y="2246"/>
                </a:lnTo>
                <a:lnTo>
                  <a:pt x="522" y="2244"/>
                </a:lnTo>
                <a:close/>
                <a:moveTo>
                  <a:pt x="547" y="2206"/>
                </a:moveTo>
                <a:lnTo>
                  <a:pt x="545" y="2205"/>
                </a:lnTo>
                <a:lnTo>
                  <a:pt x="547" y="2206"/>
                </a:lnTo>
                <a:lnTo>
                  <a:pt x="547" y="2205"/>
                </a:lnTo>
                <a:lnTo>
                  <a:pt x="545" y="2205"/>
                </a:lnTo>
                <a:lnTo>
                  <a:pt x="540" y="2207"/>
                </a:lnTo>
                <a:lnTo>
                  <a:pt x="539" y="2209"/>
                </a:lnTo>
                <a:lnTo>
                  <a:pt x="541" y="2209"/>
                </a:lnTo>
                <a:lnTo>
                  <a:pt x="547" y="2206"/>
                </a:lnTo>
                <a:close/>
                <a:moveTo>
                  <a:pt x="699" y="1453"/>
                </a:moveTo>
                <a:lnTo>
                  <a:pt x="702" y="1454"/>
                </a:lnTo>
                <a:lnTo>
                  <a:pt x="703" y="1455"/>
                </a:lnTo>
                <a:lnTo>
                  <a:pt x="702" y="1454"/>
                </a:lnTo>
                <a:lnTo>
                  <a:pt x="699" y="1453"/>
                </a:lnTo>
                <a:close/>
                <a:moveTo>
                  <a:pt x="707" y="1458"/>
                </a:moveTo>
                <a:lnTo>
                  <a:pt x="707" y="1458"/>
                </a:lnTo>
                <a:lnTo>
                  <a:pt x="707" y="1458"/>
                </a:lnTo>
                <a:lnTo>
                  <a:pt x="707" y="1458"/>
                </a:lnTo>
                <a:lnTo>
                  <a:pt x="707" y="1458"/>
                </a:lnTo>
                <a:lnTo>
                  <a:pt x="706" y="1456"/>
                </a:lnTo>
                <a:lnTo>
                  <a:pt x="704" y="1455"/>
                </a:lnTo>
                <a:lnTo>
                  <a:pt x="704" y="1456"/>
                </a:lnTo>
                <a:lnTo>
                  <a:pt x="707" y="1458"/>
                </a:lnTo>
                <a:close/>
                <a:moveTo>
                  <a:pt x="622" y="1977"/>
                </a:moveTo>
                <a:lnTo>
                  <a:pt x="626" y="1976"/>
                </a:lnTo>
                <a:lnTo>
                  <a:pt x="624" y="1975"/>
                </a:lnTo>
                <a:lnTo>
                  <a:pt x="623" y="1973"/>
                </a:lnTo>
                <a:lnTo>
                  <a:pt x="622" y="1975"/>
                </a:lnTo>
                <a:lnTo>
                  <a:pt x="622" y="1977"/>
                </a:lnTo>
                <a:close/>
                <a:moveTo>
                  <a:pt x="512" y="2834"/>
                </a:moveTo>
                <a:lnTo>
                  <a:pt x="507" y="2835"/>
                </a:lnTo>
                <a:lnTo>
                  <a:pt x="510" y="2836"/>
                </a:lnTo>
                <a:lnTo>
                  <a:pt x="511" y="2838"/>
                </a:lnTo>
                <a:lnTo>
                  <a:pt x="512" y="2836"/>
                </a:lnTo>
                <a:lnTo>
                  <a:pt x="512" y="2834"/>
                </a:lnTo>
                <a:close/>
                <a:moveTo>
                  <a:pt x="690" y="1824"/>
                </a:moveTo>
                <a:lnTo>
                  <a:pt x="693" y="1826"/>
                </a:lnTo>
                <a:lnTo>
                  <a:pt x="693" y="1824"/>
                </a:lnTo>
                <a:lnTo>
                  <a:pt x="693" y="1823"/>
                </a:lnTo>
                <a:lnTo>
                  <a:pt x="693" y="1822"/>
                </a:lnTo>
                <a:lnTo>
                  <a:pt x="690" y="1824"/>
                </a:lnTo>
                <a:close/>
                <a:moveTo>
                  <a:pt x="406" y="3827"/>
                </a:moveTo>
                <a:lnTo>
                  <a:pt x="409" y="3824"/>
                </a:lnTo>
                <a:lnTo>
                  <a:pt x="410" y="3823"/>
                </a:lnTo>
                <a:lnTo>
                  <a:pt x="409" y="3822"/>
                </a:lnTo>
                <a:lnTo>
                  <a:pt x="405" y="3820"/>
                </a:lnTo>
                <a:lnTo>
                  <a:pt x="406" y="3827"/>
                </a:lnTo>
                <a:close/>
                <a:moveTo>
                  <a:pt x="505" y="3631"/>
                </a:moveTo>
                <a:lnTo>
                  <a:pt x="506" y="3628"/>
                </a:lnTo>
                <a:lnTo>
                  <a:pt x="507" y="3627"/>
                </a:lnTo>
                <a:lnTo>
                  <a:pt x="506" y="3625"/>
                </a:lnTo>
                <a:lnTo>
                  <a:pt x="503" y="3624"/>
                </a:lnTo>
                <a:lnTo>
                  <a:pt x="505" y="3631"/>
                </a:lnTo>
                <a:close/>
                <a:moveTo>
                  <a:pt x="538" y="3636"/>
                </a:moveTo>
                <a:lnTo>
                  <a:pt x="534" y="3636"/>
                </a:lnTo>
                <a:lnTo>
                  <a:pt x="533" y="3638"/>
                </a:lnTo>
                <a:lnTo>
                  <a:pt x="535" y="3641"/>
                </a:lnTo>
                <a:lnTo>
                  <a:pt x="539" y="3639"/>
                </a:lnTo>
                <a:lnTo>
                  <a:pt x="539" y="3637"/>
                </a:lnTo>
                <a:lnTo>
                  <a:pt x="538" y="3636"/>
                </a:lnTo>
                <a:close/>
                <a:moveTo>
                  <a:pt x="584" y="3753"/>
                </a:moveTo>
                <a:lnTo>
                  <a:pt x="585" y="3750"/>
                </a:lnTo>
                <a:lnTo>
                  <a:pt x="585" y="3750"/>
                </a:lnTo>
                <a:lnTo>
                  <a:pt x="582" y="3750"/>
                </a:lnTo>
                <a:lnTo>
                  <a:pt x="581" y="3750"/>
                </a:lnTo>
                <a:lnTo>
                  <a:pt x="584" y="3753"/>
                </a:lnTo>
                <a:close/>
                <a:moveTo>
                  <a:pt x="627" y="3777"/>
                </a:moveTo>
                <a:lnTo>
                  <a:pt x="626" y="3772"/>
                </a:lnTo>
                <a:lnTo>
                  <a:pt x="624" y="3774"/>
                </a:lnTo>
                <a:lnTo>
                  <a:pt x="623" y="3776"/>
                </a:lnTo>
                <a:lnTo>
                  <a:pt x="624" y="3777"/>
                </a:lnTo>
                <a:lnTo>
                  <a:pt x="627" y="3777"/>
                </a:lnTo>
                <a:close/>
                <a:moveTo>
                  <a:pt x="619" y="3860"/>
                </a:moveTo>
                <a:lnTo>
                  <a:pt x="614" y="3860"/>
                </a:lnTo>
                <a:lnTo>
                  <a:pt x="615" y="3862"/>
                </a:lnTo>
                <a:lnTo>
                  <a:pt x="617" y="3864"/>
                </a:lnTo>
                <a:lnTo>
                  <a:pt x="618" y="3862"/>
                </a:lnTo>
                <a:lnTo>
                  <a:pt x="619" y="3860"/>
                </a:lnTo>
                <a:close/>
                <a:moveTo>
                  <a:pt x="792" y="3865"/>
                </a:moveTo>
                <a:lnTo>
                  <a:pt x="796" y="3862"/>
                </a:lnTo>
                <a:lnTo>
                  <a:pt x="800" y="3860"/>
                </a:lnTo>
                <a:lnTo>
                  <a:pt x="796" y="3861"/>
                </a:lnTo>
                <a:lnTo>
                  <a:pt x="791" y="3861"/>
                </a:lnTo>
                <a:lnTo>
                  <a:pt x="790" y="3862"/>
                </a:lnTo>
                <a:lnTo>
                  <a:pt x="792" y="3865"/>
                </a:lnTo>
                <a:close/>
                <a:moveTo>
                  <a:pt x="803" y="3858"/>
                </a:moveTo>
                <a:lnTo>
                  <a:pt x="803" y="3858"/>
                </a:lnTo>
                <a:lnTo>
                  <a:pt x="803" y="3858"/>
                </a:lnTo>
                <a:lnTo>
                  <a:pt x="801" y="3858"/>
                </a:lnTo>
                <a:lnTo>
                  <a:pt x="800" y="3860"/>
                </a:lnTo>
                <a:lnTo>
                  <a:pt x="801" y="3860"/>
                </a:lnTo>
                <a:lnTo>
                  <a:pt x="803" y="3858"/>
                </a:lnTo>
                <a:close/>
                <a:moveTo>
                  <a:pt x="808" y="3851"/>
                </a:moveTo>
                <a:lnTo>
                  <a:pt x="806" y="3853"/>
                </a:lnTo>
                <a:lnTo>
                  <a:pt x="804" y="3856"/>
                </a:lnTo>
                <a:lnTo>
                  <a:pt x="804" y="3857"/>
                </a:lnTo>
                <a:lnTo>
                  <a:pt x="803" y="3857"/>
                </a:lnTo>
                <a:lnTo>
                  <a:pt x="803" y="3857"/>
                </a:lnTo>
                <a:lnTo>
                  <a:pt x="804" y="3856"/>
                </a:lnTo>
                <a:lnTo>
                  <a:pt x="804" y="3857"/>
                </a:lnTo>
                <a:lnTo>
                  <a:pt x="804" y="3856"/>
                </a:lnTo>
                <a:lnTo>
                  <a:pt x="806" y="3855"/>
                </a:lnTo>
                <a:lnTo>
                  <a:pt x="808" y="3851"/>
                </a:lnTo>
                <a:close/>
                <a:moveTo>
                  <a:pt x="8357" y="4385"/>
                </a:moveTo>
                <a:lnTo>
                  <a:pt x="8358" y="4385"/>
                </a:lnTo>
                <a:lnTo>
                  <a:pt x="8357" y="4385"/>
                </a:lnTo>
                <a:lnTo>
                  <a:pt x="8357" y="4385"/>
                </a:lnTo>
                <a:lnTo>
                  <a:pt x="8357" y="4385"/>
                </a:lnTo>
                <a:lnTo>
                  <a:pt x="8357" y="4385"/>
                </a:lnTo>
                <a:lnTo>
                  <a:pt x="8356" y="4385"/>
                </a:lnTo>
                <a:lnTo>
                  <a:pt x="8357" y="4385"/>
                </a:lnTo>
                <a:close/>
                <a:moveTo>
                  <a:pt x="963" y="3917"/>
                </a:moveTo>
                <a:lnTo>
                  <a:pt x="964" y="3918"/>
                </a:lnTo>
                <a:lnTo>
                  <a:pt x="966" y="3918"/>
                </a:lnTo>
                <a:lnTo>
                  <a:pt x="967" y="3918"/>
                </a:lnTo>
                <a:lnTo>
                  <a:pt x="967" y="3916"/>
                </a:lnTo>
                <a:lnTo>
                  <a:pt x="963" y="3917"/>
                </a:lnTo>
                <a:close/>
                <a:moveTo>
                  <a:pt x="1508" y="795"/>
                </a:moveTo>
                <a:lnTo>
                  <a:pt x="1509" y="796"/>
                </a:lnTo>
                <a:lnTo>
                  <a:pt x="1508" y="795"/>
                </a:lnTo>
                <a:lnTo>
                  <a:pt x="1508" y="797"/>
                </a:lnTo>
                <a:lnTo>
                  <a:pt x="1508" y="795"/>
                </a:lnTo>
                <a:close/>
                <a:moveTo>
                  <a:pt x="9871" y="5369"/>
                </a:moveTo>
                <a:lnTo>
                  <a:pt x="9869" y="5368"/>
                </a:lnTo>
                <a:lnTo>
                  <a:pt x="9866" y="5366"/>
                </a:lnTo>
                <a:lnTo>
                  <a:pt x="9869" y="5368"/>
                </a:lnTo>
                <a:lnTo>
                  <a:pt x="9871" y="5369"/>
                </a:lnTo>
                <a:close/>
                <a:moveTo>
                  <a:pt x="1120" y="3889"/>
                </a:moveTo>
                <a:lnTo>
                  <a:pt x="1122" y="3892"/>
                </a:lnTo>
                <a:lnTo>
                  <a:pt x="1123" y="3892"/>
                </a:lnTo>
                <a:lnTo>
                  <a:pt x="1125" y="3892"/>
                </a:lnTo>
                <a:lnTo>
                  <a:pt x="1125" y="3888"/>
                </a:lnTo>
                <a:lnTo>
                  <a:pt x="1120" y="3889"/>
                </a:lnTo>
                <a:close/>
                <a:moveTo>
                  <a:pt x="1630" y="1013"/>
                </a:moveTo>
                <a:lnTo>
                  <a:pt x="1627" y="1010"/>
                </a:lnTo>
                <a:lnTo>
                  <a:pt x="1623" y="1008"/>
                </a:lnTo>
                <a:lnTo>
                  <a:pt x="1620" y="1011"/>
                </a:lnTo>
                <a:lnTo>
                  <a:pt x="1618" y="1015"/>
                </a:lnTo>
                <a:lnTo>
                  <a:pt x="1621" y="1016"/>
                </a:lnTo>
                <a:lnTo>
                  <a:pt x="1624" y="1016"/>
                </a:lnTo>
                <a:lnTo>
                  <a:pt x="1628" y="1016"/>
                </a:lnTo>
                <a:lnTo>
                  <a:pt x="1630" y="1013"/>
                </a:lnTo>
                <a:close/>
                <a:moveTo>
                  <a:pt x="8028" y="4958"/>
                </a:moveTo>
                <a:lnTo>
                  <a:pt x="8028" y="4957"/>
                </a:lnTo>
                <a:lnTo>
                  <a:pt x="8028" y="4958"/>
                </a:lnTo>
                <a:lnTo>
                  <a:pt x="8032" y="4958"/>
                </a:lnTo>
                <a:lnTo>
                  <a:pt x="8032" y="4957"/>
                </a:lnTo>
                <a:lnTo>
                  <a:pt x="8031" y="4957"/>
                </a:lnTo>
                <a:lnTo>
                  <a:pt x="8028" y="4958"/>
                </a:lnTo>
                <a:close/>
                <a:moveTo>
                  <a:pt x="10434" y="5378"/>
                </a:moveTo>
                <a:lnTo>
                  <a:pt x="10428" y="5377"/>
                </a:lnTo>
                <a:lnTo>
                  <a:pt x="10433" y="5381"/>
                </a:lnTo>
                <a:lnTo>
                  <a:pt x="10438" y="5383"/>
                </a:lnTo>
                <a:lnTo>
                  <a:pt x="10444" y="5383"/>
                </a:lnTo>
                <a:lnTo>
                  <a:pt x="10451" y="5381"/>
                </a:lnTo>
                <a:lnTo>
                  <a:pt x="10524" y="5364"/>
                </a:lnTo>
                <a:lnTo>
                  <a:pt x="10559" y="5327"/>
                </a:lnTo>
                <a:lnTo>
                  <a:pt x="10541" y="5310"/>
                </a:lnTo>
                <a:lnTo>
                  <a:pt x="10458" y="5355"/>
                </a:lnTo>
                <a:lnTo>
                  <a:pt x="10409" y="5318"/>
                </a:lnTo>
                <a:lnTo>
                  <a:pt x="10361" y="5355"/>
                </a:lnTo>
                <a:lnTo>
                  <a:pt x="10354" y="5396"/>
                </a:lnTo>
                <a:lnTo>
                  <a:pt x="10426" y="5376"/>
                </a:lnTo>
                <a:lnTo>
                  <a:pt x="10430" y="5377"/>
                </a:lnTo>
                <a:lnTo>
                  <a:pt x="10434" y="5378"/>
                </a:lnTo>
                <a:close/>
                <a:moveTo>
                  <a:pt x="10505" y="5578"/>
                </a:moveTo>
                <a:lnTo>
                  <a:pt x="10486" y="5587"/>
                </a:lnTo>
                <a:lnTo>
                  <a:pt x="10476" y="5600"/>
                </a:lnTo>
                <a:lnTo>
                  <a:pt x="10477" y="5609"/>
                </a:lnTo>
                <a:lnTo>
                  <a:pt x="10499" y="5610"/>
                </a:lnTo>
                <a:lnTo>
                  <a:pt x="10510" y="5605"/>
                </a:lnTo>
                <a:lnTo>
                  <a:pt x="10507" y="5596"/>
                </a:lnTo>
                <a:lnTo>
                  <a:pt x="10500" y="5586"/>
                </a:lnTo>
                <a:lnTo>
                  <a:pt x="10505" y="5578"/>
                </a:lnTo>
                <a:close/>
                <a:moveTo>
                  <a:pt x="10886" y="4382"/>
                </a:moveTo>
                <a:lnTo>
                  <a:pt x="10890" y="4383"/>
                </a:lnTo>
                <a:lnTo>
                  <a:pt x="10891" y="4384"/>
                </a:lnTo>
                <a:lnTo>
                  <a:pt x="10892" y="4384"/>
                </a:lnTo>
                <a:lnTo>
                  <a:pt x="10892" y="4380"/>
                </a:lnTo>
                <a:lnTo>
                  <a:pt x="10890" y="4382"/>
                </a:lnTo>
                <a:lnTo>
                  <a:pt x="10886" y="4382"/>
                </a:lnTo>
                <a:close/>
                <a:moveTo>
                  <a:pt x="11182" y="2656"/>
                </a:moveTo>
                <a:lnTo>
                  <a:pt x="11185" y="2657"/>
                </a:lnTo>
                <a:lnTo>
                  <a:pt x="11182" y="2656"/>
                </a:lnTo>
                <a:lnTo>
                  <a:pt x="11184" y="2657"/>
                </a:lnTo>
                <a:lnTo>
                  <a:pt x="11182" y="2656"/>
                </a:lnTo>
                <a:close/>
                <a:moveTo>
                  <a:pt x="10912" y="4564"/>
                </a:moveTo>
                <a:lnTo>
                  <a:pt x="10926" y="4560"/>
                </a:lnTo>
                <a:lnTo>
                  <a:pt x="10940" y="4555"/>
                </a:lnTo>
                <a:lnTo>
                  <a:pt x="10940" y="4556"/>
                </a:lnTo>
                <a:lnTo>
                  <a:pt x="10940" y="4555"/>
                </a:lnTo>
                <a:lnTo>
                  <a:pt x="10940" y="4555"/>
                </a:lnTo>
                <a:lnTo>
                  <a:pt x="10924" y="4559"/>
                </a:lnTo>
                <a:lnTo>
                  <a:pt x="10912" y="4564"/>
                </a:lnTo>
                <a:lnTo>
                  <a:pt x="10910" y="4562"/>
                </a:lnTo>
                <a:lnTo>
                  <a:pt x="10910" y="4564"/>
                </a:lnTo>
                <a:lnTo>
                  <a:pt x="10910" y="4564"/>
                </a:lnTo>
                <a:lnTo>
                  <a:pt x="10912" y="4564"/>
                </a:lnTo>
                <a:close/>
                <a:moveTo>
                  <a:pt x="11520" y="2969"/>
                </a:moveTo>
                <a:lnTo>
                  <a:pt x="11518" y="2967"/>
                </a:lnTo>
                <a:lnTo>
                  <a:pt x="11517" y="2967"/>
                </a:lnTo>
                <a:lnTo>
                  <a:pt x="11517" y="2969"/>
                </a:lnTo>
                <a:lnTo>
                  <a:pt x="11517" y="2971"/>
                </a:lnTo>
                <a:lnTo>
                  <a:pt x="11520" y="2969"/>
                </a:lnTo>
                <a:close/>
                <a:moveTo>
                  <a:pt x="11361" y="4048"/>
                </a:moveTo>
                <a:lnTo>
                  <a:pt x="11361" y="4048"/>
                </a:lnTo>
                <a:lnTo>
                  <a:pt x="11361" y="4048"/>
                </a:lnTo>
                <a:lnTo>
                  <a:pt x="11361" y="4047"/>
                </a:lnTo>
                <a:lnTo>
                  <a:pt x="11362" y="4048"/>
                </a:lnTo>
                <a:lnTo>
                  <a:pt x="11362" y="4048"/>
                </a:lnTo>
                <a:lnTo>
                  <a:pt x="11362" y="4048"/>
                </a:lnTo>
                <a:lnTo>
                  <a:pt x="11361" y="4048"/>
                </a:lnTo>
                <a:lnTo>
                  <a:pt x="11361" y="4048"/>
                </a:lnTo>
                <a:lnTo>
                  <a:pt x="11361" y="4048"/>
                </a:lnTo>
                <a:close/>
                <a:moveTo>
                  <a:pt x="11329" y="4280"/>
                </a:moveTo>
                <a:lnTo>
                  <a:pt x="11327" y="4279"/>
                </a:lnTo>
                <a:lnTo>
                  <a:pt x="11323" y="4277"/>
                </a:lnTo>
                <a:lnTo>
                  <a:pt x="11325" y="4279"/>
                </a:lnTo>
                <a:lnTo>
                  <a:pt x="11329" y="4280"/>
                </a:lnTo>
                <a:close/>
                <a:moveTo>
                  <a:pt x="11417" y="3983"/>
                </a:moveTo>
                <a:lnTo>
                  <a:pt x="11415" y="3986"/>
                </a:lnTo>
                <a:lnTo>
                  <a:pt x="11413" y="3988"/>
                </a:lnTo>
                <a:lnTo>
                  <a:pt x="11416" y="3986"/>
                </a:lnTo>
                <a:lnTo>
                  <a:pt x="11417" y="3983"/>
                </a:lnTo>
                <a:close/>
                <a:moveTo>
                  <a:pt x="11411" y="3990"/>
                </a:moveTo>
                <a:lnTo>
                  <a:pt x="11411" y="3990"/>
                </a:lnTo>
                <a:lnTo>
                  <a:pt x="11411" y="3990"/>
                </a:lnTo>
                <a:lnTo>
                  <a:pt x="11411" y="3990"/>
                </a:lnTo>
                <a:lnTo>
                  <a:pt x="11411" y="3991"/>
                </a:lnTo>
                <a:lnTo>
                  <a:pt x="11411" y="3991"/>
                </a:lnTo>
                <a:lnTo>
                  <a:pt x="11411" y="3991"/>
                </a:lnTo>
                <a:lnTo>
                  <a:pt x="11412" y="3991"/>
                </a:lnTo>
                <a:lnTo>
                  <a:pt x="11412" y="3990"/>
                </a:lnTo>
                <a:lnTo>
                  <a:pt x="11413" y="3988"/>
                </a:lnTo>
                <a:lnTo>
                  <a:pt x="11412" y="3988"/>
                </a:lnTo>
                <a:lnTo>
                  <a:pt x="11411" y="3990"/>
                </a:lnTo>
                <a:close/>
                <a:moveTo>
                  <a:pt x="11341" y="4682"/>
                </a:moveTo>
                <a:lnTo>
                  <a:pt x="11342" y="4679"/>
                </a:lnTo>
                <a:lnTo>
                  <a:pt x="11342" y="4678"/>
                </a:lnTo>
                <a:lnTo>
                  <a:pt x="11341" y="4677"/>
                </a:lnTo>
                <a:lnTo>
                  <a:pt x="11339" y="4676"/>
                </a:lnTo>
                <a:lnTo>
                  <a:pt x="11338" y="4678"/>
                </a:lnTo>
                <a:lnTo>
                  <a:pt x="11337" y="4679"/>
                </a:lnTo>
                <a:lnTo>
                  <a:pt x="11338" y="4681"/>
                </a:lnTo>
                <a:lnTo>
                  <a:pt x="11341" y="4682"/>
                </a:lnTo>
                <a:close/>
                <a:moveTo>
                  <a:pt x="11413" y="4212"/>
                </a:moveTo>
                <a:lnTo>
                  <a:pt x="11413" y="4214"/>
                </a:lnTo>
                <a:lnTo>
                  <a:pt x="11415" y="4214"/>
                </a:lnTo>
                <a:lnTo>
                  <a:pt x="11420" y="4219"/>
                </a:lnTo>
                <a:lnTo>
                  <a:pt x="11426" y="4222"/>
                </a:lnTo>
                <a:lnTo>
                  <a:pt x="11432" y="4222"/>
                </a:lnTo>
                <a:lnTo>
                  <a:pt x="11439" y="4217"/>
                </a:lnTo>
                <a:lnTo>
                  <a:pt x="11427" y="4216"/>
                </a:lnTo>
                <a:lnTo>
                  <a:pt x="11415" y="4214"/>
                </a:lnTo>
                <a:lnTo>
                  <a:pt x="11415" y="4214"/>
                </a:lnTo>
                <a:lnTo>
                  <a:pt x="11413" y="4212"/>
                </a:lnTo>
                <a:close/>
                <a:moveTo>
                  <a:pt x="11393" y="4825"/>
                </a:moveTo>
                <a:lnTo>
                  <a:pt x="11396" y="4822"/>
                </a:lnTo>
                <a:lnTo>
                  <a:pt x="11393" y="4825"/>
                </a:lnTo>
                <a:lnTo>
                  <a:pt x="11393" y="4826"/>
                </a:lnTo>
                <a:lnTo>
                  <a:pt x="11394" y="4826"/>
                </a:lnTo>
                <a:lnTo>
                  <a:pt x="11393" y="4825"/>
                </a:lnTo>
                <a:close/>
                <a:moveTo>
                  <a:pt x="11393" y="4825"/>
                </a:moveTo>
                <a:lnTo>
                  <a:pt x="11396" y="4823"/>
                </a:lnTo>
                <a:lnTo>
                  <a:pt x="11393" y="4825"/>
                </a:lnTo>
                <a:close/>
                <a:moveTo>
                  <a:pt x="11615" y="3576"/>
                </a:moveTo>
                <a:lnTo>
                  <a:pt x="11617" y="3576"/>
                </a:lnTo>
                <a:lnTo>
                  <a:pt x="11618" y="3576"/>
                </a:lnTo>
                <a:lnTo>
                  <a:pt x="11617" y="3573"/>
                </a:lnTo>
                <a:lnTo>
                  <a:pt x="11617" y="3571"/>
                </a:lnTo>
                <a:lnTo>
                  <a:pt x="11615" y="3576"/>
                </a:lnTo>
                <a:close/>
                <a:moveTo>
                  <a:pt x="11580" y="3830"/>
                </a:moveTo>
                <a:lnTo>
                  <a:pt x="11584" y="3830"/>
                </a:lnTo>
                <a:lnTo>
                  <a:pt x="11588" y="3829"/>
                </a:lnTo>
                <a:lnTo>
                  <a:pt x="11589" y="3827"/>
                </a:lnTo>
                <a:lnTo>
                  <a:pt x="11587" y="3824"/>
                </a:lnTo>
                <a:lnTo>
                  <a:pt x="11583" y="3824"/>
                </a:lnTo>
                <a:lnTo>
                  <a:pt x="11579" y="3825"/>
                </a:lnTo>
                <a:lnTo>
                  <a:pt x="11578" y="3828"/>
                </a:lnTo>
                <a:lnTo>
                  <a:pt x="11580" y="3830"/>
                </a:lnTo>
                <a:close/>
                <a:moveTo>
                  <a:pt x="11635" y="3797"/>
                </a:moveTo>
                <a:lnTo>
                  <a:pt x="11637" y="3799"/>
                </a:lnTo>
                <a:lnTo>
                  <a:pt x="11639" y="3800"/>
                </a:lnTo>
                <a:lnTo>
                  <a:pt x="11641" y="3799"/>
                </a:lnTo>
                <a:lnTo>
                  <a:pt x="11641" y="3796"/>
                </a:lnTo>
                <a:lnTo>
                  <a:pt x="11640" y="3795"/>
                </a:lnTo>
                <a:lnTo>
                  <a:pt x="11637" y="3795"/>
                </a:lnTo>
                <a:lnTo>
                  <a:pt x="11636" y="3795"/>
                </a:lnTo>
                <a:lnTo>
                  <a:pt x="11635" y="3797"/>
                </a:lnTo>
                <a:close/>
                <a:moveTo>
                  <a:pt x="11800" y="3522"/>
                </a:moveTo>
                <a:lnTo>
                  <a:pt x="11802" y="3524"/>
                </a:lnTo>
                <a:lnTo>
                  <a:pt x="11803" y="3525"/>
                </a:lnTo>
                <a:lnTo>
                  <a:pt x="11804" y="3524"/>
                </a:lnTo>
                <a:lnTo>
                  <a:pt x="11804" y="3521"/>
                </a:lnTo>
                <a:lnTo>
                  <a:pt x="11800" y="3522"/>
                </a:lnTo>
                <a:close/>
                <a:moveTo>
                  <a:pt x="11657" y="4695"/>
                </a:moveTo>
                <a:lnTo>
                  <a:pt x="11659" y="4693"/>
                </a:lnTo>
                <a:lnTo>
                  <a:pt x="11659" y="4692"/>
                </a:lnTo>
                <a:lnTo>
                  <a:pt x="11659" y="4690"/>
                </a:lnTo>
                <a:lnTo>
                  <a:pt x="11658" y="4687"/>
                </a:lnTo>
                <a:lnTo>
                  <a:pt x="11655" y="4690"/>
                </a:lnTo>
                <a:lnTo>
                  <a:pt x="11653" y="4691"/>
                </a:lnTo>
                <a:lnTo>
                  <a:pt x="11653" y="4693"/>
                </a:lnTo>
                <a:lnTo>
                  <a:pt x="11657" y="4695"/>
                </a:lnTo>
                <a:close/>
                <a:moveTo>
                  <a:pt x="8174" y="5158"/>
                </a:moveTo>
                <a:lnTo>
                  <a:pt x="8175" y="5156"/>
                </a:lnTo>
                <a:lnTo>
                  <a:pt x="8176" y="5154"/>
                </a:lnTo>
                <a:lnTo>
                  <a:pt x="8175" y="5153"/>
                </a:lnTo>
                <a:lnTo>
                  <a:pt x="8172" y="5153"/>
                </a:lnTo>
                <a:lnTo>
                  <a:pt x="8174" y="5158"/>
                </a:lnTo>
                <a:close/>
                <a:moveTo>
                  <a:pt x="11910" y="3741"/>
                </a:moveTo>
                <a:lnTo>
                  <a:pt x="11910" y="3741"/>
                </a:lnTo>
                <a:lnTo>
                  <a:pt x="11911" y="3741"/>
                </a:lnTo>
                <a:lnTo>
                  <a:pt x="11914" y="3741"/>
                </a:lnTo>
                <a:lnTo>
                  <a:pt x="11915" y="3741"/>
                </a:lnTo>
                <a:lnTo>
                  <a:pt x="11918" y="3740"/>
                </a:lnTo>
                <a:lnTo>
                  <a:pt x="11919" y="3739"/>
                </a:lnTo>
                <a:lnTo>
                  <a:pt x="11915" y="3740"/>
                </a:lnTo>
                <a:lnTo>
                  <a:pt x="11911" y="3741"/>
                </a:lnTo>
                <a:lnTo>
                  <a:pt x="11909" y="3743"/>
                </a:lnTo>
                <a:lnTo>
                  <a:pt x="11907" y="3745"/>
                </a:lnTo>
                <a:lnTo>
                  <a:pt x="11907" y="3745"/>
                </a:lnTo>
                <a:lnTo>
                  <a:pt x="11910" y="3741"/>
                </a:lnTo>
                <a:close/>
                <a:moveTo>
                  <a:pt x="11608" y="5742"/>
                </a:moveTo>
                <a:lnTo>
                  <a:pt x="11606" y="5744"/>
                </a:lnTo>
                <a:lnTo>
                  <a:pt x="11606" y="5744"/>
                </a:lnTo>
                <a:lnTo>
                  <a:pt x="11607" y="5744"/>
                </a:lnTo>
                <a:lnTo>
                  <a:pt x="11608" y="5742"/>
                </a:lnTo>
                <a:lnTo>
                  <a:pt x="11604" y="5740"/>
                </a:lnTo>
                <a:lnTo>
                  <a:pt x="11603" y="5739"/>
                </a:lnTo>
                <a:lnTo>
                  <a:pt x="11603" y="5740"/>
                </a:lnTo>
                <a:lnTo>
                  <a:pt x="11608" y="5742"/>
                </a:lnTo>
                <a:close/>
                <a:moveTo>
                  <a:pt x="11836" y="4844"/>
                </a:moveTo>
                <a:lnTo>
                  <a:pt x="11835" y="4845"/>
                </a:lnTo>
                <a:lnTo>
                  <a:pt x="11835" y="4846"/>
                </a:lnTo>
                <a:lnTo>
                  <a:pt x="11835" y="4846"/>
                </a:lnTo>
                <a:lnTo>
                  <a:pt x="11837" y="4845"/>
                </a:lnTo>
                <a:lnTo>
                  <a:pt x="11843" y="4841"/>
                </a:lnTo>
                <a:lnTo>
                  <a:pt x="11844" y="4840"/>
                </a:lnTo>
                <a:lnTo>
                  <a:pt x="11841" y="4841"/>
                </a:lnTo>
                <a:lnTo>
                  <a:pt x="11836" y="4844"/>
                </a:lnTo>
                <a:lnTo>
                  <a:pt x="11836" y="4844"/>
                </a:lnTo>
                <a:close/>
                <a:moveTo>
                  <a:pt x="11829" y="4851"/>
                </a:moveTo>
                <a:lnTo>
                  <a:pt x="11832" y="4847"/>
                </a:lnTo>
                <a:lnTo>
                  <a:pt x="11832" y="4846"/>
                </a:lnTo>
                <a:lnTo>
                  <a:pt x="11829" y="4847"/>
                </a:lnTo>
                <a:lnTo>
                  <a:pt x="11825" y="4849"/>
                </a:lnTo>
                <a:lnTo>
                  <a:pt x="11827" y="4850"/>
                </a:lnTo>
                <a:lnTo>
                  <a:pt x="11829" y="4851"/>
                </a:lnTo>
                <a:close/>
                <a:moveTo>
                  <a:pt x="11879" y="4635"/>
                </a:moveTo>
                <a:lnTo>
                  <a:pt x="11882" y="4636"/>
                </a:lnTo>
                <a:lnTo>
                  <a:pt x="11883" y="4637"/>
                </a:lnTo>
                <a:lnTo>
                  <a:pt x="11885" y="4636"/>
                </a:lnTo>
                <a:lnTo>
                  <a:pt x="11885" y="4634"/>
                </a:lnTo>
                <a:lnTo>
                  <a:pt x="11879" y="4635"/>
                </a:lnTo>
                <a:close/>
                <a:moveTo>
                  <a:pt x="11955" y="4275"/>
                </a:moveTo>
                <a:lnTo>
                  <a:pt x="11956" y="4271"/>
                </a:lnTo>
                <a:lnTo>
                  <a:pt x="11957" y="4271"/>
                </a:lnTo>
                <a:lnTo>
                  <a:pt x="11956" y="4272"/>
                </a:lnTo>
                <a:lnTo>
                  <a:pt x="11955" y="4275"/>
                </a:lnTo>
                <a:lnTo>
                  <a:pt x="11956" y="4273"/>
                </a:lnTo>
                <a:lnTo>
                  <a:pt x="11957" y="4272"/>
                </a:lnTo>
                <a:lnTo>
                  <a:pt x="11956" y="4272"/>
                </a:lnTo>
                <a:lnTo>
                  <a:pt x="11955" y="4275"/>
                </a:lnTo>
                <a:close/>
                <a:moveTo>
                  <a:pt x="12142" y="4038"/>
                </a:moveTo>
                <a:lnTo>
                  <a:pt x="12144" y="4040"/>
                </a:lnTo>
                <a:lnTo>
                  <a:pt x="12147" y="4042"/>
                </a:lnTo>
                <a:lnTo>
                  <a:pt x="12144" y="4039"/>
                </a:lnTo>
                <a:lnTo>
                  <a:pt x="12142" y="4038"/>
                </a:lnTo>
                <a:close/>
                <a:moveTo>
                  <a:pt x="12151" y="4043"/>
                </a:moveTo>
                <a:lnTo>
                  <a:pt x="12151" y="4043"/>
                </a:lnTo>
                <a:lnTo>
                  <a:pt x="12148" y="4042"/>
                </a:lnTo>
                <a:lnTo>
                  <a:pt x="12148" y="4042"/>
                </a:lnTo>
                <a:lnTo>
                  <a:pt x="12148" y="4043"/>
                </a:lnTo>
                <a:lnTo>
                  <a:pt x="12149" y="4044"/>
                </a:lnTo>
                <a:lnTo>
                  <a:pt x="12149" y="4043"/>
                </a:lnTo>
                <a:lnTo>
                  <a:pt x="12151" y="4043"/>
                </a:lnTo>
                <a:close/>
                <a:moveTo>
                  <a:pt x="12151" y="3988"/>
                </a:moveTo>
                <a:lnTo>
                  <a:pt x="12152" y="3992"/>
                </a:lnTo>
                <a:lnTo>
                  <a:pt x="12153" y="3991"/>
                </a:lnTo>
                <a:lnTo>
                  <a:pt x="12153" y="3990"/>
                </a:lnTo>
                <a:lnTo>
                  <a:pt x="12152" y="3988"/>
                </a:lnTo>
                <a:lnTo>
                  <a:pt x="12151" y="3988"/>
                </a:lnTo>
                <a:close/>
                <a:moveTo>
                  <a:pt x="12169" y="3951"/>
                </a:moveTo>
                <a:lnTo>
                  <a:pt x="12170" y="3958"/>
                </a:lnTo>
                <a:lnTo>
                  <a:pt x="12171" y="3955"/>
                </a:lnTo>
                <a:lnTo>
                  <a:pt x="12172" y="3954"/>
                </a:lnTo>
                <a:lnTo>
                  <a:pt x="12171" y="3953"/>
                </a:lnTo>
                <a:lnTo>
                  <a:pt x="12169" y="3951"/>
                </a:lnTo>
                <a:close/>
                <a:moveTo>
                  <a:pt x="12116" y="4636"/>
                </a:moveTo>
                <a:lnTo>
                  <a:pt x="12121" y="4635"/>
                </a:lnTo>
                <a:lnTo>
                  <a:pt x="12119" y="4634"/>
                </a:lnTo>
                <a:lnTo>
                  <a:pt x="12118" y="4632"/>
                </a:lnTo>
                <a:lnTo>
                  <a:pt x="12118" y="4634"/>
                </a:lnTo>
                <a:lnTo>
                  <a:pt x="12116" y="4636"/>
                </a:lnTo>
                <a:close/>
                <a:moveTo>
                  <a:pt x="12306" y="4154"/>
                </a:moveTo>
                <a:lnTo>
                  <a:pt x="12304" y="4152"/>
                </a:lnTo>
                <a:lnTo>
                  <a:pt x="12302" y="4152"/>
                </a:lnTo>
                <a:lnTo>
                  <a:pt x="12301" y="4152"/>
                </a:lnTo>
                <a:lnTo>
                  <a:pt x="12301" y="4156"/>
                </a:lnTo>
                <a:lnTo>
                  <a:pt x="12306" y="4154"/>
                </a:lnTo>
                <a:close/>
                <a:moveTo>
                  <a:pt x="12370" y="4023"/>
                </a:moveTo>
                <a:lnTo>
                  <a:pt x="12368" y="4024"/>
                </a:lnTo>
                <a:lnTo>
                  <a:pt x="12367" y="4026"/>
                </a:lnTo>
                <a:lnTo>
                  <a:pt x="12368" y="4026"/>
                </a:lnTo>
                <a:lnTo>
                  <a:pt x="12371" y="4026"/>
                </a:lnTo>
                <a:lnTo>
                  <a:pt x="12370" y="4023"/>
                </a:lnTo>
                <a:close/>
                <a:moveTo>
                  <a:pt x="12461" y="4536"/>
                </a:moveTo>
                <a:lnTo>
                  <a:pt x="12460" y="4534"/>
                </a:lnTo>
                <a:lnTo>
                  <a:pt x="12460" y="4534"/>
                </a:lnTo>
                <a:lnTo>
                  <a:pt x="12460" y="4534"/>
                </a:lnTo>
                <a:lnTo>
                  <a:pt x="12461" y="4536"/>
                </a:lnTo>
                <a:lnTo>
                  <a:pt x="12465" y="4534"/>
                </a:lnTo>
                <a:lnTo>
                  <a:pt x="12465" y="4534"/>
                </a:lnTo>
                <a:lnTo>
                  <a:pt x="12463" y="4534"/>
                </a:lnTo>
                <a:lnTo>
                  <a:pt x="12461" y="4536"/>
                </a:lnTo>
                <a:close/>
                <a:moveTo>
                  <a:pt x="6900" y="4863"/>
                </a:moveTo>
                <a:lnTo>
                  <a:pt x="6895" y="4864"/>
                </a:lnTo>
                <a:lnTo>
                  <a:pt x="6896" y="4865"/>
                </a:lnTo>
                <a:lnTo>
                  <a:pt x="6899" y="4867"/>
                </a:lnTo>
                <a:lnTo>
                  <a:pt x="6900" y="4865"/>
                </a:lnTo>
                <a:lnTo>
                  <a:pt x="6900" y="4863"/>
                </a:lnTo>
                <a:close/>
                <a:moveTo>
                  <a:pt x="10305" y="5159"/>
                </a:moveTo>
                <a:lnTo>
                  <a:pt x="10307" y="5162"/>
                </a:lnTo>
                <a:lnTo>
                  <a:pt x="10307" y="5163"/>
                </a:lnTo>
                <a:lnTo>
                  <a:pt x="10307" y="5162"/>
                </a:lnTo>
                <a:lnTo>
                  <a:pt x="10305" y="5159"/>
                </a:lnTo>
                <a:lnTo>
                  <a:pt x="10296" y="5164"/>
                </a:lnTo>
                <a:lnTo>
                  <a:pt x="10294" y="5167"/>
                </a:lnTo>
                <a:lnTo>
                  <a:pt x="10298" y="5166"/>
                </a:lnTo>
                <a:lnTo>
                  <a:pt x="10305" y="5159"/>
                </a:lnTo>
                <a:close/>
                <a:moveTo>
                  <a:pt x="10345" y="4735"/>
                </a:moveTo>
                <a:lnTo>
                  <a:pt x="10346" y="4735"/>
                </a:lnTo>
                <a:lnTo>
                  <a:pt x="10347" y="4734"/>
                </a:lnTo>
                <a:lnTo>
                  <a:pt x="10346" y="4734"/>
                </a:lnTo>
                <a:lnTo>
                  <a:pt x="10345" y="4735"/>
                </a:lnTo>
                <a:close/>
                <a:moveTo>
                  <a:pt x="229" y="1880"/>
                </a:moveTo>
                <a:lnTo>
                  <a:pt x="229" y="1875"/>
                </a:lnTo>
                <a:lnTo>
                  <a:pt x="228" y="1874"/>
                </a:lnTo>
                <a:lnTo>
                  <a:pt x="226" y="1874"/>
                </a:lnTo>
                <a:lnTo>
                  <a:pt x="222" y="1878"/>
                </a:lnTo>
                <a:lnTo>
                  <a:pt x="223" y="1880"/>
                </a:lnTo>
                <a:lnTo>
                  <a:pt x="226" y="1882"/>
                </a:lnTo>
                <a:lnTo>
                  <a:pt x="227" y="1882"/>
                </a:lnTo>
                <a:lnTo>
                  <a:pt x="229" y="1880"/>
                </a:lnTo>
                <a:close/>
                <a:moveTo>
                  <a:pt x="8347" y="4391"/>
                </a:moveTo>
                <a:lnTo>
                  <a:pt x="8352" y="4388"/>
                </a:lnTo>
                <a:lnTo>
                  <a:pt x="8354" y="4385"/>
                </a:lnTo>
                <a:lnTo>
                  <a:pt x="8352" y="4384"/>
                </a:lnTo>
                <a:lnTo>
                  <a:pt x="8345" y="4384"/>
                </a:lnTo>
                <a:lnTo>
                  <a:pt x="8343" y="4387"/>
                </a:lnTo>
                <a:lnTo>
                  <a:pt x="8342" y="4389"/>
                </a:lnTo>
                <a:lnTo>
                  <a:pt x="8343" y="4391"/>
                </a:lnTo>
                <a:lnTo>
                  <a:pt x="8347" y="4391"/>
                </a:lnTo>
                <a:close/>
                <a:moveTo>
                  <a:pt x="10220" y="5078"/>
                </a:moveTo>
                <a:lnTo>
                  <a:pt x="10221" y="5079"/>
                </a:lnTo>
                <a:lnTo>
                  <a:pt x="10220" y="5078"/>
                </a:lnTo>
                <a:lnTo>
                  <a:pt x="10220" y="5082"/>
                </a:lnTo>
                <a:lnTo>
                  <a:pt x="10220" y="5078"/>
                </a:lnTo>
                <a:close/>
                <a:moveTo>
                  <a:pt x="420" y="1929"/>
                </a:moveTo>
                <a:lnTo>
                  <a:pt x="414" y="1930"/>
                </a:lnTo>
                <a:lnTo>
                  <a:pt x="408" y="1933"/>
                </a:lnTo>
                <a:lnTo>
                  <a:pt x="412" y="1933"/>
                </a:lnTo>
                <a:lnTo>
                  <a:pt x="414" y="1933"/>
                </a:lnTo>
                <a:lnTo>
                  <a:pt x="418" y="1931"/>
                </a:lnTo>
                <a:lnTo>
                  <a:pt x="420" y="1929"/>
                </a:lnTo>
                <a:close/>
                <a:moveTo>
                  <a:pt x="405" y="1933"/>
                </a:moveTo>
                <a:lnTo>
                  <a:pt x="405" y="1933"/>
                </a:lnTo>
                <a:lnTo>
                  <a:pt x="404" y="1933"/>
                </a:lnTo>
                <a:lnTo>
                  <a:pt x="404" y="1933"/>
                </a:lnTo>
                <a:lnTo>
                  <a:pt x="404" y="1933"/>
                </a:lnTo>
                <a:lnTo>
                  <a:pt x="405" y="1933"/>
                </a:lnTo>
                <a:lnTo>
                  <a:pt x="405" y="1933"/>
                </a:lnTo>
                <a:close/>
                <a:moveTo>
                  <a:pt x="487" y="1902"/>
                </a:moveTo>
                <a:lnTo>
                  <a:pt x="485" y="1899"/>
                </a:lnTo>
                <a:lnTo>
                  <a:pt x="484" y="1898"/>
                </a:lnTo>
                <a:lnTo>
                  <a:pt x="482" y="1898"/>
                </a:lnTo>
                <a:lnTo>
                  <a:pt x="479" y="1899"/>
                </a:lnTo>
                <a:lnTo>
                  <a:pt x="480" y="1902"/>
                </a:lnTo>
                <a:lnTo>
                  <a:pt x="483" y="1902"/>
                </a:lnTo>
                <a:lnTo>
                  <a:pt x="484" y="1902"/>
                </a:lnTo>
                <a:lnTo>
                  <a:pt x="487" y="1902"/>
                </a:lnTo>
                <a:close/>
                <a:moveTo>
                  <a:pt x="564" y="1740"/>
                </a:moveTo>
                <a:lnTo>
                  <a:pt x="561" y="1739"/>
                </a:lnTo>
                <a:lnTo>
                  <a:pt x="561" y="1743"/>
                </a:lnTo>
                <a:lnTo>
                  <a:pt x="562" y="1745"/>
                </a:lnTo>
                <a:lnTo>
                  <a:pt x="566" y="1744"/>
                </a:lnTo>
                <a:lnTo>
                  <a:pt x="566" y="1742"/>
                </a:lnTo>
                <a:lnTo>
                  <a:pt x="564" y="1740"/>
                </a:lnTo>
                <a:close/>
                <a:moveTo>
                  <a:pt x="739" y="1551"/>
                </a:moveTo>
                <a:lnTo>
                  <a:pt x="736" y="1548"/>
                </a:lnTo>
                <a:lnTo>
                  <a:pt x="734" y="1546"/>
                </a:lnTo>
                <a:lnTo>
                  <a:pt x="734" y="1548"/>
                </a:lnTo>
                <a:lnTo>
                  <a:pt x="734" y="1549"/>
                </a:lnTo>
                <a:lnTo>
                  <a:pt x="736" y="1551"/>
                </a:lnTo>
                <a:lnTo>
                  <a:pt x="739" y="1551"/>
                </a:lnTo>
                <a:close/>
                <a:moveTo>
                  <a:pt x="446" y="3923"/>
                </a:moveTo>
                <a:lnTo>
                  <a:pt x="452" y="3928"/>
                </a:lnTo>
                <a:lnTo>
                  <a:pt x="457" y="3928"/>
                </a:lnTo>
                <a:lnTo>
                  <a:pt x="459" y="3926"/>
                </a:lnTo>
                <a:lnTo>
                  <a:pt x="451" y="3921"/>
                </a:lnTo>
                <a:lnTo>
                  <a:pt x="449" y="3922"/>
                </a:lnTo>
                <a:lnTo>
                  <a:pt x="446" y="3923"/>
                </a:lnTo>
                <a:close/>
                <a:moveTo>
                  <a:pt x="582" y="3289"/>
                </a:moveTo>
                <a:lnTo>
                  <a:pt x="587" y="3288"/>
                </a:lnTo>
                <a:lnTo>
                  <a:pt x="591" y="3284"/>
                </a:lnTo>
                <a:lnTo>
                  <a:pt x="594" y="3281"/>
                </a:lnTo>
                <a:lnTo>
                  <a:pt x="594" y="3274"/>
                </a:lnTo>
                <a:lnTo>
                  <a:pt x="589" y="3275"/>
                </a:lnTo>
                <a:lnTo>
                  <a:pt x="585" y="3279"/>
                </a:lnTo>
                <a:lnTo>
                  <a:pt x="582" y="3283"/>
                </a:lnTo>
                <a:lnTo>
                  <a:pt x="582" y="3289"/>
                </a:lnTo>
                <a:close/>
                <a:moveTo>
                  <a:pt x="555" y="3534"/>
                </a:moveTo>
                <a:lnTo>
                  <a:pt x="561" y="3540"/>
                </a:lnTo>
                <a:lnTo>
                  <a:pt x="566" y="3541"/>
                </a:lnTo>
                <a:lnTo>
                  <a:pt x="572" y="3538"/>
                </a:lnTo>
                <a:lnTo>
                  <a:pt x="578" y="3535"/>
                </a:lnTo>
                <a:lnTo>
                  <a:pt x="572" y="3534"/>
                </a:lnTo>
                <a:lnTo>
                  <a:pt x="567" y="3533"/>
                </a:lnTo>
                <a:lnTo>
                  <a:pt x="561" y="3533"/>
                </a:lnTo>
                <a:lnTo>
                  <a:pt x="555" y="3534"/>
                </a:lnTo>
                <a:close/>
                <a:moveTo>
                  <a:pt x="581" y="3535"/>
                </a:moveTo>
                <a:lnTo>
                  <a:pt x="580" y="3535"/>
                </a:lnTo>
                <a:lnTo>
                  <a:pt x="581" y="3535"/>
                </a:lnTo>
                <a:lnTo>
                  <a:pt x="581" y="3535"/>
                </a:lnTo>
                <a:lnTo>
                  <a:pt x="581" y="3535"/>
                </a:lnTo>
                <a:lnTo>
                  <a:pt x="581" y="3534"/>
                </a:lnTo>
                <a:lnTo>
                  <a:pt x="580" y="3534"/>
                </a:lnTo>
                <a:lnTo>
                  <a:pt x="580" y="3534"/>
                </a:lnTo>
                <a:lnTo>
                  <a:pt x="580" y="3535"/>
                </a:lnTo>
                <a:lnTo>
                  <a:pt x="581" y="3535"/>
                </a:lnTo>
                <a:close/>
                <a:moveTo>
                  <a:pt x="559" y="3864"/>
                </a:moveTo>
                <a:lnTo>
                  <a:pt x="555" y="3864"/>
                </a:lnTo>
                <a:lnTo>
                  <a:pt x="557" y="3865"/>
                </a:lnTo>
                <a:lnTo>
                  <a:pt x="558" y="3865"/>
                </a:lnTo>
                <a:lnTo>
                  <a:pt x="559" y="3865"/>
                </a:lnTo>
                <a:lnTo>
                  <a:pt x="559" y="3864"/>
                </a:lnTo>
                <a:close/>
                <a:moveTo>
                  <a:pt x="628" y="3603"/>
                </a:moveTo>
                <a:lnTo>
                  <a:pt x="626" y="3600"/>
                </a:lnTo>
                <a:lnTo>
                  <a:pt x="624" y="3600"/>
                </a:lnTo>
                <a:lnTo>
                  <a:pt x="622" y="3603"/>
                </a:lnTo>
                <a:lnTo>
                  <a:pt x="620" y="3605"/>
                </a:lnTo>
                <a:lnTo>
                  <a:pt x="623" y="3606"/>
                </a:lnTo>
                <a:lnTo>
                  <a:pt x="626" y="3606"/>
                </a:lnTo>
                <a:lnTo>
                  <a:pt x="627" y="3605"/>
                </a:lnTo>
                <a:lnTo>
                  <a:pt x="628" y="3603"/>
                </a:lnTo>
                <a:close/>
                <a:moveTo>
                  <a:pt x="10977" y="4180"/>
                </a:moveTo>
                <a:lnTo>
                  <a:pt x="10980" y="4179"/>
                </a:lnTo>
                <a:lnTo>
                  <a:pt x="10985" y="4178"/>
                </a:lnTo>
                <a:lnTo>
                  <a:pt x="10987" y="4175"/>
                </a:lnTo>
                <a:lnTo>
                  <a:pt x="10985" y="4172"/>
                </a:lnTo>
                <a:lnTo>
                  <a:pt x="10979" y="4172"/>
                </a:lnTo>
                <a:lnTo>
                  <a:pt x="10977" y="4173"/>
                </a:lnTo>
                <a:lnTo>
                  <a:pt x="10975" y="4175"/>
                </a:lnTo>
                <a:lnTo>
                  <a:pt x="10977" y="4180"/>
                </a:lnTo>
                <a:close/>
                <a:moveTo>
                  <a:pt x="747" y="3822"/>
                </a:moveTo>
                <a:lnTo>
                  <a:pt x="747" y="3820"/>
                </a:lnTo>
                <a:lnTo>
                  <a:pt x="741" y="3820"/>
                </a:lnTo>
                <a:lnTo>
                  <a:pt x="740" y="3820"/>
                </a:lnTo>
                <a:lnTo>
                  <a:pt x="740" y="3820"/>
                </a:lnTo>
                <a:lnTo>
                  <a:pt x="740" y="3820"/>
                </a:lnTo>
                <a:lnTo>
                  <a:pt x="741" y="3822"/>
                </a:lnTo>
                <a:lnTo>
                  <a:pt x="747" y="3822"/>
                </a:lnTo>
                <a:lnTo>
                  <a:pt x="747" y="3822"/>
                </a:lnTo>
                <a:close/>
                <a:moveTo>
                  <a:pt x="829" y="3936"/>
                </a:moveTo>
                <a:lnTo>
                  <a:pt x="833" y="3937"/>
                </a:lnTo>
                <a:lnTo>
                  <a:pt x="837" y="3940"/>
                </a:lnTo>
                <a:lnTo>
                  <a:pt x="839" y="3940"/>
                </a:lnTo>
                <a:lnTo>
                  <a:pt x="842" y="3936"/>
                </a:lnTo>
                <a:lnTo>
                  <a:pt x="838" y="3934"/>
                </a:lnTo>
                <a:lnTo>
                  <a:pt x="834" y="3932"/>
                </a:lnTo>
                <a:lnTo>
                  <a:pt x="832" y="3932"/>
                </a:lnTo>
                <a:lnTo>
                  <a:pt x="829" y="3936"/>
                </a:lnTo>
                <a:close/>
                <a:moveTo>
                  <a:pt x="1029" y="3797"/>
                </a:moveTo>
                <a:lnTo>
                  <a:pt x="1029" y="3800"/>
                </a:lnTo>
                <a:lnTo>
                  <a:pt x="1029" y="3801"/>
                </a:lnTo>
                <a:lnTo>
                  <a:pt x="1031" y="3802"/>
                </a:lnTo>
                <a:lnTo>
                  <a:pt x="1033" y="3804"/>
                </a:lnTo>
                <a:lnTo>
                  <a:pt x="1034" y="3800"/>
                </a:lnTo>
                <a:lnTo>
                  <a:pt x="1034" y="3797"/>
                </a:lnTo>
                <a:lnTo>
                  <a:pt x="1033" y="3796"/>
                </a:lnTo>
                <a:lnTo>
                  <a:pt x="1029" y="3797"/>
                </a:lnTo>
                <a:close/>
                <a:moveTo>
                  <a:pt x="11329" y="4150"/>
                </a:moveTo>
                <a:lnTo>
                  <a:pt x="11336" y="4145"/>
                </a:lnTo>
                <a:lnTo>
                  <a:pt x="11334" y="4141"/>
                </a:lnTo>
                <a:lnTo>
                  <a:pt x="11331" y="4141"/>
                </a:lnTo>
                <a:lnTo>
                  <a:pt x="11325" y="4146"/>
                </a:lnTo>
                <a:lnTo>
                  <a:pt x="11327" y="4149"/>
                </a:lnTo>
                <a:lnTo>
                  <a:pt x="11329" y="4150"/>
                </a:lnTo>
                <a:close/>
                <a:moveTo>
                  <a:pt x="9876" y="5285"/>
                </a:moveTo>
                <a:lnTo>
                  <a:pt x="9876" y="5287"/>
                </a:lnTo>
                <a:lnTo>
                  <a:pt x="9876" y="5285"/>
                </a:lnTo>
                <a:lnTo>
                  <a:pt x="9876" y="5285"/>
                </a:lnTo>
                <a:lnTo>
                  <a:pt x="9876" y="5287"/>
                </a:lnTo>
                <a:lnTo>
                  <a:pt x="9876" y="5287"/>
                </a:lnTo>
                <a:lnTo>
                  <a:pt x="9876" y="5287"/>
                </a:lnTo>
                <a:lnTo>
                  <a:pt x="9876" y="5287"/>
                </a:lnTo>
                <a:lnTo>
                  <a:pt x="9876" y="5285"/>
                </a:lnTo>
                <a:close/>
                <a:moveTo>
                  <a:pt x="9899" y="5280"/>
                </a:moveTo>
                <a:lnTo>
                  <a:pt x="9893" y="5279"/>
                </a:lnTo>
                <a:lnTo>
                  <a:pt x="9888" y="5282"/>
                </a:lnTo>
                <a:lnTo>
                  <a:pt x="9883" y="5284"/>
                </a:lnTo>
                <a:lnTo>
                  <a:pt x="9878" y="5287"/>
                </a:lnTo>
                <a:lnTo>
                  <a:pt x="9884" y="5288"/>
                </a:lnTo>
                <a:lnTo>
                  <a:pt x="9890" y="5289"/>
                </a:lnTo>
                <a:lnTo>
                  <a:pt x="9895" y="5287"/>
                </a:lnTo>
                <a:lnTo>
                  <a:pt x="9899" y="5280"/>
                </a:lnTo>
                <a:close/>
                <a:moveTo>
                  <a:pt x="11426" y="3637"/>
                </a:moveTo>
                <a:lnTo>
                  <a:pt x="11427" y="3637"/>
                </a:lnTo>
                <a:lnTo>
                  <a:pt x="11429" y="3637"/>
                </a:lnTo>
                <a:lnTo>
                  <a:pt x="11430" y="3636"/>
                </a:lnTo>
                <a:lnTo>
                  <a:pt x="11431" y="3634"/>
                </a:lnTo>
                <a:lnTo>
                  <a:pt x="11429" y="3632"/>
                </a:lnTo>
                <a:lnTo>
                  <a:pt x="11426" y="3632"/>
                </a:lnTo>
                <a:lnTo>
                  <a:pt x="11427" y="3629"/>
                </a:lnTo>
                <a:lnTo>
                  <a:pt x="11427" y="3628"/>
                </a:lnTo>
                <a:lnTo>
                  <a:pt x="11441" y="3592"/>
                </a:lnTo>
                <a:lnTo>
                  <a:pt x="11472" y="3586"/>
                </a:lnTo>
                <a:lnTo>
                  <a:pt x="11508" y="3585"/>
                </a:lnTo>
                <a:lnTo>
                  <a:pt x="11541" y="3561"/>
                </a:lnTo>
                <a:lnTo>
                  <a:pt x="11432" y="3538"/>
                </a:lnTo>
                <a:lnTo>
                  <a:pt x="11436" y="3513"/>
                </a:lnTo>
                <a:lnTo>
                  <a:pt x="11448" y="3488"/>
                </a:lnTo>
                <a:lnTo>
                  <a:pt x="11365" y="3457"/>
                </a:lnTo>
                <a:lnTo>
                  <a:pt x="11376" y="3429"/>
                </a:lnTo>
                <a:lnTo>
                  <a:pt x="11444" y="3417"/>
                </a:lnTo>
                <a:lnTo>
                  <a:pt x="11531" y="3415"/>
                </a:lnTo>
                <a:lnTo>
                  <a:pt x="11598" y="3423"/>
                </a:lnTo>
                <a:lnTo>
                  <a:pt x="11611" y="3403"/>
                </a:lnTo>
                <a:lnTo>
                  <a:pt x="11564" y="3381"/>
                </a:lnTo>
                <a:lnTo>
                  <a:pt x="11505" y="3356"/>
                </a:lnTo>
                <a:lnTo>
                  <a:pt x="11478" y="3321"/>
                </a:lnTo>
                <a:lnTo>
                  <a:pt x="11404" y="3344"/>
                </a:lnTo>
                <a:lnTo>
                  <a:pt x="11404" y="3321"/>
                </a:lnTo>
                <a:lnTo>
                  <a:pt x="11462" y="3292"/>
                </a:lnTo>
                <a:lnTo>
                  <a:pt x="11559" y="3295"/>
                </a:lnTo>
                <a:lnTo>
                  <a:pt x="11482" y="3274"/>
                </a:lnTo>
                <a:lnTo>
                  <a:pt x="11389" y="3255"/>
                </a:lnTo>
                <a:lnTo>
                  <a:pt x="11343" y="3244"/>
                </a:lnTo>
                <a:lnTo>
                  <a:pt x="11412" y="3242"/>
                </a:lnTo>
                <a:lnTo>
                  <a:pt x="11436" y="3221"/>
                </a:lnTo>
                <a:lnTo>
                  <a:pt x="11368" y="3203"/>
                </a:lnTo>
                <a:lnTo>
                  <a:pt x="11305" y="3190"/>
                </a:lnTo>
                <a:lnTo>
                  <a:pt x="11348" y="3184"/>
                </a:lnTo>
                <a:lnTo>
                  <a:pt x="11438" y="3143"/>
                </a:lnTo>
                <a:lnTo>
                  <a:pt x="11440" y="3090"/>
                </a:lnTo>
                <a:lnTo>
                  <a:pt x="11457" y="3051"/>
                </a:lnTo>
                <a:lnTo>
                  <a:pt x="11590" y="3055"/>
                </a:lnTo>
                <a:lnTo>
                  <a:pt x="11455" y="3000"/>
                </a:lnTo>
                <a:lnTo>
                  <a:pt x="11452" y="2978"/>
                </a:lnTo>
                <a:lnTo>
                  <a:pt x="11495" y="2956"/>
                </a:lnTo>
                <a:lnTo>
                  <a:pt x="11500" y="2902"/>
                </a:lnTo>
                <a:lnTo>
                  <a:pt x="11504" y="2900"/>
                </a:lnTo>
                <a:lnTo>
                  <a:pt x="11505" y="2899"/>
                </a:lnTo>
                <a:lnTo>
                  <a:pt x="11505" y="2896"/>
                </a:lnTo>
                <a:lnTo>
                  <a:pt x="11502" y="2894"/>
                </a:lnTo>
                <a:lnTo>
                  <a:pt x="11500" y="2896"/>
                </a:lnTo>
                <a:lnTo>
                  <a:pt x="11497" y="2897"/>
                </a:lnTo>
                <a:lnTo>
                  <a:pt x="11481" y="2874"/>
                </a:lnTo>
                <a:lnTo>
                  <a:pt x="11455" y="2845"/>
                </a:lnTo>
                <a:lnTo>
                  <a:pt x="11417" y="2812"/>
                </a:lnTo>
                <a:lnTo>
                  <a:pt x="11369" y="2773"/>
                </a:lnTo>
                <a:lnTo>
                  <a:pt x="11398" y="2778"/>
                </a:lnTo>
                <a:lnTo>
                  <a:pt x="11427" y="2788"/>
                </a:lnTo>
                <a:lnTo>
                  <a:pt x="11457" y="2797"/>
                </a:lnTo>
                <a:lnTo>
                  <a:pt x="11487" y="2801"/>
                </a:lnTo>
                <a:lnTo>
                  <a:pt x="11491" y="2760"/>
                </a:lnTo>
                <a:lnTo>
                  <a:pt x="11518" y="2752"/>
                </a:lnTo>
                <a:lnTo>
                  <a:pt x="11559" y="2754"/>
                </a:lnTo>
                <a:lnTo>
                  <a:pt x="11601" y="2741"/>
                </a:lnTo>
                <a:lnTo>
                  <a:pt x="11502" y="2704"/>
                </a:lnTo>
                <a:lnTo>
                  <a:pt x="11374" y="2650"/>
                </a:lnTo>
                <a:lnTo>
                  <a:pt x="11238" y="2600"/>
                </a:lnTo>
                <a:lnTo>
                  <a:pt x="11117" y="2572"/>
                </a:lnTo>
                <a:lnTo>
                  <a:pt x="11119" y="2572"/>
                </a:lnTo>
                <a:lnTo>
                  <a:pt x="11123" y="2569"/>
                </a:lnTo>
                <a:lnTo>
                  <a:pt x="11126" y="2566"/>
                </a:lnTo>
                <a:lnTo>
                  <a:pt x="11129" y="2563"/>
                </a:lnTo>
                <a:lnTo>
                  <a:pt x="11124" y="2558"/>
                </a:lnTo>
                <a:lnTo>
                  <a:pt x="11119" y="2556"/>
                </a:lnTo>
                <a:lnTo>
                  <a:pt x="11113" y="2558"/>
                </a:lnTo>
                <a:lnTo>
                  <a:pt x="11106" y="2560"/>
                </a:lnTo>
                <a:lnTo>
                  <a:pt x="11109" y="2565"/>
                </a:lnTo>
                <a:lnTo>
                  <a:pt x="11112" y="2568"/>
                </a:lnTo>
                <a:lnTo>
                  <a:pt x="11114" y="2570"/>
                </a:lnTo>
                <a:lnTo>
                  <a:pt x="11117" y="2572"/>
                </a:lnTo>
                <a:lnTo>
                  <a:pt x="11082" y="2570"/>
                </a:lnTo>
                <a:lnTo>
                  <a:pt x="11054" y="2574"/>
                </a:lnTo>
                <a:lnTo>
                  <a:pt x="11033" y="2584"/>
                </a:lnTo>
                <a:lnTo>
                  <a:pt x="11019" y="2603"/>
                </a:lnTo>
                <a:lnTo>
                  <a:pt x="10983" y="2528"/>
                </a:lnTo>
                <a:lnTo>
                  <a:pt x="10919" y="2466"/>
                </a:lnTo>
                <a:lnTo>
                  <a:pt x="10833" y="2415"/>
                </a:lnTo>
                <a:lnTo>
                  <a:pt x="10732" y="2370"/>
                </a:lnTo>
                <a:lnTo>
                  <a:pt x="10742" y="2370"/>
                </a:lnTo>
                <a:lnTo>
                  <a:pt x="10754" y="2370"/>
                </a:lnTo>
                <a:lnTo>
                  <a:pt x="10764" y="2368"/>
                </a:lnTo>
                <a:lnTo>
                  <a:pt x="10774" y="2363"/>
                </a:lnTo>
                <a:lnTo>
                  <a:pt x="10768" y="2347"/>
                </a:lnTo>
                <a:lnTo>
                  <a:pt x="10755" y="2342"/>
                </a:lnTo>
                <a:lnTo>
                  <a:pt x="10738" y="2349"/>
                </a:lnTo>
                <a:lnTo>
                  <a:pt x="10726" y="2368"/>
                </a:lnTo>
                <a:lnTo>
                  <a:pt x="10682" y="2353"/>
                </a:lnTo>
                <a:lnTo>
                  <a:pt x="10639" y="2336"/>
                </a:lnTo>
                <a:lnTo>
                  <a:pt x="10594" y="2322"/>
                </a:lnTo>
                <a:lnTo>
                  <a:pt x="10550" y="2307"/>
                </a:lnTo>
                <a:lnTo>
                  <a:pt x="10510" y="2304"/>
                </a:lnTo>
                <a:lnTo>
                  <a:pt x="10512" y="2291"/>
                </a:lnTo>
                <a:lnTo>
                  <a:pt x="10536" y="2275"/>
                </a:lnTo>
                <a:lnTo>
                  <a:pt x="10569" y="2257"/>
                </a:lnTo>
                <a:lnTo>
                  <a:pt x="10505" y="2260"/>
                </a:lnTo>
                <a:lnTo>
                  <a:pt x="10448" y="2251"/>
                </a:lnTo>
                <a:lnTo>
                  <a:pt x="10395" y="2230"/>
                </a:lnTo>
                <a:lnTo>
                  <a:pt x="10342" y="2197"/>
                </a:lnTo>
                <a:lnTo>
                  <a:pt x="10459" y="2160"/>
                </a:lnTo>
                <a:lnTo>
                  <a:pt x="10468" y="2141"/>
                </a:lnTo>
                <a:lnTo>
                  <a:pt x="10448" y="2109"/>
                </a:lnTo>
                <a:lnTo>
                  <a:pt x="10480" y="2038"/>
                </a:lnTo>
                <a:lnTo>
                  <a:pt x="10442" y="2009"/>
                </a:lnTo>
                <a:lnTo>
                  <a:pt x="10389" y="2055"/>
                </a:lnTo>
                <a:lnTo>
                  <a:pt x="10331" y="2104"/>
                </a:lnTo>
                <a:lnTo>
                  <a:pt x="10272" y="2085"/>
                </a:lnTo>
                <a:lnTo>
                  <a:pt x="10205" y="2060"/>
                </a:lnTo>
                <a:lnTo>
                  <a:pt x="10170" y="2043"/>
                </a:lnTo>
                <a:lnTo>
                  <a:pt x="10177" y="2028"/>
                </a:lnTo>
                <a:lnTo>
                  <a:pt x="10230" y="2008"/>
                </a:lnTo>
                <a:lnTo>
                  <a:pt x="10267" y="2027"/>
                </a:lnTo>
                <a:lnTo>
                  <a:pt x="10309" y="2041"/>
                </a:lnTo>
                <a:lnTo>
                  <a:pt x="10347" y="2041"/>
                </a:lnTo>
                <a:lnTo>
                  <a:pt x="10367" y="2018"/>
                </a:lnTo>
                <a:lnTo>
                  <a:pt x="10434" y="1961"/>
                </a:lnTo>
                <a:lnTo>
                  <a:pt x="10430" y="1926"/>
                </a:lnTo>
                <a:lnTo>
                  <a:pt x="10373" y="1907"/>
                </a:lnTo>
                <a:lnTo>
                  <a:pt x="10274" y="1891"/>
                </a:lnTo>
                <a:lnTo>
                  <a:pt x="10261" y="1953"/>
                </a:lnTo>
                <a:lnTo>
                  <a:pt x="10237" y="1973"/>
                </a:lnTo>
                <a:lnTo>
                  <a:pt x="10195" y="1980"/>
                </a:lnTo>
                <a:lnTo>
                  <a:pt x="10123" y="2000"/>
                </a:lnTo>
                <a:lnTo>
                  <a:pt x="10053" y="2036"/>
                </a:lnTo>
                <a:lnTo>
                  <a:pt x="10019" y="2033"/>
                </a:lnTo>
                <a:lnTo>
                  <a:pt x="10021" y="2000"/>
                </a:lnTo>
                <a:lnTo>
                  <a:pt x="10063" y="1948"/>
                </a:lnTo>
                <a:lnTo>
                  <a:pt x="10095" y="1952"/>
                </a:lnTo>
                <a:lnTo>
                  <a:pt x="10091" y="1973"/>
                </a:lnTo>
                <a:lnTo>
                  <a:pt x="10086" y="1991"/>
                </a:lnTo>
                <a:lnTo>
                  <a:pt x="10117" y="1985"/>
                </a:lnTo>
                <a:lnTo>
                  <a:pt x="10156" y="1940"/>
                </a:lnTo>
                <a:lnTo>
                  <a:pt x="10149" y="1931"/>
                </a:lnTo>
                <a:lnTo>
                  <a:pt x="10117" y="1913"/>
                </a:lnTo>
                <a:lnTo>
                  <a:pt x="10086" y="1845"/>
                </a:lnTo>
                <a:lnTo>
                  <a:pt x="10060" y="1828"/>
                </a:lnTo>
                <a:lnTo>
                  <a:pt x="9993" y="1841"/>
                </a:lnTo>
                <a:lnTo>
                  <a:pt x="9930" y="1834"/>
                </a:lnTo>
                <a:lnTo>
                  <a:pt x="9908" y="1761"/>
                </a:lnTo>
                <a:lnTo>
                  <a:pt x="9949" y="1778"/>
                </a:lnTo>
                <a:lnTo>
                  <a:pt x="9988" y="1809"/>
                </a:lnTo>
                <a:lnTo>
                  <a:pt x="10014" y="1818"/>
                </a:lnTo>
                <a:lnTo>
                  <a:pt x="10015" y="1776"/>
                </a:lnTo>
                <a:lnTo>
                  <a:pt x="10055" y="1764"/>
                </a:lnTo>
                <a:lnTo>
                  <a:pt x="10077" y="1761"/>
                </a:lnTo>
                <a:lnTo>
                  <a:pt x="10086" y="1748"/>
                </a:lnTo>
                <a:lnTo>
                  <a:pt x="10079" y="1710"/>
                </a:lnTo>
                <a:lnTo>
                  <a:pt x="10046" y="1715"/>
                </a:lnTo>
                <a:lnTo>
                  <a:pt x="10015" y="1712"/>
                </a:lnTo>
                <a:lnTo>
                  <a:pt x="9986" y="1707"/>
                </a:lnTo>
                <a:lnTo>
                  <a:pt x="9959" y="1702"/>
                </a:lnTo>
                <a:lnTo>
                  <a:pt x="9956" y="1719"/>
                </a:lnTo>
                <a:lnTo>
                  <a:pt x="9949" y="1733"/>
                </a:lnTo>
                <a:lnTo>
                  <a:pt x="9939" y="1739"/>
                </a:lnTo>
                <a:lnTo>
                  <a:pt x="9923" y="1728"/>
                </a:lnTo>
                <a:lnTo>
                  <a:pt x="9881" y="1669"/>
                </a:lnTo>
                <a:lnTo>
                  <a:pt x="9764" y="1626"/>
                </a:lnTo>
                <a:lnTo>
                  <a:pt x="9632" y="1604"/>
                </a:lnTo>
                <a:lnTo>
                  <a:pt x="9544" y="1608"/>
                </a:lnTo>
                <a:lnTo>
                  <a:pt x="9558" y="1658"/>
                </a:lnTo>
                <a:lnTo>
                  <a:pt x="9534" y="1640"/>
                </a:lnTo>
                <a:lnTo>
                  <a:pt x="9518" y="1591"/>
                </a:lnTo>
                <a:lnTo>
                  <a:pt x="9558" y="1551"/>
                </a:lnTo>
                <a:lnTo>
                  <a:pt x="9615" y="1544"/>
                </a:lnTo>
                <a:lnTo>
                  <a:pt x="9683" y="1535"/>
                </a:lnTo>
                <a:lnTo>
                  <a:pt x="9743" y="1535"/>
                </a:lnTo>
                <a:lnTo>
                  <a:pt x="9774" y="1556"/>
                </a:lnTo>
                <a:lnTo>
                  <a:pt x="9793" y="1571"/>
                </a:lnTo>
                <a:lnTo>
                  <a:pt x="9818" y="1577"/>
                </a:lnTo>
                <a:lnTo>
                  <a:pt x="9837" y="1584"/>
                </a:lnTo>
                <a:lnTo>
                  <a:pt x="9843" y="1596"/>
                </a:lnTo>
                <a:lnTo>
                  <a:pt x="9790" y="1612"/>
                </a:lnTo>
                <a:lnTo>
                  <a:pt x="9913" y="1637"/>
                </a:lnTo>
                <a:lnTo>
                  <a:pt x="10029" y="1646"/>
                </a:lnTo>
                <a:lnTo>
                  <a:pt x="9950" y="1610"/>
                </a:lnTo>
                <a:lnTo>
                  <a:pt x="9888" y="1582"/>
                </a:lnTo>
                <a:lnTo>
                  <a:pt x="9928" y="1582"/>
                </a:lnTo>
                <a:lnTo>
                  <a:pt x="10005" y="1582"/>
                </a:lnTo>
                <a:lnTo>
                  <a:pt x="10046" y="1553"/>
                </a:lnTo>
                <a:lnTo>
                  <a:pt x="10000" y="1526"/>
                </a:lnTo>
                <a:lnTo>
                  <a:pt x="9964" y="1511"/>
                </a:lnTo>
                <a:lnTo>
                  <a:pt x="9926" y="1498"/>
                </a:lnTo>
                <a:lnTo>
                  <a:pt x="9872" y="1479"/>
                </a:lnTo>
                <a:lnTo>
                  <a:pt x="9855" y="1462"/>
                </a:lnTo>
                <a:lnTo>
                  <a:pt x="9866" y="1448"/>
                </a:lnTo>
                <a:lnTo>
                  <a:pt x="9888" y="1436"/>
                </a:lnTo>
                <a:lnTo>
                  <a:pt x="9894" y="1428"/>
                </a:lnTo>
                <a:lnTo>
                  <a:pt x="9851" y="1413"/>
                </a:lnTo>
                <a:lnTo>
                  <a:pt x="9841" y="1425"/>
                </a:lnTo>
                <a:lnTo>
                  <a:pt x="9839" y="1450"/>
                </a:lnTo>
                <a:lnTo>
                  <a:pt x="9827" y="1476"/>
                </a:lnTo>
                <a:lnTo>
                  <a:pt x="9751" y="1453"/>
                </a:lnTo>
                <a:lnTo>
                  <a:pt x="9672" y="1458"/>
                </a:lnTo>
                <a:lnTo>
                  <a:pt x="9610" y="1462"/>
                </a:lnTo>
                <a:lnTo>
                  <a:pt x="9581" y="1437"/>
                </a:lnTo>
                <a:lnTo>
                  <a:pt x="9557" y="1418"/>
                </a:lnTo>
                <a:lnTo>
                  <a:pt x="9525" y="1437"/>
                </a:lnTo>
                <a:lnTo>
                  <a:pt x="9493" y="1463"/>
                </a:lnTo>
                <a:lnTo>
                  <a:pt x="9467" y="1465"/>
                </a:lnTo>
                <a:lnTo>
                  <a:pt x="9465" y="1399"/>
                </a:lnTo>
                <a:lnTo>
                  <a:pt x="9366" y="1376"/>
                </a:lnTo>
                <a:lnTo>
                  <a:pt x="9237" y="1362"/>
                </a:lnTo>
                <a:lnTo>
                  <a:pt x="9144" y="1323"/>
                </a:lnTo>
                <a:lnTo>
                  <a:pt x="9068" y="1313"/>
                </a:lnTo>
                <a:lnTo>
                  <a:pt x="8989" y="1324"/>
                </a:lnTo>
                <a:lnTo>
                  <a:pt x="8936" y="1328"/>
                </a:lnTo>
                <a:lnTo>
                  <a:pt x="8939" y="1294"/>
                </a:lnTo>
                <a:lnTo>
                  <a:pt x="8702" y="1193"/>
                </a:lnTo>
                <a:lnTo>
                  <a:pt x="8417" y="1146"/>
                </a:lnTo>
                <a:lnTo>
                  <a:pt x="8139" y="1099"/>
                </a:lnTo>
                <a:lnTo>
                  <a:pt x="7929" y="996"/>
                </a:lnTo>
                <a:lnTo>
                  <a:pt x="7896" y="975"/>
                </a:lnTo>
                <a:lnTo>
                  <a:pt x="7887" y="1001"/>
                </a:lnTo>
                <a:lnTo>
                  <a:pt x="7878" y="1020"/>
                </a:lnTo>
                <a:lnTo>
                  <a:pt x="7842" y="980"/>
                </a:lnTo>
                <a:lnTo>
                  <a:pt x="7795" y="964"/>
                </a:lnTo>
                <a:lnTo>
                  <a:pt x="7820" y="928"/>
                </a:lnTo>
                <a:lnTo>
                  <a:pt x="7836" y="893"/>
                </a:lnTo>
                <a:lnTo>
                  <a:pt x="7770" y="872"/>
                </a:lnTo>
                <a:lnTo>
                  <a:pt x="7697" y="903"/>
                </a:lnTo>
                <a:lnTo>
                  <a:pt x="7630" y="898"/>
                </a:lnTo>
                <a:lnTo>
                  <a:pt x="7564" y="890"/>
                </a:lnTo>
                <a:lnTo>
                  <a:pt x="7496" y="910"/>
                </a:lnTo>
                <a:lnTo>
                  <a:pt x="7464" y="933"/>
                </a:lnTo>
                <a:lnTo>
                  <a:pt x="7454" y="917"/>
                </a:lnTo>
                <a:lnTo>
                  <a:pt x="7439" y="893"/>
                </a:lnTo>
                <a:lnTo>
                  <a:pt x="7390" y="894"/>
                </a:lnTo>
                <a:lnTo>
                  <a:pt x="6675" y="705"/>
                </a:lnTo>
                <a:lnTo>
                  <a:pt x="5745" y="567"/>
                </a:lnTo>
                <a:lnTo>
                  <a:pt x="4740" y="470"/>
                </a:lnTo>
                <a:lnTo>
                  <a:pt x="3798" y="404"/>
                </a:lnTo>
                <a:lnTo>
                  <a:pt x="3595" y="400"/>
                </a:lnTo>
                <a:lnTo>
                  <a:pt x="3370" y="388"/>
                </a:lnTo>
                <a:lnTo>
                  <a:pt x="3161" y="381"/>
                </a:lnTo>
                <a:lnTo>
                  <a:pt x="3008" y="390"/>
                </a:lnTo>
                <a:lnTo>
                  <a:pt x="3030" y="424"/>
                </a:lnTo>
                <a:lnTo>
                  <a:pt x="3034" y="478"/>
                </a:lnTo>
                <a:lnTo>
                  <a:pt x="3026" y="536"/>
                </a:lnTo>
                <a:lnTo>
                  <a:pt x="3015" y="587"/>
                </a:lnTo>
                <a:lnTo>
                  <a:pt x="2976" y="573"/>
                </a:lnTo>
                <a:lnTo>
                  <a:pt x="2942" y="573"/>
                </a:lnTo>
                <a:lnTo>
                  <a:pt x="2922" y="568"/>
                </a:lnTo>
                <a:lnTo>
                  <a:pt x="2922" y="540"/>
                </a:lnTo>
                <a:lnTo>
                  <a:pt x="2861" y="464"/>
                </a:lnTo>
                <a:lnTo>
                  <a:pt x="2807" y="474"/>
                </a:lnTo>
                <a:lnTo>
                  <a:pt x="2752" y="520"/>
                </a:lnTo>
                <a:lnTo>
                  <a:pt x="2686" y="555"/>
                </a:lnTo>
                <a:lnTo>
                  <a:pt x="2641" y="504"/>
                </a:lnTo>
                <a:lnTo>
                  <a:pt x="2622" y="461"/>
                </a:lnTo>
                <a:lnTo>
                  <a:pt x="2610" y="429"/>
                </a:lnTo>
                <a:lnTo>
                  <a:pt x="2585" y="414"/>
                </a:lnTo>
                <a:lnTo>
                  <a:pt x="2524" y="411"/>
                </a:lnTo>
                <a:lnTo>
                  <a:pt x="2518" y="442"/>
                </a:lnTo>
                <a:lnTo>
                  <a:pt x="2491" y="460"/>
                </a:lnTo>
                <a:lnTo>
                  <a:pt x="2368" y="419"/>
                </a:lnTo>
                <a:lnTo>
                  <a:pt x="2335" y="422"/>
                </a:lnTo>
                <a:lnTo>
                  <a:pt x="2373" y="448"/>
                </a:lnTo>
                <a:lnTo>
                  <a:pt x="2408" y="475"/>
                </a:lnTo>
                <a:lnTo>
                  <a:pt x="2368" y="480"/>
                </a:lnTo>
                <a:lnTo>
                  <a:pt x="2317" y="472"/>
                </a:lnTo>
                <a:lnTo>
                  <a:pt x="2275" y="466"/>
                </a:lnTo>
                <a:lnTo>
                  <a:pt x="2262" y="451"/>
                </a:lnTo>
                <a:lnTo>
                  <a:pt x="2301" y="418"/>
                </a:lnTo>
                <a:lnTo>
                  <a:pt x="2248" y="396"/>
                </a:lnTo>
                <a:lnTo>
                  <a:pt x="2206" y="428"/>
                </a:lnTo>
                <a:lnTo>
                  <a:pt x="2158" y="464"/>
                </a:lnTo>
                <a:lnTo>
                  <a:pt x="2085" y="456"/>
                </a:lnTo>
                <a:lnTo>
                  <a:pt x="2031" y="466"/>
                </a:lnTo>
                <a:lnTo>
                  <a:pt x="1982" y="472"/>
                </a:lnTo>
                <a:lnTo>
                  <a:pt x="1937" y="474"/>
                </a:lnTo>
                <a:lnTo>
                  <a:pt x="1896" y="474"/>
                </a:lnTo>
                <a:lnTo>
                  <a:pt x="1907" y="465"/>
                </a:lnTo>
                <a:lnTo>
                  <a:pt x="1910" y="456"/>
                </a:lnTo>
                <a:lnTo>
                  <a:pt x="1904" y="448"/>
                </a:lnTo>
                <a:lnTo>
                  <a:pt x="1886" y="447"/>
                </a:lnTo>
                <a:lnTo>
                  <a:pt x="1877" y="450"/>
                </a:lnTo>
                <a:lnTo>
                  <a:pt x="1871" y="455"/>
                </a:lnTo>
                <a:lnTo>
                  <a:pt x="1868" y="462"/>
                </a:lnTo>
                <a:lnTo>
                  <a:pt x="1871" y="472"/>
                </a:lnTo>
                <a:lnTo>
                  <a:pt x="1806" y="466"/>
                </a:lnTo>
                <a:lnTo>
                  <a:pt x="1746" y="460"/>
                </a:lnTo>
                <a:lnTo>
                  <a:pt x="1685" y="458"/>
                </a:lnTo>
                <a:lnTo>
                  <a:pt x="1619" y="469"/>
                </a:lnTo>
                <a:lnTo>
                  <a:pt x="1582" y="478"/>
                </a:lnTo>
                <a:lnTo>
                  <a:pt x="1559" y="455"/>
                </a:lnTo>
                <a:lnTo>
                  <a:pt x="1540" y="424"/>
                </a:lnTo>
                <a:lnTo>
                  <a:pt x="1516" y="408"/>
                </a:lnTo>
                <a:lnTo>
                  <a:pt x="1525" y="472"/>
                </a:lnTo>
                <a:lnTo>
                  <a:pt x="1627" y="514"/>
                </a:lnTo>
                <a:lnTo>
                  <a:pt x="1711" y="536"/>
                </a:lnTo>
                <a:lnTo>
                  <a:pt x="1666" y="540"/>
                </a:lnTo>
                <a:lnTo>
                  <a:pt x="1469" y="506"/>
                </a:lnTo>
                <a:lnTo>
                  <a:pt x="1244" y="462"/>
                </a:lnTo>
                <a:lnTo>
                  <a:pt x="1129" y="469"/>
                </a:lnTo>
                <a:lnTo>
                  <a:pt x="1262" y="582"/>
                </a:lnTo>
                <a:lnTo>
                  <a:pt x="1192" y="612"/>
                </a:lnTo>
                <a:lnTo>
                  <a:pt x="1309" y="681"/>
                </a:lnTo>
                <a:lnTo>
                  <a:pt x="1511" y="758"/>
                </a:lnTo>
                <a:lnTo>
                  <a:pt x="1686" y="807"/>
                </a:lnTo>
                <a:lnTo>
                  <a:pt x="1736" y="840"/>
                </a:lnTo>
                <a:lnTo>
                  <a:pt x="1581" y="849"/>
                </a:lnTo>
                <a:lnTo>
                  <a:pt x="1379" y="859"/>
                </a:lnTo>
                <a:lnTo>
                  <a:pt x="1289" y="899"/>
                </a:lnTo>
                <a:lnTo>
                  <a:pt x="1374" y="929"/>
                </a:lnTo>
                <a:lnTo>
                  <a:pt x="1481" y="959"/>
                </a:lnTo>
                <a:lnTo>
                  <a:pt x="1605" y="988"/>
                </a:lnTo>
                <a:lnTo>
                  <a:pt x="1739" y="1021"/>
                </a:lnTo>
                <a:lnTo>
                  <a:pt x="1802" y="1057"/>
                </a:lnTo>
                <a:lnTo>
                  <a:pt x="1742" y="1058"/>
                </a:lnTo>
                <a:lnTo>
                  <a:pt x="1657" y="1054"/>
                </a:lnTo>
                <a:lnTo>
                  <a:pt x="1646" y="1073"/>
                </a:lnTo>
                <a:lnTo>
                  <a:pt x="1555" y="1077"/>
                </a:lnTo>
                <a:lnTo>
                  <a:pt x="1572" y="1092"/>
                </a:lnTo>
                <a:lnTo>
                  <a:pt x="1610" y="1122"/>
                </a:lnTo>
                <a:lnTo>
                  <a:pt x="1583" y="1164"/>
                </a:lnTo>
                <a:lnTo>
                  <a:pt x="1550" y="1184"/>
                </a:lnTo>
                <a:lnTo>
                  <a:pt x="1511" y="1152"/>
                </a:lnTo>
                <a:lnTo>
                  <a:pt x="1469" y="1110"/>
                </a:lnTo>
                <a:lnTo>
                  <a:pt x="1427" y="1099"/>
                </a:lnTo>
                <a:lnTo>
                  <a:pt x="1386" y="1096"/>
                </a:lnTo>
                <a:lnTo>
                  <a:pt x="1359" y="1067"/>
                </a:lnTo>
                <a:lnTo>
                  <a:pt x="1323" y="1055"/>
                </a:lnTo>
                <a:lnTo>
                  <a:pt x="1257" y="1103"/>
                </a:lnTo>
                <a:lnTo>
                  <a:pt x="1201" y="1118"/>
                </a:lnTo>
                <a:lnTo>
                  <a:pt x="1116" y="1119"/>
                </a:lnTo>
                <a:lnTo>
                  <a:pt x="1025" y="1109"/>
                </a:lnTo>
                <a:lnTo>
                  <a:pt x="957" y="1094"/>
                </a:lnTo>
                <a:lnTo>
                  <a:pt x="957" y="1047"/>
                </a:lnTo>
                <a:lnTo>
                  <a:pt x="940" y="1064"/>
                </a:lnTo>
                <a:lnTo>
                  <a:pt x="915" y="1108"/>
                </a:lnTo>
                <a:lnTo>
                  <a:pt x="890" y="1138"/>
                </a:lnTo>
                <a:lnTo>
                  <a:pt x="918" y="1157"/>
                </a:lnTo>
                <a:lnTo>
                  <a:pt x="958" y="1160"/>
                </a:lnTo>
                <a:lnTo>
                  <a:pt x="981" y="1171"/>
                </a:lnTo>
                <a:lnTo>
                  <a:pt x="957" y="1218"/>
                </a:lnTo>
                <a:lnTo>
                  <a:pt x="1045" y="1225"/>
                </a:lnTo>
                <a:lnTo>
                  <a:pt x="1103" y="1223"/>
                </a:lnTo>
                <a:lnTo>
                  <a:pt x="1107" y="1231"/>
                </a:lnTo>
                <a:lnTo>
                  <a:pt x="1029" y="1266"/>
                </a:lnTo>
                <a:lnTo>
                  <a:pt x="954" y="1292"/>
                </a:lnTo>
                <a:lnTo>
                  <a:pt x="885" y="1306"/>
                </a:lnTo>
                <a:lnTo>
                  <a:pt x="866" y="1322"/>
                </a:lnTo>
                <a:lnTo>
                  <a:pt x="940" y="1355"/>
                </a:lnTo>
                <a:lnTo>
                  <a:pt x="964" y="1344"/>
                </a:lnTo>
                <a:lnTo>
                  <a:pt x="976" y="1350"/>
                </a:lnTo>
                <a:lnTo>
                  <a:pt x="976" y="1366"/>
                </a:lnTo>
                <a:lnTo>
                  <a:pt x="966" y="1385"/>
                </a:lnTo>
                <a:lnTo>
                  <a:pt x="996" y="1398"/>
                </a:lnTo>
                <a:lnTo>
                  <a:pt x="1039" y="1402"/>
                </a:lnTo>
                <a:lnTo>
                  <a:pt x="1074" y="1411"/>
                </a:lnTo>
                <a:lnTo>
                  <a:pt x="1083" y="1437"/>
                </a:lnTo>
                <a:lnTo>
                  <a:pt x="1005" y="1435"/>
                </a:lnTo>
                <a:lnTo>
                  <a:pt x="980" y="1456"/>
                </a:lnTo>
                <a:lnTo>
                  <a:pt x="991" y="1486"/>
                </a:lnTo>
                <a:lnTo>
                  <a:pt x="1029" y="1506"/>
                </a:lnTo>
                <a:lnTo>
                  <a:pt x="964" y="1507"/>
                </a:lnTo>
                <a:lnTo>
                  <a:pt x="893" y="1528"/>
                </a:lnTo>
                <a:lnTo>
                  <a:pt x="839" y="1562"/>
                </a:lnTo>
                <a:lnTo>
                  <a:pt x="828" y="1603"/>
                </a:lnTo>
                <a:lnTo>
                  <a:pt x="995" y="1568"/>
                </a:lnTo>
                <a:lnTo>
                  <a:pt x="1034" y="1635"/>
                </a:lnTo>
                <a:lnTo>
                  <a:pt x="1015" y="1701"/>
                </a:lnTo>
                <a:lnTo>
                  <a:pt x="1006" y="1663"/>
                </a:lnTo>
                <a:lnTo>
                  <a:pt x="949" y="1630"/>
                </a:lnTo>
                <a:lnTo>
                  <a:pt x="847" y="1637"/>
                </a:lnTo>
                <a:lnTo>
                  <a:pt x="735" y="1645"/>
                </a:lnTo>
                <a:lnTo>
                  <a:pt x="648" y="1605"/>
                </a:lnTo>
                <a:lnTo>
                  <a:pt x="589" y="1579"/>
                </a:lnTo>
                <a:lnTo>
                  <a:pt x="555" y="1585"/>
                </a:lnTo>
                <a:lnTo>
                  <a:pt x="535" y="1617"/>
                </a:lnTo>
                <a:lnTo>
                  <a:pt x="508" y="1666"/>
                </a:lnTo>
                <a:lnTo>
                  <a:pt x="557" y="1664"/>
                </a:lnTo>
                <a:lnTo>
                  <a:pt x="612" y="1655"/>
                </a:lnTo>
                <a:lnTo>
                  <a:pt x="664" y="1660"/>
                </a:lnTo>
                <a:lnTo>
                  <a:pt x="710" y="1698"/>
                </a:lnTo>
                <a:lnTo>
                  <a:pt x="775" y="1703"/>
                </a:lnTo>
                <a:lnTo>
                  <a:pt x="762" y="1717"/>
                </a:lnTo>
                <a:lnTo>
                  <a:pt x="720" y="1745"/>
                </a:lnTo>
                <a:lnTo>
                  <a:pt x="704" y="1791"/>
                </a:lnTo>
                <a:lnTo>
                  <a:pt x="740" y="1790"/>
                </a:lnTo>
                <a:lnTo>
                  <a:pt x="786" y="1766"/>
                </a:lnTo>
                <a:lnTo>
                  <a:pt x="837" y="1745"/>
                </a:lnTo>
                <a:lnTo>
                  <a:pt x="892" y="1757"/>
                </a:lnTo>
                <a:lnTo>
                  <a:pt x="902" y="1781"/>
                </a:lnTo>
                <a:lnTo>
                  <a:pt x="865" y="1784"/>
                </a:lnTo>
                <a:lnTo>
                  <a:pt x="817" y="1786"/>
                </a:lnTo>
                <a:lnTo>
                  <a:pt x="792" y="1814"/>
                </a:lnTo>
                <a:lnTo>
                  <a:pt x="817" y="1873"/>
                </a:lnTo>
                <a:lnTo>
                  <a:pt x="795" y="1921"/>
                </a:lnTo>
                <a:lnTo>
                  <a:pt x="749" y="1945"/>
                </a:lnTo>
                <a:lnTo>
                  <a:pt x="704" y="1931"/>
                </a:lnTo>
                <a:lnTo>
                  <a:pt x="771" y="1897"/>
                </a:lnTo>
                <a:lnTo>
                  <a:pt x="744" y="1882"/>
                </a:lnTo>
                <a:lnTo>
                  <a:pt x="687" y="1866"/>
                </a:lnTo>
                <a:lnTo>
                  <a:pt x="660" y="1833"/>
                </a:lnTo>
                <a:lnTo>
                  <a:pt x="627" y="1852"/>
                </a:lnTo>
                <a:lnTo>
                  <a:pt x="596" y="1908"/>
                </a:lnTo>
                <a:lnTo>
                  <a:pt x="566" y="1943"/>
                </a:lnTo>
                <a:lnTo>
                  <a:pt x="539" y="1897"/>
                </a:lnTo>
                <a:lnTo>
                  <a:pt x="501" y="1955"/>
                </a:lnTo>
                <a:lnTo>
                  <a:pt x="533" y="1969"/>
                </a:lnTo>
                <a:lnTo>
                  <a:pt x="596" y="1963"/>
                </a:lnTo>
                <a:lnTo>
                  <a:pt x="657" y="1964"/>
                </a:lnTo>
                <a:lnTo>
                  <a:pt x="668" y="2008"/>
                </a:lnTo>
                <a:lnTo>
                  <a:pt x="699" y="2038"/>
                </a:lnTo>
                <a:lnTo>
                  <a:pt x="734" y="2062"/>
                </a:lnTo>
                <a:lnTo>
                  <a:pt x="748" y="2088"/>
                </a:lnTo>
                <a:lnTo>
                  <a:pt x="631" y="2140"/>
                </a:lnTo>
                <a:lnTo>
                  <a:pt x="648" y="2255"/>
                </a:lnTo>
                <a:lnTo>
                  <a:pt x="701" y="2400"/>
                </a:lnTo>
                <a:lnTo>
                  <a:pt x="680" y="2542"/>
                </a:lnTo>
                <a:lnTo>
                  <a:pt x="711" y="2578"/>
                </a:lnTo>
                <a:lnTo>
                  <a:pt x="656" y="2612"/>
                </a:lnTo>
                <a:lnTo>
                  <a:pt x="568" y="2634"/>
                </a:lnTo>
                <a:lnTo>
                  <a:pt x="499" y="2630"/>
                </a:lnTo>
                <a:lnTo>
                  <a:pt x="494" y="2656"/>
                </a:lnTo>
                <a:lnTo>
                  <a:pt x="499" y="2675"/>
                </a:lnTo>
                <a:lnTo>
                  <a:pt x="516" y="2681"/>
                </a:lnTo>
                <a:lnTo>
                  <a:pt x="544" y="2675"/>
                </a:lnTo>
                <a:lnTo>
                  <a:pt x="576" y="2698"/>
                </a:lnTo>
                <a:lnTo>
                  <a:pt x="587" y="2742"/>
                </a:lnTo>
                <a:lnTo>
                  <a:pt x="592" y="2793"/>
                </a:lnTo>
                <a:lnTo>
                  <a:pt x="601" y="2838"/>
                </a:lnTo>
                <a:lnTo>
                  <a:pt x="609" y="2932"/>
                </a:lnTo>
                <a:lnTo>
                  <a:pt x="615" y="3036"/>
                </a:lnTo>
                <a:lnTo>
                  <a:pt x="604" y="3124"/>
                </a:lnTo>
                <a:lnTo>
                  <a:pt x="559" y="3165"/>
                </a:lnTo>
                <a:lnTo>
                  <a:pt x="676" y="3245"/>
                </a:lnTo>
                <a:lnTo>
                  <a:pt x="692" y="3287"/>
                </a:lnTo>
                <a:lnTo>
                  <a:pt x="636" y="3326"/>
                </a:lnTo>
                <a:lnTo>
                  <a:pt x="540" y="3396"/>
                </a:lnTo>
                <a:lnTo>
                  <a:pt x="627" y="3410"/>
                </a:lnTo>
                <a:lnTo>
                  <a:pt x="609" y="3452"/>
                </a:lnTo>
                <a:lnTo>
                  <a:pt x="535" y="3487"/>
                </a:lnTo>
                <a:lnTo>
                  <a:pt x="449" y="3479"/>
                </a:lnTo>
                <a:lnTo>
                  <a:pt x="525" y="3508"/>
                </a:lnTo>
                <a:lnTo>
                  <a:pt x="594" y="3536"/>
                </a:lnTo>
                <a:lnTo>
                  <a:pt x="642" y="3575"/>
                </a:lnTo>
                <a:lnTo>
                  <a:pt x="657" y="3629"/>
                </a:lnTo>
                <a:lnTo>
                  <a:pt x="636" y="3632"/>
                </a:lnTo>
                <a:lnTo>
                  <a:pt x="610" y="3637"/>
                </a:lnTo>
                <a:lnTo>
                  <a:pt x="598" y="3647"/>
                </a:lnTo>
                <a:lnTo>
                  <a:pt x="613" y="3670"/>
                </a:lnTo>
                <a:lnTo>
                  <a:pt x="670" y="3702"/>
                </a:lnTo>
                <a:lnTo>
                  <a:pt x="739" y="3746"/>
                </a:lnTo>
                <a:lnTo>
                  <a:pt x="805" y="3772"/>
                </a:lnTo>
                <a:lnTo>
                  <a:pt x="853" y="3744"/>
                </a:lnTo>
                <a:lnTo>
                  <a:pt x="811" y="3724"/>
                </a:lnTo>
                <a:lnTo>
                  <a:pt x="806" y="3721"/>
                </a:lnTo>
                <a:lnTo>
                  <a:pt x="823" y="3720"/>
                </a:lnTo>
                <a:lnTo>
                  <a:pt x="846" y="3699"/>
                </a:lnTo>
                <a:lnTo>
                  <a:pt x="842" y="3665"/>
                </a:lnTo>
                <a:lnTo>
                  <a:pt x="857" y="3675"/>
                </a:lnTo>
                <a:lnTo>
                  <a:pt x="884" y="3690"/>
                </a:lnTo>
                <a:lnTo>
                  <a:pt x="912" y="3674"/>
                </a:lnTo>
                <a:lnTo>
                  <a:pt x="934" y="3627"/>
                </a:lnTo>
                <a:lnTo>
                  <a:pt x="966" y="3619"/>
                </a:lnTo>
                <a:lnTo>
                  <a:pt x="1005" y="3638"/>
                </a:lnTo>
                <a:lnTo>
                  <a:pt x="1048" y="3669"/>
                </a:lnTo>
                <a:lnTo>
                  <a:pt x="1098" y="3703"/>
                </a:lnTo>
                <a:lnTo>
                  <a:pt x="1141" y="3715"/>
                </a:lnTo>
                <a:lnTo>
                  <a:pt x="1150" y="3706"/>
                </a:lnTo>
                <a:lnTo>
                  <a:pt x="1093" y="3680"/>
                </a:lnTo>
                <a:lnTo>
                  <a:pt x="1094" y="3666"/>
                </a:lnTo>
                <a:lnTo>
                  <a:pt x="1145" y="3667"/>
                </a:lnTo>
                <a:lnTo>
                  <a:pt x="1204" y="3682"/>
                </a:lnTo>
                <a:lnTo>
                  <a:pt x="1224" y="3703"/>
                </a:lnTo>
                <a:lnTo>
                  <a:pt x="1222" y="3762"/>
                </a:lnTo>
                <a:lnTo>
                  <a:pt x="1297" y="3792"/>
                </a:lnTo>
                <a:lnTo>
                  <a:pt x="1378" y="3811"/>
                </a:lnTo>
                <a:lnTo>
                  <a:pt x="1396" y="3838"/>
                </a:lnTo>
                <a:lnTo>
                  <a:pt x="1337" y="3823"/>
                </a:lnTo>
                <a:lnTo>
                  <a:pt x="1279" y="3813"/>
                </a:lnTo>
                <a:lnTo>
                  <a:pt x="1224" y="3799"/>
                </a:lnTo>
                <a:lnTo>
                  <a:pt x="1173" y="3774"/>
                </a:lnTo>
                <a:lnTo>
                  <a:pt x="1116" y="3772"/>
                </a:lnTo>
                <a:lnTo>
                  <a:pt x="1137" y="3806"/>
                </a:lnTo>
                <a:lnTo>
                  <a:pt x="1183" y="3851"/>
                </a:lnTo>
                <a:lnTo>
                  <a:pt x="1195" y="3880"/>
                </a:lnTo>
                <a:lnTo>
                  <a:pt x="1278" y="3876"/>
                </a:lnTo>
                <a:lnTo>
                  <a:pt x="1358" y="3892"/>
                </a:lnTo>
                <a:lnTo>
                  <a:pt x="1432" y="3917"/>
                </a:lnTo>
                <a:lnTo>
                  <a:pt x="1494" y="3942"/>
                </a:lnTo>
                <a:lnTo>
                  <a:pt x="1485" y="3908"/>
                </a:lnTo>
                <a:lnTo>
                  <a:pt x="1522" y="3911"/>
                </a:lnTo>
                <a:lnTo>
                  <a:pt x="1573" y="3927"/>
                </a:lnTo>
                <a:lnTo>
                  <a:pt x="1606" y="3936"/>
                </a:lnTo>
                <a:lnTo>
                  <a:pt x="1560" y="3974"/>
                </a:lnTo>
                <a:lnTo>
                  <a:pt x="1479" y="4000"/>
                </a:lnTo>
                <a:lnTo>
                  <a:pt x="1383" y="4016"/>
                </a:lnTo>
                <a:lnTo>
                  <a:pt x="1299" y="4029"/>
                </a:lnTo>
                <a:lnTo>
                  <a:pt x="1299" y="4025"/>
                </a:lnTo>
                <a:lnTo>
                  <a:pt x="1299" y="4023"/>
                </a:lnTo>
                <a:lnTo>
                  <a:pt x="1298" y="4019"/>
                </a:lnTo>
                <a:lnTo>
                  <a:pt x="1295" y="4015"/>
                </a:lnTo>
                <a:lnTo>
                  <a:pt x="1290" y="4018"/>
                </a:lnTo>
                <a:lnTo>
                  <a:pt x="1288" y="4021"/>
                </a:lnTo>
                <a:lnTo>
                  <a:pt x="1288" y="4025"/>
                </a:lnTo>
                <a:lnTo>
                  <a:pt x="1290" y="4029"/>
                </a:lnTo>
                <a:lnTo>
                  <a:pt x="1275" y="4032"/>
                </a:lnTo>
                <a:lnTo>
                  <a:pt x="1262" y="4034"/>
                </a:lnTo>
                <a:lnTo>
                  <a:pt x="1201" y="4026"/>
                </a:lnTo>
                <a:lnTo>
                  <a:pt x="1123" y="4046"/>
                </a:lnTo>
                <a:lnTo>
                  <a:pt x="1042" y="4047"/>
                </a:lnTo>
                <a:lnTo>
                  <a:pt x="968" y="3979"/>
                </a:lnTo>
                <a:lnTo>
                  <a:pt x="834" y="4091"/>
                </a:lnTo>
                <a:lnTo>
                  <a:pt x="815" y="4215"/>
                </a:lnTo>
                <a:lnTo>
                  <a:pt x="819" y="4318"/>
                </a:lnTo>
                <a:lnTo>
                  <a:pt x="752" y="4366"/>
                </a:lnTo>
                <a:lnTo>
                  <a:pt x="811" y="4420"/>
                </a:lnTo>
                <a:lnTo>
                  <a:pt x="836" y="4505"/>
                </a:lnTo>
                <a:lnTo>
                  <a:pt x="845" y="4601"/>
                </a:lnTo>
                <a:lnTo>
                  <a:pt x="856" y="4688"/>
                </a:lnTo>
                <a:lnTo>
                  <a:pt x="847" y="4691"/>
                </a:lnTo>
                <a:lnTo>
                  <a:pt x="839" y="4695"/>
                </a:lnTo>
                <a:lnTo>
                  <a:pt x="833" y="4700"/>
                </a:lnTo>
                <a:lnTo>
                  <a:pt x="828" y="4707"/>
                </a:lnTo>
                <a:lnTo>
                  <a:pt x="831" y="4724"/>
                </a:lnTo>
                <a:lnTo>
                  <a:pt x="841" y="4725"/>
                </a:lnTo>
                <a:lnTo>
                  <a:pt x="852" y="4715"/>
                </a:lnTo>
                <a:lnTo>
                  <a:pt x="860" y="4699"/>
                </a:lnTo>
                <a:lnTo>
                  <a:pt x="873" y="4730"/>
                </a:lnTo>
                <a:lnTo>
                  <a:pt x="894" y="4753"/>
                </a:lnTo>
                <a:lnTo>
                  <a:pt x="925" y="4763"/>
                </a:lnTo>
                <a:lnTo>
                  <a:pt x="968" y="4761"/>
                </a:lnTo>
                <a:lnTo>
                  <a:pt x="985" y="4800"/>
                </a:lnTo>
                <a:lnTo>
                  <a:pt x="960" y="4832"/>
                </a:lnTo>
                <a:lnTo>
                  <a:pt x="932" y="4863"/>
                </a:lnTo>
                <a:lnTo>
                  <a:pt x="935" y="4897"/>
                </a:lnTo>
                <a:lnTo>
                  <a:pt x="953" y="4935"/>
                </a:lnTo>
                <a:lnTo>
                  <a:pt x="948" y="4967"/>
                </a:lnTo>
                <a:lnTo>
                  <a:pt x="949" y="4994"/>
                </a:lnTo>
                <a:lnTo>
                  <a:pt x="990" y="5017"/>
                </a:lnTo>
                <a:lnTo>
                  <a:pt x="959" y="5111"/>
                </a:lnTo>
                <a:lnTo>
                  <a:pt x="1037" y="5116"/>
                </a:lnTo>
                <a:lnTo>
                  <a:pt x="1136" y="5103"/>
                </a:lnTo>
                <a:lnTo>
                  <a:pt x="1169" y="5142"/>
                </a:lnTo>
                <a:lnTo>
                  <a:pt x="1101" y="5209"/>
                </a:lnTo>
                <a:lnTo>
                  <a:pt x="1253" y="5210"/>
                </a:lnTo>
                <a:lnTo>
                  <a:pt x="1410" y="5181"/>
                </a:lnTo>
                <a:lnTo>
                  <a:pt x="1349" y="5154"/>
                </a:lnTo>
                <a:lnTo>
                  <a:pt x="1326" y="5121"/>
                </a:lnTo>
                <a:lnTo>
                  <a:pt x="1335" y="5098"/>
                </a:lnTo>
                <a:lnTo>
                  <a:pt x="1365" y="5087"/>
                </a:lnTo>
                <a:lnTo>
                  <a:pt x="1406" y="5092"/>
                </a:lnTo>
                <a:lnTo>
                  <a:pt x="1432" y="5080"/>
                </a:lnTo>
                <a:lnTo>
                  <a:pt x="1458" y="5072"/>
                </a:lnTo>
                <a:lnTo>
                  <a:pt x="1485" y="5065"/>
                </a:lnTo>
                <a:lnTo>
                  <a:pt x="1512" y="5060"/>
                </a:lnTo>
                <a:lnTo>
                  <a:pt x="1516" y="5061"/>
                </a:lnTo>
                <a:lnTo>
                  <a:pt x="1521" y="5061"/>
                </a:lnTo>
                <a:lnTo>
                  <a:pt x="1516" y="5060"/>
                </a:lnTo>
                <a:lnTo>
                  <a:pt x="1627" y="5055"/>
                </a:lnTo>
                <a:lnTo>
                  <a:pt x="1739" y="5058"/>
                </a:lnTo>
                <a:lnTo>
                  <a:pt x="1854" y="5051"/>
                </a:lnTo>
                <a:lnTo>
                  <a:pt x="1973" y="5018"/>
                </a:lnTo>
                <a:lnTo>
                  <a:pt x="2067" y="5010"/>
                </a:lnTo>
                <a:lnTo>
                  <a:pt x="2161" y="5004"/>
                </a:lnTo>
                <a:lnTo>
                  <a:pt x="2254" y="4998"/>
                </a:lnTo>
                <a:lnTo>
                  <a:pt x="2347" y="4991"/>
                </a:lnTo>
                <a:lnTo>
                  <a:pt x="2356" y="4994"/>
                </a:lnTo>
                <a:lnTo>
                  <a:pt x="2365" y="4995"/>
                </a:lnTo>
                <a:lnTo>
                  <a:pt x="2374" y="4994"/>
                </a:lnTo>
                <a:lnTo>
                  <a:pt x="2383" y="4989"/>
                </a:lnTo>
                <a:lnTo>
                  <a:pt x="2377" y="4989"/>
                </a:lnTo>
                <a:lnTo>
                  <a:pt x="2458" y="4982"/>
                </a:lnTo>
                <a:lnTo>
                  <a:pt x="2540" y="4975"/>
                </a:lnTo>
                <a:lnTo>
                  <a:pt x="2621" y="4965"/>
                </a:lnTo>
                <a:lnTo>
                  <a:pt x="2703" y="4954"/>
                </a:lnTo>
                <a:lnTo>
                  <a:pt x="2773" y="4967"/>
                </a:lnTo>
                <a:lnTo>
                  <a:pt x="2838" y="4956"/>
                </a:lnTo>
                <a:lnTo>
                  <a:pt x="2896" y="4949"/>
                </a:lnTo>
                <a:lnTo>
                  <a:pt x="2946" y="4974"/>
                </a:lnTo>
                <a:lnTo>
                  <a:pt x="2961" y="4993"/>
                </a:lnTo>
                <a:lnTo>
                  <a:pt x="2988" y="4976"/>
                </a:lnTo>
                <a:lnTo>
                  <a:pt x="3017" y="4948"/>
                </a:lnTo>
                <a:lnTo>
                  <a:pt x="3043" y="4933"/>
                </a:lnTo>
                <a:lnTo>
                  <a:pt x="3015" y="4770"/>
                </a:lnTo>
                <a:lnTo>
                  <a:pt x="3072" y="4674"/>
                </a:lnTo>
                <a:lnTo>
                  <a:pt x="3164" y="4668"/>
                </a:lnTo>
                <a:lnTo>
                  <a:pt x="3239" y="4774"/>
                </a:lnTo>
                <a:lnTo>
                  <a:pt x="3230" y="4769"/>
                </a:lnTo>
                <a:lnTo>
                  <a:pt x="3216" y="4763"/>
                </a:lnTo>
                <a:lnTo>
                  <a:pt x="3197" y="4757"/>
                </a:lnTo>
                <a:lnTo>
                  <a:pt x="3171" y="4749"/>
                </a:lnTo>
                <a:lnTo>
                  <a:pt x="3076" y="4789"/>
                </a:lnTo>
                <a:lnTo>
                  <a:pt x="3094" y="4883"/>
                </a:lnTo>
                <a:lnTo>
                  <a:pt x="3151" y="4942"/>
                </a:lnTo>
                <a:lnTo>
                  <a:pt x="3171" y="4877"/>
                </a:lnTo>
                <a:lnTo>
                  <a:pt x="3128" y="4833"/>
                </a:lnTo>
                <a:lnTo>
                  <a:pt x="3152" y="4809"/>
                </a:lnTo>
                <a:lnTo>
                  <a:pt x="3203" y="4797"/>
                </a:lnTo>
                <a:lnTo>
                  <a:pt x="3241" y="4785"/>
                </a:lnTo>
                <a:lnTo>
                  <a:pt x="3243" y="4789"/>
                </a:lnTo>
                <a:lnTo>
                  <a:pt x="3244" y="4793"/>
                </a:lnTo>
                <a:lnTo>
                  <a:pt x="3338" y="4825"/>
                </a:lnTo>
                <a:lnTo>
                  <a:pt x="3282" y="4870"/>
                </a:lnTo>
                <a:lnTo>
                  <a:pt x="3221" y="4910"/>
                </a:lnTo>
                <a:lnTo>
                  <a:pt x="3302" y="4924"/>
                </a:lnTo>
                <a:lnTo>
                  <a:pt x="3355" y="4924"/>
                </a:lnTo>
                <a:lnTo>
                  <a:pt x="3404" y="4939"/>
                </a:lnTo>
                <a:lnTo>
                  <a:pt x="3454" y="4948"/>
                </a:lnTo>
                <a:lnTo>
                  <a:pt x="3502" y="4932"/>
                </a:lnTo>
                <a:lnTo>
                  <a:pt x="3541" y="4926"/>
                </a:lnTo>
                <a:lnTo>
                  <a:pt x="3578" y="4920"/>
                </a:lnTo>
                <a:lnTo>
                  <a:pt x="3613" y="4916"/>
                </a:lnTo>
                <a:lnTo>
                  <a:pt x="3651" y="4925"/>
                </a:lnTo>
                <a:lnTo>
                  <a:pt x="3678" y="4988"/>
                </a:lnTo>
                <a:lnTo>
                  <a:pt x="3763" y="5021"/>
                </a:lnTo>
                <a:lnTo>
                  <a:pt x="3846" y="5016"/>
                </a:lnTo>
                <a:lnTo>
                  <a:pt x="3865" y="4962"/>
                </a:lnTo>
                <a:lnTo>
                  <a:pt x="3901" y="4948"/>
                </a:lnTo>
                <a:lnTo>
                  <a:pt x="3942" y="4993"/>
                </a:lnTo>
                <a:lnTo>
                  <a:pt x="3989" y="5036"/>
                </a:lnTo>
                <a:lnTo>
                  <a:pt x="4044" y="5017"/>
                </a:lnTo>
                <a:lnTo>
                  <a:pt x="4204" y="5005"/>
                </a:lnTo>
                <a:lnTo>
                  <a:pt x="4244" y="5041"/>
                </a:lnTo>
                <a:lnTo>
                  <a:pt x="4258" y="5023"/>
                </a:lnTo>
                <a:lnTo>
                  <a:pt x="4342" y="4849"/>
                </a:lnTo>
                <a:lnTo>
                  <a:pt x="4366" y="4881"/>
                </a:lnTo>
                <a:lnTo>
                  <a:pt x="4366" y="4909"/>
                </a:lnTo>
                <a:lnTo>
                  <a:pt x="4348" y="4938"/>
                </a:lnTo>
                <a:lnTo>
                  <a:pt x="4321" y="4971"/>
                </a:lnTo>
                <a:lnTo>
                  <a:pt x="4328" y="4991"/>
                </a:lnTo>
                <a:lnTo>
                  <a:pt x="4345" y="4998"/>
                </a:lnTo>
                <a:lnTo>
                  <a:pt x="4370" y="4996"/>
                </a:lnTo>
                <a:lnTo>
                  <a:pt x="4391" y="4995"/>
                </a:lnTo>
                <a:lnTo>
                  <a:pt x="4401" y="4998"/>
                </a:lnTo>
                <a:lnTo>
                  <a:pt x="4407" y="5004"/>
                </a:lnTo>
                <a:lnTo>
                  <a:pt x="4407" y="5016"/>
                </a:lnTo>
                <a:lnTo>
                  <a:pt x="4404" y="5032"/>
                </a:lnTo>
                <a:lnTo>
                  <a:pt x="4417" y="5050"/>
                </a:lnTo>
                <a:lnTo>
                  <a:pt x="4440" y="5059"/>
                </a:lnTo>
                <a:lnTo>
                  <a:pt x="4461" y="5070"/>
                </a:lnTo>
                <a:lnTo>
                  <a:pt x="4473" y="5096"/>
                </a:lnTo>
                <a:lnTo>
                  <a:pt x="4646" y="4993"/>
                </a:lnTo>
                <a:lnTo>
                  <a:pt x="4847" y="4953"/>
                </a:lnTo>
                <a:lnTo>
                  <a:pt x="5062" y="4949"/>
                </a:lnTo>
                <a:lnTo>
                  <a:pt x="5279" y="4957"/>
                </a:lnTo>
                <a:lnTo>
                  <a:pt x="5526" y="4963"/>
                </a:lnTo>
                <a:lnTo>
                  <a:pt x="5559" y="4985"/>
                </a:lnTo>
                <a:lnTo>
                  <a:pt x="5520" y="5032"/>
                </a:lnTo>
                <a:lnTo>
                  <a:pt x="5548" y="5117"/>
                </a:lnTo>
                <a:lnTo>
                  <a:pt x="5667" y="5022"/>
                </a:lnTo>
                <a:lnTo>
                  <a:pt x="5805" y="5014"/>
                </a:lnTo>
                <a:lnTo>
                  <a:pt x="5953" y="5027"/>
                </a:lnTo>
                <a:lnTo>
                  <a:pt x="6104" y="4995"/>
                </a:lnTo>
                <a:lnTo>
                  <a:pt x="6095" y="5032"/>
                </a:lnTo>
                <a:lnTo>
                  <a:pt x="6030" y="5047"/>
                </a:lnTo>
                <a:lnTo>
                  <a:pt x="5976" y="5064"/>
                </a:lnTo>
                <a:lnTo>
                  <a:pt x="5996" y="5103"/>
                </a:lnTo>
                <a:lnTo>
                  <a:pt x="6094" y="5077"/>
                </a:lnTo>
                <a:lnTo>
                  <a:pt x="6169" y="5030"/>
                </a:lnTo>
                <a:lnTo>
                  <a:pt x="6206" y="4952"/>
                </a:lnTo>
                <a:lnTo>
                  <a:pt x="6186" y="4839"/>
                </a:lnTo>
                <a:lnTo>
                  <a:pt x="6300" y="4845"/>
                </a:lnTo>
                <a:lnTo>
                  <a:pt x="6363" y="4929"/>
                </a:lnTo>
                <a:lnTo>
                  <a:pt x="6370" y="5046"/>
                </a:lnTo>
                <a:lnTo>
                  <a:pt x="6323" y="5153"/>
                </a:lnTo>
                <a:lnTo>
                  <a:pt x="6313" y="5245"/>
                </a:lnTo>
                <a:lnTo>
                  <a:pt x="6330" y="5353"/>
                </a:lnTo>
                <a:lnTo>
                  <a:pt x="6373" y="5396"/>
                </a:lnTo>
                <a:lnTo>
                  <a:pt x="6449" y="5294"/>
                </a:lnTo>
                <a:lnTo>
                  <a:pt x="6504" y="5227"/>
                </a:lnTo>
                <a:lnTo>
                  <a:pt x="6588" y="5192"/>
                </a:lnTo>
                <a:lnTo>
                  <a:pt x="6642" y="5161"/>
                </a:lnTo>
                <a:lnTo>
                  <a:pt x="6601" y="5102"/>
                </a:lnTo>
                <a:lnTo>
                  <a:pt x="6634" y="5075"/>
                </a:lnTo>
                <a:lnTo>
                  <a:pt x="6690" y="5089"/>
                </a:lnTo>
                <a:lnTo>
                  <a:pt x="6751" y="5106"/>
                </a:lnTo>
                <a:lnTo>
                  <a:pt x="6799" y="5086"/>
                </a:lnTo>
                <a:lnTo>
                  <a:pt x="6741" y="5022"/>
                </a:lnTo>
                <a:lnTo>
                  <a:pt x="6759" y="4991"/>
                </a:lnTo>
                <a:lnTo>
                  <a:pt x="6819" y="4967"/>
                </a:lnTo>
                <a:lnTo>
                  <a:pt x="6881" y="4928"/>
                </a:lnTo>
                <a:lnTo>
                  <a:pt x="6867" y="4867"/>
                </a:lnTo>
                <a:lnTo>
                  <a:pt x="6826" y="4830"/>
                </a:lnTo>
                <a:lnTo>
                  <a:pt x="6788" y="4809"/>
                </a:lnTo>
                <a:lnTo>
                  <a:pt x="6778" y="4797"/>
                </a:lnTo>
                <a:lnTo>
                  <a:pt x="6928" y="4803"/>
                </a:lnTo>
                <a:lnTo>
                  <a:pt x="7036" y="4817"/>
                </a:lnTo>
                <a:lnTo>
                  <a:pt x="7143" y="4825"/>
                </a:lnTo>
                <a:lnTo>
                  <a:pt x="7291" y="4816"/>
                </a:lnTo>
                <a:lnTo>
                  <a:pt x="7333" y="4853"/>
                </a:lnTo>
                <a:lnTo>
                  <a:pt x="7352" y="4863"/>
                </a:lnTo>
                <a:lnTo>
                  <a:pt x="7366" y="4850"/>
                </a:lnTo>
                <a:lnTo>
                  <a:pt x="7389" y="4819"/>
                </a:lnTo>
                <a:lnTo>
                  <a:pt x="7486" y="4869"/>
                </a:lnTo>
                <a:lnTo>
                  <a:pt x="7387" y="4904"/>
                </a:lnTo>
                <a:lnTo>
                  <a:pt x="7224" y="4906"/>
                </a:lnTo>
                <a:lnTo>
                  <a:pt x="7128" y="4855"/>
                </a:lnTo>
                <a:lnTo>
                  <a:pt x="7085" y="4872"/>
                </a:lnTo>
                <a:lnTo>
                  <a:pt x="7021" y="4865"/>
                </a:lnTo>
                <a:lnTo>
                  <a:pt x="6960" y="4865"/>
                </a:lnTo>
                <a:lnTo>
                  <a:pt x="6929" y="4905"/>
                </a:lnTo>
                <a:lnTo>
                  <a:pt x="6920" y="4949"/>
                </a:lnTo>
                <a:lnTo>
                  <a:pt x="6903" y="4994"/>
                </a:lnTo>
                <a:lnTo>
                  <a:pt x="6903" y="5031"/>
                </a:lnTo>
                <a:lnTo>
                  <a:pt x="6947" y="5052"/>
                </a:lnTo>
                <a:lnTo>
                  <a:pt x="7081" y="4966"/>
                </a:lnTo>
                <a:lnTo>
                  <a:pt x="7109" y="5022"/>
                </a:lnTo>
                <a:lnTo>
                  <a:pt x="7061" y="5149"/>
                </a:lnTo>
                <a:lnTo>
                  <a:pt x="6970" y="5271"/>
                </a:lnTo>
                <a:lnTo>
                  <a:pt x="7139" y="5298"/>
                </a:lnTo>
                <a:lnTo>
                  <a:pt x="7206" y="5157"/>
                </a:lnTo>
                <a:lnTo>
                  <a:pt x="7269" y="5024"/>
                </a:lnTo>
                <a:lnTo>
                  <a:pt x="7430" y="5079"/>
                </a:lnTo>
                <a:lnTo>
                  <a:pt x="7411" y="5194"/>
                </a:lnTo>
                <a:lnTo>
                  <a:pt x="7458" y="5198"/>
                </a:lnTo>
                <a:lnTo>
                  <a:pt x="7550" y="5161"/>
                </a:lnTo>
                <a:lnTo>
                  <a:pt x="7667" y="5156"/>
                </a:lnTo>
                <a:lnTo>
                  <a:pt x="7713" y="5094"/>
                </a:lnTo>
                <a:lnTo>
                  <a:pt x="7753" y="5042"/>
                </a:lnTo>
                <a:lnTo>
                  <a:pt x="7792" y="4990"/>
                </a:lnTo>
                <a:lnTo>
                  <a:pt x="7830" y="4926"/>
                </a:lnTo>
                <a:lnTo>
                  <a:pt x="7890" y="4918"/>
                </a:lnTo>
                <a:lnTo>
                  <a:pt x="7905" y="4946"/>
                </a:lnTo>
                <a:lnTo>
                  <a:pt x="7882" y="4985"/>
                </a:lnTo>
                <a:lnTo>
                  <a:pt x="7828" y="5012"/>
                </a:lnTo>
                <a:lnTo>
                  <a:pt x="7846" y="5051"/>
                </a:lnTo>
                <a:lnTo>
                  <a:pt x="7912" y="5063"/>
                </a:lnTo>
                <a:lnTo>
                  <a:pt x="7995" y="5074"/>
                </a:lnTo>
                <a:lnTo>
                  <a:pt x="8060" y="5119"/>
                </a:lnTo>
                <a:lnTo>
                  <a:pt x="8093" y="5080"/>
                </a:lnTo>
                <a:lnTo>
                  <a:pt x="8109" y="5027"/>
                </a:lnTo>
                <a:lnTo>
                  <a:pt x="8133" y="4986"/>
                </a:lnTo>
                <a:lnTo>
                  <a:pt x="8193" y="4986"/>
                </a:lnTo>
                <a:lnTo>
                  <a:pt x="8277" y="4979"/>
                </a:lnTo>
                <a:lnTo>
                  <a:pt x="8301" y="4961"/>
                </a:lnTo>
                <a:lnTo>
                  <a:pt x="8310" y="4928"/>
                </a:lnTo>
                <a:lnTo>
                  <a:pt x="8345" y="4876"/>
                </a:lnTo>
                <a:lnTo>
                  <a:pt x="8343" y="4842"/>
                </a:lnTo>
                <a:lnTo>
                  <a:pt x="8366" y="4858"/>
                </a:lnTo>
                <a:lnTo>
                  <a:pt x="8394" y="4892"/>
                </a:lnTo>
                <a:lnTo>
                  <a:pt x="8409" y="4918"/>
                </a:lnTo>
                <a:lnTo>
                  <a:pt x="8396" y="4932"/>
                </a:lnTo>
                <a:lnTo>
                  <a:pt x="8384" y="4948"/>
                </a:lnTo>
                <a:lnTo>
                  <a:pt x="8380" y="4965"/>
                </a:lnTo>
                <a:lnTo>
                  <a:pt x="8394" y="4977"/>
                </a:lnTo>
                <a:lnTo>
                  <a:pt x="8515" y="4946"/>
                </a:lnTo>
                <a:lnTo>
                  <a:pt x="8608" y="4989"/>
                </a:lnTo>
                <a:lnTo>
                  <a:pt x="8636" y="5061"/>
                </a:lnTo>
                <a:lnTo>
                  <a:pt x="8562" y="5119"/>
                </a:lnTo>
                <a:lnTo>
                  <a:pt x="8539" y="5068"/>
                </a:lnTo>
                <a:lnTo>
                  <a:pt x="8496" y="5030"/>
                </a:lnTo>
                <a:lnTo>
                  <a:pt x="8458" y="5027"/>
                </a:lnTo>
                <a:lnTo>
                  <a:pt x="8451" y="5080"/>
                </a:lnTo>
                <a:lnTo>
                  <a:pt x="8432" y="5125"/>
                </a:lnTo>
                <a:lnTo>
                  <a:pt x="8408" y="5119"/>
                </a:lnTo>
                <a:lnTo>
                  <a:pt x="8380" y="5098"/>
                </a:lnTo>
                <a:lnTo>
                  <a:pt x="8354" y="5101"/>
                </a:lnTo>
                <a:lnTo>
                  <a:pt x="8324" y="5114"/>
                </a:lnTo>
                <a:lnTo>
                  <a:pt x="8298" y="5084"/>
                </a:lnTo>
                <a:lnTo>
                  <a:pt x="8272" y="5054"/>
                </a:lnTo>
                <a:lnTo>
                  <a:pt x="8239" y="5064"/>
                </a:lnTo>
                <a:lnTo>
                  <a:pt x="8246" y="5184"/>
                </a:lnTo>
                <a:lnTo>
                  <a:pt x="8190" y="5191"/>
                </a:lnTo>
                <a:lnTo>
                  <a:pt x="8121" y="5200"/>
                </a:lnTo>
                <a:lnTo>
                  <a:pt x="8095" y="5322"/>
                </a:lnTo>
                <a:lnTo>
                  <a:pt x="8147" y="5343"/>
                </a:lnTo>
                <a:lnTo>
                  <a:pt x="8213" y="5306"/>
                </a:lnTo>
                <a:lnTo>
                  <a:pt x="8278" y="5279"/>
                </a:lnTo>
                <a:lnTo>
                  <a:pt x="8330" y="5331"/>
                </a:lnTo>
                <a:lnTo>
                  <a:pt x="8361" y="5369"/>
                </a:lnTo>
                <a:lnTo>
                  <a:pt x="8377" y="5357"/>
                </a:lnTo>
                <a:lnTo>
                  <a:pt x="8407" y="5349"/>
                </a:lnTo>
                <a:lnTo>
                  <a:pt x="8473" y="5397"/>
                </a:lnTo>
                <a:lnTo>
                  <a:pt x="8545" y="5360"/>
                </a:lnTo>
                <a:lnTo>
                  <a:pt x="8552" y="5303"/>
                </a:lnTo>
                <a:lnTo>
                  <a:pt x="8543" y="5238"/>
                </a:lnTo>
                <a:lnTo>
                  <a:pt x="8577" y="5184"/>
                </a:lnTo>
                <a:lnTo>
                  <a:pt x="8642" y="5241"/>
                </a:lnTo>
                <a:lnTo>
                  <a:pt x="8693" y="5260"/>
                </a:lnTo>
                <a:lnTo>
                  <a:pt x="8693" y="5279"/>
                </a:lnTo>
                <a:lnTo>
                  <a:pt x="8604" y="5338"/>
                </a:lnTo>
                <a:lnTo>
                  <a:pt x="8686" y="5366"/>
                </a:lnTo>
                <a:lnTo>
                  <a:pt x="8734" y="5359"/>
                </a:lnTo>
                <a:lnTo>
                  <a:pt x="8776" y="5346"/>
                </a:lnTo>
                <a:lnTo>
                  <a:pt x="8842" y="5355"/>
                </a:lnTo>
                <a:lnTo>
                  <a:pt x="8826" y="5373"/>
                </a:lnTo>
                <a:lnTo>
                  <a:pt x="8794" y="5385"/>
                </a:lnTo>
                <a:lnTo>
                  <a:pt x="8773" y="5401"/>
                </a:lnTo>
                <a:lnTo>
                  <a:pt x="8787" y="5432"/>
                </a:lnTo>
                <a:lnTo>
                  <a:pt x="8786" y="5554"/>
                </a:lnTo>
                <a:lnTo>
                  <a:pt x="8689" y="5582"/>
                </a:lnTo>
                <a:lnTo>
                  <a:pt x="8565" y="5655"/>
                </a:lnTo>
                <a:lnTo>
                  <a:pt x="8486" y="5915"/>
                </a:lnTo>
                <a:lnTo>
                  <a:pt x="8633" y="5965"/>
                </a:lnTo>
                <a:lnTo>
                  <a:pt x="8686" y="5898"/>
                </a:lnTo>
                <a:lnTo>
                  <a:pt x="8766" y="5750"/>
                </a:lnTo>
                <a:lnTo>
                  <a:pt x="8999" y="5563"/>
                </a:lnTo>
                <a:lnTo>
                  <a:pt x="9089" y="5543"/>
                </a:lnTo>
                <a:lnTo>
                  <a:pt x="9147" y="5551"/>
                </a:lnTo>
                <a:lnTo>
                  <a:pt x="9161" y="5592"/>
                </a:lnTo>
                <a:lnTo>
                  <a:pt x="9117" y="5662"/>
                </a:lnTo>
                <a:lnTo>
                  <a:pt x="9237" y="5693"/>
                </a:lnTo>
                <a:lnTo>
                  <a:pt x="9227" y="5736"/>
                </a:lnTo>
                <a:lnTo>
                  <a:pt x="9181" y="5798"/>
                </a:lnTo>
                <a:lnTo>
                  <a:pt x="9187" y="5887"/>
                </a:lnTo>
                <a:lnTo>
                  <a:pt x="9282" y="5955"/>
                </a:lnTo>
                <a:lnTo>
                  <a:pt x="9280" y="6017"/>
                </a:lnTo>
                <a:lnTo>
                  <a:pt x="9218" y="6066"/>
                </a:lnTo>
                <a:lnTo>
                  <a:pt x="9130" y="6089"/>
                </a:lnTo>
                <a:lnTo>
                  <a:pt x="9143" y="6160"/>
                </a:lnTo>
                <a:lnTo>
                  <a:pt x="9075" y="6206"/>
                </a:lnTo>
                <a:lnTo>
                  <a:pt x="9008" y="6257"/>
                </a:lnTo>
                <a:lnTo>
                  <a:pt x="9018" y="6350"/>
                </a:lnTo>
                <a:lnTo>
                  <a:pt x="8996" y="6389"/>
                </a:lnTo>
                <a:lnTo>
                  <a:pt x="9010" y="6418"/>
                </a:lnTo>
                <a:lnTo>
                  <a:pt x="9037" y="6449"/>
                </a:lnTo>
                <a:lnTo>
                  <a:pt x="9054" y="6492"/>
                </a:lnTo>
                <a:lnTo>
                  <a:pt x="9098" y="6463"/>
                </a:lnTo>
                <a:lnTo>
                  <a:pt x="9136" y="6468"/>
                </a:lnTo>
                <a:lnTo>
                  <a:pt x="9153" y="6500"/>
                </a:lnTo>
                <a:lnTo>
                  <a:pt x="9133" y="6552"/>
                </a:lnTo>
                <a:lnTo>
                  <a:pt x="9190" y="6599"/>
                </a:lnTo>
                <a:lnTo>
                  <a:pt x="9294" y="6624"/>
                </a:lnTo>
                <a:lnTo>
                  <a:pt x="9400" y="6624"/>
                </a:lnTo>
                <a:lnTo>
                  <a:pt x="9456" y="6594"/>
                </a:lnTo>
                <a:lnTo>
                  <a:pt x="9442" y="6526"/>
                </a:lnTo>
                <a:lnTo>
                  <a:pt x="9487" y="6504"/>
                </a:lnTo>
                <a:lnTo>
                  <a:pt x="9543" y="6496"/>
                </a:lnTo>
                <a:lnTo>
                  <a:pt x="9559" y="6474"/>
                </a:lnTo>
                <a:lnTo>
                  <a:pt x="9543" y="6445"/>
                </a:lnTo>
                <a:lnTo>
                  <a:pt x="9582" y="6421"/>
                </a:lnTo>
                <a:lnTo>
                  <a:pt x="9611" y="6400"/>
                </a:lnTo>
                <a:lnTo>
                  <a:pt x="9566" y="6381"/>
                </a:lnTo>
                <a:lnTo>
                  <a:pt x="9569" y="6361"/>
                </a:lnTo>
                <a:lnTo>
                  <a:pt x="9597" y="6353"/>
                </a:lnTo>
                <a:lnTo>
                  <a:pt x="9627" y="6342"/>
                </a:lnTo>
                <a:lnTo>
                  <a:pt x="9634" y="6313"/>
                </a:lnTo>
                <a:lnTo>
                  <a:pt x="9667" y="6254"/>
                </a:lnTo>
                <a:lnTo>
                  <a:pt x="9686" y="6211"/>
                </a:lnTo>
                <a:lnTo>
                  <a:pt x="9692" y="6162"/>
                </a:lnTo>
                <a:lnTo>
                  <a:pt x="9685" y="6089"/>
                </a:lnTo>
                <a:lnTo>
                  <a:pt x="9634" y="6080"/>
                </a:lnTo>
                <a:lnTo>
                  <a:pt x="9605" y="6053"/>
                </a:lnTo>
                <a:lnTo>
                  <a:pt x="9578" y="6026"/>
                </a:lnTo>
                <a:lnTo>
                  <a:pt x="9531" y="6015"/>
                </a:lnTo>
                <a:lnTo>
                  <a:pt x="9667" y="5979"/>
                </a:lnTo>
                <a:lnTo>
                  <a:pt x="9791" y="5971"/>
                </a:lnTo>
                <a:lnTo>
                  <a:pt x="9811" y="5919"/>
                </a:lnTo>
                <a:lnTo>
                  <a:pt x="9641" y="5749"/>
                </a:lnTo>
                <a:lnTo>
                  <a:pt x="9613" y="5898"/>
                </a:lnTo>
                <a:lnTo>
                  <a:pt x="9576" y="5877"/>
                </a:lnTo>
                <a:lnTo>
                  <a:pt x="9568" y="5783"/>
                </a:lnTo>
                <a:lnTo>
                  <a:pt x="9632" y="5711"/>
                </a:lnTo>
                <a:lnTo>
                  <a:pt x="9707" y="5703"/>
                </a:lnTo>
                <a:lnTo>
                  <a:pt x="9792" y="5711"/>
                </a:lnTo>
                <a:lnTo>
                  <a:pt x="9869" y="5712"/>
                </a:lnTo>
                <a:lnTo>
                  <a:pt x="9918" y="5683"/>
                </a:lnTo>
                <a:lnTo>
                  <a:pt x="9867" y="5671"/>
                </a:lnTo>
                <a:lnTo>
                  <a:pt x="9872" y="5634"/>
                </a:lnTo>
                <a:lnTo>
                  <a:pt x="9907" y="5593"/>
                </a:lnTo>
                <a:lnTo>
                  <a:pt x="9945" y="5572"/>
                </a:lnTo>
                <a:lnTo>
                  <a:pt x="9925" y="5522"/>
                </a:lnTo>
                <a:lnTo>
                  <a:pt x="9871" y="5484"/>
                </a:lnTo>
                <a:lnTo>
                  <a:pt x="9830" y="5460"/>
                </a:lnTo>
                <a:lnTo>
                  <a:pt x="9849" y="5453"/>
                </a:lnTo>
                <a:lnTo>
                  <a:pt x="9922" y="5441"/>
                </a:lnTo>
                <a:lnTo>
                  <a:pt x="9875" y="5418"/>
                </a:lnTo>
                <a:lnTo>
                  <a:pt x="9820" y="5390"/>
                </a:lnTo>
                <a:lnTo>
                  <a:pt x="9870" y="5363"/>
                </a:lnTo>
                <a:lnTo>
                  <a:pt x="9917" y="5363"/>
                </a:lnTo>
                <a:lnTo>
                  <a:pt x="9928" y="5343"/>
                </a:lnTo>
                <a:lnTo>
                  <a:pt x="9912" y="5315"/>
                </a:lnTo>
                <a:lnTo>
                  <a:pt x="9878" y="5290"/>
                </a:lnTo>
                <a:lnTo>
                  <a:pt x="9776" y="5294"/>
                </a:lnTo>
                <a:lnTo>
                  <a:pt x="9811" y="5273"/>
                </a:lnTo>
                <a:lnTo>
                  <a:pt x="9875" y="5233"/>
                </a:lnTo>
                <a:lnTo>
                  <a:pt x="9857" y="5181"/>
                </a:lnTo>
                <a:lnTo>
                  <a:pt x="9913" y="5176"/>
                </a:lnTo>
                <a:lnTo>
                  <a:pt x="9927" y="5224"/>
                </a:lnTo>
                <a:lnTo>
                  <a:pt x="9934" y="5282"/>
                </a:lnTo>
                <a:lnTo>
                  <a:pt x="9968" y="5308"/>
                </a:lnTo>
                <a:lnTo>
                  <a:pt x="9996" y="5269"/>
                </a:lnTo>
                <a:lnTo>
                  <a:pt x="10023" y="5227"/>
                </a:lnTo>
                <a:lnTo>
                  <a:pt x="10049" y="5187"/>
                </a:lnTo>
                <a:lnTo>
                  <a:pt x="10084" y="5158"/>
                </a:lnTo>
                <a:lnTo>
                  <a:pt x="10156" y="5084"/>
                </a:lnTo>
                <a:lnTo>
                  <a:pt x="10234" y="5023"/>
                </a:lnTo>
                <a:lnTo>
                  <a:pt x="10253" y="4974"/>
                </a:lnTo>
                <a:lnTo>
                  <a:pt x="10149" y="4930"/>
                </a:lnTo>
                <a:lnTo>
                  <a:pt x="10187" y="4919"/>
                </a:lnTo>
                <a:lnTo>
                  <a:pt x="10247" y="4924"/>
                </a:lnTo>
                <a:lnTo>
                  <a:pt x="10279" y="4920"/>
                </a:lnTo>
                <a:lnTo>
                  <a:pt x="10233" y="4884"/>
                </a:lnTo>
                <a:lnTo>
                  <a:pt x="10274" y="4859"/>
                </a:lnTo>
                <a:lnTo>
                  <a:pt x="10291" y="4812"/>
                </a:lnTo>
                <a:lnTo>
                  <a:pt x="10307" y="4762"/>
                </a:lnTo>
                <a:lnTo>
                  <a:pt x="10339" y="4730"/>
                </a:lnTo>
                <a:lnTo>
                  <a:pt x="10304" y="4678"/>
                </a:lnTo>
                <a:lnTo>
                  <a:pt x="10307" y="4631"/>
                </a:lnTo>
                <a:lnTo>
                  <a:pt x="10340" y="4615"/>
                </a:lnTo>
                <a:lnTo>
                  <a:pt x="10400" y="4651"/>
                </a:lnTo>
                <a:lnTo>
                  <a:pt x="10400" y="4651"/>
                </a:lnTo>
                <a:lnTo>
                  <a:pt x="10481" y="4655"/>
                </a:lnTo>
                <a:lnTo>
                  <a:pt x="10580" y="4673"/>
                </a:lnTo>
                <a:lnTo>
                  <a:pt x="10651" y="4673"/>
                </a:lnTo>
                <a:lnTo>
                  <a:pt x="10644" y="4623"/>
                </a:lnTo>
                <a:lnTo>
                  <a:pt x="10602" y="4617"/>
                </a:lnTo>
                <a:lnTo>
                  <a:pt x="10535" y="4627"/>
                </a:lnTo>
                <a:lnTo>
                  <a:pt x="10502" y="4629"/>
                </a:lnTo>
                <a:lnTo>
                  <a:pt x="10563" y="4590"/>
                </a:lnTo>
                <a:lnTo>
                  <a:pt x="10588" y="4551"/>
                </a:lnTo>
                <a:lnTo>
                  <a:pt x="10616" y="4551"/>
                </a:lnTo>
                <a:lnTo>
                  <a:pt x="10648" y="4571"/>
                </a:lnTo>
                <a:lnTo>
                  <a:pt x="10686" y="4592"/>
                </a:lnTo>
                <a:lnTo>
                  <a:pt x="10747" y="4551"/>
                </a:lnTo>
                <a:lnTo>
                  <a:pt x="10703" y="4534"/>
                </a:lnTo>
                <a:lnTo>
                  <a:pt x="10625" y="4520"/>
                </a:lnTo>
                <a:lnTo>
                  <a:pt x="10586" y="4486"/>
                </a:lnTo>
                <a:lnTo>
                  <a:pt x="10684" y="4491"/>
                </a:lnTo>
                <a:lnTo>
                  <a:pt x="10679" y="4464"/>
                </a:lnTo>
                <a:lnTo>
                  <a:pt x="10639" y="4430"/>
                </a:lnTo>
                <a:lnTo>
                  <a:pt x="10633" y="4417"/>
                </a:lnTo>
                <a:lnTo>
                  <a:pt x="10800" y="4360"/>
                </a:lnTo>
                <a:lnTo>
                  <a:pt x="10858" y="4289"/>
                </a:lnTo>
                <a:lnTo>
                  <a:pt x="10843" y="4207"/>
                </a:lnTo>
                <a:lnTo>
                  <a:pt x="10788" y="4118"/>
                </a:lnTo>
                <a:lnTo>
                  <a:pt x="10868" y="4158"/>
                </a:lnTo>
                <a:lnTo>
                  <a:pt x="10891" y="4198"/>
                </a:lnTo>
                <a:lnTo>
                  <a:pt x="10909" y="4226"/>
                </a:lnTo>
                <a:lnTo>
                  <a:pt x="10973" y="4229"/>
                </a:lnTo>
                <a:lnTo>
                  <a:pt x="10994" y="4221"/>
                </a:lnTo>
                <a:lnTo>
                  <a:pt x="10982" y="4205"/>
                </a:lnTo>
                <a:lnTo>
                  <a:pt x="10955" y="4187"/>
                </a:lnTo>
                <a:lnTo>
                  <a:pt x="10931" y="4178"/>
                </a:lnTo>
                <a:lnTo>
                  <a:pt x="10936" y="4147"/>
                </a:lnTo>
                <a:lnTo>
                  <a:pt x="11012" y="4150"/>
                </a:lnTo>
                <a:lnTo>
                  <a:pt x="11092" y="4174"/>
                </a:lnTo>
                <a:lnTo>
                  <a:pt x="11112" y="4207"/>
                </a:lnTo>
                <a:lnTo>
                  <a:pt x="11124" y="4205"/>
                </a:lnTo>
                <a:lnTo>
                  <a:pt x="11078" y="4224"/>
                </a:lnTo>
                <a:lnTo>
                  <a:pt x="11008" y="4257"/>
                </a:lnTo>
                <a:lnTo>
                  <a:pt x="10947" y="4295"/>
                </a:lnTo>
                <a:lnTo>
                  <a:pt x="10947" y="4295"/>
                </a:lnTo>
                <a:lnTo>
                  <a:pt x="10942" y="4296"/>
                </a:lnTo>
                <a:lnTo>
                  <a:pt x="10943" y="4296"/>
                </a:lnTo>
                <a:lnTo>
                  <a:pt x="10945" y="4298"/>
                </a:lnTo>
                <a:lnTo>
                  <a:pt x="10927" y="4321"/>
                </a:lnTo>
                <a:lnTo>
                  <a:pt x="10940" y="4340"/>
                </a:lnTo>
                <a:lnTo>
                  <a:pt x="10992" y="4351"/>
                </a:lnTo>
                <a:lnTo>
                  <a:pt x="11095" y="4354"/>
                </a:lnTo>
                <a:lnTo>
                  <a:pt x="11054" y="4315"/>
                </a:lnTo>
                <a:lnTo>
                  <a:pt x="11073" y="4308"/>
                </a:lnTo>
                <a:lnTo>
                  <a:pt x="11123" y="4310"/>
                </a:lnTo>
                <a:lnTo>
                  <a:pt x="11174" y="4309"/>
                </a:lnTo>
                <a:lnTo>
                  <a:pt x="11176" y="4342"/>
                </a:lnTo>
                <a:lnTo>
                  <a:pt x="11175" y="4373"/>
                </a:lnTo>
                <a:lnTo>
                  <a:pt x="11183" y="4383"/>
                </a:lnTo>
                <a:lnTo>
                  <a:pt x="11207" y="4354"/>
                </a:lnTo>
                <a:lnTo>
                  <a:pt x="11238" y="4295"/>
                </a:lnTo>
                <a:lnTo>
                  <a:pt x="11278" y="4277"/>
                </a:lnTo>
                <a:lnTo>
                  <a:pt x="11306" y="4248"/>
                </a:lnTo>
                <a:lnTo>
                  <a:pt x="11292" y="4154"/>
                </a:lnTo>
                <a:lnTo>
                  <a:pt x="11262" y="4081"/>
                </a:lnTo>
                <a:lnTo>
                  <a:pt x="11215" y="4085"/>
                </a:lnTo>
                <a:lnTo>
                  <a:pt x="11151" y="4107"/>
                </a:lnTo>
                <a:lnTo>
                  <a:pt x="11072" y="4085"/>
                </a:lnTo>
                <a:lnTo>
                  <a:pt x="11174" y="3992"/>
                </a:lnTo>
                <a:lnTo>
                  <a:pt x="11286" y="3941"/>
                </a:lnTo>
                <a:lnTo>
                  <a:pt x="11402" y="3913"/>
                </a:lnTo>
                <a:lnTo>
                  <a:pt x="11513" y="3886"/>
                </a:lnTo>
                <a:lnTo>
                  <a:pt x="11505" y="3841"/>
                </a:lnTo>
                <a:lnTo>
                  <a:pt x="11481" y="3847"/>
                </a:lnTo>
                <a:lnTo>
                  <a:pt x="11453" y="3857"/>
                </a:lnTo>
                <a:lnTo>
                  <a:pt x="11434" y="3825"/>
                </a:lnTo>
                <a:lnTo>
                  <a:pt x="11450" y="3797"/>
                </a:lnTo>
                <a:lnTo>
                  <a:pt x="11485" y="3788"/>
                </a:lnTo>
                <a:lnTo>
                  <a:pt x="11523" y="3781"/>
                </a:lnTo>
                <a:lnTo>
                  <a:pt x="11551" y="3759"/>
                </a:lnTo>
                <a:lnTo>
                  <a:pt x="11537" y="3744"/>
                </a:lnTo>
                <a:lnTo>
                  <a:pt x="11513" y="3739"/>
                </a:lnTo>
                <a:lnTo>
                  <a:pt x="11497" y="3738"/>
                </a:lnTo>
                <a:lnTo>
                  <a:pt x="11515" y="3736"/>
                </a:lnTo>
                <a:lnTo>
                  <a:pt x="11469" y="3710"/>
                </a:lnTo>
                <a:lnTo>
                  <a:pt x="11410" y="3721"/>
                </a:lnTo>
                <a:lnTo>
                  <a:pt x="11359" y="3744"/>
                </a:lnTo>
                <a:lnTo>
                  <a:pt x="11337" y="3748"/>
                </a:lnTo>
                <a:lnTo>
                  <a:pt x="11325" y="3651"/>
                </a:lnTo>
                <a:lnTo>
                  <a:pt x="11331" y="3592"/>
                </a:lnTo>
                <a:lnTo>
                  <a:pt x="11347" y="3580"/>
                </a:lnTo>
                <a:lnTo>
                  <a:pt x="11369" y="3618"/>
                </a:lnTo>
                <a:lnTo>
                  <a:pt x="11361" y="3657"/>
                </a:lnTo>
                <a:lnTo>
                  <a:pt x="11380" y="3674"/>
                </a:lnTo>
                <a:lnTo>
                  <a:pt x="11407" y="3666"/>
                </a:lnTo>
                <a:lnTo>
                  <a:pt x="11426" y="3637"/>
                </a:lnTo>
                <a:close/>
                <a:moveTo>
                  <a:pt x="1614" y="1016"/>
                </a:moveTo>
                <a:lnTo>
                  <a:pt x="1616" y="1016"/>
                </a:lnTo>
                <a:lnTo>
                  <a:pt x="1616" y="1015"/>
                </a:lnTo>
                <a:lnTo>
                  <a:pt x="1615" y="1015"/>
                </a:lnTo>
                <a:lnTo>
                  <a:pt x="1614" y="1016"/>
                </a:lnTo>
                <a:lnTo>
                  <a:pt x="1606" y="1016"/>
                </a:lnTo>
                <a:lnTo>
                  <a:pt x="1597" y="1017"/>
                </a:lnTo>
                <a:lnTo>
                  <a:pt x="1602" y="1020"/>
                </a:lnTo>
                <a:lnTo>
                  <a:pt x="1606" y="1021"/>
                </a:lnTo>
                <a:lnTo>
                  <a:pt x="1610" y="1020"/>
                </a:lnTo>
                <a:lnTo>
                  <a:pt x="1614" y="1016"/>
                </a:lnTo>
                <a:close/>
                <a:moveTo>
                  <a:pt x="11462" y="3946"/>
                </a:moveTo>
                <a:lnTo>
                  <a:pt x="11454" y="3948"/>
                </a:lnTo>
                <a:lnTo>
                  <a:pt x="11453" y="3950"/>
                </a:lnTo>
                <a:lnTo>
                  <a:pt x="11455" y="3953"/>
                </a:lnTo>
                <a:lnTo>
                  <a:pt x="11463" y="3951"/>
                </a:lnTo>
                <a:lnTo>
                  <a:pt x="11462" y="3948"/>
                </a:lnTo>
                <a:lnTo>
                  <a:pt x="11462" y="3946"/>
                </a:lnTo>
                <a:close/>
                <a:moveTo>
                  <a:pt x="11623" y="2964"/>
                </a:moveTo>
                <a:lnTo>
                  <a:pt x="11621" y="2962"/>
                </a:lnTo>
                <a:lnTo>
                  <a:pt x="11620" y="2961"/>
                </a:lnTo>
                <a:lnTo>
                  <a:pt x="11617" y="2962"/>
                </a:lnTo>
                <a:lnTo>
                  <a:pt x="11616" y="2965"/>
                </a:lnTo>
                <a:lnTo>
                  <a:pt x="11618" y="2967"/>
                </a:lnTo>
                <a:lnTo>
                  <a:pt x="11621" y="2967"/>
                </a:lnTo>
                <a:lnTo>
                  <a:pt x="11622" y="2966"/>
                </a:lnTo>
                <a:lnTo>
                  <a:pt x="11623" y="2964"/>
                </a:lnTo>
                <a:close/>
                <a:moveTo>
                  <a:pt x="1255" y="3967"/>
                </a:moveTo>
                <a:lnTo>
                  <a:pt x="1257" y="3970"/>
                </a:lnTo>
                <a:lnTo>
                  <a:pt x="1258" y="3969"/>
                </a:lnTo>
                <a:lnTo>
                  <a:pt x="1258" y="3968"/>
                </a:lnTo>
                <a:lnTo>
                  <a:pt x="1257" y="3967"/>
                </a:lnTo>
                <a:lnTo>
                  <a:pt x="1255" y="3967"/>
                </a:lnTo>
                <a:close/>
                <a:moveTo>
                  <a:pt x="11430" y="4720"/>
                </a:moveTo>
                <a:lnTo>
                  <a:pt x="11426" y="4715"/>
                </a:lnTo>
                <a:lnTo>
                  <a:pt x="11422" y="4713"/>
                </a:lnTo>
                <a:lnTo>
                  <a:pt x="11417" y="4714"/>
                </a:lnTo>
                <a:lnTo>
                  <a:pt x="11412" y="4716"/>
                </a:lnTo>
                <a:lnTo>
                  <a:pt x="11416" y="4721"/>
                </a:lnTo>
                <a:lnTo>
                  <a:pt x="11420" y="4723"/>
                </a:lnTo>
                <a:lnTo>
                  <a:pt x="11425" y="4723"/>
                </a:lnTo>
                <a:lnTo>
                  <a:pt x="11430" y="4720"/>
                </a:lnTo>
                <a:close/>
                <a:moveTo>
                  <a:pt x="11488" y="4718"/>
                </a:moveTo>
                <a:lnTo>
                  <a:pt x="11491" y="4716"/>
                </a:lnTo>
                <a:lnTo>
                  <a:pt x="11492" y="4714"/>
                </a:lnTo>
                <a:lnTo>
                  <a:pt x="11492" y="4713"/>
                </a:lnTo>
                <a:lnTo>
                  <a:pt x="11491" y="4709"/>
                </a:lnTo>
                <a:lnTo>
                  <a:pt x="11488" y="4711"/>
                </a:lnTo>
                <a:lnTo>
                  <a:pt x="11486" y="4714"/>
                </a:lnTo>
                <a:lnTo>
                  <a:pt x="11486" y="4715"/>
                </a:lnTo>
                <a:lnTo>
                  <a:pt x="11488" y="4718"/>
                </a:lnTo>
                <a:close/>
                <a:moveTo>
                  <a:pt x="11672" y="3778"/>
                </a:moveTo>
                <a:lnTo>
                  <a:pt x="11674" y="3780"/>
                </a:lnTo>
                <a:lnTo>
                  <a:pt x="11677" y="3780"/>
                </a:lnTo>
                <a:lnTo>
                  <a:pt x="11678" y="3778"/>
                </a:lnTo>
                <a:lnTo>
                  <a:pt x="11678" y="3776"/>
                </a:lnTo>
                <a:lnTo>
                  <a:pt x="11676" y="3774"/>
                </a:lnTo>
                <a:lnTo>
                  <a:pt x="11673" y="3774"/>
                </a:lnTo>
                <a:lnTo>
                  <a:pt x="11672" y="3776"/>
                </a:lnTo>
                <a:lnTo>
                  <a:pt x="11672" y="3778"/>
                </a:lnTo>
                <a:close/>
                <a:moveTo>
                  <a:pt x="11557" y="4865"/>
                </a:moveTo>
                <a:lnTo>
                  <a:pt x="11565" y="4854"/>
                </a:lnTo>
                <a:lnTo>
                  <a:pt x="11574" y="4842"/>
                </a:lnTo>
                <a:lnTo>
                  <a:pt x="11565" y="4844"/>
                </a:lnTo>
                <a:lnTo>
                  <a:pt x="11557" y="4847"/>
                </a:lnTo>
                <a:lnTo>
                  <a:pt x="11555" y="4854"/>
                </a:lnTo>
                <a:lnTo>
                  <a:pt x="11557" y="4865"/>
                </a:lnTo>
                <a:close/>
                <a:moveTo>
                  <a:pt x="11575" y="4841"/>
                </a:moveTo>
                <a:lnTo>
                  <a:pt x="11574" y="4842"/>
                </a:lnTo>
                <a:lnTo>
                  <a:pt x="11575" y="4842"/>
                </a:lnTo>
                <a:lnTo>
                  <a:pt x="11575" y="4841"/>
                </a:lnTo>
                <a:close/>
                <a:moveTo>
                  <a:pt x="11664" y="4044"/>
                </a:moveTo>
                <a:lnTo>
                  <a:pt x="11666" y="4044"/>
                </a:lnTo>
                <a:lnTo>
                  <a:pt x="11666" y="4043"/>
                </a:lnTo>
                <a:lnTo>
                  <a:pt x="11664" y="4043"/>
                </a:lnTo>
                <a:lnTo>
                  <a:pt x="11664" y="4044"/>
                </a:lnTo>
                <a:close/>
                <a:moveTo>
                  <a:pt x="11685" y="4054"/>
                </a:moveTo>
                <a:lnTo>
                  <a:pt x="11682" y="4048"/>
                </a:lnTo>
                <a:lnTo>
                  <a:pt x="11678" y="4046"/>
                </a:lnTo>
                <a:lnTo>
                  <a:pt x="11672" y="4044"/>
                </a:lnTo>
                <a:lnTo>
                  <a:pt x="11666" y="4044"/>
                </a:lnTo>
                <a:lnTo>
                  <a:pt x="11669" y="4051"/>
                </a:lnTo>
                <a:lnTo>
                  <a:pt x="11673" y="4054"/>
                </a:lnTo>
                <a:lnTo>
                  <a:pt x="11678" y="4057"/>
                </a:lnTo>
                <a:lnTo>
                  <a:pt x="11685" y="4054"/>
                </a:lnTo>
                <a:close/>
                <a:moveTo>
                  <a:pt x="11718" y="4503"/>
                </a:moveTo>
                <a:lnTo>
                  <a:pt x="11715" y="4503"/>
                </a:lnTo>
                <a:lnTo>
                  <a:pt x="11714" y="4503"/>
                </a:lnTo>
                <a:lnTo>
                  <a:pt x="11713" y="4503"/>
                </a:lnTo>
                <a:lnTo>
                  <a:pt x="11713" y="4505"/>
                </a:lnTo>
                <a:lnTo>
                  <a:pt x="11714" y="4506"/>
                </a:lnTo>
                <a:lnTo>
                  <a:pt x="11716" y="4506"/>
                </a:lnTo>
                <a:lnTo>
                  <a:pt x="11718" y="4505"/>
                </a:lnTo>
                <a:lnTo>
                  <a:pt x="11718" y="4503"/>
                </a:lnTo>
                <a:close/>
                <a:moveTo>
                  <a:pt x="11798" y="4018"/>
                </a:moveTo>
                <a:lnTo>
                  <a:pt x="11795" y="4016"/>
                </a:lnTo>
                <a:lnTo>
                  <a:pt x="11790" y="4015"/>
                </a:lnTo>
                <a:lnTo>
                  <a:pt x="11794" y="4019"/>
                </a:lnTo>
                <a:lnTo>
                  <a:pt x="11797" y="4020"/>
                </a:lnTo>
                <a:lnTo>
                  <a:pt x="11798" y="4020"/>
                </a:lnTo>
                <a:lnTo>
                  <a:pt x="11798" y="4018"/>
                </a:lnTo>
                <a:close/>
                <a:moveTo>
                  <a:pt x="11851" y="3754"/>
                </a:moveTo>
                <a:lnTo>
                  <a:pt x="11850" y="3759"/>
                </a:lnTo>
                <a:lnTo>
                  <a:pt x="11853" y="3759"/>
                </a:lnTo>
                <a:lnTo>
                  <a:pt x="11854" y="3758"/>
                </a:lnTo>
                <a:lnTo>
                  <a:pt x="11854" y="3757"/>
                </a:lnTo>
                <a:lnTo>
                  <a:pt x="11851" y="3754"/>
                </a:lnTo>
                <a:close/>
                <a:moveTo>
                  <a:pt x="11730" y="4791"/>
                </a:moveTo>
                <a:lnTo>
                  <a:pt x="11727" y="4793"/>
                </a:lnTo>
                <a:lnTo>
                  <a:pt x="11728" y="4797"/>
                </a:lnTo>
                <a:lnTo>
                  <a:pt x="11732" y="4799"/>
                </a:lnTo>
                <a:lnTo>
                  <a:pt x="11737" y="4797"/>
                </a:lnTo>
                <a:lnTo>
                  <a:pt x="11733" y="4794"/>
                </a:lnTo>
                <a:lnTo>
                  <a:pt x="11730" y="4791"/>
                </a:lnTo>
                <a:close/>
                <a:moveTo>
                  <a:pt x="11780" y="4517"/>
                </a:moveTo>
                <a:lnTo>
                  <a:pt x="11780" y="4513"/>
                </a:lnTo>
                <a:lnTo>
                  <a:pt x="11779" y="4511"/>
                </a:lnTo>
                <a:lnTo>
                  <a:pt x="11776" y="4511"/>
                </a:lnTo>
                <a:lnTo>
                  <a:pt x="11772" y="4511"/>
                </a:lnTo>
                <a:lnTo>
                  <a:pt x="11776" y="4514"/>
                </a:lnTo>
                <a:lnTo>
                  <a:pt x="11780" y="4517"/>
                </a:lnTo>
                <a:close/>
                <a:moveTo>
                  <a:pt x="11941" y="3557"/>
                </a:moveTo>
                <a:lnTo>
                  <a:pt x="11939" y="3554"/>
                </a:lnTo>
                <a:lnTo>
                  <a:pt x="11935" y="3553"/>
                </a:lnTo>
                <a:lnTo>
                  <a:pt x="11932" y="3553"/>
                </a:lnTo>
                <a:lnTo>
                  <a:pt x="11928" y="3553"/>
                </a:lnTo>
                <a:lnTo>
                  <a:pt x="11929" y="3557"/>
                </a:lnTo>
                <a:lnTo>
                  <a:pt x="11932" y="3559"/>
                </a:lnTo>
                <a:lnTo>
                  <a:pt x="11935" y="3559"/>
                </a:lnTo>
                <a:lnTo>
                  <a:pt x="11941" y="3557"/>
                </a:lnTo>
                <a:close/>
                <a:moveTo>
                  <a:pt x="11780" y="4621"/>
                </a:moveTo>
                <a:lnTo>
                  <a:pt x="11779" y="4620"/>
                </a:lnTo>
                <a:lnTo>
                  <a:pt x="11776" y="4620"/>
                </a:lnTo>
                <a:lnTo>
                  <a:pt x="11775" y="4621"/>
                </a:lnTo>
                <a:lnTo>
                  <a:pt x="11774" y="4622"/>
                </a:lnTo>
                <a:lnTo>
                  <a:pt x="11776" y="4625"/>
                </a:lnTo>
                <a:lnTo>
                  <a:pt x="11778" y="4625"/>
                </a:lnTo>
                <a:lnTo>
                  <a:pt x="11779" y="4623"/>
                </a:lnTo>
                <a:lnTo>
                  <a:pt x="11780" y="4621"/>
                </a:lnTo>
                <a:close/>
                <a:moveTo>
                  <a:pt x="11643" y="5831"/>
                </a:moveTo>
                <a:lnTo>
                  <a:pt x="11641" y="5830"/>
                </a:lnTo>
                <a:lnTo>
                  <a:pt x="11643" y="5831"/>
                </a:lnTo>
                <a:lnTo>
                  <a:pt x="11645" y="5829"/>
                </a:lnTo>
                <a:lnTo>
                  <a:pt x="11643" y="5831"/>
                </a:lnTo>
                <a:close/>
                <a:moveTo>
                  <a:pt x="11653" y="5779"/>
                </a:moveTo>
                <a:lnTo>
                  <a:pt x="11653" y="5782"/>
                </a:lnTo>
                <a:lnTo>
                  <a:pt x="11654" y="5784"/>
                </a:lnTo>
                <a:lnTo>
                  <a:pt x="11655" y="5784"/>
                </a:lnTo>
                <a:lnTo>
                  <a:pt x="11658" y="5783"/>
                </a:lnTo>
                <a:lnTo>
                  <a:pt x="11659" y="5781"/>
                </a:lnTo>
                <a:lnTo>
                  <a:pt x="11658" y="5779"/>
                </a:lnTo>
                <a:lnTo>
                  <a:pt x="11655" y="5778"/>
                </a:lnTo>
                <a:lnTo>
                  <a:pt x="11653" y="5779"/>
                </a:lnTo>
                <a:close/>
                <a:moveTo>
                  <a:pt x="11896" y="4494"/>
                </a:moveTo>
                <a:lnTo>
                  <a:pt x="11900" y="4490"/>
                </a:lnTo>
                <a:lnTo>
                  <a:pt x="11897" y="4487"/>
                </a:lnTo>
                <a:lnTo>
                  <a:pt x="11893" y="4487"/>
                </a:lnTo>
                <a:lnTo>
                  <a:pt x="11892" y="4491"/>
                </a:lnTo>
                <a:lnTo>
                  <a:pt x="11895" y="4492"/>
                </a:lnTo>
                <a:lnTo>
                  <a:pt x="11896" y="4494"/>
                </a:lnTo>
                <a:close/>
                <a:moveTo>
                  <a:pt x="11725" y="5535"/>
                </a:moveTo>
                <a:lnTo>
                  <a:pt x="11725" y="5534"/>
                </a:lnTo>
                <a:lnTo>
                  <a:pt x="11725" y="5534"/>
                </a:lnTo>
                <a:lnTo>
                  <a:pt x="11724" y="5535"/>
                </a:lnTo>
                <a:lnTo>
                  <a:pt x="11725" y="5535"/>
                </a:lnTo>
                <a:close/>
                <a:moveTo>
                  <a:pt x="11741" y="5536"/>
                </a:moveTo>
                <a:lnTo>
                  <a:pt x="11734" y="5540"/>
                </a:lnTo>
                <a:lnTo>
                  <a:pt x="11734" y="5540"/>
                </a:lnTo>
                <a:lnTo>
                  <a:pt x="11737" y="5539"/>
                </a:lnTo>
                <a:lnTo>
                  <a:pt x="11741" y="5536"/>
                </a:lnTo>
                <a:lnTo>
                  <a:pt x="11734" y="5535"/>
                </a:lnTo>
                <a:lnTo>
                  <a:pt x="11730" y="5535"/>
                </a:lnTo>
                <a:lnTo>
                  <a:pt x="11732" y="5535"/>
                </a:lnTo>
                <a:lnTo>
                  <a:pt x="11741" y="5536"/>
                </a:lnTo>
                <a:close/>
                <a:moveTo>
                  <a:pt x="11739" y="5723"/>
                </a:moveTo>
                <a:lnTo>
                  <a:pt x="11742" y="5726"/>
                </a:lnTo>
                <a:lnTo>
                  <a:pt x="11744" y="5726"/>
                </a:lnTo>
                <a:lnTo>
                  <a:pt x="11746" y="5726"/>
                </a:lnTo>
                <a:lnTo>
                  <a:pt x="11747" y="5723"/>
                </a:lnTo>
                <a:lnTo>
                  <a:pt x="11744" y="5721"/>
                </a:lnTo>
                <a:lnTo>
                  <a:pt x="11742" y="5719"/>
                </a:lnTo>
                <a:lnTo>
                  <a:pt x="11741" y="5721"/>
                </a:lnTo>
                <a:lnTo>
                  <a:pt x="11739" y="5723"/>
                </a:lnTo>
                <a:close/>
                <a:moveTo>
                  <a:pt x="12045" y="3712"/>
                </a:moveTo>
                <a:lnTo>
                  <a:pt x="12045" y="3713"/>
                </a:lnTo>
                <a:lnTo>
                  <a:pt x="12046" y="3713"/>
                </a:lnTo>
                <a:lnTo>
                  <a:pt x="12045" y="3712"/>
                </a:lnTo>
                <a:close/>
                <a:moveTo>
                  <a:pt x="12065" y="3716"/>
                </a:moveTo>
                <a:lnTo>
                  <a:pt x="12064" y="3720"/>
                </a:lnTo>
                <a:lnTo>
                  <a:pt x="12065" y="3716"/>
                </a:lnTo>
                <a:lnTo>
                  <a:pt x="12055" y="3715"/>
                </a:lnTo>
                <a:lnTo>
                  <a:pt x="12051" y="3715"/>
                </a:lnTo>
                <a:lnTo>
                  <a:pt x="12055" y="3715"/>
                </a:lnTo>
                <a:lnTo>
                  <a:pt x="12065" y="3716"/>
                </a:lnTo>
                <a:close/>
                <a:moveTo>
                  <a:pt x="8368" y="4982"/>
                </a:moveTo>
                <a:lnTo>
                  <a:pt x="8368" y="4979"/>
                </a:lnTo>
                <a:lnTo>
                  <a:pt x="8367" y="4977"/>
                </a:lnTo>
                <a:lnTo>
                  <a:pt x="8365" y="4977"/>
                </a:lnTo>
                <a:lnTo>
                  <a:pt x="8362" y="4977"/>
                </a:lnTo>
                <a:lnTo>
                  <a:pt x="8362" y="4981"/>
                </a:lnTo>
                <a:lnTo>
                  <a:pt x="8363" y="4982"/>
                </a:lnTo>
                <a:lnTo>
                  <a:pt x="8366" y="4984"/>
                </a:lnTo>
                <a:lnTo>
                  <a:pt x="8368" y="4982"/>
                </a:lnTo>
                <a:close/>
                <a:moveTo>
                  <a:pt x="11790" y="5541"/>
                </a:moveTo>
                <a:lnTo>
                  <a:pt x="11793" y="5539"/>
                </a:lnTo>
                <a:lnTo>
                  <a:pt x="11792" y="5536"/>
                </a:lnTo>
                <a:lnTo>
                  <a:pt x="11788" y="5535"/>
                </a:lnTo>
                <a:lnTo>
                  <a:pt x="11784" y="5534"/>
                </a:lnTo>
                <a:lnTo>
                  <a:pt x="11781" y="5536"/>
                </a:lnTo>
                <a:lnTo>
                  <a:pt x="11784" y="5539"/>
                </a:lnTo>
                <a:lnTo>
                  <a:pt x="11786" y="5540"/>
                </a:lnTo>
                <a:lnTo>
                  <a:pt x="11790" y="5541"/>
                </a:lnTo>
                <a:close/>
                <a:moveTo>
                  <a:pt x="12040" y="4099"/>
                </a:moveTo>
                <a:lnTo>
                  <a:pt x="12041" y="4096"/>
                </a:lnTo>
                <a:lnTo>
                  <a:pt x="12040" y="4094"/>
                </a:lnTo>
                <a:lnTo>
                  <a:pt x="12036" y="4093"/>
                </a:lnTo>
                <a:lnTo>
                  <a:pt x="12032" y="4094"/>
                </a:lnTo>
                <a:lnTo>
                  <a:pt x="12025" y="4098"/>
                </a:lnTo>
                <a:lnTo>
                  <a:pt x="12026" y="4100"/>
                </a:lnTo>
                <a:lnTo>
                  <a:pt x="12032" y="4102"/>
                </a:lnTo>
                <a:lnTo>
                  <a:pt x="12040" y="4099"/>
                </a:lnTo>
                <a:close/>
                <a:moveTo>
                  <a:pt x="12022" y="4102"/>
                </a:moveTo>
                <a:lnTo>
                  <a:pt x="12022" y="4100"/>
                </a:lnTo>
                <a:lnTo>
                  <a:pt x="12021" y="4100"/>
                </a:lnTo>
                <a:lnTo>
                  <a:pt x="12022" y="4102"/>
                </a:lnTo>
                <a:lnTo>
                  <a:pt x="12022" y="4102"/>
                </a:lnTo>
                <a:close/>
                <a:moveTo>
                  <a:pt x="11854" y="5330"/>
                </a:moveTo>
                <a:lnTo>
                  <a:pt x="11857" y="5327"/>
                </a:lnTo>
                <a:lnTo>
                  <a:pt x="11854" y="5330"/>
                </a:lnTo>
                <a:lnTo>
                  <a:pt x="11865" y="5332"/>
                </a:lnTo>
                <a:lnTo>
                  <a:pt x="11869" y="5334"/>
                </a:lnTo>
                <a:lnTo>
                  <a:pt x="11865" y="5332"/>
                </a:lnTo>
                <a:lnTo>
                  <a:pt x="11854" y="5330"/>
                </a:lnTo>
                <a:close/>
                <a:moveTo>
                  <a:pt x="11878" y="5450"/>
                </a:moveTo>
                <a:lnTo>
                  <a:pt x="11879" y="5447"/>
                </a:lnTo>
                <a:lnTo>
                  <a:pt x="11879" y="5446"/>
                </a:lnTo>
                <a:lnTo>
                  <a:pt x="11877" y="5446"/>
                </a:lnTo>
                <a:lnTo>
                  <a:pt x="11874" y="5446"/>
                </a:lnTo>
                <a:lnTo>
                  <a:pt x="11878" y="5450"/>
                </a:lnTo>
                <a:close/>
                <a:moveTo>
                  <a:pt x="11858" y="5660"/>
                </a:moveTo>
                <a:lnTo>
                  <a:pt x="11860" y="5660"/>
                </a:lnTo>
                <a:lnTo>
                  <a:pt x="11862" y="5658"/>
                </a:lnTo>
                <a:lnTo>
                  <a:pt x="11862" y="5658"/>
                </a:lnTo>
                <a:lnTo>
                  <a:pt x="11860" y="5655"/>
                </a:lnTo>
                <a:lnTo>
                  <a:pt x="11858" y="5660"/>
                </a:lnTo>
                <a:close/>
                <a:moveTo>
                  <a:pt x="11967" y="4979"/>
                </a:moveTo>
                <a:lnTo>
                  <a:pt x="11967" y="4976"/>
                </a:lnTo>
                <a:lnTo>
                  <a:pt x="11967" y="4975"/>
                </a:lnTo>
                <a:lnTo>
                  <a:pt x="11965" y="4976"/>
                </a:lnTo>
                <a:lnTo>
                  <a:pt x="11962" y="4976"/>
                </a:lnTo>
                <a:lnTo>
                  <a:pt x="11967" y="4979"/>
                </a:lnTo>
                <a:close/>
                <a:moveTo>
                  <a:pt x="12084" y="4511"/>
                </a:moveTo>
                <a:lnTo>
                  <a:pt x="12090" y="4505"/>
                </a:lnTo>
                <a:lnTo>
                  <a:pt x="12087" y="4500"/>
                </a:lnTo>
                <a:lnTo>
                  <a:pt x="12081" y="4499"/>
                </a:lnTo>
                <a:lnTo>
                  <a:pt x="12077" y="4506"/>
                </a:lnTo>
                <a:lnTo>
                  <a:pt x="12081" y="4510"/>
                </a:lnTo>
                <a:lnTo>
                  <a:pt x="12084" y="4511"/>
                </a:lnTo>
                <a:close/>
                <a:moveTo>
                  <a:pt x="11962" y="5284"/>
                </a:moveTo>
                <a:lnTo>
                  <a:pt x="11966" y="5289"/>
                </a:lnTo>
                <a:lnTo>
                  <a:pt x="11969" y="5292"/>
                </a:lnTo>
                <a:lnTo>
                  <a:pt x="11972" y="5290"/>
                </a:lnTo>
                <a:lnTo>
                  <a:pt x="11976" y="5287"/>
                </a:lnTo>
                <a:lnTo>
                  <a:pt x="11974" y="5284"/>
                </a:lnTo>
                <a:lnTo>
                  <a:pt x="11970" y="5284"/>
                </a:lnTo>
                <a:lnTo>
                  <a:pt x="11966" y="5284"/>
                </a:lnTo>
                <a:lnTo>
                  <a:pt x="11962" y="5284"/>
                </a:lnTo>
                <a:close/>
                <a:moveTo>
                  <a:pt x="11961" y="5285"/>
                </a:moveTo>
                <a:lnTo>
                  <a:pt x="11962" y="5284"/>
                </a:lnTo>
                <a:lnTo>
                  <a:pt x="11962" y="5284"/>
                </a:lnTo>
                <a:lnTo>
                  <a:pt x="11961" y="5285"/>
                </a:lnTo>
                <a:close/>
                <a:moveTo>
                  <a:pt x="11980" y="5367"/>
                </a:moveTo>
                <a:lnTo>
                  <a:pt x="11983" y="5369"/>
                </a:lnTo>
                <a:lnTo>
                  <a:pt x="11985" y="5369"/>
                </a:lnTo>
                <a:lnTo>
                  <a:pt x="11986" y="5368"/>
                </a:lnTo>
                <a:lnTo>
                  <a:pt x="11989" y="5366"/>
                </a:lnTo>
                <a:lnTo>
                  <a:pt x="11986" y="5363"/>
                </a:lnTo>
                <a:lnTo>
                  <a:pt x="11984" y="5363"/>
                </a:lnTo>
                <a:lnTo>
                  <a:pt x="11983" y="5364"/>
                </a:lnTo>
                <a:lnTo>
                  <a:pt x="11980" y="5367"/>
                </a:lnTo>
                <a:close/>
                <a:moveTo>
                  <a:pt x="12239" y="3816"/>
                </a:moveTo>
                <a:lnTo>
                  <a:pt x="12237" y="3814"/>
                </a:lnTo>
                <a:lnTo>
                  <a:pt x="12235" y="3810"/>
                </a:lnTo>
                <a:lnTo>
                  <a:pt x="12232" y="3809"/>
                </a:lnTo>
                <a:lnTo>
                  <a:pt x="12228" y="3810"/>
                </a:lnTo>
                <a:lnTo>
                  <a:pt x="12228" y="3815"/>
                </a:lnTo>
                <a:lnTo>
                  <a:pt x="12231" y="3818"/>
                </a:lnTo>
                <a:lnTo>
                  <a:pt x="12233" y="3819"/>
                </a:lnTo>
                <a:lnTo>
                  <a:pt x="12239" y="3816"/>
                </a:lnTo>
                <a:close/>
                <a:moveTo>
                  <a:pt x="12407" y="4529"/>
                </a:moveTo>
                <a:lnTo>
                  <a:pt x="12409" y="4532"/>
                </a:lnTo>
                <a:lnTo>
                  <a:pt x="12412" y="4532"/>
                </a:lnTo>
                <a:lnTo>
                  <a:pt x="12414" y="4529"/>
                </a:lnTo>
                <a:lnTo>
                  <a:pt x="12418" y="4527"/>
                </a:lnTo>
                <a:lnTo>
                  <a:pt x="12414" y="4524"/>
                </a:lnTo>
                <a:lnTo>
                  <a:pt x="12412" y="4524"/>
                </a:lnTo>
                <a:lnTo>
                  <a:pt x="12409" y="4527"/>
                </a:lnTo>
                <a:lnTo>
                  <a:pt x="12407" y="4529"/>
                </a:lnTo>
                <a:close/>
                <a:moveTo>
                  <a:pt x="12464" y="4430"/>
                </a:moveTo>
                <a:lnTo>
                  <a:pt x="12465" y="4434"/>
                </a:lnTo>
                <a:lnTo>
                  <a:pt x="12468" y="4435"/>
                </a:lnTo>
                <a:lnTo>
                  <a:pt x="12472" y="4434"/>
                </a:lnTo>
                <a:lnTo>
                  <a:pt x="12475" y="4431"/>
                </a:lnTo>
                <a:lnTo>
                  <a:pt x="12473" y="4427"/>
                </a:lnTo>
                <a:lnTo>
                  <a:pt x="12470" y="4427"/>
                </a:lnTo>
                <a:lnTo>
                  <a:pt x="12468" y="4429"/>
                </a:lnTo>
                <a:lnTo>
                  <a:pt x="12464" y="4430"/>
                </a:lnTo>
                <a:close/>
                <a:moveTo>
                  <a:pt x="8540" y="4974"/>
                </a:moveTo>
                <a:lnTo>
                  <a:pt x="8540" y="4976"/>
                </a:lnTo>
                <a:lnTo>
                  <a:pt x="8540" y="4977"/>
                </a:lnTo>
                <a:lnTo>
                  <a:pt x="8542" y="4977"/>
                </a:lnTo>
                <a:lnTo>
                  <a:pt x="8544" y="4977"/>
                </a:lnTo>
                <a:lnTo>
                  <a:pt x="8540" y="4974"/>
                </a:lnTo>
                <a:close/>
                <a:moveTo>
                  <a:pt x="7842" y="4988"/>
                </a:moveTo>
                <a:lnTo>
                  <a:pt x="7842" y="4985"/>
                </a:lnTo>
                <a:lnTo>
                  <a:pt x="7841" y="4982"/>
                </a:lnTo>
                <a:lnTo>
                  <a:pt x="7840" y="4982"/>
                </a:lnTo>
                <a:lnTo>
                  <a:pt x="7837" y="4984"/>
                </a:lnTo>
                <a:lnTo>
                  <a:pt x="7837" y="4986"/>
                </a:lnTo>
                <a:lnTo>
                  <a:pt x="7839" y="4988"/>
                </a:lnTo>
                <a:lnTo>
                  <a:pt x="7840" y="4988"/>
                </a:lnTo>
                <a:lnTo>
                  <a:pt x="7842" y="4988"/>
                </a:lnTo>
                <a:close/>
                <a:moveTo>
                  <a:pt x="7855" y="5135"/>
                </a:moveTo>
                <a:lnTo>
                  <a:pt x="7853" y="5134"/>
                </a:lnTo>
                <a:lnTo>
                  <a:pt x="7850" y="5134"/>
                </a:lnTo>
                <a:lnTo>
                  <a:pt x="7850" y="5135"/>
                </a:lnTo>
                <a:lnTo>
                  <a:pt x="7849" y="5138"/>
                </a:lnTo>
                <a:lnTo>
                  <a:pt x="7851" y="5138"/>
                </a:lnTo>
                <a:lnTo>
                  <a:pt x="7853" y="5138"/>
                </a:lnTo>
                <a:lnTo>
                  <a:pt x="7854" y="5138"/>
                </a:lnTo>
                <a:lnTo>
                  <a:pt x="7855" y="5135"/>
                </a:lnTo>
                <a:close/>
                <a:moveTo>
                  <a:pt x="10257" y="5447"/>
                </a:moveTo>
                <a:lnTo>
                  <a:pt x="10254" y="5450"/>
                </a:lnTo>
                <a:lnTo>
                  <a:pt x="10252" y="5452"/>
                </a:lnTo>
                <a:lnTo>
                  <a:pt x="10251" y="5455"/>
                </a:lnTo>
                <a:lnTo>
                  <a:pt x="10253" y="5457"/>
                </a:lnTo>
                <a:lnTo>
                  <a:pt x="10258" y="5456"/>
                </a:lnTo>
                <a:lnTo>
                  <a:pt x="10261" y="5453"/>
                </a:lnTo>
                <a:lnTo>
                  <a:pt x="10261" y="5451"/>
                </a:lnTo>
                <a:lnTo>
                  <a:pt x="10257" y="5447"/>
                </a:lnTo>
                <a:close/>
                <a:moveTo>
                  <a:pt x="75" y="3023"/>
                </a:moveTo>
                <a:lnTo>
                  <a:pt x="79" y="3026"/>
                </a:lnTo>
                <a:lnTo>
                  <a:pt x="82" y="3027"/>
                </a:lnTo>
                <a:lnTo>
                  <a:pt x="86" y="3027"/>
                </a:lnTo>
                <a:lnTo>
                  <a:pt x="87" y="3025"/>
                </a:lnTo>
                <a:lnTo>
                  <a:pt x="86" y="3020"/>
                </a:lnTo>
                <a:lnTo>
                  <a:pt x="82" y="3018"/>
                </a:lnTo>
                <a:lnTo>
                  <a:pt x="79" y="3020"/>
                </a:lnTo>
                <a:lnTo>
                  <a:pt x="75" y="3023"/>
                </a:lnTo>
                <a:close/>
                <a:moveTo>
                  <a:pt x="11031" y="2661"/>
                </a:moveTo>
                <a:lnTo>
                  <a:pt x="11022" y="2663"/>
                </a:lnTo>
                <a:lnTo>
                  <a:pt x="11017" y="2667"/>
                </a:lnTo>
                <a:lnTo>
                  <a:pt x="11019" y="2673"/>
                </a:lnTo>
                <a:lnTo>
                  <a:pt x="11021" y="2681"/>
                </a:lnTo>
                <a:lnTo>
                  <a:pt x="11026" y="2677"/>
                </a:lnTo>
                <a:lnTo>
                  <a:pt x="11031" y="2672"/>
                </a:lnTo>
                <a:lnTo>
                  <a:pt x="11034" y="2667"/>
                </a:lnTo>
                <a:lnTo>
                  <a:pt x="11031" y="2661"/>
                </a:lnTo>
                <a:close/>
                <a:moveTo>
                  <a:pt x="443" y="1455"/>
                </a:moveTo>
                <a:lnTo>
                  <a:pt x="443" y="1455"/>
                </a:lnTo>
                <a:lnTo>
                  <a:pt x="443" y="1455"/>
                </a:lnTo>
                <a:lnTo>
                  <a:pt x="442" y="1454"/>
                </a:lnTo>
                <a:lnTo>
                  <a:pt x="443" y="1455"/>
                </a:lnTo>
                <a:lnTo>
                  <a:pt x="445" y="1455"/>
                </a:lnTo>
                <a:lnTo>
                  <a:pt x="443" y="1455"/>
                </a:lnTo>
                <a:close/>
                <a:moveTo>
                  <a:pt x="469" y="1476"/>
                </a:moveTo>
                <a:lnTo>
                  <a:pt x="466" y="1467"/>
                </a:lnTo>
                <a:lnTo>
                  <a:pt x="460" y="1462"/>
                </a:lnTo>
                <a:lnTo>
                  <a:pt x="452" y="1458"/>
                </a:lnTo>
                <a:lnTo>
                  <a:pt x="445" y="1456"/>
                </a:lnTo>
                <a:lnTo>
                  <a:pt x="452" y="1469"/>
                </a:lnTo>
                <a:lnTo>
                  <a:pt x="461" y="1477"/>
                </a:lnTo>
                <a:lnTo>
                  <a:pt x="468" y="1479"/>
                </a:lnTo>
                <a:lnTo>
                  <a:pt x="469" y="1476"/>
                </a:lnTo>
                <a:close/>
                <a:moveTo>
                  <a:pt x="596" y="1151"/>
                </a:moveTo>
                <a:lnTo>
                  <a:pt x="596" y="1153"/>
                </a:lnTo>
                <a:lnTo>
                  <a:pt x="596" y="1151"/>
                </a:lnTo>
                <a:lnTo>
                  <a:pt x="590" y="1156"/>
                </a:lnTo>
                <a:lnTo>
                  <a:pt x="596" y="1151"/>
                </a:lnTo>
                <a:close/>
                <a:moveTo>
                  <a:pt x="587" y="1157"/>
                </a:moveTo>
                <a:lnTo>
                  <a:pt x="587" y="1157"/>
                </a:lnTo>
                <a:lnTo>
                  <a:pt x="587" y="1157"/>
                </a:lnTo>
                <a:lnTo>
                  <a:pt x="561" y="1167"/>
                </a:lnTo>
                <a:lnTo>
                  <a:pt x="547" y="1179"/>
                </a:lnTo>
                <a:lnTo>
                  <a:pt x="541" y="1193"/>
                </a:lnTo>
                <a:lnTo>
                  <a:pt x="543" y="1216"/>
                </a:lnTo>
                <a:lnTo>
                  <a:pt x="563" y="1206"/>
                </a:lnTo>
                <a:lnTo>
                  <a:pt x="575" y="1197"/>
                </a:lnTo>
                <a:lnTo>
                  <a:pt x="582" y="1183"/>
                </a:lnTo>
                <a:lnTo>
                  <a:pt x="587" y="1157"/>
                </a:lnTo>
                <a:lnTo>
                  <a:pt x="587" y="1157"/>
                </a:lnTo>
                <a:lnTo>
                  <a:pt x="587" y="1157"/>
                </a:lnTo>
                <a:close/>
                <a:moveTo>
                  <a:pt x="289" y="3115"/>
                </a:moveTo>
                <a:lnTo>
                  <a:pt x="292" y="3116"/>
                </a:lnTo>
                <a:lnTo>
                  <a:pt x="294" y="3116"/>
                </a:lnTo>
                <a:lnTo>
                  <a:pt x="298" y="3115"/>
                </a:lnTo>
                <a:lnTo>
                  <a:pt x="302" y="3114"/>
                </a:lnTo>
                <a:lnTo>
                  <a:pt x="298" y="3111"/>
                </a:lnTo>
                <a:lnTo>
                  <a:pt x="296" y="3111"/>
                </a:lnTo>
                <a:lnTo>
                  <a:pt x="292" y="3113"/>
                </a:lnTo>
                <a:lnTo>
                  <a:pt x="289" y="3115"/>
                </a:lnTo>
                <a:close/>
                <a:moveTo>
                  <a:pt x="11753" y="3608"/>
                </a:moveTo>
                <a:lnTo>
                  <a:pt x="11753" y="3605"/>
                </a:lnTo>
                <a:lnTo>
                  <a:pt x="11748" y="3604"/>
                </a:lnTo>
                <a:lnTo>
                  <a:pt x="11744" y="3604"/>
                </a:lnTo>
                <a:lnTo>
                  <a:pt x="11747" y="3608"/>
                </a:lnTo>
                <a:lnTo>
                  <a:pt x="11751" y="3609"/>
                </a:lnTo>
                <a:lnTo>
                  <a:pt x="11753" y="3608"/>
                </a:lnTo>
                <a:close/>
                <a:moveTo>
                  <a:pt x="554" y="1985"/>
                </a:moveTo>
                <a:lnTo>
                  <a:pt x="554" y="1983"/>
                </a:lnTo>
                <a:lnTo>
                  <a:pt x="554" y="1985"/>
                </a:lnTo>
                <a:lnTo>
                  <a:pt x="555" y="1983"/>
                </a:lnTo>
                <a:lnTo>
                  <a:pt x="554" y="1985"/>
                </a:lnTo>
                <a:close/>
                <a:moveTo>
                  <a:pt x="538" y="2006"/>
                </a:moveTo>
                <a:lnTo>
                  <a:pt x="539" y="1997"/>
                </a:lnTo>
                <a:lnTo>
                  <a:pt x="538" y="2006"/>
                </a:lnTo>
                <a:lnTo>
                  <a:pt x="547" y="2006"/>
                </a:lnTo>
                <a:lnTo>
                  <a:pt x="552" y="1999"/>
                </a:lnTo>
                <a:lnTo>
                  <a:pt x="549" y="1995"/>
                </a:lnTo>
                <a:lnTo>
                  <a:pt x="538" y="2006"/>
                </a:lnTo>
                <a:close/>
                <a:moveTo>
                  <a:pt x="541" y="1982"/>
                </a:moveTo>
                <a:lnTo>
                  <a:pt x="543" y="1982"/>
                </a:lnTo>
                <a:lnTo>
                  <a:pt x="543" y="1981"/>
                </a:lnTo>
                <a:lnTo>
                  <a:pt x="541" y="1982"/>
                </a:lnTo>
                <a:lnTo>
                  <a:pt x="541" y="1982"/>
                </a:lnTo>
                <a:lnTo>
                  <a:pt x="541" y="1982"/>
                </a:lnTo>
                <a:lnTo>
                  <a:pt x="541" y="1982"/>
                </a:lnTo>
                <a:close/>
                <a:moveTo>
                  <a:pt x="11776" y="3547"/>
                </a:moveTo>
                <a:lnTo>
                  <a:pt x="11772" y="3548"/>
                </a:lnTo>
                <a:lnTo>
                  <a:pt x="11770" y="3549"/>
                </a:lnTo>
                <a:lnTo>
                  <a:pt x="11770" y="3550"/>
                </a:lnTo>
                <a:lnTo>
                  <a:pt x="11771" y="3553"/>
                </a:lnTo>
                <a:lnTo>
                  <a:pt x="11774" y="3553"/>
                </a:lnTo>
                <a:lnTo>
                  <a:pt x="11776" y="3552"/>
                </a:lnTo>
                <a:lnTo>
                  <a:pt x="11776" y="3549"/>
                </a:lnTo>
                <a:lnTo>
                  <a:pt x="11776" y="3547"/>
                </a:lnTo>
                <a:close/>
                <a:moveTo>
                  <a:pt x="11575" y="4842"/>
                </a:moveTo>
                <a:lnTo>
                  <a:pt x="11575" y="4841"/>
                </a:lnTo>
                <a:lnTo>
                  <a:pt x="11575" y="4841"/>
                </a:lnTo>
                <a:lnTo>
                  <a:pt x="11575" y="4842"/>
                </a:lnTo>
                <a:close/>
                <a:moveTo>
                  <a:pt x="11590" y="4821"/>
                </a:moveTo>
                <a:lnTo>
                  <a:pt x="11584" y="4819"/>
                </a:lnTo>
                <a:lnTo>
                  <a:pt x="11578" y="4825"/>
                </a:lnTo>
                <a:lnTo>
                  <a:pt x="11574" y="4832"/>
                </a:lnTo>
                <a:lnTo>
                  <a:pt x="11575" y="4841"/>
                </a:lnTo>
                <a:lnTo>
                  <a:pt x="11583" y="4839"/>
                </a:lnTo>
                <a:lnTo>
                  <a:pt x="11587" y="4833"/>
                </a:lnTo>
                <a:lnTo>
                  <a:pt x="11589" y="4828"/>
                </a:lnTo>
                <a:lnTo>
                  <a:pt x="11590" y="4821"/>
                </a:lnTo>
                <a:close/>
                <a:moveTo>
                  <a:pt x="11588" y="4794"/>
                </a:moveTo>
                <a:lnTo>
                  <a:pt x="11584" y="4791"/>
                </a:lnTo>
                <a:lnTo>
                  <a:pt x="11580" y="4793"/>
                </a:lnTo>
                <a:lnTo>
                  <a:pt x="11576" y="4794"/>
                </a:lnTo>
                <a:lnTo>
                  <a:pt x="11573" y="4797"/>
                </a:lnTo>
                <a:lnTo>
                  <a:pt x="11578" y="4799"/>
                </a:lnTo>
                <a:lnTo>
                  <a:pt x="11581" y="4800"/>
                </a:lnTo>
                <a:lnTo>
                  <a:pt x="11585" y="4799"/>
                </a:lnTo>
                <a:lnTo>
                  <a:pt x="11588" y="4794"/>
                </a:lnTo>
                <a:close/>
                <a:moveTo>
                  <a:pt x="471" y="3463"/>
                </a:moveTo>
                <a:lnTo>
                  <a:pt x="477" y="3463"/>
                </a:lnTo>
                <a:lnTo>
                  <a:pt x="480" y="3461"/>
                </a:lnTo>
                <a:lnTo>
                  <a:pt x="483" y="3460"/>
                </a:lnTo>
                <a:lnTo>
                  <a:pt x="482" y="3456"/>
                </a:lnTo>
                <a:lnTo>
                  <a:pt x="477" y="3455"/>
                </a:lnTo>
                <a:lnTo>
                  <a:pt x="471" y="3455"/>
                </a:lnTo>
                <a:lnTo>
                  <a:pt x="470" y="3457"/>
                </a:lnTo>
                <a:lnTo>
                  <a:pt x="471" y="3463"/>
                </a:lnTo>
                <a:close/>
                <a:moveTo>
                  <a:pt x="11789" y="3656"/>
                </a:moveTo>
                <a:lnTo>
                  <a:pt x="11783" y="3656"/>
                </a:lnTo>
                <a:lnTo>
                  <a:pt x="11780" y="3660"/>
                </a:lnTo>
                <a:lnTo>
                  <a:pt x="11779" y="3665"/>
                </a:lnTo>
                <a:lnTo>
                  <a:pt x="11781" y="3669"/>
                </a:lnTo>
                <a:lnTo>
                  <a:pt x="11788" y="3669"/>
                </a:lnTo>
                <a:lnTo>
                  <a:pt x="11790" y="3666"/>
                </a:lnTo>
                <a:lnTo>
                  <a:pt x="11792" y="3661"/>
                </a:lnTo>
                <a:lnTo>
                  <a:pt x="11789" y="3656"/>
                </a:lnTo>
                <a:close/>
                <a:moveTo>
                  <a:pt x="1069" y="3757"/>
                </a:moveTo>
                <a:lnTo>
                  <a:pt x="1074" y="3753"/>
                </a:lnTo>
                <a:lnTo>
                  <a:pt x="1073" y="3748"/>
                </a:lnTo>
                <a:lnTo>
                  <a:pt x="1067" y="3746"/>
                </a:lnTo>
                <a:lnTo>
                  <a:pt x="1065" y="3753"/>
                </a:lnTo>
                <a:lnTo>
                  <a:pt x="1066" y="3755"/>
                </a:lnTo>
                <a:lnTo>
                  <a:pt x="1069" y="3757"/>
                </a:lnTo>
                <a:close/>
                <a:moveTo>
                  <a:pt x="1233" y="3900"/>
                </a:moveTo>
                <a:lnTo>
                  <a:pt x="1227" y="3903"/>
                </a:lnTo>
                <a:lnTo>
                  <a:pt x="1227" y="3907"/>
                </a:lnTo>
                <a:lnTo>
                  <a:pt x="1230" y="3911"/>
                </a:lnTo>
                <a:lnTo>
                  <a:pt x="1238" y="3908"/>
                </a:lnTo>
                <a:lnTo>
                  <a:pt x="1237" y="3903"/>
                </a:lnTo>
                <a:lnTo>
                  <a:pt x="1233" y="3900"/>
                </a:lnTo>
                <a:close/>
                <a:moveTo>
                  <a:pt x="11897" y="3690"/>
                </a:moveTo>
                <a:lnTo>
                  <a:pt x="11901" y="3687"/>
                </a:lnTo>
                <a:lnTo>
                  <a:pt x="11902" y="3684"/>
                </a:lnTo>
                <a:lnTo>
                  <a:pt x="11901" y="3680"/>
                </a:lnTo>
                <a:lnTo>
                  <a:pt x="11897" y="3676"/>
                </a:lnTo>
                <a:lnTo>
                  <a:pt x="11893" y="3680"/>
                </a:lnTo>
                <a:lnTo>
                  <a:pt x="11892" y="3683"/>
                </a:lnTo>
                <a:lnTo>
                  <a:pt x="11893" y="3687"/>
                </a:lnTo>
                <a:lnTo>
                  <a:pt x="11897" y="3690"/>
                </a:lnTo>
                <a:close/>
                <a:moveTo>
                  <a:pt x="11606" y="5782"/>
                </a:moveTo>
                <a:lnTo>
                  <a:pt x="11608" y="5784"/>
                </a:lnTo>
                <a:lnTo>
                  <a:pt x="11612" y="5784"/>
                </a:lnTo>
                <a:lnTo>
                  <a:pt x="11616" y="5783"/>
                </a:lnTo>
                <a:lnTo>
                  <a:pt x="11620" y="5782"/>
                </a:lnTo>
                <a:lnTo>
                  <a:pt x="11616" y="5779"/>
                </a:lnTo>
                <a:lnTo>
                  <a:pt x="11613" y="5779"/>
                </a:lnTo>
                <a:lnTo>
                  <a:pt x="11609" y="5781"/>
                </a:lnTo>
                <a:lnTo>
                  <a:pt x="11606" y="5782"/>
                </a:lnTo>
                <a:close/>
                <a:moveTo>
                  <a:pt x="12020" y="3704"/>
                </a:moveTo>
                <a:lnTo>
                  <a:pt x="12025" y="3708"/>
                </a:lnTo>
                <a:lnTo>
                  <a:pt x="12030" y="3710"/>
                </a:lnTo>
                <a:lnTo>
                  <a:pt x="12036" y="3711"/>
                </a:lnTo>
                <a:lnTo>
                  <a:pt x="12044" y="3712"/>
                </a:lnTo>
                <a:lnTo>
                  <a:pt x="12044" y="3712"/>
                </a:lnTo>
                <a:lnTo>
                  <a:pt x="12044" y="3712"/>
                </a:lnTo>
                <a:lnTo>
                  <a:pt x="12034" y="3704"/>
                </a:lnTo>
                <a:lnTo>
                  <a:pt x="12025" y="3702"/>
                </a:lnTo>
                <a:lnTo>
                  <a:pt x="12018" y="3702"/>
                </a:lnTo>
                <a:lnTo>
                  <a:pt x="12020" y="3704"/>
                </a:lnTo>
                <a:close/>
                <a:moveTo>
                  <a:pt x="12044" y="3712"/>
                </a:moveTo>
                <a:lnTo>
                  <a:pt x="12044" y="3713"/>
                </a:lnTo>
                <a:lnTo>
                  <a:pt x="12044" y="3712"/>
                </a:lnTo>
                <a:close/>
                <a:moveTo>
                  <a:pt x="12055" y="3667"/>
                </a:moveTo>
                <a:lnTo>
                  <a:pt x="12058" y="3670"/>
                </a:lnTo>
                <a:lnTo>
                  <a:pt x="12062" y="3670"/>
                </a:lnTo>
                <a:lnTo>
                  <a:pt x="12064" y="3666"/>
                </a:lnTo>
                <a:lnTo>
                  <a:pt x="12067" y="3664"/>
                </a:lnTo>
                <a:lnTo>
                  <a:pt x="12062" y="3662"/>
                </a:lnTo>
                <a:lnTo>
                  <a:pt x="12058" y="3662"/>
                </a:lnTo>
                <a:lnTo>
                  <a:pt x="12055" y="3664"/>
                </a:lnTo>
                <a:lnTo>
                  <a:pt x="12055" y="3667"/>
                </a:lnTo>
                <a:close/>
                <a:moveTo>
                  <a:pt x="11737" y="5663"/>
                </a:moveTo>
                <a:lnTo>
                  <a:pt x="11743" y="5669"/>
                </a:lnTo>
                <a:lnTo>
                  <a:pt x="11748" y="5670"/>
                </a:lnTo>
                <a:lnTo>
                  <a:pt x="11755" y="5667"/>
                </a:lnTo>
                <a:lnTo>
                  <a:pt x="11761" y="5662"/>
                </a:lnTo>
                <a:lnTo>
                  <a:pt x="11755" y="5657"/>
                </a:lnTo>
                <a:lnTo>
                  <a:pt x="11750" y="5657"/>
                </a:lnTo>
                <a:lnTo>
                  <a:pt x="11743" y="5660"/>
                </a:lnTo>
                <a:lnTo>
                  <a:pt x="11737" y="5663"/>
                </a:lnTo>
                <a:close/>
                <a:moveTo>
                  <a:pt x="12056" y="4233"/>
                </a:moveTo>
                <a:lnTo>
                  <a:pt x="12059" y="4234"/>
                </a:lnTo>
                <a:lnTo>
                  <a:pt x="12062" y="4234"/>
                </a:lnTo>
                <a:lnTo>
                  <a:pt x="12067" y="4229"/>
                </a:lnTo>
                <a:lnTo>
                  <a:pt x="12063" y="4225"/>
                </a:lnTo>
                <a:lnTo>
                  <a:pt x="12058" y="4225"/>
                </a:lnTo>
                <a:lnTo>
                  <a:pt x="12056" y="4233"/>
                </a:lnTo>
                <a:close/>
                <a:moveTo>
                  <a:pt x="12148" y="3759"/>
                </a:moveTo>
                <a:lnTo>
                  <a:pt x="12143" y="3758"/>
                </a:lnTo>
                <a:lnTo>
                  <a:pt x="12141" y="3758"/>
                </a:lnTo>
                <a:lnTo>
                  <a:pt x="12137" y="3758"/>
                </a:lnTo>
                <a:lnTo>
                  <a:pt x="12135" y="3762"/>
                </a:lnTo>
                <a:lnTo>
                  <a:pt x="12139" y="3763"/>
                </a:lnTo>
                <a:lnTo>
                  <a:pt x="12143" y="3764"/>
                </a:lnTo>
                <a:lnTo>
                  <a:pt x="12147" y="3763"/>
                </a:lnTo>
                <a:lnTo>
                  <a:pt x="12148" y="3759"/>
                </a:lnTo>
                <a:close/>
                <a:moveTo>
                  <a:pt x="12032" y="4650"/>
                </a:moveTo>
                <a:lnTo>
                  <a:pt x="12037" y="4655"/>
                </a:lnTo>
                <a:lnTo>
                  <a:pt x="12041" y="4655"/>
                </a:lnTo>
                <a:lnTo>
                  <a:pt x="12041" y="4651"/>
                </a:lnTo>
                <a:lnTo>
                  <a:pt x="12036" y="4646"/>
                </a:lnTo>
                <a:lnTo>
                  <a:pt x="12035" y="4648"/>
                </a:lnTo>
                <a:lnTo>
                  <a:pt x="12032" y="4650"/>
                </a:lnTo>
                <a:close/>
                <a:moveTo>
                  <a:pt x="11178" y="4705"/>
                </a:moveTo>
                <a:lnTo>
                  <a:pt x="11173" y="4701"/>
                </a:lnTo>
                <a:lnTo>
                  <a:pt x="11169" y="4701"/>
                </a:lnTo>
                <a:lnTo>
                  <a:pt x="11164" y="4702"/>
                </a:lnTo>
                <a:lnTo>
                  <a:pt x="11160" y="4706"/>
                </a:lnTo>
                <a:lnTo>
                  <a:pt x="11165" y="4710"/>
                </a:lnTo>
                <a:lnTo>
                  <a:pt x="11169" y="4711"/>
                </a:lnTo>
                <a:lnTo>
                  <a:pt x="11174" y="4709"/>
                </a:lnTo>
                <a:lnTo>
                  <a:pt x="11178" y="4705"/>
                </a:lnTo>
                <a:close/>
                <a:moveTo>
                  <a:pt x="12194" y="3734"/>
                </a:moveTo>
                <a:lnTo>
                  <a:pt x="12199" y="3734"/>
                </a:lnTo>
                <a:lnTo>
                  <a:pt x="12203" y="3735"/>
                </a:lnTo>
                <a:lnTo>
                  <a:pt x="12207" y="3734"/>
                </a:lnTo>
                <a:lnTo>
                  <a:pt x="12208" y="3730"/>
                </a:lnTo>
                <a:lnTo>
                  <a:pt x="12203" y="3727"/>
                </a:lnTo>
                <a:lnTo>
                  <a:pt x="12199" y="3727"/>
                </a:lnTo>
                <a:lnTo>
                  <a:pt x="12195" y="3729"/>
                </a:lnTo>
                <a:lnTo>
                  <a:pt x="12194" y="3734"/>
                </a:lnTo>
                <a:close/>
                <a:moveTo>
                  <a:pt x="11204" y="4657"/>
                </a:moveTo>
                <a:lnTo>
                  <a:pt x="11203" y="4654"/>
                </a:lnTo>
                <a:lnTo>
                  <a:pt x="11202" y="4651"/>
                </a:lnTo>
                <a:lnTo>
                  <a:pt x="11194" y="4654"/>
                </a:lnTo>
                <a:lnTo>
                  <a:pt x="11194" y="4659"/>
                </a:lnTo>
                <a:lnTo>
                  <a:pt x="11198" y="4662"/>
                </a:lnTo>
                <a:lnTo>
                  <a:pt x="11204" y="4657"/>
                </a:lnTo>
                <a:close/>
                <a:moveTo>
                  <a:pt x="12046" y="5007"/>
                </a:moveTo>
                <a:lnTo>
                  <a:pt x="12045" y="5012"/>
                </a:lnTo>
                <a:lnTo>
                  <a:pt x="12046" y="5016"/>
                </a:lnTo>
                <a:lnTo>
                  <a:pt x="12049" y="5017"/>
                </a:lnTo>
                <a:lnTo>
                  <a:pt x="12054" y="5016"/>
                </a:lnTo>
                <a:lnTo>
                  <a:pt x="12055" y="5013"/>
                </a:lnTo>
                <a:lnTo>
                  <a:pt x="12053" y="5010"/>
                </a:lnTo>
                <a:lnTo>
                  <a:pt x="12049" y="5008"/>
                </a:lnTo>
                <a:lnTo>
                  <a:pt x="12046" y="5007"/>
                </a:lnTo>
                <a:close/>
                <a:moveTo>
                  <a:pt x="12208" y="3993"/>
                </a:moveTo>
                <a:lnTo>
                  <a:pt x="12205" y="3993"/>
                </a:lnTo>
                <a:lnTo>
                  <a:pt x="12203" y="3995"/>
                </a:lnTo>
                <a:lnTo>
                  <a:pt x="12205" y="4002"/>
                </a:lnTo>
                <a:lnTo>
                  <a:pt x="12211" y="4002"/>
                </a:lnTo>
                <a:lnTo>
                  <a:pt x="12213" y="3998"/>
                </a:lnTo>
                <a:lnTo>
                  <a:pt x="12208" y="3993"/>
                </a:lnTo>
                <a:close/>
                <a:moveTo>
                  <a:pt x="12409" y="3934"/>
                </a:moveTo>
                <a:lnTo>
                  <a:pt x="12412" y="3936"/>
                </a:lnTo>
                <a:lnTo>
                  <a:pt x="12414" y="3934"/>
                </a:lnTo>
                <a:lnTo>
                  <a:pt x="12416" y="3931"/>
                </a:lnTo>
                <a:lnTo>
                  <a:pt x="12418" y="3927"/>
                </a:lnTo>
                <a:lnTo>
                  <a:pt x="12416" y="3926"/>
                </a:lnTo>
                <a:lnTo>
                  <a:pt x="12413" y="3927"/>
                </a:lnTo>
                <a:lnTo>
                  <a:pt x="12411" y="3930"/>
                </a:lnTo>
                <a:lnTo>
                  <a:pt x="12409" y="3934"/>
                </a:lnTo>
                <a:close/>
                <a:moveTo>
                  <a:pt x="10863" y="4623"/>
                </a:moveTo>
                <a:lnTo>
                  <a:pt x="10864" y="4629"/>
                </a:lnTo>
                <a:lnTo>
                  <a:pt x="10868" y="4630"/>
                </a:lnTo>
                <a:lnTo>
                  <a:pt x="10873" y="4629"/>
                </a:lnTo>
                <a:lnTo>
                  <a:pt x="10877" y="4625"/>
                </a:lnTo>
                <a:lnTo>
                  <a:pt x="10873" y="4620"/>
                </a:lnTo>
                <a:lnTo>
                  <a:pt x="10870" y="4618"/>
                </a:lnTo>
                <a:lnTo>
                  <a:pt x="10866" y="4620"/>
                </a:lnTo>
                <a:lnTo>
                  <a:pt x="10863" y="4623"/>
                </a:lnTo>
                <a:close/>
                <a:moveTo>
                  <a:pt x="8413" y="5049"/>
                </a:moveTo>
                <a:lnTo>
                  <a:pt x="8412" y="5046"/>
                </a:lnTo>
                <a:lnTo>
                  <a:pt x="8409" y="5044"/>
                </a:lnTo>
                <a:lnTo>
                  <a:pt x="8402" y="5047"/>
                </a:lnTo>
                <a:lnTo>
                  <a:pt x="8403" y="5052"/>
                </a:lnTo>
                <a:lnTo>
                  <a:pt x="8408" y="5055"/>
                </a:lnTo>
                <a:lnTo>
                  <a:pt x="8413" y="5049"/>
                </a:lnTo>
                <a:close/>
                <a:moveTo>
                  <a:pt x="11597" y="3762"/>
                </a:moveTo>
                <a:lnTo>
                  <a:pt x="11598" y="3767"/>
                </a:lnTo>
                <a:lnTo>
                  <a:pt x="11601" y="3769"/>
                </a:lnTo>
                <a:lnTo>
                  <a:pt x="11606" y="3771"/>
                </a:lnTo>
                <a:lnTo>
                  <a:pt x="11611" y="3771"/>
                </a:lnTo>
                <a:lnTo>
                  <a:pt x="11609" y="3764"/>
                </a:lnTo>
                <a:lnTo>
                  <a:pt x="11607" y="3762"/>
                </a:lnTo>
                <a:lnTo>
                  <a:pt x="11603" y="3762"/>
                </a:lnTo>
                <a:lnTo>
                  <a:pt x="11597" y="3762"/>
                </a:lnTo>
                <a:close/>
                <a:moveTo>
                  <a:pt x="10280" y="4998"/>
                </a:moveTo>
                <a:lnTo>
                  <a:pt x="10277" y="5004"/>
                </a:lnTo>
                <a:lnTo>
                  <a:pt x="10276" y="5009"/>
                </a:lnTo>
                <a:lnTo>
                  <a:pt x="10277" y="5016"/>
                </a:lnTo>
                <a:lnTo>
                  <a:pt x="10282" y="5021"/>
                </a:lnTo>
                <a:lnTo>
                  <a:pt x="10286" y="5016"/>
                </a:lnTo>
                <a:lnTo>
                  <a:pt x="10286" y="5009"/>
                </a:lnTo>
                <a:lnTo>
                  <a:pt x="10284" y="5003"/>
                </a:lnTo>
                <a:lnTo>
                  <a:pt x="10280" y="4998"/>
                </a:lnTo>
                <a:close/>
                <a:moveTo>
                  <a:pt x="88" y="3086"/>
                </a:moveTo>
                <a:lnTo>
                  <a:pt x="91" y="3091"/>
                </a:lnTo>
                <a:lnTo>
                  <a:pt x="94" y="3093"/>
                </a:lnTo>
                <a:lnTo>
                  <a:pt x="98" y="3093"/>
                </a:lnTo>
                <a:lnTo>
                  <a:pt x="103" y="3091"/>
                </a:lnTo>
                <a:lnTo>
                  <a:pt x="103" y="3085"/>
                </a:lnTo>
                <a:lnTo>
                  <a:pt x="100" y="3082"/>
                </a:lnTo>
                <a:lnTo>
                  <a:pt x="94" y="3083"/>
                </a:lnTo>
                <a:lnTo>
                  <a:pt x="88" y="3086"/>
                </a:lnTo>
                <a:close/>
                <a:moveTo>
                  <a:pt x="149" y="2876"/>
                </a:moveTo>
                <a:lnTo>
                  <a:pt x="149" y="2876"/>
                </a:lnTo>
                <a:lnTo>
                  <a:pt x="149" y="2877"/>
                </a:lnTo>
                <a:lnTo>
                  <a:pt x="149" y="2876"/>
                </a:lnTo>
                <a:lnTo>
                  <a:pt x="151" y="2876"/>
                </a:lnTo>
                <a:lnTo>
                  <a:pt x="152" y="2876"/>
                </a:lnTo>
                <a:lnTo>
                  <a:pt x="149" y="2876"/>
                </a:lnTo>
                <a:lnTo>
                  <a:pt x="149" y="2876"/>
                </a:lnTo>
                <a:close/>
                <a:moveTo>
                  <a:pt x="148" y="2876"/>
                </a:moveTo>
                <a:lnTo>
                  <a:pt x="139" y="2869"/>
                </a:lnTo>
                <a:lnTo>
                  <a:pt x="128" y="2866"/>
                </a:lnTo>
                <a:lnTo>
                  <a:pt x="116" y="2868"/>
                </a:lnTo>
                <a:lnTo>
                  <a:pt x="105" y="2876"/>
                </a:lnTo>
                <a:lnTo>
                  <a:pt x="116" y="2883"/>
                </a:lnTo>
                <a:lnTo>
                  <a:pt x="128" y="2885"/>
                </a:lnTo>
                <a:lnTo>
                  <a:pt x="138" y="2882"/>
                </a:lnTo>
                <a:lnTo>
                  <a:pt x="148" y="2876"/>
                </a:lnTo>
                <a:close/>
                <a:moveTo>
                  <a:pt x="447" y="1574"/>
                </a:moveTo>
                <a:lnTo>
                  <a:pt x="438" y="1579"/>
                </a:lnTo>
                <a:lnTo>
                  <a:pt x="438" y="1584"/>
                </a:lnTo>
                <a:lnTo>
                  <a:pt x="443" y="1585"/>
                </a:lnTo>
                <a:lnTo>
                  <a:pt x="454" y="1581"/>
                </a:lnTo>
                <a:lnTo>
                  <a:pt x="450" y="1576"/>
                </a:lnTo>
                <a:lnTo>
                  <a:pt x="447" y="1574"/>
                </a:lnTo>
                <a:close/>
                <a:moveTo>
                  <a:pt x="503" y="1244"/>
                </a:moveTo>
                <a:lnTo>
                  <a:pt x="503" y="1236"/>
                </a:lnTo>
                <a:lnTo>
                  <a:pt x="494" y="1235"/>
                </a:lnTo>
                <a:lnTo>
                  <a:pt x="487" y="1240"/>
                </a:lnTo>
                <a:lnTo>
                  <a:pt x="488" y="1250"/>
                </a:lnTo>
                <a:lnTo>
                  <a:pt x="497" y="1248"/>
                </a:lnTo>
                <a:lnTo>
                  <a:pt x="503" y="1244"/>
                </a:lnTo>
                <a:close/>
                <a:moveTo>
                  <a:pt x="520" y="1324"/>
                </a:moveTo>
                <a:lnTo>
                  <a:pt x="512" y="1319"/>
                </a:lnTo>
                <a:lnTo>
                  <a:pt x="503" y="1323"/>
                </a:lnTo>
                <a:lnTo>
                  <a:pt x="494" y="1333"/>
                </a:lnTo>
                <a:lnTo>
                  <a:pt x="489" y="1343"/>
                </a:lnTo>
                <a:lnTo>
                  <a:pt x="499" y="1342"/>
                </a:lnTo>
                <a:lnTo>
                  <a:pt x="510" y="1341"/>
                </a:lnTo>
                <a:lnTo>
                  <a:pt x="516" y="1334"/>
                </a:lnTo>
                <a:lnTo>
                  <a:pt x="520" y="1324"/>
                </a:lnTo>
                <a:close/>
                <a:moveTo>
                  <a:pt x="366" y="3109"/>
                </a:moveTo>
                <a:lnTo>
                  <a:pt x="358" y="3113"/>
                </a:lnTo>
                <a:lnTo>
                  <a:pt x="359" y="3118"/>
                </a:lnTo>
                <a:lnTo>
                  <a:pt x="367" y="3121"/>
                </a:lnTo>
                <a:lnTo>
                  <a:pt x="373" y="3115"/>
                </a:lnTo>
                <a:lnTo>
                  <a:pt x="370" y="3111"/>
                </a:lnTo>
                <a:lnTo>
                  <a:pt x="366" y="3109"/>
                </a:lnTo>
                <a:close/>
                <a:moveTo>
                  <a:pt x="449" y="2832"/>
                </a:moveTo>
                <a:lnTo>
                  <a:pt x="442" y="2827"/>
                </a:lnTo>
                <a:lnTo>
                  <a:pt x="437" y="2827"/>
                </a:lnTo>
                <a:lnTo>
                  <a:pt x="432" y="2830"/>
                </a:lnTo>
                <a:lnTo>
                  <a:pt x="427" y="2835"/>
                </a:lnTo>
                <a:lnTo>
                  <a:pt x="432" y="2839"/>
                </a:lnTo>
                <a:lnTo>
                  <a:pt x="437" y="2840"/>
                </a:lnTo>
                <a:lnTo>
                  <a:pt x="443" y="2839"/>
                </a:lnTo>
                <a:lnTo>
                  <a:pt x="449" y="2832"/>
                </a:lnTo>
                <a:close/>
                <a:moveTo>
                  <a:pt x="437" y="3055"/>
                </a:moveTo>
                <a:lnTo>
                  <a:pt x="438" y="3058"/>
                </a:lnTo>
                <a:lnTo>
                  <a:pt x="441" y="3059"/>
                </a:lnTo>
                <a:lnTo>
                  <a:pt x="449" y="3054"/>
                </a:lnTo>
                <a:lnTo>
                  <a:pt x="446" y="3050"/>
                </a:lnTo>
                <a:lnTo>
                  <a:pt x="441" y="3048"/>
                </a:lnTo>
                <a:lnTo>
                  <a:pt x="437" y="3055"/>
                </a:lnTo>
                <a:close/>
                <a:moveTo>
                  <a:pt x="530" y="3132"/>
                </a:moveTo>
                <a:lnTo>
                  <a:pt x="538" y="3130"/>
                </a:lnTo>
                <a:lnTo>
                  <a:pt x="539" y="3125"/>
                </a:lnTo>
                <a:lnTo>
                  <a:pt x="538" y="3119"/>
                </a:lnTo>
                <a:lnTo>
                  <a:pt x="535" y="3113"/>
                </a:lnTo>
                <a:lnTo>
                  <a:pt x="526" y="3115"/>
                </a:lnTo>
                <a:lnTo>
                  <a:pt x="524" y="3120"/>
                </a:lnTo>
                <a:lnTo>
                  <a:pt x="525" y="3125"/>
                </a:lnTo>
                <a:lnTo>
                  <a:pt x="530" y="3132"/>
                </a:lnTo>
                <a:close/>
                <a:moveTo>
                  <a:pt x="889" y="1123"/>
                </a:moveTo>
                <a:lnTo>
                  <a:pt x="888" y="1115"/>
                </a:lnTo>
                <a:lnTo>
                  <a:pt x="884" y="1110"/>
                </a:lnTo>
                <a:lnTo>
                  <a:pt x="879" y="1109"/>
                </a:lnTo>
                <a:lnTo>
                  <a:pt x="874" y="1114"/>
                </a:lnTo>
                <a:lnTo>
                  <a:pt x="876" y="1123"/>
                </a:lnTo>
                <a:lnTo>
                  <a:pt x="883" y="1131"/>
                </a:lnTo>
                <a:lnTo>
                  <a:pt x="888" y="1132"/>
                </a:lnTo>
                <a:lnTo>
                  <a:pt x="889" y="1123"/>
                </a:lnTo>
                <a:close/>
                <a:moveTo>
                  <a:pt x="889" y="1134"/>
                </a:moveTo>
                <a:lnTo>
                  <a:pt x="889" y="1133"/>
                </a:lnTo>
                <a:lnTo>
                  <a:pt x="889" y="1134"/>
                </a:lnTo>
                <a:lnTo>
                  <a:pt x="889" y="1134"/>
                </a:lnTo>
                <a:lnTo>
                  <a:pt x="889" y="1134"/>
                </a:lnTo>
                <a:close/>
                <a:moveTo>
                  <a:pt x="1323" y="988"/>
                </a:moveTo>
                <a:lnTo>
                  <a:pt x="1320" y="979"/>
                </a:lnTo>
                <a:lnTo>
                  <a:pt x="1316" y="974"/>
                </a:lnTo>
                <a:lnTo>
                  <a:pt x="1309" y="974"/>
                </a:lnTo>
                <a:lnTo>
                  <a:pt x="1300" y="978"/>
                </a:lnTo>
                <a:lnTo>
                  <a:pt x="1306" y="985"/>
                </a:lnTo>
                <a:lnTo>
                  <a:pt x="1309" y="991"/>
                </a:lnTo>
                <a:lnTo>
                  <a:pt x="1316" y="991"/>
                </a:lnTo>
                <a:lnTo>
                  <a:pt x="1323" y="988"/>
                </a:lnTo>
                <a:close/>
                <a:moveTo>
                  <a:pt x="1102" y="4000"/>
                </a:moveTo>
                <a:lnTo>
                  <a:pt x="1094" y="4005"/>
                </a:lnTo>
                <a:lnTo>
                  <a:pt x="1090" y="4010"/>
                </a:lnTo>
                <a:lnTo>
                  <a:pt x="1090" y="4016"/>
                </a:lnTo>
                <a:lnTo>
                  <a:pt x="1094" y="4024"/>
                </a:lnTo>
                <a:lnTo>
                  <a:pt x="1101" y="4019"/>
                </a:lnTo>
                <a:lnTo>
                  <a:pt x="1103" y="4014"/>
                </a:lnTo>
                <a:lnTo>
                  <a:pt x="1104" y="4007"/>
                </a:lnTo>
                <a:lnTo>
                  <a:pt x="1102" y="4000"/>
                </a:lnTo>
                <a:close/>
                <a:moveTo>
                  <a:pt x="1136" y="3991"/>
                </a:moveTo>
                <a:lnTo>
                  <a:pt x="1130" y="3987"/>
                </a:lnTo>
                <a:lnTo>
                  <a:pt x="1127" y="3990"/>
                </a:lnTo>
                <a:lnTo>
                  <a:pt x="1129" y="3996"/>
                </a:lnTo>
                <a:lnTo>
                  <a:pt x="1134" y="4001"/>
                </a:lnTo>
                <a:lnTo>
                  <a:pt x="1135" y="3996"/>
                </a:lnTo>
                <a:lnTo>
                  <a:pt x="1136" y="3991"/>
                </a:lnTo>
                <a:close/>
                <a:moveTo>
                  <a:pt x="1481" y="4192"/>
                </a:moveTo>
                <a:lnTo>
                  <a:pt x="1484" y="4197"/>
                </a:lnTo>
                <a:lnTo>
                  <a:pt x="1486" y="4200"/>
                </a:lnTo>
                <a:lnTo>
                  <a:pt x="1492" y="4201"/>
                </a:lnTo>
                <a:lnTo>
                  <a:pt x="1497" y="4201"/>
                </a:lnTo>
                <a:lnTo>
                  <a:pt x="1495" y="4196"/>
                </a:lnTo>
                <a:lnTo>
                  <a:pt x="1492" y="4193"/>
                </a:lnTo>
                <a:lnTo>
                  <a:pt x="1488" y="4192"/>
                </a:lnTo>
                <a:lnTo>
                  <a:pt x="1481" y="4192"/>
                </a:lnTo>
                <a:close/>
                <a:moveTo>
                  <a:pt x="925" y="1400"/>
                </a:moveTo>
                <a:lnTo>
                  <a:pt x="911" y="1400"/>
                </a:lnTo>
                <a:lnTo>
                  <a:pt x="904" y="1406"/>
                </a:lnTo>
                <a:lnTo>
                  <a:pt x="908" y="1409"/>
                </a:lnTo>
                <a:lnTo>
                  <a:pt x="924" y="1409"/>
                </a:lnTo>
                <a:lnTo>
                  <a:pt x="924" y="1406"/>
                </a:lnTo>
                <a:lnTo>
                  <a:pt x="925" y="1400"/>
                </a:lnTo>
                <a:close/>
                <a:moveTo>
                  <a:pt x="11789" y="4405"/>
                </a:moveTo>
                <a:lnTo>
                  <a:pt x="11790" y="4403"/>
                </a:lnTo>
                <a:lnTo>
                  <a:pt x="11789" y="4403"/>
                </a:lnTo>
                <a:lnTo>
                  <a:pt x="11789" y="4403"/>
                </a:lnTo>
                <a:lnTo>
                  <a:pt x="11789" y="4403"/>
                </a:lnTo>
                <a:lnTo>
                  <a:pt x="11789" y="4403"/>
                </a:lnTo>
                <a:lnTo>
                  <a:pt x="11789" y="4405"/>
                </a:lnTo>
                <a:close/>
                <a:moveTo>
                  <a:pt x="11790" y="4405"/>
                </a:moveTo>
                <a:lnTo>
                  <a:pt x="11799" y="4419"/>
                </a:lnTo>
                <a:lnTo>
                  <a:pt x="11813" y="4436"/>
                </a:lnTo>
                <a:lnTo>
                  <a:pt x="11811" y="4417"/>
                </a:lnTo>
                <a:lnTo>
                  <a:pt x="11808" y="4407"/>
                </a:lnTo>
                <a:lnTo>
                  <a:pt x="11802" y="4403"/>
                </a:lnTo>
                <a:lnTo>
                  <a:pt x="11790" y="4405"/>
                </a:lnTo>
                <a:close/>
                <a:moveTo>
                  <a:pt x="10430" y="5508"/>
                </a:moveTo>
                <a:lnTo>
                  <a:pt x="10430" y="5508"/>
                </a:lnTo>
                <a:lnTo>
                  <a:pt x="10430" y="5509"/>
                </a:lnTo>
                <a:lnTo>
                  <a:pt x="10431" y="5507"/>
                </a:lnTo>
                <a:lnTo>
                  <a:pt x="10430" y="5508"/>
                </a:lnTo>
                <a:close/>
                <a:moveTo>
                  <a:pt x="10431" y="5507"/>
                </a:moveTo>
                <a:lnTo>
                  <a:pt x="10442" y="5506"/>
                </a:lnTo>
                <a:lnTo>
                  <a:pt x="10451" y="5502"/>
                </a:lnTo>
                <a:lnTo>
                  <a:pt x="10457" y="5494"/>
                </a:lnTo>
                <a:lnTo>
                  <a:pt x="10461" y="5479"/>
                </a:lnTo>
                <a:lnTo>
                  <a:pt x="10451" y="5487"/>
                </a:lnTo>
                <a:lnTo>
                  <a:pt x="10443" y="5493"/>
                </a:lnTo>
                <a:lnTo>
                  <a:pt x="10437" y="5501"/>
                </a:lnTo>
                <a:lnTo>
                  <a:pt x="10431" y="5507"/>
                </a:lnTo>
                <a:close/>
                <a:moveTo>
                  <a:pt x="12065" y="5117"/>
                </a:moveTo>
                <a:lnTo>
                  <a:pt x="12069" y="5121"/>
                </a:lnTo>
                <a:lnTo>
                  <a:pt x="12073" y="5121"/>
                </a:lnTo>
                <a:lnTo>
                  <a:pt x="12077" y="5120"/>
                </a:lnTo>
                <a:lnTo>
                  <a:pt x="12081" y="5116"/>
                </a:lnTo>
                <a:lnTo>
                  <a:pt x="12077" y="5112"/>
                </a:lnTo>
                <a:lnTo>
                  <a:pt x="12073" y="5111"/>
                </a:lnTo>
                <a:lnTo>
                  <a:pt x="12069" y="5112"/>
                </a:lnTo>
                <a:lnTo>
                  <a:pt x="12065" y="5117"/>
                </a:lnTo>
                <a:close/>
                <a:moveTo>
                  <a:pt x="8274" y="4665"/>
                </a:moveTo>
                <a:lnTo>
                  <a:pt x="8279" y="4665"/>
                </a:lnTo>
                <a:lnTo>
                  <a:pt x="8284" y="4663"/>
                </a:lnTo>
                <a:lnTo>
                  <a:pt x="8289" y="4658"/>
                </a:lnTo>
                <a:lnTo>
                  <a:pt x="8298" y="4651"/>
                </a:lnTo>
                <a:lnTo>
                  <a:pt x="8287" y="4654"/>
                </a:lnTo>
                <a:lnTo>
                  <a:pt x="8281" y="4655"/>
                </a:lnTo>
                <a:lnTo>
                  <a:pt x="8275" y="4658"/>
                </a:lnTo>
                <a:lnTo>
                  <a:pt x="8274" y="4665"/>
                </a:lnTo>
                <a:close/>
                <a:moveTo>
                  <a:pt x="11655" y="4104"/>
                </a:moveTo>
                <a:lnTo>
                  <a:pt x="11659" y="4112"/>
                </a:lnTo>
                <a:lnTo>
                  <a:pt x="11662" y="4117"/>
                </a:lnTo>
                <a:lnTo>
                  <a:pt x="11667" y="4118"/>
                </a:lnTo>
                <a:lnTo>
                  <a:pt x="11676" y="4116"/>
                </a:lnTo>
                <a:lnTo>
                  <a:pt x="11672" y="4109"/>
                </a:lnTo>
                <a:lnTo>
                  <a:pt x="11668" y="4104"/>
                </a:lnTo>
                <a:lnTo>
                  <a:pt x="11663" y="4102"/>
                </a:lnTo>
                <a:lnTo>
                  <a:pt x="11655" y="4104"/>
                </a:lnTo>
                <a:close/>
                <a:moveTo>
                  <a:pt x="11919" y="4077"/>
                </a:moveTo>
                <a:lnTo>
                  <a:pt x="11913" y="4079"/>
                </a:lnTo>
                <a:lnTo>
                  <a:pt x="11910" y="4082"/>
                </a:lnTo>
                <a:lnTo>
                  <a:pt x="11911" y="4089"/>
                </a:lnTo>
                <a:lnTo>
                  <a:pt x="11916" y="4096"/>
                </a:lnTo>
                <a:lnTo>
                  <a:pt x="11921" y="4090"/>
                </a:lnTo>
                <a:lnTo>
                  <a:pt x="11927" y="4085"/>
                </a:lnTo>
                <a:lnTo>
                  <a:pt x="11927" y="4080"/>
                </a:lnTo>
                <a:lnTo>
                  <a:pt x="11919" y="4077"/>
                </a:lnTo>
                <a:close/>
                <a:moveTo>
                  <a:pt x="12292" y="4077"/>
                </a:moveTo>
                <a:lnTo>
                  <a:pt x="12288" y="4070"/>
                </a:lnTo>
                <a:lnTo>
                  <a:pt x="12281" y="4067"/>
                </a:lnTo>
                <a:lnTo>
                  <a:pt x="12274" y="4070"/>
                </a:lnTo>
                <a:lnTo>
                  <a:pt x="12269" y="4077"/>
                </a:lnTo>
                <a:lnTo>
                  <a:pt x="12273" y="4085"/>
                </a:lnTo>
                <a:lnTo>
                  <a:pt x="12281" y="4088"/>
                </a:lnTo>
                <a:lnTo>
                  <a:pt x="12287" y="4085"/>
                </a:lnTo>
                <a:lnTo>
                  <a:pt x="12292" y="4077"/>
                </a:lnTo>
                <a:close/>
                <a:moveTo>
                  <a:pt x="10928" y="5680"/>
                </a:moveTo>
                <a:lnTo>
                  <a:pt x="10928" y="5680"/>
                </a:lnTo>
                <a:lnTo>
                  <a:pt x="10927" y="5680"/>
                </a:lnTo>
                <a:lnTo>
                  <a:pt x="10927" y="5681"/>
                </a:lnTo>
                <a:lnTo>
                  <a:pt x="10928" y="5681"/>
                </a:lnTo>
                <a:lnTo>
                  <a:pt x="10928" y="5680"/>
                </a:lnTo>
                <a:close/>
                <a:moveTo>
                  <a:pt x="10926" y="5662"/>
                </a:moveTo>
                <a:lnTo>
                  <a:pt x="10923" y="5657"/>
                </a:lnTo>
                <a:lnTo>
                  <a:pt x="10919" y="5655"/>
                </a:lnTo>
                <a:lnTo>
                  <a:pt x="10914" y="5655"/>
                </a:lnTo>
                <a:lnTo>
                  <a:pt x="10909" y="5658"/>
                </a:lnTo>
                <a:lnTo>
                  <a:pt x="10913" y="5670"/>
                </a:lnTo>
                <a:lnTo>
                  <a:pt x="10921" y="5676"/>
                </a:lnTo>
                <a:lnTo>
                  <a:pt x="10927" y="5675"/>
                </a:lnTo>
                <a:lnTo>
                  <a:pt x="10926" y="5662"/>
                </a:lnTo>
                <a:close/>
                <a:moveTo>
                  <a:pt x="11310" y="4103"/>
                </a:moveTo>
                <a:lnTo>
                  <a:pt x="11314" y="4109"/>
                </a:lnTo>
                <a:lnTo>
                  <a:pt x="11318" y="4110"/>
                </a:lnTo>
                <a:lnTo>
                  <a:pt x="11323" y="4108"/>
                </a:lnTo>
                <a:lnTo>
                  <a:pt x="11328" y="4102"/>
                </a:lnTo>
                <a:lnTo>
                  <a:pt x="11325" y="4098"/>
                </a:lnTo>
                <a:lnTo>
                  <a:pt x="11320" y="4098"/>
                </a:lnTo>
                <a:lnTo>
                  <a:pt x="11315" y="4100"/>
                </a:lnTo>
                <a:lnTo>
                  <a:pt x="11310" y="4103"/>
                </a:lnTo>
                <a:close/>
                <a:moveTo>
                  <a:pt x="11943" y="4135"/>
                </a:moveTo>
                <a:lnTo>
                  <a:pt x="11935" y="4137"/>
                </a:lnTo>
                <a:lnTo>
                  <a:pt x="11937" y="4145"/>
                </a:lnTo>
                <a:lnTo>
                  <a:pt x="11943" y="4149"/>
                </a:lnTo>
                <a:lnTo>
                  <a:pt x="11949" y="4144"/>
                </a:lnTo>
                <a:lnTo>
                  <a:pt x="11947" y="4138"/>
                </a:lnTo>
                <a:lnTo>
                  <a:pt x="11943" y="4135"/>
                </a:lnTo>
                <a:close/>
                <a:moveTo>
                  <a:pt x="11879" y="4780"/>
                </a:moveTo>
                <a:lnTo>
                  <a:pt x="11867" y="4775"/>
                </a:lnTo>
                <a:lnTo>
                  <a:pt x="11858" y="4771"/>
                </a:lnTo>
                <a:lnTo>
                  <a:pt x="11853" y="4770"/>
                </a:lnTo>
                <a:lnTo>
                  <a:pt x="11845" y="4776"/>
                </a:lnTo>
                <a:lnTo>
                  <a:pt x="11851" y="4779"/>
                </a:lnTo>
                <a:lnTo>
                  <a:pt x="11858" y="4780"/>
                </a:lnTo>
                <a:lnTo>
                  <a:pt x="11867" y="4780"/>
                </a:lnTo>
                <a:lnTo>
                  <a:pt x="11879" y="4780"/>
                </a:lnTo>
                <a:close/>
                <a:moveTo>
                  <a:pt x="7152" y="4846"/>
                </a:moveTo>
                <a:lnTo>
                  <a:pt x="7146" y="4842"/>
                </a:lnTo>
                <a:lnTo>
                  <a:pt x="7138" y="4844"/>
                </a:lnTo>
                <a:lnTo>
                  <a:pt x="7132" y="4847"/>
                </a:lnTo>
                <a:lnTo>
                  <a:pt x="7129" y="4855"/>
                </a:lnTo>
                <a:lnTo>
                  <a:pt x="7136" y="4856"/>
                </a:lnTo>
                <a:lnTo>
                  <a:pt x="7142" y="4855"/>
                </a:lnTo>
                <a:lnTo>
                  <a:pt x="7147" y="4851"/>
                </a:lnTo>
                <a:lnTo>
                  <a:pt x="7152" y="4846"/>
                </a:lnTo>
                <a:close/>
                <a:moveTo>
                  <a:pt x="11907" y="4853"/>
                </a:moveTo>
                <a:lnTo>
                  <a:pt x="11900" y="4854"/>
                </a:lnTo>
                <a:lnTo>
                  <a:pt x="11896" y="4858"/>
                </a:lnTo>
                <a:lnTo>
                  <a:pt x="11895" y="4864"/>
                </a:lnTo>
                <a:lnTo>
                  <a:pt x="11893" y="4872"/>
                </a:lnTo>
                <a:lnTo>
                  <a:pt x="11904" y="4870"/>
                </a:lnTo>
                <a:lnTo>
                  <a:pt x="11907" y="4867"/>
                </a:lnTo>
                <a:lnTo>
                  <a:pt x="11907" y="4861"/>
                </a:lnTo>
                <a:lnTo>
                  <a:pt x="11907" y="4853"/>
                </a:lnTo>
                <a:close/>
                <a:moveTo>
                  <a:pt x="12092" y="4119"/>
                </a:moveTo>
                <a:lnTo>
                  <a:pt x="12095" y="4109"/>
                </a:lnTo>
                <a:lnTo>
                  <a:pt x="12084" y="4107"/>
                </a:lnTo>
                <a:lnTo>
                  <a:pt x="12074" y="4112"/>
                </a:lnTo>
                <a:lnTo>
                  <a:pt x="12074" y="4121"/>
                </a:lnTo>
                <a:lnTo>
                  <a:pt x="12083" y="4121"/>
                </a:lnTo>
                <a:lnTo>
                  <a:pt x="12092" y="4119"/>
                </a:lnTo>
                <a:close/>
                <a:moveTo>
                  <a:pt x="12205" y="3603"/>
                </a:moveTo>
                <a:lnTo>
                  <a:pt x="12200" y="3600"/>
                </a:lnTo>
                <a:lnTo>
                  <a:pt x="12195" y="3597"/>
                </a:lnTo>
                <a:lnTo>
                  <a:pt x="12190" y="3597"/>
                </a:lnTo>
                <a:lnTo>
                  <a:pt x="12188" y="3601"/>
                </a:lnTo>
                <a:lnTo>
                  <a:pt x="12193" y="3604"/>
                </a:lnTo>
                <a:lnTo>
                  <a:pt x="12198" y="3605"/>
                </a:lnTo>
                <a:lnTo>
                  <a:pt x="12203" y="3605"/>
                </a:lnTo>
                <a:lnTo>
                  <a:pt x="12205" y="3603"/>
                </a:lnTo>
                <a:close/>
                <a:moveTo>
                  <a:pt x="12334" y="4525"/>
                </a:moveTo>
                <a:lnTo>
                  <a:pt x="12339" y="4531"/>
                </a:lnTo>
                <a:lnTo>
                  <a:pt x="12344" y="4532"/>
                </a:lnTo>
                <a:lnTo>
                  <a:pt x="12351" y="4531"/>
                </a:lnTo>
                <a:lnTo>
                  <a:pt x="12357" y="4528"/>
                </a:lnTo>
                <a:lnTo>
                  <a:pt x="12352" y="4519"/>
                </a:lnTo>
                <a:lnTo>
                  <a:pt x="12347" y="4517"/>
                </a:lnTo>
                <a:lnTo>
                  <a:pt x="12340" y="4519"/>
                </a:lnTo>
                <a:lnTo>
                  <a:pt x="12334" y="4525"/>
                </a:lnTo>
                <a:close/>
                <a:moveTo>
                  <a:pt x="10308" y="5322"/>
                </a:moveTo>
                <a:lnTo>
                  <a:pt x="10296" y="5339"/>
                </a:lnTo>
                <a:lnTo>
                  <a:pt x="10288" y="5353"/>
                </a:lnTo>
                <a:lnTo>
                  <a:pt x="10298" y="5350"/>
                </a:lnTo>
                <a:lnTo>
                  <a:pt x="10307" y="5346"/>
                </a:lnTo>
                <a:lnTo>
                  <a:pt x="10310" y="5339"/>
                </a:lnTo>
                <a:lnTo>
                  <a:pt x="10308" y="5322"/>
                </a:lnTo>
                <a:close/>
                <a:moveTo>
                  <a:pt x="10286" y="5354"/>
                </a:moveTo>
                <a:lnTo>
                  <a:pt x="10286" y="5354"/>
                </a:lnTo>
                <a:lnTo>
                  <a:pt x="10286" y="5353"/>
                </a:lnTo>
                <a:lnTo>
                  <a:pt x="10286" y="5353"/>
                </a:lnTo>
                <a:lnTo>
                  <a:pt x="10285" y="5353"/>
                </a:lnTo>
                <a:lnTo>
                  <a:pt x="10285" y="5354"/>
                </a:lnTo>
                <a:lnTo>
                  <a:pt x="10286" y="5354"/>
                </a:lnTo>
                <a:close/>
                <a:moveTo>
                  <a:pt x="12109" y="3970"/>
                </a:moveTo>
                <a:lnTo>
                  <a:pt x="12104" y="3964"/>
                </a:lnTo>
                <a:lnTo>
                  <a:pt x="12100" y="3963"/>
                </a:lnTo>
                <a:lnTo>
                  <a:pt x="12095" y="3965"/>
                </a:lnTo>
                <a:lnTo>
                  <a:pt x="12088" y="3969"/>
                </a:lnTo>
                <a:lnTo>
                  <a:pt x="12092" y="3976"/>
                </a:lnTo>
                <a:lnTo>
                  <a:pt x="12096" y="3977"/>
                </a:lnTo>
                <a:lnTo>
                  <a:pt x="12102" y="3974"/>
                </a:lnTo>
                <a:lnTo>
                  <a:pt x="12109" y="3970"/>
                </a:lnTo>
                <a:close/>
                <a:moveTo>
                  <a:pt x="11972" y="4892"/>
                </a:moveTo>
                <a:lnTo>
                  <a:pt x="11983" y="4890"/>
                </a:lnTo>
                <a:lnTo>
                  <a:pt x="11997" y="4884"/>
                </a:lnTo>
                <a:lnTo>
                  <a:pt x="11984" y="4872"/>
                </a:lnTo>
                <a:lnTo>
                  <a:pt x="11971" y="4873"/>
                </a:lnTo>
                <a:lnTo>
                  <a:pt x="11965" y="4882"/>
                </a:lnTo>
                <a:lnTo>
                  <a:pt x="11972" y="4892"/>
                </a:lnTo>
                <a:close/>
                <a:moveTo>
                  <a:pt x="11343" y="3599"/>
                </a:moveTo>
                <a:lnTo>
                  <a:pt x="11343" y="3599"/>
                </a:lnTo>
                <a:lnTo>
                  <a:pt x="11343" y="3599"/>
                </a:lnTo>
                <a:lnTo>
                  <a:pt x="11345" y="3599"/>
                </a:lnTo>
                <a:lnTo>
                  <a:pt x="11343" y="3599"/>
                </a:lnTo>
                <a:close/>
                <a:moveTo>
                  <a:pt x="465" y="1412"/>
                </a:moveTo>
                <a:lnTo>
                  <a:pt x="469" y="1418"/>
                </a:lnTo>
                <a:lnTo>
                  <a:pt x="473" y="1422"/>
                </a:lnTo>
                <a:lnTo>
                  <a:pt x="477" y="1423"/>
                </a:lnTo>
                <a:lnTo>
                  <a:pt x="480" y="1418"/>
                </a:lnTo>
                <a:lnTo>
                  <a:pt x="478" y="1411"/>
                </a:lnTo>
                <a:lnTo>
                  <a:pt x="474" y="1406"/>
                </a:lnTo>
                <a:lnTo>
                  <a:pt x="469" y="1406"/>
                </a:lnTo>
                <a:lnTo>
                  <a:pt x="465" y="1412"/>
                </a:lnTo>
                <a:close/>
                <a:moveTo>
                  <a:pt x="465" y="1792"/>
                </a:moveTo>
                <a:lnTo>
                  <a:pt x="461" y="1782"/>
                </a:lnTo>
                <a:lnTo>
                  <a:pt x="455" y="1778"/>
                </a:lnTo>
                <a:lnTo>
                  <a:pt x="446" y="1782"/>
                </a:lnTo>
                <a:lnTo>
                  <a:pt x="438" y="1791"/>
                </a:lnTo>
                <a:lnTo>
                  <a:pt x="446" y="1796"/>
                </a:lnTo>
                <a:lnTo>
                  <a:pt x="455" y="1800"/>
                </a:lnTo>
                <a:lnTo>
                  <a:pt x="461" y="1800"/>
                </a:lnTo>
                <a:lnTo>
                  <a:pt x="465" y="1792"/>
                </a:lnTo>
                <a:close/>
                <a:moveTo>
                  <a:pt x="451" y="1955"/>
                </a:moveTo>
                <a:lnTo>
                  <a:pt x="440" y="1955"/>
                </a:lnTo>
                <a:lnTo>
                  <a:pt x="433" y="1959"/>
                </a:lnTo>
                <a:lnTo>
                  <a:pt x="433" y="1967"/>
                </a:lnTo>
                <a:lnTo>
                  <a:pt x="441" y="1975"/>
                </a:lnTo>
                <a:lnTo>
                  <a:pt x="447" y="1971"/>
                </a:lnTo>
                <a:lnTo>
                  <a:pt x="454" y="1967"/>
                </a:lnTo>
                <a:lnTo>
                  <a:pt x="455" y="1962"/>
                </a:lnTo>
                <a:lnTo>
                  <a:pt x="451" y="1955"/>
                </a:lnTo>
                <a:close/>
                <a:moveTo>
                  <a:pt x="12147" y="4135"/>
                </a:moveTo>
                <a:lnTo>
                  <a:pt x="12142" y="4123"/>
                </a:lnTo>
                <a:lnTo>
                  <a:pt x="12135" y="4121"/>
                </a:lnTo>
                <a:lnTo>
                  <a:pt x="12128" y="4121"/>
                </a:lnTo>
                <a:lnTo>
                  <a:pt x="12118" y="4122"/>
                </a:lnTo>
                <a:lnTo>
                  <a:pt x="12119" y="4132"/>
                </a:lnTo>
                <a:lnTo>
                  <a:pt x="12127" y="4135"/>
                </a:lnTo>
                <a:lnTo>
                  <a:pt x="12137" y="4133"/>
                </a:lnTo>
                <a:lnTo>
                  <a:pt x="12147" y="4135"/>
                </a:lnTo>
                <a:close/>
                <a:moveTo>
                  <a:pt x="828" y="1257"/>
                </a:moveTo>
                <a:lnTo>
                  <a:pt x="825" y="1248"/>
                </a:lnTo>
                <a:lnTo>
                  <a:pt x="815" y="1245"/>
                </a:lnTo>
                <a:lnTo>
                  <a:pt x="803" y="1246"/>
                </a:lnTo>
                <a:lnTo>
                  <a:pt x="792" y="1250"/>
                </a:lnTo>
                <a:lnTo>
                  <a:pt x="800" y="1257"/>
                </a:lnTo>
                <a:lnTo>
                  <a:pt x="809" y="1262"/>
                </a:lnTo>
                <a:lnTo>
                  <a:pt x="818" y="1262"/>
                </a:lnTo>
                <a:lnTo>
                  <a:pt x="828" y="1257"/>
                </a:lnTo>
                <a:close/>
                <a:moveTo>
                  <a:pt x="792" y="1250"/>
                </a:moveTo>
                <a:lnTo>
                  <a:pt x="791" y="1250"/>
                </a:lnTo>
                <a:lnTo>
                  <a:pt x="792" y="1250"/>
                </a:lnTo>
                <a:lnTo>
                  <a:pt x="791" y="1249"/>
                </a:lnTo>
                <a:lnTo>
                  <a:pt x="792" y="1250"/>
                </a:lnTo>
                <a:close/>
                <a:moveTo>
                  <a:pt x="643" y="2495"/>
                </a:moveTo>
                <a:lnTo>
                  <a:pt x="641" y="2485"/>
                </a:lnTo>
                <a:lnTo>
                  <a:pt x="633" y="2481"/>
                </a:lnTo>
                <a:lnTo>
                  <a:pt x="624" y="2482"/>
                </a:lnTo>
                <a:lnTo>
                  <a:pt x="612" y="2485"/>
                </a:lnTo>
                <a:lnTo>
                  <a:pt x="619" y="2496"/>
                </a:lnTo>
                <a:lnTo>
                  <a:pt x="627" y="2504"/>
                </a:lnTo>
                <a:lnTo>
                  <a:pt x="636" y="2505"/>
                </a:lnTo>
                <a:lnTo>
                  <a:pt x="643" y="2495"/>
                </a:lnTo>
                <a:close/>
                <a:moveTo>
                  <a:pt x="824" y="1621"/>
                </a:moveTo>
                <a:lnTo>
                  <a:pt x="823" y="1621"/>
                </a:lnTo>
                <a:lnTo>
                  <a:pt x="823" y="1622"/>
                </a:lnTo>
                <a:lnTo>
                  <a:pt x="823" y="1622"/>
                </a:lnTo>
                <a:lnTo>
                  <a:pt x="824" y="1621"/>
                </a:lnTo>
                <a:close/>
                <a:moveTo>
                  <a:pt x="824" y="1600"/>
                </a:moveTo>
                <a:lnTo>
                  <a:pt x="809" y="1598"/>
                </a:lnTo>
                <a:lnTo>
                  <a:pt x="792" y="1595"/>
                </a:lnTo>
                <a:lnTo>
                  <a:pt x="800" y="1612"/>
                </a:lnTo>
                <a:lnTo>
                  <a:pt x="813" y="1619"/>
                </a:lnTo>
                <a:lnTo>
                  <a:pt x="824" y="1616"/>
                </a:lnTo>
                <a:lnTo>
                  <a:pt x="824" y="1600"/>
                </a:lnTo>
                <a:close/>
                <a:moveTo>
                  <a:pt x="12025" y="5130"/>
                </a:moveTo>
                <a:lnTo>
                  <a:pt x="12018" y="5131"/>
                </a:lnTo>
                <a:lnTo>
                  <a:pt x="12013" y="5134"/>
                </a:lnTo>
                <a:lnTo>
                  <a:pt x="12011" y="5138"/>
                </a:lnTo>
                <a:lnTo>
                  <a:pt x="12014" y="5144"/>
                </a:lnTo>
                <a:lnTo>
                  <a:pt x="12021" y="5143"/>
                </a:lnTo>
                <a:lnTo>
                  <a:pt x="12025" y="5140"/>
                </a:lnTo>
                <a:lnTo>
                  <a:pt x="12026" y="5136"/>
                </a:lnTo>
                <a:lnTo>
                  <a:pt x="12025" y="5130"/>
                </a:lnTo>
                <a:close/>
                <a:moveTo>
                  <a:pt x="10518" y="4774"/>
                </a:moveTo>
                <a:lnTo>
                  <a:pt x="10522" y="4779"/>
                </a:lnTo>
                <a:lnTo>
                  <a:pt x="10528" y="4779"/>
                </a:lnTo>
                <a:lnTo>
                  <a:pt x="10535" y="4776"/>
                </a:lnTo>
                <a:lnTo>
                  <a:pt x="10538" y="4769"/>
                </a:lnTo>
                <a:lnTo>
                  <a:pt x="10533" y="4762"/>
                </a:lnTo>
                <a:lnTo>
                  <a:pt x="10527" y="4761"/>
                </a:lnTo>
                <a:lnTo>
                  <a:pt x="10522" y="4765"/>
                </a:lnTo>
                <a:lnTo>
                  <a:pt x="10518" y="4774"/>
                </a:lnTo>
                <a:close/>
                <a:moveTo>
                  <a:pt x="697" y="3886"/>
                </a:moveTo>
                <a:lnTo>
                  <a:pt x="689" y="3878"/>
                </a:lnTo>
                <a:lnTo>
                  <a:pt x="679" y="3876"/>
                </a:lnTo>
                <a:lnTo>
                  <a:pt x="668" y="3878"/>
                </a:lnTo>
                <a:lnTo>
                  <a:pt x="654" y="3878"/>
                </a:lnTo>
                <a:lnTo>
                  <a:pt x="666" y="3885"/>
                </a:lnTo>
                <a:lnTo>
                  <a:pt x="678" y="3890"/>
                </a:lnTo>
                <a:lnTo>
                  <a:pt x="688" y="3892"/>
                </a:lnTo>
                <a:lnTo>
                  <a:pt x="697" y="3886"/>
                </a:lnTo>
                <a:close/>
                <a:moveTo>
                  <a:pt x="871" y="3855"/>
                </a:moveTo>
                <a:lnTo>
                  <a:pt x="867" y="3850"/>
                </a:lnTo>
                <a:lnTo>
                  <a:pt x="864" y="3848"/>
                </a:lnTo>
                <a:lnTo>
                  <a:pt x="860" y="3850"/>
                </a:lnTo>
                <a:lnTo>
                  <a:pt x="855" y="3855"/>
                </a:lnTo>
                <a:lnTo>
                  <a:pt x="859" y="3858"/>
                </a:lnTo>
                <a:lnTo>
                  <a:pt x="864" y="3860"/>
                </a:lnTo>
                <a:lnTo>
                  <a:pt x="867" y="3858"/>
                </a:lnTo>
                <a:lnTo>
                  <a:pt x="871" y="3855"/>
                </a:lnTo>
                <a:close/>
                <a:moveTo>
                  <a:pt x="1303" y="1031"/>
                </a:moveTo>
                <a:lnTo>
                  <a:pt x="1313" y="1026"/>
                </a:lnTo>
                <a:lnTo>
                  <a:pt x="1314" y="1021"/>
                </a:lnTo>
                <a:lnTo>
                  <a:pt x="1311" y="1015"/>
                </a:lnTo>
                <a:lnTo>
                  <a:pt x="1304" y="1006"/>
                </a:lnTo>
                <a:lnTo>
                  <a:pt x="1295" y="1010"/>
                </a:lnTo>
                <a:lnTo>
                  <a:pt x="1294" y="1016"/>
                </a:lnTo>
                <a:lnTo>
                  <a:pt x="1297" y="1024"/>
                </a:lnTo>
                <a:lnTo>
                  <a:pt x="1303" y="1031"/>
                </a:lnTo>
                <a:close/>
                <a:moveTo>
                  <a:pt x="12170" y="4501"/>
                </a:moveTo>
                <a:lnTo>
                  <a:pt x="12160" y="4503"/>
                </a:lnTo>
                <a:lnTo>
                  <a:pt x="12139" y="4509"/>
                </a:lnTo>
                <a:lnTo>
                  <a:pt x="12160" y="4515"/>
                </a:lnTo>
                <a:lnTo>
                  <a:pt x="12175" y="4515"/>
                </a:lnTo>
                <a:lnTo>
                  <a:pt x="12180" y="4509"/>
                </a:lnTo>
                <a:lnTo>
                  <a:pt x="12170" y="4501"/>
                </a:lnTo>
                <a:close/>
                <a:moveTo>
                  <a:pt x="11383" y="4617"/>
                </a:moveTo>
                <a:lnTo>
                  <a:pt x="11373" y="4616"/>
                </a:lnTo>
                <a:lnTo>
                  <a:pt x="11361" y="4613"/>
                </a:lnTo>
                <a:lnTo>
                  <a:pt x="11351" y="4612"/>
                </a:lnTo>
                <a:lnTo>
                  <a:pt x="11346" y="4618"/>
                </a:lnTo>
                <a:lnTo>
                  <a:pt x="11356" y="4620"/>
                </a:lnTo>
                <a:lnTo>
                  <a:pt x="11369" y="4622"/>
                </a:lnTo>
                <a:lnTo>
                  <a:pt x="11378" y="4623"/>
                </a:lnTo>
                <a:lnTo>
                  <a:pt x="11383" y="4617"/>
                </a:lnTo>
                <a:close/>
                <a:moveTo>
                  <a:pt x="11481" y="4539"/>
                </a:moveTo>
                <a:lnTo>
                  <a:pt x="11481" y="4538"/>
                </a:lnTo>
                <a:lnTo>
                  <a:pt x="11481" y="4538"/>
                </a:lnTo>
                <a:lnTo>
                  <a:pt x="11481" y="4539"/>
                </a:lnTo>
                <a:lnTo>
                  <a:pt x="11481" y="4538"/>
                </a:lnTo>
                <a:lnTo>
                  <a:pt x="11481" y="4538"/>
                </a:lnTo>
                <a:lnTo>
                  <a:pt x="11480" y="4538"/>
                </a:lnTo>
                <a:lnTo>
                  <a:pt x="11478" y="4539"/>
                </a:lnTo>
                <a:lnTo>
                  <a:pt x="11480" y="4539"/>
                </a:lnTo>
                <a:lnTo>
                  <a:pt x="11481" y="4539"/>
                </a:lnTo>
                <a:close/>
                <a:moveTo>
                  <a:pt x="11439" y="4550"/>
                </a:moveTo>
                <a:lnTo>
                  <a:pt x="11448" y="4555"/>
                </a:lnTo>
                <a:lnTo>
                  <a:pt x="11458" y="4552"/>
                </a:lnTo>
                <a:lnTo>
                  <a:pt x="11468" y="4545"/>
                </a:lnTo>
                <a:lnTo>
                  <a:pt x="11478" y="4539"/>
                </a:lnTo>
                <a:lnTo>
                  <a:pt x="11467" y="4539"/>
                </a:lnTo>
                <a:lnTo>
                  <a:pt x="11454" y="4538"/>
                </a:lnTo>
                <a:lnTo>
                  <a:pt x="11444" y="4541"/>
                </a:lnTo>
                <a:lnTo>
                  <a:pt x="11439" y="4550"/>
                </a:lnTo>
                <a:close/>
                <a:moveTo>
                  <a:pt x="11694" y="4396"/>
                </a:moveTo>
                <a:lnTo>
                  <a:pt x="11691" y="4406"/>
                </a:lnTo>
                <a:lnTo>
                  <a:pt x="11696" y="4412"/>
                </a:lnTo>
                <a:lnTo>
                  <a:pt x="11705" y="4413"/>
                </a:lnTo>
                <a:lnTo>
                  <a:pt x="11713" y="4407"/>
                </a:lnTo>
                <a:lnTo>
                  <a:pt x="11709" y="4401"/>
                </a:lnTo>
                <a:lnTo>
                  <a:pt x="11705" y="4394"/>
                </a:lnTo>
                <a:lnTo>
                  <a:pt x="11700" y="4393"/>
                </a:lnTo>
                <a:lnTo>
                  <a:pt x="11694" y="4396"/>
                </a:lnTo>
                <a:close/>
                <a:moveTo>
                  <a:pt x="11779" y="4071"/>
                </a:moveTo>
                <a:lnTo>
                  <a:pt x="11779" y="4062"/>
                </a:lnTo>
                <a:lnTo>
                  <a:pt x="11778" y="4054"/>
                </a:lnTo>
                <a:lnTo>
                  <a:pt x="11775" y="4047"/>
                </a:lnTo>
                <a:lnTo>
                  <a:pt x="11767" y="4040"/>
                </a:lnTo>
                <a:lnTo>
                  <a:pt x="11760" y="4049"/>
                </a:lnTo>
                <a:lnTo>
                  <a:pt x="11760" y="4062"/>
                </a:lnTo>
                <a:lnTo>
                  <a:pt x="11767" y="4071"/>
                </a:lnTo>
                <a:lnTo>
                  <a:pt x="11779" y="4071"/>
                </a:lnTo>
                <a:close/>
                <a:moveTo>
                  <a:pt x="11916" y="4222"/>
                </a:moveTo>
                <a:lnTo>
                  <a:pt x="11923" y="4221"/>
                </a:lnTo>
                <a:lnTo>
                  <a:pt x="11925" y="4216"/>
                </a:lnTo>
                <a:lnTo>
                  <a:pt x="11924" y="4210"/>
                </a:lnTo>
                <a:lnTo>
                  <a:pt x="11918" y="4205"/>
                </a:lnTo>
                <a:lnTo>
                  <a:pt x="11910" y="4206"/>
                </a:lnTo>
                <a:lnTo>
                  <a:pt x="11907" y="4210"/>
                </a:lnTo>
                <a:lnTo>
                  <a:pt x="11910" y="4216"/>
                </a:lnTo>
                <a:lnTo>
                  <a:pt x="11916" y="4222"/>
                </a:lnTo>
                <a:close/>
                <a:moveTo>
                  <a:pt x="12022" y="3945"/>
                </a:moveTo>
                <a:lnTo>
                  <a:pt x="12022" y="3944"/>
                </a:lnTo>
                <a:lnTo>
                  <a:pt x="12021" y="3944"/>
                </a:lnTo>
                <a:lnTo>
                  <a:pt x="12022" y="3945"/>
                </a:lnTo>
                <a:close/>
                <a:moveTo>
                  <a:pt x="12048" y="3925"/>
                </a:moveTo>
                <a:lnTo>
                  <a:pt x="12037" y="3920"/>
                </a:lnTo>
                <a:lnTo>
                  <a:pt x="12030" y="3925"/>
                </a:lnTo>
                <a:lnTo>
                  <a:pt x="12025" y="3934"/>
                </a:lnTo>
                <a:lnTo>
                  <a:pt x="12022" y="3944"/>
                </a:lnTo>
                <a:lnTo>
                  <a:pt x="12031" y="3942"/>
                </a:lnTo>
                <a:lnTo>
                  <a:pt x="12040" y="3940"/>
                </a:lnTo>
                <a:lnTo>
                  <a:pt x="12045" y="3935"/>
                </a:lnTo>
                <a:lnTo>
                  <a:pt x="12048" y="3925"/>
                </a:lnTo>
                <a:close/>
                <a:moveTo>
                  <a:pt x="10007" y="5565"/>
                </a:moveTo>
                <a:lnTo>
                  <a:pt x="10018" y="5573"/>
                </a:lnTo>
                <a:lnTo>
                  <a:pt x="10027" y="5577"/>
                </a:lnTo>
                <a:lnTo>
                  <a:pt x="10035" y="5577"/>
                </a:lnTo>
                <a:lnTo>
                  <a:pt x="10046" y="5569"/>
                </a:lnTo>
                <a:lnTo>
                  <a:pt x="10038" y="5564"/>
                </a:lnTo>
                <a:lnTo>
                  <a:pt x="10029" y="5562"/>
                </a:lnTo>
                <a:lnTo>
                  <a:pt x="10019" y="5562"/>
                </a:lnTo>
                <a:lnTo>
                  <a:pt x="10007" y="5565"/>
                </a:lnTo>
                <a:close/>
                <a:moveTo>
                  <a:pt x="12226" y="4417"/>
                </a:moveTo>
                <a:lnTo>
                  <a:pt x="12213" y="4405"/>
                </a:lnTo>
                <a:lnTo>
                  <a:pt x="12200" y="4391"/>
                </a:lnTo>
                <a:lnTo>
                  <a:pt x="12200" y="4405"/>
                </a:lnTo>
                <a:lnTo>
                  <a:pt x="12205" y="4412"/>
                </a:lnTo>
                <a:lnTo>
                  <a:pt x="12213" y="4417"/>
                </a:lnTo>
                <a:lnTo>
                  <a:pt x="12226" y="4417"/>
                </a:lnTo>
                <a:close/>
                <a:moveTo>
                  <a:pt x="12321" y="3917"/>
                </a:moveTo>
                <a:lnTo>
                  <a:pt x="12320" y="3906"/>
                </a:lnTo>
                <a:lnTo>
                  <a:pt x="12310" y="3903"/>
                </a:lnTo>
                <a:lnTo>
                  <a:pt x="12298" y="3906"/>
                </a:lnTo>
                <a:lnTo>
                  <a:pt x="12291" y="3914"/>
                </a:lnTo>
                <a:lnTo>
                  <a:pt x="12298" y="3920"/>
                </a:lnTo>
                <a:lnTo>
                  <a:pt x="12306" y="3922"/>
                </a:lnTo>
                <a:lnTo>
                  <a:pt x="12315" y="3922"/>
                </a:lnTo>
                <a:lnTo>
                  <a:pt x="12321" y="3917"/>
                </a:lnTo>
                <a:close/>
                <a:moveTo>
                  <a:pt x="443" y="1297"/>
                </a:moveTo>
                <a:lnTo>
                  <a:pt x="442" y="1297"/>
                </a:lnTo>
                <a:lnTo>
                  <a:pt x="442" y="1299"/>
                </a:lnTo>
                <a:lnTo>
                  <a:pt x="442" y="1299"/>
                </a:lnTo>
                <a:lnTo>
                  <a:pt x="443" y="1297"/>
                </a:lnTo>
                <a:close/>
                <a:moveTo>
                  <a:pt x="461" y="1258"/>
                </a:moveTo>
                <a:lnTo>
                  <a:pt x="443" y="1264"/>
                </a:lnTo>
                <a:lnTo>
                  <a:pt x="435" y="1272"/>
                </a:lnTo>
                <a:lnTo>
                  <a:pt x="435" y="1282"/>
                </a:lnTo>
                <a:lnTo>
                  <a:pt x="443" y="1297"/>
                </a:lnTo>
                <a:lnTo>
                  <a:pt x="447" y="1288"/>
                </a:lnTo>
                <a:lnTo>
                  <a:pt x="452" y="1278"/>
                </a:lnTo>
                <a:lnTo>
                  <a:pt x="456" y="1268"/>
                </a:lnTo>
                <a:lnTo>
                  <a:pt x="461" y="1258"/>
                </a:lnTo>
                <a:close/>
                <a:moveTo>
                  <a:pt x="10586" y="5577"/>
                </a:moveTo>
                <a:lnTo>
                  <a:pt x="10570" y="5581"/>
                </a:lnTo>
                <a:lnTo>
                  <a:pt x="10564" y="5588"/>
                </a:lnTo>
                <a:lnTo>
                  <a:pt x="10568" y="5596"/>
                </a:lnTo>
                <a:lnTo>
                  <a:pt x="10583" y="5600"/>
                </a:lnTo>
                <a:lnTo>
                  <a:pt x="10597" y="5597"/>
                </a:lnTo>
                <a:lnTo>
                  <a:pt x="10602" y="5591"/>
                </a:lnTo>
                <a:lnTo>
                  <a:pt x="10598" y="5583"/>
                </a:lnTo>
                <a:lnTo>
                  <a:pt x="10586" y="5577"/>
                </a:lnTo>
                <a:close/>
                <a:moveTo>
                  <a:pt x="554" y="3050"/>
                </a:moveTo>
                <a:lnTo>
                  <a:pt x="548" y="3041"/>
                </a:lnTo>
                <a:lnTo>
                  <a:pt x="538" y="3037"/>
                </a:lnTo>
                <a:lnTo>
                  <a:pt x="527" y="3040"/>
                </a:lnTo>
                <a:lnTo>
                  <a:pt x="524" y="3051"/>
                </a:lnTo>
                <a:lnTo>
                  <a:pt x="530" y="3059"/>
                </a:lnTo>
                <a:lnTo>
                  <a:pt x="538" y="3059"/>
                </a:lnTo>
                <a:lnTo>
                  <a:pt x="547" y="3055"/>
                </a:lnTo>
                <a:lnTo>
                  <a:pt x="554" y="3050"/>
                </a:lnTo>
                <a:close/>
                <a:moveTo>
                  <a:pt x="11393" y="3991"/>
                </a:moveTo>
                <a:lnTo>
                  <a:pt x="11387" y="3995"/>
                </a:lnTo>
                <a:lnTo>
                  <a:pt x="11384" y="4000"/>
                </a:lnTo>
                <a:lnTo>
                  <a:pt x="11384" y="4006"/>
                </a:lnTo>
                <a:lnTo>
                  <a:pt x="11390" y="4010"/>
                </a:lnTo>
                <a:lnTo>
                  <a:pt x="11402" y="4010"/>
                </a:lnTo>
                <a:lnTo>
                  <a:pt x="11408" y="4001"/>
                </a:lnTo>
                <a:lnTo>
                  <a:pt x="11407" y="3991"/>
                </a:lnTo>
                <a:lnTo>
                  <a:pt x="11393" y="3991"/>
                </a:lnTo>
                <a:close/>
                <a:moveTo>
                  <a:pt x="130" y="3000"/>
                </a:moveTo>
                <a:lnTo>
                  <a:pt x="120" y="3004"/>
                </a:lnTo>
                <a:lnTo>
                  <a:pt x="117" y="3012"/>
                </a:lnTo>
                <a:lnTo>
                  <a:pt x="122" y="3021"/>
                </a:lnTo>
                <a:lnTo>
                  <a:pt x="129" y="3031"/>
                </a:lnTo>
                <a:lnTo>
                  <a:pt x="137" y="3021"/>
                </a:lnTo>
                <a:lnTo>
                  <a:pt x="140" y="3013"/>
                </a:lnTo>
                <a:lnTo>
                  <a:pt x="139" y="3007"/>
                </a:lnTo>
                <a:lnTo>
                  <a:pt x="130" y="3000"/>
                </a:lnTo>
                <a:close/>
                <a:moveTo>
                  <a:pt x="50" y="2813"/>
                </a:moveTo>
                <a:lnTo>
                  <a:pt x="63" y="2818"/>
                </a:lnTo>
                <a:lnTo>
                  <a:pt x="69" y="2812"/>
                </a:lnTo>
                <a:lnTo>
                  <a:pt x="70" y="2801"/>
                </a:lnTo>
                <a:lnTo>
                  <a:pt x="66" y="2790"/>
                </a:lnTo>
                <a:lnTo>
                  <a:pt x="54" y="2789"/>
                </a:lnTo>
                <a:lnTo>
                  <a:pt x="44" y="2794"/>
                </a:lnTo>
                <a:lnTo>
                  <a:pt x="41" y="2803"/>
                </a:lnTo>
                <a:lnTo>
                  <a:pt x="50" y="2813"/>
                </a:lnTo>
                <a:close/>
                <a:moveTo>
                  <a:pt x="11999" y="4219"/>
                </a:moveTo>
                <a:lnTo>
                  <a:pt x="12004" y="4229"/>
                </a:lnTo>
                <a:lnTo>
                  <a:pt x="12009" y="4239"/>
                </a:lnTo>
                <a:lnTo>
                  <a:pt x="12014" y="4249"/>
                </a:lnTo>
                <a:lnTo>
                  <a:pt x="12020" y="4262"/>
                </a:lnTo>
                <a:lnTo>
                  <a:pt x="12023" y="4245"/>
                </a:lnTo>
                <a:lnTo>
                  <a:pt x="12022" y="4233"/>
                </a:lnTo>
                <a:lnTo>
                  <a:pt x="12014" y="4224"/>
                </a:lnTo>
                <a:lnTo>
                  <a:pt x="11999" y="4219"/>
                </a:lnTo>
                <a:close/>
                <a:moveTo>
                  <a:pt x="8353" y="4690"/>
                </a:moveTo>
                <a:lnTo>
                  <a:pt x="8357" y="4682"/>
                </a:lnTo>
                <a:lnTo>
                  <a:pt x="8361" y="4673"/>
                </a:lnTo>
                <a:lnTo>
                  <a:pt x="8367" y="4663"/>
                </a:lnTo>
                <a:lnTo>
                  <a:pt x="8375" y="4649"/>
                </a:lnTo>
                <a:lnTo>
                  <a:pt x="8356" y="4660"/>
                </a:lnTo>
                <a:lnTo>
                  <a:pt x="8347" y="4669"/>
                </a:lnTo>
                <a:lnTo>
                  <a:pt x="8347" y="4677"/>
                </a:lnTo>
                <a:lnTo>
                  <a:pt x="8353" y="4690"/>
                </a:lnTo>
                <a:close/>
                <a:moveTo>
                  <a:pt x="11747" y="4127"/>
                </a:moveTo>
                <a:lnTo>
                  <a:pt x="11758" y="4135"/>
                </a:lnTo>
                <a:lnTo>
                  <a:pt x="11769" y="4132"/>
                </a:lnTo>
                <a:lnTo>
                  <a:pt x="11778" y="4122"/>
                </a:lnTo>
                <a:lnTo>
                  <a:pt x="11783" y="4107"/>
                </a:lnTo>
                <a:lnTo>
                  <a:pt x="11770" y="4110"/>
                </a:lnTo>
                <a:lnTo>
                  <a:pt x="11758" y="4113"/>
                </a:lnTo>
                <a:lnTo>
                  <a:pt x="11750" y="4117"/>
                </a:lnTo>
                <a:lnTo>
                  <a:pt x="11747" y="4127"/>
                </a:lnTo>
                <a:close/>
                <a:moveTo>
                  <a:pt x="11581" y="4099"/>
                </a:moveTo>
                <a:lnTo>
                  <a:pt x="11588" y="4110"/>
                </a:lnTo>
                <a:lnTo>
                  <a:pt x="11597" y="4110"/>
                </a:lnTo>
                <a:lnTo>
                  <a:pt x="11608" y="4107"/>
                </a:lnTo>
                <a:lnTo>
                  <a:pt x="11618" y="4100"/>
                </a:lnTo>
                <a:lnTo>
                  <a:pt x="11612" y="4088"/>
                </a:lnTo>
                <a:lnTo>
                  <a:pt x="11599" y="4084"/>
                </a:lnTo>
                <a:lnTo>
                  <a:pt x="11588" y="4089"/>
                </a:lnTo>
                <a:lnTo>
                  <a:pt x="11581" y="4099"/>
                </a:lnTo>
                <a:close/>
                <a:moveTo>
                  <a:pt x="442" y="1454"/>
                </a:moveTo>
                <a:lnTo>
                  <a:pt x="432" y="1444"/>
                </a:lnTo>
                <a:lnTo>
                  <a:pt x="423" y="1432"/>
                </a:lnTo>
                <a:lnTo>
                  <a:pt x="410" y="1425"/>
                </a:lnTo>
                <a:lnTo>
                  <a:pt x="394" y="1423"/>
                </a:lnTo>
                <a:lnTo>
                  <a:pt x="401" y="1441"/>
                </a:lnTo>
                <a:lnTo>
                  <a:pt x="413" y="1449"/>
                </a:lnTo>
                <a:lnTo>
                  <a:pt x="427" y="1453"/>
                </a:lnTo>
                <a:lnTo>
                  <a:pt x="442" y="1454"/>
                </a:lnTo>
                <a:close/>
                <a:moveTo>
                  <a:pt x="12021" y="4102"/>
                </a:moveTo>
                <a:lnTo>
                  <a:pt x="12021" y="4102"/>
                </a:lnTo>
                <a:lnTo>
                  <a:pt x="12021" y="4102"/>
                </a:lnTo>
                <a:lnTo>
                  <a:pt x="12022" y="4102"/>
                </a:lnTo>
                <a:lnTo>
                  <a:pt x="12021" y="4102"/>
                </a:lnTo>
                <a:close/>
                <a:moveTo>
                  <a:pt x="11969" y="4102"/>
                </a:moveTo>
                <a:lnTo>
                  <a:pt x="11980" y="4109"/>
                </a:lnTo>
                <a:lnTo>
                  <a:pt x="11992" y="4116"/>
                </a:lnTo>
                <a:lnTo>
                  <a:pt x="12004" y="4123"/>
                </a:lnTo>
                <a:lnTo>
                  <a:pt x="12017" y="4130"/>
                </a:lnTo>
                <a:lnTo>
                  <a:pt x="12020" y="4108"/>
                </a:lnTo>
                <a:lnTo>
                  <a:pt x="12011" y="4098"/>
                </a:lnTo>
                <a:lnTo>
                  <a:pt x="11992" y="4095"/>
                </a:lnTo>
                <a:lnTo>
                  <a:pt x="11969" y="4102"/>
                </a:lnTo>
                <a:close/>
                <a:moveTo>
                  <a:pt x="11649" y="4449"/>
                </a:moveTo>
                <a:lnTo>
                  <a:pt x="11654" y="4458"/>
                </a:lnTo>
                <a:lnTo>
                  <a:pt x="11663" y="4461"/>
                </a:lnTo>
                <a:lnTo>
                  <a:pt x="11672" y="4457"/>
                </a:lnTo>
                <a:lnTo>
                  <a:pt x="11678" y="4448"/>
                </a:lnTo>
                <a:lnTo>
                  <a:pt x="11673" y="4435"/>
                </a:lnTo>
                <a:lnTo>
                  <a:pt x="11663" y="4431"/>
                </a:lnTo>
                <a:lnTo>
                  <a:pt x="11653" y="4436"/>
                </a:lnTo>
                <a:lnTo>
                  <a:pt x="11649" y="4449"/>
                </a:lnTo>
                <a:close/>
                <a:moveTo>
                  <a:pt x="11708" y="4573"/>
                </a:moveTo>
                <a:lnTo>
                  <a:pt x="11715" y="4562"/>
                </a:lnTo>
                <a:lnTo>
                  <a:pt x="11710" y="4553"/>
                </a:lnTo>
                <a:lnTo>
                  <a:pt x="11699" y="4548"/>
                </a:lnTo>
                <a:lnTo>
                  <a:pt x="11685" y="4550"/>
                </a:lnTo>
                <a:lnTo>
                  <a:pt x="11686" y="4560"/>
                </a:lnTo>
                <a:lnTo>
                  <a:pt x="11690" y="4569"/>
                </a:lnTo>
                <a:lnTo>
                  <a:pt x="11697" y="4574"/>
                </a:lnTo>
                <a:lnTo>
                  <a:pt x="11708" y="4573"/>
                </a:lnTo>
                <a:close/>
                <a:moveTo>
                  <a:pt x="12147" y="3813"/>
                </a:moveTo>
                <a:lnTo>
                  <a:pt x="12142" y="3820"/>
                </a:lnTo>
                <a:lnTo>
                  <a:pt x="12143" y="3828"/>
                </a:lnTo>
                <a:lnTo>
                  <a:pt x="12148" y="3833"/>
                </a:lnTo>
                <a:lnTo>
                  <a:pt x="12156" y="3834"/>
                </a:lnTo>
                <a:lnTo>
                  <a:pt x="12170" y="3828"/>
                </a:lnTo>
                <a:lnTo>
                  <a:pt x="12171" y="3815"/>
                </a:lnTo>
                <a:lnTo>
                  <a:pt x="12162" y="3808"/>
                </a:lnTo>
                <a:lnTo>
                  <a:pt x="12147" y="3813"/>
                </a:lnTo>
                <a:close/>
                <a:moveTo>
                  <a:pt x="11548" y="5758"/>
                </a:moveTo>
                <a:lnTo>
                  <a:pt x="11546" y="5758"/>
                </a:lnTo>
                <a:lnTo>
                  <a:pt x="11542" y="5758"/>
                </a:lnTo>
                <a:lnTo>
                  <a:pt x="11556" y="5753"/>
                </a:lnTo>
                <a:lnTo>
                  <a:pt x="11570" y="5747"/>
                </a:lnTo>
                <a:lnTo>
                  <a:pt x="11585" y="5742"/>
                </a:lnTo>
                <a:lnTo>
                  <a:pt x="11601" y="5736"/>
                </a:lnTo>
                <a:lnTo>
                  <a:pt x="11676" y="5736"/>
                </a:lnTo>
                <a:lnTo>
                  <a:pt x="11695" y="5691"/>
                </a:lnTo>
                <a:lnTo>
                  <a:pt x="11716" y="5641"/>
                </a:lnTo>
                <a:lnTo>
                  <a:pt x="11799" y="5620"/>
                </a:lnTo>
                <a:lnTo>
                  <a:pt x="11795" y="5583"/>
                </a:lnTo>
                <a:lnTo>
                  <a:pt x="11718" y="5562"/>
                </a:lnTo>
                <a:lnTo>
                  <a:pt x="11663" y="5548"/>
                </a:lnTo>
                <a:lnTo>
                  <a:pt x="11727" y="5530"/>
                </a:lnTo>
                <a:lnTo>
                  <a:pt x="11789" y="5492"/>
                </a:lnTo>
                <a:lnTo>
                  <a:pt x="11834" y="5436"/>
                </a:lnTo>
                <a:lnTo>
                  <a:pt x="11881" y="5383"/>
                </a:lnTo>
                <a:lnTo>
                  <a:pt x="11948" y="5357"/>
                </a:lnTo>
                <a:lnTo>
                  <a:pt x="11904" y="5344"/>
                </a:lnTo>
                <a:lnTo>
                  <a:pt x="11851" y="5338"/>
                </a:lnTo>
                <a:lnTo>
                  <a:pt x="11812" y="5325"/>
                </a:lnTo>
                <a:lnTo>
                  <a:pt x="11808" y="5292"/>
                </a:lnTo>
                <a:lnTo>
                  <a:pt x="11893" y="5296"/>
                </a:lnTo>
                <a:lnTo>
                  <a:pt x="11943" y="5262"/>
                </a:lnTo>
                <a:lnTo>
                  <a:pt x="11944" y="5210"/>
                </a:lnTo>
                <a:lnTo>
                  <a:pt x="11885" y="5162"/>
                </a:lnTo>
                <a:lnTo>
                  <a:pt x="11867" y="5189"/>
                </a:lnTo>
                <a:lnTo>
                  <a:pt x="11846" y="5199"/>
                </a:lnTo>
                <a:lnTo>
                  <a:pt x="11836" y="5190"/>
                </a:lnTo>
                <a:lnTo>
                  <a:pt x="11850" y="5162"/>
                </a:lnTo>
                <a:lnTo>
                  <a:pt x="11818" y="5143"/>
                </a:lnTo>
                <a:lnTo>
                  <a:pt x="11797" y="5125"/>
                </a:lnTo>
                <a:lnTo>
                  <a:pt x="11802" y="5116"/>
                </a:lnTo>
                <a:lnTo>
                  <a:pt x="11845" y="5119"/>
                </a:lnTo>
                <a:lnTo>
                  <a:pt x="11949" y="5128"/>
                </a:lnTo>
                <a:lnTo>
                  <a:pt x="11935" y="5086"/>
                </a:lnTo>
                <a:lnTo>
                  <a:pt x="11886" y="5012"/>
                </a:lnTo>
                <a:lnTo>
                  <a:pt x="11881" y="4921"/>
                </a:lnTo>
                <a:lnTo>
                  <a:pt x="11803" y="4907"/>
                </a:lnTo>
                <a:lnTo>
                  <a:pt x="11701" y="4879"/>
                </a:lnTo>
                <a:lnTo>
                  <a:pt x="11593" y="4869"/>
                </a:lnTo>
                <a:lnTo>
                  <a:pt x="11491" y="4909"/>
                </a:lnTo>
                <a:lnTo>
                  <a:pt x="11416" y="4888"/>
                </a:lnTo>
                <a:lnTo>
                  <a:pt x="11362" y="4833"/>
                </a:lnTo>
                <a:lnTo>
                  <a:pt x="11353" y="4783"/>
                </a:lnTo>
                <a:lnTo>
                  <a:pt x="11416" y="4770"/>
                </a:lnTo>
                <a:lnTo>
                  <a:pt x="11304" y="4730"/>
                </a:lnTo>
                <a:lnTo>
                  <a:pt x="11118" y="4767"/>
                </a:lnTo>
                <a:lnTo>
                  <a:pt x="10988" y="4799"/>
                </a:lnTo>
                <a:lnTo>
                  <a:pt x="11048" y="4738"/>
                </a:lnTo>
                <a:lnTo>
                  <a:pt x="11055" y="4735"/>
                </a:lnTo>
                <a:lnTo>
                  <a:pt x="11064" y="4734"/>
                </a:lnTo>
                <a:lnTo>
                  <a:pt x="11072" y="4730"/>
                </a:lnTo>
                <a:lnTo>
                  <a:pt x="11076" y="4720"/>
                </a:lnTo>
                <a:lnTo>
                  <a:pt x="11053" y="4691"/>
                </a:lnTo>
                <a:lnTo>
                  <a:pt x="11082" y="4677"/>
                </a:lnTo>
                <a:lnTo>
                  <a:pt x="11120" y="4664"/>
                </a:lnTo>
                <a:lnTo>
                  <a:pt x="11128" y="4636"/>
                </a:lnTo>
                <a:lnTo>
                  <a:pt x="11078" y="4651"/>
                </a:lnTo>
                <a:lnTo>
                  <a:pt x="11058" y="4632"/>
                </a:lnTo>
                <a:lnTo>
                  <a:pt x="11044" y="4609"/>
                </a:lnTo>
                <a:lnTo>
                  <a:pt x="11012" y="4615"/>
                </a:lnTo>
                <a:lnTo>
                  <a:pt x="10951" y="4584"/>
                </a:lnTo>
                <a:lnTo>
                  <a:pt x="10915" y="4608"/>
                </a:lnTo>
                <a:lnTo>
                  <a:pt x="10881" y="4653"/>
                </a:lnTo>
                <a:lnTo>
                  <a:pt x="10828" y="4681"/>
                </a:lnTo>
                <a:lnTo>
                  <a:pt x="10922" y="4743"/>
                </a:lnTo>
                <a:lnTo>
                  <a:pt x="10912" y="4774"/>
                </a:lnTo>
                <a:lnTo>
                  <a:pt x="10843" y="4766"/>
                </a:lnTo>
                <a:lnTo>
                  <a:pt x="10757" y="4710"/>
                </a:lnTo>
                <a:lnTo>
                  <a:pt x="10672" y="4735"/>
                </a:lnTo>
                <a:lnTo>
                  <a:pt x="10705" y="4758"/>
                </a:lnTo>
                <a:lnTo>
                  <a:pt x="10747" y="4784"/>
                </a:lnTo>
                <a:lnTo>
                  <a:pt x="10689" y="4816"/>
                </a:lnTo>
                <a:lnTo>
                  <a:pt x="10649" y="4795"/>
                </a:lnTo>
                <a:lnTo>
                  <a:pt x="10617" y="4794"/>
                </a:lnTo>
                <a:lnTo>
                  <a:pt x="10587" y="4804"/>
                </a:lnTo>
                <a:lnTo>
                  <a:pt x="10552" y="4819"/>
                </a:lnTo>
                <a:lnTo>
                  <a:pt x="10484" y="4802"/>
                </a:lnTo>
                <a:lnTo>
                  <a:pt x="10475" y="4769"/>
                </a:lnTo>
                <a:lnTo>
                  <a:pt x="10512" y="4739"/>
                </a:lnTo>
                <a:lnTo>
                  <a:pt x="10579" y="4732"/>
                </a:lnTo>
                <a:lnTo>
                  <a:pt x="10639" y="4744"/>
                </a:lnTo>
                <a:lnTo>
                  <a:pt x="10621" y="4723"/>
                </a:lnTo>
                <a:lnTo>
                  <a:pt x="10563" y="4697"/>
                </a:lnTo>
                <a:lnTo>
                  <a:pt x="10498" y="4695"/>
                </a:lnTo>
                <a:lnTo>
                  <a:pt x="10465" y="4725"/>
                </a:lnTo>
                <a:lnTo>
                  <a:pt x="10447" y="4716"/>
                </a:lnTo>
                <a:lnTo>
                  <a:pt x="10429" y="4695"/>
                </a:lnTo>
                <a:lnTo>
                  <a:pt x="10396" y="4687"/>
                </a:lnTo>
                <a:lnTo>
                  <a:pt x="10364" y="4724"/>
                </a:lnTo>
                <a:lnTo>
                  <a:pt x="10332" y="4797"/>
                </a:lnTo>
                <a:lnTo>
                  <a:pt x="10327" y="4845"/>
                </a:lnTo>
                <a:lnTo>
                  <a:pt x="10373" y="4808"/>
                </a:lnTo>
                <a:lnTo>
                  <a:pt x="10449" y="4822"/>
                </a:lnTo>
                <a:lnTo>
                  <a:pt x="10462" y="4868"/>
                </a:lnTo>
                <a:lnTo>
                  <a:pt x="10435" y="4898"/>
                </a:lnTo>
                <a:lnTo>
                  <a:pt x="10391" y="4869"/>
                </a:lnTo>
                <a:lnTo>
                  <a:pt x="10364" y="4867"/>
                </a:lnTo>
                <a:lnTo>
                  <a:pt x="10349" y="4910"/>
                </a:lnTo>
                <a:lnTo>
                  <a:pt x="10347" y="4968"/>
                </a:lnTo>
                <a:lnTo>
                  <a:pt x="10358" y="5008"/>
                </a:lnTo>
                <a:lnTo>
                  <a:pt x="10363" y="5061"/>
                </a:lnTo>
                <a:lnTo>
                  <a:pt x="10361" y="5133"/>
                </a:lnTo>
                <a:lnTo>
                  <a:pt x="10340" y="5182"/>
                </a:lnTo>
                <a:lnTo>
                  <a:pt x="10289" y="5170"/>
                </a:lnTo>
                <a:lnTo>
                  <a:pt x="10212" y="5168"/>
                </a:lnTo>
                <a:lnTo>
                  <a:pt x="10207" y="5186"/>
                </a:lnTo>
                <a:lnTo>
                  <a:pt x="10254" y="5206"/>
                </a:lnTo>
                <a:lnTo>
                  <a:pt x="10335" y="5214"/>
                </a:lnTo>
                <a:lnTo>
                  <a:pt x="10349" y="5236"/>
                </a:lnTo>
                <a:lnTo>
                  <a:pt x="10333" y="5248"/>
                </a:lnTo>
                <a:lnTo>
                  <a:pt x="10304" y="5250"/>
                </a:lnTo>
                <a:lnTo>
                  <a:pt x="10280" y="5240"/>
                </a:lnTo>
                <a:lnTo>
                  <a:pt x="10214" y="5231"/>
                </a:lnTo>
                <a:lnTo>
                  <a:pt x="10149" y="5248"/>
                </a:lnTo>
                <a:lnTo>
                  <a:pt x="10083" y="5269"/>
                </a:lnTo>
                <a:lnTo>
                  <a:pt x="10014" y="5269"/>
                </a:lnTo>
                <a:lnTo>
                  <a:pt x="10032" y="5294"/>
                </a:lnTo>
                <a:lnTo>
                  <a:pt x="10066" y="5308"/>
                </a:lnTo>
                <a:lnTo>
                  <a:pt x="10089" y="5329"/>
                </a:lnTo>
                <a:lnTo>
                  <a:pt x="10074" y="5373"/>
                </a:lnTo>
                <a:lnTo>
                  <a:pt x="10071" y="5420"/>
                </a:lnTo>
                <a:lnTo>
                  <a:pt x="10077" y="5470"/>
                </a:lnTo>
                <a:lnTo>
                  <a:pt x="10099" y="5511"/>
                </a:lnTo>
                <a:lnTo>
                  <a:pt x="10141" y="5536"/>
                </a:lnTo>
                <a:lnTo>
                  <a:pt x="10132" y="5476"/>
                </a:lnTo>
                <a:lnTo>
                  <a:pt x="10128" y="5432"/>
                </a:lnTo>
                <a:lnTo>
                  <a:pt x="10142" y="5391"/>
                </a:lnTo>
                <a:lnTo>
                  <a:pt x="10191" y="5346"/>
                </a:lnTo>
                <a:lnTo>
                  <a:pt x="10212" y="5302"/>
                </a:lnTo>
                <a:lnTo>
                  <a:pt x="10373" y="5270"/>
                </a:lnTo>
                <a:lnTo>
                  <a:pt x="10541" y="5278"/>
                </a:lnTo>
                <a:lnTo>
                  <a:pt x="10588" y="5350"/>
                </a:lnTo>
                <a:lnTo>
                  <a:pt x="10558" y="5480"/>
                </a:lnTo>
                <a:lnTo>
                  <a:pt x="10639" y="5551"/>
                </a:lnTo>
                <a:lnTo>
                  <a:pt x="10750" y="5562"/>
                </a:lnTo>
                <a:lnTo>
                  <a:pt x="10811" y="5507"/>
                </a:lnTo>
                <a:lnTo>
                  <a:pt x="10847" y="5536"/>
                </a:lnTo>
                <a:lnTo>
                  <a:pt x="10868" y="5571"/>
                </a:lnTo>
                <a:lnTo>
                  <a:pt x="10895" y="5579"/>
                </a:lnTo>
                <a:lnTo>
                  <a:pt x="10942" y="5530"/>
                </a:lnTo>
                <a:lnTo>
                  <a:pt x="11022" y="5534"/>
                </a:lnTo>
                <a:lnTo>
                  <a:pt x="11033" y="5564"/>
                </a:lnTo>
                <a:lnTo>
                  <a:pt x="11020" y="5614"/>
                </a:lnTo>
                <a:lnTo>
                  <a:pt x="11034" y="5671"/>
                </a:lnTo>
                <a:lnTo>
                  <a:pt x="11183" y="5683"/>
                </a:lnTo>
                <a:lnTo>
                  <a:pt x="11238" y="5751"/>
                </a:lnTo>
                <a:lnTo>
                  <a:pt x="11313" y="5802"/>
                </a:lnTo>
                <a:lnTo>
                  <a:pt x="11523" y="5764"/>
                </a:lnTo>
                <a:lnTo>
                  <a:pt x="11523" y="5767"/>
                </a:lnTo>
                <a:lnTo>
                  <a:pt x="11523" y="5769"/>
                </a:lnTo>
                <a:lnTo>
                  <a:pt x="11524" y="5772"/>
                </a:lnTo>
                <a:lnTo>
                  <a:pt x="11525" y="5775"/>
                </a:lnTo>
                <a:lnTo>
                  <a:pt x="11538" y="5774"/>
                </a:lnTo>
                <a:lnTo>
                  <a:pt x="11548" y="5773"/>
                </a:lnTo>
                <a:lnTo>
                  <a:pt x="11553" y="5768"/>
                </a:lnTo>
                <a:lnTo>
                  <a:pt x="11548" y="5758"/>
                </a:lnTo>
                <a:close/>
                <a:moveTo>
                  <a:pt x="11960" y="5012"/>
                </a:moveTo>
                <a:lnTo>
                  <a:pt x="11956" y="5002"/>
                </a:lnTo>
                <a:lnTo>
                  <a:pt x="11944" y="4999"/>
                </a:lnTo>
                <a:lnTo>
                  <a:pt x="11930" y="5002"/>
                </a:lnTo>
                <a:lnTo>
                  <a:pt x="11920" y="5009"/>
                </a:lnTo>
                <a:lnTo>
                  <a:pt x="11929" y="5018"/>
                </a:lnTo>
                <a:lnTo>
                  <a:pt x="11941" y="5021"/>
                </a:lnTo>
                <a:lnTo>
                  <a:pt x="11952" y="5019"/>
                </a:lnTo>
                <a:lnTo>
                  <a:pt x="11960" y="5012"/>
                </a:lnTo>
                <a:close/>
                <a:moveTo>
                  <a:pt x="10342" y="5443"/>
                </a:moveTo>
                <a:lnTo>
                  <a:pt x="10339" y="5436"/>
                </a:lnTo>
                <a:lnTo>
                  <a:pt x="10330" y="5432"/>
                </a:lnTo>
                <a:lnTo>
                  <a:pt x="10321" y="5432"/>
                </a:lnTo>
                <a:lnTo>
                  <a:pt x="10314" y="5439"/>
                </a:lnTo>
                <a:lnTo>
                  <a:pt x="10317" y="5460"/>
                </a:lnTo>
                <a:lnTo>
                  <a:pt x="10326" y="5467"/>
                </a:lnTo>
                <a:lnTo>
                  <a:pt x="10336" y="5461"/>
                </a:lnTo>
                <a:lnTo>
                  <a:pt x="10342" y="5443"/>
                </a:lnTo>
                <a:close/>
                <a:moveTo>
                  <a:pt x="11440" y="4413"/>
                </a:moveTo>
                <a:lnTo>
                  <a:pt x="11440" y="4427"/>
                </a:lnTo>
                <a:lnTo>
                  <a:pt x="11450" y="4431"/>
                </a:lnTo>
                <a:lnTo>
                  <a:pt x="11466" y="4430"/>
                </a:lnTo>
                <a:lnTo>
                  <a:pt x="11482" y="4425"/>
                </a:lnTo>
                <a:lnTo>
                  <a:pt x="11473" y="4412"/>
                </a:lnTo>
                <a:lnTo>
                  <a:pt x="11462" y="4405"/>
                </a:lnTo>
                <a:lnTo>
                  <a:pt x="11450" y="4403"/>
                </a:lnTo>
                <a:lnTo>
                  <a:pt x="11440" y="4413"/>
                </a:lnTo>
                <a:close/>
                <a:moveTo>
                  <a:pt x="12391" y="4093"/>
                </a:moveTo>
                <a:lnTo>
                  <a:pt x="12386" y="4079"/>
                </a:lnTo>
                <a:lnTo>
                  <a:pt x="12368" y="4075"/>
                </a:lnTo>
                <a:lnTo>
                  <a:pt x="12344" y="4076"/>
                </a:lnTo>
                <a:lnTo>
                  <a:pt x="12319" y="4074"/>
                </a:lnTo>
                <a:lnTo>
                  <a:pt x="12339" y="4089"/>
                </a:lnTo>
                <a:lnTo>
                  <a:pt x="12358" y="4093"/>
                </a:lnTo>
                <a:lnTo>
                  <a:pt x="12376" y="4093"/>
                </a:lnTo>
                <a:lnTo>
                  <a:pt x="12391" y="4093"/>
                </a:lnTo>
                <a:close/>
                <a:moveTo>
                  <a:pt x="12235" y="3920"/>
                </a:moveTo>
                <a:lnTo>
                  <a:pt x="12227" y="3928"/>
                </a:lnTo>
                <a:lnTo>
                  <a:pt x="12226" y="3939"/>
                </a:lnTo>
                <a:lnTo>
                  <a:pt x="12228" y="3948"/>
                </a:lnTo>
                <a:lnTo>
                  <a:pt x="12235" y="3958"/>
                </a:lnTo>
                <a:lnTo>
                  <a:pt x="12247" y="3949"/>
                </a:lnTo>
                <a:lnTo>
                  <a:pt x="12254" y="3935"/>
                </a:lnTo>
                <a:lnTo>
                  <a:pt x="12250" y="3923"/>
                </a:lnTo>
                <a:lnTo>
                  <a:pt x="12235" y="3920"/>
                </a:lnTo>
                <a:close/>
                <a:moveTo>
                  <a:pt x="637" y="3306"/>
                </a:moveTo>
                <a:lnTo>
                  <a:pt x="633" y="3281"/>
                </a:lnTo>
                <a:lnTo>
                  <a:pt x="627" y="3268"/>
                </a:lnTo>
                <a:lnTo>
                  <a:pt x="615" y="3267"/>
                </a:lnTo>
                <a:lnTo>
                  <a:pt x="595" y="3274"/>
                </a:lnTo>
                <a:lnTo>
                  <a:pt x="605" y="3283"/>
                </a:lnTo>
                <a:lnTo>
                  <a:pt x="614" y="3292"/>
                </a:lnTo>
                <a:lnTo>
                  <a:pt x="624" y="3300"/>
                </a:lnTo>
                <a:lnTo>
                  <a:pt x="637" y="3306"/>
                </a:lnTo>
                <a:close/>
                <a:moveTo>
                  <a:pt x="595" y="3273"/>
                </a:moveTo>
                <a:lnTo>
                  <a:pt x="595" y="3274"/>
                </a:lnTo>
                <a:lnTo>
                  <a:pt x="595" y="3274"/>
                </a:lnTo>
                <a:lnTo>
                  <a:pt x="595" y="3274"/>
                </a:lnTo>
                <a:lnTo>
                  <a:pt x="595" y="3273"/>
                </a:lnTo>
                <a:close/>
                <a:moveTo>
                  <a:pt x="535" y="3395"/>
                </a:moveTo>
                <a:lnTo>
                  <a:pt x="535" y="3395"/>
                </a:lnTo>
                <a:lnTo>
                  <a:pt x="535" y="3395"/>
                </a:lnTo>
                <a:lnTo>
                  <a:pt x="535" y="3395"/>
                </a:lnTo>
                <a:lnTo>
                  <a:pt x="535" y="3395"/>
                </a:lnTo>
                <a:lnTo>
                  <a:pt x="535" y="3395"/>
                </a:lnTo>
                <a:lnTo>
                  <a:pt x="535" y="3395"/>
                </a:lnTo>
                <a:close/>
                <a:moveTo>
                  <a:pt x="515" y="3440"/>
                </a:moveTo>
                <a:lnTo>
                  <a:pt x="526" y="3429"/>
                </a:lnTo>
                <a:lnTo>
                  <a:pt x="535" y="3421"/>
                </a:lnTo>
                <a:lnTo>
                  <a:pt x="540" y="3409"/>
                </a:lnTo>
                <a:lnTo>
                  <a:pt x="535" y="3395"/>
                </a:lnTo>
                <a:lnTo>
                  <a:pt x="513" y="3399"/>
                </a:lnTo>
                <a:lnTo>
                  <a:pt x="499" y="3410"/>
                </a:lnTo>
                <a:lnTo>
                  <a:pt x="498" y="3426"/>
                </a:lnTo>
                <a:lnTo>
                  <a:pt x="515" y="3440"/>
                </a:lnTo>
                <a:close/>
                <a:moveTo>
                  <a:pt x="750" y="1237"/>
                </a:moveTo>
                <a:lnTo>
                  <a:pt x="768" y="1244"/>
                </a:lnTo>
                <a:lnTo>
                  <a:pt x="782" y="1246"/>
                </a:lnTo>
                <a:lnTo>
                  <a:pt x="787" y="1241"/>
                </a:lnTo>
                <a:lnTo>
                  <a:pt x="777" y="1223"/>
                </a:lnTo>
                <a:lnTo>
                  <a:pt x="767" y="1218"/>
                </a:lnTo>
                <a:lnTo>
                  <a:pt x="754" y="1220"/>
                </a:lnTo>
                <a:lnTo>
                  <a:pt x="747" y="1226"/>
                </a:lnTo>
                <a:lnTo>
                  <a:pt x="750" y="1237"/>
                </a:lnTo>
                <a:close/>
                <a:moveTo>
                  <a:pt x="702" y="1591"/>
                </a:moveTo>
                <a:lnTo>
                  <a:pt x="688" y="1589"/>
                </a:lnTo>
                <a:lnTo>
                  <a:pt x="674" y="1586"/>
                </a:lnTo>
                <a:lnTo>
                  <a:pt x="661" y="1585"/>
                </a:lnTo>
                <a:lnTo>
                  <a:pt x="646" y="1582"/>
                </a:lnTo>
                <a:lnTo>
                  <a:pt x="654" y="1602"/>
                </a:lnTo>
                <a:lnTo>
                  <a:pt x="668" y="1609"/>
                </a:lnTo>
                <a:lnTo>
                  <a:pt x="684" y="1605"/>
                </a:lnTo>
                <a:lnTo>
                  <a:pt x="702" y="1591"/>
                </a:lnTo>
                <a:close/>
                <a:moveTo>
                  <a:pt x="643" y="1418"/>
                </a:moveTo>
                <a:lnTo>
                  <a:pt x="633" y="1418"/>
                </a:lnTo>
                <a:lnTo>
                  <a:pt x="617" y="1421"/>
                </a:lnTo>
                <a:lnTo>
                  <a:pt x="634" y="1440"/>
                </a:lnTo>
                <a:lnTo>
                  <a:pt x="652" y="1444"/>
                </a:lnTo>
                <a:lnTo>
                  <a:pt x="660" y="1435"/>
                </a:lnTo>
                <a:lnTo>
                  <a:pt x="643" y="1418"/>
                </a:lnTo>
                <a:close/>
                <a:moveTo>
                  <a:pt x="12084" y="4369"/>
                </a:moveTo>
                <a:lnTo>
                  <a:pt x="12041" y="4373"/>
                </a:lnTo>
                <a:lnTo>
                  <a:pt x="12032" y="4331"/>
                </a:lnTo>
                <a:lnTo>
                  <a:pt x="12025" y="4295"/>
                </a:lnTo>
                <a:lnTo>
                  <a:pt x="11988" y="4317"/>
                </a:lnTo>
                <a:lnTo>
                  <a:pt x="11934" y="4377"/>
                </a:lnTo>
                <a:lnTo>
                  <a:pt x="11984" y="4403"/>
                </a:lnTo>
                <a:lnTo>
                  <a:pt x="12059" y="4399"/>
                </a:lnTo>
                <a:lnTo>
                  <a:pt x="12084" y="4369"/>
                </a:lnTo>
                <a:close/>
                <a:moveTo>
                  <a:pt x="12060" y="3573"/>
                </a:moveTo>
                <a:lnTo>
                  <a:pt x="12042" y="3564"/>
                </a:lnTo>
                <a:lnTo>
                  <a:pt x="12027" y="3561"/>
                </a:lnTo>
                <a:lnTo>
                  <a:pt x="12012" y="3563"/>
                </a:lnTo>
                <a:lnTo>
                  <a:pt x="11995" y="3567"/>
                </a:lnTo>
                <a:lnTo>
                  <a:pt x="12011" y="3578"/>
                </a:lnTo>
                <a:lnTo>
                  <a:pt x="12026" y="3582"/>
                </a:lnTo>
                <a:lnTo>
                  <a:pt x="12042" y="3580"/>
                </a:lnTo>
                <a:lnTo>
                  <a:pt x="12060" y="3573"/>
                </a:lnTo>
                <a:close/>
                <a:moveTo>
                  <a:pt x="511" y="3367"/>
                </a:moveTo>
                <a:lnTo>
                  <a:pt x="520" y="3357"/>
                </a:lnTo>
                <a:lnTo>
                  <a:pt x="524" y="3345"/>
                </a:lnTo>
                <a:lnTo>
                  <a:pt x="524" y="3330"/>
                </a:lnTo>
                <a:lnTo>
                  <a:pt x="515" y="3311"/>
                </a:lnTo>
                <a:lnTo>
                  <a:pt x="506" y="3330"/>
                </a:lnTo>
                <a:lnTo>
                  <a:pt x="497" y="3349"/>
                </a:lnTo>
                <a:lnTo>
                  <a:pt x="496" y="3363"/>
                </a:lnTo>
                <a:lnTo>
                  <a:pt x="511" y="3367"/>
                </a:lnTo>
                <a:close/>
                <a:moveTo>
                  <a:pt x="12037" y="3814"/>
                </a:moveTo>
                <a:lnTo>
                  <a:pt x="12051" y="3814"/>
                </a:lnTo>
                <a:lnTo>
                  <a:pt x="12065" y="3815"/>
                </a:lnTo>
                <a:lnTo>
                  <a:pt x="12077" y="3814"/>
                </a:lnTo>
                <a:lnTo>
                  <a:pt x="12083" y="3805"/>
                </a:lnTo>
                <a:lnTo>
                  <a:pt x="12076" y="3794"/>
                </a:lnTo>
                <a:lnTo>
                  <a:pt x="12063" y="3791"/>
                </a:lnTo>
                <a:lnTo>
                  <a:pt x="12049" y="3797"/>
                </a:lnTo>
                <a:lnTo>
                  <a:pt x="12037" y="3814"/>
                </a:lnTo>
                <a:close/>
                <a:moveTo>
                  <a:pt x="6519" y="4793"/>
                </a:moveTo>
                <a:lnTo>
                  <a:pt x="6528" y="4804"/>
                </a:lnTo>
                <a:lnTo>
                  <a:pt x="6546" y="4808"/>
                </a:lnTo>
                <a:lnTo>
                  <a:pt x="6563" y="4804"/>
                </a:lnTo>
                <a:lnTo>
                  <a:pt x="6572" y="4793"/>
                </a:lnTo>
                <a:lnTo>
                  <a:pt x="6557" y="4789"/>
                </a:lnTo>
                <a:lnTo>
                  <a:pt x="6542" y="4783"/>
                </a:lnTo>
                <a:lnTo>
                  <a:pt x="6528" y="4783"/>
                </a:lnTo>
                <a:lnTo>
                  <a:pt x="6519" y="4793"/>
                </a:lnTo>
                <a:close/>
                <a:moveTo>
                  <a:pt x="977" y="3978"/>
                </a:moveTo>
                <a:lnTo>
                  <a:pt x="981" y="3990"/>
                </a:lnTo>
                <a:lnTo>
                  <a:pt x="988" y="3996"/>
                </a:lnTo>
                <a:lnTo>
                  <a:pt x="1000" y="4001"/>
                </a:lnTo>
                <a:lnTo>
                  <a:pt x="1015" y="4004"/>
                </a:lnTo>
                <a:lnTo>
                  <a:pt x="1011" y="3983"/>
                </a:lnTo>
                <a:lnTo>
                  <a:pt x="1006" y="3974"/>
                </a:lnTo>
                <a:lnTo>
                  <a:pt x="996" y="3973"/>
                </a:lnTo>
                <a:lnTo>
                  <a:pt x="977" y="3978"/>
                </a:lnTo>
                <a:close/>
                <a:moveTo>
                  <a:pt x="558" y="1817"/>
                </a:moveTo>
                <a:lnTo>
                  <a:pt x="549" y="1812"/>
                </a:lnTo>
                <a:lnTo>
                  <a:pt x="541" y="1805"/>
                </a:lnTo>
                <a:lnTo>
                  <a:pt x="533" y="1803"/>
                </a:lnTo>
                <a:lnTo>
                  <a:pt x="522" y="1810"/>
                </a:lnTo>
                <a:lnTo>
                  <a:pt x="519" y="1831"/>
                </a:lnTo>
                <a:lnTo>
                  <a:pt x="531" y="1841"/>
                </a:lnTo>
                <a:lnTo>
                  <a:pt x="548" y="1837"/>
                </a:lnTo>
                <a:lnTo>
                  <a:pt x="558" y="1817"/>
                </a:lnTo>
                <a:close/>
                <a:moveTo>
                  <a:pt x="11147" y="2703"/>
                </a:moveTo>
                <a:lnTo>
                  <a:pt x="11147" y="2703"/>
                </a:lnTo>
                <a:lnTo>
                  <a:pt x="11147" y="2703"/>
                </a:lnTo>
                <a:lnTo>
                  <a:pt x="11147" y="2703"/>
                </a:lnTo>
                <a:lnTo>
                  <a:pt x="11147" y="2703"/>
                </a:lnTo>
                <a:lnTo>
                  <a:pt x="11147" y="2703"/>
                </a:lnTo>
                <a:lnTo>
                  <a:pt x="11147" y="2703"/>
                </a:lnTo>
                <a:close/>
                <a:moveTo>
                  <a:pt x="11431" y="4692"/>
                </a:moveTo>
                <a:lnTo>
                  <a:pt x="11425" y="4672"/>
                </a:lnTo>
                <a:lnTo>
                  <a:pt x="11413" y="4667"/>
                </a:lnTo>
                <a:lnTo>
                  <a:pt x="11397" y="4671"/>
                </a:lnTo>
                <a:lnTo>
                  <a:pt x="11375" y="4679"/>
                </a:lnTo>
                <a:lnTo>
                  <a:pt x="11390" y="4691"/>
                </a:lnTo>
                <a:lnTo>
                  <a:pt x="11404" y="4697"/>
                </a:lnTo>
                <a:lnTo>
                  <a:pt x="11417" y="4699"/>
                </a:lnTo>
                <a:lnTo>
                  <a:pt x="11431" y="4692"/>
                </a:lnTo>
                <a:close/>
                <a:moveTo>
                  <a:pt x="11869" y="4081"/>
                </a:moveTo>
                <a:lnTo>
                  <a:pt x="11864" y="4070"/>
                </a:lnTo>
                <a:lnTo>
                  <a:pt x="11855" y="4065"/>
                </a:lnTo>
                <a:lnTo>
                  <a:pt x="11846" y="4062"/>
                </a:lnTo>
                <a:lnTo>
                  <a:pt x="11835" y="4063"/>
                </a:lnTo>
                <a:lnTo>
                  <a:pt x="11826" y="4077"/>
                </a:lnTo>
                <a:lnTo>
                  <a:pt x="11835" y="4089"/>
                </a:lnTo>
                <a:lnTo>
                  <a:pt x="11853" y="4091"/>
                </a:lnTo>
                <a:lnTo>
                  <a:pt x="11869" y="4081"/>
                </a:lnTo>
                <a:close/>
                <a:moveTo>
                  <a:pt x="604" y="2095"/>
                </a:moveTo>
                <a:lnTo>
                  <a:pt x="594" y="2107"/>
                </a:lnTo>
                <a:lnTo>
                  <a:pt x="582" y="2113"/>
                </a:lnTo>
                <a:lnTo>
                  <a:pt x="571" y="2120"/>
                </a:lnTo>
                <a:lnTo>
                  <a:pt x="561" y="2127"/>
                </a:lnTo>
                <a:lnTo>
                  <a:pt x="590" y="2130"/>
                </a:lnTo>
                <a:lnTo>
                  <a:pt x="605" y="2126"/>
                </a:lnTo>
                <a:lnTo>
                  <a:pt x="609" y="2116"/>
                </a:lnTo>
                <a:lnTo>
                  <a:pt x="604" y="2095"/>
                </a:lnTo>
                <a:close/>
                <a:moveTo>
                  <a:pt x="11938" y="4505"/>
                </a:moveTo>
                <a:lnTo>
                  <a:pt x="11958" y="4505"/>
                </a:lnTo>
                <a:lnTo>
                  <a:pt x="11981" y="4506"/>
                </a:lnTo>
                <a:lnTo>
                  <a:pt x="11999" y="4504"/>
                </a:lnTo>
                <a:lnTo>
                  <a:pt x="12008" y="4489"/>
                </a:lnTo>
                <a:lnTo>
                  <a:pt x="11975" y="4486"/>
                </a:lnTo>
                <a:lnTo>
                  <a:pt x="11956" y="4487"/>
                </a:lnTo>
                <a:lnTo>
                  <a:pt x="11946" y="4492"/>
                </a:lnTo>
                <a:lnTo>
                  <a:pt x="11938" y="4505"/>
                </a:lnTo>
                <a:close/>
                <a:moveTo>
                  <a:pt x="12274" y="4401"/>
                </a:moveTo>
                <a:lnTo>
                  <a:pt x="12277" y="4416"/>
                </a:lnTo>
                <a:lnTo>
                  <a:pt x="12291" y="4425"/>
                </a:lnTo>
                <a:lnTo>
                  <a:pt x="12309" y="4424"/>
                </a:lnTo>
                <a:lnTo>
                  <a:pt x="12319" y="4408"/>
                </a:lnTo>
                <a:lnTo>
                  <a:pt x="12310" y="4399"/>
                </a:lnTo>
                <a:lnTo>
                  <a:pt x="12297" y="4393"/>
                </a:lnTo>
                <a:lnTo>
                  <a:pt x="12286" y="4392"/>
                </a:lnTo>
                <a:lnTo>
                  <a:pt x="12274" y="4401"/>
                </a:lnTo>
                <a:close/>
                <a:moveTo>
                  <a:pt x="12118" y="4331"/>
                </a:moveTo>
                <a:lnTo>
                  <a:pt x="12111" y="4305"/>
                </a:lnTo>
                <a:lnTo>
                  <a:pt x="12098" y="4296"/>
                </a:lnTo>
                <a:lnTo>
                  <a:pt x="12084" y="4304"/>
                </a:lnTo>
                <a:lnTo>
                  <a:pt x="12079" y="4329"/>
                </a:lnTo>
                <a:lnTo>
                  <a:pt x="12088" y="4335"/>
                </a:lnTo>
                <a:lnTo>
                  <a:pt x="12098" y="4338"/>
                </a:lnTo>
                <a:lnTo>
                  <a:pt x="12107" y="4337"/>
                </a:lnTo>
                <a:lnTo>
                  <a:pt x="12118" y="4331"/>
                </a:lnTo>
                <a:close/>
                <a:moveTo>
                  <a:pt x="576" y="1677"/>
                </a:moveTo>
                <a:lnTo>
                  <a:pt x="591" y="1688"/>
                </a:lnTo>
                <a:lnTo>
                  <a:pt x="605" y="1694"/>
                </a:lnTo>
                <a:lnTo>
                  <a:pt x="623" y="1693"/>
                </a:lnTo>
                <a:lnTo>
                  <a:pt x="652" y="1689"/>
                </a:lnTo>
                <a:lnTo>
                  <a:pt x="631" y="1679"/>
                </a:lnTo>
                <a:lnTo>
                  <a:pt x="613" y="1672"/>
                </a:lnTo>
                <a:lnTo>
                  <a:pt x="596" y="1670"/>
                </a:lnTo>
                <a:lnTo>
                  <a:pt x="576" y="1677"/>
                </a:lnTo>
                <a:close/>
                <a:moveTo>
                  <a:pt x="920" y="3911"/>
                </a:moveTo>
                <a:lnTo>
                  <a:pt x="925" y="3895"/>
                </a:lnTo>
                <a:lnTo>
                  <a:pt x="930" y="3880"/>
                </a:lnTo>
                <a:lnTo>
                  <a:pt x="935" y="3865"/>
                </a:lnTo>
                <a:lnTo>
                  <a:pt x="935" y="3848"/>
                </a:lnTo>
                <a:lnTo>
                  <a:pt x="917" y="3858"/>
                </a:lnTo>
                <a:lnTo>
                  <a:pt x="910" y="3869"/>
                </a:lnTo>
                <a:lnTo>
                  <a:pt x="911" y="3884"/>
                </a:lnTo>
                <a:lnTo>
                  <a:pt x="920" y="3911"/>
                </a:lnTo>
                <a:close/>
                <a:moveTo>
                  <a:pt x="11618" y="4704"/>
                </a:moveTo>
                <a:lnTo>
                  <a:pt x="11606" y="4685"/>
                </a:lnTo>
                <a:lnTo>
                  <a:pt x="11590" y="4679"/>
                </a:lnTo>
                <a:lnTo>
                  <a:pt x="11578" y="4687"/>
                </a:lnTo>
                <a:lnTo>
                  <a:pt x="11579" y="4709"/>
                </a:lnTo>
                <a:lnTo>
                  <a:pt x="11599" y="4711"/>
                </a:lnTo>
                <a:lnTo>
                  <a:pt x="11622" y="4715"/>
                </a:lnTo>
                <a:lnTo>
                  <a:pt x="11632" y="4714"/>
                </a:lnTo>
                <a:lnTo>
                  <a:pt x="11618" y="4704"/>
                </a:lnTo>
                <a:close/>
                <a:moveTo>
                  <a:pt x="11976" y="5231"/>
                </a:moveTo>
                <a:lnTo>
                  <a:pt x="11975" y="5254"/>
                </a:lnTo>
                <a:lnTo>
                  <a:pt x="11988" y="5261"/>
                </a:lnTo>
                <a:lnTo>
                  <a:pt x="12008" y="5256"/>
                </a:lnTo>
                <a:lnTo>
                  <a:pt x="12027" y="5243"/>
                </a:lnTo>
                <a:lnTo>
                  <a:pt x="12016" y="5234"/>
                </a:lnTo>
                <a:lnTo>
                  <a:pt x="12003" y="5229"/>
                </a:lnTo>
                <a:lnTo>
                  <a:pt x="11990" y="5228"/>
                </a:lnTo>
                <a:lnTo>
                  <a:pt x="11976" y="5231"/>
                </a:lnTo>
                <a:close/>
                <a:moveTo>
                  <a:pt x="12129" y="3893"/>
                </a:moveTo>
                <a:lnTo>
                  <a:pt x="12166" y="3897"/>
                </a:lnTo>
                <a:lnTo>
                  <a:pt x="12188" y="3897"/>
                </a:lnTo>
                <a:lnTo>
                  <a:pt x="12199" y="3894"/>
                </a:lnTo>
                <a:lnTo>
                  <a:pt x="12209" y="3888"/>
                </a:lnTo>
                <a:lnTo>
                  <a:pt x="12188" y="3879"/>
                </a:lnTo>
                <a:lnTo>
                  <a:pt x="12166" y="3875"/>
                </a:lnTo>
                <a:lnTo>
                  <a:pt x="12146" y="3878"/>
                </a:lnTo>
                <a:lnTo>
                  <a:pt x="12129" y="3893"/>
                </a:lnTo>
                <a:close/>
                <a:moveTo>
                  <a:pt x="91" y="2924"/>
                </a:moveTo>
                <a:lnTo>
                  <a:pt x="77" y="2918"/>
                </a:lnTo>
                <a:lnTo>
                  <a:pt x="63" y="2923"/>
                </a:lnTo>
                <a:lnTo>
                  <a:pt x="49" y="2933"/>
                </a:lnTo>
                <a:lnTo>
                  <a:pt x="32" y="2944"/>
                </a:lnTo>
                <a:lnTo>
                  <a:pt x="54" y="2950"/>
                </a:lnTo>
                <a:lnTo>
                  <a:pt x="75" y="2950"/>
                </a:lnTo>
                <a:lnTo>
                  <a:pt x="89" y="2942"/>
                </a:lnTo>
                <a:lnTo>
                  <a:pt x="91" y="2924"/>
                </a:lnTo>
                <a:close/>
                <a:moveTo>
                  <a:pt x="10834" y="4485"/>
                </a:moveTo>
                <a:lnTo>
                  <a:pt x="10834" y="4485"/>
                </a:lnTo>
                <a:lnTo>
                  <a:pt x="10834" y="4485"/>
                </a:lnTo>
                <a:lnTo>
                  <a:pt x="10834" y="4485"/>
                </a:lnTo>
                <a:lnTo>
                  <a:pt x="10834" y="4485"/>
                </a:lnTo>
                <a:lnTo>
                  <a:pt x="10833" y="4485"/>
                </a:lnTo>
                <a:lnTo>
                  <a:pt x="10834" y="4485"/>
                </a:lnTo>
                <a:close/>
                <a:moveTo>
                  <a:pt x="10731" y="4461"/>
                </a:moveTo>
                <a:lnTo>
                  <a:pt x="10755" y="4480"/>
                </a:lnTo>
                <a:lnTo>
                  <a:pt x="10779" y="4485"/>
                </a:lnTo>
                <a:lnTo>
                  <a:pt x="10805" y="4485"/>
                </a:lnTo>
                <a:lnTo>
                  <a:pt x="10833" y="4485"/>
                </a:lnTo>
                <a:lnTo>
                  <a:pt x="10814" y="4466"/>
                </a:lnTo>
                <a:lnTo>
                  <a:pt x="10789" y="4461"/>
                </a:lnTo>
                <a:lnTo>
                  <a:pt x="10763" y="4461"/>
                </a:lnTo>
                <a:lnTo>
                  <a:pt x="10731" y="4461"/>
                </a:lnTo>
                <a:close/>
                <a:moveTo>
                  <a:pt x="11607" y="4429"/>
                </a:moveTo>
                <a:lnTo>
                  <a:pt x="11589" y="4424"/>
                </a:lnTo>
                <a:lnTo>
                  <a:pt x="11570" y="4421"/>
                </a:lnTo>
                <a:lnTo>
                  <a:pt x="11551" y="4424"/>
                </a:lnTo>
                <a:lnTo>
                  <a:pt x="11531" y="4433"/>
                </a:lnTo>
                <a:lnTo>
                  <a:pt x="11553" y="4439"/>
                </a:lnTo>
                <a:lnTo>
                  <a:pt x="11583" y="4447"/>
                </a:lnTo>
                <a:lnTo>
                  <a:pt x="11606" y="4445"/>
                </a:lnTo>
                <a:lnTo>
                  <a:pt x="11607" y="4429"/>
                </a:lnTo>
                <a:close/>
                <a:moveTo>
                  <a:pt x="10333" y="4677"/>
                </a:moveTo>
                <a:lnTo>
                  <a:pt x="10339" y="4704"/>
                </a:lnTo>
                <a:lnTo>
                  <a:pt x="10354" y="4693"/>
                </a:lnTo>
                <a:lnTo>
                  <a:pt x="10375" y="4668"/>
                </a:lnTo>
                <a:lnTo>
                  <a:pt x="10398" y="4651"/>
                </a:lnTo>
                <a:lnTo>
                  <a:pt x="10379" y="4649"/>
                </a:lnTo>
                <a:lnTo>
                  <a:pt x="10359" y="4651"/>
                </a:lnTo>
                <a:lnTo>
                  <a:pt x="10344" y="4659"/>
                </a:lnTo>
                <a:lnTo>
                  <a:pt x="10333" y="4677"/>
                </a:lnTo>
                <a:close/>
                <a:moveTo>
                  <a:pt x="10351" y="4709"/>
                </a:moveTo>
                <a:lnTo>
                  <a:pt x="10350" y="4709"/>
                </a:lnTo>
                <a:lnTo>
                  <a:pt x="10350" y="4709"/>
                </a:lnTo>
                <a:lnTo>
                  <a:pt x="10351" y="4709"/>
                </a:lnTo>
                <a:lnTo>
                  <a:pt x="10351" y="4709"/>
                </a:lnTo>
                <a:lnTo>
                  <a:pt x="10351" y="4709"/>
                </a:lnTo>
                <a:close/>
                <a:moveTo>
                  <a:pt x="82" y="2883"/>
                </a:moveTo>
                <a:lnTo>
                  <a:pt x="64" y="2867"/>
                </a:lnTo>
                <a:lnTo>
                  <a:pt x="50" y="2860"/>
                </a:lnTo>
                <a:lnTo>
                  <a:pt x="31" y="2863"/>
                </a:lnTo>
                <a:lnTo>
                  <a:pt x="0" y="2874"/>
                </a:lnTo>
                <a:lnTo>
                  <a:pt x="23" y="2883"/>
                </a:lnTo>
                <a:lnTo>
                  <a:pt x="44" y="2890"/>
                </a:lnTo>
                <a:lnTo>
                  <a:pt x="63" y="2891"/>
                </a:lnTo>
                <a:lnTo>
                  <a:pt x="82" y="2883"/>
                </a:lnTo>
                <a:close/>
                <a:moveTo>
                  <a:pt x="11229" y="4651"/>
                </a:moveTo>
                <a:lnTo>
                  <a:pt x="11245" y="4669"/>
                </a:lnTo>
                <a:lnTo>
                  <a:pt x="11266" y="4659"/>
                </a:lnTo>
                <a:lnTo>
                  <a:pt x="11275" y="4636"/>
                </a:lnTo>
                <a:lnTo>
                  <a:pt x="11258" y="4622"/>
                </a:lnTo>
                <a:lnTo>
                  <a:pt x="11247" y="4626"/>
                </a:lnTo>
                <a:lnTo>
                  <a:pt x="11239" y="4632"/>
                </a:lnTo>
                <a:lnTo>
                  <a:pt x="11233" y="4641"/>
                </a:lnTo>
                <a:lnTo>
                  <a:pt x="11229" y="4651"/>
                </a:lnTo>
                <a:close/>
                <a:moveTo>
                  <a:pt x="11688" y="4317"/>
                </a:moveTo>
                <a:lnTo>
                  <a:pt x="11678" y="4319"/>
                </a:lnTo>
                <a:lnTo>
                  <a:pt x="11671" y="4327"/>
                </a:lnTo>
                <a:lnTo>
                  <a:pt x="11664" y="4337"/>
                </a:lnTo>
                <a:lnTo>
                  <a:pt x="11663" y="4347"/>
                </a:lnTo>
                <a:lnTo>
                  <a:pt x="11681" y="4357"/>
                </a:lnTo>
                <a:lnTo>
                  <a:pt x="11702" y="4347"/>
                </a:lnTo>
                <a:lnTo>
                  <a:pt x="11711" y="4329"/>
                </a:lnTo>
                <a:lnTo>
                  <a:pt x="11688" y="4317"/>
                </a:lnTo>
                <a:close/>
                <a:moveTo>
                  <a:pt x="12097" y="4052"/>
                </a:moveTo>
                <a:lnTo>
                  <a:pt x="12105" y="4033"/>
                </a:lnTo>
                <a:lnTo>
                  <a:pt x="12091" y="4024"/>
                </a:lnTo>
                <a:lnTo>
                  <a:pt x="12067" y="4023"/>
                </a:lnTo>
                <a:lnTo>
                  <a:pt x="12045" y="4024"/>
                </a:lnTo>
                <a:lnTo>
                  <a:pt x="12056" y="4044"/>
                </a:lnTo>
                <a:lnTo>
                  <a:pt x="12068" y="4056"/>
                </a:lnTo>
                <a:lnTo>
                  <a:pt x="12082" y="4057"/>
                </a:lnTo>
                <a:lnTo>
                  <a:pt x="12097" y="4052"/>
                </a:lnTo>
                <a:close/>
                <a:moveTo>
                  <a:pt x="12213" y="4047"/>
                </a:moveTo>
                <a:lnTo>
                  <a:pt x="12197" y="4042"/>
                </a:lnTo>
                <a:lnTo>
                  <a:pt x="12181" y="4042"/>
                </a:lnTo>
                <a:lnTo>
                  <a:pt x="12165" y="4043"/>
                </a:lnTo>
                <a:lnTo>
                  <a:pt x="12149" y="4044"/>
                </a:lnTo>
                <a:lnTo>
                  <a:pt x="12144" y="4067"/>
                </a:lnTo>
                <a:lnTo>
                  <a:pt x="12162" y="4074"/>
                </a:lnTo>
                <a:lnTo>
                  <a:pt x="12190" y="4066"/>
                </a:lnTo>
                <a:lnTo>
                  <a:pt x="12213" y="4047"/>
                </a:lnTo>
                <a:close/>
                <a:moveTo>
                  <a:pt x="10019" y="5354"/>
                </a:moveTo>
                <a:lnTo>
                  <a:pt x="9998" y="5341"/>
                </a:lnTo>
                <a:lnTo>
                  <a:pt x="9984" y="5336"/>
                </a:lnTo>
                <a:lnTo>
                  <a:pt x="9973" y="5336"/>
                </a:lnTo>
                <a:lnTo>
                  <a:pt x="9958" y="5341"/>
                </a:lnTo>
                <a:lnTo>
                  <a:pt x="9977" y="5363"/>
                </a:lnTo>
                <a:lnTo>
                  <a:pt x="9990" y="5372"/>
                </a:lnTo>
                <a:lnTo>
                  <a:pt x="10002" y="5368"/>
                </a:lnTo>
                <a:lnTo>
                  <a:pt x="10019" y="5354"/>
                </a:lnTo>
                <a:close/>
                <a:moveTo>
                  <a:pt x="646" y="1220"/>
                </a:moveTo>
                <a:lnTo>
                  <a:pt x="664" y="1206"/>
                </a:lnTo>
                <a:lnTo>
                  <a:pt x="685" y="1203"/>
                </a:lnTo>
                <a:lnTo>
                  <a:pt x="704" y="1201"/>
                </a:lnTo>
                <a:lnTo>
                  <a:pt x="716" y="1192"/>
                </a:lnTo>
                <a:lnTo>
                  <a:pt x="690" y="1185"/>
                </a:lnTo>
                <a:lnTo>
                  <a:pt x="659" y="1190"/>
                </a:lnTo>
                <a:lnTo>
                  <a:pt x="638" y="1203"/>
                </a:lnTo>
                <a:lnTo>
                  <a:pt x="646" y="1220"/>
                </a:lnTo>
                <a:close/>
                <a:moveTo>
                  <a:pt x="288" y="3021"/>
                </a:moveTo>
                <a:lnTo>
                  <a:pt x="289" y="3036"/>
                </a:lnTo>
                <a:lnTo>
                  <a:pt x="305" y="3045"/>
                </a:lnTo>
                <a:lnTo>
                  <a:pt x="325" y="3048"/>
                </a:lnTo>
                <a:lnTo>
                  <a:pt x="344" y="3045"/>
                </a:lnTo>
                <a:lnTo>
                  <a:pt x="330" y="3028"/>
                </a:lnTo>
                <a:lnTo>
                  <a:pt x="315" y="3020"/>
                </a:lnTo>
                <a:lnTo>
                  <a:pt x="301" y="3017"/>
                </a:lnTo>
                <a:lnTo>
                  <a:pt x="288" y="3021"/>
                </a:lnTo>
                <a:close/>
                <a:moveTo>
                  <a:pt x="240" y="2860"/>
                </a:moveTo>
                <a:lnTo>
                  <a:pt x="193" y="2860"/>
                </a:lnTo>
                <a:lnTo>
                  <a:pt x="168" y="2868"/>
                </a:lnTo>
                <a:lnTo>
                  <a:pt x="176" y="2878"/>
                </a:lnTo>
                <a:lnTo>
                  <a:pt x="224" y="2880"/>
                </a:lnTo>
                <a:lnTo>
                  <a:pt x="231" y="2878"/>
                </a:lnTo>
                <a:lnTo>
                  <a:pt x="236" y="2876"/>
                </a:lnTo>
                <a:lnTo>
                  <a:pt x="240" y="2869"/>
                </a:lnTo>
                <a:lnTo>
                  <a:pt x="240" y="2860"/>
                </a:lnTo>
                <a:close/>
                <a:moveTo>
                  <a:pt x="443" y="1299"/>
                </a:moveTo>
                <a:lnTo>
                  <a:pt x="443" y="1299"/>
                </a:lnTo>
                <a:lnTo>
                  <a:pt x="443" y="1299"/>
                </a:lnTo>
                <a:lnTo>
                  <a:pt x="450" y="1318"/>
                </a:lnTo>
                <a:lnTo>
                  <a:pt x="455" y="1339"/>
                </a:lnTo>
                <a:lnTo>
                  <a:pt x="466" y="1355"/>
                </a:lnTo>
                <a:lnTo>
                  <a:pt x="485" y="1357"/>
                </a:lnTo>
                <a:lnTo>
                  <a:pt x="485" y="1336"/>
                </a:lnTo>
                <a:lnTo>
                  <a:pt x="480" y="1314"/>
                </a:lnTo>
                <a:lnTo>
                  <a:pt x="466" y="1297"/>
                </a:lnTo>
                <a:lnTo>
                  <a:pt x="443" y="1299"/>
                </a:lnTo>
                <a:close/>
                <a:moveTo>
                  <a:pt x="443" y="1299"/>
                </a:moveTo>
                <a:lnTo>
                  <a:pt x="443" y="1297"/>
                </a:lnTo>
                <a:lnTo>
                  <a:pt x="443" y="1299"/>
                </a:lnTo>
                <a:close/>
                <a:moveTo>
                  <a:pt x="12160" y="4247"/>
                </a:moveTo>
                <a:lnTo>
                  <a:pt x="12175" y="4270"/>
                </a:lnTo>
                <a:lnTo>
                  <a:pt x="12194" y="4273"/>
                </a:lnTo>
                <a:lnTo>
                  <a:pt x="12214" y="4262"/>
                </a:lnTo>
                <a:lnTo>
                  <a:pt x="12230" y="4240"/>
                </a:lnTo>
                <a:lnTo>
                  <a:pt x="12211" y="4239"/>
                </a:lnTo>
                <a:lnTo>
                  <a:pt x="12191" y="4238"/>
                </a:lnTo>
                <a:lnTo>
                  <a:pt x="12175" y="4239"/>
                </a:lnTo>
                <a:lnTo>
                  <a:pt x="12160" y="4247"/>
                </a:lnTo>
                <a:close/>
                <a:moveTo>
                  <a:pt x="11524" y="2822"/>
                </a:moveTo>
                <a:lnTo>
                  <a:pt x="11551" y="2822"/>
                </a:lnTo>
                <a:lnTo>
                  <a:pt x="11565" y="2815"/>
                </a:lnTo>
                <a:lnTo>
                  <a:pt x="11570" y="2799"/>
                </a:lnTo>
                <a:lnTo>
                  <a:pt x="11565" y="2774"/>
                </a:lnTo>
                <a:lnTo>
                  <a:pt x="11548" y="2782"/>
                </a:lnTo>
                <a:lnTo>
                  <a:pt x="11534" y="2792"/>
                </a:lnTo>
                <a:lnTo>
                  <a:pt x="11527" y="2804"/>
                </a:lnTo>
                <a:lnTo>
                  <a:pt x="11524" y="2822"/>
                </a:lnTo>
                <a:close/>
                <a:moveTo>
                  <a:pt x="11264" y="4030"/>
                </a:moveTo>
                <a:lnTo>
                  <a:pt x="11259" y="4056"/>
                </a:lnTo>
                <a:lnTo>
                  <a:pt x="11290" y="4063"/>
                </a:lnTo>
                <a:lnTo>
                  <a:pt x="11314" y="4052"/>
                </a:lnTo>
                <a:lnTo>
                  <a:pt x="11287" y="4023"/>
                </a:lnTo>
                <a:lnTo>
                  <a:pt x="11277" y="4025"/>
                </a:lnTo>
                <a:lnTo>
                  <a:pt x="11264" y="4030"/>
                </a:lnTo>
                <a:close/>
                <a:moveTo>
                  <a:pt x="10139" y="5168"/>
                </a:moveTo>
                <a:lnTo>
                  <a:pt x="10108" y="5184"/>
                </a:lnTo>
                <a:lnTo>
                  <a:pt x="10103" y="5199"/>
                </a:lnTo>
                <a:lnTo>
                  <a:pt x="10116" y="5217"/>
                </a:lnTo>
                <a:lnTo>
                  <a:pt x="10142" y="5242"/>
                </a:lnTo>
                <a:lnTo>
                  <a:pt x="10141" y="5219"/>
                </a:lnTo>
                <a:lnTo>
                  <a:pt x="10140" y="5201"/>
                </a:lnTo>
                <a:lnTo>
                  <a:pt x="10139" y="5185"/>
                </a:lnTo>
                <a:lnTo>
                  <a:pt x="10139" y="5168"/>
                </a:lnTo>
                <a:close/>
                <a:moveTo>
                  <a:pt x="11005" y="5571"/>
                </a:moveTo>
                <a:lnTo>
                  <a:pt x="10987" y="5550"/>
                </a:lnTo>
                <a:lnTo>
                  <a:pt x="10975" y="5565"/>
                </a:lnTo>
                <a:lnTo>
                  <a:pt x="10974" y="5595"/>
                </a:lnTo>
                <a:lnTo>
                  <a:pt x="10987" y="5618"/>
                </a:lnTo>
                <a:lnTo>
                  <a:pt x="10998" y="5609"/>
                </a:lnTo>
                <a:lnTo>
                  <a:pt x="11006" y="5599"/>
                </a:lnTo>
                <a:lnTo>
                  <a:pt x="11008" y="5586"/>
                </a:lnTo>
                <a:lnTo>
                  <a:pt x="11005" y="5571"/>
                </a:lnTo>
                <a:close/>
                <a:moveTo>
                  <a:pt x="708" y="3790"/>
                </a:moveTo>
                <a:lnTo>
                  <a:pt x="698" y="3771"/>
                </a:lnTo>
                <a:lnTo>
                  <a:pt x="687" y="3777"/>
                </a:lnTo>
                <a:lnTo>
                  <a:pt x="678" y="3797"/>
                </a:lnTo>
                <a:lnTo>
                  <a:pt x="676" y="3820"/>
                </a:lnTo>
                <a:lnTo>
                  <a:pt x="711" y="3829"/>
                </a:lnTo>
                <a:lnTo>
                  <a:pt x="726" y="3829"/>
                </a:lnTo>
                <a:lnTo>
                  <a:pt x="724" y="3816"/>
                </a:lnTo>
                <a:lnTo>
                  <a:pt x="708" y="3790"/>
                </a:lnTo>
                <a:close/>
                <a:moveTo>
                  <a:pt x="11467" y="4626"/>
                </a:moveTo>
                <a:lnTo>
                  <a:pt x="11482" y="4629"/>
                </a:lnTo>
                <a:lnTo>
                  <a:pt x="11497" y="4630"/>
                </a:lnTo>
                <a:lnTo>
                  <a:pt x="11513" y="4631"/>
                </a:lnTo>
                <a:lnTo>
                  <a:pt x="11531" y="4634"/>
                </a:lnTo>
                <a:lnTo>
                  <a:pt x="11510" y="4606"/>
                </a:lnTo>
                <a:lnTo>
                  <a:pt x="11480" y="4595"/>
                </a:lnTo>
                <a:lnTo>
                  <a:pt x="11458" y="4603"/>
                </a:lnTo>
                <a:lnTo>
                  <a:pt x="11467" y="4626"/>
                </a:lnTo>
                <a:close/>
                <a:moveTo>
                  <a:pt x="11457" y="4601"/>
                </a:moveTo>
                <a:lnTo>
                  <a:pt x="11457" y="4599"/>
                </a:lnTo>
                <a:lnTo>
                  <a:pt x="11455" y="4599"/>
                </a:lnTo>
                <a:lnTo>
                  <a:pt x="11406" y="4575"/>
                </a:lnTo>
                <a:lnTo>
                  <a:pt x="11338" y="4556"/>
                </a:lnTo>
                <a:lnTo>
                  <a:pt x="11271" y="4551"/>
                </a:lnTo>
                <a:lnTo>
                  <a:pt x="11217" y="4567"/>
                </a:lnTo>
                <a:lnTo>
                  <a:pt x="11272" y="4587"/>
                </a:lnTo>
                <a:lnTo>
                  <a:pt x="11331" y="4593"/>
                </a:lnTo>
                <a:lnTo>
                  <a:pt x="11392" y="4595"/>
                </a:lnTo>
                <a:lnTo>
                  <a:pt x="11455" y="4599"/>
                </a:lnTo>
                <a:lnTo>
                  <a:pt x="11455" y="4601"/>
                </a:lnTo>
                <a:lnTo>
                  <a:pt x="11457" y="4601"/>
                </a:lnTo>
                <a:close/>
                <a:moveTo>
                  <a:pt x="11548" y="3931"/>
                </a:moveTo>
                <a:lnTo>
                  <a:pt x="11556" y="3945"/>
                </a:lnTo>
                <a:lnTo>
                  <a:pt x="11569" y="3955"/>
                </a:lnTo>
                <a:lnTo>
                  <a:pt x="11583" y="3959"/>
                </a:lnTo>
                <a:lnTo>
                  <a:pt x="11598" y="3953"/>
                </a:lnTo>
                <a:lnTo>
                  <a:pt x="11598" y="3934"/>
                </a:lnTo>
                <a:lnTo>
                  <a:pt x="11576" y="3916"/>
                </a:lnTo>
                <a:lnTo>
                  <a:pt x="11553" y="3912"/>
                </a:lnTo>
                <a:lnTo>
                  <a:pt x="11548" y="3931"/>
                </a:lnTo>
                <a:close/>
                <a:moveTo>
                  <a:pt x="1022" y="1047"/>
                </a:moveTo>
                <a:lnTo>
                  <a:pt x="1037" y="1072"/>
                </a:lnTo>
                <a:lnTo>
                  <a:pt x="1060" y="1087"/>
                </a:lnTo>
                <a:lnTo>
                  <a:pt x="1085" y="1091"/>
                </a:lnTo>
                <a:lnTo>
                  <a:pt x="1106" y="1078"/>
                </a:lnTo>
                <a:lnTo>
                  <a:pt x="1090" y="1059"/>
                </a:lnTo>
                <a:lnTo>
                  <a:pt x="1071" y="1052"/>
                </a:lnTo>
                <a:lnTo>
                  <a:pt x="1050" y="1049"/>
                </a:lnTo>
                <a:lnTo>
                  <a:pt x="1022" y="1047"/>
                </a:lnTo>
                <a:close/>
                <a:moveTo>
                  <a:pt x="838" y="1444"/>
                </a:moveTo>
                <a:lnTo>
                  <a:pt x="857" y="1453"/>
                </a:lnTo>
                <a:lnTo>
                  <a:pt x="878" y="1455"/>
                </a:lnTo>
                <a:lnTo>
                  <a:pt x="898" y="1455"/>
                </a:lnTo>
                <a:lnTo>
                  <a:pt x="918" y="1456"/>
                </a:lnTo>
                <a:lnTo>
                  <a:pt x="898" y="1439"/>
                </a:lnTo>
                <a:lnTo>
                  <a:pt x="880" y="1431"/>
                </a:lnTo>
                <a:lnTo>
                  <a:pt x="860" y="1434"/>
                </a:lnTo>
                <a:lnTo>
                  <a:pt x="838" y="1444"/>
                </a:lnTo>
                <a:close/>
                <a:moveTo>
                  <a:pt x="101" y="2733"/>
                </a:moveTo>
                <a:lnTo>
                  <a:pt x="129" y="2732"/>
                </a:lnTo>
                <a:lnTo>
                  <a:pt x="157" y="2731"/>
                </a:lnTo>
                <a:lnTo>
                  <a:pt x="166" y="2726"/>
                </a:lnTo>
                <a:lnTo>
                  <a:pt x="138" y="2715"/>
                </a:lnTo>
                <a:lnTo>
                  <a:pt x="115" y="2698"/>
                </a:lnTo>
                <a:lnTo>
                  <a:pt x="91" y="2701"/>
                </a:lnTo>
                <a:lnTo>
                  <a:pt x="80" y="2717"/>
                </a:lnTo>
                <a:lnTo>
                  <a:pt x="101" y="2733"/>
                </a:lnTo>
                <a:close/>
                <a:moveTo>
                  <a:pt x="11134" y="4440"/>
                </a:moveTo>
                <a:lnTo>
                  <a:pt x="11217" y="4425"/>
                </a:lnTo>
                <a:lnTo>
                  <a:pt x="11226" y="4422"/>
                </a:lnTo>
                <a:lnTo>
                  <a:pt x="11198" y="4420"/>
                </a:lnTo>
                <a:lnTo>
                  <a:pt x="11174" y="4398"/>
                </a:lnTo>
                <a:lnTo>
                  <a:pt x="11160" y="4389"/>
                </a:lnTo>
                <a:lnTo>
                  <a:pt x="11146" y="4399"/>
                </a:lnTo>
                <a:lnTo>
                  <a:pt x="11136" y="4420"/>
                </a:lnTo>
                <a:lnTo>
                  <a:pt x="11134" y="4440"/>
                </a:lnTo>
                <a:close/>
                <a:moveTo>
                  <a:pt x="474" y="2036"/>
                </a:moveTo>
                <a:lnTo>
                  <a:pt x="485" y="2005"/>
                </a:lnTo>
                <a:lnTo>
                  <a:pt x="468" y="1994"/>
                </a:lnTo>
                <a:lnTo>
                  <a:pt x="438" y="1991"/>
                </a:lnTo>
                <a:lnTo>
                  <a:pt x="410" y="1987"/>
                </a:lnTo>
                <a:lnTo>
                  <a:pt x="420" y="2008"/>
                </a:lnTo>
                <a:lnTo>
                  <a:pt x="436" y="2020"/>
                </a:lnTo>
                <a:lnTo>
                  <a:pt x="455" y="2029"/>
                </a:lnTo>
                <a:lnTo>
                  <a:pt x="474" y="2036"/>
                </a:lnTo>
                <a:close/>
                <a:moveTo>
                  <a:pt x="409" y="1987"/>
                </a:moveTo>
                <a:lnTo>
                  <a:pt x="409" y="1987"/>
                </a:lnTo>
                <a:lnTo>
                  <a:pt x="409" y="1987"/>
                </a:lnTo>
                <a:lnTo>
                  <a:pt x="409" y="1987"/>
                </a:lnTo>
                <a:lnTo>
                  <a:pt x="410" y="1987"/>
                </a:lnTo>
                <a:lnTo>
                  <a:pt x="409" y="1987"/>
                </a:lnTo>
                <a:close/>
                <a:moveTo>
                  <a:pt x="10285" y="5354"/>
                </a:moveTo>
                <a:lnTo>
                  <a:pt x="10265" y="5358"/>
                </a:lnTo>
                <a:lnTo>
                  <a:pt x="10253" y="5373"/>
                </a:lnTo>
                <a:lnTo>
                  <a:pt x="10240" y="5392"/>
                </a:lnTo>
                <a:lnTo>
                  <a:pt x="10221" y="5405"/>
                </a:lnTo>
                <a:lnTo>
                  <a:pt x="10248" y="5416"/>
                </a:lnTo>
                <a:lnTo>
                  <a:pt x="10270" y="5408"/>
                </a:lnTo>
                <a:lnTo>
                  <a:pt x="10282" y="5385"/>
                </a:lnTo>
                <a:lnTo>
                  <a:pt x="10285" y="5354"/>
                </a:lnTo>
                <a:close/>
                <a:moveTo>
                  <a:pt x="378" y="1523"/>
                </a:moveTo>
                <a:lnTo>
                  <a:pt x="386" y="1507"/>
                </a:lnTo>
                <a:lnTo>
                  <a:pt x="395" y="1495"/>
                </a:lnTo>
                <a:lnTo>
                  <a:pt x="401" y="1482"/>
                </a:lnTo>
                <a:lnTo>
                  <a:pt x="399" y="1468"/>
                </a:lnTo>
                <a:lnTo>
                  <a:pt x="372" y="1465"/>
                </a:lnTo>
                <a:lnTo>
                  <a:pt x="350" y="1486"/>
                </a:lnTo>
                <a:lnTo>
                  <a:pt x="348" y="1512"/>
                </a:lnTo>
                <a:lnTo>
                  <a:pt x="378" y="1523"/>
                </a:lnTo>
                <a:close/>
                <a:moveTo>
                  <a:pt x="10928" y="5681"/>
                </a:moveTo>
                <a:lnTo>
                  <a:pt x="10921" y="5705"/>
                </a:lnTo>
                <a:lnTo>
                  <a:pt x="10935" y="5721"/>
                </a:lnTo>
                <a:lnTo>
                  <a:pt x="10963" y="5728"/>
                </a:lnTo>
                <a:lnTo>
                  <a:pt x="10992" y="5730"/>
                </a:lnTo>
                <a:lnTo>
                  <a:pt x="10983" y="5704"/>
                </a:lnTo>
                <a:lnTo>
                  <a:pt x="10969" y="5690"/>
                </a:lnTo>
                <a:lnTo>
                  <a:pt x="10950" y="5683"/>
                </a:lnTo>
                <a:lnTo>
                  <a:pt x="10928" y="5681"/>
                </a:lnTo>
                <a:close/>
                <a:moveTo>
                  <a:pt x="465" y="3720"/>
                </a:moveTo>
                <a:lnTo>
                  <a:pt x="441" y="3729"/>
                </a:lnTo>
                <a:lnTo>
                  <a:pt x="447" y="3746"/>
                </a:lnTo>
                <a:lnTo>
                  <a:pt x="473" y="3763"/>
                </a:lnTo>
                <a:lnTo>
                  <a:pt x="506" y="3766"/>
                </a:lnTo>
                <a:lnTo>
                  <a:pt x="502" y="3746"/>
                </a:lnTo>
                <a:lnTo>
                  <a:pt x="493" y="3734"/>
                </a:lnTo>
                <a:lnTo>
                  <a:pt x="480" y="3725"/>
                </a:lnTo>
                <a:lnTo>
                  <a:pt x="465" y="3720"/>
                </a:lnTo>
                <a:close/>
                <a:moveTo>
                  <a:pt x="547" y="2206"/>
                </a:moveTo>
                <a:lnTo>
                  <a:pt x="569" y="2225"/>
                </a:lnTo>
                <a:lnTo>
                  <a:pt x="592" y="2249"/>
                </a:lnTo>
                <a:lnTo>
                  <a:pt x="617" y="2269"/>
                </a:lnTo>
                <a:lnTo>
                  <a:pt x="645" y="2275"/>
                </a:lnTo>
                <a:lnTo>
                  <a:pt x="641" y="2242"/>
                </a:lnTo>
                <a:lnTo>
                  <a:pt x="615" y="2216"/>
                </a:lnTo>
                <a:lnTo>
                  <a:pt x="581" y="2202"/>
                </a:lnTo>
                <a:lnTo>
                  <a:pt x="547" y="2206"/>
                </a:lnTo>
                <a:close/>
                <a:moveTo>
                  <a:pt x="11495" y="4746"/>
                </a:moveTo>
                <a:lnTo>
                  <a:pt x="11501" y="4770"/>
                </a:lnTo>
                <a:lnTo>
                  <a:pt x="11528" y="4776"/>
                </a:lnTo>
                <a:lnTo>
                  <a:pt x="11562" y="4774"/>
                </a:lnTo>
                <a:lnTo>
                  <a:pt x="11594" y="4771"/>
                </a:lnTo>
                <a:lnTo>
                  <a:pt x="11569" y="4751"/>
                </a:lnTo>
                <a:lnTo>
                  <a:pt x="11545" y="4743"/>
                </a:lnTo>
                <a:lnTo>
                  <a:pt x="11519" y="4743"/>
                </a:lnTo>
                <a:lnTo>
                  <a:pt x="11495" y="4746"/>
                </a:lnTo>
                <a:close/>
                <a:moveTo>
                  <a:pt x="252" y="2916"/>
                </a:moveTo>
                <a:lnTo>
                  <a:pt x="223" y="2920"/>
                </a:lnTo>
                <a:lnTo>
                  <a:pt x="194" y="2925"/>
                </a:lnTo>
                <a:lnTo>
                  <a:pt x="165" y="2928"/>
                </a:lnTo>
                <a:lnTo>
                  <a:pt x="135" y="2929"/>
                </a:lnTo>
                <a:lnTo>
                  <a:pt x="194" y="2943"/>
                </a:lnTo>
                <a:lnTo>
                  <a:pt x="249" y="2941"/>
                </a:lnTo>
                <a:lnTo>
                  <a:pt x="275" y="2929"/>
                </a:lnTo>
                <a:lnTo>
                  <a:pt x="252" y="2916"/>
                </a:lnTo>
                <a:close/>
                <a:moveTo>
                  <a:pt x="11696" y="4617"/>
                </a:moveTo>
                <a:lnTo>
                  <a:pt x="11666" y="4608"/>
                </a:lnTo>
                <a:lnTo>
                  <a:pt x="11641" y="4620"/>
                </a:lnTo>
                <a:lnTo>
                  <a:pt x="11616" y="4637"/>
                </a:lnTo>
                <a:lnTo>
                  <a:pt x="11587" y="4649"/>
                </a:lnTo>
                <a:lnTo>
                  <a:pt x="11623" y="4669"/>
                </a:lnTo>
                <a:lnTo>
                  <a:pt x="11646" y="4662"/>
                </a:lnTo>
                <a:lnTo>
                  <a:pt x="11667" y="4640"/>
                </a:lnTo>
                <a:lnTo>
                  <a:pt x="11696" y="4617"/>
                </a:lnTo>
                <a:close/>
                <a:moveTo>
                  <a:pt x="758" y="1362"/>
                </a:moveTo>
                <a:lnTo>
                  <a:pt x="747" y="1384"/>
                </a:lnTo>
                <a:lnTo>
                  <a:pt x="781" y="1402"/>
                </a:lnTo>
                <a:lnTo>
                  <a:pt x="833" y="1407"/>
                </a:lnTo>
                <a:lnTo>
                  <a:pt x="871" y="1385"/>
                </a:lnTo>
                <a:lnTo>
                  <a:pt x="843" y="1378"/>
                </a:lnTo>
                <a:lnTo>
                  <a:pt x="814" y="1376"/>
                </a:lnTo>
                <a:lnTo>
                  <a:pt x="786" y="1375"/>
                </a:lnTo>
                <a:lnTo>
                  <a:pt x="758" y="1362"/>
                </a:lnTo>
                <a:close/>
                <a:moveTo>
                  <a:pt x="541" y="3703"/>
                </a:moveTo>
                <a:lnTo>
                  <a:pt x="559" y="3721"/>
                </a:lnTo>
                <a:lnTo>
                  <a:pt x="577" y="3727"/>
                </a:lnTo>
                <a:lnTo>
                  <a:pt x="605" y="3725"/>
                </a:lnTo>
                <a:lnTo>
                  <a:pt x="657" y="3716"/>
                </a:lnTo>
                <a:lnTo>
                  <a:pt x="628" y="3708"/>
                </a:lnTo>
                <a:lnTo>
                  <a:pt x="595" y="3696"/>
                </a:lnTo>
                <a:lnTo>
                  <a:pt x="564" y="3690"/>
                </a:lnTo>
                <a:lnTo>
                  <a:pt x="541" y="3703"/>
                </a:lnTo>
                <a:close/>
                <a:moveTo>
                  <a:pt x="11589" y="4011"/>
                </a:moveTo>
                <a:lnTo>
                  <a:pt x="11589" y="4042"/>
                </a:lnTo>
                <a:lnTo>
                  <a:pt x="11608" y="4052"/>
                </a:lnTo>
                <a:lnTo>
                  <a:pt x="11636" y="4051"/>
                </a:lnTo>
                <a:lnTo>
                  <a:pt x="11664" y="4043"/>
                </a:lnTo>
                <a:lnTo>
                  <a:pt x="11678" y="4014"/>
                </a:lnTo>
                <a:lnTo>
                  <a:pt x="11659" y="4006"/>
                </a:lnTo>
                <a:lnTo>
                  <a:pt x="11623" y="4009"/>
                </a:lnTo>
                <a:lnTo>
                  <a:pt x="11589" y="4011"/>
                </a:lnTo>
                <a:close/>
                <a:moveTo>
                  <a:pt x="11816" y="4466"/>
                </a:moveTo>
                <a:lnTo>
                  <a:pt x="11784" y="4449"/>
                </a:lnTo>
                <a:lnTo>
                  <a:pt x="11781" y="4425"/>
                </a:lnTo>
                <a:lnTo>
                  <a:pt x="11778" y="4407"/>
                </a:lnTo>
                <a:lnTo>
                  <a:pt x="11743" y="4410"/>
                </a:lnTo>
                <a:lnTo>
                  <a:pt x="11739" y="4445"/>
                </a:lnTo>
                <a:lnTo>
                  <a:pt x="11762" y="4473"/>
                </a:lnTo>
                <a:lnTo>
                  <a:pt x="11793" y="4483"/>
                </a:lnTo>
                <a:lnTo>
                  <a:pt x="11816" y="4466"/>
                </a:lnTo>
                <a:close/>
                <a:moveTo>
                  <a:pt x="12203" y="4276"/>
                </a:moveTo>
                <a:lnTo>
                  <a:pt x="12204" y="4276"/>
                </a:lnTo>
                <a:lnTo>
                  <a:pt x="12204" y="4275"/>
                </a:lnTo>
                <a:lnTo>
                  <a:pt x="12203" y="4275"/>
                </a:lnTo>
                <a:lnTo>
                  <a:pt x="12203" y="4276"/>
                </a:lnTo>
                <a:close/>
                <a:moveTo>
                  <a:pt x="12163" y="4346"/>
                </a:moveTo>
                <a:lnTo>
                  <a:pt x="12123" y="4382"/>
                </a:lnTo>
                <a:lnTo>
                  <a:pt x="12114" y="4406"/>
                </a:lnTo>
                <a:lnTo>
                  <a:pt x="12132" y="4406"/>
                </a:lnTo>
                <a:lnTo>
                  <a:pt x="12171" y="4368"/>
                </a:lnTo>
                <a:lnTo>
                  <a:pt x="12199" y="4318"/>
                </a:lnTo>
                <a:lnTo>
                  <a:pt x="12200" y="4290"/>
                </a:lnTo>
                <a:lnTo>
                  <a:pt x="12184" y="4295"/>
                </a:lnTo>
                <a:lnTo>
                  <a:pt x="12163" y="4346"/>
                </a:lnTo>
                <a:close/>
                <a:moveTo>
                  <a:pt x="12092" y="4401"/>
                </a:moveTo>
                <a:lnTo>
                  <a:pt x="12092" y="4401"/>
                </a:lnTo>
                <a:lnTo>
                  <a:pt x="12091" y="4401"/>
                </a:lnTo>
                <a:lnTo>
                  <a:pt x="12092" y="4401"/>
                </a:lnTo>
                <a:lnTo>
                  <a:pt x="12092" y="4401"/>
                </a:lnTo>
                <a:close/>
                <a:moveTo>
                  <a:pt x="533" y="3172"/>
                </a:moveTo>
                <a:lnTo>
                  <a:pt x="534" y="3172"/>
                </a:lnTo>
                <a:lnTo>
                  <a:pt x="535" y="3172"/>
                </a:lnTo>
                <a:lnTo>
                  <a:pt x="533" y="3172"/>
                </a:lnTo>
                <a:lnTo>
                  <a:pt x="533" y="3172"/>
                </a:lnTo>
                <a:close/>
                <a:moveTo>
                  <a:pt x="515" y="3199"/>
                </a:moveTo>
                <a:lnTo>
                  <a:pt x="516" y="3235"/>
                </a:lnTo>
                <a:lnTo>
                  <a:pt x="503" y="3270"/>
                </a:lnTo>
                <a:lnTo>
                  <a:pt x="502" y="3297"/>
                </a:lnTo>
                <a:lnTo>
                  <a:pt x="540" y="3301"/>
                </a:lnTo>
                <a:lnTo>
                  <a:pt x="552" y="3268"/>
                </a:lnTo>
                <a:lnTo>
                  <a:pt x="543" y="3214"/>
                </a:lnTo>
                <a:lnTo>
                  <a:pt x="526" y="3179"/>
                </a:lnTo>
                <a:lnTo>
                  <a:pt x="515" y="3199"/>
                </a:lnTo>
                <a:close/>
                <a:moveTo>
                  <a:pt x="11492" y="4105"/>
                </a:moveTo>
                <a:lnTo>
                  <a:pt x="11494" y="4074"/>
                </a:lnTo>
                <a:lnTo>
                  <a:pt x="11455" y="4061"/>
                </a:lnTo>
                <a:lnTo>
                  <a:pt x="11403" y="4056"/>
                </a:lnTo>
                <a:lnTo>
                  <a:pt x="11362" y="4048"/>
                </a:lnTo>
                <a:lnTo>
                  <a:pt x="11365" y="4081"/>
                </a:lnTo>
                <a:lnTo>
                  <a:pt x="11402" y="4088"/>
                </a:lnTo>
                <a:lnTo>
                  <a:pt x="11452" y="4088"/>
                </a:lnTo>
                <a:lnTo>
                  <a:pt x="11492" y="4105"/>
                </a:lnTo>
                <a:close/>
                <a:moveTo>
                  <a:pt x="10624" y="5619"/>
                </a:moveTo>
                <a:lnTo>
                  <a:pt x="10628" y="5647"/>
                </a:lnTo>
                <a:lnTo>
                  <a:pt x="10659" y="5652"/>
                </a:lnTo>
                <a:lnTo>
                  <a:pt x="10696" y="5639"/>
                </a:lnTo>
                <a:lnTo>
                  <a:pt x="10717" y="5613"/>
                </a:lnTo>
                <a:lnTo>
                  <a:pt x="10693" y="5600"/>
                </a:lnTo>
                <a:lnTo>
                  <a:pt x="10670" y="5599"/>
                </a:lnTo>
                <a:lnTo>
                  <a:pt x="10647" y="5606"/>
                </a:lnTo>
                <a:lnTo>
                  <a:pt x="10624" y="5619"/>
                </a:lnTo>
                <a:close/>
                <a:moveTo>
                  <a:pt x="10840" y="4575"/>
                </a:moveTo>
                <a:lnTo>
                  <a:pt x="10812" y="4553"/>
                </a:lnTo>
                <a:lnTo>
                  <a:pt x="10788" y="4557"/>
                </a:lnTo>
                <a:lnTo>
                  <a:pt x="10774" y="4579"/>
                </a:lnTo>
                <a:lnTo>
                  <a:pt x="10782" y="4611"/>
                </a:lnTo>
                <a:lnTo>
                  <a:pt x="10838" y="4601"/>
                </a:lnTo>
                <a:lnTo>
                  <a:pt x="10887" y="4580"/>
                </a:lnTo>
                <a:lnTo>
                  <a:pt x="10900" y="4566"/>
                </a:lnTo>
                <a:lnTo>
                  <a:pt x="10840" y="4575"/>
                </a:lnTo>
                <a:close/>
                <a:moveTo>
                  <a:pt x="666" y="1789"/>
                </a:moveTo>
                <a:lnTo>
                  <a:pt x="665" y="1739"/>
                </a:lnTo>
                <a:lnTo>
                  <a:pt x="645" y="1724"/>
                </a:lnTo>
                <a:lnTo>
                  <a:pt x="615" y="1739"/>
                </a:lnTo>
                <a:lnTo>
                  <a:pt x="589" y="1780"/>
                </a:lnTo>
                <a:lnTo>
                  <a:pt x="591" y="1798"/>
                </a:lnTo>
                <a:lnTo>
                  <a:pt x="614" y="1800"/>
                </a:lnTo>
                <a:lnTo>
                  <a:pt x="643" y="1795"/>
                </a:lnTo>
                <a:lnTo>
                  <a:pt x="666" y="1789"/>
                </a:lnTo>
                <a:close/>
                <a:moveTo>
                  <a:pt x="11463" y="4141"/>
                </a:moveTo>
                <a:lnTo>
                  <a:pt x="11445" y="4108"/>
                </a:lnTo>
                <a:lnTo>
                  <a:pt x="11401" y="4137"/>
                </a:lnTo>
                <a:lnTo>
                  <a:pt x="11370" y="4188"/>
                </a:lnTo>
                <a:lnTo>
                  <a:pt x="11389" y="4219"/>
                </a:lnTo>
                <a:lnTo>
                  <a:pt x="11413" y="4206"/>
                </a:lnTo>
                <a:lnTo>
                  <a:pt x="11422" y="4179"/>
                </a:lnTo>
                <a:lnTo>
                  <a:pt x="11432" y="4152"/>
                </a:lnTo>
                <a:lnTo>
                  <a:pt x="11463" y="4141"/>
                </a:lnTo>
                <a:close/>
                <a:moveTo>
                  <a:pt x="11891" y="4444"/>
                </a:moveTo>
                <a:lnTo>
                  <a:pt x="11941" y="4461"/>
                </a:lnTo>
                <a:lnTo>
                  <a:pt x="11994" y="4464"/>
                </a:lnTo>
                <a:lnTo>
                  <a:pt x="12050" y="4463"/>
                </a:lnTo>
                <a:lnTo>
                  <a:pt x="12104" y="4467"/>
                </a:lnTo>
                <a:lnTo>
                  <a:pt x="12027" y="4443"/>
                </a:lnTo>
                <a:lnTo>
                  <a:pt x="11972" y="4431"/>
                </a:lnTo>
                <a:lnTo>
                  <a:pt x="11929" y="4431"/>
                </a:lnTo>
                <a:lnTo>
                  <a:pt x="11891" y="4444"/>
                </a:lnTo>
                <a:close/>
                <a:moveTo>
                  <a:pt x="11527" y="4839"/>
                </a:moveTo>
                <a:lnTo>
                  <a:pt x="11500" y="4804"/>
                </a:lnTo>
                <a:lnTo>
                  <a:pt x="11469" y="4809"/>
                </a:lnTo>
                <a:lnTo>
                  <a:pt x="11443" y="4839"/>
                </a:lnTo>
                <a:lnTo>
                  <a:pt x="11426" y="4881"/>
                </a:lnTo>
                <a:lnTo>
                  <a:pt x="11462" y="4882"/>
                </a:lnTo>
                <a:lnTo>
                  <a:pt x="11483" y="4877"/>
                </a:lnTo>
                <a:lnTo>
                  <a:pt x="11502" y="4864"/>
                </a:lnTo>
                <a:lnTo>
                  <a:pt x="11527" y="4839"/>
                </a:lnTo>
                <a:close/>
                <a:moveTo>
                  <a:pt x="10289" y="5508"/>
                </a:moveTo>
                <a:lnTo>
                  <a:pt x="10298" y="5554"/>
                </a:lnTo>
                <a:lnTo>
                  <a:pt x="10356" y="5583"/>
                </a:lnTo>
                <a:lnTo>
                  <a:pt x="10416" y="5574"/>
                </a:lnTo>
                <a:lnTo>
                  <a:pt x="10430" y="5509"/>
                </a:lnTo>
                <a:lnTo>
                  <a:pt x="10396" y="5541"/>
                </a:lnTo>
                <a:lnTo>
                  <a:pt x="10360" y="5548"/>
                </a:lnTo>
                <a:lnTo>
                  <a:pt x="10325" y="5534"/>
                </a:lnTo>
                <a:lnTo>
                  <a:pt x="10289" y="5508"/>
                </a:lnTo>
                <a:close/>
                <a:moveTo>
                  <a:pt x="11743" y="3838"/>
                </a:moveTo>
                <a:lnTo>
                  <a:pt x="11738" y="3837"/>
                </a:lnTo>
                <a:lnTo>
                  <a:pt x="11737" y="3836"/>
                </a:lnTo>
                <a:lnTo>
                  <a:pt x="11739" y="3837"/>
                </a:lnTo>
                <a:lnTo>
                  <a:pt x="11743" y="3838"/>
                </a:lnTo>
                <a:lnTo>
                  <a:pt x="11739" y="3842"/>
                </a:lnTo>
                <a:lnTo>
                  <a:pt x="11737" y="3842"/>
                </a:lnTo>
                <a:lnTo>
                  <a:pt x="11738" y="3839"/>
                </a:lnTo>
                <a:lnTo>
                  <a:pt x="11743" y="3838"/>
                </a:lnTo>
                <a:close/>
                <a:moveTo>
                  <a:pt x="11646" y="3867"/>
                </a:moveTo>
                <a:lnTo>
                  <a:pt x="11706" y="3865"/>
                </a:lnTo>
                <a:lnTo>
                  <a:pt x="11770" y="3848"/>
                </a:lnTo>
                <a:lnTo>
                  <a:pt x="11798" y="3820"/>
                </a:lnTo>
                <a:lnTo>
                  <a:pt x="11747" y="3782"/>
                </a:lnTo>
                <a:lnTo>
                  <a:pt x="11741" y="3815"/>
                </a:lnTo>
                <a:lnTo>
                  <a:pt x="11711" y="3828"/>
                </a:lnTo>
                <a:lnTo>
                  <a:pt x="11674" y="3838"/>
                </a:lnTo>
                <a:lnTo>
                  <a:pt x="11646" y="3867"/>
                </a:lnTo>
                <a:close/>
                <a:moveTo>
                  <a:pt x="10803" y="5661"/>
                </a:moveTo>
                <a:lnTo>
                  <a:pt x="10807" y="5657"/>
                </a:lnTo>
                <a:lnTo>
                  <a:pt x="10808" y="5660"/>
                </a:lnTo>
                <a:lnTo>
                  <a:pt x="10808" y="5661"/>
                </a:lnTo>
                <a:lnTo>
                  <a:pt x="10807" y="5662"/>
                </a:lnTo>
                <a:lnTo>
                  <a:pt x="10803" y="5661"/>
                </a:lnTo>
                <a:close/>
                <a:moveTo>
                  <a:pt x="10880" y="5689"/>
                </a:moveTo>
                <a:lnTo>
                  <a:pt x="10839" y="5665"/>
                </a:lnTo>
                <a:lnTo>
                  <a:pt x="10803" y="5627"/>
                </a:lnTo>
                <a:lnTo>
                  <a:pt x="10778" y="5615"/>
                </a:lnTo>
                <a:lnTo>
                  <a:pt x="10773" y="5671"/>
                </a:lnTo>
                <a:lnTo>
                  <a:pt x="10794" y="5694"/>
                </a:lnTo>
                <a:lnTo>
                  <a:pt x="10840" y="5711"/>
                </a:lnTo>
                <a:lnTo>
                  <a:pt x="10878" y="5712"/>
                </a:lnTo>
                <a:lnTo>
                  <a:pt x="10880" y="5689"/>
                </a:lnTo>
                <a:close/>
                <a:moveTo>
                  <a:pt x="10757" y="4709"/>
                </a:moveTo>
                <a:lnTo>
                  <a:pt x="10757" y="4710"/>
                </a:lnTo>
                <a:lnTo>
                  <a:pt x="10759" y="4710"/>
                </a:lnTo>
                <a:lnTo>
                  <a:pt x="10757" y="4709"/>
                </a:lnTo>
                <a:lnTo>
                  <a:pt x="10757" y="4709"/>
                </a:lnTo>
                <a:close/>
                <a:moveTo>
                  <a:pt x="10826" y="4681"/>
                </a:moveTo>
                <a:lnTo>
                  <a:pt x="10793" y="4672"/>
                </a:lnTo>
                <a:lnTo>
                  <a:pt x="10782" y="4650"/>
                </a:lnTo>
                <a:lnTo>
                  <a:pt x="10766" y="4632"/>
                </a:lnTo>
                <a:lnTo>
                  <a:pt x="10721" y="4627"/>
                </a:lnTo>
                <a:lnTo>
                  <a:pt x="10704" y="4659"/>
                </a:lnTo>
                <a:lnTo>
                  <a:pt x="10737" y="4692"/>
                </a:lnTo>
                <a:lnTo>
                  <a:pt x="10789" y="4706"/>
                </a:lnTo>
                <a:lnTo>
                  <a:pt x="10826" y="4681"/>
                </a:lnTo>
                <a:close/>
                <a:moveTo>
                  <a:pt x="11904" y="4249"/>
                </a:moveTo>
                <a:lnTo>
                  <a:pt x="11877" y="4225"/>
                </a:lnTo>
                <a:lnTo>
                  <a:pt x="11858" y="4233"/>
                </a:lnTo>
                <a:lnTo>
                  <a:pt x="11845" y="4258"/>
                </a:lnTo>
                <a:lnTo>
                  <a:pt x="11841" y="4291"/>
                </a:lnTo>
                <a:lnTo>
                  <a:pt x="11892" y="4310"/>
                </a:lnTo>
                <a:lnTo>
                  <a:pt x="11935" y="4310"/>
                </a:lnTo>
                <a:lnTo>
                  <a:pt x="11947" y="4290"/>
                </a:lnTo>
                <a:lnTo>
                  <a:pt x="11904" y="4249"/>
                </a:lnTo>
                <a:close/>
                <a:moveTo>
                  <a:pt x="11955" y="4275"/>
                </a:moveTo>
                <a:lnTo>
                  <a:pt x="11955" y="4275"/>
                </a:lnTo>
                <a:lnTo>
                  <a:pt x="11956" y="4275"/>
                </a:lnTo>
                <a:lnTo>
                  <a:pt x="11955" y="4275"/>
                </a:lnTo>
                <a:close/>
                <a:moveTo>
                  <a:pt x="11682" y="4788"/>
                </a:moveTo>
                <a:lnTo>
                  <a:pt x="11623" y="4817"/>
                </a:lnTo>
                <a:lnTo>
                  <a:pt x="11669" y="4850"/>
                </a:lnTo>
                <a:lnTo>
                  <a:pt x="11743" y="4860"/>
                </a:lnTo>
                <a:lnTo>
                  <a:pt x="11775" y="4822"/>
                </a:lnTo>
                <a:lnTo>
                  <a:pt x="11793" y="4816"/>
                </a:lnTo>
                <a:lnTo>
                  <a:pt x="11762" y="4816"/>
                </a:lnTo>
                <a:lnTo>
                  <a:pt x="11714" y="4811"/>
                </a:lnTo>
                <a:lnTo>
                  <a:pt x="11682" y="4788"/>
                </a:lnTo>
                <a:close/>
                <a:moveTo>
                  <a:pt x="11645" y="3954"/>
                </a:moveTo>
                <a:lnTo>
                  <a:pt x="11681" y="3951"/>
                </a:lnTo>
                <a:lnTo>
                  <a:pt x="11711" y="3917"/>
                </a:lnTo>
                <a:lnTo>
                  <a:pt x="11713" y="3881"/>
                </a:lnTo>
                <a:lnTo>
                  <a:pt x="11663" y="3876"/>
                </a:lnTo>
                <a:lnTo>
                  <a:pt x="11636" y="3884"/>
                </a:lnTo>
                <a:lnTo>
                  <a:pt x="11606" y="3879"/>
                </a:lnTo>
                <a:lnTo>
                  <a:pt x="11580" y="3880"/>
                </a:lnTo>
                <a:lnTo>
                  <a:pt x="11569" y="3909"/>
                </a:lnTo>
                <a:lnTo>
                  <a:pt x="11595" y="3907"/>
                </a:lnTo>
                <a:lnTo>
                  <a:pt x="11620" y="3908"/>
                </a:lnTo>
                <a:lnTo>
                  <a:pt x="11637" y="3922"/>
                </a:lnTo>
                <a:lnTo>
                  <a:pt x="11645" y="3954"/>
                </a:lnTo>
                <a:close/>
                <a:moveTo>
                  <a:pt x="11995" y="4005"/>
                </a:moveTo>
                <a:lnTo>
                  <a:pt x="11914" y="3984"/>
                </a:lnTo>
                <a:lnTo>
                  <a:pt x="11813" y="3972"/>
                </a:lnTo>
                <a:lnTo>
                  <a:pt x="11760" y="3976"/>
                </a:lnTo>
                <a:lnTo>
                  <a:pt x="11812" y="4001"/>
                </a:lnTo>
                <a:lnTo>
                  <a:pt x="11862" y="4004"/>
                </a:lnTo>
                <a:lnTo>
                  <a:pt x="11915" y="4021"/>
                </a:lnTo>
                <a:lnTo>
                  <a:pt x="11964" y="4030"/>
                </a:lnTo>
                <a:lnTo>
                  <a:pt x="11995" y="4005"/>
                </a:lnTo>
                <a:close/>
                <a:moveTo>
                  <a:pt x="11643" y="4387"/>
                </a:moveTo>
                <a:lnTo>
                  <a:pt x="11583" y="4371"/>
                </a:lnTo>
                <a:lnTo>
                  <a:pt x="11520" y="4357"/>
                </a:lnTo>
                <a:lnTo>
                  <a:pt x="11458" y="4349"/>
                </a:lnTo>
                <a:lnTo>
                  <a:pt x="11394" y="4351"/>
                </a:lnTo>
                <a:lnTo>
                  <a:pt x="11443" y="4380"/>
                </a:lnTo>
                <a:lnTo>
                  <a:pt x="11520" y="4402"/>
                </a:lnTo>
                <a:lnTo>
                  <a:pt x="11597" y="4407"/>
                </a:lnTo>
                <a:lnTo>
                  <a:pt x="11643" y="4387"/>
                </a:lnTo>
                <a:close/>
                <a:moveTo>
                  <a:pt x="669" y="1255"/>
                </a:moveTo>
                <a:lnTo>
                  <a:pt x="656" y="1286"/>
                </a:lnTo>
                <a:lnTo>
                  <a:pt x="623" y="1297"/>
                </a:lnTo>
                <a:lnTo>
                  <a:pt x="591" y="1308"/>
                </a:lnTo>
                <a:lnTo>
                  <a:pt x="584" y="1333"/>
                </a:lnTo>
                <a:lnTo>
                  <a:pt x="661" y="1332"/>
                </a:lnTo>
                <a:lnTo>
                  <a:pt x="730" y="1304"/>
                </a:lnTo>
                <a:lnTo>
                  <a:pt x="745" y="1272"/>
                </a:lnTo>
                <a:lnTo>
                  <a:pt x="669" y="1255"/>
                </a:lnTo>
                <a:close/>
                <a:moveTo>
                  <a:pt x="533" y="2508"/>
                </a:moveTo>
                <a:lnTo>
                  <a:pt x="598" y="2486"/>
                </a:lnTo>
                <a:lnTo>
                  <a:pt x="594" y="2470"/>
                </a:lnTo>
                <a:lnTo>
                  <a:pt x="538" y="2458"/>
                </a:lnTo>
                <a:lnTo>
                  <a:pt x="443" y="2457"/>
                </a:lnTo>
                <a:lnTo>
                  <a:pt x="420" y="2423"/>
                </a:lnTo>
                <a:lnTo>
                  <a:pt x="401" y="2439"/>
                </a:lnTo>
                <a:lnTo>
                  <a:pt x="375" y="2472"/>
                </a:lnTo>
                <a:lnTo>
                  <a:pt x="333" y="2485"/>
                </a:lnTo>
                <a:lnTo>
                  <a:pt x="347" y="2505"/>
                </a:lnTo>
                <a:lnTo>
                  <a:pt x="404" y="2505"/>
                </a:lnTo>
                <a:lnTo>
                  <a:pt x="477" y="2500"/>
                </a:lnTo>
                <a:lnTo>
                  <a:pt x="533" y="2508"/>
                </a:lnTo>
                <a:close/>
                <a:moveTo>
                  <a:pt x="11867" y="4350"/>
                </a:moveTo>
                <a:lnTo>
                  <a:pt x="11816" y="4305"/>
                </a:lnTo>
                <a:lnTo>
                  <a:pt x="11761" y="4247"/>
                </a:lnTo>
                <a:lnTo>
                  <a:pt x="11718" y="4220"/>
                </a:lnTo>
                <a:lnTo>
                  <a:pt x="11704" y="4271"/>
                </a:lnTo>
                <a:lnTo>
                  <a:pt x="11755" y="4298"/>
                </a:lnTo>
                <a:lnTo>
                  <a:pt x="11778" y="4347"/>
                </a:lnTo>
                <a:lnTo>
                  <a:pt x="11804" y="4379"/>
                </a:lnTo>
                <a:lnTo>
                  <a:pt x="11867" y="4350"/>
                </a:lnTo>
                <a:close/>
                <a:moveTo>
                  <a:pt x="11701" y="4221"/>
                </a:moveTo>
                <a:lnTo>
                  <a:pt x="11701" y="4221"/>
                </a:lnTo>
                <a:lnTo>
                  <a:pt x="11701" y="4221"/>
                </a:lnTo>
                <a:lnTo>
                  <a:pt x="11701" y="4220"/>
                </a:lnTo>
                <a:lnTo>
                  <a:pt x="11720" y="4206"/>
                </a:lnTo>
                <a:lnTo>
                  <a:pt x="11743" y="4193"/>
                </a:lnTo>
                <a:lnTo>
                  <a:pt x="11770" y="4186"/>
                </a:lnTo>
                <a:lnTo>
                  <a:pt x="11802" y="4182"/>
                </a:lnTo>
                <a:lnTo>
                  <a:pt x="11671" y="4159"/>
                </a:lnTo>
                <a:lnTo>
                  <a:pt x="11570" y="4158"/>
                </a:lnTo>
                <a:lnTo>
                  <a:pt x="11495" y="4178"/>
                </a:lnTo>
                <a:lnTo>
                  <a:pt x="11440" y="4217"/>
                </a:lnTo>
                <a:lnTo>
                  <a:pt x="11496" y="4257"/>
                </a:lnTo>
                <a:lnTo>
                  <a:pt x="11492" y="4272"/>
                </a:lnTo>
                <a:lnTo>
                  <a:pt x="11449" y="4280"/>
                </a:lnTo>
                <a:lnTo>
                  <a:pt x="11387" y="4298"/>
                </a:lnTo>
                <a:lnTo>
                  <a:pt x="11481" y="4322"/>
                </a:lnTo>
                <a:lnTo>
                  <a:pt x="11537" y="4331"/>
                </a:lnTo>
                <a:lnTo>
                  <a:pt x="11561" y="4312"/>
                </a:lnTo>
                <a:lnTo>
                  <a:pt x="11564" y="4248"/>
                </a:lnTo>
                <a:lnTo>
                  <a:pt x="11609" y="4267"/>
                </a:lnTo>
                <a:lnTo>
                  <a:pt x="11644" y="4263"/>
                </a:lnTo>
                <a:lnTo>
                  <a:pt x="11672" y="4245"/>
                </a:lnTo>
                <a:lnTo>
                  <a:pt x="11701" y="4221"/>
                </a:lnTo>
                <a:close/>
                <a:moveTo>
                  <a:pt x="11269" y="4295"/>
                </a:moveTo>
                <a:lnTo>
                  <a:pt x="11271" y="4294"/>
                </a:lnTo>
                <a:lnTo>
                  <a:pt x="11271" y="4294"/>
                </a:lnTo>
                <a:lnTo>
                  <a:pt x="11271" y="4294"/>
                </a:lnTo>
                <a:lnTo>
                  <a:pt x="11269" y="4295"/>
                </a:lnTo>
                <a:close/>
                <a:moveTo>
                  <a:pt x="11250" y="4365"/>
                </a:moveTo>
                <a:lnTo>
                  <a:pt x="11273" y="4399"/>
                </a:lnTo>
                <a:lnTo>
                  <a:pt x="11315" y="4411"/>
                </a:lnTo>
                <a:lnTo>
                  <a:pt x="11348" y="4399"/>
                </a:lnTo>
                <a:lnTo>
                  <a:pt x="11338" y="4368"/>
                </a:lnTo>
                <a:lnTo>
                  <a:pt x="11357" y="4338"/>
                </a:lnTo>
                <a:lnTo>
                  <a:pt x="11300" y="4308"/>
                </a:lnTo>
                <a:lnTo>
                  <a:pt x="11239" y="4307"/>
                </a:lnTo>
                <a:lnTo>
                  <a:pt x="11250" y="4365"/>
                </a:lnTo>
                <a:close/>
                <a:moveTo>
                  <a:pt x="11160" y="4537"/>
                </a:moveTo>
                <a:lnTo>
                  <a:pt x="11082" y="4524"/>
                </a:lnTo>
                <a:lnTo>
                  <a:pt x="10999" y="4511"/>
                </a:lnTo>
                <a:lnTo>
                  <a:pt x="10915" y="4497"/>
                </a:lnTo>
                <a:lnTo>
                  <a:pt x="10834" y="4485"/>
                </a:lnTo>
                <a:lnTo>
                  <a:pt x="10895" y="4532"/>
                </a:lnTo>
                <a:lnTo>
                  <a:pt x="10991" y="4559"/>
                </a:lnTo>
                <a:lnTo>
                  <a:pt x="11090" y="4561"/>
                </a:lnTo>
                <a:lnTo>
                  <a:pt x="11160" y="4537"/>
                </a:lnTo>
                <a:close/>
                <a:moveTo>
                  <a:pt x="572" y="1493"/>
                </a:moveTo>
                <a:lnTo>
                  <a:pt x="592" y="1546"/>
                </a:lnTo>
                <a:lnTo>
                  <a:pt x="670" y="1526"/>
                </a:lnTo>
                <a:lnTo>
                  <a:pt x="733" y="1483"/>
                </a:lnTo>
                <a:lnTo>
                  <a:pt x="707" y="1458"/>
                </a:lnTo>
                <a:lnTo>
                  <a:pt x="643" y="1478"/>
                </a:lnTo>
                <a:lnTo>
                  <a:pt x="567" y="1456"/>
                </a:lnTo>
                <a:lnTo>
                  <a:pt x="527" y="1444"/>
                </a:lnTo>
                <a:lnTo>
                  <a:pt x="572" y="1493"/>
                </a:lnTo>
                <a:close/>
                <a:moveTo>
                  <a:pt x="12064" y="3853"/>
                </a:moveTo>
                <a:lnTo>
                  <a:pt x="11983" y="3836"/>
                </a:lnTo>
                <a:lnTo>
                  <a:pt x="11904" y="3818"/>
                </a:lnTo>
                <a:lnTo>
                  <a:pt x="11849" y="3823"/>
                </a:lnTo>
                <a:lnTo>
                  <a:pt x="11839" y="3876"/>
                </a:lnTo>
                <a:lnTo>
                  <a:pt x="11921" y="3874"/>
                </a:lnTo>
                <a:lnTo>
                  <a:pt x="12018" y="3886"/>
                </a:lnTo>
                <a:lnTo>
                  <a:pt x="12082" y="3888"/>
                </a:lnTo>
                <a:lnTo>
                  <a:pt x="12064" y="3853"/>
                </a:lnTo>
                <a:close/>
                <a:moveTo>
                  <a:pt x="11983" y="3892"/>
                </a:moveTo>
                <a:lnTo>
                  <a:pt x="11910" y="3904"/>
                </a:lnTo>
                <a:lnTo>
                  <a:pt x="11811" y="3902"/>
                </a:lnTo>
                <a:lnTo>
                  <a:pt x="11751" y="3904"/>
                </a:lnTo>
                <a:lnTo>
                  <a:pt x="11798" y="3931"/>
                </a:lnTo>
                <a:lnTo>
                  <a:pt x="11879" y="3949"/>
                </a:lnTo>
                <a:lnTo>
                  <a:pt x="11969" y="3965"/>
                </a:lnTo>
                <a:lnTo>
                  <a:pt x="12018" y="3955"/>
                </a:lnTo>
                <a:lnTo>
                  <a:pt x="11983" y="3892"/>
                </a:lnTo>
                <a:close/>
                <a:moveTo>
                  <a:pt x="12021" y="3945"/>
                </a:moveTo>
                <a:lnTo>
                  <a:pt x="12021" y="3944"/>
                </a:lnTo>
                <a:lnTo>
                  <a:pt x="12021" y="3945"/>
                </a:lnTo>
                <a:lnTo>
                  <a:pt x="12022" y="3945"/>
                </a:lnTo>
                <a:lnTo>
                  <a:pt x="12021" y="3945"/>
                </a:lnTo>
                <a:close/>
                <a:moveTo>
                  <a:pt x="991" y="3693"/>
                </a:moveTo>
                <a:lnTo>
                  <a:pt x="963" y="3660"/>
                </a:lnTo>
                <a:lnTo>
                  <a:pt x="913" y="3710"/>
                </a:lnTo>
                <a:lnTo>
                  <a:pt x="890" y="3774"/>
                </a:lnTo>
                <a:lnTo>
                  <a:pt x="948" y="3788"/>
                </a:lnTo>
                <a:lnTo>
                  <a:pt x="997" y="3787"/>
                </a:lnTo>
                <a:lnTo>
                  <a:pt x="1027" y="3722"/>
                </a:lnTo>
                <a:lnTo>
                  <a:pt x="1027" y="3665"/>
                </a:lnTo>
                <a:lnTo>
                  <a:pt x="991" y="3693"/>
                </a:lnTo>
                <a:close/>
                <a:moveTo>
                  <a:pt x="10862" y="4426"/>
                </a:moveTo>
                <a:lnTo>
                  <a:pt x="10782" y="4406"/>
                </a:lnTo>
                <a:lnTo>
                  <a:pt x="10820" y="4436"/>
                </a:lnTo>
                <a:lnTo>
                  <a:pt x="10915" y="4476"/>
                </a:lnTo>
                <a:lnTo>
                  <a:pt x="11010" y="4477"/>
                </a:lnTo>
                <a:lnTo>
                  <a:pt x="10983" y="4429"/>
                </a:lnTo>
                <a:lnTo>
                  <a:pt x="10992" y="4410"/>
                </a:lnTo>
                <a:lnTo>
                  <a:pt x="11026" y="4406"/>
                </a:lnTo>
                <a:lnTo>
                  <a:pt x="11078" y="4402"/>
                </a:lnTo>
                <a:lnTo>
                  <a:pt x="11022" y="4374"/>
                </a:lnTo>
                <a:lnTo>
                  <a:pt x="10965" y="4394"/>
                </a:lnTo>
                <a:lnTo>
                  <a:pt x="10912" y="4425"/>
                </a:lnTo>
                <a:lnTo>
                  <a:pt x="10862" y="4426"/>
                </a:lnTo>
                <a:close/>
                <a:moveTo>
                  <a:pt x="11883" y="4552"/>
                </a:moveTo>
                <a:lnTo>
                  <a:pt x="11883" y="4555"/>
                </a:lnTo>
                <a:lnTo>
                  <a:pt x="11883" y="4555"/>
                </a:lnTo>
                <a:lnTo>
                  <a:pt x="11883" y="4553"/>
                </a:lnTo>
                <a:lnTo>
                  <a:pt x="11883" y="4552"/>
                </a:lnTo>
                <a:lnTo>
                  <a:pt x="11897" y="4553"/>
                </a:lnTo>
                <a:lnTo>
                  <a:pt x="11901" y="4555"/>
                </a:lnTo>
                <a:lnTo>
                  <a:pt x="11897" y="4555"/>
                </a:lnTo>
                <a:lnTo>
                  <a:pt x="11883" y="4552"/>
                </a:lnTo>
                <a:close/>
                <a:moveTo>
                  <a:pt x="12079" y="4562"/>
                </a:moveTo>
                <a:lnTo>
                  <a:pt x="12037" y="4546"/>
                </a:lnTo>
                <a:lnTo>
                  <a:pt x="11993" y="4548"/>
                </a:lnTo>
                <a:lnTo>
                  <a:pt x="11949" y="4556"/>
                </a:lnTo>
                <a:lnTo>
                  <a:pt x="11911" y="4556"/>
                </a:lnTo>
                <a:lnTo>
                  <a:pt x="11913" y="4523"/>
                </a:lnTo>
                <a:lnTo>
                  <a:pt x="11848" y="4520"/>
                </a:lnTo>
                <a:lnTo>
                  <a:pt x="11772" y="4538"/>
                </a:lnTo>
                <a:lnTo>
                  <a:pt x="11746" y="4566"/>
                </a:lnTo>
                <a:lnTo>
                  <a:pt x="11879" y="4593"/>
                </a:lnTo>
                <a:lnTo>
                  <a:pt x="12053" y="4613"/>
                </a:lnTo>
                <a:lnTo>
                  <a:pt x="12155" y="4609"/>
                </a:lnTo>
                <a:lnTo>
                  <a:pt x="12079" y="4562"/>
                </a:lnTo>
                <a:close/>
                <a:moveTo>
                  <a:pt x="11301" y="4531"/>
                </a:moveTo>
                <a:lnTo>
                  <a:pt x="11319" y="4518"/>
                </a:lnTo>
                <a:lnTo>
                  <a:pt x="11350" y="4511"/>
                </a:lnTo>
                <a:lnTo>
                  <a:pt x="11389" y="4509"/>
                </a:lnTo>
                <a:lnTo>
                  <a:pt x="11435" y="4511"/>
                </a:lnTo>
                <a:lnTo>
                  <a:pt x="11435" y="4513"/>
                </a:lnTo>
                <a:lnTo>
                  <a:pt x="11435" y="4514"/>
                </a:lnTo>
                <a:lnTo>
                  <a:pt x="11436" y="4514"/>
                </a:lnTo>
                <a:lnTo>
                  <a:pt x="11439" y="4514"/>
                </a:lnTo>
                <a:lnTo>
                  <a:pt x="11440" y="4513"/>
                </a:lnTo>
                <a:lnTo>
                  <a:pt x="11440" y="4511"/>
                </a:lnTo>
                <a:lnTo>
                  <a:pt x="11537" y="4523"/>
                </a:lnTo>
                <a:lnTo>
                  <a:pt x="11606" y="4533"/>
                </a:lnTo>
                <a:lnTo>
                  <a:pt x="11608" y="4533"/>
                </a:lnTo>
                <a:lnTo>
                  <a:pt x="11511" y="4510"/>
                </a:lnTo>
                <a:lnTo>
                  <a:pt x="11412" y="4455"/>
                </a:lnTo>
                <a:lnTo>
                  <a:pt x="11303" y="4459"/>
                </a:lnTo>
                <a:lnTo>
                  <a:pt x="11184" y="4472"/>
                </a:lnTo>
                <a:lnTo>
                  <a:pt x="11059" y="4450"/>
                </a:lnTo>
                <a:lnTo>
                  <a:pt x="11067" y="4481"/>
                </a:lnTo>
                <a:lnTo>
                  <a:pt x="11140" y="4499"/>
                </a:lnTo>
                <a:lnTo>
                  <a:pt x="11233" y="4513"/>
                </a:lnTo>
                <a:lnTo>
                  <a:pt x="11301" y="4531"/>
                </a:lnTo>
                <a:close/>
                <a:moveTo>
                  <a:pt x="584" y="3945"/>
                </a:moveTo>
                <a:lnTo>
                  <a:pt x="576" y="3946"/>
                </a:lnTo>
                <a:lnTo>
                  <a:pt x="573" y="3942"/>
                </a:lnTo>
                <a:lnTo>
                  <a:pt x="577" y="3939"/>
                </a:lnTo>
                <a:lnTo>
                  <a:pt x="585" y="3940"/>
                </a:lnTo>
                <a:lnTo>
                  <a:pt x="584" y="3942"/>
                </a:lnTo>
                <a:lnTo>
                  <a:pt x="584" y="3945"/>
                </a:lnTo>
                <a:close/>
                <a:moveTo>
                  <a:pt x="819" y="3996"/>
                </a:moveTo>
                <a:lnTo>
                  <a:pt x="823" y="3998"/>
                </a:lnTo>
                <a:lnTo>
                  <a:pt x="820" y="4000"/>
                </a:lnTo>
                <a:lnTo>
                  <a:pt x="819" y="4000"/>
                </a:lnTo>
                <a:lnTo>
                  <a:pt x="818" y="3998"/>
                </a:lnTo>
                <a:lnTo>
                  <a:pt x="819" y="3996"/>
                </a:lnTo>
                <a:close/>
                <a:moveTo>
                  <a:pt x="862" y="4010"/>
                </a:moveTo>
                <a:lnTo>
                  <a:pt x="869" y="4011"/>
                </a:lnTo>
                <a:lnTo>
                  <a:pt x="862" y="4010"/>
                </a:lnTo>
                <a:lnTo>
                  <a:pt x="867" y="4005"/>
                </a:lnTo>
                <a:lnTo>
                  <a:pt x="862" y="4010"/>
                </a:lnTo>
                <a:close/>
                <a:moveTo>
                  <a:pt x="882" y="4015"/>
                </a:moveTo>
                <a:lnTo>
                  <a:pt x="916" y="3967"/>
                </a:lnTo>
                <a:lnTo>
                  <a:pt x="805" y="3940"/>
                </a:lnTo>
                <a:lnTo>
                  <a:pt x="645" y="3921"/>
                </a:lnTo>
                <a:lnTo>
                  <a:pt x="525" y="3895"/>
                </a:lnTo>
                <a:lnTo>
                  <a:pt x="555" y="3964"/>
                </a:lnTo>
                <a:lnTo>
                  <a:pt x="657" y="4000"/>
                </a:lnTo>
                <a:lnTo>
                  <a:pt x="782" y="4012"/>
                </a:lnTo>
                <a:lnTo>
                  <a:pt x="882" y="4015"/>
                </a:lnTo>
                <a:close/>
                <a:moveTo>
                  <a:pt x="11663" y="4187"/>
                </a:moveTo>
                <a:lnTo>
                  <a:pt x="11660" y="4184"/>
                </a:lnTo>
                <a:lnTo>
                  <a:pt x="11659" y="4183"/>
                </a:lnTo>
                <a:lnTo>
                  <a:pt x="11660" y="4180"/>
                </a:lnTo>
                <a:lnTo>
                  <a:pt x="11663" y="4179"/>
                </a:lnTo>
                <a:lnTo>
                  <a:pt x="11666" y="4182"/>
                </a:lnTo>
                <a:lnTo>
                  <a:pt x="11667" y="4183"/>
                </a:lnTo>
                <a:lnTo>
                  <a:pt x="11667" y="4186"/>
                </a:lnTo>
                <a:lnTo>
                  <a:pt x="11663" y="4187"/>
                </a:lnTo>
                <a:close/>
                <a:moveTo>
                  <a:pt x="11646" y="4225"/>
                </a:moveTo>
                <a:lnTo>
                  <a:pt x="11644" y="4224"/>
                </a:lnTo>
                <a:lnTo>
                  <a:pt x="11643" y="4222"/>
                </a:lnTo>
                <a:lnTo>
                  <a:pt x="11643" y="4220"/>
                </a:lnTo>
                <a:lnTo>
                  <a:pt x="11644" y="4217"/>
                </a:lnTo>
                <a:lnTo>
                  <a:pt x="11648" y="4220"/>
                </a:lnTo>
                <a:lnTo>
                  <a:pt x="11650" y="4221"/>
                </a:lnTo>
                <a:lnTo>
                  <a:pt x="11650" y="4222"/>
                </a:lnTo>
                <a:lnTo>
                  <a:pt x="11646" y="4225"/>
                </a:lnTo>
                <a:close/>
                <a:moveTo>
                  <a:pt x="11607" y="4186"/>
                </a:moveTo>
                <a:lnTo>
                  <a:pt x="11597" y="4188"/>
                </a:lnTo>
                <a:lnTo>
                  <a:pt x="11592" y="4186"/>
                </a:lnTo>
                <a:lnTo>
                  <a:pt x="11593" y="4180"/>
                </a:lnTo>
                <a:lnTo>
                  <a:pt x="11599" y="4174"/>
                </a:lnTo>
                <a:lnTo>
                  <a:pt x="11607" y="4173"/>
                </a:lnTo>
                <a:lnTo>
                  <a:pt x="11612" y="4175"/>
                </a:lnTo>
                <a:lnTo>
                  <a:pt x="11612" y="4180"/>
                </a:lnTo>
                <a:lnTo>
                  <a:pt x="11607" y="4186"/>
                </a:lnTo>
                <a:close/>
                <a:moveTo>
                  <a:pt x="11579" y="4202"/>
                </a:moveTo>
                <a:lnTo>
                  <a:pt x="11578" y="4197"/>
                </a:lnTo>
                <a:lnTo>
                  <a:pt x="11579" y="4193"/>
                </a:lnTo>
                <a:lnTo>
                  <a:pt x="11583" y="4191"/>
                </a:lnTo>
                <a:lnTo>
                  <a:pt x="11588" y="4189"/>
                </a:lnTo>
                <a:lnTo>
                  <a:pt x="11587" y="4193"/>
                </a:lnTo>
                <a:lnTo>
                  <a:pt x="11584" y="4197"/>
                </a:lnTo>
                <a:lnTo>
                  <a:pt x="11581" y="4200"/>
                </a:lnTo>
                <a:lnTo>
                  <a:pt x="11579" y="4202"/>
                </a:lnTo>
                <a:close/>
                <a:moveTo>
                  <a:pt x="7884" y="4402"/>
                </a:moveTo>
                <a:lnTo>
                  <a:pt x="7884" y="4401"/>
                </a:lnTo>
                <a:lnTo>
                  <a:pt x="7883" y="4402"/>
                </a:lnTo>
                <a:lnTo>
                  <a:pt x="7884" y="4402"/>
                </a:lnTo>
                <a:lnTo>
                  <a:pt x="7884" y="4402"/>
                </a:lnTo>
                <a:close/>
                <a:moveTo>
                  <a:pt x="418" y="1720"/>
                </a:moveTo>
                <a:lnTo>
                  <a:pt x="412" y="1734"/>
                </a:lnTo>
                <a:lnTo>
                  <a:pt x="405" y="1739"/>
                </a:lnTo>
                <a:lnTo>
                  <a:pt x="396" y="1738"/>
                </a:lnTo>
                <a:lnTo>
                  <a:pt x="381" y="1729"/>
                </a:lnTo>
                <a:lnTo>
                  <a:pt x="389" y="1720"/>
                </a:lnTo>
                <a:lnTo>
                  <a:pt x="398" y="1716"/>
                </a:lnTo>
                <a:lnTo>
                  <a:pt x="408" y="1716"/>
                </a:lnTo>
                <a:lnTo>
                  <a:pt x="418" y="1720"/>
                </a:lnTo>
                <a:close/>
                <a:moveTo>
                  <a:pt x="303" y="1898"/>
                </a:moveTo>
                <a:lnTo>
                  <a:pt x="316" y="1949"/>
                </a:lnTo>
                <a:lnTo>
                  <a:pt x="329" y="1969"/>
                </a:lnTo>
                <a:lnTo>
                  <a:pt x="356" y="1977"/>
                </a:lnTo>
                <a:lnTo>
                  <a:pt x="409" y="1986"/>
                </a:lnTo>
                <a:lnTo>
                  <a:pt x="390" y="1925"/>
                </a:lnTo>
                <a:lnTo>
                  <a:pt x="354" y="1871"/>
                </a:lnTo>
                <a:lnTo>
                  <a:pt x="348" y="1838"/>
                </a:lnTo>
                <a:lnTo>
                  <a:pt x="417" y="1838"/>
                </a:lnTo>
                <a:lnTo>
                  <a:pt x="457" y="1836"/>
                </a:lnTo>
                <a:lnTo>
                  <a:pt x="443" y="1826"/>
                </a:lnTo>
                <a:lnTo>
                  <a:pt x="417" y="1791"/>
                </a:lnTo>
                <a:lnTo>
                  <a:pt x="419" y="1720"/>
                </a:lnTo>
                <a:lnTo>
                  <a:pt x="417" y="1647"/>
                </a:lnTo>
                <a:lnTo>
                  <a:pt x="363" y="1607"/>
                </a:lnTo>
                <a:lnTo>
                  <a:pt x="316" y="1621"/>
                </a:lnTo>
                <a:lnTo>
                  <a:pt x="331" y="1708"/>
                </a:lnTo>
                <a:lnTo>
                  <a:pt x="308" y="1743"/>
                </a:lnTo>
                <a:lnTo>
                  <a:pt x="286" y="1789"/>
                </a:lnTo>
                <a:lnTo>
                  <a:pt x="279" y="1842"/>
                </a:lnTo>
                <a:lnTo>
                  <a:pt x="303" y="1898"/>
                </a:lnTo>
                <a:close/>
                <a:moveTo>
                  <a:pt x="11227" y="4314"/>
                </a:moveTo>
                <a:lnTo>
                  <a:pt x="11227" y="4314"/>
                </a:lnTo>
                <a:lnTo>
                  <a:pt x="11229" y="4313"/>
                </a:lnTo>
                <a:lnTo>
                  <a:pt x="11227" y="4313"/>
                </a:lnTo>
                <a:lnTo>
                  <a:pt x="11227" y="4314"/>
                </a:lnTo>
                <a:close/>
                <a:moveTo>
                  <a:pt x="6875" y="3911"/>
                </a:moveTo>
                <a:lnTo>
                  <a:pt x="6875" y="3911"/>
                </a:lnTo>
                <a:lnTo>
                  <a:pt x="6873" y="3912"/>
                </a:lnTo>
                <a:lnTo>
                  <a:pt x="6875" y="3911"/>
                </a:lnTo>
                <a:close/>
                <a:moveTo>
                  <a:pt x="11182" y="2656"/>
                </a:moveTo>
                <a:lnTo>
                  <a:pt x="11182" y="2656"/>
                </a:lnTo>
                <a:lnTo>
                  <a:pt x="11180" y="2656"/>
                </a:lnTo>
                <a:lnTo>
                  <a:pt x="11182" y="2656"/>
                </a:lnTo>
                <a:close/>
                <a:moveTo>
                  <a:pt x="11506" y="5826"/>
                </a:moveTo>
                <a:lnTo>
                  <a:pt x="11504" y="5833"/>
                </a:lnTo>
                <a:lnTo>
                  <a:pt x="11506" y="5838"/>
                </a:lnTo>
                <a:lnTo>
                  <a:pt x="11511" y="5840"/>
                </a:lnTo>
                <a:lnTo>
                  <a:pt x="11518" y="5840"/>
                </a:lnTo>
                <a:lnTo>
                  <a:pt x="11522" y="5831"/>
                </a:lnTo>
                <a:lnTo>
                  <a:pt x="11520" y="5823"/>
                </a:lnTo>
                <a:lnTo>
                  <a:pt x="11514" y="5821"/>
                </a:lnTo>
                <a:lnTo>
                  <a:pt x="11506" y="5826"/>
                </a:lnTo>
                <a:close/>
                <a:moveTo>
                  <a:pt x="11560" y="5828"/>
                </a:moveTo>
                <a:lnTo>
                  <a:pt x="11548" y="5844"/>
                </a:lnTo>
                <a:lnTo>
                  <a:pt x="11570" y="5852"/>
                </a:lnTo>
                <a:lnTo>
                  <a:pt x="11592" y="5848"/>
                </a:lnTo>
                <a:lnTo>
                  <a:pt x="11588" y="5826"/>
                </a:lnTo>
                <a:lnTo>
                  <a:pt x="11581" y="5824"/>
                </a:lnTo>
                <a:lnTo>
                  <a:pt x="11574" y="5824"/>
                </a:lnTo>
                <a:lnTo>
                  <a:pt x="11566" y="5826"/>
                </a:lnTo>
                <a:lnTo>
                  <a:pt x="11560" y="5828"/>
                </a:lnTo>
                <a:close/>
                <a:moveTo>
                  <a:pt x="11024" y="5698"/>
                </a:moveTo>
                <a:lnTo>
                  <a:pt x="11038" y="5755"/>
                </a:lnTo>
                <a:lnTo>
                  <a:pt x="11099" y="5777"/>
                </a:lnTo>
                <a:lnTo>
                  <a:pt x="11183" y="5784"/>
                </a:lnTo>
                <a:lnTo>
                  <a:pt x="11262" y="5800"/>
                </a:lnTo>
                <a:lnTo>
                  <a:pt x="11207" y="5758"/>
                </a:lnTo>
                <a:lnTo>
                  <a:pt x="11146" y="5711"/>
                </a:lnTo>
                <a:lnTo>
                  <a:pt x="11084" y="5683"/>
                </a:lnTo>
                <a:lnTo>
                  <a:pt x="11024" y="5698"/>
                </a:lnTo>
                <a:close/>
                <a:moveTo>
                  <a:pt x="11878" y="4902"/>
                </a:moveTo>
                <a:lnTo>
                  <a:pt x="11878" y="4904"/>
                </a:lnTo>
                <a:lnTo>
                  <a:pt x="11878" y="4904"/>
                </a:lnTo>
                <a:lnTo>
                  <a:pt x="11878" y="4902"/>
                </a:lnTo>
                <a:close/>
                <a:moveTo>
                  <a:pt x="11829" y="5257"/>
                </a:moveTo>
                <a:lnTo>
                  <a:pt x="11822" y="5248"/>
                </a:lnTo>
                <a:lnTo>
                  <a:pt x="11821" y="5241"/>
                </a:lnTo>
                <a:lnTo>
                  <a:pt x="11825" y="5236"/>
                </a:lnTo>
                <a:lnTo>
                  <a:pt x="11834" y="5231"/>
                </a:lnTo>
                <a:lnTo>
                  <a:pt x="11840" y="5238"/>
                </a:lnTo>
                <a:lnTo>
                  <a:pt x="11841" y="5245"/>
                </a:lnTo>
                <a:lnTo>
                  <a:pt x="11837" y="5251"/>
                </a:lnTo>
                <a:lnTo>
                  <a:pt x="11829" y="5257"/>
                </a:lnTo>
                <a:close/>
                <a:moveTo>
                  <a:pt x="11767" y="5481"/>
                </a:moveTo>
                <a:lnTo>
                  <a:pt x="11727" y="5478"/>
                </a:lnTo>
                <a:lnTo>
                  <a:pt x="11704" y="5458"/>
                </a:lnTo>
                <a:lnTo>
                  <a:pt x="11709" y="5436"/>
                </a:lnTo>
                <a:lnTo>
                  <a:pt x="11748" y="5424"/>
                </a:lnTo>
                <a:lnTo>
                  <a:pt x="11746" y="5447"/>
                </a:lnTo>
                <a:lnTo>
                  <a:pt x="11774" y="5455"/>
                </a:lnTo>
                <a:lnTo>
                  <a:pt x="11793" y="5462"/>
                </a:lnTo>
                <a:lnTo>
                  <a:pt x="11767" y="5481"/>
                </a:lnTo>
                <a:close/>
                <a:moveTo>
                  <a:pt x="11687" y="5339"/>
                </a:moveTo>
                <a:lnTo>
                  <a:pt x="11696" y="5334"/>
                </a:lnTo>
                <a:lnTo>
                  <a:pt x="11704" y="5329"/>
                </a:lnTo>
                <a:lnTo>
                  <a:pt x="11711" y="5329"/>
                </a:lnTo>
                <a:lnTo>
                  <a:pt x="11720" y="5335"/>
                </a:lnTo>
                <a:lnTo>
                  <a:pt x="11713" y="5345"/>
                </a:lnTo>
                <a:lnTo>
                  <a:pt x="11702" y="5352"/>
                </a:lnTo>
                <a:lnTo>
                  <a:pt x="11692" y="5350"/>
                </a:lnTo>
                <a:lnTo>
                  <a:pt x="11687" y="5339"/>
                </a:lnTo>
                <a:close/>
                <a:moveTo>
                  <a:pt x="11629" y="5273"/>
                </a:moveTo>
                <a:lnTo>
                  <a:pt x="11668" y="5257"/>
                </a:lnTo>
                <a:lnTo>
                  <a:pt x="11704" y="5259"/>
                </a:lnTo>
                <a:lnTo>
                  <a:pt x="11727" y="5275"/>
                </a:lnTo>
                <a:lnTo>
                  <a:pt x="11730" y="5307"/>
                </a:lnTo>
                <a:lnTo>
                  <a:pt x="11709" y="5290"/>
                </a:lnTo>
                <a:lnTo>
                  <a:pt x="11686" y="5279"/>
                </a:lnTo>
                <a:lnTo>
                  <a:pt x="11659" y="5273"/>
                </a:lnTo>
                <a:lnTo>
                  <a:pt x="11629" y="5273"/>
                </a:lnTo>
                <a:close/>
                <a:moveTo>
                  <a:pt x="11641" y="5683"/>
                </a:moveTo>
                <a:lnTo>
                  <a:pt x="11645" y="5680"/>
                </a:lnTo>
                <a:lnTo>
                  <a:pt x="11650" y="5680"/>
                </a:lnTo>
                <a:lnTo>
                  <a:pt x="11655" y="5681"/>
                </a:lnTo>
                <a:lnTo>
                  <a:pt x="11660" y="5681"/>
                </a:lnTo>
                <a:lnTo>
                  <a:pt x="11655" y="5685"/>
                </a:lnTo>
                <a:lnTo>
                  <a:pt x="11650" y="5689"/>
                </a:lnTo>
                <a:lnTo>
                  <a:pt x="11646" y="5688"/>
                </a:lnTo>
                <a:lnTo>
                  <a:pt x="11641" y="5683"/>
                </a:lnTo>
                <a:close/>
                <a:moveTo>
                  <a:pt x="11604" y="5551"/>
                </a:moveTo>
                <a:lnTo>
                  <a:pt x="11620" y="5532"/>
                </a:lnTo>
                <a:lnTo>
                  <a:pt x="11632" y="5529"/>
                </a:lnTo>
                <a:lnTo>
                  <a:pt x="11644" y="5535"/>
                </a:lnTo>
                <a:lnTo>
                  <a:pt x="11657" y="5551"/>
                </a:lnTo>
                <a:lnTo>
                  <a:pt x="11646" y="5551"/>
                </a:lnTo>
                <a:lnTo>
                  <a:pt x="11634" y="5551"/>
                </a:lnTo>
                <a:lnTo>
                  <a:pt x="11621" y="5551"/>
                </a:lnTo>
                <a:lnTo>
                  <a:pt x="11604" y="5551"/>
                </a:lnTo>
                <a:close/>
                <a:moveTo>
                  <a:pt x="11556" y="5422"/>
                </a:moveTo>
                <a:lnTo>
                  <a:pt x="11573" y="5405"/>
                </a:lnTo>
                <a:lnTo>
                  <a:pt x="11589" y="5410"/>
                </a:lnTo>
                <a:lnTo>
                  <a:pt x="11606" y="5427"/>
                </a:lnTo>
                <a:lnTo>
                  <a:pt x="11622" y="5446"/>
                </a:lnTo>
                <a:lnTo>
                  <a:pt x="11601" y="5444"/>
                </a:lnTo>
                <a:lnTo>
                  <a:pt x="11583" y="5441"/>
                </a:lnTo>
                <a:lnTo>
                  <a:pt x="11567" y="5434"/>
                </a:lnTo>
                <a:lnTo>
                  <a:pt x="11556" y="5422"/>
                </a:lnTo>
                <a:close/>
                <a:moveTo>
                  <a:pt x="11588" y="5666"/>
                </a:moveTo>
                <a:lnTo>
                  <a:pt x="11583" y="5661"/>
                </a:lnTo>
                <a:lnTo>
                  <a:pt x="11578" y="5656"/>
                </a:lnTo>
                <a:lnTo>
                  <a:pt x="11574" y="5651"/>
                </a:lnTo>
                <a:lnTo>
                  <a:pt x="11574" y="5643"/>
                </a:lnTo>
                <a:lnTo>
                  <a:pt x="11587" y="5644"/>
                </a:lnTo>
                <a:lnTo>
                  <a:pt x="11594" y="5649"/>
                </a:lnTo>
                <a:lnTo>
                  <a:pt x="11595" y="5658"/>
                </a:lnTo>
                <a:lnTo>
                  <a:pt x="11588" y="5666"/>
                </a:lnTo>
                <a:close/>
                <a:moveTo>
                  <a:pt x="11632" y="5343"/>
                </a:moveTo>
                <a:lnTo>
                  <a:pt x="11639" y="5338"/>
                </a:lnTo>
                <a:lnTo>
                  <a:pt x="11644" y="5338"/>
                </a:lnTo>
                <a:lnTo>
                  <a:pt x="11649" y="5341"/>
                </a:lnTo>
                <a:lnTo>
                  <a:pt x="11654" y="5346"/>
                </a:lnTo>
                <a:lnTo>
                  <a:pt x="11649" y="5352"/>
                </a:lnTo>
                <a:lnTo>
                  <a:pt x="11644" y="5352"/>
                </a:lnTo>
                <a:lnTo>
                  <a:pt x="11637" y="5348"/>
                </a:lnTo>
                <a:lnTo>
                  <a:pt x="11632" y="5343"/>
                </a:lnTo>
                <a:close/>
                <a:moveTo>
                  <a:pt x="11639" y="5408"/>
                </a:moveTo>
                <a:lnTo>
                  <a:pt x="11623" y="5411"/>
                </a:lnTo>
                <a:lnTo>
                  <a:pt x="11611" y="5411"/>
                </a:lnTo>
                <a:lnTo>
                  <a:pt x="11599" y="5409"/>
                </a:lnTo>
                <a:lnTo>
                  <a:pt x="11588" y="5406"/>
                </a:lnTo>
                <a:lnTo>
                  <a:pt x="11599" y="5401"/>
                </a:lnTo>
                <a:lnTo>
                  <a:pt x="11611" y="5400"/>
                </a:lnTo>
                <a:lnTo>
                  <a:pt x="11623" y="5402"/>
                </a:lnTo>
                <a:lnTo>
                  <a:pt x="11639" y="5408"/>
                </a:lnTo>
                <a:close/>
                <a:moveTo>
                  <a:pt x="11653" y="4949"/>
                </a:moveTo>
                <a:lnTo>
                  <a:pt x="11658" y="4953"/>
                </a:lnTo>
                <a:lnTo>
                  <a:pt x="11658" y="4956"/>
                </a:lnTo>
                <a:lnTo>
                  <a:pt x="11654" y="4956"/>
                </a:lnTo>
                <a:lnTo>
                  <a:pt x="11650" y="4952"/>
                </a:lnTo>
                <a:lnTo>
                  <a:pt x="11651" y="4951"/>
                </a:lnTo>
                <a:lnTo>
                  <a:pt x="11653" y="4949"/>
                </a:lnTo>
                <a:close/>
                <a:moveTo>
                  <a:pt x="11683" y="4918"/>
                </a:moveTo>
                <a:lnTo>
                  <a:pt x="11686" y="4919"/>
                </a:lnTo>
                <a:lnTo>
                  <a:pt x="11686" y="4921"/>
                </a:lnTo>
                <a:lnTo>
                  <a:pt x="11686" y="4923"/>
                </a:lnTo>
                <a:lnTo>
                  <a:pt x="11685" y="4925"/>
                </a:lnTo>
                <a:lnTo>
                  <a:pt x="11681" y="4924"/>
                </a:lnTo>
                <a:lnTo>
                  <a:pt x="11681" y="4923"/>
                </a:lnTo>
                <a:lnTo>
                  <a:pt x="11682" y="4920"/>
                </a:lnTo>
                <a:lnTo>
                  <a:pt x="11683" y="4918"/>
                </a:lnTo>
                <a:close/>
                <a:moveTo>
                  <a:pt x="11719" y="5145"/>
                </a:moveTo>
                <a:lnTo>
                  <a:pt x="11736" y="5154"/>
                </a:lnTo>
                <a:lnTo>
                  <a:pt x="11752" y="5163"/>
                </a:lnTo>
                <a:lnTo>
                  <a:pt x="11767" y="5171"/>
                </a:lnTo>
                <a:lnTo>
                  <a:pt x="11783" y="5180"/>
                </a:lnTo>
                <a:lnTo>
                  <a:pt x="11756" y="5181"/>
                </a:lnTo>
                <a:lnTo>
                  <a:pt x="11728" y="5181"/>
                </a:lnTo>
                <a:lnTo>
                  <a:pt x="11711" y="5171"/>
                </a:lnTo>
                <a:lnTo>
                  <a:pt x="11719" y="5145"/>
                </a:lnTo>
                <a:close/>
                <a:moveTo>
                  <a:pt x="11718" y="5101"/>
                </a:moveTo>
                <a:lnTo>
                  <a:pt x="11729" y="5108"/>
                </a:lnTo>
                <a:lnTo>
                  <a:pt x="11742" y="5116"/>
                </a:lnTo>
                <a:lnTo>
                  <a:pt x="11734" y="5128"/>
                </a:lnTo>
                <a:lnTo>
                  <a:pt x="11723" y="5125"/>
                </a:lnTo>
                <a:lnTo>
                  <a:pt x="11715" y="5114"/>
                </a:lnTo>
                <a:lnTo>
                  <a:pt x="11718" y="5101"/>
                </a:lnTo>
                <a:close/>
                <a:moveTo>
                  <a:pt x="11820" y="4996"/>
                </a:moveTo>
                <a:lnTo>
                  <a:pt x="11798" y="5003"/>
                </a:lnTo>
                <a:lnTo>
                  <a:pt x="11783" y="5004"/>
                </a:lnTo>
                <a:lnTo>
                  <a:pt x="11764" y="5000"/>
                </a:lnTo>
                <a:lnTo>
                  <a:pt x="11734" y="4990"/>
                </a:lnTo>
                <a:lnTo>
                  <a:pt x="11757" y="4991"/>
                </a:lnTo>
                <a:lnTo>
                  <a:pt x="11779" y="4993"/>
                </a:lnTo>
                <a:lnTo>
                  <a:pt x="11798" y="4993"/>
                </a:lnTo>
                <a:lnTo>
                  <a:pt x="11820" y="4996"/>
                </a:lnTo>
                <a:close/>
                <a:moveTo>
                  <a:pt x="11817" y="4949"/>
                </a:moveTo>
                <a:lnTo>
                  <a:pt x="11821" y="4953"/>
                </a:lnTo>
                <a:lnTo>
                  <a:pt x="11818" y="4954"/>
                </a:lnTo>
                <a:lnTo>
                  <a:pt x="11817" y="4954"/>
                </a:lnTo>
                <a:lnTo>
                  <a:pt x="11816" y="4953"/>
                </a:lnTo>
                <a:lnTo>
                  <a:pt x="11817" y="4949"/>
                </a:lnTo>
                <a:close/>
                <a:moveTo>
                  <a:pt x="11815" y="5366"/>
                </a:moveTo>
                <a:lnTo>
                  <a:pt x="11821" y="5362"/>
                </a:lnTo>
                <a:lnTo>
                  <a:pt x="11829" y="5359"/>
                </a:lnTo>
                <a:lnTo>
                  <a:pt x="11835" y="5360"/>
                </a:lnTo>
                <a:lnTo>
                  <a:pt x="11843" y="5366"/>
                </a:lnTo>
                <a:lnTo>
                  <a:pt x="11839" y="5376"/>
                </a:lnTo>
                <a:lnTo>
                  <a:pt x="11825" y="5378"/>
                </a:lnTo>
                <a:lnTo>
                  <a:pt x="11813" y="5374"/>
                </a:lnTo>
                <a:lnTo>
                  <a:pt x="11815" y="5366"/>
                </a:lnTo>
                <a:close/>
                <a:moveTo>
                  <a:pt x="11510" y="5539"/>
                </a:moveTo>
                <a:lnTo>
                  <a:pt x="11508" y="5523"/>
                </a:lnTo>
                <a:lnTo>
                  <a:pt x="11511" y="5517"/>
                </a:lnTo>
                <a:lnTo>
                  <a:pt x="11519" y="5515"/>
                </a:lnTo>
                <a:lnTo>
                  <a:pt x="11532" y="5512"/>
                </a:lnTo>
                <a:lnTo>
                  <a:pt x="11533" y="5521"/>
                </a:lnTo>
                <a:lnTo>
                  <a:pt x="11529" y="5527"/>
                </a:lnTo>
                <a:lnTo>
                  <a:pt x="11520" y="5532"/>
                </a:lnTo>
                <a:lnTo>
                  <a:pt x="11510" y="5539"/>
                </a:lnTo>
                <a:close/>
                <a:moveTo>
                  <a:pt x="11518" y="5658"/>
                </a:moveTo>
                <a:lnTo>
                  <a:pt x="11515" y="5658"/>
                </a:lnTo>
                <a:lnTo>
                  <a:pt x="11515" y="5656"/>
                </a:lnTo>
                <a:lnTo>
                  <a:pt x="11515" y="5653"/>
                </a:lnTo>
                <a:lnTo>
                  <a:pt x="11517" y="5651"/>
                </a:lnTo>
                <a:lnTo>
                  <a:pt x="11519" y="5652"/>
                </a:lnTo>
                <a:lnTo>
                  <a:pt x="11520" y="5655"/>
                </a:lnTo>
                <a:lnTo>
                  <a:pt x="11520" y="5656"/>
                </a:lnTo>
                <a:lnTo>
                  <a:pt x="11518" y="5658"/>
                </a:lnTo>
                <a:close/>
                <a:moveTo>
                  <a:pt x="11492" y="5415"/>
                </a:moveTo>
                <a:lnTo>
                  <a:pt x="11468" y="5414"/>
                </a:lnTo>
                <a:lnTo>
                  <a:pt x="11443" y="5414"/>
                </a:lnTo>
                <a:lnTo>
                  <a:pt x="11416" y="5408"/>
                </a:lnTo>
                <a:lnTo>
                  <a:pt x="11390" y="5390"/>
                </a:lnTo>
                <a:lnTo>
                  <a:pt x="11424" y="5387"/>
                </a:lnTo>
                <a:lnTo>
                  <a:pt x="11462" y="5390"/>
                </a:lnTo>
                <a:lnTo>
                  <a:pt x="11490" y="5399"/>
                </a:lnTo>
                <a:lnTo>
                  <a:pt x="11492" y="5415"/>
                </a:lnTo>
                <a:close/>
                <a:moveTo>
                  <a:pt x="11449" y="5502"/>
                </a:moveTo>
                <a:lnTo>
                  <a:pt x="11450" y="5499"/>
                </a:lnTo>
                <a:lnTo>
                  <a:pt x="11453" y="5499"/>
                </a:lnTo>
                <a:lnTo>
                  <a:pt x="11457" y="5501"/>
                </a:lnTo>
                <a:lnTo>
                  <a:pt x="11459" y="5503"/>
                </a:lnTo>
                <a:lnTo>
                  <a:pt x="11458" y="5507"/>
                </a:lnTo>
                <a:lnTo>
                  <a:pt x="11455" y="5507"/>
                </a:lnTo>
                <a:lnTo>
                  <a:pt x="11452" y="5504"/>
                </a:lnTo>
                <a:lnTo>
                  <a:pt x="11449" y="5502"/>
                </a:lnTo>
                <a:close/>
                <a:moveTo>
                  <a:pt x="11454" y="5648"/>
                </a:moveTo>
                <a:lnTo>
                  <a:pt x="11452" y="5647"/>
                </a:lnTo>
                <a:lnTo>
                  <a:pt x="11450" y="5644"/>
                </a:lnTo>
                <a:lnTo>
                  <a:pt x="11453" y="5638"/>
                </a:lnTo>
                <a:lnTo>
                  <a:pt x="11458" y="5639"/>
                </a:lnTo>
                <a:lnTo>
                  <a:pt x="11460" y="5644"/>
                </a:lnTo>
                <a:lnTo>
                  <a:pt x="11454" y="5648"/>
                </a:lnTo>
                <a:close/>
                <a:moveTo>
                  <a:pt x="11390" y="5451"/>
                </a:moveTo>
                <a:lnTo>
                  <a:pt x="11389" y="5450"/>
                </a:lnTo>
                <a:lnTo>
                  <a:pt x="11388" y="5447"/>
                </a:lnTo>
                <a:lnTo>
                  <a:pt x="11390" y="5443"/>
                </a:lnTo>
                <a:lnTo>
                  <a:pt x="11393" y="5446"/>
                </a:lnTo>
                <a:lnTo>
                  <a:pt x="11394" y="5450"/>
                </a:lnTo>
                <a:lnTo>
                  <a:pt x="11390" y="5451"/>
                </a:lnTo>
                <a:close/>
                <a:moveTo>
                  <a:pt x="11378" y="5003"/>
                </a:moveTo>
                <a:lnTo>
                  <a:pt x="11373" y="4999"/>
                </a:lnTo>
                <a:lnTo>
                  <a:pt x="11370" y="4995"/>
                </a:lnTo>
                <a:lnTo>
                  <a:pt x="11371" y="4993"/>
                </a:lnTo>
                <a:lnTo>
                  <a:pt x="11376" y="4989"/>
                </a:lnTo>
                <a:lnTo>
                  <a:pt x="11382" y="4991"/>
                </a:lnTo>
                <a:lnTo>
                  <a:pt x="11383" y="4995"/>
                </a:lnTo>
                <a:lnTo>
                  <a:pt x="11382" y="4999"/>
                </a:lnTo>
                <a:lnTo>
                  <a:pt x="11378" y="5003"/>
                </a:lnTo>
                <a:close/>
                <a:moveTo>
                  <a:pt x="11380" y="5501"/>
                </a:moveTo>
                <a:lnTo>
                  <a:pt x="11371" y="5513"/>
                </a:lnTo>
                <a:lnTo>
                  <a:pt x="11361" y="5515"/>
                </a:lnTo>
                <a:lnTo>
                  <a:pt x="11353" y="5507"/>
                </a:lnTo>
                <a:lnTo>
                  <a:pt x="11352" y="5492"/>
                </a:lnTo>
                <a:lnTo>
                  <a:pt x="11360" y="5481"/>
                </a:lnTo>
                <a:lnTo>
                  <a:pt x="11371" y="5480"/>
                </a:lnTo>
                <a:lnTo>
                  <a:pt x="11380" y="5488"/>
                </a:lnTo>
                <a:lnTo>
                  <a:pt x="11380" y="5501"/>
                </a:lnTo>
                <a:close/>
                <a:moveTo>
                  <a:pt x="11369" y="5796"/>
                </a:moveTo>
                <a:lnTo>
                  <a:pt x="11368" y="5792"/>
                </a:lnTo>
                <a:lnTo>
                  <a:pt x="11368" y="5788"/>
                </a:lnTo>
                <a:lnTo>
                  <a:pt x="11369" y="5787"/>
                </a:lnTo>
                <a:lnTo>
                  <a:pt x="11373" y="5787"/>
                </a:lnTo>
                <a:lnTo>
                  <a:pt x="11374" y="5791"/>
                </a:lnTo>
                <a:lnTo>
                  <a:pt x="11373" y="5792"/>
                </a:lnTo>
                <a:lnTo>
                  <a:pt x="11371" y="5795"/>
                </a:lnTo>
                <a:lnTo>
                  <a:pt x="11369" y="5796"/>
                </a:lnTo>
                <a:close/>
                <a:moveTo>
                  <a:pt x="11342" y="5723"/>
                </a:moveTo>
                <a:lnTo>
                  <a:pt x="11286" y="5721"/>
                </a:lnTo>
                <a:lnTo>
                  <a:pt x="11252" y="5707"/>
                </a:lnTo>
                <a:lnTo>
                  <a:pt x="11259" y="5693"/>
                </a:lnTo>
                <a:lnTo>
                  <a:pt x="11327" y="5693"/>
                </a:lnTo>
                <a:lnTo>
                  <a:pt x="11341" y="5695"/>
                </a:lnTo>
                <a:lnTo>
                  <a:pt x="11351" y="5704"/>
                </a:lnTo>
                <a:lnTo>
                  <a:pt x="11352" y="5714"/>
                </a:lnTo>
                <a:lnTo>
                  <a:pt x="11342" y="5723"/>
                </a:lnTo>
                <a:close/>
                <a:moveTo>
                  <a:pt x="11267" y="5605"/>
                </a:moveTo>
                <a:lnTo>
                  <a:pt x="11255" y="5614"/>
                </a:lnTo>
                <a:lnTo>
                  <a:pt x="11244" y="5621"/>
                </a:lnTo>
                <a:lnTo>
                  <a:pt x="11234" y="5620"/>
                </a:lnTo>
                <a:lnTo>
                  <a:pt x="11225" y="5605"/>
                </a:lnTo>
                <a:lnTo>
                  <a:pt x="11236" y="5605"/>
                </a:lnTo>
                <a:lnTo>
                  <a:pt x="11247" y="5605"/>
                </a:lnTo>
                <a:lnTo>
                  <a:pt x="11257" y="5605"/>
                </a:lnTo>
                <a:lnTo>
                  <a:pt x="11267" y="5605"/>
                </a:lnTo>
                <a:close/>
                <a:moveTo>
                  <a:pt x="11189" y="5447"/>
                </a:moveTo>
                <a:lnTo>
                  <a:pt x="11207" y="5443"/>
                </a:lnTo>
                <a:lnTo>
                  <a:pt x="11226" y="5448"/>
                </a:lnTo>
                <a:lnTo>
                  <a:pt x="11235" y="5461"/>
                </a:lnTo>
                <a:lnTo>
                  <a:pt x="11229" y="5478"/>
                </a:lnTo>
                <a:lnTo>
                  <a:pt x="11219" y="5470"/>
                </a:lnTo>
                <a:lnTo>
                  <a:pt x="11208" y="5462"/>
                </a:lnTo>
                <a:lnTo>
                  <a:pt x="11198" y="5455"/>
                </a:lnTo>
                <a:lnTo>
                  <a:pt x="11189" y="5447"/>
                </a:lnTo>
                <a:close/>
                <a:moveTo>
                  <a:pt x="11183" y="5562"/>
                </a:moveTo>
                <a:lnTo>
                  <a:pt x="11175" y="5560"/>
                </a:lnTo>
                <a:lnTo>
                  <a:pt x="11168" y="5559"/>
                </a:lnTo>
                <a:lnTo>
                  <a:pt x="11162" y="5555"/>
                </a:lnTo>
                <a:lnTo>
                  <a:pt x="11164" y="5550"/>
                </a:lnTo>
                <a:lnTo>
                  <a:pt x="11170" y="5551"/>
                </a:lnTo>
                <a:lnTo>
                  <a:pt x="11178" y="5553"/>
                </a:lnTo>
                <a:lnTo>
                  <a:pt x="11183" y="5555"/>
                </a:lnTo>
                <a:lnTo>
                  <a:pt x="11183" y="5562"/>
                </a:lnTo>
                <a:close/>
                <a:moveTo>
                  <a:pt x="11151" y="5126"/>
                </a:moveTo>
                <a:lnTo>
                  <a:pt x="11155" y="5121"/>
                </a:lnTo>
                <a:lnTo>
                  <a:pt x="11160" y="5121"/>
                </a:lnTo>
                <a:lnTo>
                  <a:pt x="11164" y="5124"/>
                </a:lnTo>
                <a:lnTo>
                  <a:pt x="11168" y="5130"/>
                </a:lnTo>
                <a:lnTo>
                  <a:pt x="11161" y="5133"/>
                </a:lnTo>
                <a:lnTo>
                  <a:pt x="11156" y="5134"/>
                </a:lnTo>
                <a:lnTo>
                  <a:pt x="11151" y="5133"/>
                </a:lnTo>
                <a:lnTo>
                  <a:pt x="11151" y="5126"/>
                </a:lnTo>
                <a:close/>
                <a:moveTo>
                  <a:pt x="11129" y="4934"/>
                </a:moveTo>
                <a:lnTo>
                  <a:pt x="11104" y="4926"/>
                </a:lnTo>
                <a:lnTo>
                  <a:pt x="11106" y="4915"/>
                </a:lnTo>
                <a:lnTo>
                  <a:pt x="11118" y="4896"/>
                </a:lnTo>
                <a:lnTo>
                  <a:pt x="11122" y="4869"/>
                </a:lnTo>
                <a:lnTo>
                  <a:pt x="11147" y="4876"/>
                </a:lnTo>
                <a:lnTo>
                  <a:pt x="11152" y="4892"/>
                </a:lnTo>
                <a:lnTo>
                  <a:pt x="11145" y="4914"/>
                </a:lnTo>
                <a:lnTo>
                  <a:pt x="11129" y="4934"/>
                </a:lnTo>
                <a:close/>
                <a:moveTo>
                  <a:pt x="11124" y="5238"/>
                </a:moveTo>
                <a:lnTo>
                  <a:pt x="11122" y="5237"/>
                </a:lnTo>
                <a:lnTo>
                  <a:pt x="11120" y="5234"/>
                </a:lnTo>
                <a:lnTo>
                  <a:pt x="11120" y="5233"/>
                </a:lnTo>
                <a:lnTo>
                  <a:pt x="11123" y="5231"/>
                </a:lnTo>
                <a:lnTo>
                  <a:pt x="11127" y="5231"/>
                </a:lnTo>
                <a:lnTo>
                  <a:pt x="11127" y="5233"/>
                </a:lnTo>
                <a:lnTo>
                  <a:pt x="11126" y="5236"/>
                </a:lnTo>
                <a:lnTo>
                  <a:pt x="11124" y="5238"/>
                </a:lnTo>
                <a:close/>
                <a:moveTo>
                  <a:pt x="11094" y="4954"/>
                </a:moveTo>
                <a:lnTo>
                  <a:pt x="11098" y="4953"/>
                </a:lnTo>
                <a:lnTo>
                  <a:pt x="11099" y="4953"/>
                </a:lnTo>
                <a:lnTo>
                  <a:pt x="11099" y="4954"/>
                </a:lnTo>
                <a:lnTo>
                  <a:pt x="11099" y="4957"/>
                </a:lnTo>
                <a:lnTo>
                  <a:pt x="11094" y="4954"/>
                </a:lnTo>
                <a:close/>
                <a:moveTo>
                  <a:pt x="11073" y="5066"/>
                </a:moveTo>
                <a:lnTo>
                  <a:pt x="10988" y="5094"/>
                </a:lnTo>
                <a:lnTo>
                  <a:pt x="10974" y="5074"/>
                </a:lnTo>
                <a:lnTo>
                  <a:pt x="10994" y="5017"/>
                </a:lnTo>
                <a:lnTo>
                  <a:pt x="11010" y="4935"/>
                </a:lnTo>
                <a:lnTo>
                  <a:pt x="11034" y="4979"/>
                </a:lnTo>
                <a:lnTo>
                  <a:pt x="11087" y="5009"/>
                </a:lnTo>
                <a:lnTo>
                  <a:pt x="11118" y="5035"/>
                </a:lnTo>
                <a:lnTo>
                  <a:pt x="11073" y="5066"/>
                </a:lnTo>
                <a:close/>
                <a:moveTo>
                  <a:pt x="11081" y="5140"/>
                </a:moveTo>
                <a:lnTo>
                  <a:pt x="11080" y="5131"/>
                </a:lnTo>
                <a:lnTo>
                  <a:pt x="11080" y="5122"/>
                </a:lnTo>
                <a:lnTo>
                  <a:pt x="11084" y="5116"/>
                </a:lnTo>
                <a:lnTo>
                  <a:pt x="11091" y="5110"/>
                </a:lnTo>
                <a:lnTo>
                  <a:pt x="11096" y="5120"/>
                </a:lnTo>
                <a:lnTo>
                  <a:pt x="11095" y="5129"/>
                </a:lnTo>
                <a:lnTo>
                  <a:pt x="11090" y="5135"/>
                </a:lnTo>
                <a:lnTo>
                  <a:pt x="11081" y="5140"/>
                </a:lnTo>
                <a:close/>
                <a:moveTo>
                  <a:pt x="11091" y="5571"/>
                </a:moveTo>
                <a:lnTo>
                  <a:pt x="11090" y="5569"/>
                </a:lnTo>
                <a:lnTo>
                  <a:pt x="11090" y="5567"/>
                </a:lnTo>
                <a:lnTo>
                  <a:pt x="11095" y="5565"/>
                </a:lnTo>
                <a:lnTo>
                  <a:pt x="11096" y="5569"/>
                </a:lnTo>
                <a:lnTo>
                  <a:pt x="11095" y="5572"/>
                </a:lnTo>
                <a:lnTo>
                  <a:pt x="11091" y="5571"/>
                </a:lnTo>
                <a:close/>
                <a:moveTo>
                  <a:pt x="11076" y="5439"/>
                </a:moveTo>
                <a:lnTo>
                  <a:pt x="11059" y="5450"/>
                </a:lnTo>
                <a:lnTo>
                  <a:pt x="11053" y="5442"/>
                </a:lnTo>
                <a:lnTo>
                  <a:pt x="11057" y="5424"/>
                </a:lnTo>
                <a:lnTo>
                  <a:pt x="11068" y="5408"/>
                </a:lnTo>
                <a:lnTo>
                  <a:pt x="11080" y="5414"/>
                </a:lnTo>
                <a:lnTo>
                  <a:pt x="11082" y="5422"/>
                </a:lnTo>
                <a:lnTo>
                  <a:pt x="11081" y="5430"/>
                </a:lnTo>
                <a:lnTo>
                  <a:pt x="11076" y="5439"/>
                </a:lnTo>
                <a:close/>
                <a:moveTo>
                  <a:pt x="11036" y="5189"/>
                </a:moveTo>
                <a:lnTo>
                  <a:pt x="11041" y="5185"/>
                </a:lnTo>
                <a:lnTo>
                  <a:pt x="11045" y="5185"/>
                </a:lnTo>
                <a:lnTo>
                  <a:pt x="11049" y="5187"/>
                </a:lnTo>
                <a:lnTo>
                  <a:pt x="11053" y="5192"/>
                </a:lnTo>
                <a:lnTo>
                  <a:pt x="11048" y="5195"/>
                </a:lnTo>
                <a:lnTo>
                  <a:pt x="11044" y="5195"/>
                </a:lnTo>
                <a:lnTo>
                  <a:pt x="11040" y="5192"/>
                </a:lnTo>
                <a:lnTo>
                  <a:pt x="11036" y="5189"/>
                </a:lnTo>
                <a:close/>
                <a:moveTo>
                  <a:pt x="11006" y="5219"/>
                </a:moveTo>
                <a:lnTo>
                  <a:pt x="11008" y="5220"/>
                </a:lnTo>
                <a:lnTo>
                  <a:pt x="11010" y="5222"/>
                </a:lnTo>
                <a:lnTo>
                  <a:pt x="11008" y="5223"/>
                </a:lnTo>
                <a:lnTo>
                  <a:pt x="11007" y="5226"/>
                </a:lnTo>
                <a:lnTo>
                  <a:pt x="11006" y="5219"/>
                </a:lnTo>
                <a:close/>
                <a:moveTo>
                  <a:pt x="10977" y="5344"/>
                </a:moveTo>
                <a:lnTo>
                  <a:pt x="10936" y="5341"/>
                </a:lnTo>
                <a:lnTo>
                  <a:pt x="10935" y="5313"/>
                </a:lnTo>
                <a:lnTo>
                  <a:pt x="10956" y="5287"/>
                </a:lnTo>
                <a:lnTo>
                  <a:pt x="10987" y="5282"/>
                </a:lnTo>
                <a:lnTo>
                  <a:pt x="11031" y="5320"/>
                </a:lnTo>
                <a:lnTo>
                  <a:pt x="11053" y="5336"/>
                </a:lnTo>
                <a:lnTo>
                  <a:pt x="11040" y="5341"/>
                </a:lnTo>
                <a:lnTo>
                  <a:pt x="10977" y="5344"/>
                </a:lnTo>
                <a:close/>
                <a:moveTo>
                  <a:pt x="10987" y="5479"/>
                </a:moveTo>
                <a:lnTo>
                  <a:pt x="10983" y="5472"/>
                </a:lnTo>
                <a:lnTo>
                  <a:pt x="10984" y="5469"/>
                </a:lnTo>
                <a:lnTo>
                  <a:pt x="10989" y="5466"/>
                </a:lnTo>
                <a:lnTo>
                  <a:pt x="10997" y="5465"/>
                </a:lnTo>
                <a:lnTo>
                  <a:pt x="10999" y="5470"/>
                </a:lnTo>
                <a:lnTo>
                  <a:pt x="10998" y="5474"/>
                </a:lnTo>
                <a:lnTo>
                  <a:pt x="10993" y="5476"/>
                </a:lnTo>
                <a:lnTo>
                  <a:pt x="10987" y="5479"/>
                </a:lnTo>
                <a:close/>
                <a:moveTo>
                  <a:pt x="10856" y="5397"/>
                </a:moveTo>
                <a:lnTo>
                  <a:pt x="10834" y="5392"/>
                </a:lnTo>
                <a:lnTo>
                  <a:pt x="10820" y="5386"/>
                </a:lnTo>
                <a:lnTo>
                  <a:pt x="10814" y="5373"/>
                </a:lnTo>
                <a:lnTo>
                  <a:pt x="10816" y="5350"/>
                </a:lnTo>
                <a:lnTo>
                  <a:pt x="10870" y="5329"/>
                </a:lnTo>
                <a:lnTo>
                  <a:pt x="10910" y="5364"/>
                </a:lnTo>
                <a:lnTo>
                  <a:pt x="10914" y="5405"/>
                </a:lnTo>
                <a:lnTo>
                  <a:pt x="10856" y="5397"/>
                </a:lnTo>
                <a:close/>
                <a:moveTo>
                  <a:pt x="10854" y="5441"/>
                </a:moveTo>
                <a:lnTo>
                  <a:pt x="10856" y="5442"/>
                </a:lnTo>
                <a:lnTo>
                  <a:pt x="10856" y="5442"/>
                </a:lnTo>
                <a:lnTo>
                  <a:pt x="10856" y="5442"/>
                </a:lnTo>
                <a:lnTo>
                  <a:pt x="10854" y="5441"/>
                </a:lnTo>
                <a:lnTo>
                  <a:pt x="10857" y="5442"/>
                </a:lnTo>
                <a:lnTo>
                  <a:pt x="10854" y="5441"/>
                </a:lnTo>
                <a:close/>
                <a:moveTo>
                  <a:pt x="10878" y="5515"/>
                </a:moveTo>
                <a:lnTo>
                  <a:pt x="10857" y="5499"/>
                </a:lnTo>
                <a:lnTo>
                  <a:pt x="10854" y="5467"/>
                </a:lnTo>
                <a:lnTo>
                  <a:pt x="10861" y="5450"/>
                </a:lnTo>
                <a:lnTo>
                  <a:pt x="10870" y="5474"/>
                </a:lnTo>
                <a:lnTo>
                  <a:pt x="10890" y="5470"/>
                </a:lnTo>
                <a:lnTo>
                  <a:pt x="10894" y="5479"/>
                </a:lnTo>
                <a:lnTo>
                  <a:pt x="10887" y="5495"/>
                </a:lnTo>
                <a:lnTo>
                  <a:pt x="10878" y="5515"/>
                </a:lnTo>
                <a:close/>
                <a:moveTo>
                  <a:pt x="10815" y="5487"/>
                </a:moveTo>
                <a:lnTo>
                  <a:pt x="10819" y="5479"/>
                </a:lnTo>
                <a:lnTo>
                  <a:pt x="10825" y="5479"/>
                </a:lnTo>
                <a:lnTo>
                  <a:pt x="10833" y="5481"/>
                </a:lnTo>
                <a:lnTo>
                  <a:pt x="10842" y="5484"/>
                </a:lnTo>
                <a:lnTo>
                  <a:pt x="10834" y="5485"/>
                </a:lnTo>
                <a:lnTo>
                  <a:pt x="10828" y="5488"/>
                </a:lnTo>
                <a:lnTo>
                  <a:pt x="10820" y="5489"/>
                </a:lnTo>
                <a:lnTo>
                  <a:pt x="10815" y="5487"/>
                </a:lnTo>
                <a:close/>
                <a:moveTo>
                  <a:pt x="10707" y="5145"/>
                </a:moveTo>
                <a:lnTo>
                  <a:pt x="10703" y="5148"/>
                </a:lnTo>
                <a:lnTo>
                  <a:pt x="10699" y="5149"/>
                </a:lnTo>
                <a:lnTo>
                  <a:pt x="10696" y="5147"/>
                </a:lnTo>
                <a:lnTo>
                  <a:pt x="10695" y="5142"/>
                </a:lnTo>
                <a:lnTo>
                  <a:pt x="10699" y="5139"/>
                </a:lnTo>
                <a:lnTo>
                  <a:pt x="10701" y="5140"/>
                </a:lnTo>
                <a:lnTo>
                  <a:pt x="10704" y="5143"/>
                </a:lnTo>
                <a:lnTo>
                  <a:pt x="10707" y="5145"/>
                </a:lnTo>
                <a:close/>
                <a:moveTo>
                  <a:pt x="10796" y="5135"/>
                </a:moveTo>
                <a:lnTo>
                  <a:pt x="10789" y="5163"/>
                </a:lnTo>
                <a:lnTo>
                  <a:pt x="10770" y="5173"/>
                </a:lnTo>
                <a:lnTo>
                  <a:pt x="10752" y="5163"/>
                </a:lnTo>
                <a:lnTo>
                  <a:pt x="10747" y="5134"/>
                </a:lnTo>
                <a:lnTo>
                  <a:pt x="10760" y="5134"/>
                </a:lnTo>
                <a:lnTo>
                  <a:pt x="10772" y="5134"/>
                </a:lnTo>
                <a:lnTo>
                  <a:pt x="10784" y="5134"/>
                </a:lnTo>
                <a:lnTo>
                  <a:pt x="10796" y="5135"/>
                </a:lnTo>
                <a:close/>
                <a:moveTo>
                  <a:pt x="10842" y="5161"/>
                </a:moveTo>
                <a:lnTo>
                  <a:pt x="10842" y="5163"/>
                </a:lnTo>
                <a:lnTo>
                  <a:pt x="10840" y="5163"/>
                </a:lnTo>
                <a:lnTo>
                  <a:pt x="10839" y="5163"/>
                </a:lnTo>
                <a:lnTo>
                  <a:pt x="10838" y="5162"/>
                </a:lnTo>
                <a:lnTo>
                  <a:pt x="10842" y="5161"/>
                </a:lnTo>
                <a:close/>
                <a:moveTo>
                  <a:pt x="10870" y="5130"/>
                </a:moveTo>
                <a:lnTo>
                  <a:pt x="10864" y="5136"/>
                </a:lnTo>
                <a:lnTo>
                  <a:pt x="10858" y="5138"/>
                </a:lnTo>
                <a:lnTo>
                  <a:pt x="10852" y="5136"/>
                </a:lnTo>
                <a:lnTo>
                  <a:pt x="10845" y="5133"/>
                </a:lnTo>
                <a:lnTo>
                  <a:pt x="10850" y="5125"/>
                </a:lnTo>
                <a:lnTo>
                  <a:pt x="10856" y="5122"/>
                </a:lnTo>
                <a:lnTo>
                  <a:pt x="10862" y="5125"/>
                </a:lnTo>
                <a:lnTo>
                  <a:pt x="10870" y="5130"/>
                </a:lnTo>
                <a:close/>
                <a:moveTo>
                  <a:pt x="10591" y="5204"/>
                </a:moveTo>
                <a:lnTo>
                  <a:pt x="10551" y="5232"/>
                </a:lnTo>
                <a:lnTo>
                  <a:pt x="10505" y="5222"/>
                </a:lnTo>
                <a:lnTo>
                  <a:pt x="10453" y="5205"/>
                </a:lnTo>
                <a:lnTo>
                  <a:pt x="10400" y="5212"/>
                </a:lnTo>
                <a:lnTo>
                  <a:pt x="10423" y="5173"/>
                </a:lnTo>
                <a:lnTo>
                  <a:pt x="10466" y="5159"/>
                </a:lnTo>
                <a:lnTo>
                  <a:pt x="10507" y="5147"/>
                </a:lnTo>
                <a:lnTo>
                  <a:pt x="10519" y="5114"/>
                </a:lnTo>
                <a:lnTo>
                  <a:pt x="10421" y="5093"/>
                </a:lnTo>
                <a:lnTo>
                  <a:pt x="10398" y="5009"/>
                </a:lnTo>
                <a:lnTo>
                  <a:pt x="10447" y="4926"/>
                </a:lnTo>
                <a:lnTo>
                  <a:pt x="10564" y="4909"/>
                </a:lnTo>
                <a:lnTo>
                  <a:pt x="10587" y="4893"/>
                </a:lnTo>
                <a:lnTo>
                  <a:pt x="10596" y="4874"/>
                </a:lnTo>
                <a:lnTo>
                  <a:pt x="10587" y="4864"/>
                </a:lnTo>
                <a:lnTo>
                  <a:pt x="10554" y="4872"/>
                </a:lnTo>
                <a:lnTo>
                  <a:pt x="10538" y="4855"/>
                </a:lnTo>
                <a:lnTo>
                  <a:pt x="10600" y="4859"/>
                </a:lnTo>
                <a:lnTo>
                  <a:pt x="10652" y="4886"/>
                </a:lnTo>
                <a:lnTo>
                  <a:pt x="10605" y="4939"/>
                </a:lnTo>
                <a:lnTo>
                  <a:pt x="10731" y="4920"/>
                </a:lnTo>
                <a:lnTo>
                  <a:pt x="10844" y="4951"/>
                </a:lnTo>
                <a:lnTo>
                  <a:pt x="10881" y="4984"/>
                </a:lnTo>
                <a:lnTo>
                  <a:pt x="10780" y="4970"/>
                </a:lnTo>
                <a:lnTo>
                  <a:pt x="10756" y="4970"/>
                </a:lnTo>
                <a:lnTo>
                  <a:pt x="10754" y="4995"/>
                </a:lnTo>
                <a:lnTo>
                  <a:pt x="10761" y="5031"/>
                </a:lnTo>
                <a:lnTo>
                  <a:pt x="10772" y="5060"/>
                </a:lnTo>
                <a:lnTo>
                  <a:pt x="10679" y="5045"/>
                </a:lnTo>
                <a:lnTo>
                  <a:pt x="10615" y="4974"/>
                </a:lnTo>
                <a:lnTo>
                  <a:pt x="10546" y="4946"/>
                </a:lnTo>
                <a:lnTo>
                  <a:pt x="10440" y="5059"/>
                </a:lnTo>
                <a:lnTo>
                  <a:pt x="10474" y="5079"/>
                </a:lnTo>
                <a:lnTo>
                  <a:pt x="10496" y="5068"/>
                </a:lnTo>
                <a:lnTo>
                  <a:pt x="10519" y="5046"/>
                </a:lnTo>
                <a:lnTo>
                  <a:pt x="10552" y="5035"/>
                </a:lnTo>
                <a:lnTo>
                  <a:pt x="10545" y="5078"/>
                </a:lnTo>
                <a:lnTo>
                  <a:pt x="10594" y="5152"/>
                </a:lnTo>
                <a:lnTo>
                  <a:pt x="10663" y="5214"/>
                </a:lnTo>
                <a:lnTo>
                  <a:pt x="10715" y="5226"/>
                </a:lnTo>
                <a:lnTo>
                  <a:pt x="10778" y="5204"/>
                </a:lnTo>
                <a:lnTo>
                  <a:pt x="10731" y="5240"/>
                </a:lnTo>
                <a:lnTo>
                  <a:pt x="10645" y="5262"/>
                </a:lnTo>
                <a:lnTo>
                  <a:pt x="10591" y="5204"/>
                </a:lnTo>
                <a:close/>
                <a:moveTo>
                  <a:pt x="10679" y="4839"/>
                </a:moveTo>
                <a:lnTo>
                  <a:pt x="10689" y="4818"/>
                </a:lnTo>
                <a:lnTo>
                  <a:pt x="10705" y="4821"/>
                </a:lnTo>
                <a:lnTo>
                  <a:pt x="10717" y="4837"/>
                </a:lnTo>
                <a:lnTo>
                  <a:pt x="10712" y="4858"/>
                </a:lnTo>
                <a:lnTo>
                  <a:pt x="10699" y="4861"/>
                </a:lnTo>
                <a:lnTo>
                  <a:pt x="10687" y="4860"/>
                </a:lnTo>
                <a:lnTo>
                  <a:pt x="10680" y="4854"/>
                </a:lnTo>
                <a:lnTo>
                  <a:pt x="10679" y="4839"/>
                </a:lnTo>
                <a:close/>
                <a:moveTo>
                  <a:pt x="10924" y="4976"/>
                </a:moveTo>
                <a:lnTo>
                  <a:pt x="10935" y="4977"/>
                </a:lnTo>
                <a:lnTo>
                  <a:pt x="10945" y="4980"/>
                </a:lnTo>
                <a:lnTo>
                  <a:pt x="10957" y="4981"/>
                </a:lnTo>
                <a:lnTo>
                  <a:pt x="10973" y="4984"/>
                </a:lnTo>
                <a:lnTo>
                  <a:pt x="10957" y="4990"/>
                </a:lnTo>
                <a:lnTo>
                  <a:pt x="10945" y="4990"/>
                </a:lnTo>
                <a:lnTo>
                  <a:pt x="10935" y="4985"/>
                </a:lnTo>
                <a:lnTo>
                  <a:pt x="10924" y="4976"/>
                </a:lnTo>
                <a:close/>
                <a:moveTo>
                  <a:pt x="10961" y="5069"/>
                </a:moveTo>
                <a:lnTo>
                  <a:pt x="10941" y="5078"/>
                </a:lnTo>
                <a:lnTo>
                  <a:pt x="10929" y="5094"/>
                </a:lnTo>
                <a:lnTo>
                  <a:pt x="10923" y="5115"/>
                </a:lnTo>
                <a:lnTo>
                  <a:pt x="10915" y="5135"/>
                </a:lnTo>
                <a:lnTo>
                  <a:pt x="10905" y="5089"/>
                </a:lnTo>
                <a:lnTo>
                  <a:pt x="10928" y="5045"/>
                </a:lnTo>
                <a:lnTo>
                  <a:pt x="10956" y="5028"/>
                </a:lnTo>
                <a:lnTo>
                  <a:pt x="10961" y="5069"/>
                </a:lnTo>
                <a:close/>
                <a:moveTo>
                  <a:pt x="10917" y="5176"/>
                </a:moveTo>
                <a:lnTo>
                  <a:pt x="10917" y="5173"/>
                </a:lnTo>
                <a:lnTo>
                  <a:pt x="10917" y="5173"/>
                </a:lnTo>
                <a:lnTo>
                  <a:pt x="10918" y="5173"/>
                </a:lnTo>
                <a:lnTo>
                  <a:pt x="10921" y="5175"/>
                </a:lnTo>
                <a:lnTo>
                  <a:pt x="10917" y="5176"/>
                </a:lnTo>
                <a:close/>
                <a:moveTo>
                  <a:pt x="10896" y="4916"/>
                </a:moveTo>
                <a:lnTo>
                  <a:pt x="10903" y="4912"/>
                </a:lnTo>
                <a:lnTo>
                  <a:pt x="10909" y="4910"/>
                </a:lnTo>
                <a:lnTo>
                  <a:pt x="10914" y="4910"/>
                </a:lnTo>
                <a:lnTo>
                  <a:pt x="10919" y="4918"/>
                </a:lnTo>
                <a:lnTo>
                  <a:pt x="10913" y="4921"/>
                </a:lnTo>
                <a:lnTo>
                  <a:pt x="10906" y="4924"/>
                </a:lnTo>
                <a:lnTo>
                  <a:pt x="10901" y="4923"/>
                </a:lnTo>
                <a:lnTo>
                  <a:pt x="10896" y="4916"/>
                </a:lnTo>
                <a:close/>
                <a:moveTo>
                  <a:pt x="10974" y="5208"/>
                </a:moveTo>
                <a:lnTo>
                  <a:pt x="10956" y="5234"/>
                </a:lnTo>
                <a:lnTo>
                  <a:pt x="10940" y="5265"/>
                </a:lnTo>
                <a:lnTo>
                  <a:pt x="10921" y="5283"/>
                </a:lnTo>
                <a:lnTo>
                  <a:pt x="10891" y="5269"/>
                </a:lnTo>
                <a:lnTo>
                  <a:pt x="10914" y="5218"/>
                </a:lnTo>
                <a:lnTo>
                  <a:pt x="10949" y="5168"/>
                </a:lnTo>
                <a:lnTo>
                  <a:pt x="10975" y="5154"/>
                </a:lnTo>
                <a:lnTo>
                  <a:pt x="10974" y="5208"/>
                </a:lnTo>
                <a:close/>
                <a:moveTo>
                  <a:pt x="11143" y="4808"/>
                </a:moveTo>
                <a:lnTo>
                  <a:pt x="11150" y="4811"/>
                </a:lnTo>
                <a:lnTo>
                  <a:pt x="11151" y="4813"/>
                </a:lnTo>
                <a:lnTo>
                  <a:pt x="11150" y="4817"/>
                </a:lnTo>
                <a:lnTo>
                  <a:pt x="11145" y="4821"/>
                </a:lnTo>
                <a:lnTo>
                  <a:pt x="11140" y="4818"/>
                </a:lnTo>
                <a:lnTo>
                  <a:pt x="11137" y="4814"/>
                </a:lnTo>
                <a:lnTo>
                  <a:pt x="11138" y="4812"/>
                </a:lnTo>
                <a:lnTo>
                  <a:pt x="11143" y="4808"/>
                </a:lnTo>
                <a:close/>
                <a:moveTo>
                  <a:pt x="11179" y="4757"/>
                </a:moveTo>
                <a:lnTo>
                  <a:pt x="11188" y="4765"/>
                </a:lnTo>
                <a:lnTo>
                  <a:pt x="11190" y="4775"/>
                </a:lnTo>
                <a:lnTo>
                  <a:pt x="11184" y="4784"/>
                </a:lnTo>
                <a:lnTo>
                  <a:pt x="11171" y="4788"/>
                </a:lnTo>
                <a:lnTo>
                  <a:pt x="11170" y="4777"/>
                </a:lnTo>
                <a:lnTo>
                  <a:pt x="11168" y="4767"/>
                </a:lnTo>
                <a:lnTo>
                  <a:pt x="11169" y="4760"/>
                </a:lnTo>
                <a:lnTo>
                  <a:pt x="11179" y="4757"/>
                </a:lnTo>
                <a:close/>
                <a:moveTo>
                  <a:pt x="11161" y="4891"/>
                </a:moveTo>
                <a:lnTo>
                  <a:pt x="11168" y="4887"/>
                </a:lnTo>
                <a:lnTo>
                  <a:pt x="11176" y="4884"/>
                </a:lnTo>
                <a:lnTo>
                  <a:pt x="11174" y="4888"/>
                </a:lnTo>
                <a:lnTo>
                  <a:pt x="11170" y="4891"/>
                </a:lnTo>
                <a:lnTo>
                  <a:pt x="11166" y="4891"/>
                </a:lnTo>
                <a:lnTo>
                  <a:pt x="11161" y="4891"/>
                </a:lnTo>
                <a:close/>
                <a:moveTo>
                  <a:pt x="11204" y="5325"/>
                </a:moveTo>
                <a:lnTo>
                  <a:pt x="11203" y="5326"/>
                </a:lnTo>
                <a:lnTo>
                  <a:pt x="11202" y="5326"/>
                </a:lnTo>
                <a:lnTo>
                  <a:pt x="11201" y="5325"/>
                </a:lnTo>
                <a:lnTo>
                  <a:pt x="11199" y="5324"/>
                </a:lnTo>
                <a:lnTo>
                  <a:pt x="11204" y="5325"/>
                </a:lnTo>
                <a:close/>
                <a:moveTo>
                  <a:pt x="11239" y="5367"/>
                </a:moveTo>
                <a:lnTo>
                  <a:pt x="11238" y="5371"/>
                </a:lnTo>
                <a:lnTo>
                  <a:pt x="11236" y="5372"/>
                </a:lnTo>
                <a:lnTo>
                  <a:pt x="11234" y="5372"/>
                </a:lnTo>
                <a:lnTo>
                  <a:pt x="11231" y="5371"/>
                </a:lnTo>
                <a:lnTo>
                  <a:pt x="11231" y="5368"/>
                </a:lnTo>
                <a:lnTo>
                  <a:pt x="11234" y="5367"/>
                </a:lnTo>
                <a:lnTo>
                  <a:pt x="11235" y="5367"/>
                </a:lnTo>
                <a:lnTo>
                  <a:pt x="11239" y="5367"/>
                </a:lnTo>
                <a:close/>
                <a:moveTo>
                  <a:pt x="11207" y="5049"/>
                </a:moveTo>
                <a:lnTo>
                  <a:pt x="11227" y="5027"/>
                </a:lnTo>
                <a:lnTo>
                  <a:pt x="11241" y="5035"/>
                </a:lnTo>
                <a:lnTo>
                  <a:pt x="11250" y="5059"/>
                </a:lnTo>
                <a:lnTo>
                  <a:pt x="11250" y="5087"/>
                </a:lnTo>
                <a:lnTo>
                  <a:pt x="11207" y="5094"/>
                </a:lnTo>
                <a:lnTo>
                  <a:pt x="11178" y="5083"/>
                </a:lnTo>
                <a:lnTo>
                  <a:pt x="11175" y="5064"/>
                </a:lnTo>
                <a:lnTo>
                  <a:pt x="11207" y="5049"/>
                </a:lnTo>
                <a:close/>
                <a:moveTo>
                  <a:pt x="11221" y="4948"/>
                </a:moveTo>
                <a:lnTo>
                  <a:pt x="11220" y="4948"/>
                </a:lnTo>
                <a:lnTo>
                  <a:pt x="11221" y="4948"/>
                </a:lnTo>
                <a:lnTo>
                  <a:pt x="11220" y="4951"/>
                </a:lnTo>
                <a:lnTo>
                  <a:pt x="11219" y="4952"/>
                </a:lnTo>
                <a:lnTo>
                  <a:pt x="11220" y="4951"/>
                </a:lnTo>
                <a:lnTo>
                  <a:pt x="11221" y="4948"/>
                </a:lnTo>
                <a:close/>
                <a:moveTo>
                  <a:pt x="11226" y="4831"/>
                </a:moveTo>
                <a:lnTo>
                  <a:pt x="11238" y="4835"/>
                </a:lnTo>
                <a:lnTo>
                  <a:pt x="11249" y="4839"/>
                </a:lnTo>
                <a:lnTo>
                  <a:pt x="11262" y="4844"/>
                </a:lnTo>
                <a:lnTo>
                  <a:pt x="11278" y="4850"/>
                </a:lnTo>
                <a:lnTo>
                  <a:pt x="11245" y="4855"/>
                </a:lnTo>
                <a:lnTo>
                  <a:pt x="11217" y="4845"/>
                </a:lnTo>
                <a:lnTo>
                  <a:pt x="11206" y="4832"/>
                </a:lnTo>
                <a:lnTo>
                  <a:pt x="11226" y="4831"/>
                </a:lnTo>
                <a:close/>
                <a:moveTo>
                  <a:pt x="11280" y="4788"/>
                </a:moveTo>
                <a:lnTo>
                  <a:pt x="11262" y="4797"/>
                </a:lnTo>
                <a:lnTo>
                  <a:pt x="11248" y="4798"/>
                </a:lnTo>
                <a:lnTo>
                  <a:pt x="11235" y="4791"/>
                </a:lnTo>
                <a:lnTo>
                  <a:pt x="11226" y="4776"/>
                </a:lnTo>
                <a:lnTo>
                  <a:pt x="11239" y="4779"/>
                </a:lnTo>
                <a:lnTo>
                  <a:pt x="11250" y="4781"/>
                </a:lnTo>
                <a:lnTo>
                  <a:pt x="11264" y="4785"/>
                </a:lnTo>
                <a:lnTo>
                  <a:pt x="11280" y="4788"/>
                </a:lnTo>
                <a:close/>
                <a:moveTo>
                  <a:pt x="11291" y="4943"/>
                </a:moveTo>
                <a:lnTo>
                  <a:pt x="11297" y="4967"/>
                </a:lnTo>
                <a:lnTo>
                  <a:pt x="11282" y="4988"/>
                </a:lnTo>
                <a:lnTo>
                  <a:pt x="11258" y="4998"/>
                </a:lnTo>
                <a:lnTo>
                  <a:pt x="11238" y="4989"/>
                </a:lnTo>
                <a:lnTo>
                  <a:pt x="11250" y="4952"/>
                </a:lnTo>
                <a:lnTo>
                  <a:pt x="11254" y="4916"/>
                </a:lnTo>
                <a:lnTo>
                  <a:pt x="11262" y="4906"/>
                </a:lnTo>
                <a:lnTo>
                  <a:pt x="11291" y="4943"/>
                </a:lnTo>
                <a:close/>
                <a:moveTo>
                  <a:pt x="11308" y="5242"/>
                </a:moveTo>
                <a:lnTo>
                  <a:pt x="11308" y="5240"/>
                </a:lnTo>
                <a:lnTo>
                  <a:pt x="11308" y="5237"/>
                </a:lnTo>
                <a:lnTo>
                  <a:pt x="11310" y="5237"/>
                </a:lnTo>
                <a:lnTo>
                  <a:pt x="11313" y="5237"/>
                </a:lnTo>
                <a:lnTo>
                  <a:pt x="11314" y="5240"/>
                </a:lnTo>
                <a:lnTo>
                  <a:pt x="11313" y="5241"/>
                </a:lnTo>
                <a:lnTo>
                  <a:pt x="11311" y="5242"/>
                </a:lnTo>
                <a:lnTo>
                  <a:pt x="11308" y="5242"/>
                </a:lnTo>
                <a:close/>
                <a:moveTo>
                  <a:pt x="11306" y="5422"/>
                </a:moveTo>
                <a:lnTo>
                  <a:pt x="11305" y="5419"/>
                </a:lnTo>
                <a:lnTo>
                  <a:pt x="11303" y="5415"/>
                </a:lnTo>
                <a:lnTo>
                  <a:pt x="11304" y="5413"/>
                </a:lnTo>
                <a:lnTo>
                  <a:pt x="11306" y="5410"/>
                </a:lnTo>
                <a:lnTo>
                  <a:pt x="11309" y="5414"/>
                </a:lnTo>
                <a:lnTo>
                  <a:pt x="11310" y="5418"/>
                </a:lnTo>
                <a:lnTo>
                  <a:pt x="11310" y="5420"/>
                </a:lnTo>
                <a:lnTo>
                  <a:pt x="11306" y="5422"/>
                </a:lnTo>
                <a:close/>
                <a:moveTo>
                  <a:pt x="11294" y="5597"/>
                </a:moveTo>
                <a:lnTo>
                  <a:pt x="11277" y="5604"/>
                </a:lnTo>
                <a:lnTo>
                  <a:pt x="11266" y="5548"/>
                </a:lnTo>
                <a:lnTo>
                  <a:pt x="11271" y="5484"/>
                </a:lnTo>
                <a:lnTo>
                  <a:pt x="11303" y="5470"/>
                </a:lnTo>
                <a:lnTo>
                  <a:pt x="11303" y="5501"/>
                </a:lnTo>
                <a:lnTo>
                  <a:pt x="11295" y="5531"/>
                </a:lnTo>
                <a:lnTo>
                  <a:pt x="11289" y="5564"/>
                </a:lnTo>
                <a:lnTo>
                  <a:pt x="11294" y="5597"/>
                </a:lnTo>
                <a:close/>
                <a:moveTo>
                  <a:pt x="11346" y="5126"/>
                </a:moveTo>
                <a:lnTo>
                  <a:pt x="11342" y="5126"/>
                </a:lnTo>
                <a:lnTo>
                  <a:pt x="11338" y="5128"/>
                </a:lnTo>
                <a:lnTo>
                  <a:pt x="11336" y="5126"/>
                </a:lnTo>
                <a:lnTo>
                  <a:pt x="11333" y="5122"/>
                </a:lnTo>
                <a:lnTo>
                  <a:pt x="11337" y="5122"/>
                </a:lnTo>
                <a:lnTo>
                  <a:pt x="11341" y="5121"/>
                </a:lnTo>
                <a:lnTo>
                  <a:pt x="11343" y="5122"/>
                </a:lnTo>
                <a:lnTo>
                  <a:pt x="11346" y="5126"/>
                </a:lnTo>
                <a:close/>
                <a:moveTo>
                  <a:pt x="11346" y="4849"/>
                </a:moveTo>
                <a:lnTo>
                  <a:pt x="11364" y="4872"/>
                </a:lnTo>
                <a:lnTo>
                  <a:pt x="11352" y="4877"/>
                </a:lnTo>
                <a:lnTo>
                  <a:pt x="11325" y="4872"/>
                </a:lnTo>
                <a:lnTo>
                  <a:pt x="11301" y="4868"/>
                </a:lnTo>
                <a:lnTo>
                  <a:pt x="11311" y="4854"/>
                </a:lnTo>
                <a:lnTo>
                  <a:pt x="11320" y="4846"/>
                </a:lnTo>
                <a:lnTo>
                  <a:pt x="11332" y="4845"/>
                </a:lnTo>
                <a:lnTo>
                  <a:pt x="11346" y="4849"/>
                </a:lnTo>
                <a:close/>
                <a:moveTo>
                  <a:pt x="11357" y="5246"/>
                </a:moveTo>
                <a:lnTo>
                  <a:pt x="11351" y="5247"/>
                </a:lnTo>
                <a:lnTo>
                  <a:pt x="11348" y="5247"/>
                </a:lnTo>
                <a:lnTo>
                  <a:pt x="11347" y="5245"/>
                </a:lnTo>
                <a:lnTo>
                  <a:pt x="11348" y="5238"/>
                </a:lnTo>
                <a:lnTo>
                  <a:pt x="11352" y="5237"/>
                </a:lnTo>
                <a:lnTo>
                  <a:pt x="11355" y="5240"/>
                </a:lnTo>
                <a:lnTo>
                  <a:pt x="11356" y="5243"/>
                </a:lnTo>
                <a:lnTo>
                  <a:pt x="11357" y="5246"/>
                </a:lnTo>
                <a:close/>
                <a:moveTo>
                  <a:pt x="11403" y="5212"/>
                </a:moveTo>
                <a:lnTo>
                  <a:pt x="11402" y="5213"/>
                </a:lnTo>
                <a:lnTo>
                  <a:pt x="11401" y="5213"/>
                </a:lnTo>
                <a:lnTo>
                  <a:pt x="11401" y="5213"/>
                </a:lnTo>
                <a:lnTo>
                  <a:pt x="11399" y="5212"/>
                </a:lnTo>
                <a:lnTo>
                  <a:pt x="11403" y="5212"/>
                </a:lnTo>
                <a:close/>
                <a:moveTo>
                  <a:pt x="11421" y="5052"/>
                </a:moveTo>
                <a:lnTo>
                  <a:pt x="11429" y="5052"/>
                </a:lnTo>
                <a:lnTo>
                  <a:pt x="11421" y="5052"/>
                </a:lnTo>
                <a:lnTo>
                  <a:pt x="11422" y="5047"/>
                </a:lnTo>
                <a:lnTo>
                  <a:pt x="11427" y="5045"/>
                </a:lnTo>
                <a:lnTo>
                  <a:pt x="11430" y="5047"/>
                </a:lnTo>
                <a:lnTo>
                  <a:pt x="11421" y="5052"/>
                </a:lnTo>
                <a:close/>
                <a:moveTo>
                  <a:pt x="11422" y="5098"/>
                </a:moveTo>
                <a:lnTo>
                  <a:pt x="11430" y="5094"/>
                </a:lnTo>
                <a:lnTo>
                  <a:pt x="11438" y="5096"/>
                </a:lnTo>
                <a:lnTo>
                  <a:pt x="11445" y="5100"/>
                </a:lnTo>
                <a:lnTo>
                  <a:pt x="11453" y="5105"/>
                </a:lnTo>
                <a:lnTo>
                  <a:pt x="11444" y="5114"/>
                </a:lnTo>
                <a:lnTo>
                  <a:pt x="11435" y="5114"/>
                </a:lnTo>
                <a:lnTo>
                  <a:pt x="11426" y="5107"/>
                </a:lnTo>
                <a:lnTo>
                  <a:pt x="11422" y="5098"/>
                </a:lnTo>
                <a:close/>
                <a:moveTo>
                  <a:pt x="11397" y="4943"/>
                </a:moveTo>
                <a:lnTo>
                  <a:pt x="11424" y="4944"/>
                </a:lnTo>
                <a:lnTo>
                  <a:pt x="11448" y="4953"/>
                </a:lnTo>
                <a:lnTo>
                  <a:pt x="11469" y="4967"/>
                </a:lnTo>
                <a:lnTo>
                  <a:pt x="11496" y="4985"/>
                </a:lnTo>
                <a:lnTo>
                  <a:pt x="11444" y="4985"/>
                </a:lnTo>
                <a:lnTo>
                  <a:pt x="11388" y="4966"/>
                </a:lnTo>
                <a:lnTo>
                  <a:pt x="11360" y="4946"/>
                </a:lnTo>
                <a:lnTo>
                  <a:pt x="11397" y="4943"/>
                </a:lnTo>
                <a:close/>
                <a:moveTo>
                  <a:pt x="10583" y="5448"/>
                </a:moveTo>
                <a:lnTo>
                  <a:pt x="10582" y="5446"/>
                </a:lnTo>
                <a:lnTo>
                  <a:pt x="10584" y="5444"/>
                </a:lnTo>
                <a:lnTo>
                  <a:pt x="10588" y="5443"/>
                </a:lnTo>
                <a:lnTo>
                  <a:pt x="10591" y="5443"/>
                </a:lnTo>
                <a:lnTo>
                  <a:pt x="10592" y="5446"/>
                </a:lnTo>
                <a:lnTo>
                  <a:pt x="10591" y="5448"/>
                </a:lnTo>
                <a:lnTo>
                  <a:pt x="10587" y="5448"/>
                </a:lnTo>
                <a:lnTo>
                  <a:pt x="10583" y="5448"/>
                </a:lnTo>
                <a:close/>
                <a:moveTo>
                  <a:pt x="10980" y="4664"/>
                </a:moveTo>
                <a:lnTo>
                  <a:pt x="10984" y="4668"/>
                </a:lnTo>
                <a:lnTo>
                  <a:pt x="10984" y="4672"/>
                </a:lnTo>
                <a:lnTo>
                  <a:pt x="10982" y="4676"/>
                </a:lnTo>
                <a:lnTo>
                  <a:pt x="10975" y="4677"/>
                </a:lnTo>
                <a:lnTo>
                  <a:pt x="10973" y="4673"/>
                </a:lnTo>
                <a:lnTo>
                  <a:pt x="10973" y="4668"/>
                </a:lnTo>
                <a:lnTo>
                  <a:pt x="10975" y="4665"/>
                </a:lnTo>
                <a:lnTo>
                  <a:pt x="10980" y="4664"/>
                </a:lnTo>
                <a:close/>
                <a:moveTo>
                  <a:pt x="11556" y="4865"/>
                </a:moveTo>
                <a:lnTo>
                  <a:pt x="11556" y="4865"/>
                </a:lnTo>
                <a:lnTo>
                  <a:pt x="11557" y="4865"/>
                </a:lnTo>
                <a:lnTo>
                  <a:pt x="11556" y="4865"/>
                </a:lnTo>
                <a:lnTo>
                  <a:pt x="11556" y="4865"/>
                </a:lnTo>
                <a:close/>
                <a:moveTo>
                  <a:pt x="11961" y="5284"/>
                </a:moveTo>
                <a:lnTo>
                  <a:pt x="11961" y="5284"/>
                </a:lnTo>
                <a:lnTo>
                  <a:pt x="11961" y="5284"/>
                </a:lnTo>
                <a:lnTo>
                  <a:pt x="11961" y="5284"/>
                </a:lnTo>
                <a:lnTo>
                  <a:pt x="11961" y="5284"/>
                </a:lnTo>
                <a:close/>
                <a:moveTo>
                  <a:pt x="11723" y="5548"/>
                </a:moveTo>
                <a:lnTo>
                  <a:pt x="11723" y="5546"/>
                </a:lnTo>
                <a:lnTo>
                  <a:pt x="11723" y="5546"/>
                </a:lnTo>
                <a:lnTo>
                  <a:pt x="11723" y="5546"/>
                </a:lnTo>
                <a:lnTo>
                  <a:pt x="11723" y="5548"/>
                </a:lnTo>
                <a:close/>
                <a:moveTo>
                  <a:pt x="11034" y="5671"/>
                </a:moveTo>
                <a:lnTo>
                  <a:pt x="11034" y="5671"/>
                </a:lnTo>
                <a:lnTo>
                  <a:pt x="11034" y="5671"/>
                </a:lnTo>
                <a:lnTo>
                  <a:pt x="11034" y="5671"/>
                </a:lnTo>
                <a:lnTo>
                  <a:pt x="11034" y="5671"/>
                </a:lnTo>
                <a:close/>
                <a:moveTo>
                  <a:pt x="9566" y="1722"/>
                </a:moveTo>
                <a:lnTo>
                  <a:pt x="9573" y="1742"/>
                </a:lnTo>
                <a:lnTo>
                  <a:pt x="9587" y="1749"/>
                </a:lnTo>
                <a:lnTo>
                  <a:pt x="9602" y="1745"/>
                </a:lnTo>
                <a:lnTo>
                  <a:pt x="9614" y="1728"/>
                </a:lnTo>
                <a:lnTo>
                  <a:pt x="9608" y="1715"/>
                </a:lnTo>
                <a:lnTo>
                  <a:pt x="9595" y="1708"/>
                </a:lnTo>
                <a:lnTo>
                  <a:pt x="9578" y="1710"/>
                </a:lnTo>
                <a:lnTo>
                  <a:pt x="9566" y="1722"/>
                </a:lnTo>
                <a:close/>
                <a:moveTo>
                  <a:pt x="9825" y="1806"/>
                </a:moveTo>
                <a:lnTo>
                  <a:pt x="9827" y="1810"/>
                </a:lnTo>
                <a:lnTo>
                  <a:pt x="9829" y="1814"/>
                </a:lnTo>
                <a:lnTo>
                  <a:pt x="9829" y="1812"/>
                </a:lnTo>
                <a:lnTo>
                  <a:pt x="9829" y="1810"/>
                </a:lnTo>
                <a:lnTo>
                  <a:pt x="9828" y="1808"/>
                </a:lnTo>
                <a:lnTo>
                  <a:pt x="9825" y="1806"/>
                </a:lnTo>
                <a:close/>
                <a:moveTo>
                  <a:pt x="9740" y="1847"/>
                </a:moveTo>
                <a:lnTo>
                  <a:pt x="9750" y="1852"/>
                </a:lnTo>
                <a:lnTo>
                  <a:pt x="9754" y="1843"/>
                </a:lnTo>
                <a:lnTo>
                  <a:pt x="9751" y="1832"/>
                </a:lnTo>
                <a:lnTo>
                  <a:pt x="9739" y="1824"/>
                </a:lnTo>
                <a:lnTo>
                  <a:pt x="9739" y="1836"/>
                </a:lnTo>
                <a:lnTo>
                  <a:pt x="9740" y="1847"/>
                </a:lnTo>
                <a:close/>
                <a:moveTo>
                  <a:pt x="9739" y="1824"/>
                </a:moveTo>
                <a:lnTo>
                  <a:pt x="9739" y="1824"/>
                </a:lnTo>
                <a:lnTo>
                  <a:pt x="9740" y="1824"/>
                </a:lnTo>
                <a:lnTo>
                  <a:pt x="9739" y="1824"/>
                </a:lnTo>
                <a:lnTo>
                  <a:pt x="9739" y="1824"/>
                </a:lnTo>
                <a:close/>
                <a:moveTo>
                  <a:pt x="3185" y="583"/>
                </a:moveTo>
                <a:lnTo>
                  <a:pt x="3178" y="570"/>
                </a:lnTo>
                <a:lnTo>
                  <a:pt x="3169" y="559"/>
                </a:lnTo>
                <a:lnTo>
                  <a:pt x="3171" y="567"/>
                </a:lnTo>
                <a:lnTo>
                  <a:pt x="3174" y="574"/>
                </a:lnTo>
                <a:lnTo>
                  <a:pt x="3178" y="579"/>
                </a:lnTo>
                <a:lnTo>
                  <a:pt x="3185" y="583"/>
                </a:lnTo>
                <a:close/>
                <a:moveTo>
                  <a:pt x="10656" y="1483"/>
                </a:moveTo>
                <a:lnTo>
                  <a:pt x="10653" y="1482"/>
                </a:lnTo>
                <a:lnTo>
                  <a:pt x="10652" y="1483"/>
                </a:lnTo>
                <a:lnTo>
                  <a:pt x="10652" y="1484"/>
                </a:lnTo>
                <a:lnTo>
                  <a:pt x="10652" y="1487"/>
                </a:lnTo>
                <a:lnTo>
                  <a:pt x="10656" y="1483"/>
                </a:lnTo>
                <a:close/>
                <a:moveTo>
                  <a:pt x="11601" y="2923"/>
                </a:moveTo>
                <a:lnTo>
                  <a:pt x="11602" y="2922"/>
                </a:lnTo>
                <a:lnTo>
                  <a:pt x="11603" y="2920"/>
                </a:lnTo>
                <a:lnTo>
                  <a:pt x="11602" y="2919"/>
                </a:lnTo>
                <a:lnTo>
                  <a:pt x="11599" y="2919"/>
                </a:lnTo>
                <a:lnTo>
                  <a:pt x="11601" y="2923"/>
                </a:lnTo>
                <a:close/>
                <a:moveTo>
                  <a:pt x="10502" y="2223"/>
                </a:moveTo>
                <a:lnTo>
                  <a:pt x="10500" y="2221"/>
                </a:lnTo>
                <a:lnTo>
                  <a:pt x="10499" y="2221"/>
                </a:lnTo>
                <a:lnTo>
                  <a:pt x="10498" y="2221"/>
                </a:lnTo>
                <a:lnTo>
                  <a:pt x="10498" y="2224"/>
                </a:lnTo>
                <a:lnTo>
                  <a:pt x="10502" y="2223"/>
                </a:lnTo>
                <a:close/>
                <a:moveTo>
                  <a:pt x="1066" y="1002"/>
                </a:moveTo>
                <a:lnTo>
                  <a:pt x="1071" y="1002"/>
                </a:lnTo>
                <a:lnTo>
                  <a:pt x="1069" y="999"/>
                </a:lnTo>
                <a:lnTo>
                  <a:pt x="1067" y="999"/>
                </a:lnTo>
                <a:lnTo>
                  <a:pt x="1067" y="999"/>
                </a:lnTo>
                <a:lnTo>
                  <a:pt x="1066" y="1002"/>
                </a:lnTo>
                <a:close/>
                <a:moveTo>
                  <a:pt x="7339" y="858"/>
                </a:moveTo>
                <a:lnTo>
                  <a:pt x="7333" y="856"/>
                </a:lnTo>
                <a:lnTo>
                  <a:pt x="7331" y="853"/>
                </a:lnTo>
                <a:lnTo>
                  <a:pt x="7333" y="856"/>
                </a:lnTo>
                <a:lnTo>
                  <a:pt x="7339" y="858"/>
                </a:lnTo>
                <a:close/>
                <a:moveTo>
                  <a:pt x="10477" y="1817"/>
                </a:moveTo>
                <a:lnTo>
                  <a:pt x="10476" y="1813"/>
                </a:lnTo>
                <a:lnTo>
                  <a:pt x="10475" y="1809"/>
                </a:lnTo>
                <a:lnTo>
                  <a:pt x="10475" y="1808"/>
                </a:lnTo>
                <a:lnTo>
                  <a:pt x="10474" y="1806"/>
                </a:lnTo>
                <a:lnTo>
                  <a:pt x="10474" y="1806"/>
                </a:lnTo>
                <a:lnTo>
                  <a:pt x="10475" y="1809"/>
                </a:lnTo>
                <a:lnTo>
                  <a:pt x="10474" y="1812"/>
                </a:lnTo>
                <a:lnTo>
                  <a:pt x="10475" y="1813"/>
                </a:lnTo>
                <a:lnTo>
                  <a:pt x="10475" y="1814"/>
                </a:lnTo>
                <a:lnTo>
                  <a:pt x="10477" y="1817"/>
                </a:lnTo>
                <a:close/>
                <a:moveTo>
                  <a:pt x="10463" y="1805"/>
                </a:moveTo>
                <a:lnTo>
                  <a:pt x="10466" y="1801"/>
                </a:lnTo>
                <a:lnTo>
                  <a:pt x="10463" y="1805"/>
                </a:lnTo>
                <a:lnTo>
                  <a:pt x="10471" y="1806"/>
                </a:lnTo>
                <a:lnTo>
                  <a:pt x="10463" y="1805"/>
                </a:lnTo>
                <a:close/>
                <a:moveTo>
                  <a:pt x="10462" y="1805"/>
                </a:moveTo>
                <a:lnTo>
                  <a:pt x="10459" y="1808"/>
                </a:lnTo>
                <a:lnTo>
                  <a:pt x="10457" y="1814"/>
                </a:lnTo>
                <a:lnTo>
                  <a:pt x="10461" y="1808"/>
                </a:lnTo>
                <a:lnTo>
                  <a:pt x="10462" y="1805"/>
                </a:lnTo>
                <a:close/>
                <a:moveTo>
                  <a:pt x="1872" y="134"/>
                </a:moveTo>
                <a:lnTo>
                  <a:pt x="1872" y="133"/>
                </a:lnTo>
                <a:lnTo>
                  <a:pt x="1872" y="134"/>
                </a:lnTo>
                <a:lnTo>
                  <a:pt x="1872" y="134"/>
                </a:lnTo>
                <a:lnTo>
                  <a:pt x="1874" y="133"/>
                </a:lnTo>
                <a:lnTo>
                  <a:pt x="1874" y="133"/>
                </a:lnTo>
                <a:lnTo>
                  <a:pt x="1874" y="133"/>
                </a:lnTo>
                <a:lnTo>
                  <a:pt x="1874" y="133"/>
                </a:lnTo>
                <a:lnTo>
                  <a:pt x="1872" y="134"/>
                </a:lnTo>
                <a:close/>
                <a:moveTo>
                  <a:pt x="1866" y="126"/>
                </a:moveTo>
                <a:lnTo>
                  <a:pt x="1868" y="129"/>
                </a:lnTo>
                <a:lnTo>
                  <a:pt x="1872" y="131"/>
                </a:lnTo>
                <a:lnTo>
                  <a:pt x="1871" y="129"/>
                </a:lnTo>
                <a:lnTo>
                  <a:pt x="1870" y="128"/>
                </a:lnTo>
                <a:lnTo>
                  <a:pt x="1868" y="126"/>
                </a:lnTo>
                <a:lnTo>
                  <a:pt x="1866" y="126"/>
                </a:lnTo>
                <a:close/>
                <a:moveTo>
                  <a:pt x="11168" y="4033"/>
                </a:moveTo>
                <a:lnTo>
                  <a:pt x="11162" y="4033"/>
                </a:lnTo>
                <a:lnTo>
                  <a:pt x="11165" y="4034"/>
                </a:lnTo>
                <a:lnTo>
                  <a:pt x="11166" y="4035"/>
                </a:lnTo>
                <a:lnTo>
                  <a:pt x="11166" y="4035"/>
                </a:lnTo>
                <a:lnTo>
                  <a:pt x="11168" y="4033"/>
                </a:lnTo>
                <a:close/>
                <a:moveTo>
                  <a:pt x="11115" y="4314"/>
                </a:moveTo>
                <a:lnTo>
                  <a:pt x="11114" y="4312"/>
                </a:lnTo>
                <a:lnTo>
                  <a:pt x="11113" y="4312"/>
                </a:lnTo>
                <a:lnTo>
                  <a:pt x="11110" y="4312"/>
                </a:lnTo>
                <a:lnTo>
                  <a:pt x="11108" y="4313"/>
                </a:lnTo>
                <a:lnTo>
                  <a:pt x="11109" y="4314"/>
                </a:lnTo>
                <a:lnTo>
                  <a:pt x="11112" y="4315"/>
                </a:lnTo>
                <a:lnTo>
                  <a:pt x="11113" y="4315"/>
                </a:lnTo>
                <a:lnTo>
                  <a:pt x="11115" y="4314"/>
                </a:lnTo>
                <a:close/>
                <a:moveTo>
                  <a:pt x="11064" y="4608"/>
                </a:moveTo>
                <a:lnTo>
                  <a:pt x="11067" y="4607"/>
                </a:lnTo>
                <a:lnTo>
                  <a:pt x="11068" y="4606"/>
                </a:lnTo>
                <a:lnTo>
                  <a:pt x="11068" y="4603"/>
                </a:lnTo>
                <a:lnTo>
                  <a:pt x="11067" y="4601"/>
                </a:lnTo>
                <a:lnTo>
                  <a:pt x="11066" y="4602"/>
                </a:lnTo>
                <a:lnTo>
                  <a:pt x="11064" y="4604"/>
                </a:lnTo>
                <a:lnTo>
                  <a:pt x="11064" y="4606"/>
                </a:lnTo>
                <a:lnTo>
                  <a:pt x="11064" y="4608"/>
                </a:lnTo>
                <a:close/>
                <a:moveTo>
                  <a:pt x="2017" y="163"/>
                </a:moveTo>
                <a:lnTo>
                  <a:pt x="2016" y="166"/>
                </a:lnTo>
                <a:lnTo>
                  <a:pt x="2016" y="167"/>
                </a:lnTo>
                <a:lnTo>
                  <a:pt x="2017" y="167"/>
                </a:lnTo>
                <a:lnTo>
                  <a:pt x="2021" y="167"/>
                </a:lnTo>
                <a:lnTo>
                  <a:pt x="2017" y="163"/>
                </a:lnTo>
                <a:close/>
                <a:moveTo>
                  <a:pt x="10308" y="2084"/>
                </a:moveTo>
                <a:lnTo>
                  <a:pt x="10303" y="2085"/>
                </a:lnTo>
                <a:lnTo>
                  <a:pt x="10305" y="2087"/>
                </a:lnTo>
                <a:lnTo>
                  <a:pt x="10307" y="2088"/>
                </a:lnTo>
                <a:lnTo>
                  <a:pt x="10308" y="2087"/>
                </a:lnTo>
                <a:lnTo>
                  <a:pt x="10308" y="2084"/>
                </a:lnTo>
                <a:close/>
                <a:moveTo>
                  <a:pt x="10302" y="2057"/>
                </a:moveTo>
                <a:lnTo>
                  <a:pt x="10296" y="2059"/>
                </a:lnTo>
                <a:lnTo>
                  <a:pt x="10299" y="2060"/>
                </a:lnTo>
                <a:lnTo>
                  <a:pt x="10299" y="2061"/>
                </a:lnTo>
                <a:lnTo>
                  <a:pt x="10300" y="2060"/>
                </a:lnTo>
                <a:lnTo>
                  <a:pt x="10302" y="2057"/>
                </a:lnTo>
                <a:close/>
                <a:moveTo>
                  <a:pt x="2183" y="359"/>
                </a:moveTo>
                <a:lnTo>
                  <a:pt x="2183" y="360"/>
                </a:lnTo>
                <a:lnTo>
                  <a:pt x="2183" y="362"/>
                </a:lnTo>
                <a:lnTo>
                  <a:pt x="2184" y="362"/>
                </a:lnTo>
                <a:lnTo>
                  <a:pt x="2187" y="362"/>
                </a:lnTo>
                <a:lnTo>
                  <a:pt x="2183" y="359"/>
                </a:lnTo>
                <a:close/>
                <a:moveTo>
                  <a:pt x="11048" y="4228"/>
                </a:moveTo>
                <a:lnTo>
                  <a:pt x="11053" y="4228"/>
                </a:lnTo>
                <a:lnTo>
                  <a:pt x="11052" y="4226"/>
                </a:lnTo>
                <a:lnTo>
                  <a:pt x="11050" y="4225"/>
                </a:lnTo>
                <a:lnTo>
                  <a:pt x="11049" y="4226"/>
                </a:lnTo>
                <a:lnTo>
                  <a:pt x="11048" y="4228"/>
                </a:lnTo>
                <a:close/>
                <a:moveTo>
                  <a:pt x="2231" y="228"/>
                </a:moveTo>
                <a:lnTo>
                  <a:pt x="2230" y="231"/>
                </a:lnTo>
                <a:lnTo>
                  <a:pt x="2230" y="232"/>
                </a:lnTo>
                <a:lnTo>
                  <a:pt x="2231" y="232"/>
                </a:lnTo>
                <a:lnTo>
                  <a:pt x="2234" y="232"/>
                </a:lnTo>
                <a:lnTo>
                  <a:pt x="2231" y="228"/>
                </a:lnTo>
                <a:close/>
                <a:moveTo>
                  <a:pt x="8470" y="867"/>
                </a:moveTo>
                <a:lnTo>
                  <a:pt x="8469" y="865"/>
                </a:lnTo>
                <a:lnTo>
                  <a:pt x="8466" y="865"/>
                </a:lnTo>
                <a:lnTo>
                  <a:pt x="8465" y="863"/>
                </a:lnTo>
                <a:lnTo>
                  <a:pt x="8463" y="865"/>
                </a:lnTo>
                <a:lnTo>
                  <a:pt x="8464" y="867"/>
                </a:lnTo>
                <a:lnTo>
                  <a:pt x="8465" y="868"/>
                </a:lnTo>
                <a:lnTo>
                  <a:pt x="8468" y="868"/>
                </a:lnTo>
                <a:lnTo>
                  <a:pt x="8470" y="867"/>
                </a:lnTo>
                <a:close/>
                <a:moveTo>
                  <a:pt x="8461" y="1105"/>
                </a:moveTo>
                <a:lnTo>
                  <a:pt x="8459" y="1104"/>
                </a:lnTo>
                <a:lnTo>
                  <a:pt x="8458" y="1103"/>
                </a:lnTo>
                <a:lnTo>
                  <a:pt x="8458" y="1104"/>
                </a:lnTo>
                <a:lnTo>
                  <a:pt x="8458" y="1106"/>
                </a:lnTo>
                <a:lnTo>
                  <a:pt x="8461" y="1105"/>
                </a:lnTo>
                <a:close/>
                <a:moveTo>
                  <a:pt x="2480" y="338"/>
                </a:moveTo>
                <a:lnTo>
                  <a:pt x="2476" y="338"/>
                </a:lnTo>
                <a:lnTo>
                  <a:pt x="2477" y="339"/>
                </a:lnTo>
                <a:lnTo>
                  <a:pt x="2478" y="340"/>
                </a:lnTo>
                <a:lnTo>
                  <a:pt x="2480" y="339"/>
                </a:lnTo>
                <a:lnTo>
                  <a:pt x="2480" y="338"/>
                </a:lnTo>
                <a:close/>
                <a:moveTo>
                  <a:pt x="10182" y="1660"/>
                </a:moveTo>
                <a:lnTo>
                  <a:pt x="10186" y="1660"/>
                </a:lnTo>
                <a:lnTo>
                  <a:pt x="10184" y="1659"/>
                </a:lnTo>
                <a:lnTo>
                  <a:pt x="10183" y="1658"/>
                </a:lnTo>
                <a:lnTo>
                  <a:pt x="10183" y="1659"/>
                </a:lnTo>
                <a:lnTo>
                  <a:pt x="10182" y="1660"/>
                </a:lnTo>
                <a:close/>
                <a:moveTo>
                  <a:pt x="8748" y="1176"/>
                </a:moveTo>
                <a:lnTo>
                  <a:pt x="8745" y="1178"/>
                </a:lnTo>
                <a:lnTo>
                  <a:pt x="8739" y="1183"/>
                </a:lnTo>
                <a:lnTo>
                  <a:pt x="8744" y="1180"/>
                </a:lnTo>
                <a:lnTo>
                  <a:pt x="8748" y="1176"/>
                </a:lnTo>
                <a:close/>
                <a:moveTo>
                  <a:pt x="8753" y="1128"/>
                </a:moveTo>
                <a:lnTo>
                  <a:pt x="8750" y="1128"/>
                </a:lnTo>
                <a:lnTo>
                  <a:pt x="8753" y="1128"/>
                </a:lnTo>
                <a:lnTo>
                  <a:pt x="8750" y="1125"/>
                </a:lnTo>
                <a:lnTo>
                  <a:pt x="8749" y="1125"/>
                </a:lnTo>
                <a:lnTo>
                  <a:pt x="8750" y="1127"/>
                </a:lnTo>
                <a:lnTo>
                  <a:pt x="8753" y="1128"/>
                </a:lnTo>
                <a:close/>
                <a:moveTo>
                  <a:pt x="10165" y="1759"/>
                </a:moveTo>
                <a:lnTo>
                  <a:pt x="10170" y="1758"/>
                </a:lnTo>
                <a:lnTo>
                  <a:pt x="10168" y="1757"/>
                </a:lnTo>
                <a:lnTo>
                  <a:pt x="10167" y="1756"/>
                </a:lnTo>
                <a:lnTo>
                  <a:pt x="10167" y="1757"/>
                </a:lnTo>
                <a:lnTo>
                  <a:pt x="10165" y="1759"/>
                </a:lnTo>
                <a:close/>
                <a:moveTo>
                  <a:pt x="2796" y="409"/>
                </a:moveTo>
                <a:lnTo>
                  <a:pt x="2793" y="408"/>
                </a:lnTo>
                <a:lnTo>
                  <a:pt x="2792" y="408"/>
                </a:lnTo>
                <a:lnTo>
                  <a:pt x="2792" y="409"/>
                </a:lnTo>
                <a:lnTo>
                  <a:pt x="2792" y="410"/>
                </a:lnTo>
                <a:lnTo>
                  <a:pt x="2796" y="409"/>
                </a:lnTo>
                <a:close/>
                <a:moveTo>
                  <a:pt x="9713" y="1118"/>
                </a:moveTo>
                <a:lnTo>
                  <a:pt x="9713" y="1120"/>
                </a:lnTo>
                <a:lnTo>
                  <a:pt x="9713" y="1122"/>
                </a:lnTo>
                <a:lnTo>
                  <a:pt x="9715" y="1122"/>
                </a:lnTo>
                <a:lnTo>
                  <a:pt x="9717" y="1120"/>
                </a:lnTo>
                <a:lnTo>
                  <a:pt x="9713" y="1118"/>
                </a:lnTo>
                <a:close/>
                <a:moveTo>
                  <a:pt x="3063" y="229"/>
                </a:moveTo>
                <a:lnTo>
                  <a:pt x="3062" y="232"/>
                </a:lnTo>
                <a:lnTo>
                  <a:pt x="3062" y="233"/>
                </a:lnTo>
                <a:lnTo>
                  <a:pt x="3064" y="233"/>
                </a:lnTo>
                <a:lnTo>
                  <a:pt x="3067" y="233"/>
                </a:lnTo>
                <a:lnTo>
                  <a:pt x="3063" y="229"/>
                </a:lnTo>
                <a:close/>
                <a:moveTo>
                  <a:pt x="3280" y="256"/>
                </a:moveTo>
                <a:lnTo>
                  <a:pt x="3277" y="256"/>
                </a:lnTo>
                <a:lnTo>
                  <a:pt x="3274" y="256"/>
                </a:lnTo>
                <a:lnTo>
                  <a:pt x="3277" y="259"/>
                </a:lnTo>
                <a:lnTo>
                  <a:pt x="3280" y="259"/>
                </a:lnTo>
                <a:lnTo>
                  <a:pt x="3281" y="259"/>
                </a:lnTo>
                <a:lnTo>
                  <a:pt x="3280" y="256"/>
                </a:lnTo>
                <a:close/>
                <a:moveTo>
                  <a:pt x="10066" y="1386"/>
                </a:moveTo>
                <a:lnTo>
                  <a:pt x="10063" y="1389"/>
                </a:lnTo>
                <a:lnTo>
                  <a:pt x="10063" y="1390"/>
                </a:lnTo>
                <a:lnTo>
                  <a:pt x="10063" y="1390"/>
                </a:lnTo>
                <a:lnTo>
                  <a:pt x="10066" y="1392"/>
                </a:lnTo>
                <a:lnTo>
                  <a:pt x="10066" y="1386"/>
                </a:lnTo>
                <a:close/>
                <a:moveTo>
                  <a:pt x="3339" y="332"/>
                </a:moveTo>
                <a:lnTo>
                  <a:pt x="3338" y="330"/>
                </a:lnTo>
                <a:lnTo>
                  <a:pt x="3336" y="329"/>
                </a:lnTo>
                <a:lnTo>
                  <a:pt x="3334" y="329"/>
                </a:lnTo>
                <a:lnTo>
                  <a:pt x="3332" y="330"/>
                </a:lnTo>
                <a:lnTo>
                  <a:pt x="3333" y="331"/>
                </a:lnTo>
                <a:lnTo>
                  <a:pt x="3334" y="332"/>
                </a:lnTo>
                <a:lnTo>
                  <a:pt x="3337" y="332"/>
                </a:lnTo>
                <a:lnTo>
                  <a:pt x="3339" y="332"/>
                </a:lnTo>
                <a:close/>
                <a:moveTo>
                  <a:pt x="3341" y="362"/>
                </a:moveTo>
                <a:lnTo>
                  <a:pt x="3341" y="360"/>
                </a:lnTo>
                <a:lnTo>
                  <a:pt x="3341" y="362"/>
                </a:lnTo>
                <a:lnTo>
                  <a:pt x="3346" y="359"/>
                </a:lnTo>
                <a:lnTo>
                  <a:pt x="3341" y="362"/>
                </a:lnTo>
                <a:close/>
                <a:moveTo>
                  <a:pt x="10006" y="1614"/>
                </a:moveTo>
                <a:lnTo>
                  <a:pt x="10004" y="1613"/>
                </a:lnTo>
                <a:lnTo>
                  <a:pt x="10002" y="1612"/>
                </a:lnTo>
                <a:lnTo>
                  <a:pt x="10002" y="1613"/>
                </a:lnTo>
                <a:lnTo>
                  <a:pt x="10001" y="1616"/>
                </a:lnTo>
                <a:lnTo>
                  <a:pt x="10006" y="1614"/>
                </a:lnTo>
                <a:close/>
                <a:moveTo>
                  <a:pt x="3434" y="297"/>
                </a:moveTo>
                <a:lnTo>
                  <a:pt x="3430" y="298"/>
                </a:lnTo>
                <a:lnTo>
                  <a:pt x="3431" y="299"/>
                </a:lnTo>
                <a:lnTo>
                  <a:pt x="3432" y="299"/>
                </a:lnTo>
                <a:lnTo>
                  <a:pt x="3434" y="299"/>
                </a:lnTo>
                <a:lnTo>
                  <a:pt x="3434" y="297"/>
                </a:lnTo>
                <a:close/>
                <a:moveTo>
                  <a:pt x="9473" y="1285"/>
                </a:moveTo>
                <a:lnTo>
                  <a:pt x="9475" y="1282"/>
                </a:lnTo>
                <a:lnTo>
                  <a:pt x="9476" y="1278"/>
                </a:lnTo>
                <a:lnTo>
                  <a:pt x="9475" y="1281"/>
                </a:lnTo>
                <a:lnTo>
                  <a:pt x="9473" y="1285"/>
                </a:lnTo>
                <a:close/>
                <a:moveTo>
                  <a:pt x="11098" y="2174"/>
                </a:moveTo>
                <a:lnTo>
                  <a:pt x="11096" y="2173"/>
                </a:lnTo>
                <a:lnTo>
                  <a:pt x="11094" y="2172"/>
                </a:lnTo>
                <a:lnTo>
                  <a:pt x="11092" y="2173"/>
                </a:lnTo>
                <a:lnTo>
                  <a:pt x="11091" y="2176"/>
                </a:lnTo>
                <a:lnTo>
                  <a:pt x="11094" y="2177"/>
                </a:lnTo>
                <a:lnTo>
                  <a:pt x="11095" y="2177"/>
                </a:lnTo>
                <a:lnTo>
                  <a:pt x="11096" y="2176"/>
                </a:lnTo>
                <a:lnTo>
                  <a:pt x="11098" y="2174"/>
                </a:lnTo>
                <a:close/>
                <a:moveTo>
                  <a:pt x="9594" y="1365"/>
                </a:moveTo>
                <a:lnTo>
                  <a:pt x="9600" y="1364"/>
                </a:lnTo>
                <a:lnTo>
                  <a:pt x="9597" y="1361"/>
                </a:lnTo>
                <a:lnTo>
                  <a:pt x="9596" y="1361"/>
                </a:lnTo>
                <a:lnTo>
                  <a:pt x="9595" y="1361"/>
                </a:lnTo>
                <a:lnTo>
                  <a:pt x="9594" y="1365"/>
                </a:lnTo>
                <a:close/>
                <a:moveTo>
                  <a:pt x="11552" y="3459"/>
                </a:moveTo>
                <a:lnTo>
                  <a:pt x="11556" y="3457"/>
                </a:lnTo>
                <a:lnTo>
                  <a:pt x="11556" y="3457"/>
                </a:lnTo>
                <a:lnTo>
                  <a:pt x="11555" y="3459"/>
                </a:lnTo>
                <a:lnTo>
                  <a:pt x="11552" y="3459"/>
                </a:lnTo>
                <a:close/>
                <a:moveTo>
                  <a:pt x="11561" y="3457"/>
                </a:moveTo>
                <a:lnTo>
                  <a:pt x="11560" y="3457"/>
                </a:lnTo>
                <a:lnTo>
                  <a:pt x="11561" y="3457"/>
                </a:lnTo>
                <a:lnTo>
                  <a:pt x="11560" y="3456"/>
                </a:lnTo>
                <a:lnTo>
                  <a:pt x="11561" y="3457"/>
                </a:lnTo>
                <a:close/>
                <a:moveTo>
                  <a:pt x="11664" y="3039"/>
                </a:moveTo>
                <a:lnTo>
                  <a:pt x="11660" y="3039"/>
                </a:lnTo>
                <a:lnTo>
                  <a:pt x="11662" y="3041"/>
                </a:lnTo>
                <a:lnTo>
                  <a:pt x="11663" y="3041"/>
                </a:lnTo>
                <a:lnTo>
                  <a:pt x="11664" y="3041"/>
                </a:lnTo>
                <a:lnTo>
                  <a:pt x="11664" y="3039"/>
                </a:lnTo>
                <a:close/>
                <a:moveTo>
                  <a:pt x="11556" y="3862"/>
                </a:moveTo>
                <a:lnTo>
                  <a:pt x="11557" y="3865"/>
                </a:lnTo>
                <a:lnTo>
                  <a:pt x="11557" y="3865"/>
                </a:lnTo>
                <a:lnTo>
                  <a:pt x="11556" y="3864"/>
                </a:lnTo>
                <a:lnTo>
                  <a:pt x="11556" y="3862"/>
                </a:lnTo>
                <a:lnTo>
                  <a:pt x="11555" y="3864"/>
                </a:lnTo>
                <a:lnTo>
                  <a:pt x="11555" y="3865"/>
                </a:lnTo>
                <a:lnTo>
                  <a:pt x="11555" y="3865"/>
                </a:lnTo>
                <a:lnTo>
                  <a:pt x="11556" y="3862"/>
                </a:lnTo>
                <a:close/>
                <a:moveTo>
                  <a:pt x="4399" y="397"/>
                </a:moveTo>
                <a:lnTo>
                  <a:pt x="4398" y="400"/>
                </a:lnTo>
                <a:lnTo>
                  <a:pt x="4399" y="401"/>
                </a:lnTo>
                <a:lnTo>
                  <a:pt x="4400" y="401"/>
                </a:lnTo>
                <a:lnTo>
                  <a:pt x="4401" y="400"/>
                </a:lnTo>
                <a:lnTo>
                  <a:pt x="4399" y="397"/>
                </a:lnTo>
                <a:close/>
                <a:moveTo>
                  <a:pt x="11687" y="3499"/>
                </a:moveTo>
                <a:lnTo>
                  <a:pt x="11692" y="3499"/>
                </a:lnTo>
                <a:lnTo>
                  <a:pt x="11691" y="3498"/>
                </a:lnTo>
                <a:lnTo>
                  <a:pt x="11690" y="3497"/>
                </a:lnTo>
                <a:lnTo>
                  <a:pt x="11688" y="3498"/>
                </a:lnTo>
                <a:lnTo>
                  <a:pt x="11687" y="3499"/>
                </a:lnTo>
                <a:close/>
                <a:moveTo>
                  <a:pt x="11581" y="4802"/>
                </a:moveTo>
                <a:lnTo>
                  <a:pt x="11578" y="4803"/>
                </a:lnTo>
                <a:lnTo>
                  <a:pt x="11579" y="4804"/>
                </a:lnTo>
                <a:lnTo>
                  <a:pt x="11580" y="4804"/>
                </a:lnTo>
                <a:lnTo>
                  <a:pt x="11581" y="4804"/>
                </a:lnTo>
                <a:lnTo>
                  <a:pt x="11581" y="4802"/>
                </a:lnTo>
                <a:close/>
                <a:moveTo>
                  <a:pt x="4677" y="335"/>
                </a:moveTo>
                <a:lnTo>
                  <a:pt x="4673" y="336"/>
                </a:lnTo>
                <a:lnTo>
                  <a:pt x="4674" y="338"/>
                </a:lnTo>
                <a:lnTo>
                  <a:pt x="4675" y="339"/>
                </a:lnTo>
                <a:lnTo>
                  <a:pt x="4677" y="338"/>
                </a:lnTo>
                <a:lnTo>
                  <a:pt x="4677" y="335"/>
                </a:lnTo>
                <a:close/>
                <a:moveTo>
                  <a:pt x="4837" y="302"/>
                </a:moveTo>
                <a:lnTo>
                  <a:pt x="4831" y="302"/>
                </a:lnTo>
                <a:lnTo>
                  <a:pt x="4833" y="304"/>
                </a:lnTo>
                <a:lnTo>
                  <a:pt x="4834" y="306"/>
                </a:lnTo>
                <a:lnTo>
                  <a:pt x="4836" y="304"/>
                </a:lnTo>
                <a:lnTo>
                  <a:pt x="4837" y="302"/>
                </a:lnTo>
                <a:close/>
                <a:moveTo>
                  <a:pt x="4906" y="339"/>
                </a:moveTo>
                <a:lnTo>
                  <a:pt x="4903" y="339"/>
                </a:lnTo>
                <a:lnTo>
                  <a:pt x="4901" y="340"/>
                </a:lnTo>
                <a:lnTo>
                  <a:pt x="4903" y="341"/>
                </a:lnTo>
                <a:lnTo>
                  <a:pt x="4906" y="343"/>
                </a:lnTo>
                <a:lnTo>
                  <a:pt x="4906" y="341"/>
                </a:lnTo>
                <a:lnTo>
                  <a:pt x="4906" y="339"/>
                </a:lnTo>
                <a:close/>
                <a:moveTo>
                  <a:pt x="11994" y="4174"/>
                </a:moveTo>
                <a:lnTo>
                  <a:pt x="12000" y="4174"/>
                </a:lnTo>
                <a:lnTo>
                  <a:pt x="11998" y="4172"/>
                </a:lnTo>
                <a:lnTo>
                  <a:pt x="11997" y="4172"/>
                </a:lnTo>
                <a:lnTo>
                  <a:pt x="11995" y="4172"/>
                </a:lnTo>
                <a:lnTo>
                  <a:pt x="11994" y="4174"/>
                </a:lnTo>
                <a:close/>
                <a:moveTo>
                  <a:pt x="4968" y="352"/>
                </a:moveTo>
                <a:lnTo>
                  <a:pt x="4966" y="349"/>
                </a:lnTo>
                <a:lnTo>
                  <a:pt x="4963" y="349"/>
                </a:lnTo>
                <a:lnTo>
                  <a:pt x="4962" y="350"/>
                </a:lnTo>
                <a:lnTo>
                  <a:pt x="4961" y="353"/>
                </a:lnTo>
                <a:lnTo>
                  <a:pt x="4963" y="354"/>
                </a:lnTo>
                <a:lnTo>
                  <a:pt x="4964" y="354"/>
                </a:lnTo>
                <a:lnTo>
                  <a:pt x="4967" y="354"/>
                </a:lnTo>
                <a:lnTo>
                  <a:pt x="4968" y="352"/>
                </a:lnTo>
                <a:close/>
                <a:moveTo>
                  <a:pt x="11887" y="4904"/>
                </a:moveTo>
                <a:lnTo>
                  <a:pt x="11887" y="4904"/>
                </a:lnTo>
                <a:lnTo>
                  <a:pt x="11887" y="4904"/>
                </a:lnTo>
                <a:lnTo>
                  <a:pt x="11886" y="4904"/>
                </a:lnTo>
                <a:lnTo>
                  <a:pt x="11887" y="4904"/>
                </a:lnTo>
                <a:lnTo>
                  <a:pt x="11890" y="4905"/>
                </a:lnTo>
                <a:lnTo>
                  <a:pt x="11890" y="4906"/>
                </a:lnTo>
                <a:lnTo>
                  <a:pt x="11890" y="4905"/>
                </a:lnTo>
                <a:lnTo>
                  <a:pt x="11887" y="4904"/>
                </a:lnTo>
                <a:close/>
                <a:moveTo>
                  <a:pt x="5136" y="369"/>
                </a:moveTo>
                <a:lnTo>
                  <a:pt x="5132" y="371"/>
                </a:lnTo>
                <a:lnTo>
                  <a:pt x="5134" y="372"/>
                </a:lnTo>
                <a:lnTo>
                  <a:pt x="5135" y="372"/>
                </a:lnTo>
                <a:lnTo>
                  <a:pt x="5136" y="372"/>
                </a:lnTo>
                <a:lnTo>
                  <a:pt x="5136" y="369"/>
                </a:lnTo>
                <a:close/>
                <a:moveTo>
                  <a:pt x="10866" y="2373"/>
                </a:moveTo>
                <a:lnTo>
                  <a:pt x="10866" y="2375"/>
                </a:lnTo>
                <a:lnTo>
                  <a:pt x="10867" y="2377"/>
                </a:lnTo>
                <a:lnTo>
                  <a:pt x="10868" y="2378"/>
                </a:lnTo>
                <a:lnTo>
                  <a:pt x="10871" y="2378"/>
                </a:lnTo>
                <a:lnTo>
                  <a:pt x="10871" y="2375"/>
                </a:lnTo>
                <a:lnTo>
                  <a:pt x="10870" y="2373"/>
                </a:lnTo>
                <a:lnTo>
                  <a:pt x="10868" y="2373"/>
                </a:lnTo>
                <a:lnTo>
                  <a:pt x="10866" y="2373"/>
                </a:lnTo>
                <a:close/>
                <a:moveTo>
                  <a:pt x="10922" y="1915"/>
                </a:moveTo>
                <a:lnTo>
                  <a:pt x="10923" y="1912"/>
                </a:lnTo>
                <a:lnTo>
                  <a:pt x="10926" y="1910"/>
                </a:lnTo>
                <a:lnTo>
                  <a:pt x="10923" y="1911"/>
                </a:lnTo>
                <a:lnTo>
                  <a:pt x="10922" y="1915"/>
                </a:lnTo>
                <a:close/>
                <a:moveTo>
                  <a:pt x="10918" y="1920"/>
                </a:moveTo>
                <a:lnTo>
                  <a:pt x="10919" y="1917"/>
                </a:lnTo>
                <a:lnTo>
                  <a:pt x="10918" y="1920"/>
                </a:lnTo>
                <a:lnTo>
                  <a:pt x="10921" y="1917"/>
                </a:lnTo>
                <a:lnTo>
                  <a:pt x="10918" y="1920"/>
                </a:lnTo>
                <a:close/>
                <a:moveTo>
                  <a:pt x="10815" y="1735"/>
                </a:moveTo>
                <a:lnTo>
                  <a:pt x="10815" y="1738"/>
                </a:lnTo>
                <a:lnTo>
                  <a:pt x="10815" y="1739"/>
                </a:lnTo>
                <a:lnTo>
                  <a:pt x="10817" y="1739"/>
                </a:lnTo>
                <a:lnTo>
                  <a:pt x="10820" y="1739"/>
                </a:lnTo>
                <a:lnTo>
                  <a:pt x="10815" y="1735"/>
                </a:lnTo>
                <a:close/>
                <a:moveTo>
                  <a:pt x="10634" y="1958"/>
                </a:moveTo>
                <a:lnTo>
                  <a:pt x="10638" y="1957"/>
                </a:lnTo>
                <a:lnTo>
                  <a:pt x="10637" y="1955"/>
                </a:lnTo>
                <a:lnTo>
                  <a:pt x="10635" y="1954"/>
                </a:lnTo>
                <a:lnTo>
                  <a:pt x="10634" y="1955"/>
                </a:lnTo>
                <a:lnTo>
                  <a:pt x="10634" y="1958"/>
                </a:lnTo>
                <a:close/>
                <a:moveTo>
                  <a:pt x="1158" y="322"/>
                </a:moveTo>
                <a:lnTo>
                  <a:pt x="1158" y="321"/>
                </a:lnTo>
                <a:lnTo>
                  <a:pt x="1157" y="318"/>
                </a:lnTo>
                <a:lnTo>
                  <a:pt x="1154" y="318"/>
                </a:lnTo>
                <a:lnTo>
                  <a:pt x="1153" y="317"/>
                </a:lnTo>
                <a:lnTo>
                  <a:pt x="1153" y="321"/>
                </a:lnTo>
                <a:lnTo>
                  <a:pt x="1154" y="324"/>
                </a:lnTo>
                <a:lnTo>
                  <a:pt x="1155" y="325"/>
                </a:lnTo>
                <a:lnTo>
                  <a:pt x="1158" y="322"/>
                </a:lnTo>
                <a:close/>
                <a:moveTo>
                  <a:pt x="10575" y="1887"/>
                </a:moveTo>
                <a:lnTo>
                  <a:pt x="10578" y="1888"/>
                </a:lnTo>
                <a:lnTo>
                  <a:pt x="10580" y="1887"/>
                </a:lnTo>
                <a:lnTo>
                  <a:pt x="10582" y="1884"/>
                </a:lnTo>
                <a:lnTo>
                  <a:pt x="10583" y="1880"/>
                </a:lnTo>
                <a:lnTo>
                  <a:pt x="10580" y="1879"/>
                </a:lnTo>
                <a:lnTo>
                  <a:pt x="10578" y="1880"/>
                </a:lnTo>
                <a:lnTo>
                  <a:pt x="10577" y="1883"/>
                </a:lnTo>
                <a:lnTo>
                  <a:pt x="10575" y="1887"/>
                </a:lnTo>
                <a:close/>
                <a:moveTo>
                  <a:pt x="1253" y="108"/>
                </a:moveTo>
                <a:lnTo>
                  <a:pt x="1253" y="111"/>
                </a:lnTo>
                <a:lnTo>
                  <a:pt x="1253" y="114"/>
                </a:lnTo>
                <a:lnTo>
                  <a:pt x="1255" y="114"/>
                </a:lnTo>
                <a:lnTo>
                  <a:pt x="1257" y="112"/>
                </a:lnTo>
                <a:lnTo>
                  <a:pt x="1253" y="108"/>
                </a:lnTo>
                <a:close/>
                <a:moveTo>
                  <a:pt x="11338" y="4158"/>
                </a:moveTo>
                <a:lnTo>
                  <a:pt x="11338" y="4154"/>
                </a:lnTo>
                <a:lnTo>
                  <a:pt x="11338" y="4151"/>
                </a:lnTo>
                <a:lnTo>
                  <a:pt x="11336" y="4150"/>
                </a:lnTo>
                <a:lnTo>
                  <a:pt x="11333" y="4151"/>
                </a:lnTo>
                <a:lnTo>
                  <a:pt x="11333" y="4154"/>
                </a:lnTo>
                <a:lnTo>
                  <a:pt x="11333" y="4156"/>
                </a:lnTo>
                <a:lnTo>
                  <a:pt x="11336" y="4156"/>
                </a:lnTo>
                <a:lnTo>
                  <a:pt x="11338" y="4158"/>
                </a:lnTo>
                <a:close/>
                <a:moveTo>
                  <a:pt x="10578" y="1846"/>
                </a:moveTo>
                <a:lnTo>
                  <a:pt x="10575" y="1845"/>
                </a:lnTo>
                <a:lnTo>
                  <a:pt x="10578" y="1846"/>
                </a:lnTo>
                <a:lnTo>
                  <a:pt x="10580" y="1836"/>
                </a:lnTo>
                <a:lnTo>
                  <a:pt x="10580" y="1832"/>
                </a:lnTo>
                <a:lnTo>
                  <a:pt x="10580" y="1836"/>
                </a:lnTo>
                <a:lnTo>
                  <a:pt x="10578" y="1846"/>
                </a:lnTo>
                <a:close/>
                <a:moveTo>
                  <a:pt x="10583" y="1826"/>
                </a:moveTo>
                <a:lnTo>
                  <a:pt x="10582" y="1827"/>
                </a:lnTo>
                <a:lnTo>
                  <a:pt x="10582" y="1828"/>
                </a:lnTo>
                <a:lnTo>
                  <a:pt x="10583" y="1827"/>
                </a:lnTo>
                <a:lnTo>
                  <a:pt x="10583" y="1826"/>
                </a:lnTo>
                <a:lnTo>
                  <a:pt x="10583" y="1826"/>
                </a:lnTo>
                <a:lnTo>
                  <a:pt x="10583" y="1826"/>
                </a:lnTo>
                <a:close/>
                <a:moveTo>
                  <a:pt x="7390" y="657"/>
                </a:moveTo>
                <a:lnTo>
                  <a:pt x="7389" y="658"/>
                </a:lnTo>
                <a:lnTo>
                  <a:pt x="7390" y="657"/>
                </a:lnTo>
                <a:lnTo>
                  <a:pt x="7384" y="654"/>
                </a:lnTo>
                <a:lnTo>
                  <a:pt x="7390" y="657"/>
                </a:lnTo>
                <a:close/>
                <a:moveTo>
                  <a:pt x="1458" y="474"/>
                </a:moveTo>
                <a:lnTo>
                  <a:pt x="1460" y="471"/>
                </a:lnTo>
                <a:lnTo>
                  <a:pt x="1460" y="470"/>
                </a:lnTo>
                <a:lnTo>
                  <a:pt x="1458" y="470"/>
                </a:lnTo>
                <a:lnTo>
                  <a:pt x="1456" y="469"/>
                </a:lnTo>
                <a:lnTo>
                  <a:pt x="1458" y="474"/>
                </a:lnTo>
                <a:close/>
                <a:moveTo>
                  <a:pt x="11514" y="2760"/>
                </a:moveTo>
                <a:lnTo>
                  <a:pt x="11515" y="2762"/>
                </a:lnTo>
                <a:lnTo>
                  <a:pt x="11517" y="2764"/>
                </a:lnTo>
                <a:lnTo>
                  <a:pt x="11519" y="2764"/>
                </a:lnTo>
                <a:lnTo>
                  <a:pt x="11522" y="2762"/>
                </a:lnTo>
                <a:lnTo>
                  <a:pt x="11520" y="2760"/>
                </a:lnTo>
                <a:lnTo>
                  <a:pt x="11519" y="2759"/>
                </a:lnTo>
                <a:lnTo>
                  <a:pt x="11517" y="2759"/>
                </a:lnTo>
                <a:lnTo>
                  <a:pt x="11514" y="2760"/>
                </a:lnTo>
                <a:close/>
                <a:moveTo>
                  <a:pt x="1462" y="1049"/>
                </a:moveTo>
                <a:lnTo>
                  <a:pt x="1461" y="1047"/>
                </a:lnTo>
                <a:lnTo>
                  <a:pt x="1460" y="1045"/>
                </a:lnTo>
                <a:lnTo>
                  <a:pt x="1457" y="1047"/>
                </a:lnTo>
                <a:lnTo>
                  <a:pt x="1455" y="1048"/>
                </a:lnTo>
                <a:lnTo>
                  <a:pt x="1456" y="1050"/>
                </a:lnTo>
                <a:lnTo>
                  <a:pt x="1458" y="1052"/>
                </a:lnTo>
                <a:lnTo>
                  <a:pt x="1460" y="1052"/>
                </a:lnTo>
                <a:lnTo>
                  <a:pt x="1462" y="1049"/>
                </a:lnTo>
                <a:close/>
                <a:moveTo>
                  <a:pt x="1658" y="3"/>
                </a:moveTo>
                <a:lnTo>
                  <a:pt x="1656" y="1"/>
                </a:lnTo>
                <a:lnTo>
                  <a:pt x="1655" y="0"/>
                </a:lnTo>
                <a:lnTo>
                  <a:pt x="1655" y="0"/>
                </a:lnTo>
                <a:lnTo>
                  <a:pt x="1652" y="1"/>
                </a:lnTo>
                <a:lnTo>
                  <a:pt x="1651" y="4"/>
                </a:lnTo>
                <a:lnTo>
                  <a:pt x="1653" y="5"/>
                </a:lnTo>
                <a:lnTo>
                  <a:pt x="1655" y="5"/>
                </a:lnTo>
                <a:lnTo>
                  <a:pt x="1656" y="5"/>
                </a:lnTo>
                <a:lnTo>
                  <a:pt x="1658" y="3"/>
                </a:lnTo>
                <a:close/>
                <a:moveTo>
                  <a:pt x="11587" y="2312"/>
                </a:moveTo>
                <a:lnTo>
                  <a:pt x="11590" y="2311"/>
                </a:lnTo>
                <a:lnTo>
                  <a:pt x="11589" y="2307"/>
                </a:lnTo>
                <a:lnTo>
                  <a:pt x="11585" y="2305"/>
                </a:lnTo>
                <a:lnTo>
                  <a:pt x="11583" y="2308"/>
                </a:lnTo>
                <a:lnTo>
                  <a:pt x="11584" y="2311"/>
                </a:lnTo>
                <a:lnTo>
                  <a:pt x="11587" y="2312"/>
                </a:lnTo>
                <a:close/>
                <a:moveTo>
                  <a:pt x="8091" y="3715"/>
                </a:moveTo>
                <a:lnTo>
                  <a:pt x="8088" y="3713"/>
                </a:lnTo>
                <a:lnTo>
                  <a:pt x="8091" y="3715"/>
                </a:lnTo>
                <a:lnTo>
                  <a:pt x="8092" y="3716"/>
                </a:lnTo>
                <a:lnTo>
                  <a:pt x="8093" y="3718"/>
                </a:lnTo>
                <a:lnTo>
                  <a:pt x="8093" y="3718"/>
                </a:lnTo>
                <a:lnTo>
                  <a:pt x="8093" y="3717"/>
                </a:lnTo>
                <a:lnTo>
                  <a:pt x="8093" y="3717"/>
                </a:lnTo>
                <a:lnTo>
                  <a:pt x="8093" y="3717"/>
                </a:lnTo>
                <a:lnTo>
                  <a:pt x="8092" y="3716"/>
                </a:lnTo>
                <a:lnTo>
                  <a:pt x="8091" y="3715"/>
                </a:lnTo>
                <a:lnTo>
                  <a:pt x="8090" y="3713"/>
                </a:lnTo>
                <a:lnTo>
                  <a:pt x="8090" y="3712"/>
                </a:lnTo>
                <a:lnTo>
                  <a:pt x="8090" y="3712"/>
                </a:lnTo>
                <a:lnTo>
                  <a:pt x="8091" y="3715"/>
                </a:lnTo>
                <a:close/>
                <a:moveTo>
                  <a:pt x="11514" y="3534"/>
                </a:moveTo>
                <a:lnTo>
                  <a:pt x="11517" y="3531"/>
                </a:lnTo>
                <a:lnTo>
                  <a:pt x="11517" y="3530"/>
                </a:lnTo>
                <a:lnTo>
                  <a:pt x="11514" y="3527"/>
                </a:lnTo>
                <a:lnTo>
                  <a:pt x="11510" y="3525"/>
                </a:lnTo>
                <a:lnTo>
                  <a:pt x="11508" y="3526"/>
                </a:lnTo>
                <a:lnTo>
                  <a:pt x="11508" y="3529"/>
                </a:lnTo>
                <a:lnTo>
                  <a:pt x="11510" y="3531"/>
                </a:lnTo>
                <a:lnTo>
                  <a:pt x="11514" y="3534"/>
                </a:lnTo>
                <a:close/>
                <a:moveTo>
                  <a:pt x="11587" y="3127"/>
                </a:moveTo>
                <a:lnTo>
                  <a:pt x="11588" y="3128"/>
                </a:lnTo>
                <a:lnTo>
                  <a:pt x="11589" y="3129"/>
                </a:lnTo>
                <a:lnTo>
                  <a:pt x="11590" y="3129"/>
                </a:lnTo>
                <a:lnTo>
                  <a:pt x="11592" y="3127"/>
                </a:lnTo>
                <a:lnTo>
                  <a:pt x="11587" y="3127"/>
                </a:lnTo>
                <a:close/>
                <a:moveTo>
                  <a:pt x="10540" y="1883"/>
                </a:moveTo>
                <a:lnTo>
                  <a:pt x="10542" y="1882"/>
                </a:lnTo>
                <a:lnTo>
                  <a:pt x="10544" y="1880"/>
                </a:lnTo>
                <a:lnTo>
                  <a:pt x="10544" y="1878"/>
                </a:lnTo>
                <a:lnTo>
                  <a:pt x="10544" y="1875"/>
                </a:lnTo>
                <a:lnTo>
                  <a:pt x="10540" y="1874"/>
                </a:lnTo>
                <a:lnTo>
                  <a:pt x="10538" y="1877"/>
                </a:lnTo>
                <a:lnTo>
                  <a:pt x="10538" y="1879"/>
                </a:lnTo>
                <a:lnTo>
                  <a:pt x="10540" y="1883"/>
                </a:lnTo>
                <a:close/>
                <a:moveTo>
                  <a:pt x="11528" y="3662"/>
                </a:moveTo>
                <a:lnTo>
                  <a:pt x="11529" y="3660"/>
                </a:lnTo>
                <a:lnTo>
                  <a:pt x="11529" y="3660"/>
                </a:lnTo>
                <a:lnTo>
                  <a:pt x="11529" y="3661"/>
                </a:lnTo>
                <a:lnTo>
                  <a:pt x="11528" y="3662"/>
                </a:lnTo>
                <a:lnTo>
                  <a:pt x="11537" y="3665"/>
                </a:lnTo>
                <a:lnTo>
                  <a:pt x="11541" y="3666"/>
                </a:lnTo>
                <a:lnTo>
                  <a:pt x="11538" y="3665"/>
                </a:lnTo>
                <a:lnTo>
                  <a:pt x="11528" y="3662"/>
                </a:lnTo>
                <a:close/>
                <a:moveTo>
                  <a:pt x="11548" y="3667"/>
                </a:moveTo>
                <a:lnTo>
                  <a:pt x="11546" y="3667"/>
                </a:lnTo>
                <a:lnTo>
                  <a:pt x="11547" y="3667"/>
                </a:lnTo>
                <a:lnTo>
                  <a:pt x="11547" y="3667"/>
                </a:lnTo>
                <a:lnTo>
                  <a:pt x="11548" y="3667"/>
                </a:lnTo>
                <a:lnTo>
                  <a:pt x="11581" y="3688"/>
                </a:lnTo>
                <a:lnTo>
                  <a:pt x="11607" y="3693"/>
                </a:lnTo>
                <a:lnTo>
                  <a:pt x="11629" y="3685"/>
                </a:lnTo>
                <a:lnTo>
                  <a:pt x="11649" y="3665"/>
                </a:lnTo>
                <a:lnTo>
                  <a:pt x="11621" y="3659"/>
                </a:lnTo>
                <a:lnTo>
                  <a:pt x="11601" y="3657"/>
                </a:lnTo>
                <a:lnTo>
                  <a:pt x="11580" y="3660"/>
                </a:lnTo>
                <a:lnTo>
                  <a:pt x="11548" y="3667"/>
                </a:lnTo>
                <a:close/>
                <a:moveTo>
                  <a:pt x="11573" y="3442"/>
                </a:moveTo>
                <a:lnTo>
                  <a:pt x="11567" y="3443"/>
                </a:lnTo>
                <a:lnTo>
                  <a:pt x="11565" y="3447"/>
                </a:lnTo>
                <a:lnTo>
                  <a:pt x="11562" y="3451"/>
                </a:lnTo>
                <a:lnTo>
                  <a:pt x="11561" y="3456"/>
                </a:lnTo>
                <a:lnTo>
                  <a:pt x="11561" y="3456"/>
                </a:lnTo>
                <a:lnTo>
                  <a:pt x="11561" y="3456"/>
                </a:lnTo>
                <a:lnTo>
                  <a:pt x="11566" y="3454"/>
                </a:lnTo>
                <a:lnTo>
                  <a:pt x="11570" y="3451"/>
                </a:lnTo>
                <a:lnTo>
                  <a:pt x="11573" y="3447"/>
                </a:lnTo>
                <a:lnTo>
                  <a:pt x="11573" y="3442"/>
                </a:lnTo>
                <a:close/>
                <a:moveTo>
                  <a:pt x="11561" y="3456"/>
                </a:moveTo>
                <a:lnTo>
                  <a:pt x="11560" y="3456"/>
                </a:lnTo>
                <a:lnTo>
                  <a:pt x="11561" y="3456"/>
                </a:lnTo>
                <a:close/>
                <a:moveTo>
                  <a:pt x="11105" y="4616"/>
                </a:moveTo>
                <a:lnTo>
                  <a:pt x="11106" y="4612"/>
                </a:lnTo>
                <a:lnTo>
                  <a:pt x="11108" y="4608"/>
                </a:lnTo>
                <a:lnTo>
                  <a:pt x="11108" y="4606"/>
                </a:lnTo>
                <a:lnTo>
                  <a:pt x="11104" y="4603"/>
                </a:lnTo>
                <a:lnTo>
                  <a:pt x="11103" y="4607"/>
                </a:lnTo>
                <a:lnTo>
                  <a:pt x="11101" y="4611"/>
                </a:lnTo>
                <a:lnTo>
                  <a:pt x="11103" y="4613"/>
                </a:lnTo>
                <a:lnTo>
                  <a:pt x="11105" y="4616"/>
                </a:lnTo>
                <a:close/>
                <a:moveTo>
                  <a:pt x="2030" y="135"/>
                </a:moveTo>
                <a:lnTo>
                  <a:pt x="2034" y="134"/>
                </a:lnTo>
                <a:lnTo>
                  <a:pt x="2033" y="130"/>
                </a:lnTo>
                <a:lnTo>
                  <a:pt x="2029" y="129"/>
                </a:lnTo>
                <a:lnTo>
                  <a:pt x="2025" y="131"/>
                </a:lnTo>
                <a:lnTo>
                  <a:pt x="2028" y="134"/>
                </a:lnTo>
                <a:lnTo>
                  <a:pt x="2030" y="135"/>
                </a:lnTo>
                <a:close/>
                <a:moveTo>
                  <a:pt x="11674" y="3417"/>
                </a:moveTo>
                <a:lnTo>
                  <a:pt x="11677" y="3421"/>
                </a:lnTo>
                <a:lnTo>
                  <a:pt x="11678" y="3418"/>
                </a:lnTo>
                <a:lnTo>
                  <a:pt x="11678" y="3417"/>
                </a:lnTo>
                <a:lnTo>
                  <a:pt x="11677" y="3417"/>
                </a:lnTo>
                <a:lnTo>
                  <a:pt x="11674" y="3417"/>
                </a:lnTo>
                <a:close/>
                <a:moveTo>
                  <a:pt x="11771" y="2984"/>
                </a:moveTo>
                <a:lnTo>
                  <a:pt x="11766" y="2981"/>
                </a:lnTo>
                <a:lnTo>
                  <a:pt x="11766" y="2984"/>
                </a:lnTo>
                <a:lnTo>
                  <a:pt x="11767" y="2985"/>
                </a:lnTo>
                <a:lnTo>
                  <a:pt x="11769" y="2985"/>
                </a:lnTo>
                <a:lnTo>
                  <a:pt x="11771" y="2984"/>
                </a:lnTo>
                <a:close/>
                <a:moveTo>
                  <a:pt x="2061" y="298"/>
                </a:moveTo>
                <a:lnTo>
                  <a:pt x="2062" y="301"/>
                </a:lnTo>
                <a:lnTo>
                  <a:pt x="2061" y="298"/>
                </a:lnTo>
                <a:lnTo>
                  <a:pt x="2059" y="302"/>
                </a:lnTo>
                <a:lnTo>
                  <a:pt x="2061" y="298"/>
                </a:lnTo>
                <a:close/>
                <a:moveTo>
                  <a:pt x="2155" y="416"/>
                </a:moveTo>
                <a:lnTo>
                  <a:pt x="2155" y="414"/>
                </a:lnTo>
                <a:lnTo>
                  <a:pt x="2154" y="413"/>
                </a:lnTo>
                <a:lnTo>
                  <a:pt x="2152" y="411"/>
                </a:lnTo>
                <a:lnTo>
                  <a:pt x="2150" y="411"/>
                </a:lnTo>
                <a:lnTo>
                  <a:pt x="2150" y="414"/>
                </a:lnTo>
                <a:lnTo>
                  <a:pt x="2151" y="416"/>
                </a:lnTo>
                <a:lnTo>
                  <a:pt x="2152" y="418"/>
                </a:lnTo>
                <a:lnTo>
                  <a:pt x="2155" y="416"/>
                </a:lnTo>
                <a:close/>
                <a:moveTo>
                  <a:pt x="10970" y="4581"/>
                </a:moveTo>
                <a:lnTo>
                  <a:pt x="10974" y="4580"/>
                </a:lnTo>
                <a:lnTo>
                  <a:pt x="10973" y="4576"/>
                </a:lnTo>
                <a:lnTo>
                  <a:pt x="10969" y="4575"/>
                </a:lnTo>
                <a:lnTo>
                  <a:pt x="10965" y="4579"/>
                </a:lnTo>
                <a:lnTo>
                  <a:pt x="10968" y="4580"/>
                </a:lnTo>
                <a:lnTo>
                  <a:pt x="10970" y="4581"/>
                </a:lnTo>
                <a:close/>
                <a:moveTo>
                  <a:pt x="11024" y="4198"/>
                </a:moveTo>
                <a:lnTo>
                  <a:pt x="11029" y="4198"/>
                </a:lnTo>
                <a:lnTo>
                  <a:pt x="11027" y="4197"/>
                </a:lnTo>
                <a:lnTo>
                  <a:pt x="11026" y="4196"/>
                </a:lnTo>
                <a:lnTo>
                  <a:pt x="11025" y="4196"/>
                </a:lnTo>
                <a:lnTo>
                  <a:pt x="11024" y="4198"/>
                </a:lnTo>
                <a:close/>
                <a:moveTo>
                  <a:pt x="11812" y="3412"/>
                </a:moveTo>
                <a:lnTo>
                  <a:pt x="11816" y="3410"/>
                </a:lnTo>
                <a:lnTo>
                  <a:pt x="11816" y="3408"/>
                </a:lnTo>
                <a:lnTo>
                  <a:pt x="11813" y="3405"/>
                </a:lnTo>
                <a:lnTo>
                  <a:pt x="11809" y="3404"/>
                </a:lnTo>
                <a:lnTo>
                  <a:pt x="11806" y="3405"/>
                </a:lnTo>
                <a:lnTo>
                  <a:pt x="11806" y="3408"/>
                </a:lnTo>
                <a:lnTo>
                  <a:pt x="11809" y="3410"/>
                </a:lnTo>
                <a:lnTo>
                  <a:pt x="11812" y="3412"/>
                </a:lnTo>
                <a:close/>
                <a:moveTo>
                  <a:pt x="2326" y="187"/>
                </a:moveTo>
                <a:lnTo>
                  <a:pt x="2324" y="190"/>
                </a:lnTo>
                <a:lnTo>
                  <a:pt x="2326" y="190"/>
                </a:lnTo>
                <a:lnTo>
                  <a:pt x="2327" y="190"/>
                </a:lnTo>
                <a:lnTo>
                  <a:pt x="2327" y="189"/>
                </a:lnTo>
                <a:lnTo>
                  <a:pt x="2326" y="187"/>
                </a:lnTo>
                <a:close/>
                <a:moveTo>
                  <a:pt x="8747" y="1067"/>
                </a:moveTo>
                <a:lnTo>
                  <a:pt x="8747" y="1066"/>
                </a:lnTo>
                <a:lnTo>
                  <a:pt x="8745" y="1063"/>
                </a:lnTo>
                <a:lnTo>
                  <a:pt x="8744" y="1063"/>
                </a:lnTo>
                <a:lnTo>
                  <a:pt x="8742" y="1064"/>
                </a:lnTo>
                <a:lnTo>
                  <a:pt x="8742" y="1066"/>
                </a:lnTo>
                <a:lnTo>
                  <a:pt x="8743" y="1068"/>
                </a:lnTo>
                <a:lnTo>
                  <a:pt x="8744" y="1068"/>
                </a:lnTo>
                <a:lnTo>
                  <a:pt x="8747" y="1067"/>
                </a:lnTo>
                <a:close/>
                <a:moveTo>
                  <a:pt x="10905" y="4757"/>
                </a:moveTo>
                <a:lnTo>
                  <a:pt x="10906" y="4756"/>
                </a:lnTo>
                <a:lnTo>
                  <a:pt x="10906" y="4753"/>
                </a:lnTo>
                <a:lnTo>
                  <a:pt x="10903" y="4751"/>
                </a:lnTo>
                <a:lnTo>
                  <a:pt x="10900" y="4753"/>
                </a:lnTo>
                <a:lnTo>
                  <a:pt x="10900" y="4757"/>
                </a:lnTo>
                <a:lnTo>
                  <a:pt x="10905" y="4757"/>
                </a:lnTo>
                <a:close/>
                <a:moveTo>
                  <a:pt x="11980" y="3423"/>
                </a:moveTo>
                <a:lnTo>
                  <a:pt x="11976" y="3422"/>
                </a:lnTo>
                <a:lnTo>
                  <a:pt x="11976" y="3424"/>
                </a:lnTo>
                <a:lnTo>
                  <a:pt x="11978" y="3427"/>
                </a:lnTo>
                <a:lnTo>
                  <a:pt x="11981" y="3427"/>
                </a:lnTo>
                <a:lnTo>
                  <a:pt x="11981" y="3424"/>
                </a:lnTo>
                <a:lnTo>
                  <a:pt x="11980" y="3423"/>
                </a:lnTo>
                <a:close/>
                <a:moveTo>
                  <a:pt x="12170" y="2804"/>
                </a:moveTo>
                <a:lnTo>
                  <a:pt x="12167" y="2801"/>
                </a:lnTo>
                <a:lnTo>
                  <a:pt x="12165" y="2801"/>
                </a:lnTo>
                <a:lnTo>
                  <a:pt x="12162" y="2802"/>
                </a:lnTo>
                <a:lnTo>
                  <a:pt x="12158" y="2803"/>
                </a:lnTo>
                <a:lnTo>
                  <a:pt x="12161" y="2807"/>
                </a:lnTo>
                <a:lnTo>
                  <a:pt x="12163" y="2807"/>
                </a:lnTo>
                <a:lnTo>
                  <a:pt x="12167" y="2806"/>
                </a:lnTo>
                <a:lnTo>
                  <a:pt x="12170" y="2804"/>
                </a:lnTo>
                <a:close/>
                <a:moveTo>
                  <a:pt x="2696" y="348"/>
                </a:moveTo>
                <a:lnTo>
                  <a:pt x="2692" y="348"/>
                </a:lnTo>
                <a:lnTo>
                  <a:pt x="2691" y="349"/>
                </a:lnTo>
                <a:lnTo>
                  <a:pt x="2690" y="353"/>
                </a:lnTo>
                <a:lnTo>
                  <a:pt x="2690" y="357"/>
                </a:lnTo>
                <a:lnTo>
                  <a:pt x="2695" y="357"/>
                </a:lnTo>
                <a:lnTo>
                  <a:pt x="2699" y="355"/>
                </a:lnTo>
                <a:lnTo>
                  <a:pt x="2700" y="353"/>
                </a:lnTo>
                <a:lnTo>
                  <a:pt x="2696" y="348"/>
                </a:lnTo>
                <a:close/>
                <a:moveTo>
                  <a:pt x="2831" y="237"/>
                </a:moveTo>
                <a:lnTo>
                  <a:pt x="2829" y="238"/>
                </a:lnTo>
                <a:lnTo>
                  <a:pt x="2829" y="240"/>
                </a:lnTo>
                <a:lnTo>
                  <a:pt x="2831" y="240"/>
                </a:lnTo>
                <a:lnTo>
                  <a:pt x="2833" y="241"/>
                </a:lnTo>
                <a:lnTo>
                  <a:pt x="2831" y="237"/>
                </a:lnTo>
                <a:close/>
                <a:moveTo>
                  <a:pt x="2951" y="526"/>
                </a:moveTo>
                <a:lnTo>
                  <a:pt x="2956" y="531"/>
                </a:lnTo>
                <a:lnTo>
                  <a:pt x="2962" y="531"/>
                </a:lnTo>
                <a:lnTo>
                  <a:pt x="2967" y="527"/>
                </a:lnTo>
                <a:lnTo>
                  <a:pt x="2974" y="525"/>
                </a:lnTo>
                <a:lnTo>
                  <a:pt x="2967" y="522"/>
                </a:lnTo>
                <a:lnTo>
                  <a:pt x="2961" y="521"/>
                </a:lnTo>
                <a:lnTo>
                  <a:pt x="2956" y="522"/>
                </a:lnTo>
                <a:lnTo>
                  <a:pt x="2951" y="526"/>
                </a:lnTo>
                <a:close/>
                <a:moveTo>
                  <a:pt x="10530" y="1417"/>
                </a:moveTo>
                <a:lnTo>
                  <a:pt x="10526" y="1417"/>
                </a:lnTo>
                <a:lnTo>
                  <a:pt x="10522" y="1416"/>
                </a:lnTo>
                <a:lnTo>
                  <a:pt x="10519" y="1416"/>
                </a:lnTo>
                <a:lnTo>
                  <a:pt x="10519" y="1420"/>
                </a:lnTo>
                <a:lnTo>
                  <a:pt x="10522" y="1421"/>
                </a:lnTo>
                <a:lnTo>
                  <a:pt x="10526" y="1421"/>
                </a:lnTo>
                <a:lnTo>
                  <a:pt x="10528" y="1421"/>
                </a:lnTo>
                <a:lnTo>
                  <a:pt x="10530" y="1417"/>
                </a:lnTo>
                <a:close/>
                <a:moveTo>
                  <a:pt x="10504" y="2130"/>
                </a:moveTo>
                <a:lnTo>
                  <a:pt x="10502" y="2127"/>
                </a:lnTo>
                <a:lnTo>
                  <a:pt x="10499" y="2129"/>
                </a:lnTo>
                <a:lnTo>
                  <a:pt x="10499" y="2131"/>
                </a:lnTo>
                <a:lnTo>
                  <a:pt x="10502" y="2134"/>
                </a:lnTo>
                <a:lnTo>
                  <a:pt x="10504" y="2131"/>
                </a:lnTo>
                <a:lnTo>
                  <a:pt x="10504" y="2130"/>
                </a:lnTo>
                <a:close/>
                <a:moveTo>
                  <a:pt x="10737" y="4497"/>
                </a:moveTo>
                <a:lnTo>
                  <a:pt x="10741" y="4501"/>
                </a:lnTo>
                <a:lnTo>
                  <a:pt x="10746" y="4504"/>
                </a:lnTo>
                <a:lnTo>
                  <a:pt x="10750" y="4503"/>
                </a:lnTo>
                <a:lnTo>
                  <a:pt x="10755" y="4500"/>
                </a:lnTo>
                <a:lnTo>
                  <a:pt x="10751" y="4495"/>
                </a:lnTo>
                <a:lnTo>
                  <a:pt x="10747" y="4492"/>
                </a:lnTo>
                <a:lnTo>
                  <a:pt x="10742" y="4494"/>
                </a:lnTo>
                <a:lnTo>
                  <a:pt x="10737" y="4497"/>
                </a:lnTo>
                <a:close/>
                <a:moveTo>
                  <a:pt x="3534" y="320"/>
                </a:moveTo>
                <a:lnTo>
                  <a:pt x="3537" y="317"/>
                </a:lnTo>
                <a:lnTo>
                  <a:pt x="3538" y="316"/>
                </a:lnTo>
                <a:lnTo>
                  <a:pt x="3537" y="313"/>
                </a:lnTo>
                <a:lnTo>
                  <a:pt x="3534" y="313"/>
                </a:lnTo>
                <a:lnTo>
                  <a:pt x="3532" y="315"/>
                </a:lnTo>
                <a:lnTo>
                  <a:pt x="3532" y="317"/>
                </a:lnTo>
                <a:lnTo>
                  <a:pt x="3533" y="318"/>
                </a:lnTo>
                <a:lnTo>
                  <a:pt x="3534" y="320"/>
                </a:lnTo>
                <a:close/>
                <a:moveTo>
                  <a:pt x="10701" y="4469"/>
                </a:moveTo>
                <a:lnTo>
                  <a:pt x="10704" y="4468"/>
                </a:lnTo>
                <a:lnTo>
                  <a:pt x="10705" y="4467"/>
                </a:lnTo>
                <a:lnTo>
                  <a:pt x="10705" y="4464"/>
                </a:lnTo>
                <a:lnTo>
                  <a:pt x="10703" y="4462"/>
                </a:lnTo>
                <a:lnTo>
                  <a:pt x="10700" y="4464"/>
                </a:lnTo>
                <a:lnTo>
                  <a:pt x="10698" y="4466"/>
                </a:lnTo>
                <a:lnTo>
                  <a:pt x="10698" y="4468"/>
                </a:lnTo>
                <a:lnTo>
                  <a:pt x="10701" y="4469"/>
                </a:lnTo>
                <a:close/>
                <a:moveTo>
                  <a:pt x="11118" y="1698"/>
                </a:moveTo>
                <a:lnTo>
                  <a:pt x="11115" y="1697"/>
                </a:lnTo>
                <a:lnTo>
                  <a:pt x="11114" y="1697"/>
                </a:lnTo>
                <a:lnTo>
                  <a:pt x="11113" y="1697"/>
                </a:lnTo>
                <a:lnTo>
                  <a:pt x="11110" y="1700"/>
                </a:lnTo>
                <a:lnTo>
                  <a:pt x="11113" y="1701"/>
                </a:lnTo>
                <a:lnTo>
                  <a:pt x="11114" y="1701"/>
                </a:lnTo>
                <a:lnTo>
                  <a:pt x="11117" y="1701"/>
                </a:lnTo>
                <a:lnTo>
                  <a:pt x="11118" y="1698"/>
                </a:lnTo>
                <a:close/>
                <a:moveTo>
                  <a:pt x="4442" y="283"/>
                </a:moveTo>
                <a:lnTo>
                  <a:pt x="4440" y="287"/>
                </a:lnTo>
                <a:lnTo>
                  <a:pt x="4442" y="287"/>
                </a:lnTo>
                <a:lnTo>
                  <a:pt x="4443" y="287"/>
                </a:lnTo>
                <a:lnTo>
                  <a:pt x="4443" y="285"/>
                </a:lnTo>
                <a:lnTo>
                  <a:pt x="4442" y="283"/>
                </a:lnTo>
                <a:close/>
                <a:moveTo>
                  <a:pt x="11012" y="2188"/>
                </a:moveTo>
                <a:lnTo>
                  <a:pt x="11015" y="2186"/>
                </a:lnTo>
                <a:lnTo>
                  <a:pt x="11013" y="2185"/>
                </a:lnTo>
                <a:lnTo>
                  <a:pt x="11011" y="2185"/>
                </a:lnTo>
                <a:lnTo>
                  <a:pt x="11010" y="2186"/>
                </a:lnTo>
                <a:lnTo>
                  <a:pt x="11011" y="2188"/>
                </a:lnTo>
                <a:lnTo>
                  <a:pt x="11012" y="2188"/>
                </a:lnTo>
                <a:close/>
                <a:moveTo>
                  <a:pt x="4568" y="203"/>
                </a:moveTo>
                <a:lnTo>
                  <a:pt x="4566" y="201"/>
                </a:lnTo>
                <a:lnTo>
                  <a:pt x="4561" y="200"/>
                </a:lnTo>
                <a:lnTo>
                  <a:pt x="4564" y="203"/>
                </a:lnTo>
                <a:lnTo>
                  <a:pt x="4567" y="205"/>
                </a:lnTo>
                <a:lnTo>
                  <a:pt x="4568" y="205"/>
                </a:lnTo>
                <a:lnTo>
                  <a:pt x="4568" y="203"/>
                </a:lnTo>
                <a:close/>
                <a:moveTo>
                  <a:pt x="9125" y="1108"/>
                </a:moveTo>
                <a:lnTo>
                  <a:pt x="9122" y="1109"/>
                </a:lnTo>
                <a:lnTo>
                  <a:pt x="9121" y="1109"/>
                </a:lnTo>
                <a:lnTo>
                  <a:pt x="9122" y="1110"/>
                </a:lnTo>
                <a:lnTo>
                  <a:pt x="9124" y="1113"/>
                </a:lnTo>
                <a:lnTo>
                  <a:pt x="9125" y="1108"/>
                </a:lnTo>
                <a:close/>
                <a:moveTo>
                  <a:pt x="9152" y="1244"/>
                </a:moveTo>
                <a:lnTo>
                  <a:pt x="9149" y="1245"/>
                </a:lnTo>
                <a:lnTo>
                  <a:pt x="9152" y="1244"/>
                </a:lnTo>
                <a:lnTo>
                  <a:pt x="9149" y="1240"/>
                </a:lnTo>
                <a:lnTo>
                  <a:pt x="9145" y="1241"/>
                </a:lnTo>
                <a:lnTo>
                  <a:pt x="9145" y="1243"/>
                </a:lnTo>
                <a:lnTo>
                  <a:pt x="9152" y="1244"/>
                </a:lnTo>
                <a:close/>
                <a:moveTo>
                  <a:pt x="10558" y="1492"/>
                </a:moveTo>
                <a:lnTo>
                  <a:pt x="10558" y="1487"/>
                </a:lnTo>
                <a:lnTo>
                  <a:pt x="10556" y="1484"/>
                </a:lnTo>
                <a:lnTo>
                  <a:pt x="10551" y="1484"/>
                </a:lnTo>
                <a:lnTo>
                  <a:pt x="10546" y="1486"/>
                </a:lnTo>
                <a:lnTo>
                  <a:pt x="10549" y="1488"/>
                </a:lnTo>
                <a:lnTo>
                  <a:pt x="10551" y="1492"/>
                </a:lnTo>
                <a:lnTo>
                  <a:pt x="10555" y="1493"/>
                </a:lnTo>
                <a:lnTo>
                  <a:pt x="10558" y="1492"/>
                </a:lnTo>
                <a:close/>
                <a:moveTo>
                  <a:pt x="11002" y="1860"/>
                </a:moveTo>
                <a:lnTo>
                  <a:pt x="10998" y="1857"/>
                </a:lnTo>
                <a:lnTo>
                  <a:pt x="10998" y="1860"/>
                </a:lnTo>
                <a:lnTo>
                  <a:pt x="10999" y="1861"/>
                </a:lnTo>
                <a:lnTo>
                  <a:pt x="11001" y="1861"/>
                </a:lnTo>
                <a:lnTo>
                  <a:pt x="11002" y="1860"/>
                </a:lnTo>
                <a:close/>
                <a:moveTo>
                  <a:pt x="10498" y="4592"/>
                </a:moveTo>
                <a:lnTo>
                  <a:pt x="10493" y="4590"/>
                </a:lnTo>
                <a:lnTo>
                  <a:pt x="10489" y="4592"/>
                </a:lnTo>
                <a:lnTo>
                  <a:pt x="10485" y="4593"/>
                </a:lnTo>
                <a:lnTo>
                  <a:pt x="10481" y="4594"/>
                </a:lnTo>
                <a:lnTo>
                  <a:pt x="10486" y="4595"/>
                </a:lnTo>
                <a:lnTo>
                  <a:pt x="10490" y="4595"/>
                </a:lnTo>
                <a:lnTo>
                  <a:pt x="10494" y="4594"/>
                </a:lnTo>
                <a:lnTo>
                  <a:pt x="10498" y="4592"/>
                </a:lnTo>
                <a:close/>
                <a:moveTo>
                  <a:pt x="10480" y="4594"/>
                </a:moveTo>
                <a:lnTo>
                  <a:pt x="10480" y="4594"/>
                </a:lnTo>
                <a:lnTo>
                  <a:pt x="10480" y="4594"/>
                </a:lnTo>
                <a:lnTo>
                  <a:pt x="10480" y="4594"/>
                </a:lnTo>
                <a:lnTo>
                  <a:pt x="10480" y="4594"/>
                </a:lnTo>
                <a:lnTo>
                  <a:pt x="10480" y="4595"/>
                </a:lnTo>
                <a:lnTo>
                  <a:pt x="10480" y="4595"/>
                </a:lnTo>
                <a:lnTo>
                  <a:pt x="10480" y="4595"/>
                </a:lnTo>
                <a:lnTo>
                  <a:pt x="10480" y="4595"/>
                </a:lnTo>
                <a:lnTo>
                  <a:pt x="10480" y="4594"/>
                </a:lnTo>
                <a:close/>
                <a:moveTo>
                  <a:pt x="10852" y="2403"/>
                </a:moveTo>
                <a:lnTo>
                  <a:pt x="10854" y="2402"/>
                </a:lnTo>
                <a:lnTo>
                  <a:pt x="10854" y="2400"/>
                </a:lnTo>
                <a:lnTo>
                  <a:pt x="10853" y="2397"/>
                </a:lnTo>
                <a:lnTo>
                  <a:pt x="10850" y="2396"/>
                </a:lnTo>
                <a:lnTo>
                  <a:pt x="10848" y="2397"/>
                </a:lnTo>
                <a:lnTo>
                  <a:pt x="10848" y="2398"/>
                </a:lnTo>
                <a:lnTo>
                  <a:pt x="10849" y="2401"/>
                </a:lnTo>
                <a:lnTo>
                  <a:pt x="10852" y="2403"/>
                </a:lnTo>
                <a:close/>
                <a:moveTo>
                  <a:pt x="7879" y="908"/>
                </a:moveTo>
                <a:lnTo>
                  <a:pt x="7878" y="910"/>
                </a:lnTo>
                <a:lnTo>
                  <a:pt x="7879" y="912"/>
                </a:lnTo>
                <a:lnTo>
                  <a:pt x="7881" y="912"/>
                </a:lnTo>
                <a:lnTo>
                  <a:pt x="7883" y="912"/>
                </a:lnTo>
                <a:lnTo>
                  <a:pt x="7879" y="908"/>
                </a:lnTo>
                <a:close/>
                <a:moveTo>
                  <a:pt x="8352" y="1038"/>
                </a:moveTo>
                <a:lnTo>
                  <a:pt x="8352" y="1040"/>
                </a:lnTo>
                <a:lnTo>
                  <a:pt x="8353" y="1041"/>
                </a:lnTo>
                <a:lnTo>
                  <a:pt x="8354" y="1040"/>
                </a:lnTo>
                <a:lnTo>
                  <a:pt x="8356" y="1039"/>
                </a:lnTo>
                <a:lnTo>
                  <a:pt x="8352" y="1038"/>
                </a:lnTo>
                <a:close/>
                <a:moveTo>
                  <a:pt x="9257" y="1322"/>
                </a:moveTo>
                <a:lnTo>
                  <a:pt x="9255" y="1322"/>
                </a:lnTo>
                <a:lnTo>
                  <a:pt x="9251" y="1322"/>
                </a:lnTo>
                <a:lnTo>
                  <a:pt x="9248" y="1322"/>
                </a:lnTo>
                <a:lnTo>
                  <a:pt x="9248" y="1325"/>
                </a:lnTo>
                <a:lnTo>
                  <a:pt x="9252" y="1327"/>
                </a:lnTo>
                <a:lnTo>
                  <a:pt x="9256" y="1327"/>
                </a:lnTo>
                <a:lnTo>
                  <a:pt x="9257" y="1325"/>
                </a:lnTo>
                <a:lnTo>
                  <a:pt x="9257" y="1322"/>
                </a:lnTo>
                <a:close/>
                <a:moveTo>
                  <a:pt x="10406" y="4538"/>
                </a:moveTo>
                <a:lnTo>
                  <a:pt x="10409" y="4541"/>
                </a:lnTo>
                <a:lnTo>
                  <a:pt x="10410" y="4541"/>
                </a:lnTo>
                <a:lnTo>
                  <a:pt x="10412" y="4539"/>
                </a:lnTo>
                <a:lnTo>
                  <a:pt x="10414" y="4536"/>
                </a:lnTo>
                <a:lnTo>
                  <a:pt x="10411" y="4536"/>
                </a:lnTo>
                <a:lnTo>
                  <a:pt x="10409" y="4536"/>
                </a:lnTo>
                <a:lnTo>
                  <a:pt x="10407" y="4537"/>
                </a:lnTo>
                <a:lnTo>
                  <a:pt x="10406" y="4538"/>
                </a:lnTo>
                <a:close/>
                <a:moveTo>
                  <a:pt x="10878" y="1926"/>
                </a:moveTo>
                <a:lnTo>
                  <a:pt x="10877" y="1930"/>
                </a:lnTo>
                <a:lnTo>
                  <a:pt x="10878" y="1930"/>
                </a:lnTo>
                <a:lnTo>
                  <a:pt x="10880" y="1929"/>
                </a:lnTo>
                <a:lnTo>
                  <a:pt x="10880" y="1927"/>
                </a:lnTo>
                <a:lnTo>
                  <a:pt x="10878" y="1926"/>
                </a:lnTo>
                <a:close/>
                <a:moveTo>
                  <a:pt x="10899" y="1556"/>
                </a:moveTo>
                <a:lnTo>
                  <a:pt x="10899" y="1554"/>
                </a:lnTo>
                <a:lnTo>
                  <a:pt x="10898" y="1552"/>
                </a:lnTo>
                <a:lnTo>
                  <a:pt x="10896" y="1552"/>
                </a:lnTo>
                <a:lnTo>
                  <a:pt x="10894" y="1553"/>
                </a:lnTo>
                <a:lnTo>
                  <a:pt x="10894" y="1556"/>
                </a:lnTo>
                <a:lnTo>
                  <a:pt x="10894" y="1557"/>
                </a:lnTo>
                <a:lnTo>
                  <a:pt x="10896" y="1557"/>
                </a:lnTo>
                <a:lnTo>
                  <a:pt x="10899" y="1556"/>
                </a:lnTo>
                <a:close/>
                <a:moveTo>
                  <a:pt x="10815" y="1530"/>
                </a:moveTo>
                <a:lnTo>
                  <a:pt x="10814" y="1530"/>
                </a:lnTo>
                <a:lnTo>
                  <a:pt x="10814" y="1529"/>
                </a:lnTo>
                <a:lnTo>
                  <a:pt x="10814" y="1530"/>
                </a:lnTo>
                <a:lnTo>
                  <a:pt x="10815" y="1530"/>
                </a:lnTo>
                <a:lnTo>
                  <a:pt x="10819" y="1534"/>
                </a:lnTo>
                <a:lnTo>
                  <a:pt x="10822" y="1538"/>
                </a:lnTo>
                <a:lnTo>
                  <a:pt x="10828" y="1540"/>
                </a:lnTo>
                <a:lnTo>
                  <a:pt x="10833" y="1542"/>
                </a:lnTo>
                <a:lnTo>
                  <a:pt x="10831" y="1534"/>
                </a:lnTo>
                <a:lnTo>
                  <a:pt x="10828" y="1532"/>
                </a:lnTo>
                <a:lnTo>
                  <a:pt x="10821" y="1530"/>
                </a:lnTo>
                <a:lnTo>
                  <a:pt x="10815" y="1530"/>
                </a:lnTo>
                <a:lnTo>
                  <a:pt x="10815" y="1530"/>
                </a:lnTo>
                <a:close/>
                <a:moveTo>
                  <a:pt x="10788" y="1538"/>
                </a:moveTo>
                <a:lnTo>
                  <a:pt x="10788" y="1537"/>
                </a:lnTo>
                <a:lnTo>
                  <a:pt x="10788" y="1538"/>
                </a:lnTo>
                <a:lnTo>
                  <a:pt x="10788" y="1537"/>
                </a:lnTo>
                <a:lnTo>
                  <a:pt x="10788" y="1538"/>
                </a:lnTo>
                <a:close/>
                <a:moveTo>
                  <a:pt x="10789" y="1537"/>
                </a:moveTo>
                <a:lnTo>
                  <a:pt x="10801" y="1533"/>
                </a:lnTo>
                <a:lnTo>
                  <a:pt x="10812" y="1530"/>
                </a:lnTo>
                <a:lnTo>
                  <a:pt x="10805" y="1525"/>
                </a:lnTo>
                <a:lnTo>
                  <a:pt x="10798" y="1525"/>
                </a:lnTo>
                <a:lnTo>
                  <a:pt x="10793" y="1529"/>
                </a:lnTo>
                <a:lnTo>
                  <a:pt x="10789" y="1537"/>
                </a:lnTo>
                <a:close/>
                <a:moveTo>
                  <a:pt x="10687" y="2071"/>
                </a:moveTo>
                <a:lnTo>
                  <a:pt x="10681" y="2070"/>
                </a:lnTo>
                <a:lnTo>
                  <a:pt x="10679" y="2075"/>
                </a:lnTo>
                <a:lnTo>
                  <a:pt x="10680" y="2079"/>
                </a:lnTo>
                <a:lnTo>
                  <a:pt x="10687" y="2076"/>
                </a:lnTo>
                <a:lnTo>
                  <a:pt x="10687" y="2074"/>
                </a:lnTo>
                <a:lnTo>
                  <a:pt x="10687" y="2071"/>
                </a:lnTo>
                <a:close/>
                <a:moveTo>
                  <a:pt x="7663" y="882"/>
                </a:moveTo>
                <a:lnTo>
                  <a:pt x="7659" y="881"/>
                </a:lnTo>
                <a:lnTo>
                  <a:pt x="7657" y="881"/>
                </a:lnTo>
                <a:lnTo>
                  <a:pt x="7654" y="881"/>
                </a:lnTo>
                <a:lnTo>
                  <a:pt x="7653" y="885"/>
                </a:lnTo>
                <a:lnTo>
                  <a:pt x="7657" y="885"/>
                </a:lnTo>
                <a:lnTo>
                  <a:pt x="7659" y="886"/>
                </a:lnTo>
                <a:lnTo>
                  <a:pt x="7662" y="885"/>
                </a:lnTo>
                <a:lnTo>
                  <a:pt x="7663" y="882"/>
                </a:lnTo>
                <a:close/>
                <a:moveTo>
                  <a:pt x="10586" y="2232"/>
                </a:moveTo>
                <a:lnTo>
                  <a:pt x="10586" y="2232"/>
                </a:lnTo>
                <a:lnTo>
                  <a:pt x="10588" y="2232"/>
                </a:lnTo>
                <a:lnTo>
                  <a:pt x="10587" y="2230"/>
                </a:lnTo>
                <a:lnTo>
                  <a:pt x="10586" y="2230"/>
                </a:lnTo>
                <a:lnTo>
                  <a:pt x="10586" y="2232"/>
                </a:lnTo>
                <a:close/>
                <a:moveTo>
                  <a:pt x="10573" y="2221"/>
                </a:moveTo>
                <a:lnTo>
                  <a:pt x="10574" y="2227"/>
                </a:lnTo>
                <a:lnTo>
                  <a:pt x="10577" y="2228"/>
                </a:lnTo>
                <a:lnTo>
                  <a:pt x="10580" y="2229"/>
                </a:lnTo>
                <a:lnTo>
                  <a:pt x="10586" y="2230"/>
                </a:lnTo>
                <a:lnTo>
                  <a:pt x="10582" y="2228"/>
                </a:lnTo>
                <a:lnTo>
                  <a:pt x="10579" y="2225"/>
                </a:lnTo>
                <a:lnTo>
                  <a:pt x="10577" y="2223"/>
                </a:lnTo>
                <a:lnTo>
                  <a:pt x="10573" y="2221"/>
                </a:lnTo>
                <a:close/>
                <a:moveTo>
                  <a:pt x="10463" y="1724"/>
                </a:moveTo>
                <a:lnTo>
                  <a:pt x="10466" y="1729"/>
                </a:lnTo>
                <a:lnTo>
                  <a:pt x="10468" y="1731"/>
                </a:lnTo>
                <a:lnTo>
                  <a:pt x="10472" y="1731"/>
                </a:lnTo>
                <a:lnTo>
                  <a:pt x="10477" y="1729"/>
                </a:lnTo>
                <a:lnTo>
                  <a:pt x="10475" y="1724"/>
                </a:lnTo>
                <a:lnTo>
                  <a:pt x="10472" y="1721"/>
                </a:lnTo>
                <a:lnTo>
                  <a:pt x="10468" y="1721"/>
                </a:lnTo>
                <a:lnTo>
                  <a:pt x="10463" y="1724"/>
                </a:lnTo>
                <a:close/>
                <a:moveTo>
                  <a:pt x="10484" y="1870"/>
                </a:moveTo>
                <a:lnTo>
                  <a:pt x="10491" y="1871"/>
                </a:lnTo>
                <a:lnTo>
                  <a:pt x="10498" y="1871"/>
                </a:lnTo>
                <a:lnTo>
                  <a:pt x="10499" y="1868"/>
                </a:lnTo>
                <a:lnTo>
                  <a:pt x="10495" y="1861"/>
                </a:lnTo>
                <a:lnTo>
                  <a:pt x="10489" y="1860"/>
                </a:lnTo>
                <a:lnTo>
                  <a:pt x="10485" y="1861"/>
                </a:lnTo>
                <a:lnTo>
                  <a:pt x="10482" y="1865"/>
                </a:lnTo>
                <a:lnTo>
                  <a:pt x="10484" y="1870"/>
                </a:lnTo>
                <a:close/>
                <a:moveTo>
                  <a:pt x="1102" y="499"/>
                </a:moveTo>
                <a:lnTo>
                  <a:pt x="1098" y="503"/>
                </a:lnTo>
                <a:lnTo>
                  <a:pt x="1098" y="506"/>
                </a:lnTo>
                <a:lnTo>
                  <a:pt x="1101" y="509"/>
                </a:lnTo>
                <a:lnTo>
                  <a:pt x="1106" y="512"/>
                </a:lnTo>
                <a:lnTo>
                  <a:pt x="1109" y="508"/>
                </a:lnTo>
                <a:lnTo>
                  <a:pt x="1109" y="504"/>
                </a:lnTo>
                <a:lnTo>
                  <a:pt x="1107" y="502"/>
                </a:lnTo>
                <a:lnTo>
                  <a:pt x="1102" y="499"/>
                </a:lnTo>
                <a:close/>
                <a:moveTo>
                  <a:pt x="8764" y="1167"/>
                </a:moveTo>
                <a:lnTo>
                  <a:pt x="8759" y="1164"/>
                </a:lnTo>
                <a:lnTo>
                  <a:pt x="8754" y="1165"/>
                </a:lnTo>
                <a:lnTo>
                  <a:pt x="8752" y="1170"/>
                </a:lnTo>
                <a:lnTo>
                  <a:pt x="8749" y="1175"/>
                </a:lnTo>
                <a:lnTo>
                  <a:pt x="8753" y="1175"/>
                </a:lnTo>
                <a:lnTo>
                  <a:pt x="8759" y="1174"/>
                </a:lnTo>
                <a:lnTo>
                  <a:pt x="8763" y="1173"/>
                </a:lnTo>
                <a:lnTo>
                  <a:pt x="8764" y="1167"/>
                </a:lnTo>
                <a:close/>
                <a:moveTo>
                  <a:pt x="1214" y="908"/>
                </a:moveTo>
                <a:lnTo>
                  <a:pt x="1214" y="908"/>
                </a:lnTo>
                <a:lnTo>
                  <a:pt x="1214" y="908"/>
                </a:lnTo>
                <a:lnTo>
                  <a:pt x="1214" y="908"/>
                </a:lnTo>
                <a:lnTo>
                  <a:pt x="1214" y="908"/>
                </a:lnTo>
                <a:lnTo>
                  <a:pt x="1215" y="908"/>
                </a:lnTo>
                <a:lnTo>
                  <a:pt x="1214" y="908"/>
                </a:lnTo>
                <a:lnTo>
                  <a:pt x="1214" y="908"/>
                </a:lnTo>
                <a:lnTo>
                  <a:pt x="1214" y="908"/>
                </a:lnTo>
                <a:lnTo>
                  <a:pt x="1214" y="908"/>
                </a:lnTo>
                <a:close/>
                <a:moveTo>
                  <a:pt x="1213" y="907"/>
                </a:moveTo>
                <a:lnTo>
                  <a:pt x="1205" y="895"/>
                </a:lnTo>
                <a:lnTo>
                  <a:pt x="1192" y="877"/>
                </a:lnTo>
                <a:lnTo>
                  <a:pt x="1196" y="890"/>
                </a:lnTo>
                <a:lnTo>
                  <a:pt x="1199" y="898"/>
                </a:lnTo>
                <a:lnTo>
                  <a:pt x="1204" y="903"/>
                </a:lnTo>
                <a:lnTo>
                  <a:pt x="1213" y="907"/>
                </a:lnTo>
                <a:close/>
                <a:moveTo>
                  <a:pt x="1388" y="731"/>
                </a:moveTo>
                <a:lnTo>
                  <a:pt x="1385" y="730"/>
                </a:lnTo>
                <a:lnTo>
                  <a:pt x="1381" y="727"/>
                </a:lnTo>
                <a:lnTo>
                  <a:pt x="1377" y="727"/>
                </a:lnTo>
                <a:lnTo>
                  <a:pt x="1373" y="728"/>
                </a:lnTo>
                <a:lnTo>
                  <a:pt x="1377" y="732"/>
                </a:lnTo>
                <a:lnTo>
                  <a:pt x="1381" y="735"/>
                </a:lnTo>
                <a:lnTo>
                  <a:pt x="1385" y="735"/>
                </a:lnTo>
                <a:lnTo>
                  <a:pt x="1388" y="731"/>
                </a:lnTo>
                <a:close/>
                <a:moveTo>
                  <a:pt x="10038" y="1459"/>
                </a:moveTo>
                <a:lnTo>
                  <a:pt x="10035" y="1455"/>
                </a:lnTo>
                <a:lnTo>
                  <a:pt x="10034" y="1454"/>
                </a:lnTo>
                <a:lnTo>
                  <a:pt x="10032" y="1453"/>
                </a:lnTo>
                <a:lnTo>
                  <a:pt x="10028" y="1454"/>
                </a:lnTo>
                <a:lnTo>
                  <a:pt x="10029" y="1456"/>
                </a:lnTo>
                <a:lnTo>
                  <a:pt x="10032" y="1458"/>
                </a:lnTo>
                <a:lnTo>
                  <a:pt x="10034" y="1459"/>
                </a:lnTo>
                <a:lnTo>
                  <a:pt x="10038" y="1459"/>
                </a:lnTo>
                <a:close/>
                <a:moveTo>
                  <a:pt x="1768" y="401"/>
                </a:moveTo>
                <a:lnTo>
                  <a:pt x="1765" y="396"/>
                </a:lnTo>
                <a:lnTo>
                  <a:pt x="1761" y="392"/>
                </a:lnTo>
                <a:lnTo>
                  <a:pt x="1758" y="390"/>
                </a:lnTo>
                <a:lnTo>
                  <a:pt x="1751" y="388"/>
                </a:lnTo>
                <a:lnTo>
                  <a:pt x="1754" y="396"/>
                </a:lnTo>
                <a:lnTo>
                  <a:pt x="1756" y="400"/>
                </a:lnTo>
                <a:lnTo>
                  <a:pt x="1760" y="402"/>
                </a:lnTo>
                <a:lnTo>
                  <a:pt x="1768" y="401"/>
                </a:lnTo>
                <a:close/>
                <a:moveTo>
                  <a:pt x="11570" y="2099"/>
                </a:moveTo>
                <a:lnTo>
                  <a:pt x="11566" y="2098"/>
                </a:lnTo>
                <a:lnTo>
                  <a:pt x="11562" y="2098"/>
                </a:lnTo>
                <a:lnTo>
                  <a:pt x="11560" y="2099"/>
                </a:lnTo>
                <a:lnTo>
                  <a:pt x="11556" y="2102"/>
                </a:lnTo>
                <a:lnTo>
                  <a:pt x="11560" y="2104"/>
                </a:lnTo>
                <a:lnTo>
                  <a:pt x="11564" y="2106"/>
                </a:lnTo>
                <a:lnTo>
                  <a:pt x="11567" y="2104"/>
                </a:lnTo>
                <a:lnTo>
                  <a:pt x="11570" y="2099"/>
                </a:lnTo>
                <a:close/>
                <a:moveTo>
                  <a:pt x="8191" y="1020"/>
                </a:moveTo>
                <a:lnTo>
                  <a:pt x="8195" y="1025"/>
                </a:lnTo>
                <a:lnTo>
                  <a:pt x="8199" y="1027"/>
                </a:lnTo>
                <a:lnTo>
                  <a:pt x="8203" y="1029"/>
                </a:lnTo>
                <a:lnTo>
                  <a:pt x="8208" y="1025"/>
                </a:lnTo>
                <a:lnTo>
                  <a:pt x="8208" y="1019"/>
                </a:lnTo>
                <a:lnTo>
                  <a:pt x="8204" y="1016"/>
                </a:lnTo>
                <a:lnTo>
                  <a:pt x="8198" y="1017"/>
                </a:lnTo>
                <a:lnTo>
                  <a:pt x="8191" y="1020"/>
                </a:lnTo>
                <a:close/>
                <a:moveTo>
                  <a:pt x="10368" y="1672"/>
                </a:moveTo>
                <a:lnTo>
                  <a:pt x="10367" y="1666"/>
                </a:lnTo>
                <a:lnTo>
                  <a:pt x="10364" y="1664"/>
                </a:lnTo>
                <a:lnTo>
                  <a:pt x="10361" y="1664"/>
                </a:lnTo>
                <a:lnTo>
                  <a:pt x="10356" y="1666"/>
                </a:lnTo>
                <a:lnTo>
                  <a:pt x="10358" y="1670"/>
                </a:lnTo>
                <a:lnTo>
                  <a:pt x="10360" y="1672"/>
                </a:lnTo>
                <a:lnTo>
                  <a:pt x="10364" y="1672"/>
                </a:lnTo>
                <a:lnTo>
                  <a:pt x="10368" y="1672"/>
                </a:lnTo>
                <a:close/>
                <a:moveTo>
                  <a:pt x="2191" y="395"/>
                </a:moveTo>
                <a:lnTo>
                  <a:pt x="2187" y="391"/>
                </a:lnTo>
                <a:lnTo>
                  <a:pt x="2184" y="388"/>
                </a:lnTo>
                <a:lnTo>
                  <a:pt x="2182" y="388"/>
                </a:lnTo>
                <a:lnTo>
                  <a:pt x="2179" y="391"/>
                </a:lnTo>
                <a:lnTo>
                  <a:pt x="2183" y="395"/>
                </a:lnTo>
                <a:lnTo>
                  <a:pt x="2186" y="397"/>
                </a:lnTo>
                <a:lnTo>
                  <a:pt x="2188" y="397"/>
                </a:lnTo>
                <a:lnTo>
                  <a:pt x="2191" y="395"/>
                </a:lnTo>
                <a:close/>
                <a:moveTo>
                  <a:pt x="10049" y="1333"/>
                </a:moveTo>
                <a:lnTo>
                  <a:pt x="10046" y="1327"/>
                </a:lnTo>
                <a:lnTo>
                  <a:pt x="10042" y="1322"/>
                </a:lnTo>
                <a:lnTo>
                  <a:pt x="10038" y="1319"/>
                </a:lnTo>
                <a:lnTo>
                  <a:pt x="10032" y="1323"/>
                </a:lnTo>
                <a:lnTo>
                  <a:pt x="10034" y="1330"/>
                </a:lnTo>
                <a:lnTo>
                  <a:pt x="10037" y="1334"/>
                </a:lnTo>
                <a:lnTo>
                  <a:pt x="10043" y="1334"/>
                </a:lnTo>
                <a:lnTo>
                  <a:pt x="10049" y="1333"/>
                </a:lnTo>
                <a:close/>
                <a:moveTo>
                  <a:pt x="11247" y="2544"/>
                </a:moveTo>
                <a:lnTo>
                  <a:pt x="11248" y="2541"/>
                </a:lnTo>
                <a:lnTo>
                  <a:pt x="11247" y="2538"/>
                </a:lnTo>
                <a:lnTo>
                  <a:pt x="11245" y="2536"/>
                </a:lnTo>
                <a:lnTo>
                  <a:pt x="11243" y="2533"/>
                </a:lnTo>
                <a:lnTo>
                  <a:pt x="11241" y="2537"/>
                </a:lnTo>
                <a:lnTo>
                  <a:pt x="11241" y="2540"/>
                </a:lnTo>
                <a:lnTo>
                  <a:pt x="11244" y="2542"/>
                </a:lnTo>
                <a:lnTo>
                  <a:pt x="11247" y="2544"/>
                </a:lnTo>
                <a:close/>
                <a:moveTo>
                  <a:pt x="9383" y="1248"/>
                </a:moveTo>
                <a:lnTo>
                  <a:pt x="9376" y="1251"/>
                </a:lnTo>
                <a:lnTo>
                  <a:pt x="9374" y="1258"/>
                </a:lnTo>
                <a:lnTo>
                  <a:pt x="9378" y="1264"/>
                </a:lnTo>
                <a:lnTo>
                  <a:pt x="9386" y="1267"/>
                </a:lnTo>
                <a:lnTo>
                  <a:pt x="9387" y="1262"/>
                </a:lnTo>
                <a:lnTo>
                  <a:pt x="9388" y="1257"/>
                </a:lnTo>
                <a:lnTo>
                  <a:pt x="9387" y="1251"/>
                </a:lnTo>
                <a:lnTo>
                  <a:pt x="9383" y="1248"/>
                </a:lnTo>
                <a:close/>
                <a:moveTo>
                  <a:pt x="2900" y="374"/>
                </a:moveTo>
                <a:lnTo>
                  <a:pt x="2899" y="367"/>
                </a:lnTo>
                <a:lnTo>
                  <a:pt x="2894" y="366"/>
                </a:lnTo>
                <a:lnTo>
                  <a:pt x="2886" y="366"/>
                </a:lnTo>
                <a:lnTo>
                  <a:pt x="2877" y="367"/>
                </a:lnTo>
                <a:lnTo>
                  <a:pt x="2877" y="366"/>
                </a:lnTo>
                <a:lnTo>
                  <a:pt x="2876" y="366"/>
                </a:lnTo>
                <a:lnTo>
                  <a:pt x="2876" y="367"/>
                </a:lnTo>
                <a:lnTo>
                  <a:pt x="2877" y="367"/>
                </a:lnTo>
                <a:lnTo>
                  <a:pt x="2883" y="371"/>
                </a:lnTo>
                <a:lnTo>
                  <a:pt x="2889" y="374"/>
                </a:lnTo>
                <a:lnTo>
                  <a:pt x="2895" y="377"/>
                </a:lnTo>
                <a:lnTo>
                  <a:pt x="2900" y="374"/>
                </a:lnTo>
                <a:close/>
                <a:moveTo>
                  <a:pt x="2925" y="243"/>
                </a:moveTo>
                <a:lnTo>
                  <a:pt x="2922" y="243"/>
                </a:lnTo>
                <a:lnTo>
                  <a:pt x="2920" y="246"/>
                </a:lnTo>
                <a:lnTo>
                  <a:pt x="2922" y="250"/>
                </a:lnTo>
                <a:lnTo>
                  <a:pt x="2923" y="254"/>
                </a:lnTo>
                <a:lnTo>
                  <a:pt x="2925" y="251"/>
                </a:lnTo>
                <a:lnTo>
                  <a:pt x="2928" y="248"/>
                </a:lnTo>
                <a:lnTo>
                  <a:pt x="2928" y="246"/>
                </a:lnTo>
                <a:lnTo>
                  <a:pt x="2925" y="243"/>
                </a:lnTo>
                <a:close/>
                <a:moveTo>
                  <a:pt x="2959" y="381"/>
                </a:moveTo>
                <a:lnTo>
                  <a:pt x="2953" y="377"/>
                </a:lnTo>
                <a:lnTo>
                  <a:pt x="2950" y="376"/>
                </a:lnTo>
                <a:lnTo>
                  <a:pt x="2946" y="378"/>
                </a:lnTo>
                <a:lnTo>
                  <a:pt x="2943" y="383"/>
                </a:lnTo>
                <a:lnTo>
                  <a:pt x="2947" y="386"/>
                </a:lnTo>
                <a:lnTo>
                  <a:pt x="2952" y="387"/>
                </a:lnTo>
                <a:lnTo>
                  <a:pt x="2955" y="385"/>
                </a:lnTo>
                <a:lnTo>
                  <a:pt x="2959" y="381"/>
                </a:lnTo>
                <a:close/>
                <a:moveTo>
                  <a:pt x="12054" y="3268"/>
                </a:moveTo>
                <a:lnTo>
                  <a:pt x="12051" y="3265"/>
                </a:lnTo>
                <a:lnTo>
                  <a:pt x="12050" y="3264"/>
                </a:lnTo>
                <a:lnTo>
                  <a:pt x="12045" y="3268"/>
                </a:lnTo>
                <a:lnTo>
                  <a:pt x="12045" y="3272"/>
                </a:lnTo>
                <a:lnTo>
                  <a:pt x="12049" y="3272"/>
                </a:lnTo>
                <a:lnTo>
                  <a:pt x="12054" y="3268"/>
                </a:lnTo>
                <a:close/>
                <a:moveTo>
                  <a:pt x="3159" y="238"/>
                </a:moveTo>
                <a:lnTo>
                  <a:pt x="3157" y="236"/>
                </a:lnTo>
                <a:lnTo>
                  <a:pt x="3155" y="234"/>
                </a:lnTo>
                <a:lnTo>
                  <a:pt x="3148" y="238"/>
                </a:lnTo>
                <a:lnTo>
                  <a:pt x="3150" y="243"/>
                </a:lnTo>
                <a:lnTo>
                  <a:pt x="3155" y="245"/>
                </a:lnTo>
                <a:lnTo>
                  <a:pt x="3159" y="238"/>
                </a:lnTo>
                <a:close/>
                <a:moveTo>
                  <a:pt x="11192" y="1898"/>
                </a:moveTo>
                <a:lnTo>
                  <a:pt x="11188" y="1897"/>
                </a:lnTo>
                <a:lnTo>
                  <a:pt x="11185" y="1896"/>
                </a:lnTo>
                <a:lnTo>
                  <a:pt x="11182" y="1896"/>
                </a:lnTo>
                <a:lnTo>
                  <a:pt x="11179" y="1898"/>
                </a:lnTo>
                <a:lnTo>
                  <a:pt x="11182" y="1903"/>
                </a:lnTo>
                <a:lnTo>
                  <a:pt x="11184" y="1903"/>
                </a:lnTo>
                <a:lnTo>
                  <a:pt x="11188" y="1902"/>
                </a:lnTo>
                <a:lnTo>
                  <a:pt x="11192" y="1898"/>
                </a:lnTo>
                <a:close/>
                <a:moveTo>
                  <a:pt x="3462" y="381"/>
                </a:moveTo>
                <a:lnTo>
                  <a:pt x="3459" y="378"/>
                </a:lnTo>
                <a:lnTo>
                  <a:pt x="3455" y="376"/>
                </a:lnTo>
                <a:lnTo>
                  <a:pt x="3451" y="374"/>
                </a:lnTo>
                <a:lnTo>
                  <a:pt x="3448" y="377"/>
                </a:lnTo>
                <a:lnTo>
                  <a:pt x="3450" y="381"/>
                </a:lnTo>
                <a:lnTo>
                  <a:pt x="3454" y="382"/>
                </a:lnTo>
                <a:lnTo>
                  <a:pt x="3458" y="381"/>
                </a:lnTo>
                <a:lnTo>
                  <a:pt x="3462" y="381"/>
                </a:lnTo>
                <a:close/>
                <a:moveTo>
                  <a:pt x="11138" y="1897"/>
                </a:moveTo>
                <a:lnTo>
                  <a:pt x="11133" y="1894"/>
                </a:lnTo>
                <a:lnTo>
                  <a:pt x="11131" y="1893"/>
                </a:lnTo>
                <a:lnTo>
                  <a:pt x="11127" y="1896"/>
                </a:lnTo>
                <a:lnTo>
                  <a:pt x="11126" y="1901"/>
                </a:lnTo>
                <a:lnTo>
                  <a:pt x="11129" y="1902"/>
                </a:lnTo>
                <a:lnTo>
                  <a:pt x="11133" y="1901"/>
                </a:lnTo>
                <a:lnTo>
                  <a:pt x="11136" y="1899"/>
                </a:lnTo>
                <a:lnTo>
                  <a:pt x="11138" y="1897"/>
                </a:lnTo>
                <a:close/>
                <a:moveTo>
                  <a:pt x="11029" y="2426"/>
                </a:moveTo>
                <a:lnTo>
                  <a:pt x="11020" y="2430"/>
                </a:lnTo>
                <a:lnTo>
                  <a:pt x="11020" y="2434"/>
                </a:lnTo>
                <a:lnTo>
                  <a:pt x="11026" y="2437"/>
                </a:lnTo>
                <a:lnTo>
                  <a:pt x="11035" y="2434"/>
                </a:lnTo>
                <a:lnTo>
                  <a:pt x="11033" y="2429"/>
                </a:lnTo>
                <a:lnTo>
                  <a:pt x="11029" y="2426"/>
                </a:lnTo>
                <a:close/>
                <a:moveTo>
                  <a:pt x="11058" y="1941"/>
                </a:moveTo>
                <a:lnTo>
                  <a:pt x="11058" y="1939"/>
                </a:lnTo>
                <a:lnTo>
                  <a:pt x="11057" y="1936"/>
                </a:lnTo>
                <a:lnTo>
                  <a:pt x="11054" y="1936"/>
                </a:lnTo>
                <a:lnTo>
                  <a:pt x="11052" y="1938"/>
                </a:lnTo>
                <a:lnTo>
                  <a:pt x="11052" y="1940"/>
                </a:lnTo>
                <a:lnTo>
                  <a:pt x="11053" y="1941"/>
                </a:lnTo>
                <a:lnTo>
                  <a:pt x="11055" y="1943"/>
                </a:lnTo>
                <a:lnTo>
                  <a:pt x="11058" y="1941"/>
                </a:lnTo>
                <a:close/>
                <a:moveTo>
                  <a:pt x="10961" y="2172"/>
                </a:moveTo>
                <a:lnTo>
                  <a:pt x="10959" y="2169"/>
                </a:lnTo>
                <a:lnTo>
                  <a:pt x="10957" y="2169"/>
                </a:lnTo>
                <a:lnTo>
                  <a:pt x="10954" y="2171"/>
                </a:lnTo>
                <a:lnTo>
                  <a:pt x="10951" y="2173"/>
                </a:lnTo>
                <a:lnTo>
                  <a:pt x="10952" y="2176"/>
                </a:lnTo>
                <a:lnTo>
                  <a:pt x="10955" y="2176"/>
                </a:lnTo>
                <a:lnTo>
                  <a:pt x="10957" y="2174"/>
                </a:lnTo>
                <a:lnTo>
                  <a:pt x="10961" y="2172"/>
                </a:lnTo>
                <a:close/>
                <a:moveTo>
                  <a:pt x="5093" y="359"/>
                </a:moveTo>
                <a:lnTo>
                  <a:pt x="5088" y="354"/>
                </a:lnTo>
                <a:lnTo>
                  <a:pt x="5082" y="353"/>
                </a:lnTo>
                <a:lnTo>
                  <a:pt x="5076" y="355"/>
                </a:lnTo>
                <a:lnTo>
                  <a:pt x="5070" y="358"/>
                </a:lnTo>
                <a:lnTo>
                  <a:pt x="5076" y="366"/>
                </a:lnTo>
                <a:lnTo>
                  <a:pt x="5082" y="368"/>
                </a:lnTo>
                <a:lnTo>
                  <a:pt x="5087" y="367"/>
                </a:lnTo>
                <a:lnTo>
                  <a:pt x="5093" y="359"/>
                </a:lnTo>
                <a:close/>
                <a:moveTo>
                  <a:pt x="11474" y="3942"/>
                </a:moveTo>
                <a:lnTo>
                  <a:pt x="11472" y="3950"/>
                </a:lnTo>
                <a:lnTo>
                  <a:pt x="11474" y="3953"/>
                </a:lnTo>
                <a:lnTo>
                  <a:pt x="11478" y="3950"/>
                </a:lnTo>
                <a:lnTo>
                  <a:pt x="11480" y="3944"/>
                </a:lnTo>
                <a:lnTo>
                  <a:pt x="11477" y="3942"/>
                </a:lnTo>
                <a:lnTo>
                  <a:pt x="11474" y="3942"/>
                </a:lnTo>
                <a:close/>
                <a:moveTo>
                  <a:pt x="10926" y="1749"/>
                </a:moveTo>
                <a:lnTo>
                  <a:pt x="10922" y="1745"/>
                </a:lnTo>
                <a:lnTo>
                  <a:pt x="10918" y="1748"/>
                </a:lnTo>
                <a:lnTo>
                  <a:pt x="10915" y="1750"/>
                </a:lnTo>
                <a:lnTo>
                  <a:pt x="10917" y="1754"/>
                </a:lnTo>
                <a:lnTo>
                  <a:pt x="10922" y="1752"/>
                </a:lnTo>
                <a:lnTo>
                  <a:pt x="10926" y="1749"/>
                </a:lnTo>
                <a:close/>
                <a:moveTo>
                  <a:pt x="10868" y="2036"/>
                </a:moveTo>
                <a:lnTo>
                  <a:pt x="10866" y="2034"/>
                </a:lnTo>
                <a:lnTo>
                  <a:pt x="10862" y="2033"/>
                </a:lnTo>
                <a:lnTo>
                  <a:pt x="10858" y="2033"/>
                </a:lnTo>
                <a:lnTo>
                  <a:pt x="10856" y="2036"/>
                </a:lnTo>
                <a:lnTo>
                  <a:pt x="10859" y="2037"/>
                </a:lnTo>
                <a:lnTo>
                  <a:pt x="10863" y="2038"/>
                </a:lnTo>
                <a:lnTo>
                  <a:pt x="10866" y="2039"/>
                </a:lnTo>
                <a:lnTo>
                  <a:pt x="10868" y="2036"/>
                </a:lnTo>
                <a:close/>
                <a:moveTo>
                  <a:pt x="10834" y="2199"/>
                </a:moveTo>
                <a:lnTo>
                  <a:pt x="10836" y="2197"/>
                </a:lnTo>
                <a:lnTo>
                  <a:pt x="10836" y="2195"/>
                </a:lnTo>
                <a:lnTo>
                  <a:pt x="10834" y="2193"/>
                </a:lnTo>
                <a:lnTo>
                  <a:pt x="10830" y="2191"/>
                </a:lnTo>
                <a:lnTo>
                  <a:pt x="10826" y="2192"/>
                </a:lnTo>
                <a:lnTo>
                  <a:pt x="10826" y="2195"/>
                </a:lnTo>
                <a:lnTo>
                  <a:pt x="10830" y="2197"/>
                </a:lnTo>
                <a:lnTo>
                  <a:pt x="10834" y="2199"/>
                </a:lnTo>
                <a:close/>
                <a:moveTo>
                  <a:pt x="5621" y="471"/>
                </a:moveTo>
                <a:lnTo>
                  <a:pt x="5619" y="469"/>
                </a:lnTo>
                <a:lnTo>
                  <a:pt x="5616" y="466"/>
                </a:lnTo>
                <a:lnTo>
                  <a:pt x="5614" y="466"/>
                </a:lnTo>
                <a:lnTo>
                  <a:pt x="5611" y="467"/>
                </a:lnTo>
                <a:lnTo>
                  <a:pt x="5614" y="470"/>
                </a:lnTo>
                <a:lnTo>
                  <a:pt x="5616" y="472"/>
                </a:lnTo>
                <a:lnTo>
                  <a:pt x="5619" y="472"/>
                </a:lnTo>
                <a:lnTo>
                  <a:pt x="5621" y="471"/>
                </a:lnTo>
                <a:close/>
                <a:moveTo>
                  <a:pt x="10229" y="1700"/>
                </a:moveTo>
                <a:lnTo>
                  <a:pt x="10229" y="1698"/>
                </a:lnTo>
                <a:lnTo>
                  <a:pt x="10229" y="1700"/>
                </a:lnTo>
                <a:lnTo>
                  <a:pt x="10229" y="1700"/>
                </a:lnTo>
                <a:lnTo>
                  <a:pt x="10229" y="1700"/>
                </a:lnTo>
                <a:lnTo>
                  <a:pt x="10229" y="1700"/>
                </a:lnTo>
                <a:lnTo>
                  <a:pt x="10230" y="1698"/>
                </a:lnTo>
                <a:lnTo>
                  <a:pt x="10230" y="1698"/>
                </a:lnTo>
                <a:lnTo>
                  <a:pt x="10230" y="1698"/>
                </a:lnTo>
                <a:lnTo>
                  <a:pt x="10230" y="1698"/>
                </a:lnTo>
                <a:lnTo>
                  <a:pt x="10229" y="1698"/>
                </a:lnTo>
                <a:lnTo>
                  <a:pt x="10229" y="1700"/>
                </a:lnTo>
                <a:close/>
                <a:moveTo>
                  <a:pt x="10192" y="1692"/>
                </a:moveTo>
                <a:lnTo>
                  <a:pt x="10211" y="1696"/>
                </a:lnTo>
                <a:lnTo>
                  <a:pt x="10228" y="1698"/>
                </a:lnTo>
                <a:lnTo>
                  <a:pt x="10221" y="1692"/>
                </a:lnTo>
                <a:lnTo>
                  <a:pt x="10214" y="1686"/>
                </a:lnTo>
                <a:lnTo>
                  <a:pt x="10205" y="1684"/>
                </a:lnTo>
                <a:lnTo>
                  <a:pt x="10192" y="1692"/>
                </a:lnTo>
                <a:close/>
                <a:moveTo>
                  <a:pt x="10811" y="1884"/>
                </a:moveTo>
                <a:lnTo>
                  <a:pt x="10814" y="1885"/>
                </a:lnTo>
                <a:lnTo>
                  <a:pt x="10816" y="1887"/>
                </a:lnTo>
                <a:lnTo>
                  <a:pt x="10817" y="1885"/>
                </a:lnTo>
                <a:lnTo>
                  <a:pt x="10820" y="1883"/>
                </a:lnTo>
                <a:lnTo>
                  <a:pt x="10816" y="1880"/>
                </a:lnTo>
                <a:lnTo>
                  <a:pt x="10814" y="1880"/>
                </a:lnTo>
                <a:lnTo>
                  <a:pt x="10811" y="1880"/>
                </a:lnTo>
                <a:lnTo>
                  <a:pt x="10811" y="1884"/>
                </a:lnTo>
                <a:close/>
                <a:moveTo>
                  <a:pt x="6203" y="429"/>
                </a:moveTo>
                <a:lnTo>
                  <a:pt x="6203" y="425"/>
                </a:lnTo>
                <a:lnTo>
                  <a:pt x="6200" y="423"/>
                </a:lnTo>
                <a:lnTo>
                  <a:pt x="6196" y="423"/>
                </a:lnTo>
                <a:lnTo>
                  <a:pt x="6192" y="422"/>
                </a:lnTo>
                <a:lnTo>
                  <a:pt x="6193" y="428"/>
                </a:lnTo>
                <a:lnTo>
                  <a:pt x="6195" y="429"/>
                </a:lnTo>
                <a:lnTo>
                  <a:pt x="6198" y="429"/>
                </a:lnTo>
                <a:lnTo>
                  <a:pt x="6203" y="429"/>
                </a:lnTo>
                <a:close/>
                <a:moveTo>
                  <a:pt x="6274" y="493"/>
                </a:moveTo>
                <a:lnTo>
                  <a:pt x="6271" y="493"/>
                </a:lnTo>
                <a:lnTo>
                  <a:pt x="6270" y="494"/>
                </a:lnTo>
                <a:lnTo>
                  <a:pt x="6270" y="497"/>
                </a:lnTo>
                <a:lnTo>
                  <a:pt x="6270" y="499"/>
                </a:lnTo>
                <a:lnTo>
                  <a:pt x="6272" y="495"/>
                </a:lnTo>
                <a:lnTo>
                  <a:pt x="6274" y="493"/>
                </a:lnTo>
                <a:close/>
                <a:moveTo>
                  <a:pt x="10647" y="2339"/>
                </a:moveTo>
                <a:lnTo>
                  <a:pt x="10651" y="2340"/>
                </a:lnTo>
                <a:lnTo>
                  <a:pt x="10654" y="2341"/>
                </a:lnTo>
                <a:lnTo>
                  <a:pt x="10657" y="2341"/>
                </a:lnTo>
                <a:lnTo>
                  <a:pt x="10659" y="2339"/>
                </a:lnTo>
                <a:lnTo>
                  <a:pt x="10656" y="2337"/>
                </a:lnTo>
                <a:lnTo>
                  <a:pt x="10653" y="2335"/>
                </a:lnTo>
                <a:lnTo>
                  <a:pt x="10649" y="2335"/>
                </a:lnTo>
                <a:lnTo>
                  <a:pt x="10647" y="2339"/>
                </a:lnTo>
                <a:close/>
                <a:moveTo>
                  <a:pt x="8505" y="1118"/>
                </a:moveTo>
                <a:lnTo>
                  <a:pt x="8506" y="1114"/>
                </a:lnTo>
                <a:lnTo>
                  <a:pt x="8503" y="1110"/>
                </a:lnTo>
                <a:lnTo>
                  <a:pt x="8500" y="1109"/>
                </a:lnTo>
                <a:lnTo>
                  <a:pt x="8494" y="1111"/>
                </a:lnTo>
                <a:lnTo>
                  <a:pt x="8493" y="1117"/>
                </a:lnTo>
                <a:lnTo>
                  <a:pt x="8496" y="1120"/>
                </a:lnTo>
                <a:lnTo>
                  <a:pt x="8500" y="1120"/>
                </a:lnTo>
                <a:lnTo>
                  <a:pt x="8505" y="1118"/>
                </a:lnTo>
                <a:close/>
                <a:moveTo>
                  <a:pt x="11865" y="3193"/>
                </a:moveTo>
                <a:lnTo>
                  <a:pt x="11863" y="3190"/>
                </a:lnTo>
                <a:lnTo>
                  <a:pt x="11860" y="3188"/>
                </a:lnTo>
                <a:lnTo>
                  <a:pt x="11858" y="3188"/>
                </a:lnTo>
                <a:lnTo>
                  <a:pt x="11855" y="3189"/>
                </a:lnTo>
                <a:lnTo>
                  <a:pt x="11857" y="3191"/>
                </a:lnTo>
                <a:lnTo>
                  <a:pt x="11859" y="3193"/>
                </a:lnTo>
                <a:lnTo>
                  <a:pt x="11863" y="3193"/>
                </a:lnTo>
                <a:lnTo>
                  <a:pt x="11865" y="3193"/>
                </a:lnTo>
                <a:close/>
                <a:moveTo>
                  <a:pt x="10760" y="1757"/>
                </a:moveTo>
                <a:lnTo>
                  <a:pt x="10759" y="1761"/>
                </a:lnTo>
                <a:lnTo>
                  <a:pt x="10760" y="1764"/>
                </a:lnTo>
                <a:lnTo>
                  <a:pt x="10763" y="1767"/>
                </a:lnTo>
                <a:lnTo>
                  <a:pt x="10765" y="1771"/>
                </a:lnTo>
                <a:lnTo>
                  <a:pt x="10768" y="1766"/>
                </a:lnTo>
                <a:lnTo>
                  <a:pt x="10768" y="1762"/>
                </a:lnTo>
                <a:lnTo>
                  <a:pt x="10766" y="1758"/>
                </a:lnTo>
                <a:lnTo>
                  <a:pt x="10760" y="1757"/>
                </a:lnTo>
                <a:close/>
                <a:moveTo>
                  <a:pt x="10573" y="2089"/>
                </a:moveTo>
                <a:lnTo>
                  <a:pt x="10573" y="2089"/>
                </a:lnTo>
                <a:lnTo>
                  <a:pt x="10573" y="2090"/>
                </a:lnTo>
                <a:lnTo>
                  <a:pt x="10573" y="2090"/>
                </a:lnTo>
                <a:lnTo>
                  <a:pt x="10573" y="2089"/>
                </a:lnTo>
                <a:close/>
                <a:moveTo>
                  <a:pt x="10561" y="2102"/>
                </a:moveTo>
                <a:lnTo>
                  <a:pt x="10563" y="2107"/>
                </a:lnTo>
                <a:lnTo>
                  <a:pt x="10568" y="2115"/>
                </a:lnTo>
                <a:lnTo>
                  <a:pt x="10574" y="2106"/>
                </a:lnTo>
                <a:lnTo>
                  <a:pt x="10574" y="2097"/>
                </a:lnTo>
                <a:lnTo>
                  <a:pt x="10569" y="2093"/>
                </a:lnTo>
                <a:lnTo>
                  <a:pt x="10561" y="2102"/>
                </a:lnTo>
                <a:close/>
                <a:moveTo>
                  <a:pt x="9594" y="1217"/>
                </a:moveTo>
                <a:lnTo>
                  <a:pt x="9599" y="1211"/>
                </a:lnTo>
                <a:lnTo>
                  <a:pt x="9601" y="1206"/>
                </a:lnTo>
                <a:lnTo>
                  <a:pt x="9601" y="1202"/>
                </a:lnTo>
                <a:lnTo>
                  <a:pt x="9596" y="1197"/>
                </a:lnTo>
                <a:lnTo>
                  <a:pt x="9591" y="1202"/>
                </a:lnTo>
                <a:lnTo>
                  <a:pt x="9587" y="1206"/>
                </a:lnTo>
                <a:lnTo>
                  <a:pt x="9587" y="1211"/>
                </a:lnTo>
                <a:lnTo>
                  <a:pt x="9594" y="1217"/>
                </a:lnTo>
                <a:close/>
                <a:moveTo>
                  <a:pt x="11650" y="3506"/>
                </a:moveTo>
                <a:lnTo>
                  <a:pt x="11650" y="3502"/>
                </a:lnTo>
                <a:lnTo>
                  <a:pt x="11650" y="3499"/>
                </a:lnTo>
                <a:lnTo>
                  <a:pt x="11648" y="3498"/>
                </a:lnTo>
                <a:lnTo>
                  <a:pt x="11644" y="3499"/>
                </a:lnTo>
                <a:lnTo>
                  <a:pt x="11644" y="3502"/>
                </a:lnTo>
                <a:lnTo>
                  <a:pt x="11645" y="3505"/>
                </a:lnTo>
                <a:lnTo>
                  <a:pt x="11648" y="3506"/>
                </a:lnTo>
                <a:lnTo>
                  <a:pt x="11650" y="3506"/>
                </a:lnTo>
                <a:close/>
                <a:moveTo>
                  <a:pt x="7426" y="871"/>
                </a:moveTo>
                <a:lnTo>
                  <a:pt x="7429" y="871"/>
                </a:lnTo>
                <a:lnTo>
                  <a:pt x="7429" y="872"/>
                </a:lnTo>
                <a:lnTo>
                  <a:pt x="7429" y="871"/>
                </a:lnTo>
                <a:lnTo>
                  <a:pt x="7426" y="871"/>
                </a:lnTo>
                <a:close/>
                <a:moveTo>
                  <a:pt x="7399" y="866"/>
                </a:moveTo>
                <a:lnTo>
                  <a:pt x="7401" y="862"/>
                </a:lnTo>
                <a:lnTo>
                  <a:pt x="7399" y="866"/>
                </a:lnTo>
                <a:lnTo>
                  <a:pt x="7415" y="868"/>
                </a:lnTo>
                <a:lnTo>
                  <a:pt x="7420" y="870"/>
                </a:lnTo>
                <a:lnTo>
                  <a:pt x="7415" y="868"/>
                </a:lnTo>
                <a:lnTo>
                  <a:pt x="7399" y="866"/>
                </a:lnTo>
                <a:close/>
                <a:moveTo>
                  <a:pt x="8879" y="1089"/>
                </a:moveTo>
                <a:lnTo>
                  <a:pt x="8884" y="1087"/>
                </a:lnTo>
                <a:lnTo>
                  <a:pt x="8887" y="1083"/>
                </a:lnTo>
                <a:lnTo>
                  <a:pt x="8887" y="1080"/>
                </a:lnTo>
                <a:lnTo>
                  <a:pt x="8883" y="1077"/>
                </a:lnTo>
                <a:lnTo>
                  <a:pt x="8878" y="1078"/>
                </a:lnTo>
                <a:lnTo>
                  <a:pt x="8875" y="1082"/>
                </a:lnTo>
                <a:lnTo>
                  <a:pt x="8875" y="1086"/>
                </a:lnTo>
                <a:lnTo>
                  <a:pt x="8879" y="1089"/>
                </a:lnTo>
                <a:close/>
                <a:moveTo>
                  <a:pt x="11836" y="3745"/>
                </a:moveTo>
                <a:lnTo>
                  <a:pt x="11835" y="3738"/>
                </a:lnTo>
                <a:lnTo>
                  <a:pt x="11829" y="3736"/>
                </a:lnTo>
                <a:lnTo>
                  <a:pt x="11822" y="3740"/>
                </a:lnTo>
                <a:lnTo>
                  <a:pt x="11826" y="3748"/>
                </a:lnTo>
                <a:lnTo>
                  <a:pt x="11831" y="3746"/>
                </a:lnTo>
                <a:lnTo>
                  <a:pt x="11836" y="3745"/>
                </a:lnTo>
                <a:close/>
                <a:moveTo>
                  <a:pt x="7865" y="952"/>
                </a:moveTo>
                <a:lnTo>
                  <a:pt x="7872" y="952"/>
                </a:lnTo>
                <a:lnTo>
                  <a:pt x="7874" y="950"/>
                </a:lnTo>
                <a:lnTo>
                  <a:pt x="7874" y="947"/>
                </a:lnTo>
                <a:lnTo>
                  <a:pt x="7870" y="943"/>
                </a:lnTo>
                <a:lnTo>
                  <a:pt x="7867" y="946"/>
                </a:lnTo>
                <a:lnTo>
                  <a:pt x="7864" y="947"/>
                </a:lnTo>
                <a:lnTo>
                  <a:pt x="7863" y="950"/>
                </a:lnTo>
                <a:lnTo>
                  <a:pt x="7865" y="952"/>
                </a:lnTo>
                <a:close/>
                <a:moveTo>
                  <a:pt x="1081" y="781"/>
                </a:moveTo>
                <a:lnTo>
                  <a:pt x="1073" y="775"/>
                </a:lnTo>
                <a:lnTo>
                  <a:pt x="1066" y="777"/>
                </a:lnTo>
                <a:lnTo>
                  <a:pt x="1065" y="783"/>
                </a:lnTo>
                <a:lnTo>
                  <a:pt x="1069" y="792"/>
                </a:lnTo>
                <a:lnTo>
                  <a:pt x="1078" y="792"/>
                </a:lnTo>
                <a:lnTo>
                  <a:pt x="1081" y="789"/>
                </a:lnTo>
                <a:lnTo>
                  <a:pt x="1083" y="786"/>
                </a:lnTo>
                <a:lnTo>
                  <a:pt x="1081" y="781"/>
                </a:lnTo>
                <a:close/>
                <a:moveTo>
                  <a:pt x="1173" y="835"/>
                </a:moveTo>
                <a:lnTo>
                  <a:pt x="1188" y="838"/>
                </a:lnTo>
                <a:lnTo>
                  <a:pt x="1210" y="842"/>
                </a:lnTo>
                <a:lnTo>
                  <a:pt x="1197" y="833"/>
                </a:lnTo>
                <a:lnTo>
                  <a:pt x="1188" y="829"/>
                </a:lnTo>
                <a:lnTo>
                  <a:pt x="1181" y="830"/>
                </a:lnTo>
                <a:lnTo>
                  <a:pt x="1173" y="835"/>
                </a:lnTo>
                <a:close/>
                <a:moveTo>
                  <a:pt x="1400" y="13"/>
                </a:moveTo>
                <a:lnTo>
                  <a:pt x="1392" y="10"/>
                </a:lnTo>
                <a:lnTo>
                  <a:pt x="1386" y="9"/>
                </a:lnTo>
                <a:lnTo>
                  <a:pt x="1381" y="10"/>
                </a:lnTo>
                <a:lnTo>
                  <a:pt x="1377" y="17"/>
                </a:lnTo>
                <a:lnTo>
                  <a:pt x="1383" y="19"/>
                </a:lnTo>
                <a:lnTo>
                  <a:pt x="1390" y="21"/>
                </a:lnTo>
                <a:lnTo>
                  <a:pt x="1395" y="19"/>
                </a:lnTo>
                <a:lnTo>
                  <a:pt x="1400" y="13"/>
                </a:lnTo>
                <a:close/>
                <a:moveTo>
                  <a:pt x="1215" y="908"/>
                </a:moveTo>
                <a:lnTo>
                  <a:pt x="1223" y="921"/>
                </a:lnTo>
                <a:lnTo>
                  <a:pt x="1232" y="929"/>
                </a:lnTo>
                <a:lnTo>
                  <a:pt x="1243" y="936"/>
                </a:lnTo>
                <a:lnTo>
                  <a:pt x="1256" y="941"/>
                </a:lnTo>
                <a:lnTo>
                  <a:pt x="1250" y="928"/>
                </a:lnTo>
                <a:lnTo>
                  <a:pt x="1241" y="919"/>
                </a:lnTo>
                <a:lnTo>
                  <a:pt x="1228" y="913"/>
                </a:lnTo>
                <a:lnTo>
                  <a:pt x="1215" y="908"/>
                </a:lnTo>
                <a:close/>
                <a:moveTo>
                  <a:pt x="1256" y="941"/>
                </a:moveTo>
                <a:lnTo>
                  <a:pt x="1258" y="943"/>
                </a:lnTo>
                <a:lnTo>
                  <a:pt x="1261" y="943"/>
                </a:lnTo>
                <a:lnTo>
                  <a:pt x="1260" y="942"/>
                </a:lnTo>
                <a:lnTo>
                  <a:pt x="1256" y="942"/>
                </a:lnTo>
                <a:lnTo>
                  <a:pt x="1257" y="941"/>
                </a:lnTo>
                <a:lnTo>
                  <a:pt x="1256" y="941"/>
                </a:lnTo>
                <a:close/>
                <a:moveTo>
                  <a:pt x="11183" y="4631"/>
                </a:moveTo>
                <a:lnTo>
                  <a:pt x="11183" y="4639"/>
                </a:lnTo>
                <a:lnTo>
                  <a:pt x="11187" y="4643"/>
                </a:lnTo>
                <a:lnTo>
                  <a:pt x="11193" y="4644"/>
                </a:lnTo>
                <a:lnTo>
                  <a:pt x="11201" y="4646"/>
                </a:lnTo>
                <a:lnTo>
                  <a:pt x="11197" y="4640"/>
                </a:lnTo>
                <a:lnTo>
                  <a:pt x="11194" y="4635"/>
                </a:lnTo>
                <a:lnTo>
                  <a:pt x="11189" y="4632"/>
                </a:lnTo>
                <a:lnTo>
                  <a:pt x="11183" y="4631"/>
                </a:lnTo>
                <a:close/>
                <a:moveTo>
                  <a:pt x="1377" y="837"/>
                </a:moveTo>
                <a:lnTo>
                  <a:pt x="1382" y="837"/>
                </a:lnTo>
                <a:lnTo>
                  <a:pt x="1388" y="838"/>
                </a:lnTo>
                <a:lnTo>
                  <a:pt x="1393" y="837"/>
                </a:lnTo>
                <a:lnTo>
                  <a:pt x="1395" y="831"/>
                </a:lnTo>
                <a:lnTo>
                  <a:pt x="1385" y="828"/>
                </a:lnTo>
                <a:lnTo>
                  <a:pt x="1374" y="826"/>
                </a:lnTo>
                <a:lnTo>
                  <a:pt x="1371" y="829"/>
                </a:lnTo>
                <a:lnTo>
                  <a:pt x="1377" y="837"/>
                </a:lnTo>
                <a:close/>
                <a:moveTo>
                  <a:pt x="1602" y="437"/>
                </a:moveTo>
                <a:lnTo>
                  <a:pt x="1602" y="437"/>
                </a:lnTo>
                <a:lnTo>
                  <a:pt x="1602" y="437"/>
                </a:lnTo>
                <a:lnTo>
                  <a:pt x="1602" y="437"/>
                </a:lnTo>
                <a:lnTo>
                  <a:pt x="1602" y="437"/>
                </a:lnTo>
                <a:close/>
                <a:moveTo>
                  <a:pt x="1602" y="437"/>
                </a:moveTo>
                <a:lnTo>
                  <a:pt x="1588" y="439"/>
                </a:lnTo>
                <a:lnTo>
                  <a:pt x="1581" y="447"/>
                </a:lnTo>
                <a:lnTo>
                  <a:pt x="1576" y="457"/>
                </a:lnTo>
                <a:lnTo>
                  <a:pt x="1572" y="469"/>
                </a:lnTo>
                <a:lnTo>
                  <a:pt x="1587" y="472"/>
                </a:lnTo>
                <a:lnTo>
                  <a:pt x="1596" y="466"/>
                </a:lnTo>
                <a:lnTo>
                  <a:pt x="1600" y="453"/>
                </a:lnTo>
                <a:lnTo>
                  <a:pt x="1602" y="437"/>
                </a:lnTo>
                <a:close/>
                <a:moveTo>
                  <a:pt x="11431" y="3161"/>
                </a:moveTo>
                <a:lnTo>
                  <a:pt x="11441" y="3172"/>
                </a:lnTo>
                <a:lnTo>
                  <a:pt x="11452" y="3183"/>
                </a:lnTo>
                <a:lnTo>
                  <a:pt x="11458" y="3167"/>
                </a:lnTo>
                <a:lnTo>
                  <a:pt x="11455" y="3160"/>
                </a:lnTo>
                <a:lnTo>
                  <a:pt x="11446" y="3157"/>
                </a:lnTo>
                <a:lnTo>
                  <a:pt x="11431" y="3161"/>
                </a:lnTo>
                <a:close/>
                <a:moveTo>
                  <a:pt x="1655" y="433"/>
                </a:moveTo>
                <a:lnTo>
                  <a:pt x="1653" y="433"/>
                </a:lnTo>
                <a:lnTo>
                  <a:pt x="1653" y="434"/>
                </a:lnTo>
                <a:lnTo>
                  <a:pt x="1655" y="433"/>
                </a:lnTo>
                <a:close/>
                <a:moveTo>
                  <a:pt x="1652" y="433"/>
                </a:moveTo>
                <a:lnTo>
                  <a:pt x="1639" y="424"/>
                </a:lnTo>
                <a:lnTo>
                  <a:pt x="1629" y="422"/>
                </a:lnTo>
                <a:lnTo>
                  <a:pt x="1619" y="427"/>
                </a:lnTo>
                <a:lnTo>
                  <a:pt x="1604" y="437"/>
                </a:lnTo>
                <a:lnTo>
                  <a:pt x="1616" y="441"/>
                </a:lnTo>
                <a:lnTo>
                  <a:pt x="1628" y="439"/>
                </a:lnTo>
                <a:lnTo>
                  <a:pt x="1641" y="436"/>
                </a:lnTo>
                <a:lnTo>
                  <a:pt x="1652" y="433"/>
                </a:lnTo>
                <a:close/>
                <a:moveTo>
                  <a:pt x="2048" y="404"/>
                </a:moveTo>
                <a:lnTo>
                  <a:pt x="2043" y="399"/>
                </a:lnTo>
                <a:lnTo>
                  <a:pt x="2037" y="392"/>
                </a:lnTo>
                <a:lnTo>
                  <a:pt x="2031" y="388"/>
                </a:lnTo>
                <a:lnTo>
                  <a:pt x="2025" y="390"/>
                </a:lnTo>
                <a:lnTo>
                  <a:pt x="2028" y="396"/>
                </a:lnTo>
                <a:lnTo>
                  <a:pt x="2033" y="399"/>
                </a:lnTo>
                <a:lnTo>
                  <a:pt x="2042" y="401"/>
                </a:lnTo>
                <a:lnTo>
                  <a:pt x="2048" y="404"/>
                </a:lnTo>
                <a:close/>
                <a:moveTo>
                  <a:pt x="2051" y="405"/>
                </a:moveTo>
                <a:lnTo>
                  <a:pt x="2049" y="404"/>
                </a:lnTo>
                <a:lnTo>
                  <a:pt x="2049" y="404"/>
                </a:lnTo>
                <a:lnTo>
                  <a:pt x="2049" y="404"/>
                </a:lnTo>
                <a:lnTo>
                  <a:pt x="2051" y="405"/>
                </a:lnTo>
                <a:lnTo>
                  <a:pt x="2051" y="405"/>
                </a:lnTo>
                <a:close/>
                <a:moveTo>
                  <a:pt x="2077" y="358"/>
                </a:moveTo>
                <a:lnTo>
                  <a:pt x="2086" y="359"/>
                </a:lnTo>
                <a:lnTo>
                  <a:pt x="2095" y="359"/>
                </a:lnTo>
                <a:lnTo>
                  <a:pt x="2091" y="349"/>
                </a:lnTo>
                <a:lnTo>
                  <a:pt x="2081" y="346"/>
                </a:lnTo>
                <a:lnTo>
                  <a:pt x="2075" y="350"/>
                </a:lnTo>
                <a:lnTo>
                  <a:pt x="2077" y="358"/>
                </a:lnTo>
                <a:close/>
                <a:moveTo>
                  <a:pt x="11398" y="2304"/>
                </a:moveTo>
                <a:lnTo>
                  <a:pt x="11394" y="2299"/>
                </a:lnTo>
                <a:lnTo>
                  <a:pt x="11390" y="2298"/>
                </a:lnTo>
                <a:lnTo>
                  <a:pt x="11385" y="2299"/>
                </a:lnTo>
                <a:lnTo>
                  <a:pt x="11382" y="2303"/>
                </a:lnTo>
                <a:lnTo>
                  <a:pt x="11383" y="2309"/>
                </a:lnTo>
                <a:lnTo>
                  <a:pt x="11388" y="2311"/>
                </a:lnTo>
                <a:lnTo>
                  <a:pt x="11393" y="2309"/>
                </a:lnTo>
                <a:lnTo>
                  <a:pt x="11398" y="2304"/>
                </a:lnTo>
                <a:close/>
                <a:moveTo>
                  <a:pt x="2701" y="433"/>
                </a:moveTo>
                <a:lnTo>
                  <a:pt x="2698" y="428"/>
                </a:lnTo>
                <a:lnTo>
                  <a:pt x="2694" y="427"/>
                </a:lnTo>
                <a:lnTo>
                  <a:pt x="2689" y="427"/>
                </a:lnTo>
                <a:lnTo>
                  <a:pt x="2684" y="430"/>
                </a:lnTo>
                <a:lnTo>
                  <a:pt x="2689" y="436"/>
                </a:lnTo>
                <a:lnTo>
                  <a:pt x="2692" y="438"/>
                </a:lnTo>
                <a:lnTo>
                  <a:pt x="2696" y="438"/>
                </a:lnTo>
                <a:lnTo>
                  <a:pt x="2701" y="433"/>
                </a:lnTo>
                <a:close/>
                <a:moveTo>
                  <a:pt x="2731" y="213"/>
                </a:moveTo>
                <a:lnTo>
                  <a:pt x="2741" y="209"/>
                </a:lnTo>
                <a:lnTo>
                  <a:pt x="2743" y="204"/>
                </a:lnTo>
                <a:lnTo>
                  <a:pt x="2741" y="196"/>
                </a:lnTo>
                <a:lnTo>
                  <a:pt x="2737" y="186"/>
                </a:lnTo>
                <a:lnTo>
                  <a:pt x="2729" y="195"/>
                </a:lnTo>
                <a:lnTo>
                  <a:pt x="2724" y="203"/>
                </a:lnTo>
                <a:lnTo>
                  <a:pt x="2724" y="208"/>
                </a:lnTo>
                <a:lnTo>
                  <a:pt x="2731" y="213"/>
                </a:lnTo>
                <a:close/>
                <a:moveTo>
                  <a:pt x="11162" y="2159"/>
                </a:moveTo>
                <a:lnTo>
                  <a:pt x="11161" y="2149"/>
                </a:lnTo>
                <a:lnTo>
                  <a:pt x="11155" y="2144"/>
                </a:lnTo>
                <a:lnTo>
                  <a:pt x="11148" y="2146"/>
                </a:lnTo>
                <a:lnTo>
                  <a:pt x="11143" y="2155"/>
                </a:lnTo>
                <a:lnTo>
                  <a:pt x="11148" y="2160"/>
                </a:lnTo>
                <a:lnTo>
                  <a:pt x="11154" y="2164"/>
                </a:lnTo>
                <a:lnTo>
                  <a:pt x="11159" y="2164"/>
                </a:lnTo>
                <a:lnTo>
                  <a:pt x="11162" y="2159"/>
                </a:lnTo>
                <a:close/>
                <a:moveTo>
                  <a:pt x="3482" y="144"/>
                </a:moveTo>
                <a:lnTo>
                  <a:pt x="3488" y="140"/>
                </a:lnTo>
                <a:lnTo>
                  <a:pt x="3486" y="134"/>
                </a:lnTo>
                <a:lnTo>
                  <a:pt x="3479" y="131"/>
                </a:lnTo>
                <a:lnTo>
                  <a:pt x="3474" y="138"/>
                </a:lnTo>
                <a:lnTo>
                  <a:pt x="3478" y="142"/>
                </a:lnTo>
                <a:lnTo>
                  <a:pt x="3482" y="144"/>
                </a:lnTo>
                <a:close/>
                <a:moveTo>
                  <a:pt x="11136" y="1809"/>
                </a:moveTo>
                <a:lnTo>
                  <a:pt x="11133" y="1808"/>
                </a:lnTo>
                <a:lnTo>
                  <a:pt x="11131" y="1809"/>
                </a:lnTo>
                <a:lnTo>
                  <a:pt x="11129" y="1813"/>
                </a:lnTo>
                <a:lnTo>
                  <a:pt x="11127" y="1817"/>
                </a:lnTo>
                <a:lnTo>
                  <a:pt x="11132" y="1817"/>
                </a:lnTo>
                <a:lnTo>
                  <a:pt x="11136" y="1817"/>
                </a:lnTo>
                <a:lnTo>
                  <a:pt x="11137" y="1814"/>
                </a:lnTo>
                <a:lnTo>
                  <a:pt x="11136" y="1809"/>
                </a:lnTo>
                <a:close/>
                <a:moveTo>
                  <a:pt x="10787" y="2230"/>
                </a:moveTo>
                <a:lnTo>
                  <a:pt x="10787" y="2230"/>
                </a:lnTo>
                <a:lnTo>
                  <a:pt x="10788" y="2230"/>
                </a:lnTo>
                <a:lnTo>
                  <a:pt x="10789" y="2229"/>
                </a:lnTo>
                <a:lnTo>
                  <a:pt x="10788" y="2229"/>
                </a:lnTo>
                <a:lnTo>
                  <a:pt x="10787" y="2230"/>
                </a:lnTo>
                <a:lnTo>
                  <a:pt x="10787" y="2230"/>
                </a:lnTo>
                <a:lnTo>
                  <a:pt x="10787" y="2230"/>
                </a:lnTo>
                <a:lnTo>
                  <a:pt x="10787" y="2230"/>
                </a:lnTo>
                <a:close/>
                <a:moveTo>
                  <a:pt x="10819" y="2211"/>
                </a:moveTo>
                <a:lnTo>
                  <a:pt x="10802" y="2220"/>
                </a:lnTo>
                <a:lnTo>
                  <a:pt x="10794" y="2227"/>
                </a:lnTo>
                <a:lnTo>
                  <a:pt x="10798" y="2228"/>
                </a:lnTo>
                <a:lnTo>
                  <a:pt x="10815" y="2225"/>
                </a:lnTo>
                <a:lnTo>
                  <a:pt x="10816" y="2221"/>
                </a:lnTo>
                <a:lnTo>
                  <a:pt x="10819" y="2211"/>
                </a:lnTo>
                <a:close/>
                <a:moveTo>
                  <a:pt x="10792" y="1808"/>
                </a:moveTo>
                <a:lnTo>
                  <a:pt x="10784" y="1808"/>
                </a:lnTo>
                <a:lnTo>
                  <a:pt x="10783" y="1813"/>
                </a:lnTo>
                <a:lnTo>
                  <a:pt x="10783" y="1818"/>
                </a:lnTo>
                <a:lnTo>
                  <a:pt x="10786" y="1824"/>
                </a:lnTo>
                <a:lnTo>
                  <a:pt x="10794" y="1823"/>
                </a:lnTo>
                <a:lnTo>
                  <a:pt x="10797" y="1819"/>
                </a:lnTo>
                <a:lnTo>
                  <a:pt x="10796" y="1814"/>
                </a:lnTo>
                <a:lnTo>
                  <a:pt x="10792" y="1808"/>
                </a:lnTo>
                <a:close/>
                <a:moveTo>
                  <a:pt x="9731" y="1390"/>
                </a:moveTo>
                <a:lnTo>
                  <a:pt x="9725" y="1389"/>
                </a:lnTo>
                <a:lnTo>
                  <a:pt x="9721" y="1390"/>
                </a:lnTo>
                <a:lnTo>
                  <a:pt x="9718" y="1394"/>
                </a:lnTo>
                <a:lnTo>
                  <a:pt x="9718" y="1399"/>
                </a:lnTo>
                <a:lnTo>
                  <a:pt x="9723" y="1400"/>
                </a:lnTo>
                <a:lnTo>
                  <a:pt x="9727" y="1400"/>
                </a:lnTo>
                <a:lnTo>
                  <a:pt x="9730" y="1397"/>
                </a:lnTo>
                <a:lnTo>
                  <a:pt x="9731" y="1390"/>
                </a:lnTo>
                <a:close/>
                <a:moveTo>
                  <a:pt x="9183" y="1202"/>
                </a:moveTo>
                <a:lnTo>
                  <a:pt x="9181" y="1197"/>
                </a:lnTo>
                <a:lnTo>
                  <a:pt x="9176" y="1197"/>
                </a:lnTo>
                <a:lnTo>
                  <a:pt x="9169" y="1198"/>
                </a:lnTo>
                <a:lnTo>
                  <a:pt x="9164" y="1199"/>
                </a:lnTo>
                <a:lnTo>
                  <a:pt x="9164" y="1206"/>
                </a:lnTo>
                <a:lnTo>
                  <a:pt x="9169" y="1207"/>
                </a:lnTo>
                <a:lnTo>
                  <a:pt x="9177" y="1204"/>
                </a:lnTo>
                <a:lnTo>
                  <a:pt x="9183" y="1202"/>
                </a:lnTo>
                <a:close/>
                <a:moveTo>
                  <a:pt x="10414" y="1733"/>
                </a:moveTo>
                <a:lnTo>
                  <a:pt x="10420" y="1726"/>
                </a:lnTo>
                <a:lnTo>
                  <a:pt x="10424" y="1721"/>
                </a:lnTo>
                <a:lnTo>
                  <a:pt x="10425" y="1716"/>
                </a:lnTo>
                <a:lnTo>
                  <a:pt x="10419" y="1712"/>
                </a:lnTo>
                <a:lnTo>
                  <a:pt x="10411" y="1715"/>
                </a:lnTo>
                <a:lnTo>
                  <a:pt x="10407" y="1719"/>
                </a:lnTo>
                <a:lnTo>
                  <a:pt x="10409" y="1725"/>
                </a:lnTo>
                <a:lnTo>
                  <a:pt x="10414" y="1733"/>
                </a:lnTo>
                <a:close/>
                <a:moveTo>
                  <a:pt x="8958" y="1165"/>
                </a:moveTo>
                <a:lnTo>
                  <a:pt x="8953" y="1159"/>
                </a:lnTo>
                <a:lnTo>
                  <a:pt x="8948" y="1153"/>
                </a:lnTo>
                <a:lnTo>
                  <a:pt x="8943" y="1152"/>
                </a:lnTo>
                <a:lnTo>
                  <a:pt x="8938" y="1157"/>
                </a:lnTo>
                <a:lnTo>
                  <a:pt x="8939" y="1165"/>
                </a:lnTo>
                <a:lnTo>
                  <a:pt x="8941" y="1169"/>
                </a:lnTo>
                <a:lnTo>
                  <a:pt x="8948" y="1169"/>
                </a:lnTo>
                <a:lnTo>
                  <a:pt x="8958" y="1165"/>
                </a:lnTo>
                <a:close/>
                <a:moveTo>
                  <a:pt x="8245" y="1061"/>
                </a:moveTo>
                <a:lnTo>
                  <a:pt x="8244" y="1054"/>
                </a:lnTo>
                <a:lnTo>
                  <a:pt x="8237" y="1055"/>
                </a:lnTo>
                <a:lnTo>
                  <a:pt x="8232" y="1061"/>
                </a:lnTo>
                <a:lnTo>
                  <a:pt x="8235" y="1064"/>
                </a:lnTo>
                <a:lnTo>
                  <a:pt x="8240" y="1063"/>
                </a:lnTo>
                <a:lnTo>
                  <a:pt x="8245" y="1061"/>
                </a:lnTo>
                <a:close/>
                <a:moveTo>
                  <a:pt x="7713" y="740"/>
                </a:moveTo>
                <a:lnTo>
                  <a:pt x="7709" y="731"/>
                </a:lnTo>
                <a:lnTo>
                  <a:pt x="7702" y="730"/>
                </a:lnTo>
                <a:lnTo>
                  <a:pt x="7699" y="733"/>
                </a:lnTo>
                <a:lnTo>
                  <a:pt x="7702" y="742"/>
                </a:lnTo>
                <a:lnTo>
                  <a:pt x="7706" y="742"/>
                </a:lnTo>
                <a:lnTo>
                  <a:pt x="7713" y="740"/>
                </a:lnTo>
                <a:close/>
                <a:moveTo>
                  <a:pt x="9385" y="1167"/>
                </a:moveTo>
                <a:lnTo>
                  <a:pt x="9381" y="1162"/>
                </a:lnTo>
                <a:lnTo>
                  <a:pt x="9377" y="1161"/>
                </a:lnTo>
                <a:lnTo>
                  <a:pt x="9373" y="1164"/>
                </a:lnTo>
                <a:lnTo>
                  <a:pt x="9369" y="1167"/>
                </a:lnTo>
                <a:lnTo>
                  <a:pt x="9373" y="1171"/>
                </a:lnTo>
                <a:lnTo>
                  <a:pt x="9377" y="1173"/>
                </a:lnTo>
                <a:lnTo>
                  <a:pt x="9381" y="1171"/>
                </a:lnTo>
                <a:lnTo>
                  <a:pt x="9385" y="1167"/>
                </a:lnTo>
                <a:close/>
                <a:moveTo>
                  <a:pt x="11681" y="3704"/>
                </a:moveTo>
                <a:lnTo>
                  <a:pt x="11687" y="3706"/>
                </a:lnTo>
                <a:lnTo>
                  <a:pt x="11692" y="3706"/>
                </a:lnTo>
                <a:lnTo>
                  <a:pt x="11697" y="3704"/>
                </a:lnTo>
                <a:lnTo>
                  <a:pt x="11699" y="3701"/>
                </a:lnTo>
                <a:lnTo>
                  <a:pt x="11692" y="3699"/>
                </a:lnTo>
                <a:lnTo>
                  <a:pt x="11686" y="3698"/>
                </a:lnTo>
                <a:lnTo>
                  <a:pt x="11682" y="3699"/>
                </a:lnTo>
                <a:lnTo>
                  <a:pt x="11681" y="3704"/>
                </a:lnTo>
                <a:close/>
                <a:moveTo>
                  <a:pt x="11230" y="4028"/>
                </a:moveTo>
                <a:lnTo>
                  <a:pt x="11239" y="4024"/>
                </a:lnTo>
                <a:lnTo>
                  <a:pt x="11235" y="4018"/>
                </a:lnTo>
                <a:lnTo>
                  <a:pt x="11222" y="4014"/>
                </a:lnTo>
                <a:lnTo>
                  <a:pt x="11206" y="4014"/>
                </a:lnTo>
                <a:lnTo>
                  <a:pt x="11221" y="4024"/>
                </a:lnTo>
                <a:lnTo>
                  <a:pt x="11230" y="4028"/>
                </a:lnTo>
                <a:close/>
                <a:moveTo>
                  <a:pt x="1638" y="380"/>
                </a:moveTo>
                <a:lnTo>
                  <a:pt x="1648" y="371"/>
                </a:lnTo>
                <a:lnTo>
                  <a:pt x="1643" y="366"/>
                </a:lnTo>
                <a:lnTo>
                  <a:pt x="1629" y="366"/>
                </a:lnTo>
                <a:lnTo>
                  <a:pt x="1610" y="373"/>
                </a:lnTo>
                <a:lnTo>
                  <a:pt x="1629" y="378"/>
                </a:lnTo>
                <a:lnTo>
                  <a:pt x="1638" y="380"/>
                </a:lnTo>
                <a:close/>
                <a:moveTo>
                  <a:pt x="2603" y="352"/>
                </a:moveTo>
                <a:lnTo>
                  <a:pt x="2598" y="348"/>
                </a:lnTo>
                <a:lnTo>
                  <a:pt x="2593" y="344"/>
                </a:lnTo>
                <a:lnTo>
                  <a:pt x="2588" y="344"/>
                </a:lnTo>
                <a:lnTo>
                  <a:pt x="2582" y="348"/>
                </a:lnTo>
                <a:lnTo>
                  <a:pt x="2588" y="353"/>
                </a:lnTo>
                <a:lnTo>
                  <a:pt x="2593" y="357"/>
                </a:lnTo>
                <a:lnTo>
                  <a:pt x="2598" y="357"/>
                </a:lnTo>
                <a:lnTo>
                  <a:pt x="2603" y="352"/>
                </a:lnTo>
                <a:close/>
                <a:moveTo>
                  <a:pt x="3539" y="280"/>
                </a:moveTo>
                <a:lnTo>
                  <a:pt x="3532" y="279"/>
                </a:lnTo>
                <a:lnTo>
                  <a:pt x="3523" y="276"/>
                </a:lnTo>
                <a:lnTo>
                  <a:pt x="3516" y="276"/>
                </a:lnTo>
                <a:lnTo>
                  <a:pt x="3513" y="282"/>
                </a:lnTo>
                <a:lnTo>
                  <a:pt x="3520" y="282"/>
                </a:lnTo>
                <a:lnTo>
                  <a:pt x="3528" y="283"/>
                </a:lnTo>
                <a:lnTo>
                  <a:pt x="3534" y="283"/>
                </a:lnTo>
                <a:lnTo>
                  <a:pt x="3539" y="280"/>
                </a:lnTo>
                <a:close/>
                <a:moveTo>
                  <a:pt x="9949" y="1192"/>
                </a:moveTo>
                <a:lnTo>
                  <a:pt x="9946" y="1184"/>
                </a:lnTo>
                <a:lnTo>
                  <a:pt x="9942" y="1176"/>
                </a:lnTo>
                <a:lnTo>
                  <a:pt x="9939" y="1173"/>
                </a:lnTo>
                <a:lnTo>
                  <a:pt x="9931" y="1175"/>
                </a:lnTo>
                <a:lnTo>
                  <a:pt x="9932" y="1185"/>
                </a:lnTo>
                <a:lnTo>
                  <a:pt x="9935" y="1192"/>
                </a:lnTo>
                <a:lnTo>
                  <a:pt x="9940" y="1194"/>
                </a:lnTo>
                <a:lnTo>
                  <a:pt x="9949" y="1192"/>
                </a:lnTo>
                <a:close/>
                <a:moveTo>
                  <a:pt x="9955" y="1448"/>
                </a:moveTo>
                <a:lnTo>
                  <a:pt x="9963" y="1455"/>
                </a:lnTo>
                <a:lnTo>
                  <a:pt x="9977" y="1456"/>
                </a:lnTo>
                <a:lnTo>
                  <a:pt x="9988" y="1451"/>
                </a:lnTo>
                <a:lnTo>
                  <a:pt x="9990" y="1440"/>
                </a:lnTo>
                <a:lnTo>
                  <a:pt x="9979" y="1439"/>
                </a:lnTo>
                <a:lnTo>
                  <a:pt x="9968" y="1437"/>
                </a:lnTo>
                <a:lnTo>
                  <a:pt x="9959" y="1439"/>
                </a:lnTo>
                <a:lnTo>
                  <a:pt x="9955" y="1448"/>
                </a:lnTo>
                <a:close/>
                <a:moveTo>
                  <a:pt x="10147" y="1870"/>
                </a:moveTo>
                <a:lnTo>
                  <a:pt x="10153" y="1880"/>
                </a:lnTo>
                <a:lnTo>
                  <a:pt x="10163" y="1874"/>
                </a:lnTo>
                <a:lnTo>
                  <a:pt x="10168" y="1861"/>
                </a:lnTo>
                <a:lnTo>
                  <a:pt x="10160" y="1852"/>
                </a:lnTo>
                <a:lnTo>
                  <a:pt x="10153" y="1861"/>
                </a:lnTo>
                <a:lnTo>
                  <a:pt x="10147" y="1870"/>
                </a:lnTo>
                <a:close/>
                <a:moveTo>
                  <a:pt x="10586" y="1815"/>
                </a:moveTo>
                <a:lnTo>
                  <a:pt x="10586" y="1815"/>
                </a:lnTo>
                <a:lnTo>
                  <a:pt x="10586" y="1815"/>
                </a:lnTo>
                <a:lnTo>
                  <a:pt x="10586" y="1815"/>
                </a:lnTo>
                <a:lnTo>
                  <a:pt x="10586" y="1815"/>
                </a:lnTo>
                <a:close/>
                <a:moveTo>
                  <a:pt x="10583" y="1826"/>
                </a:moveTo>
                <a:lnTo>
                  <a:pt x="10594" y="1831"/>
                </a:lnTo>
                <a:lnTo>
                  <a:pt x="10608" y="1834"/>
                </a:lnTo>
                <a:lnTo>
                  <a:pt x="10620" y="1833"/>
                </a:lnTo>
                <a:lnTo>
                  <a:pt x="10624" y="1826"/>
                </a:lnTo>
                <a:lnTo>
                  <a:pt x="10614" y="1818"/>
                </a:lnTo>
                <a:lnTo>
                  <a:pt x="10601" y="1814"/>
                </a:lnTo>
                <a:lnTo>
                  <a:pt x="10589" y="1817"/>
                </a:lnTo>
                <a:lnTo>
                  <a:pt x="10583" y="1826"/>
                </a:lnTo>
                <a:close/>
                <a:moveTo>
                  <a:pt x="11033" y="1768"/>
                </a:moveTo>
                <a:lnTo>
                  <a:pt x="11025" y="1768"/>
                </a:lnTo>
                <a:lnTo>
                  <a:pt x="11016" y="1768"/>
                </a:lnTo>
                <a:lnTo>
                  <a:pt x="11010" y="1770"/>
                </a:lnTo>
                <a:lnTo>
                  <a:pt x="11007" y="1776"/>
                </a:lnTo>
                <a:lnTo>
                  <a:pt x="11017" y="1777"/>
                </a:lnTo>
                <a:lnTo>
                  <a:pt x="11026" y="1778"/>
                </a:lnTo>
                <a:lnTo>
                  <a:pt x="11033" y="1777"/>
                </a:lnTo>
                <a:lnTo>
                  <a:pt x="11033" y="1768"/>
                </a:lnTo>
                <a:close/>
                <a:moveTo>
                  <a:pt x="11022" y="1911"/>
                </a:moveTo>
                <a:lnTo>
                  <a:pt x="11016" y="1905"/>
                </a:lnTo>
                <a:lnTo>
                  <a:pt x="11008" y="1902"/>
                </a:lnTo>
                <a:lnTo>
                  <a:pt x="11001" y="1903"/>
                </a:lnTo>
                <a:lnTo>
                  <a:pt x="10993" y="1908"/>
                </a:lnTo>
                <a:lnTo>
                  <a:pt x="11001" y="1915"/>
                </a:lnTo>
                <a:lnTo>
                  <a:pt x="11007" y="1919"/>
                </a:lnTo>
                <a:lnTo>
                  <a:pt x="11015" y="1917"/>
                </a:lnTo>
                <a:lnTo>
                  <a:pt x="11022" y="1911"/>
                </a:lnTo>
                <a:close/>
                <a:moveTo>
                  <a:pt x="11113" y="2488"/>
                </a:moveTo>
                <a:lnTo>
                  <a:pt x="11122" y="2489"/>
                </a:lnTo>
                <a:lnTo>
                  <a:pt x="11131" y="2491"/>
                </a:lnTo>
                <a:lnTo>
                  <a:pt x="11140" y="2493"/>
                </a:lnTo>
                <a:lnTo>
                  <a:pt x="11145" y="2489"/>
                </a:lnTo>
                <a:lnTo>
                  <a:pt x="11136" y="2486"/>
                </a:lnTo>
                <a:lnTo>
                  <a:pt x="11126" y="2482"/>
                </a:lnTo>
                <a:lnTo>
                  <a:pt x="11117" y="2482"/>
                </a:lnTo>
                <a:lnTo>
                  <a:pt x="11113" y="2488"/>
                </a:lnTo>
                <a:close/>
                <a:moveTo>
                  <a:pt x="10923" y="4343"/>
                </a:moveTo>
                <a:lnTo>
                  <a:pt x="10917" y="4347"/>
                </a:lnTo>
                <a:lnTo>
                  <a:pt x="10913" y="4351"/>
                </a:lnTo>
                <a:lnTo>
                  <a:pt x="10914" y="4355"/>
                </a:lnTo>
                <a:lnTo>
                  <a:pt x="10921" y="4360"/>
                </a:lnTo>
                <a:lnTo>
                  <a:pt x="10926" y="4356"/>
                </a:lnTo>
                <a:lnTo>
                  <a:pt x="10928" y="4351"/>
                </a:lnTo>
                <a:lnTo>
                  <a:pt x="10928" y="4346"/>
                </a:lnTo>
                <a:lnTo>
                  <a:pt x="10923" y="4343"/>
                </a:lnTo>
                <a:close/>
                <a:moveTo>
                  <a:pt x="1932" y="285"/>
                </a:moveTo>
                <a:lnTo>
                  <a:pt x="1936" y="294"/>
                </a:lnTo>
                <a:lnTo>
                  <a:pt x="1949" y="297"/>
                </a:lnTo>
                <a:lnTo>
                  <a:pt x="1961" y="296"/>
                </a:lnTo>
                <a:lnTo>
                  <a:pt x="1968" y="288"/>
                </a:lnTo>
                <a:lnTo>
                  <a:pt x="1961" y="282"/>
                </a:lnTo>
                <a:lnTo>
                  <a:pt x="1953" y="280"/>
                </a:lnTo>
                <a:lnTo>
                  <a:pt x="1942" y="284"/>
                </a:lnTo>
                <a:lnTo>
                  <a:pt x="1932" y="285"/>
                </a:lnTo>
                <a:close/>
                <a:moveTo>
                  <a:pt x="10740" y="4440"/>
                </a:moveTo>
                <a:lnTo>
                  <a:pt x="10747" y="4448"/>
                </a:lnTo>
                <a:lnTo>
                  <a:pt x="10756" y="4454"/>
                </a:lnTo>
                <a:lnTo>
                  <a:pt x="10768" y="4457"/>
                </a:lnTo>
                <a:lnTo>
                  <a:pt x="10783" y="4453"/>
                </a:lnTo>
                <a:lnTo>
                  <a:pt x="10770" y="4445"/>
                </a:lnTo>
                <a:lnTo>
                  <a:pt x="10759" y="4436"/>
                </a:lnTo>
                <a:lnTo>
                  <a:pt x="10749" y="4433"/>
                </a:lnTo>
                <a:lnTo>
                  <a:pt x="10740" y="4440"/>
                </a:lnTo>
                <a:close/>
                <a:moveTo>
                  <a:pt x="2382" y="194"/>
                </a:moveTo>
                <a:lnTo>
                  <a:pt x="2391" y="194"/>
                </a:lnTo>
                <a:lnTo>
                  <a:pt x="2401" y="192"/>
                </a:lnTo>
                <a:lnTo>
                  <a:pt x="2407" y="190"/>
                </a:lnTo>
                <a:lnTo>
                  <a:pt x="2407" y="181"/>
                </a:lnTo>
                <a:lnTo>
                  <a:pt x="2396" y="178"/>
                </a:lnTo>
                <a:lnTo>
                  <a:pt x="2382" y="180"/>
                </a:lnTo>
                <a:lnTo>
                  <a:pt x="2374" y="184"/>
                </a:lnTo>
                <a:lnTo>
                  <a:pt x="2382" y="194"/>
                </a:lnTo>
                <a:close/>
                <a:moveTo>
                  <a:pt x="3226" y="276"/>
                </a:moveTo>
                <a:lnTo>
                  <a:pt x="3221" y="270"/>
                </a:lnTo>
                <a:lnTo>
                  <a:pt x="3212" y="268"/>
                </a:lnTo>
                <a:lnTo>
                  <a:pt x="3204" y="270"/>
                </a:lnTo>
                <a:lnTo>
                  <a:pt x="3201" y="279"/>
                </a:lnTo>
                <a:lnTo>
                  <a:pt x="3206" y="289"/>
                </a:lnTo>
                <a:lnTo>
                  <a:pt x="3212" y="292"/>
                </a:lnTo>
                <a:lnTo>
                  <a:pt x="3220" y="287"/>
                </a:lnTo>
                <a:lnTo>
                  <a:pt x="3226" y="276"/>
                </a:lnTo>
                <a:close/>
                <a:moveTo>
                  <a:pt x="1665" y="330"/>
                </a:moveTo>
                <a:lnTo>
                  <a:pt x="1672" y="338"/>
                </a:lnTo>
                <a:lnTo>
                  <a:pt x="1679" y="343"/>
                </a:lnTo>
                <a:lnTo>
                  <a:pt x="1686" y="343"/>
                </a:lnTo>
                <a:lnTo>
                  <a:pt x="1695" y="339"/>
                </a:lnTo>
                <a:lnTo>
                  <a:pt x="1689" y="332"/>
                </a:lnTo>
                <a:lnTo>
                  <a:pt x="1683" y="329"/>
                </a:lnTo>
                <a:lnTo>
                  <a:pt x="1675" y="329"/>
                </a:lnTo>
                <a:lnTo>
                  <a:pt x="1665" y="330"/>
                </a:lnTo>
                <a:close/>
                <a:moveTo>
                  <a:pt x="10417" y="1603"/>
                </a:moveTo>
                <a:lnTo>
                  <a:pt x="10407" y="1594"/>
                </a:lnTo>
                <a:lnTo>
                  <a:pt x="10396" y="1590"/>
                </a:lnTo>
                <a:lnTo>
                  <a:pt x="10384" y="1590"/>
                </a:lnTo>
                <a:lnTo>
                  <a:pt x="10372" y="1593"/>
                </a:lnTo>
                <a:lnTo>
                  <a:pt x="10382" y="1602"/>
                </a:lnTo>
                <a:lnTo>
                  <a:pt x="10393" y="1605"/>
                </a:lnTo>
                <a:lnTo>
                  <a:pt x="10405" y="1605"/>
                </a:lnTo>
                <a:lnTo>
                  <a:pt x="10417" y="1603"/>
                </a:lnTo>
                <a:close/>
                <a:moveTo>
                  <a:pt x="8363" y="1080"/>
                </a:moveTo>
                <a:lnTo>
                  <a:pt x="8361" y="1080"/>
                </a:lnTo>
                <a:lnTo>
                  <a:pt x="8359" y="1080"/>
                </a:lnTo>
                <a:lnTo>
                  <a:pt x="8361" y="1080"/>
                </a:lnTo>
                <a:lnTo>
                  <a:pt x="8363" y="1080"/>
                </a:lnTo>
                <a:lnTo>
                  <a:pt x="8372" y="1085"/>
                </a:lnTo>
                <a:lnTo>
                  <a:pt x="8380" y="1094"/>
                </a:lnTo>
                <a:lnTo>
                  <a:pt x="8388" y="1100"/>
                </a:lnTo>
                <a:lnTo>
                  <a:pt x="8400" y="1103"/>
                </a:lnTo>
                <a:lnTo>
                  <a:pt x="8394" y="1089"/>
                </a:lnTo>
                <a:lnTo>
                  <a:pt x="8389" y="1081"/>
                </a:lnTo>
                <a:lnTo>
                  <a:pt x="8379" y="1078"/>
                </a:lnTo>
                <a:lnTo>
                  <a:pt x="8363" y="1080"/>
                </a:lnTo>
                <a:close/>
                <a:moveTo>
                  <a:pt x="11513" y="3228"/>
                </a:moveTo>
                <a:lnTo>
                  <a:pt x="11500" y="3226"/>
                </a:lnTo>
                <a:lnTo>
                  <a:pt x="11488" y="3226"/>
                </a:lnTo>
                <a:lnTo>
                  <a:pt x="11478" y="3231"/>
                </a:lnTo>
                <a:lnTo>
                  <a:pt x="11466" y="3239"/>
                </a:lnTo>
                <a:lnTo>
                  <a:pt x="11480" y="3242"/>
                </a:lnTo>
                <a:lnTo>
                  <a:pt x="11492" y="3242"/>
                </a:lnTo>
                <a:lnTo>
                  <a:pt x="11502" y="3239"/>
                </a:lnTo>
                <a:lnTo>
                  <a:pt x="11513" y="3228"/>
                </a:lnTo>
                <a:close/>
                <a:moveTo>
                  <a:pt x="10885" y="2173"/>
                </a:moveTo>
                <a:lnTo>
                  <a:pt x="10894" y="2174"/>
                </a:lnTo>
                <a:lnTo>
                  <a:pt x="10901" y="2174"/>
                </a:lnTo>
                <a:lnTo>
                  <a:pt x="10909" y="2171"/>
                </a:lnTo>
                <a:lnTo>
                  <a:pt x="10915" y="2159"/>
                </a:lnTo>
                <a:lnTo>
                  <a:pt x="10903" y="2159"/>
                </a:lnTo>
                <a:lnTo>
                  <a:pt x="10887" y="2159"/>
                </a:lnTo>
                <a:lnTo>
                  <a:pt x="10880" y="2164"/>
                </a:lnTo>
                <a:lnTo>
                  <a:pt x="10885" y="2173"/>
                </a:lnTo>
                <a:close/>
                <a:moveTo>
                  <a:pt x="12134" y="3141"/>
                </a:moveTo>
                <a:lnTo>
                  <a:pt x="12133" y="3129"/>
                </a:lnTo>
                <a:lnTo>
                  <a:pt x="12129" y="3123"/>
                </a:lnTo>
                <a:lnTo>
                  <a:pt x="12120" y="3118"/>
                </a:lnTo>
                <a:lnTo>
                  <a:pt x="12107" y="3115"/>
                </a:lnTo>
                <a:lnTo>
                  <a:pt x="12110" y="3129"/>
                </a:lnTo>
                <a:lnTo>
                  <a:pt x="12115" y="3138"/>
                </a:lnTo>
                <a:lnTo>
                  <a:pt x="12123" y="3142"/>
                </a:lnTo>
                <a:lnTo>
                  <a:pt x="12134" y="3141"/>
                </a:lnTo>
                <a:close/>
                <a:moveTo>
                  <a:pt x="4254" y="327"/>
                </a:moveTo>
                <a:lnTo>
                  <a:pt x="4247" y="322"/>
                </a:lnTo>
                <a:lnTo>
                  <a:pt x="4241" y="320"/>
                </a:lnTo>
                <a:lnTo>
                  <a:pt x="4236" y="322"/>
                </a:lnTo>
                <a:lnTo>
                  <a:pt x="4230" y="329"/>
                </a:lnTo>
                <a:lnTo>
                  <a:pt x="4236" y="335"/>
                </a:lnTo>
                <a:lnTo>
                  <a:pt x="4242" y="338"/>
                </a:lnTo>
                <a:lnTo>
                  <a:pt x="4247" y="335"/>
                </a:lnTo>
                <a:lnTo>
                  <a:pt x="4254" y="327"/>
                </a:lnTo>
                <a:close/>
                <a:moveTo>
                  <a:pt x="11562" y="3358"/>
                </a:moveTo>
                <a:lnTo>
                  <a:pt x="11569" y="3365"/>
                </a:lnTo>
                <a:lnTo>
                  <a:pt x="11575" y="3367"/>
                </a:lnTo>
                <a:lnTo>
                  <a:pt x="11581" y="3365"/>
                </a:lnTo>
                <a:lnTo>
                  <a:pt x="11587" y="3357"/>
                </a:lnTo>
                <a:lnTo>
                  <a:pt x="11581" y="3348"/>
                </a:lnTo>
                <a:lnTo>
                  <a:pt x="11573" y="3345"/>
                </a:lnTo>
                <a:lnTo>
                  <a:pt x="11565" y="3348"/>
                </a:lnTo>
                <a:lnTo>
                  <a:pt x="11562" y="3358"/>
                </a:lnTo>
                <a:close/>
                <a:moveTo>
                  <a:pt x="10853" y="4737"/>
                </a:moveTo>
                <a:lnTo>
                  <a:pt x="10852" y="4728"/>
                </a:lnTo>
                <a:lnTo>
                  <a:pt x="10843" y="4720"/>
                </a:lnTo>
                <a:lnTo>
                  <a:pt x="10831" y="4716"/>
                </a:lnTo>
                <a:lnTo>
                  <a:pt x="10822" y="4720"/>
                </a:lnTo>
                <a:lnTo>
                  <a:pt x="10825" y="4729"/>
                </a:lnTo>
                <a:lnTo>
                  <a:pt x="10833" y="4733"/>
                </a:lnTo>
                <a:lnTo>
                  <a:pt x="10844" y="4734"/>
                </a:lnTo>
                <a:lnTo>
                  <a:pt x="10853" y="4737"/>
                </a:lnTo>
                <a:close/>
                <a:moveTo>
                  <a:pt x="11571" y="3576"/>
                </a:moveTo>
                <a:lnTo>
                  <a:pt x="11579" y="3585"/>
                </a:lnTo>
                <a:lnTo>
                  <a:pt x="11592" y="3589"/>
                </a:lnTo>
                <a:lnTo>
                  <a:pt x="11602" y="3587"/>
                </a:lnTo>
                <a:lnTo>
                  <a:pt x="11606" y="3578"/>
                </a:lnTo>
                <a:lnTo>
                  <a:pt x="11597" y="3573"/>
                </a:lnTo>
                <a:lnTo>
                  <a:pt x="11588" y="3571"/>
                </a:lnTo>
                <a:lnTo>
                  <a:pt x="11579" y="3571"/>
                </a:lnTo>
                <a:lnTo>
                  <a:pt x="11571" y="3576"/>
                </a:lnTo>
                <a:close/>
                <a:moveTo>
                  <a:pt x="10509" y="2041"/>
                </a:moveTo>
                <a:lnTo>
                  <a:pt x="10522" y="2043"/>
                </a:lnTo>
                <a:lnTo>
                  <a:pt x="10533" y="2046"/>
                </a:lnTo>
                <a:lnTo>
                  <a:pt x="10545" y="2048"/>
                </a:lnTo>
                <a:lnTo>
                  <a:pt x="10556" y="2050"/>
                </a:lnTo>
                <a:lnTo>
                  <a:pt x="10540" y="2038"/>
                </a:lnTo>
                <a:lnTo>
                  <a:pt x="10530" y="2033"/>
                </a:lnTo>
                <a:lnTo>
                  <a:pt x="10521" y="2034"/>
                </a:lnTo>
                <a:lnTo>
                  <a:pt x="10509" y="2041"/>
                </a:lnTo>
                <a:close/>
                <a:moveTo>
                  <a:pt x="10318" y="1554"/>
                </a:moveTo>
                <a:lnTo>
                  <a:pt x="10312" y="1546"/>
                </a:lnTo>
                <a:lnTo>
                  <a:pt x="10299" y="1542"/>
                </a:lnTo>
                <a:lnTo>
                  <a:pt x="10288" y="1544"/>
                </a:lnTo>
                <a:lnTo>
                  <a:pt x="10284" y="1554"/>
                </a:lnTo>
                <a:lnTo>
                  <a:pt x="10293" y="1557"/>
                </a:lnTo>
                <a:lnTo>
                  <a:pt x="10303" y="1560"/>
                </a:lnTo>
                <a:lnTo>
                  <a:pt x="10312" y="1561"/>
                </a:lnTo>
                <a:lnTo>
                  <a:pt x="10318" y="1554"/>
                </a:lnTo>
                <a:close/>
                <a:moveTo>
                  <a:pt x="9591" y="1390"/>
                </a:moveTo>
                <a:lnTo>
                  <a:pt x="9594" y="1402"/>
                </a:lnTo>
                <a:lnTo>
                  <a:pt x="9602" y="1408"/>
                </a:lnTo>
                <a:lnTo>
                  <a:pt x="9613" y="1407"/>
                </a:lnTo>
                <a:lnTo>
                  <a:pt x="9620" y="1397"/>
                </a:lnTo>
                <a:lnTo>
                  <a:pt x="9614" y="1392"/>
                </a:lnTo>
                <a:lnTo>
                  <a:pt x="9605" y="1388"/>
                </a:lnTo>
                <a:lnTo>
                  <a:pt x="9597" y="1386"/>
                </a:lnTo>
                <a:lnTo>
                  <a:pt x="9591" y="1390"/>
                </a:lnTo>
                <a:close/>
                <a:moveTo>
                  <a:pt x="11478" y="3456"/>
                </a:moveTo>
                <a:lnTo>
                  <a:pt x="11464" y="3445"/>
                </a:lnTo>
                <a:lnTo>
                  <a:pt x="11452" y="3433"/>
                </a:lnTo>
                <a:lnTo>
                  <a:pt x="11454" y="3452"/>
                </a:lnTo>
                <a:lnTo>
                  <a:pt x="11457" y="3460"/>
                </a:lnTo>
                <a:lnTo>
                  <a:pt x="11464" y="3461"/>
                </a:lnTo>
                <a:lnTo>
                  <a:pt x="11478" y="3456"/>
                </a:lnTo>
                <a:close/>
                <a:moveTo>
                  <a:pt x="11148" y="2727"/>
                </a:moveTo>
                <a:lnTo>
                  <a:pt x="11151" y="2740"/>
                </a:lnTo>
                <a:lnTo>
                  <a:pt x="11164" y="2746"/>
                </a:lnTo>
                <a:lnTo>
                  <a:pt x="11179" y="2742"/>
                </a:lnTo>
                <a:lnTo>
                  <a:pt x="11185" y="2728"/>
                </a:lnTo>
                <a:lnTo>
                  <a:pt x="11176" y="2705"/>
                </a:lnTo>
                <a:lnTo>
                  <a:pt x="11162" y="2696"/>
                </a:lnTo>
                <a:lnTo>
                  <a:pt x="11151" y="2703"/>
                </a:lnTo>
                <a:lnTo>
                  <a:pt x="11148" y="2727"/>
                </a:lnTo>
                <a:close/>
                <a:moveTo>
                  <a:pt x="9512" y="1367"/>
                </a:moveTo>
                <a:lnTo>
                  <a:pt x="9531" y="1361"/>
                </a:lnTo>
                <a:lnTo>
                  <a:pt x="9530" y="1350"/>
                </a:lnTo>
                <a:lnTo>
                  <a:pt x="9515" y="1342"/>
                </a:lnTo>
                <a:lnTo>
                  <a:pt x="9492" y="1348"/>
                </a:lnTo>
                <a:lnTo>
                  <a:pt x="9503" y="1361"/>
                </a:lnTo>
                <a:lnTo>
                  <a:pt x="9512" y="1367"/>
                </a:lnTo>
                <a:close/>
                <a:moveTo>
                  <a:pt x="1927" y="51"/>
                </a:moveTo>
                <a:lnTo>
                  <a:pt x="1935" y="52"/>
                </a:lnTo>
                <a:lnTo>
                  <a:pt x="1944" y="52"/>
                </a:lnTo>
                <a:lnTo>
                  <a:pt x="1951" y="49"/>
                </a:lnTo>
                <a:lnTo>
                  <a:pt x="1958" y="40"/>
                </a:lnTo>
                <a:lnTo>
                  <a:pt x="1945" y="38"/>
                </a:lnTo>
                <a:lnTo>
                  <a:pt x="1930" y="38"/>
                </a:lnTo>
                <a:lnTo>
                  <a:pt x="1921" y="42"/>
                </a:lnTo>
                <a:lnTo>
                  <a:pt x="1927" y="51"/>
                </a:lnTo>
                <a:close/>
                <a:moveTo>
                  <a:pt x="5214" y="363"/>
                </a:moveTo>
                <a:lnTo>
                  <a:pt x="5220" y="368"/>
                </a:lnTo>
                <a:lnTo>
                  <a:pt x="5227" y="371"/>
                </a:lnTo>
                <a:lnTo>
                  <a:pt x="5233" y="372"/>
                </a:lnTo>
                <a:lnTo>
                  <a:pt x="5241" y="368"/>
                </a:lnTo>
                <a:lnTo>
                  <a:pt x="5238" y="357"/>
                </a:lnTo>
                <a:lnTo>
                  <a:pt x="5223" y="352"/>
                </a:lnTo>
                <a:lnTo>
                  <a:pt x="5209" y="353"/>
                </a:lnTo>
                <a:lnTo>
                  <a:pt x="5214" y="363"/>
                </a:lnTo>
                <a:close/>
                <a:moveTo>
                  <a:pt x="1793" y="36"/>
                </a:moveTo>
                <a:lnTo>
                  <a:pt x="1812" y="36"/>
                </a:lnTo>
                <a:lnTo>
                  <a:pt x="1829" y="37"/>
                </a:lnTo>
                <a:lnTo>
                  <a:pt x="1820" y="29"/>
                </a:lnTo>
                <a:lnTo>
                  <a:pt x="1811" y="26"/>
                </a:lnTo>
                <a:lnTo>
                  <a:pt x="1802" y="27"/>
                </a:lnTo>
                <a:lnTo>
                  <a:pt x="1793" y="36"/>
                </a:lnTo>
                <a:close/>
                <a:moveTo>
                  <a:pt x="9610" y="1305"/>
                </a:moveTo>
                <a:lnTo>
                  <a:pt x="9601" y="1296"/>
                </a:lnTo>
                <a:lnTo>
                  <a:pt x="9594" y="1302"/>
                </a:lnTo>
                <a:lnTo>
                  <a:pt x="9587" y="1314"/>
                </a:lnTo>
                <a:lnTo>
                  <a:pt x="9585" y="1327"/>
                </a:lnTo>
                <a:lnTo>
                  <a:pt x="9599" y="1327"/>
                </a:lnTo>
                <a:lnTo>
                  <a:pt x="9608" y="1323"/>
                </a:lnTo>
                <a:lnTo>
                  <a:pt x="9611" y="1315"/>
                </a:lnTo>
                <a:lnTo>
                  <a:pt x="9610" y="1305"/>
                </a:lnTo>
                <a:close/>
                <a:moveTo>
                  <a:pt x="10642" y="1691"/>
                </a:moveTo>
                <a:lnTo>
                  <a:pt x="10634" y="1680"/>
                </a:lnTo>
                <a:lnTo>
                  <a:pt x="10628" y="1675"/>
                </a:lnTo>
                <a:lnTo>
                  <a:pt x="10620" y="1674"/>
                </a:lnTo>
                <a:lnTo>
                  <a:pt x="10610" y="1677"/>
                </a:lnTo>
                <a:lnTo>
                  <a:pt x="10614" y="1688"/>
                </a:lnTo>
                <a:lnTo>
                  <a:pt x="10619" y="1692"/>
                </a:lnTo>
                <a:lnTo>
                  <a:pt x="10629" y="1692"/>
                </a:lnTo>
                <a:lnTo>
                  <a:pt x="10642" y="1691"/>
                </a:lnTo>
                <a:close/>
                <a:moveTo>
                  <a:pt x="2524" y="192"/>
                </a:moveTo>
                <a:lnTo>
                  <a:pt x="2512" y="189"/>
                </a:lnTo>
                <a:lnTo>
                  <a:pt x="2498" y="184"/>
                </a:lnTo>
                <a:lnTo>
                  <a:pt x="2482" y="181"/>
                </a:lnTo>
                <a:lnTo>
                  <a:pt x="2464" y="186"/>
                </a:lnTo>
                <a:lnTo>
                  <a:pt x="2480" y="195"/>
                </a:lnTo>
                <a:lnTo>
                  <a:pt x="2495" y="199"/>
                </a:lnTo>
                <a:lnTo>
                  <a:pt x="2509" y="199"/>
                </a:lnTo>
                <a:lnTo>
                  <a:pt x="2524" y="192"/>
                </a:lnTo>
                <a:close/>
                <a:moveTo>
                  <a:pt x="4770" y="321"/>
                </a:moveTo>
                <a:lnTo>
                  <a:pt x="4785" y="320"/>
                </a:lnTo>
                <a:lnTo>
                  <a:pt x="4790" y="313"/>
                </a:lnTo>
                <a:lnTo>
                  <a:pt x="4786" y="303"/>
                </a:lnTo>
                <a:lnTo>
                  <a:pt x="4773" y="297"/>
                </a:lnTo>
                <a:lnTo>
                  <a:pt x="4761" y="299"/>
                </a:lnTo>
                <a:lnTo>
                  <a:pt x="4754" y="306"/>
                </a:lnTo>
                <a:lnTo>
                  <a:pt x="4758" y="315"/>
                </a:lnTo>
                <a:lnTo>
                  <a:pt x="4770" y="321"/>
                </a:lnTo>
                <a:close/>
                <a:moveTo>
                  <a:pt x="10137" y="1399"/>
                </a:moveTo>
                <a:lnTo>
                  <a:pt x="10128" y="1392"/>
                </a:lnTo>
                <a:lnTo>
                  <a:pt x="10119" y="1383"/>
                </a:lnTo>
                <a:lnTo>
                  <a:pt x="10109" y="1379"/>
                </a:lnTo>
                <a:lnTo>
                  <a:pt x="10099" y="1384"/>
                </a:lnTo>
                <a:lnTo>
                  <a:pt x="10100" y="1400"/>
                </a:lnTo>
                <a:lnTo>
                  <a:pt x="10109" y="1409"/>
                </a:lnTo>
                <a:lnTo>
                  <a:pt x="10122" y="1409"/>
                </a:lnTo>
                <a:lnTo>
                  <a:pt x="10137" y="1399"/>
                </a:lnTo>
                <a:close/>
                <a:moveTo>
                  <a:pt x="5490" y="450"/>
                </a:moveTo>
                <a:lnTo>
                  <a:pt x="5502" y="442"/>
                </a:lnTo>
                <a:lnTo>
                  <a:pt x="5513" y="436"/>
                </a:lnTo>
                <a:lnTo>
                  <a:pt x="5523" y="428"/>
                </a:lnTo>
                <a:lnTo>
                  <a:pt x="5536" y="419"/>
                </a:lnTo>
                <a:lnTo>
                  <a:pt x="5514" y="414"/>
                </a:lnTo>
                <a:lnTo>
                  <a:pt x="5502" y="416"/>
                </a:lnTo>
                <a:lnTo>
                  <a:pt x="5494" y="428"/>
                </a:lnTo>
                <a:lnTo>
                  <a:pt x="5490" y="450"/>
                </a:lnTo>
                <a:close/>
                <a:moveTo>
                  <a:pt x="10299" y="1472"/>
                </a:moveTo>
                <a:lnTo>
                  <a:pt x="10309" y="1462"/>
                </a:lnTo>
                <a:lnTo>
                  <a:pt x="10321" y="1453"/>
                </a:lnTo>
                <a:lnTo>
                  <a:pt x="10332" y="1441"/>
                </a:lnTo>
                <a:lnTo>
                  <a:pt x="10346" y="1428"/>
                </a:lnTo>
                <a:lnTo>
                  <a:pt x="10321" y="1434"/>
                </a:lnTo>
                <a:lnTo>
                  <a:pt x="10307" y="1440"/>
                </a:lnTo>
                <a:lnTo>
                  <a:pt x="10300" y="1451"/>
                </a:lnTo>
                <a:lnTo>
                  <a:pt x="10299" y="1472"/>
                </a:lnTo>
                <a:close/>
                <a:moveTo>
                  <a:pt x="8331" y="1095"/>
                </a:moveTo>
                <a:lnTo>
                  <a:pt x="8344" y="1110"/>
                </a:lnTo>
                <a:lnTo>
                  <a:pt x="8357" y="1103"/>
                </a:lnTo>
                <a:lnTo>
                  <a:pt x="8362" y="1087"/>
                </a:lnTo>
                <a:lnTo>
                  <a:pt x="8349" y="1078"/>
                </a:lnTo>
                <a:lnTo>
                  <a:pt x="8342" y="1080"/>
                </a:lnTo>
                <a:lnTo>
                  <a:pt x="8335" y="1082"/>
                </a:lnTo>
                <a:lnTo>
                  <a:pt x="8331" y="1087"/>
                </a:lnTo>
                <a:lnTo>
                  <a:pt x="8331" y="1095"/>
                </a:lnTo>
                <a:close/>
                <a:moveTo>
                  <a:pt x="10626" y="2066"/>
                </a:moveTo>
                <a:lnTo>
                  <a:pt x="10612" y="2056"/>
                </a:lnTo>
                <a:lnTo>
                  <a:pt x="10600" y="2065"/>
                </a:lnTo>
                <a:lnTo>
                  <a:pt x="10588" y="2080"/>
                </a:lnTo>
                <a:lnTo>
                  <a:pt x="10574" y="2089"/>
                </a:lnTo>
                <a:lnTo>
                  <a:pt x="10591" y="2092"/>
                </a:lnTo>
                <a:lnTo>
                  <a:pt x="10605" y="2089"/>
                </a:lnTo>
                <a:lnTo>
                  <a:pt x="10617" y="2080"/>
                </a:lnTo>
                <a:lnTo>
                  <a:pt x="10626" y="2066"/>
                </a:lnTo>
                <a:close/>
                <a:moveTo>
                  <a:pt x="7826" y="740"/>
                </a:moveTo>
                <a:lnTo>
                  <a:pt x="7836" y="735"/>
                </a:lnTo>
                <a:lnTo>
                  <a:pt x="7839" y="727"/>
                </a:lnTo>
                <a:lnTo>
                  <a:pt x="7836" y="718"/>
                </a:lnTo>
                <a:lnTo>
                  <a:pt x="7826" y="712"/>
                </a:lnTo>
                <a:lnTo>
                  <a:pt x="7818" y="717"/>
                </a:lnTo>
                <a:lnTo>
                  <a:pt x="7814" y="727"/>
                </a:lnTo>
                <a:lnTo>
                  <a:pt x="7816" y="736"/>
                </a:lnTo>
                <a:lnTo>
                  <a:pt x="7826" y="740"/>
                </a:lnTo>
                <a:close/>
                <a:moveTo>
                  <a:pt x="2403" y="377"/>
                </a:moveTo>
                <a:lnTo>
                  <a:pt x="2420" y="388"/>
                </a:lnTo>
                <a:lnTo>
                  <a:pt x="2438" y="400"/>
                </a:lnTo>
                <a:lnTo>
                  <a:pt x="2442" y="385"/>
                </a:lnTo>
                <a:lnTo>
                  <a:pt x="2435" y="376"/>
                </a:lnTo>
                <a:lnTo>
                  <a:pt x="2422" y="372"/>
                </a:lnTo>
                <a:lnTo>
                  <a:pt x="2403" y="377"/>
                </a:lnTo>
                <a:close/>
                <a:moveTo>
                  <a:pt x="11264" y="1794"/>
                </a:moveTo>
                <a:lnTo>
                  <a:pt x="11257" y="1784"/>
                </a:lnTo>
                <a:lnTo>
                  <a:pt x="11247" y="1777"/>
                </a:lnTo>
                <a:lnTo>
                  <a:pt x="11235" y="1776"/>
                </a:lnTo>
                <a:lnTo>
                  <a:pt x="11225" y="1780"/>
                </a:lnTo>
                <a:lnTo>
                  <a:pt x="11227" y="1791"/>
                </a:lnTo>
                <a:lnTo>
                  <a:pt x="11239" y="1798"/>
                </a:lnTo>
                <a:lnTo>
                  <a:pt x="11252" y="1799"/>
                </a:lnTo>
                <a:lnTo>
                  <a:pt x="11264" y="1794"/>
                </a:lnTo>
                <a:close/>
                <a:moveTo>
                  <a:pt x="10347" y="1758"/>
                </a:moveTo>
                <a:lnTo>
                  <a:pt x="10321" y="1748"/>
                </a:lnTo>
                <a:lnTo>
                  <a:pt x="10303" y="1744"/>
                </a:lnTo>
                <a:lnTo>
                  <a:pt x="10303" y="1752"/>
                </a:lnTo>
                <a:lnTo>
                  <a:pt x="10328" y="1771"/>
                </a:lnTo>
                <a:lnTo>
                  <a:pt x="10333" y="1772"/>
                </a:lnTo>
                <a:lnTo>
                  <a:pt x="10339" y="1772"/>
                </a:lnTo>
                <a:lnTo>
                  <a:pt x="10344" y="1767"/>
                </a:lnTo>
                <a:lnTo>
                  <a:pt x="10347" y="1758"/>
                </a:lnTo>
                <a:close/>
                <a:moveTo>
                  <a:pt x="8506" y="1044"/>
                </a:moveTo>
                <a:lnTo>
                  <a:pt x="8525" y="1033"/>
                </a:lnTo>
                <a:lnTo>
                  <a:pt x="8534" y="1020"/>
                </a:lnTo>
                <a:lnTo>
                  <a:pt x="8529" y="1011"/>
                </a:lnTo>
                <a:lnTo>
                  <a:pt x="8506" y="1008"/>
                </a:lnTo>
                <a:lnTo>
                  <a:pt x="8501" y="1025"/>
                </a:lnTo>
                <a:lnTo>
                  <a:pt x="8498" y="1034"/>
                </a:lnTo>
                <a:lnTo>
                  <a:pt x="8501" y="1039"/>
                </a:lnTo>
                <a:lnTo>
                  <a:pt x="8506" y="1044"/>
                </a:lnTo>
                <a:close/>
                <a:moveTo>
                  <a:pt x="8199" y="1001"/>
                </a:moveTo>
                <a:lnTo>
                  <a:pt x="8205" y="988"/>
                </a:lnTo>
                <a:lnTo>
                  <a:pt x="8200" y="975"/>
                </a:lnTo>
                <a:lnTo>
                  <a:pt x="8188" y="965"/>
                </a:lnTo>
                <a:lnTo>
                  <a:pt x="8172" y="966"/>
                </a:lnTo>
                <a:lnTo>
                  <a:pt x="8170" y="978"/>
                </a:lnTo>
                <a:lnTo>
                  <a:pt x="8177" y="987"/>
                </a:lnTo>
                <a:lnTo>
                  <a:pt x="8189" y="994"/>
                </a:lnTo>
                <a:lnTo>
                  <a:pt x="8199" y="1001"/>
                </a:lnTo>
                <a:close/>
                <a:moveTo>
                  <a:pt x="2964" y="251"/>
                </a:moveTo>
                <a:lnTo>
                  <a:pt x="2955" y="226"/>
                </a:lnTo>
                <a:lnTo>
                  <a:pt x="2946" y="212"/>
                </a:lnTo>
                <a:lnTo>
                  <a:pt x="2931" y="210"/>
                </a:lnTo>
                <a:lnTo>
                  <a:pt x="2910" y="217"/>
                </a:lnTo>
                <a:lnTo>
                  <a:pt x="2927" y="226"/>
                </a:lnTo>
                <a:lnTo>
                  <a:pt x="2938" y="232"/>
                </a:lnTo>
                <a:lnTo>
                  <a:pt x="2950" y="240"/>
                </a:lnTo>
                <a:lnTo>
                  <a:pt x="2964" y="251"/>
                </a:lnTo>
                <a:close/>
                <a:moveTo>
                  <a:pt x="11210" y="2759"/>
                </a:moveTo>
                <a:lnTo>
                  <a:pt x="11219" y="2751"/>
                </a:lnTo>
                <a:lnTo>
                  <a:pt x="11226" y="2742"/>
                </a:lnTo>
                <a:lnTo>
                  <a:pt x="11229" y="2733"/>
                </a:lnTo>
                <a:lnTo>
                  <a:pt x="11224" y="2724"/>
                </a:lnTo>
                <a:lnTo>
                  <a:pt x="11207" y="2731"/>
                </a:lnTo>
                <a:lnTo>
                  <a:pt x="11196" y="2742"/>
                </a:lnTo>
                <a:lnTo>
                  <a:pt x="11194" y="2752"/>
                </a:lnTo>
                <a:lnTo>
                  <a:pt x="11210" y="2759"/>
                </a:lnTo>
                <a:close/>
                <a:moveTo>
                  <a:pt x="11295" y="4001"/>
                </a:moveTo>
                <a:lnTo>
                  <a:pt x="11278" y="3997"/>
                </a:lnTo>
                <a:lnTo>
                  <a:pt x="11271" y="4002"/>
                </a:lnTo>
                <a:lnTo>
                  <a:pt x="11273" y="4011"/>
                </a:lnTo>
                <a:lnTo>
                  <a:pt x="11287" y="4021"/>
                </a:lnTo>
                <a:lnTo>
                  <a:pt x="11311" y="4014"/>
                </a:lnTo>
                <a:lnTo>
                  <a:pt x="11334" y="4012"/>
                </a:lnTo>
                <a:lnTo>
                  <a:pt x="11336" y="4010"/>
                </a:lnTo>
                <a:lnTo>
                  <a:pt x="11295" y="4001"/>
                </a:lnTo>
                <a:close/>
                <a:moveTo>
                  <a:pt x="2051" y="405"/>
                </a:moveTo>
                <a:lnTo>
                  <a:pt x="2051" y="405"/>
                </a:lnTo>
                <a:lnTo>
                  <a:pt x="2051" y="405"/>
                </a:lnTo>
                <a:lnTo>
                  <a:pt x="2051" y="405"/>
                </a:lnTo>
                <a:lnTo>
                  <a:pt x="2051" y="405"/>
                </a:lnTo>
                <a:close/>
                <a:moveTo>
                  <a:pt x="2079" y="422"/>
                </a:moveTo>
                <a:lnTo>
                  <a:pt x="2089" y="419"/>
                </a:lnTo>
                <a:lnTo>
                  <a:pt x="2098" y="415"/>
                </a:lnTo>
                <a:lnTo>
                  <a:pt x="2105" y="406"/>
                </a:lnTo>
                <a:lnTo>
                  <a:pt x="2109" y="394"/>
                </a:lnTo>
                <a:lnTo>
                  <a:pt x="2084" y="392"/>
                </a:lnTo>
                <a:lnTo>
                  <a:pt x="2061" y="400"/>
                </a:lnTo>
                <a:lnTo>
                  <a:pt x="2056" y="413"/>
                </a:lnTo>
                <a:lnTo>
                  <a:pt x="2079" y="422"/>
                </a:lnTo>
                <a:close/>
                <a:moveTo>
                  <a:pt x="11970" y="3032"/>
                </a:moveTo>
                <a:lnTo>
                  <a:pt x="11981" y="3025"/>
                </a:lnTo>
                <a:lnTo>
                  <a:pt x="11986" y="3018"/>
                </a:lnTo>
                <a:lnTo>
                  <a:pt x="11985" y="3011"/>
                </a:lnTo>
                <a:lnTo>
                  <a:pt x="11975" y="3002"/>
                </a:lnTo>
                <a:lnTo>
                  <a:pt x="11958" y="3003"/>
                </a:lnTo>
                <a:lnTo>
                  <a:pt x="11953" y="3011"/>
                </a:lnTo>
                <a:lnTo>
                  <a:pt x="11957" y="3022"/>
                </a:lnTo>
                <a:lnTo>
                  <a:pt x="11970" y="3032"/>
                </a:lnTo>
                <a:close/>
                <a:moveTo>
                  <a:pt x="6005" y="486"/>
                </a:moveTo>
                <a:lnTo>
                  <a:pt x="6002" y="471"/>
                </a:lnTo>
                <a:lnTo>
                  <a:pt x="5990" y="462"/>
                </a:lnTo>
                <a:lnTo>
                  <a:pt x="5977" y="462"/>
                </a:lnTo>
                <a:lnTo>
                  <a:pt x="5972" y="476"/>
                </a:lnTo>
                <a:lnTo>
                  <a:pt x="5976" y="490"/>
                </a:lnTo>
                <a:lnTo>
                  <a:pt x="5984" y="498"/>
                </a:lnTo>
                <a:lnTo>
                  <a:pt x="5996" y="498"/>
                </a:lnTo>
                <a:lnTo>
                  <a:pt x="6005" y="486"/>
                </a:lnTo>
                <a:close/>
                <a:moveTo>
                  <a:pt x="1418" y="950"/>
                </a:moveTo>
                <a:lnTo>
                  <a:pt x="1405" y="950"/>
                </a:lnTo>
                <a:lnTo>
                  <a:pt x="1393" y="950"/>
                </a:lnTo>
                <a:lnTo>
                  <a:pt x="1383" y="952"/>
                </a:lnTo>
                <a:lnTo>
                  <a:pt x="1377" y="961"/>
                </a:lnTo>
                <a:lnTo>
                  <a:pt x="1395" y="964"/>
                </a:lnTo>
                <a:lnTo>
                  <a:pt x="1414" y="966"/>
                </a:lnTo>
                <a:lnTo>
                  <a:pt x="1425" y="964"/>
                </a:lnTo>
                <a:lnTo>
                  <a:pt x="1418" y="950"/>
                </a:lnTo>
                <a:close/>
                <a:moveTo>
                  <a:pt x="10532" y="1675"/>
                </a:moveTo>
                <a:lnTo>
                  <a:pt x="10545" y="1678"/>
                </a:lnTo>
                <a:lnTo>
                  <a:pt x="10555" y="1669"/>
                </a:lnTo>
                <a:lnTo>
                  <a:pt x="10560" y="1658"/>
                </a:lnTo>
                <a:lnTo>
                  <a:pt x="10556" y="1646"/>
                </a:lnTo>
                <a:lnTo>
                  <a:pt x="10546" y="1646"/>
                </a:lnTo>
                <a:lnTo>
                  <a:pt x="10536" y="1655"/>
                </a:lnTo>
                <a:lnTo>
                  <a:pt x="10530" y="1666"/>
                </a:lnTo>
                <a:lnTo>
                  <a:pt x="10532" y="1675"/>
                </a:lnTo>
                <a:close/>
                <a:moveTo>
                  <a:pt x="12650" y="2638"/>
                </a:moveTo>
                <a:lnTo>
                  <a:pt x="12637" y="2652"/>
                </a:lnTo>
                <a:lnTo>
                  <a:pt x="12644" y="2663"/>
                </a:lnTo>
                <a:lnTo>
                  <a:pt x="12661" y="2667"/>
                </a:lnTo>
                <a:lnTo>
                  <a:pt x="12682" y="2659"/>
                </a:lnTo>
                <a:lnTo>
                  <a:pt x="12664" y="2647"/>
                </a:lnTo>
                <a:lnTo>
                  <a:pt x="12650" y="2638"/>
                </a:lnTo>
                <a:close/>
                <a:moveTo>
                  <a:pt x="8684" y="1100"/>
                </a:moveTo>
                <a:lnTo>
                  <a:pt x="8664" y="1100"/>
                </a:lnTo>
                <a:lnTo>
                  <a:pt x="8649" y="1099"/>
                </a:lnTo>
                <a:lnTo>
                  <a:pt x="8638" y="1101"/>
                </a:lnTo>
                <a:lnTo>
                  <a:pt x="8632" y="1110"/>
                </a:lnTo>
                <a:lnTo>
                  <a:pt x="8642" y="1128"/>
                </a:lnTo>
                <a:lnTo>
                  <a:pt x="8654" y="1129"/>
                </a:lnTo>
                <a:lnTo>
                  <a:pt x="8666" y="1119"/>
                </a:lnTo>
                <a:lnTo>
                  <a:pt x="8684" y="1100"/>
                </a:lnTo>
                <a:close/>
                <a:moveTo>
                  <a:pt x="4592" y="265"/>
                </a:moveTo>
                <a:lnTo>
                  <a:pt x="4580" y="275"/>
                </a:lnTo>
                <a:lnTo>
                  <a:pt x="4572" y="288"/>
                </a:lnTo>
                <a:lnTo>
                  <a:pt x="4572" y="302"/>
                </a:lnTo>
                <a:lnTo>
                  <a:pt x="4581" y="318"/>
                </a:lnTo>
                <a:lnTo>
                  <a:pt x="4594" y="307"/>
                </a:lnTo>
                <a:lnTo>
                  <a:pt x="4599" y="296"/>
                </a:lnTo>
                <a:lnTo>
                  <a:pt x="4599" y="280"/>
                </a:lnTo>
                <a:lnTo>
                  <a:pt x="4592" y="265"/>
                </a:lnTo>
                <a:close/>
                <a:moveTo>
                  <a:pt x="10228" y="1733"/>
                </a:moveTo>
                <a:lnTo>
                  <a:pt x="10234" y="1708"/>
                </a:lnTo>
                <a:lnTo>
                  <a:pt x="10224" y="1707"/>
                </a:lnTo>
                <a:lnTo>
                  <a:pt x="10205" y="1720"/>
                </a:lnTo>
                <a:lnTo>
                  <a:pt x="10188" y="1738"/>
                </a:lnTo>
                <a:lnTo>
                  <a:pt x="10200" y="1743"/>
                </a:lnTo>
                <a:lnTo>
                  <a:pt x="10210" y="1744"/>
                </a:lnTo>
                <a:lnTo>
                  <a:pt x="10220" y="1739"/>
                </a:lnTo>
                <a:lnTo>
                  <a:pt x="10228" y="1733"/>
                </a:lnTo>
                <a:close/>
                <a:moveTo>
                  <a:pt x="1134" y="577"/>
                </a:moveTo>
                <a:lnTo>
                  <a:pt x="1112" y="563"/>
                </a:lnTo>
                <a:lnTo>
                  <a:pt x="1094" y="555"/>
                </a:lnTo>
                <a:lnTo>
                  <a:pt x="1074" y="550"/>
                </a:lnTo>
                <a:lnTo>
                  <a:pt x="1045" y="546"/>
                </a:lnTo>
                <a:lnTo>
                  <a:pt x="1067" y="560"/>
                </a:lnTo>
                <a:lnTo>
                  <a:pt x="1090" y="569"/>
                </a:lnTo>
                <a:lnTo>
                  <a:pt x="1112" y="574"/>
                </a:lnTo>
                <a:lnTo>
                  <a:pt x="1134" y="577"/>
                </a:lnTo>
                <a:close/>
                <a:moveTo>
                  <a:pt x="1135" y="578"/>
                </a:moveTo>
                <a:lnTo>
                  <a:pt x="1135" y="578"/>
                </a:lnTo>
                <a:lnTo>
                  <a:pt x="1135" y="578"/>
                </a:lnTo>
                <a:lnTo>
                  <a:pt x="1136" y="578"/>
                </a:lnTo>
                <a:lnTo>
                  <a:pt x="1136" y="578"/>
                </a:lnTo>
                <a:lnTo>
                  <a:pt x="1135" y="578"/>
                </a:lnTo>
                <a:lnTo>
                  <a:pt x="1135" y="578"/>
                </a:lnTo>
                <a:close/>
                <a:moveTo>
                  <a:pt x="9965" y="1361"/>
                </a:moveTo>
                <a:lnTo>
                  <a:pt x="9951" y="1358"/>
                </a:lnTo>
                <a:lnTo>
                  <a:pt x="9939" y="1360"/>
                </a:lnTo>
                <a:lnTo>
                  <a:pt x="9926" y="1367"/>
                </a:lnTo>
                <a:lnTo>
                  <a:pt x="9912" y="1378"/>
                </a:lnTo>
                <a:lnTo>
                  <a:pt x="9932" y="1385"/>
                </a:lnTo>
                <a:lnTo>
                  <a:pt x="9945" y="1386"/>
                </a:lnTo>
                <a:lnTo>
                  <a:pt x="9954" y="1379"/>
                </a:lnTo>
                <a:lnTo>
                  <a:pt x="9965" y="1361"/>
                </a:lnTo>
                <a:close/>
                <a:moveTo>
                  <a:pt x="1744" y="285"/>
                </a:moveTo>
                <a:lnTo>
                  <a:pt x="1732" y="271"/>
                </a:lnTo>
                <a:lnTo>
                  <a:pt x="1702" y="262"/>
                </a:lnTo>
                <a:lnTo>
                  <a:pt x="1665" y="259"/>
                </a:lnTo>
                <a:lnTo>
                  <a:pt x="1637" y="255"/>
                </a:lnTo>
                <a:lnTo>
                  <a:pt x="1661" y="270"/>
                </a:lnTo>
                <a:lnTo>
                  <a:pt x="1688" y="279"/>
                </a:lnTo>
                <a:lnTo>
                  <a:pt x="1716" y="283"/>
                </a:lnTo>
                <a:lnTo>
                  <a:pt x="1744" y="285"/>
                </a:lnTo>
                <a:close/>
                <a:moveTo>
                  <a:pt x="2748" y="458"/>
                </a:moveTo>
                <a:lnTo>
                  <a:pt x="2759" y="457"/>
                </a:lnTo>
                <a:lnTo>
                  <a:pt x="2769" y="456"/>
                </a:lnTo>
                <a:lnTo>
                  <a:pt x="2778" y="455"/>
                </a:lnTo>
                <a:lnTo>
                  <a:pt x="2788" y="453"/>
                </a:lnTo>
                <a:lnTo>
                  <a:pt x="2780" y="438"/>
                </a:lnTo>
                <a:lnTo>
                  <a:pt x="2759" y="434"/>
                </a:lnTo>
                <a:lnTo>
                  <a:pt x="2741" y="442"/>
                </a:lnTo>
                <a:lnTo>
                  <a:pt x="2748" y="458"/>
                </a:lnTo>
                <a:close/>
                <a:moveTo>
                  <a:pt x="11585" y="3506"/>
                </a:moveTo>
                <a:lnTo>
                  <a:pt x="11598" y="3496"/>
                </a:lnTo>
                <a:lnTo>
                  <a:pt x="11584" y="3488"/>
                </a:lnTo>
                <a:lnTo>
                  <a:pt x="11557" y="3488"/>
                </a:lnTo>
                <a:lnTo>
                  <a:pt x="11531" y="3502"/>
                </a:lnTo>
                <a:lnTo>
                  <a:pt x="11548" y="3505"/>
                </a:lnTo>
                <a:lnTo>
                  <a:pt x="11564" y="3506"/>
                </a:lnTo>
                <a:lnTo>
                  <a:pt x="11575" y="3506"/>
                </a:lnTo>
                <a:lnTo>
                  <a:pt x="11585" y="3506"/>
                </a:lnTo>
                <a:close/>
                <a:moveTo>
                  <a:pt x="9362" y="1301"/>
                </a:moveTo>
                <a:lnTo>
                  <a:pt x="9345" y="1305"/>
                </a:lnTo>
                <a:lnTo>
                  <a:pt x="9338" y="1311"/>
                </a:lnTo>
                <a:lnTo>
                  <a:pt x="9336" y="1323"/>
                </a:lnTo>
                <a:lnTo>
                  <a:pt x="9339" y="1343"/>
                </a:lnTo>
                <a:lnTo>
                  <a:pt x="9352" y="1337"/>
                </a:lnTo>
                <a:lnTo>
                  <a:pt x="9360" y="1328"/>
                </a:lnTo>
                <a:lnTo>
                  <a:pt x="9363" y="1315"/>
                </a:lnTo>
                <a:lnTo>
                  <a:pt x="9362" y="1301"/>
                </a:lnTo>
                <a:close/>
                <a:moveTo>
                  <a:pt x="11952" y="3757"/>
                </a:moveTo>
                <a:lnTo>
                  <a:pt x="11932" y="3753"/>
                </a:lnTo>
                <a:lnTo>
                  <a:pt x="11913" y="3748"/>
                </a:lnTo>
                <a:lnTo>
                  <a:pt x="11899" y="3745"/>
                </a:lnTo>
                <a:lnTo>
                  <a:pt x="11887" y="3753"/>
                </a:lnTo>
                <a:lnTo>
                  <a:pt x="11896" y="3766"/>
                </a:lnTo>
                <a:lnTo>
                  <a:pt x="11911" y="3769"/>
                </a:lnTo>
                <a:lnTo>
                  <a:pt x="11930" y="3766"/>
                </a:lnTo>
                <a:lnTo>
                  <a:pt x="11952" y="3757"/>
                </a:lnTo>
                <a:close/>
                <a:moveTo>
                  <a:pt x="2650" y="438"/>
                </a:moveTo>
                <a:lnTo>
                  <a:pt x="2649" y="439"/>
                </a:lnTo>
                <a:lnTo>
                  <a:pt x="2649" y="439"/>
                </a:lnTo>
                <a:lnTo>
                  <a:pt x="2650" y="438"/>
                </a:lnTo>
                <a:lnTo>
                  <a:pt x="2649" y="438"/>
                </a:lnTo>
                <a:lnTo>
                  <a:pt x="2649" y="439"/>
                </a:lnTo>
                <a:lnTo>
                  <a:pt x="2649" y="439"/>
                </a:lnTo>
                <a:lnTo>
                  <a:pt x="2650" y="438"/>
                </a:lnTo>
                <a:close/>
                <a:moveTo>
                  <a:pt x="2657" y="485"/>
                </a:moveTo>
                <a:lnTo>
                  <a:pt x="2676" y="479"/>
                </a:lnTo>
                <a:lnTo>
                  <a:pt x="2678" y="466"/>
                </a:lnTo>
                <a:lnTo>
                  <a:pt x="2668" y="451"/>
                </a:lnTo>
                <a:lnTo>
                  <a:pt x="2649" y="439"/>
                </a:lnTo>
                <a:lnTo>
                  <a:pt x="2644" y="453"/>
                </a:lnTo>
                <a:lnTo>
                  <a:pt x="2640" y="469"/>
                </a:lnTo>
                <a:lnTo>
                  <a:pt x="2643" y="481"/>
                </a:lnTo>
                <a:lnTo>
                  <a:pt x="2657" y="485"/>
                </a:lnTo>
                <a:close/>
                <a:moveTo>
                  <a:pt x="11886" y="4904"/>
                </a:moveTo>
                <a:lnTo>
                  <a:pt x="11869" y="4888"/>
                </a:lnTo>
                <a:lnTo>
                  <a:pt x="11850" y="4873"/>
                </a:lnTo>
                <a:lnTo>
                  <a:pt x="11830" y="4868"/>
                </a:lnTo>
                <a:lnTo>
                  <a:pt x="11811" y="4881"/>
                </a:lnTo>
                <a:lnTo>
                  <a:pt x="11826" y="4893"/>
                </a:lnTo>
                <a:lnTo>
                  <a:pt x="11846" y="4898"/>
                </a:lnTo>
                <a:lnTo>
                  <a:pt x="11868" y="4900"/>
                </a:lnTo>
                <a:lnTo>
                  <a:pt x="11886" y="4904"/>
                </a:lnTo>
                <a:close/>
                <a:moveTo>
                  <a:pt x="11606" y="3163"/>
                </a:moveTo>
                <a:lnTo>
                  <a:pt x="11581" y="3158"/>
                </a:lnTo>
                <a:lnTo>
                  <a:pt x="11561" y="3153"/>
                </a:lnTo>
                <a:lnTo>
                  <a:pt x="11539" y="3155"/>
                </a:lnTo>
                <a:lnTo>
                  <a:pt x="11515" y="3167"/>
                </a:lnTo>
                <a:lnTo>
                  <a:pt x="11539" y="3167"/>
                </a:lnTo>
                <a:lnTo>
                  <a:pt x="11566" y="3171"/>
                </a:lnTo>
                <a:lnTo>
                  <a:pt x="11590" y="3171"/>
                </a:lnTo>
                <a:lnTo>
                  <a:pt x="11606" y="3163"/>
                </a:lnTo>
                <a:close/>
                <a:moveTo>
                  <a:pt x="9849" y="1339"/>
                </a:moveTo>
                <a:lnTo>
                  <a:pt x="9855" y="1353"/>
                </a:lnTo>
                <a:lnTo>
                  <a:pt x="9866" y="1360"/>
                </a:lnTo>
                <a:lnTo>
                  <a:pt x="9878" y="1358"/>
                </a:lnTo>
                <a:lnTo>
                  <a:pt x="9888" y="1347"/>
                </a:lnTo>
                <a:lnTo>
                  <a:pt x="9883" y="1332"/>
                </a:lnTo>
                <a:lnTo>
                  <a:pt x="9871" y="1324"/>
                </a:lnTo>
                <a:lnTo>
                  <a:pt x="9857" y="1325"/>
                </a:lnTo>
                <a:lnTo>
                  <a:pt x="9849" y="1339"/>
                </a:lnTo>
                <a:close/>
                <a:moveTo>
                  <a:pt x="1912" y="467"/>
                </a:moveTo>
                <a:lnTo>
                  <a:pt x="1912" y="467"/>
                </a:lnTo>
                <a:lnTo>
                  <a:pt x="1912" y="467"/>
                </a:lnTo>
                <a:lnTo>
                  <a:pt x="1912" y="469"/>
                </a:lnTo>
                <a:lnTo>
                  <a:pt x="1912" y="467"/>
                </a:lnTo>
                <a:close/>
                <a:moveTo>
                  <a:pt x="1894" y="278"/>
                </a:moveTo>
                <a:lnTo>
                  <a:pt x="1868" y="278"/>
                </a:lnTo>
                <a:lnTo>
                  <a:pt x="1843" y="276"/>
                </a:lnTo>
                <a:lnTo>
                  <a:pt x="1816" y="276"/>
                </a:lnTo>
                <a:lnTo>
                  <a:pt x="1787" y="275"/>
                </a:lnTo>
                <a:lnTo>
                  <a:pt x="1824" y="287"/>
                </a:lnTo>
                <a:lnTo>
                  <a:pt x="1848" y="292"/>
                </a:lnTo>
                <a:lnTo>
                  <a:pt x="1867" y="288"/>
                </a:lnTo>
                <a:lnTo>
                  <a:pt x="1894" y="278"/>
                </a:lnTo>
                <a:close/>
                <a:moveTo>
                  <a:pt x="9456" y="1292"/>
                </a:moveTo>
                <a:lnTo>
                  <a:pt x="9464" y="1285"/>
                </a:lnTo>
                <a:lnTo>
                  <a:pt x="9443" y="1277"/>
                </a:lnTo>
                <a:lnTo>
                  <a:pt x="9411" y="1272"/>
                </a:lnTo>
                <a:lnTo>
                  <a:pt x="9388" y="1268"/>
                </a:lnTo>
                <a:lnTo>
                  <a:pt x="9405" y="1288"/>
                </a:lnTo>
                <a:lnTo>
                  <a:pt x="9418" y="1299"/>
                </a:lnTo>
                <a:lnTo>
                  <a:pt x="9433" y="1299"/>
                </a:lnTo>
                <a:lnTo>
                  <a:pt x="9456" y="1292"/>
                </a:lnTo>
                <a:close/>
                <a:moveTo>
                  <a:pt x="9473" y="1285"/>
                </a:moveTo>
                <a:lnTo>
                  <a:pt x="9471" y="1285"/>
                </a:lnTo>
                <a:lnTo>
                  <a:pt x="9473" y="1286"/>
                </a:lnTo>
                <a:lnTo>
                  <a:pt x="9473" y="1285"/>
                </a:lnTo>
                <a:close/>
                <a:moveTo>
                  <a:pt x="9386" y="1268"/>
                </a:moveTo>
                <a:lnTo>
                  <a:pt x="9387" y="1268"/>
                </a:lnTo>
                <a:lnTo>
                  <a:pt x="9387" y="1268"/>
                </a:lnTo>
                <a:lnTo>
                  <a:pt x="9386" y="1268"/>
                </a:lnTo>
                <a:lnTo>
                  <a:pt x="9386" y="1268"/>
                </a:lnTo>
                <a:close/>
                <a:moveTo>
                  <a:pt x="10459" y="1641"/>
                </a:moveTo>
                <a:lnTo>
                  <a:pt x="10451" y="1640"/>
                </a:lnTo>
                <a:lnTo>
                  <a:pt x="10443" y="1642"/>
                </a:lnTo>
                <a:lnTo>
                  <a:pt x="10437" y="1649"/>
                </a:lnTo>
                <a:lnTo>
                  <a:pt x="10431" y="1658"/>
                </a:lnTo>
                <a:lnTo>
                  <a:pt x="10440" y="1678"/>
                </a:lnTo>
                <a:lnTo>
                  <a:pt x="10463" y="1677"/>
                </a:lnTo>
                <a:lnTo>
                  <a:pt x="10479" y="1661"/>
                </a:lnTo>
                <a:lnTo>
                  <a:pt x="10459" y="1641"/>
                </a:lnTo>
                <a:close/>
                <a:moveTo>
                  <a:pt x="10704" y="1859"/>
                </a:moveTo>
                <a:lnTo>
                  <a:pt x="10728" y="1843"/>
                </a:lnTo>
                <a:lnTo>
                  <a:pt x="10724" y="1834"/>
                </a:lnTo>
                <a:lnTo>
                  <a:pt x="10703" y="1831"/>
                </a:lnTo>
                <a:lnTo>
                  <a:pt x="10675" y="1836"/>
                </a:lnTo>
                <a:lnTo>
                  <a:pt x="10679" y="1850"/>
                </a:lnTo>
                <a:lnTo>
                  <a:pt x="10686" y="1856"/>
                </a:lnTo>
                <a:lnTo>
                  <a:pt x="10695" y="1859"/>
                </a:lnTo>
                <a:lnTo>
                  <a:pt x="10704" y="1859"/>
                </a:lnTo>
                <a:close/>
                <a:moveTo>
                  <a:pt x="10792" y="2097"/>
                </a:moveTo>
                <a:lnTo>
                  <a:pt x="10761" y="2079"/>
                </a:lnTo>
                <a:lnTo>
                  <a:pt x="10743" y="2071"/>
                </a:lnTo>
                <a:lnTo>
                  <a:pt x="10733" y="2075"/>
                </a:lnTo>
                <a:lnTo>
                  <a:pt x="10723" y="2087"/>
                </a:lnTo>
                <a:lnTo>
                  <a:pt x="10745" y="2097"/>
                </a:lnTo>
                <a:lnTo>
                  <a:pt x="10760" y="2101"/>
                </a:lnTo>
                <a:lnTo>
                  <a:pt x="10773" y="2101"/>
                </a:lnTo>
                <a:lnTo>
                  <a:pt x="10792" y="2097"/>
                </a:lnTo>
                <a:close/>
                <a:moveTo>
                  <a:pt x="4996" y="381"/>
                </a:moveTo>
                <a:lnTo>
                  <a:pt x="5009" y="357"/>
                </a:lnTo>
                <a:lnTo>
                  <a:pt x="5015" y="343"/>
                </a:lnTo>
                <a:lnTo>
                  <a:pt x="5017" y="334"/>
                </a:lnTo>
                <a:lnTo>
                  <a:pt x="5013" y="324"/>
                </a:lnTo>
                <a:lnTo>
                  <a:pt x="4997" y="340"/>
                </a:lnTo>
                <a:lnTo>
                  <a:pt x="4986" y="357"/>
                </a:lnTo>
                <a:lnTo>
                  <a:pt x="4983" y="371"/>
                </a:lnTo>
                <a:lnTo>
                  <a:pt x="4996" y="381"/>
                </a:lnTo>
                <a:close/>
                <a:moveTo>
                  <a:pt x="11030" y="2465"/>
                </a:moveTo>
                <a:lnTo>
                  <a:pt x="11019" y="2453"/>
                </a:lnTo>
                <a:lnTo>
                  <a:pt x="11005" y="2448"/>
                </a:lnTo>
                <a:lnTo>
                  <a:pt x="10991" y="2447"/>
                </a:lnTo>
                <a:lnTo>
                  <a:pt x="10975" y="2449"/>
                </a:lnTo>
                <a:lnTo>
                  <a:pt x="10987" y="2462"/>
                </a:lnTo>
                <a:lnTo>
                  <a:pt x="10996" y="2468"/>
                </a:lnTo>
                <a:lnTo>
                  <a:pt x="11008" y="2468"/>
                </a:lnTo>
                <a:lnTo>
                  <a:pt x="11030" y="2465"/>
                </a:lnTo>
                <a:close/>
                <a:moveTo>
                  <a:pt x="1933" y="410"/>
                </a:moveTo>
                <a:lnTo>
                  <a:pt x="1951" y="408"/>
                </a:lnTo>
                <a:lnTo>
                  <a:pt x="1968" y="401"/>
                </a:lnTo>
                <a:lnTo>
                  <a:pt x="1984" y="391"/>
                </a:lnTo>
                <a:lnTo>
                  <a:pt x="2000" y="374"/>
                </a:lnTo>
                <a:lnTo>
                  <a:pt x="1975" y="373"/>
                </a:lnTo>
                <a:lnTo>
                  <a:pt x="1950" y="380"/>
                </a:lnTo>
                <a:lnTo>
                  <a:pt x="1933" y="392"/>
                </a:lnTo>
                <a:lnTo>
                  <a:pt x="1933" y="410"/>
                </a:lnTo>
                <a:close/>
                <a:moveTo>
                  <a:pt x="3206" y="339"/>
                </a:moveTo>
                <a:lnTo>
                  <a:pt x="3187" y="331"/>
                </a:lnTo>
                <a:lnTo>
                  <a:pt x="3167" y="331"/>
                </a:lnTo>
                <a:lnTo>
                  <a:pt x="3148" y="338"/>
                </a:lnTo>
                <a:lnTo>
                  <a:pt x="3128" y="350"/>
                </a:lnTo>
                <a:lnTo>
                  <a:pt x="3150" y="354"/>
                </a:lnTo>
                <a:lnTo>
                  <a:pt x="3174" y="359"/>
                </a:lnTo>
                <a:lnTo>
                  <a:pt x="3194" y="357"/>
                </a:lnTo>
                <a:lnTo>
                  <a:pt x="3206" y="339"/>
                </a:lnTo>
                <a:close/>
                <a:moveTo>
                  <a:pt x="8295" y="873"/>
                </a:moveTo>
                <a:lnTo>
                  <a:pt x="8312" y="870"/>
                </a:lnTo>
                <a:lnTo>
                  <a:pt x="8329" y="858"/>
                </a:lnTo>
                <a:lnTo>
                  <a:pt x="8339" y="842"/>
                </a:lnTo>
                <a:lnTo>
                  <a:pt x="8337" y="825"/>
                </a:lnTo>
                <a:lnTo>
                  <a:pt x="8319" y="829"/>
                </a:lnTo>
                <a:lnTo>
                  <a:pt x="8298" y="844"/>
                </a:lnTo>
                <a:lnTo>
                  <a:pt x="8286" y="861"/>
                </a:lnTo>
                <a:lnTo>
                  <a:pt x="8295" y="873"/>
                </a:lnTo>
                <a:close/>
                <a:moveTo>
                  <a:pt x="10443" y="1492"/>
                </a:moveTo>
                <a:lnTo>
                  <a:pt x="10459" y="1484"/>
                </a:lnTo>
                <a:lnTo>
                  <a:pt x="10471" y="1467"/>
                </a:lnTo>
                <a:lnTo>
                  <a:pt x="10475" y="1446"/>
                </a:lnTo>
                <a:lnTo>
                  <a:pt x="10468" y="1431"/>
                </a:lnTo>
                <a:lnTo>
                  <a:pt x="10456" y="1446"/>
                </a:lnTo>
                <a:lnTo>
                  <a:pt x="10439" y="1464"/>
                </a:lnTo>
                <a:lnTo>
                  <a:pt x="10430" y="1479"/>
                </a:lnTo>
                <a:lnTo>
                  <a:pt x="10443" y="1492"/>
                </a:lnTo>
                <a:close/>
                <a:moveTo>
                  <a:pt x="5694" y="483"/>
                </a:moveTo>
                <a:lnTo>
                  <a:pt x="5708" y="479"/>
                </a:lnTo>
                <a:lnTo>
                  <a:pt x="5723" y="475"/>
                </a:lnTo>
                <a:lnTo>
                  <a:pt x="5737" y="471"/>
                </a:lnTo>
                <a:lnTo>
                  <a:pt x="5751" y="466"/>
                </a:lnTo>
                <a:lnTo>
                  <a:pt x="5754" y="451"/>
                </a:lnTo>
                <a:lnTo>
                  <a:pt x="5718" y="455"/>
                </a:lnTo>
                <a:lnTo>
                  <a:pt x="5685" y="467"/>
                </a:lnTo>
                <a:lnTo>
                  <a:pt x="5694" y="483"/>
                </a:lnTo>
                <a:close/>
                <a:moveTo>
                  <a:pt x="8410" y="1057"/>
                </a:moveTo>
                <a:lnTo>
                  <a:pt x="8432" y="1068"/>
                </a:lnTo>
                <a:lnTo>
                  <a:pt x="8454" y="1071"/>
                </a:lnTo>
                <a:lnTo>
                  <a:pt x="8477" y="1068"/>
                </a:lnTo>
                <a:lnTo>
                  <a:pt x="8502" y="1063"/>
                </a:lnTo>
                <a:lnTo>
                  <a:pt x="8477" y="1053"/>
                </a:lnTo>
                <a:lnTo>
                  <a:pt x="8455" y="1049"/>
                </a:lnTo>
                <a:lnTo>
                  <a:pt x="8433" y="1049"/>
                </a:lnTo>
                <a:lnTo>
                  <a:pt x="8410" y="1057"/>
                </a:lnTo>
                <a:close/>
                <a:moveTo>
                  <a:pt x="1290" y="427"/>
                </a:moveTo>
                <a:lnTo>
                  <a:pt x="1307" y="439"/>
                </a:lnTo>
                <a:lnTo>
                  <a:pt x="1326" y="448"/>
                </a:lnTo>
                <a:lnTo>
                  <a:pt x="1348" y="452"/>
                </a:lnTo>
                <a:lnTo>
                  <a:pt x="1374" y="451"/>
                </a:lnTo>
                <a:lnTo>
                  <a:pt x="1348" y="433"/>
                </a:lnTo>
                <a:lnTo>
                  <a:pt x="1329" y="424"/>
                </a:lnTo>
                <a:lnTo>
                  <a:pt x="1311" y="423"/>
                </a:lnTo>
                <a:lnTo>
                  <a:pt x="1290" y="427"/>
                </a:lnTo>
                <a:close/>
                <a:moveTo>
                  <a:pt x="10527" y="1824"/>
                </a:moveTo>
                <a:lnTo>
                  <a:pt x="10566" y="1818"/>
                </a:lnTo>
                <a:lnTo>
                  <a:pt x="10575" y="1808"/>
                </a:lnTo>
                <a:lnTo>
                  <a:pt x="10560" y="1796"/>
                </a:lnTo>
                <a:lnTo>
                  <a:pt x="10523" y="1790"/>
                </a:lnTo>
                <a:lnTo>
                  <a:pt x="10513" y="1795"/>
                </a:lnTo>
                <a:lnTo>
                  <a:pt x="10510" y="1806"/>
                </a:lnTo>
                <a:lnTo>
                  <a:pt x="10514" y="1819"/>
                </a:lnTo>
                <a:lnTo>
                  <a:pt x="10527" y="1824"/>
                </a:lnTo>
                <a:close/>
                <a:moveTo>
                  <a:pt x="8143" y="1066"/>
                </a:moveTo>
                <a:lnTo>
                  <a:pt x="8171" y="1068"/>
                </a:lnTo>
                <a:lnTo>
                  <a:pt x="8180" y="1053"/>
                </a:lnTo>
                <a:lnTo>
                  <a:pt x="8172" y="1035"/>
                </a:lnTo>
                <a:lnTo>
                  <a:pt x="8148" y="1027"/>
                </a:lnTo>
                <a:lnTo>
                  <a:pt x="8135" y="1033"/>
                </a:lnTo>
                <a:lnTo>
                  <a:pt x="8130" y="1045"/>
                </a:lnTo>
                <a:lnTo>
                  <a:pt x="8134" y="1058"/>
                </a:lnTo>
                <a:lnTo>
                  <a:pt x="8143" y="1066"/>
                </a:lnTo>
                <a:close/>
                <a:moveTo>
                  <a:pt x="7462" y="852"/>
                </a:moveTo>
                <a:lnTo>
                  <a:pt x="7486" y="866"/>
                </a:lnTo>
                <a:lnTo>
                  <a:pt x="7508" y="875"/>
                </a:lnTo>
                <a:lnTo>
                  <a:pt x="7530" y="879"/>
                </a:lnTo>
                <a:lnTo>
                  <a:pt x="7552" y="881"/>
                </a:lnTo>
                <a:lnTo>
                  <a:pt x="7536" y="856"/>
                </a:lnTo>
                <a:lnTo>
                  <a:pt x="7516" y="843"/>
                </a:lnTo>
                <a:lnTo>
                  <a:pt x="7494" y="843"/>
                </a:lnTo>
                <a:lnTo>
                  <a:pt x="7462" y="852"/>
                </a:lnTo>
                <a:close/>
                <a:moveTo>
                  <a:pt x="11036" y="2764"/>
                </a:moveTo>
                <a:lnTo>
                  <a:pt x="11045" y="2785"/>
                </a:lnTo>
                <a:lnTo>
                  <a:pt x="11057" y="2808"/>
                </a:lnTo>
                <a:lnTo>
                  <a:pt x="11071" y="2818"/>
                </a:lnTo>
                <a:lnTo>
                  <a:pt x="11091" y="2804"/>
                </a:lnTo>
                <a:lnTo>
                  <a:pt x="11081" y="2790"/>
                </a:lnTo>
                <a:lnTo>
                  <a:pt x="11073" y="2774"/>
                </a:lnTo>
                <a:lnTo>
                  <a:pt x="11059" y="2764"/>
                </a:lnTo>
                <a:lnTo>
                  <a:pt x="11036" y="2764"/>
                </a:lnTo>
                <a:close/>
                <a:moveTo>
                  <a:pt x="10768" y="2150"/>
                </a:moveTo>
                <a:lnTo>
                  <a:pt x="10788" y="2160"/>
                </a:lnTo>
                <a:lnTo>
                  <a:pt x="10807" y="2168"/>
                </a:lnTo>
                <a:lnTo>
                  <a:pt x="10826" y="2169"/>
                </a:lnTo>
                <a:lnTo>
                  <a:pt x="10849" y="2162"/>
                </a:lnTo>
                <a:lnTo>
                  <a:pt x="10826" y="2146"/>
                </a:lnTo>
                <a:lnTo>
                  <a:pt x="10807" y="2134"/>
                </a:lnTo>
                <a:lnTo>
                  <a:pt x="10788" y="2132"/>
                </a:lnTo>
                <a:lnTo>
                  <a:pt x="10768" y="2150"/>
                </a:lnTo>
                <a:close/>
                <a:moveTo>
                  <a:pt x="10214" y="1892"/>
                </a:moveTo>
                <a:lnTo>
                  <a:pt x="10200" y="1902"/>
                </a:lnTo>
                <a:lnTo>
                  <a:pt x="10196" y="1922"/>
                </a:lnTo>
                <a:lnTo>
                  <a:pt x="10205" y="1940"/>
                </a:lnTo>
                <a:lnTo>
                  <a:pt x="10223" y="1943"/>
                </a:lnTo>
                <a:lnTo>
                  <a:pt x="10234" y="1931"/>
                </a:lnTo>
                <a:lnTo>
                  <a:pt x="10235" y="1915"/>
                </a:lnTo>
                <a:lnTo>
                  <a:pt x="10228" y="1899"/>
                </a:lnTo>
                <a:lnTo>
                  <a:pt x="10214" y="1892"/>
                </a:lnTo>
                <a:close/>
                <a:moveTo>
                  <a:pt x="2817" y="378"/>
                </a:moveTo>
                <a:lnTo>
                  <a:pt x="2861" y="374"/>
                </a:lnTo>
                <a:lnTo>
                  <a:pt x="2854" y="362"/>
                </a:lnTo>
                <a:lnTo>
                  <a:pt x="2818" y="348"/>
                </a:lnTo>
                <a:lnTo>
                  <a:pt x="2776" y="340"/>
                </a:lnTo>
                <a:lnTo>
                  <a:pt x="2784" y="353"/>
                </a:lnTo>
                <a:lnTo>
                  <a:pt x="2792" y="366"/>
                </a:lnTo>
                <a:lnTo>
                  <a:pt x="2802" y="374"/>
                </a:lnTo>
                <a:lnTo>
                  <a:pt x="2817" y="378"/>
                </a:lnTo>
                <a:close/>
                <a:moveTo>
                  <a:pt x="9149" y="1277"/>
                </a:moveTo>
                <a:lnTo>
                  <a:pt x="9127" y="1258"/>
                </a:lnTo>
                <a:lnTo>
                  <a:pt x="9090" y="1251"/>
                </a:lnTo>
                <a:lnTo>
                  <a:pt x="9047" y="1253"/>
                </a:lnTo>
                <a:lnTo>
                  <a:pt x="9008" y="1259"/>
                </a:lnTo>
                <a:lnTo>
                  <a:pt x="9042" y="1268"/>
                </a:lnTo>
                <a:lnTo>
                  <a:pt x="9078" y="1268"/>
                </a:lnTo>
                <a:lnTo>
                  <a:pt x="9115" y="1269"/>
                </a:lnTo>
                <a:lnTo>
                  <a:pt x="9149" y="1277"/>
                </a:lnTo>
                <a:close/>
                <a:moveTo>
                  <a:pt x="10108" y="1530"/>
                </a:moveTo>
                <a:lnTo>
                  <a:pt x="10142" y="1520"/>
                </a:lnTo>
                <a:lnTo>
                  <a:pt x="10131" y="1507"/>
                </a:lnTo>
                <a:lnTo>
                  <a:pt x="10097" y="1497"/>
                </a:lnTo>
                <a:lnTo>
                  <a:pt x="10062" y="1492"/>
                </a:lnTo>
                <a:lnTo>
                  <a:pt x="10070" y="1509"/>
                </a:lnTo>
                <a:lnTo>
                  <a:pt x="10081" y="1519"/>
                </a:lnTo>
                <a:lnTo>
                  <a:pt x="10094" y="1525"/>
                </a:lnTo>
                <a:lnTo>
                  <a:pt x="10108" y="1530"/>
                </a:lnTo>
                <a:close/>
                <a:moveTo>
                  <a:pt x="11536" y="2300"/>
                </a:moveTo>
                <a:lnTo>
                  <a:pt x="11505" y="2281"/>
                </a:lnTo>
                <a:lnTo>
                  <a:pt x="11476" y="2269"/>
                </a:lnTo>
                <a:lnTo>
                  <a:pt x="11445" y="2262"/>
                </a:lnTo>
                <a:lnTo>
                  <a:pt x="11413" y="2263"/>
                </a:lnTo>
                <a:lnTo>
                  <a:pt x="11432" y="2286"/>
                </a:lnTo>
                <a:lnTo>
                  <a:pt x="11462" y="2297"/>
                </a:lnTo>
                <a:lnTo>
                  <a:pt x="11497" y="2299"/>
                </a:lnTo>
                <a:lnTo>
                  <a:pt x="11536" y="2300"/>
                </a:lnTo>
                <a:close/>
                <a:moveTo>
                  <a:pt x="10142" y="1364"/>
                </a:moveTo>
                <a:lnTo>
                  <a:pt x="10155" y="1353"/>
                </a:lnTo>
                <a:lnTo>
                  <a:pt x="10146" y="1342"/>
                </a:lnTo>
                <a:lnTo>
                  <a:pt x="10145" y="1333"/>
                </a:lnTo>
                <a:lnTo>
                  <a:pt x="10183" y="1330"/>
                </a:lnTo>
                <a:lnTo>
                  <a:pt x="10141" y="1314"/>
                </a:lnTo>
                <a:lnTo>
                  <a:pt x="10113" y="1319"/>
                </a:lnTo>
                <a:lnTo>
                  <a:pt x="10109" y="1338"/>
                </a:lnTo>
                <a:lnTo>
                  <a:pt x="10142" y="1364"/>
                </a:lnTo>
                <a:close/>
                <a:moveTo>
                  <a:pt x="10440" y="1537"/>
                </a:moveTo>
                <a:lnTo>
                  <a:pt x="10437" y="1567"/>
                </a:lnTo>
                <a:lnTo>
                  <a:pt x="10459" y="1580"/>
                </a:lnTo>
                <a:lnTo>
                  <a:pt x="10489" y="1574"/>
                </a:lnTo>
                <a:lnTo>
                  <a:pt x="10503" y="1552"/>
                </a:lnTo>
                <a:lnTo>
                  <a:pt x="10489" y="1546"/>
                </a:lnTo>
                <a:lnTo>
                  <a:pt x="10474" y="1538"/>
                </a:lnTo>
                <a:lnTo>
                  <a:pt x="10457" y="1534"/>
                </a:lnTo>
                <a:lnTo>
                  <a:pt x="10440" y="1537"/>
                </a:lnTo>
                <a:close/>
                <a:moveTo>
                  <a:pt x="2993" y="490"/>
                </a:moveTo>
                <a:lnTo>
                  <a:pt x="2990" y="472"/>
                </a:lnTo>
                <a:lnTo>
                  <a:pt x="2983" y="460"/>
                </a:lnTo>
                <a:lnTo>
                  <a:pt x="2970" y="456"/>
                </a:lnTo>
                <a:lnTo>
                  <a:pt x="2953" y="461"/>
                </a:lnTo>
                <a:lnTo>
                  <a:pt x="2953" y="497"/>
                </a:lnTo>
                <a:lnTo>
                  <a:pt x="2975" y="521"/>
                </a:lnTo>
                <a:lnTo>
                  <a:pt x="2994" y="523"/>
                </a:lnTo>
                <a:lnTo>
                  <a:pt x="2993" y="490"/>
                </a:lnTo>
                <a:close/>
                <a:moveTo>
                  <a:pt x="10653" y="2134"/>
                </a:moveTo>
                <a:lnTo>
                  <a:pt x="10677" y="2122"/>
                </a:lnTo>
                <a:lnTo>
                  <a:pt x="10696" y="2122"/>
                </a:lnTo>
                <a:lnTo>
                  <a:pt x="10713" y="2129"/>
                </a:lnTo>
                <a:lnTo>
                  <a:pt x="10735" y="2137"/>
                </a:lnTo>
                <a:lnTo>
                  <a:pt x="10742" y="2113"/>
                </a:lnTo>
                <a:lnTo>
                  <a:pt x="10707" y="2101"/>
                </a:lnTo>
                <a:lnTo>
                  <a:pt x="10663" y="2107"/>
                </a:lnTo>
                <a:lnTo>
                  <a:pt x="10653" y="2134"/>
                </a:lnTo>
                <a:close/>
                <a:moveTo>
                  <a:pt x="9897" y="1263"/>
                </a:moveTo>
                <a:lnTo>
                  <a:pt x="9864" y="1245"/>
                </a:lnTo>
                <a:lnTo>
                  <a:pt x="9841" y="1240"/>
                </a:lnTo>
                <a:lnTo>
                  <a:pt x="9821" y="1248"/>
                </a:lnTo>
                <a:lnTo>
                  <a:pt x="9799" y="1267"/>
                </a:lnTo>
                <a:lnTo>
                  <a:pt x="9823" y="1278"/>
                </a:lnTo>
                <a:lnTo>
                  <a:pt x="9846" y="1278"/>
                </a:lnTo>
                <a:lnTo>
                  <a:pt x="9870" y="1271"/>
                </a:lnTo>
                <a:lnTo>
                  <a:pt x="9897" y="1263"/>
                </a:lnTo>
                <a:close/>
                <a:moveTo>
                  <a:pt x="2885" y="465"/>
                </a:moveTo>
                <a:lnTo>
                  <a:pt x="2925" y="452"/>
                </a:lnTo>
                <a:lnTo>
                  <a:pt x="2932" y="427"/>
                </a:lnTo>
                <a:lnTo>
                  <a:pt x="2909" y="405"/>
                </a:lnTo>
                <a:lnTo>
                  <a:pt x="2863" y="405"/>
                </a:lnTo>
                <a:lnTo>
                  <a:pt x="2875" y="419"/>
                </a:lnTo>
                <a:lnTo>
                  <a:pt x="2881" y="430"/>
                </a:lnTo>
                <a:lnTo>
                  <a:pt x="2883" y="444"/>
                </a:lnTo>
                <a:lnTo>
                  <a:pt x="2885" y="465"/>
                </a:lnTo>
                <a:close/>
                <a:moveTo>
                  <a:pt x="10588" y="2232"/>
                </a:moveTo>
                <a:lnTo>
                  <a:pt x="10616" y="2258"/>
                </a:lnTo>
                <a:lnTo>
                  <a:pt x="10653" y="2275"/>
                </a:lnTo>
                <a:lnTo>
                  <a:pt x="10691" y="2276"/>
                </a:lnTo>
                <a:lnTo>
                  <a:pt x="10722" y="2258"/>
                </a:lnTo>
                <a:lnTo>
                  <a:pt x="10694" y="2243"/>
                </a:lnTo>
                <a:lnTo>
                  <a:pt x="10661" y="2239"/>
                </a:lnTo>
                <a:lnTo>
                  <a:pt x="10624" y="2239"/>
                </a:lnTo>
                <a:lnTo>
                  <a:pt x="10588" y="2232"/>
                </a:lnTo>
                <a:close/>
                <a:moveTo>
                  <a:pt x="8044" y="938"/>
                </a:moveTo>
                <a:lnTo>
                  <a:pt x="8017" y="931"/>
                </a:lnTo>
                <a:lnTo>
                  <a:pt x="7979" y="923"/>
                </a:lnTo>
                <a:lnTo>
                  <a:pt x="7946" y="926"/>
                </a:lnTo>
                <a:lnTo>
                  <a:pt x="7932" y="950"/>
                </a:lnTo>
                <a:lnTo>
                  <a:pt x="7961" y="957"/>
                </a:lnTo>
                <a:lnTo>
                  <a:pt x="7989" y="961"/>
                </a:lnTo>
                <a:lnTo>
                  <a:pt x="8017" y="956"/>
                </a:lnTo>
                <a:lnTo>
                  <a:pt x="8044" y="938"/>
                </a:lnTo>
                <a:close/>
                <a:moveTo>
                  <a:pt x="10594" y="1735"/>
                </a:moveTo>
                <a:lnTo>
                  <a:pt x="10633" y="1724"/>
                </a:lnTo>
                <a:lnTo>
                  <a:pt x="10610" y="1712"/>
                </a:lnTo>
                <a:lnTo>
                  <a:pt x="10560" y="1701"/>
                </a:lnTo>
                <a:lnTo>
                  <a:pt x="10514" y="1693"/>
                </a:lnTo>
                <a:lnTo>
                  <a:pt x="10524" y="1722"/>
                </a:lnTo>
                <a:lnTo>
                  <a:pt x="10544" y="1731"/>
                </a:lnTo>
                <a:lnTo>
                  <a:pt x="10568" y="1733"/>
                </a:lnTo>
                <a:lnTo>
                  <a:pt x="10594" y="1735"/>
                </a:lnTo>
                <a:close/>
                <a:moveTo>
                  <a:pt x="10752" y="1542"/>
                </a:moveTo>
                <a:lnTo>
                  <a:pt x="10780" y="1534"/>
                </a:lnTo>
                <a:lnTo>
                  <a:pt x="10766" y="1515"/>
                </a:lnTo>
                <a:lnTo>
                  <a:pt x="10733" y="1501"/>
                </a:lnTo>
                <a:lnTo>
                  <a:pt x="10704" y="1512"/>
                </a:lnTo>
                <a:lnTo>
                  <a:pt x="10680" y="1526"/>
                </a:lnTo>
                <a:lnTo>
                  <a:pt x="10691" y="1540"/>
                </a:lnTo>
                <a:lnTo>
                  <a:pt x="10722" y="1547"/>
                </a:lnTo>
                <a:lnTo>
                  <a:pt x="10752" y="1542"/>
                </a:lnTo>
                <a:close/>
                <a:moveTo>
                  <a:pt x="11184" y="2535"/>
                </a:moveTo>
                <a:lnTo>
                  <a:pt x="11143" y="2514"/>
                </a:lnTo>
                <a:lnTo>
                  <a:pt x="11100" y="2499"/>
                </a:lnTo>
                <a:lnTo>
                  <a:pt x="11061" y="2499"/>
                </a:lnTo>
                <a:lnTo>
                  <a:pt x="11031" y="2523"/>
                </a:lnTo>
                <a:lnTo>
                  <a:pt x="11071" y="2524"/>
                </a:lnTo>
                <a:lnTo>
                  <a:pt x="11108" y="2532"/>
                </a:lnTo>
                <a:lnTo>
                  <a:pt x="11145" y="2537"/>
                </a:lnTo>
                <a:lnTo>
                  <a:pt x="11184" y="2535"/>
                </a:lnTo>
                <a:close/>
                <a:moveTo>
                  <a:pt x="11667" y="3183"/>
                </a:moveTo>
                <a:lnTo>
                  <a:pt x="11702" y="3188"/>
                </a:lnTo>
                <a:lnTo>
                  <a:pt x="11738" y="3197"/>
                </a:lnTo>
                <a:lnTo>
                  <a:pt x="11772" y="3200"/>
                </a:lnTo>
                <a:lnTo>
                  <a:pt x="11806" y="3190"/>
                </a:lnTo>
                <a:lnTo>
                  <a:pt x="11762" y="3175"/>
                </a:lnTo>
                <a:lnTo>
                  <a:pt x="11701" y="3158"/>
                </a:lnTo>
                <a:lnTo>
                  <a:pt x="11658" y="3156"/>
                </a:lnTo>
                <a:lnTo>
                  <a:pt x="11667" y="3183"/>
                </a:lnTo>
                <a:close/>
                <a:moveTo>
                  <a:pt x="1476" y="299"/>
                </a:moveTo>
                <a:lnTo>
                  <a:pt x="1478" y="299"/>
                </a:lnTo>
                <a:lnTo>
                  <a:pt x="1476" y="299"/>
                </a:lnTo>
                <a:lnTo>
                  <a:pt x="1432" y="275"/>
                </a:lnTo>
                <a:lnTo>
                  <a:pt x="1395" y="262"/>
                </a:lnTo>
                <a:lnTo>
                  <a:pt x="1364" y="257"/>
                </a:lnTo>
                <a:lnTo>
                  <a:pt x="1335" y="261"/>
                </a:lnTo>
                <a:lnTo>
                  <a:pt x="1367" y="288"/>
                </a:lnTo>
                <a:lnTo>
                  <a:pt x="1400" y="304"/>
                </a:lnTo>
                <a:lnTo>
                  <a:pt x="1437" y="310"/>
                </a:lnTo>
                <a:lnTo>
                  <a:pt x="1476" y="299"/>
                </a:lnTo>
                <a:lnTo>
                  <a:pt x="1478" y="299"/>
                </a:lnTo>
                <a:lnTo>
                  <a:pt x="1476" y="299"/>
                </a:lnTo>
                <a:close/>
                <a:moveTo>
                  <a:pt x="10079" y="1563"/>
                </a:moveTo>
                <a:lnTo>
                  <a:pt x="10079" y="1596"/>
                </a:lnTo>
                <a:lnTo>
                  <a:pt x="10128" y="1613"/>
                </a:lnTo>
                <a:lnTo>
                  <a:pt x="10172" y="1607"/>
                </a:lnTo>
                <a:lnTo>
                  <a:pt x="10151" y="1570"/>
                </a:lnTo>
                <a:lnTo>
                  <a:pt x="10135" y="1565"/>
                </a:lnTo>
                <a:lnTo>
                  <a:pt x="10117" y="1561"/>
                </a:lnTo>
                <a:lnTo>
                  <a:pt x="10098" y="1560"/>
                </a:lnTo>
                <a:lnTo>
                  <a:pt x="10079" y="1563"/>
                </a:lnTo>
                <a:close/>
                <a:moveTo>
                  <a:pt x="10181" y="1614"/>
                </a:moveTo>
                <a:lnTo>
                  <a:pt x="10211" y="1637"/>
                </a:lnTo>
                <a:lnTo>
                  <a:pt x="10257" y="1646"/>
                </a:lnTo>
                <a:lnTo>
                  <a:pt x="10308" y="1641"/>
                </a:lnTo>
                <a:lnTo>
                  <a:pt x="10350" y="1624"/>
                </a:lnTo>
                <a:lnTo>
                  <a:pt x="10304" y="1612"/>
                </a:lnTo>
                <a:lnTo>
                  <a:pt x="10260" y="1600"/>
                </a:lnTo>
                <a:lnTo>
                  <a:pt x="10216" y="1598"/>
                </a:lnTo>
                <a:lnTo>
                  <a:pt x="10181" y="1614"/>
                </a:lnTo>
                <a:close/>
                <a:moveTo>
                  <a:pt x="10614" y="2000"/>
                </a:moveTo>
                <a:lnTo>
                  <a:pt x="10578" y="1977"/>
                </a:lnTo>
                <a:lnTo>
                  <a:pt x="10535" y="1969"/>
                </a:lnTo>
                <a:lnTo>
                  <a:pt x="10489" y="1968"/>
                </a:lnTo>
                <a:lnTo>
                  <a:pt x="10445" y="1967"/>
                </a:lnTo>
                <a:lnTo>
                  <a:pt x="10484" y="1989"/>
                </a:lnTo>
                <a:lnTo>
                  <a:pt x="10533" y="2009"/>
                </a:lnTo>
                <a:lnTo>
                  <a:pt x="10580" y="2017"/>
                </a:lnTo>
                <a:lnTo>
                  <a:pt x="10614" y="2000"/>
                </a:lnTo>
                <a:close/>
                <a:moveTo>
                  <a:pt x="10640" y="2015"/>
                </a:moveTo>
                <a:lnTo>
                  <a:pt x="10682" y="2038"/>
                </a:lnTo>
                <a:lnTo>
                  <a:pt x="10737" y="2053"/>
                </a:lnTo>
                <a:lnTo>
                  <a:pt x="10793" y="2064"/>
                </a:lnTo>
                <a:lnTo>
                  <a:pt x="10843" y="2067"/>
                </a:lnTo>
                <a:lnTo>
                  <a:pt x="10802" y="2039"/>
                </a:lnTo>
                <a:lnTo>
                  <a:pt x="10750" y="2019"/>
                </a:lnTo>
                <a:lnTo>
                  <a:pt x="10693" y="2010"/>
                </a:lnTo>
                <a:lnTo>
                  <a:pt x="10640" y="2015"/>
                </a:lnTo>
                <a:close/>
                <a:moveTo>
                  <a:pt x="1322" y="218"/>
                </a:moveTo>
                <a:lnTo>
                  <a:pt x="1286" y="182"/>
                </a:lnTo>
                <a:lnTo>
                  <a:pt x="1251" y="154"/>
                </a:lnTo>
                <a:lnTo>
                  <a:pt x="1215" y="148"/>
                </a:lnTo>
                <a:lnTo>
                  <a:pt x="1174" y="178"/>
                </a:lnTo>
                <a:lnTo>
                  <a:pt x="1213" y="191"/>
                </a:lnTo>
                <a:lnTo>
                  <a:pt x="1250" y="208"/>
                </a:lnTo>
                <a:lnTo>
                  <a:pt x="1286" y="219"/>
                </a:lnTo>
                <a:lnTo>
                  <a:pt x="1322" y="218"/>
                </a:lnTo>
                <a:close/>
                <a:moveTo>
                  <a:pt x="1348" y="236"/>
                </a:moveTo>
                <a:lnTo>
                  <a:pt x="1405" y="236"/>
                </a:lnTo>
                <a:lnTo>
                  <a:pt x="1407" y="208"/>
                </a:lnTo>
                <a:lnTo>
                  <a:pt x="1372" y="178"/>
                </a:lnTo>
                <a:lnTo>
                  <a:pt x="1314" y="172"/>
                </a:lnTo>
                <a:lnTo>
                  <a:pt x="1313" y="186"/>
                </a:lnTo>
                <a:lnTo>
                  <a:pt x="1331" y="199"/>
                </a:lnTo>
                <a:lnTo>
                  <a:pt x="1349" y="213"/>
                </a:lnTo>
                <a:lnTo>
                  <a:pt x="1348" y="236"/>
                </a:lnTo>
                <a:close/>
                <a:moveTo>
                  <a:pt x="1735" y="177"/>
                </a:moveTo>
                <a:lnTo>
                  <a:pt x="1674" y="162"/>
                </a:lnTo>
                <a:lnTo>
                  <a:pt x="1607" y="144"/>
                </a:lnTo>
                <a:lnTo>
                  <a:pt x="1542" y="135"/>
                </a:lnTo>
                <a:lnTo>
                  <a:pt x="1486" y="143"/>
                </a:lnTo>
                <a:lnTo>
                  <a:pt x="1548" y="161"/>
                </a:lnTo>
                <a:lnTo>
                  <a:pt x="1610" y="172"/>
                </a:lnTo>
                <a:lnTo>
                  <a:pt x="1672" y="177"/>
                </a:lnTo>
                <a:lnTo>
                  <a:pt x="1735" y="177"/>
                </a:lnTo>
                <a:close/>
                <a:moveTo>
                  <a:pt x="8287" y="975"/>
                </a:moveTo>
                <a:lnTo>
                  <a:pt x="8320" y="1015"/>
                </a:lnTo>
                <a:lnTo>
                  <a:pt x="8363" y="1015"/>
                </a:lnTo>
                <a:lnTo>
                  <a:pt x="8412" y="1007"/>
                </a:lnTo>
                <a:lnTo>
                  <a:pt x="8456" y="1025"/>
                </a:lnTo>
                <a:lnTo>
                  <a:pt x="8436" y="991"/>
                </a:lnTo>
                <a:lnTo>
                  <a:pt x="8389" y="973"/>
                </a:lnTo>
                <a:lnTo>
                  <a:pt x="8334" y="968"/>
                </a:lnTo>
                <a:lnTo>
                  <a:pt x="8287" y="975"/>
                </a:lnTo>
                <a:close/>
                <a:moveTo>
                  <a:pt x="1637" y="255"/>
                </a:moveTo>
                <a:lnTo>
                  <a:pt x="1635" y="255"/>
                </a:lnTo>
                <a:lnTo>
                  <a:pt x="1635" y="255"/>
                </a:lnTo>
                <a:lnTo>
                  <a:pt x="1634" y="255"/>
                </a:lnTo>
                <a:lnTo>
                  <a:pt x="1637" y="255"/>
                </a:lnTo>
                <a:close/>
                <a:moveTo>
                  <a:pt x="1539" y="240"/>
                </a:moveTo>
                <a:lnTo>
                  <a:pt x="1541" y="242"/>
                </a:lnTo>
                <a:lnTo>
                  <a:pt x="1541" y="243"/>
                </a:lnTo>
                <a:lnTo>
                  <a:pt x="1540" y="243"/>
                </a:lnTo>
                <a:lnTo>
                  <a:pt x="1537" y="243"/>
                </a:lnTo>
                <a:lnTo>
                  <a:pt x="1535" y="241"/>
                </a:lnTo>
                <a:lnTo>
                  <a:pt x="1534" y="240"/>
                </a:lnTo>
                <a:lnTo>
                  <a:pt x="1535" y="240"/>
                </a:lnTo>
                <a:lnTo>
                  <a:pt x="1539" y="240"/>
                </a:lnTo>
                <a:close/>
                <a:moveTo>
                  <a:pt x="1556" y="266"/>
                </a:moveTo>
                <a:lnTo>
                  <a:pt x="1627" y="250"/>
                </a:lnTo>
                <a:lnTo>
                  <a:pt x="1583" y="217"/>
                </a:lnTo>
                <a:lnTo>
                  <a:pt x="1507" y="200"/>
                </a:lnTo>
                <a:lnTo>
                  <a:pt x="1475" y="236"/>
                </a:lnTo>
                <a:lnTo>
                  <a:pt x="1492" y="254"/>
                </a:lnTo>
                <a:lnTo>
                  <a:pt x="1512" y="262"/>
                </a:lnTo>
                <a:lnTo>
                  <a:pt x="1534" y="266"/>
                </a:lnTo>
                <a:lnTo>
                  <a:pt x="1556" y="266"/>
                </a:lnTo>
                <a:close/>
                <a:moveTo>
                  <a:pt x="10737" y="2234"/>
                </a:moveTo>
                <a:lnTo>
                  <a:pt x="10761" y="2220"/>
                </a:lnTo>
                <a:lnTo>
                  <a:pt x="10690" y="2187"/>
                </a:lnTo>
                <a:lnTo>
                  <a:pt x="10588" y="2164"/>
                </a:lnTo>
                <a:lnTo>
                  <a:pt x="10519" y="2178"/>
                </a:lnTo>
                <a:lnTo>
                  <a:pt x="10573" y="2193"/>
                </a:lnTo>
                <a:lnTo>
                  <a:pt x="10629" y="2209"/>
                </a:lnTo>
                <a:lnTo>
                  <a:pt x="10684" y="2223"/>
                </a:lnTo>
                <a:lnTo>
                  <a:pt x="10737" y="2234"/>
                </a:lnTo>
                <a:close/>
                <a:moveTo>
                  <a:pt x="1930" y="332"/>
                </a:moveTo>
                <a:lnTo>
                  <a:pt x="1848" y="331"/>
                </a:lnTo>
                <a:lnTo>
                  <a:pt x="1764" y="346"/>
                </a:lnTo>
                <a:lnTo>
                  <a:pt x="1733" y="369"/>
                </a:lnTo>
                <a:lnTo>
                  <a:pt x="1816" y="385"/>
                </a:lnTo>
                <a:lnTo>
                  <a:pt x="1862" y="397"/>
                </a:lnTo>
                <a:lnTo>
                  <a:pt x="1893" y="385"/>
                </a:lnTo>
                <a:lnTo>
                  <a:pt x="1913" y="358"/>
                </a:lnTo>
                <a:lnTo>
                  <a:pt x="1930" y="332"/>
                </a:lnTo>
                <a:close/>
                <a:moveTo>
                  <a:pt x="1544" y="106"/>
                </a:moveTo>
                <a:lnTo>
                  <a:pt x="1657" y="129"/>
                </a:lnTo>
                <a:lnTo>
                  <a:pt x="1767" y="158"/>
                </a:lnTo>
                <a:lnTo>
                  <a:pt x="1870" y="175"/>
                </a:lnTo>
                <a:lnTo>
                  <a:pt x="1963" y="164"/>
                </a:lnTo>
                <a:lnTo>
                  <a:pt x="1858" y="143"/>
                </a:lnTo>
                <a:lnTo>
                  <a:pt x="1732" y="112"/>
                </a:lnTo>
                <a:lnTo>
                  <a:pt x="1616" y="93"/>
                </a:lnTo>
                <a:lnTo>
                  <a:pt x="1544" y="106"/>
                </a:lnTo>
                <a:close/>
                <a:moveTo>
                  <a:pt x="10279" y="1846"/>
                </a:moveTo>
                <a:lnTo>
                  <a:pt x="10355" y="1852"/>
                </a:lnTo>
                <a:lnTo>
                  <a:pt x="10425" y="1868"/>
                </a:lnTo>
                <a:lnTo>
                  <a:pt x="10449" y="1868"/>
                </a:lnTo>
                <a:lnTo>
                  <a:pt x="10386" y="1828"/>
                </a:lnTo>
                <a:lnTo>
                  <a:pt x="10256" y="1790"/>
                </a:lnTo>
                <a:lnTo>
                  <a:pt x="10146" y="1795"/>
                </a:lnTo>
                <a:lnTo>
                  <a:pt x="10130" y="1820"/>
                </a:lnTo>
                <a:lnTo>
                  <a:pt x="10279" y="1846"/>
                </a:lnTo>
                <a:close/>
                <a:moveTo>
                  <a:pt x="1190" y="268"/>
                </a:moveTo>
                <a:lnTo>
                  <a:pt x="1295" y="355"/>
                </a:lnTo>
                <a:lnTo>
                  <a:pt x="1409" y="404"/>
                </a:lnTo>
                <a:lnTo>
                  <a:pt x="1479" y="416"/>
                </a:lnTo>
                <a:lnTo>
                  <a:pt x="1462" y="397"/>
                </a:lnTo>
                <a:lnTo>
                  <a:pt x="1465" y="360"/>
                </a:lnTo>
                <a:lnTo>
                  <a:pt x="1502" y="359"/>
                </a:lnTo>
                <a:lnTo>
                  <a:pt x="1553" y="366"/>
                </a:lnTo>
                <a:lnTo>
                  <a:pt x="1593" y="353"/>
                </a:lnTo>
                <a:lnTo>
                  <a:pt x="1602" y="329"/>
                </a:lnTo>
                <a:lnTo>
                  <a:pt x="1578" y="326"/>
                </a:lnTo>
                <a:lnTo>
                  <a:pt x="1562" y="338"/>
                </a:lnTo>
                <a:lnTo>
                  <a:pt x="1592" y="353"/>
                </a:lnTo>
                <a:lnTo>
                  <a:pt x="1534" y="325"/>
                </a:lnTo>
                <a:lnTo>
                  <a:pt x="1481" y="317"/>
                </a:lnTo>
                <a:lnTo>
                  <a:pt x="1432" y="334"/>
                </a:lnTo>
                <a:lnTo>
                  <a:pt x="1376" y="378"/>
                </a:lnTo>
                <a:lnTo>
                  <a:pt x="1343" y="331"/>
                </a:lnTo>
                <a:lnTo>
                  <a:pt x="1279" y="270"/>
                </a:lnTo>
                <a:lnTo>
                  <a:pt x="1218" y="234"/>
                </a:lnTo>
                <a:lnTo>
                  <a:pt x="1190" y="268"/>
                </a:lnTo>
                <a:close/>
                <a:moveTo>
                  <a:pt x="10229" y="4898"/>
                </a:moveTo>
                <a:lnTo>
                  <a:pt x="10216" y="4895"/>
                </a:lnTo>
                <a:lnTo>
                  <a:pt x="10205" y="4890"/>
                </a:lnTo>
                <a:lnTo>
                  <a:pt x="10195" y="4881"/>
                </a:lnTo>
                <a:lnTo>
                  <a:pt x="10190" y="4868"/>
                </a:lnTo>
                <a:lnTo>
                  <a:pt x="10202" y="4874"/>
                </a:lnTo>
                <a:lnTo>
                  <a:pt x="10216" y="4879"/>
                </a:lnTo>
                <a:lnTo>
                  <a:pt x="10226" y="4887"/>
                </a:lnTo>
                <a:lnTo>
                  <a:pt x="10229" y="4898"/>
                </a:lnTo>
                <a:close/>
                <a:moveTo>
                  <a:pt x="10072" y="5134"/>
                </a:moveTo>
                <a:lnTo>
                  <a:pt x="10074" y="5131"/>
                </a:lnTo>
                <a:lnTo>
                  <a:pt x="10075" y="5130"/>
                </a:lnTo>
                <a:lnTo>
                  <a:pt x="10076" y="5130"/>
                </a:lnTo>
                <a:lnTo>
                  <a:pt x="10079" y="5130"/>
                </a:lnTo>
                <a:lnTo>
                  <a:pt x="10080" y="5134"/>
                </a:lnTo>
                <a:lnTo>
                  <a:pt x="10079" y="5135"/>
                </a:lnTo>
                <a:lnTo>
                  <a:pt x="10076" y="5135"/>
                </a:lnTo>
                <a:lnTo>
                  <a:pt x="10072" y="5134"/>
                </a:lnTo>
                <a:close/>
                <a:moveTo>
                  <a:pt x="10047" y="5098"/>
                </a:moveTo>
                <a:lnTo>
                  <a:pt x="10010" y="5098"/>
                </a:lnTo>
                <a:lnTo>
                  <a:pt x="9977" y="5106"/>
                </a:lnTo>
                <a:lnTo>
                  <a:pt x="9946" y="5106"/>
                </a:lnTo>
                <a:lnTo>
                  <a:pt x="9917" y="5082"/>
                </a:lnTo>
                <a:lnTo>
                  <a:pt x="9911" y="5088"/>
                </a:lnTo>
                <a:lnTo>
                  <a:pt x="9978" y="5070"/>
                </a:lnTo>
                <a:lnTo>
                  <a:pt x="10047" y="5063"/>
                </a:lnTo>
                <a:lnTo>
                  <a:pt x="10047" y="5098"/>
                </a:lnTo>
                <a:close/>
                <a:moveTo>
                  <a:pt x="9977" y="5203"/>
                </a:moveTo>
                <a:lnTo>
                  <a:pt x="9946" y="5190"/>
                </a:lnTo>
                <a:lnTo>
                  <a:pt x="9931" y="5177"/>
                </a:lnTo>
                <a:lnTo>
                  <a:pt x="9927" y="5159"/>
                </a:lnTo>
                <a:lnTo>
                  <a:pt x="9936" y="5133"/>
                </a:lnTo>
                <a:lnTo>
                  <a:pt x="9969" y="5131"/>
                </a:lnTo>
                <a:lnTo>
                  <a:pt x="9992" y="5148"/>
                </a:lnTo>
                <a:lnTo>
                  <a:pt x="9997" y="5175"/>
                </a:lnTo>
                <a:lnTo>
                  <a:pt x="9977" y="5203"/>
                </a:lnTo>
                <a:close/>
                <a:moveTo>
                  <a:pt x="9807" y="5353"/>
                </a:moveTo>
                <a:lnTo>
                  <a:pt x="9813" y="5357"/>
                </a:lnTo>
                <a:lnTo>
                  <a:pt x="9816" y="5362"/>
                </a:lnTo>
                <a:lnTo>
                  <a:pt x="9818" y="5367"/>
                </a:lnTo>
                <a:lnTo>
                  <a:pt x="9819" y="5373"/>
                </a:lnTo>
                <a:lnTo>
                  <a:pt x="9815" y="5369"/>
                </a:lnTo>
                <a:lnTo>
                  <a:pt x="9810" y="5366"/>
                </a:lnTo>
                <a:lnTo>
                  <a:pt x="9807" y="5359"/>
                </a:lnTo>
                <a:lnTo>
                  <a:pt x="9807" y="5353"/>
                </a:lnTo>
                <a:close/>
                <a:moveTo>
                  <a:pt x="9716" y="5562"/>
                </a:moveTo>
                <a:lnTo>
                  <a:pt x="9704" y="5562"/>
                </a:lnTo>
                <a:lnTo>
                  <a:pt x="9692" y="5553"/>
                </a:lnTo>
                <a:lnTo>
                  <a:pt x="9685" y="5540"/>
                </a:lnTo>
                <a:lnTo>
                  <a:pt x="9692" y="5526"/>
                </a:lnTo>
                <a:lnTo>
                  <a:pt x="9703" y="5526"/>
                </a:lnTo>
                <a:lnTo>
                  <a:pt x="9715" y="5535"/>
                </a:lnTo>
                <a:lnTo>
                  <a:pt x="9721" y="5548"/>
                </a:lnTo>
                <a:lnTo>
                  <a:pt x="9716" y="5562"/>
                </a:lnTo>
                <a:close/>
                <a:moveTo>
                  <a:pt x="9517" y="6086"/>
                </a:moveTo>
                <a:lnTo>
                  <a:pt x="9517" y="6081"/>
                </a:lnTo>
                <a:lnTo>
                  <a:pt x="9517" y="6080"/>
                </a:lnTo>
                <a:lnTo>
                  <a:pt x="9517" y="6082"/>
                </a:lnTo>
                <a:lnTo>
                  <a:pt x="9517" y="6086"/>
                </a:lnTo>
                <a:lnTo>
                  <a:pt x="9516" y="6082"/>
                </a:lnTo>
                <a:lnTo>
                  <a:pt x="9515" y="6080"/>
                </a:lnTo>
                <a:lnTo>
                  <a:pt x="9515" y="6080"/>
                </a:lnTo>
                <a:lnTo>
                  <a:pt x="9517" y="6086"/>
                </a:lnTo>
                <a:close/>
                <a:moveTo>
                  <a:pt x="9453" y="6255"/>
                </a:moveTo>
                <a:lnTo>
                  <a:pt x="9450" y="6250"/>
                </a:lnTo>
                <a:lnTo>
                  <a:pt x="9452" y="6244"/>
                </a:lnTo>
                <a:lnTo>
                  <a:pt x="9457" y="6243"/>
                </a:lnTo>
                <a:lnTo>
                  <a:pt x="9464" y="6246"/>
                </a:lnTo>
                <a:lnTo>
                  <a:pt x="9467" y="6255"/>
                </a:lnTo>
                <a:lnTo>
                  <a:pt x="9466" y="6260"/>
                </a:lnTo>
                <a:lnTo>
                  <a:pt x="9461" y="6260"/>
                </a:lnTo>
                <a:lnTo>
                  <a:pt x="9453" y="6255"/>
                </a:lnTo>
                <a:close/>
                <a:moveTo>
                  <a:pt x="9453" y="6428"/>
                </a:moveTo>
                <a:lnTo>
                  <a:pt x="9443" y="6428"/>
                </a:lnTo>
                <a:lnTo>
                  <a:pt x="9434" y="6425"/>
                </a:lnTo>
                <a:lnTo>
                  <a:pt x="9429" y="6417"/>
                </a:lnTo>
                <a:lnTo>
                  <a:pt x="9432" y="6409"/>
                </a:lnTo>
                <a:lnTo>
                  <a:pt x="9442" y="6411"/>
                </a:lnTo>
                <a:lnTo>
                  <a:pt x="9452" y="6413"/>
                </a:lnTo>
                <a:lnTo>
                  <a:pt x="9457" y="6420"/>
                </a:lnTo>
                <a:lnTo>
                  <a:pt x="9453" y="6428"/>
                </a:lnTo>
                <a:close/>
                <a:moveTo>
                  <a:pt x="9457" y="6328"/>
                </a:moveTo>
                <a:lnTo>
                  <a:pt x="9452" y="6329"/>
                </a:lnTo>
                <a:lnTo>
                  <a:pt x="9448" y="6329"/>
                </a:lnTo>
                <a:lnTo>
                  <a:pt x="9446" y="6325"/>
                </a:lnTo>
                <a:lnTo>
                  <a:pt x="9446" y="6322"/>
                </a:lnTo>
                <a:lnTo>
                  <a:pt x="9451" y="6318"/>
                </a:lnTo>
                <a:lnTo>
                  <a:pt x="9455" y="6318"/>
                </a:lnTo>
                <a:lnTo>
                  <a:pt x="9457" y="6322"/>
                </a:lnTo>
                <a:lnTo>
                  <a:pt x="9457" y="6328"/>
                </a:lnTo>
                <a:close/>
                <a:moveTo>
                  <a:pt x="9350" y="6039"/>
                </a:moveTo>
                <a:lnTo>
                  <a:pt x="9308" y="5965"/>
                </a:lnTo>
                <a:lnTo>
                  <a:pt x="9363" y="5940"/>
                </a:lnTo>
                <a:lnTo>
                  <a:pt x="9436" y="5960"/>
                </a:lnTo>
                <a:lnTo>
                  <a:pt x="9447" y="6025"/>
                </a:lnTo>
                <a:lnTo>
                  <a:pt x="9424" y="6036"/>
                </a:lnTo>
                <a:lnTo>
                  <a:pt x="9401" y="6043"/>
                </a:lnTo>
                <a:lnTo>
                  <a:pt x="9377" y="6044"/>
                </a:lnTo>
                <a:lnTo>
                  <a:pt x="9350" y="6039"/>
                </a:lnTo>
                <a:close/>
                <a:moveTo>
                  <a:pt x="9395" y="6166"/>
                </a:moveTo>
                <a:lnTo>
                  <a:pt x="9383" y="6188"/>
                </a:lnTo>
                <a:lnTo>
                  <a:pt x="9369" y="6207"/>
                </a:lnTo>
                <a:lnTo>
                  <a:pt x="9352" y="6221"/>
                </a:lnTo>
                <a:lnTo>
                  <a:pt x="9331" y="6234"/>
                </a:lnTo>
                <a:lnTo>
                  <a:pt x="9303" y="6206"/>
                </a:lnTo>
                <a:lnTo>
                  <a:pt x="9325" y="6159"/>
                </a:lnTo>
                <a:lnTo>
                  <a:pt x="9366" y="6133"/>
                </a:lnTo>
                <a:lnTo>
                  <a:pt x="9395" y="6166"/>
                </a:lnTo>
                <a:close/>
                <a:moveTo>
                  <a:pt x="9341" y="6538"/>
                </a:moveTo>
                <a:lnTo>
                  <a:pt x="9331" y="6542"/>
                </a:lnTo>
                <a:lnTo>
                  <a:pt x="9321" y="6540"/>
                </a:lnTo>
                <a:lnTo>
                  <a:pt x="9312" y="6535"/>
                </a:lnTo>
                <a:lnTo>
                  <a:pt x="9312" y="6526"/>
                </a:lnTo>
                <a:lnTo>
                  <a:pt x="9321" y="6524"/>
                </a:lnTo>
                <a:lnTo>
                  <a:pt x="9331" y="6524"/>
                </a:lnTo>
                <a:lnTo>
                  <a:pt x="9340" y="6529"/>
                </a:lnTo>
                <a:lnTo>
                  <a:pt x="9341" y="6538"/>
                </a:lnTo>
                <a:close/>
                <a:moveTo>
                  <a:pt x="9348" y="5867"/>
                </a:moveTo>
                <a:lnTo>
                  <a:pt x="9341" y="5881"/>
                </a:lnTo>
                <a:lnTo>
                  <a:pt x="9330" y="5891"/>
                </a:lnTo>
                <a:lnTo>
                  <a:pt x="9318" y="5895"/>
                </a:lnTo>
                <a:lnTo>
                  <a:pt x="9308" y="5886"/>
                </a:lnTo>
                <a:lnTo>
                  <a:pt x="9315" y="5875"/>
                </a:lnTo>
                <a:lnTo>
                  <a:pt x="9324" y="5870"/>
                </a:lnTo>
                <a:lnTo>
                  <a:pt x="9335" y="5868"/>
                </a:lnTo>
                <a:lnTo>
                  <a:pt x="9348" y="5867"/>
                </a:lnTo>
                <a:close/>
                <a:moveTo>
                  <a:pt x="9297" y="5830"/>
                </a:moveTo>
                <a:lnTo>
                  <a:pt x="9316" y="5809"/>
                </a:lnTo>
                <a:lnTo>
                  <a:pt x="9364" y="5792"/>
                </a:lnTo>
                <a:lnTo>
                  <a:pt x="9418" y="5782"/>
                </a:lnTo>
                <a:lnTo>
                  <a:pt x="9457" y="5779"/>
                </a:lnTo>
                <a:lnTo>
                  <a:pt x="9428" y="5828"/>
                </a:lnTo>
                <a:lnTo>
                  <a:pt x="9390" y="5849"/>
                </a:lnTo>
                <a:lnTo>
                  <a:pt x="9344" y="5849"/>
                </a:lnTo>
                <a:lnTo>
                  <a:pt x="9297" y="5830"/>
                </a:lnTo>
                <a:close/>
                <a:moveTo>
                  <a:pt x="9280" y="5723"/>
                </a:moveTo>
                <a:lnTo>
                  <a:pt x="9270" y="5707"/>
                </a:lnTo>
                <a:lnTo>
                  <a:pt x="9285" y="5700"/>
                </a:lnTo>
                <a:lnTo>
                  <a:pt x="9311" y="5703"/>
                </a:lnTo>
                <a:lnTo>
                  <a:pt x="9330" y="5714"/>
                </a:lnTo>
                <a:lnTo>
                  <a:pt x="9315" y="5730"/>
                </a:lnTo>
                <a:lnTo>
                  <a:pt x="9303" y="5736"/>
                </a:lnTo>
                <a:lnTo>
                  <a:pt x="9294" y="5733"/>
                </a:lnTo>
                <a:lnTo>
                  <a:pt x="9280" y="5723"/>
                </a:lnTo>
                <a:close/>
                <a:moveTo>
                  <a:pt x="8921" y="5149"/>
                </a:moveTo>
                <a:lnTo>
                  <a:pt x="8917" y="5144"/>
                </a:lnTo>
                <a:lnTo>
                  <a:pt x="8924" y="5142"/>
                </a:lnTo>
                <a:lnTo>
                  <a:pt x="8931" y="5142"/>
                </a:lnTo>
                <a:lnTo>
                  <a:pt x="8935" y="5142"/>
                </a:lnTo>
                <a:lnTo>
                  <a:pt x="8936" y="5150"/>
                </a:lnTo>
                <a:lnTo>
                  <a:pt x="8933" y="5152"/>
                </a:lnTo>
                <a:lnTo>
                  <a:pt x="8926" y="5150"/>
                </a:lnTo>
                <a:lnTo>
                  <a:pt x="8921" y="5149"/>
                </a:lnTo>
                <a:close/>
                <a:moveTo>
                  <a:pt x="8812" y="5126"/>
                </a:moveTo>
                <a:lnTo>
                  <a:pt x="8804" y="5124"/>
                </a:lnTo>
                <a:lnTo>
                  <a:pt x="8804" y="5119"/>
                </a:lnTo>
                <a:lnTo>
                  <a:pt x="8808" y="5116"/>
                </a:lnTo>
                <a:lnTo>
                  <a:pt x="8814" y="5116"/>
                </a:lnTo>
                <a:lnTo>
                  <a:pt x="8818" y="5120"/>
                </a:lnTo>
                <a:lnTo>
                  <a:pt x="8818" y="5122"/>
                </a:lnTo>
                <a:lnTo>
                  <a:pt x="8815" y="5125"/>
                </a:lnTo>
                <a:lnTo>
                  <a:pt x="8812" y="5126"/>
                </a:lnTo>
                <a:close/>
                <a:moveTo>
                  <a:pt x="8507" y="4918"/>
                </a:moveTo>
                <a:lnTo>
                  <a:pt x="8505" y="4912"/>
                </a:lnTo>
                <a:lnTo>
                  <a:pt x="8507" y="4912"/>
                </a:lnTo>
                <a:lnTo>
                  <a:pt x="8510" y="4914"/>
                </a:lnTo>
                <a:lnTo>
                  <a:pt x="8511" y="4915"/>
                </a:lnTo>
                <a:lnTo>
                  <a:pt x="8507" y="4918"/>
                </a:lnTo>
                <a:close/>
                <a:moveTo>
                  <a:pt x="8370" y="4704"/>
                </a:moveTo>
                <a:lnTo>
                  <a:pt x="8319" y="4690"/>
                </a:lnTo>
                <a:lnTo>
                  <a:pt x="8274" y="4679"/>
                </a:lnTo>
                <a:lnTo>
                  <a:pt x="8261" y="4663"/>
                </a:lnTo>
                <a:lnTo>
                  <a:pt x="8307" y="4629"/>
                </a:lnTo>
                <a:lnTo>
                  <a:pt x="8361" y="4630"/>
                </a:lnTo>
                <a:lnTo>
                  <a:pt x="8409" y="4660"/>
                </a:lnTo>
                <a:lnTo>
                  <a:pt x="8423" y="4695"/>
                </a:lnTo>
                <a:lnTo>
                  <a:pt x="8370" y="4704"/>
                </a:lnTo>
                <a:close/>
                <a:moveTo>
                  <a:pt x="8352" y="4818"/>
                </a:moveTo>
                <a:lnTo>
                  <a:pt x="8342" y="4830"/>
                </a:lnTo>
                <a:lnTo>
                  <a:pt x="8330" y="4816"/>
                </a:lnTo>
                <a:lnTo>
                  <a:pt x="8326" y="4794"/>
                </a:lnTo>
                <a:lnTo>
                  <a:pt x="8339" y="4779"/>
                </a:lnTo>
                <a:lnTo>
                  <a:pt x="8351" y="4784"/>
                </a:lnTo>
                <a:lnTo>
                  <a:pt x="8356" y="4794"/>
                </a:lnTo>
                <a:lnTo>
                  <a:pt x="8356" y="4807"/>
                </a:lnTo>
                <a:lnTo>
                  <a:pt x="8352" y="4818"/>
                </a:lnTo>
                <a:close/>
                <a:moveTo>
                  <a:pt x="8041" y="4975"/>
                </a:moveTo>
                <a:lnTo>
                  <a:pt x="8033" y="4986"/>
                </a:lnTo>
                <a:lnTo>
                  <a:pt x="8026" y="4996"/>
                </a:lnTo>
                <a:lnTo>
                  <a:pt x="8016" y="5004"/>
                </a:lnTo>
                <a:lnTo>
                  <a:pt x="8002" y="5008"/>
                </a:lnTo>
                <a:lnTo>
                  <a:pt x="7981" y="4986"/>
                </a:lnTo>
                <a:lnTo>
                  <a:pt x="8000" y="4958"/>
                </a:lnTo>
                <a:lnTo>
                  <a:pt x="8030" y="4946"/>
                </a:lnTo>
                <a:lnTo>
                  <a:pt x="8041" y="4975"/>
                </a:lnTo>
                <a:close/>
                <a:moveTo>
                  <a:pt x="7830" y="4767"/>
                </a:moveTo>
                <a:lnTo>
                  <a:pt x="7825" y="4772"/>
                </a:lnTo>
                <a:lnTo>
                  <a:pt x="7816" y="4777"/>
                </a:lnTo>
                <a:lnTo>
                  <a:pt x="7811" y="4769"/>
                </a:lnTo>
                <a:lnTo>
                  <a:pt x="7817" y="4760"/>
                </a:lnTo>
                <a:lnTo>
                  <a:pt x="7826" y="4757"/>
                </a:lnTo>
                <a:lnTo>
                  <a:pt x="7830" y="4767"/>
                </a:lnTo>
                <a:close/>
                <a:moveTo>
                  <a:pt x="7732" y="4967"/>
                </a:moveTo>
                <a:lnTo>
                  <a:pt x="7715" y="4958"/>
                </a:lnTo>
                <a:lnTo>
                  <a:pt x="7711" y="4939"/>
                </a:lnTo>
                <a:lnTo>
                  <a:pt x="7720" y="4919"/>
                </a:lnTo>
                <a:lnTo>
                  <a:pt x="7737" y="4907"/>
                </a:lnTo>
                <a:lnTo>
                  <a:pt x="7753" y="4916"/>
                </a:lnTo>
                <a:lnTo>
                  <a:pt x="7756" y="4935"/>
                </a:lnTo>
                <a:lnTo>
                  <a:pt x="7747" y="4954"/>
                </a:lnTo>
                <a:lnTo>
                  <a:pt x="7732" y="4967"/>
                </a:lnTo>
                <a:close/>
                <a:moveTo>
                  <a:pt x="7613" y="4914"/>
                </a:moveTo>
                <a:lnTo>
                  <a:pt x="7572" y="4926"/>
                </a:lnTo>
                <a:lnTo>
                  <a:pt x="7538" y="4907"/>
                </a:lnTo>
                <a:lnTo>
                  <a:pt x="7524" y="4870"/>
                </a:lnTo>
                <a:lnTo>
                  <a:pt x="7539" y="4832"/>
                </a:lnTo>
                <a:lnTo>
                  <a:pt x="7565" y="4846"/>
                </a:lnTo>
                <a:lnTo>
                  <a:pt x="7595" y="4867"/>
                </a:lnTo>
                <a:lnTo>
                  <a:pt x="7617" y="4891"/>
                </a:lnTo>
                <a:lnTo>
                  <a:pt x="7613" y="4914"/>
                </a:lnTo>
                <a:close/>
                <a:moveTo>
                  <a:pt x="7589" y="5041"/>
                </a:moveTo>
                <a:lnTo>
                  <a:pt x="7590" y="5033"/>
                </a:lnTo>
                <a:lnTo>
                  <a:pt x="7594" y="5036"/>
                </a:lnTo>
                <a:lnTo>
                  <a:pt x="7595" y="5038"/>
                </a:lnTo>
                <a:lnTo>
                  <a:pt x="7594" y="5040"/>
                </a:lnTo>
                <a:lnTo>
                  <a:pt x="7589" y="5041"/>
                </a:lnTo>
                <a:close/>
                <a:moveTo>
                  <a:pt x="7499" y="4771"/>
                </a:moveTo>
                <a:lnTo>
                  <a:pt x="7496" y="4775"/>
                </a:lnTo>
                <a:lnTo>
                  <a:pt x="7491" y="4775"/>
                </a:lnTo>
                <a:lnTo>
                  <a:pt x="7487" y="4774"/>
                </a:lnTo>
                <a:lnTo>
                  <a:pt x="7485" y="4770"/>
                </a:lnTo>
                <a:lnTo>
                  <a:pt x="7487" y="4763"/>
                </a:lnTo>
                <a:lnTo>
                  <a:pt x="7494" y="4761"/>
                </a:lnTo>
                <a:lnTo>
                  <a:pt x="7499" y="4763"/>
                </a:lnTo>
                <a:lnTo>
                  <a:pt x="7499" y="4771"/>
                </a:lnTo>
                <a:close/>
                <a:moveTo>
                  <a:pt x="7476" y="4660"/>
                </a:moveTo>
                <a:lnTo>
                  <a:pt x="7482" y="4662"/>
                </a:lnTo>
                <a:lnTo>
                  <a:pt x="7488" y="4664"/>
                </a:lnTo>
                <a:lnTo>
                  <a:pt x="7494" y="4667"/>
                </a:lnTo>
                <a:lnTo>
                  <a:pt x="7496" y="4672"/>
                </a:lnTo>
                <a:lnTo>
                  <a:pt x="7490" y="4679"/>
                </a:lnTo>
                <a:lnTo>
                  <a:pt x="7485" y="4677"/>
                </a:lnTo>
                <a:lnTo>
                  <a:pt x="7478" y="4669"/>
                </a:lnTo>
                <a:lnTo>
                  <a:pt x="7476" y="4660"/>
                </a:lnTo>
                <a:close/>
                <a:moveTo>
                  <a:pt x="6741" y="4844"/>
                </a:moveTo>
                <a:lnTo>
                  <a:pt x="6736" y="4842"/>
                </a:lnTo>
                <a:lnTo>
                  <a:pt x="6732" y="4839"/>
                </a:lnTo>
                <a:lnTo>
                  <a:pt x="6728" y="4833"/>
                </a:lnTo>
                <a:lnTo>
                  <a:pt x="6727" y="4830"/>
                </a:lnTo>
                <a:lnTo>
                  <a:pt x="6741" y="4833"/>
                </a:lnTo>
                <a:lnTo>
                  <a:pt x="6756" y="4841"/>
                </a:lnTo>
                <a:lnTo>
                  <a:pt x="6760" y="4846"/>
                </a:lnTo>
                <a:lnTo>
                  <a:pt x="6741" y="4844"/>
                </a:lnTo>
                <a:close/>
                <a:moveTo>
                  <a:pt x="6731" y="4937"/>
                </a:moveTo>
                <a:lnTo>
                  <a:pt x="6706" y="4953"/>
                </a:lnTo>
                <a:lnTo>
                  <a:pt x="6685" y="4944"/>
                </a:lnTo>
                <a:lnTo>
                  <a:pt x="6681" y="4928"/>
                </a:lnTo>
                <a:lnTo>
                  <a:pt x="6710" y="4923"/>
                </a:lnTo>
                <a:lnTo>
                  <a:pt x="6722" y="4924"/>
                </a:lnTo>
                <a:lnTo>
                  <a:pt x="6729" y="4928"/>
                </a:lnTo>
                <a:lnTo>
                  <a:pt x="6733" y="4932"/>
                </a:lnTo>
                <a:lnTo>
                  <a:pt x="6731" y="4937"/>
                </a:lnTo>
                <a:close/>
                <a:moveTo>
                  <a:pt x="6619" y="5023"/>
                </a:moveTo>
                <a:lnTo>
                  <a:pt x="6614" y="5016"/>
                </a:lnTo>
                <a:lnTo>
                  <a:pt x="6612" y="5008"/>
                </a:lnTo>
                <a:lnTo>
                  <a:pt x="6616" y="5003"/>
                </a:lnTo>
                <a:lnTo>
                  <a:pt x="6625" y="4999"/>
                </a:lnTo>
                <a:lnTo>
                  <a:pt x="6631" y="5005"/>
                </a:lnTo>
                <a:lnTo>
                  <a:pt x="6633" y="5012"/>
                </a:lnTo>
                <a:lnTo>
                  <a:pt x="6628" y="5018"/>
                </a:lnTo>
                <a:lnTo>
                  <a:pt x="6619" y="5023"/>
                </a:lnTo>
                <a:close/>
                <a:moveTo>
                  <a:pt x="6601" y="4933"/>
                </a:moveTo>
                <a:lnTo>
                  <a:pt x="6584" y="4932"/>
                </a:lnTo>
                <a:lnTo>
                  <a:pt x="6578" y="4915"/>
                </a:lnTo>
                <a:lnTo>
                  <a:pt x="6580" y="4897"/>
                </a:lnTo>
                <a:lnTo>
                  <a:pt x="6597" y="4892"/>
                </a:lnTo>
                <a:lnTo>
                  <a:pt x="6611" y="4900"/>
                </a:lnTo>
                <a:lnTo>
                  <a:pt x="6616" y="4911"/>
                </a:lnTo>
                <a:lnTo>
                  <a:pt x="6614" y="4923"/>
                </a:lnTo>
                <a:lnTo>
                  <a:pt x="6601" y="4933"/>
                </a:lnTo>
                <a:close/>
                <a:moveTo>
                  <a:pt x="6532" y="4808"/>
                </a:moveTo>
                <a:lnTo>
                  <a:pt x="6491" y="4791"/>
                </a:lnTo>
                <a:lnTo>
                  <a:pt x="6468" y="4771"/>
                </a:lnTo>
                <a:lnTo>
                  <a:pt x="6444" y="4746"/>
                </a:lnTo>
                <a:lnTo>
                  <a:pt x="6400" y="4719"/>
                </a:lnTo>
                <a:lnTo>
                  <a:pt x="6440" y="4704"/>
                </a:lnTo>
                <a:lnTo>
                  <a:pt x="6479" y="4678"/>
                </a:lnTo>
                <a:lnTo>
                  <a:pt x="6515" y="4667"/>
                </a:lnTo>
                <a:lnTo>
                  <a:pt x="6550" y="4688"/>
                </a:lnTo>
                <a:lnTo>
                  <a:pt x="6484" y="4715"/>
                </a:lnTo>
                <a:lnTo>
                  <a:pt x="6537" y="4757"/>
                </a:lnTo>
                <a:lnTo>
                  <a:pt x="6593" y="4794"/>
                </a:lnTo>
                <a:lnTo>
                  <a:pt x="6532" y="4808"/>
                </a:lnTo>
                <a:close/>
                <a:moveTo>
                  <a:pt x="6473" y="4970"/>
                </a:moveTo>
                <a:lnTo>
                  <a:pt x="6425" y="4960"/>
                </a:lnTo>
                <a:lnTo>
                  <a:pt x="6437" y="4916"/>
                </a:lnTo>
                <a:lnTo>
                  <a:pt x="6477" y="4882"/>
                </a:lnTo>
                <a:lnTo>
                  <a:pt x="6515" y="4898"/>
                </a:lnTo>
                <a:lnTo>
                  <a:pt x="6513" y="4921"/>
                </a:lnTo>
                <a:lnTo>
                  <a:pt x="6504" y="4939"/>
                </a:lnTo>
                <a:lnTo>
                  <a:pt x="6490" y="4956"/>
                </a:lnTo>
                <a:lnTo>
                  <a:pt x="6473" y="4970"/>
                </a:lnTo>
                <a:close/>
                <a:moveTo>
                  <a:pt x="6396" y="4805"/>
                </a:moveTo>
                <a:lnTo>
                  <a:pt x="6384" y="4789"/>
                </a:lnTo>
                <a:lnTo>
                  <a:pt x="6373" y="4772"/>
                </a:lnTo>
                <a:lnTo>
                  <a:pt x="6389" y="4775"/>
                </a:lnTo>
                <a:lnTo>
                  <a:pt x="6402" y="4780"/>
                </a:lnTo>
                <a:lnTo>
                  <a:pt x="6406" y="4789"/>
                </a:lnTo>
                <a:lnTo>
                  <a:pt x="6396" y="4805"/>
                </a:lnTo>
                <a:close/>
                <a:moveTo>
                  <a:pt x="6387" y="4858"/>
                </a:moveTo>
                <a:lnTo>
                  <a:pt x="6382" y="4864"/>
                </a:lnTo>
                <a:lnTo>
                  <a:pt x="6374" y="4864"/>
                </a:lnTo>
                <a:lnTo>
                  <a:pt x="6369" y="4859"/>
                </a:lnTo>
                <a:lnTo>
                  <a:pt x="6369" y="4850"/>
                </a:lnTo>
                <a:lnTo>
                  <a:pt x="6380" y="4821"/>
                </a:lnTo>
                <a:lnTo>
                  <a:pt x="6389" y="4814"/>
                </a:lnTo>
                <a:lnTo>
                  <a:pt x="6393" y="4828"/>
                </a:lnTo>
                <a:lnTo>
                  <a:pt x="6387" y="4858"/>
                </a:lnTo>
                <a:close/>
                <a:moveTo>
                  <a:pt x="6128" y="4907"/>
                </a:moveTo>
                <a:lnTo>
                  <a:pt x="6109" y="4907"/>
                </a:lnTo>
                <a:lnTo>
                  <a:pt x="6095" y="4890"/>
                </a:lnTo>
                <a:lnTo>
                  <a:pt x="6089" y="4865"/>
                </a:lnTo>
                <a:lnTo>
                  <a:pt x="6090" y="4844"/>
                </a:lnTo>
                <a:lnTo>
                  <a:pt x="6107" y="4855"/>
                </a:lnTo>
                <a:lnTo>
                  <a:pt x="6121" y="4870"/>
                </a:lnTo>
                <a:lnTo>
                  <a:pt x="6130" y="4888"/>
                </a:lnTo>
                <a:lnTo>
                  <a:pt x="6128" y="4907"/>
                </a:lnTo>
                <a:close/>
                <a:moveTo>
                  <a:pt x="6074" y="4711"/>
                </a:moveTo>
                <a:lnTo>
                  <a:pt x="6084" y="4700"/>
                </a:lnTo>
                <a:lnTo>
                  <a:pt x="6093" y="4695"/>
                </a:lnTo>
                <a:lnTo>
                  <a:pt x="6102" y="4697"/>
                </a:lnTo>
                <a:lnTo>
                  <a:pt x="6114" y="4711"/>
                </a:lnTo>
                <a:lnTo>
                  <a:pt x="6104" y="4711"/>
                </a:lnTo>
                <a:lnTo>
                  <a:pt x="6094" y="4711"/>
                </a:lnTo>
                <a:lnTo>
                  <a:pt x="6084" y="4711"/>
                </a:lnTo>
                <a:lnTo>
                  <a:pt x="6074" y="4711"/>
                </a:lnTo>
                <a:close/>
                <a:moveTo>
                  <a:pt x="6057" y="4716"/>
                </a:moveTo>
                <a:lnTo>
                  <a:pt x="6061" y="4715"/>
                </a:lnTo>
                <a:lnTo>
                  <a:pt x="6061" y="4715"/>
                </a:lnTo>
                <a:lnTo>
                  <a:pt x="6060" y="4715"/>
                </a:lnTo>
                <a:lnTo>
                  <a:pt x="6057" y="4716"/>
                </a:lnTo>
                <a:lnTo>
                  <a:pt x="6060" y="4714"/>
                </a:lnTo>
                <a:lnTo>
                  <a:pt x="6061" y="4713"/>
                </a:lnTo>
                <a:lnTo>
                  <a:pt x="6060" y="4714"/>
                </a:lnTo>
                <a:lnTo>
                  <a:pt x="6057" y="4716"/>
                </a:lnTo>
                <a:close/>
                <a:moveTo>
                  <a:pt x="6014" y="4968"/>
                </a:moveTo>
                <a:lnTo>
                  <a:pt x="6000" y="4981"/>
                </a:lnTo>
                <a:lnTo>
                  <a:pt x="5983" y="4984"/>
                </a:lnTo>
                <a:lnTo>
                  <a:pt x="5968" y="4977"/>
                </a:lnTo>
                <a:lnTo>
                  <a:pt x="5961" y="4961"/>
                </a:lnTo>
                <a:lnTo>
                  <a:pt x="5972" y="4944"/>
                </a:lnTo>
                <a:lnTo>
                  <a:pt x="5992" y="4942"/>
                </a:lnTo>
                <a:lnTo>
                  <a:pt x="6011" y="4951"/>
                </a:lnTo>
                <a:lnTo>
                  <a:pt x="6014" y="4968"/>
                </a:lnTo>
                <a:close/>
                <a:moveTo>
                  <a:pt x="5921" y="4943"/>
                </a:moveTo>
                <a:lnTo>
                  <a:pt x="5869" y="4989"/>
                </a:lnTo>
                <a:lnTo>
                  <a:pt x="5788" y="4975"/>
                </a:lnTo>
                <a:lnTo>
                  <a:pt x="5700" y="4940"/>
                </a:lnTo>
                <a:lnTo>
                  <a:pt x="5628" y="4918"/>
                </a:lnTo>
                <a:lnTo>
                  <a:pt x="5707" y="4902"/>
                </a:lnTo>
                <a:lnTo>
                  <a:pt x="5790" y="4911"/>
                </a:lnTo>
                <a:lnTo>
                  <a:pt x="5866" y="4909"/>
                </a:lnTo>
                <a:lnTo>
                  <a:pt x="5926" y="4856"/>
                </a:lnTo>
                <a:lnTo>
                  <a:pt x="5944" y="4867"/>
                </a:lnTo>
                <a:lnTo>
                  <a:pt x="5939" y="4891"/>
                </a:lnTo>
                <a:lnTo>
                  <a:pt x="5926" y="4919"/>
                </a:lnTo>
                <a:lnTo>
                  <a:pt x="5921" y="4943"/>
                </a:lnTo>
                <a:close/>
                <a:moveTo>
                  <a:pt x="5565" y="4504"/>
                </a:moveTo>
                <a:lnTo>
                  <a:pt x="5557" y="4489"/>
                </a:lnTo>
                <a:lnTo>
                  <a:pt x="5560" y="4482"/>
                </a:lnTo>
                <a:lnTo>
                  <a:pt x="5572" y="4485"/>
                </a:lnTo>
                <a:lnTo>
                  <a:pt x="5586" y="4495"/>
                </a:lnTo>
                <a:lnTo>
                  <a:pt x="5585" y="4501"/>
                </a:lnTo>
                <a:lnTo>
                  <a:pt x="5578" y="4505"/>
                </a:lnTo>
                <a:lnTo>
                  <a:pt x="5571" y="4505"/>
                </a:lnTo>
                <a:lnTo>
                  <a:pt x="5565" y="4504"/>
                </a:lnTo>
                <a:close/>
                <a:moveTo>
                  <a:pt x="5540" y="4612"/>
                </a:moveTo>
                <a:lnTo>
                  <a:pt x="5532" y="4615"/>
                </a:lnTo>
                <a:lnTo>
                  <a:pt x="5523" y="4613"/>
                </a:lnTo>
                <a:lnTo>
                  <a:pt x="5514" y="4611"/>
                </a:lnTo>
                <a:lnTo>
                  <a:pt x="5506" y="4607"/>
                </a:lnTo>
                <a:lnTo>
                  <a:pt x="5517" y="4601"/>
                </a:lnTo>
                <a:lnTo>
                  <a:pt x="5531" y="4597"/>
                </a:lnTo>
                <a:lnTo>
                  <a:pt x="5541" y="4599"/>
                </a:lnTo>
                <a:lnTo>
                  <a:pt x="5540" y="4612"/>
                </a:lnTo>
                <a:close/>
                <a:moveTo>
                  <a:pt x="5475" y="4620"/>
                </a:moveTo>
                <a:lnTo>
                  <a:pt x="5462" y="4612"/>
                </a:lnTo>
                <a:lnTo>
                  <a:pt x="5470" y="4606"/>
                </a:lnTo>
                <a:lnTo>
                  <a:pt x="5485" y="4603"/>
                </a:lnTo>
                <a:lnTo>
                  <a:pt x="5500" y="4608"/>
                </a:lnTo>
                <a:lnTo>
                  <a:pt x="5488" y="4615"/>
                </a:lnTo>
                <a:lnTo>
                  <a:pt x="5475" y="4620"/>
                </a:lnTo>
                <a:close/>
                <a:moveTo>
                  <a:pt x="5458" y="4500"/>
                </a:moveTo>
                <a:lnTo>
                  <a:pt x="5450" y="4504"/>
                </a:lnTo>
                <a:lnTo>
                  <a:pt x="5439" y="4503"/>
                </a:lnTo>
                <a:lnTo>
                  <a:pt x="5429" y="4499"/>
                </a:lnTo>
                <a:lnTo>
                  <a:pt x="5420" y="4496"/>
                </a:lnTo>
                <a:lnTo>
                  <a:pt x="5432" y="4489"/>
                </a:lnTo>
                <a:lnTo>
                  <a:pt x="5447" y="4485"/>
                </a:lnTo>
                <a:lnTo>
                  <a:pt x="5458" y="4487"/>
                </a:lnTo>
                <a:lnTo>
                  <a:pt x="5458" y="4500"/>
                </a:lnTo>
                <a:close/>
                <a:moveTo>
                  <a:pt x="5162" y="4458"/>
                </a:moveTo>
                <a:lnTo>
                  <a:pt x="5143" y="4443"/>
                </a:lnTo>
                <a:lnTo>
                  <a:pt x="5154" y="4431"/>
                </a:lnTo>
                <a:lnTo>
                  <a:pt x="5180" y="4426"/>
                </a:lnTo>
                <a:lnTo>
                  <a:pt x="5205" y="4433"/>
                </a:lnTo>
                <a:lnTo>
                  <a:pt x="5196" y="4441"/>
                </a:lnTo>
                <a:lnTo>
                  <a:pt x="5185" y="4449"/>
                </a:lnTo>
                <a:lnTo>
                  <a:pt x="5173" y="4454"/>
                </a:lnTo>
                <a:lnTo>
                  <a:pt x="5162" y="4458"/>
                </a:lnTo>
                <a:close/>
                <a:moveTo>
                  <a:pt x="4902" y="4655"/>
                </a:moveTo>
                <a:lnTo>
                  <a:pt x="4896" y="4653"/>
                </a:lnTo>
                <a:lnTo>
                  <a:pt x="4894" y="4648"/>
                </a:lnTo>
                <a:lnTo>
                  <a:pt x="4898" y="4644"/>
                </a:lnTo>
                <a:lnTo>
                  <a:pt x="4906" y="4645"/>
                </a:lnTo>
                <a:lnTo>
                  <a:pt x="4908" y="4648"/>
                </a:lnTo>
                <a:lnTo>
                  <a:pt x="4908" y="4651"/>
                </a:lnTo>
                <a:lnTo>
                  <a:pt x="4906" y="4654"/>
                </a:lnTo>
                <a:lnTo>
                  <a:pt x="4902" y="4655"/>
                </a:lnTo>
                <a:close/>
                <a:moveTo>
                  <a:pt x="4813" y="4648"/>
                </a:moveTo>
                <a:lnTo>
                  <a:pt x="4799" y="4653"/>
                </a:lnTo>
                <a:lnTo>
                  <a:pt x="4786" y="4648"/>
                </a:lnTo>
                <a:lnTo>
                  <a:pt x="4781" y="4637"/>
                </a:lnTo>
                <a:lnTo>
                  <a:pt x="4789" y="4625"/>
                </a:lnTo>
                <a:lnTo>
                  <a:pt x="4799" y="4629"/>
                </a:lnTo>
                <a:lnTo>
                  <a:pt x="4808" y="4634"/>
                </a:lnTo>
                <a:lnTo>
                  <a:pt x="4814" y="4640"/>
                </a:lnTo>
                <a:lnTo>
                  <a:pt x="4813" y="4648"/>
                </a:lnTo>
                <a:close/>
                <a:moveTo>
                  <a:pt x="4729" y="4495"/>
                </a:moveTo>
                <a:lnTo>
                  <a:pt x="4712" y="4496"/>
                </a:lnTo>
                <a:lnTo>
                  <a:pt x="4691" y="4495"/>
                </a:lnTo>
                <a:lnTo>
                  <a:pt x="4679" y="4490"/>
                </a:lnTo>
                <a:lnTo>
                  <a:pt x="4688" y="4480"/>
                </a:lnTo>
                <a:lnTo>
                  <a:pt x="4706" y="4481"/>
                </a:lnTo>
                <a:lnTo>
                  <a:pt x="4727" y="4480"/>
                </a:lnTo>
                <a:lnTo>
                  <a:pt x="4739" y="4482"/>
                </a:lnTo>
                <a:lnTo>
                  <a:pt x="4729" y="4495"/>
                </a:lnTo>
                <a:close/>
                <a:moveTo>
                  <a:pt x="4713" y="4655"/>
                </a:moveTo>
                <a:lnTo>
                  <a:pt x="4698" y="4664"/>
                </a:lnTo>
                <a:lnTo>
                  <a:pt x="4684" y="4659"/>
                </a:lnTo>
                <a:lnTo>
                  <a:pt x="4679" y="4645"/>
                </a:lnTo>
                <a:lnTo>
                  <a:pt x="4689" y="4631"/>
                </a:lnTo>
                <a:lnTo>
                  <a:pt x="4701" y="4634"/>
                </a:lnTo>
                <a:lnTo>
                  <a:pt x="4710" y="4639"/>
                </a:lnTo>
                <a:lnTo>
                  <a:pt x="4715" y="4648"/>
                </a:lnTo>
                <a:lnTo>
                  <a:pt x="4713" y="4655"/>
                </a:lnTo>
                <a:close/>
                <a:moveTo>
                  <a:pt x="4614" y="4482"/>
                </a:moveTo>
                <a:lnTo>
                  <a:pt x="4606" y="4485"/>
                </a:lnTo>
                <a:lnTo>
                  <a:pt x="4603" y="4482"/>
                </a:lnTo>
                <a:lnTo>
                  <a:pt x="4601" y="4476"/>
                </a:lnTo>
                <a:lnTo>
                  <a:pt x="4606" y="4469"/>
                </a:lnTo>
                <a:lnTo>
                  <a:pt x="4612" y="4471"/>
                </a:lnTo>
                <a:lnTo>
                  <a:pt x="4614" y="4475"/>
                </a:lnTo>
                <a:lnTo>
                  <a:pt x="4615" y="4478"/>
                </a:lnTo>
                <a:lnTo>
                  <a:pt x="4614" y="4482"/>
                </a:lnTo>
                <a:close/>
                <a:moveTo>
                  <a:pt x="4450" y="4473"/>
                </a:moveTo>
                <a:lnTo>
                  <a:pt x="4445" y="4475"/>
                </a:lnTo>
                <a:lnTo>
                  <a:pt x="4441" y="4473"/>
                </a:lnTo>
                <a:lnTo>
                  <a:pt x="4437" y="4463"/>
                </a:lnTo>
                <a:lnTo>
                  <a:pt x="4446" y="4461"/>
                </a:lnTo>
                <a:lnTo>
                  <a:pt x="4454" y="4464"/>
                </a:lnTo>
                <a:lnTo>
                  <a:pt x="4450" y="4473"/>
                </a:lnTo>
                <a:close/>
                <a:moveTo>
                  <a:pt x="4381" y="4443"/>
                </a:moveTo>
                <a:lnTo>
                  <a:pt x="4375" y="4444"/>
                </a:lnTo>
                <a:lnTo>
                  <a:pt x="4372" y="4434"/>
                </a:lnTo>
                <a:lnTo>
                  <a:pt x="4372" y="4421"/>
                </a:lnTo>
                <a:lnTo>
                  <a:pt x="4371" y="4411"/>
                </a:lnTo>
                <a:lnTo>
                  <a:pt x="4375" y="4419"/>
                </a:lnTo>
                <a:lnTo>
                  <a:pt x="4380" y="4426"/>
                </a:lnTo>
                <a:lnTo>
                  <a:pt x="4382" y="4435"/>
                </a:lnTo>
                <a:lnTo>
                  <a:pt x="4381" y="4443"/>
                </a:lnTo>
                <a:close/>
                <a:moveTo>
                  <a:pt x="4269" y="4882"/>
                </a:moveTo>
                <a:lnTo>
                  <a:pt x="4263" y="4873"/>
                </a:lnTo>
                <a:lnTo>
                  <a:pt x="4258" y="4864"/>
                </a:lnTo>
                <a:lnTo>
                  <a:pt x="4256" y="4854"/>
                </a:lnTo>
                <a:lnTo>
                  <a:pt x="4263" y="4844"/>
                </a:lnTo>
                <a:lnTo>
                  <a:pt x="4273" y="4851"/>
                </a:lnTo>
                <a:lnTo>
                  <a:pt x="4274" y="4860"/>
                </a:lnTo>
                <a:lnTo>
                  <a:pt x="4273" y="4872"/>
                </a:lnTo>
                <a:lnTo>
                  <a:pt x="4269" y="4882"/>
                </a:lnTo>
                <a:close/>
                <a:moveTo>
                  <a:pt x="4249" y="4438"/>
                </a:moveTo>
                <a:lnTo>
                  <a:pt x="4231" y="4422"/>
                </a:lnTo>
                <a:lnTo>
                  <a:pt x="4214" y="4406"/>
                </a:lnTo>
                <a:lnTo>
                  <a:pt x="4199" y="4389"/>
                </a:lnTo>
                <a:lnTo>
                  <a:pt x="4185" y="4370"/>
                </a:lnTo>
                <a:lnTo>
                  <a:pt x="4210" y="4379"/>
                </a:lnTo>
                <a:lnTo>
                  <a:pt x="4237" y="4401"/>
                </a:lnTo>
                <a:lnTo>
                  <a:pt x="4254" y="4425"/>
                </a:lnTo>
                <a:lnTo>
                  <a:pt x="4249" y="4438"/>
                </a:lnTo>
                <a:close/>
                <a:moveTo>
                  <a:pt x="4222" y="4926"/>
                </a:moveTo>
                <a:lnTo>
                  <a:pt x="4189" y="4918"/>
                </a:lnTo>
                <a:lnTo>
                  <a:pt x="4170" y="4900"/>
                </a:lnTo>
                <a:lnTo>
                  <a:pt x="4172" y="4881"/>
                </a:lnTo>
                <a:lnTo>
                  <a:pt x="4203" y="4863"/>
                </a:lnTo>
                <a:lnTo>
                  <a:pt x="4222" y="4872"/>
                </a:lnTo>
                <a:lnTo>
                  <a:pt x="4235" y="4895"/>
                </a:lnTo>
                <a:lnTo>
                  <a:pt x="4237" y="4918"/>
                </a:lnTo>
                <a:lnTo>
                  <a:pt x="4222" y="4926"/>
                </a:lnTo>
                <a:close/>
                <a:moveTo>
                  <a:pt x="3856" y="4351"/>
                </a:moveTo>
                <a:lnTo>
                  <a:pt x="3850" y="4346"/>
                </a:lnTo>
                <a:lnTo>
                  <a:pt x="3849" y="4340"/>
                </a:lnTo>
                <a:lnTo>
                  <a:pt x="3853" y="4335"/>
                </a:lnTo>
                <a:lnTo>
                  <a:pt x="3861" y="4333"/>
                </a:lnTo>
                <a:lnTo>
                  <a:pt x="3868" y="4338"/>
                </a:lnTo>
                <a:lnTo>
                  <a:pt x="3868" y="4345"/>
                </a:lnTo>
                <a:lnTo>
                  <a:pt x="3864" y="4350"/>
                </a:lnTo>
                <a:lnTo>
                  <a:pt x="3856" y="4351"/>
                </a:lnTo>
                <a:close/>
                <a:moveTo>
                  <a:pt x="3861" y="4877"/>
                </a:moveTo>
                <a:lnTo>
                  <a:pt x="3856" y="4876"/>
                </a:lnTo>
                <a:lnTo>
                  <a:pt x="3855" y="4873"/>
                </a:lnTo>
                <a:lnTo>
                  <a:pt x="3855" y="4870"/>
                </a:lnTo>
                <a:lnTo>
                  <a:pt x="3856" y="4865"/>
                </a:lnTo>
                <a:lnTo>
                  <a:pt x="3861" y="4868"/>
                </a:lnTo>
                <a:lnTo>
                  <a:pt x="3864" y="4869"/>
                </a:lnTo>
                <a:lnTo>
                  <a:pt x="3863" y="4873"/>
                </a:lnTo>
                <a:lnTo>
                  <a:pt x="3861" y="4877"/>
                </a:lnTo>
                <a:close/>
                <a:moveTo>
                  <a:pt x="3823" y="4658"/>
                </a:moveTo>
                <a:lnTo>
                  <a:pt x="3814" y="4654"/>
                </a:lnTo>
                <a:lnTo>
                  <a:pt x="3808" y="4648"/>
                </a:lnTo>
                <a:lnTo>
                  <a:pt x="3803" y="4640"/>
                </a:lnTo>
                <a:lnTo>
                  <a:pt x="3797" y="4632"/>
                </a:lnTo>
                <a:lnTo>
                  <a:pt x="3809" y="4635"/>
                </a:lnTo>
                <a:lnTo>
                  <a:pt x="3823" y="4643"/>
                </a:lnTo>
                <a:lnTo>
                  <a:pt x="3830" y="4650"/>
                </a:lnTo>
                <a:lnTo>
                  <a:pt x="3823" y="4658"/>
                </a:lnTo>
                <a:close/>
                <a:moveTo>
                  <a:pt x="3816" y="4751"/>
                </a:moveTo>
                <a:lnTo>
                  <a:pt x="3753" y="4757"/>
                </a:lnTo>
                <a:lnTo>
                  <a:pt x="3650" y="4744"/>
                </a:lnTo>
                <a:lnTo>
                  <a:pt x="3569" y="4721"/>
                </a:lnTo>
                <a:lnTo>
                  <a:pt x="3570" y="4696"/>
                </a:lnTo>
                <a:lnTo>
                  <a:pt x="3642" y="4688"/>
                </a:lnTo>
                <a:lnTo>
                  <a:pt x="3712" y="4679"/>
                </a:lnTo>
                <a:lnTo>
                  <a:pt x="3772" y="4693"/>
                </a:lnTo>
                <a:lnTo>
                  <a:pt x="3816" y="4751"/>
                </a:lnTo>
                <a:close/>
                <a:moveTo>
                  <a:pt x="3753" y="4940"/>
                </a:moveTo>
                <a:lnTo>
                  <a:pt x="3747" y="4946"/>
                </a:lnTo>
                <a:lnTo>
                  <a:pt x="3741" y="4944"/>
                </a:lnTo>
                <a:lnTo>
                  <a:pt x="3737" y="4940"/>
                </a:lnTo>
                <a:lnTo>
                  <a:pt x="3737" y="4933"/>
                </a:lnTo>
                <a:lnTo>
                  <a:pt x="3743" y="4929"/>
                </a:lnTo>
                <a:lnTo>
                  <a:pt x="3748" y="4929"/>
                </a:lnTo>
                <a:lnTo>
                  <a:pt x="3752" y="4934"/>
                </a:lnTo>
                <a:lnTo>
                  <a:pt x="3753" y="4940"/>
                </a:lnTo>
                <a:close/>
                <a:moveTo>
                  <a:pt x="3751" y="4840"/>
                </a:moveTo>
                <a:lnTo>
                  <a:pt x="3752" y="4844"/>
                </a:lnTo>
                <a:lnTo>
                  <a:pt x="3752" y="4849"/>
                </a:lnTo>
                <a:lnTo>
                  <a:pt x="3749" y="4853"/>
                </a:lnTo>
                <a:lnTo>
                  <a:pt x="3746" y="4854"/>
                </a:lnTo>
                <a:lnTo>
                  <a:pt x="3738" y="4850"/>
                </a:lnTo>
                <a:lnTo>
                  <a:pt x="3738" y="4845"/>
                </a:lnTo>
                <a:lnTo>
                  <a:pt x="3742" y="4840"/>
                </a:lnTo>
                <a:lnTo>
                  <a:pt x="3751" y="4840"/>
                </a:lnTo>
                <a:close/>
                <a:moveTo>
                  <a:pt x="3718" y="4800"/>
                </a:moveTo>
                <a:lnTo>
                  <a:pt x="3710" y="4802"/>
                </a:lnTo>
                <a:lnTo>
                  <a:pt x="3704" y="4799"/>
                </a:lnTo>
                <a:lnTo>
                  <a:pt x="3701" y="4793"/>
                </a:lnTo>
                <a:lnTo>
                  <a:pt x="3705" y="4786"/>
                </a:lnTo>
                <a:lnTo>
                  <a:pt x="3729" y="4771"/>
                </a:lnTo>
                <a:lnTo>
                  <a:pt x="3742" y="4770"/>
                </a:lnTo>
                <a:lnTo>
                  <a:pt x="3741" y="4780"/>
                </a:lnTo>
                <a:lnTo>
                  <a:pt x="3718" y="4800"/>
                </a:lnTo>
                <a:close/>
                <a:moveTo>
                  <a:pt x="3616" y="4860"/>
                </a:moveTo>
                <a:lnTo>
                  <a:pt x="3602" y="4856"/>
                </a:lnTo>
                <a:lnTo>
                  <a:pt x="3595" y="4844"/>
                </a:lnTo>
                <a:lnTo>
                  <a:pt x="3597" y="4830"/>
                </a:lnTo>
                <a:lnTo>
                  <a:pt x="3611" y="4821"/>
                </a:lnTo>
                <a:lnTo>
                  <a:pt x="3627" y="4823"/>
                </a:lnTo>
                <a:lnTo>
                  <a:pt x="3635" y="4837"/>
                </a:lnTo>
                <a:lnTo>
                  <a:pt x="3632" y="4853"/>
                </a:lnTo>
                <a:lnTo>
                  <a:pt x="3616" y="4860"/>
                </a:lnTo>
                <a:close/>
                <a:moveTo>
                  <a:pt x="3569" y="4932"/>
                </a:moveTo>
                <a:lnTo>
                  <a:pt x="3569" y="4930"/>
                </a:lnTo>
                <a:lnTo>
                  <a:pt x="3569" y="4930"/>
                </a:lnTo>
                <a:lnTo>
                  <a:pt x="3569" y="4932"/>
                </a:lnTo>
                <a:lnTo>
                  <a:pt x="3569" y="4932"/>
                </a:lnTo>
                <a:close/>
                <a:moveTo>
                  <a:pt x="3511" y="4264"/>
                </a:moveTo>
                <a:lnTo>
                  <a:pt x="3524" y="4263"/>
                </a:lnTo>
                <a:lnTo>
                  <a:pt x="3537" y="4266"/>
                </a:lnTo>
                <a:lnTo>
                  <a:pt x="3548" y="4271"/>
                </a:lnTo>
                <a:lnTo>
                  <a:pt x="3560" y="4275"/>
                </a:lnTo>
                <a:lnTo>
                  <a:pt x="3547" y="4275"/>
                </a:lnTo>
                <a:lnTo>
                  <a:pt x="3535" y="4273"/>
                </a:lnTo>
                <a:lnTo>
                  <a:pt x="3523" y="4270"/>
                </a:lnTo>
                <a:lnTo>
                  <a:pt x="3511" y="4264"/>
                </a:lnTo>
                <a:close/>
                <a:moveTo>
                  <a:pt x="3491" y="4368"/>
                </a:moveTo>
                <a:lnTo>
                  <a:pt x="3478" y="4371"/>
                </a:lnTo>
                <a:lnTo>
                  <a:pt x="3472" y="4364"/>
                </a:lnTo>
                <a:lnTo>
                  <a:pt x="3473" y="4351"/>
                </a:lnTo>
                <a:lnTo>
                  <a:pt x="3482" y="4342"/>
                </a:lnTo>
                <a:lnTo>
                  <a:pt x="3488" y="4345"/>
                </a:lnTo>
                <a:lnTo>
                  <a:pt x="3492" y="4351"/>
                </a:lnTo>
                <a:lnTo>
                  <a:pt x="3492" y="4360"/>
                </a:lnTo>
                <a:lnTo>
                  <a:pt x="3491" y="4368"/>
                </a:lnTo>
                <a:close/>
                <a:moveTo>
                  <a:pt x="3446" y="4468"/>
                </a:moveTo>
                <a:lnTo>
                  <a:pt x="3435" y="4468"/>
                </a:lnTo>
                <a:lnTo>
                  <a:pt x="3431" y="4466"/>
                </a:lnTo>
                <a:lnTo>
                  <a:pt x="3434" y="4462"/>
                </a:lnTo>
                <a:lnTo>
                  <a:pt x="3444" y="4457"/>
                </a:lnTo>
                <a:lnTo>
                  <a:pt x="3453" y="4455"/>
                </a:lnTo>
                <a:lnTo>
                  <a:pt x="3457" y="4461"/>
                </a:lnTo>
                <a:lnTo>
                  <a:pt x="3455" y="4466"/>
                </a:lnTo>
                <a:lnTo>
                  <a:pt x="3446" y="4468"/>
                </a:lnTo>
                <a:close/>
                <a:moveTo>
                  <a:pt x="3440" y="4758"/>
                </a:moveTo>
                <a:lnTo>
                  <a:pt x="3430" y="4767"/>
                </a:lnTo>
                <a:lnTo>
                  <a:pt x="3420" y="4767"/>
                </a:lnTo>
                <a:lnTo>
                  <a:pt x="3412" y="4760"/>
                </a:lnTo>
                <a:lnTo>
                  <a:pt x="3409" y="4747"/>
                </a:lnTo>
                <a:lnTo>
                  <a:pt x="3417" y="4741"/>
                </a:lnTo>
                <a:lnTo>
                  <a:pt x="3430" y="4741"/>
                </a:lnTo>
                <a:lnTo>
                  <a:pt x="3439" y="4747"/>
                </a:lnTo>
                <a:lnTo>
                  <a:pt x="3440" y="4758"/>
                </a:lnTo>
                <a:close/>
                <a:moveTo>
                  <a:pt x="3408" y="4835"/>
                </a:moveTo>
                <a:lnTo>
                  <a:pt x="3403" y="4831"/>
                </a:lnTo>
                <a:lnTo>
                  <a:pt x="3399" y="4826"/>
                </a:lnTo>
                <a:lnTo>
                  <a:pt x="3398" y="4821"/>
                </a:lnTo>
                <a:lnTo>
                  <a:pt x="3404" y="4818"/>
                </a:lnTo>
                <a:lnTo>
                  <a:pt x="3421" y="4826"/>
                </a:lnTo>
                <a:lnTo>
                  <a:pt x="3431" y="4835"/>
                </a:lnTo>
                <a:lnTo>
                  <a:pt x="3429" y="4839"/>
                </a:lnTo>
                <a:lnTo>
                  <a:pt x="3408" y="4835"/>
                </a:lnTo>
                <a:close/>
                <a:moveTo>
                  <a:pt x="3339" y="4374"/>
                </a:moveTo>
                <a:lnTo>
                  <a:pt x="3336" y="4369"/>
                </a:lnTo>
                <a:lnTo>
                  <a:pt x="3341" y="4364"/>
                </a:lnTo>
                <a:lnTo>
                  <a:pt x="3351" y="4364"/>
                </a:lnTo>
                <a:lnTo>
                  <a:pt x="3357" y="4369"/>
                </a:lnTo>
                <a:lnTo>
                  <a:pt x="3348" y="4371"/>
                </a:lnTo>
                <a:lnTo>
                  <a:pt x="3339" y="4374"/>
                </a:lnTo>
                <a:close/>
                <a:moveTo>
                  <a:pt x="3292" y="4252"/>
                </a:moveTo>
                <a:lnTo>
                  <a:pt x="3304" y="4252"/>
                </a:lnTo>
                <a:lnTo>
                  <a:pt x="3313" y="4252"/>
                </a:lnTo>
                <a:lnTo>
                  <a:pt x="3320" y="4257"/>
                </a:lnTo>
                <a:lnTo>
                  <a:pt x="3322" y="4267"/>
                </a:lnTo>
                <a:lnTo>
                  <a:pt x="3306" y="4259"/>
                </a:lnTo>
                <a:lnTo>
                  <a:pt x="3292" y="4252"/>
                </a:lnTo>
                <a:close/>
                <a:moveTo>
                  <a:pt x="3288" y="4477"/>
                </a:moveTo>
                <a:lnTo>
                  <a:pt x="3291" y="4475"/>
                </a:lnTo>
                <a:lnTo>
                  <a:pt x="3288" y="4477"/>
                </a:lnTo>
                <a:lnTo>
                  <a:pt x="3290" y="4473"/>
                </a:lnTo>
                <a:lnTo>
                  <a:pt x="3288" y="4477"/>
                </a:lnTo>
                <a:close/>
                <a:moveTo>
                  <a:pt x="3204" y="4636"/>
                </a:moveTo>
                <a:lnTo>
                  <a:pt x="3190" y="4637"/>
                </a:lnTo>
                <a:lnTo>
                  <a:pt x="3180" y="4625"/>
                </a:lnTo>
                <a:lnTo>
                  <a:pt x="3179" y="4608"/>
                </a:lnTo>
                <a:lnTo>
                  <a:pt x="3188" y="4594"/>
                </a:lnTo>
                <a:lnTo>
                  <a:pt x="3203" y="4597"/>
                </a:lnTo>
                <a:lnTo>
                  <a:pt x="3211" y="4609"/>
                </a:lnTo>
                <a:lnTo>
                  <a:pt x="3212" y="4625"/>
                </a:lnTo>
                <a:lnTo>
                  <a:pt x="3204" y="4636"/>
                </a:lnTo>
                <a:close/>
                <a:moveTo>
                  <a:pt x="3175" y="4212"/>
                </a:moveTo>
                <a:lnTo>
                  <a:pt x="3185" y="4216"/>
                </a:lnTo>
                <a:lnTo>
                  <a:pt x="3195" y="4220"/>
                </a:lnTo>
                <a:lnTo>
                  <a:pt x="3199" y="4226"/>
                </a:lnTo>
                <a:lnTo>
                  <a:pt x="3192" y="4233"/>
                </a:lnTo>
                <a:lnTo>
                  <a:pt x="3184" y="4233"/>
                </a:lnTo>
                <a:lnTo>
                  <a:pt x="3179" y="4228"/>
                </a:lnTo>
                <a:lnTo>
                  <a:pt x="3176" y="4220"/>
                </a:lnTo>
                <a:lnTo>
                  <a:pt x="3175" y="4212"/>
                </a:lnTo>
                <a:close/>
                <a:moveTo>
                  <a:pt x="3115" y="4607"/>
                </a:moveTo>
                <a:lnTo>
                  <a:pt x="3064" y="4631"/>
                </a:lnTo>
                <a:lnTo>
                  <a:pt x="3031" y="4603"/>
                </a:lnTo>
                <a:lnTo>
                  <a:pt x="3027" y="4556"/>
                </a:lnTo>
                <a:lnTo>
                  <a:pt x="3066" y="4525"/>
                </a:lnTo>
                <a:lnTo>
                  <a:pt x="3094" y="4534"/>
                </a:lnTo>
                <a:lnTo>
                  <a:pt x="3116" y="4555"/>
                </a:lnTo>
                <a:lnTo>
                  <a:pt x="3127" y="4581"/>
                </a:lnTo>
                <a:lnTo>
                  <a:pt x="3115" y="4607"/>
                </a:lnTo>
                <a:close/>
                <a:moveTo>
                  <a:pt x="2961" y="4784"/>
                </a:moveTo>
                <a:lnTo>
                  <a:pt x="2966" y="4781"/>
                </a:lnTo>
                <a:lnTo>
                  <a:pt x="2970" y="4780"/>
                </a:lnTo>
                <a:lnTo>
                  <a:pt x="2975" y="4781"/>
                </a:lnTo>
                <a:lnTo>
                  <a:pt x="2979" y="4784"/>
                </a:lnTo>
                <a:lnTo>
                  <a:pt x="2970" y="4784"/>
                </a:lnTo>
                <a:lnTo>
                  <a:pt x="2961" y="4784"/>
                </a:lnTo>
                <a:close/>
                <a:moveTo>
                  <a:pt x="2939" y="4612"/>
                </a:moveTo>
                <a:lnTo>
                  <a:pt x="2901" y="4636"/>
                </a:lnTo>
                <a:lnTo>
                  <a:pt x="2871" y="4597"/>
                </a:lnTo>
                <a:lnTo>
                  <a:pt x="2867" y="4542"/>
                </a:lnTo>
                <a:lnTo>
                  <a:pt x="2906" y="4520"/>
                </a:lnTo>
                <a:lnTo>
                  <a:pt x="2956" y="4513"/>
                </a:lnTo>
                <a:lnTo>
                  <a:pt x="2973" y="4533"/>
                </a:lnTo>
                <a:lnTo>
                  <a:pt x="2964" y="4570"/>
                </a:lnTo>
                <a:lnTo>
                  <a:pt x="2939" y="4612"/>
                </a:lnTo>
                <a:close/>
                <a:moveTo>
                  <a:pt x="2880" y="4814"/>
                </a:moveTo>
                <a:lnTo>
                  <a:pt x="2831" y="4780"/>
                </a:lnTo>
                <a:lnTo>
                  <a:pt x="2742" y="4786"/>
                </a:lnTo>
                <a:lnTo>
                  <a:pt x="2662" y="4786"/>
                </a:lnTo>
                <a:lnTo>
                  <a:pt x="2639" y="4729"/>
                </a:lnTo>
                <a:lnTo>
                  <a:pt x="2733" y="4711"/>
                </a:lnTo>
                <a:lnTo>
                  <a:pt x="2863" y="4727"/>
                </a:lnTo>
                <a:lnTo>
                  <a:pt x="2939" y="4765"/>
                </a:lnTo>
                <a:lnTo>
                  <a:pt x="2880" y="4814"/>
                </a:lnTo>
                <a:close/>
                <a:moveTo>
                  <a:pt x="2919" y="4898"/>
                </a:moveTo>
                <a:lnTo>
                  <a:pt x="2821" y="4909"/>
                </a:lnTo>
                <a:lnTo>
                  <a:pt x="2690" y="4895"/>
                </a:lnTo>
                <a:lnTo>
                  <a:pt x="2602" y="4853"/>
                </a:lnTo>
                <a:lnTo>
                  <a:pt x="2630" y="4777"/>
                </a:lnTo>
                <a:lnTo>
                  <a:pt x="2666" y="4859"/>
                </a:lnTo>
                <a:lnTo>
                  <a:pt x="2765" y="4870"/>
                </a:lnTo>
                <a:lnTo>
                  <a:pt x="2869" y="4865"/>
                </a:lnTo>
                <a:lnTo>
                  <a:pt x="2919" y="4898"/>
                </a:lnTo>
                <a:close/>
                <a:moveTo>
                  <a:pt x="2564" y="4551"/>
                </a:moveTo>
                <a:lnTo>
                  <a:pt x="2566" y="4529"/>
                </a:lnTo>
                <a:lnTo>
                  <a:pt x="2582" y="4524"/>
                </a:lnTo>
                <a:lnTo>
                  <a:pt x="2599" y="4532"/>
                </a:lnTo>
                <a:lnTo>
                  <a:pt x="2610" y="4551"/>
                </a:lnTo>
                <a:lnTo>
                  <a:pt x="2599" y="4566"/>
                </a:lnTo>
                <a:lnTo>
                  <a:pt x="2587" y="4573"/>
                </a:lnTo>
                <a:lnTo>
                  <a:pt x="2574" y="4567"/>
                </a:lnTo>
                <a:lnTo>
                  <a:pt x="2564" y="4551"/>
                </a:lnTo>
                <a:close/>
                <a:moveTo>
                  <a:pt x="2522" y="4819"/>
                </a:moveTo>
                <a:lnTo>
                  <a:pt x="2480" y="4830"/>
                </a:lnTo>
                <a:lnTo>
                  <a:pt x="2428" y="4816"/>
                </a:lnTo>
                <a:lnTo>
                  <a:pt x="2396" y="4791"/>
                </a:lnTo>
                <a:lnTo>
                  <a:pt x="2416" y="4775"/>
                </a:lnTo>
                <a:lnTo>
                  <a:pt x="2484" y="4761"/>
                </a:lnTo>
                <a:lnTo>
                  <a:pt x="2540" y="4719"/>
                </a:lnTo>
                <a:lnTo>
                  <a:pt x="2560" y="4716"/>
                </a:lnTo>
                <a:lnTo>
                  <a:pt x="2522" y="4819"/>
                </a:lnTo>
                <a:close/>
                <a:moveTo>
                  <a:pt x="2378" y="4419"/>
                </a:moveTo>
                <a:lnTo>
                  <a:pt x="2378" y="4394"/>
                </a:lnTo>
                <a:lnTo>
                  <a:pt x="2379" y="4371"/>
                </a:lnTo>
                <a:lnTo>
                  <a:pt x="2383" y="4361"/>
                </a:lnTo>
                <a:lnTo>
                  <a:pt x="2396" y="4380"/>
                </a:lnTo>
                <a:lnTo>
                  <a:pt x="2400" y="4391"/>
                </a:lnTo>
                <a:lnTo>
                  <a:pt x="2398" y="4399"/>
                </a:lnTo>
                <a:lnTo>
                  <a:pt x="2391" y="4407"/>
                </a:lnTo>
                <a:lnTo>
                  <a:pt x="2378" y="4419"/>
                </a:lnTo>
                <a:close/>
                <a:moveTo>
                  <a:pt x="2368" y="4640"/>
                </a:moveTo>
                <a:lnTo>
                  <a:pt x="2360" y="4637"/>
                </a:lnTo>
                <a:lnTo>
                  <a:pt x="2360" y="4631"/>
                </a:lnTo>
                <a:lnTo>
                  <a:pt x="2365" y="4627"/>
                </a:lnTo>
                <a:lnTo>
                  <a:pt x="2373" y="4626"/>
                </a:lnTo>
                <a:lnTo>
                  <a:pt x="2375" y="4631"/>
                </a:lnTo>
                <a:lnTo>
                  <a:pt x="2375" y="4635"/>
                </a:lnTo>
                <a:lnTo>
                  <a:pt x="2373" y="4639"/>
                </a:lnTo>
                <a:lnTo>
                  <a:pt x="2368" y="4640"/>
                </a:lnTo>
                <a:close/>
                <a:moveTo>
                  <a:pt x="2354" y="4813"/>
                </a:moveTo>
                <a:lnTo>
                  <a:pt x="2321" y="4846"/>
                </a:lnTo>
                <a:lnTo>
                  <a:pt x="2300" y="4813"/>
                </a:lnTo>
                <a:lnTo>
                  <a:pt x="2303" y="4765"/>
                </a:lnTo>
                <a:lnTo>
                  <a:pt x="2340" y="4756"/>
                </a:lnTo>
                <a:lnTo>
                  <a:pt x="2350" y="4769"/>
                </a:lnTo>
                <a:lnTo>
                  <a:pt x="2357" y="4783"/>
                </a:lnTo>
                <a:lnTo>
                  <a:pt x="2359" y="4797"/>
                </a:lnTo>
                <a:lnTo>
                  <a:pt x="2354" y="4813"/>
                </a:lnTo>
                <a:close/>
                <a:moveTo>
                  <a:pt x="2254" y="4219"/>
                </a:moveTo>
                <a:lnTo>
                  <a:pt x="2247" y="4211"/>
                </a:lnTo>
                <a:lnTo>
                  <a:pt x="2244" y="4202"/>
                </a:lnTo>
                <a:lnTo>
                  <a:pt x="2247" y="4194"/>
                </a:lnTo>
                <a:lnTo>
                  <a:pt x="2258" y="4196"/>
                </a:lnTo>
                <a:lnTo>
                  <a:pt x="2261" y="4201"/>
                </a:lnTo>
                <a:lnTo>
                  <a:pt x="2263" y="4208"/>
                </a:lnTo>
                <a:lnTo>
                  <a:pt x="2262" y="4215"/>
                </a:lnTo>
                <a:lnTo>
                  <a:pt x="2254" y="4219"/>
                </a:lnTo>
                <a:close/>
                <a:moveTo>
                  <a:pt x="2184" y="4951"/>
                </a:moveTo>
                <a:lnTo>
                  <a:pt x="2169" y="4935"/>
                </a:lnTo>
                <a:lnTo>
                  <a:pt x="2188" y="4920"/>
                </a:lnTo>
                <a:lnTo>
                  <a:pt x="2221" y="4914"/>
                </a:lnTo>
                <a:lnTo>
                  <a:pt x="2248" y="4921"/>
                </a:lnTo>
                <a:lnTo>
                  <a:pt x="2254" y="4938"/>
                </a:lnTo>
                <a:lnTo>
                  <a:pt x="2235" y="4944"/>
                </a:lnTo>
                <a:lnTo>
                  <a:pt x="2207" y="4948"/>
                </a:lnTo>
                <a:lnTo>
                  <a:pt x="2184" y="4951"/>
                </a:lnTo>
                <a:close/>
                <a:moveTo>
                  <a:pt x="2123" y="4841"/>
                </a:moveTo>
                <a:lnTo>
                  <a:pt x="2038" y="4839"/>
                </a:lnTo>
                <a:lnTo>
                  <a:pt x="1939" y="4842"/>
                </a:lnTo>
                <a:lnTo>
                  <a:pt x="1879" y="4821"/>
                </a:lnTo>
                <a:lnTo>
                  <a:pt x="1908" y="4742"/>
                </a:lnTo>
                <a:lnTo>
                  <a:pt x="1972" y="4743"/>
                </a:lnTo>
                <a:lnTo>
                  <a:pt x="2049" y="4757"/>
                </a:lnTo>
                <a:lnTo>
                  <a:pt x="2110" y="4788"/>
                </a:lnTo>
                <a:lnTo>
                  <a:pt x="2123" y="4841"/>
                </a:lnTo>
                <a:close/>
                <a:moveTo>
                  <a:pt x="2098" y="4924"/>
                </a:moveTo>
                <a:lnTo>
                  <a:pt x="2090" y="4928"/>
                </a:lnTo>
                <a:lnTo>
                  <a:pt x="2081" y="4930"/>
                </a:lnTo>
                <a:lnTo>
                  <a:pt x="2074" y="4929"/>
                </a:lnTo>
                <a:lnTo>
                  <a:pt x="2067" y="4923"/>
                </a:lnTo>
                <a:lnTo>
                  <a:pt x="2072" y="4916"/>
                </a:lnTo>
                <a:lnTo>
                  <a:pt x="2084" y="4914"/>
                </a:lnTo>
                <a:lnTo>
                  <a:pt x="2094" y="4915"/>
                </a:lnTo>
                <a:lnTo>
                  <a:pt x="2098" y="4924"/>
                </a:lnTo>
                <a:close/>
                <a:moveTo>
                  <a:pt x="1949" y="4933"/>
                </a:moveTo>
                <a:lnTo>
                  <a:pt x="1940" y="4923"/>
                </a:lnTo>
                <a:lnTo>
                  <a:pt x="1951" y="4916"/>
                </a:lnTo>
                <a:lnTo>
                  <a:pt x="1969" y="4918"/>
                </a:lnTo>
                <a:lnTo>
                  <a:pt x="1979" y="4930"/>
                </a:lnTo>
                <a:lnTo>
                  <a:pt x="1963" y="4932"/>
                </a:lnTo>
                <a:lnTo>
                  <a:pt x="1949" y="4933"/>
                </a:lnTo>
                <a:close/>
                <a:moveTo>
                  <a:pt x="1936" y="4683"/>
                </a:moveTo>
                <a:lnTo>
                  <a:pt x="1930" y="4686"/>
                </a:lnTo>
                <a:lnTo>
                  <a:pt x="1930" y="4681"/>
                </a:lnTo>
                <a:lnTo>
                  <a:pt x="1931" y="4679"/>
                </a:lnTo>
                <a:lnTo>
                  <a:pt x="1933" y="4681"/>
                </a:lnTo>
                <a:lnTo>
                  <a:pt x="1936" y="4683"/>
                </a:lnTo>
                <a:close/>
                <a:moveTo>
                  <a:pt x="1872" y="4298"/>
                </a:moveTo>
                <a:lnTo>
                  <a:pt x="1891" y="4289"/>
                </a:lnTo>
                <a:lnTo>
                  <a:pt x="1910" y="4291"/>
                </a:lnTo>
                <a:lnTo>
                  <a:pt x="1927" y="4303"/>
                </a:lnTo>
                <a:lnTo>
                  <a:pt x="1933" y="4322"/>
                </a:lnTo>
                <a:lnTo>
                  <a:pt x="1918" y="4331"/>
                </a:lnTo>
                <a:lnTo>
                  <a:pt x="1891" y="4326"/>
                </a:lnTo>
                <a:lnTo>
                  <a:pt x="1871" y="4313"/>
                </a:lnTo>
                <a:lnTo>
                  <a:pt x="1872" y="4298"/>
                </a:lnTo>
                <a:close/>
                <a:moveTo>
                  <a:pt x="1839" y="4142"/>
                </a:moveTo>
                <a:lnTo>
                  <a:pt x="1800" y="4159"/>
                </a:lnTo>
                <a:lnTo>
                  <a:pt x="1786" y="4136"/>
                </a:lnTo>
                <a:lnTo>
                  <a:pt x="1791" y="4098"/>
                </a:lnTo>
                <a:lnTo>
                  <a:pt x="1809" y="4066"/>
                </a:lnTo>
                <a:lnTo>
                  <a:pt x="1828" y="4080"/>
                </a:lnTo>
                <a:lnTo>
                  <a:pt x="1842" y="4099"/>
                </a:lnTo>
                <a:lnTo>
                  <a:pt x="1847" y="4122"/>
                </a:lnTo>
                <a:lnTo>
                  <a:pt x="1839" y="4142"/>
                </a:lnTo>
                <a:close/>
                <a:moveTo>
                  <a:pt x="1806" y="4826"/>
                </a:moveTo>
                <a:lnTo>
                  <a:pt x="1774" y="4831"/>
                </a:lnTo>
                <a:lnTo>
                  <a:pt x="1731" y="4828"/>
                </a:lnTo>
                <a:lnTo>
                  <a:pt x="1695" y="4817"/>
                </a:lnTo>
                <a:lnTo>
                  <a:pt x="1686" y="4798"/>
                </a:lnTo>
                <a:lnTo>
                  <a:pt x="1726" y="4793"/>
                </a:lnTo>
                <a:lnTo>
                  <a:pt x="1774" y="4784"/>
                </a:lnTo>
                <a:lnTo>
                  <a:pt x="1810" y="4790"/>
                </a:lnTo>
                <a:lnTo>
                  <a:pt x="1806" y="4826"/>
                </a:lnTo>
                <a:close/>
                <a:moveTo>
                  <a:pt x="1697" y="4958"/>
                </a:moveTo>
                <a:lnTo>
                  <a:pt x="1691" y="4953"/>
                </a:lnTo>
                <a:lnTo>
                  <a:pt x="1688" y="4947"/>
                </a:lnTo>
                <a:lnTo>
                  <a:pt x="1688" y="4942"/>
                </a:lnTo>
                <a:lnTo>
                  <a:pt x="1694" y="4939"/>
                </a:lnTo>
                <a:lnTo>
                  <a:pt x="1699" y="4944"/>
                </a:lnTo>
                <a:lnTo>
                  <a:pt x="1703" y="4949"/>
                </a:lnTo>
                <a:lnTo>
                  <a:pt x="1703" y="4954"/>
                </a:lnTo>
                <a:lnTo>
                  <a:pt x="1697" y="4958"/>
                </a:lnTo>
                <a:close/>
                <a:moveTo>
                  <a:pt x="1638" y="4781"/>
                </a:moveTo>
                <a:lnTo>
                  <a:pt x="1591" y="4809"/>
                </a:lnTo>
                <a:lnTo>
                  <a:pt x="1579" y="4788"/>
                </a:lnTo>
                <a:lnTo>
                  <a:pt x="1601" y="4748"/>
                </a:lnTo>
                <a:lnTo>
                  <a:pt x="1651" y="4721"/>
                </a:lnTo>
                <a:lnTo>
                  <a:pt x="1697" y="4729"/>
                </a:lnTo>
                <a:lnTo>
                  <a:pt x="1699" y="4737"/>
                </a:lnTo>
                <a:lnTo>
                  <a:pt x="1675" y="4753"/>
                </a:lnTo>
                <a:lnTo>
                  <a:pt x="1638" y="4781"/>
                </a:lnTo>
                <a:close/>
                <a:moveTo>
                  <a:pt x="1601" y="4940"/>
                </a:moveTo>
                <a:lnTo>
                  <a:pt x="1595" y="4942"/>
                </a:lnTo>
                <a:lnTo>
                  <a:pt x="1587" y="4943"/>
                </a:lnTo>
                <a:lnTo>
                  <a:pt x="1579" y="4942"/>
                </a:lnTo>
                <a:lnTo>
                  <a:pt x="1573" y="4939"/>
                </a:lnTo>
                <a:lnTo>
                  <a:pt x="1579" y="4934"/>
                </a:lnTo>
                <a:lnTo>
                  <a:pt x="1592" y="4933"/>
                </a:lnTo>
                <a:lnTo>
                  <a:pt x="1602" y="4935"/>
                </a:lnTo>
                <a:lnTo>
                  <a:pt x="1601" y="4940"/>
                </a:lnTo>
                <a:close/>
                <a:moveTo>
                  <a:pt x="1549" y="4214"/>
                </a:moveTo>
                <a:lnTo>
                  <a:pt x="1498" y="4235"/>
                </a:lnTo>
                <a:lnTo>
                  <a:pt x="1453" y="4230"/>
                </a:lnTo>
                <a:lnTo>
                  <a:pt x="1414" y="4214"/>
                </a:lnTo>
                <a:lnTo>
                  <a:pt x="1371" y="4203"/>
                </a:lnTo>
                <a:lnTo>
                  <a:pt x="1317" y="4189"/>
                </a:lnTo>
                <a:lnTo>
                  <a:pt x="1388" y="4156"/>
                </a:lnTo>
                <a:lnTo>
                  <a:pt x="1494" y="4149"/>
                </a:lnTo>
                <a:lnTo>
                  <a:pt x="1549" y="4214"/>
                </a:lnTo>
                <a:close/>
                <a:moveTo>
                  <a:pt x="1532" y="4014"/>
                </a:moveTo>
                <a:lnTo>
                  <a:pt x="1530" y="4023"/>
                </a:lnTo>
                <a:lnTo>
                  <a:pt x="1520" y="4025"/>
                </a:lnTo>
                <a:lnTo>
                  <a:pt x="1508" y="4024"/>
                </a:lnTo>
                <a:lnTo>
                  <a:pt x="1503" y="4020"/>
                </a:lnTo>
                <a:lnTo>
                  <a:pt x="1507" y="4007"/>
                </a:lnTo>
                <a:lnTo>
                  <a:pt x="1514" y="4006"/>
                </a:lnTo>
                <a:lnTo>
                  <a:pt x="1523" y="4009"/>
                </a:lnTo>
                <a:lnTo>
                  <a:pt x="1532" y="4014"/>
                </a:lnTo>
                <a:close/>
                <a:moveTo>
                  <a:pt x="1386" y="3646"/>
                </a:moveTo>
                <a:lnTo>
                  <a:pt x="1374" y="3642"/>
                </a:lnTo>
                <a:lnTo>
                  <a:pt x="1372" y="3634"/>
                </a:lnTo>
                <a:lnTo>
                  <a:pt x="1376" y="3625"/>
                </a:lnTo>
                <a:lnTo>
                  <a:pt x="1386" y="3620"/>
                </a:lnTo>
                <a:lnTo>
                  <a:pt x="1393" y="3625"/>
                </a:lnTo>
                <a:lnTo>
                  <a:pt x="1397" y="3633"/>
                </a:lnTo>
                <a:lnTo>
                  <a:pt x="1395" y="3641"/>
                </a:lnTo>
                <a:lnTo>
                  <a:pt x="1386" y="3646"/>
                </a:lnTo>
                <a:close/>
                <a:moveTo>
                  <a:pt x="1329" y="3611"/>
                </a:moveTo>
                <a:lnTo>
                  <a:pt x="1325" y="3609"/>
                </a:lnTo>
                <a:lnTo>
                  <a:pt x="1327" y="3608"/>
                </a:lnTo>
                <a:lnTo>
                  <a:pt x="1329" y="3608"/>
                </a:lnTo>
                <a:lnTo>
                  <a:pt x="1330" y="3609"/>
                </a:lnTo>
                <a:lnTo>
                  <a:pt x="1329" y="3611"/>
                </a:lnTo>
                <a:close/>
                <a:moveTo>
                  <a:pt x="1271" y="3722"/>
                </a:moveTo>
                <a:lnTo>
                  <a:pt x="1266" y="3720"/>
                </a:lnTo>
                <a:lnTo>
                  <a:pt x="1262" y="3717"/>
                </a:lnTo>
                <a:lnTo>
                  <a:pt x="1264" y="3715"/>
                </a:lnTo>
                <a:lnTo>
                  <a:pt x="1270" y="3713"/>
                </a:lnTo>
                <a:lnTo>
                  <a:pt x="1272" y="3716"/>
                </a:lnTo>
                <a:lnTo>
                  <a:pt x="1275" y="3718"/>
                </a:lnTo>
                <a:lnTo>
                  <a:pt x="1275" y="3721"/>
                </a:lnTo>
                <a:lnTo>
                  <a:pt x="1271" y="3722"/>
                </a:lnTo>
                <a:close/>
                <a:moveTo>
                  <a:pt x="1247" y="3601"/>
                </a:moveTo>
                <a:lnTo>
                  <a:pt x="1227" y="3595"/>
                </a:lnTo>
                <a:lnTo>
                  <a:pt x="1206" y="3590"/>
                </a:lnTo>
                <a:lnTo>
                  <a:pt x="1185" y="3587"/>
                </a:lnTo>
                <a:lnTo>
                  <a:pt x="1163" y="3586"/>
                </a:lnTo>
                <a:lnTo>
                  <a:pt x="1194" y="3562"/>
                </a:lnTo>
                <a:lnTo>
                  <a:pt x="1233" y="3558"/>
                </a:lnTo>
                <a:lnTo>
                  <a:pt x="1260" y="3572"/>
                </a:lnTo>
                <a:lnTo>
                  <a:pt x="1247" y="3601"/>
                </a:lnTo>
                <a:close/>
                <a:moveTo>
                  <a:pt x="1140" y="3647"/>
                </a:moveTo>
                <a:lnTo>
                  <a:pt x="1137" y="3647"/>
                </a:lnTo>
                <a:lnTo>
                  <a:pt x="1134" y="3647"/>
                </a:lnTo>
                <a:lnTo>
                  <a:pt x="1131" y="3645"/>
                </a:lnTo>
                <a:lnTo>
                  <a:pt x="1136" y="3643"/>
                </a:lnTo>
                <a:lnTo>
                  <a:pt x="1140" y="3643"/>
                </a:lnTo>
                <a:lnTo>
                  <a:pt x="1140" y="3647"/>
                </a:lnTo>
                <a:close/>
                <a:moveTo>
                  <a:pt x="739" y="3617"/>
                </a:moveTo>
                <a:lnTo>
                  <a:pt x="743" y="3610"/>
                </a:lnTo>
                <a:lnTo>
                  <a:pt x="780" y="3594"/>
                </a:lnTo>
                <a:lnTo>
                  <a:pt x="827" y="3590"/>
                </a:lnTo>
                <a:lnTo>
                  <a:pt x="860" y="3619"/>
                </a:lnTo>
                <a:lnTo>
                  <a:pt x="831" y="3613"/>
                </a:lnTo>
                <a:lnTo>
                  <a:pt x="800" y="3608"/>
                </a:lnTo>
                <a:lnTo>
                  <a:pt x="771" y="3606"/>
                </a:lnTo>
                <a:lnTo>
                  <a:pt x="739" y="3617"/>
                </a:lnTo>
                <a:close/>
                <a:moveTo>
                  <a:pt x="660" y="3478"/>
                </a:moveTo>
                <a:lnTo>
                  <a:pt x="666" y="3480"/>
                </a:lnTo>
                <a:lnTo>
                  <a:pt x="660" y="3478"/>
                </a:lnTo>
                <a:lnTo>
                  <a:pt x="665" y="3474"/>
                </a:lnTo>
                <a:lnTo>
                  <a:pt x="660" y="3478"/>
                </a:lnTo>
                <a:close/>
                <a:moveTo>
                  <a:pt x="640" y="3151"/>
                </a:moveTo>
                <a:lnTo>
                  <a:pt x="650" y="3152"/>
                </a:lnTo>
                <a:lnTo>
                  <a:pt x="656" y="3156"/>
                </a:lnTo>
                <a:lnTo>
                  <a:pt x="657" y="3162"/>
                </a:lnTo>
                <a:lnTo>
                  <a:pt x="657" y="3172"/>
                </a:lnTo>
                <a:lnTo>
                  <a:pt x="652" y="3169"/>
                </a:lnTo>
                <a:lnTo>
                  <a:pt x="647" y="3165"/>
                </a:lnTo>
                <a:lnTo>
                  <a:pt x="643" y="3158"/>
                </a:lnTo>
                <a:lnTo>
                  <a:pt x="640" y="3151"/>
                </a:lnTo>
                <a:close/>
                <a:moveTo>
                  <a:pt x="713" y="2546"/>
                </a:moveTo>
                <a:lnTo>
                  <a:pt x="713" y="2541"/>
                </a:lnTo>
                <a:lnTo>
                  <a:pt x="715" y="2535"/>
                </a:lnTo>
                <a:lnTo>
                  <a:pt x="717" y="2531"/>
                </a:lnTo>
                <a:lnTo>
                  <a:pt x="722" y="2528"/>
                </a:lnTo>
                <a:lnTo>
                  <a:pt x="729" y="2532"/>
                </a:lnTo>
                <a:lnTo>
                  <a:pt x="729" y="2540"/>
                </a:lnTo>
                <a:lnTo>
                  <a:pt x="722" y="2545"/>
                </a:lnTo>
                <a:lnTo>
                  <a:pt x="713" y="2546"/>
                </a:lnTo>
                <a:close/>
                <a:moveTo>
                  <a:pt x="682" y="2252"/>
                </a:moveTo>
                <a:lnTo>
                  <a:pt x="697" y="2249"/>
                </a:lnTo>
                <a:lnTo>
                  <a:pt x="711" y="2252"/>
                </a:lnTo>
                <a:lnTo>
                  <a:pt x="718" y="2261"/>
                </a:lnTo>
                <a:lnTo>
                  <a:pt x="715" y="2276"/>
                </a:lnTo>
                <a:lnTo>
                  <a:pt x="698" y="2265"/>
                </a:lnTo>
                <a:lnTo>
                  <a:pt x="682" y="2252"/>
                </a:lnTo>
                <a:close/>
                <a:moveTo>
                  <a:pt x="750" y="2373"/>
                </a:moveTo>
                <a:lnTo>
                  <a:pt x="754" y="2374"/>
                </a:lnTo>
                <a:lnTo>
                  <a:pt x="761" y="2378"/>
                </a:lnTo>
                <a:lnTo>
                  <a:pt x="755" y="2377"/>
                </a:lnTo>
                <a:lnTo>
                  <a:pt x="752" y="2377"/>
                </a:lnTo>
                <a:lnTo>
                  <a:pt x="750" y="2375"/>
                </a:lnTo>
                <a:lnTo>
                  <a:pt x="750" y="2373"/>
                </a:lnTo>
                <a:close/>
                <a:moveTo>
                  <a:pt x="775" y="2512"/>
                </a:moveTo>
                <a:lnTo>
                  <a:pt x="777" y="2513"/>
                </a:lnTo>
                <a:lnTo>
                  <a:pt x="778" y="2516"/>
                </a:lnTo>
                <a:lnTo>
                  <a:pt x="777" y="2516"/>
                </a:lnTo>
                <a:lnTo>
                  <a:pt x="773" y="2516"/>
                </a:lnTo>
                <a:lnTo>
                  <a:pt x="771" y="2513"/>
                </a:lnTo>
                <a:lnTo>
                  <a:pt x="771" y="2510"/>
                </a:lnTo>
                <a:lnTo>
                  <a:pt x="771" y="2509"/>
                </a:lnTo>
                <a:lnTo>
                  <a:pt x="775" y="2512"/>
                </a:lnTo>
                <a:close/>
                <a:moveTo>
                  <a:pt x="790" y="2275"/>
                </a:moveTo>
                <a:lnTo>
                  <a:pt x="791" y="2275"/>
                </a:lnTo>
                <a:lnTo>
                  <a:pt x="794" y="2277"/>
                </a:lnTo>
                <a:lnTo>
                  <a:pt x="794" y="2279"/>
                </a:lnTo>
                <a:lnTo>
                  <a:pt x="792" y="2281"/>
                </a:lnTo>
                <a:lnTo>
                  <a:pt x="789" y="2281"/>
                </a:lnTo>
                <a:lnTo>
                  <a:pt x="789" y="2280"/>
                </a:lnTo>
                <a:lnTo>
                  <a:pt x="789" y="2277"/>
                </a:lnTo>
                <a:lnTo>
                  <a:pt x="790" y="2275"/>
                </a:lnTo>
                <a:close/>
                <a:moveTo>
                  <a:pt x="808" y="2305"/>
                </a:moveTo>
                <a:lnTo>
                  <a:pt x="810" y="2307"/>
                </a:lnTo>
                <a:lnTo>
                  <a:pt x="809" y="2308"/>
                </a:lnTo>
                <a:lnTo>
                  <a:pt x="805" y="2308"/>
                </a:lnTo>
                <a:lnTo>
                  <a:pt x="801" y="2308"/>
                </a:lnTo>
                <a:lnTo>
                  <a:pt x="804" y="2307"/>
                </a:lnTo>
                <a:lnTo>
                  <a:pt x="808" y="2305"/>
                </a:lnTo>
                <a:close/>
                <a:moveTo>
                  <a:pt x="856" y="1846"/>
                </a:moveTo>
                <a:lnTo>
                  <a:pt x="853" y="1854"/>
                </a:lnTo>
                <a:lnTo>
                  <a:pt x="853" y="1855"/>
                </a:lnTo>
                <a:lnTo>
                  <a:pt x="855" y="1851"/>
                </a:lnTo>
                <a:lnTo>
                  <a:pt x="856" y="1846"/>
                </a:lnTo>
                <a:lnTo>
                  <a:pt x="864" y="1850"/>
                </a:lnTo>
                <a:lnTo>
                  <a:pt x="864" y="1859"/>
                </a:lnTo>
                <a:lnTo>
                  <a:pt x="860" y="1860"/>
                </a:lnTo>
                <a:lnTo>
                  <a:pt x="856" y="1846"/>
                </a:lnTo>
                <a:close/>
                <a:moveTo>
                  <a:pt x="869" y="2027"/>
                </a:moveTo>
                <a:lnTo>
                  <a:pt x="866" y="2027"/>
                </a:lnTo>
                <a:lnTo>
                  <a:pt x="864" y="2027"/>
                </a:lnTo>
                <a:lnTo>
                  <a:pt x="862" y="2024"/>
                </a:lnTo>
                <a:lnTo>
                  <a:pt x="864" y="2022"/>
                </a:lnTo>
                <a:lnTo>
                  <a:pt x="866" y="2019"/>
                </a:lnTo>
                <a:lnTo>
                  <a:pt x="867" y="2020"/>
                </a:lnTo>
                <a:lnTo>
                  <a:pt x="869" y="2024"/>
                </a:lnTo>
                <a:lnTo>
                  <a:pt x="869" y="2027"/>
                </a:lnTo>
                <a:close/>
                <a:moveTo>
                  <a:pt x="887" y="1944"/>
                </a:moveTo>
                <a:lnTo>
                  <a:pt x="888" y="1948"/>
                </a:lnTo>
                <a:lnTo>
                  <a:pt x="885" y="1949"/>
                </a:lnTo>
                <a:lnTo>
                  <a:pt x="883" y="1950"/>
                </a:lnTo>
                <a:lnTo>
                  <a:pt x="878" y="1950"/>
                </a:lnTo>
                <a:lnTo>
                  <a:pt x="876" y="1948"/>
                </a:lnTo>
                <a:lnTo>
                  <a:pt x="879" y="1945"/>
                </a:lnTo>
                <a:lnTo>
                  <a:pt x="883" y="1944"/>
                </a:lnTo>
                <a:lnTo>
                  <a:pt x="887" y="1944"/>
                </a:lnTo>
                <a:close/>
                <a:moveTo>
                  <a:pt x="902" y="2370"/>
                </a:moveTo>
                <a:lnTo>
                  <a:pt x="962" y="2367"/>
                </a:lnTo>
                <a:lnTo>
                  <a:pt x="982" y="2379"/>
                </a:lnTo>
                <a:lnTo>
                  <a:pt x="969" y="2401"/>
                </a:lnTo>
                <a:lnTo>
                  <a:pt x="927" y="2423"/>
                </a:lnTo>
                <a:lnTo>
                  <a:pt x="943" y="2392"/>
                </a:lnTo>
                <a:lnTo>
                  <a:pt x="924" y="2388"/>
                </a:lnTo>
                <a:lnTo>
                  <a:pt x="901" y="2388"/>
                </a:lnTo>
                <a:lnTo>
                  <a:pt x="902" y="2370"/>
                </a:lnTo>
                <a:close/>
                <a:moveTo>
                  <a:pt x="936" y="1712"/>
                </a:moveTo>
                <a:lnTo>
                  <a:pt x="940" y="1712"/>
                </a:lnTo>
                <a:lnTo>
                  <a:pt x="945" y="1712"/>
                </a:lnTo>
                <a:lnTo>
                  <a:pt x="946" y="1715"/>
                </a:lnTo>
                <a:lnTo>
                  <a:pt x="946" y="1717"/>
                </a:lnTo>
                <a:lnTo>
                  <a:pt x="943" y="1717"/>
                </a:lnTo>
                <a:lnTo>
                  <a:pt x="939" y="1717"/>
                </a:lnTo>
                <a:lnTo>
                  <a:pt x="936" y="1715"/>
                </a:lnTo>
                <a:lnTo>
                  <a:pt x="936" y="1712"/>
                </a:lnTo>
                <a:close/>
                <a:moveTo>
                  <a:pt x="982" y="1901"/>
                </a:moveTo>
                <a:lnTo>
                  <a:pt x="978" y="1903"/>
                </a:lnTo>
                <a:lnTo>
                  <a:pt x="976" y="1903"/>
                </a:lnTo>
                <a:lnTo>
                  <a:pt x="972" y="1902"/>
                </a:lnTo>
                <a:lnTo>
                  <a:pt x="968" y="1901"/>
                </a:lnTo>
                <a:lnTo>
                  <a:pt x="971" y="1897"/>
                </a:lnTo>
                <a:lnTo>
                  <a:pt x="974" y="1897"/>
                </a:lnTo>
                <a:lnTo>
                  <a:pt x="978" y="1899"/>
                </a:lnTo>
                <a:lnTo>
                  <a:pt x="982" y="1901"/>
                </a:lnTo>
                <a:close/>
                <a:moveTo>
                  <a:pt x="997" y="1773"/>
                </a:moveTo>
                <a:lnTo>
                  <a:pt x="985" y="1792"/>
                </a:lnTo>
                <a:lnTo>
                  <a:pt x="974" y="1803"/>
                </a:lnTo>
                <a:lnTo>
                  <a:pt x="963" y="1804"/>
                </a:lnTo>
                <a:lnTo>
                  <a:pt x="944" y="1801"/>
                </a:lnTo>
                <a:lnTo>
                  <a:pt x="953" y="1789"/>
                </a:lnTo>
                <a:lnTo>
                  <a:pt x="966" y="1781"/>
                </a:lnTo>
                <a:lnTo>
                  <a:pt x="980" y="1776"/>
                </a:lnTo>
                <a:lnTo>
                  <a:pt x="997" y="1773"/>
                </a:lnTo>
                <a:close/>
                <a:moveTo>
                  <a:pt x="1168" y="1589"/>
                </a:moveTo>
                <a:lnTo>
                  <a:pt x="1159" y="1608"/>
                </a:lnTo>
                <a:lnTo>
                  <a:pt x="1140" y="1614"/>
                </a:lnTo>
                <a:lnTo>
                  <a:pt x="1116" y="1610"/>
                </a:lnTo>
                <a:lnTo>
                  <a:pt x="1094" y="1602"/>
                </a:lnTo>
                <a:lnTo>
                  <a:pt x="1113" y="1589"/>
                </a:lnTo>
                <a:lnTo>
                  <a:pt x="1131" y="1584"/>
                </a:lnTo>
                <a:lnTo>
                  <a:pt x="1149" y="1585"/>
                </a:lnTo>
                <a:lnTo>
                  <a:pt x="1168" y="1589"/>
                </a:lnTo>
                <a:close/>
                <a:moveTo>
                  <a:pt x="1209" y="1427"/>
                </a:moveTo>
                <a:lnTo>
                  <a:pt x="1195" y="1436"/>
                </a:lnTo>
                <a:lnTo>
                  <a:pt x="1182" y="1439"/>
                </a:lnTo>
                <a:lnTo>
                  <a:pt x="1162" y="1436"/>
                </a:lnTo>
                <a:lnTo>
                  <a:pt x="1130" y="1426"/>
                </a:lnTo>
                <a:lnTo>
                  <a:pt x="1153" y="1420"/>
                </a:lnTo>
                <a:lnTo>
                  <a:pt x="1173" y="1420"/>
                </a:lnTo>
                <a:lnTo>
                  <a:pt x="1191" y="1422"/>
                </a:lnTo>
                <a:lnTo>
                  <a:pt x="1209" y="1427"/>
                </a:lnTo>
                <a:close/>
                <a:moveTo>
                  <a:pt x="1181" y="1266"/>
                </a:moveTo>
                <a:lnTo>
                  <a:pt x="1188" y="1272"/>
                </a:lnTo>
                <a:lnTo>
                  <a:pt x="1185" y="1280"/>
                </a:lnTo>
                <a:lnTo>
                  <a:pt x="1176" y="1281"/>
                </a:lnTo>
                <a:lnTo>
                  <a:pt x="1165" y="1274"/>
                </a:lnTo>
                <a:lnTo>
                  <a:pt x="1173" y="1269"/>
                </a:lnTo>
                <a:lnTo>
                  <a:pt x="1181" y="1266"/>
                </a:lnTo>
                <a:close/>
                <a:moveTo>
                  <a:pt x="1311" y="1129"/>
                </a:moveTo>
                <a:lnTo>
                  <a:pt x="1317" y="1136"/>
                </a:lnTo>
                <a:lnTo>
                  <a:pt x="1317" y="1141"/>
                </a:lnTo>
                <a:lnTo>
                  <a:pt x="1312" y="1142"/>
                </a:lnTo>
                <a:lnTo>
                  <a:pt x="1303" y="1141"/>
                </a:lnTo>
                <a:lnTo>
                  <a:pt x="1300" y="1136"/>
                </a:lnTo>
                <a:lnTo>
                  <a:pt x="1300" y="1133"/>
                </a:lnTo>
                <a:lnTo>
                  <a:pt x="1304" y="1131"/>
                </a:lnTo>
                <a:lnTo>
                  <a:pt x="1311" y="1129"/>
                </a:lnTo>
                <a:close/>
                <a:moveTo>
                  <a:pt x="1684" y="1081"/>
                </a:moveTo>
                <a:lnTo>
                  <a:pt x="1700" y="1078"/>
                </a:lnTo>
                <a:lnTo>
                  <a:pt x="1712" y="1103"/>
                </a:lnTo>
                <a:lnTo>
                  <a:pt x="1717" y="1133"/>
                </a:lnTo>
                <a:lnTo>
                  <a:pt x="1714" y="1150"/>
                </a:lnTo>
                <a:lnTo>
                  <a:pt x="1693" y="1131"/>
                </a:lnTo>
                <a:lnTo>
                  <a:pt x="1683" y="1120"/>
                </a:lnTo>
                <a:lnTo>
                  <a:pt x="1681" y="1108"/>
                </a:lnTo>
                <a:lnTo>
                  <a:pt x="1684" y="1081"/>
                </a:lnTo>
                <a:close/>
                <a:moveTo>
                  <a:pt x="1610" y="909"/>
                </a:moveTo>
                <a:lnTo>
                  <a:pt x="1595" y="885"/>
                </a:lnTo>
                <a:lnTo>
                  <a:pt x="1605" y="881"/>
                </a:lnTo>
                <a:lnTo>
                  <a:pt x="1629" y="889"/>
                </a:lnTo>
                <a:lnTo>
                  <a:pt x="1653" y="895"/>
                </a:lnTo>
                <a:lnTo>
                  <a:pt x="1646" y="895"/>
                </a:lnTo>
                <a:lnTo>
                  <a:pt x="1634" y="895"/>
                </a:lnTo>
                <a:lnTo>
                  <a:pt x="1621" y="899"/>
                </a:lnTo>
                <a:lnTo>
                  <a:pt x="1610" y="909"/>
                </a:lnTo>
                <a:close/>
                <a:moveTo>
                  <a:pt x="1541" y="910"/>
                </a:moveTo>
                <a:lnTo>
                  <a:pt x="1551" y="910"/>
                </a:lnTo>
                <a:lnTo>
                  <a:pt x="1560" y="910"/>
                </a:lnTo>
                <a:lnTo>
                  <a:pt x="1555" y="913"/>
                </a:lnTo>
                <a:lnTo>
                  <a:pt x="1550" y="914"/>
                </a:lnTo>
                <a:lnTo>
                  <a:pt x="1546" y="913"/>
                </a:lnTo>
                <a:lnTo>
                  <a:pt x="1541" y="910"/>
                </a:lnTo>
                <a:close/>
                <a:moveTo>
                  <a:pt x="1662" y="865"/>
                </a:moveTo>
                <a:lnTo>
                  <a:pt x="1685" y="871"/>
                </a:lnTo>
                <a:lnTo>
                  <a:pt x="1707" y="876"/>
                </a:lnTo>
                <a:lnTo>
                  <a:pt x="1718" y="886"/>
                </a:lnTo>
                <a:lnTo>
                  <a:pt x="1709" y="907"/>
                </a:lnTo>
                <a:lnTo>
                  <a:pt x="1694" y="901"/>
                </a:lnTo>
                <a:lnTo>
                  <a:pt x="1680" y="890"/>
                </a:lnTo>
                <a:lnTo>
                  <a:pt x="1669" y="877"/>
                </a:lnTo>
                <a:lnTo>
                  <a:pt x="1662" y="865"/>
                </a:lnTo>
                <a:close/>
                <a:moveTo>
                  <a:pt x="1805" y="479"/>
                </a:moveTo>
                <a:lnTo>
                  <a:pt x="1802" y="478"/>
                </a:lnTo>
                <a:lnTo>
                  <a:pt x="1802" y="478"/>
                </a:lnTo>
                <a:lnTo>
                  <a:pt x="1804" y="478"/>
                </a:lnTo>
                <a:lnTo>
                  <a:pt x="1805" y="479"/>
                </a:lnTo>
                <a:lnTo>
                  <a:pt x="1802" y="478"/>
                </a:lnTo>
                <a:lnTo>
                  <a:pt x="1802" y="478"/>
                </a:lnTo>
                <a:lnTo>
                  <a:pt x="1802" y="478"/>
                </a:lnTo>
                <a:lnTo>
                  <a:pt x="1805" y="479"/>
                </a:lnTo>
                <a:close/>
                <a:moveTo>
                  <a:pt x="1815" y="556"/>
                </a:moveTo>
                <a:lnTo>
                  <a:pt x="1814" y="559"/>
                </a:lnTo>
                <a:lnTo>
                  <a:pt x="1814" y="560"/>
                </a:lnTo>
                <a:lnTo>
                  <a:pt x="1806" y="559"/>
                </a:lnTo>
                <a:lnTo>
                  <a:pt x="1804" y="556"/>
                </a:lnTo>
                <a:lnTo>
                  <a:pt x="1807" y="554"/>
                </a:lnTo>
                <a:lnTo>
                  <a:pt x="1815" y="556"/>
                </a:lnTo>
                <a:close/>
                <a:moveTo>
                  <a:pt x="1919" y="576"/>
                </a:moveTo>
                <a:lnTo>
                  <a:pt x="1927" y="578"/>
                </a:lnTo>
                <a:lnTo>
                  <a:pt x="1937" y="579"/>
                </a:lnTo>
                <a:lnTo>
                  <a:pt x="1945" y="581"/>
                </a:lnTo>
                <a:lnTo>
                  <a:pt x="1947" y="583"/>
                </a:lnTo>
                <a:lnTo>
                  <a:pt x="1940" y="582"/>
                </a:lnTo>
                <a:lnTo>
                  <a:pt x="1930" y="582"/>
                </a:lnTo>
                <a:lnTo>
                  <a:pt x="1922" y="581"/>
                </a:lnTo>
                <a:lnTo>
                  <a:pt x="1919" y="576"/>
                </a:lnTo>
                <a:close/>
                <a:moveTo>
                  <a:pt x="1993" y="486"/>
                </a:moveTo>
                <a:lnTo>
                  <a:pt x="1998" y="492"/>
                </a:lnTo>
                <a:lnTo>
                  <a:pt x="1996" y="495"/>
                </a:lnTo>
                <a:lnTo>
                  <a:pt x="1989" y="495"/>
                </a:lnTo>
                <a:lnTo>
                  <a:pt x="1984" y="489"/>
                </a:lnTo>
                <a:lnTo>
                  <a:pt x="1989" y="488"/>
                </a:lnTo>
                <a:lnTo>
                  <a:pt x="1993" y="486"/>
                </a:lnTo>
                <a:close/>
                <a:moveTo>
                  <a:pt x="2009" y="586"/>
                </a:moveTo>
                <a:lnTo>
                  <a:pt x="2012" y="588"/>
                </a:lnTo>
                <a:lnTo>
                  <a:pt x="2014" y="591"/>
                </a:lnTo>
                <a:lnTo>
                  <a:pt x="2015" y="593"/>
                </a:lnTo>
                <a:lnTo>
                  <a:pt x="2011" y="595"/>
                </a:lnTo>
                <a:lnTo>
                  <a:pt x="2009" y="592"/>
                </a:lnTo>
                <a:lnTo>
                  <a:pt x="2006" y="590"/>
                </a:lnTo>
                <a:lnTo>
                  <a:pt x="2006" y="588"/>
                </a:lnTo>
                <a:lnTo>
                  <a:pt x="2009" y="586"/>
                </a:lnTo>
                <a:close/>
                <a:moveTo>
                  <a:pt x="2068" y="488"/>
                </a:moveTo>
                <a:lnTo>
                  <a:pt x="2072" y="506"/>
                </a:lnTo>
                <a:lnTo>
                  <a:pt x="2079" y="516"/>
                </a:lnTo>
                <a:lnTo>
                  <a:pt x="2090" y="518"/>
                </a:lnTo>
                <a:lnTo>
                  <a:pt x="2108" y="520"/>
                </a:lnTo>
                <a:lnTo>
                  <a:pt x="2105" y="548"/>
                </a:lnTo>
                <a:lnTo>
                  <a:pt x="2067" y="539"/>
                </a:lnTo>
                <a:lnTo>
                  <a:pt x="2039" y="513"/>
                </a:lnTo>
                <a:lnTo>
                  <a:pt x="2068" y="488"/>
                </a:lnTo>
                <a:close/>
                <a:moveTo>
                  <a:pt x="2220" y="507"/>
                </a:moveTo>
                <a:lnTo>
                  <a:pt x="2214" y="526"/>
                </a:lnTo>
                <a:lnTo>
                  <a:pt x="2197" y="532"/>
                </a:lnTo>
                <a:lnTo>
                  <a:pt x="2180" y="526"/>
                </a:lnTo>
                <a:lnTo>
                  <a:pt x="2175" y="507"/>
                </a:lnTo>
                <a:lnTo>
                  <a:pt x="2188" y="503"/>
                </a:lnTo>
                <a:lnTo>
                  <a:pt x="2197" y="502"/>
                </a:lnTo>
                <a:lnTo>
                  <a:pt x="2206" y="503"/>
                </a:lnTo>
                <a:lnTo>
                  <a:pt x="2220" y="507"/>
                </a:lnTo>
                <a:close/>
                <a:moveTo>
                  <a:pt x="2263" y="545"/>
                </a:moveTo>
                <a:lnTo>
                  <a:pt x="2261" y="520"/>
                </a:lnTo>
                <a:lnTo>
                  <a:pt x="2276" y="512"/>
                </a:lnTo>
                <a:lnTo>
                  <a:pt x="2298" y="521"/>
                </a:lnTo>
                <a:lnTo>
                  <a:pt x="2314" y="541"/>
                </a:lnTo>
                <a:lnTo>
                  <a:pt x="2291" y="550"/>
                </a:lnTo>
                <a:lnTo>
                  <a:pt x="2267" y="568"/>
                </a:lnTo>
                <a:lnTo>
                  <a:pt x="2254" y="572"/>
                </a:lnTo>
                <a:lnTo>
                  <a:pt x="2263" y="545"/>
                </a:lnTo>
                <a:close/>
                <a:moveTo>
                  <a:pt x="2318" y="549"/>
                </a:moveTo>
                <a:lnTo>
                  <a:pt x="2318" y="548"/>
                </a:lnTo>
                <a:lnTo>
                  <a:pt x="2318" y="549"/>
                </a:lnTo>
                <a:lnTo>
                  <a:pt x="2317" y="548"/>
                </a:lnTo>
                <a:lnTo>
                  <a:pt x="2318" y="549"/>
                </a:lnTo>
                <a:close/>
                <a:moveTo>
                  <a:pt x="2406" y="526"/>
                </a:moveTo>
                <a:lnTo>
                  <a:pt x="2386" y="537"/>
                </a:lnTo>
                <a:lnTo>
                  <a:pt x="2373" y="539"/>
                </a:lnTo>
                <a:lnTo>
                  <a:pt x="2360" y="532"/>
                </a:lnTo>
                <a:lnTo>
                  <a:pt x="2345" y="516"/>
                </a:lnTo>
                <a:lnTo>
                  <a:pt x="2360" y="518"/>
                </a:lnTo>
                <a:lnTo>
                  <a:pt x="2375" y="521"/>
                </a:lnTo>
                <a:lnTo>
                  <a:pt x="2391" y="523"/>
                </a:lnTo>
                <a:lnTo>
                  <a:pt x="2406" y="526"/>
                </a:lnTo>
                <a:close/>
                <a:moveTo>
                  <a:pt x="2485" y="509"/>
                </a:moveTo>
                <a:lnTo>
                  <a:pt x="2505" y="526"/>
                </a:lnTo>
                <a:lnTo>
                  <a:pt x="2533" y="534"/>
                </a:lnTo>
                <a:lnTo>
                  <a:pt x="2560" y="541"/>
                </a:lnTo>
                <a:lnTo>
                  <a:pt x="2577" y="558"/>
                </a:lnTo>
                <a:lnTo>
                  <a:pt x="2541" y="563"/>
                </a:lnTo>
                <a:lnTo>
                  <a:pt x="2491" y="553"/>
                </a:lnTo>
                <a:lnTo>
                  <a:pt x="2459" y="532"/>
                </a:lnTo>
                <a:lnTo>
                  <a:pt x="2485" y="509"/>
                </a:lnTo>
                <a:close/>
                <a:moveTo>
                  <a:pt x="2564" y="472"/>
                </a:moveTo>
                <a:lnTo>
                  <a:pt x="2554" y="489"/>
                </a:lnTo>
                <a:lnTo>
                  <a:pt x="2545" y="495"/>
                </a:lnTo>
                <a:lnTo>
                  <a:pt x="2535" y="493"/>
                </a:lnTo>
                <a:lnTo>
                  <a:pt x="2518" y="484"/>
                </a:lnTo>
                <a:lnTo>
                  <a:pt x="2532" y="480"/>
                </a:lnTo>
                <a:lnTo>
                  <a:pt x="2542" y="478"/>
                </a:lnTo>
                <a:lnTo>
                  <a:pt x="2554" y="475"/>
                </a:lnTo>
                <a:lnTo>
                  <a:pt x="2564" y="472"/>
                </a:lnTo>
                <a:close/>
                <a:moveTo>
                  <a:pt x="2589" y="441"/>
                </a:moveTo>
                <a:lnTo>
                  <a:pt x="2593" y="443"/>
                </a:lnTo>
                <a:lnTo>
                  <a:pt x="2594" y="447"/>
                </a:lnTo>
                <a:lnTo>
                  <a:pt x="2594" y="450"/>
                </a:lnTo>
                <a:lnTo>
                  <a:pt x="2596" y="453"/>
                </a:lnTo>
                <a:lnTo>
                  <a:pt x="2592" y="452"/>
                </a:lnTo>
                <a:lnTo>
                  <a:pt x="2588" y="450"/>
                </a:lnTo>
                <a:lnTo>
                  <a:pt x="2588" y="446"/>
                </a:lnTo>
                <a:lnTo>
                  <a:pt x="2589" y="441"/>
                </a:lnTo>
                <a:close/>
                <a:moveTo>
                  <a:pt x="2635" y="542"/>
                </a:moveTo>
                <a:lnTo>
                  <a:pt x="2639" y="545"/>
                </a:lnTo>
                <a:lnTo>
                  <a:pt x="2638" y="548"/>
                </a:lnTo>
                <a:lnTo>
                  <a:pt x="2634" y="549"/>
                </a:lnTo>
                <a:lnTo>
                  <a:pt x="2630" y="550"/>
                </a:lnTo>
                <a:lnTo>
                  <a:pt x="2627" y="548"/>
                </a:lnTo>
                <a:lnTo>
                  <a:pt x="2629" y="546"/>
                </a:lnTo>
                <a:lnTo>
                  <a:pt x="2631" y="544"/>
                </a:lnTo>
                <a:lnTo>
                  <a:pt x="2635" y="542"/>
                </a:lnTo>
                <a:close/>
                <a:moveTo>
                  <a:pt x="2788" y="567"/>
                </a:moveTo>
                <a:lnTo>
                  <a:pt x="2782" y="567"/>
                </a:lnTo>
                <a:lnTo>
                  <a:pt x="2788" y="567"/>
                </a:lnTo>
                <a:lnTo>
                  <a:pt x="2779" y="572"/>
                </a:lnTo>
                <a:lnTo>
                  <a:pt x="2788" y="567"/>
                </a:lnTo>
                <a:close/>
                <a:moveTo>
                  <a:pt x="2799" y="649"/>
                </a:moveTo>
                <a:lnTo>
                  <a:pt x="2801" y="652"/>
                </a:lnTo>
                <a:lnTo>
                  <a:pt x="2801" y="654"/>
                </a:lnTo>
                <a:lnTo>
                  <a:pt x="2796" y="656"/>
                </a:lnTo>
                <a:lnTo>
                  <a:pt x="2793" y="653"/>
                </a:lnTo>
                <a:lnTo>
                  <a:pt x="2793" y="651"/>
                </a:lnTo>
                <a:lnTo>
                  <a:pt x="2799" y="649"/>
                </a:lnTo>
                <a:close/>
                <a:moveTo>
                  <a:pt x="2861" y="517"/>
                </a:moveTo>
                <a:lnTo>
                  <a:pt x="2864" y="516"/>
                </a:lnTo>
                <a:lnTo>
                  <a:pt x="2866" y="518"/>
                </a:lnTo>
                <a:lnTo>
                  <a:pt x="2864" y="522"/>
                </a:lnTo>
                <a:lnTo>
                  <a:pt x="2861" y="522"/>
                </a:lnTo>
                <a:lnTo>
                  <a:pt x="2861" y="520"/>
                </a:lnTo>
                <a:lnTo>
                  <a:pt x="2861" y="517"/>
                </a:lnTo>
                <a:close/>
                <a:moveTo>
                  <a:pt x="3044" y="590"/>
                </a:moveTo>
                <a:lnTo>
                  <a:pt x="3038" y="588"/>
                </a:lnTo>
                <a:lnTo>
                  <a:pt x="3038" y="588"/>
                </a:lnTo>
                <a:lnTo>
                  <a:pt x="3040" y="588"/>
                </a:lnTo>
                <a:lnTo>
                  <a:pt x="3044" y="590"/>
                </a:lnTo>
                <a:lnTo>
                  <a:pt x="3040" y="595"/>
                </a:lnTo>
                <a:lnTo>
                  <a:pt x="3039" y="593"/>
                </a:lnTo>
                <a:lnTo>
                  <a:pt x="3039" y="591"/>
                </a:lnTo>
                <a:lnTo>
                  <a:pt x="3044" y="590"/>
                </a:lnTo>
                <a:close/>
                <a:moveTo>
                  <a:pt x="3063" y="517"/>
                </a:moveTo>
                <a:lnTo>
                  <a:pt x="3145" y="493"/>
                </a:lnTo>
                <a:lnTo>
                  <a:pt x="3125" y="476"/>
                </a:lnTo>
                <a:lnTo>
                  <a:pt x="3086" y="455"/>
                </a:lnTo>
                <a:lnTo>
                  <a:pt x="3106" y="416"/>
                </a:lnTo>
                <a:lnTo>
                  <a:pt x="3175" y="432"/>
                </a:lnTo>
                <a:lnTo>
                  <a:pt x="3229" y="428"/>
                </a:lnTo>
                <a:lnTo>
                  <a:pt x="3277" y="430"/>
                </a:lnTo>
                <a:lnTo>
                  <a:pt x="3330" y="466"/>
                </a:lnTo>
                <a:lnTo>
                  <a:pt x="3215" y="474"/>
                </a:lnTo>
                <a:lnTo>
                  <a:pt x="3206" y="492"/>
                </a:lnTo>
                <a:lnTo>
                  <a:pt x="3235" y="528"/>
                </a:lnTo>
                <a:lnTo>
                  <a:pt x="3235" y="593"/>
                </a:lnTo>
                <a:lnTo>
                  <a:pt x="3188" y="587"/>
                </a:lnTo>
                <a:lnTo>
                  <a:pt x="3159" y="574"/>
                </a:lnTo>
                <a:lnTo>
                  <a:pt x="3148" y="551"/>
                </a:lnTo>
                <a:lnTo>
                  <a:pt x="3161" y="513"/>
                </a:lnTo>
                <a:lnTo>
                  <a:pt x="3134" y="530"/>
                </a:lnTo>
                <a:lnTo>
                  <a:pt x="3097" y="546"/>
                </a:lnTo>
                <a:lnTo>
                  <a:pt x="3067" y="549"/>
                </a:lnTo>
                <a:lnTo>
                  <a:pt x="3063" y="517"/>
                </a:lnTo>
                <a:close/>
                <a:moveTo>
                  <a:pt x="3390" y="528"/>
                </a:moveTo>
                <a:lnTo>
                  <a:pt x="3376" y="542"/>
                </a:lnTo>
                <a:lnTo>
                  <a:pt x="3348" y="548"/>
                </a:lnTo>
                <a:lnTo>
                  <a:pt x="3327" y="540"/>
                </a:lnTo>
                <a:lnTo>
                  <a:pt x="3337" y="523"/>
                </a:lnTo>
                <a:lnTo>
                  <a:pt x="3350" y="525"/>
                </a:lnTo>
                <a:lnTo>
                  <a:pt x="3364" y="526"/>
                </a:lnTo>
                <a:lnTo>
                  <a:pt x="3376" y="527"/>
                </a:lnTo>
                <a:lnTo>
                  <a:pt x="3390" y="528"/>
                </a:lnTo>
                <a:close/>
                <a:moveTo>
                  <a:pt x="3416" y="471"/>
                </a:moveTo>
                <a:lnTo>
                  <a:pt x="3403" y="469"/>
                </a:lnTo>
                <a:lnTo>
                  <a:pt x="3392" y="466"/>
                </a:lnTo>
                <a:lnTo>
                  <a:pt x="3381" y="465"/>
                </a:lnTo>
                <a:lnTo>
                  <a:pt x="3370" y="462"/>
                </a:lnTo>
                <a:lnTo>
                  <a:pt x="3383" y="456"/>
                </a:lnTo>
                <a:lnTo>
                  <a:pt x="3394" y="455"/>
                </a:lnTo>
                <a:lnTo>
                  <a:pt x="3404" y="460"/>
                </a:lnTo>
                <a:lnTo>
                  <a:pt x="3416" y="471"/>
                </a:lnTo>
                <a:close/>
                <a:moveTo>
                  <a:pt x="3488" y="461"/>
                </a:moveTo>
                <a:lnTo>
                  <a:pt x="3523" y="464"/>
                </a:lnTo>
                <a:lnTo>
                  <a:pt x="3566" y="461"/>
                </a:lnTo>
                <a:lnTo>
                  <a:pt x="3600" y="465"/>
                </a:lnTo>
                <a:lnTo>
                  <a:pt x="3613" y="485"/>
                </a:lnTo>
                <a:lnTo>
                  <a:pt x="3574" y="492"/>
                </a:lnTo>
                <a:lnTo>
                  <a:pt x="3520" y="485"/>
                </a:lnTo>
                <a:lnTo>
                  <a:pt x="3482" y="474"/>
                </a:lnTo>
                <a:lnTo>
                  <a:pt x="3488" y="461"/>
                </a:lnTo>
                <a:close/>
                <a:moveTo>
                  <a:pt x="3831" y="488"/>
                </a:moveTo>
                <a:lnTo>
                  <a:pt x="3836" y="498"/>
                </a:lnTo>
                <a:lnTo>
                  <a:pt x="3830" y="506"/>
                </a:lnTo>
                <a:lnTo>
                  <a:pt x="3818" y="509"/>
                </a:lnTo>
                <a:lnTo>
                  <a:pt x="3807" y="507"/>
                </a:lnTo>
                <a:lnTo>
                  <a:pt x="3739" y="493"/>
                </a:lnTo>
                <a:lnTo>
                  <a:pt x="3730" y="485"/>
                </a:lnTo>
                <a:lnTo>
                  <a:pt x="3765" y="485"/>
                </a:lnTo>
                <a:lnTo>
                  <a:pt x="3831" y="488"/>
                </a:lnTo>
                <a:close/>
                <a:moveTo>
                  <a:pt x="3890" y="663"/>
                </a:moveTo>
                <a:lnTo>
                  <a:pt x="3890" y="669"/>
                </a:lnTo>
                <a:lnTo>
                  <a:pt x="3887" y="667"/>
                </a:lnTo>
                <a:lnTo>
                  <a:pt x="3887" y="666"/>
                </a:lnTo>
                <a:lnTo>
                  <a:pt x="3887" y="665"/>
                </a:lnTo>
                <a:lnTo>
                  <a:pt x="3890" y="663"/>
                </a:lnTo>
                <a:close/>
                <a:moveTo>
                  <a:pt x="3986" y="527"/>
                </a:moveTo>
                <a:lnTo>
                  <a:pt x="4008" y="528"/>
                </a:lnTo>
                <a:lnTo>
                  <a:pt x="4033" y="531"/>
                </a:lnTo>
                <a:lnTo>
                  <a:pt x="4051" y="540"/>
                </a:lnTo>
                <a:lnTo>
                  <a:pt x="4053" y="563"/>
                </a:lnTo>
                <a:lnTo>
                  <a:pt x="4010" y="572"/>
                </a:lnTo>
                <a:lnTo>
                  <a:pt x="3974" y="574"/>
                </a:lnTo>
                <a:lnTo>
                  <a:pt x="3958" y="563"/>
                </a:lnTo>
                <a:lnTo>
                  <a:pt x="3986" y="527"/>
                </a:lnTo>
                <a:close/>
                <a:moveTo>
                  <a:pt x="4193" y="554"/>
                </a:moveTo>
                <a:lnTo>
                  <a:pt x="4194" y="556"/>
                </a:lnTo>
                <a:lnTo>
                  <a:pt x="4194" y="560"/>
                </a:lnTo>
                <a:lnTo>
                  <a:pt x="4194" y="562"/>
                </a:lnTo>
                <a:lnTo>
                  <a:pt x="4190" y="562"/>
                </a:lnTo>
                <a:lnTo>
                  <a:pt x="4189" y="559"/>
                </a:lnTo>
                <a:lnTo>
                  <a:pt x="4189" y="558"/>
                </a:lnTo>
                <a:lnTo>
                  <a:pt x="4190" y="555"/>
                </a:lnTo>
                <a:lnTo>
                  <a:pt x="4193" y="554"/>
                </a:lnTo>
                <a:close/>
                <a:moveTo>
                  <a:pt x="6179" y="933"/>
                </a:moveTo>
                <a:lnTo>
                  <a:pt x="6178" y="936"/>
                </a:lnTo>
                <a:lnTo>
                  <a:pt x="6177" y="936"/>
                </a:lnTo>
                <a:lnTo>
                  <a:pt x="6177" y="935"/>
                </a:lnTo>
                <a:lnTo>
                  <a:pt x="6175" y="933"/>
                </a:lnTo>
                <a:lnTo>
                  <a:pt x="6179" y="933"/>
                </a:lnTo>
                <a:close/>
                <a:moveTo>
                  <a:pt x="6300" y="1024"/>
                </a:moveTo>
                <a:lnTo>
                  <a:pt x="6299" y="1026"/>
                </a:lnTo>
                <a:lnTo>
                  <a:pt x="6299" y="1027"/>
                </a:lnTo>
                <a:lnTo>
                  <a:pt x="6298" y="1026"/>
                </a:lnTo>
                <a:lnTo>
                  <a:pt x="6295" y="1025"/>
                </a:lnTo>
                <a:lnTo>
                  <a:pt x="6300" y="1024"/>
                </a:lnTo>
                <a:close/>
                <a:moveTo>
                  <a:pt x="6677" y="1077"/>
                </a:moveTo>
                <a:lnTo>
                  <a:pt x="6684" y="1081"/>
                </a:lnTo>
                <a:lnTo>
                  <a:pt x="6685" y="1085"/>
                </a:lnTo>
                <a:lnTo>
                  <a:pt x="6681" y="1090"/>
                </a:lnTo>
                <a:lnTo>
                  <a:pt x="6673" y="1094"/>
                </a:lnTo>
                <a:lnTo>
                  <a:pt x="6668" y="1089"/>
                </a:lnTo>
                <a:lnTo>
                  <a:pt x="6668" y="1083"/>
                </a:lnTo>
                <a:lnTo>
                  <a:pt x="6671" y="1080"/>
                </a:lnTo>
                <a:lnTo>
                  <a:pt x="6677" y="1077"/>
                </a:lnTo>
                <a:close/>
                <a:moveTo>
                  <a:pt x="6878" y="793"/>
                </a:moveTo>
                <a:lnTo>
                  <a:pt x="6870" y="814"/>
                </a:lnTo>
                <a:lnTo>
                  <a:pt x="6849" y="810"/>
                </a:lnTo>
                <a:lnTo>
                  <a:pt x="6822" y="802"/>
                </a:lnTo>
                <a:lnTo>
                  <a:pt x="6792" y="806"/>
                </a:lnTo>
                <a:lnTo>
                  <a:pt x="6811" y="796"/>
                </a:lnTo>
                <a:lnTo>
                  <a:pt x="6826" y="792"/>
                </a:lnTo>
                <a:lnTo>
                  <a:pt x="6845" y="791"/>
                </a:lnTo>
                <a:lnTo>
                  <a:pt x="6878" y="793"/>
                </a:lnTo>
                <a:close/>
                <a:moveTo>
                  <a:pt x="6933" y="796"/>
                </a:moveTo>
                <a:lnTo>
                  <a:pt x="6954" y="797"/>
                </a:lnTo>
                <a:lnTo>
                  <a:pt x="6973" y="797"/>
                </a:lnTo>
                <a:lnTo>
                  <a:pt x="6989" y="803"/>
                </a:lnTo>
                <a:lnTo>
                  <a:pt x="7002" y="823"/>
                </a:lnTo>
                <a:lnTo>
                  <a:pt x="6978" y="823"/>
                </a:lnTo>
                <a:lnTo>
                  <a:pt x="6952" y="820"/>
                </a:lnTo>
                <a:lnTo>
                  <a:pt x="6934" y="811"/>
                </a:lnTo>
                <a:lnTo>
                  <a:pt x="6933" y="796"/>
                </a:lnTo>
                <a:close/>
                <a:moveTo>
                  <a:pt x="7119" y="1171"/>
                </a:moveTo>
                <a:lnTo>
                  <a:pt x="7123" y="1174"/>
                </a:lnTo>
                <a:lnTo>
                  <a:pt x="7122" y="1178"/>
                </a:lnTo>
                <a:lnTo>
                  <a:pt x="7118" y="1179"/>
                </a:lnTo>
                <a:lnTo>
                  <a:pt x="7115" y="1175"/>
                </a:lnTo>
                <a:lnTo>
                  <a:pt x="7118" y="1173"/>
                </a:lnTo>
                <a:lnTo>
                  <a:pt x="7119" y="1171"/>
                </a:lnTo>
                <a:close/>
                <a:moveTo>
                  <a:pt x="7210" y="1159"/>
                </a:moveTo>
                <a:lnTo>
                  <a:pt x="7211" y="1161"/>
                </a:lnTo>
                <a:lnTo>
                  <a:pt x="7211" y="1164"/>
                </a:lnTo>
                <a:lnTo>
                  <a:pt x="7210" y="1165"/>
                </a:lnTo>
                <a:lnTo>
                  <a:pt x="7207" y="1166"/>
                </a:lnTo>
                <a:lnTo>
                  <a:pt x="7204" y="1165"/>
                </a:lnTo>
                <a:lnTo>
                  <a:pt x="7204" y="1162"/>
                </a:lnTo>
                <a:lnTo>
                  <a:pt x="7207" y="1160"/>
                </a:lnTo>
                <a:lnTo>
                  <a:pt x="7210" y="1159"/>
                </a:lnTo>
                <a:close/>
                <a:moveTo>
                  <a:pt x="7216" y="998"/>
                </a:moveTo>
                <a:lnTo>
                  <a:pt x="7220" y="1002"/>
                </a:lnTo>
                <a:lnTo>
                  <a:pt x="7221" y="1006"/>
                </a:lnTo>
                <a:lnTo>
                  <a:pt x="7217" y="1007"/>
                </a:lnTo>
                <a:lnTo>
                  <a:pt x="7212" y="1008"/>
                </a:lnTo>
                <a:lnTo>
                  <a:pt x="7207" y="1005"/>
                </a:lnTo>
                <a:lnTo>
                  <a:pt x="7207" y="1001"/>
                </a:lnTo>
                <a:lnTo>
                  <a:pt x="7210" y="998"/>
                </a:lnTo>
                <a:lnTo>
                  <a:pt x="7216" y="998"/>
                </a:lnTo>
                <a:close/>
                <a:moveTo>
                  <a:pt x="7260" y="903"/>
                </a:moveTo>
                <a:lnTo>
                  <a:pt x="7262" y="905"/>
                </a:lnTo>
                <a:lnTo>
                  <a:pt x="7263" y="908"/>
                </a:lnTo>
                <a:lnTo>
                  <a:pt x="7263" y="909"/>
                </a:lnTo>
                <a:lnTo>
                  <a:pt x="7259" y="910"/>
                </a:lnTo>
                <a:lnTo>
                  <a:pt x="7258" y="909"/>
                </a:lnTo>
                <a:lnTo>
                  <a:pt x="7258" y="907"/>
                </a:lnTo>
                <a:lnTo>
                  <a:pt x="7258" y="905"/>
                </a:lnTo>
                <a:lnTo>
                  <a:pt x="7260" y="903"/>
                </a:lnTo>
                <a:close/>
                <a:moveTo>
                  <a:pt x="7277" y="1199"/>
                </a:moveTo>
                <a:lnTo>
                  <a:pt x="7292" y="1198"/>
                </a:lnTo>
                <a:lnTo>
                  <a:pt x="7297" y="1203"/>
                </a:lnTo>
                <a:lnTo>
                  <a:pt x="7294" y="1209"/>
                </a:lnTo>
                <a:lnTo>
                  <a:pt x="7278" y="1215"/>
                </a:lnTo>
                <a:lnTo>
                  <a:pt x="7271" y="1212"/>
                </a:lnTo>
                <a:lnTo>
                  <a:pt x="7267" y="1208"/>
                </a:lnTo>
                <a:lnTo>
                  <a:pt x="7269" y="1204"/>
                </a:lnTo>
                <a:lnTo>
                  <a:pt x="7277" y="1199"/>
                </a:lnTo>
                <a:close/>
                <a:moveTo>
                  <a:pt x="7375" y="1147"/>
                </a:moveTo>
                <a:lnTo>
                  <a:pt x="7361" y="1150"/>
                </a:lnTo>
                <a:lnTo>
                  <a:pt x="7348" y="1156"/>
                </a:lnTo>
                <a:lnTo>
                  <a:pt x="7334" y="1157"/>
                </a:lnTo>
                <a:lnTo>
                  <a:pt x="7320" y="1146"/>
                </a:lnTo>
                <a:lnTo>
                  <a:pt x="7334" y="1138"/>
                </a:lnTo>
                <a:lnTo>
                  <a:pt x="7348" y="1138"/>
                </a:lnTo>
                <a:lnTo>
                  <a:pt x="7361" y="1143"/>
                </a:lnTo>
                <a:lnTo>
                  <a:pt x="7375" y="1147"/>
                </a:lnTo>
                <a:close/>
                <a:moveTo>
                  <a:pt x="7355" y="900"/>
                </a:moveTo>
                <a:lnTo>
                  <a:pt x="7357" y="898"/>
                </a:lnTo>
                <a:lnTo>
                  <a:pt x="7357" y="899"/>
                </a:lnTo>
                <a:lnTo>
                  <a:pt x="7355" y="901"/>
                </a:lnTo>
                <a:lnTo>
                  <a:pt x="7353" y="904"/>
                </a:lnTo>
                <a:lnTo>
                  <a:pt x="7353" y="901"/>
                </a:lnTo>
                <a:lnTo>
                  <a:pt x="7355" y="900"/>
                </a:lnTo>
                <a:close/>
                <a:moveTo>
                  <a:pt x="7376" y="1081"/>
                </a:moveTo>
                <a:lnTo>
                  <a:pt x="7379" y="1083"/>
                </a:lnTo>
                <a:lnTo>
                  <a:pt x="7378" y="1083"/>
                </a:lnTo>
                <a:lnTo>
                  <a:pt x="7376" y="1083"/>
                </a:lnTo>
                <a:lnTo>
                  <a:pt x="7376" y="1083"/>
                </a:lnTo>
                <a:lnTo>
                  <a:pt x="7376" y="1081"/>
                </a:lnTo>
                <a:close/>
                <a:moveTo>
                  <a:pt x="7425" y="1280"/>
                </a:moveTo>
                <a:lnTo>
                  <a:pt x="7429" y="1282"/>
                </a:lnTo>
                <a:lnTo>
                  <a:pt x="7426" y="1283"/>
                </a:lnTo>
                <a:lnTo>
                  <a:pt x="7423" y="1283"/>
                </a:lnTo>
                <a:lnTo>
                  <a:pt x="7422" y="1282"/>
                </a:lnTo>
                <a:lnTo>
                  <a:pt x="7425" y="1280"/>
                </a:lnTo>
                <a:close/>
                <a:moveTo>
                  <a:pt x="7481" y="1240"/>
                </a:moveTo>
                <a:lnTo>
                  <a:pt x="7510" y="1244"/>
                </a:lnTo>
                <a:lnTo>
                  <a:pt x="7539" y="1243"/>
                </a:lnTo>
                <a:lnTo>
                  <a:pt x="7567" y="1244"/>
                </a:lnTo>
                <a:lnTo>
                  <a:pt x="7586" y="1258"/>
                </a:lnTo>
                <a:lnTo>
                  <a:pt x="7555" y="1262"/>
                </a:lnTo>
                <a:lnTo>
                  <a:pt x="7516" y="1263"/>
                </a:lnTo>
                <a:lnTo>
                  <a:pt x="7486" y="1258"/>
                </a:lnTo>
                <a:lnTo>
                  <a:pt x="7481" y="1240"/>
                </a:lnTo>
                <a:close/>
                <a:moveTo>
                  <a:pt x="7516" y="1136"/>
                </a:moveTo>
                <a:lnTo>
                  <a:pt x="7514" y="1137"/>
                </a:lnTo>
                <a:lnTo>
                  <a:pt x="7511" y="1137"/>
                </a:lnTo>
                <a:lnTo>
                  <a:pt x="7509" y="1136"/>
                </a:lnTo>
                <a:lnTo>
                  <a:pt x="7508" y="1133"/>
                </a:lnTo>
                <a:lnTo>
                  <a:pt x="7510" y="1131"/>
                </a:lnTo>
                <a:lnTo>
                  <a:pt x="7511" y="1131"/>
                </a:lnTo>
                <a:lnTo>
                  <a:pt x="7514" y="1133"/>
                </a:lnTo>
                <a:lnTo>
                  <a:pt x="7516" y="1136"/>
                </a:lnTo>
                <a:close/>
                <a:moveTo>
                  <a:pt x="7548" y="942"/>
                </a:moveTo>
                <a:lnTo>
                  <a:pt x="7537" y="946"/>
                </a:lnTo>
                <a:lnTo>
                  <a:pt x="7528" y="947"/>
                </a:lnTo>
                <a:lnTo>
                  <a:pt x="7519" y="945"/>
                </a:lnTo>
                <a:lnTo>
                  <a:pt x="7505" y="937"/>
                </a:lnTo>
                <a:lnTo>
                  <a:pt x="7516" y="938"/>
                </a:lnTo>
                <a:lnTo>
                  <a:pt x="7527" y="940"/>
                </a:lnTo>
                <a:lnTo>
                  <a:pt x="7538" y="941"/>
                </a:lnTo>
                <a:lnTo>
                  <a:pt x="7548" y="942"/>
                </a:lnTo>
                <a:close/>
                <a:moveTo>
                  <a:pt x="7588" y="1059"/>
                </a:moveTo>
                <a:lnTo>
                  <a:pt x="7600" y="1063"/>
                </a:lnTo>
                <a:lnTo>
                  <a:pt x="7599" y="1075"/>
                </a:lnTo>
                <a:lnTo>
                  <a:pt x="7588" y="1085"/>
                </a:lnTo>
                <a:lnTo>
                  <a:pt x="7569" y="1082"/>
                </a:lnTo>
                <a:lnTo>
                  <a:pt x="7579" y="1068"/>
                </a:lnTo>
                <a:lnTo>
                  <a:pt x="7588" y="1059"/>
                </a:lnTo>
                <a:close/>
                <a:moveTo>
                  <a:pt x="7752" y="985"/>
                </a:moveTo>
                <a:lnTo>
                  <a:pt x="7753" y="991"/>
                </a:lnTo>
                <a:lnTo>
                  <a:pt x="7751" y="994"/>
                </a:lnTo>
                <a:lnTo>
                  <a:pt x="7747" y="997"/>
                </a:lnTo>
                <a:lnTo>
                  <a:pt x="7742" y="997"/>
                </a:lnTo>
                <a:lnTo>
                  <a:pt x="7737" y="991"/>
                </a:lnTo>
                <a:lnTo>
                  <a:pt x="7738" y="987"/>
                </a:lnTo>
                <a:lnTo>
                  <a:pt x="7744" y="985"/>
                </a:lnTo>
                <a:lnTo>
                  <a:pt x="7752" y="985"/>
                </a:lnTo>
                <a:close/>
                <a:moveTo>
                  <a:pt x="7763" y="1271"/>
                </a:moveTo>
                <a:lnTo>
                  <a:pt x="7776" y="1287"/>
                </a:lnTo>
                <a:lnTo>
                  <a:pt x="7785" y="1300"/>
                </a:lnTo>
                <a:lnTo>
                  <a:pt x="7785" y="1311"/>
                </a:lnTo>
                <a:lnTo>
                  <a:pt x="7770" y="1323"/>
                </a:lnTo>
                <a:lnTo>
                  <a:pt x="7766" y="1311"/>
                </a:lnTo>
                <a:lnTo>
                  <a:pt x="7758" y="1300"/>
                </a:lnTo>
                <a:lnTo>
                  <a:pt x="7756" y="1287"/>
                </a:lnTo>
                <a:lnTo>
                  <a:pt x="7763" y="1271"/>
                </a:lnTo>
                <a:close/>
                <a:moveTo>
                  <a:pt x="7821" y="1003"/>
                </a:moveTo>
                <a:lnTo>
                  <a:pt x="7822" y="1006"/>
                </a:lnTo>
                <a:lnTo>
                  <a:pt x="7821" y="1008"/>
                </a:lnTo>
                <a:lnTo>
                  <a:pt x="7820" y="1008"/>
                </a:lnTo>
                <a:lnTo>
                  <a:pt x="7817" y="1008"/>
                </a:lnTo>
                <a:lnTo>
                  <a:pt x="7817" y="1007"/>
                </a:lnTo>
                <a:lnTo>
                  <a:pt x="7817" y="1005"/>
                </a:lnTo>
                <a:lnTo>
                  <a:pt x="7818" y="1003"/>
                </a:lnTo>
                <a:lnTo>
                  <a:pt x="7821" y="1003"/>
                </a:lnTo>
                <a:close/>
                <a:moveTo>
                  <a:pt x="7827" y="1106"/>
                </a:moveTo>
                <a:lnTo>
                  <a:pt x="7825" y="1108"/>
                </a:lnTo>
                <a:lnTo>
                  <a:pt x="7822" y="1109"/>
                </a:lnTo>
                <a:lnTo>
                  <a:pt x="7820" y="1105"/>
                </a:lnTo>
                <a:lnTo>
                  <a:pt x="7823" y="1103"/>
                </a:lnTo>
                <a:lnTo>
                  <a:pt x="7827" y="1103"/>
                </a:lnTo>
                <a:lnTo>
                  <a:pt x="7827" y="1106"/>
                </a:lnTo>
                <a:close/>
                <a:moveTo>
                  <a:pt x="7848" y="1365"/>
                </a:moveTo>
                <a:lnTo>
                  <a:pt x="7853" y="1366"/>
                </a:lnTo>
                <a:lnTo>
                  <a:pt x="7855" y="1369"/>
                </a:lnTo>
                <a:lnTo>
                  <a:pt x="7855" y="1372"/>
                </a:lnTo>
                <a:lnTo>
                  <a:pt x="7850" y="1375"/>
                </a:lnTo>
                <a:lnTo>
                  <a:pt x="7842" y="1376"/>
                </a:lnTo>
                <a:lnTo>
                  <a:pt x="7841" y="1374"/>
                </a:lnTo>
                <a:lnTo>
                  <a:pt x="7842" y="1370"/>
                </a:lnTo>
                <a:lnTo>
                  <a:pt x="7848" y="1365"/>
                </a:lnTo>
                <a:close/>
                <a:moveTo>
                  <a:pt x="7851" y="1244"/>
                </a:moveTo>
                <a:lnTo>
                  <a:pt x="7855" y="1248"/>
                </a:lnTo>
                <a:lnTo>
                  <a:pt x="7854" y="1251"/>
                </a:lnTo>
                <a:lnTo>
                  <a:pt x="7851" y="1254"/>
                </a:lnTo>
                <a:lnTo>
                  <a:pt x="7846" y="1255"/>
                </a:lnTo>
                <a:lnTo>
                  <a:pt x="7842" y="1251"/>
                </a:lnTo>
                <a:lnTo>
                  <a:pt x="7842" y="1248"/>
                </a:lnTo>
                <a:lnTo>
                  <a:pt x="7845" y="1244"/>
                </a:lnTo>
                <a:lnTo>
                  <a:pt x="7851" y="1244"/>
                </a:lnTo>
                <a:close/>
                <a:moveTo>
                  <a:pt x="7977" y="1266"/>
                </a:moveTo>
                <a:lnTo>
                  <a:pt x="7963" y="1273"/>
                </a:lnTo>
                <a:lnTo>
                  <a:pt x="7953" y="1276"/>
                </a:lnTo>
                <a:lnTo>
                  <a:pt x="7941" y="1274"/>
                </a:lnTo>
                <a:lnTo>
                  <a:pt x="7920" y="1267"/>
                </a:lnTo>
                <a:lnTo>
                  <a:pt x="7937" y="1267"/>
                </a:lnTo>
                <a:lnTo>
                  <a:pt x="7951" y="1266"/>
                </a:lnTo>
                <a:lnTo>
                  <a:pt x="7963" y="1266"/>
                </a:lnTo>
                <a:lnTo>
                  <a:pt x="7977" y="1266"/>
                </a:lnTo>
                <a:close/>
                <a:moveTo>
                  <a:pt x="7970" y="1201"/>
                </a:moveTo>
                <a:lnTo>
                  <a:pt x="7969" y="1202"/>
                </a:lnTo>
                <a:lnTo>
                  <a:pt x="7970" y="1201"/>
                </a:lnTo>
                <a:lnTo>
                  <a:pt x="7977" y="1206"/>
                </a:lnTo>
                <a:lnTo>
                  <a:pt x="7979" y="1208"/>
                </a:lnTo>
                <a:lnTo>
                  <a:pt x="7976" y="1207"/>
                </a:lnTo>
                <a:lnTo>
                  <a:pt x="7970" y="1201"/>
                </a:lnTo>
                <a:close/>
                <a:moveTo>
                  <a:pt x="8021" y="1146"/>
                </a:moveTo>
                <a:lnTo>
                  <a:pt x="8012" y="1151"/>
                </a:lnTo>
                <a:lnTo>
                  <a:pt x="8003" y="1159"/>
                </a:lnTo>
                <a:lnTo>
                  <a:pt x="7993" y="1166"/>
                </a:lnTo>
                <a:lnTo>
                  <a:pt x="7979" y="1176"/>
                </a:lnTo>
                <a:lnTo>
                  <a:pt x="7988" y="1160"/>
                </a:lnTo>
                <a:lnTo>
                  <a:pt x="7998" y="1151"/>
                </a:lnTo>
                <a:lnTo>
                  <a:pt x="8009" y="1147"/>
                </a:lnTo>
                <a:lnTo>
                  <a:pt x="8021" y="1146"/>
                </a:lnTo>
                <a:close/>
                <a:moveTo>
                  <a:pt x="8011" y="1108"/>
                </a:moveTo>
                <a:lnTo>
                  <a:pt x="8035" y="1103"/>
                </a:lnTo>
                <a:lnTo>
                  <a:pt x="8045" y="1114"/>
                </a:lnTo>
                <a:lnTo>
                  <a:pt x="8042" y="1132"/>
                </a:lnTo>
                <a:lnTo>
                  <a:pt x="8022" y="1145"/>
                </a:lnTo>
                <a:lnTo>
                  <a:pt x="8009" y="1133"/>
                </a:lnTo>
                <a:lnTo>
                  <a:pt x="7997" y="1122"/>
                </a:lnTo>
                <a:lnTo>
                  <a:pt x="7995" y="1111"/>
                </a:lnTo>
                <a:lnTo>
                  <a:pt x="8011" y="1108"/>
                </a:lnTo>
                <a:close/>
                <a:moveTo>
                  <a:pt x="8076" y="1360"/>
                </a:moveTo>
                <a:lnTo>
                  <a:pt x="8083" y="1364"/>
                </a:lnTo>
                <a:lnTo>
                  <a:pt x="8091" y="1369"/>
                </a:lnTo>
                <a:lnTo>
                  <a:pt x="8097" y="1374"/>
                </a:lnTo>
                <a:lnTo>
                  <a:pt x="8098" y="1380"/>
                </a:lnTo>
                <a:lnTo>
                  <a:pt x="8081" y="1385"/>
                </a:lnTo>
                <a:lnTo>
                  <a:pt x="8064" y="1375"/>
                </a:lnTo>
                <a:lnTo>
                  <a:pt x="8060" y="1364"/>
                </a:lnTo>
                <a:lnTo>
                  <a:pt x="8076" y="1360"/>
                </a:lnTo>
                <a:close/>
                <a:moveTo>
                  <a:pt x="8123" y="1195"/>
                </a:moveTo>
                <a:lnTo>
                  <a:pt x="8120" y="1194"/>
                </a:lnTo>
                <a:lnTo>
                  <a:pt x="8123" y="1195"/>
                </a:lnTo>
                <a:lnTo>
                  <a:pt x="8119" y="1197"/>
                </a:lnTo>
                <a:lnTo>
                  <a:pt x="8123" y="1195"/>
                </a:lnTo>
                <a:close/>
                <a:moveTo>
                  <a:pt x="8153" y="1362"/>
                </a:moveTo>
                <a:lnTo>
                  <a:pt x="8154" y="1364"/>
                </a:lnTo>
                <a:lnTo>
                  <a:pt x="8156" y="1365"/>
                </a:lnTo>
                <a:lnTo>
                  <a:pt x="8156" y="1367"/>
                </a:lnTo>
                <a:lnTo>
                  <a:pt x="8154" y="1369"/>
                </a:lnTo>
                <a:lnTo>
                  <a:pt x="8151" y="1369"/>
                </a:lnTo>
                <a:lnTo>
                  <a:pt x="8151" y="1367"/>
                </a:lnTo>
                <a:lnTo>
                  <a:pt x="8151" y="1365"/>
                </a:lnTo>
                <a:lnTo>
                  <a:pt x="8153" y="1362"/>
                </a:lnTo>
                <a:close/>
                <a:moveTo>
                  <a:pt x="8216" y="1201"/>
                </a:moveTo>
                <a:lnTo>
                  <a:pt x="8241" y="1193"/>
                </a:lnTo>
                <a:lnTo>
                  <a:pt x="8240" y="1193"/>
                </a:lnTo>
                <a:lnTo>
                  <a:pt x="8242" y="1201"/>
                </a:lnTo>
                <a:lnTo>
                  <a:pt x="8282" y="1215"/>
                </a:lnTo>
                <a:lnTo>
                  <a:pt x="8239" y="1218"/>
                </a:lnTo>
                <a:lnTo>
                  <a:pt x="8196" y="1209"/>
                </a:lnTo>
                <a:lnTo>
                  <a:pt x="8181" y="1199"/>
                </a:lnTo>
                <a:lnTo>
                  <a:pt x="8216" y="1201"/>
                </a:lnTo>
                <a:close/>
                <a:moveTo>
                  <a:pt x="8328" y="1408"/>
                </a:moveTo>
                <a:lnTo>
                  <a:pt x="8359" y="1441"/>
                </a:lnTo>
                <a:lnTo>
                  <a:pt x="8338" y="1451"/>
                </a:lnTo>
                <a:lnTo>
                  <a:pt x="8298" y="1464"/>
                </a:lnTo>
                <a:lnTo>
                  <a:pt x="8274" y="1506"/>
                </a:lnTo>
                <a:lnTo>
                  <a:pt x="8255" y="1488"/>
                </a:lnTo>
                <a:lnTo>
                  <a:pt x="8268" y="1450"/>
                </a:lnTo>
                <a:lnTo>
                  <a:pt x="8296" y="1416"/>
                </a:lnTo>
                <a:lnTo>
                  <a:pt x="8328" y="1408"/>
                </a:lnTo>
                <a:close/>
                <a:moveTo>
                  <a:pt x="8320" y="1352"/>
                </a:moveTo>
                <a:lnTo>
                  <a:pt x="8329" y="1351"/>
                </a:lnTo>
                <a:lnTo>
                  <a:pt x="8338" y="1350"/>
                </a:lnTo>
                <a:lnTo>
                  <a:pt x="8347" y="1352"/>
                </a:lnTo>
                <a:lnTo>
                  <a:pt x="8351" y="1360"/>
                </a:lnTo>
                <a:lnTo>
                  <a:pt x="8343" y="1366"/>
                </a:lnTo>
                <a:lnTo>
                  <a:pt x="8330" y="1367"/>
                </a:lnTo>
                <a:lnTo>
                  <a:pt x="8320" y="1361"/>
                </a:lnTo>
                <a:lnTo>
                  <a:pt x="8320" y="1352"/>
                </a:lnTo>
                <a:close/>
                <a:moveTo>
                  <a:pt x="8363" y="1516"/>
                </a:moveTo>
                <a:lnTo>
                  <a:pt x="8357" y="1515"/>
                </a:lnTo>
                <a:lnTo>
                  <a:pt x="8349" y="1515"/>
                </a:lnTo>
                <a:lnTo>
                  <a:pt x="8343" y="1512"/>
                </a:lnTo>
                <a:lnTo>
                  <a:pt x="8340" y="1509"/>
                </a:lnTo>
                <a:lnTo>
                  <a:pt x="8348" y="1505"/>
                </a:lnTo>
                <a:lnTo>
                  <a:pt x="8357" y="1506"/>
                </a:lnTo>
                <a:lnTo>
                  <a:pt x="8363" y="1510"/>
                </a:lnTo>
                <a:lnTo>
                  <a:pt x="8363" y="1516"/>
                </a:lnTo>
                <a:close/>
                <a:moveTo>
                  <a:pt x="8410" y="1506"/>
                </a:moveTo>
                <a:lnTo>
                  <a:pt x="8417" y="1504"/>
                </a:lnTo>
                <a:lnTo>
                  <a:pt x="8421" y="1507"/>
                </a:lnTo>
                <a:lnTo>
                  <a:pt x="8422" y="1514"/>
                </a:lnTo>
                <a:lnTo>
                  <a:pt x="8419" y="1519"/>
                </a:lnTo>
                <a:lnTo>
                  <a:pt x="8414" y="1518"/>
                </a:lnTo>
                <a:lnTo>
                  <a:pt x="8410" y="1515"/>
                </a:lnTo>
                <a:lnTo>
                  <a:pt x="8408" y="1512"/>
                </a:lnTo>
                <a:lnTo>
                  <a:pt x="8410" y="1506"/>
                </a:lnTo>
                <a:close/>
                <a:moveTo>
                  <a:pt x="8528" y="1263"/>
                </a:moveTo>
                <a:lnTo>
                  <a:pt x="8503" y="1268"/>
                </a:lnTo>
                <a:lnTo>
                  <a:pt x="8480" y="1271"/>
                </a:lnTo>
                <a:lnTo>
                  <a:pt x="8456" y="1267"/>
                </a:lnTo>
                <a:lnTo>
                  <a:pt x="8426" y="1254"/>
                </a:lnTo>
                <a:lnTo>
                  <a:pt x="8461" y="1245"/>
                </a:lnTo>
                <a:lnTo>
                  <a:pt x="8484" y="1244"/>
                </a:lnTo>
                <a:lnTo>
                  <a:pt x="8503" y="1249"/>
                </a:lnTo>
                <a:lnTo>
                  <a:pt x="8528" y="1263"/>
                </a:lnTo>
                <a:close/>
                <a:moveTo>
                  <a:pt x="8493" y="1188"/>
                </a:moveTo>
                <a:lnTo>
                  <a:pt x="8496" y="1189"/>
                </a:lnTo>
                <a:lnTo>
                  <a:pt x="8497" y="1190"/>
                </a:lnTo>
                <a:lnTo>
                  <a:pt x="8497" y="1193"/>
                </a:lnTo>
                <a:lnTo>
                  <a:pt x="8494" y="1194"/>
                </a:lnTo>
                <a:lnTo>
                  <a:pt x="8492" y="1193"/>
                </a:lnTo>
                <a:lnTo>
                  <a:pt x="8492" y="1192"/>
                </a:lnTo>
                <a:lnTo>
                  <a:pt x="8492" y="1189"/>
                </a:lnTo>
                <a:lnTo>
                  <a:pt x="8493" y="1188"/>
                </a:lnTo>
                <a:close/>
                <a:moveTo>
                  <a:pt x="8563" y="1225"/>
                </a:moveTo>
                <a:lnTo>
                  <a:pt x="8571" y="1253"/>
                </a:lnTo>
                <a:lnTo>
                  <a:pt x="8565" y="1276"/>
                </a:lnTo>
                <a:lnTo>
                  <a:pt x="8549" y="1283"/>
                </a:lnTo>
                <a:lnTo>
                  <a:pt x="8530" y="1263"/>
                </a:lnTo>
                <a:lnTo>
                  <a:pt x="8543" y="1259"/>
                </a:lnTo>
                <a:lnTo>
                  <a:pt x="8549" y="1249"/>
                </a:lnTo>
                <a:lnTo>
                  <a:pt x="8554" y="1236"/>
                </a:lnTo>
                <a:lnTo>
                  <a:pt x="8563" y="1225"/>
                </a:lnTo>
                <a:close/>
                <a:moveTo>
                  <a:pt x="8619" y="1356"/>
                </a:moveTo>
                <a:lnTo>
                  <a:pt x="8642" y="1366"/>
                </a:lnTo>
                <a:lnTo>
                  <a:pt x="8637" y="1394"/>
                </a:lnTo>
                <a:lnTo>
                  <a:pt x="8609" y="1421"/>
                </a:lnTo>
                <a:lnTo>
                  <a:pt x="8566" y="1425"/>
                </a:lnTo>
                <a:lnTo>
                  <a:pt x="8573" y="1403"/>
                </a:lnTo>
                <a:lnTo>
                  <a:pt x="8590" y="1390"/>
                </a:lnTo>
                <a:lnTo>
                  <a:pt x="8608" y="1378"/>
                </a:lnTo>
                <a:lnTo>
                  <a:pt x="8619" y="1356"/>
                </a:lnTo>
                <a:close/>
                <a:moveTo>
                  <a:pt x="8680" y="1240"/>
                </a:moveTo>
                <a:lnTo>
                  <a:pt x="8680" y="1245"/>
                </a:lnTo>
                <a:lnTo>
                  <a:pt x="8680" y="1251"/>
                </a:lnTo>
                <a:lnTo>
                  <a:pt x="8679" y="1255"/>
                </a:lnTo>
                <a:lnTo>
                  <a:pt x="8675" y="1257"/>
                </a:lnTo>
                <a:lnTo>
                  <a:pt x="8674" y="1251"/>
                </a:lnTo>
                <a:lnTo>
                  <a:pt x="8673" y="1245"/>
                </a:lnTo>
                <a:lnTo>
                  <a:pt x="8674" y="1241"/>
                </a:lnTo>
                <a:lnTo>
                  <a:pt x="8680" y="1240"/>
                </a:lnTo>
                <a:close/>
                <a:moveTo>
                  <a:pt x="8684" y="1320"/>
                </a:moveTo>
                <a:lnTo>
                  <a:pt x="8684" y="1323"/>
                </a:lnTo>
                <a:lnTo>
                  <a:pt x="8683" y="1324"/>
                </a:lnTo>
                <a:lnTo>
                  <a:pt x="8682" y="1323"/>
                </a:lnTo>
                <a:lnTo>
                  <a:pt x="8678" y="1322"/>
                </a:lnTo>
                <a:lnTo>
                  <a:pt x="8682" y="1320"/>
                </a:lnTo>
                <a:lnTo>
                  <a:pt x="8684" y="1320"/>
                </a:lnTo>
                <a:close/>
                <a:moveTo>
                  <a:pt x="8748" y="1448"/>
                </a:moveTo>
                <a:lnTo>
                  <a:pt x="8749" y="1463"/>
                </a:lnTo>
                <a:lnTo>
                  <a:pt x="8740" y="1473"/>
                </a:lnTo>
                <a:lnTo>
                  <a:pt x="8728" y="1477"/>
                </a:lnTo>
                <a:lnTo>
                  <a:pt x="8717" y="1470"/>
                </a:lnTo>
                <a:lnTo>
                  <a:pt x="8706" y="1456"/>
                </a:lnTo>
                <a:lnTo>
                  <a:pt x="8714" y="1450"/>
                </a:lnTo>
                <a:lnTo>
                  <a:pt x="8731" y="1449"/>
                </a:lnTo>
                <a:lnTo>
                  <a:pt x="8748" y="1448"/>
                </a:lnTo>
                <a:close/>
                <a:moveTo>
                  <a:pt x="8768" y="1360"/>
                </a:moveTo>
                <a:lnTo>
                  <a:pt x="8749" y="1336"/>
                </a:lnTo>
                <a:lnTo>
                  <a:pt x="8761" y="1320"/>
                </a:lnTo>
                <a:lnTo>
                  <a:pt x="8780" y="1324"/>
                </a:lnTo>
                <a:lnTo>
                  <a:pt x="8786" y="1353"/>
                </a:lnTo>
                <a:lnTo>
                  <a:pt x="8775" y="1374"/>
                </a:lnTo>
                <a:lnTo>
                  <a:pt x="8757" y="1380"/>
                </a:lnTo>
                <a:lnTo>
                  <a:pt x="8749" y="1374"/>
                </a:lnTo>
                <a:lnTo>
                  <a:pt x="8768" y="1360"/>
                </a:lnTo>
                <a:close/>
                <a:moveTo>
                  <a:pt x="8762" y="1260"/>
                </a:moveTo>
                <a:lnTo>
                  <a:pt x="8768" y="1264"/>
                </a:lnTo>
                <a:lnTo>
                  <a:pt x="8772" y="1268"/>
                </a:lnTo>
                <a:lnTo>
                  <a:pt x="8773" y="1273"/>
                </a:lnTo>
                <a:lnTo>
                  <a:pt x="8767" y="1276"/>
                </a:lnTo>
                <a:lnTo>
                  <a:pt x="8759" y="1273"/>
                </a:lnTo>
                <a:lnTo>
                  <a:pt x="8756" y="1269"/>
                </a:lnTo>
                <a:lnTo>
                  <a:pt x="8757" y="1264"/>
                </a:lnTo>
                <a:lnTo>
                  <a:pt x="8762" y="1260"/>
                </a:lnTo>
                <a:close/>
                <a:moveTo>
                  <a:pt x="8768" y="1227"/>
                </a:moveTo>
                <a:lnTo>
                  <a:pt x="8772" y="1226"/>
                </a:lnTo>
                <a:lnTo>
                  <a:pt x="8773" y="1229"/>
                </a:lnTo>
                <a:lnTo>
                  <a:pt x="8772" y="1234"/>
                </a:lnTo>
                <a:lnTo>
                  <a:pt x="8768" y="1234"/>
                </a:lnTo>
                <a:lnTo>
                  <a:pt x="8768" y="1230"/>
                </a:lnTo>
                <a:lnTo>
                  <a:pt x="8768" y="1227"/>
                </a:lnTo>
                <a:close/>
                <a:moveTo>
                  <a:pt x="8795" y="1530"/>
                </a:moveTo>
                <a:lnTo>
                  <a:pt x="8798" y="1532"/>
                </a:lnTo>
                <a:lnTo>
                  <a:pt x="8796" y="1533"/>
                </a:lnTo>
                <a:lnTo>
                  <a:pt x="8795" y="1533"/>
                </a:lnTo>
                <a:lnTo>
                  <a:pt x="8794" y="1532"/>
                </a:lnTo>
                <a:lnTo>
                  <a:pt x="8795" y="1530"/>
                </a:lnTo>
                <a:close/>
                <a:moveTo>
                  <a:pt x="8823" y="1645"/>
                </a:moveTo>
                <a:lnTo>
                  <a:pt x="8815" y="1650"/>
                </a:lnTo>
                <a:lnTo>
                  <a:pt x="8808" y="1650"/>
                </a:lnTo>
                <a:lnTo>
                  <a:pt x="8799" y="1647"/>
                </a:lnTo>
                <a:lnTo>
                  <a:pt x="8785" y="1645"/>
                </a:lnTo>
                <a:lnTo>
                  <a:pt x="8799" y="1641"/>
                </a:lnTo>
                <a:lnTo>
                  <a:pt x="8809" y="1638"/>
                </a:lnTo>
                <a:lnTo>
                  <a:pt x="8817" y="1638"/>
                </a:lnTo>
                <a:lnTo>
                  <a:pt x="8823" y="1645"/>
                </a:lnTo>
                <a:close/>
                <a:moveTo>
                  <a:pt x="8836" y="1463"/>
                </a:moveTo>
                <a:lnTo>
                  <a:pt x="8842" y="1465"/>
                </a:lnTo>
                <a:lnTo>
                  <a:pt x="8843" y="1470"/>
                </a:lnTo>
                <a:lnTo>
                  <a:pt x="8840" y="1476"/>
                </a:lnTo>
                <a:lnTo>
                  <a:pt x="8833" y="1482"/>
                </a:lnTo>
                <a:lnTo>
                  <a:pt x="8826" y="1474"/>
                </a:lnTo>
                <a:lnTo>
                  <a:pt x="8824" y="1469"/>
                </a:lnTo>
                <a:lnTo>
                  <a:pt x="8827" y="1465"/>
                </a:lnTo>
                <a:lnTo>
                  <a:pt x="8836" y="1463"/>
                </a:lnTo>
                <a:close/>
                <a:moveTo>
                  <a:pt x="8873" y="1585"/>
                </a:moveTo>
                <a:lnTo>
                  <a:pt x="8864" y="1619"/>
                </a:lnTo>
                <a:lnTo>
                  <a:pt x="8851" y="1609"/>
                </a:lnTo>
                <a:lnTo>
                  <a:pt x="8840" y="1575"/>
                </a:lnTo>
                <a:lnTo>
                  <a:pt x="8835" y="1537"/>
                </a:lnTo>
                <a:lnTo>
                  <a:pt x="8857" y="1546"/>
                </a:lnTo>
                <a:lnTo>
                  <a:pt x="8870" y="1554"/>
                </a:lnTo>
                <a:lnTo>
                  <a:pt x="8874" y="1567"/>
                </a:lnTo>
                <a:lnTo>
                  <a:pt x="8873" y="1585"/>
                </a:lnTo>
                <a:close/>
                <a:moveTo>
                  <a:pt x="8882" y="1483"/>
                </a:moveTo>
                <a:lnTo>
                  <a:pt x="8882" y="1486"/>
                </a:lnTo>
                <a:lnTo>
                  <a:pt x="8880" y="1486"/>
                </a:lnTo>
                <a:lnTo>
                  <a:pt x="8879" y="1486"/>
                </a:lnTo>
                <a:lnTo>
                  <a:pt x="8878" y="1484"/>
                </a:lnTo>
                <a:lnTo>
                  <a:pt x="8882" y="1483"/>
                </a:lnTo>
                <a:close/>
                <a:moveTo>
                  <a:pt x="8921" y="1679"/>
                </a:moveTo>
                <a:lnTo>
                  <a:pt x="8925" y="1682"/>
                </a:lnTo>
                <a:lnTo>
                  <a:pt x="8922" y="1682"/>
                </a:lnTo>
                <a:lnTo>
                  <a:pt x="8921" y="1683"/>
                </a:lnTo>
                <a:lnTo>
                  <a:pt x="8920" y="1682"/>
                </a:lnTo>
                <a:lnTo>
                  <a:pt x="8921" y="1679"/>
                </a:lnTo>
                <a:close/>
                <a:moveTo>
                  <a:pt x="8943" y="1552"/>
                </a:moveTo>
                <a:lnTo>
                  <a:pt x="8947" y="1562"/>
                </a:lnTo>
                <a:lnTo>
                  <a:pt x="8943" y="1567"/>
                </a:lnTo>
                <a:lnTo>
                  <a:pt x="8936" y="1571"/>
                </a:lnTo>
                <a:lnTo>
                  <a:pt x="8927" y="1575"/>
                </a:lnTo>
                <a:lnTo>
                  <a:pt x="8925" y="1566"/>
                </a:lnTo>
                <a:lnTo>
                  <a:pt x="8927" y="1560"/>
                </a:lnTo>
                <a:lnTo>
                  <a:pt x="8934" y="1556"/>
                </a:lnTo>
                <a:lnTo>
                  <a:pt x="8943" y="1552"/>
                </a:lnTo>
                <a:close/>
                <a:moveTo>
                  <a:pt x="8930" y="1375"/>
                </a:moveTo>
                <a:lnTo>
                  <a:pt x="8938" y="1369"/>
                </a:lnTo>
                <a:lnTo>
                  <a:pt x="8948" y="1364"/>
                </a:lnTo>
                <a:lnTo>
                  <a:pt x="8950" y="1375"/>
                </a:lnTo>
                <a:lnTo>
                  <a:pt x="8941" y="1386"/>
                </a:lnTo>
                <a:lnTo>
                  <a:pt x="8931" y="1389"/>
                </a:lnTo>
                <a:lnTo>
                  <a:pt x="8930" y="1375"/>
                </a:lnTo>
                <a:close/>
                <a:moveTo>
                  <a:pt x="8996" y="1399"/>
                </a:moveTo>
                <a:lnTo>
                  <a:pt x="8992" y="1408"/>
                </a:lnTo>
                <a:lnTo>
                  <a:pt x="8986" y="1416"/>
                </a:lnTo>
                <a:lnTo>
                  <a:pt x="8980" y="1417"/>
                </a:lnTo>
                <a:lnTo>
                  <a:pt x="8971" y="1409"/>
                </a:lnTo>
                <a:lnTo>
                  <a:pt x="8984" y="1404"/>
                </a:lnTo>
                <a:lnTo>
                  <a:pt x="8996" y="1399"/>
                </a:lnTo>
                <a:close/>
                <a:moveTo>
                  <a:pt x="8998" y="1371"/>
                </a:moveTo>
                <a:lnTo>
                  <a:pt x="9018" y="1372"/>
                </a:lnTo>
                <a:lnTo>
                  <a:pt x="9022" y="1380"/>
                </a:lnTo>
                <a:lnTo>
                  <a:pt x="9014" y="1390"/>
                </a:lnTo>
                <a:lnTo>
                  <a:pt x="8998" y="1397"/>
                </a:lnTo>
                <a:lnTo>
                  <a:pt x="8998" y="1385"/>
                </a:lnTo>
                <a:lnTo>
                  <a:pt x="8998" y="1371"/>
                </a:lnTo>
                <a:close/>
                <a:moveTo>
                  <a:pt x="9059" y="1520"/>
                </a:moveTo>
                <a:lnTo>
                  <a:pt x="9050" y="1530"/>
                </a:lnTo>
                <a:lnTo>
                  <a:pt x="9033" y="1528"/>
                </a:lnTo>
                <a:lnTo>
                  <a:pt x="9019" y="1518"/>
                </a:lnTo>
                <a:lnTo>
                  <a:pt x="9019" y="1506"/>
                </a:lnTo>
                <a:lnTo>
                  <a:pt x="9031" y="1506"/>
                </a:lnTo>
                <a:lnTo>
                  <a:pt x="9042" y="1507"/>
                </a:lnTo>
                <a:lnTo>
                  <a:pt x="9054" y="1511"/>
                </a:lnTo>
                <a:lnTo>
                  <a:pt x="9059" y="1520"/>
                </a:lnTo>
                <a:close/>
                <a:moveTo>
                  <a:pt x="9088" y="1616"/>
                </a:moveTo>
                <a:lnTo>
                  <a:pt x="9094" y="1614"/>
                </a:lnTo>
                <a:lnTo>
                  <a:pt x="9101" y="1614"/>
                </a:lnTo>
                <a:lnTo>
                  <a:pt x="9108" y="1617"/>
                </a:lnTo>
                <a:lnTo>
                  <a:pt x="9115" y="1619"/>
                </a:lnTo>
                <a:lnTo>
                  <a:pt x="9136" y="1641"/>
                </a:lnTo>
                <a:lnTo>
                  <a:pt x="9111" y="1649"/>
                </a:lnTo>
                <a:lnTo>
                  <a:pt x="9080" y="1641"/>
                </a:lnTo>
                <a:lnTo>
                  <a:pt x="9088" y="1616"/>
                </a:lnTo>
                <a:close/>
                <a:moveTo>
                  <a:pt x="9186" y="1609"/>
                </a:moveTo>
                <a:lnTo>
                  <a:pt x="9175" y="1617"/>
                </a:lnTo>
                <a:lnTo>
                  <a:pt x="9163" y="1624"/>
                </a:lnTo>
                <a:lnTo>
                  <a:pt x="9153" y="1632"/>
                </a:lnTo>
                <a:lnTo>
                  <a:pt x="9143" y="1640"/>
                </a:lnTo>
                <a:lnTo>
                  <a:pt x="9139" y="1618"/>
                </a:lnTo>
                <a:lnTo>
                  <a:pt x="9149" y="1605"/>
                </a:lnTo>
                <a:lnTo>
                  <a:pt x="9166" y="1602"/>
                </a:lnTo>
                <a:lnTo>
                  <a:pt x="9186" y="1609"/>
                </a:lnTo>
                <a:close/>
                <a:moveTo>
                  <a:pt x="9238" y="1644"/>
                </a:moveTo>
                <a:lnTo>
                  <a:pt x="9317" y="1638"/>
                </a:lnTo>
                <a:lnTo>
                  <a:pt x="9353" y="1661"/>
                </a:lnTo>
                <a:lnTo>
                  <a:pt x="9355" y="1711"/>
                </a:lnTo>
                <a:lnTo>
                  <a:pt x="9338" y="1789"/>
                </a:lnTo>
                <a:lnTo>
                  <a:pt x="9312" y="1729"/>
                </a:lnTo>
                <a:lnTo>
                  <a:pt x="9261" y="1688"/>
                </a:lnTo>
                <a:lnTo>
                  <a:pt x="9224" y="1661"/>
                </a:lnTo>
                <a:lnTo>
                  <a:pt x="9238" y="1644"/>
                </a:lnTo>
                <a:close/>
                <a:moveTo>
                  <a:pt x="9257" y="1505"/>
                </a:moveTo>
                <a:lnTo>
                  <a:pt x="9255" y="1506"/>
                </a:lnTo>
                <a:lnTo>
                  <a:pt x="9252" y="1506"/>
                </a:lnTo>
                <a:lnTo>
                  <a:pt x="9251" y="1504"/>
                </a:lnTo>
                <a:lnTo>
                  <a:pt x="9250" y="1501"/>
                </a:lnTo>
                <a:lnTo>
                  <a:pt x="9252" y="1500"/>
                </a:lnTo>
                <a:lnTo>
                  <a:pt x="9255" y="1500"/>
                </a:lnTo>
                <a:lnTo>
                  <a:pt x="9256" y="1502"/>
                </a:lnTo>
                <a:lnTo>
                  <a:pt x="9257" y="1505"/>
                </a:lnTo>
                <a:close/>
                <a:moveTo>
                  <a:pt x="9248" y="1398"/>
                </a:moveTo>
                <a:lnTo>
                  <a:pt x="9256" y="1399"/>
                </a:lnTo>
                <a:lnTo>
                  <a:pt x="9265" y="1400"/>
                </a:lnTo>
                <a:lnTo>
                  <a:pt x="9273" y="1402"/>
                </a:lnTo>
                <a:lnTo>
                  <a:pt x="9276" y="1407"/>
                </a:lnTo>
                <a:lnTo>
                  <a:pt x="9269" y="1404"/>
                </a:lnTo>
                <a:lnTo>
                  <a:pt x="9259" y="1404"/>
                </a:lnTo>
                <a:lnTo>
                  <a:pt x="9251" y="1402"/>
                </a:lnTo>
                <a:lnTo>
                  <a:pt x="9248" y="1398"/>
                </a:lnTo>
                <a:close/>
                <a:moveTo>
                  <a:pt x="9364" y="1591"/>
                </a:moveTo>
                <a:lnTo>
                  <a:pt x="9378" y="1608"/>
                </a:lnTo>
                <a:lnTo>
                  <a:pt x="9358" y="1608"/>
                </a:lnTo>
                <a:lnTo>
                  <a:pt x="9327" y="1598"/>
                </a:lnTo>
                <a:lnTo>
                  <a:pt x="9307" y="1581"/>
                </a:lnTo>
                <a:lnTo>
                  <a:pt x="9321" y="1584"/>
                </a:lnTo>
                <a:lnTo>
                  <a:pt x="9335" y="1586"/>
                </a:lnTo>
                <a:lnTo>
                  <a:pt x="9349" y="1589"/>
                </a:lnTo>
                <a:lnTo>
                  <a:pt x="9364" y="1591"/>
                </a:lnTo>
                <a:close/>
                <a:moveTo>
                  <a:pt x="9336" y="1451"/>
                </a:moveTo>
                <a:lnTo>
                  <a:pt x="9357" y="1463"/>
                </a:lnTo>
                <a:lnTo>
                  <a:pt x="9363" y="1456"/>
                </a:lnTo>
                <a:lnTo>
                  <a:pt x="9362" y="1437"/>
                </a:lnTo>
                <a:lnTo>
                  <a:pt x="9359" y="1409"/>
                </a:lnTo>
                <a:lnTo>
                  <a:pt x="9397" y="1458"/>
                </a:lnTo>
                <a:lnTo>
                  <a:pt x="9378" y="1504"/>
                </a:lnTo>
                <a:lnTo>
                  <a:pt x="9344" y="1514"/>
                </a:lnTo>
                <a:lnTo>
                  <a:pt x="9336" y="1451"/>
                </a:lnTo>
                <a:close/>
                <a:moveTo>
                  <a:pt x="9399" y="1538"/>
                </a:moveTo>
                <a:lnTo>
                  <a:pt x="9404" y="1540"/>
                </a:lnTo>
                <a:lnTo>
                  <a:pt x="9405" y="1543"/>
                </a:lnTo>
                <a:lnTo>
                  <a:pt x="9402" y="1544"/>
                </a:lnTo>
                <a:lnTo>
                  <a:pt x="9396" y="1546"/>
                </a:lnTo>
                <a:lnTo>
                  <a:pt x="9395" y="1542"/>
                </a:lnTo>
                <a:lnTo>
                  <a:pt x="9395" y="1539"/>
                </a:lnTo>
                <a:lnTo>
                  <a:pt x="9395" y="1538"/>
                </a:lnTo>
                <a:lnTo>
                  <a:pt x="9399" y="1538"/>
                </a:lnTo>
                <a:close/>
                <a:moveTo>
                  <a:pt x="9429" y="1477"/>
                </a:moveTo>
                <a:lnTo>
                  <a:pt x="9451" y="1472"/>
                </a:lnTo>
                <a:lnTo>
                  <a:pt x="9460" y="1481"/>
                </a:lnTo>
                <a:lnTo>
                  <a:pt x="9457" y="1495"/>
                </a:lnTo>
                <a:lnTo>
                  <a:pt x="9441" y="1505"/>
                </a:lnTo>
                <a:lnTo>
                  <a:pt x="9432" y="1501"/>
                </a:lnTo>
                <a:lnTo>
                  <a:pt x="9425" y="1493"/>
                </a:lnTo>
                <a:lnTo>
                  <a:pt x="9424" y="1484"/>
                </a:lnTo>
                <a:lnTo>
                  <a:pt x="9429" y="1477"/>
                </a:lnTo>
                <a:close/>
                <a:moveTo>
                  <a:pt x="9467" y="1679"/>
                </a:moveTo>
                <a:lnTo>
                  <a:pt x="9462" y="1682"/>
                </a:lnTo>
                <a:lnTo>
                  <a:pt x="9456" y="1684"/>
                </a:lnTo>
                <a:lnTo>
                  <a:pt x="9450" y="1686"/>
                </a:lnTo>
                <a:lnTo>
                  <a:pt x="9446" y="1683"/>
                </a:lnTo>
                <a:lnTo>
                  <a:pt x="9451" y="1675"/>
                </a:lnTo>
                <a:lnTo>
                  <a:pt x="9457" y="1672"/>
                </a:lnTo>
                <a:lnTo>
                  <a:pt x="9462" y="1672"/>
                </a:lnTo>
                <a:lnTo>
                  <a:pt x="9467" y="1679"/>
                </a:lnTo>
                <a:close/>
                <a:moveTo>
                  <a:pt x="9503" y="1775"/>
                </a:moveTo>
                <a:lnTo>
                  <a:pt x="9513" y="1780"/>
                </a:lnTo>
                <a:lnTo>
                  <a:pt x="9515" y="1786"/>
                </a:lnTo>
                <a:lnTo>
                  <a:pt x="9508" y="1790"/>
                </a:lnTo>
                <a:lnTo>
                  <a:pt x="9497" y="1785"/>
                </a:lnTo>
                <a:lnTo>
                  <a:pt x="9495" y="1781"/>
                </a:lnTo>
                <a:lnTo>
                  <a:pt x="9497" y="1778"/>
                </a:lnTo>
                <a:lnTo>
                  <a:pt x="9501" y="1775"/>
                </a:lnTo>
                <a:lnTo>
                  <a:pt x="9503" y="1775"/>
                </a:lnTo>
                <a:close/>
                <a:moveTo>
                  <a:pt x="9531" y="1700"/>
                </a:moveTo>
                <a:lnTo>
                  <a:pt x="9597" y="1673"/>
                </a:lnTo>
                <a:lnTo>
                  <a:pt x="9616" y="1684"/>
                </a:lnTo>
                <a:lnTo>
                  <a:pt x="9632" y="1710"/>
                </a:lnTo>
                <a:lnTo>
                  <a:pt x="9686" y="1726"/>
                </a:lnTo>
                <a:lnTo>
                  <a:pt x="9648" y="1773"/>
                </a:lnTo>
                <a:lnTo>
                  <a:pt x="9588" y="1772"/>
                </a:lnTo>
                <a:lnTo>
                  <a:pt x="9537" y="1743"/>
                </a:lnTo>
                <a:lnTo>
                  <a:pt x="9531" y="1700"/>
                </a:lnTo>
                <a:close/>
                <a:moveTo>
                  <a:pt x="9676" y="1808"/>
                </a:moveTo>
                <a:lnTo>
                  <a:pt x="9671" y="1804"/>
                </a:lnTo>
                <a:lnTo>
                  <a:pt x="9671" y="1800"/>
                </a:lnTo>
                <a:lnTo>
                  <a:pt x="9675" y="1795"/>
                </a:lnTo>
                <a:lnTo>
                  <a:pt x="9683" y="1794"/>
                </a:lnTo>
                <a:lnTo>
                  <a:pt x="9688" y="1798"/>
                </a:lnTo>
                <a:lnTo>
                  <a:pt x="9686" y="1801"/>
                </a:lnTo>
                <a:lnTo>
                  <a:pt x="9683" y="1805"/>
                </a:lnTo>
                <a:lnTo>
                  <a:pt x="9676" y="1808"/>
                </a:lnTo>
                <a:close/>
                <a:moveTo>
                  <a:pt x="9702" y="1893"/>
                </a:moveTo>
                <a:lnTo>
                  <a:pt x="9720" y="1920"/>
                </a:lnTo>
                <a:lnTo>
                  <a:pt x="9700" y="1925"/>
                </a:lnTo>
                <a:lnTo>
                  <a:pt x="9665" y="1917"/>
                </a:lnTo>
                <a:lnTo>
                  <a:pt x="9632" y="1906"/>
                </a:lnTo>
                <a:lnTo>
                  <a:pt x="9647" y="1896"/>
                </a:lnTo>
                <a:lnTo>
                  <a:pt x="9664" y="1896"/>
                </a:lnTo>
                <a:lnTo>
                  <a:pt x="9683" y="1897"/>
                </a:lnTo>
                <a:lnTo>
                  <a:pt x="9702" y="1893"/>
                </a:lnTo>
                <a:close/>
                <a:moveTo>
                  <a:pt x="9706" y="1672"/>
                </a:moveTo>
                <a:lnTo>
                  <a:pt x="9712" y="1677"/>
                </a:lnTo>
                <a:lnTo>
                  <a:pt x="9713" y="1682"/>
                </a:lnTo>
                <a:lnTo>
                  <a:pt x="9708" y="1688"/>
                </a:lnTo>
                <a:lnTo>
                  <a:pt x="9700" y="1693"/>
                </a:lnTo>
                <a:lnTo>
                  <a:pt x="9695" y="1687"/>
                </a:lnTo>
                <a:lnTo>
                  <a:pt x="9694" y="1680"/>
                </a:lnTo>
                <a:lnTo>
                  <a:pt x="9698" y="1675"/>
                </a:lnTo>
                <a:lnTo>
                  <a:pt x="9706" y="1672"/>
                </a:lnTo>
                <a:close/>
                <a:moveTo>
                  <a:pt x="9734" y="1740"/>
                </a:moveTo>
                <a:lnTo>
                  <a:pt x="9729" y="1749"/>
                </a:lnTo>
                <a:lnTo>
                  <a:pt x="9723" y="1759"/>
                </a:lnTo>
                <a:lnTo>
                  <a:pt x="9718" y="1767"/>
                </a:lnTo>
                <a:lnTo>
                  <a:pt x="9711" y="1767"/>
                </a:lnTo>
                <a:lnTo>
                  <a:pt x="9715" y="1757"/>
                </a:lnTo>
                <a:lnTo>
                  <a:pt x="9720" y="1747"/>
                </a:lnTo>
                <a:lnTo>
                  <a:pt x="9725" y="1739"/>
                </a:lnTo>
                <a:lnTo>
                  <a:pt x="9734" y="1740"/>
                </a:lnTo>
                <a:close/>
                <a:moveTo>
                  <a:pt x="9739" y="1824"/>
                </a:moveTo>
                <a:lnTo>
                  <a:pt x="9790" y="1748"/>
                </a:lnTo>
                <a:lnTo>
                  <a:pt x="9833" y="1753"/>
                </a:lnTo>
                <a:lnTo>
                  <a:pt x="9842" y="1805"/>
                </a:lnTo>
                <a:lnTo>
                  <a:pt x="9790" y="1870"/>
                </a:lnTo>
                <a:lnTo>
                  <a:pt x="9743" y="1902"/>
                </a:lnTo>
                <a:lnTo>
                  <a:pt x="9707" y="1887"/>
                </a:lnTo>
                <a:lnTo>
                  <a:pt x="9700" y="1854"/>
                </a:lnTo>
                <a:lnTo>
                  <a:pt x="9739" y="1824"/>
                </a:lnTo>
                <a:close/>
                <a:moveTo>
                  <a:pt x="9860" y="1877"/>
                </a:moveTo>
                <a:lnTo>
                  <a:pt x="9860" y="1873"/>
                </a:lnTo>
                <a:lnTo>
                  <a:pt x="9860" y="1869"/>
                </a:lnTo>
                <a:lnTo>
                  <a:pt x="9861" y="1866"/>
                </a:lnTo>
                <a:lnTo>
                  <a:pt x="9865" y="1865"/>
                </a:lnTo>
                <a:lnTo>
                  <a:pt x="9867" y="1870"/>
                </a:lnTo>
                <a:lnTo>
                  <a:pt x="9867" y="1873"/>
                </a:lnTo>
                <a:lnTo>
                  <a:pt x="9864" y="1875"/>
                </a:lnTo>
                <a:lnTo>
                  <a:pt x="9860" y="1877"/>
                </a:lnTo>
                <a:close/>
                <a:moveTo>
                  <a:pt x="9884" y="1949"/>
                </a:moveTo>
                <a:lnTo>
                  <a:pt x="9876" y="1953"/>
                </a:lnTo>
                <a:lnTo>
                  <a:pt x="9870" y="1953"/>
                </a:lnTo>
                <a:lnTo>
                  <a:pt x="9867" y="1949"/>
                </a:lnTo>
                <a:lnTo>
                  <a:pt x="9867" y="1943"/>
                </a:lnTo>
                <a:lnTo>
                  <a:pt x="9874" y="1940"/>
                </a:lnTo>
                <a:lnTo>
                  <a:pt x="9880" y="1940"/>
                </a:lnTo>
                <a:lnTo>
                  <a:pt x="9884" y="1943"/>
                </a:lnTo>
                <a:lnTo>
                  <a:pt x="9884" y="1949"/>
                </a:lnTo>
                <a:close/>
                <a:moveTo>
                  <a:pt x="9945" y="1924"/>
                </a:moveTo>
                <a:lnTo>
                  <a:pt x="10005" y="1902"/>
                </a:lnTo>
                <a:lnTo>
                  <a:pt x="10004" y="1957"/>
                </a:lnTo>
                <a:lnTo>
                  <a:pt x="9973" y="2018"/>
                </a:lnTo>
                <a:lnTo>
                  <a:pt x="9949" y="2011"/>
                </a:lnTo>
                <a:lnTo>
                  <a:pt x="9955" y="1973"/>
                </a:lnTo>
                <a:lnTo>
                  <a:pt x="9941" y="1955"/>
                </a:lnTo>
                <a:lnTo>
                  <a:pt x="9930" y="1944"/>
                </a:lnTo>
                <a:lnTo>
                  <a:pt x="9945" y="1924"/>
                </a:lnTo>
                <a:close/>
                <a:moveTo>
                  <a:pt x="9937" y="1884"/>
                </a:moveTo>
                <a:lnTo>
                  <a:pt x="9935" y="1887"/>
                </a:lnTo>
                <a:lnTo>
                  <a:pt x="9935" y="1884"/>
                </a:lnTo>
                <a:lnTo>
                  <a:pt x="9935" y="1883"/>
                </a:lnTo>
                <a:lnTo>
                  <a:pt x="9936" y="1883"/>
                </a:lnTo>
                <a:lnTo>
                  <a:pt x="9937" y="1884"/>
                </a:lnTo>
                <a:close/>
                <a:moveTo>
                  <a:pt x="10113" y="2108"/>
                </a:moveTo>
                <a:lnTo>
                  <a:pt x="10103" y="2126"/>
                </a:lnTo>
                <a:lnTo>
                  <a:pt x="10094" y="2129"/>
                </a:lnTo>
                <a:lnTo>
                  <a:pt x="10085" y="2120"/>
                </a:lnTo>
                <a:lnTo>
                  <a:pt x="10075" y="2101"/>
                </a:lnTo>
                <a:lnTo>
                  <a:pt x="10094" y="2104"/>
                </a:lnTo>
                <a:lnTo>
                  <a:pt x="10113" y="2108"/>
                </a:lnTo>
                <a:close/>
                <a:moveTo>
                  <a:pt x="10210" y="2131"/>
                </a:moveTo>
                <a:lnTo>
                  <a:pt x="10238" y="2143"/>
                </a:lnTo>
                <a:lnTo>
                  <a:pt x="10258" y="2150"/>
                </a:lnTo>
                <a:lnTo>
                  <a:pt x="10280" y="2154"/>
                </a:lnTo>
                <a:lnTo>
                  <a:pt x="10305" y="2154"/>
                </a:lnTo>
                <a:lnTo>
                  <a:pt x="10284" y="2186"/>
                </a:lnTo>
                <a:lnTo>
                  <a:pt x="10232" y="2174"/>
                </a:lnTo>
                <a:lnTo>
                  <a:pt x="10193" y="2148"/>
                </a:lnTo>
                <a:lnTo>
                  <a:pt x="10210" y="2131"/>
                </a:lnTo>
                <a:close/>
                <a:moveTo>
                  <a:pt x="10247" y="2081"/>
                </a:moveTo>
                <a:lnTo>
                  <a:pt x="10240" y="2092"/>
                </a:lnTo>
                <a:lnTo>
                  <a:pt x="10233" y="2094"/>
                </a:lnTo>
                <a:lnTo>
                  <a:pt x="10224" y="2092"/>
                </a:lnTo>
                <a:lnTo>
                  <a:pt x="10216" y="2084"/>
                </a:lnTo>
                <a:lnTo>
                  <a:pt x="10223" y="2079"/>
                </a:lnTo>
                <a:lnTo>
                  <a:pt x="10230" y="2078"/>
                </a:lnTo>
                <a:lnTo>
                  <a:pt x="10238" y="2079"/>
                </a:lnTo>
                <a:lnTo>
                  <a:pt x="10247" y="2081"/>
                </a:lnTo>
                <a:close/>
                <a:moveTo>
                  <a:pt x="10740" y="2453"/>
                </a:moveTo>
                <a:lnTo>
                  <a:pt x="10741" y="2457"/>
                </a:lnTo>
                <a:lnTo>
                  <a:pt x="10737" y="2458"/>
                </a:lnTo>
                <a:lnTo>
                  <a:pt x="10733" y="2458"/>
                </a:lnTo>
                <a:lnTo>
                  <a:pt x="10729" y="2456"/>
                </a:lnTo>
                <a:lnTo>
                  <a:pt x="10735" y="2454"/>
                </a:lnTo>
                <a:lnTo>
                  <a:pt x="10740" y="2453"/>
                </a:lnTo>
                <a:close/>
                <a:moveTo>
                  <a:pt x="10881" y="2486"/>
                </a:moveTo>
                <a:lnTo>
                  <a:pt x="10858" y="2481"/>
                </a:lnTo>
                <a:lnTo>
                  <a:pt x="10828" y="2480"/>
                </a:lnTo>
                <a:lnTo>
                  <a:pt x="10796" y="2479"/>
                </a:lnTo>
                <a:lnTo>
                  <a:pt x="10769" y="2471"/>
                </a:lnTo>
                <a:lnTo>
                  <a:pt x="10801" y="2472"/>
                </a:lnTo>
                <a:lnTo>
                  <a:pt x="10829" y="2472"/>
                </a:lnTo>
                <a:lnTo>
                  <a:pt x="10856" y="2475"/>
                </a:lnTo>
                <a:lnTo>
                  <a:pt x="10881" y="2486"/>
                </a:lnTo>
                <a:close/>
                <a:moveTo>
                  <a:pt x="10836" y="2431"/>
                </a:moveTo>
                <a:lnTo>
                  <a:pt x="10822" y="2437"/>
                </a:lnTo>
                <a:lnTo>
                  <a:pt x="10812" y="2438"/>
                </a:lnTo>
                <a:lnTo>
                  <a:pt x="10800" y="2438"/>
                </a:lnTo>
                <a:lnTo>
                  <a:pt x="10780" y="2437"/>
                </a:lnTo>
                <a:lnTo>
                  <a:pt x="10794" y="2428"/>
                </a:lnTo>
                <a:lnTo>
                  <a:pt x="10808" y="2425"/>
                </a:lnTo>
                <a:lnTo>
                  <a:pt x="10822" y="2426"/>
                </a:lnTo>
                <a:lnTo>
                  <a:pt x="10836" y="2431"/>
                </a:lnTo>
                <a:close/>
                <a:moveTo>
                  <a:pt x="10917" y="2493"/>
                </a:moveTo>
                <a:lnTo>
                  <a:pt x="10931" y="2496"/>
                </a:lnTo>
                <a:lnTo>
                  <a:pt x="10941" y="2505"/>
                </a:lnTo>
                <a:lnTo>
                  <a:pt x="10947" y="2516"/>
                </a:lnTo>
                <a:lnTo>
                  <a:pt x="10950" y="2530"/>
                </a:lnTo>
                <a:lnTo>
                  <a:pt x="10932" y="2513"/>
                </a:lnTo>
                <a:lnTo>
                  <a:pt x="10908" y="2499"/>
                </a:lnTo>
                <a:lnTo>
                  <a:pt x="10896" y="2491"/>
                </a:lnTo>
                <a:lnTo>
                  <a:pt x="10917" y="2493"/>
                </a:lnTo>
                <a:close/>
                <a:moveTo>
                  <a:pt x="10959" y="2634"/>
                </a:moveTo>
                <a:lnTo>
                  <a:pt x="10950" y="2643"/>
                </a:lnTo>
                <a:lnTo>
                  <a:pt x="10940" y="2642"/>
                </a:lnTo>
                <a:lnTo>
                  <a:pt x="10932" y="2635"/>
                </a:lnTo>
                <a:lnTo>
                  <a:pt x="10931" y="2622"/>
                </a:lnTo>
                <a:lnTo>
                  <a:pt x="10938" y="2622"/>
                </a:lnTo>
                <a:lnTo>
                  <a:pt x="10947" y="2622"/>
                </a:lnTo>
                <a:lnTo>
                  <a:pt x="10955" y="2626"/>
                </a:lnTo>
                <a:lnTo>
                  <a:pt x="10959" y="2634"/>
                </a:lnTo>
                <a:close/>
                <a:moveTo>
                  <a:pt x="10980" y="2668"/>
                </a:moveTo>
                <a:lnTo>
                  <a:pt x="10994" y="2645"/>
                </a:lnTo>
                <a:lnTo>
                  <a:pt x="11022" y="2638"/>
                </a:lnTo>
                <a:lnTo>
                  <a:pt x="11052" y="2644"/>
                </a:lnTo>
                <a:lnTo>
                  <a:pt x="11073" y="2663"/>
                </a:lnTo>
                <a:lnTo>
                  <a:pt x="11044" y="2680"/>
                </a:lnTo>
                <a:lnTo>
                  <a:pt x="10994" y="2681"/>
                </a:lnTo>
                <a:lnTo>
                  <a:pt x="10961" y="2673"/>
                </a:lnTo>
                <a:lnTo>
                  <a:pt x="10980" y="2668"/>
                </a:lnTo>
                <a:close/>
                <a:moveTo>
                  <a:pt x="11161" y="2624"/>
                </a:moveTo>
                <a:lnTo>
                  <a:pt x="11168" y="2640"/>
                </a:lnTo>
                <a:lnTo>
                  <a:pt x="11157" y="2645"/>
                </a:lnTo>
                <a:lnTo>
                  <a:pt x="11138" y="2644"/>
                </a:lnTo>
                <a:lnTo>
                  <a:pt x="11122" y="2639"/>
                </a:lnTo>
                <a:lnTo>
                  <a:pt x="11127" y="2622"/>
                </a:lnTo>
                <a:lnTo>
                  <a:pt x="11136" y="2615"/>
                </a:lnTo>
                <a:lnTo>
                  <a:pt x="11148" y="2615"/>
                </a:lnTo>
                <a:lnTo>
                  <a:pt x="11161" y="2624"/>
                </a:lnTo>
                <a:close/>
                <a:moveTo>
                  <a:pt x="11208" y="2630"/>
                </a:moveTo>
                <a:lnTo>
                  <a:pt x="11245" y="2712"/>
                </a:lnTo>
                <a:lnTo>
                  <a:pt x="11230" y="2801"/>
                </a:lnTo>
                <a:lnTo>
                  <a:pt x="11185" y="2838"/>
                </a:lnTo>
                <a:lnTo>
                  <a:pt x="11133" y="2759"/>
                </a:lnTo>
                <a:lnTo>
                  <a:pt x="11109" y="2773"/>
                </a:lnTo>
                <a:lnTo>
                  <a:pt x="11101" y="2799"/>
                </a:lnTo>
                <a:lnTo>
                  <a:pt x="11087" y="2821"/>
                </a:lnTo>
                <a:lnTo>
                  <a:pt x="11038" y="2824"/>
                </a:lnTo>
                <a:lnTo>
                  <a:pt x="11036" y="2801"/>
                </a:lnTo>
                <a:lnTo>
                  <a:pt x="11038" y="2779"/>
                </a:lnTo>
                <a:lnTo>
                  <a:pt x="11030" y="2764"/>
                </a:lnTo>
                <a:lnTo>
                  <a:pt x="11005" y="2759"/>
                </a:lnTo>
                <a:lnTo>
                  <a:pt x="10945" y="2793"/>
                </a:lnTo>
                <a:lnTo>
                  <a:pt x="10941" y="2778"/>
                </a:lnTo>
                <a:lnTo>
                  <a:pt x="10978" y="2742"/>
                </a:lnTo>
                <a:lnTo>
                  <a:pt x="11043" y="2718"/>
                </a:lnTo>
                <a:lnTo>
                  <a:pt x="11084" y="2746"/>
                </a:lnTo>
                <a:lnTo>
                  <a:pt x="11115" y="2720"/>
                </a:lnTo>
                <a:lnTo>
                  <a:pt x="11152" y="2671"/>
                </a:lnTo>
                <a:lnTo>
                  <a:pt x="11208" y="2630"/>
                </a:lnTo>
                <a:close/>
                <a:moveTo>
                  <a:pt x="11253" y="2831"/>
                </a:moveTo>
                <a:lnTo>
                  <a:pt x="11243" y="2836"/>
                </a:lnTo>
                <a:lnTo>
                  <a:pt x="11238" y="2830"/>
                </a:lnTo>
                <a:lnTo>
                  <a:pt x="11235" y="2820"/>
                </a:lnTo>
                <a:lnTo>
                  <a:pt x="11236" y="2808"/>
                </a:lnTo>
                <a:lnTo>
                  <a:pt x="11243" y="2813"/>
                </a:lnTo>
                <a:lnTo>
                  <a:pt x="11248" y="2818"/>
                </a:lnTo>
                <a:lnTo>
                  <a:pt x="11252" y="2824"/>
                </a:lnTo>
                <a:lnTo>
                  <a:pt x="11253" y="2831"/>
                </a:lnTo>
                <a:close/>
                <a:moveTo>
                  <a:pt x="11300" y="2685"/>
                </a:moveTo>
                <a:lnTo>
                  <a:pt x="11303" y="2687"/>
                </a:lnTo>
                <a:lnTo>
                  <a:pt x="11305" y="2686"/>
                </a:lnTo>
                <a:lnTo>
                  <a:pt x="11306" y="2684"/>
                </a:lnTo>
                <a:lnTo>
                  <a:pt x="11306" y="2681"/>
                </a:lnTo>
                <a:lnTo>
                  <a:pt x="11315" y="2695"/>
                </a:lnTo>
                <a:lnTo>
                  <a:pt x="11313" y="2700"/>
                </a:lnTo>
                <a:lnTo>
                  <a:pt x="11305" y="2696"/>
                </a:lnTo>
                <a:lnTo>
                  <a:pt x="11300" y="2685"/>
                </a:lnTo>
                <a:close/>
                <a:moveTo>
                  <a:pt x="11374" y="2815"/>
                </a:moveTo>
                <a:lnTo>
                  <a:pt x="11371" y="2818"/>
                </a:lnTo>
                <a:lnTo>
                  <a:pt x="11371" y="2816"/>
                </a:lnTo>
                <a:lnTo>
                  <a:pt x="11371" y="2813"/>
                </a:lnTo>
                <a:lnTo>
                  <a:pt x="11371" y="2813"/>
                </a:lnTo>
                <a:lnTo>
                  <a:pt x="11374" y="2815"/>
                </a:lnTo>
                <a:close/>
                <a:moveTo>
                  <a:pt x="11371" y="3139"/>
                </a:moveTo>
                <a:lnTo>
                  <a:pt x="11376" y="3127"/>
                </a:lnTo>
                <a:lnTo>
                  <a:pt x="11382" y="3120"/>
                </a:lnTo>
                <a:lnTo>
                  <a:pt x="11390" y="3119"/>
                </a:lnTo>
                <a:lnTo>
                  <a:pt x="11404" y="3121"/>
                </a:lnTo>
                <a:lnTo>
                  <a:pt x="11389" y="3130"/>
                </a:lnTo>
                <a:lnTo>
                  <a:pt x="11371" y="3139"/>
                </a:lnTo>
                <a:close/>
                <a:moveTo>
                  <a:pt x="11348" y="3092"/>
                </a:moveTo>
                <a:lnTo>
                  <a:pt x="11346" y="3091"/>
                </a:lnTo>
                <a:lnTo>
                  <a:pt x="11345" y="3090"/>
                </a:lnTo>
                <a:lnTo>
                  <a:pt x="11346" y="3088"/>
                </a:lnTo>
                <a:lnTo>
                  <a:pt x="11347" y="3086"/>
                </a:lnTo>
                <a:lnTo>
                  <a:pt x="11350" y="3087"/>
                </a:lnTo>
                <a:lnTo>
                  <a:pt x="11351" y="3088"/>
                </a:lnTo>
                <a:lnTo>
                  <a:pt x="11351" y="3091"/>
                </a:lnTo>
                <a:lnTo>
                  <a:pt x="11348" y="3092"/>
                </a:lnTo>
                <a:close/>
                <a:moveTo>
                  <a:pt x="11342" y="3433"/>
                </a:moveTo>
                <a:lnTo>
                  <a:pt x="11339" y="3436"/>
                </a:lnTo>
                <a:lnTo>
                  <a:pt x="11337" y="3438"/>
                </a:lnTo>
                <a:lnTo>
                  <a:pt x="11334" y="3438"/>
                </a:lnTo>
                <a:lnTo>
                  <a:pt x="11332" y="3436"/>
                </a:lnTo>
                <a:lnTo>
                  <a:pt x="11334" y="3433"/>
                </a:lnTo>
                <a:lnTo>
                  <a:pt x="11337" y="3431"/>
                </a:lnTo>
                <a:lnTo>
                  <a:pt x="11339" y="3431"/>
                </a:lnTo>
                <a:lnTo>
                  <a:pt x="11342" y="3433"/>
                </a:lnTo>
                <a:close/>
                <a:moveTo>
                  <a:pt x="11305" y="3517"/>
                </a:moveTo>
                <a:lnTo>
                  <a:pt x="11305" y="3533"/>
                </a:lnTo>
                <a:lnTo>
                  <a:pt x="11300" y="3521"/>
                </a:lnTo>
                <a:lnTo>
                  <a:pt x="11304" y="3503"/>
                </a:lnTo>
                <a:lnTo>
                  <a:pt x="11324" y="3493"/>
                </a:lnTo>
                <a:lnTo>
                  <a:pt x="11339" y="3503"/>
                </a:lnTo>
                <a:lnTo>
                  <a:pt x="11333" y="3510"/>
                </a:lnTo>
                <a:lnTo>
                  <a:pt x="11317" y="3513"/>
                </a:lnTo>
                <a:lnTo>
                  <a:pt x="11305" y="3517"/>
                </a:lnTo>
                <a:close/>
                <a:moveTo>
                  <a:pt x="11390" y="3806"/>
                </a:moveTo>
                <a:lnTo>
                  <a:pt x="11364" y="3816"/>
                </a:lnTo>
                <a:lnTo>
                  <a:pt x="11343" y="3825"/>
                </a:lnTo>
                <a:lnTo>
                  <a:pt x="11331" y="3842"/>
                </a:lnTo>
                <a:lnTo>
                  <a:pt x="11327" y="3870"/>
                </a:lnTo>
                <a:lnTo>
                  <a:pt x="11264" y="3838"/>
                </a:lnTo>
                <a:lnTo>
                  <a:pt x="11273" y="3805"/>
                </a:lnTo>
                <a:lnTo>
                  <a:pt x="11324" y="3788"/>
                </a:lnTo>
                <a:lnTo>
                  <a:pt x="11390" y="3806"/>
                </a:lnTo>
                <a:close/>
                <a:moveTo>
                  <a:pt x="11483" y="3762"/>
                </a:moveTo>
                <a:lnTo>
                  <a:pt x="11478" y="3762"/>
                </a:lnTo>
                <a:lnTo>
                  <a:pt x="11478" y="3758"/>
                </a:lnTo>
                <a:lnTo>
                  <a:pt x="11482" y="3757"/>
                </a:lnTo>
                <a:lnTo>
                  <a:pt x="11486" y="3758"/>
                </a:lnTo>
                <a:lnTo>
                  <a:pt x="11485" y="3760"/>
                </a:lnTo>
                <a:lnTo>
                  <a:pt x="11483" y="3762"/>
                </a:lnTo>
                <a:close/>
                <a:moveTo>
                  <a:pt x="11389" y="3850"/>
                </a:moveTo>
                <a:lnTo>
                  <a:pt x="11393" y="3853"/>
                </a:lnTo>
                <a:lnTo>
                  <a:pt x="11389" y="3853"/>
                </a:lnTo>
                <a:lnTo>
                  <a:pt x="11383" y="3851"/>
                </a:lnTo>
                <a:lnTo>
                  <a:pt x="11375" y="3850"/>
                </a:lnTo>
                <a:lnTo>
                  <a:pt x="11383" y="3850"/>
                </a:lnTo>
                <a:lnTo>
                  <a:pt x="11389" y="3850"/>
                </a:lnTo>
                <a:close/>
                <a:moveTo>
                  <a:pt x="11173" y="3922"/>
                </a:moveTo>
                <a:lnTo>
                  <a:pt x="11171" y="3911"/>
                </a:lnTo>
                <a:lnTo>
                  <a:pt x="11170" y="3899"/>
                </a:lnTo>
                <a:lnTo>
                  <a:pt x="11173" y="3890"/>
                </a:lnTo>
                <a:lnTo>
                  <a:pt x="11183" y="3883"/>
                </a:lnTo>
                <a:lnTo>
                  <a:pt x="11183" y="3897"/>
                </a:lnTo>
                <a:lnTo>
                  <a:pt x="11184" y="3911"/>
                </a:lnTo>
                <a:lnTo>
                  <a:pt x="11182" y="3921"/>
                </a:lnTo>
                <a:lnTo>
                  <a:pt x="11173" y="3922"/>
                </a:lnTo>
                <a:close/>
                <a:moveTo>
                  <a:pt x="11044" y="4075"/>
                </a:moveTo>
                <a:lnTo>
                  <a:pt x="11036" y="4074"/>
                </a:lnTo>
                <a:lnTo>
                  <a:pt x="11030" y="4071"/>
                </a:lnTo>
                <a:lnTo>
                  <a:pt x="11025" y="4066"/>
                </a:lnTo>
                <a:lnTo>
                  <a:pt x="11021" y="4060"/>
                </a:lnTo>
                <a:lnTo>
                  <a:pt x="11029" y="4062"/>
                </a:lnTo>
                <a:lnTo>
                  <a:pt x="11036" y="4065"/>
                </a:lnTo>
                <a:lnTo>
                  <a:pt x="11043" y="4070"/>
                </a:lnTo>
                <a:lnTo>
                  <a:pt x="11044" y="4075"/>
                </a:lnTo>
                <a:close/>
                <a:moveTo>
                  <a:pt x="11124" y="4127"/>
                </a:moveTo>
                <a:lnTo>
                  <a:pt x="11117" y="4133"/>
                </a:lnTo>
                <a:lnTo>
                  <a:pt x="11106" y="4138"/>
                </a:lnTo>
                <a:lnTo>
                  <a:pt x="11098" y="4138"/>
                </a:lnTo>
                <a:lnTo>
                  <a:pt x="11091" y="4128"/>
                </a:lnTo>
                <a:lnTo>
                  <a:pt x="11099" y="4124"/>
                </a:lnTo>
                <a:lnTo>
                  <a:pt x="11108" y="4123"/>
                </a:lnTo>
                <a:lnTo>
                  <a:pt x="11117" y="4126"/>
                </a:lnTo>
                <a:lnTo>
                  <a:pt x="11124" y="4127"/>
                </a:lnTo>
                <a:close/>
                <a:moveTo>
                  <a:pt x="11225" y="4147"/>
                </a:moveTo>
                <a:lnTo>
                  <a:pt x="11219" y="4145"/>
                </a:lnTo>
                <a:lnTo>
                  <a:pt x="11212" y="4141"/>
                </a:lnTo>
                <a:lnTo>
                  <a:pt x="11215" y="4141"/>
                </a:lnTo>
                <a:lnTo>
                  <a:pt x="11219" y="4142"/>
                </a:lnTo>
                <a:lnTo>
                  <a:pt x="11221" y="4144"/>
                </a:lnTo>
                <a:lnTo>
                  <a:pt x="11225" y="4147"/>
                </a:lnTo>
                <a:close/>
                <a:moveTo>
                  <a:pt x="11201" y="4231"/>
                </a:moveTo>
                <a:lnTo>
                  <a:pt x="11185" y="4202"/>
                </a:lnTo>
                <a:lnTo>
                  <a:pt x="11206" y="4189"/>
                </a:lnTo>
                <a:lnTo>
                  <a:pt x="11241" y="4191"/>
                </a:lnTo>
                <a:lnTo>
                  <a:pt x="11273" y="4206"/>
                </a:lnTo>
                <a:lnTo>
                  <a:pt x="11253" y="4229"/>
                </a:lnTo>
                <a:lnTo>
                  <a:pt x="11236" y="4240"/>
                </a:lnTo>
                <a:lnTo>
                  <a:pt x="11220" y="4240"/>
                </a:lnTo>
                <a:lnTo>
                  <a:pt x="11201" y="4231"/>
                </a:lnTo>
                <a:close/>
                <a:moveTo>
                  <a:pt x="11164" y="4287"/>
                </a:moveTo>
                <a:lnTo>
                  <a:pt x="11145" y="4284"/>
                </a:lnTo>
                <a:lnTo>
                  <a:pt x="11126" y="4282"/>
                </a:lnTo>
                <a:lnTo>
                  <a:pt x="11106" y="4282"/>
                </a:lnTo>
                <a:lnTo>
                  <a:pt x="11084" y="4285"/>
                </a:lnTo>
                <a:lnTo>
                  <a:pt x="11104" y="4263"/>
                </a:lnTo>
                <a:lnTo>
                  <a:pt x="11136" y="4254"/>
                </a:lnTo>
                <a:lnTo>
                  <a:pt x="11162" y="4262"/>
                </a:lnTo>
                <a:lnTo>
                  <a:pt x="11164" y="4287"/>
                </a:lnTo>
                <a:close/>
                <a:moveTo>
                  <a:pt x="11210" y="4179"/>
                </a:moveTo>
                <a:lnTo>
                  <a:pt x="11204" y="4178"/>
                </a:lnTo>
                <a:lnTo>
                  <a:pt x="11201" y="4175"/>
                </a:lnTo>
                <a:lnTo>
                  <a:pt x="11198" y="4173"/>
                </a:lnTo>
                <a:lnTo>
                  <a:pt x="11197" y="4170"/>
                </a:lnTo>
                <a:lnTo>
                  <a:pt x="11201" y="4173"/>
                </a:lnTo>
                <a:lnTo>
                  <a:pt x="11204" y="4174"/>
                </a:lnTo>
                <a:lnTo>
                  <a:pt x="11208" y="4177"/>
                </a:lnTo>
                <a:lnTo>
                  <a:pt x="11210" y="4179"/>
                </a:lnTo>
                <a:close/>
                <a:moveTo>
                  <a:pt x="10784" y="4276"/>
                </a:moveTo>
                <a:lnTo>
                  <a:pt x="10775" y="4275"/>
                </a:lnTo>
                <a:lnTo>
                  <a:pt x="10766" y="4272"/>
                </a:lnTo>
                <a:lnTo>
                  <a:pt x="10761" y="4268"/>
                </a:lnTo>
                <a:lnTo>
                  <a:pt x="10765" y="4262"/>
                </a:lnTo>
                <a:lnTo>
                  <a:pt x="10773" y="4264"/>
                </a:lnTo>
                <a:lnTo>
                  <a:pt x="10782" y="4266"/>
                </a:lnTo>
                <a:lnTo>
                  <a:pt x="10786" y="4270"/>
                </a:lnTo>
                <a:lnTo>
                  <a:pt x="10784" y="4276"/>
                </a:lnTo>
                <a:close/>
                <a:moveTo>
                  <a:pt x="10724" y="4340"/>
                </a:moveTo>
                <a:lnTo>
                  <a:pt x="10712" y="4341"/>
                </a:lnTo>
                <a:lnTo>
                  <a:pt x="10699" y="4335"/>
                </a:lnTo>
                <a:lnTo>
                  <a:pt x="10689" y="4323"/>
                </a:lnTo>
                <a:lnTo>
                  <a:pt x="10684" y="4312"/>
                </a:lnTo>
                <a:lnTo>
                  <a:pt x="10696" y="4315"/>
                </a:lnTo>
                <a:lnTo>
                  <a:pt x="10710" y="4321"/>
                </a:lnTo>
                <a:lnTo>
                  <a:pt x="10721" y="4328"/>
                </a:lnTo>
                <a:lnTo>
                  <a:pt x="10724" y="4340"/>
                </a:lnTo>
                <a:close/>
                <a:moveTo>
                  <a:pt x="10677" y="4385"/>
                </a:moveTo>
                <a:lnTo>
                  <a:pt x="10677" y="4379"/>
                </a:lnTo>
                <a:lnTo>
                  <a:pt x="10680" y="4375"/>
                </a:lnTo>
                <a:lnTo>
                  <a:pt x="10686" y="4374"/>
                </a:lnTo>
                <a:lnTo>
                  <a:pt x="10693" y="4373"/>
                </a:lnTo>
                <a:lnTo>
                  <a:pt x="10689" y="4377"/>
                </a:lnTo>
                <a:lnTo>
                  <a:pt x="10686" y="4382"/>
                </a:lnTo>
                <a:lnTo>
                  <a:pt x="10682" y="4385"/>
                </a:lnTo>
                <a:lnTo>
                  <a:pt x="10677" y="4385"/>
                </a:lnTo>
                <a:close/>
                <a:moveTo>
                  <a:pt x="10671" y="4351"/>
                </a:moveTo>
                <a:lnTo>
                  <a:pt x="10672" y="4349"/>
                </a:lnTo>
                <a:lnTo>
                  <a:pt x="10672" y="4347"/>
                </a:lnTo>
                <a:lnTo>
                  <a:pt x="10673" y="4349"/>
                </a:lnTo>
                <a:lnTo>
                  <a:pt x="10676" y="4350"/>
                </a:lnTo>
                <a:lnTo>
                  <a:pt x="10671" y="4351"/>
                </a:lnTo>
                <a:close/>
                <a:moveTo>
                  <a:pt x="10617" y="4282"/>
                </a:moveTo>
                <a:lnTo>
                  <a:pt x="10591" y="4300"/>
                </a:lnTo>
                <a:lnTo>
                  <a:pt x="10583" y="4281"/>
                </a:lnTo>
                <a:lnTo>
                  <a:pt x="10593" y="4252"/>
                </a:lnTo>
                <a:lnTo>
                  <a:pt x="10620" y="4239"/>
                </a:lnTo>
                <a:lnTo>
                  <a:pt x="10626" y="4249"/>
                </a:lnTo>
                <a:lnTo>
                  <a:pt x="10626" y="4261"/>
                </a:lnTo>
                <a:lnTo>
                  <a:pt x="10624" y="4272"/>
                </a:lnTo>
                <a:lnTo>
                  <a:pt x="10617" y="4282"/>
                </a:lnTo>
                <a:close/>
                <a:moveTo>
                  <a:pt x="10601" y="4379"/>
                </a:moveTo>
                <a:lnTo>
                  <a:pt x="10509" y="4335"/>
                </a:lnTo>
                <a:lnTo>
                  <a:pt x="10524" y="4319"/>
                </a:lnTo>
                <a:lnTo>
                  <a:pt x="10565" y="4317"/>
                </a:lnTo>
                <a:lnTo>
                  <a:pt x="10550" y="4308"/>
                </a:lnTo>
                <a:lnTo>
                  <a:pt x="10591" y="4307"/>
                </a:lnTo>
                <a:lnTo>
                  <a:pt x="10606" y="4327"/>
                </a:lnTo>
                <a:lnTo>
                  <a:pt x="10606" y="4355"/>
                </a:lnTo>
                <a:lnTo>
                  <a:pt x="10601" y="4379"/>
                </a:lnTo>
                <a:close/>
                <a:moveTo>
                  <a:pt x="10556" y="4494"/>
                </a:moveTo>
                <a:lnTo>
                  <a:pt x="10552" y="4501"/>
                </a:lnTo>
                <a:lnTo>
                  <a:pt x="10546" y="4501"/>
                </a:lnTo>
                <a:lnTo>
                  <a:pt x="10538" y="4496"/>
                </a:lnTo>
                <a:lnTo>
                  <a:pt x="10532" y="4489"/>
                </a:lnTo>
                <a:lnTo>
                  <a:pt x="10540" y="4489"/>
                </a:lnTo>
                <a:lnTo>
                  <a:pt x="10547" y="4489"/>
                </a:lnTo>
                <a:lnTo>
                  <a:pt x="10554" y="4489"/>
                </a:lnTo>
                <a:lnTo>
                  <a:pt x="10556" y="4494"/>
                </a:lnTo>
                <a:close/>
                <a:moveTo>
                  <a:pt x="10528" y="4545"/>
                </a:moveTo>
                <a:lnTo>
                  <a:pt x="10531" y="4542"/>
                </a:lnTo>
                <a:lnTo>
                  <a:pt x="10533" y="4545"/>
                </a:lnTo>
                <a:lnTo>
                  <a:pt x="10532" y="4548"/>
                </a:lnTo>
                <a:lnTo>
                  <a:pt x="10528" y="4548"/>
                </a:lnTo>
                <a:lnTo>
                  <a:pt x="10528" y="4546"/>
                </a:lnTo>
                <a:lnTo>
                  <a:pt x="10528" y="4545"/>
                </a:lnTo>
                <a:close/>
                <a:moveTo>
                  <a:pt x="10491" y="4483"/>
                </a:moveTo>
                <a:lnTo>
                  <a:pt x="10502" y="4480"/>
                </a:lnTo>
                <a:lnTo>
                  <a:pt x="10509" y="4478"/>
                </a:lnTo>
                <a:lnTo>
                  <a:pt x="10517" y="4481"/>
                </a:lnTo>
                <a:lnTo>
                  <a:pt x="10530" y="4489"/>
                </a:lnTo>
                <a:lnTo>
                  <a:pt x="10519" y="4490"/>
                </a:lnTo>
                <a:lnTo>
                  <a:pt x="10509" y="4491"/>
                </a:lnTo>
                <a:lnTo>
                  <a:pt x="10500" y="4490"/>
                </a:lnTo>
                <a:lnTo>
                  <a:pt x="10491" y="4483"/>
                </a:lnTo>
                <a:close/>
                <a:moveTo>
                  <a:pt x="10508" y="4594"/>
                </a:moveTo>
                <a:lnTo>
                  <a:pt x="10494" y="4607"/>
                </a:lnTo>
                <a:lnTo>
                  <a:pt x="10482" y="4606"/>
                </a:lnTo>
                <a:lnTo>
                  <a:pt x="10477" y="4595"/>
                </a:lnTo>
                <a:lnTo>
                  <a:pt x="10484" y="4578"/>
                </a:lnTo>
                <a:lnTo>
                  <a:pt x="10495" y="4573"/>
                </a:lnTo>
                <a:lnTo>
                  <a:pt x="10504" y="4575"/>
                </a:lnTo>
                <a:lnTo>
                  <a:pt x="10509" y="4583"/>
                </a:lnTo>
                <a:lnTo>
                  <a:pt x="10508" y="4594"/>
                </a:lnTo>
                <a:close/>
                <a:moveTo>
                  <a:pt x="10321" y="4566"/>
                </a:moveTo>
                <a:lnTo>
                  <a:pt x="10284" y="4604"/>
                </a:lnTo>
                <a:lnTo>
                  <a:pt x="10261" y="4602"/>
                </a:lnTo>
                <a:lnTo>
                  <a:pt x="10265" y="4581"/>
                </a:lnTo>
                <a:lnTo>
                  <a:pt x="10307" y="4561"/>
                </a:lnTo>
                <a:lnTo>
                  <a:pt x="10316" y="4552"/>
                </a:lnTo>
                <a:lnTo>
                  <a:pt x="10299" y="4546"/>
                </a:lnTo>
                <a:lnTo>
                  <a:pt x="10284" y="4539"/>
                </a:lnTo>
                <a:lnTo>
                  <a:pt x="10298" y="4531"/>
                </a:lnTo>
                <a:lnTo>
                  <a:pt x="10335" y="4546"/>
                </a:lnTo>
                <a:lnTo>
                  <a:pt x="10379" y="4541"/>
                </a:lnTo>
                <a:lnTo>
                  <a:pt x="10409" y="4528"/>
                </a:lnTo>
                <a:lnTo>
                  <a:pt x="10393" y="4525"/>
                </a:lnTo>
                <a:lnTo>
                  <a:pt x="10435" y="4529"/>
                </a:lnTo>
                <a:lnTo>
                  <a:pt x="10424" y="4551"/>
                </a:lnTo>
                <a:lnTo>
                  <a:pt x="10379" y="4570"/>
                </a:lnTo>
                <a:lnTo>
                  <a:pt x="10321" y="4566"/>
                </a:lnTo>
                <a:close/>
                <a:moveTo>
                  <a:pt x="10251" y="4626"/>
                </a:moveTo>
                <a:lnTo>
                  <a:pt x="10256" y="4622"/>
                </a:lnTo>
                <a:lnTo>
                  <a:pt x="10260" y="4622"/>
                </a:lnTo>
                <a:lnTo>
                  <a:pt x="10262" y="4626"/>
                </a:lnTo>
                <a:lnTo>
                  <a:pt x="10262" y="4631"/>
                </a:lnTo>
                <a:lnTo>
                  <a:pt x="10258" y="4635"/>
                </a:lnTo>
                <a:lnTo>
                  <a:pt x="10253" y="4635"/>
                </a:lnTo>
                <a:lnTo>
                  <a:pt x="10251" y="4632"/>
                </a:lnTo>
                <a:lnTo>
                  <a:pt x="10251" y="4626"/>
                </a:lnTo>
                <a:close/>
                <a:moveTo>
                  <a:pt x="10209" y="4850"/>
                </a:moveTo>
                <a:lnTo>
                  <a:pt x="10211" y="4850"/>
                </a:lnTo>
                <a:lnTo>
                  <a:pt x="10214" y="4851"/>
                </a:lnTo>
                <a:lnTo>
                  <a:pt x="10209" y="4851"/>
                </a:lnTo>
                <a:lnTo>
                  <a:pt x="10205" y="4851"/>
                </a:lnTo>
                <a:lnTo>
                  <a:pt x="10204" y="4851"/>
                </a:lnTo>
                <a:lnTo>
                  <a:pt x="10209" y="4850"/>
                </a:lnTo>
                <a:close/>
                <a:moveTo>
                  <a:pt x="9391" y="5697"/>
                </a:moveTo>
                <a:lnTo>
                  <a:pt x="9394" y="5709"/>
                </a:lnTo>
                <a:lnTo>
                  <a:pt x="9376" y="5717"/>
                </a:lnTo>
                <a:lnTo>
                  <a:pt x="9352" y="5718"/>
                </a:lnTo>
                <a:lnTo>
                  <a:pt x="9334" y="5714"/>
                </a:lnTo>
                <a:lnTo>
                  <a:pt x="9346" y="5705"/>
                </a:lnTo>
                <a:lnTo>
                  <a:pt x="9360" y="5699"/>
                </a:lnTo>
                <a:lnTo>
                  <a:pt x="9376" y="5697"/>
                </a:lnTo>
                <a:lnTo>
                  <a:pt x="9391" y="5697"/>
                </a:lnTo>
                <a:close/>
                <a:moveTo>
                  <a:pt x="8943" y="4501"/>
                </a:moveTo>
                <a:lnTo>
                  <a:pt x="8940" y="4508"/>
                </a:lnTo>
                <a:lnTo>
                  <a:pt x="8938" y="4513"/>
                </a:lnTo>
                <a:lnTo>
                  <a:pt x="8938" y="4510"/>
                </a:lnTo>
                <a:lnTo>
                  <a:pt x="8938" y="4506"/>
                </a:lnTo>
                <a:lnTo>
                  <a:pt x="8940" y="4504"/>
                </a:lnTo>
                <a:lnTo>
                  <a:pt x="8943" y="4501"/>
                </a:lnTo>
                <a:close/>
                <a:moveTo>
                  <a:pt x="8868" y="4954"/>
                </a:moveTo>
                <a:lnTo>
                  <a:pt x="8869" y="4956"/>
                </a:lnTo>
                <a:lnTo>
                  <a:pt x="8870" y="4957"/>
                </a:lnTo>
                <a:lnTo>
                  <a:pt x="8871" y="4958"/>
                </a:lnTo>
                <a:lnTo>
                  <a:pt x="8871" y="4961"/>
                </a:lnTo>
                <a:lnTo>
                  <a:pt x="8870" y="4958"/>
                </a:lnTo>
                <a:lnTo>
                  <a:pt x="8868" y="4954"/>
                </a:lnTo>
                <a:close/>
                <a:moveTo>
                  <a:pt x="8433" y="4844"/>
                </a:moveTo>
                <a:lnTo>
                  <a:pt x="8437" y="4842"/>
                </a:lnTo>
                <a:lnTo>
                  <a:pt x="8438" y="4844"/>
                </a:lnTo>
                <a:lnTo>
                  <a:pt x="8438" y="4844"/>
                </a:lnTo>
                <a:lnTo>
                  <a:pt x="8437" y="4846"/>
                </a:lnTo>
                <a:lnTo>
                  <a:pt x="8436" y="4845"/>
                </a:lnTo>
                <a:lnTo>
                  <a:pt x="8433" y="4844"/>
                </a:lnTo>
                <a:close/>
                <a:moveTo>
                  <a:pt x="8356" y="4570"/>
                </a:moveTo>
                <a:lnTo>
                  <a:pt x="8365" y="4571"/>
                </a:lnTo>
                <a:lnTo>
                  <a:pt x="8372" y="4573"/>
                </a:lnTo>
                <a:lnTo>
                  <a:pt x="8366" y="4576"/>
                </a:lnTo>
                <a:lnTo>
                  <a:pt x="8357" y="4578"/>
                </a:lnTo>
                <a:lnTo>
                  <a:pt x="8352" y="4576"/>
                </a:lnTo>
                <a:lnTo>
                  <a:pt x="8356" y="4570"/>
                </a:lnTo>
                <a:close/>
                <a:moveTo>
                  <a:pt x="8305" y="4471"/>
                </a:moveTo>
                <a:lnTo>
                  <a:pt x="8260" y="4430"/>
                </a:lnTo>
                <a:lnTo>
                  <a:pt x="8247" y="4393"/>
                </a:lnTo>
                <a:lnTo>
                  <a:pt x="8275" y="4373"/>
                </a:lnTo>
                <a:lnTo>
                  <a:pt x="8356" y="4378"/>
                </a:lnTo>
                <a:lnTo>
                  <a:pt x="8366" y="4412"/>
                </a:lnTo>
                <a:lnTo>
                  <a:pt x="8362" y="4464"/>
                </a:lnTo>
                <a:lnTo>
                  <a:pt x="8343" y="4497"/>
                </a:lnTo>
                <a:lnTo>
                  <a:pt x="8305" y="4471"/>
                </a:lnTo>
                <a:close/>
                <a:moveTo>
                  <a:pt x="8214" y="4853"/>
                </a:moveTo>
                <a:lnTo>
                  <a:pt x="8209" y="4849"/>
                </a:lnTo>
                <a:lnTo>
                  <a:pt x="8208" y="4845"/>
                </a:lnTo>
                <a:lnTo>
                  <a:pt x="8210" y="4841"/>
                </a:lnTo>
                <a:lnTo>
                  <a:pt x="8216" y="4836"/>
                </a:lnTo>
                <a:lnTo>
                  <a:pt x="8218" y="4841"/>
                </a:lnTo>
                <a:lnTo>
                  <a:pt x="8218" y="4849"/>
                </a:lnTo>
                <a:lnTo>
                  <a:pt x="8217" y="4855"/>
                </a:lnTo>
                <a:lnTo>
                  <a:pt x="8214" y="4853"/>
                </a:lnTo>
                <a:close/>
                <a:moveTo>
                  <a:pt x="8059" y="4888"/>
                </a:moveTo>
                <a:lnTo>
                  <a:pt x="8042" y="4877"/>
                </a:lnTo>
                <a:lnTo>
                  <a:pt x="8047" y="4849"/>
                </a:lnTo>
                <a:lnTo>
                  <a:pt x="8061" y="4822"/>
                </a:lnTo>
                <a:lnTo>
                  <a:pt x="8077" y="4811"/>
                </a:lnTo>
                <a:lnTo>
                  <a:pt x="8123" y="4825"/>
                </a:lnTo>
                <a:lnTo>
                  <a:pt x="8134" y="4856"/>
                </a:lnTo>
                <a:lnTo>
                  <a:pt x="8111" y="4884"/>
                </a:lnTo>
                <a:lnTo>
                  <a:pt x="8059" y="4888"/>
                </a:lnTo>
                <a:close/>
                <a:moveTo>
                  <a:pt x="7925" y="4827"/>
                </a:moveTo>
                <a:lnTo>
                  <a:pt x="7934" y="4830"/>
                </a:lnTo>
                <a:lnTo>
                  <a:pt x="7937" y="4833"/>
                </a:lnTo>
                <a:lnTo>
                  <a:pt x="7935" y="4839"/>
                </a:lnTo>
                <a:lnTo>
                  <a:pt x="7932" y="4845"/>
                </a:lnTo>
                <a:lnTo>
                  <a:pt x="7928" y="4836"/>
                </a:lnTo>
                <a:lnTo>
                  <a:pt x="7925" y="4827"/>
                </a:lnTo>
                <a:close/>
                <a:moveTo>
                  <a:pt x="7901" y="4849"/>
                </a:moveTo>
                <a:lnTo>
                  <a:pt x="7910" y="4849"/>
                </a:lnTo>
                <a:lnTo>
                  <a:pt x="7920" y="4847"/>
                </a:lnTo>
                <a:lnTo>
                  <a:pt x="7927" y="4849"/>
                </a:lnTo>
                <a:lnTo>
                  <a:pt x="7920" y="4855"/>
                </a:lnTo>
                <a:lnTo>
                  <a:pt x="7910" y="4851"/>
                </a:lnTo>
                <a:lnTo>
                  <a:pt x="7901" y="4849"/>
                </a:lnTo>
                <a:close/>
                <a:moveTo>
                  <a:pt x="7544" y="4268"/>
                </a:moveTo>
                <a:lnTo>
                  <a:pt x="7558" y="4268"/>
                </a:lnTo>
                <a:lnTo>
                  <a:pt x="7571" y="4270"/>
                </a:lnTo>
                <a:lnTo>
                  <a:pt x="7565" y="4273"/>
                </a:lnTo>
                <a:lnTo>
                  <a:pt x="7558" y="4273"/>
                </a:lnTo>
                <a:lnTo>
                  <a:pt x="7552" y="4271"/>
                </a:lnTo>
                <a:lnTo>
                  <a:pt x="7544" y="4268"/>
                </a:lnTo>
                <a:close/>
                <a:moveTo>
                  <a:pt x="6398" y="4719"/>
                </a:moveTo>
                <a:lnTo>
                  <a:pt x="6402" y="4735"/>
                </a:lnTo>
                <a:lnTo>
                  <a:pt x="6403" y="4746"/>
                </a:lnTo>
                <a:lnTo>
                  <a:pt x="6398" y="4748"/>
                </a:lnTo>
                <a:lnTo>
                  <a:pt x="6382" y="4741"/>
                </a:lnTo>
                <a:lnTo>
                  <a:pt x="6374" y="4737"/>
                </a:lnTo>
                <a:lnTo>
                  <a:pt x="6378" y="4730"/>
                </a:lnTo>
                <a:lnTo>
                  <a:pt x="6388" y="4724"/>
                </a:lnTo>
                <a:lnTo>
                  <a:pt x="6398" y="4719"/>
                </a:lnTo>
                <a:close/>
                <a:moveTo>
                  <a:pt x="5903" y="4710"/>
                </a:moveTo>
                <a:lnTo>
                  <a:pt x="5909" y="4706"/>
                </a:lnTo>
                <a:lnTo>
                  <a:pt x="5916" y="4709"/>
                </a:lnTo>
                <a:lnTo>
                  <a:pt x="5919" y="4715"/>
                </a:lnTo>
                <a:lnTo>
                  <a:pt x="5914" y="4721"/>
                </a:lnTo>
                <a:lnTo>
                  <a:pt x="5905" y="4727"/>
                </a:lnTo>
                <a:lnTo>
                  <a:pt x="5900" y="4725"/>
                </a:lnTo>
                <a:lnTo>
                  <a:pt x="5899" y="4720"/>
                </a:lnTo>
                <a:lnTo>
                  <a:pt x="5903" y="4710"/>
                </a:lnTo>
                <a:close/>
                <a:moveTo>
                  <a:pt x="5522" y="4377"/>
                </a:moveTo>
                <a:lnTo>
                  <a:pt x="5529" y="4378"/>
                </a:lnTo>
                <a:lnTo>
                  <a:pt x="5537" y="4379"/>
                </a:lnTo>
                <a:lnTo>
                  <a:pt x="5544" y="4382"/>
                </a:lnTo>
                <a:lnTo>
                  <a:pt x="5541" y="4385"/>
                </a:lnTo>
                <a:lnTo>
                  <a:pt x="5530" y="4387"/>
                </a:lnTo>
                <a:lnTo>
                  <a:pt x="5518" y="4383"/>
                </a:lnTo>
                <a:lnTo>
                  <a:pt x="5513" y="4378"/>
                </a:lnTo>
                <a:lnTo>
                  <a:pt x="5522" y="4377"/>
                </a:lnTo>
                <a:close/>
                <a:moveTo>
                  <a:pt x="5436" y="4373"/>
                </a:moveTo>
                <a:lnTo>
                  <a:pt x="5433" y="4379"/>
                </a:lnTo>
                <a:lnTo>
                  <a:pt x="5430" y="4379"/>
                </a:lnTo>
                <a:lnTo>
                  <a:pt x="5428" y="4375"/>
                </a:lnTo>
                <a:lnTo>
                  <a:pt x="5424" y="4370"/>
                </a:lnTo>
                <a:lnTo>
                  <a:pt x="5428" y="4369"/>
                </a:lnTo>
                <a:lnTo>
                  <a:pt x="5432" y="4368"/>
                </a:lnTo>
                <a:lnTo>
                  <a:pt x="5434" y="4369"/>
                </a:lnTo>
                <a:lnTo>
                  <a:pt x="5436" y="4373"/>
                </a:lnTo>
                <a:close/>
                <a:moveTo>
                  <a:pt x="4177" y="4342"/>
                </a:moveTo>
                <a:lnTo>
                  <a:pt x="4181" y="4340"/>
                </a:lnTo>
                <a:lnTo>
                  <a:pt x="4185" y="4341"/>
                </a:lnTo>
                <a:lnTo>
                  <a:pt x="4181" y="4341"/>
                </a:lnTo>
                <a:lnTo>
                  <a:pt x="4177" y="4342"/>
                </a:lnTo>
                <a:close/>
                <a:moveTo>
                  <a:pt x="3744" y="4565"/>
                </a:moveTo>
                <a:lnTo>
                  <a:pt x="3766" y="4506"/>
                </a:lnTo>
                <a:lnTo>
                  <a:pt x="3795" y="4518"/>
                </a:lnTo>
                <a:lnTo>
                  <a:pt x="3812" y="4570"/>
                </a:lnTo>
                <a:lnTo>
                  <a:pt x="3794" y="4630"/>
                </a:lnTo>
                <a:lnTo>
                  <a:pt x="3769" y="4622"/>
                </a:lnTo>
                <a:lnTo>
                  <a:pt x="3742" y="4606"/>
                </a:lnTo>
                <a:lnTo>
                  <a:pt x="3728" y="4585"/>
                </a:lnTo>
                <a:lnTo>
                  <a:pt x="3744" y="4565"/>
                </a:lnTo>
                <a:close/>
                <a:moveTo>
                  <a:pt x="3668" y="4392"/>
                </a:moveTo>
                <a:lnTo>
                  <a:pt x="3670" y="4384"/>
                </a:lnTo>
                <a:lnTo>
                  <a:pt x="3676" y="4383"/>
                </a:lnTo>
                <a:lnTo>
                  <a:pt x="3681" y="4387"/>
                </a:lnTo>
                <a:lnTo>
                  <a:pt x="3681" y="4393"/>
                </a:lnTo>
                <a:lnTo>
                  <a:pt x="3678" y="4396"/>
                </a:lnTo>
                <a:lnTo>
                  <a:pt x="3674" y="4397"/>
                </a:lnTo>
                <a:lnTo>
                  <a:pt x="3670" y="4394"/>
                </a:lnTo>
                <a:lnTo>
                  <a:pt x="3668" y="4392"/>
                </a:lnTo>
                <a:close/>
                <a:moveTo>
                  <a:pt x="3630" y="4477"/>
                </a:moveTo>
                <a:lnTo>
                  <a:pt x="3653" y="4475"/>
                </a:lnTo>
                <a:lnTo>
                  <a:pt x="3674" y="4486"/>
                </a:lnTo>
                <a:lnTo>
                  <a:pt x="3687" y="4504"/>
                </a:lnTo>
                <a:lnTo>
                  <a:pt x="3681" y="4525"/>
                </a:lnTo>
                <a:lnTo>
                  <a:pt x="3663" y="4525"/>
                </a:lnTo>
                <a:lnTo>
                  <a:pt x="3645" y="4511"/>
                </a:lnTo>
                <a:lnTo>
                  <a:pt x="3632" y="4494"/>
                </a:lnTo>
                <a:lnTo>
                  <a:pt x="3630" y="4477"/>
                </a:lnTo>
                <a:close/>
                <a:moveTo>
                  <a:pt x="3104" y="4322"/>
                </a:moveTo>
                <a:lnTo>
                  <a:pt x="3096" y="4328"/>
                </a:lnTo>
                <a:lnTo>
                  <a:pt x="3090" y="4324"/>
                </a:lnTo>
                <a:lnTo>
                  <a:pt x="3085" y="4317"/>
                </a:lnTo>
                <a:lnTo>
                  <a:pt x="3082" y="4307"/>
                </a:lnTo>
                <a:lnTo>
                  <a:pt x="3088" y="4309"/>
                </a:lnTo>
                <a:lnTo>
                  <a:pt x="3095" y="4312"/>
                </a:lnTo>
                <a:lnTo>
                  <a:pt x="3101" y="4315"/>
                </a:lnTo>
                <a:lnTo>
                  <a:pt x="3104" y="4322"/>
                </a:lnTo>
                <a:close/>
                <a:moveTo>
                  <a:pt x="3081" y="4216"/>
                </a:moveTo>
                <a:lnTo>
                  <a:pt x="3078" y="4215"/>
                </a:lnTo>
                <a:lnTo>
                  <a:pt x="3077" y="4215"/>
                </a:lnTo>
                <a:lnTo>
                  <a:pt x="3080" y="4215"/>
                </a:lnTo>
                <a:lnTo>
                  <a:pt x="3081" y="4216"/>
                </a:lnTo>
                <a:close/>
                <a:moveTo>
                  <a:pt x="3076" y="4282"/>
                </a:moveTo>
                <a:lnTo>
                  <a:pt x="3080" y="4287"/>
                </a:lnTo>
                <a:lnTo>
                  <a:pt x="3081" y="4293"/>
                </a:lnTo>
                <a:lnTo>
                  <a:pt x="3081" y="4298"/>
                </a:lnTo>
                <a:lnTo>
                  <a:pt x="3080" y="4304"/>
                </a:lnTo>
                <a:lnTo>
                  <a:pt x="3077" y="4299"/>
                </a:lnTo>
                <a:lnTo>
                  <a:pt x="3073" y="4294"/>
                </a:lnTo>
                <a:lnTo>
                  <a:pt x="3072" y="4289"/>
                </a:lnTo>
                <a:lnTo>
                  <a:pt x="3076" y="4282"/>
                </a:lnTo>
                <a:close/>
                <a:moveTo>
                  <a:pt x="2883" y="4226"/>
                </a:moveTo>
                <a:lnTo>
                  <a:pt x="2885" y="4229"/>
                </a:lnTo>
                <a:lnTo>
                  <a:pt x="2886" y="4234"/>
                </a:lnTo>
                <a:lnTo>
                  <a:pt x="2880" y="4235"/>
                </a:lnTo>
                <a:lnTo>
                  <a:pt x="2877" y="4233"/>
                </a:lnTo>
                <a:lnTo>
                  <a:pt x="2877" y="4228"/>
                </a:lnTo>
                <a:lnTo>
                  <a:pt x="2883" y="4226"/>
                </a:lnTo>
                <a:close/>
                <a:moveTo>
                  <a:pt x="2643" y="4271"/>
                </a:moveTo>
                <a:lnTo>
                  <a:pt x="2653" y="4257"/>
                </a:lnTo>
                <a:lnTo>
                  <a:pt x="2666" y="4253"/>
                </a:lnTo>
                <a:lnTo>
                  <a:pt x="2680" y="4258"/>
                </a:lnTo>
                <a:lnTo>
                  <a:pt x="2687" y="4272"/>
                </a:lnTo>
                <a:lnTo>
                  <a:pt x="2677" y="4284"/>
                </a:lnTo>
                <a:lnTo>
                  <a:pt x="2662" y="4289"/>
                </a:lnTo>
                <a:lnTo>
                  <a:pt x="2648" y="4285"/>
                </a:lnTo>
                <a:lnTo>
                  <a:pt x="2643" y="4271"/>
                </a:lnTo>
                <a:close/>
                <a:moveTo>
                  <a:pt x="2221" y="4757"/>
                </a:moveTo>
                <a:lnTo>
                  <a:pt x="2229" y="4763"/>
                </a:lnTo>
                <a:lnTo>
                  <a:pt x="2231" y="4770"/>
                </a:lnTo>
                <a:lnTo>
                  <a:pt x="2229" y="4775"/>
                </a:lnTo>
                <a:lnTo>
                  <a:pt x="2221" y="4779"/>
                </a:lnTo>
                <a:lnTo>
                  <a:pt x="2214" y="4775"/>
                </a:lnTo>
                <a:lnTo>
                  <a:pt x="2211" y="4769"/>
                </a:lnTo>
                <a:lnTo>
                  <a:pt x="2215" y="4762"/>
                </a:lnTo>
                <a:lnTo>
                  <a:pt x="2221" y="4757"/>
                </a:lnTo>
                <a:close/>
                <a:moveTo>
                  <a:pt x="2196" y="4291"/>
                </a:moveTo>
                <a:lnTo>
                  <a:pt x="2203" y="4285"/>
                </a:lnTo>
                <a:lnTo>
                  <a:pt x="2214" y="4281"/>
                </a:lnTo>
                <a:lnTo>
                  <a:pt x="2221" y="4282"/>
                </a:lnTo>
                <a:lnTo>
                  <a:pt x="2225" y="4293"/>
                </a:lnTo>
                <a:lnTo>
                  <a:pt x="2219" y="4299"/>
                </a:lnTo>
                <a:lnTo>
                  <a:pt x="2207" y="4301"/>
                </a:lnTo>
                <a:lnTo>
                  <a:pt x="2198" y="4299"/>
                </a:lnTo>
                <a:lnTo>
                  <a:pt x="2196" y="4291"/>
                </a:lnTo>
                <a:close/>
                <a:moveTo>
                  <a:pt x="2188" y="4370"/>
                </a:moveTo>
                <a:lnTo>
                  <a:pt x="2187" y="4375"/>
                </a:lnTo>
                <a:lnTo>
                  <a:pt x="2184" y="4378"/>
                </a:lnTo>
                <a:lnTo>
                  <a:pt x="2180" y="4378"/>
                </a:lnTo>
                <a:lnTo>
                  <a:pt x="2177" y="4375"/>
                </a:lnTo>
                <a:lnTo>
                  <a:pt x="2177" y="4370"/>
                </a:lnTo>
                <a:lnTo>
                  <a:pt x="2180" y="4368"/>
                </a:lnTo>
                <a:lnTo>
                  <a:pt x="2184" y="4368"/>
                </a:lnTo>
                <a:lnTo>
                  <a:pt x="2188" y="4370"/>
                </a:lnTo>
                <a:close/>
                <a:moveTo>
                  <a:pt x="2051" y="4235"/>
                </a:moveTo>
                <a:lnTo>
                  <a:pt x="2042" y="4235"/>
                </a:lnTo>
                <a:lnTo>
                  <a:pt x="2034" y="4235"/>
                </a:lnTo>
                <a:lnTo>
                  <a:pt x="2038" y="4233"/>
                </a:lnTo>
                <a:lnTo>
                  <a:pt x="2042" y="4233"/>
                </a:lnTo>
                <a:lnTo>
                  <a:pt x="2047" y="4234"/>
                </a:lnTo>
                <a:lnTo>
                  <a:pt x="2051" y="4235"/>
                </a:lnTo>
                <a:close/>
                <a:moveTo>
                  <a:pt x="2007" y="4024"/>
                </a:moveTo>
                <a:lnTo>
                  <a:pt x="2003" y="4024"/>
                </a:lnTo>
                <a:lnTo>
                  <a:pt x="1998" y="4024"/>
                </a:lnTo>
                <a:lnTo>
                  <a:pt x="1993" y="4023"/>
                </a:lnTo>
                <a:lnTo>
                  <a:pt x="1989" y="4019"/>
                </a:lnTo>
                <a:lnTo>
                  <a:pt x="1988" y="4014"/>
                </a:lnTo>
                <a:lnTo>
                  <a:pt x="1998" y="4015"/>
                </a:lnTo>
                <a:lnTo>
                  <a:pt x="2009" y="4019"/>
                </a:lnTo>
                <a:lnTo>
                  <a:pt x="2007" y="4024"/>
                </a:lnTo>
                <a:close/>
                <a:moveTo>
                  <a:pt x="1978" y="4640"/>
                </a:moveTo>
                <a:lnTo>
                  <a:pt x="1986" y="4631"/>
                </a:lnTo>
                <a:lnTo>
                  <a:pt x="1997" y="4630"/>
                </a:lnTo>
                <a:lnTo>
                  <a:pt x="2006" y="4635"/>
                </a:lnTo>
                <a:lnTo>
                  <a:pt x="2007" y="4648"/>
                </a:lnTo>
                <a:lnTo>
                  <a:pt x="2000" y="4657"/>
                </a:lnTo>
                <a:lnTo>
                  <a:pt x="1988" y="4658"/>
                </a:lnTo>
                <a:lnTo>
                  <a:pt x="1979" y="4651"/>
                </a:lnTo>
                <a:lnTo>
                  <a:pt x="1978" y="4640"/>
                </a:lnTo>
                <a:close/>
                <a:moveTo>
                  <a:pt x="1949" y="4116"/>
                </a:moveTo>
                <a:lnTo>
                  <a:pt x="1961" y="4093"/>
                </a:lnTo>
                <a:lnTo>
                  <a:pt x="1982" y="4089"/>
                </a:lnTo>
                <a:lnTo>
                  <a:pt x="1996" y="4103"/>
                </a:lnTo>
                <a:lnTo>
                  <a:pt x="1991" y="4127"/>
                </a:lnTo>
                <a:lnTo>
                  <a:pt x="1977" y="4136"/>
                </a:lnTo>
                <a:lnTo>
                  <a:pt x="1963" y="4137"/>
                </a:lnTo>
                <a:lnTo>
                  <a:pt x="1951" y="4130"/>
                </a:lnTo>
                <a:lnTo>
                  <a:pt x="1949" y="4116"/>
                </a:lnTo>
                <a:close/>
                <a:moveTo>
                  <a:pt x="1919" y="4231"/>
                </a:moveTo>
                <a:lnTo>
                  <a:pt x="1922" y="4235"/>
                </a:lnTo>
                <a:lnTo>
                  <a:pt x="1922" y="4239"/>
                </a:lnTo>
                <a:lnTo>
                  <a:pt x="1919" y="4242"/>
                </a:lnTo>
                <a:lnTo>
                  <a:pt x="1916" y="4242"/>
                </a:lnTo>
                <a:lnTo>
                  <a:pt x="1913" y="4236"/>
                </a:lnTo>
                <a:lnTo>
                  <a:pt x="1912" y="4234"/>
                </a:lnTo>
                <a:lnTo>
                  <a:pt x="1914" y="4233"/>
                </a:lnTo>
                <a:lnTo>
                  <a:pt x="1919" y="4231"/>
                </a:lnTo>
                <a:close/>
                <a:moveTo>
                  <a:pt x="1843" y="4010"/>
                </a:moveTo>
                <a:lnTo>
                  <a:pt x="1835" y="4007"/>
                </a:lnTo>
                <a:lnTo>
                  <a:pt x="1829" y="4001"/>
                </a:lnTo>
                <a:lnTo>
                  <a:pt x="1824" y="3991"/>
                </a:lnTo>
                <a:lnTo>
                  <a:pt x="1821" y="3978"/>
                </a:lnTo>
                <a:lnTo>
                  <a:pt x="1828" y="3986"/>
                </a:lnTo>
                <a:lnTo>
                  <a:pt x="1833" y="3993"/>
                </a:lnTo>
                <a:lnTo>
                  <a:pt x="1838" y="4001"/>
                </a:lnTo>
                <a:lnTo>
                  <a:pt x="1843" y="4010"/>
                </a:lnTo>
                <a:close/>
                <a:moveTo>
                  <a:pt x="1684" y="4127"/>
                </a:moveTo>
                <a:lnTo>
                  <a:pt x="1700" y="4131"/>
                </a:lnTo>
                <a:lnTo>
                  <a:pt x="1707" y="4138"/>
                </a:lnTo>
                <a:lnTo>
                  <a:pt x="1700" y="4147"/>
                </a:lnTo>
                <a:lnTo>
                  <a:pt x="1684" y="4154"/>
                </a:lnTo>
                <a:lnTo>
                  <a:pt x="1672" y="4150"/>
                </a:lnTo>
                <a:lnTo>
                  <a:pt x="1667" y="4141"/>
                </a:lnTo>
                <a:lnTo>
                  <a:pt x="1670" y="4132"/>
                </a:lnTo>
                <a:lnTo>
                  <a:pt x="1684" y="4127"/>
                </a:lnTo>
                <a:close/>
                <a:moveTo>
                  <a:pt x="1672" y="3848"/>
                </a:moveTo>
                <a:lnTo>
                  <a:pt x="1674" y="3867"/>
                </a:lnTo>
                <a:lnTo>
                  <a:pt x="1665" y="3875"/>
                </a:lnTo>
                <a:lnTo>
                  <a:pt x="1652" y="3866"/>
                </a:lnTo>
                <a:lnTo>
                  <a:pt x="1637" y="3839"/>
                </a:lnTo>
                <a:lnTo>
                  <a:pt x="1657" y="3844"/>
                </a:lnTo>
                <a:lnTo>
                  <a:pt x="1672" y="3848"/>
                </a:lnTo>
                <a:close/>
                <a:moveTo>
                  <a:pt x="1742" y="3585"/>
                </a:moveTo>
                <a:lnTo>
                  <a:pt x="1726" y="3591"/>
                </a:lnTo>
                <a:lnTo>
                  <a:pt x="1712" y="3591"/>
                </a:lnTo>
                <a:lnTo>
                  <a:pt x="1698" y="3589"/>
                </a:lnTo>
                <a:lnTo>
                  <a:pt x="1685" y="3585"/>
                </a:lnTo>
                <a:lnTo>
                  <a:pt x="1699" y="3583"/>
                </a:lnTo>
                <a:lnTo>
                  <a:pt x="1713" y="3583"/>
                </a:lnTo>
                <a:lnTo>
                  <a:pt x="1728" y="3585"/>
                </a:lnTo>
                <a:lnTo>
                  <a:pt x="1742" y="3585"/>
                </a:lnTo>
                <a:close/>
                <a:moveTo>
                  <a:pt x="1173" y="3505"/>
                </a:moveTo>
                <a:lnTo>
                  <a:pt x="1185" y="3510"/>
                </a:lnTo>
                <a:lnTo>
                  <a:pt x="1196" y="3516"/>
                </a:lnTo>
                <a:lnTo>
                  <a:pt x="1178" y="3517"/>
                </a:lnTo>
                <a:lnTo>
                  <a:pt x="1164" y="3519"/>
                </a:lnTo>
                <a:lnTo>
                  <a:pt x="1159" y="3516"/>
                </a:lnTo>
                <a:lnTo>
                  <a:pt x="1173" y="3505"/>
                </a:lnTo>
                <a:close/>
                <a:moveTo>
                  <a:pt x="1048" y="3520"/>
                </a:moveTo>
                <a:lnTo>
                  <a:pt x="1061" y="3501"/>
                </a:lnTo>
                <a:lnTo>
                  <a:pt x="1037" y="3491"/>
                </a:lnTo>
                <a:lnTo>
                  <a:pt x="1002" y="3483"/>
                </a:lnTo>
                <a:lnTo>
                  <a:pt x="982" y="3466"/>
                </a:lnTo>
                <a:lnTo>
                  <a:pt x="1024" y="3466"/>
                </a:lnTo>
                <a:lnTo>
                  <a:pt x="1062" y="3475"/>
                </a:lnTo>
                <a:lnTo>
                  <a:pt x="1098" y="3480"/>
                </a:lnTo>
                <a:lnTo>
                  <a:pt x="1137" y="3469"/>
                </a:lnTo>
                <a:lnTo>
                  <a:pt x="1136" y="3505"/>
                </a:lnTo>
                <a:lnTo>
                  <a:pt x="1094" y="3530"/>
                </a:lnTo>
                <a:lnTo>
                  <a:pt x="1052" y="3536"/>
                </a:lnTo>
                <a:lnTo>
                  <a:pt x="1048" y="3520"/>
                </a:lnTo>
                <a:close/>
                <a:moveTo>
                  <a:pt x="757" y="2678"/>
                </a:moveTo>
                <a:lnTo>
                  <a:pt x="755" y="2673"/>
                </a:lnTo>
                <a:lnTo>
                  <a:pt x="755" y="2670"/>
                </a:lnTo>
                <a:lnTo>
                  <a:pt x="759" y="2667"/>
                </a:lnTo>
                <a:lnTo>
                  <a:pt x="764" y="2666"/>
                </a:lnTo>
                <a:lnTo>
                  <a:pt x="766" y="2671"/>
                </a:lnTo>
                <a:lnTo>
                  <a:pt x="764" y="2675"/>
                </a:lnTo>
                <a:lnTo>
                  <a:pt x="762" y="2677"/>
                </a:lnTo>
                <a:lnTo>
                  <a:pt x="757" y="2678"/>
                </a:lnTo>
                <a:close/>
                <a:moveTo>
                  <a:pt x="878" y="2302"/>
                </a:moveTo>
                <a:lnTo>
                  <a:pt x="879" y="2299"/>
                </a:lnTo>
                <a:lnTo>
                  <a:pt x="880" y="2299"/>
                </a:lnTo>
                <a:lnTo>
                  <a:pt x="882" y="2302"/>
                </a:lnTo>
                <a:lnTo>
                  <a:pt x="883" y="2305"/>
                </a:lnTo>
                <a:lnTo>
                  <a:pt x="880" y="2303"/>
                </a:lnTo>
                <a:lnTo>
                  <a:pt x="878" y="2302"/>
                </a:lnTo>
                <a:close/>
                <a:moveTo>
                  <a:pt x="1157" y="2005"/>
                </a:moveTo>
                <a:lnTo>
                  <a:pt x="1153" y="2004"/>
                </a:lnTo>
                <a:lnTo>
                  <a:pt x="1153" y="2003"/>
                </a:lnTo>
                <a:lnTo>
                  <a:pt x="1153" y="2000"/>
                </a:lnTo>
                <a:lnTo>
                  <a:pt x="1154" y="1997"/>
                </a:lnTo>
                <a:lnTo>
                  <a:pt x="1157" y="1999"/>
                </a:lnTo>
                <a:lnTo>
                  <a:pt x="1158" y="2001"/>
                </a:lnTo>
                <a:lnTo>
                  <a:pt x="1158" y="2003"/>
                </a:lnTo>
                <a:lnTo>
                  <a:pt x="1157" y="2005"/>
                </a:lnTo>
                <a:close/>
                <a:moveTo>
                  <a:pt x="3724" y="573"/>
                </a:moveTo>
                <a:lnTo>
                  <a:pt x="3730" y="569"/>
                </a:lnTo>
                <a:lnTo>
                  <a:pt x="3735" y="570"/>
                </a:lnTo>
                <a:lnTo>
                  <a:pt x="3739" y="574"/>
                </a:lnTo>
                <a:lnTo>
                  <a:pt x="3744" y="581"/>
                </a:lnTo>
                <a:lnTo>
                  <a:pt x="3737" y="583"/>
                </a:lnTo>
                <a:lnTo>
                  <a:pt x="3732" y="583"/>
                </a:lnTo>
                <a:lnTo>
                  <a:pt x="3728" y="579"/>
                </a:lnTo>
                <a:lnTo>
                  <a:pt x="3724" y="573"/>
                </a:lnTo>
                <a:close/>
                <a:moveTo>
                  <a:pt x="4636" y="3569"/>
                </a:moveTo>
                <a:lnTo>
                  <a:pt x="4635" y="3578"/>
                </a:lnTo>
                <a:lnTo>
                  <a:pt x="4632" y="3589"/>
                </a:lnTo>
                <a:lnTo>
                  <a:pt x="4631" y="3599"/>
                </a:lnTo>
                <a:lnTo>
                  <a:pt x="4628" y="3609"/>
                </a:lnTo>
                <a:lnTo>
                  <a:pt x="4618" y="3587"/>
                </a:lnTo>
                <a:lnTo>
                  <a:pt x="4615" y="3573"/>
                </a:lnTo>
                <a:lnTo>
                  <a:pt x="4621" y="3567"/>
                </a:lnTo>
                <a:lnTo>
                  <a:pt x="4636" y="3569"/>
                </a:lnTo>
                <a:close/>
                <a:moveTo>
                  <a:pt x="4812" y="3604"/>
                </a:moveTo>
                <a:lnTo>
                  <a:pt x="4812" y="3609"/>
                </a:lnTo>
                <a:lnTo>
                  <a:pt x="4809" y="3611"/>
                </a:lnTo>
                <a:lnTo>
                  <a:pt x="4804" y="3611"/>
                </a:lnTo>
                <a:lnTo>
                  <a:pt x="4800" y="3609"/>
                </a:lnTo>
                <a:lnTo>
                  <a:pt x="4801" y="3605"/>
                </a:lnTo>
                <a:lnTo>
                  <a:pt x="4804" y="3604"/>
                </a:lnTo>
                <a:lnTo>
                  <a:pt x="4808" y="3604"/>
                </a:lnTo>
                <a:lnTo>
                  <a:pt x="4812" y="3604"/>
                </a:lnTo>
                <a:close/>
                <a:moveTo>
                  <a:pt x="6745" y="3711"/>
                </a:moveTo>
                <a:lnTo>
                  <a:pt x="6738" y="3715"/>
                </a:lnTo>
                <a:lnTo>
                  <a:pt x="6731" y="3716"/>
                </a:lnTo>
                <a:lnTo>
                  <a:pt x="6722" y="3713"/>
                </a:lnTo>
                <a:lnTo>
                  <a:pt x="6714" y="3710"/>
                </a:lnTo>
                <a:lnTo>
                  <a:pt x="6718" y="3701"/>
                </a:lnTo>
                <a:lnTo>
                  <a:pt x="6731" y="3697"/>
                </a:lnTo>
                <a:lnTo>
                  <a:pt x="6743" y="3699"/>
                </a:lnTo>
                <a:lnTo>
                  <a:pt x="6745" y="3711"/>
                </a:lnTo>
                <a:close/>
                <a:moveTo>
                  <a:pt x="7769" y="1360"/>
                </a:moveTo>
                <a:lnTo>
                  <a:pt x="7770" y="1357"/>
                </a:lnTo>
                <a:lnTo>
                  <a:pt x="7771" y="1356"/>
                </a:lnTo>
                <a:lnTo>
                  <a:pt x="7779" y="1360"/>
                </a:lnTo>
                <a:lnTo>
                  <a:pt x="7778" y="1364"/>
                </a:lnTo>
                <a:lnTo>
                  <a:pt x="7774" y="1365"/>
                </a:lnTo>
                <a:lnTo>
                  <a:pt x="7769" y="1360"/>
                </a:lnTo>
                <a:close/>
                <a:moveTo>
                  <a:pt x="8561" y="1509"/>
                </a:moveTo>
                <a:lnTo>
                  <a:pt x="8556" y="1512"/>
                </a:lnTo>
                <a:lnTo>
                  <a:pt x="8551" y="1512"/>
                </a:lnTo>
                <a:lnTo>
                  <a:pt x="8547" y="1512"/>
                </a:lnTo>
                <a:lnTo>
                  <a:pt x="8542" y="1509"/>
                </a:lnTo>
                <a:lnTo>
                  <a:pt x="8547" y="1505"/>
                </a:lnTo>
                <a:lnTo>
                  <a:pt x="8552" y="1505"/>
                </a:lnTo>
                <a:lnTo>
                  <a:pt x="8556" y="1506"/>
                </a:lnTo>
                <a:lnTo>
                  <a:pt x="8561" y="1509"/>
                </a:lnTo>
                <a:close/>
                <a:moveTo>
                  <a:pt x="8559" y="1465"/>
                </a:moveTo>
                <a:lnTo>
                  <a:pt x="8557" y="1463"/>
                </a:lnTo>
                <a:lnTo>
                  <a:pt x="8554" y="1460"/>
                </a:lnTo>
                <a:lnTo>
                  <a:pt x="8556" y="1458"/>
                </a:lnTo>
                <a:lnTo>
                  <a:pt x="8559" y="1458"/>
                </a:lnTo>
                <a:lnTo>
                  <a:pt x="8561" y="1459"/>
                </a:lnTo>
                <a:lnTo>
                  <a:pt x="8562" y="1462"/>
                </a:lnTo>
                <a:lnTo>
                  <a:pt x="8561" y="1463"/>
                </a:lnTo>
                <a:lnTo>
                  <a:pt x="8559" y="1465"/>
                </a:lnTo>
                <a:close/>
                <a:moveTo>
                  <a:pt x="8619" y="1505"/>
                </a:moveTo>
                <a:lnTo>
                  <a:pt x="8618" y="1519"/>
                </a:lnTo>
                <a:lnTo>
                  <a:pt x="8618" y="1535"/>
                </a:lnTo>
                <a:lnTo>
                  <a:pt x="8614" y="1548"/>
                </a:lnTo>
                <a:lnTo>
                  <a:pt x="8604" y="1551"/>
                </a:lnTo>
                <a:lnTo>
                  <a:pt x="8582" y="1525"/>
                </a:lnTo>
                <a:lnTo>
                  <a:pt x="8572" y="1504"/>
                </a:lnTo>
                <a:lnTo>
                  <a:pt x="8582" y="1495"/>
                </a:lnTo>
                <a:lnTo>
                  <a:pt x="8619" y="1505"/>
                </a:lnTo>
                <a:close/>
                <a:moveTo>
                  <a:pt x="8691" y="1526"/>
                </a:moveTo>
                <a:lnTo>
                  <a:pt x="8669" y="1519"/>
                </a:lnTo>
                <a:lnTo>
                  <a:pt x="8650" y="1505"/>
                </a:lnTo>
                <a:lnTo>
                  <a:pt x="8633" y="1488"/>
                </a:lnTo>
                <a:lnTo>
                  <a:pt x="8615" y="1472"/>
                </a:lnTo>
                <a:lnTo>
                  <a:pt x="8652" y="1473"/>
                </a:lnTo>
                <a:lnTo>
                  <a:pt x="8693" y="1491"/>
                </a:lnTo>
                <a:lnTo>
                  <a:pt x="8714" y="1511"/>
                </a:lnTo>
                <a:lnTo>
                  <a:pt x="8691" y="1526"/>
                </a:lnTo>
                <a:close/>
                <a:moveTo>
                  <a:pt x="8692" y="1575"/>
                </a:moveTo>
                <a:lnTo>
                  <a:pt x="8696" y="1577"/>
                </a:lnTo>
                <a:lnTo>
                  <a:pt x="8693" y="1577"/>
                </a:lnTo>
                <a:lnTo>
                  <a:pt x="8692" y="1575"/>
                </a:lnTo>
                <a:close/>
                <a:moveTo>
                  <a:pt x="9022" y="1596"/>
                </a:moveTo>
                <a:lnTo>
                  <a:pt x="9018" y="1607"/>
                </a:lnTo>
                <a:lnTo>
                  <a:pt x="9012" y="1612"/>
                </a:lnTo>
                <a:lnTo>
                  <a:pt x="9004" y="1613"/>
                </a:lnTo>
                <a:lnTo>
                  <a:pt x="8994" y="1612"/>
                </a:lnTo>
                <a:lnTo>
                  <a:pt x="8987" y="1590"/>
                </a:lnTo>
                <a:lnTo>
                  <a:pt x="9004" y="1576"/>
                </a:lnTo>
                <a:lnTo>
                  <a:pt x="9022" y="1576"/>
                </a:lnTo>
                <a:lnTo>
                  <a:pt x="9022" y="1596"/>
                </a:lnTo>
                <a:close/>
                <a:moveTo>
                  <a:pt x="9273" y="1770"/>
                </a:moveTo>
                <a:lnTo>
                  <a:pt x="9260" y="1776"/>
                </a:lnTo>
                <a:lnTo>
                  <a:pt x="9248" y="1778"/>
                </a:lnTo>
                <a:lnTo>
                  <a:pt x="9236" y="1776"/>
                </a:lnTo>
                <a:lnTo>
                  <a:pt x="9223" y="1768"/>
                </a:lnTo>
                <a:lnTo>
                  <a:pt x="9237" y="1758"/>
                </a:lnTo>
                <a:lnTo>
                  <a:pt x="9255" y="1754"/>
                </a:lnTo>
                <a:lnTo>
                  <a:pt x="9269" y="1757"/>
                </a:lnTo>
                <a:lnTo>
                  <a:pt x="9273" y="1770"/>
                </a:lnTo>
                <a:close/>
                <a:moveTo>
                  <a:pt x="9525" y="1846"/>
                </a:moveTo>
                <a:lnTo>
                  <a:pt x="9526" y="1850"/>
                </a:lnTo>
                <a:lnTo>
                  <a:pt x="9525" y="1852"/>
                </a:lnTo>
                <a:lnTo>
                  <a:pt x="9523" y="1852"/>
                </a:lnTo>
                <a:lnTo>
                  <a:pt x="9521" y="1854"/>
                </a:lnTo>
                <a:lnTo>
                  <a:pt x="9520" y="1851"/>
                </a:lnTo>
                <a:lnTo>
                  <a:pt x="9520" y="1848"/>
                </a:lnTo>
                <a:lnTo>
                  <a:pt x="9522" y="1847"/>
                </a:lnTo>
                <a:lnTo>
                  <a:pt x="9525" y="1846"/>
                </a:lnTo>
                <a:close/>
                <a:moveTo>
                  <a:pt x="9529" y="1784"/>
                </a:moveTo>
                <a:lnTo>
                  <a:pt x="9523" y="1784"/>
                </a:lnTo>
                <a:lnTo>
                  <a:pt x="9522" y="1784"/>
                </a:lnTo>
                <a:lnTo>
                  <a:pt x="9523" y="1781"/>
                </a:lnTo>
                <a:lnTo>
                  <a:pt x="9529" y="1780"/>
                </a:lnTo>
                <a:lnTo>
                  <a:pt x="9531" y="1778"/>
                </a:lnTo>
                <a:lnTo>
                  <a:pt x="9532" y="1780"/>
                </a:lnTo>
                <a:lnTo>
                  <a:pt x="9531" y="1781"/>
                </a:lnTo>
                <a:lnTo>
                  <a:pt x="9529" y="1784"/>
                </a:lnTo>
                <a:close/>
                <a:moveTo>
                  <a:pt x="9573" y="1852"/>
                </a:moveTo>
                <a:lnTo>
                  <a:pt x="9571" y="1845"/>
                </a:lnTo>
                <a:lnTo>
                  <a:pt x="9573" y="1840"/>
                </a:lnTo>
                <a:lnTo>
                  <a:pt x="9578" y="1837"/>
                </a:lnTo>
                <a:lnTo>
                  <a:pt x="9585" y="1834"/>
                </a:lnTo>
                <a:lnTo>
                  <a:pt x="9591" y="1841"/>
                </a:lnTo>
                <a:lnTo>
                  <a:pt x="9590" y="1846"/>
                </a:lnTo>
                <a:lnTo>
                  <a:pt x="9582" y="1850"/>
                </a:lnTo>
                <a:lnTo>
                  <a:pt x="9573" y="1852"/>
                </a:lnTo>
                <a:close/>
                <a:moveTo>
                  <a:pt x="9758" y="1978"/>
                </a:moveTo>
                <a:lnTo>
                  <a:pt x="9762" y="1981"/>
                </a:lnTo>
                <a:lnTo>
                  <a:pt x="9760" y="1982"/>
                </a:lnTo>
                <a:lnTo>
                  <a:pt x="9758" y="1985"/>
                </a:lnTo>
                <a:lnTo>
                  <a:pt x="9755" y="1987"/>
                </a:lnTo>
                <a:lnTo>
                  <a:pt x="9751" y="1983"/>
                </a:lnTo>
                <a:lnTo>
                  <a:pt x="9751" y="1981"/>
                </a:lnTo>
                <a:lnTo>
                  <a:pt x="9753" y="1980"/>
                </a:lnTo>
                <a:lnTo>
                  <a:pt x="9758" y="1978"/>
                </a:lnTo>
                <a:close/>
                <a:moveTo>
                  <a:pt x="9823" y="1941"/>
                </a:moveTo>
                <a:lnTo>
                  <a:pt x="9819" y="1947"/>
                </a:lnTo>
                <a:lnTo>
                  <a:pt x="9813" y="1952"/>
                </a:lnTo>
                <a:lnTo>
                  <a:pt x="9762" y="1920"/>
                </a:lnTo>
                <a:lnTo>
                  <a:pt x="9790" y="1897"/>
                </a:lnTo>
                <a:lnTo>
                  <a:pt x="9832" y="1899"/>
                </a:lnTo>
                <a:lnTo>
                  <a:pt x="9823" y="1941"/>
                </a:lnTo>
                <a:close/>
                <a:moveTo>
                  <a:pt x="10205" y="2207"/>
                </a:moveTo>
                <a:lnTo>
                  <a:pt x="10204" y="2205"/>
                </a:lnTo>
                <a:lnTo>
                  <a:pt x="10204" y="2205"/>
                </a:lnTo>
                <a:lnTo>
                  <a:pt x="10206" y="2205"/>
                </a:lnTo>
                <a:lnTo>
                  <a:pt x="10209" y="2205"/>
                </a:lnTo>
                <a:lnTo>
                  <a:pt x="10205" y="2207"/>
                </a:lnTo>
                <a:close/>
                <a:moveTo>
                  <a:pt x="10870" y="2522"/>
                </a:moveTo>
                <a:lnTo>
                  <a:pt x="10868" y="2516"/>
                </a:lnTo>
                <a:lnTo>
                  <a:pt x="10866" y="2512"/>
                </a:lnTo>
                <a:lnTo>
                  <a:pt x="10861" y="2509"/>
                </a:lnTo>
                <a:lnTo>
                  <a:pt x="10856" y="2507"/>
                </a:lnTo>
                <a:lnTo>
                  <a:pt x="10868" y="2504"/>
                </a:lnTo>
                <a:lnTo>
                  <a:pt x="10881" y="2513"/>
                </a:lnTo>
                <a:lnTo>
                  <a:pt x="10884" y="2522"/>
                </a:lnTo>
                <a:lnTo>
                  <a:pt x="10870" y="2522"/>
                </a:lnTo>
                <a:close/>
                <a:moveTo>
                  <a:pt x="10872" y="2612"/>
                </a:moveTo>
                <a:lnTo>
                  <a:pt x="10885" y="2615"/>
                </a:lnTo>
                <a:lnTo>
                  <a:pt x="10896" y="2619"/>
                </a:lnTo>
                <a:lnTo>
                  <a:pt x="10908" y="2622"/>
                </a:lnTo>
                <a:lnTo>
                  <a:pt x="10919" y="2625"/>
                </a:lnTo>
                <a:lnTo>
                  <a:pt x="10908" y="2625"/>
                </a:lnTo>
                <a:lnTo>
                  <a:pt x="10896" y="2622"/>
                </a:lnTo>
                <a:lnTo>
                  <a:pt x="10885" y="2619"/>
                </a:lnTo>
                <a:lnTo>
                  <a:pt x="10872" y="2612"/>
                </a:lnTo>
                <a:close/>
                <a:moveTo>
                  <a:pt x="10927" y="2687"/>
                </a:moveTo>
                <a:lnTo>
                  <a:pt x="10928" y="2687"/>
                </a:lnTo>
                <a:lnTo>
                  <a:pt x="10927" y="2687"/>
                </a:lnTo>
                <a:lnTo>
                  <a:pt x="10924" y="2686"/>
                </a:lnTo>
                <a:lnTo>
                  <a:pt x="10926" y="2686"/>
                </a:lnTo>
                <a:lnTo>
                  <a:pt x="10927" y="2686"/>
                </a:lnTo>
                <a:lnTo>
                  <a:pt x="10927" y="2687"/>
                </a:lnTo>
                <a:close/>
                <a:moveTo>
                  <a:pt x="10956" y="2704"/>
                </a:moveTo>
                <a:lnTo>
                  <a:pt x="10969" y="2701"/>
                </a:lnTo>
                <a:lnTo>
                  <a:pt x="10980" y="2700"/>
                </a:lnTo>
                <a:lnTo>
                  <a:pt x="10975" y="2704"/>
                </a:lnTo>
                <a:lnTo>
                  <a:pt x="10969" y="2706"/>
                </a:lnTo>
                <a:lnTo>
                  <a:pt x="10963" y="2706"/>
                </a:lnTo>
                <a:lnTo>
                  <a:pt x="10956" y="2704"/>
                </a:lnTo>
                <a:close/>
                <a:moveTo>
                  <a:pt x="11094" y="2877"/>
                </a:moveTo>
                <a:lnTo>
                  <a:pt x="11063" y="2888"/>
                </a:lnTo>
                <a:lnTo>
                  <a:pt x="11033" y="2905"/>
                </a:lnTo>
                <a:lnTo>
                  <a:pt x="11003" y="2913"/>
                </a:lnTo>
                <a:lnTo>
                  <a:pt x="10975" y="2899"/>
                </a:lnTo>
                <a:lnTo>
                  <a:pt x="11007" y="2894"/>
                </a:lnTo>
                <a:lnTo>
                  <a:pt x="11044" y="2886"/>
                </a:lnTo>
                <a:lnTo>
                  <a:pt x="11076" y="2878"/>
                </a:lnTo>
                <a:lnTo>
                  <a:pt x="11094" y="2877"/>
                </a:lnTo>
                <a:close/>
                <a:moveTo>
                  <a:pt x="11115" y="2839"/>
                </a:moveTo>
                <a:lnTo>
                  <a:pt x="11119" y="2839"/>
                </a:lnTo>
                <a:lnTo>
                  <a:pt x="11115" y="2839"/>
                </a:lnTo>
                <a:lnTo>
                  <a:pt x="11120" y="2836"/>
                </a:lnTo>
                <a:lnTo>
                  <a:pt x="11115" y="2839"/>
                </a:lnTo>
                <a:close/>
                <a:moveTo>
                  <a:pt x="11179" y="2922"/>
                </a:moveTo>
                <a:lnTo>
                  <a:pt x="11176" y="2914"/>
                </a:lnTo>
                <a:lnTo>
                  <a:pt x="11180" y="2910"/>
                </a:lnTo>
                <a:lnTo>
                  <a:pt x="11188" y="2910"/>
                </a:lnTo>
                <a:lnTo>
                  <a:pt x="11199" y="2913"/>
                </a:lnTo>
                <a:lnTo>
                  <a:pt x="11188" y="2918"/>
                </a:lnTo>
                <a:lnTo>
                  <a:pt x="11179" y="2922"/>
                </a:lnTo>
                <a:close/>
                <a:moveTo>
                  <a:pt x="11208" y="2942"/>
                </a:moveTo>
                <a:lnTo>
                  <a:pt x="11206" y="2943"/>
                </a:lnTo>
                <a:lnTo>
                  <a:pt x="11206" y="2943"/>
                </a:lnTo>
                <a:lnTo>
                  <a:pt x="11207" y="2943"/>
                </a:lnTo>
                <a:lnTo>
                  <a:pt x="11208" y="2942"/>
                </a:lnTo>
                <a:lnTo>
                  <a:pt x="11207" y="2943"/>
                </a:lnTo>
                <a:lnTo>
                  <a:pt x="11207" y="2944"/>
                </a:lnTo>
                <a:lnTo>
                  <a:pt x="11207" y="2943"/>
                </a:lnTo>
                <a:lnTo>
                  <a:pt x="11208" y="2942"/>
                </a:lnTo>
                <a:close/>
                <a:moveTo>
                  <a:pt x="11291" y="2802"/>
                </a:moveTo>
                <a:lnTo>
                  <a:pt x="11289" y="2801"/>
                </a:lnTo>
                <a:lnTo>
                  <a:pt x="11283" y="2796"/>
                </a:lnTo>
                <a:lnTo>
                  <a:pt x="11294" y="2797"/>
                </a:lnTo>
                <a:lnTo>
                  <a:pt x="11300" y="2798"/>
                </a:lnTo>
                <a:lnTo>
                  <a:pt x="11300" y="2799"/>
                </a:lnTo>
                <a:lnTo>
                  <a:pt x="11291" y="2802"/>
                </a:lnTo>
                <a:close/>
                <a:moveTo>
                  <a:pt x="11382" y="2922"/>
                </a:moveTo>
                <a:lnTo>
                  <a:pt x="11383" y="2918"/>
                </a:lnTo>
                <a:lnTo>
                  <a:pt x="11387" y="2919"/>
                </a:lnTo>
                <a:lnTo>
                  <a:pt x="11388" y="2920"/>
                </a:lnTo>
                <a:lnTo>
                  <a:pt x="11385" y="2924"/>
                </a:lnTo>
                <a:lnTo>
                  <a:pt x="11383" y="2923"/>
                </a:lnTo>
                <a:lnTo>
                  <a:pt x="11382" y="2922"/>
                </a:lnTo>
                <a:close/>
                <a:moveTo>
                  <a:pt x="11268" y="3204"/>
                </a:moveTo>
                <a:lnTo>
                  <a:pt x="11278" y="3199"/>
                </a:lnTo>
                <a:lnTo>
                  <a:pt x="11282" y="3194"/>
                </a:lnTo>
                <a:lnTo>
                  <a:pt x="11281" y="3186"/>
                </a:lnTo>
                <a:lnTo>
                  <a:pt x="11276" y="3177"/>
                </a:lnTo>
                <a:lnTo>
                  <a:pt x="11285" y="3189"/>
                </a:lnTo>
                <a:lnTo>
                  <a:pt x="11287" y="3197"/>
                </a:lnTo>
                <a:lnTo>
                  <a:pt x="11282" y="3202"/>
                </a:lnTo>
                <a:lnTo>
                  <a:pt x="11268" y="3204"/>
                </a:lnTo>
                <a:close/>
                <a:moveTo>
                  <a:pt x="11280" y="3242"/>
                </a:moveTo>
                <a:lnTo>
                  <a:pt x="11273" y="3240"/>
                </a:lnTo>
                <a:lnTo>
                  <a:pt x="11271" y="3237"/>
                </a:lnTo>
                <a:lnTo>
                  <a:pt x="11272" y="3233"/>
                </a:lnTo>
                <a:lnTo>
                  <a:pt x="11277" y="3231"/>
                </a:lnTo>
                <a:lnTo>
                  <a:pt x="11283" y="3232"/>
                </a:lnTo>
                <a:lnTo>
                  <a:pt x="11285" y="3236"/>
                </a:lnTo>
                <a:lnTo>
                  <a:pt x="11285" y="3240"/>
                </a:lnTo>
                <a:lnTo>
                  <a:pt x="11280" y="3242"/>
                </a:lnTo>
                <a:close/>
                <a:moveTo>
                  <a:pt x="11229" y="3636"/>
                </a:moveTo>
                <a:lnTo>
                  <a:pt x="11277" y="3667"/>
                </a:lnTo>
                <a:lnTo>
                  <a:pt x="11258" y="3665"/>
                </a:lnTo>
                <a:lnTo>
                  <a:pt x="11211" y="3656"/>
                </a:lnTo>
                <a:lnTo>
                  <a:pt x="11173" y="3670"/>
                </a:lnTo>
                <a:lnTo>
                  <a:pt x="11193" y="3622"/>
                </a:lnTo>
                <a:lnTo>
                  <a:pt x="11222" y="3596"/>
                </a:lnTo>
                <a:lnTo>
                  <a:pt x="11240" y="3600"/>
                </a:lnTo>
                <a:lnTo>
                  <a:pt x="11229" y="3636"/>
                </a:lnTo>
                <a:close/>
                <a:moveTo>
                  <a:pt x="11221" y="3777"/>
                </a:moveTo>
                <a:lnTo>
                  <a:pt x="11224" y="3777"/>
                </a:lnTo>
                <a:lnTo>
                  <a:pt x="11225" y="3778"/>
                </a:lnTo>
                <a:lnTo>
                  <a:pt x="11226" y="3780"/>
                </a:lnTo>
                <a:lnTo>
                  <a:pt x="11227" y="3781"/>
                </a:lnTo>
                <a:lnTo>
                  <a:pt x="11225" y="3780"/>
                </a:lnTo>
                <a:lnTo>
                  <a:pt x="11221" y="3777"/>
                </a:lnTo>
                <a:close/>
                <a:moveTo>
                  <a:pt x="11164" y="3838"/>
                </a:moveTo>
                <a:lnTo>
                  <a:pt x="11179" y="3832"/>
                </a:lnTo>
                <a:lnTo>
                  <a:pt x="11196" y="3830"/>
                </a:lnTo>
                <a:lnTo>
                  <a:pt x="11211" y="3833"/>
                </a:lnTo>
                <a:lnTo>
                  <a:pt x="11227" y="3839"/>
                </a:lnTo>
                <a:lnTo>
                  <a:pt x="11215" y="3846"/>
                </a:lnTo>
                <a:lnTo>
                  <a:pt x="11197" y="3844"/>
                </a:lnTo>
                <a:lnTo>
                  <a:pt x="11179" y="3842"/>
                </a:lnTo>
                <a:lnTo>
                  <a:pt x="11164" y="3838"/>
                </a:lnTo>
                <a:close/>
                <a:moveTo>
                  <a:pt x="11136" y="3836"/>
                </a:moveTo>
                <a:lnTo>
                  <a:pt x="11150" y="3837"/>
                </a:lnTo>
                <a:lnTo>
                  <a:pt x="11161" y="3838"/>
                </a:lnTo>
                <a:lnTo>
                  <a:pt x="11155" y="3839"/>
                </a:lnTo>
                <a:lnTo>
                  <a:pt x="11148" y="3838"/>
                </a:lnTo>
                <a:lnTo>
                  <a:pt x="11142" y="3837"/>
                </a:lnTo>
                <a:lnTo>
                  <a:pt x="11136" y="3836"/>
                </a:lnTo>
                <a:close/>
                <a:moveTo>
                  <a:pt x="11137" y="3914"/>
                </a:moveTo>
                <a:lnTo>
                  <a:pt x="11136" y="3913"/>
                </a:lnTo>
                <a:lnTo>
                  <a:pt x="11134" y="3913"/>
                </a:lnTo>
                <a:lnTo>
                  <a:pt x="11134" y="3913"/>
                </a:lnTo>
                <a:lnTo>
                  <a:pt x="11136" y="3912"/>
                </a:lnTo>
                <a:lnTo>
                  <a:pt x="11136" y="3913"/>
                </a:lnTo>
                <a:lnTo>
                  <a:pt x="11137" y="3914"/>
                </a:lnTo>
                <a:close/>
                <a:moveTo>
                  <a:pt x="11126" y="3982"/>
                </a:moveTo>
                <a:lnTo>
                  <a:pt x="11134" y="3977"/>
                </a:lnTo>
                <a:lnTo>
                  <a:pt x="11145" y="3970"/>
                </a:lnTo>
                <a:lnTo>
                  <a:pt x="11154" y="3967"/>
                </a:lnTo>
                <a:lnTo>
                  <a:pt x="11162" y="3968"/>
                </a:lnTo>
                <a:lnTo>
                  <a:pt x="11156" y="3978"/>
                </a:lnTo>
                <a:lnTo>
                  <a:pt x="11147" y="3982"/>
                </a:lnTo>
                <a:lnTo>
                  <a:pt x="11137" y="3983"/>
                </a:lnTo>
                <a:lnTo>
                  <a:pt x="11126" y="3982"/>
                </a:lnTo>
                <a:close/>
                <a:moveTo>
                  <a:pt x="10472" y="4263"/>
                </a:moveTo>
                <a:lnTo>
                  <a:pt x="10457" y="4257"/>
                </a:lnTo>
                <a:lnTo>
                  <a:pt x="10444" y="4250"/>
                </a:lnTo>
                <a:lnTo>
                  <a:pt x="10439" y="4240"/>
                </a:lnTo>
                <a:lnTo>
                  <a:pt x="10442" y="4224"/>
                </a:lnTo>
                <a:lnTo>
                  <a:pt x="10461" y="4225"/>
                </a:lnTo>
                <a:lnTo>
                  <a:pt x="10472" y="4231"/>
                </a:lnTo>
                <a:lnTo>
                  <a:pt x="10475" y="4244"/>
                </a:lnTo>
                <a:lnTo>
                  <a:pt x="10472" y="4263"/>
                </a:lnTo>
                <a:close/>
                <a:moveTo>
                  <a:pt x="10342" y="4501"/>
                </a:moveTo>
                <a:lnTo>
                  <a:pt x="10349" y="4501"/>
                </a:lnTo>
                <a:lnTo>
                  <a:pt x="10355" y="4501"/>
                </a:lnTo>
                <a:lnTo>
                  <a:pt x="10360" y="4503"/>
                </a:lnTo>
                <a:lnTo>
                  <a:pt x="10360" y="4508"/>
                </a:lnTo>
                <a:lnTo>
                  <a:pt x="10355" y="4508"/>
                </a:lnTo>
                <a:lnTo>
                  <a:pt x="10349" y="4508"/>
                </a:lnTo>
                <a:lnTo>
                  <a:pt x="10344" y="4506"/>
                </a:lnTo>
                <a:lnTo>
                  <a:pt x="10342" y="4501"/>
                </a:lnTo>
                <a:close/>
                <a:moveTo>
                  <a:pt x="10391" y="4379"/>
                </a:moveTo>
                <a:lnTo>
                  <a:pt x="10386" y="4387"/>
                </a:lnTo>
                <a:lnTo>
                  <a:pt x="10381" y="4389"/>
                </a:lnTo>
                <a:lnTo>
                  <a:pt x="10375" y="4387"/>
                </a:lnTo>
                <a:lnTo>
                  <a:pt x="10369" y="4383"/>
                </a:lnTo>
                <a:lnTo>
                  <a:pt x="10373" y="4375"/>
                </a:lnTo>
                <a:lnTo>
                  <a:pt x="10378" y="4374"/>
                </a:lnTo>
                <a:lnTo>
                  <a:pt x="10384" y="4377"/>
                </a:lnTo>
                <a:lnTo>
                  <a:pt x="10391" y="4379"/>
                </a:lnTo>
                <a:close/>
                <a:moveTo>
                  <a:pt x="10429" y="4343"/>
                </a:moveTo>
                <a:lnTo>
                  <a:pt x="10396" y="4326"/>
                </a:lnTo>
                <a:lnTo>
                  <a:pt x="10401" y="4313"/>
                </a:lnTo>
                <a:lnTo>
                  <a:pt x="10430" y="4301"/>
                </a:lnTo>
                <a:lnTo>
                  <a:pt x="10467" y="4289"/>
                </a:lnTo>
                <a:lnTo>
                  <a:pt x="10466" y="4312"/>
                </a:lnTo>
                <a:lnTo>
                  <a:pt x="10457" y="4326"/>
                </a:lnTo>
                <a:lnTo>
                  <a:pt x="10445" y="4336"/>
                </a:lnTo>
                <a:lnTo>
                  <a:pt x="10429" y="4343"/>
                </a:lnTo>
                <a:close/>
                <a:moveTo>
                  <a:pt x="10374" y="4212"/>
                </a:moveTo>
                <a:lnTo>
                  <a:pt x="10374" y="4207"/>
                </a:lnTo>
                <a:lnTo>
                  <a:pt x="10383" y="4220"/>
                </a:lnTo>
                <a:lnTo>
                  <a:pt x="10389" y="4238"/>
                </a:lnTo>
                <a:lnTo>
                  <a:pt x="10379" y="4247"/>
                </a:lnTo>
                <a:lnTo>
                  <a:pt x="10382" y="4238"/>
                </a:lnTo>
                <a:lnTo>
                  <a:pt x="10382" y="4229"/>
                </a:lnTo>
                <a:lnTo>
                  <a:pt x="10379" y="4220"/>
                </a:lnTo>
                <a:lnTo>
                  <a:pt x="10374" y="4212"/>
                </a:lnTo>
                <a:close/>
                <a:moveTo>
                  <a:pt x="10291" y="4455"/>
                </a:moveTo>
                <a:lnTo>
                  <a:pt x="10298" y="4448"/>
                </a:lnTo>
                <a:lnTo>
                  <a:pt x="10302" y="4445"/>
                </a:lnTo>
                <a:lnTo>
                  <a:pt x="10304" y="4443"/>
                </a:lnTo>
                <a:lnTo>
                  <a:pt x="10304" y="4439"/>
                </a:lnTo>
                <a:lnTo>
                  <a:pt x="10314" y="4443"/>
                </a:lnTo>
                <a:lnTo>
                  <a:pt x="10310" y="4452"/>
                </a:lnTo>
                <a:lnTo>
                  <a:pt x="10300" y="4458"/>
                </a:lnTo>
                <a:lnTo>
                  <a:pt x="10291" y="4455"/>
                </a:lnTo>
                <a:close/>
                <a:moveTo>
                  <a:pt x="10229" y="4604"/>
                </a:moveTo>
                <a:lnTo>
                  <a:pt x="10233" y="4602"/>
                </a:lnTo>
                <a:lnTo>
                  <a:pt x="10237" y="4599"/>
                </a:lnTo>
                <a:lnTo>
                  <a:pt x="10234" y="4604"/>
                </a:lnTo>
                <a:lnTo>
                  <a:pt x="10230" y="4609"/>
                </a:lnTo>
                <a:lnTo>
                  <a:pt x="10228" y="4609"/>
                </a:lnTo>
                <a:lnTo>
                  <a:pt x="10229" y="4604"/>
                </a:lnTo>
                <a:close/>
                <a:moveTo>
                  <a:pt x="8477" y="4662"/>
                </a:moveTo>
                <a:lnTo>
                  <a:pt x="8478" y="4653"/>
                </a:lnTo>
                <a:lnTo>
                  <a:pt x="8486" y="4651"/>
                </a:lnTo>
                <a:lnTo>
                  <a:pt x="8494" y="4655"/>
                </a:lnTo>
                <a:lnTo>
                  <a:pt x="8502" y="4662"/>
                </a:lnTo>
                <a:lnTo>
                  <a:pt x="8496" y="4663"/>
                </a:lnTo>
                <a:lnTo>
                  <a:pt x="8488" y="4665"/>
                </a:lnTo>
                <a:lnTo>
                  <a:pt x="8482" y="4665"/>
                </a:lnTo>
                <a:lnTo>
                  <a:pt x="8477" y="4662"/>
                </a:lnTo>
                <a:close/>
                <a:moveTo>
                  <a:pt x="8214" y="4467"/>
                </a:moveTo>
                <a:lnTo>
                  <a:pt x="8207" y="4469"/>
                </a:lnTo>
                <a:lnTo>
                  <a:pt x="8199" y="4471"/>
                </a:lnTo>
                <a:lnTo>
                  <a:pt x="8190" y="4471"/>
                </a:lnTo>
                <a:lnTo>
                  <a:pt x="8182" y="4471"/>
                </a:lnTo>
                <a:lnTo>
                  <a:pt x="8196" y="4455"/>
                </a:lnTo>
                <a:lnTo>
                  <a:pt x="8221" y="4453"/>
                </a:lnTo>
                <a:lnTo>
                  <a:pt x="8232" y="4457"/>
                </a:lnTo>
                <a:lnTo>
                  <a:pt x="8214" y="4467"/>
                </a:lnTo>
                <a:close/>
                <a:moveTo>
                  <a:pt x="8205" y="4780"/>
                </a:moveTo>
                <a:lnTo>
                  <a:pt x="8193" y="4767"/>
                </a:lnTo>
                <a:lnTo>
                  <a:pt x="8176" y="4774"/>
                </a:lnTo>
                <a:lnTo>
                  <a:pt x="8161" y="4779"/>
                </a:lnTo>
                <a:lnTo>
                  <a:pt x="8146" y="4766"/>
                </a:lnTo>
                <a:lnTo>
                  <a:pt x="8162" y="4742"/>
                </a:lnTo>
                <a:lnTo>
                  <a:pt x="8188" y="4744"/>
                </a:lnTo>
                <a:lnTo>
                  <a:pt x="8208" y="4762"/>
                </a:lnTo>
                <a:lnTo>
                  <a:pt x="8205" y="4780"/>
                </a:lnTo>
                <a:close/>
                <a:moveTo>
                  <a:pt x="8204" y="4847"/>
                </a:moveTo>
                <a:lnTo>
                  <a:pt x="8202" y="4855"/>
                </a:lnTo>
                <a:lnTo>
                  <a:pt x="8198" y="4863"/>
                </a:lnTo>
                <a:lnTo>
                  <a:pt x="8191" y="4868"/>
                </a:lnTo>
                <a:lnTo>
                  <a:pt x="8180" y="4869"/>
                </a:lnTo>
                <a:lnTo>
                  <a:pt x="8184" y="4860"/>
                </a:lnTo>
                <a:lnTo>
                  <a:pt x="8189" y="4855"/>
                </a:lnTo>
                <a:lnTo>
                  <a:pt x="8196" y="4851"/>
                </a:lnTo>
                <a:lnTo>
                  <a:pt x="8204" y="4847"/>
                </a:lnTo>
                <a:close/>
                <a:moveTo>
                  <a:pt x="7576" y="4245"/>
                </a:moveTo>
                <a:lnTo>
                  <a:pt x="7575" y="4253"/>
                </a:lnTo>
                <a:lnTo>
                  <a:pt x="7576" y="4245"/>
                </a:lnTo>
                <a:lnTo>
                  <a:pt x="7589" y="4245"/>
                </a:lnTo>
                <a:lnTo>
                  <a:pt x="7590" y="4248"/>
                </a:lnTo>
                <a:lnTo>
                  <a:pt x="7584" y="4249"/>
                </a:lnTo>
                <a:lnTo>
                  <a:pt x="7576" y="4245"/>
                </a:lnTo>
                <a:close/>
                <a:moveTo>
                  <a:pt x="5787" y="4403"/>
                </a:moveTo>
                <a:lnTo>
                  <a:pt x="5788" y="4405"/>
                </a:lnTo>
                <a:lnTo>
                  <a:pt x="5788" y="4405"/>
                </a:lnTo>
                <a:lnTo>
                  <a:pt x="5788" y="4406"/>
                </a:lnTo>
                <a:lnTo>
                  <a:pt x="5787" y="4406"/>
                </a:lnTo>
                <a:lnTo>
                  <a:pt x="5786" y="4405"/>
                </a:lnTo>
                <a:lnTo>
                  <a:pt x="5787" y="4403"/>
                </a:lnTo>
                <a:close/>
                <a:moveTo>
                  <a:pt x="5723" y="4374"/>
                </a:moveTo>
                <a:lnTo>
                  <a:pt x="5720" y="4368"/>
                </a:lnTo>
                <a:lnTo>
                  <a:pt x="5721" y="4365"/>
                </a:lnTo>
                <a:lnTo>
                  <a:pt x="5725" y="4361"/>
                </a:lnTo>
                <a:lnTo>
                  <a:pt x="5730" y="4359"/>
                </a:lnTo>
                <a:lnTo>
                  <a:pt x="5730" y="4363"/>
                </a:lnTo>
                <a:lnTo>
                  <a:pt x="5730" y="4368"/>
                </a:lnTo>
                <a:lnTo>
                  <a:pt x="5727" y="4371"/>
                </a:lnTo>
                <a:lnTo>
                  <a:pt x="5723" y="4374"/>
                </a:lnTo>
                <a:close/>
                <a:moveTo>
                  <a:pt x="5760" y="3736"/>
                </a:moveTo>
                <a:lnTo>
                  <a:pt x="5767" y="3727"/>
                </a:lnTo>
                <a:lnTo>
                  <a:pt x="5773" y="3722"/>
                </a:lnTo>
                <a:lnTo>
                  <a:pt x="5782" y="3722"/>
                </a:lnTo>
                <a:lnTo>
                  <a:pt x="5792" y="3727"/>
                </a:lnTo>
                <a:lnTo>
                  <a:pt x="5777" y="3738"/>
                </a:lnTo>
                <a:lnTo>
                  <a:pt x="5759" y="3750"/>
                </a:lnTo>
                <a:lnTo>
                  <a:pt x="5751" y="3753"/>
                </a:lnTo>
                <a:lnTo>
                  <a:pt x="5760" y="3736"/>
                </a:lnTo>
                <a:close/>
                <a:moveTo>
                  <a:pt x="4357" y="3571"/>
                </a:moveTo>
                <a:lnTo>
                  <a:pt x="4385" y="3601"/>
                </a:lnTo>
                <a:lnTo>
                  <a:pt x="4363" y="3614"/>
                </a:lnTo>
                <a:lnTo>
                  <a:pt x="4319" y="3609"/>
                </a:lnTo>
                <a:lnTo>
                  <a:pt x="4278" y="3587"/>
                </a:lnTo>
                <a:lnTo>
                  <a:pt x="4300" y="3585"/>
                </a:lnTo>
                <a:lnTo>
                  <a:pt x="4319" y="3581"/>
                </a:lnTo>
                <a:lnTo>
                  <a:pt x="4338" y="3577"/>
                </a:lnTo>
                <a:lnTo>
                  <a:pt x="4357" y="3571"/>
                </a:lnTo>
                <a:close/>
                <a:moveTo>
                  <a:pt x="5024" y="3530"/>
                </a:moveTo>
                <a:lnTo>
                  <a:pt x="5019" y="3530"/>
                </a:lnTo>
                <a:lnTo>
                  <a:pt x="5017" y="3524"/>
                </a:lnTo>
                <a:lnTo>
                  <a:pt x="5014" y="3516"/>
                </a:lnTo>
                <a:lnTo>
                  <a:pt x="5010" y="3510"/>
                </a:lnTo>
                <a:lnTo>
                  <a:pt x="5020" y="3505"/>
                </a:lnTo>
                <a:lnTo>
                  <a:pt x="5023" y="3510"/>
                </a:lnTo>
                <a:lnTo>
                  <a:pt x="5023" y="3519"/>
                </a:lnTo>
                <a:lnTo>
                  <a:pt x="5024" y="3530"/>
                </a:lnTo>
                <a:close/>
                <a:moveTo>
                  <a:pt x="5025" y="3586"/>
                </a:moveTo>
                <a:lnTo>
                  <a:pt x="5013" y="3585"/>
                </a:lnTo>
                <a:lnTo>
                  <a:pt x="5000" y="3580"/>
                </a:lnTo>
                <a:lnTo>
                  <a:pt x="4989" y="3573"/>
                </a:lnTo>
                <a:lnTo>
                  <a:pt x="4977" y="3566"/>
                </a:lnTo>
                <a:lnTo>
                  <a:pt x="4996" y="3564"/>
                </a:lnTo>
                <a:lnTo>
                  <a:pt x="5013" y="3563"/>
                </a:lnTo>
                <a:lnTo>
                  <a:pt x="5024" y="3568"/>
                </a:lnTo>
                <a:lnTo>
                  <a:pt x="5025" y="3586"/>
                </a:lnTo>
                <a:close/>
                <a:moveTo>
                  <a:pt x="5069" y="3633"/>
                </a:moveTo>
                <a:lnTo>
                  <a:pt x="5055" y="3633"/>
                </a:lnTo>
                <a:lnTo>
                  <a:pt x="5042" y="3633"/>
                </a:lnTo>
                <a:lnTo>
                  <a:pt x="5048" y="3632"/>
                </a:lnTo>
                <a:lnTo>
                  <a:pt x="5056" y="3632"/>
                </a:lnTo>
                <a:lnTo>
                  <a:pt x="5064" y="3632"/>
                </a:lnTo>
                <a:lnTo>
                  <a:pt x="5069" y="3633"/>
                </a:lnTo>
                <a:close/>
                <a:moveTo>
                  <a:pt x="5513" y="3372"/>
                </a:moveTo>
                <a:lnTo>
                  <a:pt x="5516" y="3367"/>
                </a:lnTo>
                <a:lnTo>
                  <a:pt x="5518" y="3365"/>
                </a:lnTo>
                <a:lnTo>
                  <a:pt x="5521" y="3365"/>
                </a:lnTo>
                <a:lnTo>
                  <a:pt x="5525" y="3370"/>
                </a:lnTo>
                <a:lnTo>
                  <a:pt x="5520" y="3372"/>
                </a:lnTo>
                <a:lnTo>
                  <a:pt x="5513" y="3372"/>
                </a:lnTo>
                <a:close/>
                <a:moveTo>
                  <a:pt x="5410" y="4062"/>
                </a:moveTo>
                <a:lnTo>
                  <a:pt x="5424" y="4071"/>
                </a:lnTo>
                <a:lnTo>
                  <a:pt x="5429" y="4088"/>
                </a:lnTo>
                <a:lnTo>
                  <a:pt x="5423" y="4100"/>
                </a:lnTo>
                <a:lnTo>
                  <a:pt x="5406" y="4099"/>
                </a:lnTo>
                <a:lnTo>
                  <a:pt x="5414" y="4088"/>
                </a:lnTo>
                <a:lnTo>
                  <a:pt x="5410" y="4076"/>
                </a:lnTo>
                <a:lnTo>
                  <a:pt x="5405" y="4067"/>
                </a:lnTo>
                <a:lnTo>
                  <a:pt x="5410" y="4062"/>
                </a:lnTo>
                <a:close/>
                <a:moveTo>
                  <a:pt x="5053" y="3978"/>
                </a:moveTo>
                <a:lnTo>
                  <a:pt x="5055" y="3981"/>
                </a:lnTo>
                <a:lnTo>
                  <a:pt x="5056" y="3983"/>
                </a:lnTo>
                <a:lnTo>
                  <a:pt x="5056" y="3987"/>
                </a:lnTo>
                <a:lnTo>
                  <a:pt x="5055" y="3990"/>
                </a:lnTo>
                <a:lnTo>
                  <a:pt x="5055" y="3984"/>
                </a:lnTo>
                <a:lnTo>
                  <a:pt x="5053" y="3978"/>
                </a:lnTo>
                <a:close/>
                <a:moveTo>
                  <a:pt x="4964" y="3795"/>
                </a:moveTo>
                <a:lnTo>
                  <a:pt x="4969" y="3788"/>
                </a:lnTo>
                <a:lnTo>
                  <a:pt x="4977" y="3783"/>
                </a:lnTo>
                <a:lnTo>
                  <a:pt x="4985" y="3781"/>
                </a:lnTo>
                <a:lnTo>
                  <a:pt x="4992" y="3782"/>
                </a:lnTo>
                <a:lnTo>
                  <a:pt x="4995" y="3795"/>
                </a:lnTo>
                <a:lnTo>
                  <a:pt x="4985" y="3805"/>
                </a:lnTo>
                <a:lnTo>
                  <a:pt x="4972" y="3809"/>
                </a:lnTo>
                <a:lnTo>
                  <a:pt x="4964" y="3795"/>
                </a:lnTo>
                <a:close/>
                <a:moveTo>
                  <a:pt x="4782" y="3846"/>
                </a:moveTo>
                <a:lnTo>
                  <a:pt x="4777" y="3833"/>
                </a:lnTo>
                <a:lnTo>
                  <a:pt x="4791" y="3830"/>
                </a:lnTo>
                <a:lnTo>
                  <a:pt x="4805" y="3836"/>
                </a:lnTo>
                <a:lnTo>
                  <a:pt x="4801" y="3846"/>
                </a:lnTo>
                <a:lnTo>
                  <a:pt x="4796" y="3847"/>
                </a:lnTo>
                <a:lnTo>
                  <a:pt x="4791" y="3848"/>
                </a:lnTo>
                <a:lnTo>
                  <a:pt x="4786" y="3847"/>
                </a:lnTo>
                <a:lnTo>
                  <a:pt x="4782" y="3846"/>
                </a:lnTo>
                <a:close/>
                <a:moveTo>
                  <a:pt x="4531" y="4313"/>
                </a:moveTo>
                <a:lnTo>
                  <a:pt x="4538" y="4310"/>
                </a:lnTo>
                <a:lnTo>
                  <a:pt x="4544" y="4309"/>
                </a:lnTo>
                <a:lnTo>
                  <a:pt x="4549" y="4309"/>
                </a:lnTo>
                <a:lnTo>
                  <a:pt x="4549" y="4314"/>
                </a:lnTo>
                <a:lnTo>
                  <a:pt x="4543" y="4321"/>
                </a:lnTo>
                <a:lnTo>
                  <a:pt x="4535" y="4323"/>
                </a:lnTo>
                <a:lnTo>
                  <a:pt x="4530" y="4322"/>
                </a:lnTo>
                <a:lnTo>
                  <a:pt x="4531" y="4313"/>
                </a:lnTo>
                <a:close/>
                <a:moveTo>
                  <a:pt x="4500" y="3811"/>
                </a:moveTo>
                <a:lnTo>
                  <a:pt x="4516" y="3816"/>
                </a:lnTo>
                <a:lnTo>
                  <a:pt x="4531" y="3822"/>
                </a:lnTo>
                <a:lnTo>
                  <a:pt x="4521" y="3832"/>
                </a:lnTo>
                <a:lnTo>
                  <a:pt x="4503" y="3830"/>
                </a:lnTo>
                <a:lnTo>
                  <a:pt x="4492" y="3822"/>
                </a:lnTo>
                <a:lnTo>
                  <a:pt x="4500" y="3811"/>
                </a:lnTo>
                <a:close/>
                <a:moveTo>
                  <a:pt x="4451" y="3586"/>
                </a:moveTo>
                <a:lnTo>
                  <a:pt x="4454" y="3585"/>
                </a:lnTo>
                <a:lnTo>
                  <a:pt x="4456" y="3585"/>
                </a:lnTo>
                <a:lnTo>
                  <a:pt x="4457" y="3587"/>
                </a:lnTo>
                <a:lnTo>
                  <a:pt x="4456" y="3589"/>
                </a:lnTo>
                <a:lnTo>
                  <a:pt x="4455" y="3590"/>
                </a:lnTo>
                <a:lnTo>
                  <a:pt x="4452" y="3590"/>
                </a:lnTo>
                <a:lnTo>
                  <a:pt x="4451" y="3589"/>
                </a:lnTo>
                <a:lnTo>
                  <a:pt x="4451" y="3586"/>
                </a:lnTo>
                <a:close/>
                <a:moveTo>
                  <a:pt x="4500" y="3586"/>
                </a:moveTo>
                <a:lnTo>
                  <a:pt x="4501" y="3585"/>
                </a:lnTo>
                <a:lnTo>
                  <a:pt x="4501" y="3583"/>
                </a:lnTo>
                <a:lnTo>
                  <a:pt x="4502" y="3585"/>
                </a:lnTo>
                <a:lnTo>
                  <a:pt x="4505" y="3586"/>
                </a:lnTo>
                <a:lnTo>
                  <a:pt x="4500" y="3586"/>
                </a:lnTo>
                <a:close/>
                <a:moveTo>
                  <a:pt x="4613" y="4323"/>
                </a:moveTo>
                <a:lnTo>
                  <a:pt x="4612" y="4327"/>
                </a:lnTo>
                <a:lnTo>
                  <a:pt x="4610" y="4331"/>
                </a:lnTo>
                <a:lnTo>
                  <a:pt x="4606" y="4333"/>
                </a:lnTo>
                <a:lnTo>
                  <a:pt x="4603" y="4332"/>
                </a:lnTo>
                <a:lnTo>
                  <a:pt x="4599" y="4326"/>
                </a:lnTo>
                <a:lnTo>
                  <a:pt x="4601" y="4321"/>
                </a:lnTo>
                <a:lnTo>
                  <a:pt x="4606" y="4319"/>
                </a:lnTo>
                <a:lnTo>
                  <a:pt x="4613" y="4323"/>
                </a:lnTo>
                <a:close/>
                <a:moveTo>
                  <a:pt x="5092" y="3655"/>
                </a:moveTo>
                <a:lnTo>
                  <a:pt x="5097" y="3669"/>
                </a:lnTo>
                <a:lnTo>
                  <a:pt x="5088" y="3671"/>
                </a:lnTo>
                <a:lnTo>
                  <a:pt x="5074" y="3669"/>
                </a:lnTo>
                <a:lnTo>
                  <a:pt x="5060" y="3673"/>
                </a:lnTo>
                <a:lnTo>
                  <a:pt x="5064" y="3655"/>
                </a:lnTo>
                <a:lnTo>
                  <a:pt x="5069" y="3642"/>
                </a:lnTo>
                <a:lnTo>
                  <a:pt x="5078" y="3641"/>
                </a:lnTo>
                <a:lnTo>
                  <a:pt x="5092" y="3655"/>
                </a:lnTo>
                <a:close/>
                <a:moveTo>
                  <a:pt x="5534" y="3450"/>
                </a:moveTo>
                <a:lnTo>
                  <a:pt x="5545" y="3449"/>
                </a:lnTo>
                <a:lnTo>
                  <a:pt x="5555" y="3447"/>
                </a:lnTo>
                <a:lnTo>
                  <a:pt x="5567" y="3449"/>
                </a:lnTo>
                <a:lnTo>
                  <a:pt x="5578" y="3452"/>
                </a:lnTo>
                <a:lnTo>
                  <a:pt x="5553" y="3459"/>
                </a:lnTo>
                <a:lnTo>
                  <a:pt x="5523" y="3456"/>
                </a:lnTo>
                <a:lnTo>
                  <a:pt x="5511" y="3451"/>
                </a:lnTo>
                <a:lnTo>
                  <a:pt x="5534" y="3450"/>
                </a:lnTo>
                <a:close/>
                <a:moveTo>
                  <a:pt x="5443" y="4112"/>
                </a:moveTo>
                <a:lnTo>
                  <a:pt x="5439" y="4110"/>
                </a:lnTo>
                <a:lnTo>
                  <a:pt x="5438" y="4109"/>
                </a:lnTo>
                <a:lnTo>
                  <a:pt x="5441" y="4110"/>
                </a:lnTo>
                <a:lnTo>
                  <a:pt x="5443" y="4112"/>
                </a:lnTo>
                <a:lnTo>
                  <a:pt x="5438" y="4112"/>
                </a:lnTo>
                <a:lnTo>
                  <a:pt x="5443" y="4112"/>
                </a:lnTo>
                <a:close/>
                <a:moveTo>
                  <a:pt x="5406" y="3962"/>
                </a:moveTo>
                <a:lnTo>
                  <a:pt x="5420" y="3951"/>
                </a:lnTo>
                <a:lnTo>
                  <a:pt x="5436" y="3942"/>
                </a:lnTo>
                <a:lnTo>
                  <a:pt x="5452" y="3940"/>
                </a:lnTo>
                <a:lnTo>
                  <a:pt x="5469" y="3948"/>
                </a:lnTo>
                <a:lnTo>
                  <a:pt x="5465" y="3970"/>
                </a:lnTo>
                <a:lnTo>
                  <a:pt x="5441" y="3984"/>
                </a:lnTo>
                <a:lnTo>
                  <a:pt x="5415" y="3983"/>
                </a:lnTo>
                <a:lnTo>
                  <a:pt x="5406" y="3962"/>
                </a:lnTo>
                <a:close/>
                <a:moveTo>
                  <a:pt x="5160" y="3562"/>
                </a:moveTo>
                <a:lnTo>
                  <a:pt x="5168" y="3554"/>
                </a:lnTo>
                <a:lnTo>
                  <a:pt x="5176" y="3554"/>
                </a:lnTo>
                <a:lnTo>
                  <a:pt x="5183" y="3558"/>
                </a:lnTo>
                <a:lnTo>
                  <a:pt x="5190" y="3566"/>
                </a:lnTo>
                <a:lnTo>
                  <a:pt x="5176" y="3563"/>
                </a:lnTo>
                <a:lnTo>
                  <a:pt x="5160" y="3562"/>
                </a:lnTo>
                <a:close/>
                <a:moveTo>
                  <a:pt x="5336" y="3596"/>
                </a:moveTo>
                <a:lnTo>
                  <a:pt x="5343" y="3596"/>
                </a:lnTo>
                <a:lnTo>
                  <a:pt x="5344" y="3601"/>
                </a:lnTo>
                <a:lnTo>
                  <a:pt x="5344" y="3608"/>
                </a:lnTo>
                <a:lnTo>
                  <a:pt x="5343" y="3613"/>
                </a:lnTo>
                <a:lnTo>
                  <a:pt x="5329" y="3610"/>
                </a:lnTo>
                <a:lnTo>
                  <a:pt x="5321" y="3605"/>
                </a:lnTo>
                <a:lnTo>
                  <a:pt x="5322" y="3600"/>
                </a:lnTo>
                <a:lnTo>
                  <a:pt x="5336" y="3596"/>
                </a:lnTo>
                <a:close/>
                <a:moveTo>
                  <a:pt x="5387" y="3596"/>
                </a:moveTo>
                <a:lnTo>
                  <a:pt x="5386" y="3600"/>
                </a:lnTo>
                <a:lnTo>
                  <a:pt x="5383" y="3603"/>
                </a:lnTo>
                <a:lnTo>
                  <a:pt x="5381" y="3604"/>
                </a:lnTo>
                <a:lnTo>
                  <a:pt x="5378" y="3605"/>
                </a:lnTo>
                <a:lnTo>
                  <a:pt x="5377" y="3600"/>
                </a:lnTo>
                <a:lnTo>
                  <a:pt x="5378" y="3597"/>
                </a:lnTo>
                <a:lnTo>
                  <a:pt x="5382" y="3596"/>
                </a:lnTo>
                <a:lnTo>
                  <a:pt x="5387" y="3596"/>
                </a:lnTo>
                <a:close/>
                <a:moveTo>
                  <a:pt x="5388" y="3824"/>
                </a:moveTo>
                <a:lnTo>
                  <a:pt x="5415" y="3787"/>
                </a:lnTo>
                <a:lnTo>
                  <a:pt x="5443" y="3771"/>
                </a:lnTo>
                <a:lnTo>
                  <a:pt x="5476" y="3776"/>
                </a:lnTo>
                <a:lnTo>
                  <a:pt x="5513" y="3800"/>
                </a:lnTo>
                <a:lnTo>
                  <a:pt x="5484" y="3811"/>
                </a:lnTo>
                <a:lnTo>
                  <a:pt x="5452" y="3814"/>
                </a:lnTo>
                <a:lnTo>
                  <a:pt x="5419" y="3816"/>
                </a:lnTo>
                <a:lnTo>
                  <a:pt x="5388" y="3824"/>
                </a:lnTo>
                <a:close/>
                <a:moveTo>
                  <a:pt x="5405" y="3684"/>
                </a:moveTo>
                <a:lnTo>
                  <a:pt x="5395" y="3690"/>
                </a:lnTo>
                <a:lnTo>
                  <a:pt x="5387" y="3694"/>
                </a:lnTo>
                <a:lnTo>
                  <a:pt x="5380" y="3692"/>
                </a:lnTo>
                <a:lnTo>
                  <a:pt x="5376" y="3680"/>
                </a:lnTo>
                <a:lnTo>
                  <a:pt x="5387" y="3673"/>
                </a:lnTo>
                <a:lnTo>
                  <a:pt x="5404" y="3671"/>
                </a:lnTo>
                <a:lnTo>
                  <a:pt x="5414" y="3674"/>
                </a:lnTo>
                <a:lnTo>
                  <a:pt x="5405" y="3684"/>
                </a:lnTo>
                <a:close/>
                <a:moveTo>
                  <a:pt x="5511" y="3608"/>
                </a:moveTo>
                <a:lnTo>
                  <a:pt x="5518" y="3604"/>
                </a:lnTo>
                <a:lnTo>
                  <a:pt x="5516" y="3606"/>
                </a:lnTo>
                <a:lnTo>
                  <a:pt x="5507" y="3613"/>
                </a:lnTo>
                <a:lnTo>
                  <a:pt x="5498" y="3618"/>
                </a:lnTo>
                <a:lnTo>
                  <a:pt x="5499" y="3614"/>
                </a:lnTo>
                <a:lnTo>
                  <a:pt x="5502" y="3611"/>
                </a:lnTo>
                <a:lnTo>
                  <a:pt x="5507" y="3609"/>
                </a:lnTo>
                <a:lnTo>
                  <a:pt x="5511" y="3608"/>
                </a:lnTo>
                <a:close/>
                <a:moveTo>
                  <a:pt x="5480" y="3687"/>
                </a:moveTo>
                <a:lnTo>
                  <a:pt x="5486" y="3682"/>
                </a:lnTo>
                <a:lnTo>
                  <a:pt x="5495" y="3678"/>
                </a:lnTo>
                <a:lnTo>
                  <a:pt x="5508" y="3692"/>
                </a:lnTo>
                <a:lnTo>
                  <a:pt x="5497" y="3704"/>
                </a:lnTo>
                <a:lnTo>
                  <a:pt x="5479" y="3707"/>
                </a:lnTo>
                <a:lnTo>
                  <a:pt x="5480" y="3687"/>
                </a:lnTo>
                <a:close/>
                <a:moveTo>
                  <a:pt x="5313" y="3827"/>
                </a:moveTo>
                <a:lnTo>
                  <a:pt x="5316" y="3828"/>
                </a:lnTo>
                <a:lnTo>
                  <a:pt x="5320" y="3830"/>
                </a:lnTo>
                <a:lnTo>
                  <a:pt x="5317" y="3829"/>
                </a:lnTo>
                <a:lnTo>
                  <a:pt x="5313" y="3827"/>
                </a:lnTo>
                <a:close/>
                <a:moveTo>
                  <a:pt x="5278" y="3780"/>
                </a:moveTo>
                <a:lnTo>
                  <a:pt x="5290" y="3757"/>
                </a:lnTo>
                <a:lnTo>
                  <a:pt x="5331" y="3750"/>
                </a:lnTo>
                <a:lnTo>
                  <a:pt x="5369" y="3760"/>
                </a:lnTo>
                <a:lnTo>
                  <a:pt x="5374" y="3786"/>
                </a:lnTo>
                <a:lnTo>
                  <a:pt x="5348" y="3788"/>
                </a:lnTo>
                <a:lnTo>
                  <a:pt x="5318" y="3794"/>
                </a:lnTo>
                <a:lnTo>
                  <a:pt x="5293" y="3792"/>
                </a:lnTo>
                <a:lnTo>
                  <a:pt x="5278" y="3780"/>
                </a:lnTo>
                <a:close/>
                <a:moveTo>
                  <a:pt x="5219" y="3972"/>
                </a:moveTo>
                <a:lnTo>
                  <a:pt x="5222" y="3979"/>
                </a:lnTo>
                <a:lnTo>
                  <a:pt x="5216" y="3983"/>
                </a:lnTo>
                <a:lnTo>
                  <a:pt x="5209" y="3981"/>
                </a:lnTo>
                <a:lnTo>
                  <a:pt x="5204" y="3976"/>
                </a:lnTo>
                <a:lnTo>
                  <a:pt x="5206" y="3970"/>
                </a:lnTo>
                <a:lnTo>
                  <a:pt x="5210" y="3968"/>
                </a:lnTo>
                <a:lnTo>
                  <a:pt x="5214" y="3968"/>
                </a:lnTo>
                <a:lnTo>
                  <a:pt x="5219" y="3972"/>
                </a:lnTo>
                <a:close/>
                <a:moveTo>
                  <a:pt x="5569" y="3505"/>
                </a:moveTo>
                <a:lnTo>
                  <a:pt x="5574" y="3502"/>
                </a:lnTo>
                <a:lnTo>
                  <a:pt x="5581" y="3499"/>
                </a:lnTo>
                <a:lnTo>
                  <a:pt x="5587" y="3498"/>
                </a:lnTo>
                <a:lnTo>
                  <a:pt x="5592" y="3498"/>
                </a:lnTo>
                <a:lnTo>
                  <a:pt x="5588" y="3508"/>
                </a:lnTo>
                <a:lnTo>
                  <a:pt x="5579" y="3512"/>
                </a:lnTo>
                <a:lnTo>
                  <a:pt x="5572" y="3511"/>
                </a:lnTo>
                <a:lnTo>
                  <a:pt x="5569" y="3505"/>
                </a:lnTo>
                <a:close/>
                <a:moveTo>
                  <a:pt x="5486" y="3496"/>
                </a:moveTo>
                <a:lnTo>
                  <a:pt x="5493" y="3494"/>
                </a:lnTo>
                <a:lnTo>
                  <a:pt x="5497" y="3494"/>
                </a:lnTo>
                <a:lnTo>
                  <a:pt x="5499" y="3498"/>
                </a:lnTo>
                <a:lnTo>
                  <a:pt x="5499" y="3503"/>
                </a:lnTo>
                <a:lnTo>
                  <a:pt x="5494" y="3506"/>
                </a:lnTo>
                <a:lnTo>
                  <a:pt x="5490" y="3505"/>
                </a:lnTo>
                <a:lnTo>
                  <a:pt x="5488" y="3501"/>
                </a:lnTo>
                <a:lnTo>
                  <a:pt x="5486" y="3496"/>
                </a:lnTo>
                <a:close/>
                <a:moveTo>
                  <a:pt x="4854" y="3648"/>
                </a:moveTo>
                <a:lnTo>
                  <a:pt x="4859" y="3613"/>
                </a:lnTo>
                <a:lnTo>
                  <a:pt x="4888" y="3604"/>
                </a:lnTo>
                <a:lnTo>
                  <a:pt x="4917" y="3617"/>
                </a:lnTo>
                <a:lnTo>
                  <a:pt x="4916" y="3646"/>
                </a:lnTo>
                <a:lnTo>
                  <a:pt x="4903" y="3639"/>
                </a:lnTo>
                <a:lnTo>
                  <a:pt x="4888" y="3638"/>
                </a:lnTo>
                <a:lnTo>
                  <a:pt x="4870" y="3641"/>
                </a:lnTo>
                <a:lnTo>
                  <a:pt x="4854" y="3648"/>
                </a:lnTo>
                <a:close/>
                <a:moveTo>
                  <a:pt x="4096" y="3553"/>
                </a:moveTo>
                <a:lnTo>
                  <a:pt x="4078" y="3562"/>
                </a:lnTo>
                <a:lnTo>
                  <a:pt x="4064" y="3569"/>
                </a:lnTo>
                <a:lnTo>
                  <a:pt x="4053" y="3575"/>
                </a:lnTo>
                <a:lnTo>
                  <a:pt x="4041" y="3581"/>
                </a:lnTo>
                <a:lnTo>
                  <a:pt x="4031" y="3557"/>
                </a:lnTo>
                <a:lnTo>
                  <a:pt x="4042" y="3547"/>
                </a:lnTo>
                <a:lnTo>
                  <a:pt x="4067" y="3547"/>
                </a:lnTo>
                <a:lnTo>
                  <a:pt x="4096" y="3553"/>
                </a:lnTo>
                <a:close/>
                <a:moveTo>
                  <a:pt x="4291" y="3632"/>
                </a:moveTo>
                <a:lnTo>
                  <a:pt x="4294" y="3629"/>
                </a:lnTo>
                <a:lnTo>
                  <a:pt x="4298" y="3628"/>
                </a:lnTo>
                <a:lnTo>
                  <a:pt x="4302" y="3628"/>
                </a:lnTo>
                <a:lnTo>
                  <a:pt x="4305" y="3629"/>
                </a:lnTo>
                <a:lnTo>
                  <a:pt x="4307" y="3632"/>
                </a:lnTo>
                <a:lnTo>
                  <a:pt x="4303" y="3633"/>
                </a:lnTo>
                <a:lnTo>
                  <a:pt x="4297" y="3632"/>
                </a:lnTo>
                <a:lnTo>
                  <a:pt x="4291" y="3632"/>
                </a:lnTo>
                <a:close/>
                <a:moveTo>
                  <a:pt x="4185" y="3772"/>
                </a:moveTo>
                <a:lnTo>
                  <a:pt x="4185" y="3769"/>
                </a:lnTo>
                <a:lnTo>
                  <a:pt x="4185" y="3768"/>
                </a:lnTo>
                <a:lnTo>
                  <a:pt x="4186" y="3769"/>
                </a:lnTo>
                <a:lnTo>
                  <a:pt x="4189" y="3771"/>
                </a:lnTo>
                <a:lnTo>
                  <a:pt x="4185" y="3772"/>
                </a:lnTo>
                <a:close/>
                <a:moveTo>
                  <a:pt x="3926" y="3769"/>
                </a:moveTo>
                <a:lnTo>
                  <a:pt x="3929" y="3750"/>
                </a:lnTo>
                <a:lnTo>
                  <a:pt x="3934" y="3740"/>
                </a:lnTo>
                <a:lnTo>
                  <a:pt x="3942" y="3735"/>
                </a:lnTo>
                <a:lnTo>
                  <a:pt x="3957" y="3732"/>
                </a:lnTo>
                <a:lnTo>
                  <a:pt x="3952" y="3748"/>
                </a:lnTo>
                <a:lnTo>
                  <a:pt x="3949" y="3762"/>
                </a:lnTo>
                <a:lnTo>
                  <a:pt x="3942" y="3771"/>
                </a:lnTo>
                <a:lnTo>
                  <a:pt x="3926" y="3769"/>
                </a:lnTo>
                <a:close/>
                <a:moveTo>
                  <a:pt x="6829" y="3693"/>
                </a:moveTo>
                <a:lnTo>
                  <a:pt x="6844" y="3693"/>
                </a:lnTo>
                <a:lnTo>
                  <a:pt x="6855" y="3701"/>
                </a:lnTo>
                <a:lnTo>
                  <a:pt x="6858" y="3711"/>
                </a:lnTo>
                <a:lnTo>
                  <a:pt x="6845" y="3721"/>
                </a:lnTo>
                <a:lnTo>
                  <a:pt x="6825" y="3715"/>
                </a:lnTo>
                <a:lnTo>
                  <a:pt x="6810" y="3706"/>
                </a:lnTo>
                <a:lnTo>
                  <a:pt x="6808" y="3697"/>
                </a:lnTo>
                <a:lnTo>
                  <a:pt x="6829" y="3693"/>
                </a:lnTo>
                <a:close/>
                <a:moveTo>
                  <a:pt x="8652" y="4436"/>
                </a:moveTo>
                <a:lnTo>
                  <a:pt x="8651" y="4424"/>
                </a:lnTo>
                <a:lnTo>
                  <a:pt x="8657" y="4413"/>
                </a:lnTo>
                <a:lnTo>
                  <a:pt x="8668" y="4408"/>
                </a:lnTo>
                <a:lnTo>
                  <a:pt x="8680" y="4412"/>
                </a:lnTo>
                <a:lnTo>
                  <a:pt x="8682" y="4424"/>
                </a:lnTo>
                <a:lnTo>
                  <a:pt x="8672" y="4438"/>
                </a:lnTo>
                <a:lnTo>
                  <a:pt x="8659" y="4444"/>
                </a:lnTo>
                <a:lnTo>
                  <a:pt x="8652" y="4436"/>
                </a:lnTo>
                <a:close/>
                <a:moveTo>
                  <a:pt x="8152" y="4602"/>
                </a:moveTo>
                <a:lnTo>
                  <a:pt x="8154" y="4607"/>
                </a:lnTo>
                <a:lnTo>
                  <a:pt x="8153" y="4609"/>
                </a:lnTo>
                <a:lnTo>
                  <a:pt x="8151" y="4612"/>
                </a:lnTo>
                <a:lnTo>
                  <a:pt x="8147" y="4613"/>
                </a:lnTo>
                <a:lnTo>
                  <a:pt x="8144" y="4609"/>
                </a:lnTo>
                <a:lnTo>
                  <a:pt x="8144" y="4606"/>
                </a:lnTo>
                <a:lnTo>
                  <a:pt x="8147" y="4603"/>
                </a:lnTo>
                <a:lnTo>
                  <a:pt x="8152" y="4602"/>
                </a:lnTo>
                <a:close/>
                <a:moveTo>
                  <a:pt x="7304" y="3829"/>
                </a:moveTo>
                <a:lnTo>
                  <a:pt x="7308" y="3833"/>
                </a:lnTo>
                <a:lnTo>
                  <a:pt x="7311" y="3837"/>
                </a:lnTo>
                <a:lnTo>
                  <a:pt x="7308" y="3837"/>
                </a:lnTo>
                <a:lnTo>
                  <a:pt x="7305" y="3836"/>
                </a:lnTo>
                <a:lnTo>
                  <a:pt x="7304" y="3833"/>
                </a:lnTo>
                <a:lnTo>
                  <a:pt x="7304" y="3829"/>
                </a:lnTo>
                <a:close/>
                <a:moveTo>
                  <a:pt x="6974" y="4612"/>
                </a:moveTo>
                <a:lnTo>
                  <a:pt x="6974" y="4615"/>
                </a:lnTo>
                <a:lnTo>
                  <a:pt x="6971" y="4613"/>
                </a:lnTo>
                <a:lnTo>
                  <a:pt x="6971" y="4613"/>
                </a:lnTo>
                <a:lnTo>
                  <a:pt x="6971" y="4612"/>
                </a:lnTo>
                <a:lnTo>
                  <a:pt x="6974" y="4612"/>
                </a:lnTo>
                <a:close/>
                <a:moveTo>
                  <a:pt x="6757" y="4108"/>
                </a:moveTo>
                <a:lnTo>
                  <a:pt x="6768" y="4091"/>
                </a:lnTo>
                <a:lnTo>
                  <a:pt x="6780" y="4076"/>
                </a:lnTo>
                <a:lnTo>
                  <a:pt x="6787" y="4062"/>
                </a:lnTo>
                <a:lnTo>
                  <a:pt x="6775" y="4046"/>
                </a:lnTo>
                <a:lnTo>
                  <a:pt x="6797" y="4060"/>
                </a:lnTo>
                <a:lnTo>
                  <a:pt x="6794" y="4080"/>
                </a:lnTo>
                <a:lnTo>
                  <a:pt x="6778" y="4098"/>
                </a:lnTo>
                <a:lnTo>
                  <a:pt x="6757" y="4108"/>
                </a:lnTo>
                <a:close/>
                <a:moveTo>
                  <a:pt x="6700" y="4450"/>
                </a:moveTo>
                <a:lnTo>
                  <a:pt x="6704" y="4443"/>
                </a:lnTo>
                <a:lnTo>
                  <a:pt x="6710" y="4443"/>
                </a:lnTo>
                <a:lnTo>
                  <a:pt x="6714" y="4448"/>
                </a:lnTo>
                <a:lnTo>
                  <a:pt x="6714" y="4455"/>
                </a:lnTo>
                <a:lnTo>
                  <a:pt x="6709" y="4459"/>
                </a:lnTo>
                <a:lnTo>
                  <a:pt x="6705" y="4458"/>
                </a:lnTo>
                <a:lnTo>
                  <a:pt x="6701" y="4455"/>
                </a:lnTo>
                <a:lnTo>
                  <a:pt x="6700" y="4450"/>
                </a:lnTo>
                <a:close/>
                <a:moveTo>
                  <a:pt x="6690" y="4560"/>
                </a:moveTo>
                <a:lnTo>
                  <a:pt x="6696" y="4559"/>
                </a:lnTo>
                <a:lnTo>
                  <a:pt x="6700" y="4562"/>
                </a:lnTo>
                <a:lnTo>
                  <a:pt x="6700" y="4570"/>
                </a:lnTo>
                <a:lnTo>
                  <a:pt x="6698" y="4575"/>
                </a:lnTo>
                <a:lnTo>
                  <a:pt x="6691" y="4576"/>
                </a:lnTo>
                <a:lnTo>
                  <a:pt x="6689" y="4573"/>
                </a:lnTo>
                <a:lnTo>
                  <a:pt x="6689" y="4566"/>
                </a:lnTo>
                <a:lnTo>
                  <a:pt x="6690" y="4560"/>
                </a:lnTo>
                <a:close/>
                <a:moveTo>
                  <a:pt x="6200" y="3725"/>
                </a:moveTo>
                <a:lnTo>
                  <a:pt x="6203" y="3724"/>
                </a:lnTo>
                <a:lnTo>
                  <a:pt x="6205" y="3725"/>
                </a:lnTo>
                <a:lnTo>
                  <a:pt x="6203" y="3727"/>
                </a:lnTo>
                <a:lnTo>
                  <a:pt x="6200" y="3729"/>
                </a:lnTo>
                <a:lnTo>
                  <a:pt x="6200" y="3726"/>
                </a:lnTo>
                <a:lnTo>
                  <a:pt x="6200" y="3725"/>
                </a:lnTo>
                <a:close/>
                <a:moveTo>
                  <a:pt x="7197" y="3547"/>
                </a:moveTo>
                <a:lnTo>
                  <a:pt x="7198" y="3544"/>
                </a:lnTo>
                <a:lnTo>
                  <a:pt x="7201" y="3543"/>
                </a:lnTo>
                <a:lnTo>
                  <a:pt x="7199" y="3545"/>
                </a:lnTo>
                <a:lnTo>
                  <a:pt x="7197" y="3547"/>
                </a:lnTo>
                <a:close/>
                <a:moveTo>
                  <a:pt x="8263" y="4108"/>
                </a:moveTo>
                <a:lnTo>
                  <a:pt x="8258" y="4108"/>
                </a:lnTo>
                <a:lnTo>
                  <a:pt x="8260" y="4107"/>
                </a:lnTo>
                <a:lnTo>
                  <a:pt x="8264" y="4104"/>
                </a:lnTo>
                <a:lnTo>
                  <a:pt x="8268" y="4103"/>
                </a:lnTo>
                <a:lnTo>
                  <a:pt x="8265" y="4105"/>
                </a:lnTo>
                <a:lnTo>
                  <a:pt x="8263" y="4108"/>
                </a:lnTo>
                <a:close/>
                <a:moveTo>
                  <a:pt x="7816" y="4312"/>
                </a:moveTo>
                <a:lnTo>
                  <a:pt x="7811" y="4314"/>
                </a:lnTo>
                <a:lnTo>
                  <a:pt x="7806" y="4314"/>
                </a:lnTo>
                <a:lnTo>
                  <a:pt x="7800" y="4312"/>
                </a:lnTo>
                <a:lnTo>
                  <a:pt x="7797" y="4307"/>
                </a:lnTo>
                <a:lnTo>
                  <a:pt x="7807" y="4309"/>
                </a:lnTo>
                <a:lnTo>
                  <a:pt x="7816" y="4312"/>
                </a:lnTo>
                <a:close/>
                <a:moveTo>
                  <a:pt x="7565" y="4116"/>
                </a:moveTo>
                <a:lnTo>
                  <a:pt x="7570" y="4127"/>
                </a:lnTo>
                <a:lnTo>
                  <a:pt x="7569" y="4131"/>
                </a:lnTo>
                <a:lnTo>
                  <a:pt x="7561" y="4128"/>
                </a:lnTo>
                <a:lnTo>
                  <a:pt x="7551" y="4119"/>
                </a:lnTo>
                <a:lnTo>
                  <a:pt x="7555" y="4119"/>
                </a:lnTo>
                <a:lnTo>
                  <a:pt x="7557" y="4118"/>
                </a:lnTo>
                <a:lnTo>
                  <a:pt x="7561" y="4118"/>
                </a:lnTo>
                <a:lnTo>
                  <a:pt x="7565" y="4116"/>
                </a:lnTo>
                <a:close/>
                <a:moveTo>
                  <a:pt x="7560" y="3991"/>
                </a:moveTo>
                <a:lnTo>
                  <a:pt x="7560" y="4000"/>
                </a:lnTo>
                <a:lnTo>
                  <a:pt x="7552" y="4005"/>
                </a:lnTo>
                <a:lnTo>
                  <a:pt x="7542" y="4004"/>
                </a:lnTo>
                <a:lnTo>
                  <a:pt x="7534" y="3996"/>
                </a:lnTo>
                <a:lnTo>
                  <a:pt x="7546" y="3993"/>
                </a:lnTo>
                <a:lnTo>
                  <a:pt x="7560" y="3991"/>
                </a:lnTo>
                <a:close/>
                <a:moveTo>
                  <a:pt x="7460" y="3926"/>
                </a:moveTo>
                <a:lnTo>
                  <a:pt x="7472" y="3906"/>
                </a:lnTo>
                <a:lnTo>
                  <a:pt x="7476" y="3881"/>
                </a:lnTo>
                <a:lnTo>
                  <a:pt x="7481" y="3862"/>
                </a:lnTo>
                <a:lnTo>
                  <a:pt x="7499" y="3857"/>
                </a:lnTo>
                <a:lnTo>
                  <a:pt x="7499" y="3876"/>
                </a:lnTo>
                <a:lnTo>
                  <a:pt x="7487" y="3903"/>
                </a:lnTo>
                <a:lnTo>
                  <a:pt x="7472" y="3925"/>
                </a:lnTo>
                <a:lnTo>
                  <a:pt x="7460" y="3926"/>
                </a:lnTo>
                <a:close/>
                <a:moveTo>
                  <a:pt x="7872" y="3684"/>
                </a:moveTo>
                <a:lnTo>
                  <a:pt x="7869" y="3693"/>
                </a:lnTo>
                <a:lnTo>
                  <a:pt x="7864" y="3698"/>
                </a:lnTo>
                <a:lnTo>
                  <a:pt x="7858" y="3703"/>
                </a:lnTo>
                <a:lnTo>
                  <a:pt x="7851" y="3707"/>
                </a:lnTo>
                <a:lnTo>
                  <a:pt x="7855" y="3701"/>
                </a:lnTo>
                <a:lnTo>
                  <a:pt x="7860" y="3694"/>
                </a:lnTo>
                <a:lnTo>
                  <a:pt x="7867" y="3689"/>
                </a:lnTo>
                <a:lnTo>
                  <a:pt x="7872" y="3684"/>
                </a:lnTo>
                <a:close/>
                <a:moveTo>
                  <a:pt x="9029" y="3846"/>
                </a:moveTo>
                <a:lnTo>
                  <a:pt x="9036" y="3846"/>
                </a:lnTo>
                <a:lnTo>
                  <a:pt x="9042" y="3847"/>
                </a:lnTo>
                <a:lnTo>
                  <a:pt x="9038" y="3848"/>
                </a:lnTo>
                <a:lnTo>
                  <a:pt x="9033" y="3850"/>
                </a:lnTo>
                <a:lnTo>
                  <a:pt x="9029" y="3850"/>
                </a:lnTo>
                <a:lnTo>
                  <a:pt x="9029" y="3846"/>
                </a:lnTo>
                <a:close/>
                <a:moveTo>
                  <a:pt x="8692" y="4145"/>
                </a:moveTo>
                <a:lnTo>
                  <a:pt x="8693" y="4145"/>
                </a:lnTo>
                <a:lnTo>
                  <a:pt x="8694" y="4146"/>
                </a:lnTo>
                <a:lnTo>
                  <a:pt x="8693" y="4145"/>
                </a:lnTo>
                <a:lnTo>
                  <a:pt x="8692" y="4145"/>
                </a:lnTo>
                <a:close/>
                <a:moveTo>
                  <a:pt x="8693" y="4267"/>
                </a:moveTo>
                <a:lnTo>
                  <a:pt x="8694" y="4272"/>
                </a:lnTo>
                <a:lnTo>
                  <a:pt x="8694" y="4276"/>
                </a:lnTo>
                <a:lnTo>
                  <a:pt x="8692" y="4277"/>
                </a:lnTo>
                <a:lnTo>
                  <a:pt x="8686" y="4280"/>
                </a:lnTo>
                <a:lnTo>
                  <a:pt x="8684" y="4273"/>
                </a:lnTo>
                <a:lnTo>
                  <a:pt x="8684" y="4271"/>
                </a:lnTo>
                <a:lnTo>
                  <a:pt x="8687" y="4268"/>
                </a:lnTo>
                <a:lnTo>
                  <a:pt x="8693" y="4267"/>
                </a:lnTo>
                <a:close/>
                <a:moveTo>
                  <a:pt x="8242" y="3543"/>
                </a:moveTo>
                <a:lnTo>
                  <a:pt x="8237" y="3540"/>
                </a:lnTo>
                <a:lnTo>
                  <a:pt x="8233" y="3536"/>
                </a:lnTo>
                <a:lnTo>
                  <a:pt x="8239" y="3539"/>
                </a:lnTo>
                <a:lnTo>
                  <a:pt x="8244" y="3540"/>
                </a:lnTo>
                <a:lnTo>
                  <a:pt x="8246" y="3541"/>
                </a:lnTo>
                <a:lnTo>
                  <a:pt x="8242" y="3543"/>
                </a:lnTo>
                <a:close/>
                <a:moveTo>
                  <a:pt x="8088" y="3851"/>
                </a:moveTo>
                <a:lnTo>
                  <a:pt x="8087" y="3847"/>
                </a:lnTo>
                <a:lnTo>
                  <a:pt x="8088" y="3847"/>
                </a:lnTo>
                <a:lnTo>
                  <a:pt x="8090" y="3848"/>
                </a:lnTo>
                <a:lnTo>
                  <a:pt x="8091" y="3851"/>
                </a:lnTo>
                <a:lnTo>
                  <a:pt x="8090" y="3852"/>
                </a:lnTo>
                <a:lnTo>
                  <a:pt x="8088" y="3851"/>
                </a:lnTo>
                <a:close/>
                <a:moveTo>
                  <a:pt x="8181" y="3708"/>
                </a:moveTo>
                <a:lnTo>
                  <a:pt x="8174" y="3712"/>
                </a:lnTo>
                <a:lnTo>
                  <a:pt x="8165" y="3711"/>
                </a:lnTo>
                <a:lnTo>
                  <a:pt x="8158" y="3707"/>
                </a:lnTo>
                <a:lnTo>
                  <a:pt x="8157" y="3698"/>
                </a:lnTo>
                <a:lnTo>
                  <a:pt x="8166" y="3698"/>
                </a:lnTo>
                <a:lnTo>
                  <a:pt x="8174" y="3698"/>
                </a:lnTo>
                <a:lnTo>
                  <a:pt x="8179" y="3701"/>
                </a:lnTo>
                <a:lnTo>
                  <a:pt x="8181" y="3708"/>
                </a:lnTo>
                <a:close/>
                <a:moveTo>
                  <a:pt x="8219" y="3696"/>
                </a:moveTo>
                <a:lnTo>
                  <a:pt x="8232" y="3697"/>
                </a:lnTo>
                <a:lnTo>
                  <a:pt x="8236" y="3711"/>
                </a:lnTo>
                <a:lnTo>
                  <a:pt x="8235" y="3729"/>
                </a:lnTo>
                <a:lnTo>
                  <a:pt x="8230" y="3741"/>
                </a:lnTo>
                <a:lnTo>
                  <a:pt x="8217" y="3739"/>
                </a:lnTo>
                <a:lnTo>
                  <a:pt x="8214" y="3725"/>
                </a:lnTo>
                <a:lnTo>
                  <a:pt x="8217" y="3708"/>
                </a:lnTo>
                <a:lnTo>
                  <a:pt x="8219" y="3696"/>
                </a:lnTo>
                <a:close/>
                <a:moveTo>
                  <a:pt x="7846" y="4118"/>
                </a:moveTo>
                <a:lnTo>
                  <a:pt x="7841" y="4119"/>
                </a:lnTo>
                <a:lnTo>
                  <a:pt x="7837" y="4119"/>
                </a:lnTo>
                <a:lnTo>
                  <a:pt x="7835" y="4116"/>
                </a:lnTo>
                <a:lnTo>
                  <a:pt x="7836" y="4110"/>
                </a:lnTo>
                <a:lnTo>
                  <a:pt x="7842" y="4108"/>
                </a:lnTo>
                <a:lnTo>
                  <a:pt x="7849" y="4109"/>
                </a:lnTo>
                <a:lnTo>
                  <a:pt x="7851" y="4113"/>
                </a:lnTo>
                <a:lnTo>
                  <a:pt x="7846" y="4118"/>
                </a:lnTo>
                <a:close/>
                <a:moveTo>
                  <a:pt x="8581" y="3783"/>
                </a:moveTo>
                <a:lnTo>
                  <a:pt x="8571" y="3787"/>
                </a:lnTo>
                <a:lnTo>
                  <a:pt x="8561" y="3791"/>
                </a:lnTo>
                <a:lnTo>
                  <a:pt x="8553" y="3796"/>
                </a:lnTo>
                <a:lnTo>
                  <a:pt x="8545" y="3804"/>
                </a:lnTo>
                <a:lnTo>
                  <a:pt x="8529" y="3791"/>
                </a:lnTo>
                <a:lnTo>
                  <a:pt x="8539" y="3777"/>
                </a:lnTo>
                <a:lnTo>
                  <a:pt x="8561" y="3772"/>
                </a:lnTo>
                <a:lnTo>
                  <a:pt x="8581" y="3783"/>
                </a:lnTo>
                <a:close/>
                <a:moveTo>
                  <a:pt x="8092" y="3692"/>
                </a:moveTo>
                <a:lnTo>
                  <a:pt x="8125" y="3698"/>
                </a:lnTo>
                <a:lnTo>
                  <a:pt x="8116" y="3715"/>
                </a:lnTo>
                <a:lnTo>
                  <a:pt x="8087" y="3726"/>
                </a:lnTo>
                <a:lnTo>
                  <a:pt x="8059" y="3722"/>
                </a:lnTo>
                <a:lnTo>
                  <a:pt x="8033" y="3708"/>
                </a:lnTo>
                <a:lnTo>
                  <a:pt x="8035" y="3696"/>
                </a:lnTo>
                <a:lnTo>
                  <a:pt x="8056" y="3688"/>
                </a:lnTo>
                <a:lnTo>
                  <a:pt x="8092" y="3692"/>
                </a:lnTo>
                <a:close/>
                <a:moveTo>
                  <a:pt x="7927" y="4314"/>
                </a:moveTo>
                <a:lnTo>
                  <a:pt x="7963" y="4300"/>
                </a:lnTo>
                <a:lnTo>
                  <a:pt x="7993" y="4276"/>
                </a:lnTo>
                <a:lnTo>
                  <a:pt x="8019" y="4247"/>
                </a:lnTo>
                <a:lnTo>
                  <a:pt x="8045" y="4211"/>
                </a:lnTo>
                <a:lnTo>
                  <a:pt x="8046" y="4264"/>
                </a:lnTo>
                <a:lnTo>
                  <a:pt x="8025" y="4299"/>
                </a:lnTo>
                <a:lnTo>
                  <a:pt x="7984" y="4314"/>
                </a:lnTo>
                <a:lnTo>
                  <a:pt x="7927" y="4314"/>
                </a:lnTo>
                <a:close/>
                <a:moveTo>
                  <a:pt x="7956" y="4366"/>
                </a:moveTo>
                <a:lnTo>
                  <a:pt x="7958" y="4364"/>
                </a:lnTo>
                <a:lnTo>
                  <a:pt x="7960" y="4364"/>
                </a:lnTo>
                <a:lnTo>
                  <a:pt x="7963" y="4365"/>
                </a:lnTo>
                <a:lnTo>
                  <a:pt x="7965" y="4368"/>
                </a:lnTo>
                <a:lnTo>
                  <a:pt x="7965" y="4374"/>
                </a:lnTo>
                <a:lnTo>
                  <a:pt x="7962" y="4375"/>
                </a:lnTo>
                <a:lnTo>
                  <a:pt x="7960" y="4373"/>
                </a:lnTo>
                <a:lnTo>
                  <a:pt x="7956" y="4366"/>
                </a:lnTo>
                <a:close/>
                <a:moveTo>
                  <a:pt x="7066" y="4275"/>
                </a:moveTo>
                <a:lnTo>
                  <a:pt x="7034" y="4245"/>
                </a:lnTo>
                <a:lnTo>
                  <a:pt x="7053" y="4219"/>
                </a:lnTo>
                <a:lnTo>
                  <a:pt x="7094" y="4208"/>
                </a:lnTo>
                <a:lnTo>
                  <a:pt x="7127" y="4229"/>
                </a:lnTo>
                <a:lnTo>
                  <a:pt x="7119" y="4245"/>
                </a:lnTo>
                <a:lnTo>
                  <a:pt x="7103" y="4256"/>
                </a:lnTo>
                <a:lnTo>
                  <a:pt x="7083" y="4264"/>
                </a:lnTo>
                <a:lnTo>
                  <a:pt x="7066" y="4275"/>
                </a:lnTo>
                <a:close/>
                <a:moveTo>
                  <a:pt x="7096" y="3906"/>
                </a:moveTo>
                <a:lnTo>
                  <a:pt x="7090" y="3909"/>
                </a:lnTo>
                <a:lnTo>
                  <a:pt x="7085" y="3912"/>
                </a:lnTo>
                <a:lnTo>
                  <a:pt x="7087" y="3909"/>
                </a:lnTo>
                <a:lnTo>
                  <a:pt x="7090" y="3907"/>
                </a:lnTo>
                <a:lnTo>
                  <a:pt x="7092" y="3906"/>
                </a:lnTo>
                <a:lnTo>
                  <a:pt x="7096" y="3906"/>
                </a:lnTo>
                <a:close/>
                <a:moveTo>
                  <a:pt x="7104" y="3808"/>
                </a:moveTo>
                <a:lnTo>
                  <a:pt x="7108" y="3814"/>
                </a:lnTo>
                <a:lnTo>
                  <a:pt x="7108" y="3820"/>
                </a:lnTo>
                <a:lnTo>
                  <a:pt x="7103" y="3825"/>
                </a:lnTo>
                <a:lnTo>
                  <a:pt x="7095" y="3825"/>
                </a:lnTo>
                <a:lnTo>
                  <a:pt x="7091" y="3819"/>
                </a:lnTo>
                <a:lnTo>
                  <a:pt x="7092" y="3813"/>
                </a:lnTo>
                <a:lnTo>
                  <a:pt x="7096" y="3808"/>
                </a:lnTo>
                <a:lnTo>
                  <a:pt x="7104" y="3808"/>
                </a:lnTo>
                <a:close/>
                <a:moveTo>
                  <a:pt x="7115" y="3879"/>
                </a:moveTo>
                <a:lnTo>
                  <a:pt x="7118" y="3889"/>
                </a:lnTo>
                <a:lnTo>
                  <a:pt x="7115" y="3895"/>
                </a:lnTo>
                <a:lnTo>
                  <a:pt x="7109" y="3900"/>
                </a:lnTo>
                <a:lnTo>
                  <a:pt x="7100" y="3904"/>
                </a:lnTo>
                <a:lnTo>
                  <a:pt x="7097" y="3894"/>
                </a:lnTo>
                <a:lnTo>
                  <a:pt x="7100" y="3883"/>
                </a:lnTo>
                <a:lnTo>
                  <a:pt x="7106" y="3876"/>
                </a:lnTo>
                <a:lnTo>
                  <a:pt x="7115" y="3879"/>
                </a:lnTo>
                <a:close/>
                <a:moveTo>
                  <a:pt x="7064" y="4002"/>
                </a:moveTo>
                <a:lnTo>
                  <a:pt x="7067" y="3998"/>
                </a:lnTo>
                <a:lnTo>
                  <a:pt x="7072" y="3995"/>
                </a:lnTo>
                <a:lnTo>
                  <a:pt x="7086" y="4010"/>
                </a:lnTo>
                <a:lnTo>
                  <a:pt x="7077" y="4018"/>
                </a:lnTo>
                <a:lnTo>
                  <a:pt x="7064" y="4018"/>
                </a:lnTo>
                <a:lnTo>
                  <a:pt x="7064" y="4002"/>
                </a:lnTo>
                <a:close/>
                <a:moveTo>
                  <a:pt x="7206" y="3488"/>
                </a:moveTo>
                <a:lnTo>
                  <a:pt x="7198" y="3506"/>
                </a:lnTo>
                <a:lnTo>
                  <a:pt x="7194" y="3493"/>
                </a:lnTo>
                <a:lnTo>
                  <a:pt x="7194" y="3468"/>
                </a:lnTo>
                <a:lnTo>
                  <a:pt x="7203" y="3446"/>
                </a:lnTo>
                <a:lnTo>
                  <a:pt x="7206" y="3451"/>
                </a:lnTo>
                <a:lnTo>
                  <a:pt x="7203" y="3463"/>
                </a:lnTo>
                <a:lnTo>
                  <a:pt x="7202" y="3477"/>
                </a:lnTo>
                <a:lnTo>
                  <a:pt x="7206" y="3488"/>
                </a:lnTo>
                <a:close/>
                <a:moveTo>
                  <a:pt x="6811" y="3926"/>
                </a:moveTo>
                <a:lnTo>
                  <a:pt x="6819" y="3911"/>
                </a:lnTo>
                <a:lnTo>
                  <a:pt x="6848" y="3908"/>
                </a:lnTo>
                <a:lnTo>
                  <a:pt x="6877" y="3897"/>
                </a:lnTo>
                <a:lnTo>
                  <a:pt x="6882" y="3861"/>
                </a:lnTo>
                <a:lnTo>
                  <a:pt x="6913" y="3871"/>
                </a:lnTo>
                <a:lnTo>
                  <a:pt x="6900" y="3909"/>
                </a:lnTo>
                <a:lnTo>
                  <a:pt x="6861" y="3940"/>
                </a:lnTo>
                <a:lnTo>
                  <a:pt x="6811" y="3926"/>
                </a:lnTo>
                <a:close/>
                <a:moveTo>
                  <a:pt x="6825" y="4214"/>
                </a:moveTo>
                <a:lnTo>
                  <a:pt x="6845" y="4228"/>
                </a:lnTo>
                <a:lnTo>
                  <a:pt x="6857" y="4247"/>
                </a:lnTo>
                <a:lnTo>
                  <a:pt x="6859" y="4268"/>
                </a:lnTo>
                <a:lnTo>
                  <a:pt x="6847" y="4290"/>
                </a:lnTo>
                <a:lnTo>
                  <a:pt x="6821" y="4272"/>
                </a:lnTo>
                <a:lnTo>
                  <a:pt x="6799" y="4253"/>
                </a:lnTo>
                <a:lnTo>
                  <a:pt x="6797" y="4234"/>
                </a:lnTo>
                <a:lnTo>
                  <a:pt x="6825" y="4214"/>
                </a:lnTo>
                <a:close/>
                <a:moveTo>
                  <a:pt x="6755" y="4309"/>
                </a:moveTo>
                <a:lnTo>
                  <a:pt x="6750" y="4318"/>
                </a:lnTo>
                <a:lnTo>
                  <a:pt x="6740" y="4321"/>
                </a:lnTo>
                <a:lnTo>
                  <a:pt x="6732" y="4315"/>
                </a:lnTo>
                <a:lnTo>
                  <a:pt x="6732" y="4305"/>
                </a:lnTo>
                <a:lnTo>
                  <a:pt x="6737" y="4300"/>
                </a:lnTo>
                <a:lnTo>
                  <a:pt x="6745" y="4299"/>
                </a:lnTo>
                <a:lnTo>
                  <a:pt x="6751" y="4301"/>
                </a:lnTo>
                <a:lnTo>
                  <a:pt x="6755" y="4309"/>
                </a:lnTo>
                <a:close/>
                <a:moveTo>
                  <a:pt x="6699" y="4071"/>
                </a:moveTo>
                <a:lnTo>
                  <a:pt x="6682" y="4075"/>
                </a:lnTo>
                <a:lnTo>
                  <a:pt x="6671" y="4085"/>
                </a:lnTo>
                <a:lnTo>
                  <a:pt x="6658" y="4095"/>
                </a:lnTo>
                <a:lnTo>
                  <a:pt x="6644" y="4098"/>
                </a:lnTo>
                <a:lnTo>
                  <a:pt x="6642" y="4084"/>
                </a:lnTo>
                <a:lnTo>
                  <a:pt x="6663" y="4074"/>
                </a:lnTo>
                <a:lnTo>
                  <a:pt x="6690" y="4068"/>
                </a:lnTo>
                <a:lnTo>
                  <a:pt x="6699" y="4071"/>
                </a:lnTo>
                <a:close/>
                <a:moveTo>
                  <a:pt x="6498" y="4066"/>
                </a:moveTo>
                <a:lnTo>
                  <a:pt x="6496" y="4038"/>
                </a:lnTo>
                <a:lnTo>
                  <a:pt x="6526" y="4032"/>
                </a:lnTo>
                <a:lnTo>
                  <a:pt x="6560" y="4044"/>
                </a:lnTo>
                <a:lnTo>
                  <a:pt x="6574" y="4070"/>
                </a:lnTo>
                <a:lnTo>
                  <a:pt x="6550" y="4077"/>
                </a:lnTo>
                <a:lnTo>
                  <a:pt x="6529" y="4080"/>
                </a:lnTo>
                <a:lnTo>
                  <a:pt x="6513" y="4077"/>
                </a:lnTo>
                <a:lnTo>
                  <a:pt x="6498" y="4066"/>
                </a:lnTo>
                <a:close/>
                <a:moveTo>
                  <a:pt x="6240" y="4501"/>
                </a:moveTo>
                <a:lnTo>
                  <a:pt x="6247" y="4496"/>
                </a:lnTo>
                <a:lnTo>
                  <a:pt x="6252" y="4499"/>
                </a:lnTo>
                <a:lnTo>
                  <a:pt x="6253" y="4504"/>
                </a:lnTo>
                <a:lnTo>
                  <a:pt x="6248" y="4510"/>
                </a:lnTo>
                <a:lnTo>
                  <a:pt x="6238" y="4514"/>
                </a:lnTo>
                <a:lnTo>
                  <a:pt x="6234" y="4514"/>
                </a:lnTo>
                <a:lnTo>
                  <a:pt x="6234" y="4510"/>
                </a:lnTo>
                <a:lnTo>
                  <a:pt x="6240" y="4501"/>
                </a:lnTo>
                <a:close/>
                <a:moveTo>
                  <a:pt x="6572" y="3729"/>
                </a:moveTo>
                <a:lnTo>
                  <a:pt x="6564" y="3731"/>
                </a:lnTo>
                <a:lnTo>
                  <a:pt x="6564" y="3726"/>
                </a:lnTo>
                <a:lnTo>
                  <a:pt x="6565" y="3725"/>
                </a:lnTo>
                <a:lnTo>
                  <a:pt x="6568" y="3726"/>
                </a:lnTo>
                <a:lnTo>
                  <a:pt x="6572" y="3729"/>
                </a:lnTo>
                <a:close/>
                <a:moveTo>
                  <a:pt x="6435" y="3496"/>
                </a:moveTo>
                <a:lnTo>
                  <a:pt x="6444" y="3491"/>
                </a:lnTo>
                <a:lnTo>
                  <a:pt x="6454" y="3492"/>
                </a:lnTo>
                <a:lnTo>
                  <a:pt x="6461" y="3498"/>
                </a:lnTo>
                <a:lnTo>
                  <a:pt x="6461" y="3506"/>
                </a:lnTo>
                <a:lnTo>
                  <a:pt x="6452" y="3508"/>
                </a:lnTo>
                <a:lnTo>
                  <a:pt x="6445" y="3507"/>
                </a:lnTo>
                <a:lnTo>
                  <a:pt x="6439" y="3502"/>
                </a:lnTo>
                <a:lnTo>
                  <a:pt x="6435" y="3496"/>
                </a:lnTo>
                <a:close/>
                <a:moveTo>
                  <a:pt x="6394" y="3773"/>
                </a:moveTo>
                <a:lnTo>
                  <a:pt x="6394" y="3771"/>
                </a:lnTo>
                <a:lnTo>
                  <a:pt x="6397" y="3771"/>
                </a:lnTo>
                <a:lnTo>
                  <a:pt x="6400" y="3772"/>
                </a:lnTo>
                <a:lnTo>
                  <a:pt x="6402" y="3772"/>
                </a:lnTo>
                <a:lnTo>
                  <a:pt x="6401" y="3774"/>
                </a:lnTo>
                <a:lnTo>
                  <a:pt x="6398" y="3774"/>
                </a:lnTo>
                <a:lnTo>
                  <a:pt x="6397" y="3774"/>
                </a:lnTo>
                <a:lnTo>
                  <a:pt x="6394" y="3773"/>
                </a:lnTo>
                <a:close/>
                <a:moveTo>
                  <a:pt x="6369" y="4401"/>
                </a:moveTo>
                <a:lnTo>
                  <a:pt x="6370" y="4398"/>
                </a:lnTo>
                <a:lnTo>
                  <a:pt x="6373" y="4398"/>
                </a:lnTo>
                <a:lnTo>
                  <a:pt x="6375" y="4401"/>
                </a:lnTo>
                <a:lnTo>
                  <a:pt x="6374" y="4405"/>
                </a:lnTo>
                <a:lnTo>
                  <a:pt x="6372" y="4406"/>
                </a:lnTo>
                <a:lnTo>
                  <a:pt x="6369" y="4406"/>
                </a:lnTo>
                <a:lnTo>
                  <a:pt x="6368" y="4405"/>
                </a:lnTo>
                <a:lnTo>
                  <a:pt x="6369" y="4401"/>
                </a:lnTo>
                <a:close/>
                <a:moveTo>
                  <a:pt x="6275" y="4011"/>
                </a:moveTo>
                <a:lnTo>
                  <a:pt x="6275" y="4011"/>
                </a:lnTo>
                <a:lnTo>
                  <a:pt x="6275" y="4011"/>
                </a:lnTo>
                <a:lnTo>
                  <a:pt x="6275" y="4011"/>
                </a:lnTo>
                <a:lnTo>
                  <a:pt x="6275" y="4011"/>
                </a:lnTo>
                <a:close/>
                <a:moveTo>
                  <a:pt x="6438" y="4427"/>
                </a:moveTo>
                <a:lnTo>
                  <a:pt x="6435" y="4426"/>
                </a:lnTo>
                <a:lnTo>
                  <a:pt x="6435" y="4425"/>
                </a:lnTo>
                <a:lnTo>
                  <a:pt x="6437" y="4424"/>
                </a:lnTo>
                <a:lnTo>
                  <a:pt x="6438" y="4421"/>
                </a:lnTo>
                <a:lnTo>
                  <a:pt x="6438" y="4425"/>
                </a:lnTo>
                <a:lnTo>
                  <a:pt x="6438" y="4427"/>
                </a:lnTo>
                <a:close/>
                <a:moveTo>
                  <a:pt x="8512" y="4501"/>
                </a:moveTo>
                <a:lnTo>
                  <a:pt x="8535" y="4520"/>
                </a:lnTo>
                <a:lnTo>
                  <a:pt x="8508" y="4510"/>
                </a:lnTo>
                <a:lnTo>
                  <a:pt x="8479" y="4481"/>
                </a:lnTo>
                <a:lnTo>
                  <a:pt x="8492" y="4439"/>
                </a:lnTo>
                <a:lnTo>
                  <a:pt x="8529" y="4450"/>
                </a:lnTo>
                <a:lnTo>
                  <a:pt x="8528" y="4462"/>
                </a:lnTo>
                <a:lnTo>
                  <a:pt x="8514" y="4477"/>
                </a:lnTo>
                <a:lnTo>
                  <a:pt x="8512" y="4501"/>
                </a:lnTo>
                <a:close/>
                <a:moveTo>
                  <a:pt x="8726" y="4701"/>
                </a:moveTo>
                <a:lnTo>
                  <a:pt x="8720" y="4699"/>
                </a:lnTo>
                <a:lnTo>
                  <a:pt x="8714" y="4695"/>
                </a:lnTo>
                <a:lnTo>
                  <a:pt x="8717" y="4695"/>
                </a:lnTo>
                <a:lnTo>
                  <a:pt x="8721" y="4696"/>
                </a:lnTo>
                <a:lnTo>
                  <a:pt x="8724" y="4697"/>
                </a:lnTo>
                <a:lnTo>
                  <a:pt x="8726" y="4701"/>
                </a:lnTo>
                <a:close/>
                <a:moveTo>
                  <a:pt x="9549" y="2634"/>
                </a:moveTo>
                <a:lnTo>
                  <a:pt x="9545" y="2635"/>
                </a:lnTo>
                <a:lnTo>
                  <a:pt x="9540" y="2636"/>
                </a:lnTo>
                <a:lnTo>
                  <a:pt x="9537" y="2638"/>
                </a:lnTo>
                <a:lnTo>
                  <a:pt x="9534" y="2635"/>
                </a:lnTo>
                <a:lnTo>
                  <a:pt x="9539" y="2634"/>
                </a:lnTo>
                <a:lnTo>
                  <a:pt x="9541" y="2633"/>
                </a:lnTo>
                <a:lnTo>
                  <a:pt x="9545" y="2633"/>
                </a:lnTo>
                <a:lnTo>
                  <a:pt x="9549" y="2634"/>
                </a:lnTo>
                <a:close/>
                <a:moveTo>
                  <a:pt x="6768" y="3480"/>
                </a:moveTo>
                <a:lnTo>
                  <a:pt x="6773" y="3482"/>
                </a:lnTo>
                <a:lnTo>
                  <a:pt x="6780" y="3482"/>
                </a:lnTo>
                <a:lnTo>
                  <a:pt x="6785" y="3484"/>
                </a:lnTo>
                <a:lnTo>
                  <a:pt x="6783" y="3488"/>
                </a:lnTo>
                <a:lnTo>
                  <a:pt x="6779" y="3487"/>
                </a:lnTo>
                <a:lnTo>
                  <a:pt x="6773" y="3485"/>
                </a:lnTo>
                <a:lnTo>
                  <a:pt x="6769" y="3484"/>
                </a:lnTo>
                <a:lnTo>
                  <a:pt x="6768" y="3480"/>
                </a:lnTo>
                <a:close/>
                <a:moveTo>
                  <a:pt x="6161" y="3785"/>
                </a:moveTo>
                <a:lnTo>
                  <a:pt x="6175" y="3800"/>
                </a:lnTo>
                <a:lnTo>
                  <a:pt x="6184" y="3819"/>
                </a:lnTo>
                <a:lnTo>
                  <a:pt x="6197" y="3833"/>
                </a:lnTo>
                <a:lnTo>
                  <a:pt x="6226" y="3833"/>
                </a:lnTo>
                <a:lnTo>
                  <a:pt x="6179" y="3874"/>
                </a:lnTo>
                <a:lnTo>
                  <a:pt x="6155" y="3875"/>
                </a:lnTo>
                <a:lnTo>
                  <a:pt x="6150" y="3844"/>
                </a:lnTo>
                <a:lnTo>
                  <a:pt x="6161" y="3785"/>
                </a:lnTo>
                <a:close/>
                <a:moveTo>
                  <a:pt x="5816" y="3763"/>
                </a:moveTo>
                <a:lnTo>
                  <a:pt x="5814" y="3767"/>
                </a:lnTo>
                <a:lnTo>
                  <a:pt x="5806" y="3772"/>
                </a:lnTo>
                <a:lnTo>
                  <a:pt x="5797" y="3774"/>
                </a:lnTo>
                <a:lnTo>
                  <a:pt x="5791" y="3772"/>
                </a:lnTo>
                <a:lnTo>
                  <a:pt x="5791" y="3764"/>
                </a:lnTo>
                <a:lnTo>
                  <a:pt x="5797" y="3762"/>
                </a:lnTo>
                <a:lnTo>
                  <a:pt x="5807" y="3762"/>
                </a:lnTo>
                <a:lnTo>
                  <a:pt x="5816" y="3763"/>
                </a:lnTo>
                <a:close/>
                <a:moveTo>
                  <a:pt x="6006" y="4094"/>
                </a:moveTo>
                <a:lnTo>
                  <a:pt x="6006" y="4098"/>
                </a:lnTo>
                <a:lnTo>
                  <a:pt x="6004" y="4099"/>
                </a:lnTo>
                <a:lnTo>
                  <a:pt x="6001" y="4100"/>
                </a:lnTo>
                <a:lnTo>
                  <a:pt x="5997" y="4102"/>
                </a:lnTo>
                <a:lnTo>
                  <a:pt x="5995" y="4098"/>
                </a:lnTo>
                <a:lnTo>
                  <a:pt x="5997" y="4095"/>
                </a:lnTo>
                <a:lnTo>
                  <a:pt x="6001" y="4094"/>
                </a:lnTo>
                <a:lnTo>
                  <a:pt x="6006" y="4094"/>
                </a:lnTo>
                <a:close/>
                <a:moveTo>
                  <a:pt x="5841" y="4119"/>
                </a:moveTo>
                <a:lnTo>
                  <a:pt x="5828" y="4130"/>
                </a:lnTo>
                <a:lnTo>
                  <a:pt x="5824" y="4121"/>
                </a:lnTo>
                <a:lnTo>
                  <a:pt x="5829" y="4104"/>
                </a:lnTo>
                <a:lnTo>
                  <a:pt x="5844" y="4093"/>
                </a:lnTo>
                <a:lnTo>
                  <a:pt x="5856" y="4091"/>
                </a:lnTo>
                <a:lnTo>
                  <a:pt x="5858" y="4100"/>
                </a:lnTo>
                <a:lnTo>
                  <a:pt x="5852" y="4112"/>
                </a:lnTo>
                <a:lnTo>
                  <a:pt x="5841" y="4119"/>
                </a:lnTo>
                <a:close/>
                <a:moveTo>
                  <a:pt x="5895" y="4360"/>
                </a:moveTo>
                <a:lnTo>
                  <a:pt x="5890" y="4365"/>
                </a:lnTo>
                <a:lnTo>
                  <a:pt x="5885" y="4364"/>
                </a:lnTo>
                <a:lnTo>
                  <a:pt x="5883" y="4357"/>
                </a:lnTo>
                <a:lnTo>
                  <a:pt x="5885" y="4351"/>
                </a:lnTo>
                <a:lnTo>
                  <a:pt x="5890" y="4350"/>
                </a:lnTo>
                <a:lnTo>
                  <a:pt x="5894" y="4352"/>
                </a:lnTo>
                <a:lnTo>
                  <a:pt x="5895" y="4355"/>
                </a:lnTo>
                <a:lnTo>
                  <a:pt x="5895" y="4360"/>
                </a:lnTo>
                <a:close/>
                <a:moveTo>
                  <a:pt x="5904" y="4467"/>
                </a:moveTo>
                <a:lnTo>
                  <a:pt x="5894" y="4485"/>
                </a:lnTo>
                <a:lnTo>
                  <a:pt x="5874" y="4489"/>
                </a:lnTo>
                <a:lnTo>
                  <a:pt x="5851" y="4485"/>
                </a:lnTo>
                <a:lnTo>
                  <a:pt x="5832" y="4477"/>
                </a:lnTo>
                <a:lnTo>
                  <a:pt x="5851" y="4475"/>
                </a:lnTo>
                <a:lnTo>
                  <a:pt x="5874" y="4466"/>
                </a:lnTo>
                <a:lnTo>
                  <a:pt x="5893" y="4459"/>
                </a:lnTo>
                <a:lnTo>
                  <a:pt x="5904" y="4467"/>
                </a:lnTo>
                <a:close/>
                <a:moveTo>
                  <a:pt x="6401" y="4504"/>
                </a:moveTo>
                <a:lnTo>
                  <a:pt x="6402" y="4503"/>
                </a:lnTo>
                <a:lnTo>
                  <a:pt x="6401" y="4504"/>
                </a:lnTo>
                <a:lnTo>
                  <a:pt x="6401" y="4503"/>
                </a:lnTo>
                <a:lnTo>
                  <a:pt x="6401" y="4504"/>
                </a:lnTo>
                <a:close/>
                <a:moveTo>
                  <a:pt x="7288" y="4136"/>
                </a:moveTo>
                <a:lnTo>
                  <a:pt x="7290" y="4137"/>
                </a:lnTo>
                <a:lnTo>
                  <a:pt x="7290" y="4138"/>
                </a:lnTo>
                <a:lnTo>
                  <a:pt x="7288" y="4137"/>
                </a:lnTo>
                <a:lnTo>
                  <a:pt x="7288" y="4136"/>
                </a:lnTo>
                <a:close/>
                <a:moveTo>
                  <a:pt x="7723" y="4553"/>
                </a:moveTo>
                <a:lnTo>
                  <a:pt x="7727" y="4555"/>
                </a:lnTo>
                <a:lnTo>
                  <a:pt x="7730" y="4557"/>
                </a:lnTo>
                <a:lnTo>
                  <a:pt x="7733" y="4561"/>
                </a:lnTo>
                <a:lnTo>
                  <a:pt x="7733" y="4566"/>
                </a:lnTo>
                <a:lnTo>
                  <a:pt x="7723" y="4566"/>
                </a:lnTo>
                <a:lnTo>
                  <a:pt x="7715" y="4562"/>
                </a:lnTo>
                <a:lnTo>
                  <a:pt x="7713" y="4559"/>
                </a:lnTo>
                <a:lnTo>
                  <a:pt x="7723" y="4553"/>
                </a:lnTo>
                <a:close/>
                <a:moveTo>
                  <a:pt x="8213" y="4560"/>
                </a:moveTo>
                <a:lnTo>
                  <a:pt x="8205" y="4557"/>
                </a:lnTo>
                <a:lnTo>
                  <a:pt x="8208" y="4556"/>
                </a:lnTo>
                <a:lnTo>
                  <a:pt x="8210" y="4555"/>
                </a:lnTo>
                <a:lnTo>
                  <a:pt x="8212" y="4556"/>
                </a:lnTo>
                <a:lnTo>
                  <a:pt x="8213" y="4560"/>
                </a:lnTo>
                <a:close/>
                <a:moveTo>
                  <a:pt x="8507" y="4727"/>
                </a:moveTo>
                <a:lnTo>
                  <a:pt x="8494" y="4715"/>
                </a:lnTo>
                <a:lnTo>
                  <a:pt x="8494" y="4699"/>
                </a:lnTo>
                <a:lnTo>
                  <a:pt x="8501" y="4679"/>
                </a:lnTo>
                <a:lnTo>
                  <a:pt x="8505" y="4663"/>
                </a:lnTo>
                <a:lnTo>
                  <a:pt x="8528" y="4679"/>
                </a:lnTo>
                <a:lnTo>
                  <a:pt x="8538" y="4693"/>
                </a:lnTo>
                <a:lnTo>
                  <a:pt x="8531" y="4709"/>
                </a:lnTo>
                <a:lnTo>
                  <a:pt x="8507" y="4727"/>
                </a:lnTo>
                <a:close/>
                <a:moveTo>
                  <a:pt x="10190" y="4608"/>
                </a:moveTo>
                <a:lnTo>
                  <a:pt x="10188" y="4611"/>
                </a:lnTo>
                <a:lnTo>
                  <a:pt x="10188" y="4609"/>
                </a:lnTo>
                <a:lnTo>
                  <a:pt x="10188" y="4606"/>
                </a:lnTo>
                <a:lnTo>
                  <a:pt x="10188" y="4603"/>
                </a:lnTo>
                <a:lnTo>
                  <a:pt x="10190" y="4606"/>
                </a:lnTo>
                <a:lnTo>
                  <a:pt x="10190" y="4608"/>
                </a:lnTo>
                <a:close/>
                <a:moveTo>
                  <a:pt x="10428" y="2686"/>
                </a:moveTo>
                <a:lnTo>
                  <a:pt x="10430" y="2689"/>
                </a:lnTo>
                <a:lnTo>
                  <a:pt x="10431" y="2690"/>
                </a:lnTo>
                <a:lnTo>
                  <a:pt x="10431" y="2691"/>
                </a:lnTo>
                <a:lnTo>
                  <a:pt x="10429" y="2692"/>
                </a:lnTo>
                <a:lnTo>
                  <a:pt x="10425" y="2691"/>
                </a:lnTo>
                <a:lnTo>
                  <a:pt x="10424" y="2690"/>
                </a:lnTo>
                <a:lnTo>
                  <a:pt x="10425" y="2689"/>
                </a:lnTo>
                <a:lnTo>
                  <a:pt x="10428" y="2686"/>
                </a:lnTo>
                <a:close/>
                <a:moveTo>
                  <a:pt x="10822" y="2560"/>
                </a:moveTo>
                <a:lnTo>
                  <a:pt x="10824" y="2558"/>
                </a:lnTo>
                <a:lnTo>
                  <a:pt x="10824" y="2556"/>
                </a:lnTo>
                <a:lnTo>
                  <a:pt x="10825" y="2555"/>
                </a:lnTo>
                <a:lnTo>
                  <a:pt x="10828" y="2554"/>
                </a:lnTo>
                <a:lnTo>
                  <a:pt x="10825" y="2556"/>
                </a:lnTo>
                <a:lnTo>
                  <a:pt x="10822" y="2560"/>
                </a:lnTo>
                <a:close/>
                <a:moveTo>
                  <a:pt x="10834" y="2554"/>
                </a:moveTo>
                <a:lnTo>
                  <a:pt x="10831" y="2552"/>
                </a:lnTo>
                <a:lnTo>
                  <a:pt x="10835" y="2551"/>
                </a:lnTo>
                <a:lnTo>
                  <a:pt x="10839" y="2550"/>
                </a:lnTo>
                <a:lnTo>
                  <a:pt x="10842" y="2549"/>
                </a:lnTo>
                <a:lnTo>
                  <a:pt x="10838" y="2551"/>
                </a:lnTo>
                <a:lnTo>
                  <a:pt x="10834" y="2554"/>
                </a:lnTo>
                <a:close/>
                <a:moveTo>
                  <a:pt x="10843" y="2757"/>
                </a:moveTo>
                <a:lnTo>
                  <a:pt x="10840" y="2755"/>
                </a:lnTo>
                <a:lnTo>
                  <a:pt x="10849" y="2752"/>
                </a:lnTo>
                <a:lnTo>
                  <a:pt x="10863" y="2751"/>
                </a:lnTo>
                <a:lnTo>
                  <a:pt x="10876" y="2752"/>
                </a:lnTo>
                <a:lnTo>
                  <a:pt x="10868" y="2755"/>
                </a:lnTo>
                <a:lnTo>
                  <a:pt x="10861" y="2757"/>
                </a:lnTo>
                <a:lnTo>
                  <a:pt x="10853" y="2757"/>
                </a:lnTo>
                <a:lnTo>
                  <a:pt x="10843" y="2757"/>
                </a:lnTo>
                <a:close/>
                <a:moveTo>
                  <a:pt x="10960" y="2988"/>
                </a:moveTo>
                <a:lnTo>
                  <a:pt x="10947" y="3002"/>
                </a:lnTo>
                <a:lnTo>
                  <a:pt x="10931" y="3006"/>
                </a:lnTo>
                <a:lnTo>
                  <a:pt x="10912" y="3003"/>
                </a:lnTo>
                <a:lnTo>
                  <a:pt x="10890" y="3000"/>
                </a:lnTo>
                <a:lnTo>
                  <a:pt x="10909" y="2992"/>
                </a:lnTo>
                <a:lnTo>
                  <a:pt x="10924" y="2988"/>
                </a:lnTo>
                <a:lnTo>
                  <a:pt x="10941" y="2986"/>
                </a:lnTo>
                <a:lnTo>
                  <a:pt x="10960" y="2988"/>
                </a:lnTo>
                <a:close/>
                <a:moveTo>
                  <a:pt x="10933" y="2895"/>
                </a:moveTo>
                <a:lnTo>
                  <a:pt x="10927" y="2892"/>
                </a:lnTo>
                <a:lnTo>
                  <a:pt x="10924" y="2890"/>
                </a:lnTo>
                <a:lnTo>
                  <a:pt x="10926" y="2886"/>
                </a:lnTo>
                <a:lnTo>
                  <a:pt x="10931" y="2881"/>
                </a:lnTo>
                <a:lnTo>
                  <a:pt x="10936" y="2885"/>
                </a:lnTo>
                <a:lnTo>
                  <a:pt x="10938" y="2887"/>
                </a:lnTo>
                <a:lnTo>
                  <a:pt x="10938" y="2891"/>
                </a:lnTo>
                <a:lnTo>
                  <a:pt x="10933" y="2895"/>
                </a:lnTo>
                <a:close/>
                <a:moveTo>
                  <a:pt x="11011" y="2998"/>
                </a:moveTo>
                <a:lnTo>
                  <a:pt x="11008" y="2993"/>
                </a:lnTo>
                <a:lnTo>
                  <a:pt x="11008" y="2990"/>
                </a:lnTo>
                <a:lnTo>
                  <a:pt x="11010" y="2989"/>
                </a:lnTo>
                <a:lnTo>
                  <a:pt x="11013" y="2988"/>
                </a:lnTo>
                <a:lnTo>
                  <a:pt x="11012" y="2993"/>
                </a:lnTo>
                <a:lnTo>
                  <a:pt x="11011" y="2998"/>
                </a:lnTo>
                <a:close/>
                <a:moveTo>
                  <a:pt x="11291" y="3114"/>
                </a:moveTo>
                <a:lnTo>
                  <a:pt x="11297" y="3111"/>
                </a:lnTo>
                <a:lnTo>
                  <a:pt x="11303" y="3109"/>
                </a:lnTo>
                <a:lnTo>
                  <a:pt x="11308" y="3109"/>
                </a:lnTo>
                <a:lnTo>
                  <a:pt x="11310" y="3116"/>
                </a:lnTo>
                <a:lnTo>
                  <a:pt x="11305" y="3121"/>
                </a:lnTo>
                <a:lnTo>
                  <a:pt x="11300" y="3124"/>
                </a:lnTo>
                <a:lnTo>
                  <a:pt x="11295" y="3121"/>
                </a:lnTo>
                <a:lnTo>
                  <a:pt x="11291" y="3114"/>
                </a:lnTo>
                <a:close/>
                <a:moveTo>
                  <a:pt x="11264" y="3281"/>
                </a:moveTo>
                <a:lnTo>
                  <a:pt x="11257" y="3278"/>
                </a:lnTo>
                <a:lnTo>
                  <a:pt x="11249" y="3273"/>
                </a:lnTo>
                <a:lnTo>
                  <a:pt x="11243" y="3267"/>
                </a:lnTo>
                <a:lnTo>
                  <a:pt x="11241" y="3259"/>
                </a:lnTo>
                <a:lnTo>
                  <a:pt x="11250" y="3263"/>
                </a:lnTo>
                <a:lnTo>
                  <a:pt x="11259" y="3267"/>
                </a:lnTo>
                <a:lnTo>
                  <a:pt x="11264" y="3272"/>
                </a:lnTo>
                <a:lnTo>
                  <a:pt x="11264" y="3281"/>
                </a:lnTo>
                <a:close/>
                <a:moveTo>
                  <a:pt x="11182" y="3497"/>
                </a:moveTo>
                <a:lnTo>
                  <a:pt x="11185" y="3488"/>
                </a:lnTo>
                <a:lnTo>
                  <a:pt x="11194" y="3487"/>
                </a:lnTo>
                <a:lnTo>
                  <a:pt x="11204" y="3488"/>
                </a:lnTo>
                <a:lnTo>
                  <a:pt x="11212" y="3492"/>
                </a:lnTo>
                <a:lnTo>
                  <a:pt x="11206" y="3501"/>
                </a:lnTo>
                <a:lnTo>
                  <a:pt x="11198" y="3506"/>
                </a:lnTo>
                <a:lnTo>
                  <a:pt x="11190" y="3505"/>
                </a:lnTo>
                <a:lnTo>
                  <a:pt x="11182" y="3497"/>
                </a:lnTo>
                <a:close/>
                <a:moveTo>
                  <a:pt x="11164" y="3788"/>
                </a:moveTo>
                <a:lnTo>
                  <a:pt x="11176" y="3777"/>
                </a:lnTo>
                <a:lnTo>
                  <a:pt x="11193" y="3778"/>
                </a:lnTo>
                <a:lnTo>
                  <a:pt x="11207" y="3788"/>
                </a:lnTo>
                <a:lnTo>
                  <a:pt x="11215" y="3808"/>
                </a:lnTo>
                <a:lnTo>
                  <a:pt x="11201" y="3805"/>
                </a:lnTo>
                <a:lnTo>
                  <a:pt x="11185" y="3802"/>
                </a:lnTo>
                <a:lnTo>
                  <a:pt x="11173" y="3799"/>
                </a:lnTo>
                <a:lnTo>
                  <a:pt x="11164" y="3788"/>
                </a:lnTo>
                <a:close/>
                <a:moveTo>
                  <a:pt x="11127" y="3879"/>
                </a:moveTo>
                <a:lnTo>
                  <a:pt x="11126" y="3886"/>
                </a:lnTo>
                <a:lnTo>
                  <a:pt x="11115" y="3893"/>
                </a:lnTo>
                <a:lnTo>
                  <a:pt x="11104" y="3897"/>
                </a:lnTo>
                <a:lnTo>
                  <a:pt x="11096" y="3903"/>
                </a:lnTo>
                <a:lnTo>
                  <a:pt x="11100" y="3892"/>
                </a:lnTo>
                <a:lnTo>
                  <a:pt x="11105" y="3881"/>
                </a:lnTo>
                <a:lnTo>
                  <a:pt x="11114" y="3878"/>
                </a:lnTo>
                <a:lnTo>
                  <a:pt x="11127" y="3879"/>
                </a:lnTo>
                <a:close/>
                <a:moveTo>
                  <a:pt x="10448" y="4183"/>
                </a:moveTo>
                <a:lnTo>
                  <a:pt x="10448" y="4183"/>
                </a:lnTo>
                <a:lnTo>
                  <a:pt x="10448" y="4183"/>
                </a:lnTo>
                <a:lnTo>
                  <a:pt x="10454" y="4184"/>
                </a:lnTo>
                <a:lnTo>
                  <a:pt x="10448" y="4183"/>
                </a:lnTo>
                <a:close/>
                <a:moveTo>
                  <a:pt x="10296" y="4378"/>
                </a:moveTo>
                <a:lnTo>
                  <a:pt x="10300" y="4374"/>
                </a:lnTo>
                <a:lnTo>
                  <a:pt x="10304" y="4370"/>
                </a:lnTo>
                <a:lnTo>
                  <a:pt x="10300" y="4374"/>
                </a:lnTo>
                <a:lnTo>
                  <a:pt x="10296" y="4378"/>
                </a:lnTo>
                <a:close/>
                <a:moveTo>
                  <a:pt x="10310" y="2690"/>
                </a:moveTo>
                <a:lnTo>
                  <a:pt x="10310" y="2684"/>
                </a:lnTo>
                <a:lnTo>
                  <a:pt x="10316" y="2680"/>
                </a:lnTo>
                <a:lnTo>
                  <a:pt x="10321" y="2678"/>
                </a:lnTo>
                <a:lnTo>
                  <a:pt x="10327" y="2676"/>
                </a:lnTo>
                <a:lnTo>
                  <a:pt x="10328" y="2681"/>
                </a:lnTo>
                <a:lnTo>
                  <a:pt x="10325" y="2685"/>
                </a:lnTo>
                <a:lnTo>
                  <a:pt x="10317" y="2687"/>
                </a:lnTo>
                <a:lnTo>
                  <a:pt x="10310" y="2690"/>
                </a:lnTo>
                <a:close/>
                <a:moveTo>
                  <a:pt x="10416" y="2729"/>
                </a:moveTo>
                <a:lnTo>
                  <a:pt x="10412" y="2726"/>
                </a:lnTo>
                <a:lnTo>
                  <a:pt x="10412" y="2722"/>
                </a:lnTo>
                <a:lnTo>
                  <a:pt x="10415" y="2720"/>
                </a:lnTo>
                <a:lnTo>
                  <a:pt x="10420" y="2719"/>
                </a:lnTo>
                <a:lnTo>
                  <a:pt x="10424" y="2722"/>
                </a:lnTo>
                <a:lnTo>
                  <a:pt x="10423" y="2724"/>
                </a:lnTo>
                <a:lnTo>
                  <a:pt x="10419" y="2727"/>
                </a:lnTo>
                <a:lnTo>
                  <a:pt x="10416" y="2729"/>
                </a:lnTo>
                <a:close/>
                <a:moveTo>
                  <a:pt x="10565" y="2785"/>
                </a:moveTo>
                <a:lnTo>
                  <a:pt x="10564" y="2778"/>
                </a:lnTo>
                <a:lnTo>
                  <a:pt x="10565" y="2773"/>
                </a:lnTo>
                <a:lnTo>
                  <a:pt x="10569" y="2769"/>
                </a:lnTo>
                <a:lnTo>
                  <a:pt x="10574" y="2764"/>
                </a:lnTo>
                <a:lnTo>
                  <a:pt x="10578" y="2771"/>
                </a:lnTo>
                <a:lnTo>
                  <a:pt x="10577" y="2775"/>
                </a:lnTo>
                <a:lnTo>
                  <a:pt x="10572" y="2780"/>
                </a:lnTo>
                <a:lnTo>
                  <a:pt x="10565" y="2785"/>
                </a:lnTo>
                <a:close/>
                <a:moveTo>
                  <a:pt x="11114" y="3063"/>
                </a:moveTo>
                <a:lnTo>
                  <a:pt x="11112" y="3058"/>
                </a:lnTo>
                <a:lnTo>
                  <a:pt x="11112" y="3054"/>
                </a:lnTo>
                <a:lnTo>
                  <a:pt x="11114" y="3053"/>
                </a:lnTo>
                <a:lnTo>
                  <a:pt x="11120" y="3055"/>
                </a:lnTo>
                <a:lnTo>
                  <a:pt x="11123" y="3058"/>
                </a:lnTo>
                <a:lnTo>
                  <a:pt x="11120" y="3060"/>
                </a:lnTo>
                <a:lnTo>
                  <a:pt x="11118" y="3062"/>
                </a:lnTo>
                <a:lnTo>
                  <a:pt x="11114" y="3063"/>
                </a:lnTo>
                <a:close/>
                <a:moveTo>
                  <a:pt x="11221" y="3342"/>
                </a:moveTo>
                <a:lnTo>
                  <a:pt x="11221" y="3342"/>
                </a:lnTo>
                <a:lnTo>
                  <a:pt x="11221" y="3342"/>
                </a:lnTo>
                <a:lnTo>
                  <a:pt x="11221" y="3342"/>
                </a:lnTo>
                <a:lnTo>
                  <a:pt x="11221" y="3342"/>
                </a:lnTo>
                <a:close/>
                <a:moveTo>
                  <a:pt x="11204" y="3235"/>
                </a:moveTo>
                <a:lnTo>
                  <a:pt x="11201" y="3231"/>
                </a:lnTo>
                <a:lnTo>
                  <a:pt x="11198" y="3227"/>
                </a:lnTo>
                <a:lnTo>
                  <a:pt x="11202" y="3231"/>
                </a:lnTo>
                <a:lnTo>
                  <a:pt x="11204" y="3235"/>
                </a:lnTo>
                <a:close/>
                <a:moveTo>
                  <a:pt x="11159" y="3745"/>
                </a:moveTo>
                <a:lnTo>
                  <a:pt x="11169" y="3749"/>
                </a:lnTo>
                <a:lnTo>
                  <a:pt x="11180" y="3754"/>
                </a:lnTo>
                <a:lnTo>
                  <a:pt x="11173" y="3754"/>
                </a:lnTo>
                <a:lnTo>
                  <a:pt x="11168" y="3753"/>
                </a:lnTo>
                <a:lnTo>
                  <a:pt x="11162" y="3749"/>
                </a:lnTo>
                <a:lnTo>
                  <a:pt x="11159" y="3745"/>
                </a:lnTo>
                <a:close/>
                <a:moveTo>
                  <a:pt x="11067" y="3866"/>
                </a:moveTo>
                <a:lnTo>
                  <a:pt x="11068" y="3867"/>
                </a:lnTo>
                <a:lnTo>
                  <a:pt x="11068" y="3871"/>
                </a:lnTo>
                <a:lnTo>
                  <a:pt x="11062" y="3874"/>
                </a:lnTo>
                <a:lnTo>
                  <a:pt x="11058" y="3870"/>
                </a:lnTo>
                <a:lnTo>
                  <a:pt x="11059" y="3866"/>
                </a:lnTo>
                <a:lnTo>
                  <a:pt x="11067" y="3866"/>
                </a:lnTo>
                <a:close/>
                <a:moveTo>
                  <a:pt x="11071" y="3922"/>
                </a:moveTo>
                <a:lnTo>
                  <a:pt x="11082" y="3916"/>
                </a:lnTo>
                <a:lnTo>
                  <a:pt x="11081" y="3925"/>
                </a:lnTo>
                <a:lnTo>
                  <a:pt x="11073" y="3934"/>
                </a:lnTo>
                <a:lnTo>
                  <a:pt x="11064" y="3928"/>
                </a:lnTo>
                <a:lnTo>
                  <a:pt x="11068" y="3926"/>
                </a:lnTo>
                <a:lnTo>
                  <a:pt x="11071" y="3922"/>
                </a:lnTo>
                <a:close/>
                <a:moveTo>
                  <a:pt x="11044" y="3909"/>
                </a:moveTo>
                <a:lnTo>
                  <a:pt x="11057" y="3914"/>
                </a:lnTo>
                <a:lnTo>
                  <a:pt x="11070" y="3921"/>
                </a:lnTo>
                <a:lnTo>
                  <a:pt x="11062" y="3922"/>
                </a:lnTo>
                <a:lnTo>
                  <a:pt x="11055" y="3920"/>
                </a:lnTo>
                <a:lnTo>
                  <a:pt x="11049" y="3914"/>
                </a:lnTo>
                <a:lnTo>
                  <a:pt x="11044" y="3909"/>
                </a:lnTo>
                <a:close/>
                <a:moveTo>
                  <a:pt x="11094" y="3699"/>
                </a:moveTo>
                <a:lnTo>
                  <a:pt x="11096" y="3701"/>
                </a:lnTo>
                <a:lnTo>
                  <a:pt x="11098" y="3703"/>
                </a:lnTo>
                <a:lnTo>
                  <a:pt x="11099" y="3707"/>
                </a:lnTo>
                <a:lnTo>
                  <a:pt x="11100" y="3710"/>
                </a:lnTo>
                <a:lnTo>
                  <a:pt x="11096" y="3708"/>
                </a:lnTo>
                <a:lnTo>
                  <a:pt x="11092" y="3706"/>
                </a:lnTo>
                <a:lnTo>
                  <a:pt x="11091" y="3703"/>
                </a:lnTo>
                <a:lnTo>
                  <a:pt x="11094" y="3699"/>
                </a:lnTo>
                <a:close/>
                <a:moveTo>
                  <a:pt x="10999" y="3732"/>
                </a:moveTo>
                <a:lnTo>
                  <a:pt x="11002" y="3734"/>
                </a:lnTo>
                <a:lnTo>
                  <a:pt x="11002" y="3735"/>
                </a:lnTo>
                <a:lnTo>
                  <a:pt x="11001" y="3736"/>
                </a:lnTo>
                <a:lnTo>
                  <a:pt x="10998" y="3738"/>
                </a:lnTo>
                <a:lnTo>
                  <a:pt x="10996" y="3735"/>
                </a:lnTo>
                <a:lnTo>
                  <a:pt x="10996" y="3732"/>
                </a:lnTo>
                <a:lnTo>
                  <a:pt x="10997" y="3731"/>
                </a:lnTo>
                <a:lnTo>
                  <a:pt x="10999" y="3732"/>
                </a:lnTo>
                <a:close/>
                <a:moveTo>
                  <a:pt x="10998" y="3696"/>
                </a:moveTo>
                <a:lnTo>
                  <a:pt x="10998" y="3693"/>
                </a:lnTo>
                <a:lnTo>
                  <a:pt x="10999" y="3693"/>
                </a:lnTo>
                <a:lnTo>
                  <a:pt x="11001" y="3693"/>
                </a:lnTo>
                <a:lnTo>
                  <a:pt x="11002" y="3694"/>
                </a:lnTo>
                <a:lnTo>
                  <a:pt x="10998" y="3696"/>
                </a:lnTo>
                <a:close/>
                <a:moveTo>
                  <a:pt x="11132" y="3212"/>
                </a:moveTo>
                <a:lnTo>
                  <a:pt x="11136" y="3211"/>
                </a:lnTo>
                <a:lnTo>
                  <a:pt x="11136" y="3212"/>
                </a:lnTo>
                <a:lnTo>
                  <a:pt x="11134" y="3213"/>
                </a:lnTo>
                <a:lnTo>
                  <a:pt x="11133" y="3213"/>
                </a:lnTo>
                <a:lnTo>
                  <a:pt x="11132" y="3212"/>
                </a:lnTo>
                <a:close/>
                <a:moveTo>
                  <a:pt x="10228" y="3063"/>
                </a:moveTo>
                <a:lnTo>
                  <a:pt x="10229" y="3067"/>
                </a:lnTo>
                <a:lnTo>
                  <a:pt x="10228" y="3069"/>
                </a:lnTo>
                <a:lnTo>
                  <a:pt x="10226" y="3069"/>
                </a:lnTo>
                <a:lnTo>
                  <a:pt x="10223" y="3067"/>
                </a:lnTo>
                <a:lnTo>
                  <a:pt x="10225" y="3065"/>
                </a:lnTo>
                <a:lnTo>
                  <a:pt x="10228" y="3063"/>
                </a:lnTo>
                <a:close/>
                <a:moveTo>
                  <a:pt x="10452" y="2895"/>
                </a:moveTo>
                <a:lnTo>
                  <a:pt x="10451" y="2902"/>
                </a:lnTo>
                <a:lnTo>
                  <a:pt x="10447" y="2909"/>
                </a:lnTo>
                <a:lnTo>
                  <a:pt x="10440" y="2916"/>
                </a:lnTo>
                <a:lnTo>
                  <a:pt x="10431" y="2928"/>
                </a:lnTo>
                <a:lnTo>
                  <a:pt x="10430" y="2909"/>
                </a:lnTo>
                <a:lnTo>
                  <a:pt x="10430" y="2897"/>
                </a:lnTo>
                <a:lnTo>
                  <a:pt x="10437" y="2894"/>
                </a:lnTo>
                <a:lnTo>
                  <a:pt x="10452" y="2895"/>
                </a:lnTo>
                <a:close/>
                <a:moveTo>
                  <a:pt x="10570" y="2952"/>
                </a:moveTo>
                <a:lnTo>
                  <a:pt x="10565" y="2967"/>
                </a:lnTo>
                <a:lnTo>
                  <a:pt x="10558" y="2972"/>
                </a:lnTo>
                <a:lnTo>
                  <a:pt x="10547" y="2972"/>
                </a:lnTo>
                <a:lnTo>
                  <a:pt x="10532" y="2969"/>
                </a:lnTo>
                <a:lnTo>
                  <a:pt x="10532" y="2952"/>
                </a:lnTo>
                <a:lnTo>
                  <a:pt x="10541" y="2948"/>
                </a:lnTo>
                <a:lnTo>
                  <a:pt x="10555" y="2950"/>
                </a:lnTo>
                <a:lnTo>
                  <a:pt x="10570" y="2952"/>
                </a:lnTo>
                <a:close/>
                <a:moveTo>
                  <a:pt x="10582" y="2919"/>
                </a:moveTo>
                <a:lnTo>
                  <a:pt x="10583" y="2916"/>
                </a:lnTo>
                <a:lnTo>
                  <a:pt x="10584" y="2916"/>
                </a:lnTo>
                <a:lnTo>
                  <a:pt x="10587" y="2918"/>
                </a:lnTo>
                <a:lnTo>
                  <a:pt x="10589" y="2918"/>
                </a:lnTo>
                <a:lnTo>
                  <a:pt x="10586" y="2919"/>
                </a:lnTo>
                <a:lnTo>
                  <a:pt x="10582" y="2919"/>
                </a:lnTo>
                <a:close/>
                <a:moveTo>
                  <a:pt x="10459" y="2983"/>
                </a:moveTo>
                <a:lnTo>
                  <a:pt x="10459" y="2988"/>
                </a:lnTo>
                <a:lnTo>
                  <a:pt x="10454" y="2993"/>
                </a:lnTo>
                <a:lnTo>
                  <a:pt x="10448" y="2995"/>
                </a:lnTo>
                <a:lnTo>
                  <a:pt x="10439" y="2998"/>
                </a:lnTo>
                <a:lnTo>
                  <a:pt x="10451" y="2988"/>
                </a:lnTo>
                <a:lnTo>
                  <a:pt x="10459" y="2983"/>
                </a:lnTo>
                <a:close/>
                <a:moveTo>
                  <a:pt x="10326" y="2888"/>
                </a:moveTo>
                <a:lnTo>
                  <a:pt x="10327" y="2890"/>
                </a:lnTo>
                <a:lnTo>
                  <a:pt x="10326" y="2888"/>
                </a:lnTo>
                <a:lnTo>
                  <a:pt x="10332" y="2891"/>
                </a:lnTo>
                <a:lnTo>
                  <a:pt x="10326" y="2888"/>
                </a:lnTo>
                <a:close/>
                <a:moveTo>
                  <a:pt x="10793" y="2807"/>
                </a:moveTo>
                <a:lnTo>
                  <a:pt x="10798" y="2804"/>
                </a:lnTo>
                <a:lnTo>
                  <a:pt x="10801" y="2806"/>
                </a:lnTo>
                <a:lnTo>
                  <a:pt x="10801" y="2808"/>
                </a:lnTo>
                <a:lnTo>
                  <a:pt x="10797" y="2812"/>
                </a:lnTo>
                <a:lnTo>
                  <a:pt x="10792" y="2813"/>
                </a:lnTo>
                <a:lnTo>
                  <a:pt x="10789" y="2813"/>
                </a:lnTo>
                <a:lnTo>
                  <a:pt x="10789" y="2811"/>
                </a:lnTo>
                <a:lnTo>
                  <a:pt x="10793" y="2807"/>
                </a:lnTo>
                <a:close/>
                <a:moveTo>
                  <a:pt x="10747" y="2836"/>
                </a:moveTo>
                <a:lnTo>
                  <a:pt x="10751" y="2838"/>
                </a:lnTo>
                <a:lnTo>
                  <a:pt x="10754" y="2838"/>
                </a:lnTo>
                <a:lnTo>
                  <a:pt x="10755" y="2840"/>
                </a:lnTo>
                <a:lnTo>
                  <a:pt x="10755" y="2843"/>
                </a:lnTo>
                <a:lnTo>
                  <a:pt x="10751" y="2840"/>
                </a:lnTo>
                <a:lnTo>
                  <a:pt x="10747" y="2836"/>
                </a:lnTo>
                <a:close/>
                <a:moveTo>
                  <a:pt x="10682" y="2764"/>
                </a:moveTo>
                <a:lnTo>
                  <a:pt x="10685" y="2766"/>
                </a:lnTo>
                <a:lnTo>
                  <a:pt x="10685" y="2769"/>
                </a:lnTo>
                <a:lnTo>
                  <a:pt x="10682" y="2771"/>
                </a:lnTo>
                <a:lnTo>
                  <a:pt x="10680" y="2774"/>
                </a:lnTo>
                <a:lnTo>
                  <a:pt x="10676" y="2771"/>
                </a:lnTo>
                <a:lnTo>
                  <a:pt x="10677" y="2769"/>
                </a:lnTo>
                <a:lnTo>
                  <a:pt x="10680" y="2766"/>
                </a:lnTo>
                <a:lnTo>
                  <a:pt x="10682" y="2764"/>
                </a:lnTo>
                <a:close/>
                <a:moveTo>
                  <a:pt x="10718" y="2792"/>
                </a:moveTo>
                <a:lnTo>
                  <a:pt x="10707" y="2821"/>
                </a:lnTo>
                <a:lnTo>
                  <a:pt x="10677" y="2830"/>
                </a:lnTo>
                <a:lnTo>
                  <a:pt x="10640" y="2831"/>
                </a:lnTo>
                <a:lnTo>
                  <a:pt x="10610" y="2835"/>
                </a:lnTo>
                <a:lnTo>
                  <a:pt x="10602" y="2816"/>
                </a:lnTo>
                <a:lnTo>
                  <a:pt x="10635" y="2811"/>
                </a:lnTo>
                <a:lnTo>
                  <a:pt x="10681" y="2808"/>
                </a:lnTo>
                <a:lnTo>
                  <a:pt x="10718" y="2792"/>
                </a:lnTo>
                <a:close/>
                <a:moveTo>
                  <a:pt x="10372" y="2850"/>
                </a:moveTo>
                <a:lnTo>
                  <a:pt x="10375" y="2852"/>
                </a:lnTo>
                <a:lnTo>
                  <a:pt x="10378" y="2852"/>
                </a:lnTo>
                <a:lnTo>
                  <a:pt x="10379" y="2853"/>
                </a:lnTo>
                <a:lnTo>
                  <a:pt x="10378" y="2857"/>
                </a:lnTo>
                <a:lnTo>
                  <a:pt x="10375" y="2854"/>
                </a:lnTo>
                <a:lnTo>
                  <a:pt x="10372" y="2850"/>
                </a:lnTo>
                <a:close/>
                <a:moveTo>
                  <a:pt x="10212" y="2652"/>
                </a:moveTo>
                <a:lnTo>
                  <a:pt x="10212" y="2652"/>
                </a:lnTo>
                <a:lnTo>
                  <a:pt x="10212" y="2653"/>
                </a:lnTo>
                <a:lnTo>
                  <a:pt x="10212" y="2652"/>
                </a:lnTo>
                <a:lnTo>
                  <a:pt x="10212" y="2652"/>
                </a:lnTo>
                <a:close/>
                <a:moveTo>
                  <a:pt x="10201" y="2924"/>
                </a:moveTo>
                <a:lnTo>
                  <a:pt x="10201" y="2927"/>
                </a:lnTo>
                <a:lnTo>
                  <a:pt x="10200" y="2928"/>
                </a:lnTo>
                <a:lnTo>
                  <a:pt x="10197" y="2928"/>
                </a:lnTo>
                <a:lnTo>
                  <a:pt x="10196" y="2925"/>
                </a:lnTo>
                <a:lnTo>
                  <a:pt x="10196" y="2923"/>
                </a:lnTo>
                <a:lnTo>
                  <a:pt x="10197" y="2922"/>
                </a:lnTo>
                <a:lnTo>
                  <a:pt x="10200" y="2923"/>
                </a:lnTo>
                <a:lnTo>
                  <a:pt x="10201" y="2924"/>
                </a:lnTo>
                <a:close/>
                <a:moveTo>
                  <a:pt x="11184" y="3054"/>
                </a:moveTo>
                <a:lnTo>
                  <a:pt x="11201" y="3074"/>
                </a:lnTo>
                <a:lnTo>
                  <a:pt x="11224" y="3073"/>
                </a:lnTo>
                <a:lnTo>
                  <a:pt x="11249" y="3068"/>
                </a:lnTo>
                <a:lnTo>
                  <a:pt x="11269" y="3077"/>
                </a:lnTo>
                <a:lnTo>
                  <a:pt x="11231" y="3101"/>
                </a:lnTo>
                <a:lnTo>
                  <a:pt x="11180" y="3090"/>
                </a:lnTo>
                <a:lnTo>
                  <a:pt x="11152" y="3065"/>
                </a:lnTo>
                <a:lnTo>
                  <a:pt x="11184" y="3054"/>
                </a:lnTo>
                <a:close/>
                <a:moveTo>
                  <a:pt x="10803" y="2766"/>
                </a:moveTo>
                <a:lnTo>
                  <a:pt x="10839" y="2775"/>
                </a:lnTo>
                <a:lnTo>
                  <a:pt x="10850" y="2799"/>
                </a:lnTo>
                <a:lnTo>
                  <a:pt x="10839" y="2816"/>
                </a:lnTo>
                <a:lnTo>
                  <a:pt x="10805" y="2804"/>
                </a:lnTo>
                <a:lnTo>
                  <a:pt x="10821" y="2799"/>
                </a:lnTo>
                <a:lnTo>
                  <a:pt x="10817" y="2788"/>
                </a:lnTo>
                <a:lnTo>
                  <a:pt x="10806" y="2775"/>
                </a:lnTo>
                <a:lnTo>
                  <a:pt x="10803" y="2766"/>
                </a:lnTo>
                <a:close/>
                <a:moveTo>
                  <a:pt x="10821" y="2728"/>
                </a:moveTo>
                <a:lnTo>
                  <a:pt x="10820" y="2728"/>
                </a:lnTo>
                <a:lnTo>
                  <a:pt x="10820" y="2729"/>
                </a:lnTo>
                <a:lnTo>
                  <a:pt x="10820" y="2728"/>
                </a:lnTo>
                <a:lnTo>
                  <a:pt x="10821" y="2728"/>
                </a:lnTo>
                <a:close/>
                <a:moveTo>
                  <a:pt x="10824" y="2728"/>
                </a:moveTo>
                <a:lnTo>
                  <a:pt x="10828" y="2727"/>
                </a:lnTo>
                <a:lnTo>
                  <a:pt x="10831" y="2726"/>
                </a:lnTo>
                <a:lnTo>
                  <a:pt x="10828" y="2728"/>
                </a:lnTo>
                <a:lnTo>
                  <a:pt x="10824" y="2728"/>
                </a:lnTo>
                <a:close/>
                <a:moveTo>
                  <a:pt x="11031" y="4006"/>
                </a:moveTo>
                <a:lnTo>
                  <a:pt x="11034" y="4005"/>
                </a:lnTo>
                <a:lnTo>
                  <a:pt x="11034" y="4005"/>
                </a:lnTo>
                <a:lnTo>
                  <a:pt x="11034" y="4005"/>
                </a:lnTo>
                <a:lnTo>
                  <a:pt x="11031" y="4006"/>
                </a:lnTo>
                <a:lnTo>
                  <a:pt x="11030" y="4004"/>
                </a:lnTo>
                <a:lnTo>
                  <a:pt x="11031" y="4002"/>
                </a:lnTo>
                <a:lnTo>
                  <a:pt x="11033" y="4004"/>
                </a:lnTo>
                <a:lnTo>
                  <a:pt x="11031" y="4006"/>
                </a:lnTo>
                <a:close/>
                <a:moveTo>
                  <a:pt x="11199" y="2947"/>
                </a:moveTo>
                <a:lnTo>
                  <a:pt x="11188" y="2956"/>
                </a:lnTo>
                <a:lnTo>
                  <a:pt x="11179" y="2966"/>
                </a:lnTo>
                <a:lnTo>
                  <a:pt x="11169" y="2975"/>
                </a:lnTo>
                <a:lnTo>
                  <a:pt x="11155" y="2979"/>
                </a:lnTo>
                <a:lnTo>
                  <a:pt x="11155" y="2960"/>
                </a:lnTo>
                <a:lnTo>
                  <a:pt x="11165" y="2946"/>
                </a:lnTo>
                <a:lnTo>
                  <a:pt x="11182" y="2941"/>
                </a:lnTo>
                <a:lnTo>
                  <a:pt x="11199" y="2947"/>
                </a:lnTo>
                <a:close/>
                <a:moveTo>
                  <a:pt x="11039" y="2918"/>
                </a:moveTo>
                <a:lnTo>
                  <a:pt x="11045" y="2915"/>
                </a:lnTo>
                <a:lnTo>
                  <a:pt x="11049" y="2919"/>
                </a:lnTo>
                <a:lnTo>
                  <a:pt x="11050" y="2927"/>
                </a:lnTo>
                <a:lnTo>
                  <a:pt x="11049" y="2934"/>
                </a:lnTo>
                <a:lnTo>
                  <a:pt x="11044" y="2930"/>
                </a:lnTo>
                <a:lnTo>
                  <a:pt x="11040" y="2928"/>
                </a:lnTo>
                <a:lnTo>
                  <a:pt x="11039" y="2923"/>
                </a:lnTo>
                <a:lnTo>
                  <a:pt x="11039" y="2918"/>
                </a:lnTo>
                <a:close/>
                <a:moveTo>
                  <a:pt x="11034" y="2956"/>
                </a:moveTo>
                <a:lnTo>
                  <a:pt x="11052" y="2937"/>
                </a:lnTo>
                <a:lnTo>
                  <a:pt x="11081" y="2920"/>
                </a:lnTo>
                <a:lnTo>
                  <a:pt x="11108" y="2914"/>
                </a:lnTo>
                <a:lnTo>
                  <a:pt x="11120" y="2930"/>
                </a:lnTo>
                <a:lnTo>
                  <a:pt x="11096" y="2938"/>
                </a:lnTo>
                <a:lnTo>
                  <a:pt x="11067" y="2947"/>
                </a:lnTo>
                <a:lnTo>
                  <a:pt x="11043" y="2955"/>
                </a:lnTo>
                <a:lnTo>
                  <a:pt x="11034" y="2956"/>
                </a:lnTo>
                <a:close/>
                <a:moveTo>
                  <a:pt x="10915" y="2673"/>
                </a:moveTo>
                <a:lnTo>
                  <a:pt x="10918" y="2678"/>
                </a:lnTo>
                <a:lnTo>
                  <a:pt x="10917" y="2681"/>
                </a:lnTo>
                <a:lnTo>
                  <a:pt x="10914" y="2681"/>
                </a:lnTo>
                <a:lnTo>
                  <a:pt x="10909" y="2677"/>
                </a:lnTo>
                <a:lnTo>
                  <a:pt x="10908" y="2673"/>
                </a:lnTo>
                <a:lnTo>
                  <a:pt x="10908" y="2671"/>
                </a:lnTo>
                <a:lnTo>
                  <a:pt x="10910" y="2671"/>
                </a:lnTo>
                <a:lnTo>
                  <a:pt x="10915" y="2673"/>
                </a:lnTo>
                <a:close/>
                <a:moveTo>
                  <a:pt x="10554" y="2726"/>
                </a:moveTo>
                <a:lnTo>
                  <a:pt x="10583" y="2724"/>
                </a:lnTo>
                <a:lnTo>
                  <a:pt x="10573" y="2733"/>
                </a:lnTo>
                <a:lnTo>
                  <a:pt x="10542" y="2743"/>
                </a:lnTo>
                <a:lnTo>
                  <a:pt x="10512" y="2745"/>
                </a:lnTo>
                <a:lnTo>
                  <a:pt x="10513" y="2732"/>
                </a:lnTo>
                <a:lnTo>
                  <a:pt x="10523" y="2727"/>
                </a:lnTo>
                <a:lnTo>
                  <a:pt x="10538" y="2727"/>
                </a:lnTo>
                <a:lnTo>
                  <a:pt x="10554" y="2726"/>
                </a:lnTo>
                <a:close/>
                <a:moveTo>
                  <a:pt x="10377" y="2643"/>
                </a:moveTo>
                <a:lnTo>
                  <a:pt x="10379" y="2642"/>
                </a:lnTo>
                <a:lnTo>
                  <a:pt x="10383" y="2639"/>
                </a:lnTo>
                <a:lnTo>
                  <a:pt x="10387" y="2639"/>
                </a:lnTo>
                <a:lnTo>
                  <a:pt x="10388" y="2643"/>
                </a:lnTo>
                <a:lnTo>
                  <a:pt x="10384" y="2645"/>
                </a:lnTo>
                <a:lnTo>
                  <a:pt x="10381" y="2648"/>
                </a:lnTo>
                <a:lnTo>
                  <a:pt x="10378" y="2647"/>
                </a:lnTo>
                <a:lnTo>
                  <a:pt x="10377" y="2643"/>
                </a:lnTo>
                <a:close/>
                <a:moveTo>
                  <a:pt x="8994" y="1612"/>
                </a:moveTo>
                <a:lnTo>
                  <a:pt x="9003" y="1623"/>
                </a:lnTo>
                <a:lnTo>
                  <a:pt x="9012" y="1635"/>
                </a:lnTo>
                <a:lnTo>
                  <a:pt x="9018" y="1647"/>
                </a:lnTo>
                <a:lnTo>
                  <a:pt x="9019" y="1663"/>
                </a:lnTo>
                <a:lnTo>
                  <a:pt x="8996" y="1655"/>
                </a:lnTo>
                <a:lnTo>
                  <a:pt x="8985" y="1646"/>
                </a:lnTo>
                <a:lnTo>
                  <a:pt x="8985" y="1633"/>
                </a:lnTo>
                <a:lnTo>
                  <a:pt x="8994" y="1612"/>
                </a:lnTo>
                <a:close/>
                <a:moveTo>
                  <a:pt x="3048" y="3820"/>
                </a:moveTo>
                <a:lnTo>
                  <a:pt x="3055" y="3822"/>
                </a:lnTo>
                <a:lnTo>
                  <a:pt x="3059" y="3825"/>
                </a:lnTo>
                <a:lnTo>
                  <a:pt x="3060" y="3829"/>
                </a:lnTo>
                <a:lnTo>
                  <a:pt x="3057" y="3834"/>
                </a:lnTo>
                <a:lnTo>
                  <a:pt x="3050" y="3832"/>
                </a:lnTo>
                <a:lnTo>
                  <a:pt x="3045" y="3829"/>
                </a:lnTo>
                <a:lnTo>
                  <a:pt x="3044" y="3825"/>
                </a:lnTo>
                <a:lnTo>
                  <a:pt x="3048" y="3820"/>
                </a:lnTo>
                <a:close/>
                <a:moveTo>
                  <a:pt x="1341" y="3459"/>
                </a:moveTo>
                <a:lnTo>
                  <a:pt x="1349" y="3469"/>
                </a:lnTo>
                <a:lnTo>
                  <a:pt x="1332" y="3469"/>
                </a:lnTo>
                <a:lnTo>
                  <a:pt x="1308" y="3464"/>
                </a:lnTo>
                <a:lnTo>
                  <a:pt x="1295" y="3456"/>
                </a:lnTo>
                <a:lnTo>
                  <a:pt x="1307" y="3456"/>
                </a:lnTo>
                <a:lnTo>
                  <a:pt x="1318" y="3457"/>
                </a:lnTo>
                <a:lnTo>
                  <a:pt x="1330" y="3457"/>
                </a:lnTo>
                <a:lnTo>
                  <a:pt x="1341" y="3459"/>
                </a:lnTo>
                <a:close/>
                <a:moveTo>
                  <a:pt x="948" y="3455"/>
                </a:moveTo>
                <a:lnTo>
                  <a:pt x="946" y="3456"/>
                </a:lnTo>
                <a:lnTo>
                  <a:pt x="943" y="3456"/>
                </a:lnTo>
                <a:lnTo>
                  <a:pt x="943" y="3454"/>
                </a:lnTo>
                <a:lnTo>
                  <a:pt x="945" y="3451"/>
                </a:lnTo>
                <a:lnTo>
                  <a:pt x="948" y="3451"/>
                </a:lnTo>
                <a:lnTo>
                  <a:pt x="948" y="3455"/>
                </a:lnTo>
                <a:close/>
                <a:moveTo>
                  <a:pt x="1462" y="3384"/>
                </a:moveTo>
                <a:lnTo>
                  <a:pt x="1460" y="3384"/>
                </a:lnTo>
                <a:lnTo>
                  <a:pt x="1455" y="3382"/>
                </a:lnTo>
                <a:lnTo>
                  <a:pt x="1460" y="3380"/>
                </a:lnTo>
                <a:lnTo>
                  <a:pt x="1463" y="3379"/>
                </a:lnTo>
                <a:lnTo>
                  <a:pt x="1466" y="3381"/>
                </a:lnTo>
                <a:lnTo>
                  <a:pt x="1462" y="3384"/>
                </a:lnTo>
                <a:close/>
                <a:moveTo>
                  <a:pt x="1041" y="3321"/>
                </a:moveTo>
                <a:lnTo>
                  <a:pt x="1039" y="3325"/>
                </a:lnTo>
                <a:lnTo>
                  <a:pt x="1038" y="3325"/>
                </a:lnTo>
                <a:lnTo>
                  <a:pt x="1036" y="3324"/>
                </a:lnTo>
                <a:lnTo>
                  <a:pt x="1033" y="3323"/>
                </a:lnTo>
                <a:lnTo>
                  <a:pt x="1041" y="3321"/>
                </a:lnTo>
                <a:close/>
                <a:moveTo>
                  <a:pt x="1341" y="3407"/>
                </a:moveTo>
                <a:lnTo>
                  <a:pt x="1330" y="3407"/>
                </a:lnTo>
                <a:lnTo>
                  <a:pt x="1317" y="3403"/>
                </a:lnTo>
                <a:lnTo>
                  <a:pt x="1307" y="3398"/>
                </a:lnTo>
                <a:lnTo>
                  <a:pt x="1295" y="3391"/>
                </a:lnTo>
                <a:lnTo>
                  <a:pt x="1325" y="3382"/>
                </a:lnTo>
                <a:lnTo>
                  <a:pt x="1359" y="3390"/>
                </a:lnTo>
                <a:lnTo>
                  <a:pt x="1373" y="3403"/>
                </a:lnTo>
                <a:lnTo>
                  <a:pt x="1341" y="3407"/>
                </a:lnTo>
                <a:close/>
                <a:moveTo>
                  <a:pt x="2448" y="3558"/>
                </a:moveTo>
                <a:lnTo>
                  <a:pt x="2447" y="3562"/>
                </a:lnTo>
                <a:lnTo>
                  <a:pt x="2445" y="3566"/>
                </a:lnTo>
                <a:lnTo>
                  <a:pt x="2443" y="3568"/>
                </a:lnTo>
                <a:lnTo>
                  <a:pt x="2439" y="3567"/>
                </a:lnTo>
                <a:lnTo>
                  <a:pt x="2439" y="3563"/>
                </a:lnTo>
                <a:lnTo>
                  <a:pt x="2442" y="3559"/>
                </a:lnTo>
                <a:lnTo>
                  <a:pt x="2444" y="3558"/>
                </a:lnTo>
                <a:lnTo>
                  <a:pt x="2448" y="3558"/>
                </a:lnTo>
                <a:close/>
                <a:moveTo>
                  <a:pt x="2509" y="3361"/>
                </a:moveTo>
                <a:lnTo>
                  <a:pt x="2506" y="3362"/>
                </a:lnTo>
                <a:lnTo>
                  <a:pt x="2505" y="3362"/>
                </a:lnTo>
                <a:lnTo>
                  <a:pt x="2503" y="3361"/>
                </a:lnTo>
                <a:lnTo>
                  <a:pt x="2501" y="3358"/>
                </a:lnTo>
                <a:lnTo>
                  <a:pt x="2505" y="3357"/>
                </a:lnTo>
                <a:lnTo>
                  <a:pt x="2508" y="3357"/>
                </a:lnTo>
                <a:lnTo>
                  <a:pt x="2510" y="3358"/>
                </a:lnTo>
                <a:lnTo>
                  <a:pt x="2509" y="3361"/>
                </a:lnTo>
                <a:close/>
                <a:moveTo>
                  <a:pt x="1900" y="3628"/>
                </a:moveTo>
                <a:lnTo>
                  <a:pt x="1895" y="3625"/>
                </a:lnTo>
                <a:lnTo>
                  <a:pt x="1890" y="3625"/>
                </a:lnTo>
                <a:lnTo>
                  <a:pt x="1886" y="3623"/>
                </a:lnTo>
                <a:lnTo>
                  <a:pt x="1885" y="3619"/>
                </a:lnTo>
                <a:lnTo>
                  <a:pt x="1891" y="3619"/>
                </a:lnTo>
                <a:lnTo>
                  <a:pt x="1896" y="3620"/>
                </a:lnTo>
                <a:lnTo>
                  <a:pt x="1900" y="3623"/>
                </a:lnTo>
                <a:lnTo>
                  <a:pt x="1900" y="3628"/>
                </a:lnTo>
                <a:close/>
                <a:moveTo>
                  <a:pt x="1793" y="3608"/>
                </a:moveTo>
                <a:lnTo>
                  <a:pt x="1790" y="3605"/>
                </a:lnTo>
                <a:lnTo>
                  <a:pt x="1786" y="3604"/>
                </a:lnTo>
                <a:lnTo>
                  <a:pt x="1784" y="3601"/>
                </a:lnTo>
                <a:lnTo>
                  <a:pt x="1787" y="3599"/>
                </a:lnTo>
                <a:lnTo>
                  <a:pt x="1790" y="3601"/>
                </a:lnTo>
                <a:lnTo>
                  <a:pt x="1793" y="3603"/>
                </a:lnTo>
                <a:lnTo>
                  <a:pt x="1795" y="3605"/>
                </a:lnTo>
                <a:lnTo>
                  <a:pt x="1793" y="3608"/>
                </a:lnTo>
                <a:close/>
                <a:moveTo>
                  <a:pt x="3039" y="3343"/>
                </a:moveTo>
                <a:lnTo>
                  <a:pt x="3040" y="3343"/>
                </a:lnTo>
                <a:lnTo>
                  <a:pt x="3040" y="3343"/>
                </a:lnTo>
                <a:lnTo>
                  <a:pt x="3039" y="3343"/>
                </a:lnTo>
                <a:close/>
                <a:moveTo>
                  <a:pt x="3311" y="3395"/>
                </a:moveTo>
                <a:lnTo>
                  <a:pt x="3313" y="3394"/>
                </a:lnTo>
                <a:lnTo>
                  <a:pt x="3314" y="3394"/>
                </a:lnTo>
                <a:lnTo>
                  <a:pt x="3315" y="3395"/>
                </a:lnTo>
                <a:lnTo>
                  <a:pt x="3315" y="3398"/>
                </a:lnTo>
                <a:lnTo>
                  <a:pt x="3314" y="3396"/>
                </a:lnTo>
                <a:lnTo>
                  <a:pt x="3311" y="3395"/>
                </a:lnTo>
                <a:close/>
                <a:moveTo>
                  <a:pt x="875" y="2475"/>
                </a:moveTo>
                <a:lnTo>
                  <a:pt x="887" y="2475"/>
                </a:lnTo>
                <a:lnTo>
                  <a:pt x="892" y="2479"/>
                </a:lnTo>
                <a:lnTo>
                  <a:pt x="889" y="2486"/>
                </a:lnTo>
                <a:lnTo>
                  <a:pt x="883" y="2496"/>
                </a:lnTo>
                <a:lnTo>
                  <a:pt x="875" y="2496"/>
                </a:lnTo>
                <a:lnTo>
                  <a:pt x="871" y="2491"/>
                </a:lnTo>
                <a:lnTo>
                  <a:pt x="873" y="2482"/>
                </a:lnTo>
                <a:lnTo>
                  <a:pt x="875" y="2475"/>
                </a:lnTo>
                <a:close/>
                <a:moveTo>
                  <a:pt x="811" y="2509"/>
                </a:moveTo>
                <a:lnTo>
                  <a:pt x="814" y="2504"/>
                </a:lnTo>
                <a:lnTo>
                  <a:pt x="819" y="2500"/>
                </a:lnTo>
                <a:lnTo>
                  <a:pt x="823" y="2499"/>
                </a:lnTo>
                <a:lnTo>
                  <a:pt x="829" y="2500"/>
                </a:lnTo>
                <a:lnTo>
                  <a:pt x="831" y="2505"/>
                </a:lnTo>
                <a:lnTo>
                  <a:pt x="825" y="2507"/>
                </a:lnTo>
                <a:lnTo>
                  <a:pt x="818" y="2508"/>
                </a:lnTo>
                <a:lnTo>
                  <a:pt x="811" y="2509"/>
                </a:lnTo>
                <a:close/>
                <a:moveTo>
                  <a:pt x="915" y="3516"/>
                </a:moveTo>
                <a:lnTo>
                  <a:pt x="924" y="3487"/>
                </a:lnTo>
                <a:lnTo>
                  <a:pt x="954" y="3487"/>
                </a:lnTo>
                <a:lnTo>
                  <a:pt x="983" y="3508"/>
                </a:lnTo>
                <a:lnTo>
                  <a:pt x="987" y="3545"/>
                </a:lnTo>
                <a:lnTo>
                  <a:pt x="968" y="3534"/>
                </a:lnTo>
                <a:lnTo>
                  <a:pt x="950" y="3524"/>
                </a:lnTo>
                <a:lnTo>
                  <a:pt x="932" y="3517"/>
                </a:lnTo>
                <a:lnTo>
                  <a:pt x="915" y="3516"/>
                </a:lnTo>
                <a:close/>
                <a:moveTo>
                  <a:pt x="1421" y="3488"/>
                </a:moveTo>
                <a:lnTo>
                  <a:pt x="1418" y="3491"/>
                </a:lnTo>
                <a:lnTo>
                  <a:pt x="1414" y="3492"/>
                </a:lnTo>
                <a:lnTo>
                  <a:pt x="1410" y="3492"/>
                </a:lnTo>
                <a:lnTo>
                  <a:pt x="1407" y="3489"/>
                </a:lnTo>
                <a:lnTo>
                  <a:pt x="1410" y="3485"/>
                </a:lnTo>
                <a:lnTo>
                  <a:pt x="1414" y="3483"/>
                </a:lnTo>
                <a:lnTo>
                  <a:pt x="1418" y="3484"/>
                </a:lnTo>
                <a:lnTo>
                  <a:pt x="1421" y="3488"/>
                </a:lnTo>
                <a:close/>
                <a:moveTo>
                  <a:pt x="1719" y="3948"/>
                </a:moveTo>
                <a:lnTo>
                  <a:pt x="1721" y="3949"/>
                </a:lnTo>
                <a:lnTo>
                  <a:pt x="1719" y="3948"/>
                </a:lnTo>
                <a:lnTo>
                  <a:pt x="1726" y="3949"/>
                </a:lnTo>
                <a:lnTo>
                  <a:pt x="1719" y="3948"/>
                </a:lnTo>
                <a:close/>
                <a:moveTo>
                  <a:pt x="5276" y="4434"/>
                </a:moveTo>
                <a:lnTo>
                  <a:pt x="5275" y="4420"/>
                </a:lnTo>
                <a:lnTo>
                  <a:pt x="5280" y="4415"/>
                </a:lnTo>
                <a:lnTo>
                  <a:pt x="5289" y="4417"/>
                </a:lnTo>
                <a:lnTo>
                  <a:pt x="5299" y="4425"/>
                </a:lnTo>
                <a:lnTo>
                  <a:pt x="5297" y="4434"/>
                </a:lnTo>
                <a:lnTo>
                  <a:pt x="5292" y="4438"/>
                </a:lnTo>
                <a:lnTo>
                  <a:pt x="5284" y="4438"/>
                </a:lnTo>
                <a:lnTo>
                  <a:pt x="5276" y="4434"/>
                </a:lnTo>
                <a:close/>
                <a:moveTo>
                  <a:pt x="7369" y="4317"/>
                </a:moveTo>
                <a:lnTo>
                  <a:pt x="7360" y="4335"/>
                </a:lnTo>
                <a:lnTo>
                  <a:pt x="7332" y="4333"/>
                </a:lnTo>
                <a:lnTo>
                  <a:pt x="7311" y="4318"/>
                </a:lnTo>
                <a:lnTo>
                  <a:pt x="7325" y="4299"/>
                </a:lnTo>
                <a:lnTo>
                  <a:pt x="7341" y="4271"/>
                </a:lnTo>
                <a:lnTo>
                  <a:pt x="7352" y="4271"/>
                </a:lnTo>
                <a:lnTo>
                  <a:pt x="7360" y="4289"/>
                </a:lnTo>
                <a:lnTo>
                  <a:pt x="7369" y="4317"/>
                </a:lnTo>
                <a:close/>
                <a:moveTo>
                  <a:pt x="7688" y="4767"/>
                </a:moveTo>
                <a:lnTo>
                  <a:pt x="7688" y="4786"/>
                </a:lnTo>
                <a:lnTo>
                  <a:pt x="7683" y="4788"/>
                </a:lnTo>
                <a:lnTo>
                  <a:pt x="7678" y="4777"/>
                </a:lnTo>
                <a:lnTo>
                  <a:pt x="7674" y="4761"/>
                </a:lnTo>
                <a:lnTo>
                  <a:pt x="7678" y="4756"/>
                </a:lnTo>
                <a:lnTo>
                  <a:pt x="7683" y="4756"/>
                </a:lnTo>
                <a:lnTo>
                  <a:pt x="7687" y="4760"/>
                </a:lnTo>
                <a:lnTo>
                  <a:pt x="7688" y="4767"/>
                </a:lnTo>
                <a:close/>
                <a:moveTo>
                  <a:pt x="7700" y="4830"/>
                </a:moveTo>
                <a:lnTo>
                  <a:pt x="7685" y="4831"/>
                </a:lnTo>
                <a:lnTo>
                  <a:pt x="7685" y="4827"/>
                </a:lnTo>
                <a:lnTo>
                  <a:pt x="7688" y="4818"/>
                </a:lnTo>
                <a:lnTo>
                  <a:pt x="7685" y="4805"/>
                </a:lnTo>
                <a:lnTo>
                  <a:pt x="7696" y="4799"/>
                </a:lnTo>
                <a:lnTo>
                  <a:pt x="7711" y="4805"/>
                </a:lnTo>
                <a:lnTo>
                  <a:pt x="7716" y="4817"/>
                </a:lnTo>
                <a:lnTo>
                  <a:pt x="7700" y="4830"/>
                </a:lnTo>
                <a:close/>
                <a:moveTo>
                  <a:pt x="7845" y="4486"/>
                </a:moveTo>
                <a:lnTo>
                  <a:pt x="7835" y="4463"/>
                </a:lnTo>
                <a:lnTo>
                  <a:pt x="7862" y="4439"/>
                </a:lnTo>
                <a:lnTo>
                  <a:pt x="7883" y="4415"/>
                </a:lnTo>
                <a:lnTo>
                  <a:pt x="7859" y="4393"/>
                </a:lnTo>
                <a:lnTo>
                  <a:pt x="7888" y="4398"/>
                </a:lnTo>
                <a:lnTo>
                  <a:pt x="7898" y="4430"/>
                </a:lnTo>
                <a:lnTo>
                  <a:pt x="7884" y="4466"/>
                </a:lnTo>
                <a:lnTo>
                  <a:pt x="7845" y="4486"/>
                </a:lnTo>
                <a:close/>
                <a:moveTo>
                  <a:pt x="8955" y="4486"/>
                </a:moveTo>
                <a:lnTo>
                  <a:pt x="8954" y="4490"/>
                </a:lnTo>
                <a:lnTo>
                  <a:pt x="8953" y="4494"/>
                </a:lnTo>
                <a:lnTo>
                  <a:pt x="8950" y="4496"/>
                </a:lnTo>
                <a:lnTo>
                  <a:pt x="8945" y="4497"/>
                </a:lnTo>
                <a:lnTo>
                  <a:pt x="8947" y="4492"/>
                </a:lnTo>
                <a:lnTo>
                  <a:pt x="8948" y="4489"/>
                </a:lnTo>
                <a:lnTo>
                  <a:pt x="8950" y="4486"/>
                </a:lnTo>
                <a:lnTo>
                  <a:pt x="8955" y="4486"/>
                </a:lnTo>
                <a:close/>
                <a:moveTo>
                  <a:pt x="10354" y="4466"/>
                </a:moveTo>
                <a:lnTo>
                  <a:pt x="10370" y="4453"/>
                </a:lnTo>
                <a:lnTo>
                  <a:pt x="10396" y="4450"/>
                </a:lnTo>
                <a:lnTo>
                  <a:pt x="10425" y="4458"/>
                </a:lnTo>
                <a:lnTo>
                  <a:pt x="10448" y="4472"/>
                </a:lnTo>
                <a:lnTo>
                  <a:pt x="10424" y="4471"/>
                </a:lnTo>
                <a:lnTo>
                  <a:pt x="10401" y="4469"/>
                </a:lnTo>
                <a:lnTo>
                  <a:pt x="10378" y="4467"/>
                </a:lnTo>
                <a:lnTo>
                  <a:pt x="10354" y="4466"/>
                </a:lnTo>
                <a:close/>
                <a:moveTo>
                  <a:pt x="10449" y="4527"/>
                </a:moveTo>
                <a:lnTo>
                  <a:pt x="10462" y="4524"/>
                </a:lnTo>
                <a:lnTo>
                  <a:pt x="10477" y="4519"/>
                </a:lnTo>
                <a:lnTo>
                  <a:pt x="10470" y="4527"/>
                </a:lnTo>
                <a:lnTo>
                  <a:pt x="10462" y="4529"/>
                </a:lnTo>
                <a:lnTo>
                  <a:pt x="10456" y="4528"/>
                </a:lnTo>
                <a:lnTo>
                  <a:pt x="10449" y="4527"/>
                </a:lnTo>
                <a:close/>
                <a:moveTo>
                  <a:pt x="10504" y="4440"/>
                </a:moveTo>
                <a:lnTo>
                  <a:pt x="10500" y="4438"/>
                </a:lnTo>
                <a:lnTo>
                  <a:pt x="10496" y="4436"/>
                </a:lnTo>
                <a:lnTo>
                  <a:pt x="10500" y="4435"/>
                </a:lnTo>
                <a:lnTo>
                  <a:pt x="10503" y="4436"/>
                </a:lnTo>
                <a:lnTo>
                  <a:pt x="10503" y="4436"/>
                </a:lnTo>
                <a:lnTo>
                  <a:pt x="10504" y="4440"/>
                </a:lnTo>
                <a:close/>
                <a:moveTo>
                  <a:pt x="10594" y="4422"/>
                </a:moveTo>
                <a:lnTo>
                  <a:pt x="10559" y="4440"/>
                </a:lnTo>
                <a:lnTo>
                  <a:pt x="10509" y="4413"/>
                </a:lnTo>
                <a:lnTo>
                  <a:pt x="10468" y="4393"/>
                </a:lnTo>
                <a:lnTo>
                  <a:pt x="10458" y="4429"/>
                </a:lnTo>
                <a:lnTo>
                  <a:pt x="10388" y="4421"/>
                </a:lnTo>
                <a:lnTo>
                  <a:pt x="10426" y="4397"/>
                </a:lnTo>
                <a:lnTo>
                  <a:pt x="10514" y="4388"/>
                </a:lnTo>
                <a:lnTo>
                  <a:pt x="10594" y="4422"/>
                </a:lnTo>
                <a:close/>
                <a:moveTo>
                  <a:pt x="11290" y="3499"/>
                </a:moveTo>
                <a:lnTo>
                  <a:pt x="11278" y="3498"/>
                </a:lnTo>
                <a:lnTo>
                  <a:pt x="11273" y="3496"/>
                </a:lnTo>
                <a:lnTo>
                  <a:pt x="11276" y="3494"/>
                </a:lnTo>
                <a:lnTo>
                  <a:pt x="11289" y="3494"/>
                </a:lnTo>
                <a:lnTo>
                  <a:pt x="11289" y="3497"/>
                </a:lnTo>
                <a:lnTo>
                  <a:pt x="11290" y="3499"/>
                </a:lnTo>
                <a:close/>
                <a:moveTo>
                  <a:pt x="11015" y="2782"/>
                </a:moveTo>
                <a:lnTo>
                  <a:pt x="11015" y="2779"/>
                </a:lnTo>
                <a:lnTo>
                  <a:pt x="11016" y="2778"/>
                </a:lnTo>
                <a:lnTo>
                  <a:pt x="11017" y="2778"/>
                </a:lnTo>
                <a:lnTo>
                  <a:pt x="11020" y="2780"/>
                </a:lnTo>
                <a:lnTo>
                  <a:pt x="11015" y="2782"/>
                </a:lnTo>
                <a:close/>
                <a:moveTo>
                  <a:pt x="10945" y="2555"/>
                </a:moveTo>
                <a:lnTo>
                  <a:pt x="10941" y="2566"/>
                </a:lnTo>
                <a:lnTo>
                  <a:pt x="10938" y="2578"/>
                </a:lnTo>
                <a:lnTo>
                  <a:pt x="10937" y="2573"/>
                </a:lnTo>
                <a:lnTo>
                  <a:pt x="10937" y="2566"/>
                </a:lnTo>
                <a:lnTo>
                  <a:pt x="10940" y="2561"/>
                </a:lnTo>
                <a:lnTo>
                  <a:pt x="10945" y="2555"/>
                </a:lnTo>
                <a:close/>
                <a:moveTo>
                  <a:pt x="10286" y="2213"/>
                </a:moveTo>
                <a:lnTo>
                  <a:pt x="10289" y="2211"/>
                </a:lnTo>
                <a:lnTo>
                  <a:pt x="10290" y="2211"/>
                </a:lnTo>
                <a:lnTo>
                  <a:pt x="10290" y="2213"/>
                </a:lnTo>
                <a:lnTo>
                  <a:pt x="10290" y="2215"/>
                </a:lnTo>
                <a:lnTo>
                  <a:pt x="10286" y="2213"/>
                </a:lnTo>
                <a:close/>
                <a:moveTo>
                  <a:pt x="9620" y="1926"/>
                </a:moveTo>
                <a:lnTo>
                  <a:pt x="9622" y="1924"/>
                </a:lnTo>
                <a:lnTo>
                  <a:pt x="9623" y="1922"/>
                </a:lnTo>
                <a:lnTo>
                  <a:pt x="9624" y="1924"/>
                </a:lnTo>
                <a:lnTo>
                  <a:pt x="9627" y="1925"/>
                </a:lnTo>
                <a:lnTo>
                  <a:pt x="9625" y="1927"/>
                </a:lnTo>
                <a:lnTo>
                  <a:pt x="9624" y="1929"/>
                </a:lnTo>
                <a:lnTo>
                  <a:pt x="9622" y="1927"/>
                </a:lnTo>
                <a:lnTo>
                  <a:pt x="9620" y="1926"/>
                </a:lnTo>
                <a:close/>
                <a:moveTo>
                  <a:pt x="9093" y="1724"/>
                </a:moveTo>
                <a:lnTo>
                  <a:pt x="9098" y="1722"/>
                </a:lnTo>
                <a:lnTo>
                  <a:pt x="9102" y="1722"/>
                </a:lnTo>
                <a:lnTo>
                  <a:pt x="9104" y="1725"/>
                </a:lnTo>
                <a:lnTo>
                  <a:pt x="9104" y="1730"/>
                </a:lnTo>
                <a:lnTo>
                  <a:pt x="9101" y="1729"/>
                </a:lnTo>
                <a:lnTo>
                  <a:pt x="9097" y="1729"/>
                </a:lnTo>
                <a:lnTo>
                  <a:pt x="9093" y="1728"/>
                </a:lnTo>
                <a:lnTo>
                  <a:pt x="9093" y="1724"/>
                </a:lnTo>
                <a:close/>
                <a:moveTo>
                  <a:pt x="8925" y="1628"/>
                </a:moveTo>
                <a:lnTo>
                  <a:pt x="8927" y="1623"/>
                </a:lnTo>
                <a:lnTo>
                  <a:pt x="8930" y="1622"/>
                </a:lnTo>
                <a:lnTo>
                  <a:pt x="8934" y="1623"/>
                </a:lnTo>
                <a:lnTo>
                  <a:pt x="8938" y="1628"/>
                </a:lnTo>
                <a:lnTo>
                  <a:pt x="8934" y="1632"/>
                </a:lnTo>
                <a:lnTo>
                  <a:pt x="8930" y="1635"/>
                </a:lnTo>
                <a:lnTo>
                  <a:pt x="8927" y="1632"/>
                </a:lnTo>
                <a:lnTo>
                  <a:pt x="8925" y="1628"/>
                </a:lnTo>
                <a:close/>
                <a:moveTo>
                  <a:pt x="8502" y="1453"/>
                </a:moveTo>
                <a:lnTo>
                  <a:pt x="8507" y="1451"/>
                </a:lnTo>
                <a:lnTo>
                  <a:pt x="8506" y="1454"/>
                </a:lnTo>
                <a:lnTo>
                  <a:pt x="8506" y="1454"/>
                </a:lnTo>
                <a:lnTo>
                  <a:pt x="8505" y="1454"/>
                </a:lnTo>
                <a:lnTo>
                  <a:pt x="8502" y="1453"/>
                </a:lnTo>
                <a:close/>
                <a:moveTo>
                  <a:pt x="8452" y="1496"/>
                </a:moveTo>
                <a:lnTo>
                  <a:pt x="8455" y="1497"/>
                </a:lnTo>
                <a:lnTo>
                  <a:pt x="8456" y="1498"/>
                </a:lnTo>
                <a:lnTo>
                  <a:pt x="8455" y="1500"/>
                </a:lnTo>
                <a:lnTo>
                  <a:pt x="8454" y="1501"/>
                </a:lnTo>
                <a:lnTo>
                  <a:pt x="8452" y="1496"/>
                </a:lnTo>
                <a:close/>
                <a:moveTo>
                  <a:pt x="8440" y="1455"/>
                </a:moveTo>
                <a:lnTo>
                  <a:pt x="8436" y="1451"/>
                </a:lnTo>
                <a:lnTo>
                  <a:pt x="8437" y="1448"/>
                </a:lnTo>
                <a:lnTo>
                  <a:pt x="8440" y="1445"/>
                </a:lnTo>
                <a:lnTo>
                  <a:pt x="8445" y="1444"/>
                </a:lnTo>
                <a:lnTo>
                  <a:pt x="8447" y="1448"/>
                </a:lnTo>
                <a:lnTo>
                  <a:pt x="8447" y="1451"/>
                </a:lnTo>
                <a:lnTo>
                  <a:pt x="8445" y="1454"/>
                </a:lnTo>
                <a:lnTo>
                  <a:pt x="8440" y="1455"/>
                </a:lnTo>
                <a:close/>
                <a:moveTo>
                  <a:pt x="8418" y="1556"/>
                </a:moveTo>
                <a:lnTo>
                  <a:pt x="8419" y="1544"/>
                </a:lnTo>
                <a:lnTo>
                  <a:pt x="8418" y="1530"/>
                </a:lnTo>
                <a:lnTo>
                  <a:pt x="8421" y="1523"/>
                </a:lnTo>
                <a:lnTo>
                  <a:pt x="8428" y="1528"/>
                </a:lnTo>
                <a:lnTo>
                  <a:pt x="8433" y="1535"/>
                </a:lnTo>
                <a:lnTo>
                  <a:pt x="8435" y="1543"/>
                </a:lnTo>
                <a:lnTo>
                  <a:pt x="8431" y="1551"/>
                </a:lnTo>
                <a:lnTo>
                  <a:pt x="8418" y="1556"/>
                </a:lnTo>
                <a:close/>
                <a:moveTo>
                  <a:pt x="8256" y="1533"/>
                </a:moveTo>
                <a:lnTo>
                  <a:pt x="8260" y="1534"/>
                </a:lnTo>
                <a:lnTo>
                  <a:pt x="8259" y="1535"/>
                </a:lnTo>
                <a:lnTo>
                  <a:pt x="8259" y="1535"/>
                </a:lnTo>
                <a:lnTo>
                  <a:pt x="8258" y="1534"/>
                </a:lnTo>
                <a:lnTo>
                  <a:pt x="8256" y="1533"/>
                </a:lnTo>
                <a:close/>
                <a:moveTo>
                  <a:pt x="8241" y="1406"/>
                </a:moveTo>
                <a:lnTo>
                  <a:pt x="8237" y="1407"/>
                </a:lnTo>
                <a:lnTo>
                  <a:pt x="8237" y="1404"/>
                </a:lnTo>
                <a:lnTo>
                  <a:pt x="8239" y="1403"/>
                </a:lnTo>
                <a:lnTo>
                  <a:pt x="8240" y="1404"/>
                </a:lnTo>
                <a:lnTo>
                  <a:pt x="8241" y="1406"/>
                </a:lnTo>
                <a:close/>
                <a:moveTo>
                  <a:pt x="8225" y="1271"/>
                </a:moveTo>
                <a:lnTo>
                  <a:pt x="8239" y="1263"/>
                </a:lnTo>
                <a:lnTo>
                  <a:pt x="8246" y="1264"/>
                </a:lnTo>
                <a:lnTo>
                  <a:pt x="8253" y="1273"/>
                </a:lnTo>
                <a:lnTo>
                  <a:pt x="8260" y="1285"/>
                </a:lnTo>
                <a:lnTo>
                  <a:pt x="8249" y="1291"/>
                </a:lnTo>
                <a:lnTo>
                  <a:pt x="8241" y="1288"/>
                </a:lnTo>
                <a:lnTo>
                  <a:pt x="8233" y="1281"/>
                </a:lnTo>
                <a:lnTo>
                  <a:pt x="8225" y="1271"/>
                </a:lnTo>
                <a:close/>
                <a:moveTo>
                  <a:pt x="8181" y="1339"/>
                </a:moveTo>
                <a:lnTo>
                  <a:pt x="8177" y="1339"/>
                </a:lnTo>
                <a:lnTo>
                  <a:pt x="8176" y="1339"/>
                </a:lnTo>
                <a:lnTo>
                  <a:pt x="8174" y="1338"/>
                </a:lnTo>
                <a:lnTo>
                  <a:pt x="8172" y="1336"/>
                </a:lnTo>
                <a:lnTo>
                  <a:pt x="8176" y="1334"/>
                </a:lnTo>
                <a:lnTo>
                  <a:pt x="8180" y="1334"/>
                </a:lnTo>
                <a:lnTo>
                  <a:pt x="8181" y="1336"/>
                </a:lnTo>
                <a:lnTo>
                  <a:pt x="8181" y="1339"/>
                </a:lnTo>
                <a:close/>
                <a:moveTo>
                  <a:pt x="3991" y="681"/>
                </a:moveTo>
                <a:lnTo>
                  <a:pt x="3995" y="680"/>
                </a:lnTo>
                <a:lnTo>
                  <a:pt x="3996" y="683"/>
                </a:lnTo>
                <a:lnTo>
                  <a:pt x="3996" y="686"/>
                </a:lnTo>
                <a:lnTo>
                  <a:pt x="3993" y="686"/>
                </a:lnTo>
                <a:lnTo>
                  <a:pt x="3991" y="684"/>
                </a:lnTo>
                <a:lnTo>
                  <a:pt x="3991" y="681"/>
                </a:lnTo>
                <a:close/>
                <a:moveTo>
                  <a:pt x="3589" y="640"/>
                </a:moveTo>
                <a:lnTo>
                  <a:pt x="3592" y="637"/>
                </a:lnTo>
                <a:lnTo>
                  <a:pt x="3592" y="639"/>
                </a:lnTo>
                <a:lnTo>
                  <a:pt x="3592" y="640"/>
                </a:lnTo>
                <a:lnTo>
                  <a:pt x="3590" y="640"/>
                </a:lnTo>
                <a:lnTo>
                  <a:pt x="3589" y="640"/>
                </a:lnTo>
                <a:close/>
                <a:moveTo>
                  <a:pt x="3288" y="526"/>
                </a:moveTo>
                <a:lnTo>
                  <a:pt x="3288" y="525"/>
                </a:lnTo>
                <a:lnTo>
                  <a:pt x="3290" y="523"/>
                </a:lnTo>
                <a:lnTo>
                  <a:pt x="3291" y="525"/>
                </a:lnTo>
                <a:lnTo>
                  <a:pt x="3292" y="526"/>
                </a:lnTo>
                <a:lnTo>
                  <a:pt x="3288" y="526"/>
                </a:lnTo>
                <a:close/>
                <a:moveTo>
                  <a:pt x="2071" y="635"/>
                </a:moveTo>
                <a:lnTo>
                  <a:pt x="2072" y="632"/>
                </a:lnTo>
                <a:lnTo>
                  <a:pt x="2076" y="633"/>
                </a:lnTo>
                <a:lnTo>
                  <a:pt x="2079" y="635"/>
                </a:lnTo>
                <a:lnTo>
                  <a:pt x="2075" y="639"/>
                </a:lnTo>
                <a:lnTo>
                  <a:pt x="2074" y="638"/>
                </a:lnTo>
                <a:lnTo>
                  <a:pt x="2071" y="635"/>
                </a:lnTo>
                <a:close/>
                <a:moveTo>
                  <a:pt x="1756" y="1109"/>
                </a:moveTo>
                <a:lnTo>
                  <a:pt x="1756" y="1113"/>
                </a:lnTo>
                <a:lnTo>
                  <a:pt x="1754" y="1114"/>
                </a:lnTo>
                <a:lnTo>
                  <a:pt x="1750" y="1114"/>
                </a:lnTo>
                <a:lnTo>
                  <a:pt x="1746" y="1114"/>
                </a:lnTo>
                <a:lnTo>
                  <a:pt x="1746" y="1110"/>
                </a:lnTo>
                <a:lnTo>
                  <a:pt x="1747" y="1109"/>
                </a:lnTo>
                <a:lnTo>
                  <a:pt x="1751" y="1109"/>
                </a:lnTo>
                <a:lnTo>
                  <a:pt x="1756" y="1109"/>
                </a:lnTo>
                <a:close/>
                <a:moveTo>
                  <a:pt x="680" y="3484"/>
                </a:moveTo>
                <a:lnTo>
                  <a:pt x="689" y="3489"/>
                </a:lnTo>
                <a:lnTo>
                  <a:pt x="692" y="3493"/>
                </a:lnTo>
                <a:lnTo>
                  <a:pt x="689" y="3499"/>
                </a:lnTo>
                <a:lnTo>
                  <a:pt x="680" y="3511"/>
                </a:lnTo>
                <a:lnTo>
                  <a:pt x="676" y="3505"/>
                </a:lnTo>
                <a:lnTo>
                  <a:pt x="676" y="3497"/>
                </a:lnTo>
                <a:lnTo>
                  <a:pt x="678" y="3491"/>
                </a:lnTo>
                <a:lnTo>
                  <a:pt x="680" y="3484"/>
                </a:lnTo>
                <a:close/>
                <a:moveTo>
                  <a:pt x="685" y="3559"/>
                </a:moveTo>
                <a:lnTo>
                  <a:pt x="683" y="3559"/>
                </a:lnTo>
                <a:lnTo>
                  <a:pt x="680" y="3559"/>
                </a:lnTo>
                <a:lnTo>
                  <a:pt x="678" y="3558"/>
                </a:lnTo>
                <a:lnTo>
                  <a:pt x="675" y="3557"/>
                </a:lnTo>
                <a:lnTo>
                  <a:pt x="679" y="3553"/>
                </a:lnTo>
                <a:lnTo>
                  <a:pt x="682" y="3553"/>
                </a:lnTo>
                <a:lnTo>
                  <a:pt x="684" y="3554"/>
                </a:lnTo>
                <a:lnTo>
                  <a:pt x="685" y="3559"/>
                </a:lnTo>
                <a:close/>
                <a:moveTo>
                  <a:pt x="720" y="3423"/>
                </a:moveTo>
                <a:lnTo>
                  <a:pt x="688" y="3433"/>
                </a:lnTo>
                <a:lnTo>
                  <a:pt x="668" y="3428"/>
                </a:lnTo>
                <a:lnTo>
                  <a:pt x="666" y="3415"/>
                </a:lnTo>
                <a:lnTo>
                  <a:pt x="693" y="3399"/>
                </a:lnTo>
                <a:lnTo>
                  <a:pt x="701" y="3398"/>
                </a:lnTo>
                <a:lnTo>
                  <a:pt x="708" y="3401"/>
                </a:lnTo>
                <a:lnTo>
                  <a:pt x="715" y="3409"/>
                </a:lnTo>
                <a:lnTo>
                  <a:pt x="720" y="3423"/>
                </a:lnTo>
                <a:close/>
                <a:moveTo>
                  <a:pt x="1653" y="4259"/>
                </a:moveTo>
                <a:lnTo>
                  <a:pt x="1634" y="4267"/>
                </a:lnTo>
                <a:lnTo>
                  <a:pt x="1629" y="4249"/>
                </a:lnTo>
                <a:lnTo>
                  <a:pt x="1635" y="4231"/>
                </a:lnTo>
                <a:lnTo>
                  <a:pt x="1651" y="4242"/>
                </a:lnTo>
                <a:lnTo>
                  <a:pt x="1653" y="4245"/>
                </a:lnTo>
                <a:lnTo>
                  <a:pt x="1655" y="4250"/>
                </a:lnTo>
                <a:lnTo>
                  <a:pt x="1655" y="4256"/>
                </a:lnTo>
                <a:lnTo>
                  <a:pt x="1653" y="4259"/>
                </a:lnTo>
                <a:close/>
                <a:moveTo>
                  <a:pt x="1584" y="4089"/>
                </a:moveTo>
                <a:lnTo>
                  <a:pt x="1598" y="4084"/>
                </a:lnTo>
                <a:lnTo>
                  <a:pt x="1611" y="4081"/>
                </a:lnTo>
                <a:lnTo>
                  <a:pt x="1628" y="4082"/>
                </a:lnTo>
                <a:lnTo>
                  <a:pt x="1656" y="4086"/>
                </a:lnTo>
                <a:lnTo>
                  <a:pt x="1634" y="4088"/>
                </a:lnTo>
                <a:lnTo>
                  <a:pt x="1616" y="4088"/>
                </a:lnTo>
                <a:lnTo>
                  <a:pt x="1600" y="4089"/>
                </a:lnTo>
                <a:lnTo>
                  <a:pt x="1584" y="4089"/>
                </a:lnTo>
                <a:close/>
                <a:moveTo>
                  <a:pt x="2105" y="4354"/>
                </a:moveTo>
                <a:lnTo>
                  <a:pt x="2095" y="4359"/>
                </a:lnTo>
                <a:lnTo>
                  <a:pt x="2080" y="4354"/>
                </a:lnTo>
                <a:lnTo>
                  <a:pt x="2067" y="4342"/>
                </a:lnTo>
                <a:lnTo>
                  <a:pt x="2068" y="4326"/>
                </a:lnTo>
                <a:lnTo>
                  <a:pt x="2080" y="4324"/>
                </a:lnTo>
                <a:lnTo>
                  <a:pt x="2091" y="4331"/>
                </a:lnTo>
                <a:lnTo>
                  <a:pt x="2100" y="4342"/>
                </a:lnTo>
                <a:lnTo>
                  <a:pt x="2105" y="4354"/>
                </a:lnTo>
                <a:close/>
                <a:moveTo>
                  <a:pt x="2496" y="4537"/>
                </a:moveTo>
                <a:lnTo>
                  <a:pt x="2490" y="4550"/>
                </a:lnTo>
                <a:lnTo>
                  <a:pt x="2478" y="4551"/>
                </a:lnTo>
                <a:lnTo>
                  <a:pt x="2467" y="4543"/>
                </a:lnTo>
                <a:lnTo>
                  <a:pt x="2463" y="4528"/>
                </a:lnTo>
                <a:lnTo>
                  <a:pt x="2470" y="4519"/>
                </a:lnTo>
                <a:lnTo>
                  <a:pt x="2481" y="4519"/>
                </a:lnTo>
                <a:lnTo>
                  <a:pt x="2491" y="4525"/>
                </a:lnTo>
                <a:lnTo>
                  <a:pt x="2496" y="4537"/>
                </a:lnTo>
                <a:close/>
                <a:moveTo>
                  <a:pt x="2522" y="4683"/>
                </a:moveTo>
                <a:lnTo>
                  <a:pt x="2517" y="4673"/>
                </a:lnTo>
                <a:lnTo>
                  <a:pt x="2509" y="4663"/>
                </a:lnTo>
                <a:lnTo>
                  <a:pt x="2504" y="4653"/>
                </a:lnTo>
                <a:lnTo>
                  <a:pt x="2504" y="4643"/>
                </a:lnTo>
                <a:lnTo>
                  <a:pt x="2515" y="4641"/>
                </a:lnTo>
                <a:lnTo>
                  <a:pt x="2519" y="4653"/>
                </a:lnTo>
                <a:lnTo>
                  <a:pt x="2521" y="4669"/>
                </a:lnTo>
                <a:lnTo>
                  <a:pt x="2522" y="4683"/>
                </a:lnTo>
                <a:close/>
                <a:moveTo>
                  <a:pt x="2741" y="4219"/>
                </a:moveTo>
                <a:lnTo>
                  <a:pt x="2731" y="4228"/>
                </a:lnTo>
                <a:lnTo>
                  <a:pt x="2719" y="4226"/>
                </a:lnTo>
                <a:lnTo>
                  <a:pt x="2712" y="4219"/>
                </a:lnTo>
                <a:lnTo>
                  <a:pt x="2714" y="4206"/>
                </a:lnTo>
                <a:lnTo>
                  <a:pt x="2723" y="4201"/>
                </a:lnTo>
                <a:lnTo>
                  <a:pt x="2732" y="4202"/>
                </a:lnTo>
                <a:lnTo>
                  <a:pt x="2737" y="4208"/>
                </a:lnTo>
                <a:lnTo>
                  <a:pt x="2741" y="4219"/>
                </a:lnTo>
                <a:close/>
                <a:moveTo>
                  <a:pt x="2779" y="4156"/>
                </a:moveTo>
                <a:lnTo>
                  <a:pt x="2698" y="4149"/>
                </a:lnTo>
                <a:lnTo>
                  <a:pt x="2701" y="4103"/>
                </a:lnTo>
                <a:lnTo>
                  <a:pt x="2733" y="4074"/>
                </a:lnTo>
                <a:lnTo>
                  <a:pt x="2738" y="4112"/>
                </a:lnTo>
                <a:lnTo>
                  <a:pt x="2750" y="4122"/>
                </a:lnTo>
                <a:lnTo>
                  <a:pt x="2762" y="4128"/>
                </a:lnTo>
                <a:lnTo>
                  <a:pt x="2773" y="4138"/>
                </a:lnTo>
                <a:lnTo>
                  <a:pt x="2779" y="4156"/>
                </a:lnTo>
                <a:close/>
                <a:moveTo>
                  <a:pt x="2801" y="4426"/>
                </a:moveTo>
                <a:lnTo>
                  <a:pt x="2804" y="4427"/>
                </a:lnTo>
                <a:lnTo>
                  <a:pt x="2806" y="4429"/>
                </a:lnTo>
                <a:lnTo>
                  <a:pt x="2804" y="4430"/>
                </a:lnTo>
                <a:lnTo>
                  <a:pt x="2803" y="4434"/>
                </a:lnTo>
                <a:lnTo>
                  <a:pt x="2801" y="4426"/>
                </a:lnTo>
                <a:close/>
                <a:moveTo>
                  <a:pt x="2808" y="4533"/>
                </a:moveTo>
                <a:lnTo>
                  <a:pt x="2811" y="4539"/>
                </a:lnTo>
                <a:lnTo>
                  <a:pt x="2807" y="4546"/>
                </a:lnTo>
                <a:lnTo>
                  <a:pt x="2801" y="4548"/>
                </a:lnTo>
                <a:lnTo>
                  <a:pt x="2793" y="4546"/>
                </a:lnTo>
                <a:lnTo>
                  <a:pt x="2790" y="4539"/>
                </a:lnTo>
                <a:lnTo>
                  <a:pt x="2794" y="4533"/>
                </a:lnTo>
                <a:lnTo>
                  <a:pt x="2801" y="4531"/>
                </a:lnTo>
                <a:lnTo>
                  <a:pt x="2808" y="4533"/>
                </a:lnTo>
                <a:close/>
                <a:moveTo>
                  <a:pt x="3426" y="4468"/>
                </a:moveTo>
                <a:lnTo>
                  <a:pt x="3431" y="4476"/>
                </a:lnTo>
                <a:lnTo>
                  <a:pt x="3436" y="4485"/>
                </a:lnTo>
                <a:lnTo>
                  <a:pt x="3440" y="4492"/>
                </a:lnTo>
                <a:lnTo>
                  <a:pt x="3439" y="4501"/>
                </a:lnTo>
                <a:lnTo>
                  <a:pt x="3426" y="4497"/>
                </a:lnTo>
                <a:lnTo>
                  <a:pt x="3422" y="4490"/>
                </a:lnTo>
                <a:lnTo>
                  <a:pt x="3423" y="4480"/>
                </a:lnTo>
                <a:lnTo>
                  <a:pt x="3426" y="4468"/>
                </a:lnTo>
                <a:close/>
                <a:moveTo>
                  <a:pt x="3583" y="4342"/>
                </a:moveTo>
                <a:lnTo>
                  <a:pt x="3583" y="4350"/>
                </a:lnTo>
                <a:lnTo>
                  <a:pt x="3583" y="4355"/>
                </a:lnTo>
                <a:lnTo>
                  <a:pt x="3581" y="4356"/>
                </a:lnTo>
                <a:lnTo>
                  <a:pt x="3579" y="4347"/>
                </a:lnTo>
                <a:lnTo>
                  <a:pt x="3580" y="4345"/>
                </a:lnTo>
                <a:lnTo>
                  <a:pt x="3583" y="4342"/>
                </a:lnTo>
                <a:close/>
                <a:moveTo>
                  <a:pt x="3600" y="4567"/>
                </a:moveTo>
                <a:lnTo>
                  <a:pt x="3608" y="4569"/>
                </a:lnTo>
                <a:lnTo>
                  <a:pt x="3614" y="4570"/>
                </a:lnTo>
                <a:lnTo>
                  <a:pt x="3618" y="4575"/>
                </a:lnTo>
                <a:lnTo>
                  <a:pt x="3620" y="4583"/>
                </a:lnTo>
                <a:lnTo>
                  <a:pt x="3608" y="4588"/>
                </a:lnTo>
                <a:lnTo>
                  <a:pt x="3597" y="4584"/>
                </a:lnTo>
                <a:lnTo>
                  <a:pt x="3592" y="4575"/>
                </a:lnTo>
                <a:lnTo>
                  <a:pt x="3600" y="4567"/>
                </a:lnTo>
                <a:close/>
                <a:moveTo>
                  <a:pt x="4181" y="4669"/>
                </a:moveTo>
                <a:lnTo>
                  <a:pt x="4181" y="4674"/>
                </a:lnTo>
                <a:lnTo>
                  <a:pt x="4179" y="4676"/>
                </a:lnTo>
                <a:lnTo>
                  <a:pt x="4176" y="4674"/>
                </a:lnTo>
                <a:lnTo>
                  <a:pt x="4172" y="4672"/>
                </a:lnTo>
                <a:lnTo>
                  <a:pt x="4181" y="4669"/>
                </a:lnTo>
                <a:close/>
                <a:moveTo>
                  <a:pt x="5717" y="4569"/>
                </a:moveTo>
                <a:lnTo>
                  <a:pt x="5718" y="4587"/>
                </a:lnTo>
                <a:lnTo>
                  <a:pt x="5699" y="4601"/>
                </a:lnTo>
                <a:lnTo>
                  <a:pt x="5674" y="4607"/>
                </a:lnTo>
                <a:lnTo>
                  <a:pt x="5652" y="4601"/>
                </a:lnTo>
                <a:lnTo>
                  <a:pt x="5667" y="4589"/>
                </a:lnTo>
                <a:lnTo>
                  <a:pt x="5683" y="4579"/>
                </a:lnTo>
                <a:lnTo>
                  <a:pt x="5699" y="4573"/>
                </a:lnTo>
                <a:lnTo>
                  <a:pt x="5717" y="4569"/>
                </a:lnTo>
                <a:close/>
                <a:moveTo>
                  <a:pt x="5742" y="4734"/>
                </a:moveTo>
                <a:lnTo>
                  <a:pt x="5735" y="4730"/>
                </a:lnTo>
                <a:lnTo>
                  <a:pt x="5739" y="4728"/>
                </a:lnTo>
                <a:lnTo>
                  <a:pt x="5741" y="4728"/>
                </a:lnTo>
                <a:lnTo>
                  <a:pt x="5741" y="4729"/>
                </a:lnTo>
                <a:lnTo>
                  <a:pt x="5742" y="4734"/>
                </a:lnTo>
                <a:close/>
                <a:moveTo>
                  <a:pt x="6195" y="4710"/>
                </a:moveTo>
                <a:lnTo>
                  <a:pt x="6201" y="4705"/>
                </a:lnTo>
                <a:lnTo>
                  <a:pt x="6201" y="4709"/>
                </a:lnTo>
                <a:lnTo>
                  <a:pt x="6201" y="4711"/>
                </a:lnTo>
                <a:lnTo>
                  <a:pt x="6198" y="4711"/>
                </a:lnTo>
                <a:lnTo>
                  <a:pt x="6195" y="4710"/>
                </a:lnTo>
                <a:close/>
                <a:moveTo>
                  <a:pt x="7679" y="4669"/>
                </a:moveTo>
                <a:lnTo>
                  <a:pt x="7673" y="4673"/>
                </a:lnTo>
                <a:lnTo>
                  <a:pt x="7663" y="4678"/>
                </a:lnTo>
                <a:lnTo>
                  <a:pt x="7663" y="4671"/>
                </a:lnTo>
                <a:lnTo>
                  <a:pt x="7667" y="4668"/>
                </a:lnTo>
                <a:lnTo>
                  <a:pt x="7673" y="4669"/>
                </a:lnTo>
                <a:lnTo>
                  <a:pt x="7679" y="4669"/>
                </a:lnTo>
                <a:close/>
                <a:moveTo>
                  <a:pt x="9695" y="5943"/>
                </a:moveTo>
                <a:lnTo>
                  <a:pt x="9695" y="5952"/>
                </a:lnTo>
                <a:lnTo>
                  <a:pt x="9695" y="5961"/>
                </a:lnTo>
                <a:lnTo>
                  <a:pt x="9693" y="5957"/>
                </a:lnTo>
                <a:lnTo>
                  <a:pt x="9693" y="5952"/>
                </a:lnTo>
                <a:lnTo>
                  <a:pt x="9693" y="5949"/>
                </a:lnTo>
                <a:lnTo>
                  <a:pt x="9695" y="5943"/>
                </a:lnTo>
                <a:close/>
                <a:moveTo>
                  <a:pt x="9704" y="5923"/>
                </a:moveTo>
                <a:lnTo>
                  <a:pt x="9711" y="5921"/>
                </a:lnTo>
                <a:lnTo>
                  <a:pt x="9717" y="5923"/>
                </a:lnTo>
                <a:lnTo>
                  <a:pt x="9720" y="5929"/>
                </a:lnTo>
                <a:lnTo>
                  <a:pt x="9715" y="5936"/>
                </a:lnTo>
                <a:lnTo>
                  <a:pt x="9706" y="5938"/>
                </a:lnTo>
                <a:lnTo>
                  <a:pt x="9700" y="5937"/>
                </a:lnTo>
                <a:lnTo>
                  <a:pt x="9700" y="5932"/>
                </a:lnTo>
                <a:lnTo>
                  <a:pt x="9704" y="5923"/>
                </a:lnTo>
                <a:close/>
                <a:moveTo>
                  <a:pt x="9535" y="6061"/>
                </a:moveTo>
                <a:lnTo>
                  <a:pt x="9530" y="6063"/>
                </a:lnTo>
                <a:lnTo>
                  <a:pt x="9535" y="6061"/>
                </a:lnTo>
                <a:lnTo>
                  <a:pt x="9531" y="6064"/>
                </a:lnTo>
                <a:lnTo>
                  <a:pt x="9535" y="6061"/>
                </a:lnTo>
                <a:close/>
                <a:moveTo>
                  <a:pt x="9539" y="6262"/>
                </a:moveTo>
                <a:lnTo>
                  <a:pt x="9557" y="6263"/>
                </a:lnTo>
                <a:lnTo>
                  <a:pt x="9573" y="6272"/>
                </a:lnTo>
                <a:lnTo>
                  <a:pt x="9581" y="6285"/>
                </a:lnTo>
                <a:lnTo>
                  <a:pt x="9571" y="6295"/>
                </a:lnTo>
                <a:lnTo>
                  <a:pt x="9557" y="6290"/>
                </a:lnTo>
                <a:lnTo>
                  <a:pt x="9543" y="6283"/>
                </a:lnTo>
                <a:lnTo>
                  <a:pt x="9534" y="6274"/>
                </a:lnTo>
                <a:lnTo>
                  <a:pt x="9539" y="6262"/>
                </a:lnTo>
                <a:close/>
                <a:moveTo>
                  <a:pt x="9271" y="6397"/>
                </a:moveTo>
                <a:lnTo>
                  <a:pt x="9271" y="6394"/>
                </a:lnTo>
                <a:lnTo>
                  <a:pt x="9271" y="6395"/>
                </a:lnTo>
                <a:lnTo>
                  <a:pt x="9274" y="6399"/>
                </a:lnTo>
                <a:lnTo>
                  <a:pt x="9275" y="6403"/>
                </a:lnTo>
                <a:lnTo>
                  <a:pt x="9273" y="6400"/>
                </a:lnTo>
                <a:lnTo>
                  <a:pt x="9271" y="6397"/>
                </a:lnTo>
                <a:close/>
                <a:moveTo>
                  <a:pt x="9250" y="6388"/>
                </a:moveTo>
                <a:lnTo>
                  <a:pt x="9245" y="6385"/>
                </a:lnTo>
                <a:lnTo>
                  <a:pt x="9241" y="6380"/>
                </a:lnTo>
                <a:lnTo>
                  <a:pt x="9239" y="6375"/>
                </a:lnTo>
                <a:lnTo>
                  <a:pt x="9246" y="6372"/>
                </a:lnTo>
                <a:lnTo>
                  <a:pt x="9257" y="6376"/>
                </a:lnTo>
                <a:lnTo>
                  <a:pt x="9265" y="6384"/>
                </a:lnTo>
                <a:lnTo>
                  <a:pt x="9262" y="6389"/>
                </a:lnTo>
                <a:lnTo>
                  <a:pt x="9250" y="6388"/>
                </a:lnTo>
                <a:close/>
                <a:moveTo>
                  <a:pt x="9223" y="6266"/>
                </a:moveTo>
                <a:lnTo>
                  <a:pt x="9220" y="6255"/>
                </a:lnTo>
                <a:lnTo>
                  <a:pt x="9222" y="6246"/>
                </a:lnTo>
                <a:lnTo>
                  <a:pt x="9224" y="6238"/>
                </a:lnTo>
                <a:lnTo>
                  <a:pt x="9232" y="6230"/>
                </a:lnTo>
                <a:lnTo>
                  <a:pt x="9241" y="6239"/>
                </a:lnTo>
                <a:lnTo>
                  <a:pt x="9242" y="6252"/>
                </a:lnTo>
                <a:lnTo>
                  <a:pt x="9236" y="6262"/>
                </a:lnTo>
                <a:lnTo>
                  <a:pt x="9223" y="6266"/>
                </a:lnTo>
                <a:close/>
                <a:moveTo>
                  <a:pt x="9251" y="5862"/>
                </a:moveTo>
                <a:lnTo>
                  <a:pt x="9238" y="5867"/>
                </a:lnTo>
                <a:lnTo>
                  <a:pt x="9224" y="5867"/>
                </a:lnTo>
                <a:lnTo>
                  <a:pt x="9214" y="5861"/>
                </a:lnTo>
                <a:lnTo>
                  <a:pt x="9211" y="5845"/>
                </a:lnTo>
                <a:lnTo>
                  <a:pt x="9223" y="5829"/>
                </a:lnTo>
                <a:lnTo>
                  <a:pt x="9238" y="5829"/>
                </a:lnTo>
                <a:lnTo>
                  <a:pt x="9250" y="5842"/>
                </a:lnTo>
                <a:lnTo>
                  <a:pt x="9251" y="5862"/>
                </a:lnTo>
                <a:close/>
                <a:moveTo>
                  <a:pt x="8791" y="5574"/>
                </a:moveTo>
                <a:lnTo>
                  <a:pt x="8790" y="5572"/>
                </a:lnTo>
                <a:lnTo>
                  <a:pt x="8791" y="5572"/>
                </a:lnTo>
                <a:lnTo>
                  <a:pt x="8795" y="5574"/>
                </a:lnTo>
                <a:lnTo>
                  <a:pt x="8798" y="5576"/>
                </a:lnTo>
                <a:lnTo>
                  <a:pt x="8795" y="5574"/>
                </a:lnTo>
                <a:lnTo>
                  <a:pt x="8791" y="5574"/>
                </a:lnTo>
                <a:close/>
                <a:moveTo>
                  <a:pt x="8721" y="5670"/>
                </a:moveTo>
                <a:lnTo>
                  <a:pt x="8708" y="5669"/>
                </a:lnTo>
                <a:lnTo>
                  <a:pt x="8705" y="5655"/>
                </a:lnTo>
                <a:lnTo>
                  <a:pt x="8707" y="5637"/>
                </a:lnTo>
                <a:lnTo>
                  <a:pt x="8716" y="5625"/>
                </a:lnTo>
                <a:lnTo>
                  <a:pt x="8735" y="5623"/>
                </a:lnTo>
                <a:lnTo>
                  <a:pt x="8742" y="5635"/>
                </a:lnTo>
                <a:lnTo>
                  <a:pt x="8736" y="5655"/>
                </a:lnTo>
                <a:lnTo>
                  <a:pt x="8721" y="5670"/>
                </a:lnTo>
                <a:close/>
                <a:moveTo>
                  <a:pt x="8442" y="5218"/>
                </a:moveTo>
                <a:lnTo>
                  <a:pt x="8418" y="5241"/>
                </a:lnTo>
                <a:lnTo>
                  <a:pt x="8384" y="5250"/>
                </a:lnTo>
                <a:lnTo>
                  <a:pt x="8349" y="5243"/>
                </a:lnTo>
                <a:lnTo>
                  <a:pt x="8328" y="5220"/>
                </a:lnTo>
                <a:lnTo>
                  <a:pt x="8347" y="5191"/>
                </a:lnTo>
                <a:lnTo>
                  <a:pt x="8386" y="5185"/>
                </a:lnTo>
                <a:lnTo>
                  <a:pt x="8424" y="5195"/>
                </a:lnTo>
                <a:lnTo>
                  <a:pt x="8442" y="5218"/>
                </a:lnTo>
                <a:close/>
                <a:moveTo>
                  <a:pt x="8207" y="5260"/>
                </a:moveTo>
                <a:lnTo>
                  <a:pt x="8200" y="5259"/>
                </a:lnTo>
                <a:lnTo>
                  <a:pt x="8196" y="5254"/>
                </a:lnTo>
                <a:lnTo>
                  <a:pt x="8196" y="5247"/>
                </a:lnTo>
                <a:lnTo>
                  <a:pt x="8202" y="5243"/>
                </a:lnTo>
                <a:lnTo>
                  <a:pt x="8208" y="5243"/>
                </a:lnTo>
                <a:lnTo>
                  <a:pt x="8212" y="5248"/>
                </a:lnTo>
                <a:lnTo>
                  <a:pt x="8212" y="5255"/>
                </a:lnTo>
                <a:lnTo>
                  <a:pt x="8207" y="5260"/>
                </a:lnTo>
                <a:close/>
                <a:moveTo>
                  <a:pt x="7436" y="5017"/>
                </a:moveTo>
                <a:lnTo>
                  <a:pt x="7422" y="5023"/>
                </a:lnTo>
                <a:lnTo>
                  <a:pt x="7408" y="5026"/>
                </a:lnTo>
                <a:lnTo>
                  <a:pt x="7393" y="5027"/>
                </a:lnTo>
                <a:lnTo>
                  <a:pt x="7378" y="5027"/>
                </a:lnTo>
                <a:lnTo>
                  <a:pt x="7389" y="4995"/>
                </a:lnTo>
                <a:lnTo>
                  <a:pt x="7420" y="4981"/>
                </a:lnTo>
                <a:lnTo>
                  <a:pt x="7444" y="4988"/>
                </a:lnTo>
                <a:lnTo>
                  <a:pt x="7436" y="5017"/>
                </a:lnTo>
                <a:close/>
                <a:moveTo>
                  <a:pt x="7343" y="4985"/>
                </a:moveTo>
                <a:lnTo>
                  <a:pt x="7338" y="4993"/>
                </a:lnTo>
                <a:lnTo>
                  <a:pt x="7332" y="4999"/>
                </a:lnTo>
                <a:lnTo>
                  <a:pt x="7323" y="5003"/>
                </a:lnTo>
                <a:lnTo>
                  <a:pt x="7313" y="5004"/>
                </a:lnTo>
                <a:lnTo>
                  <a:pt x="7309" y="4979"/>
                </a:lnTo>
                <a:lnTo>
                  <a:pt x="7320" y="4960"/>
                </a:lnTo>
                <a:lnTo>
                  <a:pt x="7337" y="4958"/>
                </a:lnTo>
                <a:lnTo>
                  <a:pt x="7343" y="4985"/>
                </a:lnTo>
                <a:close/>
                <a:moveTo>
                  <a:pt x="1061" y="4201"/>
                </a:moveTo>
                <a:lnTo>
                  <a:pt x="1060" y="4196"/>
                </a:lnTo>
                <a:lnTo>
                  <a:pt x="1060" y="4192"/>
                </a:lnTo>
                <a:lnTo>
                  <a:pt x="1062" y="4189"/>
                </a:lnTo>
                <a:lnTo>
                  <a:pt x="1067" y="4189"/>
                </a:lnTo>
                <a:lnTo>
                  <a:pt x="1070" y="4193"/>
                </a:lnTo>
                <a:lnTo>
                  <a:pt x="1070" y="4197"/>
                </a:lnTo>
                <a:lnTo>
                  <a:pt x="1067" y="4200"/>
                </a:lnTo>
                <a:lnTo>
                  <a:pt x="1061" y="4201"/>
                </a:lnTo>
                <a:close/>
                <a:moveTo>
                  <a:pt x="927" y="4723"/>
                </a:moveTo>
                <a:lnTo>
                  <a:pt x="935" y="4706"/>
                </a:lnTo>
                <a:lnTo>
                  <a:pt x="950" y="4714"/>
                </a:lnTo>
                <a:lnTo>
                  <a:pt x="963" y="4734"/>
                </a:lnTo>
                <a:lnTo>
                  <a:pt x="966" y="4755"/>
                </a:lnTo>
                <a:lnTo>
                  <a:pt x="954" y="4749"/>
                </a:lnTo>
                <a:lnTo>
                  <a:pt x="943" y="4743"/>
                </a:lnTo>
                <a:lnTo>
                  <a:pt x="934" y="4734"/>
                </a:lnTo>
                <a:lnTo>
                  <a:pt x="927" y="4723"/>
                </a:lnTo>
                <a:close/>
                <a:moveTo>
                  <a:pt x="876" y="4310"/>
                </a:moveTo>
                <a:lnTo>
                  <a:pt x="873" y="4308"/>
                </a:lnTo>
                <a:lnTo>
                  <a:pt x="869" y="4305"/>
                </a:lnTo>
                <a:lnTo>
                  <a:pt x="865" y="4301"/>
                </a:lnTo>
                <a:lnTo>
                  <a:pt x="864" y="4296"/>
                </a:lnTo>
                <a:lnTo>
                  <a:pt x="871" y="4285"/>
                </a:lnTo>
                <a:lnTo>
                  <a:pt x="884" y="4291"/>
                </a:lnTo>
                <a:lnTo>
                  <a:pt x="889" y="4304"/>
                </a:lnTo>
                <a:lnTo>
                  <a:pt x="876" y="4310"/>
                </a:lnTo>
                <a:close/>
                <a:moveTo>
                  <a:pt x="642" y="1927"/>
                </a:moveTo>
                <a:lnTo>
                  <a:pt x="642" y="1925"/>
                </a:lnTo>
                <a:lnTo>
                  <a:pt x="643" y="1925"/>
                </a:lnTo>
                <a:lnTo>
                  <a:pt x="645" y="1925"/>
                </a:lnTo>
                <a:lnTo>
                  <a:pt x="646" y="1926"/>
                </a:lnTo>
                <a:lnTo>
                  <a:pt x="642" y="1927"/>
                </a:lnTo>
                <a:close/>
                <a:moveTo>
                  <a:pt x="1749" y="583"/>
                </a:moveTo>
                <a:lnTo>
                  <a:pt x="1732" y="581"/>
                </a:lnTo>
                <a:lnTo>
                  <a:pt x="1717" y="577"/>
                </a:lnTo>
                <a:lnTo>
                  <a:pt x="1733" y="579"/>
                </a:lnTo>
                <a:lnTo>
                  <a:pt x="1749" y="583"/>
                </a:lnTo>
                <a:close/>
                <a:moveTo>
                  <a:pt x="1669" y="621"/>
                </a:moveTo>
                <a:lnTo>
                  <a:pt x="1666" y="620"/>
                </a:lnTo>
                <a:lnTo>
                  <a:pt x="1665" y="618"/>
                </a:lnTo>
                <a:lnTo>
                  <a:pt x="1666" y="618"/>
                </a:lnTo>
                <a:lnTo>
                  <a:pt x="1669" y="616"/>
                </a:lnTo>
                <a:lnTo>
                  <a:pt x="1672" y="619"/>
                </a:lnTo>
                <a:lnTo>
                  <a:pt x="1674" y="621"/>
                </a:lnTo>
                <a:lnTo>
                  <a:pt x="1672" y="621"/>
                </a:lnTo>
                <a:lnTo>
                  <a:pt x="1669" y="621"/>
                </a:lnTo>
                <a:close/>
                <a:moveTo>
                  <a:pt x="1176" y="469"/>
                </a:moveTo>
                <a:lnTo>
                  <a:pt x="1192" y="465"/>
                </a:lnTo>
                <a:lnTo>
                  <a:pt x="1208" y="472"/>
                </a:lnTo>
                <a:lnTo>
                  <a:pt x="1224" y="484"/>
                </a:lnTo>
                <a:lnTo>
                  <a:pt x="1243" y="493"/>
                </a:lnTo>
                <a:lnTo>
                  <a:pt x="1224" y="490"/>
                </a:lnTo>
                <a:lnTo>
                  <a:pt x="1205" y="486"/>
                </a:lnTo>
                <a:lnTo>
                  <a:pt x="1190" y="481"/>
                </a:lnTo>
                <a:lnTo>
                  <a:pt x="1176" y="469"/>
                </a:lnTo>
                <a:close/>
                <a:moveTo>
                  <a:pt x="9531" y="1515"/>
                </a:moveTo>
                <a:lnTo>
                  <a:pt x="9534" y="1516"/>
                </a:lnTo>
                <a:lnTo>
                  <a:pt x="9535" y="1519"/>
                </a:lnTo>
                <a:lnTo>
                  <a:pt x="9535" y="1520"/>
                </a:lnTo>
                <a:lnTo>
                  <a:pt x="9532" y="1523"/>
                </a:lnTo>
                <a:lnTo>
                  <a:pt x="9530" y="1521"/>
                </a:lnTo>
                <a:lnTo>
                  <a:pt x="9529" y="1520"/>
                </a:lnTo>
                <a:lnTo>
                  <a:pt x="9530" y="1518"/>
                </a:lnTo>
                <a:lnTo>
                  <a:pt x="9531" y="1515"/>
                </a:lnTo>
                <a:close/>
                <a:moveTo>
                  <a:pt x="9577" y="1496"/>
                </a:moveTo>
                <a:lnTo>
                  <a:pt x="9581" y="1497"/>
                </a:lnTo>
                <a:lnTo>
                  <a:pt x="9581" y="1500"/>
                </a:lnTo>
                <a:lnTo>
                  <a:pt x="9578" y="1501"/>
                </a:lnTo>
                <a:lnTo>
                  <a:pt x="9574" y="1498"/>
                </a:lnTo>
                <a:lnTo>
                  <a:pt x="9576" y="1497"/>
                </a:lnTo>
                <a:lnTo>
                  <a:pt x="9577" y="1496"/>
                </a:lnTo>
                <a:close/>
                <a:moveTo>
                  <a:pt x="9643" y="1483"/>
                </a:moveTo>
                <a:lnTo>
                  <a:pt x="9633" y="1486"/>
                </a:lnTo>
                <a:lnTo>
                  <a:pt x="9627" y="1484"/>
                </a:lnTo>
                <a:lnTo>
                  <a:pt x="9620" y="1479"/>
                </a:lnTo>
                <a:lnTo>
                  <a:pt x="9615" y="1476"/>
                </a:lnTo>
                <a:lnTo>
                  <a:pt x="9628" y="1478"/>
                </a:lnTo>
                <a:lnTo>
                  <a:pt x="9643" y="1483"/>
                </a:lnTo>
                <a:close/>
                <a:moveTo>
                  <a:pt x="9777" y="1496"/>
                </a:moveTo>
                <a:lnTo>
                  <a:pt x="9781" y="1501"/>
                </a:lnTo>
                <a:lnTo>
                  <a:pt x="9781" y="1506"/>
                </a:lnTo>
                <a:lnTo>
                  <a:pt x="9776" y="1510"/>
                </a:lnTo>
                <a:lnTo>
                  <a:pt x="9768" y="1510"/>
                </a:lnTo>
                <a:lnTo>
                  <a:pt x="9763" y="1505"/>
                </a:lnTo>
                <a:lnTo>
                  <a:pt x="9763" y="1500"/>
                </a:lnTo>
                <a:lnTo>
                  <a:pt x="9768" y="1497"/>
                </a:lnTo>
                <a:lnTo>
                  <a:pt x="9777" y="1496"/>
                </a:lnTo>
                <a:close/>
                <a:moveTo>
                  <a:pt x="9993" y="1735"/>
                </a:moveTo>
                <a:lnTo>
                  <a:pt x="9995" y="1739"/>
                </a:lnTo>
                <a:lnTo>
                  <a:pt x="9995" y="1743"/>
                </a:lnTo>
                <a:lnTo>
                  <a:pt x="9993" y="1745"/>
                </a:lnTo>
                <a:lnTo>
                  <a:pt x="9990" y="1745"/>
                </a:lnTo>
                <a:lnTo>
                  <a:pt x="9986" y="1742"/>
                </a:lnTo>
                <a:lnTo>
                  <a:pt x="9986" y="1738"/>
                </a:lnTo>
                <a:lnTo>
                  <a:pt x="9988" y="1736"/>
                </a:lnTo>
                <a:lnTo>
                  <a:pt x="9993" y="1735"/>
                </a:lnTo>
                <a:close/>
                <a:moveTo>
                  <a:pt x="10325" y="1925"/>
                </a:moveTo>
                <a:lnTo>
                  <a:pt x="10326" y="1950"/>
                </a:lnTo>
                <a:lnTo>
                  <a:pt x="10321" y="1964"/>
                </a:lnTo>
                <a:lnTo>
                  <a:pt x="10310" y="1972"/>
                </a:lnTo>
                <a:lnTo>
                  <a:pt x="10290" y="1975"/>
                </a:lnTo>
                <a:lnTo>
                  <a:pt x="10295" y="1961"/>
                </a:lnTo>
                <a:lnTo>
                  <a:pt x="10304" y="1948"/>
                </a:lnTo>
                <a:lnTo>
                  <a:pt x="10314" y="1938"/>
                </a:lnTo>
                <a:lnTo>
                  <a:pt x="10325" y="1925"/>
                </a:lnTo>
                <a:close/>
                <a:moveTo>
                  <a:pt x="11396" y="2733"/>
                </a:moveTo>
                <a:lnTo>
                  <a:pt x="11398" y="2733"/>
                </a:lnTo>
                <a:lnTo>
                  <a:pt x="11401" y="2734"/>
                </a:lnTo>
                <a:lnTo>
                  <a:pt x="11401" y="2736"/>
                </a:lnTo>
                <a:lnTo>
                  <a:pt x="11399" y="2738"/>
                </a:lnTo>
                <a:lnTo>
                  <a:pt x="11397" y="2738"/>
                </a:lnTo>
                <a:lnTo>
                  <a:pt x="11396" y="2737"/>
                </a:lnTo>
                <a:lnTo>
                  <a:pt x="11396" y="2736"/>
                </a:lnTo>
                <a:lnTo>
                  <a:pt x="11396" y="2733"/>
                </a:lnTo>
                <a:close/>
                <a:moveTo>
                  <a:pt x="11446" y="2729"/>
                </a:moveTo>
                <a:lnTo>
                  <a:pt x="11450" y="2733"/>
                </a:lnTo>
                <a:lnTo>
                  <a:pt x="11450" y="2737"/>
                </a:lnTo>
                <a:lnTo>
                  <a:pt x="11448" y="2738"/>
                </a:lnTo>
                <a:lnTo>
                  <a:pt x="11443" y="2740"/>
                </a:lnTo>
                <a:lnTo>
                  <a:pt x="11440" y="2737"/>
                </a:lnTo>
                <a:lnTo>
                  <a:pt x="11440" y="2734"/>
                </a:lnTo>
                <a:lnTo>
                  <a:pt x="11443" y="2732"/>
                </a:lnTo>
                <a:lnTo>
                  <a:pt x="11446" y="2729"/>
                </a:lnTo>
                <a:close/>
                <a:moveTo>
                  <a:pt x="11376" y="3353"/>
                </a:moveTo>
                <a:lnTo>
                  <a:pt x="11378" y="3356"/>
                </a:lnTo>
                <a:lnTo>
                  <a:pt x="11376" y="3358"/>
                </a:lnTo>
                <a:lnTo>
                  <a:pt x="11375" y="3359"/>
                </a:lnTo>
                <a:lnTo>
                  <a:pt x="11373" y="3361"/>
                </a:lnTo>
                <a:lnTo>
                  <a:pt x="11373" y="3357"/>
                </a:lnTo>
                <a:lnTo>
                  <a:pt x="11373" y="3354"/>
                </a:lnTo>
                <a:lnTo>
                  <a:pt x="11374" y="3353"/>
                </a:lnTo>
                <a:lnTo>
                  <a:pt x="11376" y="3353"/>
                </a:lnTo>
                <a:close/>
                <a:moveTo>
                  <a:pt x="11468" y="3367"/>
                </a:moveTo>
                <a:lnTo>
                  <a:pt x="11467" y="3371"/>
                </a:lnTo>
                <a:lnTo>
                  <a:pt x="11466" y="3372"/>
                </a:lnTo>
                <a:lnTo>
                  <a:pt x="11463" y="3372"/>
                </a:lnTo>
                <a:lnTo>
                  <a:pt x="11460" y="3371"/>
                </a:lnTo>
                <a:lnTo>
                  <a:pt x="11458" y="3368"/>
                </a:lnTo>
                <a:lnTo>
                  <a:pt x="11459" y="3367"/>
                </a:lnTo>
                <a:lnTo>
                  <a:pt x="11464" y="3367"/>
                </a:lnTo>
                <a:lnTo>
                  <a:pt x="11468" y="3367"/>
                </a:lnTo>
                <a:close/>
                <a:moveTo>
                  <a:pt x="11041" y="4313"/>
                </a:moveTo>
                <a:lnTo>
                  <a:pt x="11041" y="4313"/>
                </a:lnTo>
                <a:lnTo>
                  <a:pt x="11040" y="4317"/>
                </a:lnTo>
                <a:lnTo>
                  <a:pt x="11040" y="4315"/>
                </a:lnTo>
                <a:lnTo>
                  <a:pt x="11041" y="4313"/>
                </a:lnTo>
                <a:close/>
                <a:moveTo>
                  <a:pt x="8217" y="1204"/>
                </a:moveTo>
                <a:lnTo>
                  <a:pt x="8218" y="1204"/>
                </a:lnTo>
                <a:lnTo>
                  <a:pt x="8218" y="1204"/>
                </a:lnTo>
                <a:lnTo>
                  <a:pt x="8218" y="1204"/>
                </a:lnTo>
                <a:lnTo>
                  <a:pt x="8217" y="1204"/>
                </a:lnTo>
                <a:close/>
                <a:moveTo>
                  <a:pt x="1653" y="434"/>
                </a:moveTo>
                <a:lnTo>
                  <a:pt x="1653" y="434"/>
                </a:lnTo>
                <a:lnTo>
                  <a:pt x="1655" y="433"/>
                </a:lnTo>
                <a:lnTo>
                  <a:pt x="1653" y="434"/>
                </a:lnTo>
                <a:close/>
                <a:moveTo>
                  <a:pt x="9608" y="1712"/>
                </a:moveTo>
                <a:lnTo>
                  <a:pt x="9608" y="1712"/>
                </a:lnTo>
                <a:lnTo>
                  <a:pt x="9609" y="1712"/>
                </a:lnTo>
                <a:lnTo>
                  <a:pt x="9608" y="1712"/>
                </a:lnTo>
                <a:lnTo>
                  <a:pt x="9608" y="1712"/>
                </a:lnTo>
                <a:close/>
                <a:moveTo>
                  <a:pt x="8023" y="6271"/>
                </a:moveTo>
                <a:lnTo>
                  <a:pt x="8022" y="6272"/>
                </a:lnTo>
                <a:lnTo>
                  <a:pt x="8021" y="6274"/>
                </a:lnTo>
                <a:lnTo>
                  <a:pt x="8025" y="6272"/>
                </a:lnTo>
                <a:lnTo>
                  <a:pt x="8028" y="6267"/>
                </a:lnTo>
                <a:lnTo>
                  <a:pt x="8026" y="6268"/>
                </a:lnTo>
                <a:lnTo>
                  <a:pt x="8023" y="6271"/>
                </a:lnTo>
                <a:close/>
                <a:moveTo>
                  <a:pt x="8087" y="6202"/>
                </a:moveTo>
                <a:lnTo>
                  <a:pt x="8087" y="6203"/>
                </a:lnTo>
                <a:lnTo>
                  <a:pt x="8090" y="6206"/>
                </a:lnTo>
                <a:lnTo>
                  <a:pt x="8091" y="6207"/>
                </a:lnTo>
                <a:lnTo>
                  <a:pt x="8092" y="6206"/>
                </a:lnTo>
                <a:lnTo>
                  <a:pt x="8090" y="6203"/>
                </a:lnTo>
                <a:lnTo>
                  <a:pt x="8087" y="6202"/>
                </a:lnTo>
                <a:close/>
                <a:moveTo>
                  <a:pt x="9013" y="6143"/>
                </a:moveTo>
                <a:lnTo>
                  <a:pt x="9014" y="6145"/>
                </a:lnTo>
                <a:lnTo>
                  <a:pt x="9015" y="6146"/>
                </a:lnTo>
                <a:lnTo>
                  <a:pt x="9014" y="6142"/>
                </a:lnTo>
                <a:lnTo>
                  <a:pt x="9010" y="6140"/>
                </a:lnTo>
                <a:lnTo>
                  <a:pt x="9012" y="6142"/>
                </a:lnTo>
                <a:lnTo>
                  <a:pt x="9013" y="6143"/>
                </a:lnTo>
                <a:close/>
                <a:moveTo>
                  <a:pt x="6368" y="5877"/>
                </a:moveTo>
                <a:lnTo>
                  <a:pt x="6369" y="5879"/>
                </a:lnTo>
                <a:lnTo>
                  <a:pt x="6370" y="5877"/>
                </a:lnTo>
                <a:lnTo>
                  <a:pt x="6369" y="5877"/>
                </a:lnTo>
                <a:lnTo>
                  <a:pt x="6368" y="5877"/>
                </a:lnTo>
                <a:close/>
                <a:moveTo>
                  <a:pt x="6040" y="5802"/>
                </a:moveTo>
                <a:lnTo>
                  <a:pt x="6042" y="5803"/>
                </a:lnTo>
                <a:lnTo>
                  <a:pt x="6043" y="5803"/>
                </a:lnTo>
                <a:lnTo>
                  <a:pt x="6042" y="5803"/>
                </a:lnTo>
                <a:lnTo>
                  <a:pt x="6040" y="5802"/>
                </a:lnTo>
                <a:lnTo>
                  <a:pt x="6038" y="5800"/>
                </a:lnTo>
                <a:lnTo>
                  <a:pt x="6035" y="5797"/>
                </a:lnTo>
                <a:lnTo>
                  <a:pt x="6032" y="5797"/>
                </a:lnTo>
                <a:lnTo>
                  <a:pt x="6029" y="5796"/>
                </a:lnTo>
                <a:lnTo>
                  <a:pt x="6034" y="5800"/>
                </a:lnTo>
                <a:lnTo>
                  <a:pt x="6040" y="5802"/>
                </a:lnTo>
                <a:close/>
                <a:moveTo>
                  <a:pt x="7706" y="5847"/>
                </a:moveTo>
                <a:lnTo>
                  <a:pt x="7706" y="5848"/>
                </a:lnTo>
                <a:lnTo>
                  <a:pt x="7707" y="5848"/>
                </a:lnTo>
                <a:lnTo>
                  <a:pt x="7709" y="5848"/>
                </a:lnTo>
                <a:lnTo>
                  <a:pt x="7707" y="5847"/>
                </a:lnTo>
                <a:lnTo>
                  <a:pt x="7707" y="5847"/>
                </a:lnTo>
                <a:lnTo>
                  <a:pt x="7706" y="5847"/>
                </a:lnTo>
                <a:close/>
                <a:moveTo>
                  <a:pt x="8913" y="5768"/>
                </a:moveTo>
                <a:lnTo>
                  <a:pt x="8912" y="5767"/>
                </a:lnTo>
                <a:lnTo>
                  <a:pt x="8910" y="5765"/>
                </a:lnTo>
                <a:lnTo>
                  <a:pt x="8912" y="5769"/>
                </a:lnTo>
                <a:lnTo>
                  <a:pt x="8913" y="5769"/>
                </a:lnTo>
                <a:lnTo>
                  <a:pt x="8913" y="5768"/>
                </a:lnTo>
                <a:lnTo>
                  <a:pt x="8913" y="5768"/>
                </a:lnTo>
                <a:close/>
                <a:moveTo>
                  <a:pt x="9923" y="5685"/>
                </a:moveTo>
                <a:lnTo>
                  <a:pt x="9922" y="5684"/>
                </a:lnTo>
                <a:lnTo>
                  <a:pt x="9922" y="5685"/>
                </a:lnTo>
                <a:lnTo>
                  <a:pt x="9922" y="5685"/>
                </a:lnTo>
                <a:lnTo>
                  <a:pt x="9923" y="5685"/>
                </a:lnTo>
                <a:close/>
                <a:moveTo>
                  <a:pt x="973" y="5325"/>
                </a:moveTo>
                <a:lnTo>
                  <a:pt x="985" y="5327"/>
                </a:lnTo>
                <a:lnTo>
                  <a:pt x="997" y="5327"/>
                </a:lnTo>
                <a:lnTo>
                  <a:pt x="988" y="5325"/>
                </a:lnTo>
                <a:lnTo>
                  <a:pt x="973" y="5325"/>
                </a:lnTo>
                <a:close/>
                <a:moveTo>
                  <a:pt x="4743" y="5380"/>
                </a:moveTo>
                <a:lnTo>
                  <a:pt x="4740" y="5377"/>
                </a:lnTo>
                <a:lnTo>
                  <a:pt x="4740" y="5376"/>
                </a:lnTo>
                <a:lnTo>
                  <a:pt x="4739" y="5377"/>
                </a:lnTo>
                <a:lnTo>
                  <a:pt x="4739" y="5378"/>
                </a:lnTo>
                <a:lnTo>
                  <a:pt x="4741" y="5380"/>
                </a:lnTo>
                <a:lnTo>
                  <a:pt x="4743" y="5380"/>
                </a:lnTo>
                <a:close/>
                <a:moveTo>
                  <a:pt x="1109" y="5131"/>
                </a:moveTo>
                <a:lnTo>
                  <a:pt x="1111" y="5131"/>
                </a:lnTo>
                <a:lnTo>
                  <a:pt x="1111" y="5130"/>
                </a:lnTo>
                <a:lnTo>
                  <a:pt x="1109" y="5131"/>
                </a:lnTo>
                <a:lnTo>
                  <a:pt x="1109" y="5131"/>
                </a:lnTo>
                <a:close/>
                <a:moveTo>
                  <a:pt x="8067" y="5270"/>
                </a:moveTo>
                <a:lnTo>
                  <a:pt x="8073" y="5266"/>
                </a:lnTo>
                <a:lnTo>
                  <a:pt x="8079" y="5265"/>
                </a:lnTo>
                <a:lnTo>
                  <a:pt x="8087" y="5266"/>
                </a:lnTo>
                <a:lnTo>
                  <a:pt x="8095" y="5265"/>
                </a:lnTo>
                <a:lnTo>
                  <a:pt x="8088" y="5264"/>
                </a:lnTo>
                <a:lnTo>
                  <a:pt x="8079" y="5264"/>
                </a:lnTo>
                <a:lnTo>
                  <a:pt x="8072" y="5265"/>
                </a:lnTo>
                <a:lnTo>
                  <a:pt x="8067" y="5270"/>
                </a:lnTo>
                <a:close/>
                <a:moveTo>
                  <a:pt x="2382" y="5097"/>
                </a:moveTo>
                <a:lnTo>
                  <a:pt x="2369" y="5108"/>
                </a:lnTo>
                <a:lnTo>
                  <a:pt x="2360" y="5120"/>
                </a:lnTo>
                <a:lnTo>
                  <a:pt x="2372" y="5108"/>
                </a:lnTo>
                <a:lnTo>
                  <a:pt x="2382" y="5097"/>
                </a:lnTo>
                <a:close/>
                <a:moveTo>
                  <a:pt x="5800" y="5054"/>
                </a:moveTo>
                <a:lnTo>
                  <a:pt x="5800" y="5054"/>
                </a:lnTo>
                <a:lnTo>
                  <a:pt x="5800" y="5055"/>
                </a:lnTo>
                <a:lnTo>
                  <a:pt x="5801" y="5056"/>
                </a:lnTo>
                <a:lnTo>
                  <a:pt x="5802" y="5056"/>
                </a:lnTo>
                <a:lnTo>
                  <a:pt x="5802" y="5055"/>
                </a:lnTo>
                <a:lnTo>
                  <a:pt x="5800" y="5054"/>
                </a:lnTo>
                <a:close/>
                <a:moveTo>
                  <a:pt x="3218" y="4923"/>
                </a:moveTo>
                <a:lnTo>
                  <a:pt x="3217" y="4923"/>
                </a:lnTo>
                <a:lnTo>
                  <a:pt x="3217" y="4924"/>
                </a:lnTo>
                <a:lnTo>
                  <a:pt x="3217" y="4924"/>
                </a:lnTo>
                <a:lnTo>
                  <a:pt x="3218" y="4924"/>
                </a:lnTo>
                <a:lnTo>
                  <a:pt x="3220" y="4923"/>
                </a:lnTo>
                <a:lnTo>
                  <a:pt x="3218" y="4923"/>
                </a:lnTo>
                <a:close/>
                <a:moveTo>
                  <a:pt x="3195" y="4923"/>
                </a:moveTo>
                <a:lnTo>
                  <a:pt x="3197" y="4923"/>
                </a:lnTo>
                <a:lnTo>
                  <a:pt x="3198" y="4923"/>
                </a:lnTo>
                <a:lnTo>
                  <a:pt x="3198" y="4923"/>
                </a:lnTo>
                <a:lnTo>
                  <a:pt x="3197" y="4921"/>
                </a:lnTo>
                <a:lnTo>
                  <a:pt x="3195" y="4921"/>
                </a:lnTo>
                <a:lnTo>
                  <a:pt x="3195" y="4923"/>
                </a:lnTo>
                <a:close/>
                <a:moveTo>
                  <a:pt x="3217" y="4924"/>
                </a:moveTo>
                <a:lnTo>
                  <a:pt x="3207" y="4923"/>
                </a:lnTo>
                <a:lnTo>
                  <a:pt x="3198" y="4923"/>
                </a:lnTo>
                <a:lnTo>
                  <a:pt x="3203" y="4925"/>
                </a:lnTo>
                <a:lnTo>
                  <a:pt x="3207" y="4926"/>
                </a:lnTo>
                <a:lnTo>
                  <a:pt x="3212" y="4926"/>
                </a:lnTo>
                <a:lnTo>
                  <a:pt x="3217" y="4924"/>
                </a:lnTo>
                <a:close/>
                <a:moveTo>
                  <a:pt x="620" y="2603"/>
                </a:moveTo>
                <a:lnTo>
                  <a:pt x="618" y="2596"/>
                </a:lnTo>
                <a:lnTo>
                  <a:pt x="615" y="2600"/>
                </a:lnTo>
                <a:lnTo>
                  <a:pt x="614" y="2601"/>
                </a:lnTo>
                <a:lnTo>
                  <a:pt x="615" y="2602"/>
                </a:lnTo>
                <a:lnTo>
                  <a:pt x="620" y="2603"/>
                </a:lnTo>
                <a:close/>
                <a:moveTo>
                  <a:pt x="7859" y="5061"/>
                </a:moveTo>
                <a:lnTo>
                  <a:pt x="7858" y="5063"/>
                </a:lnTo>
                <a:lnTo>
                  <a:pt x="7858" y="5061"/>
                </a:lnTo>
                <a:lnTo>
                  <a:pt x="7859" y="5061"/>
                </a:lnTo>
                <a:lnTo>
                  <a:pt x="7858" y="5063"/>
                </a:lnTo>
                <a:lnTo>
                  <a:pt x="7859" y="5064"/>
                </a:lnTo>
                <a:lnTo>
                  <a:pt x="7859" y="5065"/>
                </a:lnTo>
                <a:lnTo>
                  <a:pt x="7859" y="5064"/>
                </a:lnTo>
                <a:lnTo>
                  <a:pt x="7859" y="5061"/>
                </a:lnTo>
                <a:close/>
                <a:moveTo>
                  <a:pt x="7865" y="5077"/>
                </a:moveTo>
                <a:lnTo>
                  <a:pt x="7863" y="5072"/>
                </a:lnTo>
                <a:lnTo>
                  <a:pt x="7859" y="5065"/>
                </a:lnTo>
                <a:lnTo>
                  <a:pt x="7859" y="5069"/>
                </a:lnTo>
                <a:lnTo>
                  <a:pt x="7860" y="5072"/>
                </a:lnTo>
                <a:lnTo>
                  <a:pt x="7863" y="5074"/>
                </a:lnTo>
                <a:lnTo>
                  <a:pt x="7865" y="5077"/>
                </a:lnTo>
                <a:close/>
                <a:moveTo>
                  <a:pt x="8945" y="6207"/>
                </a:moveTo>
                <a:lnTo>
                  <a:pt x="8947" y="6208"/>
                </a:lnTo>
                <a:lnTo>
                  <a:pt x="8947" y="6208"/>
                </a:lnTo>
                <a:lnTo>
                  <a:pt x="8945" y="6207"/>
                </a:lnTo>
                <a:close/>
                <a:moveTo>
                  <a:pt x="8947" y="6208"/>
                </a:moveTo>
                <a:lnTo>
                  <a:pt x="8948" y="6206"/>
                </a:lnTo>
                <a:lnTo>
                  <a:pt x="8948" y="6204"/>
                </a:lnTo>
                <a:lnTo>
                  <a:pt x="8947" y="6206"/>
                </a:lnTo>
                <a:lnTo>
                  <a:pt x="8945" y="6207"/>
                </a:lnTo>
                <a:lnTo>
                  <a:pt x="8945" y="6208"/>
                </a:lnTo>
                <a:lnTo>
                  <a:pt x="8947" y="6208"/>
                </a:lnTo>
                <a:close/>
                <a:moveTo>
                  <a:pt x="8953" y="6192"/>
                </a:moveTo>
                <a:lnTo>
                  <a:pt x="8950" y="6198"/>
                </a:lnTo>
                <a:lnTo>
                  <a:pt x="8948" y="6204"/>
                </a:lnTo>
                <a:lnTo>
                  <a:pt x="8950" y="6201"/>
                </a:lnTo>
                <a:lnTo>
                  <a:pt x="8953" y="6198"/>
                </a:lnTo>
                <a:lnTo>
                  <a:pt x="8953" y="6194"/>
                </a:lnTo>
                <a:lnTo>
                  <a:pt x="8953" y="6192"/>
                </a:lnTo>
                <a:close/>
                <a:moveTo>
                  <a:pt x="5536" y="5870"/>
                </a:moveTo>
                <a:lnTo>
                  <a:pt x="5540" y="5872"/>
                </a:lnTo>
                <a:lnTo>
                  <a:pt x="5544" y="5872"/>
                </a:lnTo>
                <a:lnTo>
                  <a:pt x="5545" y="5870"/>
                </a:lnTo>
                <a:lnTo>
                  <a:pt x="5545" y="5866"/>
                </a:lnTo>
                <a:lnTo>
                  <a:pt x="5543" y="5865"/>
                </a:lnTo>
                <a:lnTo>
                  <a:pt x="5540" y="5865"/>
                </a:lnTo>
                <a:lnTo>
                  <a:pt x="5537" y="5866"/>
                </a:lnTo>
                <a:lnTo>
                  <a:pt x="5536" y="5870"/>
                </a:lnTo>
                <a:close/>
                <a:moveTo>
                  <a:pt x="8353" y="6360"/>
                </a:moveTo>
                <a:lnTo>
                  <a:pt x="8353" y="6355"/>
                </a:lnTo>
                <a:lnTo>
                  <a:pt x="8352" y="6353"/>
                </a:lnTo>
                <a:lnTo>
                  <a:pt x="8349" y="6353"/>
                </a:lnTo>
                <a:lnTo>
                  <a:pt x="8345" y="6356"/>
                </a:lnTo>
                <a:lnTo>
                  <a:pt x="8353" y="6360"/>
                </a:lnTo>
                <a:close/>
                <a:moveTo>
                  <a:pt x="9008" y="5601"/>
                </a:moveTo>
                <a:lnTo>
                  <a:pt x="9004" y="5602"/>
                </a:lnTo>
                <a:lnTo>
                  <a:pt x="9001" y="5604"/>
                </a:lnTo>
                <a:lnTo>
                  <a:pt x="9000" y="5606"/>
                </a:lnTo>
                <a:lnTo>
                  <a:pt x="9001" y="5610"/>
                </a:lnTo>
                <a:lnTo>
                  <a:pt x="9005" y="5610"/>
                </a:lnTo>
                <a:lnTo>
                  <a:pt x="9008" y="5607"/>
                </a:lnTo>
                <a:lnTo>
                  <a:pt x="9009" y="5605"/>
                </a:lnTo>
                <a:lnTo>
                  <a:pt x="9008" y="5601"/>
                </a:lnTo>
                <a:close/>
                <a:moveTo>
                  <a:pt x="5400" y="5531"/>
                </a:moveTo>
                <a:lnTo>
                  <a:pt x="5405" y="5531"/>
                </a:lnTo>
                <a:lnTo>
                  <a:pt x="5408" y="5530"/>
                </a:lnTo>
                <a:lnTo>
                  <a:pt x="5406" y="5527"/>
                </a:lnTo>
                <a:lnTo>
                  <a:pt x="5405" y="5522"/>
                </a:lnTo>
                <a:lnTo>
                  <a:pt x="5400" y="5531"/>
                </a:lnTo>
                <a:close/>
                <a:moveTo>
                  <a:pt x="8107" y="6132"/>
                </a:moveTo>
                <a:lnTo>
                  <a:pt x="8104" y="6128"/>
                </a:lnTo>
                <a:lnTo>
                  <a:pt x="8107" y="6132"/>
                </a:lnTo>
                <a:lnTo>
                  <a:pt x="8107" y="6126"/>
                </a:lnTo>
                <a:lnTo>
                  <a:pt x="8107" y="6132"/>
                </a:lnTo>
                <a:close/>
                <a:moveTo>
                  <a:pt x="8092" y="6120"/>
                </a:moveTo>
                <a:lnTo>
                  <a:pt x="8093" y="6119"/>
                </a:lnTo>
                <a:lnTo>
                  <a:pt x="8092" y="6119"/>
                </a:lnTo>
                <a:lnTo>
                  <a:pt x="8088" y="6109"/>
                </a:lnTo>
                <a:lnTo>
                  <a:pt x="8083" y="6100"/>
                </a:lnTo>
                <a:lnTo>
                  <a:pt x="8077" y="6092"/>
                </a:lnTo>
                <a:lnTo>
                  <a:pt x="8067" y="6087"/>
                </a:lnTo>
                <a:lnTo>
                  <a:pt x="8049" y="6098"/>
                </a:lnTo>
                <a:lnTo>
                  <a:pt x="8054" y="6109"/>
                </a:lnTo>
                <a:lnTo>
                  <a:pt x="8070" y="6118"/>
                </a:lnTo>
                <a:lnTo>
                  <a:pt x="8092" y="6119"/>
                </a:lnTo>
                <a:lnTo>
                  <a:pt x="8093" y="6122"/>
                </a:lnTo>
                <a:lnTo>
                  <a:pt x="8095" y="6120"/>
                </a:lnTo>
                <a:lnTo>
                  <a:pt x="8095" y="6120"/>
                </a:lnTo>
                <a:lnTo>
                  <a:pt x="8092" y="6120"/>
                </a:lnTo>
                <a:close/>
                <a:moveTo>
                  <a:pt x="8822" y="6484"/>
                </a:moveTo>
                <a:lnTo>
                  <a:pt x="8827" y="6487"/>
                </a:lnTo>
                <a:lnTo>
                  <a:pt x="8831" y="6487"/>
                </a:lnTo>
                <a:lnTo>
                  <a:pt x="8835" y="6490"/>
                </a:lnTo>
                <a:lnTo>
                  <a:pt x="8822" y="6484"/>
                </a:lnTo>
                <a:close/>
                <a:moveTo>
                  <a:pt x="9168" y="6026"/>
                </a:moveTo>
                <a:lnTo>
                  <a:pt x="9171" y="6029"/>
                </a:lnTo>
                <a:lnTo>
                  <a:pt x="9173" y="6029"/>
                </a:lnTo>
                <a:lnTo>
                  <a:pt x="9175" y="6027"/>
                </a:lnTo>
                <a:lnTo>
                  <a:pt x="9175" y="6024"/>
                </a:lnTo>
                <a:lnTo>
                  <a:pt x="9168" y="6026"/>
                </a:lnTo>
                <a:close/>
                <a:moveTo>
                  <a:pt x="5423" y="5219"/>
                </a:moveTo>
                <a:lnTo>
                  <a:pt x="5423" y="5220"/>
                </a:lnTo>
                <a:lnTo>
                  <a:pt x="5424" y="5222"/>
                </a:lnTo>
                <a:lnTo>
                  <a:pt x="5424" y="5220"/>
                </a:lnTo>
                <a:lnTo>
                  <a:pt x="5424" y="5218"/>
                </a:lnTo>
                <a:lnTo>
                  <a:pt x="5423" y="5219"/>
                </a:lnTo>
                <a:lnTo>
                  <a:pt x="5423" y="5219"/>
                </a:lnTo>
                <a:close/>
                <a:moveTo>
                  <a:pt x="5430" y="5234"/>
                </a:moveTo>
                <a:lnTo>
                  <a:pt x="5428" y="5228"/>
                </a:lnTo>
                <a:lnTo>
                  <a:pt x="5424" y="5222"/>
                </a:lnTo>
                <a:lnTo>
                  <a:pt x="5424" y="5226"/>
                </a:lnTo>
                <a:lnTo>
                  <a:pt x="5425" y="5229"/>
                </a:lnTo>
                <a:lnTo>
                  <a:pt x="5428" y="5232"/>
                </a:lnTo>
                <a:lnTo>
                  <a:pt x="5430" y="5234"/>
                </a:lnTo>
                <a:close/>
                <a:moveTo>
                  <a:pt x="2956" y="5163"/>
                </a:moveTo>
                <a:lnTo>
                  <a:pt x="2959" y="5164"/>
                </a:lnTo>
                <a:lnTo>
                  <a:pt x="2962" y="5164"/>
                </a:lnTo>
                <a:lnTo>
                  <a:pt x="2959" y="5163"/>
                </a:lnTo>
                <a:lnTo>
                  <a:pt x="2955" y="5161"/>
                </a:lnTo>
                <a:lnTo>
                  <a:pt x="2952" y="5161"/>
                </a:lnTo>
                <a:lnTo>
                  <a:pt x="2956" y="5163"/>
                </a:lnTo>
                <a:close/>
                <a:moveTo>
                  <a:pt x="2947" y="5158"/>
                </a:moveTo>
                <a:lnTo>
                  <a:pt x="2950" y="5159"/>
                </a:lnTo>
                <a:lnTo>
                  <a:pt x="2951" y="5159"/>
                </a:lnTo>
                <a:lnTo>
                  <a:pt x="2951" y="5158"/>
                </a:lnTo>
                <a:lnTo>
                  <a:pt x="2948" y="5157"/>
                </a:lnTo>
                <a:lnTo>
                  <a:pt x="2948" y="5157"/>
                </a:lnTo>
                <a:lnTo>
                  <a:pt x="2947" y="5158"/>
                </a:lnTo>
                <a:close/>
                <a:moveTo>
                  <a:pt x="2685" y="5152"/>
                </a:moveTo>
                <a:lnTo>
                  <a:pt x="2687" y="5152"/>
                </a:lnTo>
                <a:lnTo>
                  <a:pt x="2689" y="5152"/>
                </a:lnTo>
                <a:lnTo>
                  <a:pt x="2687" y="5152"/>
                </a:lnTo>
                <a:lnTo>
                  <a:pt x="2686" y="5150"/>
                </a:lnTo>
                <a:lnTo>
                  <a:pt x="2686" y="5150"/>
                </a:lnTo>
                <a:lnTo>
                  <a:pt x="2685" y="5152"/>
                </a:lnTo>
                <a:close/>
                <a:moveTo>
                  <a:pt x="2692" y="5156"/>
                </a:moveTo>
                <a:lnTo>
                  <a:pt x="2696" y="5157"/>
                </a:lnTo>
                <a:lnTo>
                  <a:pt x="2700" y="5157"/>
                </a:lnTo>
                <a:lnTo>
                  <a:pt x="2696" y="5156"/>
                </a:lnTo>
                <a:lnTo>
                  <a:pt x="2691" y="5154"/>
                </a:lnTo>
                <a:lnTo>
                  <a:pt x="2690" y="5153"/>
                </a:lnTo>
                <a:lnTo>
                  <a:pt x="2692" y="5156"/>
                </a:lnTo>
                <a:close/>
                <a:moveTo>
                  <a:pt x="8798" y="6357"/>
                </a:moveTo>
                <a:lnTo>
                  <a:pt x="8801" y="6358"/>
                </a:lnTo>
                <a:lnTo>
                  <a:pt x="8803" y="6357"/>
                </a:lnTo>
                <a:lnTo>
                  <a:pt x="8803" y="6356"/>
                </a:lnTo>
                <a:lnTo>
                  <a:pt x="8801" y="6352"/>
                </a:lnTo>
                <a:lnTo>
                  <a:pt x="8798" y="6357"/>
                </a:lnTo>
                <a:close/>
                <a:moveTo>
                  <a:pt x="3928" y="5458"/>
                </a:moveTo>
                <a:lnTo>
                  <a:pt x="3929" y="5455"/>
                </a:lnTo>
                <a:lnTo>
                  <a:pt x="3928" y="5452"/>
                </a:lnTo>
                <a:lnTo>
                  <a:pt x="3926" y="5453"/>
                </a:lnTo>
                <a:lnTo>
                  <a:pt x="3923" y="5455"/>
                </a:lnTo>
                <a:lnTo>
                  <a:pt x="3928" y="5458"/>
                </a:lnTo>
                <a:close/>
                <a:moveTo>
                  <a:pt x="5410" y="5213"/>
                </a:moveTo>
                <a:lnTo>
                  <a:pt x="5415" y="5214"/>
                </a:lnTo>
                <a:lnTo>
                  <a:pt x="5420" y="5217"/>
                </a:lnTo>
                <a:lnTo>
                  <a:pt x="5422" y="5217"/>
                </a:lnTo>
                <a:lnTo>
                  <a:pt x="5420" y="5217"/>
                </a:lnTo>
                <a:lnTo>
                  <a:pt x="5418" y="5214"/>
                </a:lnTo>
                <a:lnTo>
                  <a:pt x="5415" y="5213"/>
                </a:lnTo>
                <a:lnTo>
                  <a:pt x="5413" y="5213"/>
                </a:lnTo>
                <a:lnTo>
                  <a:pt x="5410" y="5213"/>
                </a:lnTo>
                <a:close/>
                <a:moveTo>
                  <a:pt x="5420" y="5217"/>
                </a:moveTo>
                <a:lnTo>
                  <a:pt x="5422" y="5218"/>
                </a:lnTo>
                <a:lnTo>
                  <a:pt x="5420" y="5217"/>
                </a:lnTo>
                <a:close/>
                <a:moveTo>
                  <a:pt x="2939" y="5152"/>
                </a:moveTo>
                <a:lnTo>
                  <a:pt x="2943" y="5154"/>
                </a:lnTo>
                <a:lnTo>
                  <a:pt x="2939" y="5152"/>
                </a:lnTo>
                <a:lnTo>
                  <a:pt x="2943" y="5156"/>
                </a:lnTo>
                <a:lnTo>
                  <a:pt x="2939" y="5152"/>
                </a:lnTo>
                <a:close/>
                <a:moveTo>
                  <a:pt x="2351" y="5133"/>
                </a:moveTo>
                <a:lnTo>
                  <a:pt x="2354" y="5128"/>
                </a:lnTo>
                <a:lnTo>
                  <a:pt x="2356" y="5122"/>
                </a:lnTo>
                <a:lnTo>
                  <a:pt x="2357" y="5121"/>
                </a:lnTo>
                <a:lnTo>
                  <a:pt x="2356" y="5122"/>
                </a:lnTo>
                <a:lnTo>
                  <a:pt x="2354" y="5125"/>
                </a:lnTo>
                <a:lnTo>
                  <a:pt x="2352" y="5126"/>
                </a:lnTo>
                <a:lnTo>
                  <a:pt x="2352" y="5129"/>
                </a:lnTo>
                <a:lnTo>
                  <a:pt x="2351" y="5133"/>
                </a:lnTo>
                <a:close/>
                <a:moveTo>
                  <a:pt x="2356" y="5122"/>
                </a:moveTo>
                <a:lnTo>
                  <a:pt x="2359" y="5121"/>
                </a:lnTo>
                <a:lnTo>
                  <a:pt x="2356" y="5122"/>
                </a:lnTo>
                <a:close/>
                <a:moveTo>
                  <a:pt x="6827" y="5708"/>
                </a:moveTo>
                <a:lnTo>
                  <a:pt x="6835" y="5705"/>
                </a:lnTo>
                <a:lnTo>
                  <a:pt x="6831" y="5703"/>
                </a:lnTo>
                <a:lnTo>
                  <a:pt x="6830" y="5702"/>
                </a:lnTo>
                <a:lnTo>
                  <a:pt x="6829" y="5703"/>
                </a:lnTo>
                <a:lnTo>
                  <a:pt x="6827" y="5708"/>
                </a:lnTo>
                <a:close/>
                <a:moveTo>
                  <a:pt x="853" y="5094"/>
                </a:moveTo>
                <a:lnTo>
                  <a:pt x="855" y="5091"/>
                </a:lnTo>
                <a:lnTo>
                  <a:pt x="855" y="5089"/>
                </a:lnTo>
                <a:lnTo>
                  <a:pt x="852" y="5089"/>
                </a:lnTo>
                <a:lnTo>
                  <a:pt x="848" y="5091"/>
                </a:lnTo>
                <a:lnTo>
                  <a:pt x="851" y="5093"/>
                </a:lnTo>
                <a:lnTo>
                  <a:pt x="853" y="5094"/>
                </a:lnTo>
                <a:close/>
                <a:moveTo>
                  <a:pt x="7409" y="5513"/>
                </a:moveTo>
                <a:lnTo>
                  <a:pt x="7408" y="5512"/>
                </a:lnTo>
                <a:lnTo>
                  <a:pt x="7409" y="5513"/>
                </a:lnTo>
                <a:lnTo>
                  <a:pt x="7408" y="5523"/>
                </a:lnTo>
                <a:lnTo>
                  <a:pt x="7408" y="5534"/>
                </a:lnTo>
                <a:lnTo>
                  <a:pt x="7408" y="5543"/>
                </a:lnTo>
                <a:lnTo>
                  <a:pt x="7409" y="5550"/>
                </a:lnTo>
                <a:lnTo>
                  <a:pt x="7345" y="5553"/>
                </a:lnTo>
                <a:lnTo>
                  <a:pt x="7314" y="5573"/>
                </a:lnTo>
                <a:lnTo>
                  <a:pt x="7337" y="5590"/>
                </a:lnTo>
                <a:lnTo>
                  <a:pt x="7429" y="5578"/>
                </a:lnTo>
                <a:lnTo>
                  <a:pt x="7430" y="5565"/>
                </a:lnTo>
                <a:lnTo>
                  <a:pt x="7429" y="5555"/>
                </a:lnTo>
                <a:lnTo>
                  <a:pt x="7427" y="5555"/>
                </a:lnTo>
                <a:lnTo>
                  <a:pt x="7429" y="5554"/>
                </a:lnTo>
                <a:lnTo>
                  <a:pt x="7423" y="5544"/>
                </a:lnTo>
                <a:lnTo>
                  <a:pt x="7418" y="5534"/>
                </a:lnTo>
                <a:lnTo>
                  <a:pt x="7413" y="5523"/>
                </a:lnTo>
                <a:lnTo>
                  <a:pt x="7409" y="5513"/>
                </a:lnTo>
                <a:lnTo>
                  <a:pt x="7409" y="5512"/>
                </a:lnTo>
                <a:lnTo>
                  <a:pt x="7408" y="5511"/>
                </a:lnTo>
                <a:lnTo>
                  <a:pt x="7408" y="5511"/>
                </a:lnTo>
                <a:lnTo>
                  <a:pt x="7409" y="5513"/>
                </a:lnTo>
                <a:close/>
                <a:moveTo>
                  <a:pt x="7749" y="5849"/>
                </a:moveTo>
                <a:lnTo>
                  <a:pt x="7739" y="5849"/>
                </a:lnTo>
                <a:lnTo>
                  <a:pt x="7729" y="5849"/>
                </a:lnTo>
                <a:lnTo>
                  <a:pt x="7719" y="5848"/>
                </a:lnTo>
                <a:lnTo>
                  <a:pt x="7709" y="5848"/>
                </a:lnTo>
                <a:lnTo>
                  <a:pt x="7719" y="5856"/>
                </a:lnTo>
                <a:lnTo>
                  <a:pt x="7727" y="5858"/>
                </a:lnTo>
                <a:lnTo>
                  <a:pt x="7735" y="5857"/>
                </a:lnTo>
                <a:lnTo>
                  <a:pt x="7749" y="5849"/>
                </a:lnTo>
                <a:close/>
                <a:moveTo>
                  <a:pt x="7751" y="5848"/>
                </a:moveTo>
                <a:lnTo>
                  <a:pt x="7749" y="5849"/>
                </a:lnTo>
                <a:lnTo>
                  <a:pt x="7749" y="5849"/>
                </a:lnTo>
                <a:lnTo>
                  <a:pt x="7751" y="5849"/>
                </a:lnTo>
                <a:lnTo>
                  <a:pt x="7752" y="5849"/>
                </a:lnTo>
                <a:lnTo>
                  <a:pt x="7752" y="5849"/>
                </a:lnTo>
                <a:lnTo>
                  <a:pt x="7752" y="5849"/>
                </a:lnTo>
                <a:lnTo>
                  <a:pt x="7753" y="5848"/>
                </a:lnTo>
                <a:lnTo>
                  <a:pt x="7752" y="5848"/>
                </a:lnTo>
                <a:lnTo>
                  <a:pt x="7751" y="5848"/>
                </a:lnTo>
                <a:close/>
                <a:moveTo>
                  <a:pt x="1093" y="5339"/>
                </a:moveTo>
                <a:lnTo>
                  <a:pt x="1097" y="5343"/>
                </a:lnTo>
                <a:lnTo>
                  <a:pt x="1101" y="5344"/>
                </a:lnTo>
                <a:lnTo>
                  <a:pt x="1104" y="5343"/>
                </a:lnTo>
                <a:lnTo>
                  <a:pt x="1108" y="5340"/>
                </a:lnTo>
                <a:lnTo>
                  <a:pt x="1104" y="5336"/>
                </a:lnTo>
                <a:lnTo>
                  <a:pt x="1102" y="5335"/>
                </a:lnTo>
                <a:lnTo>
                  <a:pt x="1098" y="5335"/>
                </a:lnTo>
                <a:lnTo>
                  <a:pt x="1093" y="5339"/>
                </a:lnTo>
                <a:close/>
                <a:moveTo>
                  <a:pt x="4631" y="5619"/>
                </a:moveTo>
                <a:lnTo>
                  <a:pt x="4631" y="5623"/>
                </a:lnTo>
                <a:lnTo>
                  <a:pt x="4633" y="5625"/>
                </a:lnTo>
                <a:lnTo>
                  <a:pt x="4636" y="5627"/>
                </a:lnTo>
                <a:lnTo>
                  <a:pt x="4640" y="5625"/>
                </a:lnTo>
                <a:lnTo>
                  <a:pt x="4640" y="5620"/>
                </a:lnTo>
                <a:lnTo>
                  <a:pt x="4637" y="5618"/>
                </a:lnTo>
                <a:lnTo>
                  <a:pt x="4635" y="5618"/>
                </a:lnTo>
                <a:lnTo>
                  <a:pt x="4631" y="5619"/>
                </a:lnTo>
                <a:close/>
                <a:moveTo>
                  <a:pt x="971" y="5324"/>
                </a:moveTo>
                <a:lnTo>
                  <a:pt x="972" y="5325"/>
                </a:lnTo>
                <a:lnTo>
                  <a:pt x="971" y="5324"/>
                </a:lnTo>
                <a:lnTo>
                  <a:pt x="968" y="5318"/>
                </a:lnTo>
                <a:lnTo>
                  <a:pt x="966" y="5313"/>
                </a:lnTo>
                <a:lnTo>
                  <a:pt x="962" y="5312"/>
                </a:lnTo>
                <a:lnTo>
                  <a:pt x="954" y="5317"/>
                </a:lnTo>
                <a:lnTo>
                  <a:pt x="963" y="5321"/>
                </a:lnTo>
                <a:lnTo>
                  <a:pt x="971" y="5324"/>
                </a:lnTo>
                <a:close/>
                <a:moveTo>
                  <a:pt x="971" y="5324"/>
                </a:moveTo>
                <a:lnTo>
                  <a:pt x="972" y="5326"/>
                </a:lnTo>
                <a:lnTo>
                  <a:pt x="971" y="5324"/>
                </a:lnTo>
                <a:close/>
                <a:moveTo>
                  <a:pt x="6976" y="5217"/>
                </a:moveTo>
                <a:lnTo>
                  <a:pt x="6976" y="5217"/>
                </a:lnTo>
                <a:lnTo>
                  <a:pt x="6976" y="5217"/>
                </a:lnTo>
                <a:lnTo>
                  <a:pt x="6978" y="5217"/>
                </a:lnTo>
                <a:lnTo>
                  <a:pt x="6978" y="5217"/>
                </a:lnTo>
                <a:lnTo>
                  <a:pt x="6976" y="5214"/>
                </a:lnTo>
                <a:lnTo>
                  <a:pt x="6976" y="5213"/>
                </a:lnTo>
                <a:lnTo>
                  <a:pt x="6976" y="5214"/>
                </a:lnTo>
                <a:lnTo>
                  <a:pt x="6976" y="5217"/>
                </a:lnTo>
                <a:close/>
                <a:moveTo>
                  <a:pt x="6971" y="5203"/>
                </a:moveTo>
                <a:lnTo>
                  <a:pt x="6974" y="5208"/>
                </a:lnTo>
                <a:lnTo>
                  <a:pt x="6976" y="5213"/>
                </a:lnTo>
                <a:lnTo>
                  <a:pt x="6974" y="5208"/>
                </a:lnTo>
                <a:lnTo>
                  <a:pt x="6971" y="5203"/>
                </a:lnTo>
                <a:close/>
                <a:moveTo>
                  <a:pt x="7120" y="5452"/>
                </a:moveTo>
                <a:lnTo>
                  <a:pt x="7129" y="5450"/>
                </a:lnTo>
                <a:lnTo>
                  <a:pt x="7124" y="5447"/>
                </a:lnTo>
                <a:lnTo>
                  <a:pt x="7122" y="5446"/>
                </a:lnTo>
                <a:lnTo>
                  <a:pt x="7120" y="5447"/>
                </a:lnTo>
                <a:lnTo>
                  <a:pt x="7120" y="5452"/>
                </a:lnTo>
                <a:close/>
                <a:moveTo>
                  <a:pt x="7658" y="5190"/>
                </a:moveTo>
                <a:lnTo>
                  <a:pt x="7658" y="5189"/>
                </a:lnTo>
                <a:lnTo>
                  <a:pt x="7658" y="5187"/>
                </a:lnTo>
                <a:lnTo>
                  <a:pt x="7658" y="5187"/>
                </a:lnTo>
                <a:lnTo>
                  <a:pt x="7657" y="5189"/>
                </a:lnTo>
                <a:lnTo>
                  <a:pt x="7658" y="5189"/>
                </a:lnTo>
                <a:lnTo>
                  <a:pt x="7657" y="5189"/>
                </a:lnTo>
                <a:lnTo>
                  <a:pt x="7657" y="5190"/>
                </a:lnTo>
                <a:lnTo>
                  <a:pt x="7658" y="5190"/>
                </a:lnTo>
                <a:lnTo>
                  <a:pt x="7658" y="5190"/>
                </a:lnTo>
                <a:lnTo>
                  <a:pt x="7658" y="5190"/>
                </a:lnTo>
                <a:close/>
                <a:moveTo>
                  <a:pt x="7673" y="5178"/>
                </a:moveTo>
                <a:lnTo>
                  <a:pt x="7668" y="5182"/>
                </a:lnTo>
                <a:lnTo>
                  <a:pt x="7673" y="5178"/>
                </a:lnTo>
                <a:lnTo>
                  <a:pt x="7662" y="5171"/>
                </a:lnTo>
                <a:lnTo>
                  <a:pt x="7673" y="5178"/>
                </a:lnTo>
                <a:close/>
                <a:moveTo>
                  <a:pt x="7659" y="5170"/>
                </a:moveTo>
                <a:lnTo>
                  <a:pt x="7659" y="5167"/>
                </a:lnTo>
                <a:lnTo>
                  <a:pt x="7658" y="5166"/>
                </a:lnTo>
                <a:lnTo>
                  <a:pt x="7658" y="5168"/>
                </a:lnTo>
                <a:lnTo>
                  <a:pt x="7659" y="5170"/>
                </a:lnTo>
                <a:close/>
                <a:moveTo>
                  <a:pt x="5624" y="5787"/>
                </a:moveTo>
                <a:lnTo>
                  <a:pt x="5627" y="5787"/>
                </a:lnTo>
                <a:lnTo>
                  <a:pt x="5630" y="5786"/>
                </a:lnTo>
                <a:lnTo>
                  <a:pt x="5629" y="5781"/>
                </a:lnTo>
                <a:lnTo>
                  <a:pt x="5625" y="5779"/>
                </a:lnTo>
                <a:lnTo>
                  <a:pt x="5621" y="5782"/>
                </a:lnTo>
                <a:lnTo>
                  <a:pt x="5624" y="5787"/>
                </a:lnTo>
                <a:close/>
                <a:moveTo>
                  <a:pt x="4335" y="5045"/>
                </a:moveTo>
                <a:lnTo>
                  <a:pt x="4331" y="5046"/>
                </a:lnTo>
                <a:lnTo>
                  <a:pt x="4329" y="5049"/>
                </a:lnTo>
                <a:lnTo>
                  <a:pt x="4330" y="5052"/>
                </a:lnTo>
                <a:lnTo>
                  <a:pt x="4335" y="5055"/>
                </a:lnTo>
                <a:lnTo>
                  <a:pt x="4339" y="5052"/>
                </a:lnTo>
                <a:lnTo>
                  <a:pt x="4342" y="5050"/>
                </a:lnTo>
                <a:lnTo>
                  <a:pt x="4340" y="5047"/>
                </a:lnTo>
                <a:lnTo>
                  <a:pt x="4335" y="5045"/>
                </a:lnTo>
                <a:close/>
                <a:moveTo>
                  <a:pt x="5812" y="5061"/>
                </a:moveTo>
                <a:lnTo>
                  <a:pt x="5809" y="5059"/>
                </a:lnTo>
                <a:lnTo>
                  <a:pt x="5804" y="5056"/>
                </a:lnTo>
                <a:lnTo>
                  <a:pt x="5807" y="5060"/>
                </a:lnTo>
                <a:lnTo>
                  <a:pt x="5812" y="5061"/>
                </a:lnTo>
                <a:close/>
                <a:moveTo>
                  <a:pt x="3566" y="5018"/>
                </a:moveTo>
                <a:lnTo>
                  <a:pt x="3567" y="5019"/>
                </a:lnTo>
                <a:lnTo>
                  <a:pt x="3569" y="5018"/>
                </a:lnTo>
                <a:lnTo>
                  <a:pt x="3569" y="5018"/>
                </a:lnTo>
                <a:lnTo>
                  <a:pt x="3569" y="5018"/>
                </a:lnTo>
                <a:lnTo>
                  <a:pt x="3566" y="5018"/>
                </a:lnTo>
                <a:close/>
                <a:moveTo>
                  <a:pt x="3579" y="5012"/>
                </a:moveTo>
                <a:lnTo>
                  <a:pt x="3575" y="5014"/>
                </a:lnTo>
                <a:lnTo>
                  <a:pt x="3570" y="5018"/>
                </a:lnTo>
                <a:lnTo>
                  <a:pt x="3575" y="5016"/>
                </a:lnTo>
                <a:lnTo>
                  <a:pt x="3579" y="5012"/>
                </a:lnTo>
                <a:close/>
                <a:moveTo>
                  <a:pt x="9108" y="6008"/>
                </a:moveTo>
                <a:lnTo>
                  <a:pt x="9102" y="6006"/>
                </a:lnTo>
                <a:lnTo>
                  <a:pt x="9096" y="6007"/>
                </a:lnTo>
                <a:lnTo>
                  <a:pt x="9089" y="6010"/>
                </a:lnTo>
                <a:lnTo>
                  <a:pt x="9083" y="6012"/>
                </a:lnTo>
                <a:lnTo>
                  <a:pt x="9090" y="6015"/>
                </a:lnTo>
                <a:lnTo>
                  <a:pt x="9101" y="6016"/>
                </a:lnTo>
                <a:lnTo>
                  <a:pt x="9108" y="6015"/>
                </a:lnTo>
                <a:lnTo>
                  <a:pt x="9108" y="6008"/>
                </a:lnTo>
                <a:close/>
                <a:moveTo>
                  <a:pt x="9080" y="6011"/>
                </a:moveTo>
                <a:lnTo>
                  <a:pt x="9082" y="6011"/>
                </a:lnTo>
                <a:lnTo>
                  <a:pt x="9080" y="6011"/>
                </a:lnTo>
                <a:lnTo>
                  <a:pt x="9080" y="6011"/>
                </a:lnTo>
                <a:lnTo>
                  <a:pt x="9079" y="6012"/>
                </a:lnTo>
                <a:lnTo>
                  <a:pt x="9079" y="6012"/>
                </a:lnTo>
                <a:lnTo>
                  <a:pt x="9080" y="6012"/>
                </a:lnTo>
                <a:lnTo>
                  <a:pt x="9082" y="6012"/>
                </a:lnTo>
                <a:lnTo>
                  <a:pt x="9080" y="6012"/>
                </a:lnTo>
                <a:lnTo>
                  <a:pt x="9080" y="6012"/>
                </a:lnTo>
                <a:lnTo>
                  <a:pt x="9080" y="6011"/>
                </a:lnTo>
                <a:lnTo>
                  <a:pt x="9080" y="6011"/>
                </a:lnTo>
                <a:close/>
                <a:moveTo>
                  <a:pt x="7664" y="5952"/>
                </a:moveTo>
                <a:lnTo>
                  <a:pt x="7658" y="5956"/>
                </a:lnTo>
                <a:lnTo>
                  <a:pt x="7657" y="5963"/>
                </a:lnTo>
                <a:lnTo>
                  <a:pt x="7660" y="5966"/>
                </a:lnTo>
                <a:lnTo>
                  <a:pt x="7668" y="5966"/>
                </a:lnTo>
                <a:lnTo>
                  <a:pt x="7671" y="5961"/>
                </a:lnTo>
                <a:lnTo>
                  <a:pt x="7672" y="5957"/>
                </a:lnTo>
                <a:lnTo>
                  <a:pt x="7669" y="5954"/>
                </a:lnTo>
                <a:lnTo>
                  <a:pt x="7664" y="5952"/>
                </a:lnTo>
                <a:close/>
                <a:moveTo>
                  <a:pt x="7287" y="5945"/>
                </a:moveTo>
                <a:lnTo>
                  <a:pt x="7288" y="5945"/>
                </a:lnTo>
                <a:lnTo>
                  <a:pt x="7288" y="5946"/>
                </a:lnTo>
                <a:lnTo>
                  <a:pt x="7288" y="5943"/>
                </a:lnTo>
                <a:lnTo>
                  <a:pt x="7288" y="5943"/>
                </a:lnTo>
                <a:lnTo>
                  <a:pt x="7288" y="5943"/>
                </a:lnTo>
                <a:lnTo>
                  <a:pt x="7287" y="5945"/>
                </a:lnTo>
                <a:close/>
                <a:moveTo>
                  <a:pt x="7288" y="5942"/>
                </a:moveTo>
                <a:lnTo>
                  <a:pt x="7292" y="5937"/>
                </a:lnTo>
                <a:lnTo>
                  <a:pt x="7296" y="5931"/>
                </a:lnTo>
                <a:lnTo>
                  <a:pt x="7297" y="5924"/>
                </a:lnTo>
                <a:lnTo>
                  <a:pt x="7294" y="5918"/>
                </a:lnTo>
                <a:lnTo>
                  <a:pt x="7288" y="5923"/>
                </a:lnTo>
                <a:lnTo>
                  <a:pt x="7287" y="5929"/>
                </a:lnTo>
                <a:lnTo>
                  <a:pt x="7288" y="5936"/>
                </a:lnTo>
                <a:lnTo>
                  <a:pt x="7288" y="5942"/>
                </a:lnTo>
                <a:close/>
                <a:moveTo>
                  <a:pt x="8878" y="5923"/>
                </a:moveTo>
                <a:lnTo>
                  <a:pt x="8873" y="5921"/>
                </a:lnTo>
                <a:lnTo>
                  <a:pt x="8870" y="5921"/>
                </a:lnTo>
                <a:lnTo>
                  <a:pt x="8866" y="5923"/>
                </a:lnTo>
                <a:lnTo>
                  <a:pt x="8865" y="5928"/>
                </a:lnTo>
                <a:lnTo>
                  <a:pt x="8870" y="5931"/>
                </a:lnTo>
                <a:lnTo>
                  <a:pt x="8874" y="5932"/>
                </a:lnTo>
                <a:lnTo>
                  <a:pt x="8877" y="5929"/>
                </a:lnTo>
                <a:lnTo>
                  <a:pt x="8878" y="5923"/>
                </a:lnTo>
                <a:close/>
                <a:moveTo>
                  <a:pt x="7772" y="5829"/>
                </a:moveTo>
                <a:lnTo>
                  <a:pt x="7767" y="5830"/>
                </a:lnTo>
                <a:lnTo>
                  <a:pt x="7762" y="5833"/>
                </a:lnTo>
                <a:lnTo>
                  <a:pt x="7755" y="5847"/>
                </a:lnTo>
                <a:lnTo>
                  <a:pt x="7765" y="5847"/>
                </a:lnTo>
                <a:lnTo>
                  <a:pt x="7776" y="5838"/>
                </a:lnTo>
                <a:lnTo>
                  <a:pt x="7772" y="5829"/>
                </a:lnTo>
                <a:close/>
                <a:moveTo>
                  <a:pt x="6095" y="5773"/>
                </a:moveTo>
                <a:lnTo>
                  <a:pt x="6103" y="5775"/>
                </a:lnTo>
                <a:lnTo>
                  <a:pt x="6102" y="5773"/>
                </a:lnTo>
                <a:lnTo>
                  <a:pt x="6100" y="5772"/>
                </a:lnTo>
                <a:lnTo>
                  <a:pt x="6099" y="5772"/>
                </a:lnTo>
                <a:lnTo>
                  <a:pt x="6095" y="5773"/>
                </a:lnTo>
                <a:close/>
                <a:moveTo>
                  <a:pt x="8264" y="5814"/>
                </a:moveTo>
                <a:lnTo>
                  <a:pt x="8256" y="5815"/>
                </a:lnTo>
                <a:lnTo>
                  <a:pt x="8253" y="5821"/>
                </a:lnTo>
                <a:lnTo>
                  <a:pt x="8254" y="5828"/>
                </a:lnTo>
                <a:lnTo>
                  <a:pt x="8260" y="5831"/>
                </a:lnTo>
                <a:lnTo>
                  <a:pt x="8268" y="5830"/>
                </a:lnTo>
                <a:lnTo>
                  <a:pt x="8270" y="5825"/>
                </a:lnTo>
                <a:lnTo>
                  <a:pt x="8270" y="5819"/>
                </a:lnTo>
                <a:lnTo>
                  <a:pt x="8264" y="5814"/>
                </a:lnTo>
                <a:close/>
                <a:moveTo>
                  <a:pt x="5932" y="5746"/>
                </a:moveTo>
                <a:lnTo>
                  <a:pt x="5927" y="5751"/>
                </a:lnTo>
                <a:lnTo>
                  <a:pt x="5928" y="5756"/>
                </a:lnTo>
                <a:lnTo>
                  <a:pt x="5933" y="5759"/>
                </a:lnTo>
                <a:lnTo>
                  <a:pt x="5940" y="5756"/>
                </a:lnTo>
                <a:lnTo>
                  <a:pt x="5941" y="5751"/>
                </a:lnTo>
                <a:lnTo>
                  <a:pt x="5939" y="5749"/>
                </a:lnTo>
                <a:lnTo>
                  <a:pt x="5936" y="5746"/>
                </a:lnTo>
                <a:lnTo>
                  <a:pt x="5932" y="5746"/>
                </a:lnTo>
                <a:close/>
                <a:moveTo>
                  <a:pt x="9876" y="5793"/>
                </a:moveTo>
                <a:lnTo>
                  <a:pt x="9876" y="5793"/>
                </a:lnTo>
                <a:lnTo>
                  <a:pt x="9876" y="5793"/>
                </a:lnTo>
                <a:lnTo>
                  <a:pt x="9878" y="5793"/>
                </a:lnTo>
                <a:lnTo>
                  <a:pt x="9878" y="5793"/>
                </a:lnTo>
                <a:lnTo>
                  <a:pt x="9878" y="5792"/>
                </a:lnTo>
                <a:lnTo>
                  <a:pt x="9876" y="5793"/>
                </a:lnTo>
                <a:close/>
                <a:moveTo>
                  <a:pt x="9879" y="5793"/>
                </a:moveTo>
                <a:lnTo>
                  <a:pt x="9885" y="5800"/>
                </a:lnTo>
                <a:lnTo>
                  <a:pt x="9893" y="5806"/>
                </a:lnTo>
                <a:lnTo>
                  <a:pt x="9902" y="5809"/>
                </a:lnTo>
                <a:lnTo>
                  <a:pt x="9909" y="5805"/>
                </a:lnTo>
                <a:lnTo>
                  <a:pt x="9903" y="5798"/>
                </a:lnTo>
                <a:lnTo>
                  <a:pt x="9895" y="5795"/>
                </a:lnTo>
                <a:lnTo>
                  <a:pt x="9888" y="5793"/>
                </a:lnTo>
                <a:lnTo>
                  <a:pt x="9879" y="5793"/>
                </a:lnTo>
                <a:close/>
                <a:moveTo>
                  <a:pt x="4433" y="5639"/>
                </a:moveTo>
                <a:lnTo>
                  <a:pt x="4435" y="5632"/>
                </a:lnTo>
                <a:lnTo>
                  <a:pt x="4431" y="5634"/>
                </a:lnTo>
                <a:lnTo>
                  <a:pt x="4429" y="5635"/>
                </a:lnTo>
                <a:lnTo>
                  <a:pt x="4429" y="5637"/>
                </a:lnTo>
                <a:lnTo>
                  <a:pt x="4433" y="5639"/>
                </a:lnTo>
                <a:close/>
                <a:moveTo>
                  <a:pt x="5862" y="5614"/>
                </a:moveTo>
                <a:lnTo>
                  <a:pt x="5860" y="5620"/>
                </a:lnTo>
                <a:lnTo>
                  <a:pt x="5862" y="5624"/>
                </a:lnTo>
                <a:lnTo>
                  <a:pt x="5867" y="5625"/>
                </a:lnTo>
                <a:lnTo>
                  <a:pt x="5872" y="5620"/>
                </a:lnTo>
                <a:lnTo>
                  <a:pt x="5872" y="5616"/>
                </a:lnTo>
                <a:lnTo>
                  <a:pt x="5870" y="5614"/>
                </a:lnTo>
                <a:lnTo>
                  <a:pt x="5866" y="5613"/>
                </a:lnTo>
                <a:lnTo>
                  <a:pt x="5862" y="5614"/>
                </a:lnTo>
                <a:close/>
                <a:moveTo>
                  <a:pt x="3687" y="5495"/>
                </a:moveTo>
                <a:lnTo>
                  <a:pt x="3691" y="5498"/>
                </a:lnTo>
                <a:lnTo>
                  <a:pt x="3695" y="5499"/>
                </a:lnTo>
                <a:lnTo>
                  <a:pt x="3700" y="5497"/>
                </a:lnTo>
                <a:lnTo>
                  <a:pt x="3704" y="5494"/>
                </a:lnTo>
                <a:lnTo>
                  <a:pt x="3700" y="5488"/>
                </a:lnTo>
                <a:lnTo>
                  <a:pt x="3693" y="5485"/>
                </a:lnTo>
                <a:lnTo>
                  <a:pt x="3688" y="5488"/>
                </a:lnTo>
                <a:lnTo>
                  <a:pt x="3687" y="5495"/>
                </a:lnTo>
                <a:close/>
                <a:moveTo>
                  <a:pt x="8396" y="5593"/>
                </a:moveTo>
                <a:lnTo>
                  <a:pt x="8405" y="5592"/>
                </a:lnTo>
                <a:lnTo>
                  <a:pt x="8402" y="5590"/>
                </a:lnTo>
                <a:lnTo>
                  <a:pt x="8399" y="5588"/>
                </a:lnTo>
                <a:lnTo>
                  <a:pt x="8398" y="5590"/>
                </a:lnTo>
                <a:lnTo>
                  <a:pt x="8396" y="5593"/>
                </a:lnTo>
                <a:close/>
                <a:moveTo>
                  <a:pt x="7753" y="5508"/>
                </a:moveTo>
                <a:lnTo>
                  <a:pt x="7761" y="5520"/>
                </a:lnTo>
                <a:lnTo>
                  <a:pt x="7770" y="5517"/>
                </a:lnTo>
                <a:lnTo>
                  <a:pt x="7771" y="5509"/>
                </a:lnTo>
                <a:lnTo>
                  <a:pt x="7760" y="5503"/>
                </a:lnTo>
                <a:lnTo>
                  <a:pt x="7756" y="5506"/>
                </a:lnTo>
                <a:lnTo>
                  <a:pt x="7753" y="5508"/>
                </a:lnTo>
                <a:close/>
                <a:moveTo>
                  <a:pt x="7380" y="5495"/>
                </a:moveTo>
                <a:lnTo>
                  <a:pt x="7369" y="5494"/>
                </a:lnTo>
                <a:lnTo>
                  <a:pt x="7359" y="5495"/>
                </a:lnTo>
                <a:lnTo>
                  <a:pt x="7351" y="5501"/>
                </a:lnTo>
                <a:lnTo>
                  <a:pt x="7343" y="5509"/>
                </a:lnTo>
                <a:lnTo>
                  <a:pt x="7343" y="5509"/>
                </a:lnTo>
                <a:lnTo>
                  <a:pt x="7342" y="5509"/>
                </a:lnTo>
                <a:lnTo>
                  <a:pt x="7342" y="5509"/>
                </a:lnTo>
                <a:lnTo>
                  <a:pt x="7343" y="5509"/>
                </a:lnTo>
                <a:lnTo>
                  <a:pt x="7369" y="5509"/>
                </a:lnTo>
                <a:lnTo>
                  <a:pt x="7392" y="5511"/>
                </a:lnTo>
                <a:lnTo>
                  <a:pt x="7401" y="5507"/>
                </a:lnTo>
                <a:lnTo>
                  <a:pt x="7380" y="5495"/>
                </a:lnTo>
                <a:close/>
                <a:moveTo>
                  <a:pt x="1013" y="5316"/>
                </a:moveTo>
                <a:lnTo>
                  <a:pt x="1002" y="5324"/>
                </a:lnTo>
                <a:lnTo>
                  <a:pt x="1008" y="5326"/>
                </a:lnTo>
                <a:lnTo>
                  <a:pt x="1020" y="5324"/>
                </a:lnTo>
                <a:lnTo>
                  <a:pt x="1029" y="5316"/>
                </a:lnTo>
                <a:lnTo>
                  <a:pt x="1020" y="5315"/>
                </a:lnTo>
                <a:lnTo>
                  <a:pt x="1013" y="5316"/>
                </a:lnTo>
                <a:close/>
                <a:moveTo>
                  <a:pt x="4237" y="5400"/>
                </a:moveTo>
                <a:lnTo>
                  <a:pt x="4241" y="5390"/>
                </a:lnTo>
                <a:lnTo>
                  <a:pt x="4227" y="5385"/>
                </a:lnTo>
                <a:lnTo>
                  <a:pt x="4217" y="5387"/>
                </a:lnTo>
                <a:lnTo>
                  <a:pt x="4228" y="5399"/>
                </a:lnTo>
                <a:lnTo>
                  <a:pt x="4232" y="5400"/>
                </a:lnTo>
                <a:lnTo>
                  <a:pt x="4237" y="5400"/>
                </a:lnTo>
                <a:close/>
                <a:moveTo>
                  <a:pt x="4216" y="5387"/>
                </a:moveTo>
                <a:lnTo>
                  <a:pt x="4214" y="5386"/>
                </a:lnTo>
                <a:lnTo>
                  <a:pt x="4213" y="5386"/>
                </a:lnTo>
                <a:lnTo>
                  <a:pt x="4213" y="5387"/>
                </a:lnTo>
                <a:lnTo>
                  <a:pt x="4216" y="5387"/>
                </a:lnTo>
                <a:close/>
                <a:moveTo>
                  <a:pt x="7761" y="5460"/>
                </a:moveTo>
                <a:lnTo>
                  <a:pt x="7765" y="5462"/>
                </a:lnTo>
                <a:lnTo>
                  <a:pt x="7767" y="5462"/>
                </a:lnTo>
                <a:lnTo>
                  <a:pt x="7769" y="5460"/>
                </a:lnTo>
                <a:lnTo>
                  <a:pt x="7769" y="5456"/>
                </a:lnTo>
                <a:lnTo>
                  <a:pt x="7761" y="5460"/>
                </a:lnTo>
                <a:close/>
                <a:moveTo>
                  <a:pt x="2377" y="5270"/>
                </a:moveTo>
                <a:lnTo>
                  <a:pt x="2380" y="5273"/>
                </a:lnTo>
                <a:lnTo>
                  <a:pt x="2383" y="5273"/>
                </a:lnTo>
                <a:lnTo>
                  <a:pt x="2386" y="5271"/>
                </a:lnTo>
                <a:lnTo>
                  <a:pt x="2387" y="5268"/>
                </a:lnTo>
                <a:lnTo>
                  <a:pt x="2384" y="5265"/>
                </a:lnTo>
                <a:lnTo>
                  <a:pt x="2380" y="5264"/>
                </a:lnTo>
                <a:lnTo>
                  <a:pt x="2378" y="5266"/>
                </a:lnTo>
                <a:lnTo>
                  <a:pt x="2377" y="5270"/>
                </a:lnTo>
                <a:close/>
                <a:moveTo>
                  <a:pt x="5560" y="5255"/>
                </a:moveTo>
                <a:lnTo>
                  <a:pt x="5562" y="5257"/>
                </a:lnTo>
                <a:lnTo>
                  <a:pt x="5564" y="5259"/>
                </a:lnTo>
                <a:lnTo>
                  <a:pt x="5565" y="5257"/>
                </a:lnTo>
                <a:lnTo>
                  <a:pt x="5568" y="5255"/>
                </a:lnTo>
                <a:lnTo>
                  <a:pt x="5560" y="5255"/>
                </a:lnTo>
                <a:close/>
                <a:moveTo>
                  <a:pt x="2840" y="5176"/>
                </a:moveTo>
                <a:lnTo>
                  <a:pt x="2840" y="5181"/>
                </a:lnTo>
                <a:lnTo>
                  <a:pt x="2841" y="5184"/>
                </a:lnTo>
                <a:lnTo>
                  <a:pt x="2845" y="5184"/>
                </a:lnTo>
                <a:lnTo>
                  <a:pt x="2850" y="5181"/>
                </a:lnTo>
                <a:lnTo>
                  <a:pt x="2849" y="5176"/>
                </a:lnTo>
                <a:lnTo>
                  <a:pt x="2847" y="5173"/>
                </a:lnTo>
                <a:lnTo>
                  <a:pt x="2844" y="5173"/>
                </a:lnTo>
                <a:lnTo>
                  <a:pt x="2840" y="5176"/>
                </a:lnTo>
                <a:close/>
                <a:moveTo>
                  <a:pt x="2265" y="5114"/>
                </a:moveTo>
                <a:lnTo>
                  <a:pt x="2276" y="5116"/>
                </a:lnTo>
                <a:lnTo>
                  <a:pt x="2281" y="5112"/>
                </a:lnTo>
                <a:lnTo>
                  <a:pt x="2277" y="5107"/>
                </a:lnTo>
                <a:lnTo>
                  <a:pt x="2266" y="5106"/>
                </a:lnTo>
                <a:lnTo>
                  <a:pt x="2265" y="5110"/>
                </a:lnTo>
                <a:lnTo>
                  <a:pt x="2265" y="5114"/>
                </a:lnTo>
                <a:close/>
                <a:moveTo>
                  <a:pt x="5555" y="5172"/>
                </a:moveTo>
                <a:lnTo>
                  <a:pt x="5555" y="5166"/>
                </a:lnTo>
                <a:lnTo>
                  <a:pt x="5551" y="5161"/>
                </a:lnTo>
                <a:lnTo>
                  <a:pt x="5544" y="5159"/>
                </a:lnTo>
                <a:lnTo>
                  <a:pt x="5537" y="5163"/>
                </a:lnTo>
                <a:lnTo>
                  <a:pt x="5537" y="5171"/>
                </a:lnTo>
                <a:lnTo>
                  <a:pt x="5541" y="5176"/>
                </a:lnTo>
                <a:lnTo>
                  <a:pt x="5549" y="5177"/>
                </a:lnTo>
                <a:lnTo>
                  <a:pt x="5555" y="5172"/>
                </a:lnTo>
                <a:close/>
                <a:moveTo>
                  <a:pt x="8056" y="5199"/>
                </a:moveTo>
                <a:lnTo>
                  <a:pt x="8059" y="5191"/>
                </a:lnTo>
                <a:lnTo>
                  <a:pt x="8053" y="5186"/>
                </a:lnTo>
                <a:lnTo>
                  <a:pt x="8045" y="5189"/>
                </a:lnTo>
                <a:lnTo>
                  <a:pt x="8047" y="5198"/>
                </a:lnTo>
                <a:lnTo>
                  <a:pt x="8051" y="5200"/>
                </a:lnTo>
                <a:lnTo>
                  <a:pt x="8056" y="5199"/>
                </a:lnTo>
                <a:close/>
                <a:moveTo>
                  <a:pt x="6959" y="5128"/>
                </a:moveTo>
                <a:lnTo>
                  <a:pt x="6961" y="5130"/>
                </a:lnTo>
                <a:lnTo>
                  <a:pt x="6965" y="5130"/>
                </a:lnTo>
                <a:lnTo>
                  <a:pt x="6968" y="5128"/>
                </a:lnTo>
                <a:lnTo>
                  <a:pt x="6969" y="5124"/>
                </a:lnTo>
                <a:lnTo>
                  <a:pt x="6965" y="5121"/>
                </a:lnTo>
                <a:lnTo>
                  <a:pt x="6961" y="5121"/>
                </a:lnTo>
                <a:lnTo>
                  <a:pt x="6959" y="5122"/>
                </a:lnTo>
                <a:lnTo>
                  <a:pt x="6959" y="5128"/>
                </a:lnTo>
                <a:close/>
                <a:moveTo>
                  <a:pt x="3237" y="5032"/>
                </a:moveTo>
                <a:lnTo>
                  <a:pt x="3235" y="5038"/>
                </a:lnTo>
                <a:lnTo>
                  <a:pt x="3237" y="5042"/>
                </a:lnTo>
                <a:lnTo>
                  <a:pt x="3244" y="5042"/>
                </a:lnTo>
                <a:lnTo>
                  <a:pt x="3249" y="5037"/>
                </a:lnTo>
                <a:lnTo>
                  <a:pt x="3246" y="5033"/>
                </a:lnTo>
                <a:lnTo>
                  <a:pt x="3244" y="5030"/>
                </a:lnTo>
                <a:lnTo>
                  <a:pt x="3241" y="5030"/>
                </a:lnTo>
                <a:lnTo>
                  <a:pt x="3237" y="5032"/>
                </a:lnTo>
                <a:close/>
                <a:moveTo>
                  <a:pt x="2635" y="4996"/>
                </a:moveTo>
                <a:lnTo>
                  <a:pt x="2639" y="4993"/>
                </a:lnTo>
                <a:lnTo>
                  <a:pt x="2643" y="4988"/>
                </a:lnTo>
                <a:lnTo>
                  <a:pt x="2644" y="4981"/>
                </a:lnTo>
                <a:lnTo>
                  <a:pt x="2645" y="4975"/>
                </a:lnTo>
                <a:lnTo>
                  <a:pt x="2639" y="4980"/>
                </a:lnTo>
                <a:lnTo>
                  <a:pt x="2631" y="4986"/>
                </a:lnTo>
                <a:lnTo>
                  <a:pt x="2629" y="4993"/>
                </a:lnTo>
                <a:lnTo>
                  <a:pt x="2635" y="4996"/>
                </a:lnTo>
                <a:close/>
                <a:moveTo>
                  <a:pt x="5387" y="5010"/>
                </a:moveTo>
                <a:lnTo>
                  <a:pt x="5385" y="5016"/>
                </a:lnTo>
                <a:lnTo>
                  <a:pt x="5385" y="5018"/>
                </a:lnTo>
                <a:lnTo>
                  <a:pt x="5386" y="5021"/>
                </a:lnTo>
                <a:lnTo>
                  <a:pt x="5391" y="5023"/>
                </a:lnTo>
                <a:lnTo>
                  <a:pt x="5394" y="5019"/>
                </a:lnTo>
                <a:lnTo>
                  <a:pt x="5394" y="5016"/>
                </a:lnTo>
                <a:lnTo>
                  <a:pt x="5391" y="5013"/>
                </a:lnTo>
                <a:lnTo>
                  <a:pt x="5387" y="5010"/>
                </a:lnTo>
                <a:close/>
                <a:moveTo>
                  <a:pt x="4840" y="4984"/>
                </a:moveTo>
                <a:lnTo>
                  <a:pt x="4848" y="4977"/>
                </a:lnTo>
                <a:lnTo>
                  <a:pt x="4842" y="4970"/>
                </a:lnTo>
                <a:lnTo>
                  <a:pt x="4829" y="4965"/>
                </a:lnTo>
                <a:lnTo>
                  <a:pt x="4817" y="4965"/>
                </a:lnTo>
                <a:lnTo>
                  <a:pt x="4822" y="4971"/>
                </a:lnTo>
                <a:lnTo>
                  <a:pt x="4827" y="4976"/>
                </a:lnTo>
                <a:lnTo>
                  <a:pt x="4832" y="4981"/>
                </a:lnTo>
                <a:lnTo>
                  <a:pt x="4840" y="4984"/>
                </a:lnTo>
                <a:close/>
                <a:moveTo>
                  <a:pt x="6237" y="4900"/>
                </a:moveTo>
                <a:lnTo>
                  <a:pt x="6240" y="4900"/>
                </a:lnTo>
                <a:lnTo>
                  <a:pt x="6243" y="4897"/>
                </a:lnTo>
                <a:lnTo>
                  <a:pt x="6243" y="4893"/>
                </a:lnTo>
                <a:lnTo>
                  <a:pt x="6242" y="4891"/>
                </a:lnTo>
                <a:lnTo>
                  <a:pt x="6237" y="4891"/>
                </a:lnTo>
                <a:lnTo>
                  <a:pt x="6234" y="4893"/>
                </a:lnTo>
                <a:lnTo>
                  <a:pt x="6234" y="4897"/>
                </a:lnTo>
                <a:lnTo>
                  <a:pt x="6237" y="4900"/>
                </a:lnTo>
                <a:close/>
                <a:moveTo>
                  <a:pt x="578" y="3348"/>
                </a:moveTo>
                <a:lnTo>
                  <a:pt x="585" y="3344"/>
                </a:lnTo>
                <a:lnTo>
                  <a:pt x="586" y="3339"/>
                </a:lnTo>
                <a:lnTo>
                  <a:pt x="582" y="3337"/>
                </a:lnTo>
                <a:lnTo>
                  <a:pt x="576" y="3340"/>
                </a:lnTo>
                <a:lnTo>
                  <a:pt x="577" y="3343"/>
                </a:lnTo>
                <a:lnTo>
                  <a:pt x="578" y="3348"/>
                </a:lnTo>
                <a:close/>
                <a:moveTo>
                  <a:pt x="8744" y="6582"/>
                </a:moveTo>
                <a:lnTo>
                  <a:pt x="8747" y="6588"/>
                </a:lnTo>
                <a:lnTo>
                  <a:pt x="8752" y="6589"/>
                </a:lnTo>
                <a:lnTo>
                  <a:pt x="8757" y="6588"/>
                </a:lnTo>
                <a:lnTo>
                  <a:pt x="8763" y="6586"/>
                </a:lnTo>
                <a:lnTo>
                  <a:pt x="8761" y="6580"/>
                </a:lnTo>
                <a:lnTo>
                  <a:pt x="8757" y="6579"/>
                </a:lnTo>
                <a:lnTo>
                  <a:pt x="8750" y="6580"/>
                </a:lnTo>
                <a:lnTo>
                  <a:pt x="8744" y="6582"/>
                </a:lnTo>
                <a:close/>
                <a:moveTo>
                  <a:pt x="8702" y="6202"/>
                </a:moveTo>
                <a:lnTo>
                  <a:pt x="8698" y="6207"/>
                </a:lnTo>
                <a:lnTo>
                  <a:pt x="8701" y="6212"/>
                </a:lnTo>
                <a:lnTo>
                  <a:pt x="8707" y="6215"/>
                </a:lnTo>
                <a:lnTo>
                  <a:pt x="8714" y="6211"/>
                </a:lnTo>
                <a:lnTo>
                  <a:pt x="8714" y="6206"/>
                </a:lnTo>
                <a:lnTo>
                  <a:pt x="8712" y="6202"/>
                </a:lnTo>
                <a:lnTo>
                  <a:pt x="8708" y="6201"/>
                </a:lnTo>
                <a:lnTo>
                  <a:pt x="8702" y="6202"/>
                </a:lnTo>
                <a:close/>
                <a:moveTo>
                  <a:pt x="9052" y="6017"/>
                </a:moveTo>
                <a:lnTo>
                  <a:pt x="9050" y="6022"/>
                </a:lnTo>
                <a:lnTo>
                  <a:pt x="9054" y="6025"/>
                </a:lnTo>
                <a:lnTo>
                  <a:pt x="9061" y="6026"/>
                </a:lnTo>
                <a:lnTo>
                  <a:pt x="9066" y="6025"/>
                </a:lnTo>
                <a:lnTo>
                  <a:pt x="9076" y="6016"/>
                </a:lnTo>
                <a:lnTo>
                  <a:pt x="9074" y="6013"/>
                </a:lnTo>
                <a:lnTo>
                  <a:pt x="9064" y="6013"/>
                </a:lnTo>
                <a:lnTo>
                  <a:pt x="9052" y="6017"/>
                </a:lnTo>
                <a:close/>
                <a:moveTo>
                  <a:pt x="795" y="4651"/>
                </a:moveTo>
                <a:lnTo>
                  <a:pt x="804" y="4658"/>
                </a:lnTo>
                <a:lnTo>
                  <a:pt x="817" y="4657"/>
                </a:lnTo>
                <a:lnTo>
                  <a:pt x="828" y="4651"/>
                </a:lnTo>
                <a:lnTo>
                  <a:pt x="837" y="4644"/>
                </a:lnTo>
                <a:lnTo>
                  <a:pt x="824" y="4641"/>
                </a:lnTo>
                <a:lnTo>
                  <a:pt x="810" y="4637"/>
                </a:lnTo>
                <a:lnTo>
                  <a:pt x="800" y="4639"/>
                </a:lnTo>
                <a:lnTo>
                  <a:pt x="795" y="4651"/>
                </a:lnTo>
                <a:close/>
                <a:moveTo>
                  <a:pt x="7444" y="5885"/>
                </a:moveTo>
                <a:lnTo>
                  <a:pt x="7444" y="5884"/>
                </a:lnTo>
                <a:lnTo>
                  <a:pt x="7443" y="5884"/>
                </a:lnTo>
                <a:lnTo>
                  <a:pt x="7444" y="5885"/>
                </a:lnTo>
                <a:close/>
                <a:moveTo>
                  <a:pt x="7443" y="5843"/>
                </a:moveTo>
                <a:lnTo>
                  <a:pt x="7432" y="5848"/>
                </a:lnTo>
                <a:lnTo>
                  <a:pt x="7432" y="5859"/>
                </a:lnTo>
                <a:lnTo>
                  <a:pt x="7437" y="5872"/>
                </a:lnTo>
                <a:lnTo>
                  <a:pt x="7443" y="5884"/>
                </a:lnTo>
                <a:lnTo>
                  <a:pt x="7449" y="5872"/>
                </a:lnTo>
                <a:lnTo>
                  <a:pt x="7454" y="5861"/>
                </a:lnTo>
                <a:lnTo>
                  <a:pt x="7454" y="5852"/>
                </a:lnTo>
                <a:lnTo>
                  <a:pt x="7443" y="5843"/>
                </a:lnTo>
                <a:close/>
                <a:moveTo>
                  <a:pt x="527" y="2731"/>
                </a:moveTo>
                <a:lnTo>
                  <a:pt x="515" y="2728"/>
                </a:lnTo>
                <a:lnTo>
                  <a:pt x="505" y="2733"/>
                </a:lnTo>
                <a:lnTo>
                  <a:pt x="501" y="2742"/>
                </a:lnTo>
                <a:lnTo>
                  <a:pt x="506" y="2754"/>
                </a:lnTo>
                <a:lnTo>
                  <a:pt x="519" y="2756"/>
                </a:lnTo>
                <a:lnTo>
                  <a:pt x="529" y="2750"/>
                </a:lnTo>
                <a:lnTo>
                  <a:pt x="534" y="2741"/>
                </a:lnTo>
                <a:lnTo>
                  <a:pt x="527" y="2731"/>
                </a:lnTo>
                <a:close/>
                <a:moveTo>
                  <a:pt x="3043" y="4940"/>
                </a:moveTo>
                <a:lnTo>
                  <a:pt x="3043" y="4939"/>
                </a:lnTo>
                <a:lnTo>
                  <a:pt x="3041" y="4940"/>
                </a:lnTo>
                <a:lnTo>
                  <a:pt x="3044" y="4940"/>
                </a:lnTo>
                <a:lnTo>
                  <a:pt x="3043" y="4940"/>
                </a:lnTo>
                <a:close/>
                <a:moveTo>
                  <a:pt x="3129" y="4943"/>
                </a:moveTo>
                <a:lnTo>
                  <a:pt x="3108" y="4942"/>
                </a:lnTo>
                <a:lnTo>
                  <a:pt x="3087" y="4942"/>
                </a:lnTo>
                <a:lnTo>
                  <a:pt x="3066" y="4942"/>
                </a:lnTo>
                <a:lnTo>
                  <a:pt x="3044" y="4940"/>
                </a:lnTo>
                <a:lnTo>
                  <a:pt x="3066" y="4956"/>
                </a:lnTo>
                <a:lnTo>
                  <a:pt x="3086" y="4961"/>
                </a:lnTo>
                <a:lnTo>
                  <a:pt x="3108" y="4957"/>
                </a:lnTo>
                <a:lnTo>
                  <a:pt x="3129" y="4943"/>
                </a:lnTo>
                <a:close/>
                <a:moveTo>
                  <a:pt x="7882" y="5139"/>
                </a:moveTo>
                <a:lnTo>
                  <a:pt x="7872" y="5140"/>
                </a:lnTo>
                <a:lnTo>
                  <a:pt x="7867" y="5144"/>
                </a:lnTo>
                <a:lnTo>
                  <a:pt x="7865" y="5152"/>
                </a:lnTo>
                <a:lnTo>
                  <a:pt x="7870" y="5162"/>
                </a:lnTo>
                <a:lnTo>
                  <a:pt x="7879" y="5158"/>
                </a:lnTo>
                <a:lnTo>
                  <a:pt x="7887" y="5152"/>
                </a:lnTo>
                <a:lnTo>
                  <a:pt x="7888" y="5145"/>
                </a:lnTo>
                <a:lnTo>
                  <a:pt x="7882" y="5139"/>
                </a:lnTo>
                <a:close/>
                <a:moveTo>
                  <a:pt x="781" y="5031"/>
                </a:moveTo>
                <a:lnTo>
                  <a:pt x="781" y="5037"/>
                </a:lnTo>
                <a:lnTo>
                  <a:pt x="782" y="5045"/>
                </a:lnTo>
                <a:lnTo>
                  <a:pt x="786" y="5051"/>
                </a:lnTo>
                <a:lnTo>
                  <a:pt x="791" y="5054"/>
                </a:lnTo>
                <a:lnTo>
                  <a:pt x="800" y="5045"/>
                </a:lnTo>
                <a:lnTo>
                  <a:pt x="800" y="5032"/>
                </a:lnTo>
                <a:lnTo>
                  <a:pt x="792" y="5026"/>
                </a:lnTo>
                <a:lnTo>
                  <a:pt x="781" y="5031"/>
                </a:lnTo>
                <a:close/>
                <a:moveTo>
                  <a:pt x="3502" y="5242"/>
                </a:moveTo>
                <a:lnTo>
                  <a:pt x="3496" y="5250"/>
                </a:lnTo>
                <a:lnTo>
                  <a:pt x="3495" y="5256"/>
                </a:lnTo>
                <a:lnTo>
                  <a:pt x="3499" y="5262"/>
                </a:lnTo>
                <a:lnTo>
                  <a:pt x="3506" y="5268"/>
                </a:lnTo>
                <a:lnTo>
                  <a:pt x="3513" y="5260"/>
                </a:lnTo>
                <a:lnTo>
                  <a:pt x="3514" y="5254"/>
                </a:lnTo>
                <a:lnTo>
                  <a:pt x="3510" y="5248"/>
                </a:lnTo>
                <a:lnTo>
                  <a:pt x="3502" y="5242"/>
                </a:lnTo>
                <a:close/>
                <a:moveTo>
                  <a:pt x="3572" y="5283"/>
                </a:moveTo>
                <a:lnTo>
                  <a:pt x="3569" y="5289"/>
                </a:lnTo>
                <a:lnTo>
                  <a:pt x="3570" y="5294"/>
                </a:lnTo>
                <a:lnTo>
                  <a:pt x="3574" y="5301"/>
                </a:lnTo>
                <a:lnTo>
                  <a:pt x="3579" y="5304"/>
                </a:lnTo>
                <a:lnTo>
                  <a:pt x="3589" y="5302"/>
                </a:lnTo>
                <a:lnTo>
                  <a:pt x="3589" y="5296"/>
                </a:lnTo>
                <a:lnTo>
                  <a:pt x="3583" y="5288"/>
                </a:lnTo>
                <a:lnTo>
                  <a:pt x="3572" y="5283"/>
                </a:lnTo>
                <a:close/>
                <a:moveTo>
                  <a:pt x="6740" y="5952"/>
                </a:moveTo>
                <a:lnTo>
                  <a:pt x="6736" y="5964"/>
                </a:lnTo>
                <a:lnTo>
                  <a:pt x="6745" y="5969"/>
                </a:lnTo>
                <a:lnTo>
                  <a:pt x="6756" y="5966"/>
                </a:lnTo>
                <a:lnTo>
                  <a:pt x="6763" y="5955"/>
                </a:lnTo>
                <a:lnTo>
                  <a:pt x="6759" y="5949"/>
                </a:lnTo>
                <a:lnTo>
                  <a:pt x="6754" y="5947"/>
                </a:lnTo>
                <a:lnTo>
                  <a:pt x="6746" y="5949"/>
                </a:lnTo>
                <a:lnTo>
                  <a:pt x="6740" y="5952"/>
                </a:lnTo>
                <a:close/>
                <a:moveTo>
                  <a:pt x="8447" y="5457"/>
                </a:moveTo>
                <a:lnTo>
                  <a:pt x="8455" y="5453"/>
                </a:lnTo>
                <a:lnTo>
                  <a:pt x="8461" y="5446"/>
                </a:lnTo>
                <a:lnTo>
                  <a:pt x="8454" y="5437"/>
                </a:lnTo>
                <a:lnTo>
                  <a:pt x="8444" y="5442"/>
                </a:lnTo>
                <a:lnTo>
                  <a:pt x="8438" y="5451"/>
                </a:lnTo>
                <a:lnTo>
                  <a:pt x="8447" y="5457"/>
                </a:lnTo>
                <a:close/>
                <a:moveTo>
                  <a:pt x="9997" y="5483"/>
                </a:moveTo>
                <a:lnTo>
                  <a:pt x="9998" y="5474"/>
                </a:lnTo>
                <a:lnTo>
                  <a:pt x="9990" y="5472"/>
                </a:lnTo>
                <a:lnTo>
                  <a:pt x="9982" y="5476"/>
                </a:lnTo>
                <a:lnTo>
                  <a:pt x="9987" y="5484"/>
                </a:lnTo>
                <a:lnTo>
                  <a:pt x="9993" y="5484"/>
                </a:lnTo>
                <a:lnTo>
                  <a:pt x="9997" y="5483"/>
                </a:lnTo>
                <a:close/>
                <a:moveTo>
                  <a:pt x="8221" y="6445"/>
                </a:moveTo>
                <a:lnTo>
                  <a:pt x="8216" y="6455"/>
                </a:lnTo>
                <a:lnTo>
                  <a:pt x="8221" y="6463"/>
                </a:lnTo>
                <a:lnTo>
                  <a:pt x="8232" y="6467"/>
                </a:lnTo>
                <a:lnTo>
                  <a:pt x="8245" y="6463"/>
                </a:lnTo>
                <a:lnTo>
                  <a:pt x="8242" y="6453"/>
                </a:lnTo>
                <a:lnTo>
                  <a:pt x="8237" y="6446"/>
                </a:lnTo>
                <a:lnTo>
                  <a:pt x="8230" y="6442"/>
                </a:lnTo>
                <a:lnTo>
                  <a:pt x="8221" y="6445"/>
                </a:lnTo>
                <a:close/>
                <a:moveTo>
                  <a:pt x="6009" y="5522"/>
                </a:moveTo>
                <a:lnTo>
                  <a:pt x="6011" y="5527"/>
                </a:lnTo>
                <a:lnTo>
                  <a:pt x="6016" y="5526"/>
                </a:lnTo>
                <a:lnTo>
                  <a:pt x="6021" y="5522"/>
                </a:lnTo>
                <a:lnTo>
                  <a:pt x="6026" y="5518"/>
                </a:lnTo>
                <a:lnTo>
                  <a:pt x="6023" y="5513"/>
                </a:lnTo>
                <a:lnTo>
                  <a:pt x="6018" y="5515"/>
                </a:lnTo>
                <a:lnTo>
                  <a:pt x="6014" y="5518"/>
                </a:lnTo>
                <a:lnTo>
                  <a:pt x="6009" y="5522"/>
                </a:lnTo>
                <a:close/>
                <a:moveTo>
                  <a:pt x="8535" y="6041"/>
                </a:moveTo>
                <a:lnTo>
                  <a:pt x="8547" y="6043"/>
                </a:lnTo>
                <a:lnTo>
                  <a:pt x="8558" y="6045"/>
                </a:lnTo>
                <a:lnTo>
                  <a:pt x="8570" y="6045"/>
                </a:lnTo>
                <a:lnTo>
                  <a:pt x="8577" y="6038"/>
                </a:lnTo>
                <a:lnTo>
                  <a:pt x="8566" y="6033"/>
                </a:lnTo>
                <a:lnTo>
                  <a:pt x="8556" y="6033"/>
                </a:lnTo>
                <a:lnTo>
                  <a:pt x="8545" y="6036"/>
                </a:lnTo>
                <a:lnTo>
                  <a:pt x="8535" y="6041"/>
                </a:lnTo>
                <a:close/>
                <a:moveTo>
                  <a:pt x="8533" y="6043"/>
                </a:moveTo>
                <a:lnTo>
                  <a:pt x="8531" y="6043"/>
                </a:lnTo>
                <a:lnTo>
                  <a:pt x="8533" y="6043"/>
                </a:lnTo>
                <a:lnTo>
                  <a:pt x="8534" y="6041"/>
                </a:lnTo>
                <a:lnTo>
                  <a:pt x="8534" y="6041"/>
                </a:lnTo>
                <a:lnTo>
                  <a:pt x="8533" y="6041"/>
                </a:lnTo>
                <a:lnTo>
                  <a:pt x="8533" y="6043"/>
                </a:lnTo>
                <a:close/>
                <a:moveTo>
                  <a:pt x="8864" y="6048"/>
                </a:moveTo>
                <a:lnTo>
                  <a:pt x="8866" y="6052"/>
                </a:lnTo>
                <a:lnTo>
                  <a:pt x="8869" y="6054"/>
                </a:lnTo>
                <a:lnTo>
                  <a:pt x="8874" y="6055"/>
                </a:lnTo>
                <a:lnTo>
                  <a:pt x="8878" y="6058"/>
                </a:lnTo>
                <a:lnTo>
                  <a:pt x="8883" y="6048"/>
                </a:lnTo>
                <a:lnTo>
                  <a:pt x="8877" y="6039"/>
                </a:lnTo>
                <a:lnTo>
                  <a:pt x="8866" y="6036"/>
                </a:lnTo>
                <a:lnTo>
                  <a:pt x="8864" y="6048"/>
                </a:lnTo>
                <a:close/>
                <a:moveTo>
                  <a:pt x="8864" y="6602"/>
                </a:moveTo>
                <a:lnTo>
                  <a:pt x="8856" y="6607"/>
                </a:lnTo>
                <a:lnTo>
                  <a:pt x="8855" y="6616"/>
                </a:lnTo>
                <a:lnTo>
                  <a:pt x="8859" y="6624"/>
                </a:lnTo>
                <a:lnTo>
                  <a:pt x="8868" y="6628"/>
                </a:lnTo>
                <a:lnTo>
                  <a:pt x="8877" y="6623"/>
                </a:lnTo>
                <a:lnTo>
                  <a:pt x="8880" y="6613"/>
                </a:lnTo>
                <a:lnTo>
                  <a:pt x="8875" y="6604"/>
                </a:lnTo>
                <a:lnTo>
                  <a:pt x="8864" y="6602"/>
                </a:lnTo>
                <a:close/>
                <a:moveTo>
                  <a:pt x="8182" y="5124"/>
                </a:moveTo>
                <a:lnTo>
                  <a:pt x="8174" y="5121"/>
                </a:lnTo>
                <a:lnTo>
                  <a:pt x="8165" y="5120"/>
                </a:lnTo>
                <a:lnTo>
                  <a:pt x="8158" y="5126"/>
                </a:lnTo>
                <a:lnTo>
                  <a:pt x="8171" y="5134"/>
                </a:lnTo>
                <a:lnTo>
                  <a:pt x="8185" y="5135"/>
                </a:lnTo>
                <a:lnTo>
                  <a:pt x="8182" y="5124"/>
                </a:lnTo>
                <a:close/>
                <a:moveTo>
                  <a:pt x="1573" y="5152"/>
                </a:moveTo>
                <a:lnTo>
                  <a:pt x="1565" y="5154"/>
                </a:lnTo>
                <a:lnTo>
                  <a:pt x="1562" y="5161"/>
                </a:lnTo>
                <a:lnTo>
                  <a:pt x="1563" y="5168"/>
                </a:lnTo>
                <a:lnTo>
                  <a:pt x="1570" y="5172"/>
                </a:lnTo>
                <a:lnTo>
                  <a:pt x="1581" y="5172"/>
                </a:lnTo>
                <a:lnTo>
                  <a:pt x="1586" y="5164"/>
                </a:lnTo>
                <a:lnTo>
                  <a:pt x="1584" y="5156"/>
                </a:lnTo>
                <a:lnTo>
                  <a:pt x="1573" y="5152"/>
                </a:lnTo>
                <a:close/>
                <a:moveTo>
                  <a:pt x="1146" y="5269"/>
                </a:moveTo>
                <a:lnTo>
                  <a:pt x="1153" y="5275"/>
                </a:lnTo>
                <a:lnTo>
                  <a:pt x="1159" y="5278"/>
                </a:lnTo>
                <a:lnTo>
                  <a:pt x="1165" y="5275"/>
                </a:lnTo>
                <a:lnTo>
                  <a:pt x="1172" y="5266"/>
                </a:lnTo>
                <a:lnTo>
                  <a:pt x="1164" y="5260"/>
                </a:lnTo>
                <a:lnTo>
                  <a:pt x="1158" y="5257"/>
                </a:lnTo>
                <a:lnTo>
                  <a:pt x="1151" y="5261"/>
                </a:lnTo>
                <a:lnTo>
                  <a:pt x="1146" y="5269"/>
                </a:lnTo>
                <a:close/>
                <a:moveTo>
                  <a:pt x="9092" y="5800"/>
                </a:moveTo>
                <a:lnTo>
                  <a:pt x="9084" y="5791"/>
                </a:lnTo>
                <a:lnTo>
                  <a:pt x="9079" y="5788"/>
                </a:lnTo>
                <a:lnTo>
                  <a:pt x="9073" y="5792"/>
                </a:lnTo>
                <a:lnTo>
                  <a:pt x="9066" y="5800"/>
                </a:lnTo>
                <a:lnTo>
                  <a:pt x="9073" y="5807"/>
                </a:lnTo>
                <a:lnTo>
                  <a:pt x="9079" y="5810"/>
                </a:lnTo>
                <a:lnTo>
                  <a:pt x="9085" y="5806"/>
                </a:lnTo>
                <a:lnTo>
                  <a:pt x="9092" y="5800"/>
                </a:lnTo>
                <a:close/>
                <a:moveTo>
                  <a:pt x="7977" y="6089"/>
                </a:moveTo>
                <a:lnTo>
                  <a:pt x="7984" y="6100"/>
                </a:lnTo>
                <a:lnTo>
                  <a:pt x="7991" y="6095"/>
                </a:lnTo>
                <a:lnTo>
                  <a:pt x="7997" y="6081"/>
                </a:lnTo>
                <a:lnTo>
                  <a:pt x="7997" y="6067"/>
                </a:lnTo>
                <a:lnTo>
                  <a:pt x="7989" y="6066"/>
                </a:lnTo>
                <a:lnTo>
                  <a:pt x="7983" y="6069"/>
                </a:lnTo>
                <a:lnTo>
                  <a:pt x="7980" y="6077"/>
                </a:lnTo>
                <a:lnTo>
                  <a:pt x="7977" y="6089"/>
                </a:lnTo>
                <a:close/>
                <a:moveTo>
                  <a:pt x="9120" y="6651"/>
                </a:moveTo>
                <a:lnTo>
                  <a:pt x="9107" y="6658"/>
                </a:lnTo>
                <a:lnTo>
                  <a:pt x="9106" y="6669"/>
                </a:lnTo>
                <a:lnTo>
                  <a:pt x="9115" y="6679"/>
                </a:lnTo>
                <a:lnTo>
                  <a:pt x="9131" y="6679"/>
                </a:lnTo>
                <a:lnTo>
                  <a:pt x="9136" y="6670"/>
                </a:lnTo>
                <a:lnTo>
                  <a:pt x="9136" y="6663"/>
                </a:lnTo>
                <a:lnTo>
                  <a:pt x="9130" y="6655"/>
                </a:lnTo>
                <a:lnTo>
                  <a:pt x="9120" y="6651"/>
                </a:lnTo>
                <a:close/>
                <a:moveTo>
                  <a:pt x="7949" y="5649"/>
                </a:moveTo>
                <a:lnTo>
                  <a:pt x="7956" y="5662"/>
                </a:lnTo>
                <a:lnTo>
                  <a:pt x="7965" y="5656"/>
                </a:lnTo>
                <a:lnTo>
                  <a:pt x="7970" y="5641"/>
                </a:lnTo>
                <a:lnTo>
                  <a:pt x="7965" y="5628"/>
                </a:lnTo>
                <a:lnTo>
                  <a:pt x="7958" y="5630"/>
                </a:lnTo>
                <a:lnTo>
                  <a:pt x="7953" y="5635"/>
                </a:lnTo>
                <a:lnTo>
                  <a:pt x="7951" y="5643"/>
                </a:lnTo>
                <a:lnTo>
                  <a:pt x="7949" y="5649"/>
                </a:lnTo>
                <a:close/>
                <a:moveTo>
                  <a:pt x="8226" y="6327"/>
                </a:moveTo>
                <a:lnTo>
                  <a:pt x="8219" y="6337"/>
                </a:lnTo>
                <a:lnTo>
                  <a:pt x="8223" y="6347"/>
                </a:lnTo>
                <a:lnTo>
                  <a:pt x="8233" y="6355"/>
                </a:lnTo>
                <a:lnTo>
                  <a:pt x="8246" y="6355"/>
                </a:lnTo>
                <a:lnTo>
                  <a:pt x="8253" y="6346"/>
                </a:lnTo>
                <a:lnTo>
                  <a:pt x="8249" y="6334"/>
                </a:lnTo>
                <a:lnTo>
                  <a:pt x="8239" y="6327"/>
                </a:lnTo>
                <a:lnTo>
                  <a:pt x="8226" y="6327"/>
                </a:lnTo>
                <a:close/>
                <a:moveTo>
                  <a:pt x="5368" y="5652"/>
                </a:moveTo>
                <a:lnTo>
                  <a:pt x="5365" y="5665"/>
                </a:lnTo>
                <a:lnTo>
                  <a:pt x="5369" y="5677"/>
                </a:lnTo>
                <a:lnTo>
                  <a:pt x="5380" y="5684"/>
                </a:lnTo>
                <a:lnTo>
                  <a:pt x="5395" y="5679"/>
                </a:lnTo>
                <a:lnTo>
                  <a:pt x="5391" y="5667"/>
                </a:lnTo>
                <a:lnTo>
                  <a:pt x="5387" y="5657"/>
                </a:lnTo>
                <a:lnTo>
                  <a:pt x="5381" y="5651"/>
                </a:lnTo>
                <a:lnTo>
                  <a:pt x="5368" y="5652"/>
                </a:lnTo>
                <a:close/>
                <a:moveTo>
                  <a:pt x="837" y="3899"/>
                </a:moveTo>
                <a:lnTo>
                  <a:pt x="846" y="3909"/>
                </a:lnTo>
                <a:lnTo>
                  <a:pt x="859" y="3911"/>
                </a:lnTo>
                <a:lnTo>
                  <a:pt x="869" y="3906"/>
                </a:lnTo>
                <a:lnTo>
                  <a:pt x="873" y="3895"/>
                </a:lnTo>
                <a:lnTo>
                  <a:pt x="864" y="3886"/>
                </a:lnTo>
                <a:lnTo>
                  <a:pt x="850" y="3885"/>
                </a:lnTo>
                <a:lnTo>
                  <a:pt x="839" y="3889"/>
                </a:lnTo>
                <a:lnTo>
                  <a:pt x="837" y="3899"/>
                </a:lnTo>
                <a:close/>
                <a:moveTo>
                  <a:pt x="2685" y="5149"/>
                </a:moveTo>
                <a:lnTo>
                  <a:pt x="2685" y="5149"/>
                </a:lnTo>
                <a:lnTo>
                  <a:pt x="2685" y="5149"/>
                </a:lnTo>
                <a:lnTo>
                  <a:pt x="2681" y="5135"/>
                </a:lnTo>
                <a:lnTo>
                  <a:pt x="2677" y="5120"/>
                </a:lnTo>
                <a:lnTo>
                  <a:pt x="2671" y="5107"/>
                </a:lnTo>
                <a:lnTo>
                  <a:pt x="2658" y="5100"/>
                </a:lnTo>
                <a:lnTo>
                  <a:pt x="2640" y="5119"/>
                </a:lnTo>
                <a:lnTo>
                  <a:pt x="2643" y="5136"/>
                </a:lnTo>
                <a:lnTo>
                  <a:pt x="2659" y="5148"/>
                </a:lnTo>
                <a:lnTo>
                  <a:pt x="2685" y="5149"/>
                </a:lnTo>
                <a:close/>
                <a:moveTo>
                  <a:pt x="2685" y="5149"/>
                </a:moveTo>
                <a:lnTo>
                  <a:pt x="2685" y="5150"/>
                </a:lnTo>
                <a:lnTo>
                  <a:pt x="2685" y="5149"/>
                </a:lnTo>
                <a:close/>
                <a:moveTo>
                  <a:pt x="6298" y="5220"/>
                </a:moveTo>
                <a:lnTo>
                  <a:pt x="6299" y="5220"/>
                </a:lnTo>
                <a:lnTo>
                  <a:pt x="6299" y="5220"/>
                </a:lnTo>
                <a:lnTo>
                  <a:pt x="6299" y="5220"/>
                </a:lnTo>
                <a:lnTo>
                  <a:pt x="6298" y="5219"/>
                </a:lnTo>
                <a:lnTo>
                  <a:pt x="6298" y="5219"/>
                </a:lnTo>
                <a:lnTo>
                  <a:pt x="6298" y="5220"/>
                </a:lnTo>
                <a:close/>
                <a:moveTo>
                  <a:pt x="6259" y="5217"/>
                </a:moveTo>
                <a:lnTo>
                  <a:pt x="6253" y="5229"/>
                </a:lnTo>
                <a:lnTo>
                  <a:pt x="6265" y="5243"/>
                </a:lnTo>
                <a:lnTo>
                  <a:pt x="6282" y="5251"/>
                </a:lnTo>
                <a:lnTo>
                  <a:pt x="6298" y="5247"/>
                </a:lnTo>
                <a:lnTo>
                  <a:pt x="6303" y="5232"/>
                </a:lnTo>
                <a:lnTo>
                  <a:pt x="6293" y="5220"/>
                </a:lnTo>
                <a:lnTo>
                  <a:pt x="6276" y="5215"/>
                </a:lnTo>
                <a:lnTo>
                  <a:pt x="6259" y="5217"/>
                </a:lnTo>
                <a:close/>
                <a:moveTo>
                  <a:pt x="10024" y="5385"/>
                </a:moveTo>
                <a:lnTo>
                  <a:pt x="10044" y="5378"/>
                </a:lnTo>
                <a:lnTo>
                  <a:pt x="10035" y="5371"/>
                </a:lnTo>
                <a:lnTo>
                  <a:pt x="10015" y="5367"/>
                </a:lnTo>
                <a:lnTo>
                  <a:pt x="9995" y="5376"/>
                </a:lnTo>
                <a:lnTo>
                  <a:pt x="10002" y="5380"/>
                </a:lnTo>
                <a:lnTo>
                  <a:pt x="10009" y="5382"/>
                </a:lnTo>
                <a:lnTo>
                  <a:pt x="10016" y="5385"/>
                </a:lnTo>
                <a:lnTo>
                  <a:pt x="10024" y="5385"/>
                </a:lnTo>
                <a:close/>
                <a:moveTo>
                  <a:pt x="8553" y="5433"/>
                </a:moveTo>
                <a:lnTo>
                  <a:pt x="8551" y="5414"/>
                </a:lnTo>
                <a:lnTo>
                  <a:pt x="8539" y="5408"/>
                </a:lnTo>
                <a:lnTo>
                  <a:pt x="8526" y="5413"/>
                </a:lnTo>
                <a:lnTo>
                  <a:pt x="8519" y="5427"/>
                </a:lnTo>
                <a:lnTo>
                  <a:pt x="8523" y="5442"/>
                </a:lnTo>
                <a:lnTo>
                  <a:pt x="8533" y="5447"/>
                </a:lnTo>
                <a:lnTo>
                  <a:pt x="8544" y="5442"/>
                </a:lnTo>
                <a:lnTo>
                  <a:pt x="8553" y="5433"/>
                </a:lnTo>
                <a:close/>
                <a:moveTo>
                  <a:pt x="5815" y="5475"/>
                </a:moveTo>
                <a:lnTo>
                  <a:pt x="5805" y="5484"/>
                </a:lnTo>
                <a:lnTo>
                  <a:pt x="5804" y="5495"/>
                </a:lnTo>
                <a:lnTo>
                  <a:pt x="5809" y="5506"/>
                </a:lnTo>
                <a:lnTo>
                  <a:pt x="5821" y="5508"/>
                </a:lnTo>
                <a:lnTo>
                  <a:pt x="5830" y="5501"/>
                </a:lnTo>
                <a:lnTo>
                  <a:pt x="5832" y="5488"/>
                </a:lnTo>
                <a:lnTo>
                  <a:pt x="5827" y="5478"/>
                </a:lnTo>
                <a:lnTo>
                  <a:pt x="5815" y="5475"/>
                </a:lnTo>
                <a:close/>
                <a:moveTo>
                  <a:pt x="4037" y="5466"/>
                </a:moveTo>
                <a:lnTo>
                  <a:pt x="4037" y="5481"/>
                </a:lnTo>
                <a:lnTo>
                  <a:pt x="4049" y="5489"/>
                </a:lnTo>
                <a:lnTo>
                  <a:pt x="4064" y="5492"/>
                </a:lnTo>
                <a:lnTo>
                  <a:pt x="4079" y="5490"/>
                </a:lnTo>
                <a:lnTo>
                  <a:pt x="4081" y="5456"/>
                </a:lnTo>
                <a:lnTo>
                  <a:pt x="4074" y="5436"/>
                </a:lnTo>
                <a:lnTo>
                  <a:pt x="4060" y="5437"/>
                </a:lnTo>
                <a:lnTo>
                  <a:pt x="4037" y="5466"/>
                </a:lnTo>
                <a:close/>
                <a:moveTo>
                  <a:pt x="4081" y="5490"/>
                </a:moveTo>
                <a:lnTo>
                  <a:pt x="4079" y="5492"/>
                </a:lnTo>
                <a:lnTo>
                  <a:pt x="4079" y="5493"/>
                </a:lnTo>
                <a:lnTo>
                  <a:pt x="4081" y="5490"/>
                </a:lnTo>
                <a:close/>
                <a:moveTo>
                  <a:pt x="6934" y="5717"/>
                </a:moveTo>
                <a:lnTo>
                  <a:pt x="6920" y="5723"/>
                </a:lnTo>
                <a:lnTo>
                  <a:pt x="6919" y="5737"/>
                </a:lnTo>
                <a:lnTo>
                  <a:pt x="6929" y="5750"/>
                </a:lnTo>
                <a:lnTo>
                  <a:pt x="6948" y="5753"/>
                </a:lnTo>
                <a:lnTo>
                  <a:pt x="6957" y="5745"/>
                </a:lnTo>
                <a:lnTo>
                  <a:pt x="6954" y="5735"/>
                </a:lnTo>
                <a:lnTo>
                  <a:pt x="6945" y="5725"/>
                </a:lnTo>
                <a:lnTo>
                  <a:pt x="6934" y="5717"/>
                </a:lnTo>
                <a:close/>
                <a:moveTo>
                  <a:pt x="8349" y="5823"/>
                </a:moveTo>
                <a:lnTo>
                  <a:pt x="8356" y="5812"/>
                </a:lnTo>
                <a:lnTo>
                  <a:pt x="8353" y="5800"/>
                </a:lnTo>
                <a:lnTo>
                  <a:pt x="8345" y="5788"/>
                </a:lnTo>
                <a:lnTo>
                  <a:pt x="8335" y="5782"/>
                </a:lnTo>
                <a:lnTo>
                  <a:pt x="8325" y="5792"/>
                </a:lnTo>
                <a:lnTo>
                  <a:pt x="8328" y="5809"/>
                </a:lnTo>
                <a:lnTo>
                  <a:pt x="8337" y="5823"/>
                </a:lnTo>
                <a:lnTo>
                  <a:pt x="8349" y="5823"/>
                </a:lnTo>
                <a:close/>
                <a:moveTo>
                  <a:pt x="8945" y="6208"/>
                </a:moveTo>
                <a:lnTo>
                  <a:pt x="8927" y="6208"/>
                </a:lnTo>
                <a:lnTo>
                  <a:pt x="8908" y="6206"/>
                </a:lnTo>
                <a:lnTo>
                  <a:pt x="8892" y="6204"/>
                </a:lnTo>
                <a:lnTo>
                  <a:pt x="8879" y="6210"/>
                </a:lnTo>
                <a:lnTo>
                  <a:pt x="8884" y="6238"/>
                </a:lnTo>
                <a:lnTo>
                  <a:pt x="8903" y="6245"/>
                </a:lnTo>
                <a:lnTo>
                  <a:pt x="8926" y="6235"/>
                </a:lnTo>
                <a:lnTo>
                  <a:pt x="8945" y="6208"/>
                </a:lnTo>
                <a:close/>
                <a:moveTo>
                  <a:pt x="9527" y="6594"/>
                </a:moveTo>
                <a:lnTo>
                  <a:pt x="9527" y="6594"/>
                </a:lnTo>
                <a:lnTo>
                  <a:pt x="9526" y="6593"/>
                </a:lnTo>
                <a:lnTo>
                  <a:pt x="9527" y="6594"/>
                </a:lnTo>
                <a:close/>
                <a:moveTo>
                  <a:pt x="9576" y="6560"/>
                </a:moveTo>
                <a:lnTo>
                  <a:pt x="9560" y="6561"/>
                </a:lnTo>
                <a:lnTo>
                  <a:pt x="9548" y="6568"/>
                </a:lnTo>
                <a:lnTo>
                  <a:pt x="9537" y="6581"/>
                </a:lnTo>
                <a:lnTo>
                  <a:pt x="9527" y="6594"/>
                </a:lnTo>
                <a:lnTo>
                  <a:pt x="9548" y="6599"/>
                </a:lnTo>
                <a:lnTo>
                  <a:pt x="9568" y="6591"/>
                </a:lnTo>
                <a:lnTo>
                  <a:pt x="9581" y="6576"/>
                </a:lnTo>
                <a:lnTo>
                  <a:pt x="9576" y="6560"/>
                </a:lnTo>
                <a:close/>
                <a:moveTo>
                  <a:pt x="9442" y="6686"/>
                </a:moveTo>
                <a:lnTo>
                  <a:pt x="9433" y="6688"/>
                </a:lnTo>
                <a:lnTo>
                  <a:pt x="9424" y="6693"/>
                </a:lnTo>
                <a:lnTo>
                  <a:pt x="9418" y="6702"/>
                </a:lnTo>
                <a:lnTo>
                  <a:pt x="9417" y="6711"/>
                </a:lnTo>
                <a:lnTo>
                  <a:pt x="9429" y="6720"/>
                </a:lnTo>
                <a:lnTo>
                  <a:pt x="9446" y="6711"/>
                </a:lnTo>
                <a:lnTo>
                  <a:pt x="9455" y="6696"/>
                </a:lnTo>
                <a:lnTo>
                  <a:pt x="9442" y="6686"/>
                </a:lnTo>
                <a:close/>
                <a:moveTo>
                  <a:pt x="1038" y="3951"/>
                </a:moveTo>
                <a:lnTo>
                  <a:pt x="1024" y="3959"/>
                </a:lnTo>
                <a:lnTo>
                  <a:pt x="1034" y="3973"/>
                </a:lnTo>
                <a:lnTo>
                  <a:pt x="1053" y="3984"/>
                </a:lnTo>
                <a:lnTo>
                  <a:pt x="1065" y="3979"/>
                </a:lnTo>
                <a:lnTo>
                  <a:pt x="1064" y="3969"/>
                </a:lnTo>
                <a:lnTo>
                  <a:pt x="1056" y="3963"/>
                </a:lnTo>
                <a:lnTo>
                  <a:pt x="1047" y="3956"/>
                </a:lnTo>
                <a:lnTo>
                  <a:pt x="1038" y="3951"/>
                </a:lnTo>
                <a:close/>
                <a:moveTo>
                  <a:pt x="2450" y="5098"/>
                </a:moveTo>
                <a:lnTo>
                  <a:pt x="2436" y="5103"/>
                </a:lnTo>
                <a:lnTo>
                  <a:pt x="2430" y="5115"/>
                </a:lnTo>
                <a:lnTo>
                  <a:pt x="2433" y="5129"/>
                </a:lnTo>
                <a:lnTo>
                  <a:pt x="2444" y="5139"/>
                </a:lnTo>
                <a:lnTo>
                  <a:pt x="2453" y="5133"/>
                </a:lnTo>
                <a:lnTo>
                  <a:pt x="2458" y="5120"/>
                </a:lnTo>
                <a:lnTo>
                  <a:pt x="2457" y="5107"/>
                </a:lnTo>
                <a:lnTo>
                  <a:pt x="2450" y="5098"/>
                </a:lnTo>
                <a:close/>
                <a:moveTo>
                  <a:pt x="7997" y="5493"/>
                </a:moveTo>
                <a:lnTo>
                  <a:pt x="7981" y="5525"/>
                </a:lnTo>
                <a:lnTo>
                  <a:pt x="8007" y="5536"/>
                </a:lnTo>
                <a:lnTo>
                  <a:pt x="8035" y="5529"/>
                </a:lnTo>
                <a:lnTo>
                  <a:pt x="8026" y="5501"/>
                </a:lnTo>
                <a:lnTo>
                  <a:pt x="8019" y="5495"/>
                </a:lnTo>
                <a:lnTo>
                  <a:pt x="8012" y="5492"/>
                </a:lnTo>
                <a:lnTo>
                  <a:pt x="8004" y="5492"/>
                </a:lnTo>
                <a:lnTo>
                  <a:pt x="7997" y="5493"/>
                </a:lnTo>
                <a:close/>
                <a:moveTo>
                  <a:pt x="7720" y="5283"/>
                </a:moveTo>
                <a:lnTo>
                  <a:pt x="7738" y="5289"/>
                </a:lnTo>
                <a:lnTo>
                  <a:pt x="7756" y="5280"/>
                </a:lnTo>
                <a:lnTo>
                  <a:pt x="7770" y="5264"/>
                </a:lnTo>
                <a:lnTo>
                  <a:pt x="7775" y="5245"/>
                </a:lnTo>
                <a:lnTo>
                  <a:pt x="7760" y="5240"/>
                </a:lnTo>
                <a:lnTo>
                  <a:pt x="7741" y="5248"/>
                </a:lnTo>
                <a:lnTo>
                  <a:pt x="7725" y="5265"/>
                </a:lnTo>
                <a:lnTo>
                  <a:pt x="7720" y="5283"/>
                </a:lnTo>
                <a:close/>
                <a:moveTo>
                  <a:pt x="5500" y="5541"/>
                </a:moveTo>
                <a:lnTo>
                  <a:pt x="5488" y="5543"/>
                </a:lnTo>
                <a:lnTo>
                  <a:pt x="5476" y="5549"/>
                </a:lnTo>
                <a:lnTo>
                  <a:pt x="5470" y="5559"/>
                </a:lnTo>
                <a:lnTo>
                  <a:pt x="5472" y="5572"/>
                </a:lnTo>
                <a:lnTo>
                  <a:pt x="5489" y="5582"/>
                </a:lnTo>
                <a:lnTo>
                  <a:pt x="5507" y="5572"/>
                </a:lnTo>
                <a:lnTo>
                  <a:pt x="5514" y="5555"/>
                </a:lnTo>
                <a:lnTo>
                  <a:pt x="5500" y="5541"/>
                </a:lnTo>
                <a:close/>
                <a:moveTo>
                  <a:pt x="7331" y="5115"/>
                </a:moveTo>
                <a:lnTo>
                  <a:pt x="7331" y="5116"/>
                </a:lnTo>
                <a:lnTo>
                  <a:pt x="7332" y="5116"/>
                </a:lnTo>
                <a:lnTo>
                  <a:pt x="7331" y="5115"/>
                </a:lnTo>
                <a:close/>
                <a:moveTo>
                  <a:pt x="7328" y="5159"/>
                </a:moveTo>
                <a:lnTo>
                  <a:pt x="7329" y="5130"/>
                </a:lnTo>
                <a:lnTo>
                  <a:pt x="7313" y="5115"/>
                </a:lnTo>
                <a:lnTo>
                  <a:pt x="7288" y="5116"/>
                </a:lnTo>
                <a:lnTo>
                  <a:pt x="7269" y="5136"/>
                </a:lnTo>
                <a:lnTo>
                  <a:pt x="7276" y="5152"/>
                </a:lnTo>
                <a:lnTo>
                  <a:pt x="7291" y="5158"/>
                </a:lnTo>
                <a:lnTo>
                  <a:pt x="7310" y="5159"/>
                </a:lnTo>
                <a:lnTo>
                  <a:pt x="7328" y="5159"/>
                </a:lnTo>
                <a:lnTo>
                  <a:pt x="7341" y="5161"/>
                </a:lnTo>
                <a:lnTo>
                  <a:pt x="7353" y="5161"/>
                </a:lnTo>
                <a:lnTo>
                  <a:pt x="7341" y="5159"/>
                </a:lnTo>
                <a:lnTo>
                  <a:pt x="7328" y="5159"/>
                </a:lnTo>
                <a:close/>
                <a:moveTo>
                  <a:pt x="9948" y="5576"/>
                </a:moveTo>
                <a:lnTo>
                  <a:pt x="9948" y="5576"/>
                </a:lnTo>
                <a:lnTo>
                  <a:pt x="9948" y="5576"/>
                </a:lnTo>
                <a:lnTo>
                  <a:pt x="9946" y="5576"/>
                </a:lnTo>
                <a:lnTo>
                  <a:pt x="9946" y="5577"/>
                </a:lnTo>
                <a:lnTo>
                  <a:pt x="9948" y="5577"/>
                </a:lnTo>
                <a:lnTo>
                  <a:pt x="9948" y="5577"/>
                </a:lnTo>
                <a:lnTo>
                  <a:pt x="9948" y="5577"/>
                </a:lnTo>
                <a:lnTo>
                  <a:pt x="9948" y="5576"/>
                </a:lnTo>
                <a:close/>
                <a:moveTo>
                  <a:pt x="10007" y="5616"/>
                </a:moveTo>
                <a:lnTo>
                  <a:pt x="10025" y="5600"/>
                </a:lnTo>
                <a:lnTo>
                  <a:pt x="10007" y="5585"/>
                </a:lnTo>
                <a:lnTo>
                  <a:pt x="9976" y="5576"/>
                </a:lnTo>
                <a:lnTo>
                  <a:pt x="9949" y="5577"/>
                </a:lnTo>
                <a:lnTo>
                  <a:pt x="9960" y="5591"/>
                </a:lnTo>
                <a:lnTo>
                  <a:pt x="9974" y="5602"/>
                </a:lnTo>
                <a:lnTo>
                  <a:pt x="9990" y="5611"/>
                </a:lnTo>
                <a:lnTo>
                  <a:pt x="10007" y="5616"/>
                </a:lnTo>
                <a:close/>
                <a:moveTo>
                  <a:pt x="8166" y="5564"/>
                </a:moveTo>
                <a:lnTo>
                  <a:pt x="8176" y="5578"/>
                </a:lnTo>
                <a:lnTo>
                  <a:pt x="8194" y="5578"/>
                </a:lnTo>
                <a:lnTo>
                  <a:pt x="8208" y="5568"/>
                </a:lnTo>
                <a:lnTo>
                  <a:pt x="8212" y="5548"/>
                </a:lnTo>
                <a:lnTo>
                  <a:pt x="8198" y="5537"/>
                </a:lnTo>
                <a:lnTo>
                  <a:pt x="8182" y="5537"/>
                </a:lnTo>
                <a:lnTo>
                  <a:pt x="8171" y="5546"/>
                </a:lnTo>
                <a:lnTo>
                  <a:pt x="8166" y="5564"/>
                </a:lnTo>
                <a:close/>
                <a:moveTo>
                  <a:pt x="7594" y="5395"/>
                </a:moveTo>
                <a:lnTo>
                  <a:pt x="7590" y="5382"/>
                </a:lnTo>
                <a:lnTo>
                  <a:pt x="7581" y="5368"/>
                </a:lnTo>
                <a:lnTo>
                  <a:pt x="7569" y="5359"/>
                </a:lnTo>
                <a:lnTo>
                  <a:pt x="7556" y="5362"/>
                </a:lnTo>
                <a:lnTo>
                  <a:pt x="7553" y="5380"/>
                </a:lnTo>
                <a:lnTo>
                  <a:pt x="7561" y="5394"/>
                </a:lnTo>
                <a:lnTo>
                  <a:pt x="7576" y="5400"/>
                </a:lnTo>
                <a:lnTo>
                  <a:pt x="7594" y="5395"/>
                </a:lnTo>
                <a:close/>
                <a:moveTo>
                  <a:pt x="8237" y="5383"/>
                </a:moveTo>
                <a:lnTo>
                  <a:pt x="8226" y="5372"/>
                </a:lnTo>
                <a:lnTo>
                  <a:pt x="8213" y="5369"/>
                </a:lnTo>
                <a:lnTo>
                  <a:pt x="8203" y="5376"/>
                </a:lnTo>
                <a:lnTo>
                  <a:pt x="8195" y="5391"/>
                </a:lnTo>
                <a:lnTo>
                  <a:pt x="8203" y="5406"/>
                </a:lnTo>
                <a:lnTo>
                  <a:pt x="8221" y="5410"/>
                </a:lnTo>
                <a:lnTo>
                  <a:pt x="8236" y="5402"/>
                </a:lnTo>
                <a:lnTo>
                  <a:pt x="8237" y="5383"/>
                </a:lnTo>
                <a:close/>
                <a:moveTo>
                  <a:pt x="4629" y="5416"/>
                </a:moveTo>
                <a:lnTo>
                  <a:pt x="4613" y="5409"/>
                </a:lnTo>
                <a:lnTo>
                  <a:pt x="4590" y="5418"/>
                </a:lnTo>
                <a:lnTo>
                  <a:pt x="4573" y="5434"/>
                </a:lnTo>
                <a:lnTo>
                  <a:pt x="4571" y="5453"/>
                </a:lnTo>
                <a:lnTo>
                  <a:pt x="4587" y="5457"/>
                </a:lnTo>
                <a:lnTo>
                  <a:pt x="4608" y="5450"/>
                </a:lnTo>
                <a:lnTo>
                  <a:pt x="4623" y="5433"/>
                </a:lnTo>
                <a:lnTo>
                  <a:pt x="4629" y="5416"/>
                </a:lnTo>
                <a:close/>
                <a:moveTo>
                  <a:pt x="4497" y="5381"/>
                </a:moveTo>
                <a:lnTo>
                  <a:pt x="4489" y="5377"/>
                </a:lnTo>
                <a:lnTo>
                  <a:pt x="4482" y="5377"/>
                </a:lnTo>
                <a:lnTo>
                  <a:pt x="4474" y="5380"/>
                </a:lnTo>
                <a:lnTo>
                  <a:pt x="4468" y="5385"/>
                </a:lnTo>
                <a:lnTo>
                  <a:pt x="4460" y="5413"/>
                </a:lnTo>
                <a:lnTo>
                  <a:pt x="4486" y="5420"/>
                </a:lnTo>
                <a:lnTo>
                  <a:pt x="4508" y="5409"/>
                </a:lnTo>
                <a:lnTo>
                  <a:pt x="4497" y="5381"/>
                </a:lnTo>
                <a:close/>
                <a:moveTo>
                  <a:pt x="8813" y="5871"/>
                </a:moveTo>
                <a:lnTo>
                  <a:pt x="8784" y="5876"/>
                </a:lnTo>
                <a:lnTo>
                  <a:pt x="8764" y="5899"/>
                </a:lnTo>
                <a:lnTo>
                  <a:pt x="8756" y="5929"/>
                </a:lnTo>
                <a:lnTo>
                  <a:pt x="8756" y="5960"/>
                </a:lnTo>
                <a:lnTo>
                  <a:pt x="8776" y="5942"/>
                </a:lnTo>
                <a:lnTo>
                  <a:pt x="8796" y="5919"/>
                </a:lnTo>
                <a:lnTo>
                  <a:pt x="8810" y="5895"/>
                </a:lnTo>
                <a:lnTo>
                  <a:pt x="8813" y="5871"/>
                </a:lnTo>
                <a:close/>
                <a:moveTo>
                  <a:pt x="8756" y="5961"/>
                </a:moveTo>
                <a:lnTo>
                  <a:pt x="8756" y="5961"/>
                </a:lnTo>
                <a:lnTo>
                  <a:pt x="8756" y="5960"/>
                </a:lnTo>
                <a:lnTo>
                  <a:pt x="8754" y="5960"/>
                </a:lnTo>
                <a:lnTo>
                  <a:pt x="8754" y="5960"/>
                </a:lnTo>
                <a:lnTo>
                  <a:pt x="8756" y="5961"/>
                </a:lnTo>
                <a:close/>
                <a:moveTo>
                  <a:pt x="9283" y="6684"/>
                </a:moveTo>
                <a:lnTo>
                  <a:pt x="9273" y="6668"/>
                </a:lnTo>
                <a:lnTo>
                  <a:pt x="9257" y="6674"/>
                </a:lnTo>
                <a:lnTo>
                  <a:pt x="9245" y="6693"/>
                </a:lnTo>
                <a:lnTo>
                  <a:pt x="9243" y="6715"/>
                </a:lnTo>
                <a:lnTo>
                  <a:pt x="9259" y="6737"/>
                </a:lnTo>
                <a:lnTo>
                  <a:pt x="9274" y="6731"/>
                </a:lnTo>
                <a:lnTo>
                  <a:pt x="9283" y="6711"/>
                </a:lnTo>
                <a:lnTo>
                  <a:pt x="9283" y="6684"/>
                </a:lnTo>
                <a:close/>
                <a:moveTo>
                  <a:pt x="7799" y="5358"/>
                </a:moveTo>
                <a:lnTo>
                  <a:pt x="7783" y="5344"/>
                </a:lnTo>
                <a:lnTo>
                  <a:pt x="7758" y="5341"/>
                </a:lnTo>
                <a:lnTo>
                  <a:pt x="7735" y="5350"/>
                </a:lnTo>
                <a:lnTo>
                  <a:pt x="7724" y="5368"/>
                </a:lnTo>
                <a:lnTo>
                  <a:pt x="7739" y="5385"/>
                </a:lnTo>
                <a:lnTo>
                  <a:pt x="7763" y="5386"/>
                </a:lnTo>
                <a:lnTo>
                  <a:pt x="7786" y="5376"/>
                </a:lnTo>
                <a:lnTo>
                  <a:pt x="7799" y="5358"/>
                </a:lnTo>
                <a:close/>
                <a:moveTo>
                  <a:pt x="5251" y="5522"/>
                </a:moveTo>
                <a:lnTo>
                  <a:pt x="5237" y="5504"/>
                </a:lnTo>
                <a:lnTo>
                  <a:pt x="5216" y="5490"/>
                </a:lnTo>
                <a:lnTo>
                  <a:pt x="5199" y="5490"/>
                </a:lnTo>
                <a:lnTo>
                  <a:pt x="5191" y="5513"/>
                </a:lnTo>
                <a:lnTo>
                  <a:pt x="5201" y="5541"/>
                </a:lnTo>
                <a:lnTo>
                  <a:pt x="5225" y="5555"/>
                </a:lnTo>
                <a:lnTo>
                  <a:pt x="5248" y="5550"/>
                </a:lnTo>
                <a:lnTo>
                  <a:pt x="5251" y="5522"/>
                </a:lnTo>
                <a:close/>
                <a:moveTo>
                  <a:pt x="8317" y="6221"/>
                </a:moveTo>
                <a:lnTo>
                  <a:pt x="8334" y="6240"/>
                </a:lnTo>
                <a:lnTo>
                  <a:pt x="8352" y="6257"/>
                </a:lnTo>
                <a:lnTo>
                  <a:pt x="8372" y="6267"/>
                </a:lnTo>
                <a:lnTo>
                  <a:pt x="8394" y="6259"/>
                </a:lnTo>
                <a:lnTo>
                  <a:pt x="8391" y="6238"/>
                </a:lnTo>
                <a:lnTo>
                  <a:pt x="8371" y="6225"/>
                </a:lnTo>
                <a:lnTo>
                  <a:pt x="8343" y="6220"/>
                </a:lnTo>
                <a:lnTo>
                  <a:pt x="8317" y="6221"/>
                </a:lnTo>
                <a:close/>
                <a:moveTo>
                  <a:pt x="7872" y="5475"/>
                </a:moveTo>
                <a:lnTo>
                  <a:pt x="7898" y="5480"/>
                </a:lnTo>
                <a:lnTo>
                  <a:pt x="7911" y="5466"/>
                </a:lnTo>
                <a:lnTo>
                  <a:pt x="7915" y="5441"/>
                </a:lnTo>
                <a:lnTo>
                  <a:pt x="7914" y="5415"/>
                </a:lnTo>
                <a:lnTo>
                  <a:pt x="7915" y="5415"/>
                </a:lnTo>
                <a:lnTo>
                  <a:pt x="7915" y="5415"/>
                </a:lnTo>
                <a:lnTo>
                  <a:pt x="7915" y="5414"/>
                </a:lnTo>
                <a:lnTo>
                  <a:pt x="7915" y="5414"/>
                </a:lnTo>
                <a:lnTo>
                  <a:pt x="7914" y="5414"/>
                </a:lnTo>
                <a:lnTo>
                  <a:pt x="7914" y="5415"/>
                </a:lnTo>
                <a:lnTo>
                  <a:pt x="7888" y="5416"/>
                </a:lnTo>
                <a:lnTo>
                  <a:pt x="7867" y="5432"/>
                </a:lnTo>
                <a:lnTo>
                  <a:pt x="7859" y="5453"/>
                </a:lnTo>
                <a:lnTo>
                  <a:pt x="7872" y="5475"/>
                </a:lnTo>
                <a:close/>
                <a:moveTo>
                  <a:pt x="6684" y="5741"/>
                </a:moveTo>
                <a:lnTo>
                  <a:pt x="6658" y="5760"/>
                </a:lnTo>
                <a:lnTo>
                  <a:pt x="6654" y="5784"/>
                </a:lnTo>
                <a:lnTo>
                  <a:pt x="6667" y="5800"/>
                </a:lnTo>
                <a:lnTo>
                  <a:pt x="6699" y="5796"/>
                </a:lnTo>
                <a:lnTo>
                  <a:pt x="6706" y="5782"/>
                </a:lnTo>
                <a:lnTo>
                  <a:pt x="6706" y="5764"/>
                </a:lnTo>
                <a:lnTo>
                  <a:pt x="6699" y="5749"/>
                </a:lnTo>
                <a:lnTo>
                  <a:pt x="6684" y="5741"/>
                </a:lnTo>
                <a:close/>
                <a:moveTo>
                  <a:pt x="986" y="3864"/>
                </a:moveTo>
                <a:lnTo>
                  <a:pt x="976" y="3886"/>
                </a:lnTo>
                <a:lnTo>
                  <a:pt x="1008" y="3895"/>
                </a:lnTo>
                <a:lnTo>
                  <a:pt x="1043" y="3889"/>
                </a:lnTo>
                <a:lnTo>
                  <a:pt x="1048" y="3865"/>
                </a:lnTo>
                <a:lnTo>
                  <a:pt x="1033" y="3861"/>
                </a:lnTo>
                <a:lnTo>
                  <a:pt x="1016" y="3860"/>
                </a:lnTo>
                <a:lnTo>
                  <a:pt x="1001" y="3860"/>
                </a:lnTo>
                <a:lnTo>
                  <a:pt x="986" y="3864"/>
                </a:lnTo>
                <a:close/>
                <a:moveTo>
                  <a:pt x="7809" y="5129"/>
                </a:moveTo>
                <a:lnTo>
                  <a:pt x="7794" y="5111"/>
                </a:lnTo>
                <a:lnTo>
                  <a:pt x="7766" y="5110"/>
                </a:lnTo>
                <a:lnTo>
                  <a:pt x="7739" y="5120"/>
                </a:lnTo>
                <a:lnTo>
                  <a:pt x="7724" y="5138"/>
                </a:lnTo>
                <a:lnTo>
                  <a:pt x="7742" y="5153"/>
                </a:lnTo>
                <a:lnTo>
                  <a:pt x="7770" y="5157"/>
                </a:lnTo>
                <a:lnTo>
                  <a:pt x="7797" y="5149"/>
                </a:lnTo>
                <a:lnTo>
                  <a:pt x="7809" y="5129"/>
                </a:lnTo>
                <a:close/>
                <a:moveTo>
                  <a:pt x="2009" y="5089"/>
                </a:moveTo>
                <a:lnTo>
                  <a:pt x="2010" y="5089"/>
                </a:lnTo>
                <a:lnTo>
                  <a:pt x="2010" y="5088"/>
                </a:lnTo>
                <a:lnTo>
                  <a:pt x="2009" y="5089"/>
                </a:lnTo>
                <a:close/>
                <a:moveTo>
                  <a:pt x="2062" y="5097"/>
                </a:moveTo>
                <a:lnTo>
                  <a:pt x="2034" y="5091"/>
                </a:lnTo>
                <a:lnTo>
                  <a:pt x="2007" y="5100"/>
                </a:lnTo>
                <a:lnTo>
                  <a:pt x="1993" y="5117"/>
                </a:lnTo>
                <a:lnTo>
                  <a:pt x="2005" y="5140"/>
                </a:lnTo>
                <a:lnTo>
                  <a:pt x="2028" y="5138"/>
                </a:lnTo>
                <a:lnTo>
                  <a:pt x="2053" y="5131"/>
                </a:lnTo>
                <a:lnTo>
                  <a:pt x="2070" y="5119"/>
                </a:lnTo>
                <a:lnTo>
                  <a:pt x="2062" y="5097"/>
                </a:lnTo>
                <a:close/>
                <a:moveTo>
                  <a:pt x="7970" y="5950"/>
                </a:moveTo>
                <a:lnTo>
                  <a:pt x="7949" y="5963"/>
                </a:lnTo>
                <a:lnTo>
                  <a:pt x="7947" y="5984"/>
                </a:lnTo>
                <a:lnTo>
                  <a:pt x="7958" y="6005"/>
                </a:lnTo>
                <a:lnTo>
                  <a:pt x="7981" y="6011"/>
                </a:lnTo>
                <a:lnTo>
                  <a:pt x="8005" y="5997"/>
                </a:lnTo>
                <a:lnTo>
                  <a:pt x="8012" y="5975"/>
                </a:lnTo>
                <a:lnTo>
                  <a:pt x="7999" y="5957"/>
                </a:lnTo>
                <a:lnTo>
                  <a:pt x="7970" y="5950"/>
                </a:lnTo>
                <a:close/>
                <a:moveTo>
                  <a:pt x="6104" y="5228"/>
                </a:moveTo>
                <a:lnTo>
                  <a:pt x="6102" y="5196"/>
                </a:lnTo>
                <a:lnTo>
                  <a:pt x="6082" y="5185"/>
                </a:lnTo>
                <a:lnTo>
                  <a:pt x="6060" y="5195"/>
                </a:lnTo>
                <a:lnTo>
                  <a:pt x="6046" y="5224"/>
                </a:lnTo>
                <a:lnTo>
                  <a:pt x="6051" y="5243"/>
                </a:lnTo>
                <a:lnTo>
                  <a:pt x="6070" y="5250"/>
                </a:lnTo>
                <a:lnTo>
                  <a:pt x="6090" y="5246"/>
                </a:lnTo>
                <a:lnTo>
                  <a:pt x="6104" y="5228"/>
                </a:lnTo>
                <a:close/>
                <a:moveTo>
                  <a:pt x="4678" y="5531"/>
                </a:moveTo>
                <a:lnTo>
                  <a:pt x="4642" y="5540"/>
                </a:lnTo>
                <a:lnTo>
                  <a:pt x="4650" y="5567"/>
                </a:lnTo>
                <a:lnTo>
                  <a:pt x="4680" y="5587"/>
                </a:lnTo>
                <a:lnTo>
                  <a:pt x="4712" y="5574"/>
                </a:lnTo>
                <a:lnTo>
                  <a:pt x="4715" y="5558"/>
                </a:lnTo>
                <a:lnTo>
                  <a:pt x="4710" y="5544"/>
                </a:lnTo>
                <a:lnTo>
                  <a:pt x="4697" y="5535"/>
                </a:lnTo>
                <a:lnTo>
                  <a:pt x="4678" y="5531"/>
                </a:lnTo>
                <a:close/>
                <a:moveTo>
                  <a:pt x="4939" y="5316"/>
                </a:moveTo>
                <a:lnTo>
                  <a:pt x="4902" y="5331"/>
                </a:lnTo>
                <a:lnTo>
                  <a:pt x="4883" y="5345"/>
                </a:lnTo>
                <a:lnTo>
                  <a:pt x="4888" y="5359"/>
                </a:lnTo>
                <a:lnTo>
                  <a:pt x="4929" y="5371"/>
                </a:lnTo>
                <a:lnTo>
                  <a:pt x="4955" y="5366"/>
                </a:lnTo>
                <a:lnTo>
                  <a:pt x="4969" y="5344"/>
                </a:lnTo>
                <a:lnTo>
                  <a:pt x="4964" y="5321"/>
                </a:lnTo>
                <a:lnTo>
                  <a:pt x="4939" y="5316"/>
                </a:lnTo>
                <a:close/>
                <a:moveTo>
                  <a:pt x="8995" y="5798"/>
                </a:moveTo>
                <a:lnTo>
                  <a:pt x="9032" y="5763"/>
                </a:lnTo>
                <a:lnTo>
                  <a:pt x="8998" y="5746"/>
                </a:lnTo>
                <a:lnTo>
                  <a:pt x="8941" y="5754"/>
                </a:lnTo>
                <a:lnTo>
                  <a:pt x="8913" y="5789"/>
                </a:lnTo>
                <a:lnTo>
                  <a:pt x="8933" y="5798"/>
                </a:lnTo>
                <a:lnTo>
                  <a:pt x="8953" y="5803"/>
                </a:lnTo>
                <a:lnTo>
                  <a:pt x="8973" y="5802"/>
                </a:lnTo>
                <a:lnTo>
                  <a:pt x="8995" y="5798"/>
                </a:lnTo>
                <a:close/>
                <a:moveTo>
                  <a:pt x="8913" y="5791"/>
                </a:moveTo>
                <a:lnTo>
                  <a:pt x="8913" y="5789"/>
                </a:lnTo>
                <a:lnTo>
                  <a:pt x="8912" y="5789"/>
                </a:lnTo>
                <a:lnTo>
                  <a:pt x="8913" y="5791"/>
                </a:lnTo>
                <a:close/>
                <a:moveTo>
                  <a:pt x="7245" y="5736"/>
                </a:moveTo>
                <a:lnTo>
                  <a:pt x="7224" y="5749"/>
                </a:lnTo>
                <a:lnTo>
                  <a:pt x="7198" y="5764"/>
                </a:lnTo>
                <a:lnTo>
                  <a:pt x="7180" y="5781"/>
                </a:lnTo>
                <a:lnTo>
                  <a:pt x="7184" y="5802"/>
                </a:lnTo>
                <a:lnTo>
                  <a:pt x="7213" y="5807"/>
                </a:lnTo>
                <a:lnTo>
                  <a:pt x="7241" y="5791"/>
                </a:lnTo>
                <a:lnTo>
                  <a:pt x="7257" y="5764"/>
                </a:lnTo>
                <a:lnTo>
                  <a:pt x="7245" y="5736"/>
                </a:lnTo>
                <a:close/>
                <a:moveTo>
                  <a:pt x="7345" y="5820"/>
                </a:moveTo>
                <a:lnTo>
                  <a:pt x="7324" y="5820"/>
                </a:lnTo>
                <a:lnTo>
                  <a:pt x="7308" y="5825"/>
                </a:lnTo>
                <a:lnTo>
                  <a:pt x="7291" y="5834"/>
                </a:lnTo>
                <a:lnTo>
                  <a:pt x="7277" y="5847"/>
                </a:lnTo>
                <a:lnTo>
                  <a:pt x="7290" y="5875"/>
                </a:lnTo>
                <a:lnTo>
                  <a:pt x="7328" y="5870"/>
                </a:lnTo>
                <a:lnTo>
                  <a:pt x="7357" y="5847"/>
                </a:lnTo>
                <a:lnTo>
                  <a:pt x="7345" y="5820"/>
                </a:lnTo>
                <a:close/>
                <a:moveTo>
                  <a:pt x="8656" y="6404"/>
                </a:moveTo>
                <a:lnTo>
                  <a:pt x="8643" y="6425"/>
                </a:lnTo>
                <a:lnTo>
                  <a:pt x="8661" y="6448"/>
                </a:lnTo>
                <a:lnTo>
                  <a:pt x="8693" y="6464"/>
                </a:lnTo>
                <a:lnTo>
                  <a:pt x="8720" y="6469"/>
                </a:lnTo>
                <a:lnTo>
                  <a:pt x="8722" y="6448"/>
                </a:lnTo>
                <a:lnTo>
                  <a:pt x="8706" y="6427"/>
                </a:lnTo>
                <a:lnTo>
                  <a:pt x="8680" y="6411"/>
                </a:lnTo>
                <a:lnTo>
                  <a:pt x="8656" y="6404"/>
                </a:lnTo>
                <a:close/>
                <a:moveTo>
                  <a:pt x="5921" y="5472"/>
                </a:moveTo>
                <a:lnTo>
                  <a:pt x="5890" y="5490"/>
                </a:lnTo>
                <a:lnTo>
                  <a:pt x="5888" y="5526"/>
                </a:lnTo>
                <a:lnTo>
                  <a:pt x="5905" y="5553"/>
                </a:lnTo>
                <a:lnTo>
                  <a:pt x="5935" y="5548"/>
                </a:lnTo>
                <a:lnTo>
                  <a:pt x="5939" y="5526"/>
                </a:lnTo>
                <a:lnTo>
                  <a:pt x="5941" y="5503"/>
                </a:lnTo>
                <a:lnTo>
                  <a:pt x="5936" y="5484"/>
                </a:lnTo>
                <a:lnTo>
                  <a:pt x="5921" y="5472"/>
                </a:lnTo>
                <a:close/>
                <a:moveTo>
                  <a:pt x="8098" y="5735"/>
                </a:moveTo>
                <a:lnTo>
                  <a:pt x="8107" y="5755"/>
                </a:lnTo>
                <a:lnTo>
                  <a:pt x="8129" y="5751"/>
                </a:lnTo>
                <a:lnTo>
                  <a:pt x="8156" y="5740"/>
                </a:lnTo>
                <a:lnTo>
                  <a:pt x="8179" y="5730"/>
                </a:lnTo>
                <a:lnTo>
                  <a:pt x="8174" y="5700"/>
                </a:lnTo>
                <a:lnTo>
                  <a:pt x="8148" y="5693"/>
                </a:lnTo>
                <a:lnTo>
                  <a:pt x="8118" y="5704"/>
                </a:lnTo>
                <a:lnTo>
                  <a:pt x="8098" y="5735"/>
                </a:lnTo>
                <a:close/>
                <a:moveTo>
                  <a:pt x="6310" y="5819"/>
                </a:moveTo>
                <a:lnTo>
                  <a:pt x="6285" y="5812"/>
                </a:lnTo>
                <a:lnTo>
                  <a:pt x="6259" y="5819"/>
                </a:lnTo>
                <a:lnTo>
                  <a:pt x="6245" y="5835"/>
                </a:lnTo>
                <a:lnTo>
                  <a:pt x="6256" y="5858"/>
                </a:lnTo>
                <a:lnTo>
                  <a:pt x="6310" y="5866"/>
                </a:lnTo>
                <a:lnTo>
                  <a:pt x="6350" y="5868"/>
                </a:lnTo>
                <a:lnTo>
                  <a:pt x="6356" y="5857"/>
                </a:lnTo>
                <a:lnTo>
                  <a:pt x="6310" y="5819"/>
                </a:lnTo>
                <a:close/>
                <a:moveTo>
                  <a:pt x="3369" y="5170"/>
                </a:moveTo>
                <a:lnTo>
                  <a:pt x="3348" y="5198"/>
                </a:lnTo>
                <a:lnTo>
                  <a:pt x="3353" y="5229"/>
                </a:lnTo>
                <a:lnTo>
                  <a:pt x="3375" y="5251"/>
                </a:lnTo>
                <a:lnTo>
                  <a:pt x="3411" y="5248"/>
                </a:lnTo>
                <a:lnTo>
                  <a:pt x="3414" y="5224"/>
                </a:lnTo>
                <a:lnTo>
                  <a:pt x="3408" y="5198"/>
                </a:lnTo>
                <a:lnTo>
                  <a:pt x="3393" y="5176"/>
                </a:lnTo>
                <a:lnTo>
                  <a:pt x="3369" y="5170"/>
                </a:lnTo>
                <a:close/>
                <a:moveTo>
                  <a:pt x="8065" y="5559"/>
                </a:moveTo>
                <a:lnTo>
                  <a:pt x="8100" y="5548"/>
                </a:lnTo>
                <a:lnTo>
                  <a:pt x="8120" y="5509"/>
                </a:lnTo>
                <a:lnTo>
                  <a:pt x="8119" y="5470"/>
                </a:lnTo>
                <a:lnTo>
                  <a:pt x="8090" y="5456"/>
                </a:lnTo>
                <a:lnTo>
                  <a:pt x="8072" y="5483"/>
                </a:lnTo>
                <a:lnTo>
                  <a:pt x="8051" y="5511"/>
                </a:lnTo>
                <a:lnTo>
                  <a:pt x="8045" y="5537"/>
                </a:lnTo>
                <a:lnTo>
                  <a:pt x="8065" y="5559"/>
                </a:lnTo>
                <a:close/>
                <a:moveTo>
                  <a:pt x="8841" y="6166"/>
                </a:moveTo>
                <a:lnTo>
                  <a:pt x="8821" y="6184"/>
                </a:lnTo>
                <a:lnTo>
                  <a:pt x="8800" y="6208"/>
                </a:lnTo>
                <a:lnTo>
                  <a:pt x="8790" y="6234"/>
                </a:lnTo>
                <a:lnTo>
                  <a:pt x="8796" y="6259"/>
                </a:lnTo>
                <a:lnTo>
                  <a:pt x="8832" y="6249"/>
                </a:lnTo>
                <a:lnTo>
                  <a:pt x="8864" y="6216"/>
                </a:lnTo>
                <a:lnTo>
                  <a:pt x="8873" y="6182"/>
                </a:lnTo>
                <a:lnTo>
                  <a:pt x="8841" y="6166"/>
                </a:lnTo>
                <a:close/>
                <a:moveTo>
                  <a:pt x="7955" y="5419"/>
                </a:moveTo>
                <a:lnTo>
                  <a:pt x="7979" y="5409"/>
                </a:lnTo>
                <a:lnTo>
                  <a:pt x="8000" y="5395"/>
                </a:lnTo>
                <a:lnTo>
                  <a:pt x="8019" y="5378"/>
                </a:lnTo>
                <a:lnTo>
                  <a:pt x="8036" y="5357"/>
                </a:lnTo>
                <a:lnTo>
                  <a:pt x="8008" y="5331"/>
                </a:lnTo>
                <a:lnTo>
                  <a:pt x="7956" y="5359"/>
                </a:lnTo>
                <a:lnTo>
                  <a:pt x="7923" y="5402"/>
                </a:lnTo>
                <a:lnTo>
                  <a:pt x="7955" y="5419"/>
                </a:lnTo>
                <a:close/>
                <a:moveTo>
                  <a:pt x="7983" y="5330"/>
                </a:moveTo>
                <a:lnTo>
                  <a:pt x="7983" y="5329"/>
                </a:lnTo>
                <a:lnTo>
                  <a:pt x="7984" y="5329"/>
                </a:lnTo>
                <a:lnTo>
                  <a:pt x="7983" y="5330"/>
                </a:lnTo>
                <a:close/>
                <a:moveTo>
                  <a:pt x="6144" y="5324"/>
                </a:moveTo>
                <a:lnTo>
                  <a:pt x="6125" y="5315"/>
                </a:lnTo>
                <a:lnTo>
                  <a:pt x="6107" y="5308"/>
                </a:lnTo>
                <a:lnTo>
                  <a:pt x="6089" y="5306"/>
                </a:lnTo>
                <a:lnTo>
                  <a:pt x="6071" y="5310"/>
                </a:lnTo>
                <a:lnTo>
                  <a:pt x="6060" y="5349"/>
                </a:lnTo>
                <a:lnTo>
                  <a:pt x="6102" y="5374"/>
                </a:lnTo>
                <a:lnTo>
                  <a:pt x="6146" y="5369"/>
                </a:lnTo>
                <a:lnTo>
                  <a:pt x="6144" y="5324"/>
                </a:lnTo>
                <a:close/>
                <a:moveTo>
                  <a:pt x="8330" y="6146"/>
                </a:moveTo>
                <a:lnTo>
                  <a:pt x="8358" y="6129"/>
                </a:lnTo>
                <a:lnTo>
                  <a:pt x="8365" y="6091"/>
                </a:lnTo>
                <a:lnTo>
                  <a:pt x="8352" y="6055"/>
                </a:lnTo>
                <a:lnTo>
                  <a:pt x="8321" y="6050"/>
                </a:lnTo>
                <a:lnTo>
                  <a:pt x="8301" y="6076"/>
                </a:lnTo>
                <a:lnTo>
                  <a:pt x="8298" y="6103"/>
                </a:lnTo>
                <a:lnTo>
                  <a:pt x="8309" y="6128"/>
                </a:lnTo>
                <a:lnTo>
                  <a:pt x="8330" y="6146"/>
                </a:lnTo>
                <a:close/>
                <a:moveTo>
                  <a:pt x="5287" y="5094"/>
                </a:moveTo>
                <a:lnTo>
                  <a:pt x="5298" y="5117"/>
                </a:lnTo>
                <a:lnTo>
                  <a:pt x="5341" y="5139"/>
                </a:lnTo>
                <a:lnTo>
                  <a:pt x="5388" y="5147"/>
                </a:lnTo>
                <a:lnTo>
                  <a:pt x="5410" y="5126"/>
                </a:lnTo>
                <a:lnTo>
                  <a:pt x="5396" y="5094"/>
                </a:lnTo>
                <a:lnTo>
                  <a:pt x="5363" y="5086"/>
                </a:lnTo>
                <a:lnTo>
                  <a:pt x="5322" y="5088"/>
                </a:lnTo>
                <a:lnTo>
                  <a:pt x="5287" y="5094"/>
                </a:lnTo>
                <a:close/>
                <a:moveTo>
                  <a:pt x="6774" y="5154"/>
                </a:moveTo>
                <a:lnTo>
                  <a:pt x="6754" y="5154"/>
                </a:lnTo>
                <a:lnTo>
                  <a:pt x="6731" y="5154"/>
                </a:lnTo>
                <a:lnTo>
                  <a:pt x="6710" y="5159"/>
                </a:lnTo>
                <a:lnTo>
                  <a:pt x="6698" y="5173"/>
                </a:lnTo>
                <a:lnTo>
                  <a:pt x="6709" y="5213"/>
                </a:lnTo>
                <a:lnTo>
                  <a:pt x="6761" y="5212"/>
                </a:lnTo>
                <a:lnTo>
                  <a:pt x="6801" y="5186"/>
                </a:lnTo>
                <a:lnTo>
                  <a:pt x="6774" y="5154"/>
                </a:lnTo>
                <a:close/>
                <a:moveTo>
                  <a:pt x="7560" y="5867"/>
                </a:moveTo>
                <a:lnTo>
                  <a:pt x="7541" y="5894"/>
                </a:lnTo>
                <a:lnTo>
                  <a:pt x="7525" y="5927"/>
                </a:lnTo>
                <a:lnTo>
                  <a:pt x="7523" y="5959"/>
                </a:lnTo>
                <a:lnTo>
                  <a:pt x="7543" y="5985"/>
                </a:lnTo>
                <a:lnTo>
                  <a:pt x="7571" y="5954"/>
                </a:lnTo>
                <a:lnTo>
                  <a:pt x="7597" y="5901"/>
                </a:lnTo>
                <a:lnTo>
                  <a:pt x="7599" y="5862"/>
                </a:lnTo>
                <a:lnTo>
                  <a:pt x="7560" y="5867"/>
                </a:lnTo>
                <a:close/>
                <a:moveTo>
                  <a:pt x="7817" y="5885"/>
                </a:moveTo>
                <a:lnTo>
                  <a:pt x="7776" y="5887"/>
                </a:lnTo>
                <a:lnTo>
                  <a:pt x="7746" y="5907"/>
                </a:lnTo>
                <a:lnTo>
                  <a:pt x="7728" y="5937"/>
                </a:lnTo>
                <a:lnTo>
                  <a:pt x="7727" y="5978"/>
                </a:lnTo>
                <a:lnTo>
                  <a:pt x="7765" y="5971"/>
                </a:lnTo>
                <a:lnTo>
                  <a:pt x="7799" y="5951"/>
                </a:lnTo>
                <a:lnTo>
                  <a:pt x="7821" y="5921"/>
                </a:lnTo>
                <a:lnTo>
                  <a:pt x="7817" y="5885"/>
                </a:lnTo>
                <a:close/>
                <a:moveTo>
                  <a:pt x="7725" y="5979"/>
                </a:moveTo>
                <a:lnTo>
                  <a:pt x="7725" y="5978"/>
                </a:lnTo>
                <a:lnTo>
                  <a:pt x="7724" y="5978"/>
                </a:lnTo>
                <a:lnTo>
                  <a:pt x="7725" y="5979"/>
                </a:lnTo>
                <a:close/>
                <a:moveTo>
                  <a:pt x="4764" y="5438"/>
                </a:moveTo>
                <a:lnTo>
                  <a:pt x="4735" y="5437"/>
                </a:lnTo>
                <a:lnTo>
                  <a:pt x="4705" y="5436"/>
                </a:lnTo>
                <a:lnTo>
                  <a:pt x="4678" y="5442"/>
                </a:lnTo>
                <a:lnTo>
                  <a:pt x="4657" y="5461"/>
                </a:lnTo>
                <a:lnTo>
                  <a:pt x="4684" y="5492"/>
                </a:lnTo>
                <a:lnTo>
                  <a:pt x="4738" y="5499"/>
                </a:lnTo>
                <a:lnTo>
                  <a:pt x="4778" y="5481"/>
                </a:lnTo>
                <a:lnTo>
                  <a:pt x="4764" y="5438"/>
                </a:lnTo>
                <a:close/>
                <a:moveTo>
                  <a:pt x="7872" y="5971"/>
                </a:moveTo>
                <a:lnTo>
                  <a:pt x="7845" y="5982"/>
                </a:lnTo>
                <a:lnTo>
                  <a:pt x="7839" y="6021"/>
                </a:lnTo>
                <a:lnTo>
                  <a:pt x="7848" y="6066"/>
                </a:lnTo>
                <a:lnTo>
                  <a:pt x="7867" y="6094"/>
                </a:lnTo>
                <a:lnTo>
                  <a:pt x="7896" y="6077"/>
                </a:lnTo>
                <a:lnTo>
                  <a:pt x="7907" y="6038"/>
                </a:lnTo>
                <a:lnTo>
                  <a:pt x="7898" y="5997"/>
                </a:lnTo>
                <a:lnTo>
                  <a:pt x="7872" y="5971"/>
                </a:lnTo>
                <a:close/>
                <a:moveTo>
                  <a:pt x="9028" y="5909"/>
                </a:moveTo>
                <a:lnTo>
                  <a:pt x="8986" y="5921"/>
                </a:lnTo>
                <a:lnTo>
                  <a:pt x="8961" y="5945"/>
                </a:lnTo>
                <a:lnTo>
                  <a:pt x="8962" y="5971"/>
                </a:lnTo>
                <a:lnTo>
                  <a:pt x="9003" y="5988"/>
                </a:lnTo>
                <a:lnTo>
                  <a:pt x="9033" y="5974"/>
                </a:lnTo>
                <a:lnTo>
                  <a:pt x="9057" y="5947"/>
                </a:lnTo>
                <a:lnTo>
                  <a:pt x="9060" y="5922"/>
                </a:lnTo>
                <a:lnTo>
                  <a:pt x="9028" y="5909"/>
                </a:lnTo>
                <a:close/>
                <a:moveTo>
                  <a:pt x="1066" y="5198"/>
                </a:moveTo>
                <a:lnTo>
                  <a:pt x="1066" y="5199"/>
                </a:lnTo>
                <a:lnTo>
                  <a:pt x="1066" y="5200"/>
                </a:lnTo>
                <a:lnTo>
                  <a:pt x="1067" y="5199"/>
                </a:lnTo>
                <a:lnTo>
                  <a:pt x="1066" y="5198"/>
                </a:lnTo>
                <a:close/>
                <a:moveTo>
                  <a:pt x="987" y="5135"/>
                </a:moveTo>
                <a:lnTo>
                  <a:pt x="935" y="5170"/>
                </a:lnTo>
                <a:lnTo>
                  <a:pt x="952" y="5200"/>
                </a:lnTo>
                <a:lnTo>
                  <a:pt x="1005" y="5215"/>
                </a:lnTo>
                <a:lnTo>
                  <a:pt x="1066" y="5198"/>
                </a:lnTo>
                <a:lnTo>
                  <a:pt x="1052" y="5175"/>
                </a:lnTo>
                <a:lnTo>
                  <a:pt x="1036" y="5156"/>
                </a:lnTo>
                <a:lnTo>
                  <a:pt x="1014" y="5143"/>
                </a:lnTo>
                <a:lnTo>
                  <a:pt x="987" y="5135"/>
                </a:lnTo>
                <a:close/>
                <a:moveTo>
                  <a:pt x="6150" y="5063"/>
                </a:moveTo>
                <a:lnTo>
                  <a:pt x="6149" y="5063"/>
                </a:lnTo>
                <a:lnTo>
                  <a:pt x="6150" y="5063"/>
                </a:lnTo>
                <a:lnTo>
                  <a:pt x="6150" y="5063"/>
                </a:lnTo>
                <a:lnTo>
                  <a:pt x="6150" y="5063"/>
                </a:lnTo>
                <a:lnTo>
                  <a:pt x="6149" y="5063"/>
                </a:lnTo>
                <a:lnTo>
                  <a:pt x="6150" y="5063"/>
                </a:lnTo>
                <a:close/>
                <a:moveTo>
                  <a:pt x="6186" y="5110"/>
                </a:moveTo>
                <a:lnTo>
                  <a:pt x="6220" y="5126"/>
                </a:lnTo>
                <a:lnTo>
                  <a:pt x="6249" y="5128"/>
                </a:lnTo>
                <a:lnTo>
                  <a:pt x="6272" y="5111"/>
                </a:lnTo>
                <a:lnTo>
                  <a:pt x="6291" y="5077"/>
                </a:lnTo>
                <a:lnTo>
                  <a:pt x="6251" y="5044"/>
                </a:lnTo>
                <a:lnTo>
                  <a:pt x="6192" y="5050"/>
                </a:lnTo>
                <a:lnTo>
                  <a:pt x="6156" y="5077"/>
                </a:lnTo>
                <a:lnTo>
                  <a:pt x="6186" y="5110"/>
                </a:lnTo>
                <a:close/>
                <a:moveTo>
                  <a:pt x="8247" y="6124"/>
                </a:moveTo>
                <a:lnTo>
                  <a:pt x="8235" y="6078"/>
                </a:lnTo>
                <a:lnTo>
                  <a:pt x="8203" y="6035"/>
                </a:lnTo>
                <a:lnTo>
                  <a:pt x="8160" y="6006"/>
                </a:lnTo>
                <a:lnTo>
                  <a:pt x="8114" y="6005"/>
                </a:lnTo>
                <a:lnTo>
                  <a:pt x="8129" y="6044"/>
                </a:lnTo>
                <a:lnTo>
                  <a:pt x="8162" y="6084"/>
                </a:lnTo>
                <a:lnTo>
                  <a:pt x="8205" y="6113"/>
                </a:lnTo>
                <a:lnTo>
                  <a:pt x="8247" y="6124"/>
                </a:lnTo>
                <a:close/>
                <a:moveTo>
                  <a:pt x="5602" y="5432"/>
                </a:moveTo>
                <a:lnTo>
                  <a:pt x="5550" y="5419"/>
                </a:lnTo>
                <a:lnTo>
                  <a:pt x="5483" y="5411"/>
                </a:lnTo>
                <a:lnTo>
                  <a:pt x="5438" y="5420"/>
                </a:lnTo>
                <a:lnTo>
                  <a:pt x="5455" y="5455"/>
                </a:lnTo>
                <a:lnTo>
                  <a:pt x="5455" y="5471"/>
                </a:lnTo>
                <a:lnTo>
                  <a:pt x="5545" y="5476"/>
                </a:lnTo>
                <a:lnTo>
                  <a:pt x="5628" y="5465"/>
                </a:lnTo>
                <a:lnTo>
                  <a:pt x="5602" y="5432"/>
                </a:lnTo>
                <a:close/>
                <a:moveTo>
                  <a:pt x="4454" y="5413"/>
                </a:moveTo>
                <a:lnTo>
                  <a:pt x="4454" y="5413"/>
                </a:lnTo>
                <a:lnTo>
                  <a:pt x="4454" y="5414"/>
                </a:lnTo>
                <a:lnTo>
                  <a:pt x="4455" y="5414"/>
                </a:lnTo>
                <a:lnTo>
                  <a:pt x="4455" y="5413"/>
                </a:lnTo>
                <a:lnTo>
                  <a:pt x="4454" y="5413"/>
                </a:lnTo>
                <a:lnTo>
                  <a:pt x="4454" y="5413"/>
                </a:lnTo>
                <a:close/>
                <a:moveTo>
                  <a:pt x="4315" y="5359"/>
                </a:moveTo>
                <a:lnTo>
                  <a:pt x="4307" y="5408"/>
                </a:lnTo>
                <a:lnTo>
                  <a:pt x="4353" y="5443"/>
                </a:lnTo>
                <a:lnTo>
                  <a:pt x="4415" y="5450"/>
                </a:lnTo>
                <a:lnTo>
                  <a:pt x="4452" y="5413"/>
                </a:lnTo>
                <a:lnTo>
                  <a:pt x="4419" y="5395"/>
                </a:lnTo>
                <a:lnTo>
                  <a:pt x="4386" y="5378"/>
                </a:lnTo>
                <a:lnTo>
                  <a:pt x="4352" y="5364"/>
                </a:lnTo>
                <a:lnTo>
                  <a:pt x="4315" y="5359"/>
                </a:lnTo>
                <a:close/>
                <a:moveTo>
                  <a:pt x="8972" y="6481"/>
                </a:moveTo>
                <a:lnTo>
                  <a:pt x="8940" y="6525"/>
                </a:lnTo>
                <a:lnTo>
                  <a:pt x="8994" y="6557"/>
                </a:lnTo>
                <a:lnTo>
                  <a:pt x="9056" y="6554"/>
                </a:lnTo>
                <a:lnTo>
                  <a:pt x="9047" y="6495"/>
                </a:lnTo>
                <a:lnTo>
                  <a:pt x="9029" y="6482"/>
                </a:lnTo>
                <a:lnTo>
                  <a:pt x="9012" y="6474"/>
                </a:lnTo>
                <a:lnTo>
                  <a:pt x="8991" y="6473"/>
                </a:lnTo>
                <a:lnTo>
                  <a:pt x="8972" y="6481"/>
                </a:lnTo>
                <a:close/>
                <a:moveTo>
                  <a:pt x="9047" y="6493"/>
                </a:moveTo>
                <a:lnTo>
                  <a:pt x="9047" y="6495"/>
                </a:lnTo>
                <a:lnTo>
                  <a:pt x="9048" y="6496"/>
                </a:lnTo>
                <a:lnTo>
                  <a:pt x="9048" y="6493"/>
                </a:lnTo>
                <a:lnTo>
                  <a:pt x="9047" y="6493"/>
                </a:lnTo>
                <a:close/>
                <a:moveTo>
                  <a:pt x="8669" y="6180"/>
                </a:moveTo>
                <a:lnTo>
                  <a:pt x="8700" y="6152"/>
                </a:lnTo>
                <a:lnTo>
                  <a:pt x="8712" y="6115"/>
                </a:lnTo>
                <a:lnTo>
                  <a:pt x="8705" y="6078"/>
                </a:lnTo>
                <a:lnTo>
                  <a:pt x="8675" y="6050"/>
                </a:lnTo>
                <a:lnTo>
                  <a:pt x="8636" y="6063"/>
                </a:lnTo>
                <a:lnTo>
                  <a:pt x="8619" y="6115"/>
                </a:lnTo>
                <a:lnTo>
                  <a:pt x="8628" y="6168"/>
                </a:lnTo>
                <a:lnTo>
                  <a:pt x="8669" y="6180"/>
                </a:lnTo>
                <a:close/>
                <a:moveTo>
                  <a:pt x="7511" y="5256"/>
                </a:moveTo>
                <a:lnTo>
                  <a:pt x="7515" y="5298"/>
                </a:lnTo>
                <a:lnTo>
                  <a:pt x="7562" y="5279"/>
                </a:lnTo>
                <a:lnTo>
                  <a:pt x="7620" y="5233"/>
                </a:lnTo>
                <a:lnTo>
                  <a:pt x="7657" y="5190"/>
                </a:lnTo>
                <a:lnTo>
                  <a:pt x="7608" y="5176"/>
                </a:lnTo>
                <a:lnTo>
                  <a:pt x="7566" y="5181"/>
                </a:lnTo>
                <a:lnTo>
                  <a:pt x="7532" y="5206"/>
                </a:lnTo>
                <a:lnTo>
                  <a:pt x="7511" y="5256"/>
                </a:lnTo>
                <a:close/>
                <a:moveTo>
                  <a:pt x="7872" y="5331"/>
                </a:moveTo>
                <a:lnTo>
                  <a:pt x="7912" y="5326"/>
                </a:lnTo>
                <a:lnTo>
                  <a:pt x="7958" y="5280"/>
                </a:lnTo>
                <a:lnTo>
                  <a:pt x="7990" y="5220"/>
                </a:lnTo>
                <a:lnTo>
                  <a:pt x="7988" y="5176"/>
                </a:lnTo>
                <a:lnTo>
                  <a:pt x="7943" y="5192"/>
                </a:lnTo>
                <a:lnTo>
                  <a:pt x="7905" y="5232"/>
                </a:lnTo>
                <a:lnTo>
                  <a:pt x="7879" y="5282"/>
                </a:lnTo>
                <a:lnTo>
                  <a:pt x="7872" y="5331"/>
                </a:lnTo>
                <a:close/>
                <a:moveTo>
                  <a:pt x="6620" y="5601"/>
                </a:moveTo>
                <a:lnTo>
                  <a:pt x="6577" y="5613"/>
                </a:lnTo>
                <a:lnTo>
                  <a:pt x="6569" y="5655"/>
                </a:lnTo>
                <a:lnTo>
                  <a:pt x="6589" y="5700"/>
                </a:lnTo>
                <a:lnTo>
                  <a:pt x="6629" y="5722"/>
                </a:lnTo>
                <a:lnTo>
                  <a:pt x="6691" y="5689"/>
                </a:lnTo>
                <a:lnTo>
                  <a:pt x="6701" y="5669"/>
                </a:lnTo>
                <a:lnTo>
                  <a:pt x="6673" y="5644"/>
                </a:lnTo>
                <a:lnTo>
                  <a:pt x="6620" y="5601"/>
                </a:lnTo>
                <a:close/>
                <a:moveTo>
                  <a:pt x="5247" y="5355"/>
                </a:moveTo>
                <a:lnTo>
                  <a:pt x="5171" y="5358"/>
                </a:lnTo>
                <a:lnTo>
                  <a:pt x="5102" y="5359"/>
                </a:lnTo>
                <a:lnTo>
                  <a:pt x="5078" y="5380"/>
                </a:lnTo>
                <a:lnTo>
                  <a:pt x="5131" y="5436"/>
                </a:lnTo>
                <a:lnTo>
                  <a:pt x="5188" y="5439"/>
                </a:lnTo>
                <a:lnTo>
                  <a:pt x="5257" y="5425"/>
                </a:lnTo>
                <a:lnTo>
                  <a:pt x="5292" y="5396"/>
                </a:lnTo>
                <a:lnTo>
                  <a:pt x="5247" y="5355"/>
                </a:lnTo>
                <a:close/>
                <a:moveTo>
                  <a:pt x="3822" y="5330"/>
                </a:moveTo>
                <a:lnTo>
                  <a:pt x="3823" y="5329"/>
                </a:lnTo>
                <a:lnTo>
                  <a:pt x="3822" y="5330"/>
                </a:lnTo>
                <a:lnTo>
                  <a:pt x="3822" y="5329"/>
                </a:lnTo>
                <a:lnTo>
                  <a:pt x="3822" y="5330"/>
                </a:lnTo>
                <a:close/>
                <a:moveTo>
                  <a:pt x="3640" y="5273"/>
                </a:moveTo>
                <a:lnTo>
                  <a:pt x="3639" y="5331"/>
                </a:lnTo>
                <a:lnTo>
                  <a:pt x="3681" y="5367"/>
                </a:lnTo>
                <a:lnTo>
                  <a:pt x="3741" y="5378"/>
                </a:lnTo>
                <a:lnTo>
                  <a:pt x="3797" y="5363"/>
                </a:lnTo>
                <a:lnTo>
                  <a:pt x="3808" y="5312"/>
                </a:lnTo>
                <a:lnTo>
                  <a:pt x="3767" y="5276"/>
                </a:lnTo>
                <a:lnTo>
                  <a:pt x="3704" y="5261"/>
                </a:lnTo>
                <a:lnTo>
                  <a:pt x="3640" y="5273"/>
                </a:lnTo>
                <a:close/>
                <a:moveTo>
                  <a:pt x="3779" y="5265"/>
                </a:moveTo>
                <a:lnTo>
                  <a:pt x="3779" y="5265"/>
                </a:lnTo>
                <a:lnTo>
                  <a:pt x="3780" y="5265"/>
                </a:lnTo>
                <a:lnTo>
                  <a:pt x="3779" y="5265"/>
                </a:lnTo>
                <a:lnTo>
                  <a:pt x="3779" y="5264"/>
                </a:lnTo>
                <a:lnTo>
                  <a:pt x="3779" y="5265"/>
                </a:lnTo>
                <a:lnTo>
                  <a:pt x="3779" y="5265"/>
                </a:lnTo>
                <a:close/>
                <a:moveTo>
                  <a:pt x="8424" y="6119"/>
                </a:moveTo>
                <a:lnTo>
                  <a:pt x="8418" y="6161"/>
                </a:lnTo>
                <a:lnTo>
                  <a:pt x="8431" y="6204"/>
                </a:lnTo>
                <a:lnTo>
                  <a:pt x="8454" y="6246"/>
                </a:lnTo>
                <a:lnTo>
                  <a:pt x="8480" y="6283"/>
                </a:lnTo>
                <a:lnTo>
                  <a:pt x="8524" y="6207"/>
                </a:lnTo>
                <a:lnTo>
                  <a:pt x="8526" y="6109"/>
                </a:lnTo>
                <a:lnTo>
                  <a:pt x="8492" y="6057"/>
                </a:lnTo>
                <a:lnTo>
                  <a:pt x="8424" y="6119"/>
                </a:lnTo>
                <a:close/>
                <a:moveTo>
                  <a:pt x="3873" y="5378"/>
                </a:moveTo>
                <a:lnTo>
                  <a:pt x="3962" y="5395"/>
                </a:lnTo>
                <a:lnTo>
                  <a:pt x="4046" y="5411"/>
                </a:lnTo>
                <a:lnTo>
                  <a:pt x="4128" y="5413"/>
                </a:lnTo>
                <a:lnTo>
                  <a:pt x="4212" y="5386"/>
                </a:lnTo>
                <a:lnTo>
                  <a:pt x="4115" y="5346"/>
                </a:lnTo>
                <a:lnTo>
                  <a:pt x="3966" y="5317"/>
                </a:lnTo>
                <a:lnTo>
                  <a:pt x="3854" y="5321"/>
                </a:lnTo>
                <a:lnTo>
                  <a:pt x="3873" y="5378"/>
                </a:lnTo>
                <a:close/>
                <a:moveTo>
                  <a:pt x="7935" y="5741"/>
                </a:moveTo>
                <a:lnTo>
                  <a:pt x="7932" y="5741"/>
                </a:lnTo>
                <a:lnTo>
                  <a:pt x="7933" y="5740"/>
                </a:lnTo>
                <a:lnTo>
                  <a:pt x="7937" y="5739"/>
                </a:lnTo>
                <a:lnTo>
                  <a:pt x="7941" y="5736"/>
                </a:lnTo>
                <a:lnTo>
                  <a:pt x="7938" y="5739"/>
                </a:lnTo>
                <a:lnTo>
                  <a:pt x="7935" y="5741"/>
                </a:lnTo>
                <a:close/>
                <a:moveTo>
                  <a:pt x="7965" y="5758"/>
                </a:moveTo>
                <a:lnTo>
                  <a:pt x="7979" y="5713"/>
                </a:lnTo>
                <a:lnTo>
                  <a:pt x="7905" y="5699"/>
                </a:lnTo>
                <a:lnTo>
                  <a:pt x="7834" y="5684"/>
                </a:lnTo>
                <a:lnTo>
                  <a:pt x="7855" y="5634"/>
                </a:lnTo>
                <a:lnTo>
                  <a:pt x="7772" y="5597"/>
                </a:lnTo>
                <a:lnTo>
                  <a:pt x="7730" y="5667"/>
                </a:lnTo>
                <a:lnTo>
                  <a:pt x="7779" y="5751"/>
                </a:lnTo>
                <a:lnTo>
                  <a:pt x="7965" y="5758"/>
                </a:lnTo>
                <a:close/>
                <a:moveTo>
                  <a:pt x="6784" y="5362"/>
                </a:moveTo>
                <a:lnTo>
                  <a:pt x="6703" y="5325"/>
                </a:lnTo>
                <a:lnTo>
                  <a:pt x="6615" y="5331"/>
                </a:lnTo>
                <a:lnTo>
                  <a:pt x="6552" y="5378"/>
                </a:lnTo>
                <a:lnTo>
                  <a:pt x="6547" y="5464"/>
                </a:lnTo>
                <a:lnTo>
                  <a:pt x="6617" y="5498"/>
                </a:lnTo>
                <a:lnTo>
                  <a:pt x="6700" y="5475"/>
                </a:lnTo>
                <a:lnTo>
                  <a:pt x="6765" y="5422"/>
                </a:lnTo>
                <a:lnTo>
                  <a:pt x="6784" y="5362"/>
                </a:lnTo>
                <a:close/>
                <a:moveTo>
                  <a:pt x="6442" y="5590"/>
                </a:moveTo>
                <a:lnTo>
                  <a:pt x="6377" y="5583"/>
                </a:lnTo>
                <a:lnTo>
                  <a:pt x="6309" y="5549"/>
                </a:lnTo>
                <a:lnTo>
                  <a:pt x="6247" y="5523"/>
                </a:lnTo>
                <a:lnTo>
                  <a:pt x="6195" y="5543"/>
                </a:lnTo>
                <a:lnTo>
                  <a:pt x="6215" y="5613"/>
                </a:lnTo>
                <a:lnTo>
                  <a:pt x="6231" y="5689"/>
                </a:lnTo>
                <a:lnTo>
                  <a:pt x="6265" y="5750"/>
                </a:lnTo>
                <a:lnTo>
                  <a:pt x="6333" y="5778"/>
                </a:lnTo>
                <a:lnTo>
                  <a:pt x="6342" y="5746"/>
                </a:lnTo>
                <a:lnTo>
                  <a:pt x="6337" y="5717"/>
                </a:lnTo>
                <a:lnTo>
                  <a:pt x="6324" y="5689"/>
                </a:lnTo>
                <a:lnTo>
                  <a:pt x="6310" y="5658"/>
                </a:lnTo>
                <a:lnTo>
                  <a:pt x="6363" y="5662"/>
                </a:lnTo>
                <a:lnTo>
                  <a:pt x="6425" y="5651"/>
                </a:lnTo>
                <a:lnTo>
                  <a:pt x="6465" y="5628"/>
                </a:lnTo>
                <a:lnTo>
                  <a:pt x="6442" y="5590"/>
                </a:lnTo>
                <a:close/>
                <a:moveTo>
                  <a:pt x="3935" y="5159"/>
                </a:moveTo>
                <a:lnTo>
                  <a:pt x="3935" y="5159"/>
                </a:lnTo>
                <a:lnTo>
                  <a:pt x="3934" y="5161"/>
                </a:lnTo>
                <a:lnTo>
                  <a:pt x="3935" y="5159"/>
                </a:lnTo>
                <a:lnTo>
                  <a:pt x="3935" y="5159"/>
                </a:lnTo>
                <a:close/>
                <a:moveTo>
                  <a:pt x="4698" y="5377"/>
                </a:moveTo>
                <a:lnTo>
                  <a:pt x="4652" y="5280"/>
                </a:lnTo>
                <a:lnTo>
                  <a:pt x="4230" y="5192"/>
                </a:lnTo>
                <a:lnTo>
                  <a:pt x="3756" y="5154"/>
                </a:lnTo>
                <a:lnTo>
                  <a:pt x="3558" y="5212"/>
                </a:lnTo>
                <a:lnTo>
                  <a:pt x="3735" y="5245"/>
                </a:lnTo>
                <a:lnTo>
                  <a:pt x="3906" y="5265"/>
                </a:lnTo>
                <a:lnTo>
                  <a:pt x="4074" y="5274"/>
                </a:lnTo>
                <a:lnTo>
                  <a:pt x="4247" y="5273"/>
                </a:lnTo>
                <a:lnTo>
                  <a:pt x="4356" y="5317"/>
                </a:lnTo>
                <a:lnTo>
                  <a:pt x="4468" y="5322"/>
                </a:lnTo>
                <a:lnTo>
                  <a:pt x="4584" y="5329"/>
                </a:lnTo>
                <a:lnTo>
                  <a:pt x="4698" y="5377"/>
                </a:lnTo>
                <a:close/>
                <a:moveTo>
                  <a:pt x="1793" y="4119"/>
                </a:moveTo>
                <a:lnTo>
                  <a:pt x="1793" y="4119"/>
                </a:lnTo>
                <a:lnTo>
                  <a:pt x="1792" y="4121"/>
                </a:lnTo>
                <a:lnTo>
                  <a:pt x="1793" y="4119"/>
                </a:lnTo>
                <a:close/>
                <a:moveTo>
                  <a:pt x="2762" y="4735"/>
                </a:moveTo>
                <a:lnTo>
                  <a:pt x="2762" y="4735"/>
                </a:lnTo>
                <a:lnTo>
                  <a:pt x="2762" y="4735"/>
                </a:lnTo>
                <a:lnTo>
                  <a:pt x="2764" y="4735"/>
                </a:lnTo>
                <a:lnTo>
                  <a:pt x="2762" y="4735"/>
                </a:lnTo>
                <a:close/>
                <a:moveTo>
                  <a:pt x="9764" y="5856"/>
                </a:moveTo>
                <a:lnTo>
                  <a:pt x="9764" y="5856"/>
                </a:lnTo>
                <a:lnTo>
                  <a:pt x="9765" y="5857"/>
                </a:lnTo>
                <a:lnTo>
                  <a:pt x="9765" y="5856"/>
                </a:lnTo>
                <a:lnTo>
                  <a:pt x="9764" y="5856"/>
                </a:lnTo>
                <a:close/>
                <a:moveTo>
                  <a:pt x="736" y="4356"/>
                </a:moveTo>
                <a:lnTo>
                  <a:pt x="736" y="4356"/>
                </a:lnTo>
                <a:lnTo>
                  <a:pt x="738" y="4356"/>
                </a:lnTo>
                <a:lnTo>
                  <a:pt x="738" y="4356"/>
                </a:lnTo>
                <a:lnTo>
                  <a:pt x="736" y="4356"/>
                </a:lnTo>
                <a:lnTo>
                  <a:pt x="736" y="4356"/>
                </a:lnTo>
                <a:close/>
                <a:moveTo>
                  <a:pt x="7594" y="5164"/>
                </a:moveTo>
                <a:lnTo>
                  <a:pt x="7592" y="5164"/>
                </a:lnTo>
                <a:lnTo>
                  <a:pt x="7593" y="5164"/>
                </a:lnTo>
                <a:lnTo>
                  <a:pt x="7592" y="5166"/>
                </a:lnTo>
                <a:lnTo>
                  <a:pt x="7594" y="5164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4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Freeform 6">
            <a:extLst>
              <a:ext uri="{FF2B5EF4-FFF2-40B4-BE49-F238E27FC236}">
                <a16:creationId xmlns:a16="http://schemas.microsoft.com/office/drawing/2014/main" id="{6AE3066B-155A-DD4E-8857-F95B529F367C}"/>
              </a:ext>
            </a:extLst>
          </p:cNvPr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4992137" y="1125011"/>
            <a:ext cx="7199863" cy="4847193"/>
          </a:xfrm>
          <a:custGeom>
            <a:avLst/>
            <a:gdLst>
              <a:gd name="T0" fmla="*/ 14538 w 20376"/>
              <a:gd name="T1" fmla="*/ 1801 h 8960"/>
              <a:gd name="T2" fmla="*/ 15509 w 20376"/>
              <a:gd name="T3" fmla="*/ 1227 h 8960"/>
              <a:gd name="T4" fmla="*/ 13624 w 20376"/>
              <a:gd name="T5" fmla="*/ 314 h 8960"/>
              <a:gd name="T6" fmla="*/ 11124 w 20376"/>
              <a:gd name="T7" fmla="*/ 1035 h 8960"/>
              <a:gd name="T8" fmla="*/ 6904 w 20376"/>
              <a:gd name="T9" fmla="*/ 2012 h 8960"/>
              <a:gd name="T10" fmla="*/ 2175 w 20376"/>
              <a:gd name="T11" fmla="*/ 3840 h 8960"/>
              <a:gd name="T12" fmla="*/ 3175 w 20376"/>
              <a:gd name="T13" fmla="*/ 4332 h 8960"/>
              <a:gd name="T14" fmla="*/ 3525 w 20376"/>
              <a:gd name="T15" fmla="*/ 4375 h 8960"/>
              <a:gd name="T16" fmla="*/ 2524 w 20376"/>
              <a:gd name="T17" fmla="*/ 4990 h 8960"/>
              <a:gd name="T18" fmla="*/ 2170 w 20376"/>
              <a:gd name="T19" fmla="*/ 5505 h 8960"/>
              <a:gd name="T20" fmla="*/ 139 w 20376"/>
              <a:gd name="T21" fmla="*/ 6540 h 8960"/>
              <a:gd name="T22" fmla="*/ 1170 w 20376"/>
              <a:gd name="T23" fmla="*/ 7328 h 8960"/>
              <a:gd name="T24" fmla="*/ 3559 w 20376"/>
              <a:gd name="T25" fmla="*/ 7749 h 8960"/>
              <a:gd name="T26" fmla="*/ 7968 w 20376"/>
              <a:gd name="T27" fmla="*/ 6414 h 8960"/>
              <a:gd name="T28" fmla="*/ 10617 w 20376"/>
              <a:gd name="T29" fmla="*/ 5797 h 8960"/>
              <a:gd name="T30" fmla="*/ 9069 w 20376"/>
              <a:gd name="T31" fmla="*/ 6352 h 8960"/>
              <a:gd name="T32" fmla="*/ 4703 w 20376"/>
              <a:gd name="T33" fmla="*/ 8003 h 8960"/>
              <a:gd name="T34" fmla="*/ 6546 w 20376"/>
              <a:gd name="T35" fmla="*/ 8368 h 8960"/>
              <a:gd name="T36" fmla="*/ 13381 w 20376"/>
              <a:gd name="T37" fmla="*/ 6525 h 8960"/>
              <a:gd name="T38" fmla="*/ 15127 w 20376"/>
              <a:gd name="T39" fmla="*/ 6027 h 8960"/>
              <a:gd name="T40" fmla="*/ 12846 w 20376"/>
              <a:gd name="T41" fmla="*/ 6502 h 8960"/>
              <a:gd name="T42" fmla="*/ 7486 w 20376"/>
              <a:gd name="T43" fmla="*/ 7821 h 8960"/>
              <a:gd name="T44" fmla="*/ 7715 w 20376"/>
              <a:gd name="T45" fmla="*/ 7645 h 8960"/>
              <a:gd name="T46" fmla="*/ 10596 w 20376"/>
              <a:gd name="T47" fmla="*/ 6741 h 8960"/>
              <a:gd name="T48" fmla="*/ 12288 w 20376"/>
              <a:gd name="T49" fmla="*/ 6272 h 8960"/>
              <a:gd name="T50" fmla="*/ 13218 w 20376"/>
              <a:gd name="T51" fmla="*/ 5841 h 8960"/>
              <a:gd name="T52" fmla="*/ 14634 w 20376"/>
              <a:gd name="T53" fmla="*/ 5681 h 8960"/>
              <a:gd name="T54" fmla="*/ 15431 w 20376"/>
              <a:gd name="T55" fmla="*/ 5238 h 8960"/>
              <a:gd name="T56" fmla="*/ 17037 w 20376"/>
              <a:gd name="T57" fmla="*/ 4677 h 8960"/>
              <a:gd name="T58" fmla="*/ 17042 w 20376"/>
              <a:gd name="T59" fmla="*/ 4408 h 8960"/>
              <a:gd name="T60" fmla="*/ 17591 w 20376"/>
              <a:gd name="T61" fmla="*/ 3966 h 8960"/>
              <a:gd name="T62" fmla="*/ 10188 w 20376"/>
              <a:gd name="T63" fmla="*/ 592 h 8960"/>
              <a:gd name="T64" fmla="*/ 9318 w 20376"/>
              <a:gd name="T65" fmla="*/ 617 h 8960"/>
              <a:gd name="T66" fmla="*/ 16391 w 20376"/>
              <a:gd name="T67" fmla="*/ 5645 h 8960"/>
              <a:gd name="T68" fmla="*/ 11379 w 20376"/>
              <a:gd name="T69" fmla="*/ 658 h 8960"/>
              <a:gd name="T70" fmla="*/ 12345 w 20376"/>
              <a:gd name="T71" fmla="*/ 445 h 8960"/>
              <a:gd name="T72" fmla="*/ 16302 w 20376"/>
              <a:gd name="T73" fmla="*/ 5090 h 8960"/>
              <a:gd name="T74" fmla="*/ 8926 w 20376"/>
              <a:gd name="T75" fmla="*/ 7870 h 8960"/>
              <a:gd name="T76" fmla="*/ 3707 w 20376"/>
              <a:gd name="T77" fmla="*/ 2696 h 8960"/>
              <a:gd name="T78" fmla="*/ 5943 w 20376"/>
              <a:gd name="T79" fmla="*/ 2071 h 8960"/>
              <a:gd name="T80" fmla="*/ 9116 w 20376"/>
              <a:gd name="T81" fmla="*/ 1297 h 8960"/>
              <a:gd name="T82" fmla="*/ 10258 w 20376"/>
              <a:gd name="T83" fmla="*/ 919 h 8960"/>
              <a:gd name="T84" fmla="*/ 8871 w 20376"/>
              <a:gd name="T85" fmla="*/ 770 h 8960"/>
              <a:gd name="T86" fmla="*/ 6495 w 20376"/>
              <a:gd name="T87" fmla="*/ 1095 h 8960"/>
              <a:gd name="T88" fmla="*/ 3259 w 20376"/>
              <a:gd name="T89" fmla="*/ 2295 h 8960"/>
              <a:gd name="T90" fmla="*/ 13966 w 20376"/>
              <a:gd name="T91" fmla="*/ 6492 h 8960"/>
              <a:gd name="T92" fmla="*/ 9309 w 20376"/>
              <a:gd name="T93" fmla="*/ 7728 h 8960"/>
              <a:gd name="T94" fmla="*/ 1286 w 20376"/>
              <a:gd name="T95" fmla="*/ 5280 h 8960"/>
              <a:gd name="T96" fmla="*/ 9094 w 20376"/>
              <a:gd name="T97" fmla="*/ 1395 h 8960"/>
              <a:gd name="T98" fmla="*/ 1158 w 20376"/>
              <a:gd name="T99" fmla="*/ 4739 h 8960"/>
              <a:gd name="T100" fmla="*/ 1067 w 20376"/>
              <a:gd name="T101" fmla="*/ 4929 h 8960"/>
              <a:gd name="T102" fmla="*/ 9947 w 20376"/>
              <a:gd name="T103" fmla="*/ 7095 h 8960"/>
              <a:gd name="T104" fmla="*/ 10588 w 20376"/>
              <a:gd name="T105" fmla="*/ 6870 h 8960"/>
              <a:gd name="T106" fmla="*/ 14110 w 20376"/>
              <a:gd name="T107" fmla="*/ 6188 h 8960"/>
              <a:gd name="T108" fmla="*/ 10784 w 20376"/>
              <a:gd name="T109" fmla="*/ 6837 h 8960"/>
              <a:gd name="T110" fmla="*/ 2827 w 20376"/>
              <a:gd name="T111" fmla="*/ 4730 h 8960"/>
              <a:gd name="T112" fmla="*/ 19297 w 20376"/>
              <a:gd name="T113" fmla="*/ 4072 h 8960"/>
              <a:gd name="T114" fmla="*/ 7042 w 20376"/>
              <a:gd name="T115" fmla="*/ 6800 h 8960"/>
              <a:gd name="T116" fmla="*/ 7525 w 20376"/>
              <a:gd name="T117" fmla="*/ 6693 h 8960"/>
              <a:gd name="T118" fmla="*/ 18468 w 20376"/>
              <a:gd name="T119" fmla="*/ 4967 h 8960"/>
              <a:gd name="T120" fmla="*/ 17404 w 20376"/>
              <a:gd name="T121" fmla="*/ 5155 h 8960"/>
              <a:gd name="T122" fmla="*/ 15250 w 20376"/>
              <a:gd name="T123" fmla="*/ 5885 h 8960"/>
              <a:gd name="T124" fmla="*/ 15050 w 20376"/>
              <a:gd name="T125" fmla="*/ 5662 h 8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376" h="8960">
                <a:moveTo>
                  <a:pt x="19052" y="3843"/>
                </a:moveTo>
                <a:lnTo>
                  <a:pt x="19038" y="3810"/>
                </a:lnTo>
                <a:lnTo>
                  <a:pt x="19026" y="3774"/>
                </a:lnTo>
                <a:lnTo>
                  <a:pt x="19016" y="3739"/>
                </a:lnTo>
                <a:lnTo>
                  <a:pt x="19010" y="3700"/>
                </a:lnTo>
                <a:lnTo>
                  <a:pt x="19007" y="3662"/>
                </a:lnTo>
                <a:lnTo>
                  <a:pt x="19008" y="3625"/>
                </a:lnTo>
                <a:lnTo>
                  <a:pt x="19015" y="3588"/>
                </a:lnTo>
                <a:lnTo>
                  <a:pt x="19027" y="3554"/>
                </a:lnTo>
                <a:lnTo>
                  <a:pt x="19004" y="3544"/>
                </a:lnTo>
                <a:lnTo>
                  <a:pt x="18982" y="3536"/>
                </a:lnTo>
                <a:lnTo>
                  <a:pt x="18971" y="3530"/>
                </a:lnTo>
                <a:lnTo>
                  <a:pt x="18962" y="3523"/>
                </a:lnTo>
                <a:lnTo>
                  <a:pt x="18955" y="3514"/>
                </a:lnTo>
                <a:lnTo>
                  <a:pt x="18951" y="3503"/>
                </a:lnTo>
                <a:lnTo>
                  <a:pt x="18968" y="3484"/>
                </a:lnTo>
                <a:lnTo>
                  <a:pt x="18976" y="3462"/>
                </a:lnTo>
                <a:lnTo>
                  <a:pt x="18982" y="3438"/>
                </a:lnTo>
                <a:lnTo>
                  <a:pt x="18984" y="3414"/>
                </a:lnTo>
                <a:lnTo>
                  <a:pt x="18984" y="3388"/>
                </a:lnTo>
                <a:lnTo>
                  <a:pt x="18984" y="3363"/>
                </a:lnTo>
                <a:lnTo>
                  <a:pt x="18985" y="3339"/>
                </a:lnTo>
                <a:lnTo>
                  <a:pt x="18989" y="3313"/>
                </a:lnTo>
                <a:lnTo>
                  <a:pt x="18959" y="3299"/>
                </a:lnTo>
                <a:lnTo>
                  <a:pt x="18938" y="3279"/>
                </a:lnTo>
                <a:lnTo>
                  <a:pt x="18927" y="3254"/>
                </a:lnTo>
                <a:lnTo>
                  <a:pt x="18923" y="3224"/>
                </a:lnTo>
                <a:lnTo>
                  <a:pt x="18925" y="3195"/>
                </a:lnTo>
                <a:lnTo>
                  <a:pt x="18933" y="3164"/>
                </a:lnTo>
                <a:lnTo>
                  <a:pt x="18947" y="3136"/>
                </a:lnTo>
                <a:lnTo>
                  <a:pt x="18964" y="3112"/>
                </a:lnTo>
                <a:lnTo>
                  <a:pt x="18956" y="3106"/>
                </a:lnTo>
                <a:lnTo>
                  <a:pt x="18947" y="3101"/>
                </a:lnTo>
                <a:lnTo>
                  <a:pt x="18938" y="3096"/>
                </a:lnTo>
                <a:lnTo>
                  <a:pt x="18929" y="3091"/>
                </a:lnTo>
                <a:lnTo>
                  <a:pt x="18920" y="3086"/>
                </a:lnTo>
                <a:lnTo>
                  <a:pt x="18911" y="3079"/>
                </a:lnTo>
                <a:lnTo>
                  <a:pt x="18905" y="3072"/>
                </a:lnTo>
                <a:lnTo>
                  <a:pt x="18901" y="3061"/>
                </a:lnTo>
                <a:lnTo>
                  <a:pt x="18903" y="3035"/>
                </a:lnTo>
                <a:lnTo>
                  <a:pt x="18900" y="3005"/>
                </a:lnTo>
                <a:lnTo>
                  <a:pt x="18894" y="2973"/>
                </a:lnTo>
                <a:lnTo>
                  <a:pt x="18885" y="2942"/>
                </a:lnTo>
                <a:lnTo>
                  <a:pt x="18873" y="2910"/>
                </a:lnTo>
                <a:lnTo>
                  <a:pt x="18862" y="2879"/>
                </a:lnTo>
                <a:lnTo>
                  <a:pt x="18849" y="2850"/>
                </a:lnTo>
                <a:lnTo>
                  <a:pt x="18838" y="2822"/>
                </a:lnTo>
                <a:lnTo>
                  <a:pt x="18839" y="2752"/>
                </a:lnTo>
                <a:lnTo>
                  <a:pt x="18815" y="2702"/>
                </a:lnTo>
                <a:lnTo>
                  <a:pt x="18771" y="2671"/>
                </a:lnTo>
                <a:lnTo>
                  <a:pt x="18714" y="2653"/>
                </a:lnTo>
                <a:lnTo>
                  <a:pt x="18648" y="2644"/>
                </a:lnTo>
                <a:lnTo>
                  <a:pt x="18578" y="2640"/>
                </a:lnTo>
                <a:lnTo>
                  <a:pt x="18509" y="2637"/>
                </a:lnTo>
                <a:lnTo>
                  <a:pt x="18447" y="2634"/>
                </a:lnTo>
                <a:lnTo>
                  <a:pt x="18453" y="2580"/>
                </a:lnTo>
                <a:lnTo>
                  <a:pt x="18457" y="2529"/>
                </a:lnTo>
                <a:lnTo>
                  <a:pt x="18457" y="2482"/>
                </a:lnTo>
                <a:lnTo>
                  <a:pt x="18453" y="2438"/>
                </a:lnTo>
                <a:lnTo>
                  <a:pt x="18444" y="2396"/>
                </a:lnTo>
                <a:lnTo>
                  <a:pt x="18430" y="2356"/>
                </a:lnTo>
                <a:lnTo>
                  <a:pt x="18410" y="2318"/>
                </a:lnTo>
                <a:lnTo>
                  <a:pt x="18384" y="2281"/>
                </a:lnTo>
                <a:lnTo>
                  <a:pt x="18387" y="2244"/>
                </a:lnTo>
                <a:lnTo>
                  <a:pt x="18391" y="2203"/>
                </a:lnTo>
                <a:lnTo>
                  <a:pt x="18392" y="2163"/>
                </a:lnTo>
                <a:lnTo>
                  <a:pt x="18391" y="2121"/>
                </a:lnTo>
                <a:lnTo>
                  <a:pt x="18384" y="2080"/>
                </a:lnTo>
                <a:lnTo>
                  <a:pt x="18374" y="2042"/>
                </a:lnTo>
                <a:lnTo>
                  <a:pt x="18358" y="2007"/>
                </a:lnTo>
                <a:lnTo>
                  <a:pt x="18333" y="1978"/>
                </a:lnTo>
                <a:lnTo>
                  <a:pt x="18354" y="1956"/>
                </a:lnTo>
                <a:lnTo>
                  <a:pt x="18364" y="1934"/>
                </a:lnTo>
                <a:lnTo>
                  <a:pt x="18365" y="1911"/>
                </a:lnTo>
                <a:lnTo>
                  <a:pt x="18363" y="1886"/>
                </a:lnTo>
                <a:lnTo>
                  <a:pt x="18359" y="1861"/>
                </a:lnTo>
                <a:lnTo>
                  <a:pt x="18354" y="1834"/>
                </a:lnTo>
                <a:lnTo>
                  <a:pt x="18354" y="1806"/>
                </a:lnTo>
                <a:lnTo>
                  <a:pt x="18359" y="1777"/>
                </a:lnTo>
                <a:lnTo>
                  <a:pt x="18337" y="1772"/>
                </a:lnTo>
                <a:lnTo>
                  <a:pt x="18321" y="1763"/>
                </a:lnTo>
                <a:lnTo>
                  <a:pt x="18308" y="1750"/>
                </a:lnTo>
                <a:lnTo>
                  <a:pt x="18301" y="1734"/>
                </a:lnTo>
                <a:lnTo>
                  <a:pt x="18298" y="1715"/>
                </a:lnTo>
                <a:lnTo>
                  <a:pt x="18298" y="1694"/>
                </a:lnTo>
                <a:lnTo>
                  <a:pt x="18301" y="1673"/>
                </a:lnTo>
                <a:lnTo>
                  <a:pt x="18308" y="1651"/>
                </a:lnTo>
                <a:lnTo>
                  <a:pt x="18280" y="1627"/>
                </a:lnTo>
                <a:lnTo>
                  <a:pt x="18259" y="1599"/>
                </a:lnTo>
                <a:lnTo>
                  <a:pt x="18244" y="1568"/>
                </a:lnTo>
                <a:lnTo>
                  <a:pt x="18233" y="1534"/>
                </a:lnTo>
                <a:lnTo>
                  <a:pt x="18226" y="1497"/>
                </a:lnTo>
                <a:lnTo>
                  <a:pt x="18223" y="1457"/>
                </a:lnTo>
                <a:lnTo>
                  <a:pt x="18221" y="1417"/>
                </a:lnTo>
                <a:lnTo>
                  <a:pt x="18220" y="1373"/>
                </a:lnTo>
                <a:lnTo>
                  <a:pt x="18200" y="1373"/>
                </a:lnTo>
                <a:lnTo>
                  <a:pt x="18182" y="1371"/>
                </a:lnTo>
                <a:lnTo>
                  <a:pt x="18165" y="1366"/>
                </a:lnTo>
                <a:lnTo>
                  <a:pt x="18150" y="1358"/>
                </a:lnTo>
                <a:lnTo>
                  <a:pt x="18136" y="1349"/>
                </a:lnTo>
                <a:lnTo>
                  <a:pt x="18119" y="1340"/>
                </a:lnTo>
                <a:lnTo>
                  <a:pt x="18102" y="1331"/>
                </a:lnTo>
                <a:lnTo>
                  <a:pt x="18081" y="1323"/>
                </a:lnTo>
                <a:lnTo>
                  <a:pt x="18021" y="1315"/>
                </a:lnTo>
                <a:lnTo>
                  <a:pt x="17963" y="1316"/>
                </a:lnTo>
                <a:lnTo>
                  <a:pt x="17908" y="1324"/>
                </a:lnTo>
                <a:lnTo>
                  <a:pt x="17854" y="1335"/>
                </a:lnTo>
                <a:lnTo>
                  <a:pt x="17802" y="1349"/>
                </a:lnTo>
                <a:lnTo>
                  <a:pt x="17751" y="1362"/>
                </a:lnTo>
                <a:lnTo>
                  <a:pt x="17702" y="1371"/>
                </a:lnTo>
                <a:lnTo>
                  <a:pt x="17652" y="1373"/>
                </a:lnTo>
                <a:lnTo>
                  <a:pt x="17638" y="1371"/>
                </a:lnTo>
                <a:lnTo>
                  <a:pt x="17621" y="1366"/>
                </a:lnTo>
                <a:lnTo>
                  <a:pt x="17614" y="1363"/>
                </a:lnTo>
                <a:lnTo>
                  <a:pt x="17605" y="1362"/>
                </a:lnTo>
                <a:lnTo>
                  <a:pt x="17597" y="1361"/>
                </a:lnTo>
                <a:lnTo>
                  <a:pt x="17590" y="1361"/>
                </a:lnTo>
                <a:lnTo>
                  <a:pt x="17537" y="1367"/>
                </a:lnTo>
                <a:lnTo>
                  <a:pt x="17476" y="1377"/>
                </a:lnTo>
                <a:lnTo>
                  <a:pt x="17409" y="1391"/>
                </a:lnTo>
                <a:lnTo>
                  <a:pt x="17339" y="1405"/>
                </a:lnTo>
                <a:lnTo>
                  <a:pt x="17269" y="1419"/>
                </a:lnTo>
                <a:lnTo>
                  <a:pt x="17200" y="1431"/>
                </a:lnTo>
                <a:lnTo>
                  <a:pt x="17139" y="1437"/>
                </a:lnTo>
                <a:lnTo>
                  <a:pt x="17085" y="1436"/>
                </a:lnTo>
                <a:lnTo>
                  <a:pt x="17055" y="1435"/>
                </a:lnTo>
                <a:lnTo>
                  <a:pt x="17025" y="1436"/>
                </a:lnTo>
                <a:lnTo>
                  <a:pt x="16997" y="1440"/>
                </a:lnTo>
                <a:lnTo>
                  <a:pt x="16971" y="1445"/>
                </a:lnTo>
                <a:lnTo>
                  <a:pt x="16945" y="1452"/>
                </a:lnTo>
                <a:lnTo>
                  <a:pt x="16920" y="1459"/>
                </a:lnTo>
                <a:lnTo>
                  <a:pt x="16894" y="1466"/>
                </a:lnTo>
                <a:lnTo>
                  <a:pt x="16870" y="1474"/>
                </a:lnTo>
                <a:lnTo>
                  <a:pt x="16845" y="1479"/>
                </a:lnTo>
                <a:lnTo>
                  <a:pt x="16817" y="1482"/>
                </a:lnTo>
                <a:lnTo>
                  <a:pt x="16786" y="1483"/>
                </a:lnTo>
                <a:lnTo>
                  <a:pt x="16753" y="1482"/>
                </a:lnTo>
                <a:lnTo>
                  <a:pt x="16720" y="1482"/>
                </a:lnTo>
                <a:lnTo>
                  <a:pt x="16687" y="1482"/>
                </a:lnTo>
                <a:lnTo>
                  <a:pt x="16652" y="1483"/>
                </a:lnTo>
                <a:lnTo>
                  <a:pt x="16619" y="1487"/>
                </a:lnTo>
                <a:lnTo>
                  <a:pt x="16475" y="1512"/>
                </a:lnTo>
                <a:lnTo>
                  <a:pt x="16322" y="1544"/>
                </a:lnTo>
                <a:lnTo>
                  <a:pt x="16163" y="1577"/>
                </a:lnTo>
                <a:lnTo>
                  <a:pt x="16003" y="1609"/>
                </a:lnTo>
                <a:lnTo>
                  <a:pt x="15846" y="1637"/>
                </a:lnTo>
                <a:lnTo>
                  <a:pt x="15696" y="1657"/>
                </a:lnTo>
                <a:lnTo>
                  <a:pt x="15557" y="1667"/>
                </a:lnTo>
                <a:lnTo>
                  <a:pt x="15434" y="1662"/>
                </a:lnTo>
                <a:lnTo>
                  <a:pt x="15434" y="1674"/>
                </a:lnTo>
                <a:lnTo>
                  <a:pt x="15436" y="1681"/>
                </a:lnTo>
                <a:lnTo>
                  <a:pt x="15439" y="1688"/>
                </a:lnTo>
                <a:lnTo>
                  <a:pt x="15441" y="1692"/>
                </a:lnTo>
                <a:lnTo>
                  <a:pt x="15442" y="1695"/>
                </a:lnTo>
                <a:lnTo>
                  <a:pt x="15442" y="1699"/>
                </a:lnTo>
                <a:lnTo>
                  <a:pt x="15439" y="1706"/>
                </a:lnTo>
                <a:lnTo>
                  <a:pt x="15434" y="1713"/>
                </a:lnTo>
                <a:lnTo>
                  <a:pt x="15399" y="1713"/>
                </a:lnTo>
                <a:lnTo>
                  <a:pt x="15366" y="1717"/>
                </a:lnTo>
                <a:lnTo>
                  <a:pt x="15334" y="1722"/>
                </a:lnTo>
                <a:lnTo>
                  <a:pt x="15305" y="1726"/>
                </a:lnTo>
                <a:lnTo>
                  <a:pt x="15278" y="1727"/>
                </a:lnTo>
                <a:lnTo>
                  <a:pt x="15255" y="1722"/>
                </a:lnTo>
                <a:lnTo>
                  <a:pt x="15235" y="1711"/>
                </a:lnTo>
                <a:lnTo>
                  <a:pt x="15218" y="1688"/>
                </a:lnTo>
                <a:lnTo>
                  <a:pt x="15185" y="1712"/>
                </a:lnTo>
                <a:lnTo>
                  <a:pt x="15142" y="1732"/>
                </a:lnTo>
                <a:lnTo>
                  <a:pt x="15092" y="1751"/>
                </a:lnTo>
                <a:lnTo>
                  <a:pt x="15039" y="1765"/>
                </a:lnTo>
                <a:lnTo>
                  <a:pt x="14984" y="1776"/>
                </a:lnTo>
                <a:lnTo>
                  <a:pt x="14931" y="1780"/>
                </a:lnTo>
                <a:lnTo>
                  <a:pt x="14882" y="1776"/>
                </a:lnTo>
                <a:lnTo>
                  <a:pt x="14840" y="1764"/>
                </a:lnTo>
                <a:lnTo>
                  <a:pt x="14853" y="1744"/>
                </a:lnTo>
                <a:lnTo>
                  <a:pt x="14866" y="1726"/>
                </a:lnTo>
                <a:lnTo>
                  <a:pt x="14818" y="1741"/>
                </a:lnTo>
                <a:lnTo>
                  <a:pt x="14775" y="1749"/>
                </a:lnTo>
                <a:lnTo>
                  <a:pt x="14733" y="1753"/>
                </a:lnTo>
                <a:lnTo>
                  <a:pt x="14694" y="1753"/>
                </a:lnTo>
                <a:lnTo>
                  <a:pt x="14653" y="1753"/>
                </a:lnTo>
                <a:lnTo>
                  <a:pt x="14612" y="1755"/>
                </a:lnTo>
                <a:lnTo>
                  <a:pt x="14570" y="1762"/>
                </a:lnTo>
                <a:lnTo>
                  <a:pt x="14526" y="1777"/>
                </a:lnTo>
                <a:lnTo>
                  <a:pt x="14522" y="1790"/>
                </a:lnTo>
                <a:lnTo>
                  <a:pt x="14524" y="1797"/>
                </a:lnTo>
                <a:lnTo>
                  <a:pt x="14531" y="1800"/>
                </a:lnTo>
                <a:lnTo>
                  <a:pt x="14538" y="1801"/>
                </a:lnTo>
                <a:lnTo>
                  <a:pt x="14548" y="1801"/>
                </a:lnTo>
                <a:lnTo>
                  <a:pt x="14556" y="1802"/>
                </a:lnTo>
                <a:lnTo>
                  <a:pt x="14562" y="1806"/>
                </a:lnTo>
                <a:lnTo>
                  <a:pt x="14564" y="1814"/>
                </a:lnTo>
                <a:lnTo>
                  <a:pt x="14551" y="1814"/>
                </a:lnTo>
                <a:lnTo>
                  <a:pt x="14541" y="1816"/>
                </a:lnTo>
                <a:lnTo>
                  <a:pt x="14533" y="1823"/>
                </a:lnTo>
                <a:lnTo>
                  <a:pt x="14528" y="1829"/>
                </a:lnTo>
                <a:lnTo>
                  <a:pt x="14523" y="1837"/>
                </a:lnTo>
                <a:lnTo>
                  <a:pt x="14517" y="1843"/>
                </a:lnTo>
                <a:lnTo>
                  <a:pt x="14510" y="1850"/>
                </a:lnTo>
                <a:lnTo>
                  <a:pt x="14500" y="1852"/>
                </a:lnTo>
                <a:lnTo>
                  <a:pt x="14500" y="1837"/>
                </a:lnTo>
                <a:lnTo>
                  <a:pt x="14498" y="1823"/>
                </a:lnTo>
                <a:lnTo>
                  <a:pt x="14496" y="1816"/>
                </a:lnTo>
                <a:lnTo>
                  <a:pt x="14494" y="1811"/>
                </a:lnTo>
                <a:lnTo>
                  <a:pt x="14491" y="1806"/>
                </a:lnTo>
                <a:lnTo>
                  <a:pt x="14487" y="1801"/>
                </a:lnTo>
                <a:lnTo>
                  <a:pt x="14466" y="1800"/>
                </a:lnTo>
                <a:lnTo>
                  <a:pt x="14440" y="1801"/>
                </a:lnTo>
                <a:lnTo>
                  <a:pt x="14416" y="1802"/>
                </a:lnTo>
                <a:lnTo>
                  <a:pt x="14393" y="1805"/>
                </a:lnTo>
                <a:lnTo>
                  <a:pt x="14377" y="1810"/>
                </a:lnTo>
                <a:lnTo>
                  <a:pt x="14369" y="1818"/>
                </a:lnTo>
                <a:lnTo>
                  <a:pt x="14371" y="1828"/>
                </a:lnTo>
                <a:lnTo>
                  <a:pt x="14387" y="1839"/>
                </a:lnTo>
                <a:lnTo>
                  <a:pt x="14365" y="1848"/>
                </a:lnTo>
                <a:lnTo>
                  <a:pt x="14343" y="1853"/>
                </a:lnTo>
                <a:lnTo>
                  <a:pt x="14324" y="1855"/>
                </a:lnTo>
                <a:lnTo>
                  <a:pt x="14306" y="1853"/>
                </a:lnTo>
                <a:lnTo>
                  <a:pt x="14287" y="1850"/>
                </a:lnTo>
                <a:lnTo>
                  <a:pt x="14267" y="1843"/>
                </a:lnTo>
                <a:lnTo>
                  <a:pt x="14247" y="1836"/>
                </a:lnTo>
                <a:lnTo>
                  <a:pt x="14222" y="1827"/>
                </a:lnTo>
                <a:lnTo>
                  <a:pt x="14154" y="1838"/>
                </a:lnTo>
                <a:lnTo>
                  <a:pt x="14080" y="1853"/>
                </a:lnTo>
                <a:lnTo>
                  <a:pt x="14005" y="1869"/>
                </a:lnTo>
                <a:lnTo>
                  <a:pt x="13927" y="1884"/>
                </a:lnTo>
                <a:lnTo>
                  <a:pt x="13852" y="1895"/>
                </a:lnTo>
                <a:lnTo>
                  <a:pt x="13778" y="1902"/>
                </a:lnTo>
                <a:lnTo>
                  <a:pt x="13708" y="1900"/>
                </a:lnTo>
                <a:lnTo>
                  <a:pt x="13643" y="1890"/>
                </a:lnTo>
                <a:lnTo>
                  <a:pt x="13653" y="1856"/>
                </a:lnTo>
                <a:lnTo>
                  <a:pt x="13674" y="1839"/>
                </a:lnTo>
                <a:lnTo>
                  <a:pt x="13703" y="1832"/>
                </a:lnTo>
                <a:lnTo>
                  <a:pt x="13736" y="1830"/>
                </a:lnTo>
                <a:lnTo>
                  <a:pt x="13769" y="1832"/>
                </a:lnTo>
                <a:lnTo>
                  <a:pt x="13800" y="1828"/>
                </a:lnTo>
                <a:lnTo>
                  <a:pt x="13821" y="1815"/>
                </a:lnTo>
                <a:lnTo>
                  <a:pt x="13831" y="1788"/>
                </a:lnTo>
                <a:lnTo>
                  <a:pt x="13852" y="1800"/>
                </a:lnTo>
                <a:lnTo>
                  <a:pt x="13880" y="1806"/>
                </a:lnTo>
                <a:lnTo>
                  <a:pt x="13916" y="1809"/>
                </a:lnTo>
                <a:lnTo>
                  <a:pt x="13954" y="1806"/>
                </a:lnTo>
                <a:lnTo>
                  <a:pt x="13994" y="1801"/>
                </a:lnTo>
                <a:lnTo>
                  <a:pt x="14033" y="1795"/>
                </a:lnTo>
                <a:lnTo>
                  <a:pt x="14068" y="1786"/>
                </a:lnTo>
                <a:lnTo>
                  <a:pt x="14096" y="1777"/>
                </a:lnTo>
                <a:lnTo>
                  <a:pt x="14137" y="1759"/>
                </a:lnTo>
                <a:lnTo>
                  <a:pt x="14161" y="1750"/>
                </a:lnTo>
                <a:lnTo>
                  <a:pt x="14172" y="1749"/>
                </a:lnTo>
                <a:lnTo>
                  <a:pt x="14184" y="1748"/>
                </a:lnTo>
                <a:lnTo>
                  <a:pt x="14201" y="1749"/>
                </a:lnTo>
                <a:lnTo>
                  <a:pt x="14222" y="1751"/>
                </a:lnTo>
                <a:lnTo>
                  <a:pt x="14254" y="1750"/>
                </a:lnTo>
                <a:lnTo>
                  <a:pt x="14287" y="1743"/>
                </a:lnTo>
                <a:lnTo>
                  <a:pt x="14322" y="1732"/>
                </a:lnTo>
                <a:lnTo>
                  <a:pt x="14356" y="1722"/>
                </a:lnTo>
                <a:lnTo>
                  <a:pt x="14391" y="1715"/>
                </a:lnTo>
                <a:lnTo>
                  <a:pt x="14424" y="1712"/>
                </a:lnTo>
                <a:lnTo>
                  <a:pt x="14457" y="1720"/>
                </a:lnTo>
                <a:lnTo>
                  <a:pt x="14487" y="1739"/>
                </a:lnTo>
                <a:lnTo>
                  <a:pt x="14594" y="1701"/>
                </a:lnTo>
                <a:lnTo>
                  <a:pt x="14718" y="1674"/>
                </a:lnTo>
                <a:lnTo>
                  <a:pt x="14850" y="1653"/>
                </a:lnTo>
                <a:lnTo>
                  <a:pt x="14988" y="1636"/>
                </a:lnTo>
                <a:lnTo>
                  <a:pt x="15123" y="1615"/>
                </a:lnTo>
                <a:lnTo>
                  <a:pt x="15250" y="1589"/>
                </a:lnTo>
                <a:lnTo>
                  <a:pt x="15364" y="1552"/>
                </a:lnTo>
                <a:lnTo>
                  <a:pt x="15459" y="1499"/>
                </a:lnTo>
                <a:lnTo>
                  <a:pt x="15448" y="1494"/>
                </a:lnTo>
                <a:lnTo>
                  <a:pt x="15437" y="1488"/>
                </a:lnTo>
                <a:lnTo>
                  <a:pt x="15428" y="1482"/>
                </a:lnTo>
                <a:lnTo>
                  <a:pt x="15421" y="1474"/>
                </a:lnTo>
                <a:lnTo>
                  <a:pt x="15449" y="1469"/>
                </a:lnTo>
                <a:lnTo>
                  <a:pt x="15474" y="1465"/>
                </a:lnTo>
                <a:lnTo>
                  <a:pt x="15486" y="1461"/>
                </a:lnTo>
                <a:lnTo>
                  <a:pt x="15495" y="1454"/>
                </a:lnTo>
                <a:lnTo>
                  <a:pt x="15502" y="1442"/>
                </a:lnTo>
                <a:lnTo>
                  <a:pt x="15509" y="1423"/>
                </a:lnTo>
                <a:lnTo>
                  <a:pt x="15516" y="1437"/>
                </a:lnTo>
                <a:lnTo>
                  <a:pt x="15525" y="1443"/>
                </a:lnTo>
                <a:lnTo>
                  <a:pt x="15535" y="1443"/>
                </a:lnTo>
                <a:lnTo>
                  <a:pt x="15547" y="1442"/>
                </a:lnTo>
                <a:lnTo>
                  <a:pt x="15558" y="1440"/>
                </a:lnTo>
                <a:lnTo>
                  <a:pt x="15570" y="1441"/>
                </a:lnTo>
                <a:lnTo>
                  <a:pt x="15579" y="1447"/>
                </a:lnTo>
                <a:lnTo>
                  <a:pt x="15585" y="1461"/>
                </a:lnTo>
                <a:lnTo>
                  <a:pt x="15583" y="1475"/>
                </a:lnTo>
                <a:lnTo>
                  <a:pt x="15575" y="1483"/>
                </a:lnTo>
                <a:lnTo>
                  <a:pt x="15565" y="1485"/>
                </a:lnTo>
                <a:lnTo>
                  <a:pt x="15553" y="1484"/>
                </a:lnTo>
                <a:lnTo>
                  <a:pt x="15542" y="1482"/>
                </a:lnTo>
                <a:lnTo>
                  <a:pt x="15532" y="1480"/>
                </a:lnTo>
                <a:lnTo>
                  <a:pt x="15524" y="1480"/>
                </a:lnTo>
                <a:lnTo>
                  <a:pt x="15521" y="1487"/>
                </a:lnTo>
                <a:lnTo>
                  <a:pt x="15529" y="1492"/>
                </a:lnTo>
                <a:lnTo>
                  <a:pt x="15541" y="1497"/>
                </a:lnTo>
                <a:lnTo>
                  <a:pt x="15552" y="1499"/>
                </a:lnTo>
                <a:lnTo>
                  <a:pt x="15566" y="1499"/>
                </a:lnTo>
                <a:lnTo>
                  <a:pt x="15579" y="1499"/>
                </a:lnTo>
                <a:lnTo>
                  <a:pt x="15591" y="1497"/>
                </a:lnTo>
                <a:lnTo>
                  <a:pt x="15602" y="1492"/>
                </a:lnTo>
                <a:lnTo>
                  <a:pt x="15609" y="1487"/>
                </a:lnTo>
                <a:lnTo>
                  <a:pt x="15612" y="1475"/>
                </a:lnTo>
                <a:lnTo>
                  <a:pt x="15609" y="1468"/>
                </a:lnTo>
                <a:lnTo>
                  <a:pt x="15605" y="1463"/>
                </a:lnTo>
                <a:lnTo>
                  <a:pt x="15600" y="1457"/>
                </a:lnTo>
                <a:lnTo>
                  <a:pt x="15595" y="1454"/>
                </a:lnTo>
                <a:lnTo>
                  <a:pt x="15590" y="1450"/>
                </a:lnTo>
                <a:lnTo>
                  <a:pt x="15586" y="1443"/>
                </a:lnTo>
                <a:lnTo>
                  <a:pt x="15585" y="1436"/>
                </a:lnTo>
                <a:lnTo>
                  <a:pt x="15594" y="1437"/>
                </a:lnTo>
                <a:lnTo>
                  <a:pt x="15602" y="1435"/>
                </a:lnTo>
                <a:lnTo>
                  <a:pt x="15608" y="1432"/>
                </a:lnTo>
                <a:lnTo>
                  <a:pt x="15614" y="1428"/>
                </a:lnTo>
                <a:lnTo>
                  <a:pt x="15619" y="1424"/>
                </a:lnTo>
                <a:lnTo>
                  <a:pt x="15627" y="1422"/>
                </a:lnTo>
                <a:lnTo>
                  <a:pt x="15636" y="1422"/>
                </a:lnTo>
                <a:lnTo>
                  <a:pt x="15647" y="1423"/>
                </a:lnTo>
                <a:lnTo>
                  <a:pt x="15607" y="1385"/>
                </a:lnTo>
                <a:lnTo>
                  <a:pt x="15552" y="1370"/>
                </a:lnTo>
                <a:lnTo>
                  <a:pt x="15486" y="1368"/>
                </a:lnTo>
                <a:lnTo>
                  <a:pt x="15413" y="1377"/>
                </a:lnTo>
                <a:lnTo>
                  <a:pt x="15338" y="1391"/>
                </a:lnTo>
                <a:lnTo>
                  <a:pt x="15263" y="1403"/>
                </a:lnTo>
                <a:lnTo>
                  <a:pt x="15193" y="1408"/>
                </a:lnTo>
                <a:lnTo>
                  <a:pt x="15130" y="1399"/>
                </a:lnTo>
                <a:lnTo>
                  <a:pt x="15164" y="1389"/>
                </a:lnTo>
                <a:lnTo>
                  <a:pt x="15194" y="1380"/>
                </a:lnTo>
                <a:lnTo>
                  <a:pt x="15222" y="1371"/>
                </a:lnTo>
                <a:lnTo>
                  <a:pt x="15250" y="1365"/>
                </a:lnTo>
                <a:lnTo>
                  <a:pt x="15276" y="1358"/>
                </a:lnTo>
                <a:lnTo>
                  <a:pt x="15301" y="1353"/>
                </a:lnTo>
                <a:lnTo>
                  <a:pt x="15324" y="1349"/>
                </a:lnTo>
                <a:lnTo>
                  <a:pt x="15344" y="1348"/>
                </a:lnTo>
                <a:lnTo>
                  <a:pt x="15329" y="1347"/>
                </a:lnTo>
                <a:lnTo>
                  <a:pt x="15321" y="1344"/>
                </a:lnTo>
                <a:lnTo>
                  <a:pt x="15323" y="1339"/>
                </a:lnTo>
                <a:lnTo>
                  <a:pt x="15328" y="1334"/>
                </a:lnTo>
                <a:lnTo>
                  <a:pt x="15335" y="1328"/>
                </a:lnTo>
                <a:lnTo>
                  <a:pt x="15342" y="1319"/>
                </a:lnTo>
                <a:lnTo>
                  <a:pt x="15347" y="1309"/>
                </a:lnTo>
                <a:lnTo>
                  <a:pt x="15344" y="1297"/>
                </a:lnTo>
                <a:lnTo>
                  <a:pt x="15281" y="1300"/>
                </a:lnTo>
                <a:lnTo>
                  <a:pt x="15217" y="1305"/>
                </a:lnTo>
                <a:lnTo>
                  <a:pt x="15155" y="1312"/>
                </a:lnTo>
                <a:lnTo>
                  <a:pt x="15094" y="1320"/>
                </a:lnTo>
                <a:lnTo>
                  <a:pt x="15035" y="1326"/>
                </a:lnTo>
                <a:lnTo>
                  <a:pt x="14976" y="1333"/>
                </a:lnTo>
                <a:lnTo>
                  <a:pt x="14920" y="1335"/>
                </a:lnTo>
                <a:lnTo>
                  <a:pt x="14866" y="1335"/>
                </a:lnTo>
                <a:lnTo>
                  <a:pt x="14913" y="1311"/>
                </a:lnTo>
                <a:lnTo>
                  <a:pt x="14965" y="1293"/>
                </a:lnTo>
                <a:lnTo>
                  <a:pt x="15022" y="1279"/>
                </a:lnTo>
                <a:lnTo>
                  <a:pt x="15082" y="1268"/>
                </a:lnTo>
                <a:lnTo>
                  <a:pt x="15143" y="1259"/>
                </a:lnTo>
                <a:lnTo>
                  <a:pt x="15204" y="1249"/>
                </a:lnTo>
                <a:lnTo>
                  <a:pt x="15264" y="1237"/>
                </a:lnTo>
                <a:lnTo>
                  <a:pt x="15320" y="1222"/>
                </a:lnTo>
                <a:lnTo>
                  <a:pt x="15320" y="1231"/>
                </a:lnTo>
                <a:lnTo>
                  <a:pt x="15321" y="1240"/>
                </a:lnTo>
                <a:lnTo>
                  <a:pt x="15324" y="1246"/>
                </a:lnTo>
                <a:lnTo>
                  <a:pt x="15328" y="1253"/>
                </a:lnTo>
                <a:lnTo>
                  <a:pt x="15333" y="1256"/>
                </a:lnTo>
                <a:lnTo>
                  <a:pt x="15339" y="1259"/>
                </a:lnTo>
                <a:lnTo>
                  <a:pt x="15348" y="1260"/>
                </a:lnTo>
                <a:lnTo>
                  <a:pt x="15357" y="1260"/>
                </a:lnTo>
                <a:lnTo>
                  <a:pt x="15365" y="1239"/>
                </a:lnTo>
                <a:lnTo>
                  <a:pt x="15379" y="1226"/>
                </a:lnTo>
                <a:lnTo>
                  <a:pt x="15397" y="1221"/>
                </a:lnTo>
                <a:lnTo>
                  <a:pt x="15417" y="1222"/>
                </a:lnTo>
                <a:lnTo>
                  <a:pt x="15439" y="1227"/>
                </a:lnTo>
                <a:lnTo>
                  <a:pt x="15460" y="1233"/>
                </a:lnTo>
                <a:lnTo>
                  <a:pt x="15481" y="1241"/>
                </a:lnTo>
                <a:lnTo>
                  <a:pt x="15496" y="1247"/>
                </a:lnTo>
                <a:lnTo>
                  <a:pt x="15509" y="1227"/>
                </a:lnTo>
                <a:lnTo>
                  <a:pt x="15529" y="1213"/>
                </a:lnTo>
                <a:lnTo>
                  <a:pt x="15556" y="1202"/>
                </a:lnTo>
                <a:lnTo>
                  <a:pt x="15586" y="1193"/>
                </a:lnTo>
                <a:lnTo>
                  <a:pt x="15618" y="1185"/>
                </a:lnTo>
                <a:lnTo>
                  <a:pt x="15649" y="1177"/>
                </a:lnTo>
                <a:lnTo>
                  <a:pt x="15677" y="1170"/>
                </a:lnTo>
                <a:lnTo>
                  <a:pt x="15698" y="1158"/>
                </a:lnTo>
                <a:lnTo>
                  <a:pt x="15683" y="1152"/>
                </a:lnTo>
                <a:lnTo>
                  <a:pt x="15669" y="1149"/>
                </a:lnTo>
                <a:lnTo>
                  <a:pt x="15654" y="1151"/>
                </a:lnTo>
                <a:lnTo>
                  <a:pt x="15640" y="1153"/>
                </a:lnTo>
                <a:lnTo>
                  <a:pt x="15626" y="1157"/>
                </a:lnTo>
                <a:lnTo>
                  <a:pt x="15612" y="1157"/>
                </a:lnTo>
                <a:lnTo>
                  <a:pt x="15598" y="1154"/>
                </a:lnTo>
                <a:lnTo>
                  <a:pt x="15585" y="1146"/>
                </a:lnTo>
                <a:lnTo>
                  <a:pt x="15598" y="1119"/>
                </a:lnTo>
                <a:lnTo>
                  <a:pt x="15604" y="1095"/>
                </a:lnTo>
                <a:lnTo>
                  <a:pt x="15605" y="1073"/>
                </a:lnTo>
                <a:lnTo>
                  <a:pt x="15605" y="1054"/>
                </a:lnTo>
                <a:lnTo>
                  <a:pt x="15608" y="1036"/>
                </a:lnTo>
                <a:lnTo>
                  <a:pt x="15616" y="1021"/>
                </a:lnTo>
                <a:lnTo>
                  <a:pt x="15632" y="1007"/>
                </a:lnTo>
                <a:lnTo>
                  <a:pt x="15660" y="995"/>
                </a:lnTo>
                <a:lnTo>
                  <a:pt x="15660" y="980"/>
                </a:lnTo>
                <a:lnTo>
                  <a:pt x="15655" y="971"/>
                </a:lnTo>
                <a:lnTo>
                  <a:pt x="15646" y="966"/>
                </a:lnTo>
                <a:lnTo>
                  <a:pt x="15636" y="964"/>
                </a:lnTo>
                <a:lnTo>
                  <a:pt x="15623" y="961"/>
                </a:lnTo>
                <a:lnTo>
                  <a:pt x="15612" y="958"/>
                </a:lnTo>
                <a:lnTo>
                  <a:pt x="15603" y="953"/>
                </a:lnTo>
                <a:lnTo>
                  <a:pt x="15598" y="944"/>
                </a:lnTo>
                <a:lnTo>
                  <a:pt x="15602" y="938"/>
                </a:lnTo>
                <a:lnTo>
                  <a:pt x="15607" y="932"/>
                </a:lnTo>
                <a:lnTo>
                  <a:pt x="15613" y="928"/>
                </a:lnTo>
                <a:lnTo>
                  <a:pt x="15621" y="924"/>
                </a:lnTo>
                <a:lnTo>
                  <a:pt x="15628" y="920"/>
                </a:lnTo>
                <a:lnTo>
                  <a:pt x="15636" y="916"/>
                </a:lnTo>
                <a:lnTo>
                  <a:pt x="15642" y="913"/>
                </a:lnTo>
                <a:lnTo>
                  <a:pt x="15647" y="906"/>
                </a:lnTo>
                <a:lnTo>
                  <a:pt x="15628" y="906"/>
                </a:lnTo>
                <a:lnTo>
                  <a:pt x="15613" y="905"/>
                </a:lnTo>
                <a:lnTo>
                  <a:pt x="15600" y="901"/>
                </a:lnTo>
                <a:lnTo>
                  <a:pt x="15590" y="896"/>
                </a:lnTo>
                <a:lnTo>
                  <a:pt x="15581" y="891"/>
                </a:lnTo>
                <a:lnTo>
                  <a:pt x="15574" y="887"/>
                </a:lnTo>
                <a:lnTo>
                  <a:pt x="15566" y="883"/>
                </a:lnTo>
                <a:lnTo>
                  <a:pt x="15560" y="882"/>
                </a:lnTo>
                <a:lnTo>
                  <a:pt x="15562" y="864"/>
                </a:lnTo>
                <a:lnTo>
                  <a:pt x="15567" y="855"/>
                </a:lnTo>
                <a:lnTo>
                  <a:pt x="15575" y="853"/>
                </a:lnTo>
                <a:lnTo>
                  <a:pt x="15583" y="853"/>
                </a:lnTo>
                <a:lnTo>
                  <a:pt x="15593" y="854"/>
                </a:lnTo>
                <a:lnTo>
                  <a:pt x="15603" y="854"/>
                </a:lnTo>
                <a:lnTo>
                  <a:pt x="15613" y="852"/>
                </a:lnTo>
                <a:lnTo>
                  <a:pt x="15622" y="844"/>
                </a:lnTo>
                <a:lnTo>
                  <a:pt x="15605" y="841"/>
                </a:lnTo>
                <a:lnTo>
                  <a:pt x="15590" y="838"/>
                </a:lnTo>
                <a:lnTo>
                  <a:pt x="15576" y="832"/>
                </a:lnTo>
                <a:lnTo>
                  <a:pt x="15565" y="826"/>
                </a:lnTo>
                <a:lnTo>
                  <a:pt x="15553" y="818"/>
                </a:lnTo>
                <a:lnTo>
                  <a:pt x="15544" y="808"/>
                </a:lnTo>
                <a:lnTo>
                  <a:pt x="15538" y="796"/>
                </a:lnTo>
                <a:lnTo>
                  <a:pt x="15534" y="780"/>
                </a:lnTo>
                <a:lnTo>
                  <a:pt x="15552" y="762"/>
                </a:lnTo>
                <a:lnTo>
                  <a:pt x="15576" y="754"/>
                </a:lnTo>
                <a:lnTo>
                  <a:pt x="15604" y="750"/>
                </a:lnTo>
                <a:lnTo>
                  <a:pt x="15633" y="750"/>
                </a:lnTo>
                <a:lnTo>
                  <a:pt x="15663" y="751"/>
                </a:lnTo>
                <a:lnTo>
                  <a:pt x="15690" y="750"/>
                </a:lnTo>
                <a:lnTo>
                  <a:pt x="15710" y="743"/>
                </a:lnTo>
                <a:lnTo>
                  <a:pt x="15724" y="731"/>
                </a:lnTo>
                <a:lnTo>
                  <a:pt x="15700" y="717"/>
                </a:lnTo>
                <a:lnTo>
                  <a:pt x="15673" y="709"/>
                </a:lnTo>
                <a:lnTo>
                  <a:pt x="15645" y="706"/>
                </a:lnTo>
                <a:lnTo>
                  <a:pt x="15616" y="706"/>
                </a:lnTo>
                <a:lnTo>
                  <a:pt x="15586" y="708"/>
                </a:lnTo>
                <a:lnTo>
                  <a:pt x="15558" y="709"/>
                </a:lnTo>
                <a:lnTo>
                  <a:pt x="15533" y="709"/>
                </a:lnTo>
                <a:lnTo>
                  <a:pt x="15509" y="705"/>
                </a:lnTo>
                <a:lnTo>
                  <a:pt x="15521" y="664"/>
                </a:lnTo>
                <a:lnTo>
                  <a:pt x="15520" y="631"/>
                </a:lnTo>
                <a:lnTo>
                  <a:pt x="15507" y="603"/>
                </a:lnTo>
                <a:lnTo>
                  <a:pt x="15488" y="578"/>
                </a:lnTo>
                <a:lnTo>
                  <a:pt x="15467" y="552"/>
                </a:lnTo>
                <a:lnTo>
                  <a:pt x="15448" y="524"/>
                </a:lnTo>
                <a:lnTo>
                  <a:pt x="15435" y="493"/>
                </a:lnTo>
                <a:lnTo>
                  <a:pt x="15434" y="453"/>
                </a:lnTo>
                <a:lnTo>
                  <a:pt x="15420" y="444"/>
                </a:lnTo>
                <a:lnTo>
                  <a:pt x="15400" y="442"/>
                </a:lnTo>
                <a:lnTo>
                  <a:pt x="15379" y="442"/>
                </a:lnTo>
                <a:lnTo>
                  <a:pt x="15356" y="443"/>
                </a:lnTo>
                <a:lnTo>
                  <a:pt x="15333" y="443"/>
                </a:lnTo>
                <a:lnTo>
                  <a:pt x="15314" y="440"/>
                </a:lnTo>
                <a:lnTo>
                  <a:pt x="15301" y="431"/>
                </a:lnTo>
                <a:lnTo>
                  <a:pt x="15295" y="415"/>
                </a:lnTo>
                <a:lnTo>
                  <a:pt x="15320" y="419"/>
                </a:lnTo>
                <a:lnTo>
                  <a:pt x="15341" y="419"/>
                </a:lnTo>
                <a:lnTo>
                  <a:pt x="15356" y="417"/>
                </a:lnTo>
                <a:lnTo>
                  <a:pt x="15370" y="416"/>
                </a:lnTo>
                <a:lnTo>
                  <a:pt x="15383" y="416"/>
                </a:lnTo>
                <a:lnTo>
                  <a:pt x="15397" y="420"/>
                </a:lnTo>
                <a:lnTo>
                  <a:pt x="15413" y="426"/>
                </a:lnTo>
                <a:lnTo>
                  <a:pt x="15434" y="440"/>
                </a:lnTo>
                <a:lnTo>
                  <a:pt x="15441" y="402"/>
                </a:lnTo>
                <a:lnTo>
                  <a:pt x="15442" y="365"/>
                </a:lnTo>
                <a:lnTo>
                  <a:pt x="15437" y="327"/>
                </a:lnTo>
                <a:lnTo>
                  <a:pt x="15428" y="288"/>
                </a:lnTo>
                <a:lnTo>
                  <a:pt x="15416" y="249"/>
                </a:lnTo>
                <a:lnTo>
                  <a:pt x="15400" y="213"/>
                </a:lnTo>
                <a:lnTo>
                  <a:pt x="15385" y="174"/>
                </a:lnTo>
                <a:lnTo>
                  <a:pt x="15370" y="137"/>
                </a:lnTo>
                <a:lnTo>
                  <a:pt x="15271" y="123"/>
                </a:lnTo>
                <a:lnTo>
                  <a:pt x="15169" y="118"/>
                </a:lnTo>
                <a:lnTo>
                  <a:pt x="15064" y="120"/>
                </a:lnTo>
                <a:lnTo>
                  <a:pt x="14960" y="125"/>
                </a:lnTo>
                <a:lnTo>
                  <a:pt x="14857" y="134"/>
                </a:lnTo>
                <a:lnTo>
                  <a:pt x="14757" y="145"/>
                </a:lnTo>
                <a:lnTo>
                  <a:pt x="14663" y="155"/>
                </a:lnTo>
                <a:lnTo>
                  <a:pt x="14575" y="163"/>
                </a:lnTo>
                <a:lnTo>
                  <a:pt x="14560" y="153"/>
                </a:lnTo>
                <a:lnTo>
                  <a:pt x="14541" y="137"/>
                </a:lnTo>
                <a:lnTo>
                  <a:pt x="14534" y="130"/>
                </a:lnTo>
                <a:lnTo>
                  <a:pt x="14531" y="123"/>
                </a:lnTo>
                <a:lnTo>
                  <a:pt x="14531" y="117"/>
                </a:lnTo>
                <a:lnTo>
                  <a:pt x="14538" y="113"/>
                </a:lnTo>
                <a:lnTo>
                  <a:pt x="14594" y="94"/>
                </a:lnTo>
                <a:lnTo>
                  <a:pt x="14657" y="83"/>
                </a:lnTo>
                <a:lnTo>
                  <a:pt x="14723" y="76"/>
                </a:lnTo>
                <a:lnTo>
                  <a:pt x="14792" y="73"/>
                </a:lnTo>
                <a:lnTo>
                  <a:pt x="14860" y="70"/>
                </a:lnTo>
                <a:lnTo>
                  <a:pt x="14929" y="66"/>
                </a:lnTo>
                <a:lnTo>
                  <a:pt x="14994" y="60"/>
                </a:lnTo>
                <a:lnTo>
                  <a:pt x="15055" y="50"/>
                </a:lnTo>
                <a:lnTo>
                  <a:pt x="15044" y="45"/>
                </a:lnTo>
                <a:lnTo>
                  <a:pt x="15034" y="39"/>
                </a:lnTo>
                <a:lnTo>
                  <a:pt x="15025" y="33"/>
                </a:lnTo>
                <a:lnTo>
                  <a:pt x="15017" y="24"/>
                </a:lnTo>
                <a:lnTo>
                  <a:pt x="15036" y="23"/>
                </a:lnTo>
                <a:lnTo>
                  <a:pt x="15058" y="24"/>
                </a:lnTo>
                <a:lnTo>
                  <a:pt x="15080" y="25"/>
                </a:lnTo>
                <a:lnTo>
                  <a:pt x="15101" y="27"/>
                </a:lnTo>
                <a:lnTo>
                  <a:pt x="15120" y="25"/>
                </a:lnTo>
                <a:lnTo>
                  <a:pt x="15137" y="22"/>
                </a:lnTo>
                <a:lnTo>
                  <a:pt x="15150" y="13"/>
                </a:lnTo>
                <a:lnTo>
                  <a:pt x="15156" y="0"/>
                </a:lnTo>
                <a:lnTo>
                  <a:pt x="15009" y="8"/>
                </a:lnTo>
                <a:lnTo>
                  <a:pt x="14857" y="15"/>
                </a:lnTo>
                <a:lnTo>
                  <a:pt x="14701" y="27"/>
                </a:lnTo>
                <a:lnTo>
                  <a:pt x="14545" y="41"/>
                </a:lnTo>
                <a:lnTo>
                  <a:pt x="14391" y="59"/>
                </a:lnTo>
                <a:lnTo>
                  <a:pt x="14242" y="83"/>
                </a:lnTo>
                <a:lnTo>
                  <a:pt x="14100" y="112"/>
                </a:lnTo>
                <a:lnTo>
                  <a:pt x="13970" y="150"/>
                </a:lnTo>
                <a:lnTo>
                  <a:pt x="13992" y="148"/>
                </a:lnTo>
                <a:lnTo>
                  <a:pt x="14010" y="149"/>
                </a:lnTo>
                <a:lnTo>
                  <a:pt x="14026" y="151"/>
                </a:lnTo>
                <a:lnTo>
                  <a:pt x="14040" y="157"/>
                </a:lnTo>
                <a:lnTo>
                  <a:pt x="14054" y="162"/>
                </a:lnTo>
                <a:lnTo>
                  <a:pt x="14068" y="167"/>
                </a:lnTo>
                <a:lnTo>
                  <a:pt x="14081" y="172"/>
                </a:lnTo>
                <a:lnTo>
                  <a:pt x="14096" y="176"/>
                </a:lnTo>
                <a:lnTo>
                  <a:pt x="14110" y="164"/>
                </a:lnTo>
                <a:lnTo>
                  <a:pt x="14123" y="151"/>
                </a:lnTo>
                <a:lnTo>
                  <a:pt x="14136" y="139"/>
                </a:lnTo>
                <a:lnTo>
                  <a:pt x="14147" y="126"/>
                </a:lnTo>
                <a:lnTo>
                  <a:pt x="14194" y="139"/>
                </a:lnTo>
                <a:lnTo>
                  <a:pt x="14238" y="143"/>
                </a:lnTo>
                <a:lnTo>
                  <a:pt x="14277" y="140"/>
                </a:lnTo>
                <a:lnTo>
                  <a:pt x="14317" y="135"/>
                </a:lnTo>
                <a:lnTo>
                  <a:pt x="14355" y="129"/>
                </a:lnTo>
                <a:lnTo>
                  <a:pt x="14396" y="126"/>
                </a:lnTo>
                <a:lnTo>
                  <a:pt x="14439" y="127"/>
                </a:lnTo>
                <a:lnTo>
                  <a:pt x="14487" y="137"/>
                </a:lnTo>
                <a:lnTo>
                  <a:pt x="14430" y="168"/>
                </a:lnTo>
                <a:lnTo>
                  <a:pt x="14369" y="190"/>
                </a:lnTo>
                <a:lnTo>
                  <a:pt x="14306" y="204"/>
                </a:lnTo>
                <a:lnTo>
                  <a:pt x="14240" y="213"/>
                </a:lnTo>
                <a:lnTo>
                  <a:pt x="14170" y="219"/>
                </a:lnTo>
                <a:lnTo>
                  <a:pt x="14099" y="224"/>
                </a:lnTo>
                <a:lnTo>
                  <a:pt x="14024" y="229"/>
                </a:lnTo>
                <a:lnTo>
                  <a:pt x="13945" y="239"/>
                </a:lnTo>
                <a:lnTo>
                  <a:pt x="13885" y="251"/>
                </a:lnTo>
                <a:lnTo>
                  <a:pt x="13828" y="266"/>
                </a:lnTo>
                <a:lnTo>
                  <a:pt x="13773" y="284"/>
                </a:lnTo>
                <a:lnTo>
                  <a:pt x="13719" y="299"/>
                </a:lnTo>
                <a:lnTo>
                  <a:pt x="13671" y="311"/>
                </a:lnTo>
                <a:lnTo>
                  <a:pt x="13624" y="314"/>
                </a:lnTo>
                <a:lnTo>
                  <a:pt x="13582" y="308"/>
                </a:lnTo>
                <a:lnTo>
                  <a:pt x="13542" y="289"/>
                </a:lnTo>
                <a:lnTo>
                  <a:pt x="13522" y="304"/>
                </a:lnTo>
                <a:lnTo>
                  <a:pt x="13502" y="317"/>
                </a:lnTo>
                <a:lnTo>
                  <a:pt x="13480" y="328"/>
                </a:lnTo>
                <a:lnTo>
                  <a:pt x="13457" y="337"/>
                </a:lnTo>
                <a:lnTo>
                  <a:pt x="13434" y="342"/>
                </a:lnTo>
                <a:lnTo>
                  <a:pt x="13411" y="342"/>
                </a:lnTo>
                <a:lnTo>
                  <a:pt x="13388" y="339"/>
                </a:lnTo>
                <a:lnTo>
                  <a:pt x="13365" y="327"/>
                </a:lnTo>
                <a:lnTo>
                  <a:pt x="13262" y="370"/>
                </a:lnTo>
                <a:lnTo>
                  <a:pt x="13141" y="403"/>
                </a:lnTo>
                <a:lnTo>
                  <a:pt x="13011" y="430"/>
                </a:lnTo>
                <a:lnTo>
                  <a:pt x="12874" y="453"/>
                </a:lnTo>
                <a:lnTo>
                  <a:pt x="12736" y="476"/>
                </a:lnTo>
                <a:lnTo>
                  <a:pt x="12603" y="503"/>
                </a:lnTo>
                <a:lnTo>
                  <a:pt x="12479" y="536"/>
                </a:lnTo>
                <a:lnTo>
                  <a:pt x="12370" y="579"/>
                </a:lnTo>
                <a:lnTo>
                  <a:pt x="12395" y="589"/>
                </a:lnTo>
                <a:lnTo>
                  <a:pt x="12422" y="593"/>
                </a:lnTo>
                <a:lnTo>
                  <a:pt x="12447" y="591"/>
                </a:lnTo>
                <a:lnTo>
                  <a:pt x="12473" y="584"/>
                </a:lnTo>
                <a:lnTo>
                  <a:pt x="12496" y="574"/>
                </a:lnTo>
                <a:lnTo>
                  <a:pt x="12519" y="563"/>
                </a:lnTo>
                <a:lnTo>
                  <a:pt x="12539" y="551"/>
                </a:lnTo>
                <a:lnTo>
                  <a:pt x="12558" y="541"/>
                </a:lnTo>
                <a:lnTo>
                  <a:pt x="12558" y="554"/>
                </a:lnTo>
                <a:lnTo>
                  <a:pt x="12562" y="564"/>
                </a:lnTo>
                <a:lnTo>
                  <a:pt x="12567" y="570"/>
                </a:lnTo>
                <a:lnTo>
                  <a:pt x="12573" y="577"/>
                </a:lnTo>
                <a:lnTo>
                  <a:pt x="12581" y="582"/>
                </a:lnTo>
                <a:lnTo>
                  <a:pt x="12587" y="588"/>
                </a:lnTo>
                <a:lnTo>
                  <a:pt x="12594" y="594"/>
                </a:lnTo>
                <a:lnTo>
                  <a:pt x="12596" y="605"/>
                </a:lnTo>
                <a:lnTo>
                  <a:pt x="12506" y="630"/>
                </a:lnTo>
                <a:lnTo>
                  <a:pt x="12415" y="653"/>
                </a:lnTo>
                <a:lnTo>
                  <a:pt x="12327" y="676"/>
                </a:lnTo>
                <a:lnTo>
                  <a:pt x="12241" y="695"/>
                </a:lnTo>
                <a:lnTo>
                  <a:pt x="12157" y="713"/>
                </a:lnTo>
                <a:lnTo>
                  <a:pt x="12074" y="727"/>
                </a:lnTo>
                <a:lnTo>
                  <a:pt x="11993" y="737"/>
                </a:lnTo>
                <a:lnTo>
                  <a:pt x="11915" y="743"/>
                </a:lnTo>
                <a:lnTo>
                  <a:pt x="11945" y="734"/>
                </a:lnTo>
                <a:lnTo>
                  <a:pt x="11971" y="722"/>
                </a:lnTo>
                <a:lnTo>
                  <a:pt x="11994" y="708"/>
                </a:lnTo>
                <a:lnTo>
                  <a:pt x="12017" y="694"/>
                </a:lnTo>
                <a:lnTo>
                  <a:pt x="12041" y="681"/>
                </a:lnTo>
                <a:lnTo>
                  <a:pt x="12066" y="673"/>
                </a:lnTo>
                <a:lnTo>
                  <a:pt x="12096" y="672"/>
                </a:lnTo>
                <a:lnTo>
                  <a:pt x="12130" y="680"/>
                </a:lnTo>
                <a:lnTo>
                  <a:pt x="12147" y="650"/>
                </a:lnTo>
                <a:lnTo>
                  <a:pt x="12171" y="633"/>
                </a:lnTo>
                <a:lnTo>
                  <a:pt x="12201" y="624"/>
                </a:lnTo>
                <a:lnTo>
                  <a:pt x="12235" y="620"/>
                </a:lnTo>
                <a:lnTo>
                  <a:pt x="12268" y="617"/>
                </a:lnTo>
                <a:lnTo>
                  <a:pt x="12301" y="615"/>
                </a:lnTo>
                <a:lnTo>
                  <a:pt x="12331" y="607"/>
                </a:lnTo>
                <a:lnTo>
                  <a:pt x="12357" y="592"/>
                </a:lnTo>
                <a:lnTo>
                  <a:pt x="12331" y="580"/>
                </a:lnTo>
                <a:lnTo>
                  <a:pt x="12296" y="578"/>
                </a:lnTo>
                <a:lnTo>
                  <a:pt x="12255" y="580"/>
                </a:lnTo>
                <a:lnTo>
                  <a:pt x="12210" y="586"/>
                </a:lnTo>
                <a:lnTo>
                  <a:pt x="12164" y="588"/>
                </a:lnTo>
                <a:lnTo>
                  <a:pt x="12122" y="587"/>
                </a:lnTo>
                <a:lnTo>
                  <a:pt x="12084" y="575"/>
                </a:lnTo>
                <a:lnTo>
                  <a:pt x="12054" y="554"/>
                </a:lnTo>
                <a:lnTo>
                  <a:pt x="12073" y="556"/>
                </a:lnTo>
                <a:lnTo>
                  <a:pt x="12089" y="554"/>
                </a:lnTo>
                <a:lnTo>
                  <a:pt x="12102" y="550"/>
                </a:lnTo>
                <a:lnTo>
                  <a:pt x="12112" y="543"/>
                </a:lnTo>
                <a:lnTo>
                  <a:pt x="12124" y="537"/>
                </a:lnTo>
                <a:lnTo>
                  <a:pt x="12136" y="532"/>
                </a:lnTo>
                <a:lnTo>
                  <a:pt x="12150" y="528"/>
                </a:lnTo>
                <a:lnTo>
                  <a:pt x="12167" y="528"/>
                </a:lnTo>
                <a:lnTo>
                  <a:pt x="12150" y="498"/>
                </a:lnTo>
                <a:lnTo>
                  <a:pt x="12126" y="484"/>
                </a:lnTo>
                <a:lnTo>
                  <a:pt x="12097" y="485"/>
                </a:lnTo>
                <a:lnTo>
                  <a:pt x="12066" y="493"/>
                </a:lnTo>
                <a:lnTo>
                  <a:pt x="12036" y="504"/>
                </a:lnTo>
                <a:lnTo>
                  <a:pt x="12008" y="513"/>
                </a:lnTo>
                <a:lnTo>
                  <a:pt x="11984" y="514"/>
                </a:lnTo>
                <a:lnTo>
                  <a:pt x="11966" y="504"/>
                </a:lnTo>
                <a:lnTo>
                  <a:pt x="11934" y="535"/>
                </a:lnTo>
                <a:lnTo>
                  <a:pt x="11894" y="549"/>
                </a:lnTo>
                <a:lnTo>
                  <a:pt x="11850" y="551"/>
                </a:lnTo>
                <a:lnTo>
                  <a:pt x="11802" y="550"/>
                </a:lnTo>
                <a:lnTo>
                  <a:pt x="11756" y="550"/>
                </a:lnTo>
                <a:lnTo>
                  <a:pt x="11712" y="560"/>
                </a:lnTo>
                <a:lnTo>
                  <a:pt x="11677" y="584"/>
                </a:lnTo>
                <a:lnTo>
                  <a:pt x="11651" y="630"/>
                </a:lnTo>
                <a:lnTo>
                  <a:pt x="11706" y="624"/>
                </a:lnTo>
                <a:lnTo>
                  <a:pt x="11758" y="616"/>
                </a:lnTo>
                <a:lnTo>
                  <a:pt x="11808" y="607"/>
                </a:lnTo>
                <a:lnTo>
                  <a:pt x="11855" y="597"/>
                </a:lnTo>
                <a:lnTo>
                  <a:pt x="11901" y="589"/>
                </a:lnTo>
                <a:lnTo>
                  <a:pt x="11947" y="582"/>
                </a:lnTo>
                <a:lnTo>
                  <a:pt x="11994" y="579"/>
                </a:lnTo>
                <a:lnTo>
                  <a:pt x="12041" y="579"/>
                </a:lnTo>
                <a:lnTo>
                  <a:pt x="11912" y="622"/>
                </a:lnTo>
                <a:lnTo>
                  <a:pt x="11777" y="661"/>
                </a:lnTo>
                <a:lnTo>
                  <a:pt x="11639" y="695"/>
                </a:lnTo>
                <a:lnTo>
                  <a:pt x="11497" y="727"/>
                </a:lnTo>
                <a:lnTo>
                  <a:pt x="11357" y="760"/>
                </a:lnTo>
                <a:lnTo>
                  <a:pt x="11218" y="794"/>
                </a:lnTo>
                <a:lnTo>
                  <a:pt x="11085" y="835"/>
                </a:lnTo>
                <a:lnTo>
                  <a:pt x="10957" y="882"/>
                </a:lnTo>
                <a:lnTo>
                  <a:pt x="10969" y="887"/>
                </a:lnTo>
                <a:lnTo>
                  <a:pt x="10984" y="888"/>
                </a:lnTo>
                <a:lnTo>
                  <a:pt x="11004" y="886"/>
                </a:lnTo>
                <a:lnTo>
                  <a:pt x="11027" y="881"/>
                </a:lnTo>
                <a:lnTo>
                  <a:pt x="11049" y="877"/>
                </a:lnTo>
                <a:lnTo>
                  <a:pt x="11069" y="874"/>
                </a:lnTo>
                <a:lnTo>
                  <a:pt x="11086" y="876"/>
                </a:lnTo>
                <a:lnTo>
                  <a:pt x="11096" y="882"/>
                </a:lnTo>
                <a:lnTo>
                  <a:pt x="11088" y="882"/>
                </a:lnTo>
                <a:lnTo>
                  <a:pt x="11082" y="883"/>
                </a:lnTo>
                <a:lnTo>
                  <a:pt x="11076" y="885"/>
                </a:lnTo>
                <a:lnTo>
                  <a:pt x="11071" y="888"/>
                </a:lnTo>
                <a:lnTo>
                  <a:pt x="11067" y="892"/>
                </a:lnTo>
                <a:lnTo>
                  <a:pt x="11063" y="896"/>
                </a:lnTo>
                <a:lnTo>
                  <a:pt x="11060" y="901"/>
                </a:lnTo>
                <a:lnTo>
                  <a:pt x="11058" y="906"/>
                </a:lnTo>
                <a:lnTo>
                  <a:pt x="11141" y="895"/>
                </a:lnTo>
                <a:lnTo>
                  <a:pt x="11216" y="880"/>
                </a:lnTo>
                <a:lnTo>
                  <a:pt x="11286" y="862"/>
                </a:lnTo>
                <a:lnTo>
                  <a:pt x="11355" y="845"/>
                </a:lnTo>
                <a:lnTo>
                  <a:pt x="11422" y="830"/>
                </a:lnTo>
                <a:lnTo>
                  <a:pt x="11493" y="820"/>
                </a:lnTo>
                <a:lnTo>
                  <a:pt x="11568" y="815"/>
                </a:lnTo>
                <a:lnTo>
                  <a:pt x="11651" y="818"/>
                </a:lnTo>
                <a:lnTo>
                  <a:pt x="11546" y="848"/>
                </a:lnTo>
                <a:lnTo>
                  <a:pt x="11436" y="871"/>
                </a:lnTo>
                <a:lnTo>
                  <a:pt x="11327" y="891"/>
                </a:lnTo>
                <a:lnTo>
                  <a:pt x="11217" y="911"/>
                </a:lnTo>
                <a:lnTo>
                  <a:pt x="11110" y="934"/>
                </a:lnTo>
                <a:lnTo>
                  <a:pt x="11009" y="964"/>
                </a:lnTo>
                <a:lnTo>
                  <a:pt x="10915" y="999"/>
                </a:lnTo>
                <a:lnTo>
                  <a:pt x="10831" y="1045"/>
                </a:lnTo>
                <a:lnTo>
                  <a:pt x="10846" y="1050"/>
                </a:lnTo>
                <a:lnTo>
                  <a:pt x="10863" y="1051"/>
                </a:lnTo>
                <a:lnTo>
                  <a:pt x="10881" y="1048"/>
                </a:lnTo>
                <a:lnTo>
                  <a:pt x="10900" y="1041"/>
                </a:lnTo>
                <a:lnTo>
                  <a:pt x="10937" y="1025"/>
                </a:lnTo>
                <a:lnTo>
                  <a:pt x="10970" y="1008"/>
                </a:lnTo>
                <a:lnTo>
                  <a:pt x="10969" y="1020"/>
                </a:lnTo>
                <a:lnTo>
                  <a:pt x="10969" y="1031"/>
                </a:lnTo>
                <a:lnTo>
                  <a:pt x="10970" y="1041"/>
                </a:lnTo>
                <a:lnTo>
                  <a:pt x="10971" y="1050"/>
                </a:lnTo>
                <a:lnTo>
                  <a:pt x="10974" y="1058"/>
                </a:lnTo>
                <a:lnTo>
                  <a:pt x="10979" y="1064"/>
                </a:lnTo>
                <a:lnTo>
                  <a:pt x="10986" y="1069"/>
                </a:lnTo>
                <a:lnTo>
                  <a:pt x="10995" y="1070"/>
                </a:lnTo>
                <a:lnTo>
                  <a:pt x="10998" y="1063"/>
                </a:lnTo>
                <a:lnTo>
                  <a:pt x="11004" y="1058"/>
                </a:lnTo>
                <a:lnTo>
                  <a:pt x="11012" y="1054"/>
                </a:lnTo>
                <a:lnTo>
                  <a:pt x="11020" y="1051"/>
                </a:lnTo>
                <a:lnTo>
                  <a:pt x="11029" y="1049"/>
                </a:lnTo>
                <a:lnTo>
                  <a:pt x="11036" y="1046"/>
                </a:lnTo>
                <a:lnTo>
                  <a:pt x="11043" y="1041"/>
                </a:lnTo>
                <a:lnTo>
                  <a:pt x="11045" y="1032"/>
                </a:lnTo>
                <a:lnTo>
                  <a:pt x="11037" y="1031"/>
                </a:lnTo>
                <a:lnTo>
                  <a:pt x="11027" y="1032"/>
                </a:lnTo>
                <a:lnTo>
                  <a:pt x="11017" y="1034"/>
                </a:lnTo>
                <a:lnTo>
                  <a:pt x="11006" y="1034"/>
                </a:lnTo>
                <a:lnTo>
                  <a:pt x="10997" y="1035"/>
                </a:lnTo>
                <a:lnTo>
                  <a:pt x="10989" y="1032"/>
                </a:lnTo>
                <a:lnTo>
                  <a:pt x="10984" y="1028"/>
                </a:lnTo>
                <a:lnTo>
                  <a:pt x="10983" y="1021"/>
                </a:lnTo>
                <a:lnTo>
                  <a:pt x="10990" y="1011"/>
                </a:lnTo>
                <a:lnTo>
                  <a:pt x="11002" y="1004"/>
                </a:lnTo>
                <a:lnTo>
                  <a:pt x="11015" y="1000"/>
                </a:lnTo>
                <a:lnTo>
                  <a:pt x="11029" y="997"/>
                </a:lnTo>
                <a:lnTo>
                  <a:pt x="11044" y="994"/>
                </a:lnTo>
                <a:lnTo>
                  <a:pt x="11058" y="992"/>
                </a:lnTo>
                <a:lnTo>
                  <a:pt x="11072" y="988"/>
                </a:lnTo>
                <a:lnTo>
                  <a:pt x="11083" y="983"/>
                </a:lnTo>
                <a:lnTo>
                  <a:pt x="11081" y="990"/>
                </a:lnTo>
                <a:lnTo>
                  <a:pt x="11076" y="997"/>
                </a:lnTo>
                <a:lnTo>
                  <a:pt x="11071" y="1002"/>
                </a:lnTo>
                <a:lnTo>
                  <a:pt x="11064" y="1008"/>
                </a:lnTo>
                <a:lnTo>
                  <a:pt x="11060" y="1014"/>
                </a:lnTo>
                <a:lnTo>
                  <a:pt x="11057" y="1022"/>
                </a:lnTo>
                <a:lnTo>
                  <a:pt x="11055" y="1032"/>
                </a:lnTo>
                <a:lnTo>
                  <a:pt x="11058" y="1045"/>
                </a:lnTo>
                <a:lnTo>
                  <a:pt x="11078" y="1044"/>
                </a:lnTo>
                <a:lnTo>
                  <a:pt x="11100" y="1040"/>
                </a:lnTo>
                <a:lnTo>
                  <a:pt x="11124" y="1035"/>
                </a:lnTo>
                <a:lnTo>
                  <a:pt x="11147" y="1030"/>
                </a:lnTo>
                <a:lnTo>
                  <a:pt x="11169" y="1026"/>
                </a:lnTo>
                <a:lnTo>
                  <a:pt x="11189" y="1025"/>
                </a:lnTo>
                <a:lnTo>
                  <a:pt x="11208" y="1026"/>
                </a:lnTo>
                <a:lnTo>
                  <a:pt x="11222" y="1032"/>
                </a:lnTo>
                <a:lnTo>
                  <a:pt x="11189" y="1042"/>
                </a:lnTo>
                <a:lnTo>
                  <a:pt x="11156" y="1056"/>
                </a:lnTo>
                <a:lnTo>
                  <a:pt x="11123" y="1072"/>
                </a:lnTo>
                <a:lnTo>
                  <a:pt x="11091" y="1088"/>
                </a:lnTo>
                <a:lnTo>
                  <a:pt x="11059" y="1101"/>
                </a:lnTo>
                <a:lnTo>
                  <a:pt x="11029" y="1107"/>
                </a:lnTo>
                <a:lnTo>
                  <a:pt x="10998" y="1107"/>
                </a:lnTo>
                <a:lnTo>
                  <a:pt x="10970" y="1096"/>
                </a:lnTo>
                <a:lnTo>
                  <a:pt x="10929" y="1110"/>
                </a:lnTo>
                <a:lnTo>
                  <a:pt x="10885" y="1124"/>
                </a:lnTo>
                <a:lnTo>
                  <a:pt x="10836" y="1138"/>
                </a:lnTo>
                <a:lnTo>
                  <a:pt x="10785" y="1151"/>
                </a:lnTo>
                <a:lnTo>
                  <a:pt x="10732" y="1161"/>
                </a:lnTo>
                <a:lnTo>
                  <a:pt x="10677" y="1168"/>
                </a:lnTo>
                <a:lnTo>
                  <a:pt x="10622" y="1172"/>
                </a:lnTo>
                <a:lnTo>
                  <a:pt x="10566" y="1171"/>
                </a:lnTo>
                <a:lnTo>
                  <a:pt x="10590" y="1156"/>
                </a:lnTo>
                <a:lnTo>
                  <a:pt x="10622" y="1144"/>
                </a:lnTo>
                <a:lnTo>
                  <a:pt x="10657" y="1134"/>
                </a:lnTo>
                <a:lnTo>
                  <a:pt x="10692" y="1124"/>
                </a:lnTo>
                <a:lnTo>
                  <a:pt x="10724" y="1114"/>
                </a:lnTo>
                <a:lnTo>
                  <a:pt x="10750" y="1100"/>
                </a:lnTo>
                <a:lnTo>
                  <a:pt x="10766" y="1082"/>
                </a:lnTo>
                <a:lnTo>
                  <a:pt x="10767" y="1058"/>
                </a:lnTo>
                <a:lnTo>
                  <a:pt x="10753" y="1054"/>
                </a:lnTo>
                <a:lnTo>
                  <a:pt x="10743" y="1053"/>
                </a:lnTo>
                <a:lnTo>
                  <a:pt x="10737" y="1055"/>
                </a:lnTo>
                <a:lnTo>
                  <a:pt x="10732" y="1059"/>
                </a:lnTo>
                <a:lnTo>
                  <a:pt x="10727" y="1060"/>
                </a:lnTo>
                <a:lnTo>
                  <a:pt x="10722" y="1060"/>
                </a:lnTo>
                <a:lnTo>
                  <a:pt x="10715" y="1056"/>
                </a:lnTo>
                <a:lnTo>
                  <a:pt x="10705" y="1045"/>
                </a:lnTo>
                <a:lnTo>
                  <a:pt x="10699" y="1048"/>
                </a:lnTo>
                <a:lnTo>
                  <a:pt x="10695" y="1051"/>
                </a:lnTo>
                <a:lnTo>
                  <a:pt x="10691" y="1055"/>
                </a:lnTo>
                <a:lnTo>
                  <a:pt x="10688" y="1062"/>
                </a:lnTo>
                <a:lnTo>
                  <a:pt x="10686" y="1065"/>
                </a:lnTo>
                <a:lnTo>
                  <a:pt x="10682" y="1069"/>
                </a:lnTo>
                <a:lnTo>
                  <a:pt x="10676" y="1072"/>
                </a:lnTo>
                <a:lnTo>
                  <a:pt x="10667" y="1070"/>
                </a:lnTo>
                <a:lnTo>
                  <a:pt x="10657" y="1070"/>
                </a:lnTo>
                <a:lnTo>
                  <a:pt x="10649" y="1069"/>
                </a:lnTo>
                <a:lnTo>
                  <a:pt x="10643" y="1067"/>
                </a:lnTo>
                <a:lnTo>
                  <a:pt x="10638" y="1063"/>
                </a:lnTo>
                <a:lnTo>
                  <a:pt x="10631" y="1059"/>
                </a:lnTo>
                <a:lnTo>
                  <a:pt x="10625" y="1056"/>
                </a:lnTo>
                <a:lnTo>
                  <a:pt x="10616" y="1055"/>
                </a:lnTo>
                <a:lnTo>
                  <a:pt x="10604" y="1058"/>
                </a:lnTo>
                <a:lnTo>
                  <a:pt x="10596" y="1060"/>
                </a:lnTo>
                <a:lnTo>
                  <a:pt x="10589" y="1065"/>
                </a:lnTo>
                <a:lnTo>
                  <a:pt x="10584" y="1070"/>
                </a:lnTo>
                <a:lnTo>
                  <a:pt x="10579" y="1077"/>
                </a:lnTo>
                <a:lnTo>
                  <a:pt x="10574" y="1083"/>
                </a:lnTo>
                <a:lnTo>
                  <a:pt x="10569" y="1088"/>
                </a:lnTo>
                <a:lnTo>
                  <a:pt x="10562" y="1093"/>
                </a:lnTo>
                <a:lnTo>
                  <a:pt x="10553" y="1096"/>
                </a:lnTo>
                <a:lnTo>
                  <a:pt x="10480" y="1095"/>
                </a:lnTo>
                <a:lnTo>
                  <a:pt x="10406" y="1101"/>
                </a:lnTo>
                <a:lnTo>
                  <a:pt x="10331" y="1112"/>
                </a:lnTo>
                <a:lnTo>
                  <a:pt x="10255" y="1129"/>
                </a:lnTo>
                <a:lnTo>
                  <a:pt x="10183" y="1149"/>
                </a:lnTo>
                <a:lnTo>
                  <a:pt x="10113" y="1172"/>
                </a:lnTo>
                <a:lnTo>
                  <a:pt x="10048" y="1197"/>
                </a:lnTo>
                <a:lnTo>
                  <a:pt x="9987" y="1222"/>
                </a:lnTo>
                <a:lnTo>
                  <a:pt x="9887" y="1244"/>
                </a:lnTo>
                <a:lnTo>
                  <a:pt x="9778" y="1265"/>
                </a:lnTo>
                <a:lnTo>
                  <a:pt x="9661" y="1288"/>
                </a:lnTo>
                <a:lnTo>
                  <a:pt x="9542" y="1314"/>
                </a:lnTo>
                <a:lnTo>
                  <a:pt x="9425" y="1342"/>
                </a:lnTo>
                <a:lnTo>
                  <a:pt x="9317" y="1373"/>
                </a:lnTo>
                <a:lnTo>
                  <a:pt x="9220" y="1410"/>
                </a:lnTo>
                <a:lnTo>
                  <a:pt x="9140" y="1454"/>
                </a:lnTo>
                <a:lnTo>
                  <a:pt x="9136" y="1454"/>
                </a:lnTo>
                <a:lnTo>
                  <a:pt x="9132" y="1455"/>
                </a:lnTo>
                <a:lnTo>
                  <a:pt x="9130" y="1457"/>
                </a:lnTo>
                <a:lnTo>
                  <a:pt x="9128" y="1461"/>
                </a:lnTo>
                <a:lnTo>
                  <a:pt x="9135" y="1457"/>
                </a:lnTo>
                <a:lnTo>
                  <a:pt x="9140" y="1454"/>
                </a:lnTo>
                <a:lnTo>
                  <a:pt x="9146" y="1455"/>
                </a:lnTo>
                <a:lnTo>
                  <a:pt x="9153" y="1459"/>
                </a:lnTo>
                <a:lnTo>
                  <a:pt x="9159" y="1463"/>
                </a:lnTo>
                <a:lnTo>
                  <a:pt x="9165" y="1466"/>
                </a:lnTo>
                <a:lnTo>
                  <a:pt x="9170" y="1471"/>
                </a:lnTo>
                <a:lnTo>
                  <a:pt x="9174" y="1477"/>
                </a:lnTo>
                <a:lnTo>
                  <a:pt x="9178" y="1482"/>
                </a:lnTo>
                <a:lnTo>
                  <a:pt x="9179" y="1487"/>
                </a:lnTo>
                <a:lnTo>
                  <a:pt x="9172" y="1480"/>
                </a:lnTo>
                <a:lnTo>
                  <a:pt x="9164" y="1478"/>
                </a:lnTo>
                <a:lnTo>
                  <a:pt x="9156" y="1479"/>
                </a:lnTo>
                <a:lnTo>
                  <a:pt x="9149" y="1482"/>
                </a:lnTo>
                <a:lnTo>
                  <a:pt x="9141" y="1484"/>
                </a:lnTo>
                <a:lnTo>
                  <a:pt x="9131" y="1488"/>
                </a:lnTo>
                <a:lnTo>
                  <a:pt x="9118" y="1488"/>
                </a:lnTo>
                <a:lnTo>
                  <a:pt x="9103" y="1487"/>
                </a:lnTo>
                <a:lnTo>
                  <a:pt x="9103" y="1475"/>
                </a:lnTo>
                <a:lnTo>
                  <a:pt x="9100" y="1465"/>
                </a:lnTo>
                <a:lnTo>
                  <a:pt x="9095" y="1456"/>
                </a:lnTo>
                <a:lnTo>
                  <a:pt x="9092" y="1449"/>
                </a:lnTo>
                <a:lnTo>
                  <a:pt x="8993" y="1466"/>
                </a:lnTo>
                <a:lnTo>
                  <a:pt x="8897" y="1487"/>
                </a:lnTo>
                <a:lnTo>
                  <a:pt x="8801" y="1508"/>
                </a:lnTo>
                <a:lnTo>
                  <a:pt x="8706" y="1533"/>
                </a:lnTo>
                <a:lnTo>
                  <a:pt x="8610" y="1558"/>
                </a:lnTo>
                <a:lnTo>
                  <a:pt x="8512" y="1586"/>
                </a:lnTo>
                <a:lnTo>
                  <a:pt x="8413" y="1618"/>
                </a:lnTo>
                <a:lnTo>
                  <a:pt x="8310" y="1651"/>
                </a:lnTo>
                <a:lnTo>
                  <a:pt x="8310" y="1660"/>
                </a:lnTo>
                <a:lnTo>
                  <a:pt x="8312" y="1669"/>
                </a:lnTo>
                <a:lnTo>
                  <a:pt x="8316" y="1678"/>
                </a:lnTo>
                <a:lnTo>
                  <a:pt x="8320" y="1687"/>
                </a:lnTo>
                <a:lnTo>
                  <a:pt x="8322" y="1693"/>
                </a:lnTo>
                <a:lnTo>
                  <a:pt x="8320" y="1698"/>
                </a:lnTo>
                <a:lnTo>
                  <a:pt x="8312" y="1701"/>
                </a:lnTo>
                <a:lnTo>
                  <a:pt x="8297" y="1701"/>
                </a:lnTo>
                <a:lnTo>
                  <a:pt x="8290" y="1698"/>
                </a:lnTo>
                <a:lnTo>
                  <a:pt x="8288" y="1695"/>
                </a:lnTo>
                <a:lnTo>
                  <a:pt x="8288" y="1692"/>
                </a:lnTo>
                <a:lnTo>
                  <a:pt x="8289" y="1688"/>
                </a:lnTo>
                <a:lnTo>
                  <a:pt x="8292" y="1683"/>
                </a:lnTo>
                <a:lnTo>
                  <a:pt x="8294" y="1678"/>
                </a:lnTo>
                <a:lnTo>
                  <a:pt x="8297" y="1670"/>
                </a:lnTo>
                <a:lnTo>
                  <a:pt x="8297" y="1662"/>
                </a:lnTo>
                <a:lnTo>
                  <a:pt x="8240" y="1667"/>
                </a:lnTo>
                <a:lnTo>
                  <a:pt x="8189" y="1678"/>
                </a:lnTo>
                <a:lnTo>
                  <a:pt x="8140" y="1692"/>
                </a:lnTo>
                <a:lnTo>
                  <a:pt x="8096" y="1707"/>
                </a:lnTo>
                <a:lnTo>
                  <a:pt x="8050" y="1723"/>
                </a:lnTo>
                <a:lnTo>
                  <a:pt x="8004" y="1740"/>
                </a:lnTo>
                <a:lnTo>
                  <a:pt x="7957" y="1754"/>
                </a:lnTo>
                <a:lnTo>
                  <a:pt x="7906" y="1764"/>
                </a:lnTo>
                <a:lnTo>
                  <a:pt x="7905" y="1776"/>
                </a:lnTo>
                <a:lnTo>
                  <a:pt x="7907" y="1785"/>
                </a:lnTo>
                <a:lnTo>
                  <a:pt x="7912" y="1791"/>
                </a:lnTo>
                <a:lnTo>
                  <a:pt x="7919" y="1795"/>
                </a:lnTo>
                <a:lnTo>
                  <a:pt x="7925" y="1800"/>
                </a:lnTo>
                <a:lnTo>
                  <a:pt x="7930" y="1806"/>
                </a:lnTo>
                <a:lnTo>
                  <a:pt x="7933" y="1815"/>
                </a:lnTo>
                <a:lnTo>
                  <a:pt x="7931" y="1827"/>
                </a:lnTo>
                <a:lnTo>
                  <a:pt x="7908" y="1829"/>
                </a:lnTo>
                <a:lnTo>
                  <a:pt x="7891" y="1828"/>
                </a:lnTo>
                <a:lnTo>
                  <a:pt x="7875" y="1824"/>
                </a:lnTo>
                <a:lnTo>
                  <a:pt x="7866" y="1818"/>
                </a:lnTo>
                <a:lnTo>
                  <a:pt x="7861" y="1809"/>
                </a:lnTo>
                <a:lnTo>
                  <a:pt x="7863" y="1800"/>
                </a:lnTo>
                <a:lnTo>
                  <a:pt x="7868" y="1788"/>
                </a:lnTo>
                <a:lnTo>
                  <a:pt x="7880" y="1777"/>
                </a:lnTo>
                <a:lnTo>
                  <a:pt x="7807" y="1797"/>
                </a:lnTo>
                <a:lnTo>
                  <a:pt x="7728" y="1813"/>
                </a:lnTo>
                <a:lnTo>
                  <a:pt x="7646" y="1825"/>
                </a:lnTo>
                <a:lnTo>
                  <a:pt x="7565" y="1839"/>
                </a:lnTo>
                <a:lnTo>
                  <a:pt x="7487" y="1856"/>
                </a:lnTo>
                <a:lnTo>
                  <a:pt x="7416" y="1879"/>
                </a:lnTo>
                <a:lnTo>
                  <a:pt x="7352" y="1911"/>
                </a:lnTo>
                <a:lnTo>
                  <a:pt x="7301" y="1953"/>
                </a:lnTo>
                <a:lnTo>
                  <a:pt x="7300" y="1945"/>
                </a:lnTo>
                <a:lnTo>
                  <a:pt x="7295" y="1940"/>
                </a:lnTo>
                <a:lnTo>
                  <a:pt x="7287" y="1939"/>
                </a:lnTo>
                <a:lnTo>
                  <a:pt x="7277" y="1939"/>
                </a:lnTo>
                <a:lnTo>
                  <a:pt x="7267" y="1940"/>
                </a:lnTo>
                <a:lnTo>
                  <a:pt x="7255" y="1941"/>
                </a:lnTo>
                <a:lnTo>
                  <a:pt x="7245" y="1941"/>
                </a:lnTo>
                <a:lnTo>
                  <a:pt x="7237" y="1940"/>
                </a:lnTo>
                <a:lnTo>
                  <a:pt x="7235" y="1951"/>
                </a:lnTo>
                <a:lnTo>
                  <a:pt x="7236" y="1962"/>
                </a:lnTo>
                <a:lnTo>
                  <a:pt x="7240" y="1972"/>
                </a:lnTo>
                <a:lnTo>
                  <a:pt x="7245" y="1979"/>
                </a:lnTo>
                <a:lnTo>
                  <a:pt x="7250" y="1987"/>
                </a:lnTo>
                <a:lnTo>
                  <a:pt x="7251" y="1993"/>
                </a:lnTo>
                <a:lnTo>
                  <a:pt x="7247" y="1998"/>
                </a:lnTo>
                <a:lnTo>
                  <a:pt x="7237" y="2004"/>
                </a:lnTo>
                <a:lnTo>
                  <a:pt x="7226" y="2001"/>
                </a:lnTo>
                <a:lnTo>
                  <a:pt x="7218" y="1995"/>
                </a:lnTo>
                <a:lnTo>
                  <a:pt x="7212" y="1986"/>
                </a:lnTo>
                <a:lnTo>
                  <a:pt x="7208" y="1977"/>
                </a:lnTo>
                <a:lnTo>
                  <a:pt x="7203" y="1967"/>
                </a:lnTo>
                <a:lnTo>
                  <a:pt x="7197" y="1959"/>
                </a:lnTo>
                <a:lnTo>
                  <a:pt x="7188" y="1954"/>
                </a:lnTo>
                <a:lnTo>
                  <a:pt x="7175" y="1953"/>
                </a:lnTo>
                <a:lnTo>
                  <a:pt x="7096" y="1962"/>
                </a:lnTo>
                <a:lnTo>
                  <a:pt x="7027" y="1976"/>
                </a:lnTo>
                <a:lnTo>
                  <a:pt x="6963" y="1992"/>
                </a:lnTo>
                <a:lnTo>
                  <a:pt x="6904" y="2012"/>
                </a:lnTo>
                <a:lnTo>
                  <a:pt x="6845" y="2033"/>
                </a:lnTo>
                <a:lnTo>
                  <a:pt x="6786" y="2052"/>
                </a:lnTo>
                <a:lnTo>
                  <a:pt x="6724" y="2067"/>
                </a:lnTo>
                <a:lnTo>
                  <a:pt x="6658" y="2079"/>
                </a:lnTo>
                <a:lnTo>
                  <a:pt x="6657" y="2090"/>
                </a:lnTo>
                <a:lnTo>
                  <a:pt x="6657" y="2103"/>
                </a:lnTo>
                <a:lnTo>
                  <a:pt x="6655" y="2108"/>
                </a:lnTo>
                <a:lnTo>
                  <a:pt x="6653" y="2112"/>
                </a:lnTo>
                <a:lnTo>
                  <a:pt x="6650" y="2116"/>
                </a:lnTo>
                <a:lnTo>
                  <a:pt x="6645" y="2117"/>
                </a:lnTo>
                <a:lnTo>
                  <a:pt x="6630" y="2121"/>
                </a:lnTo>
                <a:lnTo>
                  <a:pt x="6621" y="2119"/>
                </a:lnTo>
                <a:lnTo>
                  <a:pt x="6615" y="2114"/>
                </a:lnTo>
                <a:lnTo>
                  <a:pt x="6609" y="2108"/>
                </a:lnTo>
                <a:lnTo>
                  <a:pt x="6606" y="2100"/>
                </a:lnTo>
                <a:lnTo>
                  <a:pt x="6602" y="2094"/>
                </a:lnTo>
                <a:lnTo>
                  <a:pt x="6594" y="2090"/>
                </a:lnTo>
                <a:lnTo>
                  <a:pt x="6581" y="2091"/>
                </a:lnTo>
                <a:lnTo>
                  <a:pt x="6460" y="2128"/>
                </a:lnTo>
                <a:lnTo>
                  <a:pt x="6332" y="2165"/>
                </a:lnTo>
                <a:lnTo>
                  <a:pt x="6199" y="2202"/>
                </a:lnTo>
                <a:lnTo>
                  <a:pt x="6068" y="2239"/>
                </a:lnTo>
                <a:lnTo>
                  <a:pt x="5941" y="2276"/>
                </a:lnTo>
                <a:lnTo>
                  <a:pt x="5822" y="2314"/>
                </a:lnTo>
                <a:lnTo>
                  <a:pt x="5715" y="2354"/>
                </a:lnTo>
                <a:lnTo>
                  <a:pt x="5624" y="2394"/>
                </a:lnTo>
                <a:lnTo>
                  <a:pt x="5635" y="2401"/>
                </a:lnTo>
                <a:lnTo>
                  <a:pt x="5648" y="2402"/>
                </a:lnTo>
                <a:lnTo>
                  <a:pt x="5661" y="2402"/>
                </a:lnTo>
                <a:lnTo>
                  <a:pt x="5675" y="2401"/>
                </a:lnTo>
                <a:lnTo>
                  <a:pt x="5687" y="2399"/>
                </a:lnTo>
                <a:lnTo>
                  <a:pt x="5701" y="2402"/>
                </a:lnTo>
                <a:lnTo>
                  <a:pt x="5713" y="2407"/>
                </a:lnTo>
                <a:lnTo>
                  <a:pt x="5724" y="2419"/>
                </a:lnTo>
                <a:lnTo>
                  <a:pt x="5698" y="2452"/>
                </a:lnTo>
                <a:lnTo>
                  <a:pt x="5666" y="2483"/>
                </a:lnTo>
                <a:lnTo>
                  <a:pt x="5630" y="2514"/>
                </a:lnTo>
                <a:lnTo>
                  <a:pt x="5592" y="2542"/>
                </a:lnTo>
                <a:lnTo>
                  <a:pt x="5551" y="2566"/>
                </a:lnTo>
                <a:lnTo>
                  <a:pt x="5509" y="2583"/>
                </a:lnTo>
                <a:lnTo>
                  <a:pt x="5466" y="2594"/>
                </a:lnTo>
                <a:lnTo>
                  <a:pt x="5421" y="2595"/>
                </a:lnTo>
                <a:lnTo>
                  <a:pt x="5453" y="2587"/>
                </a:lnTo>
                <a:lnTo>
                  <a:pt x="5486" y="2578"/>
                </a:lnTo>
                <a:lnTo>
                  <a:pt x="5502" y="2573"/>
                </a:lnTo>
                <a:lnTo>
                  <a:pt x="5516" y="2566"/>
                </a:lnTo>
                <a:lnTo>
                  <a:pt x="5527" y="2557"/>
                </a:lnTo>
                <a:lnTo>
                  <a:pt x="5536" y="2545"/>
                </a:lnTo>
                <a:lnTo>
                  <a:pt x="5489" y="2543"/>
                </a:lnTo>
                <a:lnTo>
                  <a:pt x="5452" y="2551"/>
                </a:lnTo>
                <a:lnTo>
                  <a:pt x="5421" y="2565"/>
                </a:lnTo>
                <a:lnTo>
                  <a:pt x="5396" y="2581"/>
                </a:lnTo>
                <a:lnTo>
                  <a:pt x="5374" y="2597"/>
                </a:lnTo>
                <a:lnTo>
                  <a:pt x="5353" y="2607"/>
                </a:lnTo>
                <a:lnTo>
                  <a:pt x="5332" y="2607"/>
                </a:lnTo>
                <a:lnTo>
                  <a:pt x="5308" y="2595"/>
                </a:lnTo>
                <a:lnTo>
                  <a:pt x="5300" y="2606"/>
                </a:lnTo>
                <a:lnTo>
                  <a:pt x="5298" y="2612"/>
                </a:lnTo>
                <a:lnTo>
                  <a:pt x="5300" y="2618"/>
                </a:lnTo>
                <a:lnTo>
                  <a:pt x="5305" y="2623"/>
                </a:lnTo>
                <a:lnTo>
                  <a:pt x="5312" y="2629"/>
                </a:lnTo>
                <a:lnTo>
                  <a:pt x="5317" y="2636"/>
                </a:lnTo>
                <a:lnTo>
                  <a:pt x="5321" y="2646"/>
                </a:lnTo>
                <a:lnTo>
                  <a:pt x="5321" y="2659"/>
                </a:lnTo>
                <a:lnTo>
                  <a:pt x="5300" y="2662"/>
                </a:lnTo>
                <a:lnTo>
                  <a:pt x="5279" y="2664"/>
                </a:lnTo>
                <a:lnTo>
                  <a:pt x="5257" y="2667"/>
                </a:lnTo>
                <a:lnTo>
                  <a:pt x="5235" y="2668"/>
                </a:lnTo>
                <a:lnTo>
                  <a:pt x="5216" y="2668"/>
                </a:lnTo>
                <a:lnTo>
                  <a:pt x="5200" y="2664"/>
                </a:lnTo>
                <a:lnTo>
                  <a:pt x="5188" y="2657"/>
                </a:lnTo>
                <a:lnTo>
                  <a:pt x="5182" y="2646"/>
                </a:lnTo>
                <a:lnTo>
                  <a:pt x="5125" y="2687"/>
                </a:lnTo>
                <a:lnTo>
                  <a:pt x="5058" y="2715"/>
                </a:lnTo>
                <a:lnTo>
                  <a:pt x="4987" y="2735"/>
                </a:lnTo>
                <a:lnTo>
                  <a:pt x="4913" y="2752"/>
                </a:lnTo>
                <a:lnTo>
                  <a:pt x="4839" y="2769"/>
                </a:lnTo>
                <a:lnTo>
                  <a:pt x="4768" y="2790"/>
                </a:lnTo>
                <a:lnTo>
                  <a:pt x="4700" y="2818"/>
                </a:lnTo>
                <a:lnTo>
                  <a:pt x="4641" y="2860"/>
                </a:lnTo>
                <a:lnTo>
                  <a:pt x="4632" y="2860"/>
                </a:lnTo>
                <a:lnTo>
                  <a:pt x="4625" y="2859"/>
                </a:lnTo>
                <a:lnTo>
                  <a:pt x="4619" y="2858"/>
                </a:lnTo>
                <a:lnTo>
                  <a:pt x="4614" y="2854"/>
                </a:lnTo>
                <a:lnTo>
                  <a:pt x="4609" y="2851"/>
                </a:lnTo>
                <a:lnTo>
                  <a:pt x="4604" y="2849"/>
                </a:lnTo>
                <a:lnTo>
                  <a:pt x="4597" y="2847"/>
                </a:lnTo>
                <a:lnTo>
                  <a:pt x="4590" y="2847"/>
                </a:lnTo>
                <a:lnTo>
                  <a:pt x="4597" y="2870"/>
                </a:lnTo>
                <a:lnTo>
                  <a:pt x="4610" y="2881"/>
                </a:lnTo>
                <a:lnTo>
                  <a:pt x="4628" y="2881"/>
                </a:lnTo>
                <a:lnTo>
                  <a:pt x="4648" y="2874"/>
                </a:lnTo>
                <a:lnTo>
                  <a:pt x="4672" y="2865"/>
                </a:lnTo>
                <a:lnTo>
                  <a:pt x="4698" y="2858"/>
                </a:lnTo>
                <a:lnTo>
                  <a:pt x="4726" y="2855"/>
                </a:lnTo>
                <a:lnTo>
                  <a:pt x="4754" y="2860"/>
                </a:lnTo>
                <a:lnTo>
                  <a:pt x="4785" y="2844"/>
                </a:lnTo>
                <a:lnTo>
                  <a:pt x="4819" y="2828"/>
                </a:lnTo>
                <a:lnTo>
                  <a:pt x="4857" y="2813"/>
                </a:lnTo>
                <a:lnTo>
                  <a:pt x="4898" y="2799"/>
                </a:lnTo>
                <a:lnTo>
                  <a:pt x="4937" y="2788"/>
                </a:lnTo>
                <a:lnTo>
                  <a:pt x="4977" y="2780"/>
                </a:lnTo>
                <a:lnTo>
                  <a:pt x="5012" y="2774"/>
                </a:lnTo>
                <a:lnTo>
                  <a:pt x="5043" y="2772"/>
                </a:lnTo>
                <a:lnTo>
                  <a:pt x="4995" y="2800"/>
                </a:lnTo>
                <a:lnTo>
                  <a:pt x="4942" y="2822"/>
                </a:lnTo>
                <a:lnTo>
                  <a:pt x="4886" y="2837"/>
                </a:lnTo>
                <a:lnTo>
                  <a:pt x="4830" y="2851"/>
                </a:lnTo>
                <a:lnTo>
                  <a:pt x="4776" y="2865"/>
                </a:lnTo>
                <a:lnTo>
                  <a:pt x="4725" y="2882"/>
                </a:lnTo>
                <a:lnTo>
                  <a:pt x="4679" y="2905"/>
                </a:lnTo>
                <a:lnTo>
                  <a:pt x="4641" y="2935"/>
                </a:lnTo>
                <a:lnTo>
                  <a:pt x="4550" y="2949"/>
                </a:lnTo>
                <a:lnTo>
                  <a:pt x="4462" y="2968"/>
                </a:lnTo>
                <a:lnTo>
                  <a:pt x="4376" y="2993"/>
                </a:lnTo>
                <a:lnTo>
                  <a:pt x="4290" y="3021"/>
                </a:lnTo>
                <a:lnTo>
                  <a:pt x="4208" y="3050"/>
                </a:lnTo>
                <a:lnTo>
                  <a:pt x="4125" y="3078"/>
                </a:lnTo>
                <a:lnTo>
                  <a:pt x="4042" y="3103"/>
                </a:lnTo>
                <a:lnTo>
                  <a:pt x="3959" y="3125"/>
                </a:lnTo>
                <a:lnTo>
                  <a:pt x="3975" y="3125"/>
                </a:lnTo>
                <a:lnTo>
                  <a:pt x="3987" y="3128"/>
                </a:lnTo>
                <a:lnTo>
                  <a:pt x="3992" y="3130"/>
                </a:lnTo>
                <a:lnTo>
                  <a:pt x="3996" y="3135"/>
                </a:lnTo>
                <a:lnTo>
                  <a:pt x="3998" y="3142"/>
                </a:lnTo>
                <a:lnTo>
                  <a:pt x="3998" y="3150"/>
                </a:lnTo>
                <a:lnTo>
                  <a:pt x="3944" y="3166"/>
                </a:lnTo>
                <a:lnTo>
                  <a:pt x="3883" y="3178"/>
                </a:lnTo>
                <a:lnTo>
                  <a:pt x="3819" y="3190"/>
                </a:lnTo>
                <a:lnTo>
                  <a:pt x="3756" y="3201"/>
                </a:lnTo>
                <a:lnTo>
                  <a:pt x="3697" y="3217"/>
                </a:lnTo>
                <a:lnTo>
                  <a:pt x="3649" y="3237"/>
                </a:lnTo>
                <a:lnTo>
                  <a:pt x="3613" y="3264"/>
                </a:lnTo>
                <a:lnTo>
                  <a:pt x="3594" y="3302"/>
                </a:lnTo>
                <a:lnTo>
                  <a:pt x="3530" y="3332"/>
                </a:lnTo>
                <a:lnTo>
                  <a:pt x="3465" y="3353"/>
                </a:lnTo>
                <a:lnTo>
                  <a:pt x="3398" y="3364"/>
                </a:lnTo>
                <a:lnTo>
                  <a:pt x="3329" y="3372"/>
                </a:lnTo>
                <a:lnTo>
                  <a:pt x="3260" y="3377"/>
                </a:lnTo>
                <a:lnTo>
                  <a:pt x="3193" y="3383"/>
                </a:lnTo>
                <a:lnTo>
                  <a:pt x="3126" y="3395"/>
                </a:lnTo>
                <a:lnTo>
                  <a:pt x="3064" y="3415"/>
                </a:lnTo>
                <a:lnTo>
                  <a:pt x="3064" y="3425"/>
                </a:lnTo>
                <a:lnTo>
                  <a:pt x="3067" y="3433"/>
                </a:lnTo>
                <a:lnTo>
                  <a:pt x="3069" y="3439"/>
                </a:lnTo>
                <a:lnTo>
                  <a:pt x="3072" y="3443"/>
                </a:lnTo>
                <a:lnTo>
                  <a:pt x="3073" y="3447"/>
                </a:lnTo>
                <a:lnTo>
                  <a:pt x="3073" y="3452"/>
                </a:lnTo>
                <a:lnTo>
                  <a:pt x="3070" y="3457"/>
                </a:lnTo>
                <a:lnTo>
                  <a:pt x="3064" y="3465"/>
                </a:lnTo>
                <a:lnTo>
                  <a:pt x="3041" y="3469"/>
                </a:lnTo>
                <a:lnTo>
                  <a:pt x="3022" y="3474"/>
                </a:lnTo>
                <a:lnTo>
                  <a:pt x="3004" y="3480"/>
                </a:lnTo>
                <a:lnTo>
                  <a:pt x="2988" y="3489"/>
                </a:lnTo>
                <a:lnTo>
                  <a:pt x="2956" y="3508"/>
                </a:lnTo>
                <a:lnTo>
                  <a:pt x="2925" y="3528"/>
                </a:lnTo>
                <a:lnTo>
                  <a:pt x="2868" y="3512"/>
                </a:lnTo>
                <a:lnTo>
                  <a:pt x="2803" y="3508"/>
                </a:lnTo>
                <a:lnTo>
                  <a:pt x="2734" y="3514"/>
                </a:lnTo>
                <a:lnTo>
                  <a:pt x="2663" y="3530"/>
                </a:lnTo>
                <a:lnTo>
                  <a:pt x="2595" y="3554"/>
                </a:lnTo>
                <a:lnTo>
                  <a:pt x="2532" y="3583"/>
                </a:lnTo>
                <a:lnTo>
                  <a:pt x="2477" y="3618"/>
                </a:lnTo>
                <a:lnTo>
                  <a:pt x="2434" y="3655"/>
                </a:lnTo>
                <a:lnTo>
                  <a:pt x="2434" y="3644"/>
                </a:lnTo>
                <a:lnTo>
                  <a:pt x="2432" y="3637"/>
                </a:lnTo>
                <a:lnTo>
                  <a:pt x="2430" y="3629"/>
                </a:lnTo>
                <a:lnTo>
                  <a:pt x="2426" y="3624"/>
                </a:lnTo>
                <a:lnTo>
                  <a:pt x="2421" y="3620"/>
                </a:lnTo>
                <a:lnTo>
                  <a:pt x="2413" y="3618"/>
                </a:lnTo>
                <a:lnTo>
                  <a:pt x="2406" y="3616"/>
                </a:lnTo>
                <a:lnTo>
                  <a:pt x="2395" y="3616"/>
                </a:lnTo>
                <a:lnTo>
                  <a:pt x="2352" y="3628"/>
                </a:lnTo>
                <a:lnTo>
                  <a:pt x="2309" y="3638"/>
                </a:lnTo>
                <a:lnTo>
                  <a:pt x="2269" y="3649"/>
                </a:lnTo>
                <a:lnTo>
                  <a:pt x="2232" y="3662"/>
                </a:lnTo>
                <a:lnTo>
                  <a:pt x="2199" y="3680"/>
                </a:lnTo>
                <a:lnTo>
                  <a:pt x="2171" y="3704"/>
                </a:lnTo>
                <a:lnTo>
                  <a:pt x="2148" y="3736"/>
                </a:lnTo>
                <a:lnTo>
                  <a:pt x="2131" y="3781"/>
                </a:lnTo>
                <a:lnTo>
                  <a:pt x="2150" y="3784"/>
                </a:lnTo>
                <a:lnTo>
                  <a:pt x="2162" y="3789"/>
                </a:lnTo>
                <a:lnTo>
                  <a:pt x="2169" y="3796"/>
                </a:lnTo>
                <a:lnTo>
                  <a:pt x="2171" y="3805"/>
                </a:lnTo>
                <a:lnTo>
                  <a:pt x="2173" y="3815"/>
                </a:lnTo>
                <a:lnTo>
                  <a:pt x="2173" y="3828"/>
                </a:lnTo>
                <a:lnTo>
                  <a:pt x="2175" y="3840"/>
                </a:lnTo>
                <a:lnTo>
                  <a:pt x="2182" y="3856"/>
                </a:lnTo>
                <a:lnTo>
                  <a:pt x="2190" y="3856"/>
                </a:lnTo>
                <a:lnTo>
                  <a:pt x="2201" y="3852"/>
                </a:lnTo>
                <a:lnTo>
                  <a:pt x="2212" y="3848"/>
                </a:lnTo>
                <a:lnTo>
                  <a:pt x="2222" y="3844"/>
                </a:lnTo>
                <a:lnTo>
                  <a:pt x="2234" y="3842"/>
                </a:lnTo>
                <a:lnTo>
                  <a:pt x="2243" y="3842"/>
                </a:lnTo>
                <a:lnTo>
                  <a:pt x="2252" y="3845"/>
                </a:lnTo>
                <a:lnTo>
                  <a:pt x="2257" y="3856"/>
                </a:lnTo>
                <a:lnTo>
                  <a:pt x="2241" y="3865"/>
                </a:lnTo>
                <a:lnTo>
                  <a:pt x="2225" y="3877"/>
                </a:lnTo>
                <a:lnTo>
                  <a:pt x="2208" y="3894"/>
                </a:lnTo>
                <a:lnTo>
                  <a:pt x="2194" y="3910"/>
                </a:lnTo>
                <a:lnTo>
                  <a:pt x="2185" y="3929"/>
                </a:lnTo>
                <a:lnTo>
                  <a:pt x="2183" y="3947"/>
                </a:lnTo>
                <a:lnTo>
                  <a:pt x="2189" y="3965"/>
                </a:lnTo>
                <a:lnTo>
                  <a:pt x="2207" y="3982"/>
                </a:lnTo>
                <a:lnTo>
                  <a:pt x="2185" y="3991"/>
                </a:lnTo>
                <a:lnTo>
                  <a:pt x="2165" y="4001"/>
                </a:lnTo>
                <a:lnTo>
                  <a:pt x="2145" y="4010"/>
                </a:lnTo>
                <a:lnTo>
                  <a:pt x="2125" y="4021"/>
                </a:lnTo>
                <a:lnTo>
                  <a:pt x="2109" y="4034"/>
                </a:lnTo>
                <a:lnTo>
                  <a:pt x="2092" y="4048"/>
                </a:lnTo>
                <a:lnTo>
                  <a:pt x="2078" y="4064"/>
                </a:lnTo>
                <a:lnTo>
                  <a:pt x="2068" y="4082"/>
                </a:lnTo>
                <a:lnTo>
                  <a:pt x="2104" y="4077"/>
                </a:lnTo>
                <a:lnTo>
                  <a:pt x="2146" y="4069"/>
                </a:lnTo>
                <a:lnTo>
                  <a:pt x="2167" y="4068"/>
                </a:lnTo>
                <a:lnTo>
                  <a:pt x="2187" y="4068"/>
                </a:lnTo>
                <a:lnTo>
                  <a:pt x="2204" y="4073"/>
                </a:lnTo>
                <a:lnTo>
                  <a:pt x="2220" y="4082"/>
                </a:lnTo>
                <a:lnTo>
                  <a:pt x="2185" y="4118"/>
                </a:lnTo>
                <a:lnTo>
                  <a:pt x="2151" y="4151"/>
                </a:lnTo>
                <a:lnTo>
                  <a:pt x="2134" y="4170"/>
                </a:lnTo>
                <a:lnTo>
                  <a:pt x="2119" y="4192"/>
                </a:lnTo>
                <a:lnTo>
                  <a:pt x="2105" y="4216"/>
                </a:lnTo>
                <a:lnTo>
                  <a:pt x="2094" y="4246"/>
                </a:lnTo>
                <a:lnTo>
                  <a:pt x="2106" y="4249"/>
                </a:lnTo>
                <a:lnTo>
                  <a:pt x="2117" y="4248"/>
                </a:lnTo>
                <a:lnTo>
                  <a:pt x="2124" y="4245"/>
                </a:lnTo>
                <a:lnTo>
                  <a:pt x="2131" y="4240"/>
                </a:lnTo>
                <a:lnTo>
                  <a:pt x="2136" y="4235"/>
                </a:lnTo>
                <a:lnTo>
                  <a:pt x="2142" y="4229"/>
                </a:lnTo>
                <a:lnTo>
                  <a:pt x="2148" y="4225"/>
                </a:lnTo>
                <a:lnTo>
                  <a:pt x="2156" y="4221"/>
                </a:lnTo>
                <a:lnTo>
                  <a:pt x="2155" y="4232"/>
                </a:lnTo>
                <a:lnTo>
                  <a:pt x="2156" y="4240"/>
                </a:lnTo>
                <a:lnTo>
                  <a:pt x="2160" y="4246"/>
                </a:lnTo>
                <a:lnTo>
                  <a:pt x="2165" y="4250"/>
                </a:lnTo>
                <a:lnTo>
                  <a:pt x="2171" y="4254"/>
                </a:lnTo>
                <a:lnTo>
                  <a:pt x="2176" y="4258"/>
                </a:lnTo>
                <a:lnTo>
                  <a:pt x="2180" y="4264"/>
                </a:lnTo>
                <a:lnTo>
                  <a:pt x="2182" y="4272"/>
                </a:lnTo>
                <a:lnTo>
                  <a:pt x="2156" y="4277"/>
                </a:lnTo>
                <a:lnTo>
                  <a:pt x="2137" y="4291"/>
                </a:lnTo>
                <a:lnTo>
                  <a:pt x="2122" y="4311"/>
                </a:lnTo>
                <a:lnTo>
                  <a:pt x="2110" y="4336"/>
                </a:lnTo>
                <a:lnTo>
                  <a:pt x="2099" y="4360"/>
                </a:lnTo>
                <a:lnTo>
                  <a:pt x="2090" y="4380"/>
                </a:lnTo>
                <a:lnTo>
                  <a:pt x="2080" y="4394"/>
                </a:lnTo>
                <a:lnTo>
                  <a:pt x="2068" y="4398"/>
                </a:lnTo>
                <a:lnTo>
                  <a:pt x="2085" y="4395"/>
                </a:lnTo>
                <a:lnTo>
                  <a:pt x="2099" y="4390"/>
                </a:lnTo>
                <a:lnTo>
                  <a:pt x="2110" y="4384"/>
                </a:lnTo>
                <a:lnTo>
                  <a:pt x="2122" y="4376"/>
                </a:lnTo>
                <a:lnTo>
                  <a:pt x="2134" y="4370"/>
                </a:lnTo>
                <a:lnTo>
                  <a:pt x="2147" y="4364"/>
                </a:lnTo>
                <a:lnTo>
                  <a:pt x="2162" y="4360"/>
                </a:lnTo>
                <a:lnTo>
                  <a:pt x="2182" y="4360"/>
                </a:lnTo>
                <a:lnTo>
                  <a:pt x="2178" y="4369"/>
                </a:lnTo>
                <a:lnTo>
                  <a:pt x="2173" y="4375"/>
                </a:lnTo>
                <a:lnTo>
                  <a:pt x="2167" y="4380"/>
                </a:lnTo>
                <a:lnTo>
                  <a:pt x="2162" y="4385"/>
                </a:lnTo>
                <a:lnTo>
                  <a:pt x="2160" y="4390"/>
                </a:lnTo>
                <a:lnTo>
                  <a:pt x="2159" y="4395"/>
                </a:lnTo>
                <a:lnTo>
                  <a:pt x="2161" y="4402"/>
                </a:lnTo>
                <a:lnTo>
                  <a:pt x="2169" y="4411"/>
                </a:lnTo>
                <a:lnTo>
                  <a:pt x="2180" y="4407"/>
                </a:lnTo>
                <a:lnTo>
                  <a:pt x="2192" y="4404"/>
                </a:lnTo>
                <a:lnTo>
                  <a:pt x="2203" y="4402"/>
                </a:lnTo>
                <a:lnTo>
                  <a:pt x="2212" y="4400"/>
                </a:lnTo>
                <a:lnTo>
                  <a:pt x="2221" y="4403"/>
                </a:lnTo>
                <a:lnTo>
                  <a:pt x="2227" y="4409"/>
                </a:lnTo>
                <a:lnTo>
                  <a:pt x="2231" y="4420"/>
                </a:lnTo>
                <a:lnTo>
                  <a:pt x="2231" y="4436"/>
                </a:lnTo>
                <a:lnTo>
                  <a:pt x="2201" y="4445"/>
                </a:lnTo>
                <a:lnTo>
                  <a:pt x="2169" y="4454"/>
                </a:lnTo>
                <a:lnTo>
                  <a:pt x="2136" y="4463"/>
                </a:lnTo>
                <a:lnTo>
                  <a:pt x="2104" y="4472"/>
                </a:lnTo>
                <a:lnTo>
                  <a:pt x="2073" y="4482"/>
                </a:lnTo>
                <a:lnTo>
                  <a:pt x="2044" y="4493"/>
                </a:lnTo>
                <a:lnTo>
                  <a:pt x="2017" y="4507"/>
                </a:lnTo>
                <a:lnTo>
                  <a:pt x="1992" y="4524"/>
                </a:lnTo>
                <a:lnTo>
                  <a:pt x="1940" y="4548"/>
                </a:lnTo>
                <a:lnTo>
                  <a:pt x="1884" y="4570"/>
                </a:lnTo>
                <a:lnTo>
                  <a:pt x="1824" y="4588"/>
                </a:lnTo>
                <a:lnTo>
                  <a:pt x="1764" y="4604"/>
                </a:lnTo>
                <a:lnTo>
                  <a:pt x="1704" y="4622"/>
                </a:lnTo>
                <a:lnTo>
                  <a:pt x="1648" y="4644"/>
                </a:lnTo>
                <a:lnTo>
                  <a:pt x="1596" y="4669"/>
                </a:lnTo>
                <a:lnTo>
                  <a:pt x="1551" y="4701"/>
                </a:lnTo>
                <a:lnTo>
                  <a:pt x="1524" y="4712"/>
                </a:lnTo>
                <a:lnTo>
                  <a:pt x="1496" y="4721"/>
                </a:lnTo>
                <a:lnTo>
                  <a:pt x="1467" y="4730"/>
                </a:lnTo>
                <a:lnTo>
                  <a:pt x="1439" y="4740"/>
                </a:lnTo>
                <a:lnTo>
                  <a:pt x="1414" y="4752"/>
                </a:lnTo>
                <a:lnTo>
                  <a:pt x="1391" y="4767"/>
                </a:lnTo>
                <a:lnTo>
                  <a:pt x="1373" y="4787"/>
                </a:lnTo>
                <a:lnTo>
                  <a:pt x="1361" y="4814"/>
                </a:lnTo>
                <a:lnTo>
                  <a:pt x="1461" y="4778"/>
                </a:lnTo>
                <a:lnTo>
                  <a:pt x="1564" y="4736"/>
                </a:lnTo>
                <a:lnTo>
                  <a:pt x="1670" y="4691"/>
                </a:lnTo>
                <a:lnTo>
                  <a:pt x="1778" y="4642"/>
                </a:lnTo>
                <a:lnTo>
                  <a:pt x="1887" y="4598"/>
                </a:lnTo>
                <a:lnTo>
                  <a:pt x="2001" y="4558"/>
                </a:lnTo>
                <a:lnTo>
                  <a:pt x="2115" y="4528"/>
                </a:lnTo>
                <a:lnTo>
                  <a:pt x="2231" y="4511"/>
                </a:lnTo>
                <a:lnTo>
                  <a:pt x="2243" y="4492"/>
                </a:lnTo>
                <a:lnTo>
                  <a:pt x="2260" y="4477"/>
                </a:lnTo>
                <a:lnTo>
                  <a:pt x="2281" y="4465"/>
                </a:lnTo>
                <a:lnTo>
                  <a:pt x="2305" y="4458"/>
                </a:lnTo>
                <a:lnTo>
                  <a:pt x="2329" y="4454"/>
                </a:lnTo>
                <a:lnTo>
                  <a:pt x="2353" y="4456"/>
                </a:lnTo>
                <a:lnTo>
                  <a:pt x="2376" y="4463"/>
                </a:lnTo>
                <a:lnTo>
                  <a:pt x="2395" y="4473"/>
                </a:lnTo>
                <a:lnTo>
                  <a:pt x="2381" y="4473"/>
                </a:lnTo>
                <a:lnTo>
                  <a:pt x="2371" y="4474"/>
                </a:lnTo>
                <a:lnTo>
                  <a:pt x="2361" y="4477"/>
                </a:lnTo>
                <a:lnTo>
                  <a:pt x="2353" y="4482"/>
                </a:lnTo>
                <a:lnTo>
                  <a:pt x="2347" y="4488"/>
                </a:lnTo>
                <a:lnTo>
                  <a:pt x="2342" y="4495"/>
                </a:lnTo>
                <a:lnTo>
                  <a:pt x="2337" y="4504"/>
                </a:lnTo>
                <a:lnTo>
                  <a:pt x="2333" y="4511"/>
                </a:lnTo>
                <a:lnTo>
                  <a:pt x="2364" y="4504"/>
                </a:lnTo>
                <a:lnTo>
                  <a:pt x="2390" y="4501"/>
                </a:lnTo>
                <a:lnTo>
                  <a:pt x="2416" y="4501"/>
                </a:lnTo>
                <a:lnTo>
                  <a:pt x="2441" y="4505"/>
                </a:lnTo>
                <a:lnTo>
                  <a:pt x="2465" y="4510"/>
                </a:lnTo>
                <a:lnTo>
                  <a:pt x="2490" y="4516"/>
                </a:lnTo>
                <a:lnTo>
                  <a:pt x="2518" y="4520"/>
                </a:lnTo>
                <a:lnTo>
                  <a:pt x="2547" y="4524"/>
                </a:lnTo>
                <a:lnTo>
                  <a:pt x="2579" y="4482"/>
                </a:lnTo>
                <a:lnTo>
                  <a:pt x="2622" y="4450"/>
                </a:lnTo>
                <a:lnTo>
                  <a:pt x="2673" y="4428"/>
                </a:lnTo>
                <a:lnTo>
                  <a:pt x="2732" y="4412"/>
                </a:lnTo>
                <a:lnTo>
                  <a:pt x="2793" y="4400"/>
                </a:lnTo>
                <a:lnTo>
                  <a:pt x="2856" y="4389"/>
                </a:lnTo>
                <a:lnTo>
                  <a:pt x="2918" y="4376"/>
                </a:lnTo>
                <a:lnTo>
                  <a:pt x="2976" y="4360"/>
                </a:lnTo>
                <a:lnTo>
                  <a:pt x="2976" y="4352"/>
                </a:lnTo>
                <a:lnTo>
                  <a:pt x="2975" y="4346"/>
                </a:lnTo>
                <a:lnTo>
                  <a:pt x="2972" y="4339"/>
                </a:lnTo>
                <a:lnTo>
                  <a:pt x="2971" y="4336"/>
                </a:lnTo>
                <a:lnTo>
                  <a:pt x="2969" y="4330"/>
                </a:lnTo>
                <a:lnTo>
                  <a:pt x="2969" y="4328"/>
                </a:lnTo>
                <a:lnTo>
                  <a:pt x="2971" y="4324"/>
                </a:lnTo>
                <a:lnTo>
                  <a:pt x="2976" y="4323"/>
                </a:lnTo>
                <a:lnTo>
                  <a:pt x="3084" y="4300"/>
                </a:lnTo>
                <a:lnTo>
                  <a:pt x="3191" y="4269"/>
                </a:lnTo>
                <a:lnTo>
                  <a:pt x="3296" y="4235"/>
                </a:lnTo>
                <a:lnTo>
                  <a:pt x="3399" y="4201"/>
                </a:lnTo>
                <a:lnTo>
                  <a:pt x="3503" y="4167"/>
                </a:lnTo>
                <a:lnTo>
                  <a:pt x="3609" y="4142"/>
                </a:lnTo>
                <a:lnTo>
                  <a:pt x="3719" y="4124"/>
                </a:lnTo>
                <a:lnTo>
                  <a:pt x="3833" y="4120"/>
                </a:lnTo>
                <a:lnTo>
                  <a:pt x="3770" y="4127"/>
                </a:lnTo>
                <a:lnTo>
                  <a:pt x="3710" y="4143"/>
                </a:lnTo>
                <a:lnTo>
                  <a:pt x="3655" y="4167"/>
                </a:lnTo>
                <a:lnTo>
                  <a:pt x="3604" y="4198"/>
                </a:lnTo>
                <a:lnTo>
                  <a:pt x="3553" y="4232"/>
                </a:lnTo>
                <a:lnTo>
                  <a:pt x="3505" y="4268"/>
                </a:lnTo>
                <a:lnTo>
                  <a:pt x="3455" y="4302"/>
                </a:lnTo>
                <a:lnTo>
                  <a:pt x="3404" y="4334"/>
                </a:lnTo>
                <a:lnTo>
                  <a:pt x="3416" y="4319"/>
                </a:lnTo>
                <a:lnTo>
                  <a:pt x="3421" y="4305"/>
                </a:lnTo>
                <a:lnTo>
                  <a:pt x="3423" y="4291"/>
                </a:lnTo>
                <a:lnTo>
                  <a:pt x="3424" y="4277"/>
                </a:lnTo>
                <a:lnTo>
                  <a:pt x="3427" y="4266"/>
                </a:lnTo>
                <a:lnTo>
                  <a:pt x="3431" y="4254"/>
                </a:lnTo>
                <a:lnTo>
                  <a:pt x="3440" y="4243"/>
                </a:lnTo>
                <a:lnTo>
                  <a:pt x="3455" y="4234"/>
                </a:lnTo>
                <a:lnTo>
                  <a:pt x="3418" y="4253"/>
                </a:lnTo>
                <a:lnTo>
                  <a:pt x="3375" y="4269"/>
                </a:lnTo>
                <a:lnTo>
                  <a:pt x="3326" y="4285"/>
                </a:lnTo>
                <a:lnTo>
                  <a:pt x="3275" y="4300"/>
                </a:lnTo>
                <a:lnTo>
                  <a:pt x="3225" y="4315"/>
                </a:lnTo>
                <a:lnTo>
                  <a:pt x="3175" y="4332"/>
                </a:lnTo>
                <a:lnTo>
                  <a:pt x="3129" y="4351"/>
                </a:lnTo>
                <a:lnTo>
                  <a:pt x="3090" y="4372"/>
                </a:lnTo>
                <a:lnTo>
                  <a:pt x="3105" y="4374"/>
                </a:lnTo>
                <a:lnTo>
                  <a:pt x="3120" y="4374"/>
                </a:lnTo>
                <a:lnTo>
                  <a:pt x="3126" y="4374"/>
                </a:lnTo>
                <a:lnTo>
                  <a:pt x="3133" y="4376"/>
                </a:lnTo>
                <a:lnTo>
                  <a:pt x="3137" y="4380"/>
                </a:lnTo>
                <a:lnTo>
                  <a:pt x="3139" y="4385"/>
                </a:lnTo>
                <a:lnTo>
                  <a:pt x="3101" y="4386"/>
                </a:lnTo>
                <a:lnTo>
                  <a:pt x="3068" y="4393"/>
                </a:lnTo>
                <a:lnTo>
                  <a:pt x="3037" y="4400"/>
                </a:lnTo>
                <a:lnTo>
                  <a:pt x="3009" y="4409"/>
                </a:lnTo>
                <a:lnTo>
                  <a:pt x="2981" y="4417"/>
                </a:lnTo>
                <a:lnTo>
                  <a:pt x="2953" y="4423"/>
                </a:lnTo>
                <a:lnTo>
                  <a:pt x="2923" y="4426"/>
                </a:lnTo>
                <a:lnTo>
                  <a:pt x="2887" y="4423"/>
                </a:lnTo>
                <a:lnTo>
                  <a:pt x="2878" y="4445"/>
                </a:lnTo>
                <a:lnTo>
                  <a:pt x="2867" y="4465"/>
                </a:lnTo>
                <a:lnTo>
                  <a:pt x="2853" y="4482"/>
                </a:lnTo>
                <a:lnTo>
                  <a:pt x="2836" y="4497"/>
                </a:lnTo>
                <a:lnTo>
                  <a:pt x="2817" y="4510"/>
                </a:lnTo>
                <a:lnTo>
                  <a:pt x="2797" y="4520"/>
                </a:lnTo>
                <a:lnTo>
                  <a:pt x="2774" y="4529"/>
                </a:lnTo>
                <a:lnTo>
                  <a:pt x="2748" y="4537"/>
                </a:lnTo>
                <a:lnTo>
                  <a:pt x="2746" y="4548"/>
                </a:lnTo>
                <a:lnTo>
                  <a:pt x="2746" y="4560"/>
                </a:lnTo>
                <a:lnTo>
                  <a:pt x="2749" y="4570"/>
                </a:lnTo>
                <a:lnTo>
                  <a:pt x="2753" y="4579"/>
                </a:lnTo>
                <a:lnTo>
                  <a:pt x="2757" y="4588"/>
                </a:lnTo>
                <a:lnTo>
                  <a:pt x="2758" y="4593"/>
                </a:lnTo>
                <a:lnTo>
                  <a:pt x="2756" y="4598"/>
                </a:lnTo>
                <a:lnTo>
                  <a:pt x="2748" y="4599"/>
                </a:lnTo>
                <a:lnTo>
                  <a:pt x="2732" y="4596"/>
                </a:lnTo>
                <a:lnTo>
                  <a:pt x="2716" y="4596"/>
                </a:lnTo>
                <a:lnTo>
                  <a:pt x="2700" y="4599"/>
                </a:lnTo>
                <a:lnTo>
                  <a:pt x="2685" y="4603"/>
                </a:lnTo>
                <a:lnTo>
                  <a:pt x="2667" y="4605"/>
                </a:lnTo>
                <a:lnTo>
                  <a:pt x="2646" y="4607"/>
                </a:lnTo>
                <a:lnTo>
                  <a:pt x="2623" y="4605"/>
                </a:lnTo>
                <a:lnTo>
                  <a:pt x="2598" y="4599"/>
                </a:lnTo>
                <a:lnTo>
                  <a:pt x="2597" y="4591"/>
                </a:lnTo>
                <a:lnTo>
                  <a:pt x="2598" y="4585"/>
                </a:lnTo>
                <a:lnTo>
                  <a:pt x="2600" y="4579"/>
                </a:lnTo>
                <a:lnTo>
                  <a:pt x="2603" y="4574"/>
                </a:lnTo>
                <a:lnTo>
                  <a:pt x="2606" y="4568"/>
                </a:lnTo>
                <a:lnTo>
                  <a:pt x="2608" y="4563"/>
                </a:lnTo>
                <a:lnTo>
                  <a:pt x="2609" y="4557"/>
                </a:lnTo>
                <a:lnTo>
                  <a:pt x="2609" y="4549"/>
                </a:lnTo>
                <a:lnTo>
                  <a:pt x="2580" y="4558"/>
                </a:lnTo>
                <a:lnTo>
                  <a:pt x="2550" y="4567"/>
                </a:lnTo>
                <a:lnTo>
                  <a:pt x="2519" y="4576"/>
                </a:lnTo>
                <a:lnTo>
                  <a:pt x="2490" y="4586"/>
                </a:lnTo>
                <a:lnTo>
                  <a:pt x="2460" y="4596"/>
                </a:lnTo>
                <a:lnTo>
                  <a:pt x="2432" y="4608"/>
                </a:lnTo>
                <a:lnTo>
                  <a:pt x="2407" y="4622"/>
                </a:lnTo>
                <a:lnTo>
                  <a:pt x="2383" y="4637"/>
                </a:lnTo>
                <a:lnTo>
                  <a:pt x="2397" y="4642"/>
                </a:lnTo>
                <a:lnTo>
                  <a:pt x="2402" y="4649"/>
                </a:lnTo>
                <a:lnTo>
                  <a:pt x="2401" y="4658"/>
                </a:lnTo>
                <a:lnTo>
                  <a:pt x="2395" y="4666"/>
                </a:lnTo>
                <a:lnTo>
                  <a:pt x="2389" y="4678"/>
                </a:lnTo>
                <a:lnTo>
                  <a:pt x="2381" y="4689"/>
                </a:lnTo>
                <a:lnTo>
                  <a:pt x="2374" y="4701"/>
                </a:lnTo>
                <a:lnTo>
                  <a:pt x="2370" y="4712"/>
                </a:lnTo>
                <a:lnTo>
                  <a:pt x="2314" y="4740"/>
                </a:lnTo>
                <a:lnTo>
                  <a:pt x="2253" y="4762"/>
                </a:lnTo>
                <a:lnTo>
                  <a:pt x="2187" y="4780"/>
                </a:lnTo>
                <a:lnTo>
                  <a:pt x="2119" y="4796"/>
                </a:lnTo>
                <a:lnTo>
                  <a:pt x="2052" y="4812"/>
                </a:lnTo>
                <a:lnTo>
                  <a:pt x="1985" y="4829"/>
                </a:lnTo>
                <a:lnTo>
                  <a:pt x="1923" y="4850"/>
                </a:lnTo>
                <a:lnTo>
                  <a:pt x="1866" y="4877"/>
                </a:lnTo>
                <a:lnTo>
                  <a:pt x="1862" y="4898"/>
                </a:lnTo>
                <a:lnTo>
                  <a:pt x="1847" y="4913"/>
                </a:lnTo>
                <a:lnTo>
                  <a:pt x="1821" y="4925"/>
                </a:lnTo>
                <a:lnTo>
                  <a:pt x="1789" y="4933"/>
                </a:lnTo>
                <a:lnTo>
                  <a:pt x="1756" y="4938"/>
                </a:lnTo>
                <a:lnTo>
                  <a:pt x="1722" y="4940"/>
                </a:lnTo>
                <a:lnTo>
                  <a:pt x="1690" y="4940"/>
                </a:lnTo>
                <a:lnTo>
                  <a:pt x="1664" y="4940"/>
                </a:lnTo>
                <a:lnTo>
                  <a:pt x="1652" y="4975"/>
                </a:lnTo>
                <a:lnTo>
                  <a:pt x="1630" y="4997"/>
                </a:lnTo>
                <a:lnTo>
                  <a:pt x="1603" y="5011"/>
                </a:lnTo>
                <a:lnTo>
                  <a:pt x="1574" y="5020"/>
                </a:lnTo>
                <a:lnTo>
                  <a:pt x="1543" y="5028"/>
                </a:lnTo>
                <a:lnTo>
                  <a:pt x="1515" y="5038"/>
                </a:lnTo>
                <a:lnTo>
                  <a:pt x="1491" y="5053"/>
                </a:lnTo>
                <a:lnTo>
                  <a:pt x="1475" y="5079"/>
                </a:lnTo>
                <a:lnTo>
                  <a:pt x="1510" y="5073"/>
                </a:lnTo>
                <a:lnTo>
                  <a:pt x="1545" y="5066"/>
                </a:lnTo>
                <a:lnTo>
                  <a:pt x="1579" y="5061"/>
                </a:lnTo>
                <a:lnTo>
                  <a:pt x="1612" y="5057"/>
                </a:lnTo>
                <a:lnTo>
                  <a:pt x="1644" y="5052"/>
                </a:lnTo>
                <a:lnTo>
                  <a:pt x="1675" y="5048"/>
                </a:lnTo>
                <a:lnTo>
                  <a:pt x="1703" y="5045"/>
                </a:lnTo>
                <a:lnTo>
                  <a:pt x="1727" y="5041"/>
                </a:lnTo>
                <a:lnTo>
                  <a:pt x="1723" y="5056"/>
                </a:lnTo>
                <a:lnTo>
                  <a:pt x="1714" y="5065"/>
                </a:lnTo>
                <a:lnTo>
                  <a:pt x="1701" y="5071"/>
                </a:lnTo>
                <a:lnTo>
                  <a:pt x="1686" y="5075"/>
                </a:lnTo>
                <a:lnTo>
                  <a:pt x="1672" y="5080"/>
                </a:lnTo>
                <a:lnTo>
                  <a:pt x="1661" y="5088"/>
                </a:lnTo>
                <a:lnTo>
                  <a:pt x="1653" y="5099"/>
                </a:lnTo>
                <a:lnTo>
                  <a:pt x="1652" y="5116"/>
                </a:lnTo>
                <a:lnTo>
                  <a:pt x="1726" y="5088"/>
                </a:lnTo>
                <a:lnTo>
                  <a:pt x="1799" y="5060"/>
                </a:lnTo>
                <a:lnTo>
                  <a:pt x="1875" y="5031"/>
                </a:lnTo>
                <a:lnTo>
                  <a:pt x="1948" y="5003"/>
                </a:lnTo>
                <a:lnTo>
                  <a:pt x="2021" y="4973"/>
                </a:lnTo>
                <a:lnTo>
                  <a:pt x="2094" y="4943"/>
                </a:lnTo>
                <a:lnTo>
                  <a:pt x="2164" y="4911"/>
                </a:lnTo>
                <a:lnTo>
                  <a:pt x="2231" y="4877"/>
                </a:lnTo>
                <a:lnTo>
                  <a:pt x="2216" y="4864"/>
                </a:lnTo>
                <a:lnTo>
                  <a:pt x="2199" y="4863"/>
                </a:lnTo>
                <a:lnTo>
                  <a:pt x="2183" y="4866"/>
                </a:lnTo>
                <a:lnTo>
                  <a:pt x="2167" y="4874"/>
                </a:lnTo>
                <a:lnTo>
                  <a:pt x="2153" y="4882"/>
                </a:lnTo>
                <a:lnTo>
                  <a:pt x="2139" y="4884"/>
                </a:lnTo>
                <a:lnTo>
                  <a:pt x="2128" y="4880"/>
                </a:lnTo>
                <a:lnTo>
                  <a:pt x="2118" y="4864"/>
                </a:lnTo>
                <a:lnTo>
                  <a:pt x="2173" y="4832"/>
                </a:lnTo>
                <a:lnTo>
                  <a:pt x="2230" y="4814"/>
                </a:lnTo>
                <a:lnTo>
                  <a:pt x="2291" y="4805"/>
                </a:lnTo>
                <a:lnTo>
                  <a:pt x="2355" y="4801"/>
                </a:lnTo>
                <a:lnTo>
                  <a:pt x="2420" y="4799"/>
                </a:lnTo>
                <a:lnTo>
                  <a:pt x="2483" y="4793"/>
                </a:lnTo>
                <a:lnTo>
                  <a:pt x="2548" y="4777"/>
                </a:lnTo>
                <a:lnTo>
                  <a:pt x="2609" y="4750"/>
                </a:lnTo>
                <a:lnTo>
                  <a:pt x="2613" y="4735"/>
                </a:lnTo>
                <a:lnTo>
                  <a:pt x="2617" y="4724"/>
                </a:lnTo>
                <a:lnTo>
                  <a:pt x="2622" y="4714"/>
                </a:lnTo>
                <a:lnTo>
                  <a:pt x="2626" y="4706"/>
                </a:lnTo>
                <a:lnTo>
                  <a:pt x="2630" y="4697"/>
                </a:lnTo>
                <a:lnTo>
                  <a:pt x="2630" y="4688"/>
                </a:lnTo>
                <a:lnTo>
                  <a:pt x="2629" y="4677"/>
                </a:lnTo>
                <a:lnTo>
                  <a:pt x="2622" y="4663"/>
                </a:lnTo>
                <a:lnTo>
                  <a:pt x="2649" y="4651"/>
                </a:lnTo>
                <a:lnTo>
                  <a:pt x="2676" y="4647"/>
                </a:lnTo>
                <a:lnTo>
                  <a:pt x="2700" y="4650"/>
                </a:lnTo>
                <a:lnTo>
                  <a:pt x="2725" y="4656"/>
                </a:lnTo>
                <a:lnTo>
                  <a:pt x="2751" y="4664"/>
                </a:lnTo>
                <a:lnTo>
                  <a:pt x="2778" y="4672"/>
                </a:lnTo>
                <a:lnTo>
                  <a:pt x="2807" y="4675"/>
                </a:lnTo>
                <a:lnTo>
                  <a:pt x="2837" y="4675"/>
                </a:lnTo>
                <a:lnTo>
                  <a:pt x="2862" y="4655"/>
                </a:lnTo>
                <a:lnTo>
                  <a:pt x="2886" y="4636"/>
                </a:lnTo>
                <a:lnTo>
                  <a:pt x="2900" y="4628"/>
                </a:lnTo>
                <a:lnTo>
                  <a:pt x="2918" y="4623"/>
                </a:lnTo>
                <a:lnTo>
                  <a:pt x="2938" y="4622"/>
                </a:lnTo>
                <a:lnTo>
                  <a:pt x="2963" y="4624"/>
                </a:lnTo>
                <a:lnTo>
                  <a:pt x="2970" y="4619"/>
                </a:lnTo>
                <a:lnTo>
                  <a:pt x="2972" y="4612"/>
                </a:lnTo>
                <a:lnTo>
                  <a:pt x="2974" y="4603"/>
                </a:lnTo>
                <a:lnTo>
                  <a:pt x="2974" y="4591"/>
                </a:lnTo>
                <a:lnTo>
                  <a:pt x="2975" y="4581"/>
                </a:lnTo>
                <a:lnTo>
                  <a:pt x="2976" y="4572"/>
                </a:lnTo>
                <a:lnTo>
                  <a:pt x="2980" y="4565"/>
                </a:lnTo>
                <a:lnTo>
                  <a:pt x="2989" y="4562"/>
                </a:lnTo>
                <a:lnTo>
                  <a:pt x="3025" y="4563"/>
                </a:lnTo>
                <a:lnTo>
                  <a:pt x="3068" y="4558"/>
                </a:lnTo>
                <a:lnTo>
                  <a:pt x="3115" y="4547"/>
                </a:lnTo>
                <a:lnTo>
                  <a:pt x="3167" y="4533"/>
                </a:lnTo>
                <a:lnTo>
                  <a:pt x="3219" y="4514"/>
                </a:lnTo>
                <a:lnTo>
                  <a:pt x="3272" y="4493"/>
                </a:lnTo>
                <a:lnTo>
                  <a:pt x="3321" y="4470"/>
                </a:lnTo>
                <a:lnTo>
                  <a:pt x="3367" y="4449"/>
                </a:lnTo>
                <a:lnTo>
                  <a:pt x="3358" y="4446"/>
                </a:lnTo>
                <a:lnTo>
                  <a:pt x="3351" y="4445"/>
                </a:lnTo>
                <a:lnTo>
                  <a:pt x="3347" y="4444"/>
                </a:lnTo>
                <a:lnTo>
                  <a:pt x="3344" y="4442"/>
                </a:lnTo>
                <a:lnTo>
                  <a:pt x="3342" y="4440"/>
                </a:lnTo>
                <a:lnTo>
                  <a:pt x="3342" y="4436"/>
                </a:lnTo>
                <a:lnTo>
                  <a:pt x="3367" y="4445"/>
                </a:lnTo>
                <a:lnTo>
                  <a:pt x="3391" y="4448"/>
                </a:lnTo>
                <a:lnTo>
                  <a:pt x="3414" y="4445"/>
                </a:lnTo>
                <a:lnTo>
                  <a:pt x="3436" y="4437"/>
                </a:lnTo>
                <a:lnTo>
                  <a:pt x="3459" y="4428"/>
                </a:lnTo>
                <a:lnTo>
                  <a:pt x="3480" y="4421"/>
                </a:lnTo>
                <a:lnTo>
                  <a:pt x="3505" y="4413"/>
                </a:lnTo>
                <a:lnTo>
                  <a:pt x="3530" y="4411"/>
                </a:lnTo>
                <a:lnTo>
                  <a:pt x="3531" y="4403"/>
                </a:lnTo>
                <a:lnTo>
                  <a:pt x="3530" y="4397"/>
                </a:lnTo>
                <a:lnTo>
                  <a:pt x="3528" y="4390"/>
                </a:lnTo>
                <a:lnTo>
                  <a:pt x="3525" y="4385"/>
                </a:lnTo>
                <a:lnTo>
                  <a:pt x="3524" y="4381"/>
                </a:lnTo>
                <a:lnTo>
                  <a:pt x="3524" y="4378"/>
                </a:lnTo>
                <a:lnTo>
                  <a:pt x="3525" y="4375"/>
                </a:lnTo>
                <a:lnTo>
                  <a:pt x="3530" y="4372"/>
                </a:lnTo>
                <a:lnTo>
                  <a:pt x="3551" y="4385"/>
                </a:lnTo>
                <a:lnTo>
                  <a:pt x="3570" y="4385"/>
                </a:lnTo>
                <a:lnTo>
                  <a:pt x="3590" y="4379"/>
                </a:lnTo>
                <a:lnTo>
                  <a:pt x="3609" y="4369"/>
                </a:lnTo>
                <a:lnTo>
                  <a:pt x="3628" y="4357"/>
                </a:lnTo>
                <a:lnTo>
                  <a:pt x="3646" y="4351"/>
                </a:lnTo>
                <a:lnTo>
                  <a:pt x="3664" y="4350"/>
                </a:lnTo>
                <a:lnTo>
                  <a:pt x="3682" y="4360"/>
                </a:lnTo>
                <a:lnTo>
                  <a:pt x="3668" y="4358"/>
                </a:lnTo>
                <a:lnTo>
                  <a:pt x="3656" y="4360"/>
                </a:lnTo>
                <a:lnTo>
                  <a:pt x="3647" y="4364"/>
                </a:lnTo>
                <a:lnTo>
                  <a:pt x="3640" y="4369"/>
                </a:lnTo>
                <a:lnTo>
                  <a:pt x="3635" y="4375"/>
                </a:lnTo>
                <a:lnTo>
                  <a:pt x="3631" y="4385"/>
                </a:lnTo>
                <a:lnTo>
                  <a:pt x="3631" y="4397"/>
                </a:lnTo>
                <a:lnTo>
                  <a:pt x="3631" y="4411"/>
                </a:lnTo>
                <a:lnTo>
                  <a:pt x="3642" y="4409"/>
                </a:lnTo>
                <a:lnTo>
                  <a:pt x="3651" y="4406"/>
                </a:lnTo>
                <a:lnTo>
                  <a:pt x="3657" y="4399"/>
                </a:lnTo>
                <a:lnTo>
                  <a:pt x="3664" y="4392"/>
                </a:lnTo>
                <a:lnTo>
                  <a:pt x="3670" y="4386"/>
                </a:lnTo>
                <a:lnTo>
                  <a:pt x="3679" y="4383"/>
                </a:lnTo>
                <a:lnTo>
                  <a:pt x="3691" y="4381"/>
                </a:lnTo>
                <a:lnTo>
                  <a:pt x="3707" y="4385"/>
                </a:lnTo>
                <a:lnTo>
                  <a:pt x="3707" y="4395"/>
                </a:lnTo>
                <a:lnTo>
                  <a:pt x="3710" y="4406"/>
                </a:lnTo>
                <a:lnTo>
                  <a:pt x="3712" y="4413"/>
                </a:lnTo>
                <a:lnTo>
                  <a:pt x="3717" y="4420"/>
                </a:lnTo>
                <a:lnTo>
                  <a:pt x="3721" y="4426"/>
                </a:lnTo>
                <a:lnTo>
                  <a:pt x="3726" y="4432"/>
                </a:lnTo>
                <a:lnTo>
                  <a:pt x="3730" y="4440"/>
                </a:lnTo>
                <a:lnTo>
                  <a:pt x="3733" y="4449"/>
                </a:lnTo>
                <a:lnTo>
                  <a:pt x="3745" y="4448"/>
                </a:lnTo>
                <a:lnTo>
                  <a:pt x="3759" y="4444"/>
                </a:lnTo>
                <a:lnTo>
                  <a:pt x="3773" y="4437"/>
                </a:lnTo>
                <a:lnTo>
                  <a:pt x="3787" y="4431"/>
                </a:lnTo>
                <a:lnTo>
                  <a:pt x="3800" y="4426"/>
                </a:lnTo>
                <a:lnTo>
                  <a:pt x="3812" y="4423"/>
                </a:lnTo>
                <a:lnTo>
                  <a:pt x="3823" y="4426"/>
                </a:lnTo>
                <a:lnTo>
                  <a:pt x="3833" y="4436"/>
                </a:lnTo>
                <a:lnTo>
                  <a:pt x="3813" y="4449"/>
                </a:lnTo>
                <a:lnTo>
                  <a:pt x="3790" y="4462"/>
                </a:lnTo>
                <a:lnTo>
                  <a:pt x="3767" y="4477"/>
                </a:lnTo>
                <a:lnTo>
                  <a:pt x="3747" y="4491"/>
                </a:lnTo>
                <a:lnTo>
                  <a:pt x="3731" y="4506"/>
                </a:lnTo>
                <a:lnTo>
                  <a:pt x="3725" y="4520"/>
                </a:lnTo>
                <a:lnTo>
                  <a:pt x="3728" y="4535"/>
                </a:lnTo>
                <a:lnTo>
                  <a:pt x="3745" y="4549"/>
                </a:lnTo>
                <a:lnTo>
                  <a:pt x="3706" y="4560"/>
                </a:lnTo>
                <a:lnTo>
                  <a:pt x="3669" y="4572"/>
                </a:lnTo>
                <a:lnTo>
                  <a:pt x="3635" y="4586"/>
                </a:lnTo>
                <a:lnTo>
                  <a:pt x="3599" y="4602"/>
                </a:lnTo>
                <a:lnTo>
                  <a:pt x="3563" y="4617"/>
                </a:lnTo>
                <a:lnTo>
                  <a:pt x="3525" y="4632"/>
                </a:lnTo>
                <a:lnTo>
                  <a:pt x="3486" y="4647"/>
                </a:lnTo>
                <a:lnTo>
                  <a:pt x="3442" y="4663"/>
                </a:lnTo>
                <a:lnTo>
                  <a:pt x="3442" y="4655"/>
                </a:lnTo>
                <a:lnTo>
                  <a:pt x="3441" y="4647"/>
                </a:lnTo>
                <a:lnTo>
                  <a:pt x="3438" y="4642"/>
                </a:lnTo>
                <a:lnTo>
                  <a:pt x="3436" y="4637"/>
                </a:lnTo>
                <a:lnTo>
                  <a:pt x="3433" y="4632"/>
                </a:lnTo>
                <a:lnTo>
                  <a:pt x="3431" y="4626"/>
                </a:lnTo>
                <a:lnTo>
                  <a:pt x="3430" y="4619"/>
                </a:lnTo>
                <a:lnTo>
                  <a:pt x="3430" y="4612"/>
                </a:lnTo>
                <a:lnTo>
                  <a:pt x="3440" y="4607"/>
                </a:lnTo>
                <a:lnTo>
                  <a:pt x="3451" y="4607"/>
                </a:lnTo>
                <a:lnTo>
                  <a:pt x="3461" y="4612"/>
                </a:lnTo>
                <a:lnTo>
                  <a:pt x="3473" y="4617"/>
                </a:lnTo>
                <a:lnTo>
                  <a:pt x="3484" y="4621"/>
                </a:lnTo>
                <a:lnTo>
                  <a:pt x="3496" y="4621"/>
                </a:lnTo>
                <a:lnTo>
                  <a:pt x="3507" y="4614"/>
                </a:lnTo>
                <a:lnTo>
                  <a:pt x="3517" y="4599"/>
                </a:lnTo>
                <a:lnTo>
                  <a:pt x="3506" y="4599"/>
                </a:lnTo>
                <a:lnTo>
                  <a:pt x="3494" y="4598"/>
                </a:lnTo>
                <a:lnTo>
                  <a:pt x="3489" y="4596"/>
                </a:lnTo>
                <a:lnTo>
                  <a:pt x="3484" y="4595"/>
                </a:lnTo>
                <a:lnTo>
                  <a:pt x="3482" y="4591"/>
                </a:lnTo>
                <a:lnTo>
                  <a:pt x="3480" y="4586"/>
                </a:lnTo>
                <a:lnTo>
                  <a:pt x="3493" y="4584"/>
                </a:lnTo>
                <a:lnTo>
                  <a:pt x="3507" y="4579"/>
                </a:lnTo>
                <a:lnTo>
                  <a:pt x="3520" y="4575"/>
                </a:lnTo>
                <a:lnTo>
                  <a:pt x="3531" y="4570"/>
                </a:lnTo>
                <a:lnTo>
                  <a:pt x="3543" y="4563"/>
                </a:lnTo>
                <a:lnTo>
                  <a:pt x="3553" y="4556"/>
                </a:lnTo>
                <a:lnTo>
                  <a:pt x="3562" y="4547"/>
                </a:lnTo>
                <a:lnTo>
                  <a:pt x="3568" y="4537"/>
                </a:lnTo>
                <a:lnTo>
                  <a:pt x="3525" y="4551"/>
                </a:lnTo>
                <a:lnTo>
                  <a:pt x="3479" y="4565"/>
                </a:lnTo>
                <a:lnTo>
                  <a:pt x="3435" y="4577"/>
                </a:lnTo>
                <a:lnTo>
                  <a:pt x="3390" y="4591"/>
                </a:lnTo>
                <a:lnTo>
                  <a:pt x="3347" y="4607"/>
                </a:lnTo>
                <a:lnTo>
                  <a:pt x="3307" y="4624"/>
                </a:lnTo>
                <a:lnTo>
                  <a:pt x="3272" y="4647"/>
                </a:lnTo>
                <a:lnTo>
                  <a:pt x="3241" y="4675"/>
                </a:lnTo>
                <a:lnTo>
                  <a:pt x="3261" y="4675"/>
                </a:lnTo>
                <a:lnTo>
                  <a:pt x="3282" y="4672"/>
                </a:lnTo>
                <a:lnTo>
                  <a:pt x="3301" y="4664"/>
                </a:lnTo>
                <a:lnTo>
                  <a:pt x="3319" y="4656"/>
                </a:lnTo>
                <a:lnTo>
                  <a:pt x="3337" y="4649"/>
                </a:lnTo>
                <a:lnTo>
                  <a:pt x="3353" y="4645"/>
                </a:lnTo>
                <a:lnTo>
                  <a:pt x="3367" y="4644"/>
                </a:lnTo>
                <a:lnTo>
                  <a:pt x="3379" y="4650"/>
                </a:lnTo>
                <a:lnTo>
                  <a:pt x="3340" y="4675"/>
                </a:lnTo>
                <a:lnTo>
                  <a:pt x="3302" y="4696"/>
                </a:lnTo>
                <a:lnTo>
                  <a:pt x="3264" y="4715"/>
                </a:lnTo>
                <a:lnTo>
                  <a:pt x="3226" y="4730"/>
                </a:lnTo>
                <a:lnTo>
                  <a:pt x="3188" y="4745"/>
                </a:lnTo>
                <a:lnTo>
                  <a:pt x="3151" y="4759"/>
                </a:lnTo>
                <a:lnTo>
                  <a:pt x="3112" y="4773"/>
                </a:lnTo>
                <a:lnTo>
                  <a:pt x="3077" y="4789"/>
                </a:lnTo>
                <a:lnTo>
                  <a:pt x="3076" y="4767"/>
                </a:lnTo>
                <a:lnTo>
                  <a:pt x="3082" y="4752"/>
                </a:lnTo>
                <a:lnTo>
                  <a:pt x="3092" y="4743"/>
                </a:lnTo>
                <a:lnTo>
                  <a:pt x="3107" y="4736"/>
                </a:lnTo>
                <a:lnTo>
                  <a:pt x="3123" y="4731"/>
                </a:lnTo>
                <a:lnTo>
                  <a:pt x="3137" y="4725"/>
                </a:lnTo>
                <a:lnTo>
                  <a:pt x="3147" y="4716"/>
                </a:lnTo>
                <a:lnTo>
                  <a:pt x="3152" y="4701"/>
                </a:lnTo>
                <a:lnTo>
                  <a:pt x="3079" y="4716"/>
                </a:lnTo>
                <a:lnTo>
                  <a:pt x="3004" y="4738"/>
                </a:lnTo>
                <a:lnTo>
                  <a:pt x="2928" y="4764"/>
                </a:lnTo>
                <a:lnTo>
                  <a:pt x="2851" y="4794"/>
                </a:lnTo>
                <a:lnTo>
                  <a:pt x="2776" y="4827"/>
                </a:lnTo>
                <a:lnTo>
                  <a:pt x="2701" y="4860"/>
                </a:lnTo>
                <a:lnTo>
                  <a:pt x="2629" y="4894"/>
                </a:lnTo>
                <a:lnTo>
                  <a:pt x="2560" y="4927"/>
                </a:lnTo>
                <a:lnTo>
                  <a:pt x="2572" y="4935"/>
                </a:lnTo>
                <a:lnTo>
                  <a:pt x="2584" y="4938"/>
                </a:lnTo>
                <a:lnTo>
                  <a:pt x="2597" y="4936"/>
                </a:lnTo>
                <a:lnTo>
                  <a:pt x="2609" y="4934"/>
                </a:lnTo>
                <a:lnTo>
                  <a:pt x="2621" y="4933"/>
                </a:lnTo>
                <a:lnTo>
                  <a:pt x="2632" y="4933"/>
                </a:lnTo>
                <a:lnTo>
                  <a:pt x="2641" y="4939"/>
                </a:lnTo>
                <a:lnTo>
                  <a:pt x="2648" y="4953"/>
                </a:lnTo>
                <a:lnTo>
                  <a:pt x="2665" y="4919"/>
                </a:lnTo>
                <a:lnTo>
                  <a:pt x="2693" y="4891"/>
                </a:lnTo>
                <a:lnTo>
                  <a:pt x="2730" y="4870"/>
                </a:lnTo>
                <a:lnTo>
                  <a:pt x="2772" y="4854"/>
                </a:lnTo>
                <a:lnTo>
                  <a:pt x="2817" y="4842"/>
                </a:lnTo>
                <a:lnTo>
                  <a:pt x="2862" y="4835"/>
                </a:lnTo>
                <a:lnTo>
                  <a:pt x="2904" y="4829"/>
                </a:lnTo>
                <a:lnTo>
                  <a:pt x="2938" y="4827"/>
                </a:lnTo>
                <a:lnTo>
                  <a:pt x="2912" y="4849"/>
                </a:lnTo>
                <a:lnTo>
                  <a:pt x="2883" y="4866"/>
                </a:lnTo>
                <a:lnTo>
                  <a:pt x="2853" y="4883"/>
                </a:lnTo>
                <a:lnTo>
                  <a:pt x="2821" y="4898"/>
                </a:lnTo>
                <a:lnTo>
                  <a:pt x="2788" y="4912"/>
                </a:lnTo>
                <a:lnTo>
                  <a:pt x="2756" y="4927"/>
                </a:lnTo>
                <a:lnTo>
                  <a:pt x="2725" y="4945"/>
                </a:lnTo>
                <a:lnTo>
                  <a:pt x="2699" y="4964"/>
                </a:lnTo>
                <a:lnTo>
                  <a:pt x="2711" y="4967"/>
                </a:lnTo>
                <a:lnTo>
                  <a:pt x="2723" y="4964"/>
                </a:lnTo>
                <a:lnTo>
                  <a:pt x="2735" y="4959"/>
                </a:lnTo>
                <a:lnTo>
                  <a:pt x="2748" y="4954"/>
                </a:lnTo>
                <a:lnTo>
                  <a:pt x="2758" y="4950"/>
                </a:lnTo>
                <a:lnTo>
                  <a:pt x="2770" y="4950"/>
                </a:lnTo>
                <a:lnTo>
                  <a:pt x="2779" y="4954"/>
                </a:lnTo>
                <a:lnTo>
                  <a:pt x="2786" y="4964"/>
                </a:lnTo>
                <a:lnTo>
                  <a:pt x="2752" y="4982"/>
                </a:lnTo>
                <a:lnTo>
                  <a:pt x="2720" y="4994"/>
                </a:lnTo>
                <a:lnTo>
                  <a:pt x="2692" y="4999"/>
                </a:lnTo>
                <a:lnTo>
                  <a:pt x="2664" y="5000"/>
                </a:lnTo>
                <a:lnTo>
                  <a:pt x="2636" y="4997"/>
                </a:lnTo>
                <a:lnTo>
                  <a:pt x="2608" y="4991"/>
                </a:lnTo>
                <a:lnTo>
                  <a:pt x="2579" y="4985"/>
                </a:lnTo>
                <a:lnTo>
                  <a:pt x="2547" y="4977"/>
                </a:lnTo>
                <a:lnTo>
                  <a:pt x="2557" y="4978"/>
                </a:lnTo>
                <a:lnTo>
                  <a:pt x="2566" y="4978"/>
                </a:lnTo>
                <a:lnTo>
                  <a:pt x="2575" y="4977"/>
                </a:lnTo>
                <a:lnTo>
                  <a:pt x="2581" y="4975"/>
                </a:lnTo>
                <a:lnTo>
                  <a:pt x="2588" y="4971"/>
                </a:lnTo>
                <a:lnTo>
                  <a:pt x="2593" y="4966"/>
                </a:lnTo>
                <a:lnTo>
                  <a:pt x="2595" y="4961"/>
                </a:lnTo>
                <a:lnTo>
                  <a:pt x="2598" y="4953"/>
                </a:lnTo>
                <a:lnTo>
                  <a:pt x="2576" y="4957"/>
                </a:lnTo>
                <a:lnTo>
                  <a:pt x="2560" y="4958"/>
                </a:lnTo>
                <a:lnTo>
                  <a:pt x="2546" y="4958"/>
                </a:lnTo>
                <a:lnTo>
                  <a:pt x="2536" y="4955"/>
                </a:lnTo>
                <a:lnTo>
                  <a:pt x="2525" y="4953"/>
                </a:lnTo>
                <a:lnTo>
                  <a:pt x="2516" y="4950"/>
                </a:lnTo>
                <a:lnTo>
                  <a:pt x="2508" y="4950"/>
                </a:lnTo>
                <a:lnTo>
                  <a:pt x="2496" y="4953"/>
                </a:lnTo>
                <a:lnTo>
                  <a:pt x="2499" y="4964"/>
                </a:lnTo>
                <a:lnTo>
                  <a:pt x="2506" y="4975"/>
                </a:lnTo>
                <a:lnTo>
                  <a:pt x="2515" y="4982"/>
                </a:lnTo>
                <a:lnTo>
                  <a:pt x="2524" y="4990"/>
                </a:lnTo>
                <a:lnTo>
                  <a:pt x="2530" y="4995"/>
                </a:lnTo>
                <a:lnTo>
                  <a:pt x="2532" y="5001"/>
                </a:lnTo>
                <a:lnTo>
                  <a:pt x="2525" y="5008"/>
                </a:lnTo>
                <a:lnTo>
                  <a:pt x="2509" y="5015"/>
                </a:lnTo>
                <a:lnTo>
                  <a:pt x="2502" y="5014"/>
                </a:lnTo>
                <a:lnTo>
                  <a:pt x="2499" y="5010"/>
                </a:lnTo>
                <a:lnTo>
                  <a:pt x="2496" y="5005"/>
                </a:lnTo>
                <a:lnTo>
                  <a:pt x="2494" y="5000"/>
                </a:lnTo>
                <a:lnTo>
                  <a:pt x="2490" y="4995"/>
                </a:lnTo>
                <a:lnTo>
                  <a:pt x="2486" y="4991"/>
                </a:lnTo>
                <a:lnTo>
                  <a:pt x="2481" y="4990"/>
                </a:lnTo>
                <a:lnTo>
                  <a:pt x="2472" y="4990"/>
                </a:lnTo>
                <a:lnTo>
                  <a:pt x="2460" y="4992"/>
                </a:lnTo>
                <a:lnTo>
                  <a:pt x="2450" y="4995"/>
                </a:lnTo>
                <a:lnTo>
                  <a:pt x="2441" y="4997"/>
                </a:lnTo>
                <a:lnTo>
                  <a:pt x="2432" y="5001"/>
                </a:lnTo>
                <a:lnTo>
                  <a:pt x="2425" y="5006"/>
                </a:lnTo>
                <a:lnTo>
                  <a:pt x="2417" y="5013"/>
                </a:lnTo>
                <a:lnTo>
                  <a:pt x="2412" y="5019"/>
                </a:lnTo>
                <a:lnTo>
                  <a:pt x="2408" y="5028"/>
                </a:lnTo>
                <a:lnTo>
                  <a:pt x="2458" y="5037"/>
                </a:lnTo>
                <a:lnTo>
                  <a:pt x="2491" y="5043"/>
                </a:lnTo>
                <a:lnTo>
                  <a:pt x="2520" y="5048"/>
                </a:lnTo>
                <a:lnTo>
                  <a:pt x="2560" y="5053"/>
                </a:lnTo>
                <a:lnTo>
                  <a:pt x="2480" y="5085"/>
                </a:lnTo>
                <a:lnTo>
                  <a:pt x="2399" y="5117"/>
                </a:lnTo>
                <a:lnTo>
                  <a:pt x="2319" y="5149"/>
                </a:lnTo>
                <a:lnTo>
                  <a:pt x="2240" y="5181"/>
                </a:lnTo>
                <a:lnTo>
                  <a:pt x="2161" y="5214"/>
                </a:lnTo>
                <a:lnTo>
                  <a:pt x="2083" y="5248"/>
                </a:lnTo>
                <a:lnTo>
                  <a:pt x="2006" y="5283"/>
                </a:lnTo>
                <a:lnTo>
                  <a:pt x="1929" y="5318"/>
                </a:lnTo>
                <a:lnTo>
                  <a:pt x="1933" y="5319"/>
                </a:lnTo>
                <a:lnTo>
                  <a:pt x="1936" y="5321"/>
                </a:lnTo>
                <a:lnTo>
                  <a:pt x="1938" y="5323"/>
                </a:lnTo>
                <a:lnTo>
                  <a:pt x="1940" y="5326"/>
                </a:lnTo>
                <a:lnTo>
                  <a:pt x="1941" y="5330"/>
                </a:lnTo>
                <a:lnTo>
                  <a:pt x="1942" y="5333"/>
                </a:lnTo>
                <a:lnTo>
                  <a:pt x="1942" y="5337"/>
                </a:lnTo>
                <a:lnTo>
                  <a:pt x="1942" y="5342"/>
                </a:lnTo>
                <a:lnTo>
                  <a:pt x="1978" y="5333"/>
                </a:lnTo>
                <a:lnTo>
                  <a:pt x="2011" y="5325"/>
                </a:lnTo>
                <a:lnTo>
                  <a:pt x="2040" y="5317"/>
                </a:lnTo>
                <a:lnTo>
                  <a:pt x="2071" y="5311"/>
                </a:lnTo>
                <a:lnTo>
                  <a:pt x="2103" y="5305"/>
                </a:lnTo>
                <a:lnTo>
                  <a:pt x="2136" y="5300"/>
                </a:lnTo>
                <a:lnTo>
                  <a:pt x="2175" y="5297"/>
                </a:lnTo>
                <a:lnTo>
                  <a:pt x="2220" y="5293"/>
                </a:lnTo>
                <a:lnTo>
                  <a:pt x="2225" y="5284"/>
                </a:lnTo>
                <a:lnTo>
                  <a:pt x="2226" y="5275"/>
                </a:lnTo>
                <a:lnTo>
                  <a:pt x="2225" y="5265"/>
                </a:lnTo>
                <a:lnTo>
                  <a:pt x="2224" y="5255"/>
                </a:lnTo>
                <a:lnTo>
                  <a:pt x="2224" y="5243"/>
                </a:lnTo>
                <a:lnTo>
                  <a:pt x="2226" y="5234"/>
                </a:lnTo>
                <a:lnTo>
                  <a:pt x="2232" y="5225"/>
                </a:lnTo>
                <a:lnTo>
                  <a:pt x="2244" y="5218"/>
                </a:lnTo>
                <a:lnTo>
                  <a:pt x="2295" y="5218"/>
                </a:lnTo>
                <a:lnTo>
                  <a:pt x="2292" y="5227"/>
                </a:lnTo>
                <a:lnTo>
                  <a:pt x="2287" y="5234"/>
                </a:lnTo>
                <a:lnTo>
                  <a:pt x="2278" y="5238"/>
                </a:lnTo>
                <a:lnTo>
                  <a:pt x="2269" y="5242"/>
                </a:lnTo>
                <a:lnTo>
                  <a:pt x="2260" y="5246"/>
                </a:lnTo>
                <a:lnTo>
                  <a:pt x="2253" y="5251"/>
                </a:lnTo>
                <a:lnTo>
                  <a:pt x="2246" y="5257"/>
                </a:lnTo>
                <a:lnTo>
                  <a:pt x="2244" y="5267"/>
                </a:lnTo>
                <a:lnTo>
                  <a:pt x="2260" y="5267"/>
                </a:lnTo>
                <a:lnTo>
                  <a:pt x="2276" y="5267"/>
                </a:lnTo>
                <a:lnTo>
                  <a:pt x="2290" y="5266"/>
                </a:lnTo>
                <a:lnTo>
                  <a:pt x="2304" y="5263"/>
                </a:lnTo>
                <a:lnTo>
                  <a:pt x="2316" y="5261"/>
                </a:lnTo>
                <a:lnTo>
                  <a:pt x="2327" y="5256"/>
                </a:lnTo>
                <a:lnTo>
                  <a:pt x="2337" y="5249"/>
                </a:lnTo>
                <a:lnTo>
                  <a:pt x="2346" y="5242"/>
                </a:lnTo>
                <a:lnTo>
                  <a:pt x="2339" y="5241"/>
                </a:lnTo>
                <a:lnTo>
                  <a:pt x="2334" y="5237"/>
                </a:lnTo>
                <a:lnTo>
                  <a:pt x="2331" y="5234"/>
                </a:lnTo>
                <a:lnTo>
                  <a:pt x="2327" y="5229"/>
                </a:lnTo>
                <a:lnTo>
                  <a:pt x="2324" y="5224"/>
                </a:lnTo>
                <a:lnTo>
                  <a:pt x="2322" y="5219"/>
                </a:lnTo>
                <a:lnTo>
                  <a:pt x="2320" y="5213"/>
                </a:lnTo>
                <a:lnTo>
                  <a:pt x="2320" y="5205"/>
                </a:lnTo>
                <a:lnTo>
                  <a:pt x="2356" y="5209"/>
                </a:lnTo>
                <a:lnTo>
                  <a:pt x="2394" y="5204"/>
                </a:lnTo>
                <a:lnTo>
                  <a:pt x="2435" y="5192"/>
                </a:lnTo>
                <a:lnTo>
                  <a:pt x="2477" y="5178"/>
                </a:lnTo>
                <a:lnTo>
                  <a:pt x="2518" y="5164"/>
                </a:lnTo>
                <a:lnTo>
                  <a:pt x="2558" y="5153"/>
                </a:lnTo>
                <a:lnTo>
                  <a:pt x="2598" y="5149"/>
                </a:lnTo>
                <a:lnTo>
                  <a:pt x="2635" y="5154"/>
                </a:lnTo>
                <a:lnTo>
                  <a:pt x="2557" y="5201"/>
                </a:lnTo>
                <a:lnTo>
                  <a:pt x="2477" y="5241"/>
                </a:lnTo>
                <a:lnTo>
                  <a:pt x="2394" y="5276"/>
                </a:lnTo>
                <a:lnTo>
                  <a:pt x="2310" y="5309"/>
                </a:lnTo>
                <a:lnTo>
                  <a:pt x="2226" y="5341"/>
                </a:lnTo>
                <a:lnTo>
                  <a:pt x="2143" y="5373"/>
                </a:lnTo>
                <a:lnTo>
                  <a:pt x="2061" y="5406"/>
                </a:lnTo>
                <a:lnTo>
                  <a:pt x="1979" y="5444"/>
                </a:lnTo>
                <a:lnTo>
                  <a:pt x="2062" y="5449"/>
                </a:lnTo>
                <a:lnTo>
                  <a:pt x="2142" y="5440"/>
                </a:lnTo>
                <a:lnTo>
                  <a:pt x="2224" y="5421"/>
                </a:lnTo>
                <a:lnTo>
                  <a:pt x="2304" y="5393"/>
                </a:lnTo>
                <a:lnTo>
                  <a:pt x="2383" y="5363"/>
                </a:lnTo>
                <a:lnTo>
                  <a:pt x="2463" y="5331"/>
                </a:lnTo>
                <a:lnTo>
                  <a:pt x="2543" y="5303"/>
                </a:lnTo>
                <a:lnTo>
                  <a:pt x="2622" y="5280"/>
                </a:lnTo>
                <a:lnTo>
                  <a:pt x="2622" y="5318"/>
                </a:lnTo>
                <a:lnTo>
                  <a:pt x="2636" y="5318"/>
                </a:lnTo>
                <a:lnTo>
                  <a:pt x="2648" y="5317"/>
                </a:lnTo>
                <a:lnTo>
                  <a:pt x="2657" y="5314"/>
                </a:lnTo>
                <a:lnTo>
                  <a:pt x="2665" y="5311"/>
                </a:lnTo>
                <a:lnTo>
                  <a:pt x="2674" y="5307"/>
                </a:lnTo>
                <a:lnTo>
                  <a:pt x="2685" y="5304"/>
                </a:lnTo>
                <a:lnTo>
                  <a:pt x="2696" y="5303"/>
                </a:lnTo>
                <a:lnTo>
                  <a:pt x="2711" y="5305"/>
                </a:lnTo>
                <a:lnTo>
                  <a:pt x="2713" y="5297"/>
                </a:lnTo>
                <a:lnTo>
                  <a:pt x="2711" y="5289"/>
                </a:lnTo>
                <a:lnTo>
                  <a:pt x="2706" y="5281"/>
                </a:lnTo>
                <a:lnTo>
                  <a:pt x="2701" y="5275"/>
                </a:lnTo>
                <a:lnTo>
                  <a:pt x="2697" y="5269"/>
                </a:lnTo>
                <a:lnTo>
                  <a:pt x="2697" y="5263"/>
                </a:lnTo>
                <a:lnTo>
                  <a:pt x="2701" y="5258"/>
                </a:lnTo>
                <a:lnTo>
                  <a:pt x="2711" y="5255"/>
                </a:lnTo>
                <a:lnTo>
                  <a:pt x="2737" y="5257"/>
                </a:lnTo>
                <a:lnTo>
                  <a:pt x="2762" y="5251"/>
                </a:lnTo>
                <a:lnTo>
                  <a:pt x="2788" y="5241"/>
                </a:lnTo>
                <a:lnTo>
                  <a:pt x="2813" y="5228"/>
                </a:lnTo>
                <a:lnTo>
                  <a:pt x="2840" y="5213"/>
                </a:lnTo>
                <a:lnTo>
                  <a:pt x="2867" y="5199"/>
                </a:lnTo>
                <a:lnTo>
                  <a:pt x="2896" y="5187"/>
                </a:lnTo>
                <a:lnTo>
                  <a:pt x="2925" y="5179"/>
                </a:lnTo>
                <a:lnTo>
                  <a:pt x="2925" y="5195"/>
                </a:lnTo>
                <a:lnTo>
                  <a:pt x="2928" y="5209"/>
                </a:lnTo>
                <a:lnTo>
                  <a:pt x="2929" y="5215"/>
                </a:lnTo>
                <a:lnTo>
                  <a:pt x="2932" y="5220"/>
                </a:lnTo>
                <a:lnTo>
                  <a:pt x="2934" y="5225"/>
                </a:lnTo>
                <a:lnTo>
                  <a:pt x="2938" y="5229"/>
                </a:lnTo>
                <a:lnTo>
                  <a:pt x="3007" y="5205"/>
                </a:lnTo>
                <a:lnTo>
                  <a:pt x="3077" y="5178"/>
                </a:lnTo>
                <a:lnTo>
                  <a:pt x="3147" y="5150"/>
                </a:lnTo>
                <a:lnTo>
                  <a:pt x="3219" y="5123"/>
                </a:lnTo>
                <a:lnTo>
                  <a:pt x="3292" y="5099"/>
                </a:lnTo>
                <a:lnTo>
                  <a:pt x="3367" y="5080"/>
                </a:lnTo>
                <a:lnTo>
                  <a:pt x="3442" y="5069"/>
                </a:lnTo>
                <a:lnTo>
                  <a:pt x="3517" y="5066"/>
                </a:lnTo>
                <a:lnTo>
                  <a:pt x="3500" y="5088"/>
                </a:lnTo>
                <a:lnTo>
                  <a:pt x="3477" y="5103"/>
                </a:lnTo>
                <a:lnTo>
                  <a:pt x="3451" y="5113"/>
                </a:lnTo>
                <a:lnTo>
                  <a:pt x="3423" y="5118"/>
                </a:lnTo>
                <a:lnTo>
                  <a:pt x="3394" y="5121"/>
                </a:lnTo>
                <a:lnTo>
                  <a:pt x="3363" y="5122"/>
                </a:lnTo>
                <a:lnTo>
                  <a:pt x="3333" y="5125"/>
                </a:lnTo>
                <a:lnTo>
                  <a:pt x="3303" y="5129"/>
                </a:lnTo>
                <a:lnTo>
                  <a:pt x="3296" y="5149"/>
                </a:lnTo>
                <a:lnTo>
                  <a:pt x="3287" y="5169"/>
                </a:lnTo>
                <a:lnTo>
                  <a:pt x="3281" y="5177"/>
                </a:lnTo>
                <a:lnTo>
                  <a:pt x="3274" y="5185"/>
                </a:lnTo>
                <a:lnTo>
                  <a:pt x="3265" y="5190"/>
                </a:lnTo>
                <a:lnTo>
                  <a:pt x="3253" y="5192"/>
                </a:lnTo>
                <a:lnTo>
                  <a:pt x="3148" y="5213"/>
                </a:lnTo>
                <a:lnTo>
                  <a:pt x="3049" y="5239"/>
                </a:lnTo>
                <a:lnTo>
                  <a:pt x="2953" y="5271"/>
                </a:lnTo>
                <a:lnTo>
                  <a:pt x="2860" y="5304"/>
                </a:lnTo>
                <a:lnTo>
                  <a:pt x="2767" y="5333"/>
                </a:lnTo>
                <a:lnTo>
                  <a:pt x="2676" y="5359"/>
                </a:lnTo>
                <a:lnTo>
                  <a:pt x="2581" y="5375"/>
                </a:lnTo>
                <a:lnTo>
                  <a:pt x="2483" y="5381"/>
                </a:lnTo>
                <a:lnTo>
                  <a:pt x="2502" y="5378"/>
                </a:lnTo>
                <a:lnTo>
                  <a:pt x="2520" y="5373"/>
                </a:lnTo>
                <a:lnTo>
                  <a:pt x="2537" y="5368"/>
                </a:lnTo>
                <a:lnTo>
                  <a:pt x="2552" y="5360"/>
                </a:lnTo>
                <a:lnTo>
                  <a:pt x="2566" y="5353"/>
                </a:lnTo>
                <a:lnTo>
                  <a:pt x="2578" y="5342"/>
                </a:lnTo>
                <a:lnTo>
                  <a:pt x="2589" y="5331"/>
                </a:lnTo>
                <a:lnTo>
                  <a:pt x="2598" y="5318"/>
                </a:lnTo>
                <a:lnTo>
                  <a:pt x="2542" y="5333"/>
                </a:lnTo>
                <a:lnTo>
                  <a:pt x="2481" y="5351"/>
                </a:lnTo>
                <a:lnTo>
                  <a:pt x="2415" y="5370"/>
                </a:lnTo>
                <a:lnTo>
                  <a:pt x="2347" y="5392"/>
                </a:lnTo>
                <a:lnTo>
                  <a:pt x="2281" y="5416"/>
                </a:lnTo>
                <a:lnTo>
                  <a:pt x="2218" y="5446"/>
                </a:lnTo>
                <a:lnTo>
                  <a:pt x="2164" y="5480"/>
                </a:lnTo>
                <a:lnTo>
                  <a:pt x="2118" y="5519"/>
                </a:lnTo>
                <a:lnTo>
                  <a:pt x="2127" y="5519"/>
                </a:lnTo>
                <a:lnTo>
                  <a:pt x="2138" y="5516"/>
                </a:lnTo>
                <a:lnTo>
                  <a:pt x="2148" y="5512"/>
                </a:lnTo>
                <a:lnTo>
                  <a:pt x="2160" y="5508"/>
                </a:lnTo>
                <a:lnTo>
                  <a:pt x="2170" y="5505"/>
                </a:lnTo>
                <a:lnTo>
                  <a:pt x="2180" y="5505"/>
                </a:lnTo>
                <a:lnTo>
                  <a:pt x="2188" y="5509"/>
                </a:lnTo>
                <a:lnTo>
                  <a:pt x="2194" y="5519"/>
                </a:lnTo>
                <a:lnTo>
                  <a:pt x="2006" y="5587"/>
                </a:lnTo>
                <a:lnTo>
                  <a:pt x="1813" y="5648"/>
                </a:lnTo>
                <a:lnTo>
                  <a:pt x="1617" y="5706"/>
                </a:lnTo>
                <a:lnTo>
                  <a:pt x="1421" y="5765"/>
                </a:lnTo>
                <a:lnTo>
                  <a:pt x="1226" y="5826"/>
                </a:lnTo>
                <a:lnTo>
                  <a:pt x="1035" y="5892"/>
                </a:lnTo>
                <a:lnTo>
                  <a:pt x="848" y="5966"/>
                </a:lnTo>
                <a:lnTo>
                  <a:pt x="669" y="6049"/>
                </a:lnTo>
                <a:lnTo>
                  <a:pt x="709" y="6045"/>
                </a:lnTo>
                <a:lnTo>
                  <a:pt x="750" y="6036"/>
                </a:lnTo>
                <a:lnTo>
                  <a:pt x="791" y="6025"/>
                </a:lnTo>
                <a:lnTo>
                  <a:pt x="830" y="6012"/>
                </a:lnTo>
                <a:lnTo>
                  <a:pt x="870" y="6002"/>
                </a:lnTo>
                <a:lnTo>
                  <a:pt x="908" y="5994"/>
                </a:lnTo>
                <a:lnTo>
                  <a:pt x="946" y="5993"/>
                </a:lnTo>
                <a:lnTo>
                  <a:pt x="983" y="5998"/>
                </a:lnTo>
                <a:lnTo>
                  <a:pt x="968" y="6015"/>
                </a:lnTo>
                <a:lnTo>
                  <a:pt x="947" y="6029"/>
                </a:lnTo>
                <a:lnTo>
                  <a:pt x="923" y="6039"/>
                </a:lnTo>
                <a:lnTo>
                  <a:pt x="898" y="6046"/>
                </a:lnTo>
                <a:lnTo>
                  <a:pt x="871" y="6050"/>
                </a:lnTo>
                <a:lnTo>
                  <a:pt x="844" y="6053"/>
                </a:lnTo>
                <a:lnTo>
                  <a:pt x="819" y="6051"/>
                </a:lnTo>
                <a:lnTo>
                  <a:pt x="795" y="6049"/>
                </a:lnTo>
                <a:lnTo>
                  <a:pt x="762" y="6074"/>
                </a:lnTo>
                <a:lnTo>
                  <a:pt x="723" y="6095"/>
                </a:lnTo>
                <a:lnTo>
                  <a:pt x="681" y="6111"/>
                </a:lnTo>
                <a:lnTo>
                  <a:pt x="637" y="6125"/>
                </a:lnTo>
                <a:lnTo>
                  <a:pt x="593" y="6139"/>
                </a:lnTo>
                <a:lnTo>
                  <a:pt x="550" y="6155"/>
                </a:lnTo>
                <a:lnTo>
                  <a:pt x="512" y="6175"/>
                </a:lnTo>
                <a:lnTo>
                  <a:pt x="479" y="6200"/>
                </a:lnTo>
                <a:lnTo>
                  <a:pt x="532" y="6200"/>
                </a:lnTo>
                <a:lnTo>
                  <a:pt x="585" y="6191"/>
                </a:lnTo>
                <a:lnTo>
                  <a:pt x="635" y="6179"/>
                </a:lnTo>
                <a:lnTo>
                  <a:pt x="688" y="6162"/>
                </a:lnTo>
                <a:lnTo>
                  <a:pt x="740" y="6146"/>
                </a:lnTo>
                <a:lnTo>
                  <a:pt x="795" y="6133"/>
                </a:lnTo>
                <a:lnTo>
                  <a:pt x="849" y="6124"/>
                </a:lnTo>
                <a:lnTo>
                  <a:pt x="908" y="6124"/>
                </a:lnTo>
                <a:lnTo>
                  <a:pt x="891" y="6132"/>
                </a:lnTo>
                <a:lnTo>
                  <a:pt x="874" y="6141"/>
                </a:lnTo>
                <a:lnTo>
                  <a:pt x="856" y="6149"/>
                </a:lnTo>
                <a:lnTo>
                  <a:pt x="841" y="6160"/>
                </a:lnTo>
                <a:lnTo>
                  <a:pt x="828" y="6171"/>
                </a:lnTo>
                <a:lnTo>
                  <a:pt x="820" y="6183"/>
                </a:lnTo>
                <a:lnTo>
                  <a:pt x="816" y="6197"/>
                </a:lnTo>
                <a:lnTo>
                  <a:pt x="820" y="6213"/>
                </a:lnTo>
                <a:lnTo>
                  <a:pt x="792" y="6214"/>
                </a:lnTo>
                <a:lnTo>
                  <a:pt x="767" y="6216"/>
                </a:lnTo>
                <a:lnTo>
                  <a:pt x="741" y="6219"/>
                </a:lnTo>
                <a:lnTo>
                  <a:pt x="717" y="6223"/>
                </a:lnTo>
                <a:lnTo>
                  <a:pt x="697" y="6231"/>
                </a:lnTo>
                <a:lnTo>
                  <a:pt x="679" y="6241"/>
                </a:lnTo>
                <a:lnTo>
                  <a:pt x="665" y="6256"/>
                </a:lnTo>
                <a:lnTo>
                  <a:pt x="656" y="6275"/>
                </a:lnTo>
                <a:lnTo>
                  <a:pt x="674" y="6284"/>
                </a:lnTo>
                <a:lnTo>
                  <a:pt x="694" y="6284"/>
                </a:lnTo>
                <a:lnTo>
                  <a:pt x="716" y="6278"/>
                </a:lnTo>
                <a:lnTo>
                  <a:pt x="739" y="6270"/>
                </a:lnTo>
                <a:lnTo>
                  <a:pt x="762" y="6261"/>
                </a:lnTo>
                <a:lnTo>
                  <a:pt x="783" y="6255"/>
                </a:lnTo>
                <a:lnTo>
                  <a:pt x="802" y="6255"/>
                </a:lnTo>
                <a:lnTo>
                  <a:pt x="820" y="6263"/>
                </a:lnTo>
                <a:lnTo>
                  <a:pt x="801" y="6287"/>
                </a:lnTo>
                <a:lnTo>
                  <a:pt x="772" y="6300"/>
                </a:lnTo>
                <a:lnTo>
                  <a:pt x="735" y="6306"/>
                </a:lnTo>
                <a:lnTo>
                  <a:pt x="697" y="6310"/>
                </a:lnTo>
                <a:lnTo>
                  <a:pt x="658" y="6314"/>
                </a:lnTo>
                <a:lnTo>
                  <a:pt x="623" y="6323"/>
                </a:lnTo>
                <a:lnTo>
                  <a:pt x="596" y="6338"/>
                </a:lnTo>
                <a:lnTo>
                  <a:pt x="579" y="6363"/>
                </a:lnTo>
                <a:lnTo>
                  <a:pt x="616" y="6379"/>
                </a:lnTo>
                <a:lnTo>
                  <a:pt x="656" y="6386"/>
                </a:lnTo>
                <a:lnTo>
                  <a:pt x="697" y="6389"/>
                </a:lnTo>
                <a:lnTo>
                  <a:pt x="737" y="6387"/>
                </a:lnTo>
                <a:lnTo>
                  <a:pt x="776" y="6381"/>
                </a:lnTo>
                <a:lnTo>
                  <a:pt x="812" y="6373"/>
                </a:lnTo>
                <a:lnTo>
                  <a:pt x="844" y="6363"/>
                </a:lnTo>
                <a:lnTo>
                  <a:pt x="870" y="6352"/>
                </a:lnTo>
                <a:lnTo>
                  <a:pt x="865" y="6358"/>
                </a:lnTo>
                <a:lnTo>
                  <a:pt x="861" y="6367"/>
                </a:lnTo>
                <a:lnTo>
                  <a:pt x="858" y="6379"/>
                </a:lnTo>
                <a:lnTo>
                  <a:pt x="857" y="6389"/>
                </a:lnTo>
                <a:lnTo>
                  <a:pt x="853" y="6398"/>
                </a:lnTo>
                <a:lnTo>
                  <a:pt x="849" y="6407"/>
                </a:lnTo>
                <a:lnTo>
                  <a:pt x="842" y="6412"/>
                </a:lnTo>
                <a:lnTo>
                  <a:pt x="832" y="6414"/>
                </a:lnTo>
                <a:lnTo>
                  <a:pt x="824" y="6400"/>
                </a:lnTo>
                <a:lnTo>
                  <a:pt x="812" y="6393"/>
                </a:lnTo>
                <a:lnTo>
                  <a:pt x="797" y="6393"/>
                </a:lnTo>
                <a:lnTo>
                  <a:pt x="782" y="6398"/>
                </a:lnTo>
                <a:lnTo>
                  <a:pt x="765" y="6407"/>
                </a:lnTo>
                <a:lnTo>
                  <a:pt x="751" y="6418"/>
                </a:lnTo>
                <a:lnTo>
                  <a:pt x="740" y="6429"/>
                </a:lnTo>
                <a:lnTo>
                  <a:pt x="731" y="6440"/>
                </a:lnTo>
                <a:lnTo>
                  <a:pt x="760" y="6440"/>
                </a:lnTo>
                <a:lnTo>
                  <a:pt x="788" y="6440"/>
                </a:lnTo>
                <a:lnTo>
                  <a:pt x="800" y="6441"/>
                </a:lnTo>
                <a:lnTo>
                  <a:pt x="810" y="6446"/>
                </a:lnTo>
                <a:lnTo>
                  <a:pt x="816" y="6454"/>
                </a:lnTo>
                <a:lnTo>
                  <a:pt x="820" y="6465"/>
                </a:lnTo>
                <a:lnTo>
                  <a:pt x="800" y="6466"/>
                </a:lnTo>
                <a:lnTo>
                  <a:pt x="779" y="6471"/>
                </a:lnTo>
                <a:lnTo>
                  <a:pt x="759" y="6480"/>
                </a:lnTo>
                <a:lnTo>
                  <a:pt x="739" y="6489"/>
                </a:lnTo>
                <a:lnTo>
                  <a:pt x="721" y="6496"/>
                </a:lnTo>
                <a:lnTo>
                  <a:pt x="704" y="6497"/>
                </a:lnTo>
                <a:lnTo>
                  <a:pt x="692" y="6492"/>
                </a:lnTo>
                <a:lnTo>
                  <a:pt x="681" y="6478"/>
                </a:lnTo>
                <a:lnTo>
                  <a:pt x="690" y="6479"/>
                </a:lnTo>
                <a:lnTo>
                  <a:pt x="700" y="6477"/>
                </a:lnTo>
                <a:lnTo>
                  <a:pt x="708" y="6471"/>
                </a:lnTo>
                <a:lnTo>
                  <a:pt x="714" y="6464"/>
                </a:lnTo>
                <a:lnTo>
                  <a:pt x="718" y="6456"/>
                </a:lnTo>
                <a:lnTo>
                  <a:pt x="720" y="6449"/>
                </a:lnTo>
                <a:lnTo>
                  <a:pt x="714" y="6443"/>
                </a:lnTo>
                <a:lnTo>
                  <a:pt x="706" y="6440"/>
                </a:lnTo>
                <a:lnTo>
                  <a:pt x="679" y="6473"/>
                </a:lnTo>
                <a:lnTo>
                  <a:pt x="641" y="6501"/>
                </a:lnTo>
                <a:lnTo>
                  <a:pt x="596" y="6524"/>
                </a:lnTo>
                <a:lnTo>
                  <a:pt x="548" y="6541"/>
                </a:lnTo>
                <a:lnTo>
                  <a:pt x="495" y="6557"/>
                </a:lnTo>
                <a:lnTo>
                  <a:pt x="444" y="6567"/>
                </a:lnTo>
                <a:lnTo>
                  <a:pt x="396" y="6573"/>
                </a:lnTo>
                <a:lnTo>
                  <a:pt x="353" y="6578"/>
                </a:lnTo>
                <a:lnTo>
                  <a:pt x="362" y="6564"/>
                </a:lnTo>
                <a:lnTo>
                  <a:pt x="376" y="6557"/>
                </a:lnTo>
                <a:lnTo>
                  <a:pt x="394" y="6552"/>
                </a:lnTo>
                <a:lnTo>
                  <a:pt x="413" y="6549"/>
                </a:lnTo>
                <a:lnTo>
                  <a:pt x="432" y="6547"/>
                </a:lnTo>
                <a:lnTo>
                  <a:pt x="448" y="6540"/>
                </a:lnTo>
                <a:lnTo>
                  <a:pt x="461" y="6531"/>
                </a:lnTo>
                <a:lnTo>
                  <a:pt x="466" y="6515"/>
                </a:lnTo>
                <a:lnTo>
                  <a:pt x="446" y="6513"/>
                </a:lnTo>
                <a:lnTo>
                  <a:pt x="427" y="6513"/>
                </a:lnTo>
                <a:lnTo>
                  <a:pt x="409" y="6515"/>
                </a:lnTo>
                <a:lnTo>
                  <a:pt x="392" y="6517"/>
                </a:lnTo>
                <a:lnTo>
                  <a:pt x="360" y="6522"/>
                </a:lnTo>
                <a:lnTo>
                  <a:pt x="327" y="6527"/>
                </a:lnTo>
                <a:lnTo>
                  <a:pt x="332" y="6506"/>
                </a:lnTo>
                <a:lnTo>
                  <a:pt x="332" y="6488"/>
                </a:lnTo>
                <a:lnTo>
                  <a:pt x="329" y="6473"/>
                </a:lnTo>
                <a:lnTo>
                  <a:pt x="321" y="6460"/>
                </a:lnTo>
                <a:lnTo>
                  <a:pt x="313" y="6449"/>
                </a:lnTo>
                <a:lnTo>
                  <a:pt x="304" y="6436"/>
                </a:lnTo>
                <a:lnTo>
                  <a:pt x="297" y="6421"/>
                </a:lnTo>
                <a:lnTo>
                  <a:pt x="290" y="6401"/>
                </a:lnTo>
                <a:lnTo>
                  <a:pt x="278" y="6405"/>
                </a:lnTo>
                <a:lnTo>
                  <a:pt x="267" y="6408"/>
                </a:lnTo>
                <a:lnTo>
                  <a:pt x="260" y="6409"/>
                </a:lnTo>
                <a:lnTo>
                  <a:pt x="252" y="6410"/>
                </a:lnTo>
                <a:lnTo>
                  <a:pt x="245" y="6409"/>
                </a:lnTo>
                <a:lnTo>
                  <a:pt x="237" y="6408"/>
                </a:lnTo>
                <a:lnTo>
                  <a:pt x="227" y="6405"/>
                </a:lnTo>
                <a:lnTo>
                  <a:pt x="214" y="6401"/>
                </a:lnTo>
                <a:lnTo>
                  <a:pt x="219" y="6390"/>
                </a:lnTo>
                <a:lnTo>
                  <a:pt x="224" y="6380"/>
                </a:lnTo>
                <a:lnTo>
                  <a:pt x="227" y="6375"/>
                </a:lnTo>
                <a:lnTo>
                  <a:pt x="228" y="6368"/>
                </a:lnTo>
                <a:lnTo>
                  <a:pt x="228" y="6361"/>
                </a:lnTo>
                <a:lnTo>
                  <a:pt x="227" y="6352"/>
                </a:lnTo>
                <a:lnTo>
                  <a:pt x="209" y="6356"/>
                </a:lnTo>
                <a:lnTo>
                  <a:pt x="190" y="6357"/>
                </a:lnTo>
                <a:lnTo>
                  <a:pt x="172" y="6354"/>
                </a:lnTo>
                <a:lnTo>
                  <a:pt x="153" y="6351"/>
                </a:lnTo>
                <a:lnTo>
                  <a:pt x="135" y="6348"/>
                </a:lnTo>
                <a:lnTo>
                  <a:pt x="116" y="6345"/>
                </a:lnTo>
                <a:lnTo>
                  <a:pt x="96" y="6347"/>
                </a:lnTo>
                <a:lnTo>
                  <a:pt x="75" y="6352"/>
                </a:lnTo>
                <a:lnTo>
                  <a:pt x="62" y="6376"/>
                </a:lnTo>
                <a:lnTo>
                  <a:pt x="56" y="6398"/>
                </a:lnTo>
                <a:lnTo>
                  <a:pt x="57" y="6418"/>
                </a:lnTo>
                <a:lnTo>
                  <a:pt x="62" y="6436"/>
                </a:lnTo>
                <a:lnTo>
                  <a:pt x="70" y="6455"/>
                </a:lnTo>
                <a:lnTo>
                  <a:pt x="79" y="6477"/>
                </a:lnTo>
                <a:lnTo>
                  <a:pt x="85" y="6499"/>
                </a:lnTo>
                <a:lnTo>
                  <a:pt x="88" y="6527"/>
                </a:lnTo>
                <a:lnTo>
                  <a:pt x="103" y="6529"/>
                </a:lnTo>
                <a:lnTo>
                  <a:pt x="120" y="6529"/>
                </a:lnTo>
                <a:lnTo>
                  <a:pt x="126" y="6529"/>
                </a:lnTo>
                <a:lnTo>
                  <a:pt x="131" y="6531"/>
                </a:lnTo>
                <a:lnTo>
                  <a:pt x="136" y="6535"/>
                </a:lnTo>
                <a:lnTo>
                  <a:pt x="139" y="6540"/>
                </a:lnTo>
                <a:lnTo>
                  <a:pt x="134" y="6577"/>
                </a:lnTo>
                <a:lnTo>
                  <a:pt x="141" y="6609"/>
                </a:lnTo>
                <a:lnTo>
                  <a:pt x="155" y="6638"/>
                </a:lnTo>
                <a:lnTo>
                  <a:pt x="174" y="6666"/>
                </a:lnTo>
                <a:lnTo>
                  <a:pt x="192" y="6696"/>
                </a:lnTo>
                <a:lnTo>
                  <a:pt x="205" y="6727"/>
                </a:lnTo>
                <a:lnTo>
                  <a:pt x="210" y="6763"/>
                </a:lnTo>
                <a:lnTo>
                  <a:pt x="201" y="6805"/>
                </a:lnTo>
                <a:lnTo>
                  <a:pt x="222" y="6811"/>
                </a:lnTo>
                <a:lnTo>
                  <a:pt x="238" y="6823"/>
                </a:lnTo>
                <a:lnTo>
                  <a:pt x="250" y="6837"/>
                </a:lnTo>
                <a:lnTo>
                  <a:pt x="259" y="6856"/>
                </a:lnTo>
                <a:lnTo>
                  <a:pt x="264" y="6878"/>
                </a:lnTo>
                <a:lnTo>
                  <a:pt x="266" y="6902"/>
                </a:lnTo>
                <a:lnTo>
                  <a:pt x="266" y="6927"/>
                </a:lnTo>
                <a:lnTo>
                  <a:pt x="265" y="6956"/>
                </a:lnTo>
                <a:lnTo>
                  <a:pt x="287" y="6974"/>
                </a:lnTo>
                <a:lnTo>
                  <a:pt x="307" y="6993"/>
                </a:lnTo>
                <a:lnTo>
                  <a:pt x="325" y="7014"/>
                </a:lnTo>
                <a:lnTo>
                  <a:pt x="344" y="7035"/>
                </a:lnTo>
                <a:lnTo>
                  <a:pt x="380" y="7079"/>
                </a:lnTo>
                <a:lnTo>
                  <a:pt x="416" y="7121"/>
                </a:lnTo>
                <a:lnTo>
                  <a:pt x="419" y="7137"/>
                </a:lnTo>
                <a:lnTo>
                  <a:pt x="416" y="7150"/>
                </a:lnTo>
                <a:lnTo>
                  <a:pt x="410" y="7158"/>
                </a:lnTo>
                <a:lnTo>
                  <a:pt x="402" y="7163"/>
                </a:lnTo>
                <a:lnTo>
                  <a:pt x="392" y="7168"/>
                </a:lnTo>
                <a:lnTo>
                  <a:pt x="385" y="7174"/>
                </a:lnTo>
                <a:lnTo>
                  <a:pt x="380" y="7183"/>
                </a:lnTo>
                <a:lnTo>
                  <a:pt x="378" y="7196"/>
                </a:lnTo>
                <a:lnTo>
                  <a:pt x="382" y="7202"/>
                </a:lnTo>
                <a:lnTo>
                  <a:pt x="386" y="7210"/>
                </a:lnTo>
                <a:lnTo>
                  <a:pt x="388" y="7219"/>
                </a:lnTo>
                <a:lnTo>
                  <a:pt x="391" y="7228"/>
                </a:lnTo>
                <a:lnTo>
                  <a:pt x="394" y="7237"/>
                </a:lnTo>
                <a:lnTo>
                  <a:pt x="396" y="7244"/>
                </a:lnTo>
                <a:lnTo>
                  <a:pt x="399" y="7252"/>
                </a:lnTo>
                <a:lnTo>
                  <a:pt x="404" y="7258"/>
                </a:lnTo>
                <a:lnTo>
                  <a:pt x="436" y="7258"/>
                </a:lnTo>
                <a:lnTo>
                  <a:pt x="467" y="7258"/>
                </a:lnTo>
                <a:lnTo>
                  <a:pt x="481" y="7259"/>
                </a:lnTo>
                <a:lnTo>
                  <a:pt x="493" y="7265"/>
                </a:lnTo>
                <a:lnTo>
                  <a:pt x="500" y="7272"/>
                </a:lnTo>
                <a:lnTo>
                  <a:pt x="504" y="7284"/>
                </a:lnTo>
                <a:lnTo>
                  <a:pt x="493" y="7295"/>
                </a:lnTo>
                <a:lnTo>
                  <a:pt x="484" y="7307"/>
                </a:lnTo>
                <a:lnTo>
                  <a:pt x="478" y="7319"/>
                </a:lnTo>
                <a:lnTo>
                  <a:pt x="472" y="7331"/>
                </a:lnTo>
                <a:lnTo>
                  <a:pt x="472" y="7343"/>
                </a:lnTo>
                <a:lnTo>
                  <a:pt x="475" y="7356"/>
                </a:lnTo>
                <a:lnTo>
                  <a:pt x="481" y="7370"/>
                </a:lnTo>
                <a:lnTo>
                  <a:pt x="492" y="7384"/>
                </a:lnTo>
                <a:lnTo>
                  <a:pt x="521" y="7375"/>
                </a:lnTo>
                <a:lnTo>
                  <a:pt x="551" y="7366"/>
                </a:lnTo>
                <a:lnTo>
                  <a:pt x="582" y="7357"/>
                </a:lnTo>
                <a:lnTo>
                  <a:pt x="614" y="7349"/>
                </a:lnTo>
                <a:lnTo>
                  <a:pt x="643" y="7338"/>
                </a:lnTo>
                <a:lnTo>
                  <a:pt x="671" y="7327"/>
                </a:lnTo>
                <a:lnTo>
                  <a:pt x="697" y="7314"/>
                </a:lnTo>
                <a:lnTo>
                  <a:pt x="718" y="7296"/>
                </a:lnTo>
                <a:lnTo>
                  <a:pt x="707" y="7287"/>
                </a:lnTo>
                <a:lnTo>
                  <a:pt x="693" y="7284"/>
                </a:lnTo>
                <a:lnTo>
                  <a:pt x="679" y="7284"/>
                </a:lnTo>
                <a:lnTo>
                  <a:pt x="665" y="7285"/>
                </a:lnTo>
                <a:lnTo>
                  <a:pt x="649" y="7289"/>
                </a:lnTo>
                <a:lnTo>
                  <a:pt x="635" y="7293"/>
                </a:lnTo>
                <a:lnTo>
                  <a:pt x="620" y="7295"/>
                </a:lnTo>
                <a:lnTo>
                  <a:pt x="605" y="7296"/>
                </a:lnTo>
                <a:lnTo>
                  <a:pt x="609" y="7285"/>
                </a:lnTo>
                <a:lnTo>
                  <a:pt x="616" y="7276"/>
                </a:lnTo>
                <a:lnTo>
                  <a:pt x="628" y="7271"/>
                </a:lnTo>
                <a:lnTo>
                  <a:pt x="639" y="7267"/>
                </a:lnTo>
                <a:lnTo>
                  <a:pt x="651" y="7263"/>
                </a:lnTo>
                <a:lnTo>
                  <a:pt x="661" y="7257"/>
                </a:lnTo>
                <a:lnTo>
                  <a:pt x="667" y="7248"/>
                </a:lnTo>
                <a:lnTo>
                  <a:pt x="669" y="7234"/>
                </a:lnTo>
                <a:lnTo>
                  <a:pt x="657" y="7224"/>
                </a:lnTo>
                <a:lnTo>
                  <a:pt x="646" y="7221"/>
                </a:lnTo>
                <a:lnTo>
                  <a:pt x="632" y="7223"/>
                </a:lnTo>
                <a:lnTo>
                  <a:pt x="618" y="7228"/>
                </a:lnTo>
                <a:lnTo>
                  <a:pt x="602" y="7233"/>
                </a:lnTo>
                <a:lnTo>
                  <a:pt x="590" y="7235"/>
                </a:lnTo>
                <a:lnTo>
                  <a:pt x="577" y="7231"/>
                </a:lnTo>
                <a:lnTo>
                  <a:pt x="568" y="7221"/>
                </a:lnTo>
                <a:lnTo>
                  <a:pt x="590" y="7209"/>
                </a:lnTo>
                <a:lnTo>
                  <a:pt x="615" y="7200"/>
                </a:lnTo>
                <a:lnTo>
                  <a:pt x="642" y="7191"/>
                </a:lnTo>
                <a:lnTo>
                  <a:pt x="667" y="7183"/>
                </a:lnTo>
                <a:lnTo>
                  <a:pt x="694" y="7174"/>
                </a:lnTo>
                <a:lnTo>
                  <a:pt x="717" y="7163"/>
                </a:lnTo>
                <a:lnTo>
                  <a:pt x="739" y="7150"/>
                </a:lnTo>
                <a:lnTo>
                  <a:pt x="756" y="7132"/>
                </a:lnTo>
                <a:lnTo>
                  <a:pt x="730" y="7133"/>
                </a:lnTo>
                <a:lnTo>
                  <a:pt x="700" y="7137"/>
                </a:lnTo>
                <a:lnTo>
                  <a:pt x="671" y="7141"/>
                </a:lnTo>
                <a:lnTo>
                  <a:pt x="641" y="7145"/>
                </a:lnTo>
                <a:lnTo>
                  <a:pt x="610" y="7147"/>
                </a:lnTo>
                <a:lnTo>
                  <a:pt x="581" y="7147"/>
                </a:lnTo>
                <a:lnTo>
                  <a:pt x="554" y="7142"/>
                </a:lnTo>
                <a:lnTo>
                  <a:pt x="530" y="7132"/>
                </a:lnTo>
                <a:lnTo>
                  <a:pt x="544" y="7136"/>
                </a:lnTo>
                <a:lnTo>
                  <a:pt x="554" y="7135"/>
                </a:lnTo>
                <a:lnTo>
                  <a:pt x="560" y="7131"/>
                </a:lnTo>
                <a:lnTo>
                  <a:pt x="565" y="7124"/>
                </a:lnTo>
                <a:lnTo>
                  <a:pt x="568" y="7116"/>
                </a:lnTo>
                <a:lnTo>
                  <a:pt x="569" y="7105"/>
                </a:lnTo>
                <a:lnTo>
                  <a:pt x="568" y="7094"/>
                </a:lnTo>
                <a:lnTo>
                  <a:pt x="568" y="7082"/>
                </a:lnTo>
                <a:lnTo>
                  <a:pt x="553" y="7082"/>
                </a:lnTo>
                <a:lnTo>
                  <a:pt x="540" y="7081"/>
                </a:lnTo>
                <a:lnTo>
                  <a:pt x="527" y="7080"/>
                </a:lnTo>
                <a:lnTo>
                  <a:pt x="516" y="7077"/>
                </a:lnTo>
                <a:lnTo>
                  <a:pt x="504" y="7074"/>
                </a:lnTo>
                <a:lnTo>
                  <a:pt x="495" y="7070"/>
                </a:lnTo>
                <a:lnTo>
                  <a:pt x="486" y="7063"/>
                </a:lnTo>
                <a:lnTo>
                  <a:pt x="479" y="7057"/>
                </a:lnTo>
                <a:lnTo>
                  <a:pt x="557" y="7035"/>
                </a:lnTo>
                <a:lnTo>
                  <a:pt x="638" y="7014"/>
                </a:lnTo>
                <a:lnTo>
                  <a:pt x="722" y="6992"/>
                </a:lnTo>
                <a:lnTo>
                  <a:pt x="806" y="6972"/>
                </a:lnTo>
                <a:lnTo>
                  <a:pt x="890" y="6951"/>
                </a:lnTo>
                <a:lnTo>
                  <a:pt x="972" y="6934"/>
                </a:lnTo>
                <a:lnTo>
                  <a:pt x="1049" y="6918"/>
                </a:lnTo>
                <a:lnTo>
                  <a:pt x="1122" y="6906"/>
                </a:lnTo>
                <a:lnTo>
                  <a:pt x="1103" y="6932"/>
                </a:lnTo>
                <a:lnTo>
                  <a:pt x="1075" y="6950"/>
                </a:lnTo>
                <a:lnTo>
                  <a:pt x="1042" y="6963"/>
                </a:lnTo>
                <a:lnTo>
                  <a:pt x="1006" y="6973"/>
                </a:lnTo>
                <a:lnTo>
                  <a:pt x="970" y="6983"/>
                </a:lnTo>
                <a:lnTo>
                  <a:pt x="939" y="6996"/>
                </a:lnTo>
                <a:lnTo>
                  <a:pt x="912" y="7016"/>
                </a:lnTo>
                <a:lnTo>
                  <a:pt x="895" y="7044"/>
                </a:lnTo>
                <a:lnTo>
                  <a:pt x="912" y="7046"/>
                </a:lnTo>
                <a:lnTo>
                  <a:pt x="928" y="7042"/>
                </a:lnTo>
                <a:lnTo>
                  <a:pt x="944" y="7037"/>
                </a:lnTo>
                <a:lnTo>
                  <a:pt x="960" y="7030"/>
                </a:lnTo>
                <a:lnTo>
                  <a:pt x="974" y="7025"/>
                </a:lnTo>
                <a:lnTo>
                  <a:pt x="988" y="7023"/>
                </a:lnTo>
                <a:lnTo>
                  <a:pt x="1000" y="7024"/>
                </a:lnTo>
                <a:lnTo>
                  <a:pt x="1009" y="7032"/>
                </a:lnTo>
                <a:lnTo>
                  <a:pt x="1000" y="7047"/>
                </a:lnTo>
                <a:lnTo>
                  <a:pt x="987" y="7057"/>
                </a:lnTo>
                <a:lnTo>
                  <a:pt x="972" y="7065"/>
                </a:lnTo>
                <a:lnTo>
                  <a:pt x="954" y="7071"/>
                </a:lnTo>
                <a:lnTo>
                  <a:pt x="936" y="7077"/>
                </a:lnTo>
                <a:lnTo>
                  <a:pt x="919" y="7084"/>
                </a:lnTo>
                <a:lnTo>
                  <a:pt x="905" y="7094"/>
                </a:lnTo>
                <a:lnTo>
                  <a:pt x="895" y="7108"/>
                </a:lnTo>
                <a:lnTo>
                  <a:pt x="907" y="7114"/>
                </a:lnTo>
                <a:lnTo>
                  <a:pt x="919" y="7116"/>
                </a:lnTo>
                <a:lnTo>
                  <a:pt x="933" y="7114"/>
                </a:lnTo>
                <a:lnTo>
                  <a:pt x="949" y="7112"/>
                </a:lnTo>
                <a:lnTo>
                  <a:pt x="964" y="7108"/>
                </a:lnTo>
                <a:lnTo>
                  <a:pt x="982" y="7105"/>
                </a:lnTo>
                <a:lnTo>
                  <a:pt x="1001" y="7104"/>
                </a:lnTo>
                <a:lnTo>
                  <a:pt x="1021" y="7108"/>
                </a:lnTo>
                <a:lnTo>
                  <a:pt x="1014" y="7122"/>
                </a:lnTo>
                <a:lnTo>
                  <a:pt x="1019" y="7131"/>
                </a:lnTo>
                <a:lnTo>
                  <a:pt x="1034" y="7133"/>
                </a:lnTo>
                <a:lnTo>
                  <a:pt x="1056" y="7133"/>
                </a:lnTo>
                <a:lnTo>
                  <a:pt x="1079" y="7135"/>
                </a:lnTo>
                <a:lnTo>
                  <a:pt x="1100" y="7137"/>
                </a:lnTo>
                <a:lnTo>
                  <a:pt x="1116" y="7144"/>
                </a:lnTo>
                <a:lnTo>
                  <a:pt x="1122" y="7158"/>
                </a:lnTo>
                <a:lnTo>
                  <a:pt x="1113" y="7164"/>
                </a:lnTo>
                <a:lnTo>
                  <a:pt x="1104" y="7172"/>
                </a:lnTo>
                <a:lnTo>
                  <a:pt x="1096" y="7180"/>
                </a:lnTo>
                <a:lnTo>
                  <a:pt x="1090" y="7189"/>
                </a:lnTo>
                <a:lnTo>
                  <a:pt x="1085" y="7198"/>
                </a:lnTo>
                <a:lnTo>
                  <a:pt x="1080" y="7210"/>
                </a:lnTo>
                <a:lnTo>
                  <a:pt x="1075" y="7221"/>
                </a:lnTo>
                <a:lnTo>
                  <a:pt x="1072" y="7234"/>
                </a:lnTo>
                <a:lnTo>
                  <a:pt x="1090" y="7238"/>
                </a:lnTo>
                <a:lnTo>
                  <a:pt x="1108" y="7242"/>
                </a:lnTo>
                <a:lnTo>
                  <a:pt x="1116" y="7244"/>
                </a:lnTo>
                <a:lnTo>
                  <a:pt x="1123" y="7248"/>
                </a:lnTo>
                <a:lnTo>
                  <a:pt x="1130" y="7253"/>
                </a:lnTo>
                <a:lnTo>
                  <a:pt x="1135" y="7258"/>
                </a:lnTo>
                <a:lnTo>
                  <a:pt x="1114" y="7282"/>
                </a:lnTo>
                <a:lnTo>
                  <a:pt x="1094" y="7307"/>
                </a:lnTo>
                <a:lnTo>
                  <a:pt x="1084" y="7318"/>
                </a:lnTo>
                <a:lnTo>
                  <a:pt x="1072" y="7328"/>
                </a:lnTo>
                <a:lnTo>
                  <a:pt x="1060" y="7338"/>
                </a:lnTo>
                <a:lnTo>
                  <a:pt x="1047" y="7347"/>
                </a:lnTo>
                <a:lnTo>
                  <a:pt x="1096" y="7337"/>
                </a:lnTo>
                <a:lnTo>
                  <a:pt x="1147" y="7328"/>
                </a:lnTo>
                <a:lnTo>
                  <a:pt x="1170" y="7328"/>
                </a:lnTo>
                <a:lnTo>
                  <a:pt x="1192" y="7332"/>
                </a:lnTo>
                <a:lnTo>
                  <a:pt x="1210" y="7342"/>
                </a:lnTo>
                <a:lnTo>
                  <a:pt x="1223" y="7360"/>
                </a:lnTo>
                <a:lnTo>
                  <a:pt x="1219" y="7371"/>
                </a:lnTo>
                <a:lnTo>
                  <a:pt x="1212" y="7380"/>
                </a:lnTo>
                <a:lnTo>
                  <a:pt x="1203" y="7387"/>
                </a:lnTo>
                <a:lnTo>
                  <a:pt x="1193" y="7392"/>
                </a:lnTo>
                <a:lnTo>
                  <a:pt x="1182" y="7398"/>
                </a:lnTo>
                <a:lnTo>
                  <a:pt x="1173" y="7403"/>
                </a:lnTo>
                <a:lnTo>
                  <a:pt x="1165" y="7412"/>
                </a:lnTo>
                <a:lnTo>
                  <a:pt x="1160" y="7422"/>
                </a:lnTo>
                <a:lnTo>
                  <a:pt x="1172" y="7433"/>
                </a:lnTo>
                <a:lnTo>
                  <a:pt x="1186" y="7434"/>
                </a:lnTo>
                <a:lnTo>
                  <a:pt x="1198" y="7429"/>
                </a:lnTo>
                <a:lnTo>
                  <a:pt x="1211" y="7422"/>
                </a:lnTo>
                <a:lnTo>
                  <a:pt x="1223" y="7416"/>
                </a:lnTo>
                <a:lnTo>
                  <a:pt x="1233" y="7415"/>
                </a:lnTo>
                <a:lnTo>
                  <a:pt x="1242" y="7420"/>
                </a:lnTo>
                <a:lnTo>
                  <a:pt x="1248" y="7435"/>
                </a:lnTo>
                <a:lnTo>
                  <a:pt x="1244" y="7457"/>
                </a:lnTo>
                <a:lnTo>
                  <a:pt x="1234" y="7472"/>
                </a:lnTo>
                <a:lnTo>
                  <a:pt x="1221" y="7483"/>
                </a:lnTo>
                <a:lnTo>
                  <a:pt x="1205" y="7492"/>
                </a:lnTo>
                <a:lnTo>
                  <a:pt x="1188" y="7501"/>
                </a:lnTo>
                <a:lnTo>
                  <a:pt x="1172" y="7510"/>
                </a:lnTo>
                <a:lnTo>
                  <a:pt x="1158" y="7522"/>
                </a:lnTo>
                <a:lnTo>
                  <a:pt x="1147" y="7536"/>
                </a:lnTo>
                <a:lnTo>
                  <a:pt x="1175" y="7536"/>
                </a:lnTo>
                <a:lnTo>
                  <a:pt x="1203" y="7534"/>
                </a:lnTo>
                <a:lnTo>
                  <a:pt x="1230" y="7532"/>
                </a:lnTo>
                <a:lnTo>
                  <a:pt x="1257" y="7529"/>
                </a:lnTo>
                <a:lnTo>
                  <a:pt x="1282" y="7527"/>
                </a:lnTo>
                <a:lnTo>
                  <a:pt x="1307" y="7524"/>
                </a:lnTo>
                <a:lnTo>
                  <a:pt x="1330" y="7523"/>
                </a:lnTo>
                <a:lnTo>
                  <a:pt x="1349" y="7523"/>
                </a:lnTo>
                <a:lnTo>
                  <a:pt x="1337" y="7539"/>
                </a:lnTo>
                <a:lnTo>
                  <a:pt x="1326" y="7555"/>
                </a:lnTo>
                <a:lnTo>
                  <a:pt x="1313" y="7567"/>
                </a:lnTo>
                <a:lnTo>
                  <a:pt x="1299" y="7579"/>
                </a:lnTo>
                <a:lnTo>
                  <a:pt x="1282" y="7589"/>
                </a:lnTo>
                <a:lnTo>
                  <a:pt x="1266" y="7601"/>
                </a:lnTo>
                <a:lnTo>
                  <a:pt x="1245" y="7612"/>
                </a:lnTo>
                <a:lnTo>
                  <a:pt x="1223" y="7625"/>
                </a:lnTo>
                <a:lnTo>
                  <a:pt x="1244" y="7618"/>
                </a:lnTo>
                <a:lnTo>
                  <a:pt x="1259" y="7618"/>
                </a:lnTo>
                <a:lnTo>
                  <a:pt x="1272" y="7622"/>
                </a:lnTo>
                <a:lnTo>
                  <a:pt x="1282" y="7629"/>
                </a:lnTo>
                <a:lnTo>
                  <a:pt x="1294" y="7637"/>
                </a:lnTo>
                <a:lnTo>
                  <a:pt x="1305" y="7648"/>
                </a:lnTo>
                <a:lnTo>
                  <a:pt x="1319" y="7655"/>
                </a:lnTo>
                <a:lnTo>
                  <a:pt x="1336" y="7662"/>
                </a:lnTo>
                <a:lnTo>
                  <a:pt x="1324" y="7672"/>
                </a:lnTo>
                <a:lnTo>
                  <a:pt x="1313" y="7683"/>
                </a:lnTo>
                <a:lnTo>
                  <a:pt x="1303" y="7695"/>
                </a:lnTo>
                <a:lnTo>
                  <a:pt x="1294" y="7707"/>
                </a:lnTo>
                <a:lnTo>
                  <a:pt x="1286" y="7721"/>
                </a:lnTo>
                <a:lnTo>
                  <a:pt x="1280" y="7738"/>
                </a:lnTo>
                <a:lnTo>
                  <a:pt x="1276" y="7756"/>
                </a:lnTo>
                <a:lnTo>
                  <a:pt x="1274" y="7775"/>
                </a:lnTo>
                <a:lnTo>
                  <a:pt x="1284" y="7781"/>
                </a:lnTo>
                <a:lnTo>
                  <a:pt x="1296" y="7784"/>
                </a:lnTo>
                <a:lnTo>
                  <a:pt x="1312" y="7785"/>
                </a:lnTo>
                <a:lnTo>
                  <a:pt x="1326" y="7785"/>
                </a:lnTo>
                <a:lnTo>
                  <a:pt x="1341" y="7786"/>
                </a:lnTo>
                <a:lnTo>
                  <a:pt x="1355" y="7789"/>
                </a:lnTo>
                <a:lnTo>
                  <a:pt x="1366" y="7793"/>
                </a:lnTo>
                <a:lnTo>
                  <a:pt x="1374" y="7800"/>
                </a:lnTo>
                <a:lnTo>
                  <a:pt x="1366" y="7800"/>
                </a:lnTo>
                <a:lnTo>
                  <a:pt x="1360" y="7802"/>
                </a:lnTo>
                <a:lnTo>
                  <a:pt x="1355" y="7806"/>
                </a:lnTo>
                <a:lnTo>
                  <a:pt x="1351" y="7809"/>
                </a:lnTo>
                <a:lnTo>
                  <a:pt x="1349" y="7814"/>
                </a:lnTo>
                <a:lnTo>
                  <a:pt x="1349" y="7822"/>
                </a:lnTo>
                <a:lnTo>
                  <a:pt x="1349" y="7830"/>
                </a:lnTo>
                <a:lnTo>
                  <a:pt x="1349" y="7839"/>
                </a:lnTo>
                <a:lnTo>
                  <a:pt x="1431" y="7856"/>
                </a:lnTo>
                <a:lnTo>
                  <a:pt x="1514" y="7854"/>
                </a:lnTo>
                <a:lnTo>
                  <a:pt x="1598" y="7835"/>
                </a:lnTo>
                <a:lnTo>
                  <a:pt x="1681" y="7807"/>
                </a:lnTo>
                <a:lnTo>
                  <a:pt x="1765" y="7772"/>
                </a:lnTo>
                <a:lnTo>
                  <a:pt x="1849" y="7737"/>
                </a:lnTo>
                <a:lnTo>
                  <a:pt x="1933" y="7707"/>
                </a:lnTo>
                <a:lnTo>
                  <a:pt x="2017" y="7687"/>
                </a:lnTo>
                <a:lnTo>
                  <a:pt x="1965" y="7734"/>
                </a:lnTo>
                <a:lnTo>
                  <a:pt x="1908" y="7767"/>
                </a:lnTo>
                <a:lnTo>
                  <a:pt x="1847" y="7792"/>
                </a:lnTo>
                <a:lnTo>
                  <a:pt x="1780" y="7809"/>
                </a:lnTo>
                <a:lnTo>
                  <a:pt x="1713" y="7827"/>
                </a:lnTo>
                <a:lnTo>
                  <a:pt x="1643" y="7848"/>
                </a:lnTo>
                <a:lnTo>
                  <a:pt x="1571" y="7874"/>
                </a:lnTo>
                <a:lnTo>
                  <a:pt x="1500" y="7914"/>
                </a:lnTo>
                <a:lnTo>
                  <a:pt x="1512" y="7937"/>
                </a:lnTo>
                <a:lnTo>
                  <a:pt x="1517" y="7952"/>
                </a:lnTo>
                <a:lnTo>
                  <a:pt x="1517" y="7965"/>
                </a:lnTo>
                <a:lnTo>
                  <a:pt x="1512" y="7975"/>
                </a:lnTo>
                <a:lnTo>
                  <a:pt x="1504" y="7985"/>
                </a:lnTo>
                <a:lnTo>
                  <a:pt x="1495" y="7996"/>
                </a:lnTo>
                <a:lnTo>
                  <a:pt x="1485" y="8009"/>
                </a:lnTo>
                <a:lnTo>
                  <a:pt x="1475" y="8027"/>
                </a:lnTo>
                <a:lnTo>
                  <a:pt x="1503" y="8030"/>
                </a:lnTo>
                <a:lnTo>
                  <a:pt x="1527" y="8030"/>
                </a:lnTo>
                <a:lnTo>
                  <a:pt x="1551" y="8027"/>
                </a:lnTo>
                <a:lnTo>
                  <a:pt x="1573" y="8024"/>
                </a:lnTo>
                <a:lnTo>
                  <a:pt x="1596" y="8022"/>
                </a:lnTo>
                <a:lnTo>
                  <a:pt x="1617" y="8018"/>
                </a:lnTo>
                <a:lnTo>
                  <a:pt x="1640" y="8016"/>
                </a:lnTo>
                <a:lnTo>
                  <a:pt x="1664" y="8014"/>
                </a:lnTo>
                <a:lnTo>
                  <a:pt x="1654" y="8026"/>
                </a:lnTo>
                <a:lnTo>
                  <a:pt x="1652" y="8035"/>
                </a:lnTo>
                <a:lnTo>
                  <a:pt x="1653" y="8041"/>
                </a:lnTo>
                <a:lnTo>
                  <a:pt x="1658" y="8046"/>
                </a:lnTo>
                <a:lnTo>
                  <a:pt x="1675" y="8055"/>
                </a:lnTo>
                <a:lnTo>
                  <a:pt x="1690" y="8065"/>
                </a:lnTo>
                <a:lnTo>
                  <a:pt x="1689" y="8078"/>
                </a:lnTo>
                <a:lnTo>
                  <a:pt x="1685" y="8089"/>
                </a:lnTo>
                <a:lnTo>
                  <a:pt x="1680" y="8100"/>
                </a:lnTo>
                <a:lnTo>
                  <a:pt x="1675" y="8107"/>
                </a:lnTo>
                <a:lnTo>
                  <a:pt x="1670" y="8115"/>
                </a:lnTo>
                <a:lnTo>
                  <a:pt x="1668" y="8124"/>
                </a:lnTo>
                <a:lnTo>
                  <a:pt x="1670" y="8131"/>
                </a:lnTo>
                <a:lnTo>
                  <a:pt x="1677" y="8140"/>
                </a:lnTo>
                <a:lnTo>
                  <a:pt x="1698" y="8143"/>
                </a:lnTo>
                <a:lnTo>
                  <a:pt x="1715" y="8142"/>
                </a:lnTo>
                <a:lnTo>
                  <a:pt x="1732" y="8139"/>
                </a:lnTo>
                <a:lnTo>
                  <a:pt x="1747" y="8135"/>
                </a:lnTo>
                <a:lnTo>
                  <a:pt x="1763" y="8131"/>
                </a:lnTo>
                <a:lnTo>
                  <a:pt x="1778" y="8129"/>
                </a:lnTo>
                <a:lnTo>
                  <a:pt x="1796" y="8128"/>
                </a:lnTo>
                <a:lnTo>
                  <a:pt x="1816" y="8129"/>
                </a:lnTo>
                <a:lnTo>
                  <a:pt x="1816" y="8166"/>
                </a:lnTo>
                <a:lnTo>
                  <a:pt x="1861" y="8167"/>
                </a:lnTo>
                <a:lnTo>
                  <a:pt x="1904" y="8163"/>
                </a:lnTo>
                <a:lnTo>
                  <a:pt x="1946" y="8154"/>
                </a:lnTo>
                <a:lnTo>
                  <a:pt x="1987" y="8142"/>
                </a:lnTo>
                <a:lnTo>
                  <a:pt x="2025" y="8126"/>
                </a:lnTo>
                <a:lnTo>
                  <a:pt x="2062" y="8108"/>
                </a:lnTo>
                <a:lnTo>
                  <a:pt x="2097" y="8087"/>
                </a:lnTo>
                <a:lnTo>
                  <a:pt x="2131" y="8065"/>
                </a:lnTo>
                <a:lnTo>
                  <a:pt x="2132" y="8080"/>
                </a:lnTo>
                <a:lnTo>
                  <a:pt x="2134" y="8093"/>
                </a:lnTo>
                <a:lnTo>
                  <a:pt x="2137" y="8100"/>
                </a:lnTo>
                <a:lnTo>
                  <a:pt x="2141" y="8102"/>
                </a:lnTo>
                <a:lnTo>
                  <a:pt x="2147" y="8103"/>
                </a:lnTo>
                <a:lnTo>
                  <a:pt x="2156" y="8103"/>
                </a:lnTo>
                <a:lnTo>
                  <a:pt x="2166" y="8069"/>
                </a:lnTo>
                <a:lnTo>
                  <a:pt x="2193" y="8051"/>
                </a:lnTo>
                <a:lnTo>
                  <a:pt x="2231" y="8044"/>
                </a:lnTo>
                <a:lnTo>
                  <a:pt x="2277" y="8044"/>
                </a:lnTo>
                <a:lnTo>
                  <a:pt x="2325" y="8044"/>
                </a:lnTo>
                <a:lnTo>
                  <a:pt x="2371" y="8041"/>
                </a:lnTo>
                <a:lnTo>
                  <a:pt x="2408" y="8028"/>
                </a:lnTo>
                <a:lnTo>
                  <a:pt x="2434" y="8003"/>
                </a:lnTo>
                <a:lnTo>
                  <a:pt x="2505" y="7988"/>
                </a:lnTo>
                <a:lnTo>
                  <a:pt x="2575" y="7970"/>
                </a:lnTo>
                <a:lnTo>
                  <a:pt x="2643" y="7951"/>
                </a:lnTo>
                <a:lnTo>
                  <a:pt x="2709" y="7930"/>
                </a:lnTo>
                <a:lnTo>
                  <a:pt x="2774" y="7910"/>
                </a:lnTo>
                <a:lnTo>
                  <a:pt x="2840" y="7888"/>
                </a:lnTo>
                <a:lnTo>
                  <a:pt x="2907" y="7869"/>
                </a:lnTo>
                <a:lnTo>
                  <a:pt x="2976" y="7851"/>
                </a:lnTo>
                <a:lnTo>
                  <a:pt x="2979" y="7840"/>
                </a:lnTo>
                <a:lnTo>
                  <a:pt x="2977" y="7830"/>
                </a:lnTo>
                <a:lnTo>
                  <a:pt x="2974" y="7821"/>
                </a:lnTo>
                <a:lnTo>
                  <a:pt x="2969" y="7812"/>
                </a:lnTo>
                <a:lnTo>
                  <a:pt x="2963" y="7804"/>
                </a:lnTo>
                <a:lnTo>
                  <a:pt x="2962" y="7798"/>
                </a:lnTo>
                <a:lnTo>
                  <a:pt x="2966" y="7793"/>
                </a:lnTo>
                <a:lnTo>
                  <a:pt x="2976" y="7788"/>
                </a:lnTo>
                <a:lnTo>
                  <a:pt x="3056" y="7799"/>
                </a:lnTo>
                <a:lnTo>
                  <a:pt x="3135" y="7792"/>
                </a:lnTo>
                <a:lnTo>
                  <a:pt x="3210" y="7771"/>
                </a:lnTo>
                <a:lnTo>
                  <a:pt x="3286" y="7743"/>
                </a:lnTo>
                <a:lnTo>
                  <a:pt x="3359" y="7716"/>
                </a:lnTo>
                <a:lnTo>
                  <a:pt x="3433" y="7693"/>
                </a:lnTo>
                <a:lnTo>
                  <a:pt x="3506" y="7682"/>
                </a:lnTo>
                <a:lnTo>
                  <a:pt x="3581" y="7687"/>
                </a:lnTo>
                <a:lnTo>
                  <a:pt x="3566" y="7697"/>
                </a:lnTo>
                <a:lnTo>
                  <a:pt x="3548" y="7705"/>
                </a:lnTo>
                <a:lnTo>
                  <a:pt x="3530" y="7713"/>
                </a:lnTo>
                <a:lnTo>
                  <a:pt x="3512" y="7719"/>
                </a:lnTo>
                <a:lnTo>
                  <a:pt x="3496" y="7729"/>
                </a:lnTo>
                <a:lnTo>
                  <a:pt x="3483" y="7741"/>
                </a:lnTo>
                <a:lnTo>
                  <a:pt x="3473" y="7756"/>
                </a:lnTo>
                <a:lnTo>
                  <a:pt x="3468" y="7775"/>
                </a:lnTo>
                <a:lnTo>
                  <a:pt x="3500" y="7775"/>
                </a:lnTo>
                <a:lnTo>
                  <a:pt x="3530" y="7766"/>
                </a:lnTo>
                <a:lnTo>
                  <a:pt x="3559" y="7749"/>
                </a:lnTo>
                <a:lnTo>
                  <a:pt x="3589" y="7729"/>
                </a:lnTo>
                <a:lnTo>
                  <a:pt x="3619" y="7707"/>
                </a:lnTo>
                <a:lnTo>
                  <a:pt x="3652" y="7690"/>
                </a:lnTo>
                <a:lnTo>
                  <a:pt x="3689" y="7678"/>
                </a:lnTo>
                <a:lnTo>
                  <a:pt x="3733" y="7674"/>
                </a:lnTo>
                <a:lnTo>
                  <a:pt x="3736" y="7660"/>
                </a:lnTo>
                <a:lnTo>
                  <a:pt x="3738" y="7649"/>
                </a:lnTo>
                <a:lnTo>
                  <a:pt x="3738" y="7637"/>
                </a:lnTo>
                <a:lnTo>
                  <a:pt x="3738" y="7629"/>
                </a:lnTo>
                <a:lnTo>
                  <a:pt x="3742" y="7621"/>
                </a:lnTo>
                <a:lnTo>
                  <a:pt x="3749" y="7616"/>
                </a:lnTo>
                <a:lnTo>
                  <a:pt x="3762" y="7612"/>
                </a:lnTo>
                <a:lnTo>
                  <a:pt x="3782" y="7612"/>
                </a:lnTo>
                <a:lnTo>
                  <a:pt x="3778" y="7623"/>
                </a:lnTo>
                <a:lnTo>
                  <a:pt x="3773" y="7634"/>
                </a:lnTo>
                <a:lnTo>
                  <a:pt x="3771" y="7639"/>
                </a:lnTo>
                <a:lnTo>
                  <a:pt x="3770" y="7645"/>
                </a:lnTo>
                <a:lnTo>
                  <a:pt x="3768" y="7653"/>
                </a:lnTo>
                <a:lnTo>
                  <a:pt x="3770" y="7662"/>
                </a:lnTo>
                <a:lnTo>
                  <a:pt x="3791" y="7654"/>
                </a:lnTo>
                <a:lnTo>
                  <a:pt x="3810" y="7649"/>
                </a:lnTo>
                <a:lnTo>
                  <a:pt x="3831" y="7646"/>
                </a:lnTo>
                <a:lnTo>
                  <a:pt x="3850" y="7645"/>
                </a:lnTo>
                <a:lnTo>
                  <a:pt x="3870" y="7644"/>
                </a:lnTo>
                <a:lnTo>
                  <a:pt x="3891" y="7640"/>
                </a:lnTo>
                <a:lnTo>
                  <a:pt x="3911" y="7634"/>
                </a:lnTo>
                <a:lnTo>
                  <a:pt x="3934" y="7625"/>
                </a:lnTo>
                <a:lnTo>
                  <a:pt x="3941" y="7594"/>
                </a:lnTo>
                <a:lnTo>
                  <a:pt x="3953" y="7567"/>
                </a:lnTo>
                <a:lnTo>
                  <a:pt x="3971" y="7546"/>
                </a:lnTo>
                <a:lnTo>
                  <a:pt x="3991" y="7529"/>
                </a:lnTo>
                <a:lnTo>
                  <a:pt x="4015" y="7519"/>
                </a:lnTo>
                <a:lnTo>
                  <a:pt x="4042" y="7517"/>
                </a:lnTo>
                <a:lnTo>
                  <a:pt x="4070" y="7522"/>
                </a:lnTo>
                <a:lnTo>
                  <a:pt x="4098" y="7536"/>
                </a:lnTo>
                <a:lnTo>
                  <a:pt x="4205" y="7485"/>
                </a:lnTo>
                <a:lnTo>
                  <a:pt x="4316" y="7439"/>
                </a:lnTo>
                <a:lnTo>
                  <a:pt x="4431" y="7398"/>
                </a:lnTo>
                <a:lnTo>
                  <a:pt x="4546" y="7361"/>
                </a:lnTo>
                <a:lnTo>
                  <a:pt x="4664" y="7327"/>
                </a:lnTo>
                <a:lnTo>
                  <a:pt x="4779" y="7293"/>
                </a:lnTo>
                <a:lnTo>
                  <a:pt x="4894" y="7258"/>
                </a:lnTo>
                <a:lnTo>
                  <a:pt x="5006" y="7221"/>
                </a:lnTo>
                <a:lnTo>
                  <a:pt x="5071" y="7197"/>
                </a:lnTo>
                <a:lnTo>
                  <a:pt x="5121" y="7179"/>
                </a:lnTo>
                <a:lnTo>
                  <a:pt x="5140" y="7174"/>
                </a:lnTo>
                <a:lnTo>
                  <a:pt x="5159" y="7170"/>
                </a:lnTo>
                <a:lnTo>
                  <a:pt x="5177" y="7169"/>
                </a:lnTo>
                <a:lnTo>
                  <a:pt x="5195" y="7170"/>
                </a:lnTo>
                <a:lnTo>
                  <a:pt x="5260" y="7169"/>
                </a:lnTo>
                <a:lnTo>
                  <a:pt x="5323" y="7150"/>
                </a:lnTo>
                <a:lnTo>
                  <a:pt x="5384" y="7122"/>
                </a:lnTo>
                <a:lnTo>
                  <a:pt x="5444" y="7089"/>
                </a:lnTo>
                <a:lnTo>
                  <a:pt x="5503" y="7060"/>
                </a:lnTo>
                <a:lnTo>
                  <a:pt x="5558" y="7040"/>
                </a:lnTo>
                <a:lnTo>
                  <a:pt x="5611" y="7037"/>
                </a:lnTo>
                <a:lnTo>
                  <a:pt x="5662" y="7057"/>
                </a:lnTo>
                <a:lnTo>
                  <a:pt x="5634" y="7071"/>
                </a:lnTo>
                <a:lnTo>
                  <a:pt x="5603" y="7081"/>
                </a:lnTo>
                <a:lnTo>
                  <a:pt x="5570" y="7089"/>
                </a:lnTo>
                <a:lnTo>
                  <a:pt x="5536" y="7095"/>
                </a:lnTo>
                <a:lnTo>
                  <a:pt x="5504" y="7104"/>
                </a:lnTo>
                <a:lnTo>
                  <a:pt x="5475" y="7117"/>
                </a:lnTo>
                <a:lnTo>
                  <a:pt x="5452" y="7133"/>
                </a:lnTo>
                <a:lnTo>
                  <a:pt x="5434" y="7158"/>
                </a:lnTo>
                <a:lnTo>
                  <a:pt x="5462" y="7163"/>
                </a:lnTo>
                <a:lnTo>
                  <a:pt x="5484" y="7164"/>
                </a:lnTo>
                <a:lnTo>
                  <a:pt x="5500" y="7161"/>
                </a:lnTo>
                <a:lnTo>
                  <a:pt x="5514" y="7156"/>
                </a:lnTo>
                <a:lnTo>
                  <a:pt x="5540" y="7140"/>
                </a:lnTo>
                <a:lnTo>
                  <a:pt x="5573" y="7121"/>
                </a:lnTo>
                <a:lnTo>
                  <a:pt x="5732" y="7088"/>
                </a:lnTo>
                <a:lnTo>
                  <a:pt x="5886" y="7052"/>
                </a:lnTo>
                <a:lnTo>
                  <a:pt x="6036" y="7011"/>
                </a:lnTo>
                <a:lnTo>
                  <a:pt x="6184" y="6968"/>
                </a:lnTo>
                <a:lnTo>
                  <a:pt x="6331" y="6922"/>
                </a:lnTo>
                <a:lnTo>
                  <a:pt x="6477" y="6875"/>
                </a:lnTo>
                <a:lnTo>
                  <a:pt x="6622" y="6828"/>
                </a:lnTo>
                <a:lnTo>
                  <a:pt x="6771" y="6780"/>
                </a:lnTo>
                <a:lnTo>
                  <a:pt x="6769" y="6767"/>
                </a:lnTo>
                <a:lnTo>
                  <a:pt x="6761" y="6758"/>
                </a:lnTo>
                <a:lnTo>
                  <a:pt x="6752" y="6752"/>
                </a:lnTo>
                <a:lnTo>
                  <a:pt x="6741" y="6746"/>
                </a:lnTo>
                <a:lnTo>
                  <a:pt x="6729" y="6743"/>
                </a:lnTo>
                <a:lnTo>
                  <a:pt x="6716" y="6740"/>
                </a:lnTo>
                <a:lnTo>
                  <a:pt x="6705" y="6735"/>
                </a:lnTo>
                <a:lnTo>
                  <a:pt x="6695" y="6730"/>
                </a:lnTo>
                <a:lnTo>
                  <a:pt x="6746" y="6725"/>
                </a:lnTo>
                <a:lnTo>
                  <a:pt x="6793" y="6712"/>
                </a:lnTo>
                <a:lnTo>
                  <a:pt x="6839" y="6694"/>
                </a:lnTo>
                <a:lnTo>
                  <a:pt x="6881" y="6675"/>
                </a:lnTo>
                <a:lnTo>
                  <a:pt x="6923" y="6660"/>
                </a:lnTo>
                <a:lnTo>
                  <a:pt x="6963" y="6651"/>
                </a:lnTo>
                <a:lnTo>
                  <a:pt x="7003" y="6654"/>
                </a:lnTo>
                <a:lnTo>
                  <a:pt x="7044" y="6670"/>
                </a:lnTo>
                <a:lnTo>
                  <a:pt x="7048" y="6670"/>
                </a:lnTo>
                <a:lnTo>
                  <a:pt x="7051" y="6671"/>
                </a:lnTo>
                <a:lnTo>
                  <a:pt x="7055" y="6674"/>
                </a:lnTo>
                <a:lnTo>
                  <a:pt x="7062" y="6679"/>
                </a:lnTo>
                <a:lnTo>
                  <a:pt x="7053" y="6674"/>
                </a:lnTo>
                <a:lnTo>
                  <a:pt x="7044" y="6670"/>
                </a:lnTo>
                <a:lnTo>
                  <a:pt x="7041" y="6671"/>
                </a:lnTo>
                <a:lnTo>
                  <a:pt x="7039" y="6674"/>
                </a:lnTo>
                <a:lnTo>
                  <a:pt x="7037" y="6679"/>
                </a:lnTo>
                <a:lnTo>
                  <a:pt x="7036" y="6684"/>
                </a:lnTo>
                <a:lnTo>
                  <a:pt x="7035" y="6699"/>
                </a:lnTo>
                <a:lnTo>
                  <a:pt x="7036" y="6717"/>
                </a:lnTo>
                <a:lnTo>
                  <a:pt x="7098" y="6697"/>
                </a:lnTo>
                <a:lnTo>
                  <a:pt x="7161" y="6680"/>
                </a:lnTo>
                <a:lnTo>
                  <a:pt x="7223" y="6664"/>
                </a:lnTo>
                <a:lnTo>
                  <a:pt x="7284" y="6648"/>
                </a:lnTo>
                <a:lnTo>
                  <a:pt x="7340" y="6632"/>
                </a:lnTo>
                <a:lnTo>
                  <a:pt x="7393" y="6613"/>
                </a:lnTo>
                <a:lnTo>
                  <a:pt x="7439" y="6591"/>
                </a:lnTo>
                <a:lnTo>
                  <a:pt x="7477" y="6566"/>
                </a:lnTo>
                <a:lnTo>
                  <a:pt x="7461" y="6568"/>
                </a:lnTo>
                <a:lnTo>
                  <a:pt x="7451" y="6567"/>
                </a:lnTo>
                <a:lnTo>
                  <a:pt x="7444" y="6561"/>
                </a:lnTo>
                <a:lnTo>
                  <a:pt x="7440" y="6553"/>
                </a:lnTo>
                <a:lnTo>
                  <a:pt x="7437" y="6543"/>
                </a:lnTo>
                <a:lnTo>
                  <a:pt x="7435" y="6533"/>
                </a:lnTo>
                <a:lnTo>
                  <a:pt x="7432" y="6522"/>
                </a:lnTo>
                <a:lnTo>
                  <a:pt x="7427" y="6515"/>
                </a:lnTo>
                <a:lnTo>
                  <a:pt x="7442" y="6517"/>
                </a:lnTo>
                <a:lnTo>
                  <a:pt x="7456" y="6517"/>
                </a:lnTo>
                <a:lnTo>
                  <a:pt x="7469" y="6515"/>
                </a:lnTo>
                <a:lnTo>
                  <a:pt x="7479" y="6511"/>
                </a:lnTo>
                <a:lnTo>
                  <a:pt x="7491" y="6508"/>
                </a:lnTo>
                <a:lnTo>
                  <a:pt x="7501" y="6505"/>
                </a:lnTo>
                <a:lnTo>
                  <a:pt x="7514" y="6502"/>
                </a:lnTo>
                <a:lnTo>
                  <a:pt x="7528" y="6502"/>
                </a:lnTo>
                <a:lnTo>
                  <a:pt x="7524" y="6510"/>
                </a:lnTo>
                <a:lnTo>
                  <a:pt x="7520" y="6517"/>
                </a:lnTo>
                <a:lnTo>
                  <a:pt x="7517" y="6525"/>
                </a:lnTo>
                <a:lnTo>
                  <a:pt x="7515" y="6534"/>
                </a:lnTo>
                <a:lnTo>
                  <a:pt x="7512" y="6543"/>
                </a:lnTo>
                <a:lnTo>
                  <a:pt x="7510" y="6550"/>
                </a:lnTo>
                <a:lnTo>
                  <a:pt x="7506" y="6559"/>
                </a:lnTo>
                <a:lnTo>
                  <a:pt x="7502" y="6566"/>
                </a:lnTo>
                <a:lnTo>
                  <a:pt x="7540" y="6566"/>
                </a:lnTo>
                <a:lnTo>
                  <a:pt x="7571" y="6558"/>
                </a:lnTo>
                <a:lnTo>
                  <a:pt x="7598" y="6547"/>
                </a:lnTo>
                <a:lnTo>
                  <a:pt x="7621" y="6533"/>
                </a:lnTo>
                <a:lnTo>
                  <a:pt x="7644" y="6517"/>
                </a:lnTo>
                <a:lnTo>
                  <a:pt x="7668" y="6505"/>
                </a:lnTo>
                <a:lnTo>
                  <a:pt x="7696" y="6494"/>
                </a:lnTo>
                <a:lnTo>
                  <a:pt x="7729" y="6489"/>
                </a:lnTo>
                <a:lnTo>
                  <a:pt x="7737" y="6507"/>
                </a:lnTo>
                <a:lnTo>
                  <a:pt x="7742" y="6522"/>
                </a:lnTo>
                <a:lnTo>
                  <a:pt x="7745" y="6536"/>
                </a:lnTo>
                <a:lnTo>
                  <a:pt x="7747" y="6548"/>
                </a:lnTo>
                <a:lnTo>
                  <a:pt x="7747" y="6561"/>
                </a:lnTo>
                <a:lnTo>
                  <a:pt x="7744" y="6573"/>
                </a:lnTo>
                <a:lnTo>
                  <a:pt x="7738" y="6587"/>
                </a:lnTo>
                <a:lnTo>
                  <a:pt x="7729" y="6604"/>
                </a:lnTo>
                <a:lnTo>
                  <a:pt x="7803" y="6585"/>
                </a:lnTo>
                <a:lnTo>
                  <a:pt x="7872" y="6566"/>
                </a:lnTo>
                <a:lnTo>
                  <a:pt x="7936" y="6547"/>
                </a:lnTo>
                <a:lnTo>
                  <a:pt x="7998" y="6526"/>
                </a:lnTo>
                <a:lnTo>
                  <a:pt x="8057" y="6505"/>
                </a:lnTo>
                <a:lnTo>
                  <a:pt x="8115" y="6480"/>
                </a:lnTo>
                <a:lnTo>
                  <a:pt x="8173" y="6455"/>
                </a:lnTo>
                <a:lnTo>
                  <a:pt x="8233" y="6427"/>
                </a:lnTo>
                <a:lnTo>
                  <a:pt x="8191" y="6435"/>
                </a:lnTo>
                <a:lnTo>
                  <a:pt x="8148" y="6446"/>
                </a:lnTo>
                <a:lnTo>
                  <a:pt x="8103" y="6457"/>
                </a:lnTo>
                <a:lnTo>
                  <a:pt x="8060" y="6471"/>
                </a:lnTo>
                <a:lnTo>
                  <a:pt x="8018" y="6483"/>
                </a:lnTo>
                <a:lnTo>
                  <a:pt x="7977" y="6493"/>
                </a:lnTo>
                <a:lnTo>
                  <a:pt x="7940" y="6499"/>
                </a:lnTo>
                <a:lnTo>
                  <a:pt x="7906" y="6502"/>
                </a:lnTo>
                <a:lnTo>
                  <a:pt x="7917" y="6488"/>
                </a:lnTo>
                <a:lnTo>
                  <a:pt x="7933" y="6478"/>
                </a:lnTo>
                <a:lnTo>
                  <a:pt x="7949" y="6470"/>
                </a:lnTo>
                <a:lnTo>
                  <a:pt x="7968" y="6464"/>
                </a:lnTo>
                <a:lnTo>
                  <a:pt x="7986" y="6456"/>
                </a:lnTo>
                <a:lnTo>
                  <a:pt x="8001" y="6447"/>
                </a:lnTo>
                <a:lnTo>
                  <a:pt x="8013" y="6433"/>
                </a:lnTo>
                <a:lnTo>
                  <a:pt x="8019" y="6414"/>
                </a:lnTo>
                <a:lnTo>
                  <a:pt x="8008" y="6415"/>
                </a:lnTo>
                <a:lnTo>
                  <a:pt x="7999" y="6421"/>
                </a:lnTo>
                <a:lnTo>
                  <a:pt x="7992" y="6427"/>
                </a:lnTo>
                <a:lnTo>
                  <a:pt x="7987" y="6432"/>
                </a:lnTo>
                <a:lnTo>
                  <a:pt x="7984" y="6436"/>
                </a:lnTo>
                <a:lnTo>
                  <a:pt x="7980" y="6435"/>
                </a:lnTo>
                <a:lnTo>
                  <a:pt x="7975" y="6428"/>
                </a:lnTo>
                <a:lnTo>
                  <a:pt x="7968" y="6414"/>
                </a:lnTo>
                <a:lnTo>
                  <a:pt x="7981" y="6399"/>
                </a:lnTo>
                <a:lnTo>
                  <a:pt x="7996" y="6385"/>
                </a:lnTo>
                <a:lnTo>
                  <a:pt x="8014" y="6371"/>
                </a:lnTo>
                <a:lnTo>
                  <a:pt x="8035" y="6359"/>
                </a:lnTo>
                <a:lnTo>
                  <a:pt x="8057" y="6348"/>
                </a:lnTo>
                <a:lnTo>
                  <a:pt x="8084" y="6339"/>
                </a:lnTo>
                <a:lnTo>
                  <a:pt x="8112" y="6331"/>
                </a:lnTo>
                <a:lnTo>
                  <a:pt x="8145" y="6326"/>
                </a:lnTo>
                <a:lnTo>
                  <a:pt x="8148" y="6337"/>
                </a:lnTo>
                <a:lnTo>
                  <a:pt x="8153" y="6351"/>
                </a:lnTo>
                <a:lnTo>
                  <a:pt x="8161" y="6363"/>
                </a:lnTo>
                <a:lnTo>
                  <a:pt x="8170" y="6375"/>
                </a:lnTo>
                <a:lnTo>
                  <a:pt x="8178" y="6384"/>
                </a:lnTo>
                <a:lnTo>
                  <a:pt x="8189" y="6387"/>
                </a:lnTo>
                <a:lnTo>
                  <a:pt x="8199" y="6386"/>
                </a:lnTo>
                <a:lnTo>
                  <a:pt x="8209" y="6376"/>
                </a:lnTo>
                <a:lnTo>
                  <a:pt x="8200" y="6375"/>
                </a:lnTo>
                <a:lnTo>
                  <a:pt x="8196" y="6370"/>
                </a:lnTo>
                <a:lnTo>
                  <a:pt x="8194" y="6362"/>
                </a:lnTo>
                <a:lnTo>
                  <a:pt x="8195" y="6353"/>
                </a:lnTo>
                <a:lnTo>
                  <a:pt x="8195" y="6342"/>
                </a:lnTo>
                <a:lnTo>
                  <a:pt x="8196" y="6331"/>
                </a:lnTo>
                <a:lnTo>
                  <a:pt x="8198" y="6321"/>
                </a:lnTo>
                <a:lnTo>
                  <a:pt x="8196" y="6314"/>
                </a:lnTo>
                <a:lnTo>
                  <a:pt x="8229" y="6305"/>
                </a:lnTo>
                <a:lnTo>
                  <a:pt x="8262" y="6296"/>
                </a:lnTo>
                <a:lnTo>
                  <a:pt x="8296" y="6286"/>
                </a:lnTo>
                <a:lnTo>
                  <a:pt x="8329" y="6275"/>
                </a:lnTo>
                <a:lnTo>
                  <a:pt x="8361" y="6265"/>
                </a:lnTo>
                <a:lnTo>
                  <a:pt x="8394" y="6255"/>
                </a:lnTo>
                <a:lnTo>
                  <a:pt x="8427" y="6246"/>
                </a:lnTo>
                <a:lnTo>
                  <a:pt x="8461" y="6237"/>
                </a:lnTo>
                <a:lnTo>
                  <a:pt x="8461" y="6256"/>
                </a:lnTo>
                <a:lnTo>
                  <a:pt x="8459" y="6274"/>
                </a:lnTo>
                <a:lnTo>
                  <a:pt x="8452" y="6292"/>
                </a:lnTo>
                <a:lnTo>
                  <a:pt x="8445" y="6310"/>
                </a:lnTo>
                <a:lnTo>
                  <a:pt x="8436" y="6328"/>
                </a:lnTo>
                <a:lnTo>
                  <a:pt x="8424" y="6345"/>
                </a:lnTo>
                <a:lnTo>
                  <a:pt x="8411" y="6361"/>
                </a:lnTo>
                <a:lnTo>
                  <a:pt x="8397" y="6376"/>
                </a:lnTo>
                <a:lnTo>
                  <a:pt x="8431" y="6370"/>
                </a:lnTo>
                <a:lnTo>
                  <a:pt x="8471" y="6356"/>
                </a:lnTo>
                <a:lnTo>
                  <a:pt x="8515" y="6339"/>
                </a:lnTo>
                <a:lnTo>
                  <a:pt x="8559" y="6326"/>
                </a:lnTo>
                <a:lnTo>
                  <a:pt x="8597" y="6319"/>
                </a:lnTo>
                <a:lnTo>
                  <a:pt x="8628" y="6321"/>
                </a:lnTo>
                <a:lnTo>
                  <a:pt x="8647" y="6339"/>
                </a:lnTo>
                <a:lnTo>
                  <a:pt x="8650" y="6376"/>
                </a:lnTo>
                <a:lnTo>
                  <a:pt x="8737" y="6376"/>
                </a:lnTo>
                <a:lnTo>
                  <a:pt x="8737" y="6361"/>
                </a:lnTo>
                <a:lnTo>
                  <a:pt x="8732" y="6351"/>
                </a:lnTo>
                <a:lnTo>
                  <a:pt x="8725" y="6343"/>
                </a:lnTo>
                <a:lnTo>
                  <a:pt x="8713" y="6338"/>
                </a:lnTo>
                <a:lnTo>
                  <a:pt x="8702" y="6334"/>
                </a:lnTo>
                <a:lnTo>
                  <a:pt x="8690" y="6329"/>
                </a:lnTo>
                <a:lnTo>
                  <a:pt x="8681" y="6323"/>
                </a:lnTo>
                <a:lnTo>
                  <a:pt x="8675" y="6314"/>
                </a:lnTo>
                <a:lnTo>
                  <a:pt x="8748" y="6279"/>
                </a:lnTo>
                <a:lnTo>
                  <a:pt x="8827" y="6245"/>
                </a:lnTo>
                <a:lnTo>
                  <a:pt x="8909" y="6212"/>
                </a:lnTo>
                <a:lnTo>
                  <a:pt x="8996" y="6181"/>
                </a:lnTo>
                <a:lnTo>
                  <a:pt x="9083" y="6155"/>
                </a:lnTo>
                <a:lnTo>
                  <a:pt x="9168" y="6135"/>
                </a:lnTo>
                <a:lnTo>
                  <a:pt x="9252" y="6124"/>
                </a:lnTo>
                <a:lnTo>
                  <a:pt x="9331" y="6124"/>
                </a:lnTo>
                <a:lnTo>
                  <a:pt x="9383" y="6097"/>
                </a:lnTo>
                <a:lnTo>
                  <a:pt x="9438" y="6076"/>
                </a:lnTo>
                <a:lnTo>
                  <a:pt x="9495" y="6060"/>
                </a:lnTo>
                <a:lnTo>
                  <a:pt x="9554" y="6048"/>
                </a:lnTo>
                <a:lnTo>
                  <a:pt x="9614" y="6036"/>
                </a:lnTo>
                <a:lnTo>
                  <a:pt x="9672" y="6026"/>
                </a:lnTo>
                <a:lnTo>
                  <a:pt x="9730" y="6013"/>
                </a:lnTo>
                <a:lnTo>
                  <a:pt x="9784" y="5998"/>
                </a:lnTo>
                <a:lnTo>
                  <a:pt x="9784" y="6007"/>
                </a:lnTo>
                <a:lnTo>
                  <a:pt x="9780" y="6013"/>
                </a:lnTo>
                <a:lnTo>
                  <a:pt x="9774" y="6017"/>
                </a:lnTo>
                <a:lnTo>
                  <a:pt x="9768" y="6020"/>
                </a:lnTo>
                <a:lnTo>
                  <a:pt x="9760" y="6021"/>
                </a:lnTo>
                <a:lnTo>
                  <a:pt x="9754" y="6025"/>
                </a:lnTo>
                <a:lnTo>
                  <a:pt x="9749" y="6029"/>
                </a:lnTo>
                <a:lnTo>
                  <a:pt x="9746" y="6036"/>
                </a:lnTo>
                <a:lnTo>
                  <a:pt x="9793" y="6032"/>
                </a:lnTo>
                <a:lnTo>
                  <a:pt x="9824" y="6021"/>
                </a:lnTo>
                <a:lnTo>
                  <a:pt x="9843" y="6004"/>
                </a:lnTo>
                <a:lnTo>
                  <a:pt x="9856" y="5983"/>
                </a:lnTo>
                <a:lnTo>
                  <a:pt x="9870" y="5961"/>
                </a:lnTo>
                <a:lnTo>
                  <a:pt x="9887" y="5941"/>
                </a:lnTo>
                <a:lnTo>
                  <a:pt x="9915" y="5923"/>
                </a:lnTo>
                <a:lnTo>
                  <a:pt x="9961" y="5910"/>
                </a:lnTo>
                <a:lnTo>
                  <a:pt x="9957" y="5920"/>
                </a:lnTo>
                <a:lnTo>
                  <a:pt x="9951" y="5928"/>
                </a:lnTo>
                <a:lnTo>
                  <a:pt x="9942" y="5934"/>
                </a:lnTo>
                <a:lnTo>
                  <a:pt x="9932" y="5938"/>
                </a:lnTo>
                <a:lnTo>
                  <a:pt x="9922" y="5942"/>
                </a:lnTo>
                <a:lnTo>
                  <a:pt x="9912" y="5946"/>
                </a:lnTo>
                <a:lnTo>
                  <a:pt x="9903" y="5952"/>
                </a:lnTo>
                <a:lnTo>
                  <a:pt x="9898" y="5961"/>
                </a:lnTo>
                <a:lnTo>
                  <a:pt x="9929" y="5964"/>
                </a:lnTo>
                <a:lnTo>
                  <a:pt x="9955" y="5964"/>
                </a:lnTo>
                <a:lnTo>
                  <a:pt x="9978" y="5961"/>
                </a:lnTo>
                <a:lnTo>
                  <a:pt x="9998" y="5957"/>
                </a:lnTo>
                <a:lnTo>
                  <a:pt x="10039" y="5943"/>
                </a:lnTo>
                <a:lnTo>
                  <a:pt x="10087" y="5923"/>
                </a:lnTo>
                <a:lnTo>
                  <a:pt x="10089" y="5929"/>
                </a:lnTo>
                <a:lnTo>
                  <a:pt x="10092" y="5933"/>
                </a:lnTo>
                <a:lnTo>
                  <a:pt x="10098" y="5936"/>
                </a:lnTo>
                <a:lnTo>
                  <a:pt x="10103" y="5938"/>
                </a:lnTo>
                <a:lnTo>
                  <a:pt x="10108" y="5942"/>
                </a:lnTo>
                <a:lnTo>
                  <a:pt x="10112" y="5946"/>
                </a:lnTo>
                <a:lnTo>
                  <a:pt x="10113" y="5952"/>
                </a:lnTo>
                <a:lnTo>
                  <a:pt x="10113" y="5961"/>
                </a:lnTo>
                <a:lnTo>
                  <a:pt x="10146" y="5951"/>
                </a:lnTo>
                <a:lnTo>
                  <a:pt x="10182" y="5941"/>
                </a:lnTo>
                <a:lnTo>
                  <a:pt x="10198" y="5936"/>
                </a:lnTo>
                <a:lnTo>
                  <a:pt x="10213" y="5929"/>
                </a:lnTo>
                <a:lnTo>
                  <a:pt x="10226" y="5920"/>
                </a:lnTo>
                <a:lnTo>
                  <a:pt x="10239" y="5910"/>
                </a:lnTo>
                <a:lnTo>
                  <a:pt x="10234" y="5899"/>
                </a:lnTo>
                <a:lnTo>
                  <a:pt x="10226" y="5891"/>
                </a:lnTo>
                <a:lnTo>
                  <a:pt x="10216" y="5888"/>
                </a:lnTo>
                <a:lnTo>
                  <a:pt x="10206" y="5888"/>
                </a:lnTo>
                <a:lnTo>
                  <a:pt x="10196" y="5890"/>
                </a:lnTo>
                <a:lnTo>
                  <a:pt x="10187" y="5890"/>
                </a:lnTo>
                <a:lnTo>
                  <a:pt x="10179" y="5890"/>
                </a:lnTo>
                <a:lnTo>
                  <a:pt x="10175" y="5885"/>
                </a:lnTo>
                <a:lnTo>
                  <a:pt x="10191" y="5874"/>
                </a:lnTo>
                <a:lnTo>
                  <a:pt x="10211" y="5871"/>
                </a:lnTo>
                <a:lnTo>
                  <a:pt x="10233" y="5871"/>
                </a:lnTo>
                <a:lnTo>
                  <a:pt x="10257" y="5873"/>
                </a:lnTo>
                <a:lnTo>
                  <a:pt x="10280" y="5877"/>
                </a:lnTo>
                <a:lnTo>
                  <a:pt x="10301" y="5878"/>
                </a:lnTo>
                <a:lnTo>
                  <a:pt x="10317" y="5878"/>
                </a:lnTo>
                <a:lnTo>
                  <a:pt x="10327" y="5872"/>
                </a:lnTo>
                <a:lnTo>
                  <a:pt x="10326" y="5863"/>
                </a:lnTo>
                <a:lnTo>
                  <a:pt x="10332" y="5854"/>
                </a:lnTo>
                <a:lnTo>
                  <a:pt x="10345" y="5844"/>
                </a:lnTo>
                <a:lnTo>
                  <a:pt x="10361" y="5834"/>
                </a:lnTo>
                <a:lnTo>
                  <a:pt x="10397" y="5815"/>
                </a:lnTo>
                <a:lnTo>
                  <a:pt x="10427" y="5797"/>
                </a:lnTo>
                <a:lnTo>
                  <a:pt x="10427" y="5783"/>
                </a:lnTo>
                <a:lnTo>
                  <a:pt x="10422" y="5773"/>
                </a:lnTo>
                <a:lnTo>
                  <a:pt x="10413" y="5768"/>
                </a:lnTo>
                <a:lnTo>
                  <a:pt x="10403" y="5765"/>
                </a:lnTo>
                <a:lnTo>
                  <a:pt x="10390" y="5762"/>
                </a:lnTo>
                <a:lnTo>
                  <a:pt x="10379" y="5760"/>
                </a:lnTo>
                <a:lnTo>
                  <a:pt x="10370" y="5755"/>
                </a:lnTo>
                <a:lnTo>
                  <a:pt x="10365" y="5746"/>
                </a:lnTo>
                <a:lnTo>
                  <a:pt x="10408" y="5737"/>
                </a:lnTo>
                <a:lnTo>
                  <a:pt x="10452" y="5727"/>
                </a:lnTo>
                <a:lnTo>
                  <a:pt x="10495" y="5717"/>
                </a:lnTo>
                <a:lnTo>
                  <a:pt x="10541" y="5709"/>
                </a:lnTo>
                <a:lnTo>
                  <a:pt x="10533" y="5727"/>
                </a:lnTo>
                <a:lnTo>
                  <a:pt x="10523" y="5742"/>
                </a:lnTo>
                <a:lnTo>
                  <a:pt x="10520" y="5748"/>
                </a:lnTo>
                <a:lnTo>
                  <a:pt x="10519" y="5756"/>
                </a:lnTo>
                <a:lnTo>
                  <a:pt x="10522" y="5764"/>
                </a:lnTo>
                <a:lnTo>
                  <a:pt x="10528" y="5771"/>
                </a:lnTo>
                <a:lnTo>
                  <a:pt x="10546" y="5746"/>
                </a:lnTo>
                <a:lnTo>
                  <a:pt x="10566" y="5728"/>
                </a:lnTo>
                <a:lnTo>
                  <a:pt x="10592" y="5717"/>
                </a:lnTo>
                <a:lnTo>
                  <a:pt x="10618" y="5709"/>
                </a:lnTo>
                <a:lnTo>
                  <a:pt x="10646" y="5705"/>
                </a:lnTo>
                <a:lnTo>
                  <a:pt x="10676" y="5703"/>
                </a:lnTo>
                <a:lnTo>
                  <a:pt x="10704" y="5700"/>
                </a:lnTo>
                <a:lnTo>
                  <a:pt x="10731" y="5696"/>
                </a:lnTo>
                <a:lnTo>
                  <a:pt x="10751" y="5687"/>
                </a:lnTo>
                <a:lnTo>
                  <a:pt x="10775" y="5673"/>
                </a:lnTo>
                <a:lnTo>
                  <a:pt x="10799" y="5658"/>
                </a:lnTo>
                <a:lnTo>
                  <a:pt x="10822" y="5644"/>
                </a:lnTo>
                <a:lnTo>
                  <a:pt x="10845" y="5635"/>
                </a:lnTo>
                <a:lnTo>
                  <a:pt x="10866" y="5634"/>
                </a:lnTo>
                <a:lnTo>
                  <a:pt x="10882" y="5644"/>
                </a:lnTo>
                <a:lnTo>
                  <a:pt x="10894" y="5671"/>
                </a:lnTo>
                <a:lnTo>
                  <a:pt x="10867" y="5675"/>
                </a:lnTo>
                <a:lnTo>
                  <a:pt x="10836" y="5684"/>
                </a:lnTo>
                <a:lnTo>
                  <a:pt x="10802" y="5696"/>
                </a:lnTo>
                <a:lnTo>
                  <a:pt x="10766" y="5712"/>
                </a:lnTo>
                <a:lnTo>
                  <a:pt x="10729" y="5726"/>
                </a:lnTo>
                <a:lnTo>
                  <a:pt x="10694" y="5738"/>
                </a:lnTo>
                <a:lnTo>
                  <a:pt x="10659" y="5746"/>
                </a:lnTo>
                <a:lnTo>
                  <a:pt x="10629" y="5746"/>
                </a:lnTo>
                <a:lnTo>
                  <a:pt x="10629" y="5762"/>
                </a:lnTo>
                <a:lnTo>
                  <a:pt x="10627" y="5775"/>
                </a:lnTo>
                <a:lnTo>
                  <a:pt x="10625" y="5782"/>
                </a:lnTo>
                <a:lnTo>
                  <a:pt x="10622" y="5787"/>
                </a:lnTo>
                <a:lnTo>
                  <a:pt x="10620" y="5792"/>
                </a:lnTo>
                <a:lnTo>
                  <a:pt x="10617" y="5797"/>
                </a:lnTo>
                <a:lnTo>
                  <a:pt x="10657" y="5790"/>
                </a:lnTo>
                <a:lnTo>
                  <a:pt x="10695" y="5779"/>
                </a:lnTo>
                <a:lnTo>
                  <a:pt x="10732" y="5764"/>
                </a:lnTo>
                <a:lnTo>
                  <a:pt x="10767" y="5750"/>
                </a:lnTo>
                <a:lnTo>
                  <a:pt x="10802" y="5737"/>
                </a:lnTo>
                <a:lnTo>
                  <a:pt x="10836" y="5731"/>
                </a:lnTo>
                <a:lnTo>
                  <a:pt x="10872" y="5733"/>
                </a:lnTo>
                <a:lnTo>
                  <a:pt x="10906" y="5746"/>
                </a:lnTo>
                <a:lnTo>
                  <a:pt x="10846" y="5778"/>
                </a:lnTo>
                <a:lnTo>
                  <a:pt x="10784" y="5807"/>
                </a:lnTo>
                <a:lnTo>
                  <a:pt x="10720" y="5834"/>
                </a:lnTo>
                <a:lnTo>
                  <a:pt x="10655" y="5860"/>
                </a:lnTo>
                <a:lnTo>
                  <a:pt x="10589" y="5886"/>
                </a:lnTo>
                <a:lnTo>
                  <a:pt x="10525" y="5913"/>
                </a:lnTo>
                <a:lnTo>
                  <a:pt x="10462" y="5942"/>
                </a:lnTo>
                <a:lnTo>
                  <a:pt x="10402" y="5974"/>
                </a:lnTo>
                <a:lnTo>
                  <a:pt x="10417" y="5975"/>
                </a:lnTo>
                <a:lnTo>
                  <a:pt x="10430" y="5974"/>
                </a:lnTo>
                <a:lnTo>
                  <a:pt x="10440" y="5971"/>
                </a:lnTo>
                <a:lnTo>
                  <a:pt x="10448" y="5969"/>
                </a:lnTo>
                <a:lnTo>
                  <a:pt x="10455" y="5966"/>
                </a:lnTo>
                <a:lnTo>
                  <a:pt x="10463" y="5965"/>
                </a:lnTo>
                <a:lnTo>
                  <a:pt x="10469" y="5967"/>
                </a:lnTo>
                <a:lnTo>
                  <a:pt x="10478" y="5974"/>
                </a:lnTo>
                <a:lnTo>
                  <a:pt x="10473" y="5983"/>
                </a:lnTo>
                <a:lnTo>
                  <a:pt x="10466" y="5992"/>
                </a:lnTo>
                <a:lnTo>
                  <a:pt x="10457" y="6001"/>
                </a:lnTo>
                <a:lnTo>
                  <a:pt x="10449" y="6008"/>
                </a:lnTo>
                <a:lnTo>
                  <a:pt x="10444" y="6016"/>
                </a:lnTo>
                <a:lnTo>
                  <a:pt x="10444" y="6023"/>
                </a:lnTo>
                <a:lnTo>
                  <a:pt x="10450" y="6030"/>
                </a:lnTo>
                <a:lnTo>
                  <a:pt x="10466" y="6036"/>
                </a:lnTo>
                <a:lnTo>
                  <a:pt x="10478" y="6018"/>
                </a:lnTo>
                <a:lnTo>
                  <a:pt x="10492" y="6001"/>
                </a:lnTo>
                <a:lnTo>
                  <a:pt x="10508" y="5984"/>
                </a:lnTo>
                <a:lnTo>
                  <a:pt x="10523" y="5967"/>
                </a:lnTo>
                <a:lnTo>
                  <a:pt x="10542" y="5955"/>
                </a:lnTo>
                <a:lnTo>
                  <a:pt x="10562" y="5944"/>
                </a:lnTo>
                <a:lnTo>
                  <a:pt x="10588" y="5938"/>
                </a:lnTo>
                <a:lnTo>
                  <a:pt x="10617" y="5936"/>
                </a:lnTo>
                <a:lnTo>
                  <a:pt x="10616" y="5955"/>
                </a:lnTo>
                <a:lnTo>
                  <a:pt x="10613" y="5970"/>
                </a:lnTo>
                <a:lnTo>
                  <a:pt x="10607" y="5981"/>
                </a:lnTo>
                <a:lnTo>
                  <a:pt x="10598" y="5989"/>
                </a:lnTo>
                <a:lnTo>
                  <a:pt x="10587" y="5993"/>
                </a:lnTo>
                <a:lnTo>
                  <a:pt x="10571" y="5993"/>
                </a:lnTo>
                <a:lnTo>
                  <a:pt x="10552" y="5990"/>
                </a:lnTo>
                <a:lnTo>
                  <a:pt x="10528" y="5985"/>
                </a:lnTo>
                <a:lnTo>
                  <a:pt x="10525" y="6002"/>
                </a:lnTo>
                <a:lnTo>
                  <a:pt x="10519" y="6015"/>
                </a:lnTo>
                <a:lnTo>
                  <a:pt x="10509" y="6022"/>
                </a:lnTo>
                <a:lnTo>
                  <a:pt x="10496" y="6029"/>
                </a:lnTo>
                <a:lnTo>
                  <a:pt x="10482" y="6035"/>
                </a:lnTo>
                <a:lnTo>
                  <a:pt x="10471" y="6041"/>
                </a:lnTo>
                <a:lnTo>
                  <a:pt x="10459" y="6050"/>
                </a:lnTo>
                <a:lnTo>
                  <a:pt x="10453" y="6062"/>
                </a:lnTo>
                <a:lnTo>
                  <a:pt x="10440" y="6051"/>
                </a:lnTo>
                <a:lnTo>
                  <a:pt x="10422" y="6044"/>
                </a:lnTo>
                <a:lnTo>
                  <a:pt x="10402" y="6039"/>
                </a:lnTo>
                <a:lnTo>
                  <a:pt x="10382" y="6036"/>
                </a:lnTo>
                <a:lnTo>
                  <a:pt x="10362" y="6037"/>
                </a:lnTo>
                <a:lnTo>
                  <a:pt x="10346" y="6044"/>
                </a:lnTo>
                <a:lnTo>
                  <a:pt x="10333" y="6055"/>
                </a:lnTo>
                <a:lnTo>
                  <a:pt x="10327" y="6074"/>
                </a:lnTo>
                <a:lnTo>
                  <a:pt x="10317" y="6073"/>
                </a:lnTo>
                <a:lnTo>
                  <a:pt x="10305" y="6073"/>
                </a:lnTo>
                <a:lnTo>
                  <a:pt x="10294" y="6074"/>
                </a:lnTo>
                <a:lnTo>
                  <a:pt x="10281" y="6076"/>
                </a:lnTo>
                <a:lnTo>
                  <a:pt x="10270" y="6076"/>
                </a:lnTo>
                <a:lnTo>
                  <a:pt x="10261" y="6074"/>
                </a:lnTo>
                <a:lnTo>
                  <a:pt x="10254" y="6069"/>
                </a:lnTo>
                <a:lnTo>
                  <a:pt x="10250" y="6062"/>
                </a:lnTo>
                <a:lnTo>
                  <a:pt x="10257" y="6043"/>
                </a:lnTo>
                <a:lnTo>
                  <a:pt x="10261" y="6021"/>
                </a:lnTo>
                <a:lnTo>
                  <a:pt x="10262" y="6011"/>
                </a:lnTo>
                <a:lnTo>
                  <a:pt x="10261" y="5999"/>
                </a:lnTo>
                <a:lnTo>
                  <a:pt x="10257" y="5987"/>
                </a:lnTo>
                <a:lnTo>
                  <a:pt x="10250" y="5974"/>
                </a:lnTo>
                <a:lnTo>
                  <a:pt x="10211" y="5974"/>
                </a:lnTo>
                <a:lnTo>
                  <a:pt x="10188" y="5989"/>
                </a:lnTo>
                <a:lnTo>
                  <a:pt x="10177" y="6015"/>
                </a:lnTo>
                <a:lnTo>
                  <a:pt x="10171" y="6044"/>
                </a:lnTo>
                <a:lnTo>
                  <a:pt x="10168" y="6072"/>
                </a:lnTo>
                <a:lnTo>
                  <a:pt x="10160" y="6095"/>
                </a:lnTo>
                <a:lnTo>
                  <a:pt x="10143" y="6105"/>
                </a:lnTo>
                <a:lnTo>
                  <a:pt x="10113" y="6100"/>
                </a:lnTo>
                <a:lnTo>
                  <a:pt x="10113" y="6090"/>
                </a:lnTo>
                <a:lnTo>
                  <a:pt x="10118" y="6083"/>
                </a:lnTo>
                <a:lnTo>
                  <a:pt x="10126" y="6079"/>
                </a:lnTo>
                <a:lnTo>
                  <a:pt x="10135" y="6077"/>
                </a:lnTo>
                <a:lnTo>
                  <a:pt x="10142" y="6074"/>
                </a:lnTo>
                <a:lnTo>
                  <a:pt x="10149" y="6069"/>
                </a:lnTo>
                <a:lnTo>
                  <a:pt x="10151" y="6062"/>
                </a:lnTo>
                <a:lnTo>
                  <a:pt x="10150" y="6049"/>
                </a:lnTo>
                <a:lnTo>
                  <a:pt x="10131" y="6055"/>
                </a:lnTo>
                <a:lnTo>
                  <a:pt x="10115" y="6058"/>
                </a:lnTo>
                <a:lnTo>
                  <a:pt x="10105" y="6057"/>
                </a:lnTo>
                <a:lnTo>
                  <a:pt x="10098" y="6053"/>
                </a:lnTo>
                <a:lnTo>
                  <a:pt x="10091" y="6046"/>
                </a:lnTo>
                <a:lnTo>
                  <a:pt x="10085" y="6039"/>
                </a:lnTo>
                <a:lnTo>
                  <a:pt x="10075" y="6031"/>
                </a:lnTo>
                <a:lnTo>
                  <a:pt x="10062" y="6023"/>
                </a:lnTo>
                <a:lnTo>
                  <a:pt x="10036" y="6023"/>
                </a:lnTo>
                <a:lnTo>
                  <a:pt x="10030" y="6039"/>
                </a:lnTo>
                <a:lnTo>
                  <a:pt x="10021" y="6053"/>
                </a:lnTo>
                <a:lnTo>
                  <a:pt x="10012" y="6065"/>
                </a:lnTo>
                <a:lnTo>
                  <a:pt x="10001" y="6076"/>
                </a:lnTo>
                <a:lnTo>
                  <a:pt x="9988" y="6085"/>
                </a:lnTo>
                <a:lnTo>
                  <a:pt x="9973" y="6092"/>
                </a:lnTo>
                <a:lnTo>
                  <a:pt x="9955" y="6097"/>
                </a:lnTo>
                <a:lnTo>
                  <a:pt x="9936" y="6100"/>
                </a:lnTo>
                <a:lnTo>
                  <a:pt x="9937" y="6115"/>
                </a:lnTo>
                <a:lnTo>
                  <a:pt x="9937" y="6129"/>
                </a:lnTo>
                <a:lnTo>
                  <a:pt x="9936" y="6142"/>
                </a:lnTo>
                <a:lnTo>
                  <a:pt x="9932" y="6152"/>
                </a:lnTo>
                <a:lnTo>
                  <a:pt x="9927" y="6161"/>
                </a:lnTo>
                <a:lnTo>
                  <a:pt x="9919" y="6167"/>
                </a:lnTo>
                <a:lnTo>
                  <a:pt x="9909" y="6172"/>
                </a:lnTo>
                <a:lnTo>
                  <a:pt x="9898" y="6175"/>
                </a:lnTo>
                <a:lnTo>
                  <a:pt x="9899" y="6163"/>
                </a:lnTo>
                <a:lnTo>
                  <a:pt x="9900" y="6156"/>
                </a:lnTo>
                <a:lnTo>
                  <a:pt x="9903" y="6151"/>
                </a:lnTo>
                <a:lnTo>
                  <a:pt x="9905" y="6146"/>
                </a:lnTo>
                <a:lnTo>
                  <a:pt x="9907" y="6142"/>
                </a:lnTo>
                <a:lnTo>
                  <a:pt x="9907" y="6138"/>
                </a:lnTo>
                <a:lnTo>
                  <a:pt x="9904" y="6133"/>
                </a:lnTo>
                <a:lnTo>
                  <a:pt x="9898" y="6124"/>
                </a:lnTo>
                <a:lnTo>
                  <a:pt x="9823" y="6124"/>
                </a:lnTo>
                <a:lnTo>
                  <a:pt x="9824" y="6139"/>
                </a:lnTo>
                <a:lnTo>
                  <a:pt x="9830" y="6148"/>
                </a:lnTo>
                <a:lnTo>
                  <a:pt x="9839" y="6155"/>
                </a:lnTo>
                <a:lnTo>
                  <a:pt x="9851" y="6158"/>
                </a:lnTo>
                <a:lnTo>
                  <a:pt x="9863" y="6162"/>
                </a:lnTo>
                <a:lnTo>
                  <a:pt x="9873" y="6167"/>
                </a:lnTo>
                <a:lnTo>
                  <a:pt x="9882" y="6175"/>
                </a:lnTo>
                <a:lnTo>
                  <a:pt x="9885" y="6188"/>
                </a:lnTo>
                <a:lnTo>
                  <a:pt x="9854" y="6198"/>
                </a:lnTo>
                <a:lnTo>
                  <a:pt x="9823" y="6211"/>
                </a:lnTo>
                <a:lnTo>
                  <a:pt x="9789" y="6226"/>
                </a:lnTo>
                <a:lnTo>
                  <a:pt x="9758" y="6240"/>
                </a:lnTo>
                <a:lnTo>
                  <a:pt x="9727" y="6251"/>
                </a:lnTo>
                <a:lnTo>
                  <a:pt x="9698" y="6259"/>
                </a:lnTo>
                <a:lnTo>
                  <a:pt x="9670" y="6259"/>
                </a:lnTo>
                <a:lnTo>
                  <a:pt x="9645" y="6250"/>
                </a:lnTo>
                <a:lnTo>
                  <a:pt x="9645" y="6263"/>
                </a:lnTo>
                <a:lnTo>
                  <a:pt x="9644" y="6274"/>
                </a:lnTo>
                <a:lnTo>
                  <a:pt x="9643" y="6279"/>
                </a:lnTo>
                <a:lnTo>
                  <a:pt x="9642" y="6283"/>
                </a:lnTo>
                <a:lnTo>
                  <a:pt x="9638" y="6287"/>
                </a:lnTo>
                <a:lnTo>
                  <a:pt x="9633" y="6288"/>
                </a:lnTo>
                <a:lnTo>
                  <a:pt x="9589" y="6295"/>
                </a:lnTo>
                <a:lnTo>
                  <a:pt x="9550" y="6302"/>
                </a:lnTo>
                <a:lnTo>
                  <a:pt x="9513" y="6311"/>
                </a:lnTo>
                <a:lnTo>
                  <a:pt x="9479" y="6320"/>
                </a:lnTo>
                <a:lnTo>
                  <a:pt x="9444" y="6328"/>
                </a:lnTo>
                <a:lnTo>
                  <a:pt x="9411" y="6331"/>
                </a:lnTo>
                <a:lnTo>
                  <a:pt x="9378" y="6331"/>
                </a:lnTo>
                <a:lnTo>
                  <a:pt x="9344" y="6326"/>
                </a:lnTo>
                <a:lnTo>
                  <a:pt x="9342" y="6337"/>
                </a:lnTo>
                <a:lnTo>
                  <a:pt x="9336" y="6347"/>
                </a:lnTo>
                <a:lnTo>
                  <a:pt x="9327" y="6357"/>
                </a:lnTo>
                <a:lnTo>
                  <a:pt x="9314" y="6366"/>
                </a:lnTo>
                <a:lnTo>
                  <a:pt x="9299" y="6373"/>
                </a:lnTo>
                <a:lnTo>
                  <a:pt x="9281" y="6380"/>
                </a:lnTo>
                <a:lnTo>
                  <a:pt x="9262" y="6385"/>
                </a:lnTo>
                <a:lnTo>
                  <a:pt x="9242" y="6389"/>
                </a:lnTo>
                <a:lnTo>
                  <a:pt x="9246" y="6379"/>
                </a:lnTo>
                <a:lnTo>
                  <a:pt x="9252" y="6371"/>
                </a:lnTo>
                <a:lnTo>
                  <a:pt x="9262" y="6366"/>
                </a:lnTo>
                <a:lnTo>
                  <a:pt x="9272" y="6362"/>
                </a:lnTo>
                <a:lnTo>
                  <a:pt x="9281" y="6357"/>
                </a:lnTo>
                <a:lnTo>
                  <a:pt x="9289" y="6351"/>
                </a:lnTo>
                <a:lnTo>
                  <a:pt x="9294" y="6340"/>
                </a:lnTo>
                <a:lnTo>
                  <a:pt x="9293" y="6326"/>
                </a:lnTo>
                <a:lnTo>
                  <a:pt x="9285" y="6326"/>
                </a:lnTo>
                <a:lnTo>
                  <a:pt x="9279" y="6325"/>
                </a:lnTo>
                <a:lnTo>
                  <a:pt x="9272" y="6323"/>
                </a:lnTo>
                <a:lnTo>
                  <a:pt x="9267" y="6320"/>
                </a:lnTo>
                <a:lnTo>
                  <a:pt x="9263" y="6316"/>
                </a:lnTo>
                <a:lnTo>
                  <a:pt x="9260" y="6311"/>
                </a:lnTo>
                <a:lnTo>
                  <a:pt x="9257" y="6306"/>
                </a:lnTo>
                <a:lnTo>
                  <a:pt x="9255" y="6301"/>
                </a:lnTo>
                <a:lnTo>
                  <a:pt x="9220" y="6319"/>
                </a:lnTo>
                <a:lnTo>
                  <a:pt x="9183" y="6331"/>
                </a:lnTo>
                <a:lnTo>
                  <a:pt x="9145" y="6339"/>
                </a:lnTo>
                <a:lnTo>
                  <a:pt x="9107" y="6344"/>
                </a:lnTo>
                <a:lnTo>
                  <a:pt x="9069" y="6352"/>
                </a:lnTo>
                <a:lnTo>
                  <a:pt x="9032" y="6362"/>
                </a:lnTo>
                <a:lnTo>
                  <a:pt x="8997" y="6377"/>
                </a:lnTo>
                <a:lnTo>
                  <a:pt x="8965" y="6401"/>
                </a:lnTo>
                <a:lnTo>
                  <a:pt x="8976" y="6403"/>
                </a:lnTo>
                <a:lnTo>
                  <a:pt x="8988" y="6403"/>
                </a:lnTo>
                <a:lnTo>
                  <a:pt x="9002" y="6401"/>
                </a:lnTo>
                <a:lnTo>
                  <a:pt x="9016" y="6400"/>
                </a:lnTo>
                <a:lnTo>
                  <a:pt x="9029" y="6400"/>
                </a:lnTo>
                <a:lnTo>
                  <a:pt x="9041" y="6401"/>
                </a:lnTo>
                <a:lnTo>
                  <a:pt x="9049" y="6407"/>
                </a:lnTo>
                <a:lnTo>
                  <a:pt x="9053" y="6414"/>
                </a:lnTo>
                <a:lnTo>
                  <a:pt x="9038" y="6417"/>
                </a:lnTo>
                <a:lnTo>
                  <a:pt x="9027" y="6422"/>
                </a:lnTo>
                <a:lnTo>
                  <a:pt x="9019" y="6428"/>
                </a:lnTo>
                <a:lnTo>
                  <a:pt x="9013" y="6435"/>
                </a:lnTo>
                <a:lnTo>
                  <a:pt x="9009" y="6442"/>
                </a:lnTo>
                <a:lnTo>
                  <a:pt x="9006" y="6450"/>
                </a:lnTo>
                <a:lnTo>
                  <a:pt x="9004" y="6457"/>
                </a:lnTo>
                <a:lnTo>
                  <a:pt x="9002" y="6465"/>
                </a:lnTo>
                <a:lnTo>
                  <a:pt x="8945" y="6474"/>
                </a:lnTo>
                <a:lnTo>
                  <a:pt x="8889" y="6485"/>
                </a:lnTo>
                <a:lnTo>
                  <a:pt x="8833" y="6499"/>
                </a:lnTo>
                <a:lnTo>
                  <a:pt x="8777" y="6515"/>
                </a:lnTo>
                <a:lnTo>
                  <a:pt x="8720" y="6531"/>
                </a:lnTo>
                <a:lnTo>
                  <a:pt x="8659" y="6550"/>
                </a:lnTo>
                <a:lnTo>
                  <a:pt x="8594" y="6569"/>
                </a:lnTo>
                <a:lnTo>
                  <a:pt x="8524" y="6591"/>
                </a:lnTo>
                <a:lnTo>
                  <a:pt x="8517" y="6582"/>
                </a:lnTo>
                <a:lnTo>
                  <a:pt x="8513" y="6573"/>
                </a:lnTo>
                <a:lnTo>
                  <a:pt x="8510" y="6563"/>
                </a:lnTo>
                <a:lnTo>
                  <a:pt x="8506" y="6552"/>
                </a:lnTo>
                <a:lnTo>
                  <a:pt x="8502" y="6541"/>
                </a:lnTo>
                <a:lnTo>
                  <a:pt x="8498" y="6531"/>
                </a:lnTo>
                <a:lnTo>
                  <a:pt x="8493" y="6522"/>
                </a:lnTo>
                <a:lnTo>
                  <a:pt x="8485" y="6515"/>
                </a:lnTo>
                <a:lnTo>
                  <a:pt x="8483" y="6525"/>
                </a:lnTo>
                <a:lnTo>
                  <a:pt x="8478" y="6529"/>
                </a:lnTo>
                <a:lnTo>
                  <a:pt x="8473" y="6529"/>
                </a:lnTo>
                <a:lnTo>
                  <a:pt x="8466" y="6525"/>
                </a:lnTo>
                <a:lnTo>
                  <a:pt x="8460" y="6520"/>
                </a:lnTo>
                <a:lnTo>
                  <a:pt x="8452" y="6515"/>
                </a:lnTo>
                <a:lnTo>
                  <a:pt x="8443" y="6513"/>
                </a:lnTo>
                <a:lnTo>
                  <a:pt x="8436" y="6515"/>
                </a:lnTo>
                <a:lnTo>
                  <a:pt x="8438" y="6539"/>
                </a:lnTo>
                <a:lnTo>
                  <a:pt x="8433" y="6554"/>
                </a:lnTo>
                <a:lnTo>
                  <a:pt x="8423" y="6564"/>
                </a:lnTo>
                <a:lnTo>
                  <a:pt x="8408" y="6569"/>
                </a:lnTo>
                <a:lnTo>
                  <a:pt x="8392" y="6575"/>
                </a:lnTo>
                <a:lnTo>
                  <a:pt x="8377" y="6580"/>
                </a:lnTo>
                <a:lnTo>
                  <a:pt x="8366" y="6589"/>
                </a:lnTo>
                <a:lnTo>
                  <a:pt x="8359" y="6604"/>
                </a:lnTo>
                <a:lnTo>
                  <a:pt x="8369" y="6605"/>
                </a:lnTo>
                <a:lnTo>
                  <a:pt x="8381" y="6604"/>
                </a:lnTo>
                <a:lnTo>
                  <a:pt x="8392" y="6603"/>
                </a:lnTo>
                <a:lnTo>
                  <a:pt x="8405" y="6601"/>
                </a:lnTo>
                <a:lnTo>
                  <a:pt x="8417" y="6601"/>
                </a:lnTo>
                <a:lnTo>
                  <a:pt x="8425" y="6604"/>
                </a:lnTo>
                <a:lnTo>
                  <a:pt x="8433" y="6608"/>
                </a:lnTo>
                <a:lnTo>
                  <a:pt x="8436" y="6615"/>
                </a:lnTo>
                <a:lnTo>
                  <a:pt x="8383" y="6631"/>
                </a:lnTo>
                <a:lnTo>
                  <a:pt x="8330" y="6651"/>
                </a:lnTo>
                <a:lnTo>
                  <a:pt x="8275" y="6674"/>
                </a:lnTo>
                <a:lnTo>
                  <a:pt x="8219" y="6696"/>
                </a:lnTo>
                <a:lnTo>
                  <a:pt x="8163" y="6713"/>
                </a:lnTo>
                <a:lnTo>
                  <a:pt x="8110" y="6725"/>
                </a:lnTo>
                <a:lnTo>
                  <a:pt x="8056" y="6727"/>
                </a:lnTo>
                <a:lnTo>
                  <a:pt x="8006" y="6717"/>
                </a:lnTo>
                <a:lnTo>
                  <a:pt x="8008" y="6732"/>
                </a:lnTo>
                <a:lnTo>
                  <a:pt x="8005" y="6744"/>
                </a:lnTo>
                <a:lnTo>
                  <a:pt x="7999" y="6752"/>
                </a:lnTo>
                <a:lnTo>
                  <a:pt x="7991" y="6758"/>
                </a:lnTo>
                <a:lnTo>
                  <a:pt x="7982" y="6763"/>
                </a:lnTo>
                <a:lnTo>
                  <a:pt x="7973" y="6768"/>
                </a:lnTo>
                <a:lnTo>
                  <a:pt x="7963" y="6773"/>
                </a:lnTo>
                <a:lnTo>
                  <a:pt x="7957" y="6780"/>
                </a:lnTo>
                <a:lnTo>
                  <a:pt x="7872" y="6787"/>
                </a:lnTo>
                <a:lnTo>
                  <a:pt x="7796" y="6802"/>
                </a:lnTo>
                <a:lnTo>
                  <a:pt x="7729" y="6823"/>
                </a:lnTo>
                <a:lnTo>
                  <a:pt x="7665" y="6846"/>
                </a:lnTo>
                <a:lnTo>
                  <a:pt x="7603" y="6869"/>
                </a:lnTo>
                <a:lnTo>
                  <a:pt x="7540" y="6890"/>
                </a:lnTo>
                <a:lnTo>
                  <a:pt x="7474" y="6908"/>
                </a:lnTo>
                <a:lnTo>
                  <a:pt x="7402" y="6918"/>
                </a:lnTo>
                <a:lnTo>
                  <a:pt x="7403" y="6913"/>
                </a:lnTo>
                <a:lnTo>
                  <a:pt x="7404" y="6908"/>
                </a:lnTo>
                <a:lnTo>
                  <a:pt x="7407" y="6904"/>
                </a:lnTo>
                <a:lnTo>
                  <a:pt x="7409" y="6902"/>
                </a:lnTo>
                <a:lnTo>
                  <a:pt x="7412" y="6897"/>
                </a:lnTo>
                <a:lnTo>
                  <a:pt x="7413" y="6893"/>
                </a:lnTo>
                <a:lnTo>
                  <a:pt x="7414" y="6888"/>
                </a:lnTo>
                <a:lnTo>
                  <a:pt x="7414" y="6880"/>
                </a:lnTo>
                <a:lnTo>
                  <a:pt x="7377" y="6880"/>
                </a:lnTo>
                <a:lnTo>
                  <a:pt x="7349" y="6888"/>
                </a:lnTo>
                <a:lnTo>
                  <a:pt x="7328" y="6903"/>
                </a:lnTo>
                <a:lnTo>
                  <a:pt x="7309" y="6921"/>
                </a:lnTo>
                <a:lnTo>
                  <a:pt x="7292" y="6940"/>
                </a:lnTo>
                <a:lnTo>
                  <a:pt x="7274" y="6958"/>
                </a:lnTo>
                <a:lnTo>
                  <a:pt x="7253" y="6973"/>
                </a:lnTo>
                <a:lnTo>
                  <a:pt x="7225" y="6982"/>
                </a:lnTo>
                <a:lnTo>
                  <a:pt x="7237" y="6962"/>
                </a:lnTo>
                <a:lnTo>
                  <a:pt x="7250" y="6944"/>
                </a:lnTo>
                <a:lnTo>
                  <a:pt x="7199" y="6950"/>
                </a:lnTo>
                <a:lnTo>
                  <a:pt x="7157" y="6963"/>
                </a:lnTo>
                <a:lnTo>
                  <a:pt x="7120" y="6979"/>
                </a:lnTo>
                <a:lnTo>
                  <a:pt x="7086" y="6997"/>
                </a:lnTo>
                <a:lnTo>
                  <a:pt x="7050" y="7014"/>
                </a:lnTo>
                <a:lnTo>
                  <a:pt x="7011" y="7025"/>
                </a:lnTo>
                <a:lnTo>
                  <a:pt x="6965" y="7028"/>
                </a:lnTo>
                <a:lnTo>
                  <a:pt x="6910" y="7019"/>
                </a:lnTo>
                <a:lnTo>
                  <a:pt x="6905" y="7026"/>
                </a:lnTo>
                <a:lnTo>
                  <a:pt x="6901" y="7035"/>
                </a:lnTo>
                <a:lnTo>
                  <a:pt x="6899" y="7046"/>
                </a:lnTo>
                <a:lnTo>
                  <a:pt x="6896" y="7056"/>
                </a:lnTo>
                <a:lnTo>
                  <a:pt x="6893" y="7066"/>
                </a:lnTo>
                <a:lnTo>
                  <a:pt x="6888" y="7074"/>
                </a:lnTo>
                <a:lnTo>
                  <a:pt x="6882" y="7080"/>
                </a:lnTo>
                <a:lnTo>
                  <a:pt x="6872" y="7082"/>
                </a:lnTo>
                <a:lnTo>
                  <a:pt x="6747" y="7113"/>
                </a:lnTo>
                <a:lnTo>
                  <a:pt x="6623" y="7146"/>
                </a:lnTo>
                <a:lnTo>
                  <a:pt x="6504" y="7182"/>
                </a:lnTo>
                <a:lnTo>
                  <a:pt x="6384" y="7219"/>
                </a:lnTo>
                <a:lnTo>
                  <a:pt x="6264" y="7256"/>
                </a:lnTo>
                <a:lnTo>
                  <a:pt x="6145" y="7291"/>
                </a:lnTo>
                <a:lnTo>
                  <a:pt x="6024" y="7327"/>
                </a:lnTo>
                <a:lnTo>
                  <a:pt x="5901" y="7360"/>
                </a:lnTo>
                <a:lnTo>
                  <a:pt x="5901" y="7349"/>
                </a:lnTo>
                <a:lnTo>
                  <a:pt x="5904" y="7341"/>
                </a:lnTo>
                <a:lnTo>
                  <a:pt x="5906" y="7335"/>
                </a:lnTo>
                <a:lnTo>
                  <a:pt x="5909" y="7331"/>
                </a:lnTo>
                <a:lnTo>
                  <a:pt x="5910" y="7327"/>
                </a:lnTo>
                <a:lnTo>
                  <a:pt x="5909" y="7323"/>
                </a:lnTo>
                <a:lnTo>
                  <a:pt x="5906" y="7317"/>
                </a:lnTo>
                <a:lnTo>
                  <a:pt x="5901" y="7309"/>
                </a:lnTo>
                <a:lnTo>
                  <a:pt x="5872" y="7310"/>
                </a:lnTo>
                <a:lnTo>
                  <a:pt x="5850" y="7319"/>
                </a:lnTo>
                <a:lnTo>
                  <a:pt x="5834" y="7332"/>
                </a:lnTo>
                <a:lnTo>
                  <a:pt x="5820" y="7347"/>
                </a:lnTo>
                <a:lnTo>
                  <a:pt x="5807" y="7365"/>
                </a:lnTo>
                <a:lnTo>
                  <a:pt x="5792" y="7380"/>
                </a:lnTo>
                <a:lnTo>
                  <a:pt x="5774" y="7392"/>
                </a:lnTo>
                <a:lnTo>
                  <a:pt x="5750" y="7397"/>
                </a:lnTo>
                <a:lnTo>
                  <a:pt x="5745" y="7388"/>
                </a:lnTo>
                <a:lnTo>
                  <a:pt x="5737" y="7382"/>
                </a:lnTo>
                <a:lnTo>
                  <a:pt x="5728" y="7377"/>
                </a:lnTo>
                <a:lnTo>
                  <a:pt x="5717" y="7373"/>
                </a:lnTo>
                <a:lnTo>
                  <a:pt x="5705" y="7371"/>
                </a:lnTo>
                <a:lnTo>
                  <a:pt x="5691" y="7370"/>
                </a:lnTo>
                <a:lnTo>
                  <a:pt x="5677" y="7371"/>
                </a:lnTo>
                <a:lnTo>
                  <a:pt x="5662" y="7373"/>
                </a:lnTo>
                <a:lnTo>
                  <a:pt x="5661" y="7389"/>
                </a:lnTo>
                <a:lnTo>
                  <a:pt x="5657" y="7402"/>
                </a:lnTo>
                <a:lnTo>
                  <a:pt x="5649" y="7412"/>
                </a:lnTo>
                <a:lnTo>
                  <a:pt x="5639" y="7420"/>
                </a:lnTo>
                <a:lnTo>
                  <a:pt x="5629" y="7426"/>
                </a:lnTo>
                <a:lnTo>
                  <a:pt x="5617" y="7433"/>
                </a:lnTo>
                <a:lnTo>
                  <a:pt x="5607" y="7439"/>
                </a:lnTo>
                <a:lnTo>
                  <a:pt x="5598" y="7448"/>
                </a:lnTo>
                <a:lnTo>
                  <a:pt x="5471" y="7478"/>
                </a:lnTo>
                <a:lnTo>
                  <a:pt x="5346" y="7514"/>
                </a:lnTo>
                <a:lnTo>
                  <a:pt x="5224" y="7556"/>
                </a:lnTo>
                <a:lnTo>
                  <a:pt x="5104" y="7599"/>
                </a:lnTo>
                <a:lnTo>
                  <a:pt x="4986" y="7643"/>
                </a:lnTo>
                <a:lnTo>
                  <a:pt x="4869" y="7683"/>
                </a:lnTo>
                <a:lnTo>
                  <a:pt x="4754" y="7720"/>
                </a:lnTo>
                <a:lnTo>
                  <a:pt x="4641" y="7751"/>
                </a:lnTo>
                <a:lnTo>
                  <a:pt x="4630" y="7767"/>
                </a:lnTo>
                <a:lnTo>
                  <a:pt x="4616" y="7780"/>
                </a:lnTo>
                <a:lnTo>
                  <a:pt x="4600" y="7790"/>
                </a:lnTo>
                <a:lnTo>
                  <a:pt x="4581" y="7798"/>
                </a:lnTo>
                <a:lnTo>
                  <a:pt x="4563" y="7807"/>
                </a:lnTo>
                <a:lnTo>
                  <a:pt x="4546" y="7817"/>
                </a:lnTo>
                <a:lnTo>
                  <a:pt x="4534" y="7831"/>
                </a:lnTo>
                <a:lnTo>
                  <a:pt x="4526" y="7851"/>
                </a:lnTo>
                <a:lnTo>
                  <a:pt x="4554" y="7858"/>
                </a:lnTo>
                <a:lnTo>
                  <a:pt x="4586" y="7867"/>
                </a:lnTo>
                <a:lnTo>
                  <a:pt x="4619" y="7878"/>
                </a:lnTo>
                <a:lnTo>
                  <a:pt x="4653" y="7890"/>
                </a:lnTo>
                <a:lnTo>
                  <a:pt x="4689" y="7900"/>
                </a:lnTo>
                <a:lnTo>
                  <a:pt x="4725" y="7909"/>
                </a:lnTo>
                <a:lnTo>
                  <a:pt x="4759" y="7914"/>
                </a:lnTo>
                <a:lnTo>
                  <a:pt x="4791" y="7914"/>
                </a:lnTo>
                <a:lnTo>
                  <a:pt x="4786" y="7932"/>
                </a:lnTo>
                <a:lnTo>
                  <a:pt x="4778" y="7944"/>
                </a:lnTo>
                <a:lnTo>
                  <a:pt x="4768" y="7957"/>
                </a:lnTo>
                <a:lnTo>
                  <a:pt x="4755" y="7966"/>
                </a:lnTo>
                <a:lnTo>
                  <a:pt x="4729" y="7984"/>
                </a:lnTo>
                <a:lnTo>
                  <a:pt x="4703" y="8003"/>
                </a:lnTo>
                <a:lnTo>
                  <a:pt x="4712" y="8004"/>
                </a:lnTo>
                <a:lnTo>
                  <a:pt x="4720" y="8002"/>
                </a:lnTo>
                <a:lnTo>
                  <a:pt x="4727" y="7998"/>
                </a:lnTo>
                <a:lnTo>
                  <a:pt x="4734" y="7993"/>
                </a:lnTo>
                <a:lnTo>
                  <a:pt x="4740" y="7989"/>
                </a:lnTo>
                <a:lnTo>
                  <a:pt x="4745" y="7988"/>
                </a:lnTo>
                <a:lnTo>
                  <a:pt x="4750" y="7991"/>
                </a:lnTo>
                <a:lnTo>
                  <a:pt x="4754" y="8003"/>
                </a:lnTo>
                <a:lnTo>
                  <a:pt x="4735" y="8013"/>
                </a:lnTo>
                <a:lnTo>
                  <a:pt x="4716" y="8021"/>
                </a:lnTo>
                <a:lnTo>
                  <a:pt x="4695" y="8030"/>
                </a:lnTo>
                <a:lnTo>
                  <a:pt x="4675" y="8037"/>
                </a:lnTo>
                <a:lnTo>
                  <a:pt x="4656" y="8046"/>
                </a:lnTo>
                <a:lnTo>
                  <a:pt x="4639" y="8058"/>
                </a:lnTo>
                <a:lnTo>
                  <a:pt x="4625" y="8073"/>
                </a:lnTo>
                <a:lnTo>
                  <a:pt x="4615" y="8091"/>
                </a:lnTo>
                <a:lnTo>
                  <a:pt x="4634" y="8089"/>
                </a:lnTo>
                <a:lnTo>
                  <a:pt x="4647" y="8089"/>
                </a:lnTo>
                <a:lnTo>
                  <a:pt x="4655" y="8092"/>
                </a:lnTo>
                <a:lnTo>
                  <a:pt x="4658" y="8096"/>
                </a:lnTo>
                <a:lnTo>
                  <a:pt x="4657" y="8112"/>
                </a:lnTo>
                <a:lnTo>
                  <a:pt x="4652" y="8140"/>
                </a:lnTo>
                <a:lnTo>
                  <a:pt x="4683" y="8136"/>
                </a:lnTo>
                <a:lnTo>
                  <a:pt x="4716" y="8129"/>
                </a:lnTo>
                <a:lnTo>
                  <a:pt x="4749" y="8119"/>
                </a:lnTo>
                <a:lnTo>
                  <a:pt x="4783" y="8108"/>
                </a:lnTo>
                <a:lnTo>
                  <a:pt x="4815" y="8100"/>
                </a:lnTo>
                <a:lnTo>
                  <a:pt x="4842" y="8094"/>
                </a:lnTo>
                <a:lnTo>
                  <a:pt x="4865" y="8096"/>
                </a:lnTo>
                <a:lnTo>
                  <a:pt x="4880" y="8103"/>
                </a:lnTo>
                <a:lnTo>
                  <a:pt x="4851" y="8111"/>
                </a:lnTo>
                <a:lnTo>
                  <a:pt x="4829" y="8122"/>
                </a:lnTo>
                <a:lnTo>
                  <a:pt x="4815" y="8136"/>
                </a:lnTo>
                <a:lnTo>
                  <a:pt x="4805" y="8152"/>
                </a:lnTo>
                <a:lnTo>
                  <a:pt x="4796" y="8170"/>
                </a:lnTo>
                <a:lnTo>
                  <a:pt x="4788" y="8189"/>
                </a:lnTo>
                <a:lnTo>
                  <a:pt x="4779" y="8209"/>
                </a:lnTo>
                <a:lnTo>
                  <a:pt x="4767" y="8229"/>
                </a:lnTo>
                <a:lnTo>
                  <a:pt x="4774" y="8231"/>
                </a:lnTo>
                <a:lnTo>
                  <a:pt x="4783" y="8229"/>
                </a:lnTo>
                <a:lnTo>
                  <a:pt x="4790" y="8224"/>
                </a:lnTo>
                <a:lnTo>
                  <a:pt x="4797" y="8219"/>
                </a:lnTo>
                <a:lnTo>
                  <a:pt x="4804" y="8215"/>
                </a:lnTo>
                <a:lnTo>
                  <a:pt x="4809" y="8215"/>
                </a:lnTo>
                <a:lnTo>
                  <a:pt x="4813" y="8219"/>
                </a:lnTo>
                <a:lnTo>
                  <a:pt x="4816" y="8229"/>
                </a:lnTo>
                <a:lnTo>
                  <a:pt x="4799" y="8240"/>
                </a:lnTo>
                <a:lnTo>
                  <a:pt x="4777" y="8246"/>
                </a:lnTo>
                <a:lnTo>
                  <a:pt x="4753" y="8251"/>
                </a:lnTo>
                <a:lnTo>
                  <a:pt x="4730" y="8256"/>
                </a:lnTo>
                <a:lnTo>
                  <a:pt x="4708" y="8262"/>
                </a:lnTo>
                <a:lnTo>
                  <a:pt x="4689" y="8271"/>
                </a:lnTo>
                <a:lnTo>
                  <a:pt x="4674" y="8285"/>
                </a:lnTo>
                <a:lnTo>
                  <a:pt x="4665" y="8304"/>
                </a:lnTo>
                <a:lnTo>
                  <a:pt x="4686" y="8311"/>
                </a:lnTo>
                <a:lnTo>
                  <a:pt x="4703" y="8317"/>
                </a:lnTo>
                <a:lnTo>
                  <a:pt x="4717" y="8326"/>
                </a:lnTo>
                <a:lnTo>
                  <a:pt x="4730" y="8335"/>
                </a:lnTo>
                <a:lnTo>
                  <a:pt x="4741" y="8346"/>
                </a:lnTo>
                <a:lnTo>
                  <a:pt x="4753" y="8359"/>
                </a:lnTo>
                <a:lnTo>
                  <a:pt x="4764" y="8374"/>
                </a:lnTo>
                <a:lnTo>
                  <a:pt x="4778" y="8394"/>
                </a:lnTo>
                <a:lnTo>
                  <a:pt x="4768" y="8395"/>
                </a:lnTo>
                <a:lnTo>
                  <a:pt x="4758" y="8397"/>
                </a:lnTo>
                <a:lnTo>
                  <a:pt x="4749" y="8401"/>
                </a:lnTo>
                <a:lnTo>
                  <a:pt x="4743" y="8406"/>
                </a:lnTo>
                <a:lnTo>
                  <a:pt x="4736" y="8414"/>
                </a:lnTo>
                <a:lnTo>
                  <a:pt x="4732" y="8422"/>
                </a:lnTo>
                <a:lnTo>
                  <a:pt x="4730" y="8432"/>
                </a:lnTo>
                <a:lnTo>
                  <a:pt x="4729" y="8443"/>
                </a:lnTo>
                <a:lnTo>
                  <a:pt x="4753" y="8443"/>
                </a:lnTo>
                <a:lnTo>
                  <a:pt x="4773" y="8433"/>
                </a:lnTo>
                <a:lnTo>
                  <a:pt x="4788" y="8418"/>
                </a:lnTo>
                <a:lnTo>
                  <a:pt x="4801" y="8400"/>
                </a:lnTo>
                <a:lnTo>
                  <a:pt x="4814" y="8382"/>
                </a:lnTo>
                <a:lnTo>
                  <a:pt x="4825" y="8369"/>
                </a:lnTo>
                <a:lnTo>
                  <a:pt x="4838" y="8363"/>
                </a:lnTo>
                <a:lnTo>
                  <a:pt x="4855" y="8368"/>
                </a:lnTo>
                <a:lnTo>
                  <a:pt x="4841" y="8382"/>
                </a:lnTo>
                <a:lnTo>
                  <a:pt x="4827" y="8396"/>
                </a:lnTo>
                <a:lnTo>
                  <a:pt x="4821" y="8405"/>
                </a:lnTo>
                <a:lnTo>
                  <a:pt x="4818" y="8415"/>
                </a:lnTo>
                <a:lnTo>
                  <a:pt x="4815" y="8428"/>
                </a:lnTo>
                <a:lnTo>
                  <a:pt x="4816" y="8443"/>
                </a:lnTo>
                <a:lnTo>
                  <a:pt x="4827" y="8447"/>
                </a:lnTo>
                <a:lnTo>
                  <a:pt x="4837" y="8446"/>
                </a:lnTo>
                <a:lnTo>
                  <a:pt x="4844" y="8442"/>
                </a:lnTo>
                <a:lnTo>
                  <a:pt x="4852" y="8438"/>
                </a:lnTo>
                <a:lnTo>
                  <a:pt x="4857" y="8433"/>
                </a:lnTo>
                <a:lnTo>
                  <a:pt x="4862" y="8432"/>
                </a:lnTo>
                <a:lnTo>
                  <a:pt x="4865" y="8434"/>
                </a:lnTo>
                <a:lnTo>
                  <a:pt x="4867" y="8443"/>
                </a:lnTo>
                <a:lnTo>
                  <a:pt x="4862" y="8455"/>
                </a:lnTo>
                <a:lnTo>
                  <a:pt x="4856" y="8464"/>
                </a:lnTo>
                <a:lnTo>
                  <a:pt x="4847" y="8471"/>
                </a:lnTo>
                <a:lnTo>
                  <a:pt x="4838" y="8478"/>
                </a:lnTo>
                <a:lnTo>
                  <a:pt x="4829" y="8485"/>
                </a:lnTo>
                <a:lnTo>
                  <a:pt x="4823" y="8493"/>
                </a:lnTo>
                <a:lnTo>
                  <a:pt x="4818" y="8504"/>
                </a:lnTo>
                <a:lnTo>
                  <a:pt x="4816" y="8520"/>
                </a:lnTo>
                <a:lnTo>
                  <a:pt x="4865" y="8522"/>
                </a:lnTo>
                <a:lnTo>
                  <a:pt x="4911" y="8523"/>
                </a:lnTo>
                <a:lnTo>
                  <a:pt x="4954" y="8523"/>
                </a:lnTo>
                <a:lnTo>
                  <a:pt x="4996" y="8522"/>
                </a:lnTo>
                <a:lnTo>
                  <a:pt x="5035" y="8521"/>
                </a:lnTo>
                <a:lnTo>
                  <a:pt x="5071" y="8517"/>
                </a:lnTo>
                <a:lnTo>
                  <a:pt x="5103" y="8512"/>
                </a:lnTo>
                <a:lnTo>
                  <a:pt x="5132" y="8507"/>
                </a:lnTo>
                <a:lnTo>
                  <a:pt x="5113" y="8521"/>
                </a:lnTo>
                <a:lnTo>
                  <a:pt x="5090" y="8531"/>
                </a:lnTo>
                <a:lnTo>
                  <a:pt x="5063" y="8537"/>
                </a:lnTo>
                <a:lnTo>
                  <a:pt x="5038" y="8544"/>
                </a:lnTo>
                <a:lnTo>
                  <a:pt x="5011" y="8551"/>
                </a:lnTo>
                <a:lnTo>
                  <a:pt x="4988" y="8562"/>
                </a:lnTo>
                <a:lnTo>
                  <a:pt x="4969" y="8574"/>
                </a:lnTo>
                <a:lnTo>
                  <a:pt x="4955" y="8595"/>
                </a:lnTo>
                <a:lnTo>
                  <a:pt x="4963" y="8604"/>
                </a:lnTo>
                <a:lnTo>
                  <a:pt x="4973" y="8611"/>
                </a:lnTo>
                <a:lnTo>
                  <a:pt x="4983" y="8619"/>
                </a:lnTo>
                <a:lnTo>
                  <a:pt x="4992" y="8627"/>
                </a:lnTo>
                <a:lnTo>
                  <a:pt x="5001" y="8635"/>
                </a:lnTo>
                <a:lnTo>
                  <a:pt x="5006" y="8648"/>
                </a:lnTo>
                <a:lnTo>
                  <a:pt x="5009" y="8663"/>
                </a:lnTo>
                <a:lnTo>
                  <a:pt x="5006" y="8683"/>
                </a:lnTo>
                <a:lnTo>
                  <a:pt x="5000" y="8695"/>
                </a:lnTo>
                <a:lnTo>
                  <a:pt x="4991" y="8705"/>
                </a:lnTo>
                <a:lnTo>
                  <a:pt x="4979" y="8714"/>
                </a:lnTo>
                <a:lnTo>
                  <a:pt x="4968" y="8721"/>
                </a:lnTo>
                <a:lnTo>
                  <a:pt x="4956" y="8727"/>
                </a:lnTo>
                <a:lnTo>
                  <a:pt x="4945" y="8736"/>
                </a:lnTo>
                <a:lnTo>
                  <a:pt x="4936" y="8745"/>
                </a:lnTo>
                <a:lnTo>
                  <a:pt x="4930" y="8759"/>
                </a:lnTo>
                <a:lnTo>
                  <a:pt x="4945" y="8772"/>
                </a:lnTo>
                <a:lnTo>
                  <a:pt x="4960" y="8774"/>
                </a:lnTo>
                <a:lnTo>
                  <a:pt x="4976" y="8769"/>
                </a:lnTo>
                <a:lnTo>
                  <a:pt x="4990" y="8760"/>
                </a:lnTo>
                <a:lnTo>
                  <a:pt x="5002" y="8750"/>
                </a:lnTo>
                <a:lnTo>
                  <a:pt x="5014" y="8742"/>
                </a:lnTo>
                <a:lnTo>
                  <a:pt x="5023" y="8740"/>
                </a:lnTo>
                <a:lnTo>
                  <a:pt x="5032" y="8746"/>
                </a:lnTo>
                <a:lnTo>
                  <a:pt x="5015" y="8761"/>
                </a:lnTo>
                <a:lnTo>
                  <a:pt x="4998" y="8777"/>
                </a:lnTo>
                <a:lnTo>
                  <a:pt x="4992" y="8786"/>
                </a:lnTo>
                <a:lnTo>
                  <a:pt x="4986" y="8795"/>
                </a:lnTo>
                <a:lnTo>
                  <a:pt x="4982" y="8807"/>
                </a:lnTo>
                <a:lnTo>
                  <a:pt x="4981" y="8821"/>
                </a:lnTo>
                <a:lnTo>
                  <a:pt x="5002" y="8810"/>
                </a:lnTo>
                <a:lnTo>
                  <a:pt x="5029" y="8801"/>
                </a:lnTo>
                <a:lnTo>
                  <a:pt x="5057" y="8793"/>
                </a:lnTo>
                <a:lnTo>
                  <a:pt x="5085" y="8789"/>
                </a:lnTo>
                <a:lnTo>
                  <a:pt x="5111" y="8789"/>
                </a:lnTo>
                <a:lnTo>
                  <a:pt x="5130" y="8795"/>
                </a:lnTo>
                <a:lnTo>
                  <a:pt x="5142" y="8805"/>
                </a:lnTo>
                <a:lnTo>
                  <a:pt x="5145" y="8821"/>
                </a:lnTo>
                <a:lnTo>
                  <a:pt x="5262" y="8812"/>
                </a:lnTo>
                <a:lnTo>
                  <a:pt x="5369" y="8792"/>
                </a:lnTo>
                <a:lnTo>
                  <a:pt x="5470" y="8764"/>
                </a:lnTo>
                <a:lnTo>
                  <a:pt x="5565" y="8730"/>
                </a:lnTo>
                <a:lnTo>
                  <a:pt x="5658" y="8694"/>
                </a:lnTo>
                <a:lnTo>
                  <a:pt x="5752" y="8660"/>
                </a:lnTo>
                <a:lnTo>
                  <a:pt x="5849" y="8630"/>
                </a:lnTo>
                <a:lnTo>
                  <a:pt x="5951" y="8607"/>
                </a:lnTo>
                <a:lnTo>
                  <a:pt x="5954" y="8582"/>
                </a:lnTo>
                <a:lnTo>
                  <a:pt x="5965" y="8564"/>
                </a:lnTo>
                <a:lnTo>
                  <a:pt x="5982" y="8553"/>
                </a:lnTo>
                <a:lnTo>
                  <a:pt x="6005" y="8545"/>
                </a:lnTo>
                <a:lnTo>
                  <a:pt x="6029" y="8543"/>
                </a:lnTo>
                <a:lnTo>
                  <a:pt x="6055" y="8544"/>
                </a:lnTo>
                <a:lnTo>
                  <a:pt x="6080" y="8549"/>
                </a:lnTo>
                <a:lnTo>
                  <a:pt x="6103" y="8557"/>
                </a:lnTo>
                <a:lnTo>
                  <a:pt x="6108" y="8550"/>
                </a:lnTo>
                <a:lnTo>
                  <a:pt x="6112" y="8540"/>
                </a:lnTo>
                <a:lnTo>
                  <a:pt x="6114" y="8530"/>
                </a:lnTo>
                <a:lnTo>
                  <a:pt x="6117" y="8520"/>
                </a:lnTo>
                <a:lnTo>
                  <a:pt x="6119" y="8509"/>
                </a:lnTo>
                <a:lnTo>
                  <a:pt x="6123" y="8502"/>
                </a:lnTo>
                <a:lnTo>
                  <a:pt x="6131" y="8497"/>
                </a:lnTo>
                <a:lnTo>
                  <a:pt x="6141" y="8494"/>
                </a:lnTo>
                <a:lnTo>
                  <a:pt x="6183" y="8487"/>
                </a:lnTo>
                <a:lnTo>
                  <a:pt x="6226" y="8470"/>
                </a:lnTo>
                <a:lnTo>
                  <a:pt x="6271" y="8447"/>
                </a:lnTo>
                <a:lnTo>
                  <a:pt x="6317" y="8423"/>
                </a:lnTo>
                <a:lnTo>
                  <a:pt x="6365" y="8401"/>
                </a:lnTo>
                <a:lnTo>
                  <a:pt x="6417" y="8387"/>
                </a:lnTo>
                <a:lnTo>
                  <a:pt x="6472" y="8382"/>
                </a:lnTo>
                <a:lnTo>
                  <a:pt x="6532" y="8394"/>
                </a:lnTo>
                <a:lnTo>
                  <a:pt x="6546" y="8368"/>
                </a:lnTo>
                <a:lnTo>
                  <a:pt x="6569" y="8348"/>
                </a:lnTo>
                <a:lnTo>
                  <a:pt x="6598" y="8332"/>
                </a:lnTo>
                <a:lnTo>
                  <a:pt x="6632" y="8321"/>
                </a:lnTo>
                <a:lnTo>
                  <a:pt x="6669" y="8315"/>
                </a:lnTo>
                <a:lnTo>
                  <a:pt x="6705" y="8311"/>
                </a:lnTo>
                <a:lnTo>
                  <a:pt x="6741" y="8312"/>
                </a:lnTo>
                <a:lnTo>
                  <a:pt x="6771" y="8317"/>
                </a:lnTo>
                <a:lnTo>
                  <a:pt x="6774" y="8294"/>
                </a:lnTo>
                <a:lnTo>
                  <a:pt x="6783" y="8279"/>
                </a:lnTo>
                <a:lnTo>
                  <a:pt x="6799" y="8269"/>
                </a:lnTo>
                <a:lnTo>
                  <a:pt x="6818" y="8264"/>
                </a:lnTo>
                <a:lnTo>
                  <a:pt x="6839" y="8260"/>
                </a:lnTo>
                <a:lnTo>
                  <a:pt x="6860" y="8256"/>
                </a:lnTo>
                <a:lnTo>
                  <a:pt x="6881" y="8251"/>
                </a:lnTo>
                <a:lnTo>
                  <a:pt x="6897" y="8242"/>
                </a:lnTo>
                <a:lnTo>
                  <a:pt x="6896" y="8256"/>
                </a:lnTo>
                <a:lnTo>
                  <a:pt x="6901" y="8266"/>
                </a:lnTo>
                <a:lnTo>
                  <a:pt x="6909" y="8273"/>
                </a:lnTo>
                <a:lnTo>
                  <a:pt x="6918" y="8278"/>
                </a:lnTo>
                <a:lnTo>
                  <a:pt x="6929" y="8280"/>
                </a:lnTo>
                <a:lnTo>
                  <a:pt x="6941" y="8283"/>
                </a:lnTo>
                <a:lnTo>
                  <a:pt x="6952" y="8287"/>
                </a:lnTo>
                <a:lnTo>
                  <a:pt x="6960" y="8292"/>
                </a:lnTo>
                <a:lnTo>
                  <a:pt x="6963" y="8275"/>
                </a:lnTo>
                <a:lnTo>
                  <a:pt x="6978" y="8262"/>
                </a:lnTo>
                <a:lnTo>
                  <a:pt x="6999" y="8254"/>
                </a:lnTo>
                <a:lnTo>
                  <a:pt x="7028" y="8246"/>
                </a:lnTo>
                <a:lnTo>
                  <a:pt x="7060" y="8240"/>
                </a:lnTo>
                <a:lnTo>
                  <a:pt x="7096" y="8233"/>
                </a:lnTo>
                <a:lnTo>
                  <a:pt x="7130" y="8227"/>
                </a:lnTo>
                <a:lnTo>
                  <a:pt x="7162" y="8217"/>
                </a:lnTo>
                <a:lnTo>
                  <a:pt x="7167" y="8206"/>
                </a:lnTo>
                <a:lnTo>
                  <a:pt x="7171" y="8194"/>
                </a:lnTo>
                <a:lnTo>
                  <a:pt x="7174" y="8181"/>
                </a:lnTo>
                <a:lnTo>
                  <a:pt x="7177" y="8170"/>
                </a:lnTo>
                <a:lnTo>
                  <a:pt x="7183" y="8158"/>
                </a:lnTo>
                <a:lnTo>
                  <a:pt x="7189" y="8149"/>
                </a:lnTo>
                <a:lnTo>
                  <a:pt x="7199" y="8143"/>
                </a:lnTo>
                <a:lnTo>
                  <a:pt x="7212" y="8140"/>
                </a:lnTo>
                <a:lnTo>
                  <a:pt x="7217" y="8152"/>
                </a:lnTo>
                <a:lnTo>
                  <a:pt x="7222" y="8163"/>
                </a:lnTo>
                <a:lnTo>
                  <a:pt x="7225" y="8168"/>
                </a:lnTo>
                <a:lnTo>
                  <a:pt x="7226" y="8175"/>
                </a:lnTo>
                <a:lnTo>
                  <a:pt x="7226" y="8182"/>
                </a:lnTo>
                <a:lnTo>
                  <a:pt x="7225" y="8191"/>
                </a:lnTo>
                <a:lnTo>
                  <a:pt x="7300" y="8168"/>
                </a:lnTo>
                <a:lnTo>
                  <a:pt x="7381" y="8144"/>
                </a:lnTo>
                <a:lnTo>
                  <a:pt x="7465" y="8120"/>
                </a:lnTo>
                <a:lnTo>
                  <a:pt x="7551" y="8094"/>
                </a:lnTo>
                <a:lnTo>
                  <a:pt x="7632" y="8068"/>
                </a:lnTo>
                <a:lnTo>
                  <a:pt x="7708" y="8038"/>
                </a:lnTo>
                <a:lnTo>
                  <a:pt x="7775" y="8009"/>
                </a:lnTo>
                <a:lnTo>
                  <a:pt x="7831" y="7977"/>
                </a:lnTo>
                <a:lnTo>
                  <a:pt x="7838" y="7979"/>
                </a:lnTo>
                <a:lnTo>
                  <a:pt x="7842" y="7984"/>
                </a:lnTo>
                <a:lnTo>
                  <a:pt x="7843" y="7993"/>
                </a:lnTo>
                <a:lnTo>
                  <a:pt x="7843" y="8002"/>
                </a:lnTo>
                <a:lnTo>
                  <a:pt x="7845" y="8010"/>
                </a:lnTo>
                <a:lnTo>
                  <a:pt x="7847" y="8017"/>
                </a:lnTo>
                <a:lnTo>
                  <a:pt x="7855" y="8018"/>
                </a:lnTo>
                <a:lnTo>
                  <a:pt x="7868" y="8014"/>
                </a:lnTo>
                <a:lnTo>
                  <a:pt x="7944" y="7989"/>
                </a:lnTo>
                <a:lnTo>
                  <a:pt x="8018" y="7966"/>
                </a:lnTo>
                <a:lnTo>
                  <a:pt x="8091" y="7946"/>
                </a:lnTo>
                <a:lnTo>
                  <a:pt x="8161" y="7924"/>
                </a:lnTo>
                <a:lnTo>
                  <a:pt x="8231" y="7902"/>
                </a:lnTo>
                <a:lnTo>
                  <a:pt x="8299" y="7877"/>
                </a:lnTo>
                <a:lnTo>
                  <a:pt x="8367" y="7848"/>
                </a:lnTo>
                <a:lnTo>
                  <a:pt x="8436" y="7813"/>
                </a:lnTo>
                <a:lnTo>
                  <a:pt x="8522" y="7814"/>
                </a:lnTo>
                <a:lnTo>
                  <a:pt x="8605" y="7804"/>
                </a:lnTo>
                <a:lnTo>
                  <a:pt x="8683" y="7783"/>
                </a:lnTo>
                <a:lnTo>
                  <a:pt x="8760" y="7757"/>
                </a:lnTo>
                <a:lnTo>
                  <a:pt x="8838" y="7729"/>
                </a:lnTo>
                <a:lnTo>
                  <a:pt x="8918" y="7704"/>
                </a:lnTo>
                <a:lnTo>
                  <a:pt x="9001" y="7685"/>
                </a:lnTo>
                <a:lnTo>
                  <a:pt x="9092" y="7674"/>
                </a:lnTo>
                <a:lnTo>
                  <a:pt x="9120" y="7654"/>
                </a:lnTo>
                <a:lnTo>
                  <a:pt x="9155" y="7640"/>
                </a:lnTo>
                <a:lnTo>
                  <a:pt x="9195" y="7631"/>
                </a:lnTo>
                <a:lnTo>
                  <a:pt x="9238" y="7623"/>
                </a:lnTo>
                <a:lnTo>
                  <a:pt x="9281" y="7616"/>
                </a:lnTo>
                <a:lnTo>
                  <a:pt x="9323" y="7604"/>
                </a:lnTo>
                <a:lnTo>
                  <a:pt x="9361" y="7587"/>
                </a:lnTo>
                <a:lnTo>
                  <a:pt x="9393" y="7561"/>
                </a:lnTo>
                <a:lnTo>
                  <a:pt x="9414" y="7559"/>
                </a:lnTo>
                <a:lnTo>
                  <a:pt x="9429" y="7557"/>
                </a:lnTo>
                <a:lnTo>
                  <a:pt x="9440" y="7556"/>
                </a:lnTo>
                <a:lnTo>
                  <a:pt x="9449" y="7557"/>
                </a:lnTo>
                <a:lnTo>
                  <a:pt x="9467" y="7562"/>
                </a:lnTo>
                <a:lnTo>
                  <a:pt x="9494" y="7574"/>
                </a:lnTo>
                <a:lnTo>
                  <a:pt x="9517" y="7539"/>
                </a:lnTo>
                <a:lnTo>
                  <a:pt x="9555" y="7517"/>
                </a:lnTo>
                <a:lnTo>
                  <a:pt x="9603" y="7503"/>
                </a:lnTo>
                <a:lnTo>
                  <a:pt x="9657" y="7495"/>
                </a:lnTo>
                <a:lnTo>
                  <a:pt x="9710" y="7487"/>
                </a:lnTo>
                <a:lnTo>
                  <a:pt x="9758" y="7477"/>
                </a:lnTo>
                <a:lnTo>
                  <a:pt x="9792" y="7461"/>
                </a:lnTo>
                <a:lnTo>
                  <a:pt x="9810" y="7435"/>
                </a:lnTo>
                <a:lnTo>
                  <a:pt x="9857" y="7448"/>
                </a:lnTo>
                <a:lnTo>
                  <a:pt x="9904" y="7445"/>
                </a:lnTo>
                <a:lnTo>
                  <a:pt x="9952" y="7434"/>
                </a:lnTo>
                <a:lnTo>
                  <a:pt x="10001" y="7417"/>
                </a:lnTo>
                <a:lnTo>
                  <a:pt x="10050" y="7397"/>
                </a:lnTo>
                <a:lnTo>
                  <a:pt x="10103" y="7378"/>
                </a:lnTo>
                <a:lnTo>
                  <a:pt x="10157" y="7365"/>
                </a:lnTo>
                <a:lnTo>
                  <a:pt x="10213" y="7360"/>
                </a:lnTo>
                <a:lnTo>
                  <a:pt x="10215" y="7347"/>
                </a:lnTo>
                <a:lnTo>
                  <a:pt x="10212" y="7338"/>
                </a:lnTo>
                <a:lnTo>
                  <a:pt x="10207" y="7332"/>
                </a:lnTo>
                <a:lnTo>
                  <a:pt x="10201" y="7328"/>
                </a:lnTo>
                <a:lnTo>
                  <a:pt x="10193" y="7326"/>
                </a:lnTo>
                <a:lnTo>
                  <a:pt x="10185" y="7322"/>
                </a:lnTo>
                <a:lnTo>
                  <a:pt x="10179" y="7317"/>
                </a:lnTo>
                <a:lnTo>
                  <a:pt x="10175" y="7309"/>
                </a:lnTo>
                <a:lnTo>
                  <a:pt x="10211" y="7305"/>
                </a:lnTo>
                <a:lnTo>
                  <a:pt x="10234" y="7304"/>
                </a:lnTo>
                <a:lnTo>
                  <a:pt x="10243" y="7304"/>
                </a:lnTo>
                <a:lnTo>
                  <a:pt x="10252" y="7308"/>
                </a:lnTo>
                <a:lnTo>
                  <a:pt x="10263" y="7313"/>
                </a:lnTo>
                <a:lnTo>
                  <a:pt x="10276" y="7322"/>
                </a:lnTo>
                <a:lnTo>
                  <a:pt x="10280" y="7313"/>
                </a:lnTo>
                <a:lnTo>
                  <a:pt x="10284" y="7304"/>
                </a:lnTo>
                <a:lnTo>
                  <a:pt x="10289" y="7296"/>
                </a:lnTo>
                <a:lnTo>
                  <a:pt x="10295" y="7290"/>
                </a:lnTo>
                <a:lnTo>
                  <a:pt x="10301" y="7284"/>
                </a:lnTo>
                <a:lnTo>
                  <a:pt x="10309" y="7279"/>
                </a:lnTo>
                <a:lnTo>
                  <a:pt x="10318" y="7275"/>
                </a:lnTo>
                <a:lnTo>
                  <a:pt x="10327" y="7271"/>
                </a:lnTo>
                <a:lnTo>
                  <a:pt x="10380" y="7279"/>
                </a:lnTo>
                <a:lnTo>
                  <a:pt x="10441" y="7275"/>
                </a:lnTo>
                <a:lnTo>
                  <a:pt x="10508" y="7265"/>
                </a:lnTo>
                <a:lnTo>
                  <a:pt x="10578" y="7248"/>
                </a:lnTo>
                <a:lnTo>
                  <a:pt x="10646" y="7230"/>
                </a:lnTo>
                <a:lnTo>
                  <a:pt x="10714" y="7214"/>
                </a:lnTo>
                <a:lnTo>
                  <a:pt x="10776" y="7201"/>
                </a:lnTo>
                <a:lnTo>
                  <a:pt x="10831" y="7196"/>
                </a:lnTo>
                <a:lnTo>
                  <a:pt x="10834" y="7184"/>
                </a:lnTo>
                <a:lnTo>
                  <a:pt x="10831" y="7175"/>
                </a:lnTo>
                <a:lnTo>
                  <a:pt x="10825" y="7169"/>
                </a:lnTo>
                <a:lnTo>
                  <a:pt x="10817" y="7163"/>
                </a:lnTo>
                <a:lnTo>
                  <a:pt x="10811" y="7158"/>
                </a:lnTo>
                <a:lnTo>
                  <a:pt x="10807" y="7154"/>
                </a:lnTo>
                <a:lnTo>
                  <a:pt x="10809" y="7149"/>
                </a:lnTo>
                <a:lnTo>
                  <a:pt x="10818" y="7145"/>
                </a:lnTo>
                <a:lnTo>
                  <a:pt x="10832" y="7155"/>
                </a:lnTo>
                <a:lnTo>
                  <a:pt x="10848" y="7159"/>
                </a:lnTo>
                <a:lnTo>
                  <a:pt x="10862" y="7158"/>
                </a:lnTo>
                <a:lnTo>
                  <a:pt x="10874" y="7152"/>
                </a:lnTo>
                <a:lnTo>
                  <a:pt x="10887" y="7145"/>
                </a:lnTo>
                <a:lnTo>
                  <a:pt x="10899" y="7137"/>
                </a:lnTo>
                <a:lnTo>
                  <a:pt x="10910" y="7128"/>
                </a:lnTo>
                <a:lnTo>
                  <a:pt x="10919" y="7121"/>
                </a:lnTo>
                <a:lnTo>
                  <a:pt x="11012" y="7119"/>
                </a:lnTo>
                <a:lnTo>
                  <a:pt x="11104" y="7105"/>
                </a:lnTo>
                <a:lnTo>
                  <a:pt x="11194" y="7081"/>
                </a:lnTo>
                <a:lnTo>
                  <a:pt x="11286" y="7053"/>
                </a:lnTo>
                <a:lnTo>
                  <a:pt x="11377" y="7024"/>
                </a:lnTo>
                <a:lnTo>
                  <a:pt x="11468" y="7000"/>
                </a:lnTo>
                <a:lnTo>
                  <a:pt x="11560" y="6983"/>
                </a:lnTo>
                <a:lnTo>
                  <a:pt x="11651" y="6982"/>
                </a:lnTo>
                <a:lnTo>
                  <a:pt x="11656" y="6968"/>
                </a:lnTo>
                <a:lnTo>
                  <a:pt x="11664" y="6956"/>
                </a:lnTo>
                <a:lnTo>
                  <a:pt x="11674" y="6948"/>
                </a:lnTo>
                <a:lnTo>
                  <a:pt x="11686" y="6941"/>
                </a:lnTo>
                <a:lnTo>
                  <a:pt x="11712" y="6930"/>
                </a:lnTo>
                <a:lnTo>
                  <a:pt x="11739" y="6918"/>
                </a:lnTo>
                <a:lnTo>
                  <a:pt x="11734" y="6932"/>
                </a:lnTo>
                <a:lnTo>
                  <a:pt x="11726" y="6944"/>
                </a:lnTo>
                <a:lnTo>
                  <a:pt x="11892" y="6898"/>
                </a:lnTo>
                <a:lnTo>
                  <a:pt x="12068" y="6850"/>
                </a:lnTo>
                <a:lnTo>
                  <a:pt x="12250" y="6799"/>
                </a:lnTo>
                <a:lnTo>
                  <a:pt x="12434" y="6749"/>
                </a:lnTo>
                <a:lnTo>
                  <a:pt x="12622" y="6701"/>
                </a:lnTo>
                <a:lnTo>
                  <a:pt x="12808" y="6657"/>
                </a:lnTo>
                <a:lnTo>
                  <a:pt x="12988" y="6620"/>
                </a:lnTo>
                <a:lnTo>
                  <a:pt x="13164" y="6591"/>
                </a:lnTo>
                <a:lnTo>
                  <a:pt x="13182" y="6573"/>
                </a:lnTo>
                <a:lnTo>
                  <a:pt x="13204" y="6563"/>
                </a:lnTo>
                <a:lnTo>
                  <a:pt x="13227" y="6558"/>
                </a:lnTo>
                <a:lnTo>
                  <a:pt x="13251" y="6554"/>
                </a:lnTo>
                <a:lnTo>
                  <a:pt x="13274" y="6550"/>
                </a:lnTo>
                <a:lnTo>
                  <a:pt x="13294" y="6541"/>
                </a:lnTo>
                <a:lnTo>
                  <a:pt x="13313" y="6526"/>
                </a:lnTo>
                <a:lnTo>
                  <a:pt x="13327" y="6502"/>
                </a:lnTo>
                <a:lnTo>
                  <a:pt x="13354" y="6520"/>
                </a:lnTo>
                <a:lnTo>
                  <a:pt x="13381" y="6525"/>
                </a:lnTo>
                <a:lnTo>
                  <a:pt x="13409" y="6522"/>
                </a:lnTo>
                <a:lnTo>
                  <a:pt x="13438" y="6515"/>
                </a:lnTo>
                <a:lnTo>
                  <a:pt x="13465" y="6503"/>
                </a:lnTo>
                <a:lnTo>
                  <a:pt x="13489" y="6491"/>
                </a:lnTo>
                <a:lnTo>
                  <a:pt x="13512" y="6482"/>
                </a:lnTo>
                <a:lnTo>
                  <a:pt x="13530" y="6478"/>
                </a:lnTo>
                <a:lnTo>
                  <a:pt x="13556" y="6475"/>
                </a:lnTo>
                <a:lnTo>
                  <a:pt x="13583" y="6474"/>
                </a:lnTo>
                <a:lnTo>
                  <a:pt x="13611" y="6471"/>
                </a:lnTo>
                <a:lnTo>
                  <a:pt x="13640" y="6469"/>
                </a:lnTo>
                <a:lnTo>
                  <a:pt x="13667" y="6465"/>
                </a:lnTo>
                <a:lnTo>
                  <a:pt x="13695" y="6461"/>
                </a:lnTo>
                <a:lnTo>
                  <a:pt x="13721" y="6457"/>
                </a:lnTo>
                <a:lnTo>
                  <a:pt x="13744" y="6452"/>
                </a:lnTo>
                <a:lnTo>
                  <a:pt x="13759" y="6447"/>
                </a:lnTo>
                <a:lnTo>
                  <a:pt x="13774" y="6440"/>
                </a:lnTo>
                <a:lnTo>
                  <a:pt x="13788" y="6431"/>
                </a:lnTo>
                <a:lnTo>
                  <a:pt x="13803" y="6421"/>
                </a:lnTo>
                <a:lnTo>
                  <a:pt x="13817" y="6412"/>
                </a:lnTo>
                <a:lnTo>
                  <a:pt x="13831" y="6401"/>
                </a:lnTo>
                <a:lnTo>
                  <a:pt x="13844" y="6394"/>
                </a:lnTo>
                <a:lnTo>
                  <a:pt x="13857" y="6389"/>
                </a:lnTo>
                <a:lnTo>
                  <a:pt x="13894" y="6380"/>
                </a:lnTo>
                <a:lnTo>
                  <a:pt x="13931" y="6373"/>
                </a:lnTo>
                <a:lnTo>
                  <a:pt x="13968" y="6368"/>
                </a:lnTo>
                <a:lnTo>
                  <a:pt x="14005" y="6362"/>
                </a:lnTo>
                <a:lnTo>
                  <a:pt x="14040" y="6353"/>
                </a:lnTo>
                <a:lnTo>
                  <a:pt x="14075" y="6339"/>
                </a:lnTo>
                <a:lnTo>
                  <a:pt x="14107" y="6317"/>
                </a:lnTo>
                <a:lnTo>
                  <a:pt x="14135" y="6288"/>
                </a:lnTo>
                <a:lnTo>
                  <a:pt x="14154" y="6283"/>
                </a:lnTo>
                <a:lnTo>
                  <a:pt x="14166" y="6282"/>
                </a:lnTo>
                <a:lnTo>
                  <a:pt x="14177" y="6283"/>
                </a:lnTo>
                <a:lnTo>
                  <a:pt x="14186" y="6287"/>
                </a:lnTo>
                <a:lnTo>
                  <a:pt x="14193" y="6291"/>
                </a:lnTo>
                <a:lnTo>
                  <a:pt x="14203" y="6296"/>
                </a:lnTo>
                <a:lnTo>
                  <a:pt x="14216" y="6298"/>
                </a:lnTo>
                <a:lnTo>
                  <a:pt x="14235" y="6301"/>
                </a:lnTo>
                <a:lnTo>
                  <a:pt x="14242" y="6279"/>
                </a:lnTo>
                <a:lnTo>
                  <a:pt x="14253" y="6267"/>
                </a:lnTo>
                <a:lnTo>
                  <a:pt x="14270" y="6261"/>
                </a:lnTo>
                <a:lnTo>
                  <a:pt x="14287" y="6261"/>
                </a:lnTo>
                <a:lnTo>
                  <a:pt x="14306" y="6267"/>
                </a:lnTo>
                <a:lnTo>
                  <a:pt x="14324" y="6274"/>
                </a:lnTo>
                <a:lnTo>
                  <a:pt x="14340" y="6282"/>
                </a:lnTo>
                <a:lnTo>
                  <a:pt x="14349" y="6288"/>
                </a:lnTo>
                <a:lnTo>
                  <a:pt x="14349" y="6278"/>
                </a:lnTo>
                <a:lnTo>
                  <a:pt x="14349" y="6269"/>
                </a:lnTo>
                <a:lnTo>
                  <a:pt x="14350" y="6260"/>
                </a:lnTo>
                <a:lnTo>
                  <a:pt x="14352" y="6254"/>
                </a:lnTo>
                <a:lnTo>
                  <a:pt x="14355" y="6247"/>
                </a:lnTo>
                <a:lnTo>
                  <a:pt x="14360" y="6242"/>
                </a:lnTo>
                <a:lnTo>
                  <a:pt x="14366" y="6240"/>
                </a:lnTo>
                <a:lnTo>
                  <a:pt x="14374" y="6237"/>
                </a:lnTo>
                <a:lnTo>
                  <a:pt x="14385" y="6256"/>
                </a:lnTo>
                <a:lnTo>
                  <a:pt x="14396" y="6264"/>
                </a:lnTo>
                <a:lnTo>
                  <a:pt x="14407" y="6265"/>
                </a:lnTo>
                <a:lnTo>
                  <a:pt x="14417" y="6264"/>
                </a:lnTo>
                <a:lnTo>
                  <a:pt x="14430" y="6260"/>
                </a:lnTo>
                <a:lnTo>
                  <a:pt x="14443" y="6259"/>
                </a:lnTo>
                <a:lnTo>
                  <a:pt x="14458" y="6263"/>
                </a:lnTo>
                <a:lnTo>
                  <a:pt x="14475" y="6275"/>
                </a:lnTo>
                <a:lnTo>
                  <a:pt x="14482" y="6267"/>
                </a:lnTo>
                <a:lnTo>
                  <a:pt x="14487" y="6256"/>
                </a:lnTo>
                <a:lnTo>
                  <a:pt x="14490" y="6247"/>
                </a:lnTo>
                <a:lnTo>
                  <a:pt x="14491" y="6239"/>
                </a:lnTo>
                <a:lnTo>
                  <a:pt x="14492" y="6230"/>
                </a:lnTo>
                <a:lnTo>
                  <a:pt x="14494" y="6223"/>
                </a:lnTo>
                <a:lnTo>
                  <a:pt x="14496" y="6217"/>
                </a:lnTo>
                <a:lnTo>
                  <a:pt x="14500" y="6213"/>
                </a:lnTo>
                <a:lnTo>
                  <a:pt x="14524" y="6211"/>
                </a:lnTo>
                <a:lnTo>
                  <a:pt x="14547" y="6207"/>
                </a:lnTo>
                <a:lnTo>
                  <a:pt x="14570" y="6200"/>
                </a:lnTo>
                <a:lnTo>
                  <a:pt x="14593" y="6195"/>
                </a:lnTo>
                <a:lnTo>
                  <a:pt x="14615" y="6189"/>
                </a:lnTo>
                <a:lnTo>
                  <a:pt x="14636" y="6183"/>
                </a:lnTo>
                <a:lnTo>
                  <a:pt x="14657" y="6179"/>
                </a:lnTo>
                <a:lnTo>
                  <a:pt x="14677" y="6175"/>
                </a:lnTo>
                <a:lnTo>
                  <a:pt x="14681" y="6176"/>
                </a:lnTo>
                <a:lnTo>
                  <a:pt x="14683" y="6179"/>
                </a:lnTo>
                <a:lnTo>
                  <a:pt x="14686" y="6183"/>
                </a:lnTo>
                <a:lnTo>
                  <a:pt x="14687" y="6186"/>
                </a:lnTo>
                <a:lnTo>
                  <a:pt x="14690" y="6195"/>
                </a:lnTo>
                <a:lnTo>
                  <a:pt x="14690" y="6200"/>
                </a:lnTo>
                <a:lnTo>
                  <a:pt x="14718" y="6197"/>
                </a:lnTo>
                <a:lnTo>
                  <a:pt x="14746" y="6189"/>
                </a:lnTo>
                <a:lnTo>
                  <a:pt x="14771" y="6179"/>
                </a:lnTo>
                <a:lnTo>
                  <a:pt x="14798" y="6167"/>
                </a:lnTo>
                <a:lnTo>
                  <a:pt x="14824" y="6155"/>
                </a:lnTo>
                <a:lnTo>
                  <a:pt x="14849" y="6143"/>
                </a:lnTo>
                <a:lnTo>
                  <a:pt x="14876" y="6133"/>
                </a:lnTo>
                <a:lnTo>
                  <a:pt x="14904" y="6124"/>
                </a:lnTo>
                <a:lnTo>
                  <a:pt x="14910" y="6124"/>
                </a:lnTo>
                <a:lnTo>
                  <a:pt x="14918" y="6125"/>
                </a:lnTo>
                <a:lnTo>
                  <a:pt x="14927" y="6128"/>
                </a:lnTo>
                <a:lnTo>
                  <a:pt x="14936" y="6130"/>
                </a:lnTo>
                <a:lnTo>
                  <a:pt x="14945" y="6133"/>
                </a:lnTo>
                <a:lnTo>
                  <a:pt x="14952" y="6135"/>
                </a:lnTo>
                <a:lnTo>
                  <a:pt x="14960" y="6137"/>
                </a:lnTo>
                <a:lnTo>
                  <a:pt x="14966" y="6137"/>
                </a:lnTo>
                <a:lnTo>
                  <a:pt x="14999" y="6130"/>
                </a:lnTo>
                <a:lnTo>
                  <a:pt x="15031" y="6121"/>
                </a:lnTo>
                <a:lnTo>
                  <a:pt x="15062" y="6110"/>
                </a:lnTo>
                <a:lnTo>
                  <a:pt x="15091" y="6097"/>
                </a:lnTo>
                <a:lnTo>
                  <a:pt x="15122" y="6083"/>
                </a:lnTo>
                <a:lnTo>
                  <a:pt x="15152" y="6071"/>
                </a:lnTo>
                <a:lnTo>
                  <a:pt x="15185" y="6058"/>
                </a:lnTo>
                <a:lnTo>
                  <a:pt x="15218" y="6049"/>
                </a:lnTo>
                <a:lnTo>
                  <a:pt x="15223" y="6049"/>
                </a:lnTo>
                <a:lnTo>
                  <a:pt x="15230" y="6051"/>
                </a:lnTo>
                <a:lnTo>
                  <a:pt x="15237" y="6055"/>
                </a:lnTo>
                <a:lnTo>
                  <a:pt x="15244" y="6060"/>
                </a:lnTo>
                <a:lnTo>
                  <a:pt x="15251" y="6065"/>
                </a:lnTo>
                <a:lnTo>
                  <a:pt x="15258" y="6071"/>
                </a:lnTo>
                <a:lnTo>
                  <a:pt x="15264" y="6073"/>
                </a:lnTo>
                <a:lnTo>
                  <a:pt x="15269" y="6074"/>
                </a:lnTo>
                <a:lnTo>
                  <a:pt x="15285" y="6071"/>
                </a:lnTo>
                <a:lnTo>
                  <a:pt x="15301" y="6063"/>
                </a:lnTo>
                <a:lnTo>
                  <a:pt x="15320" y="6054"/>
                </a:lnTo>
                <a:lnTo>
                  <a:pt x="15339" y="6043"/>
                </a:lnTo>
                <a:lnTo>
                  <a:pt x="15360" y="6030"/>
                </a:lnTo>
                <a:lnTo>
                  <a:pt x="15383" y="6017"/>
                </a:lnTo>
                <a:lnTo>
                  <a:pt x="15407" y="6007"/>
                </a:lnTo>
                <a:lnTo>
                  <a:pt x="15434" y="5998"/>
                </a:lnTo>
                <a:lnTo>
                  <a:pt x="15474" y="5988"/>
                </a:lnTo>
                <a:lnTo>
                  <a:pt x="15518" y="5978"/>
                </a:lnTo>
                <a:lnTo>
                  <a:pt x="15560" y="5969"/>
                </a:lnTo>
                <a:lnTo>
                  <a:pt x="15603" y="5960"/>
                </a:lnTo>
                <a:lnTo>
                  <a:pt x="15645" y="5951"/>
                </a:lnTo>
                <a:lnTo>
                  <a:pt x="15686" y="5944"/>
                </a:lnTo>
                <a:lnTo>
                  <a:pt x="15725" y="5939"/>
                </a:lnTo>
                <a:lnTo>
                  <a:pt x="15761" y="5936"/>
                </a:lnTo>
                <a:lnTo>
                  <a:pt x="15753" y="5934"/>
                </a:lnTo>
                <a:lnTo>
                  <a:pt x="15746" y="5933"/>
                </a:lnTo>
                <a:lnTo>
                  <a:pt x="15742" y="5932"/>
                </a:lnTo>
                <a:lnTo>
                  <a:pt x="15739" y="5929"/>
                </a:lnTo>
                <a:lnTo>
                  <a:pt x="15737" y="5927"/>
                </a:lnTo>
                <a:lnTo>
                  <a:pt x="15735" y="5923"/>
                </a:lnTo>
                <a:lnTo>
                  <a:pt x="15777" y="5918"/>
                </a:lnTo>
                <a:lnTo>
                  <a:pt x="15819" y="5911"/>
                </a:lnTo>
                <a:lnTo>
                  <a:pt x="15837" y="5906"/>
                </a:lnTo>
                <a:lnTo>
                  <a:pt x="15854" y="5899"/>
                </a:lnTo>
                <a:lnTo>
                  <a:pt x="15867" y="5887"/>
                </a:lnTo>
                <a:lnTo>
                  <a:pt x="15874" y="5872"/>
                </a:lnTo>
                <a:lnTo>
                  <a:pt x="15821" y="5882"/>
                </a:lnTo>
                <a:lnTo>
                  <a:pt x="15767" y="5891"/>
                </a:lnTo>
                <a:lnTo>
                  <a:pt x="15714" y="5901"/>
                </a:lnTo>
                <a:lnTo>
                  <a:pt x="15662" y="5911"/>
                </a:lnTo>
                <a:lnTo>
                  <a:pt x="15608" y="5920"/>
                </a:lnTo>
                <a:lnTo>
                  <a:pt x="15555" y="5930"/>
                </a:lnTo>
                <a:lnTo>
                  <a:pt x="15500" y="5939"/>
                </a:lnTo>
                <a:lnTo>
                  <a:pt x="15446" y="5948"/>
                </a:lnTo>
                <a:lnTo>
                  <a:pt x="15450" y="5937"/>
                </a:lnTo>
                <a:lnTo>
                  <a:pt x="15454" y="5928"/>
                </a:lnTo>
                <a:lnTo>
                  <a:pt x="15454" y="5924"/>
                </a:lnTo>
                <a:lnTo>
                  <a:pt x="15453" y="5920"/>
                </a:lnTo>
                <a:lnTo>
                  <a:pt x="15450" y="5915"/>
                </a:lnTo>
                <a:lnTo>
                  <a:pt x="15446" y="5910"/>
                </a:lnTo>
                <a:lnTo>
                  <a:pt x="15434" y="5909"/>
                </a:lnTo>
                <a:lnTo>
                  <a:pt x="15425" y="5910"/>
                </a:lnTo>
                <a:lnTo>
                  <a:pt x="15418" y="5916"/>
                </a:lnTo>
                <a:lnTo>
                  <a:pt x="15414" y="5923"/>
                </a:lnTo>
                <a:lnTo>
                  <a:pt x="15412" y="5930"/>
                </a:lnTo>
                <a:lnTo>
                  <a:pt x="15408" y="5938"/>
                </a:lnTo>
                <a:lnTo>
                  <a:pt x="15403" y="5944"/>
                </a:lnTo>
                <a:lnTo>
                  <a:pt x="15395" y="5948"/>
                </a:lnTo>
                <a:lnTo>
                  <a:pt x="15392" y="5930"/>
                </a:lnTo>
                <a:lnTo>
                  <a:pt x="15383" y="5920"/>
                </a:lnTo>
                <a:lnTo>
                  <a:pt x="15370" y="5915"/>
                </a:lnTo>
                <a:lnTo>
                  <a:pt x="15356" y="5915"/>
                </a:lnTo>
                <a:lnTo>
                  <a:pt x="15341" y="5919"/>
                </a:lnTo>
                <a:lnTo>
                  <a:pt x="15327" y="5927"/>
                </a:lnTo>
                <a:lnTo>
                  <a:pt x="15315" y="5937"/>
                </a:lnTo>
                <a:lnTo>
                  <a:pt x="15307" y="5948"/>
                </a:lnTo>
                <a:lnTo>
                  <a:pt x="15316" y="5950"/>
                </a:lnTo>
                <a:lnTo>
                  <a:pt x="15328" y="5950"/>
                </a:lnTo>
                <a:lnTo>
                  <a:pt x="15341" y="5948"/>
                </a:lnTo>
                <a:lnTo>
                  <a:pt x="15353" y="5947"/>
                </a:lnTo>
                <a:lnTo>
                  <a:pt x="15364" y="5946"/>
                </a:lnTo>
                <a:lnTo>
                  <a:pt x="15374" y="5948"/>
                </a:lnTo>
                <a:lnTo>
                  <a:pt x="15380" y="5952"/>
                </a:lnTo>
                <a:lnTo>
                  <a:pt x="15383" y="5961"/>
                </a:lnTo>
                <a:lnTo>
                  <a:pt x="15334" y="5978"/>
                </a:lnTo>
                <a:lnTo>
                  <a:pt x="15285" y="5992"/>
                </a:lnTo>
                <a:lnTo>
                  <a:pt x="15232" y="6004"/>
                </a:lnTo>
                <a:lnTo>
                  <a:pt x="15180" y="6016"/>
                </a:lnTo>
                <a:lnTo>
                  <a:pt x="15127" y="6027"/>
                </a:lnTo>
                <a:lnTo>
                  <a:pt x="15072" y="6037"/>
                </a:lnTo>
                <a:lnTo>
                  <a:pt x="15020" y="6049"/>
                </a:lnTo>
                <a:lnTo>
                  <a:pt x="14966" y="6062"/>
                </a:lnTo>
                <a:lnTo>
                  <a:pt x="14969" y="6055"/>
                </a:lnTo>
                <a:lnTo>
                  <a:pt x="14973" y="6051"/>
                </a:lnTo>
                <a:lnTo>
                  <a:pt x="14978" y="6048"/>
                </a:lnTo>
                <a:lnTo>
                  <a:pt x="14983" y="6045"/>
                </a:lnTo>
                <a:lnTo>
                  <a:pt x="14988" y="6043"/>
                </a:lnTo>
                <a:lnTo>
                  <a:pt x="14992" y="6039"/>
                </a:lnTo>
                <a:lnTo>
                  <a:pt x="14993" y="6032"/>
                </a:lnTo>
                <a:lnTo>
                  <a:pt x="14992" y="6023"/>
                </a:lnTo>
                <a:lnTo>
                  <a:pt x="14969" y="6026"/>
                </a:lnTo>
                <a:lnTo>
                  <a:pt x="14941" y="6027"/>
                </a:lnTo>
                <a:lnTo>
                  <a:pt x="14911" y="6029"/>
                </a:lnTo>
                <a:lnTo>
                  <a:pt x="14881" y="6032"/>
                </a:lnTo>
                <a:lnTo>
                  <a:pt x="14852" y="6040"/>
                </a:lnTo>
                <a:lnTo>
                  <a:pt x="14825" y="6051"/>
                </a:lnTo>
                <a:lnTo>
                  <a:pt x="14804" y="6072"/>
                </a:lnTo>
                <a:lnTo>
                  <a:pt x="14790" y="6100"/>
                </a:lnTo>
                <a:lnTo>
                  <a:pt x="14748" y="6091"/>
                </a:lnTo>
                <a:lnTo>
                  <a:pt x="14711" y="6091"/>
                </a:lnTo>
                <a:lnTo>
                  <a:pt x="14678" y="6097"/>
                </a:lnTo>
                <a:lnTo>
                  <a:pt x="14648" y="6109"/>
                </a:lnTo>
                <a:lnTo>
                  <a:pt x="14619" y="6123"/>
                </a:lnTo>
                <a:lnTo>
                  <a:pt x="14589" y="6137"/>
                </a:lnTo>
                <a:lnTo>
                  <a:pt x="14559" y="6151"/>
                </a:lnTo>
                <a:lnTo>
                  <a:pt x="14526" y="6162"/>
                </a:lnTo>
                <a:lnTo>
                  <a:pt x="14534" y="6151"/>
                </a:lnTo>
                <a:lnTo>
                  <a:pt x="14536" y="6143"/>
                </a:lnTo>
                <a:lnTo>
                  <a:pt x="14531" y="6139"/>
                </a:lnTo>
                <a:lnTo>
                  <a:pt x="14520" y="6137"/>
                </a:lnTo>
                <a:lnTo>
                  <a:pt x="14491" y="6137"/>
                </a:lnTo>
                <a:lnTo>
                  <a:pt x="14462" y="6137"/>
                </a:lnTo>
                <a:lnTo>
                  <a:pt x="14427" y="6181"/>
                </a:lnTo>
                <a:lnTo>
                  <a:pt x="14383" y="6205"/>
                </a:lnTo>
                <a:lnTo>
                  <a:pt x="14329" y="6217"/>
                </a:lnTo>
                <a:lnTo>
                  <a:pt x="14272" y="6219"/>
                </a:lnTo>
                <a:lnTo>
                  <a:pt x="14214" y="6219"/>
                </a:lnTo>
                <a:lnTo>
                  <a:pt x="14159" y="6223"/>
                </a:lnTo>
                <a:lnTo>
                  <a:pt x="14110" y="6236"/>
                </a:lnTo>
                <a:lnTo>
                  <a:pt x="14072" y="6263"/>
                </a:lnTo>
                <a:lnTo>
                  <a:pt x="14080" y="6264"/>
                </a:lnTo>
                <a:lnTo>
                  <a:pt x="14087" y="6265"/>
                </a:lnTo>
                <a:lnTo>
                  <a:pt x="14091" y="6267"/>
                </a:lnTo>
                <a:lnTo>
                  <a:pt x="14094" y="6269"/>
                </a:lnTo>
                <a:lnTo>
                  <a:pt x="14096" y="6272"/>
                </a:lnTo>
                <a:lnTo>
                  <a:pt x="14096" y="6275"/>
                </a:lnTo>
                <a:lnTo>
                  <a:pt x="14057" y="6281"/>
                </a:lnTo>
                <a:lnTo>
                  <a:pt x="14026" y="6284"/>
                </a:lnTo>
                <a:lnTo>
                  <a:pt x="14011" y="6283"/>
                </a:lnTo>
                <a:lnTo>
                  <a:pt x="13998" y="6281"/>
                </a:lnTo>
                <a:lnTo>
                  <a:pt x="13984" y="6274"/>
                </a:lnTo>
                <a:lnTo>
                  <a:pt x="13970" y="6263"/>
                </a:lnTo>
                <a:lnTo>
                  <a:pt x="13942" y="6281"/>
                </a:lnTo>
                <a:lnTo>
                  <a:pt x="13914" y="6297"/>
                </a:lnTo>
                <a:lnTo>
                  <a:pt x="13885" y="6311"/>
                </a:lnTo>
                <a:lnTo>
                  <a:pt x="13856" y="6323"/>
                </a:lnTo>
                <a:lnTo>
                  <a:pt x="13824" y="6330"/>
                </a:lnTo>
                <a:lnTo>
                  <a:pt x="13789" y="6334"/>
                </a:lnTo>
                <a:lnTo>
                  <a:pt x="13750" y="6333"/>
                </a:lnTo>
                <a:lnTo>
                  <a:pt x="13705" y="6326"/>
                </a:lnTo>
                <a:lnTo>
                  <a:pt x="13699" y="6333"/>
                </a:lnTo>
                <a:lnTo>
                  <a:pt x="13696" y="6339"/>
                </a:lnTo>
                <a:lnTo>
                  <a:pt x="13696" y="6344"/>
                </a:lnTo>
                <a:lnTo>
                  <a:pt x="13700" y="6349"/>
                </a:lnTo>
                <a:lnTo>
                  <a:pt x="13703" y="6353"/>
                </a:lnTo>
                <a:lnTo>
                  <a:pt x="13703" y="6357"/>
                </a:lnTo>
                <a:lnTo>
                  <a:pt x="13700" y="6361"/>
                </a:lnTo>
                <a:lnTo>
                  <a:pt x="13693" y="6363"/>
                </a:lnTo>
                <a:lnTo>
                  <a:pt x="13685" y="6362"/>
                </a:lnTo>
                <a:lnTo>
                  <a:pt x="13675" y="6363"/>
                </a:lnTo>
                <a:lnTo>
                  <a:pt x="13665" y="6365"/>
                </a:lnTo>
                <a:lnTo>
                  <a:pt x="13654" y="6366"/>
                </a:lnTo>
                <a:lnTo>
                  <a:pt x="13644" y="6366"/>
                </a:lnTo>
                <a:lnTo>
                  <a:pt x="13637" y="6363"/>
                </a:lnTo>
                <a:lnTo>
                  <a:pt x="13632" y="6359"/>
                </a:lnTo>
                <a:lnTo>
                  <a:pt x="13630" y="6352"/>
                </a:lnTo>
                <a:lnTo>
                  <a:pt x="13649" y="6333"/>
                </a:lnTo>
                <a:lnTo>
                  <a:pt x="13671" y="6307"/>
                </a:lnTo>
                <a:lnTo>
                  <a:pt x="13681" y="6296"/>
                </a:lnTo>
                <a:lnTo>
                  <a:pt x="13689" y="6286"/>
                </a:lnTo>
                <a:lnTo>
                  <a:pt x="13693" y="6279"/>
                </a:lnTo>
                <a:lnTo>
                  <a:pt x="13693" y="6275"/>
                </a:lnTo>
                <a:lnTo>
                  <a:pt x="13676" y="6283"/>
                </a:lnTo>
                <a:lnTo>
                  <a:pt x="13657" y="6287"/>
                </a:lnTo>
                <a:lnTo>
                  <a:pt x="13635" y="6288"/>
                </a:lnTo>
                <a:lnTo>
                  <a:pt x="13612" y="6289"/>
                </a:lnTo>
                <a:lnTo>
                  <a:pt x="13591" y="6291"/>
                </a:lnTo>
                <a:lnTo>
                  <a:pt x="13568" y="6292"/>
                </a:lnTo>
                <a:lnTo>
                  <a:pt x="13547" y="6296"/>
                </a:lnTo>
                <a:lnTo>
                  <a:pt x="13530" y="6301"/>
                </a:lnTo>
                <a:lnTo>
                  <a:pt x="13528" y="6316"/>
                </a:lnTo>
                <a:lnTo>
                  <a:pt x="13533" y="6325"/>
                </a:lnTo>
                <a:lnTo>
                  <a:pt x="13541" y="6331"/>
                </a:lnTo>
                <a:lnTo>
                  <a:pt x="13550" y="6337"/>
                </a:lnTo>
                <a:lnTo>
                  <a:pt x="13560" y="6342"/>
                </a:lnTo>
                <a:lnTo>
                  <a:pt x="13567" y="6348"/>
                </a:lnTo>
                <a:lnTo>
                  <a:pt x="13570" y="6359"/>
                </a:lnTo>
                <a:lnTo>
                  <a:pt x="13567" y="6376"/>
                </a:lnTo>
                <a:lnTo>
                  <a:pt x="13558" y="6372"/>
                </a:lnTo>
                <a:lnTo>
                  <a:pt x="13546" y="6370"/>
                </a:lnTo>
                <a:lnTo>
                  <a:pt x="13533" y="6368"/>
                </a:lnTo>
                <a:lnTo>
                  <a:pt x="13521" y="6367"/>
                </a:lnTo>
                <a:lnTo>
                  <a:pt x="13508" y="6366"/>
                </a:lnTo>
                <a:lnTo>
                  <a:pt x="13495" y="6363"/>
                </a:lnTo>
                <a:lnTo>
                  <a:pt x="13486" y="6358"/>
                </a:lnTo>
                <a:lnTo>
                  <a:pt x="13479" y="6352"/>
                </a:lnTo>
                <a:lnTo>
                  <a:pt x="13490" y="6353"/>
                </a:lnTo>
                <a:lnTo>
                  <a:pt x="13499" y="6353"/>
                </a:lnTo>
                <a:lnTo>
                  <a:pt x="13507" y="6352"/>
                </a:lnTo>
                <a:lnTo>
                  <a:pt x="13513" y="6348"/>
                </a:lnTo>
                <a:lnTo>
                  <a:pt x="13517" y="6342"/>
                </a:lnTo>
                <a:lnTo>
                  <a:pt x="13518" y="6334"/>
                </a:lnTo>
                <a:lnTo>
                  <a:pt x="13518" y="6325"/>
                </a:lnTo>
                <a:lnTo>
                  <a:pt x="13517" y="6314"/>
                </a:lnTo>
                <a:lnTo>
                  <a:pt x="13475" y="6315"/>
                </a:lnTo>
                <a:lnTo>
                  <a:pt x="13433" y="6323"/>
                </a:lnTo>
                <a:lnTo>
                  <a:pt x="13393" y="6333"/>
                </a:lnTo>
                <a:lnTo>
                  <a:pt x="13353" y="6344"/>
                </a:lnTo>
                <a:lnTo>
                  <a:pt x="13313" y="6356"/>
                </a:lnTo>
                <a:lnTo>
                  <a:pt x="13275" y="6363"/>
                </a:lnTo>
                <a:lnTo>
                  <a:pt x="13238" y="6367"/>
                </a:lnTo>
                <a:lnTo>
                  <a:pt x="13201" y="6363"/>
                </a:lnTo>
                <a:lnTo>
                  <a:pt x="13266" y="6337"/>
                </a:lnTo>
                <a:lnTo>
                  <a:pt x="13334" y="6311"/>
                </a:lnTo>
                <a:lnTo>
                  <a:pt x="13405" y="6289"/>
                </a:lnTo>
                <a:lnTo>
                  <a:pt x="13479" y="6269"/>
                </a:lnTo>
                <a:lnTo>
                  <a:pt x="13556" y="6251"/>
                </a:lnTo>
                <a:lnTo>
                  <a:pt x="13639" y="6235"/>
                </a:lnTo>
                <a:lnTo>
                  <a:pt x="13727" y="6223"/>
                </a:lnTo>
                <a:lnTo>
                  <a:pt x="13819" y="6213"/>
                </a:lnTo>
                <a:lnTo>
                  <a:pt x="13820" y="6186"/>
                </a:lnTo>
                <a:lnTo>
                  <a:pt x="13829" y="6174"/>
                </a:lnTo>
                <a:lnTo>
                  <a:pt x="13842" y="6170"/>
                </a:lnTo>
                <a:lnTo>
                  <a:pt x="13858" y="6170"/>
                </a:lnTo>
                <a:lnTo>
                  <a:pt x="13875" y="6170"/>
                </a:lnTo>
                <a:lnTo>
                  <a:pt x="13890" y="6167"/>
                </a:lnTo>
                <a:lnTo>
                  <a:pt x="13902" y="6158"/>
                </a:lnTo>
                <a:lnTo>
                  <a:pt x="13908" y="6137"/>
                </a:lnTo>
                <a:lnTo>
                  <a:pt x="13882" y="6135"/>
                </a:lnTo>
                <a:lnTo>
                  <a:pt x="13858" y="6135"/>
                </a:lnTo>
                <a:lnTo>
                  <a:pt x="13837" y="6138"/>
                </a:lnTo>
                <a:lnTo>
                  <a:pt x="13816" y="6141"/>
                </a:lnTo>
                <a:lnTo>
                  <a:pt x="13796" y="6143"/>
                </a:lnTo>
                <a:lnTo>
                  <a:pt x="13778" y="6144"/>
                </a:lnTo>
                <a:lnTo>
                  <a:pt x="13760" y="6142"/>
                </a:lnTo>
                <a:lnTo>
                  <a:pt x="13744" y="6137"/>
                </a:lnTo>
                <a:lnTo>
                  <a:pt x="13739" y="6142"/>
                </a:lnTo>
                <a:lnTo>
                  <a:pt x="13736" y="6148"/>
                </a:lnTo>
                <a:lnTo>
                  <a:pt x="13735" y="6156"/>
                </a:lnTo>
                <a:lnTo>
                  <a:pt x="13733" y="6165"/>
                </a:lnTo>
                <a:lnTo>
                  <a:pt x="13732" y="6172"/>
                </a:lnTo>
                <a:lnTo>
                  <a:pt x="13730" y="6180"/>
                </a:lnTo>
                <a:lnTo>
                  <a:pt x="13726" y="6185"/>
                </a:lnTo>
                <a:lnTo>
                  <a:pt x="13718" y="6188"/>
                </a:lnTo>
                <a:lnTo>
                  <a:pt x="13572" y="6211"/>
                </a:lnTo>
                <a:lnTo>
                  <a:pt x="13414" y="6244"/>
                </a:lnTo>
                <a:lnTo>
                  <a:pt x="13249" y="6284"/>
                </a:lnTo>
                <a:lnTo>
                  <a:pt x="13083" y="6328"/>
                </a:lnTo>
                <a:lnTo>
                  <a:pt x="12916" y="6371"/>
                </a:lnTo>
                <a:lnTo>
                  <a:pt x="12757" y="6412"/>
                </a:lnTo>
                <a:lnTo>
                  <a:pt x="12606" y="6443"/>
                </a:lnTo>
                <a:lnTo>
                  <a:pt x="12470" y="6465"/>
                </a:lnTo>
                <a:lnTo>
                  <a:pt x="12470" y="6480"/>
                </a:lnTo>
                <a:lnTo>
                  <a:pt x="12468" y="6494"/>
                </a:lnTo>
                <a:lnTo>
                  <a:pt x="12466" y="6499"/>
                </a:lnTo>
                <a:lnTo>
                  <a:pt x="12464" y="6506"/>
                </a:lnTo>
                <a:lnTo>
                  <a:pt x="12461" y="6511"/>
                </a:lnTo>
                <a:lnTo>
                  <a:pt x="12457" y="6515"/>
                </a:lnTo>
                <a:lnTo>
                  <a:pt x="12497" y="6517"/>
                </a:lnTo>
                <a:lnTo>
                  <a:pt x="12534" y="6510"/>
                </a:lnTo>
                <a:lnTo>
                  <a:pt x="12571" y="6498"/>
                </a:lnTo>
                <a:lnTo>
                  <a:pt x="12606" y="6483"/>
                </a:lnTo>
                <a:lnTo>
                  <a:pt x="12643" y="6469"/>
                </a:lnTo>
                <a:lnTo>
                  <a:pt x="12680" y="6456"/>
                </a:lnTo>
                <a:lnTo>
                  <a:pt x="12718" y="6450"/>
                </a:lnTo>
                <a:lnTo>
                  <a:pt x="12760" y="6452"/>
                </a:lnTo>
                <a:lnTo>
                  <a:pt x="12767" y="6460"/>
                </a:lnTo>
                <a:lnTo>
                  <a:pt x="12768" y="6468"/>
                </a:lnTo>
                <a:lnTo>
                  <a:pt x="12767" y="6475"/>
                </a:lnTo>
                <a:lnTo>
                  <a:pt x="12766" y="6482"/>
                </a:lnTo>
                <a:lnTo>
                  <a:pt x="12763" y="6489"/>
                </a:lnTo>
                <a:lnTo>
                  <a:pt x="12763" y="6497"/>
                </a:lnTo>
                <a:lnTo>
                  <a:pt x="12766" y="6506"/>
                </a:lnTo>
                <a:lnTo>
                  <a:pt x="12773" y="6515"/>
                </a:lnTo>
                <a:lnTo>
                  <a:pt x="12810" y="6510"/>
                </a:lnTo>
                <a:lnTo>
                  <a:pt x="12846" y="6502"/>
                </a:lnTo>
                <a:lnTo>
                  <a:pt x="12881" y="6494"/>
                </a:lnTo>
                <a:lnTo>
                  <a:pt x="12916" y="6485"/>
                </a:lnTo>
                <a:lnTo>
                  <a:pt x="12951" y="6477"/>
                </a:lnTo>
                <a:lnTo>
                  <a:pt x="12988" y="6465"/>
                </a:lnTo>
                <a:lnTo>
                  <a:pt x="13025" y="6452"/>
                </a:lnTo>
                <a:lnTo>
                  <a:pt x="13062" y="6440"/>
                </a:lnTo>
                <a:lnTo>
                  <a:pt x="13065" y="6428"/>
                </a:lnTo>
                <a:lnTo>
                  <a:pt x="13064" y="6415"/>
                </a:lnTo>
                <a:lnTo>
                  <a:pt x="13062" y="6401"/>
                </a:lnTo>
                <a:lnTo>
                  <a:pt x="13061" y="6387"/>
                </a:lnTo>
                <a:lnTo>
                  <a:pt x="13062" y="6376"/>
                </a:lnTo>
                <a:lnTo>
                  <a:pt x="13066" y="6367"/>
                </a:lnTo>
                <a:lnTo>
                  <a:pt x="13074" y="6362"/>
                </a:lnTo>
                <a:lnTo>
                  <a:pt x="13088" y="6363"/>
                </a:lnTo>
                <a:lnTo>
                  <a:pt x="13084" y="6393"/>
                </a:lnTo>
                <a:lnTo>
                  <a:pt x="13083" y="6408"/>
                </a:lnTo>
                <a:lnTo>
                  <a:pt x="13084" y="6415"/>
                </a:lnTo>
                <a:lnTo>
                  <a:pt x="13086" y="6422"/>
                </a:lnTo>
                <a:lnTo>
                  <a:pt x="13093" y="6429"/>
                </a:lnTo>
                <a:lnTo>
                  <a:pt x="13100" y="6440"/>
                </a:lnTo>
                <a:lnTo>
                  <a:pt x="13123" y="6433"/>
                </a:lnTo>
                <a:lnTo>
                  <a:pt x="13146" y="6428"/>
                </a:lnTo>
                <a:lnTo>
                  <a:pt x="13158" y="6426"/>
                </a:lnTo>
                <a:lnTo>
                  <a:pt x="13169" y="6423"/>
                </a:lnTo>
                <a:lnTo>
                  <a:pt x="13179" y="6419"/>
                </a:lnTo>
                <a:lnTo>
                  <a:pt x="13188" y="6414"/>
                </a:lnTo>
                <a:lnTo>
                  <a:pt x="13178" y="6429"/>
                </a:lnTo>
                <a:lnTo>
                  <a:pt x="13165" y="6443"/>
                </a:lnTo>
                <a:lnTo>
                  <a:pt x="13150" y="6456"/>
                </a:lnTo>
                <a:lnTo>
                  <a:pt x="13134" y="6468"/>
                </a:lnTo>
                <a:lnTo>
                  <a:pt x="13116" y="6475"/>
                </a:lnTo>
                <a:lnTo>
                  <a:pt x="13098" y="6480"/>
                </a:lnTo>
                <a:lnTo>
                  <a:pt x="13080" y="6482"/>
                </a:lnTo>
                <a:lnTo>
                  <a:pt x="13062" y="6478"/>
                </a:lnTo>
                <a:lnTo>
                  <a:pt x="13053" y="6489"/>
                </a:lnTo>
                <a:lnTo>
                  <a:pt x="13048" y="6499"/>
                </a:lnTo>
                <a:lnTo>
                  <a:pt x="13046" y="6510"/>
                </a:lnTo>
                <a:lnTo>
                  <a:pt x="13043" y="6519"/>
                </a:lnTo>
                <a:lnTo>
                  <a:pt x="13039" y="6526"/>
                </a:lnTo>
                <a:lnTo>
                  <a:pt x="13032" y="6533"/>
                </a:lnTo>
                <a:lnTo>
                  <a:pt x="13019" y="6538"/>
                </a:lnTo>
                <a:lnTo>
                  <a:pt x="13000" y="6540"/>
                </a:lnTo>
                <a:lnTo>
                  <a:pt x="13009" y="6530"/>
                </a:lnTo>
                <a:lnTo>
                  <a:pt x="13011" y="6524"/>
                </a:lnTo>
                <a:lnTo>
                  <a:pt x="13009" y="6520"/>
                </a:lnTo>
                <a:lnTo>
                  <a:pt x="13002" y="6519"/>
                </a:lnTo>
                <a:lnTo>
                  <a:pt x="12995" y="6517"/>
                </a:lnTo>
                <a:lnTo>
                  <a:pt x="12986" y="6515"/>
                </a:lnTo>
                <a:lnTo>
                  <a:pt x="12980" y="6510"/>
                </a:lnTo>
                <a:lnTo>
                  <a:pt x="12974" y="6502"/>
                </a:lnTo>
                <a:lnTo>
                  <a:pt x="12922" y="6510"/>
                </a:lnTo>
                <a:lnTo>
                  <a:pt x="12873" y="6521"/>
                </a:lnTo>
                <a:lnTo>
                  <a:pt x="12827" y="6534"/>
                </a:lnTo>
                <a:lnTo>
                  <a:pt x="12782" y="6550"/>
                </a:lnTo>
                <a:lnTo>
                  <a:pt x="12739" y="6567"/>
                </a:lnTo>
                <a:lnTo>
                  <a:pt x="12697" y="6583"/>
                </a:lnTo>
                <a:lnTo>
                  <a:pt x="12653" y="6600"/>
                </a:lnTo>
                <a:lnTo>
                  <a:pt x="12609" y="6615"/>
                </a:lnTo>
                <a:lnTo>
                  <a:pt x="12618" y="6600"/>
                </a:lnTo>
                <a:lnTo>
                  <a:pt x="12618" y="6589"/>
                </a:lnTo>
                <a:lnTo>
                  <a:pt x="12611" y="6582"/>
                </a:lnTo>
                <a:lnTo>
                  <a:pt x="12601" y="6577"/>
                </a:lnTo>
                <a:lnTo>
                  <a:pt x="12592" y="6572"/>
                </a:lnTo>
                <a:lnTo>
                  <a:pt x="12586" y="6566"/>
                </a:lnTo>
                <a:lnTo>
                  <a:pt x="12586" y="6555"/>
                </a:lnTo>
                <a:lnTo>
                  <a:pt x="12596" y="6540"/>
                </a:lnTo>
                <a:lnTo>
                  <a:pt x="12586" y="6539"/>
                </a:lnTo>
                <a:lnTo>
                  <a:pt x="12576" y="6539"/>
                </a:lnTo>
                <a:lnTo>
                  <a:pt x="12567" y="6540"/>
                </a:lnTo>
                <a:lnTo>
                  <a:pt x="12559" y="6541"/>
                </a:lnTo>
                <a:lnTo>
                  <a:pt x="12552" y="6543"/>
                </a:lnTo>
                <a:lnTo>
                  <a:pt x="12545" y="6545"/>
                </a:lnTo>
                <a:lnTo>
                  <a:pt x="12539" y="6549"/>
                </a:lnTo>
                <a:lnTo>
                  <a:pt x="12534" y="6553"/>
                </a:lnTo>
                <a:lnTo>
                  <a:pt x="12534" y="6566"/>
                </a:lnTo>
                <a:lnTo>
                  <a:pt x="12539" y="6575"/>
                </a:lnTo>
                <a:lnTo>
                  <a:pt x="12548" y="6581"/>
                </a:lnTo>
                <a:lnTo>
                  <a:pt x="12557" y="6586"/>
                </a:lnTo>
                <a:lnTo>
                  <a:pt x="12566" y="6591"/>
                </a:lnTo>
                <a:lnTo>
                  <a:pt x="12575" y="6596"/>
                </a:lnTo>
                <a:lnTo>
                  <a:pt x="12581" y="6604"/>
                </a:lnTo>
                <a:lnTo>
                  <a:pt x="12583" y="6615"/>
                </a:lnTo>
                <a:lnTo>
                  <a:pt x="12538" y="6624"/>
                </a:lnTo>
                <a:lnTo>
                  <a:pt x="12483" y="6632"/>
                </a:lnTo>
                <a:lnTo>
                  <a:pt x="12434" y="6638"/>
                </a:lnTo>
                <a:lnTo>
                  <a:pt x="12408" y="6641"/>
                </a:lnTo>
                <a:lnTo>
                  <a:pt x="12418" y="6622"/>
                </a:lnTo>
                <a:lnTo>
                  <a:pt x="12429" y="6609"/>
                </a:lnTo>
                <a:lnTo>
                  <a:pt x="12443" y="6603"/>
                </a:lnTo>
                <a:lnTo>
                  <a:pt x="12459" y="6599"/>
                </a:lnTo>
                <a:lnTo>
                  <a:pt x="12475" y="6595"/>
                </a:lnTo>
                <a:lnTo>
                  <a:pt x="12490" y="6590"/>
                </a:lnTo>
                <a:lnTo>
                  <a:pt x="12506" y="6581"/>
                </a:lnTo>
                <a:lnTo>
                  <a:pt x="12521" y="6566"/>
                </a:lnTo>
                <a:lnTo>
                  <a:pt x="12503" y="6561"/>
                </a:lnTo>
                <a:lnTo>
                  <a:pt x="12479" y="6563"/>
                </a:lnTo>
                <a:lnTo>
                  <a:pt x="12452" y="6569"/>
                </a:lnTo>
                <a:lnTo>
                  <a:pt x="12422" y="6576"/>
                </a:lnTo>
                <a:lnTo>
                  <a:pt x="12392" y="6580"/>
                </a:lnTo>
                <a:lnTo>
                  <a:pt x="12363" y="6580"/>
                </a:lnTo>
                <a:lnTo>
                  <a:pt x="12339" y="6572"/>
                </a:lnTo>
                <a:lnTo>
                  <a:pt x="12319" y="6553"/>
                </a:lnTo>
                <a:lnTo>
                  <a:pt x="12338" y="6553"/>
                </a:lnTo>
                <a:lnTo>
                  <a:pt x="12355" y="6552"/>
                </a:lnTo>
                <a:lnTo>
                  <a:pt x="12371" y="6548"/>
                </a:lnTo>
                <a:lnTo>
                  <a:pt x="12384" y="6541"/>
                </a:lnTo>
                <a:lnTo>
                  <a:pt x="12395" y="6534"/>
                </a:lnTo>
                <a:lnTo>
                  <a:pt x="12404" y="6525"/>
                </a:lnTo>
                <a:lnTo>
                  <a:pt x="12413" y="6515"/>
                </a:lnTo>
                <a:lnTo>
                  <a:pt x="12419" y="6502"/>
                </a:lnTo>
                <a:lnTo>
                  <a:pt x="12296" y="6520"/>
                </a:lnTo>
                <a:lnTo>
                  <a:pt x="12177" y="6545"/>
                </a:lnTo>
                <a:lnTo>
                  <a:pt x="12064" y="6577"/>
                </a:lnTo>
                <a:lnTo>
                  <a:pt x="11952" y="6610"/>
                </a:lnTo>
                <a:lnTo>
                  <a:pt x="11841" y="6643"/>
                </a:lnTo>
                <a:lnTo>
                  <a:pt x="11730" y="6673"/>
                </a:lnTo>
                <a:lnTo>
                  <a:pt x="11617" y="6694"/>
                </a:lnTo>
                <a:lnTo>
                  <a:pt x="11500" y="6704"/>
                </a:lnTo>
                <a:lnTo>
                  <a:pt x="11482" y="6722"/>
                </a:lnTo>
                <a:lnTo>
                  <a:pt x="11467" y="6740"/>
                </a:lnTo>
                <a:lnTo>
                  <a:pt x="11458" y="6749"/>
                </a:lnTo>
                <a:lnTo>
                  <a:pt x="11447" y="6757"/>
                </a:lnTo>
                <a:lnTo>
                  <a:pt x="11436" y="6763"/>
                </a:lnTo>
                <a:lnTo>
                  <a:pt x="11423" y="6767"/>
                </a:lnTo>
                <a:lnTo>
                  <a:pt x="11268" y="6792"/>
                </a:lnTo>
                <a:lnTo>
                  <a:pt x="11114" y="6827"/>
                </a:lnTo>
                <a:lnTo>
                  <a:pt x="10960" y="6866"/>
                </a:lnTo>
                <a:lnTo>
                  <a:pt x="10807" y="6908"/>
                </a:lnTo>
                <a:lnTo>
                  <a:pt x="10654" y="6949"/>
                </a:lnTo>
                <a:lnTo>
                  <a:pt x="10501" y="6988"/>
                </a:lnTo>
                <a:lnTo>
                  <a:pt x="10346" y="7020"/>
                </a:lnTo>
                <a:lnTo>
                  <a:pt x="10188" y="7044"/>
                </a:lnTo>
                <a:lnTo>
                  <a:pt x="10045" y="7104"/>
                </a:lnTo>
                <a:lnTo>
                  <a:pt x="9896" y="7155"/>
                </a:lnTo>
                <a:lnTo>
                  <a:pt x="9741" y="7198"/>
                </a:lnTo>
                <a:lnTo>
                  <a:pt x="9583" y="7238"/>
                </a:lnTo>
                <a:lnTo>
                  <a:pt x="9421" y="7279"/>
                </a:lnTo>
                <a:lnTo>
                  <a:pt x="9260" y="7322"/>
                </a:lnTo>
                <a:lnTo>
                  <a:pt x="9099" y="7374"/>
                </a:lnTo>
                <a:lnTo>
                  <a:pt x="8940" y="7435"/>
                </a:lnTo>
                <a:lnTo>
                  <a:pt x="8934" y="7431"/>
                </a:lnTo>
                <a:lnTo>
                  <a:pt x="8925" y="7427"/>
                </a:lnTo>
                <a:lnTo>
                  <a:pt x="8913" y="7424"/>
                </a:lnTo>
                <a:lnTo>
                  <a:pt x="8900" y="7421"/>
                </a:lnTo>
                <a:lnTo>
                  <a:pt x="8888" y="7420"/>
                </a:lnTo>
                <a:lnTo>
                  <a:pt x="8876" y="7422"/>
                </a:lnTo>
                <a:lnTo>
                  <a:pt x="8869" y="7426"/>
                </a:lnTo>
                <a:lnTo>
                  <a:pt x="8864" y="7435"/>
                </a:lnTo>
                <a:lnTo>
                  <a:pt x="8865" y="7438"/>
                </a:lnTo>
                <a:lnTo>
                  <a:pt x="8860" y="7443"/>
                </a:lnTo>
                <a:lnTo>
                  <a:pt x="8848" y="7449"/>
                </a:lnTo>
                <a:lnTo>
                  <a:pt x="8832" y="7454"/>
                </a:lnTo>
                <a:lnTo>
                  <a:pt x="8813" y="7458"/>
                </a:lnTo>
                <a:lnTo>
                  <a:pt x="8791" y="7458"/>
                </a:lnTo>
                <a:lnTo>
                  <a:pt x="8771" y="7455"/>
                </a:lnTo>
                <a:lnTo>
                  <a:pt x="8750" y="7448"/>
                </a:lnTo>
                <a:lnTo>
                  <a:pt x="8745" y="7477"/>
                </a:lnTo>
                <a:lnTo>
                  <a:pt x="8729" y="7496"/>
                </a:lnTo>
                <a:lnTo>
                  <a:pt x="8706" y="7508"/>
                </a:lnTo>
                <a:lnTo>
                  <a:pt x="8679" y="7513"/>
                </a:lnTo>
                <a:lnTo>
                  <a:pt x="8650" y="7514"/>
                </a:lnTo>
                <a:lnTo>
                  <a:pt x="8620" y="7510"/>
                </a:lnTo>
                <a:lnTo>
                  <a:pt x="8595" y="7505"/>
                </a:lnTo>
                <a:lnTo>
                  <a:pt x="8574" y="7499"/>
                </a:lnTo>
                <a:lnTo>
                  <a:pt x="8573" y="7510"/>
                </a:lnTo>
                <a:lnTo>
                  <a:pt x="8572" y="7522"/>
                </a:lnTo>
                <a:lnTo>
                  <a:pt x="8572" y="7527"/>
                </a:lnTo>
                <a:lnTo>
                  <a:pt x="8569" y="7532"/>
                </a:lnTo>
                <a:lnTo>
                  <a:pt x="8566" y="7534"/>
                </a:lnTo>
                <a:lnTo>
                  <a:pt x="8562" y="7536"/>
                </a:lnTo>
                <a:lnTo>
                  <a:pt x="8420" y="7571"/>
                </a:lnTo>
                <a:lnTo>
                  <a:pt x="8278" y="7608"/>
                </a:lnTo>
                <a:lnTo>
                  <a:pt x="8135" y="7645"/>
                </a:lnTo>
                <a:lnTo>
                  <a:pt x="7995" y="7683"/>
                </a:lnTo>
                <a:lnTo>
                  <a:pt x="7859" y="7720"/>
                </a:lnTo>
                <a:lnTo>
                  <a:pt x="7729" y="7760"/>
                </a:lnTo>
                <a:lnTo>
                  <a:pt x="7605" y="7799"/>
                </a:lnTo>
                <a:lnTo>
                  <a:pt x="7489" y="7839"/>
                </a:lnTo>
                <a:lnTo>
                  <a:pt x="7491" y="7834"/>
                </a:lnTo>
                <a:lnTo>
                  <a:pt x="7493" y="7830"/>
                </a:lnTo>
                <a:lnTo>
                  <a:pt x="7497" y="7827"/>
                </a:lnTo>
                <a:lnTo>
                  <a:pt x="7501" y="7825"/>
                </a:lnTo>
                <a:lnTo>
                  <a:pt x="7506" y="7823"/>
                </a:lnTo>
                <a:lnTo>
                  <a:pt x="7510" y="7821"/>
                </a:lnTo>
                <a:lnTo>
                  <a:pt x="7512" y="7817"/>
                </a:lnTo>
                <a:lnTo>
                  <a:pt x="7515" y="7813"/>
                </a:lnTo>
                <a:lnTo>
                  <a:pt x="7486" y="7821"/>
                </a:lnTo>
                <a:lnTo>
                  <a:pt x="7460" y="7834"/>
                </a:lnTo>
                <a:lnTo>
                  <a:pt x="7439" y="7846"/>
                </a:lnTo>
                <a:lnTo>
                  <a:pt x="7418" y="7859"/>
                </a:lnTo>
                <a:lnTo>
                  <a:pt x="7399" y="7869"/>
                </a:lnTo>
                <a:lnTo>
                  <a:pt x="7377" y="7874"/>
                </a:lnTo>
                <a:lnTo>
                  <a:pt x="7354" y="7874"/>
                </a:lnTo>
                <a:lnTo>
                  <a:pt x="7325" y="7864"/>
                </a:lnTo>
                <a:lnTo>
                  <a:pt x="7328" y="7881"/>
                </a:lnTo>
                <a:lnTo>
                  <a:pt x="7324" y="7893"/>
                </a:lnTo>
                <a:lnTo>
                  <a:pt x="7314" y="7904"/>
                </a:lnTo>
                <a:lnTo>
                  <a:pt x="7301" y="7911"/>
                </a:lnTo>
                <a:lnTo>
                  <a:pt x="7286" y="7915"/>
                </a:lnTo>
                <a:lnTo>
                  <a:pt x="7272" y="7914"/>
                </a:lnTo>
                <a:lnTo>
                  <a:pt x="7259" y="7910"/>
                </a:lnTo>
                <a:lnTo>
                  <a:pt x="7250" y="7901"/>
                </a:lnTo>
                <a:lnTo>
                  <a:pt x="7260" y="7905"/>
                </a:lnTo>
                <a:lnTo>
                  <a:pt x="7270" y="7905"/>
                </a:lnTo>
                <a:lnTo>
                  <a:pt x="7278" y="7901"/>
                </a:lnTo>
                <a:lnTo>
                  <a:pt x="7286" y="7896"/>
                </a:lnTo>
                <a:lnTo>
                  <a:pt x="7290" y="7891"/>
                </a:lnTo>
                <a:lnTo>
                  <a:pt x="7290" y="7884"/>
                </a:lnTo>
                <a:lnTo>
                  <a:pt x="7286" y="7879"/>
                </a:lnTo>
                <a:lnTo>
                  <a:pt x="7276" y="7877"/>
                </a:lnTo>
                <a:lnTo>
                  <a:pt x="7245" y="7896"/>
                </a:lnTo>
                <a:lnTo>
                  <a:pt x="7212" y="7911"/>
                </a:lnTo>
                <a:lnTo>
                  <a:pt x="7175" y="7923"/>
                </a:lnTo>
                <a:lnTo>
                  <a:pt x="7135" y="7930"/>
                </a:lnTo>
                <a:lnTo>
                  <a:pt x="7093" y="7935"/>
                </a:lnTo>
                <a:lnTo>
                  <a:pt x="7050" y="7938"/>
                </a:lnTo>
                <a:lnTo>
                  <a:pt x="7006" y="7939"/>
                </a:lnTo>
                <a:lnTo>
                  <a:pt x="6960" y="7939"/>
                </a:lnTo>
                <a:lnTo>
                  <a:pt x="6961" y="7951"/>
                </a:lnTo>
                <a:lnTo>
                  <a:pt x="6962" y="7958"/>
                </a:lnTo>
                <a:lnTo>
                  <a:pt x="6965" y="7963"/>
                </a:lnTo>
                <a:lnTo>
                  <a:pt x="6967" y="7968"/>
                </a:lnTo>
                <a:lnTo>
                  <a:pt x="6969" y="7972"/>
                </a:lnTo>
                <a:lnTo>
                  <a:pt x="6969" y="7976"/>
                </a:lnTo>
                <a:lnTo>
                  <a:pt x="6966" y="7981"/>
                </a:lnTo>
                <a:lnTo>
                  <a:pt x="6960" y="7990"/>
                </a:lnTo>
                <a:lnTo>
                  <a:pt x="6906" y="7994"/>
                </a:lnTo>
                <a:lnTo>
                  <a:pt x="6846" y="8009"/>
                </a:lnTo>
                <a:lnTo>
                  <a:pt x="6784" y="8031"/>
                </a:lnTo>
                <a:lnTo>
                  <a:pt x="6720" y="8055"/>
                </a:lnTo>
                <a:lnTo>
                  <a:pt x="6657" y="8078"/>
                </a:lnTo>
                <a:lnTo>
                  <a:pt x="6594" y="8093"/>
                </a:lnTo>
                <a:lnTo>
                  <a:pt x="6534" y="8100"/>
                </a:lnTo>
                <a:lnTo>
                  <a:pt x="6481" y="8091"/>
                </a:lnTo>
                <a:lnTo>
                  <a:pt x="6483" y="8074"/>
                </a:lnTo>
                <a:lnTo>
                  <a:pt x="6494" y="8065"/>
                </a:lnTo>
                <a:lnTo>
                  <a:pt x="6506" y="8060"/>
                </a:lnTo>
                <a:lnTo>
                  <a:pt x="6523" y="8058"/>
                </a:lnTo>
                <a:lnTo>
                  <a:pt x="6539" y="8055"/>
                </a:lnTo>
                <a:lnTo>
                  <a:pt x="6555" y="8051"/>
                </a:lnTo>
                <a:lnTo>
                  <a:pt x="6565" y="8042"/>
                </a:lnTo>
                <a:lnTo>
                  <a:pt x="6569" y="8027"/>
                </a:lnTo>
                <a:lnTo>
                  <a:pt x="6566" y="8018"/>
                </a:lnTo>
                <a:lnTo>
                  <a:pt x="6559" y="8013"/>
                </a:lnTo>
                <a:lnTo>
                  <a:pt x="6546" y="8013"/>
                </a:lnTo>
                <a:lnTo>
                  <a:pt x="6532" y="8014"/>
                </a:lnTo>
                <a:lnTo>
                  <a:pt x="6518" y="8017"/>
                </a:lnTo>
                <a:lnTo>
                  <a:pt x="6505" y="8017"/>
                </a:lnTo>
                <a:lnTo>
                  <a:pt x="6496" y="8012"/>
                </a:lnTo>
                <a:lnTo>
                  <a:pt x="6494" y="8003"/>
                </a:lnTo>
                <a:lnTo>
                  <a:pt x="6514" y="7993"/>
                </a:lnTo>
                <a:lnTo>
                  <a:pt x="6532" y="7982"/>
                </a:lnTo>
                <a:lnTo>
                  <a:pt x="6547" y="7972"/>
                </a:lnTo>
                <a:lnTo>
                  <a:pt x="6562" y="7965"/>
                </a:lnTo>
                <a:lnTo>
                  <a:pt x="6578" y="7958"/>
                </a:lnTo>
                <a:lnTo>
                  <a:pt x="6595" y="7956"/>
                </a:lnTo>
                <a:lnTo>
                  <a:pt x="6617" y="7957"/>
                </a:lnTo>
                <a:lnTo>
                  <a:pt x="6645" y="7965"/>
                </a:lnTo>
                <a:lnTo>
                  <a:pt x="6651" y="7957"/>
                </a:lnTo>
                <a:lnTo>
                  <a:pt x="6653" y="7949"/>
                </a:lnTo>
                <a:lnTo>
                  <a:pt x="6651" y="7942"/>
                </a:lnTo>
                <a:lnTo>
                  <a:pt x="6650" y="7935"/>
                </a:lnTo>
                <a:lnTo>
                  <a:pt x="6650" y="7929"/>
                </a:lnTo>
                <a:lnTo>
                  <a:pt x="6651" y="7924"/>
                </a:lnTo>
                <a:lnTo>
                  <a:pt x="6658" y="7919"/>
                </a:lnTo>
                <a:lnTo>
                  <a:pt x="6671" y="7914"/>
                </a:lnTo>
                <a:lnTo>
                  <a:pt x="6683" y="7916"/>
                </a:lnTo>
                <a:lnTo>
                  <a:pt x="6697" y="7915"/>
                </a:lnTo>
                <a:lnTo>
                  <a:pt x="6713" y="7914"/>
                </a:lnTo>
                <a:lnTo>
                  <a:pt x="6728" y="7912"/>
                </a:lnTo>
                <a:lnTo>
                  <a:pt x="6743" y="7912"/>
                </a:lnTo>
                <a:lnTo>
                  <a:pt x="6756" y="7914"/>
                </a:lnTo>
                <a:lnTo>
                  <a:pt x="6765" y="7919"/>
                </a:lnTo>
                <a:lnTo>
                  <a:pt x="6771" y="7926"/>
                </a:lnTo>
                <a:lnTo>
                  <a:pt x="6750" y="7942"/>
                </a:lnTo>
                <a:lnTo>
                  <a:pt x="6727" y="7954"/>
                </a:lnTo>
                <a:lnTo>
                  <a:pt x="6700" y="7965"/>
                </a:lnTo>
                <a:lnTo>
                  <a:pt x="6673" y="7975"/>
                </a:lnTo>
                <a:lnTo>
                  <a:pt x="6648" y="7984"/>
                </a:lnTo>
                <a:lnTo>
                  <a:pt x="6622" y="7995"/>
                </a:lnTo>
                <a:lnTo>
                  <a:pt x="6601" y="8009"/>
                </a:lnTo>
                <a:lnTo>
                  <a:pt x="6581" y="8027"/>
                </a:lnTo>
                <a:lnTo>
                  <a:pt x="6620" y="8023"/>
                </a:lnTo>
                <a:lnTo>
                  <a:pt x="6657" y="8017"/>
                </a:lnTo>
                <a:lnTo>
                  <a:pt x="6691" y="8009"/>
                </a:lnTo>
                <a:lnTo>
                  <a:pt x="6724" y="8000"/>
                </a:lnTo>
                <a:lnTo>
                  <a:pt x="6755" y="7988"/>
                </a:lnTo>
                <a:lnTo>
                  <a:pt x="6784" y="7974"/>
                </a:lnTo>
                <a:lnTo>
                  <a:pt x="6811" y="7958"/>
                </a:lnTo>
                <a:lnTo>
                  <a:pt x="6834" y="7939"/>
                </a:lnTo>
                <a:lnTo>
                  <a:pt x="6822" y="7939"/>
                </a:lnTo>
                <a:lnTo>
                  <a:pt x="6811" y="7938"/>
                </a:lnTo>
                <a:lnTo>
                  <a:pt x="6806" y="7937"/>
                </a:lnTo>
                <a:lnTo>
                  <a:pt x="6800" y="7934"/>
                </a:lnTo>
                <a:lnTo>
                  <a:pt x="6798" y="7932"/>
                </a:lnTo>
                <a:lnTo>
                  <a:pt x="6797" y="7926"/>
                </a:lnTo>
                <a:lnTo>
                  <a:pt x="6802" y="7923"/>
                </a:lnTo>
                <a:lnTo>
                  <a:pt x="6808" y="7920"/>
                </a:lnTo>
                <a:lnTo>
                  <a:pt x="6814" y="7918"/>
                </a:lnTo>
                <a:lnTo>
                  <a:pt x="6822" y="7915"/>
                </a:lnTo>
                <a:lnTo>
                  <a:pt x="6830" y="7914"/>
                </a:lnTo>
                <a:lnTo>
                  <a:pt x="6839" y="7912"/>
                </a:lnTo>
                <a:lnTo>
                  <a:pt x="6849" y="7912"/>
                </a:lnTo>
                <a:lnTo>
                  <a:pt x="6859" y="7914"/>
                </a:lnTo>
                <a:lnTo>
                  <a:pt x="6859" y="7906"/>
                </a:lnTo>
                <a:lnTo>
                  <a:pt x="6858" y="7900"/>
                </a:lnTo>
                <a:lnTo>
                  <a:pt x="6857" y="7893"/>
                </a:lnTo>
                <a:lnTo>
                  <a:pt x="6854" y="7888"/>
                </a:lnTo>
                <a:lnTo>
                  <a:pt x="6850" y="7883"/>
                </a:lnTo>
                <a:lnTo>
                  <a:pt x="6849" y="7878"/>
                </a:lnTo>
                <a:lnTo>
                  <a:pt x="6846" y="7872"/>
                </a:lnTo>
                <a:lnTo>
                  <a:pt x="6846" y="7864"/>
                </a:lnTo>
                <a:lnTo>
                  <a:pt x="6872" y="7860"/>
                </a:lnTo>
                <a:lnTo>
                  <a:pt x="6901" y="7850"/>
                </a:lnTo>
                <a:lnTo>
                  <a:pt x="6932" y="7839"/>
                </a:lnTo>
                <a:lnTo>
                  <a:pt x="6962" y="7828"/>
                </a:lnTo>
                <a:lnTo>
                  <a:pt x="6992" y="7820"/>
                </a:lnTo>
                <a:lnTo>
                  <a:pt x="7017" y="7817"/>
                </a:lnTo>
                <a:lnTo>
                  <a:pt x="7036" y="7822"/>
                </a:lnTo>
                <a:lnTo>
                  <a:pt x="7049" y="7839"/>
                </a:lnTo>
                <a:lnTo>
                  <a:pt x="7060" y="7826"/>
                </a:lnTo>
                <a:lnTo>
                  <a:pt x="7078" y="7814"/>
                </a:lnTo>
                <a:lnTo>
                  <a:pt x="7100" y="7804"/>
                </a:lnTo>
                <a:lnTo>
                  <a:pt x="7121" y="7795"/>
                </a:lnTo>
                <a:lnTo>
                  <a:pt x="7146" y="7789"/>
                </a:lnTo>
                <a:lnTo>
                  <a:pt x="7167" y="7785"/>
                </a:lnTo>
                <a:lnTo>
                  <a:pt x="7185" y="7785"/>
                </a:lnTo>
                <a:lnTo>
                  <a:pt x="7199" y="7788"/>
                </a:lnTo>
                <a:lnTo>
                  <a:pt x="7194" y="7793"/>
                </a:lnTo>
                <a:lnTo>
                  <a:pt x="7191" y="7799"/>
                </a:lnTo>
                <a:lnTo>
                  <a:pt x="7190" y="7807"/>
                </a:lnTo>
                <a:lnTo>
                  <a:pt x="7189" y="7816"/>
                </a:lnTo>
                <a:lnTo>
                  <a:pt x="7188" y="7823"/>
                </a:lnTo>
                <a:lnTo>
                  <a:pt x="7186" y="7831"/>
                </a:lnTo>
                <a:lnTo>
                  <a:pt x="7181" y="7836"/>
                </a:lnTo>
                <a:lnTo>
                  <a:pt x="7175" y="7839"/>
                </a:lnTo>
                <a:lnTo>
                  <a:pt x="7155" y="7832"/>
                </a:lnTo>
                <a:lnTo>
                  <a:pt x="7135" y="7832"/>
                </a:lnTo>
                <a:lnTo>
                  <a:pt x="7118" y="7837"/>
                </a:lnTo>
                <a:lnTo>
                  <a:pt x="7101" y="7845"/>
                </a:lnTo>
                <a:lnTo>
                  <a:pt x="7068" y="7868"/>
                </a:lnTo>
                <a:lnTo>
                  <a:pt x="7036" y="7888"/>
                </a:lnTo>
                <a:lnTo>
                  <a:pt x="7104" y="7891"/>
                </a:lnTo>
                <a:lnTo>
                  <a:pt x="7165" y="7881"/>
                </a:lnTo>
                <a:lnTo>
                  <a:pt x="7222" y="7862"/>
                </a:lnTo>
                <a:lnTo>
                  <a:pt x="7274" y="7839"/>
                </a:lnTo>
                <a:lnTo>
                  <a:pt x="7324" y="7814"/>
                </a:lnTo>
                <a:lnTo>
                  <a:pt x="7368" y="7795"/>
                </a:lnTo>
                <a:lnTo>
                  <a:pt x="7412" y="7785"/>
                </a:lnTo>
                <a:lnTo>
                  <a:pt x="7451" y="7788"/>
                </a:lnTo>
                <a:lnTo>
                  <a:pt x="7453" y="7780"/>
                </a:lnTo>
                <a:lnTo>
                  <a:pt x="7451" y="7774"/>
                </a:lnTo>
                <a:lnTo>
                  <a:pt x="7447" y="7769"/>
                </a:lnTo>
                <a:lnTo>
                  <a:pt x="7444" y="7765"/>
                </a:lnTo>
                <a:lnTo>
                  <a:pt x="7435" y="7758"/>
                </a:lnTo>
                <a:lnTo>
                  <a:pt x="7427" y="7751"/>
                </a:lnTo>
                <a:lnTo>
                  <a:pt x="7449" y="7727"/>
                </a:lnTo>
                <a:lnTo>
                  <a:pt x="7474" y="7706"/>
                </a:lnTo>
                <a:lnTo>
                  <a:pt x="7503" y="7690"/>
                </a:lnTo>
                <a:lnTo>
                  <a:pt x="7535" y="7676"/>
                </a:lnTo>
                <a:lnTo>
                  <a:pt x="7567" y="7663"/>
                </a:lnTo>
                <a:lnTo>
                  <a:pt x="7600" y="7650"/>
                </a:lnTo>
                <a:lnTo>
                  <a:pt x="7633" y="7637"/>
                </a:lnTo>
                <a:lnTo>
                  <a:pt x="7666" y="7625"/>
                </a:lnTo>
                <a:lnTo>
                  <a:pt x="7666" y="7634"/>
                </a:lnTo>
                <a:lnTo>
                  <a:pt x="7668" y="7643"/>
                </a:lnTo>
                <a:lnTo>
                  <a:pt x="7670" y="7649"/>
                </a:lnTo>
                <a:lnTo>
                  <a:pt x="7674" y="7654"/>
                </a:lnTo>
                <a:lnTo>
                  <a:pt x="7679" y="7658"/>
                </a:lnTo>
                <a:lnTo>
                  <a:pt x="7686" y="7660"/>
                </a:lnTo>
                <a:lnTo>
                  <a:pt x="7694" y="7662"/>
                </a:lnTo>
                <a:lnTo>
                  <a:pt x="7703" y="7662"/>
                </a:lnTo>
                <a:lnTo>
                  <a:pt x="7711" y="7653"/>
                </a:lnTo>
                <a:lnTo>
                  <a:pt x="7715" y="7645"/>
                </a:lnTo>
                <a:lnTo>
                  <a:pt x="7715" y="7639"/>
                </a:lnTo>
                <a:lnTo>
                  <a:pt x="7714" y="7634"/>
                </a:lnTo>
                <a:lnTo>
                  <a:pt x="7703" y="7623"/>
                </a:lnTo>
                <a:lnTo>
                  <a:pt x="7692" y="7612"/>
                </a:lnTo>
                <a:lnTo>
                  <a:pt x="7734" y="7604"/>
                </a:lnTo>
                <a:lnTo>
                  <a:pt x="7776" y="7594"/>
                </a:lnTo>
                <a:lnTo>
                  <a:pt x="7815" y="7584"/>
                </a:lnTo>
                <a:lnTo>
                  <a:pt x="7854" y="7573"/>
                </a:lnTo>
                <a:lnTo>
                  <a:pt x="7892" y="7560"/>
                </a:lnTo>
                <a:lnTo>
                  <a:pt x="7930" y="7547"/>
                </a:lnTo>
                <a:lnTo>
                  <a:pt x="7968" y="7536"/>
                </a:lnTo>
                <a:lnTo>
                  <a:pt x="8006" y="7523"/>
                </a:lnTo>
                <a:lnTo>
                  <a:pt x="8014" y="7533"/>
                </a:lnTo>
                <a:lnTo>
                  <a:pt x="8018" y="7543"/>
                </a:lnTo>
                <a:lnTo>
                  <a:pt x="8019" y="7553"/>
                </a:lnTo>
                <a:lnTo>
                  <a:pt x="8017" y="7564"/>
                </a:lnTo>
                <a:lnTo>
                  <a:pt x="8012" y="7574"/>
                </a:lnTo>
                <a:lnTo>
                  <a:pt x="8006" y="7583"/>
                </a:lnTo>
                <a:lnTo>
                  <a:pt x="8000" y="7592"/>
                </a:lnTo>
                <a:lnTo>
                  <a:pt x="7994" y="7599"/>
                </a:lnTo>
                <a:lnTo>
                  <a:pt x="8028" y="7601"/>
                </a:lnTo>
                <a:lnTo>
                  <a:pt x="8066" y="7599"/>
                </a:lnTo>
                <a:lnTo>
                  <a:pt x="8106" y="7595"/>
                </a:lnTo>
                <a:lnTo>
                  <a:pt x="8145" y="7588"/>
                </a:lnTo>
                <a:lnTo>
                  <a:pt x="8182" y="7578"/>
                </a:lnTo>
                <a:lnTo>
                  <a:pt x="8215" y="7561"/>
                </a:lnTo>
                <a:lnTo>
                  <a:pt x="8242" y="7539"/>
                </a:lnTo>
                <a:lnTo>
                  <a:pt x="8259" y="7510"/>
                </a:lnTo>
                <a:lnTo>
                  <a:pt x="8238" y="7501"/>
                </a:lnTo>
                <a:lnTo>
                  <a:pt x="8219" y="7501"/>
                </a:lnTo>
                <a:lnTo>
                  <a:pt x="8203" y="7508"/>
                </a:lnTo>
                <a:lnTo>
                  <a:pt x="8187" y="7519"/>
                </a:lnTo>
                <a:lnTo>
                  <a:pt x="8172" y="7532"/>
                </a:lnTo>
                <a:lnTo>
                  <a:pt x="8157" y="7546"/>
                </a:lnTo>
                <a:lnTo>
                  <a:pt x="8139" y="7556"/>
                </a:lnTo>
                <a:lnTo>
                  <a:pt x="8120" y="7561"/>
                </a:lnTo>
                <a:lnTo>
                  <a:pt x="8107" y="7555"/>
                </a:lnTo>
                <a:lnTo>
                  <a:pt x="8094" y="7552"/>
                </a:lnTo>
                <a:lnTo>
                  <a:pt x="8083" y="7553"/>
                </a:lnTo>
                <a:lnTo>
                  <a:pt x="8073" y="7555"/>
                </a:lnTo>
                <a:lnTo>
                  <a:pt x="8065" y="7556"/>
                </a:lnTo>
                <a:lnTo>
                  <a:pt x="8056" y="7555"/>
                </a:lnTo>
                <a:lnTo>
                  <a:pt x="8050" y="7548"/>
                </a:lnTo>
                <a:lnTo>
                  <a:pt x="8045" y="7536"/>
                </a:lnTo>
                <a:lnTo>
                  <a:pt x="8096" y="7524"/>
                </a:lnTo>
                <a:lnTo>
                  <a:pt x="8139" y="7510"/>
                </a:lnTo>
                <a:lnTo>
                  <a:pt x="8177" y="7495"/>
                </a:lnTo>
                <a:lnTo>
                  <a:pt x="8213" y="7477"/>
                </a:lnTo>
                <a:lnTo>
                  <a:pt x="8247" y="7461"/>
                </a:lnTo>
                <a:lnTo>
                  <a:pt x="8284" y="7443"/>
                </a:lnTo>
                <a:lnTo>
                  <a:pt x="8325" y="7426"/>
                </a:lnTo>
                <a:lnTo>
                  <a:pt x="8372" y="7410"/>
                </a:lnTo>
                <a:lnTo>
                  <a:pt x="8372" y="7473"/>
                </a:lnTo>
                <a:lnTo>
                  <a:pt x="8437" y="7426"/>
                </a:lnTo>
                <a:lnTo>
                  <a:pt x="8507" y="7391"/>
                </a:lnTo>
                <a:lnTo>
                  <a:pt x="8581" y="7361"/>
                </a:lnTo>
                <a:lnTo>
                  <a:pt x="8657" y="7337"/>
                </a:lnTo>
                <a:lnTo>
                  <a:pt x="8735" y="7315"/>
                </a:lnTo>
                <a:lnTo>
                  <a:pt x="8813" y="7293"/>
                </a:lnTo>
                <a:lnTo>
                  <a:pt x="8890" y="7266"/>
                </a:lnTo>
                <a:lnTo>
                  <a:pt x="8965" y="7234"/>
                </a:lnTo>
                <a:lnTo>
                  <a:pt x="8983" y="7253"/>
                </a:lnTo>
                <a:lnTo>
                  <a:pt x="9002" y="7271"/>
                </a:lnTo>
                <a:lnTo>
                  <a:pt x="9004" y="7259"/>
                </a:lnTo>
                <a:lnTo>
                  <a:pt x="9006" y="7251"/>
                </a:lnTo>
                <a:lnTo>
                  <a:pt x="9011" y="7242"/>
                </a:lnTo>
                <a:lnTo>
                  <a:pt x="9016" y="7235"/>
                </a:lnTo>
                <a:lnTo>
                  <a:pt x="9024" y="7229"/>
                </a:lnTo>
                <a:lnTo>
                  <a:pt x="9032" y="7225"/>
                </a:lnTo>
                <a:lnTo>
                  <a:pt x="9042" y="7223"/>
                </a:lnTo>
                <a:lnTo>
                  <a:pt x="9053" y="7221"/>
                </a:lnTo>
                <a:lnTo>
                  <a:pt x="9085" y="7239"/>
                </a:lnTo>
                <a:lnTo>
                  <a:pt x="9116" y="7242"/>
                </a:lnTo>
                <a:lnTo>
                  <a:pt x="9148" y="7234"/>
                </a:lnTo>
                <a:lnTo>
                  <a:pt x="9179" y="7220"/>
                </a:lnTo>
                <a:lnTo>
                  <a:pt x="9214" y="7203"/>
                </a:lnTo>
                <a:lnTo>
                  <a:pt x="9249" y="7189"/>
                </a:lnTo>
                <a:lnTo>
                  <a:pt x="9289" y="7180"/>
                </a:lnTo>
                <a:lnTo>
                  <a:pt x="9331" y="7183"/>
                </a:lnTo>
                <a:lnTo>
                  <a:pt x="9369" y="7144"/>
                </a:lnTo>
                <a:lnTo>
                  <a:pt x="9420" y="7118"/>
                </a:lnTo>
                <a:lnTo>
                  <a:pt x="9482" y="7100"/>
                </a:lnTo>
                <a:lnTo>
                  <a:pt x="9549" y="7088"/>
                </a:lnTo>
                <a:lnTo>
                  <a:pt x="9615" y="7077"/>
                </a:lnTo>
                <a:lnTo>
                  <a:pt x="9677" y="7065"/>
                </a:lnTo>
                <a:lnTo>
                  <a:pt x="9732" y="7047"/>
                </a:lnTo>
                <a:lnTo>
                  <a:pt x="9772" y="7019"/>
                </a:lnTo>
                <a:lnTo>
                  <a:pt x="9774" y="7026"/>
                </a:lnTo>
                <a:lnTo>
                  <a:pt x="9777" y="7033"/>
                </a:lnTo>
                <a:lnTo>
                  <a:pt x="9782" y="7038"/>
                </a:lnTo>
                <a:lnTo>
                  <a:pt x="9787" y="7042"/>
                </a:lnTo>
                <a:lnTo>
                  <a:pt x="9794" y="7044"/>
                </a:lnTo>
                <a:lnTo>
                  <a:pt x="9802" y="7046"/>
                </a:lnTo>
                <a:lnTo>
                  <a:pt x="9812" y="7046"/>
                </a:lnTo>
                <a:lnTo>
                  <a:pt x="9823" y="7044"/>
                </a:lnTo>
                <a:lnTo>
                  <a:pt x="9824" y="7021"/>
                </a:lnTo>
                <a:lnTo>
                  <a:pt x="9831" y="7010"/>
                </a:lnTo>
                <a:lnTo>
                  <a:pt x="9843" y="7006"/>
                </a:lnTo>
                <a:lnTo>
                  <a:pt x="9859" y="7009"/>
                </a:lnTo>
                <a:lnTo>
                  <a:pt x="9877" y="7014"/>
                </a:lnTo>
                <a:lnTo>
                  <a:pt x="9898" y="7019"/>
                </a:lnTo>
                <a:lnTo>
                  <a:pt x="9917" y="7023"/>
                </a:lnTo>
                <a:lnTo>
                  <a:pt x="9936" y="7019"/>
                </a:lnTo>
                <a:lnTo>
                  <a:pt x="10024" y="6965"/>
                </a:lnTo>
                <a:lnTo>
                  <a:pt x="10127" y="6927"/>
                </a:lnTo>
                <a:lnTo>
                  <a:pt x="10241" y="6899"/>
                </a:lnTo>
                <a:lnTo>
                  <a:pt x="10362" y="6878"/>
                </a:lnTo>
                <a:lnTo>
                  <a:pt x="10485" y="6856"/>
                </a:lnTo>
                <a:lnTo>
                  <a:pt x="10603" y="6830"/>
                </a:lnTo>
                <a:lnTo>
                  <a:pt x="10711" y="6794"/>
                </a:lnTo>
                <a:lnTo>
                  <a:pt x="10806" y="6741"/>
                </a:lnTo>
                <a:lnTo>
                  <a:pt x="10818" y="6758"/>
                </a:lnTo>
                <a:lnTo>
                  <a:pt x="10831" y="6766"/>
                </a:lnTo>
                <a:lnTo>
                  <a:pt x="10844" y="6764"/>
                </a:lnTo>
                <a:lnTo>
                  <a:pt x="10857" y="6758"/>
                </a:lnTo>
                <a:lnTo>
                  <a:pt x="10882" y="6736"/>
                </a:lnTo>
                <a:lnTo>
                  <a:pt x="10906" y="6717"/>
                </a:lnTo>
                <a:lnTo>
                  <a:pt x="10905" y="6727"/>
                </a:lnTo>
                <a:lnTo>
                  <a:pt x="10908" y="6735"/>
                </a:lnTo>
                <a:lnTo>
                  <a:pt x="10911" y="6740"/>
                </a:lnTo>
                <a:lnTo>
                  <a:pt x="10918" y="6744"/>
                </a:lnTo>
                <a:lnTo>
                  <a:pt x="10925" y="6745"/>
                </a:lnTo>
                <a:lnTo>
                  <a:pt x="10933" y="6748"/>
                </a:lnTo>
                <a:lnTo>
                  <a:pt x="10939" y="6750"/>
                </a:lnTo>
                <a:lnTo>
                  <a:pt x="10944" y="6754"/>
                </a:lnTo>
                <a:lnTo>
                  <a:pt x="10944" y="6732"/>
                </a:lnTo>
                <a:lnTo>
                  <a:pt x="10951" y="6717"/>
                </a:lnTo>
                <a:lnTo>
                  <a:pt x="10961" y="6704"/>
                </a:lnTo>
                <a:lnTo>
                  <a:pt x="10974" y="6696"/>
                </a:lnTo>
                <a:lnTo>
                  <a:pt x="11004" y="6682"/>
                </a:lnTo>
                <a:lnTo>
                  <a:pt x="11032" y="6666"/>
                </a:lnTo>
                <a:lnTo>
                  <a:pt x="11031" y="6674"/>
                </a:lnTo>
                <a:lnTo>
                  <a:pt x="11027" y="6680"/>
                </a:lnTo>
                <a:lnTo>
                  <a:pt x="11022" y="6684"/>
                </a:lnTo>
                <a:lnTo>
                  <a:pt x="11017" y="6688"/>
                </a:lnTo>
                <a:lnTo>
                  <a:pt x="11012" y="6692"/>
                </a:lnTo>
                <a:lnTo>
                  <a:pt x="11008" y="6698"/>
                </a:lnTo>
                <a:lnTo>
                  <a:pt x="11006" y="6706"/>
                </a:lnTo>
                <a:lnTo>
                  <a:pt x="11008" y="6717"/>
                </a:lnTo>
                <a:lnTo>
                  <a:pt x="11067" y="6683"/>
                </a:lnTo>
                <a:lnTo>
                  <a:pt x="11130" y="6659"/>
                </a:lnTo>
                <a:lnTo>
                  <a:pt x="11195" y="6642"/>
                </a:lnTo>
                <a:lnTo>
                  <a:pt x="11260" y="6628"/>
                </a:lnTo>
                <a:lnTo>
                  <a:pt x="11327" y="6614"/>
                </a:lnTo>
                <a:lnTo>
                  <a:pt x="11391" y="6598"/>
                </a:lnTo>
                <a:lnTo>
                  <a:pt x="11453" y="6573"/>
                </a:lnTo>
                <a:lnTo>
                  <a:pt x="11512" y="6540"/>
                </a:lnTo>
                <a:lnTo>
                  <a:pt x="11487" y="6525"/>
                </a:lnTo>
                <a:lnTo>
                  <a:pt x="11460" y="6520"/>
                </a:lnTo>
                <a:lnTo>
                  <a:pt x="11431" y="6524"/>
                </a:lnTo>
                <a:lnTo>
                  <a:pt x="11402" y="6534"/>
                </a:lnTo>
                <a:lnTo>
                  <a:pt x="11371" y="6548"/>
                </a:lnTo>
                <a:lnTo>
                  <a:pt x="11341" y="6561"/>
                </a:lnTo>
                <a:lnTo>
                  <a:pt x="11313" y="6572"/>
                </a:lnTo>
                <a:lnTo>
                  <a:pt x="11284" y="6578"/>
                </a:lnTo>
                <a:lnTo>
                  <a:pt x="11277" y="6578"/>
                </a:lnTo>
                <a:lnTo>
                  <a:pt x="11270" y="6576"/>
                </a:lnTo>
                <a:lnTo>
                  <a:pt x="11264" y="6573"/>
                </a:lnTo>
                <a:lnTo>
                  <a:pt x="11259" y="6571"/>
                </a:lnTo>
                <a:lnTo>
                  <a:pt x="11254" y="6568"/>
                </a:lnTo>
                <a:lnTo>
                  <a:pt x="11248" y="6566"/>
                </a:lnTo>
                <a:lnTo>
                  <a:pt x="11241" y="6564"/>
                </a:lnTo>
                <a:lnTo>
                  <a:pt x="11235" y="6566"/>
                </a:lnTo>
                <a:lnTo>
                  <a:pt x="11208" y="6575"/>
                </a:lnTo>
                <a:lnTo>
                  <a:pt x="11180" y="6589"/>
                </a:lnTo>
                <a:lnTo>
                  <a:pt x="11151" y="6605"/>
                </a:lnTo>
                <a:lnTo>
                  <a:pt x="11121" y="6622"/>
                </a:lnTo>
                <a:lnTo>
                  <a:pt x="11093" y="6636"/>
                </a:lnTo>
                <a:lnTo>
                  <a:pt x="11064" y="6647"/>
                </a:lnTo>
                <a:lnTo>
                  <a:pt x="11036" y="6655"/>
                </a:lnTo>
                <a:lnTo>
                  <a:pt x="11008" y="6654"/>
                </a:lnTo>
                <a:lnTo>
                  <a:pt x="11000" y="6652"/>
                </a:lnTo>
                <a:lnTo>
                  <a:pt x="10995" y="6652"/>
                </a:lnTo>
                <a:lnTo>
                  <a:pt x="10993" y="6654"/>
                </a:lnTo>
                <a:lnTo>
                  <a:pt x="10989" y="6655"/>
                </a:lnTo>
                <a:lnTo>
                  <a:pt x="10979" y="6660"/>
                </a:lnTo>
                <a:lnTo>
                  <a:pt x="10957" y="6666"/>
                </a:lnTo>
                <a:lnTo>
                  <a:pt x="10928" y="6671"/>
                </a:lnTo>
                <a:lnTo>
                  <a:pt x="10895" y="6675"/>
                </a:lnTo>
                <a:lnTo>
                  <a:pt x="10859" y="6678"/>
                </a:lnTo>
                <a:lnTo>
                  <a:pt x="10823" y="6682"/>
                </a:lnTo>
                <a:lnTo>
                  <a:pt x="10789" y="6688"/>
                </a:lnTo>
                <a:lnTo>
                  <a:pt x="10756" y="6699"/>
                </a:lnTo>
                <a:lnTo>
                  <a:pt x="10728" y="6716"/>
                </a:lnTo>
                <a:lnTo>
                  <a:pt x="10705" y="6741"/>
                </a:lnTo>
                <a:lnTo>
                  <a:pt x="10654" y="6732"/>
                </a:lnTo>
                <a:lnTo>
                  <a:pt x="10596" y="6741"/>
                </a:lnTo>
                <a:lnTo>
                  <a:pt x="10531" y="6762"/>
                </a:lnTo>
                <a:lnTo>
                  <a:pt x="10464" y="6786"/>
                </a:lnTo>
                <a:lnTo>
                  <a:pt x="10397" y="6810"/>
                </a:lnTo>
                <a:lnTo>
                  <a:pt x="10333" y="6825"/>
                </a:lnTo>
                <a:lnTo>
                  <a:pt x="10276" y="6825"/>
                </a:lnTo>
                <a:lnTo>
                  <a:pt x="10226" y="6805"/>
                </a:lnTo>
                <a:lnTo>
                  <a:pt x="10261" y="6801"/>
                </a:lnTo>
                <a:lnTo>
                  <a:pt x="10296" y="6794"/>
                </a:lnTo>
                <a:lnTo>
                  <a:pt x="10333" y="6782"/>
                </a:lnTo>
                <a:lnTo>
                  <a:pt x="10370" y="6768"/>
                </a:lnTo>
                <a:lnTo>
                  <a:pt x="10408" y="6753"/>
                </a:lnTo>
                <a:lnTo>
                  <a:pt x="10444" y="6736"/>
                </a:lnTo>
                <a:lnTo>
                  <a:pt x="10481" y="6720"/>
                </a:lnTo>
                <a:lnTo>
                  <a:pt x="10515" y="6704"/>
                </a:lnTo>
                <a:lnTo>
                  <a:pt x="10513" y="6721"/>
                </a:lnTo>
                <a:lnTo>
                  <a:pt x="10522" y="6729"/>
                </a:lnTo>
                <a:lnTo>
                  <a:pt x="10538" y="6729"/>
                </a:lnTo>
                <a:lnTo>
                  <a:pt x="10560" y="6724"/>
                </a:lnTo>
                <a:lnTo>
                  <a:pt x="10583" y="6715"/>
                </a:lnTo>
                <a:lnTo>
                  <a:pt x="10604" y="6703"/>
                </a:lnTo>
                <a:lnTo>
                  <a:pt x="10621" y="6690"/>
                </a:lnTo>
                <a:lnTo>
                  <a:pt x="10629" y="6679"/>
                </a:lnTo>
                <a:lnTo>
                  <a:pt x="10697" y="6682"/>
                </a:lnTo>
                <a:lnTo>
                  <a:pt x="10761" y="6670"/>
                </a:lnTo>
                <a:lnTo>
                  <a:pt x="10822" y="6650"/>
                </a:lnTo>
                <a:lnTo>
                  <a:pt x="10880" y="6623"/>
                </a:lnTo>
                <a:lnTo>
                  <a:pt x="10936" y="6592"/>
                </a:lnTo>
                <a:lnTo>
                  <a:pt x="10992" y="6563"/>
                </a:lnTo>
                <a:lnTo>
                  <a:pt x="11049" y="6535"/>
                </a:lnTo>
                <a:lnTo>
                  <a:pt x="11109" y="6515"/>
                </a:lnTo>
                <a:lnTo>
                  <a:pt x="11104" y="6530"/>
                </a:lnTo>
                <a:lnTo>
                  <a:pt x="11095" y="6540"/>
                </a:lnTo>
                <a:lnTo>
                  <a:pt x="11085" y="6548"/>
                </a:lnTo>
                <a:lnTo>
                  <a:pt x="11072" y="6554"/>
                </a:lnTo>
                <a:lnTo>
                  <a:pt x="11059" y="6559"/>
                </a:lnTo>
                <a:lnTo>
                  <a:pt x="11048" y="6567"/>
                </a:lnTo>
                <a:lnTo>
                  <a:pt x="11039" y="6577"/>
                </a:lnTo>
                <a:lnTo>
                  <a:pt x="11032" y="6591"/>
                </a:lnTo>
                <a:lnTo>
                  <a:pt x="11062" y="6577"/>
                </a:lnTo>
                <a:lnTo>
                  <a:pt x="11088" y="6568"/>
                </a:lnTo>
                <a:lnTo>
                  <a:pt x="11114" y="6561"/>
                </a:lnTo>
                <a:lnTo>
                  <a:pt x="11138" y="6553"/>
                </a:lnTo>
                <a:lnTo>
                  <a:pt x="11162" y="6545"/>
                </a:lnTo>
                <a:lnTo>
                  <a:pt x="11186" y="6535"/>
                </a:lnTo>
                <a:lnTo>
                  <a:pt x="11211" y="6521"/>
                </a:lnTo>
                <a:lnTo>
                  <a:pt x="11235" y="6502"/>
                </a:lnTo>
                <a:lnTo>
                  <a:pt x="11235" y="6508"/>
                </a:lnTo>
                <a:lnTo>
                  <a:pt x="11237" y="6512"/>
                </a:lnTo>
                <a:lnTo>
                  <a:pt x="11240" y="6516"/>
                </a:lnTo>
                <a:lnTo>
                  <a:pt x="11242" y="6520"/>
                </a:lnTo>
                <a:lnTo>
                  <a:pt x="11245" y="6524"/>
                </a:lnTo>
                <a:lnTo>
                  <a:pt x="11246" y="6527"/>
                </a:lnTo>
                <a:lnTo>
                  <a:pt x="11248" y="6534"/>
                </a:lnTo>
                <a:lnTo>
                  <a:pt x="11248" y="6540"/>
                </a:lnTo>
                <a:lnTo>
                  <a:pt x="11263" y="6536"/>
                </a:lnTo>
                <a:lnTo>
                  <a:pt x="11277" y="6530"/>
                </a:lnTo>
                <a:lnTo>
                  <a:pt x="11290" y="6521"/>
                </a:lnTo>
                <a:lnTo>
                  <a:pt x="11300" y="6511"/>
                </a:lnTo>
                <a:lnTo>
                  <a:pt x="11319" y="6489"/>
                </a:lnTo>
                <a:lnTo>
                  <a:pt x="11335" y="6465"/>
                </a:lnTo>
                <a:lnTo>
                  <a:pt x="11353" y="6475"/>
                </a:lnTo>
                <a:lnTo>
                  <a:pt x="11372" y="6475"/>
                </a:lnTo>
                <a:lnTo>
                  <a:pt x="11393" y="6469"/>
                </a:lnTo>
                <a:lnTo>
                  <a:pt x="11413" y="6459"/>
                </a:lnTo>
                <a:lnTo>
                  <a:pt x="11432" y="6450"/>
                </a:lnTo>
                <a:lnTo>
                  <a:pt x="11451" y="6442"/>
                </a:lnTo>
                <a:lnTo>
                  <a:pt x="11469" y="6442"/>
                </a:lnTo>
                <a:lnTo>
                  <a:pt x="11487" y="6452"/>
                </a:lnTo>
                <a:lnTo>
                  <a:pt x="11478" y="6463"/>
                </a:lnTo>
                <a:lnTo>
                  <a:pt x="11465" y="6469"/>
                </a:lnTo>
                <a:lnTo>
                  <a:pt x="11450" y="6471"/>
                </a:lnTo>
                <a:lnTo>
                  <a:pt x="11433" y="6474"/>
                </a:lnTo>
                <a:lnTo>
                  <a:pt x="11417" y="6477"/>
                </a:lnTo>
                <a:lnTo>
                  <a:pt x="11403" y="6482"/>
                </a:lnTo>
                <a:lnTo>
                  <a:pt x="11391" y="6489"/>
                </a:lnTo>
                <a:lnTo>
                  <a:pt x="11386" y="6502"/>
                </a:lnTo>
                <a:lnTo>
                  <a:pt x="11446" y="6485"/>
                </a:lnTo>
                <a:lnTo>
                  <a:pt x="11501" y="6469"/>
                </a:lnTo>
                <a:lnTo>
                  <a:pt x="11521" y="6460"/>
                </a:lnTo>
                <a:lnTo>
                  <a:pt x="11538" y="6449"/>
                </a:lnTo>
                <a:lnTo>
                  <a:pt x="11548" y="6433"/>
                </a:lnTo>
                <a:lnTo>
                  <a:pt x="11549" y="6414"/>
                </a:lnTo>
                <a:lnTo>
                  <a:pt x="11561" y="6418"/>
                </a:lnTo>
                <a:lnTo>
                  <a:pt x="11570" y="6422"/>
                </a:lnTo>
                <a:lnTo>
                  <a:pt x="11579" y="6428"/>
                </a:lnTo>
                <a:lnTo>
                  <a:pt x="11586" y="6435"/>
                </a:lnTo>
                <a:lnTo>
                  <a:pt x="11595" y="6440"/>
                </a:lnTo>
                <a:lnTo>
                  <a:pt x="11607" y="6442"/>
                </a:lnTo>
                <a:lnTo>
                  <a:pt x="11621" y="6443"/>
                </a:lnTo>
                <a:lnTo>
                  <a:pt x="11639" y="6440"/>
                </a:lnTo>
                <a:lnTo>
                  <a:pt x="11640" y="6426"/>
                </a:lnTo>
                <a:lnTo>
                  <a:pt x="11637" y="6415"/>
                </a:lnTo>
                <a:lnTo>
                  <a:pt x="11635" y="6408"/>
                </a:lnTo>
                <a:lnTo>
                  <a:pt x="11632" y="6401"/>
                </a:lnTo>
                <a:lnTo>
                  <a:pt x="11630" y="6396"/>
                </a:lnTo>
                <a:lnTo>
                  <a:pt x="11630" y="6391"/>
                </a:lnTo>
                <a:lnTo>
                  <a:pt x="11631" y="6385"/>
                </a:lnTo>
                <a:lnTo>
                  <a:pt x="11639" y="6376"/>
                </a:lnTo>
                <a:lnTo>
                  <a:pt x="11673" y="6377"/>
                </a:lnTo>
                <a:lnTo>
                  <a:pt x="11709" y="6377"/>
                </a:lnTo>
                <a:lnTo>
                  <a:pt x="11742" y="6376"/>
                </a:lnTo>
                <a:lnTo>
                  <a:pt x="11772" y="6372"/>
                </a:lnTo>
                <a:lnTo>
                  <a:pt x="11799" y="6365"/>
                </a:lnTo>
                <a:lnTo>
                  <a:pt x="11823" y="6353"/>
                </a:lnTo>
                <a:lnTo>
                  <a:pt x="11841" y="6337"/>
                </a:lnTo>
                <a:lnTo>
                  <a:pt x="11852" y="6314"/>
                </a:lnTo>
                <a:lnTo>
                  <a:pt x="11870" y="6317"/>
                </a:lnTo>
                <a:lnTo>
                  <a:pt x="11886" y="6320"/>
                </a:lnTo>
                <a:lnTo>
                  <a:pt x="11898" y="6320"/>
                </a:lnTo>
                <a:lnTo>
                  <a:pt x="11910" y="6316"/>
                </a:lnTo>
                <a:lnTo>
                  <a:pt x="11919" y="6311"/>
                </a:lnTo>
                <a:lnTo>
                  <a:pt x="11928" y="6303"/>
                </a:lnTo>
                <a:lnTo>
                  <a:pt x="11934" y="6291"/>
                </a:lnTo>
                <a:lnTo>
                  <a:pt x="11940" y="6275"/>
                </a:lnTo>
                <a:lnTo>
                  <a:pt x="11929" y="6275"/>
                </a:lnTo>
                <a:lnTo>
                  <a:pt x="11917" y="6274"/>
                </a:lnTo>
                <a:lnTo>
                  <a:pt x="11912" y="6273"/>
                </a:lnTo>
                <a:lnTo>
                  <a:pt x="11907" y="6270"/>
                </a:lnTo>
                <a:lnTo>
                  <a:pt x="11905" y="6268"/>
                </a:lnTo>
                <a:lnTo>
                  <a:pt x="11903" y="6263"/>
                </a:lnTo>
                <a:lnTo>
                  <a:pt x="11917" y="6263"/>
                </a:lnTo>
                <a:lnTo>
                  <a:pt x="11931" y="6260"/>
                </a:lnTo>
                <a:lnTo>
                  <a:pt x="11937" y="6258"/>
                </a:lnTo>
                <a:lnTo>
                  <a:pt x="11940" y="6253"/>
                </a:lnTo>
                <a:lnTo>
                  <a:pt x="11942" y="6246"/>
                </a:lnTo>
                <a:lnTo>
                  <a:pt x="11940" y="6237"/>
                </a:lnTo>
                <a:lnTo>
                  <a:pt x="11938" y="6223"/>
                </a:lnTo>
                <a:lnTo>
                  <a:pt x="11933" y="6218"/>
                </a:lnTo>
                <a:lnTo>
                  <a:pt x="11926" y="6217"/>
                </a:lnTo>
                <a:lnTo>
                  <a:pt x="11919" y="6219"/>
                </a:lnTo>
                <a:lnTo>
                  <a:pt x="11910" y="6223"/>
                </a:lnTo>
                <a:lnTo>
                  <a:pt x="11902" y="6225"/>
                </a:lnTo>
                <a:lnTo>
                  <a:pt x="11896" y="6222"/>
                </a:lnTo>
                <a:lnTo>
                  <a:pt x="11891" y="6213"/>
                </a:lnTo>
                <a:lnTo>
                  <a:pt x="11906" y="6209"/>
                </a:lnTo>
                <a:lnTo>
                  <a:pt x="11923" y="6204"/>
                </a:lnTo>
                <a:lnTo>
                  <a:pt x="11940" y="6197"/>
                </a:lnTo>
                <a:lnTo>
                  <a:pt x="11957" y="6188"/>
                </a:lnTo>
                <a:lnTo>
                  <a:pt x="11973" y="6181"/>
                </a:lnTo>
                <a:lnTo>
                  <a:pt x="11989" y="6179"/>
                </a:lnTo>
                <a:lnTo>
                  <a:pt x="12004" y="6180"/>
                </a:lnTo>
                <a:lnTo>
                  <a:pt x="12017" y="6188"/>
                </a:lnTo>
                <a:lnTo>
                  <a:pt x="12014" y="6195"/>
                </a:lnTo>
                <a:lnTo>
                  <a:pt x="12012" y="6202"/>
                </a:lnTo>
                <a:lnTo>
                  <a:pt x="12007" y="6207"/>
                </a:lnTo>
                <a:lnTo>
                  <a:pt x="12000" y="6209"/>
                </a:lnTo>
                <a:lnTo>
                  <a:pt x="11994" y="6212"/>
                </a:lnTo>
                <a:lnTo>
                  <a:pt x="11985" y="6213"/>
                </a:lnTo>
                <a:lnTo>
                  <a:pt x="11976" y="6213"/>
                </a:lnTo>
                <a:lnTo>
                  <a:pt x="11966" y="6213"/>
                </a:lnTo>
                <a:lnTo>
                  <a:pt x="11966" y="6230"/>
                </a:lnTo>
                <a:lnTo>
                  <a:pt x="11967" y="6242"/>
                </a:lnTo>
                <a:lnTo>
                  <a:pt x="11968" y="6254"/>
                </a:lnTo>
                <a:lnTo>
                  <a:pt x="11971" y="6261"/>
                </a:lnTo>
                <a:lnTo>
                  <a:pt x="11972" y="6269"/>
                </a:lnTo>
                <a:lnTo>
                  <a:pt x="11972" y="6278"/>
                </a:lnTo>
                <a:lnTo>
                  <a:pt x="11971" y="6288"/>
                </a:lnTo>
                <a:lnTo>
                  <a:pt x="11966" y="6301"/>
                </a:lnTo>
                <a:lnTo>
                  <a:pt x="11991" y="6300"/>
                </a:lnTo>
                <a:lnTo>
                  <a:pt x="12017" y="6295"/>
                </a:lnTo>
                <a:lnTo>
                  <a:pt x="12041" y="6287"/>
                </a:lnTo>
                <a:lnTo>
                  <a:pt x="12065" y="6277"/>
                </a:lnTo>
                <a:lnTo>
                  <a:pt x="12087" y="6269"/>
                </a:lnTo>
                <a:lnTo>
                  <a:pt x="12108" y="6263"/>
                </a:lnTo>
                <a:lnTo>
                  <a:pt x="12126" y="6260"/>
                </a:lnTo>
                <a:lnTo>
                  <a:pt x="12143" y="6263"/>
                </a:lnTo>
                <a:lnTo>
                  <a:pt x="12139" y="6274"/>
                </a:lnTo>
                <a:lnTo>
                  <a:pt x="12133" y="6282"/>
                </a:lnTo>
                <a:lnTo>
                  <a:pt x="12124" y="6287"/>
                </a:lnTo>
                <a:lnTo>
                  <a:pt x="12114" y="6291"/>
                </a:lnTo>
                <a:lnTo>
                  <a:pt x="12102" y="6295"/>
                </a:lnTo>
                <a:lnTo>
                  <a:pt x="12093" y="6298"/>
                </a:lnTo>
                <a:lnTo>
                  <a:pt x="12084" y="6305"/>
                </a:lnTo>
                <a:lnTo>
                  <a:pt x="12079" y="6314"/>
                </a:lnTo>
                <a:lnTo>
                  <a:pt x="12133" y="6303"/>
                </a:lnTo>
                <a:lnTo>
                  <a:pt x="12185" y="6293"/>
                </a:lnTo>
                <a:lnTo>
                  <a:pt x="12209" y="6286"/>
                </a:lnTo>
                <a:lnTo>
                  <a:pt x="12229" y="6274"/>
                </a:lnTo>
                <a:lnTo>
                  <a:pt x="12246" y="6259"/>
                </a:lnTo>
                <a:lnTo>
                  <a:pt x="12256" y="6237"/>
                </a:lnTo>
                <a:lnTo>
                  <a:pt x="12255" y="6249"/>
                </a:lnTo>
                <a:lnTo>
                  <a:pt x="12256" y="6256"/>
                </a:lnTo>
                <a:lnTo>
                  <a:pt x="12261" y="6261"/>
                </a:lnTo>
                <a:lnTo>
                  <a:pt x="12268" y="6264"/>
                </a:lnTo>
                <a:lnTo>
                  <a:pt x="12274" y="6267"/>
                </a:lnTo>
                <a:lnTo>
                  <a:pt x="12282" y="6269"/>
                </a:lnTo>
                <a:lnTo>
                  <a:pt x="12288" y="6272"/>
                </a:lnTo>
                <a:lnTo>
                  <a:pt x="12293" y="6275"/>
                </a:lnTo>
                <a:lnTo>
                  <a:pt x="12313" y="6241"/>
                </a:lnTo>
                <a:lnTo>
                  <a:pt x="12343" y="6217"/>
                </a:lnTo>
                <a:lnTo>
                  <a:pt x="12380" y="6200"/>
                </a:lnTo>
                <a:lnTo>
                  <a:pt x="12422" y="6189"/>
                </a:lnTo>
                <a:lnTo>
                  <a:pt x="12465" y="6179"/>
                </a:lnTo>
                <a:lnTo>
                  <a:pt x="12508" y="6169"/>
                </a:lnTo>
                <a:lnTo>
                  <a:pt x="12549" y="6156"/>
                </a:lnTo>
                <a:lnTo>
                  <a:pt x="12583" y="6137"/>
                </a:lnTo>
                <a:lnTo>
                  <a:pt x="12583" y="6146"/>
                </a:lnTo>
                <a:lnTo>
                  <a:pt x="12582" y="6152"/>
                </a:lnTo>
                <a:lnTo>
                  <a:pt x="12581" y="6157"/>
                </a:lnTo>
                <a:lnTo>
                  <a:pt x="12578" y="6162"/>
                </a:lnTo>
                <a:lnTo>
                  <a:pt x="12575" y="6167"/>
                </a:lnTo>
                <a:lnTo>
                  <a:pt x="12573" y="6174"/>
                </a:lnTo>
                <a:lnTo>
                  <a:pt x="12571" y="6180"/>
                </a:lnTo>
                <a:lnTo>
                  <a:pt x="12571" y="6188"/>
                </a:lnTo>
                <a:lnTo>
                  <a:pt x="12589" y="6186"/>
                </a:lnTo>
                <a:lnTo>
                  <a:pt x="12606" y="6185"/>
                </a:lnTo>
                <a:lnTo>
                  <a:pt x="12623" y="6183"/>
                </a:lnTo>
                <a:lnTo>
                  <a:pt x="12638" y="6179"/>
                </a:lnTo>
                <a:lnTo>
                  <a:pt x="12651" y="6174"/>
                </a:lnTo>
                <a:lnTo>
                  <a:pt x="12662" y="6165"/>
                </a:lnTo>
                <a:lnTo>
                  <a:pt x="12669" y="6153"/>
                </a:lnTo>
                <a:lnTo>
                  <a:pt x="12671" y="6137"/>
                </a:lnTo>
                <a:lnTo>
                  <a:pt x="12651" y="6142"/>
                </a:lnTo>
                <a:lnTo>
                  <a:pt x="12636" y="6144"/>
                </a:lnTo>
                <a:lnTo>
                  <a:pt x="12629" y="6142"/>
                </a:lnTo>
                <a:lnTo>
                  <a:pt x="12625" y="6137"/>
                </a:lnTo>
                <a:lnTo>
                  <a:pt x="12623" y="6127"/>
                </a:lnTo>
                <a:lnTo>
                  <a:pt x="12622" y="6111"/>
                </a:lnTo>
                <a:lnTo>
                  <a:pt x="12666" y="6106"/>
                </a:lnTo>
                <a:lnTo>
                  <a:pt x="12711" y="6101"/>
                </a:lnTo>
                <a:lnTo>
                  <a:pt x="12755" y="6095"/>
                </a:lnTo>
                <a:lnTo>
                  <a:pt x="12799" y="6087"/>
                </a:lnTo>
                <a:lnTo>
                  <a:pt x="12839" y="6078"/>
                </a:lnTo>
                <a:lnTo>
                  <a:pt x="12879" y="6067"/>
                </a:lnTo>
                <a:lnTo>
                  <a:pt x="12916" y="6053"/>
                </a:lnTo>
                <a:lnTo>
                  <a:pt x="12949" y="6036"/>
                </a:lnTo>
                <a:lnTo>
                  <a:pt x="12948" y="6023"/>
                </a:lnTo>
                <a:lnTo>
                  <a:pt x="12948" y="6012"/>
                </a:lnTo>
                <a:lnTo>
                  <a:pt x="12949" y="6003"/>
                </a:lnTo>
                <a:lnTo>
                  <a:pt x="12953" y="5995"/>
                </a:lnTo>
                <a:lnTo>
                  <a:pt x="12955" y="5988"/>
                </a:lnTo>
                <a:lnTo>
                  <a:pt x="12959" y="5979"/>
                </a:lnTo>
                <a:lnTo>
                  <a:pt x="12962" y="5971"/>
                </a:lnTo>
                <a:lnTo>
                  <a:pt x="12962" y="5961"/>
                </a:lnTo>
                <a:lnTo>
                  <a:pt x="12943" y="5958"/>
                </a:lnTo>
                <a:lnTo>
                  <a:pt x="12929" y="5962"/>
                </a:lnTo>
                <a:lnTo>
                  <a:pt x="12920" y="5970"/>
                </a:lnTo>
                <a:lnTo>
                  <a:pt x="12912" y="5980"/>
                </a:lnTo>
                <a:lnTo>
                  <a:pt x="12906" y="5990"/>
                </a:lnTo>
                <a:lnTo>
                  <a:pt x="12898" y="6001"/>
                </a:lnTo>
                <a:lnTo>
                  <a:pt x="12888" y="6008"/>
                </a:lnTo>
                <a:lnTo>
                  <a:pt x="12874" y="6011"/>
                </a:lnTo>
                <a:lnTo>
                  <a:pt x="12864" y="5997"/>
                </a:lnTo>
                <a:lnTo>
                  <a:pt x="12851" y="5988"/>
                </a:lnTo>
                <a:lnTo>
                  <a:pt x="12837" y="5985"/>
                </a:lnTo>
                <a:lnTo>
                  <a:pt x="12820" y="5988"/>
                </a:lnTo>
                <a:lnTo>
                  <a:pt x="12805" y="5992"/>
                </a:lnTo>
                <a:lnTo>
                  <a:pt x="12788" y="5998"/>
                </a:lnTo>
                <a:lnTo>
                  <a:pt x="12773" y="6006"/>
                </a:lnTo>
                <a:lnTo>
                  <a:pt x="12760" y="6011"/>
                </a:lnTo>
                <a:lnTo>
                  <a:pt x="12786" y="5990"/>
                </a:lnTo>
                <a:lnTo>
                  <a:pt x="12814" y="5975"/>
                </a:lnTo>
                <a:lnTo>
                  <a:pt x="12845" y="5964"/>
                </a:lnTo>
                <a:lnTo>
                  <a:pt x="12875" y="5953"/>
                </a:lnTo>
                <a:lnTo>
                  <a:pt x="12907" y="5946"/>
                </a:lnTo>
                <a:lnTo>
                  <a:pt x="12939" y="5939"/>
                </a:lnTo>
                <a:lnTo>
                  <a:pt x="12971" y="5932"/>
                </a:lnTo>
                <a:lnTo>
                  <a:pt x="13000" y="5923"/>
                </a:lnTo>
                <a:lnTo>
                  <a:pt x="13005" y="5911"/>
                </a:lnTo>
                <a:lnTo>
                  <a:pt x="13008" y="5899"/>
                </a:lnTo>
                <a:lnTo>
                  <a:pt x="13006" y="5886"/>
                </a:lnTo>
                <a:lnTo>
                  <a:pt x="13005" y="5872"/>
                </a:lnTo>
                <a:lnTo>
                  <a:pt x="13004" y="5858"/>
                </a:lnTo>
                <a:lnTo>
                  <a:pt x="13004" y="5845"/>
                </a:lnTo>
                <a:lnTo>
                  <a:pt x="13006" y="5832"/>
                </a:lnTo>
                <a:lnTo>
                  <a:pt x="13013" y="5822"/>
                </a:lnTo>
                <a:lnTo>
                  <a:pt x="13027" y="5831"/>
                </a:lnTo>
                <a:lnTo>
                  <a:pt x="13037" y="5841"/>
                </a:lnTo>
                <a:lnTo>
                  <a:pt x="13044" y="5852"/>
                </a:lnTo>
                <a:lnTo>
                  <a:pt x="13051" y="5863"/>
                </a:lnTo>
                <a:lnTo>
                  <a:pt x="13058" y="5886"/>
                </a:lnTo>
                <a:lnTo>
                  <a:pt x="13062" y="5910"/>
                </a:lnTo>
                <a:lnTo>
                  <a:pt x="13075" y="5908"/>
                </a:lnTo>
                <a:lnTo>
                  <a:pt x="13085" y="5905"/>
                </a:lnTo>
                <a:lnTo>
                  <a:pt x="13097" y="5901"/>
                </a:lnTo>
                <a:lnTo>
                  <a:pt x="13106" y="5896"/>
                </a:lnTo>
                <a:lnTo>
                  <a:pt x="13116" y="5892"/>
                </a:lnTo>
                <a:lnTo>
                  <a:pt x="13123" y="5886"/>
                </a:lnTo>
                <a:lnTo>
                  <a:pt x="13131" y="5880"/>
                </a:lnTo>
                <a:lnTo>
                  <a:pt x="13139" y="5872"/>
                </a:lnTo>
                <a:lnTo>
                  <a:pt x="13130" y="5871"/>
                </a:lnTo>
                <a:lnTo>
                  <a:pt x="13121" y="5872"/>
                </a:lnTo>
                <a:lnTo>
                  <a:pt x="13109" y="5872"/>
                </a:lnTo>
                <a:lnTo>
                  <a:pt x="13099" y="5873"/>
                </a:lnTo>
                <a:lnTo>
                  <a:pt x="13089" y="5874"/>
                </a:lnTo>
                <a:lnTo>
                  <a:pt x="13081" y="5872"/>
                </a:lnTo>
                <a:lnTo>
                  <a:pt x="13076" y="5868"/>
                </a:lnTo>
                <a:lnTo>
                  <a:pt x="13075" y="5859"/>
                </a:lnTo>
                <a:lnTo>
                  <a:pt x="13084" y="5859"/>
                </a:lnTo>
                <a:lnTo>
                  <a:pt x="13089" y="5858"/>
                </a:lnTo>
                <a:lnTo>
                  <a:pt x="13093" y="5857"/>
                </a:lnTo>
                <a:lnTo>
                  <a:pt x="13095" y="5853"/>
                </a:lnTo>
                <a:lnTo>
                  <a:pt x="13097" y="5849"/>
                </a:lnTo>
                <a:lnTo>
                  <a:pt x="13095" y="5845"/>
                </a:lnTo>
                <a:lnTo>
                  <a:pt x="13093" y="5840"/>
                </a:lnTo>
                <a:lnTo>
                  <a:pt x="13088" y="5835"/>
                </a:lnTo>
                <a:lnTo>
                  <a:pt x="13108" y="5844"/>
                </a:lnTo>
                <a:lnTo>
                  <a:pt x="13125" y="5844"/>
                </a:lnTo>
                <a:lnTo>
                  <a:pt x="13139" y="5838"/>
                </a:lnTo>
                <a:lnTo>
                  <a:pt x="13153" y="5826"/>
                </a:lnTo>
                <a:lnTo>
                  <a:pt x="13165" y="5812"/>
                </a:lnTo>
                <a:lnTo>
                  <a:pt x="13179" y="5798"/>
                </a:lnTo>
                <a:lnTo>
                  <a:pt x="13196" y="5788"/>
                </a:lnTo>
                <a:lnTo>
                  <a:pt x="13214" y="5784"/>
                </a:lnTo>
                <a:lnTo>
                  <a:pt x="13246" y="5802"/>
                </a:lnTo>
                <a:lnTo>
                  <a:pt x="13278" y="5808"/>
                </a:lnTo>
                <a:lnTo>
                  <a:pt x="13312" y="5807"/>
                </a:lnTo>
                <a:lnTo>
                  <a:pt x="13346" y="5799"/>
                </a:lnTo>
                <a:lnTo>
                  <a:pt x="13382" y="5790"/>
                </a:lnTo>
                <a:lnTo>
                  <a:pt x="13418" y="5780"/>
                </a:lnTo>
                <a:lnTo>
                  <a:pt x="13455" y="5774"/>
                </a:lnTo>
                <a:lnTo>
                  <a:pt x="13491" y="5771"/>
                </a:lnTo>
                <a:lnTo>
                  <a:pt x="13494" y="5760"/>
                </a:lnTo>
                <a:lnTo>
                  <a:pt x="13491" y="5752"/>
                </a:lnTo>
                <a:lnTo>
                  <a:pt x="13486" y="5748"/>
                </a:lnTo>
                <a:lnTo>
                  <a:pt x="13479" y="5746"/>
                </a:lnTo>
                <a:lnTo>
                  <a:pt x="13471" y="5745"/>
                </a:lnTo>
                <a:lnTo>
                  <a:pt x="13466" y="5741"/>
                </a:lnTo>
                <a:lnTo>
                  <a:pt x="13463" y="5733"/>
                </a:lnTo>
                <a:lnTo>
                  <a:pt x="13466" y="5720"/>
                </a:lnTo>
                <a:lnTo>
                  <a:pt x="13488" y="5731"/>
                </a:lnTo>
                <a:lnTo>
                  <a:pt x="13504" y="5734"/>
                </a:lnTo>
                <a:lnTo>
                  <a:pt x="13518" y="5733"/>
                </a:lnTo>
                <a:lnTo>
                  <a:pt x="13530" y="5731"/>
                </a:lnTo>
                <a:lnTo>
                  <a:pt x="13539" y="5729"/>
                </a:lnTo>
                <a:lnTo>
                  <a:pt x="13547" y="5732"/>
                </a:lnTo>
                <a:lnTo>
                  <a:pt x="13556" y="5741"/>
                </a:lnTo>
                <a:lnTo>
                  <a:pt x="13567" y="5759"/>
                </a:lnTo>
                <a:lnTo>
                  <a:pt x="13535" y="5766"/>
                </a:lnTo>
                <a:lnTo>
                  <a:pt x="13509" y="5780"/>
                </a:lnTo>
                <a:lnTo>
                  <a:pt x="13489" y="5799"/>
                </a:lnTo>
                <a:lnTo>
                  <a:pt x="13471" y="5821"/>
                </a:lnTo>
                <a:lnTo>
                  <a:pt x="13453" y="5843"/>
                </a:lnTo>
                <a:lnTo>
                  <a:pt x="13434" y="5862"/>
                </a:lnTo>
                <a:lnTo>
                  <a:pt x="13410" y="5877"/>
                </a:lnTo>
                <a:lnTo>
                  <a:pt x="13378" y="5885"/>
                </a:lnTo>
                <a:lnTo>
                  <a:pt x="13384" y="5877"/>
                </a:lnTo>
                <a:lnTo>
                  <a:pt x="13387" y="5872"/>
                </a:lnTo>
                <a:lnTo>
                  <a:pt x="13387" y="5867"/>
                </a:lnTo>
                <a:lnTo>
                  <a:pt x="13386" y="5863"/>
                </a:lnTo>
                <a:lnTo>
                  <a:pt x="13383" y="5859"/>
                </a:lnTo>
                <a:lnTo>
                  <a:pt x="13381" y="5853"/>
                </a:lnTo>
                <a:lnTo>
                  <a:pt x="13378" y="5845"/>
                </a:lnTo>
                <a:lnTo>
                  <a:pt x="13378" y="5835"/>
                </a:lnTo>
                <a:lnTo>
                  <a:pt x="13392" y="5835"/>
                </a:lnTo>
                <a:lnTo>
                  <a:pt x="13402" y="5834"/>
                </a:lnTo>
                <a:lnTo>
                  <a:pt x="13413" y="5831"/>
                </a:lnTo>
                <a:lnTo>
                  <a:pt x="13420" y="5826"/>
                </a:lnTo>
                <a:lnTo>
                  <a:pt x="13427" y="5820"/>
                </a:lnTo>
                <a:lnTo>
                  <a:pt x="13432" y="5813"/>
                </a:lnTo>
                <a:lnTo>
                  <a:pt x="13437" y="5804"/>
                </a:lnTo>
                <a:lnTo>
                  <a:pt x="13441" y="5797"/>
                </a:lnTo>
                <a:lnTo>
                  <a:pt x="13418" y="5796"/>
                </a:lnTo>
                <a:lnTo>
                  <a:pt x="13400" y="5801"/>
                </a:lnTo>
                <a:lnTo>
                  <a:pt x="13387" y="5810"/>
                </a:lnTo>
                <a:lnTo>
                  <a:pt x="13378" y="5821"/>
                </a:lnTo>
                <a:lnTo>
                  <a:pt x="13369" y="5835"/>
                </a:lnTo>
                <a:lnTo>
                  <a:pt x="13362" y="5849"/>
                </a:lnTo>
                <a:lnTo>
                  <a:pt x="13353" y="5862"/>
                </a:lnTo>
                <a:lnTo>
                  <a:pt x="13340" y="5872"/>
                </a:lnTo>
                <a:lnTo>
                  <a:pt x="13335" y="5864"/>
                </a:lnTo>
                <a:lnTo>
                  <a:pt x="13331" y="5859"/>
                </a:lnTo>
                <a:lnTo>
                  <a:pt x="13331" y="5854"/>
                </a:lnTo>
                <a:lnTo>
                  <a:pt x="13332" y="5850"/>
                </a:lnTo>
                <a:lnTo>
                  <a:pt x="13335" y="5846"/>
                </a:lnTo>
                <a:lnTo>
                  <a:pt x="13337" y="5841"/>
                </a:lnTo>
                <a:lnTo>
                  <a:pt x="13340" y="5832"/>
                </a:lnTo>
                <a:lnTo>
                  <a:pt x="13340" y="5822"/>
                </a:lnTo>
                <a:lnTo>
                  <a:pt x="13321" y="5826"/>
                </a:lnTo>
                <a:lnTo>
                  <a:pt x="13299" y="5829"/>
                </a:lnTo>
                <a:lnTo>
                  <a:pt x="13276" y="5829"/>
                </a:lnTo>
                <a:lnTo>
                  <a:pt x="13255" y="5831"/>
                </a:lnTo>
                <a:lnTo>
                  <a:pt x="13234" y="5834"/>
                </a:lnTo>
                <a:lnTo>
                  <a:pt x="13218" y="5841"/>
                </a:lnTo>
                <a:lnTo>
                  <a:pt x="13206" y="5854"/>
                </a:lnTo>
                <a:lnTo>
                  <a:pt x="13201" y="5872"/>
                </a:lnTo>
                <a:lnTo>
                  <a:pt x="13216" y="5873"/>
                </a:lnTo>
                <a:lnTo>
                  <a:pt x="13233" y="5873"/>
                </a:lnTo>
                <a:lnTo>
                  <a:pt x="13239" y="5874"/>
                </a:lnTo>
                <a:lnTo>
                  <a:pt x="13246" y="5876"/>
                </a:lnTo>
                <a:lnTo>
                  <a:pt x="13249" y="5880"/>
                </a:lnTo>
                <a:lnTo>
                  <a:pt x="13252" y="5885"/>
                </a:lnTo>
                <a:lnTo>
                  <a:pt x="13252" y="5900"/>
                </a:lnTo>
                <a:lnTo>
                  <a:pt x="13255" y="5914"/>
                </a:lnTo>
                <a:lnTo>
                  <a:pt x="13256" y="5920"/>
                </a:lnTo>
                <a:lnTo>
                  <a:pt x="13258" y="5925"/>
                </a:lnTo>
                <a:lnTo>
                  <a:pt x="13261" y="5930"/>
                </a:lnTo>
                <a:lnTo>
                  <a:pt x="13265" y="5936"/>
                </a:lnTo>
                <a:lnTo>
                  <a:pt x="13255" y="5936"/>
                </a:lnTo>
                <a:lnTo>
                  <a:pt x="13247" y="5934"/>
                </a:lnTo>
                <a:lnTo>
                  <a:pt x="13241" y="5930"/>
                </a:lnTo>
                <a:lnTo>
                  <a:pt x="13235" y="5927"/>
                </a:lnTo>
                <a:lnTo>
                  <a:pt x="13229" y="5924"/>
                </a:lnTo>
                <a:lnTo>
                  <a:pt x="13223" y="5922"/>
                </a:lnTo>
                <a:lnTo>
                  <a:pt x="13214" y="5920"/>
                </a:lnTo>
                <a:lnTo>
                  <a:pt x="13201" y="5923"/>
                </a:lnTo>
                <a:lnTo>
                  <a:pt x="13213" y="5957"/>
                </a:lnTo>
                <a:lnTo>
                  <a:pt x="13234" y="5979"/>
                </a:lnTo>
                <a:lnTo>
                  <a:pt x="13265" y="5992"/>
                </a:lnTo>
                <a:lnTo>
                  <a:pt x="13302" y="5995"/>
                </a:lnTo>
                <a:lnTo>
                  <a:pt x="13340" y="5992"/>
                </a:lnTo>
                <a:lnTo>
                  <a:pt x="13378" y="5984"/>
                </a:lnTo>
                <a:lnTo>
                  <a:pt x="13413" y="5974"/>
                </a:lnTo>
                <a:lnTo>
                  <a:pt x="13441" y="5961"/>
                </a:lnTo>
                <a:lnTo>
                  <a:pt x="13442" y="5952"/>
                </a:lnTo>
                <a:lnTo>
                  <a:pt x="13439" y="5946"/>
                </a:lnTo>
                <a:lnTo>
                  <a:pt x="13437" y="5941"/>
                </a:lnTo>
                <a:lnTo>
                  <a:pt x="13433" y="5937"/>
                </a:lnTo>
                <a:lnTo>
                  <a:pt x="13424" y="5930"/>
                </a:lnTo>
                <a:lnTo>
                  <a:pt x="13416" y="5923"/>
                </a:lnTo>
                <a:lnTo>
                  <a:pt x="13443" y="5923"/>
                </a:lnTo>
                <a:lnTo>
                  <a:pt x="13467" y="5920"/>
                </a:lnTo>
                <a:lnTo>
                  <a:pt x="13490" y="5916"/>
                </a:lnTo>
                <a:lnTo>
                  <a:pt x="13511" y="5910"/>
                </a:lnTo>
                <a:lnTo>
                  <a:pt x="13530" y="5902"/>
                </a:lnTo>
                <a:lnTo>
                  <a:pt x="13547" y="5894"/>
                </a:lnTo>
                <a:lnTo>
                  <a:pt x="13564" y="5883"/>
                </a:lnTo>
                <a:lnTo>
                  <a:pt x="13579" y="5872"/>
                </a:lnTo>
                <a:lnTo>
                  <a:pt x="13578" y="5885"/>
                </a:lnTo>
                <a:lnTo>
                  <a:pt x="13574" y="5895"/>
                </a:lnTo>
                <a:lnTo>
                  <a:pt x="13569" y="5904"/>
                </a:lnTo>
                <a:lnTo>
                  <a:pt x="13563" y="5911"/>
                </a:lnTo>
                <a:lnTo>
                  <a:pt x="13556" y="5919"/>
                </a:lnTo>
                <a:lnTo>
                  <a:pt x="13550" y="5928"/>
                </a:lnTo>
                <a:lnTo>
                  <a:pt x="13545" y="5937"/>
                </a:lnTo>
                <a:lnTo>
                  <a:pt x="13542" y="5948"/>
                </a:lnTo>
                <a:lnTo>
                  <a:pt x="13570" y="5947"/>
                </a:lnTo>
                <a:lnTo>
                  <a:pt x="13595" y="5942"/>
                </a:lnTo>
                <a:lnTo>
                  <a:pt x="13615" y="5934"/>
                </a:lnTo>
                <a:lnTo>
                  <a:pt x="13632" y="5927"/>
                </a:lnTo>
                <a:lnTo>
                  <a:pt x="13648" y="5919"/>
                </a:lnTo>
                <a:lnTo>
                  <a:pt x="13665" y="5913"/>
                </a:lnTo>
                <a:lnTo>
                  <a:pt x="13684" y="5909"/>
                </a:lnTo>
                <a:lnTo>
                  <a:pt x="13705" y="5910"/>
                </a:lnTo>
                <a:lnTo>
                  <a:pt x="13705" y="5894"/>
                </a:lnTo>
                <a:lnTo>
                  <a:pt x="13699" y="5887"/>
                </a:lnTo>
                <a:lnTo>
                  <a:pt x="13691" y="5887"/>
                </a:lnTo>
                <a:lnTo>
                  <a:pt x="13682" y="5890"/>
                </a:lnTo>
                <a:lnTo>
                  <a:pt x="13674" y="5892"/>
                </a:lnTo>
                <a:lnTo>
                  <a:pt x="13667" y="5890"/>
                </a:lnTo>
                <a:lnTo>
                  <a:pt x="13665" y="5881"/>
                </a:lnTo>
                <a:lnTo>
                  <a:pt x="13668" y="5859"/>
                </a:lnTo>
                <a:lnTo>
                  <a:pt x="13704" y="5877"/>
                </a:lnTo>
                <a:lnTo>
                  <a:pt x="13741" y="5888"/>
                </a:lnTo>
                <a:lnTo>
                  <a:pt x="13778" y="5892"/>
                </a:lnTo>
                <a:lnTo>
                  <a:pt x="13814" y="5890"/>
                </a:lnTo>
                <a:lnTo>
                  <a:pt x="13844" y="5880"/>
                </a:lnTo>
                <a:lnTo>
                  <a:pt x="13870" y="5863"/>
                </a:lnTo>
                <a:lnTo>
                  <a:pt x="13888" y="5840"/>
                </a:lnTo>
                <a:lnTo>
                  <a:pt x="13895" y="5810"/>
                </a:lnTo>
                <a:lnTo>
                  <a:pt x="13904" y="5810"/>
                </a:lnTo>
                <a:lnTo>
                  <a:pt x="13909" y="5813"/>
                </a:lnTo>
                <a:lnTo>
                  <a:pt x="13913" y="5820"/>
                </a:lnTo>
                <a:lnTo>
                  <a:pt x="13916" y="5826"/>
                </a:lnTo>
                <a:lnTo>
                  <a:pt x="13918" y="5834"/>
                </a:lnTo>
                <a:lnTo>
                  <a:pt x="13921" y="5840"/>
                </a:lnTo>
                <a:lnTo>
                  <a:pt x="13926" y="5845"/>
                </a:lnTo>
                <a:lnTo>
                  <a:pt x="13933" y="5848"/>
                </a:lnTo>
                <a:lnTo>
                  <a:pt x="13935" y="5834"/>
                </a:lnTo>
                <a:lnTo>
                  <a:pt x="13941" y="5827"/>
                </a:lnTo>
                <a:lnTo>
                  <a:pt x="13949" y="5825"/>
                </a:lnTo>
                <a:lnTo>
                  <a:pt x="13958" y="5826"/>
                </a:lnTo>
                <a:lnTo>
                  <a:pt x="13966" y="5829"/>
                </a:lnTo>
                <a:lnTo>
                  <a:pt x="13975" y="5830"/>
                </a:lnTo>
                <a:lnTo>
                  <a:pt x="13980" y="5829"/>
                </a:lnTo>
                <a:lnTo>
                  <a:pt x="13983" y="5822"/>
                </a:lnTo>
                <a:lnTo>
                  <a:pt x="13974" y="5808"/>
                </a:lnTo>
                <a:lnTo>
                  <a:pt x="13972" y="5785"/>
                </a:lnTo>
                <a:lnTo>
                  <a:pt x="13975" y="5756"/>
                </a:lnTo>
                <a:lnTo>
                  <a:pt x="13986" y="5727"/>
                </a:lnTo>
                <a:lnTo>
                  <a:pt x="14002" y="5700"/>
                </a:lnTo>
                <a:lnTo>
                  <a:pt x="14024" y="5681"/>
                </a:lnTo>
                <a:lnTo>
                  <a:pt x="14052" y="5675"/>
                </a:lnTo>
                <a:lnTo>
                  <a:pt x="14084" y="5684"/>
                </a:lnTo>
                <a:lnTo>
                  <a:pt x="14068" y="5685"/>
                </a:lnTo>
                <a:lnTo>
                  <a:pt x="14061" y="5689"/>
                </a:lnTo>
                <a:lnTo>
                  <a:pt x="14058" y="5695"/>
                </a:lnTo>
                <a:lnTo>
                  <a:pt x="14062" y="5703"/>
                </a:lnTo>
                <a:lnTo>
                  <a:pt x="14075" y="5719"/>
                </a:lnTo>
                <a:lnTo>
                  <a:pt x="14084" y="5733"/>
                </a:lnTo>
                <a:lnTo>
                  <a:pt x="14065" y="5740"/>
                </a:lnTo>
                <a:lnTo>
                  <a:pt x="14043" y="5742"/>
                </a:lnTo>
                <a:lnTo>
                  <a:pt x="14033" y="5746"/>
                </a:lnTo>
                <a:lnTo>
                  <a:pt x="14026" y="5751"/>
                </a:lnTo>
                <a:lnTo>
                  <a:pt x="14021" y="5760"/>
                </a:lnTo>
                <a:lnTo>
                  <a:pt x="14021" y="5771"/>
                </a:lnTo>
                <a:lnTo>
                  <a:pt x="14031" y="5778"/>
                </a:lnTo>
                <a:lnTo>
                  <a:pt x="14042" y="5776"/>
                </a:lnTo>
                <a:lnTo>
                  <a:pt x="14053" y="5773"/>
                </a:lnTo>
                <a:lnTo>
                  <a:pt x="14065" y="5766"/>
                </a:lnTo>
                <a:lnTo>
                  <a:pt x="14079" y="5760"/>
                </a:lnTo>
                <a:lnTo>
                  <a:pt x="14095" y="5756"/>
                </a:lnTo>
                <a:lnTo>
                  <a:pt x="14113" y="5755"/>
                </a:lnTo>
                <a:lnTo>
                  <a:pt x="14135" y="5759"/>
                </a:lnTo>
                <a:lnTo>
                  <a:pt x="14138" y="5746"/>
                </a:lnTo>
                <a:lnTo>
                  <a:pt x="14137" y="5737"/>
                </a:lnTo>
                <a:lnTo>
                  <a:pt x="14135" y="5731"/>
                </a:lnTo>
                <a:lnTo>
                  <a:pt x="14129" y="5727"/>
                </a:lnTo>
                <a:lnTo>
                  <a:pt x="14123" y="5723"/>
                </a:lnTo>
                <a:lnTo>
                  <a:pt x="14118" y="5719"/>
                </a:lnTo>
                <a:lnTo>
                  <a:pt x="14113" y="5714"/>
                </a:lnTo>
                <a:lnTo>
                  <a:pt x="14109" y="5709"/>
                </a:lnTo>
                <a:lnTo>
                  <a:pt x="14127" y="5700"/>
                </a:lnTo>
                <a:lnTo>
                  <a:pt x="14149" y="5687"/>
                </a:lnTo>
                <a:lnTo>
                  <a:pt x="14159" y="5684"/>
                </a:lnTo>
                <a:lnTo>
                  <a:pt x="14169" y="5682"/>
                </a:lnTo>
                <a:lnTo>
                  <a:pt x="14178" y="5686"/>
                </a:lnTo>
                <a:lnTo>
                  <a:pt x="14186" y="5696"/>
                </a:lnTo>
                <a:lnTo>
                  <a:pt x="14184" y="5701"/>
                </a:lnTo>
                <a:lnTo>
                  <a:pt x="14182" y="5705"/>
                </a:lnTo>
                <a:lnTo>
                  <a:pt x="14178" y="5708"/>
                </a:lnTo>
                <a:lnTo>
                  <a:pt x="14174" y="5709"/>
                </a:lnTo>
                <a:lnTo>
                  <a:pt x="14169" y="5712"/>
                </a:lnTo>
                <a:lnTo>
                  <a:pt x="14165" y="5714"/>
                </a:lnTo>
                <a:lnTo>
                  <a:pt x="14161" y="5717"/>
                </a:lnTo>
                <a:lnTo>
                  <a:pt x="14160" y="5720"/>
                </a:lnTo>
                <a:lnTo>
                  <a:pt x="14186" y="5732"/>
                </a:lnTo>
                <a:lnTo>
                  <a:pt x="14212" y="5733"/>
                </a:lnTo>
                <a:lnTo>
                  <a:pt x="14238" y="5731"/>
                </a:lnTo>
                <a:lnTo>
                  <a:pt x="14262" y="5727"/>
                </a:lnTo>
                <a:lnTo>
                  <a:pt x="14285" y="5723"/>
                </a:lnTo>
                <a:lnTo>
                  <a:pt x="14308" y="5726"/>
                </a:lnTo>
                <a:lnTo>
                  <a:pt x="14329" y="5737"/>
                </a:lnTo>
                <a:lnTo>
                  <a:pt x="14349" y="5759"/>
                </a:lnTo>
                <a:lnTo>
                  <a:pt x="14347" y="5746"/>
                </a:lnTo>
                <a:lnTo>
                  <a:pt x="14350" y="5734"/>
                </a:lnTo>
                <a:lnTo>
                  <a:pt x="14352" y="5724"/>
                </a:lnTo>
                <a:lnTo>
                  <a:pt x="14357" y="5717"/>
                </a:lnTo>
                <a:lnTo>
                  <a:pt x="14364" y="5710"/>
                </a:lnTo>
                <a:lnTo>
                  <a:pt x="14370" y="5705"/>
                </a:lnTo>
                <a:lnTo>
                  <a:pt x="14379" y="5700"/>
                </a:lnTo>
                <a:lnTo>
                  <a:pt x="14387" y="5696"/>
                </a:lnTo>
                <a:lnTo>
                  <a:pt x="14394" y="5698"/>
                </a:lnTo>
                <a:lnTo>
                  <a:pt x="14401" y="5701"/>
                </a:lnTo>
                <a:lnTo>
                  <a:pt x="14405" y="5706"/>
                </a:lnTo>
                <a:lnTo>
                  <a:pt x="14408" y="5712"/>
                </a:lnTo>
                <a:lnTo>
                  <a:pt x="14412" y="5717"/>
                </a:lnTo>
                <a:lnTo>
                  <a:pt x="14419" y="5720"/>
                </a:lnTo>
                <a:lnTo>
                  <a:pt x="14426" y="5723"/>
                </a:lnTo>
                <a:lnTo>
                  <a:pt x="14438" y="5720"/>
                </a:lnTo>
                <a:lnTo>
                  <a:pt x="14449" y="5714"/>
                </a:lnTo>
                <a:lnTo>
                  <a:pt x="14459" y="5705"/>
                </a:lnTo>
                <a:lnTo>
                  <a:pt x="14468" y="5695"/>
                </a:lnTo>
                <a:lnTo>
                  <a:pt x="14476" y="5685"/>
                </a:lnTo>
                <a:lnTo>
                  <a:pt x="14485" y="5673"/>
                </a:lnTo>
                <a:lnTo>
                  <a:pt x="14492" y="5663"/>
                </a:lnTo>
                <a:lnTo>
                  <a:pt x="14503" y="5654"/>
                </a:lnTo>
                <a:lnTo>
                  <a:pt x="14513" y="5645"/>
                </a:lnTo>
                <a:lnTo>
                  <a:pt x="14526" y="5654"/>
                </a:lnTo>
                <a:lnTo>
                  <a:pt x="14533" y="5663"/>
                </a:lnTo>
                <a:lnTo>
                  <a:pt x="14538" y="5673"/>
                </a:lnTo>
                <a:lnTo>
                  <a:pt x="14541" y="5682"/>
                </a:lnTo>
                <a:lnTo>
                  <a:pt x="14543" y="5691"/>
                </a:lnTo>
                <a:lnTo>
                  <a:pt x="14547" y="5699"/>
                </a:lnTo>
                <a:lnTo>
                  <a:pt x="14554" y="5705"/>
                </a:lnTo>
                <a:lnTo>
                  <a:pt x="14564" y="5709"/>
                </a:lnTo>
                <a:lnTo>
                  <a:pt x="14574" y="5692"/>
                </a:lnTo>
                <a:lnTo>
                  <a:pt x="14587" y="5684"/>
                </a:lnTo>
                <a:lnTo>
                  <a:pt x="14602" y="5681"/>
                </a:lnTo>
                <a:lnTo>
                  <a:pt x="14617" y="5681"/>
                </a:lnTo>
                <a:lnTo>
                  <a:pt x="14634" y="5681"/>
                </a:lnTo>
                <a:lnTo>
                  <a:pt x="14652" y="5681"/>
                </a:lnTo>
                <a:lnTo>
                  <a:pt x="14671" y="5678"/>
                </a:lnTo>
                <a:lnTo>
                  <a:pt x="14690" y="5671"/>
                </a:lnTo>
                <a:lnTo>
                  <a:pt x="14667" y="5653"/>
                </a:lnTo>
                <a:lnTo>
                  <a:pt x="14673" y="5640"/>
                </a:lnTo>
                <a:lnTo>
                  <a:pt x="14700" y="5631"/>
                </a:lnTo>
                <a:lnTo>
                  <a:pt x="14741" y="5624"/>
                </a:lnTo>
                <a:lnTo>
                  <a:pt x="14787" y="5615"/>
                </a:lnTo>
                <a:lnTo>
                  <a:pt x="14832" y="5602"/>
                </a:lnTo>
                <a:lnTo>
                  <a:pt x="14869" y="5584"/>
                </a:lnTo>
                <a:lnTo>
                  <a:pt x="14891" y="5558"/>
                </a:lnTo>
                <a:lnTo>
                  <a:pt x="14891" y="5607"/>
                </a:lnTo>
                <a:lnTo>
                  <a:pt x="14929" y="5594"/>
                </a:lnTo>
                <a:lnTo>
                  <a:pt x="14973" y="5586"/>
                </a:lnTo>
                <a:lnTo>
                  <a:pt x="15017" y="5578"/>
                </a:lnTo>
                <a:lnTo>
                  <a:pt x="15063" y="5572"/>
                </a:lnTo>
                <a:lnTo>
                  <a:pt x="15105" y="5561"/>
                </a:lnTo>
                <a:lnTo>
                  <a:pt x="15142" y="5547"/>
                </a:lnTo>
                <a:lnTo>
                  <a:pt x="15172" y="5526"/>
                </a:lnTo>
                <a:lnTo>
                  <a:pt x="15194" y="5494"/>
                </a:lnTo>
                <a:lnTo>
                  <a:pt x="15189" y="5486"/>
                </a:lnTo>
                <a:lnTo>
                  <a:pt x="15181" y="5481"/>
                </a:lnTo>
                <a:lnTo>
                  <a:pt x="15171" y="5479"/>
                </a:lnTo>
                <a:lnTo>
                  <a:pt x="15161" y="5477"/>
                </a:lnTo>
                <a:lnTo>
                  <a:pt x="15151" y="5475"/>
                </a:lnTo>
                <a:lnTo>
                  <a:pt x="15141" y="5471"/>
                </a:lnTo>
                <a:lnTo>
                  <a:pt x="15134" y="5466"/>
                </a:lnTo>
                <a:lnTo>
                  <a:pt x="15130" y="5457"/>
                </a:lnTo>
                <a:lnTo>
                  <a:pt x="15142" y="5451"/>
                </a:lnTo>
                <a:lnTo>
                  <a:pt x="15155" y="5446"/>
                </a:lnTo>
                <a:lnTo>
                  <a:pt x="15169" y="5443"/>
                </a:lnTo>
                <a:lnTo>
                  <a:pt x="15184" y="5440"/>
                </a:lnTo>
                <a:lnTo>
                  <a:pt x="15198" y="5438"/>
                </a:lnTo>
                <a:lnTo>
                  <a:pt x="15212" y="5434"/>
                </a:lnTo>
                <a:lnTo>
                  <a:pt x="15223" y="5428"/>
                </a:lnTo>
                <a:lnTo>
                  <a:pt x="15231" y="5419"/>
                </a:lnTo>
                <a:lnTo>
                  <a:pt x="15199" y="5420"/>
                </a:lnTo>
                <a:lnTo>
                  <a:pt x="15178" y="5412"/>
                </a:lnTo>
                <a:lnTo>
                  <a:pt x="15162" y="5398"/>
                </a:lnTo>
                <a:lnTo>
                  <a:pt x="15151" y="5381"/>
                </a:lnTo>
                <a:lnTo>
                  <a:pt x="15141" y="5360"/>
                </a:lnTo>
                <a:lnTo>
                  <a:pt x="15129" y="5341"/>
                </a:lnTo>
                <a:lnTo>
                  <a:pt x="15114" y="5326"/>
                </a:lnTo>
                <a:lnTo>
                  <a:pt x="15092" y="5318"/>
                </a:lnTo>
                <a:lnTo>
                  <a:pt x="15083" y="5336"/>
                </a:lnTo>
                <a:lnTo>
                  <a:pt x="15073" y="5353"/>
                </a:lnTo>
                <a:lnTo>
                  <a:pt x="15063" y="5368"/>
                </a:lnTo>
                <a:lnTo>
                  <a:pt x="15050" y="5382"/>
                </a:lnTo>
                <a:lnTo>
                  <a:pt x="15036" y="5395"/>
                </a:lnTo>
                <a:lnTo>
                  <a:pt x="15020" y="5405"/>
                </a:lnTo>
                <a:lnTo>
                  <a:pt x="15001" y="5414"/>
                </a:lnTo>
                <a:lnTo>
                  <a:pt x="14979" y="5419"/>
                </a:lnTo>
                <a:lnTo>
                  <a:pt x="14984" y="5437"/>
                </a:lnTo>
                <a:lnTo>
                  <a:pt x="14993" y="5452"/>
                </a:lnTo>
                <a:lnTo>
                  <a:pt x="15003" y="5466"/>
                </a:lnTo>
                <a:lnTo>
                  <a:pt x="15016" y="5477"/>
                </a:lnTo>
                <a:lnTo>
                  <a:pt x="15027" y="5489"/>
                </a:lnTo>
                <a:lnTo>
                  <a:pt x="15039" y="5502"/>
                </a:lnTo>
                <a:lnTo>
                  <a:pt x="15048" y="5516"/>
                </a:lnTo>
                <a:lnTo>
                  <a:pt x="15055" y="5532"/>
                </a:lnTo>
                <a:lnTo>
                  <a:pt x="14979" y="5530"/>
                </a:lnTo>
                <a:lnTo>
                  <a:pt x="14910" y="5530"/>
                </a:lnTo>
                <a:lnTo>
                  <a:pt x="14846" y="5532"/>
                </a:lnTo>
                <a:lnTo>
                  <a:pt x="14784" y="5536"/>
                </a:lnTo>
                <a:lnTo>
                  <a:pt x="14720" y="5544"/>
                </a:lnTo>
                <a:lnTo>
                  <a:pt x="14653" y="5551"/>
                </a:lnTo>
                <a:lnTo>
                  <a:pt x="14580" y="5560"/>
                </a:lnTo>
                <a:lnTo>
                  <a:pt x="14500" y="5570"/>
                </a:lnTo>
                <a:lnTo>
                  <a:pt x="14517" y="5556"/>
                </a:lnTo>
                <a:lnTo>
                  <a:pt x="14540" y="5549"/>
                </a:lnTo>
                <a:lnTo>
                  <a:pt x="14564" y="5544"/>
                </a:lnTo>
                <a:lnTo>
                  <a:pt x="14590" y="5540"/>
                </a:lnTo>
                <a:lnTo>
                  <a:pt x="14616" y="5536"/>
                </a:lnTo>
                <a:lnTo>
                  <a:pt x="14638" y="5528"/>
                </a:lnTo>
                <a:lnTo>
                  <a:pt x="14654" y="5514"/>
                </a:lnTo>
                <a:lnTo>
                  <a:pt x="14664" y="5494"/>
                </a:lnTo>
                <a:lnTo>
                  <a:pt x="14650" y="5494"/>
                </a:lnTo>
                <a:lnTo>
                  <a:pt x="14640" y="5495"/>
                </a:lnTo>
                <a:lnTo>
                  <a:pt x="14630" y="5498"/>
                </a:lnTo>
                <a:lnTo>
                  <a:pt x="14621" y="5502"/>
                </a:lnTo>
                <a:lnTo>
                  <a:pt x="14612" y="5505"/>
                </a:lnTo>
                <a:lnTo>
                  <a:pt x="14602" y="5508"/>
                </a:lnTo>
                <a:lnTo>
                  <a:pt x="14590" y="5509"/>
                </a:lnTo>
                <a:lnTo>
                  <a:pt x="14575" y="5507"/>
                </a:lnTo>
                <a:lnTo>
                  <a:pt x="14583" y="5490"/>
                </a:lnTo>
                <a:lnTo>
                  <a:pt x="14580" y="5480"/>
                </a:lnTo>
                <a:lnTo>
                  <a:pt x="14573" y="5475"/>
                </a:lnTo>
                <a:lnTo>
                  <a:pt x="14559" y="5474"/>
                </a:lnTo>
                <a:lnTo>
                  <a:pt x="14541" y="5472"/>
                </a:lnTo>
                <a:lnTo>
                  <a:pt x="14523" y="5470"/>
                </a:lnTo>
                <a:lnTo>
                  <a:pt x="14504" y="5466"/>
                </a:lnTo>
                <a:lnTo>
                  <a:pt x="14487" y="5457"/>
                </a:lnTo>
                <a:lnTo>
                  <a:pt x="14482" y="5463"/>
                </a:lnTo>
                <a:lnTo>
                  <a:pt x="14480" y="5474"/>
                </a:lnTo>
                <a:lnTo>
                  <a:pt x="14477" y="5484"/>
                </a:lnTo>
                <a:lnTo>
                  <a:pt x="14475" y="5494"/>
                </a:lnTo>
                <a:lnTo>
                  <a:pt x="14471" y="5503"/>
                </a:lnTo>
                <a:lnTo>
                  <a:pt x="14463" y="5508"/>
                </a:lnTo>
                <a:lnTo>
                  <a:pt x="14453" y="5510"/>
                </a:lnTo>
                <a:lnTo>
                  <a:pt x="14438" y="5507"/>
                </a:lnTo>
                <a:lnTo>
                  <a:pt x="14447" y="5475"/>
                </a:lnTo>
                <a:lnTo>
                  <a:pt x="14467" y="5454"/>
                </a:lnTo>
                <a:lnTo>
                  <a:pt x="14495" y="5442"/>
                </a:lnTo>
                <a:lnTo>
                  <a:pt x="14527" y="5433"/>
                </a:lnTo>
                <a:lnTo>
                  <a:pt x="14560" y="5425"/>
                </a:lnTo>
                <a:lnTo>
                  <a:pt x="14593" y="5416"/>
                </a:lnTo>
                <a:lnTo>
                  <a:pt x="14620" y="5402"/>
                </a:lnTo>
                <a:lnTo>
                  <a:pt x="14639" y="5381"/>
                </a:lnTo>
                <a:lnTo>
                  <a:pt x="14626" y="5377"/>
                </a:lnTo>
                <a:lnTo>
                  <a:pt x="14613" y="5378"/>
                </a:lnTo>
                <a:lnTo>
                  <a:pt x="14602" y="5382"/>
                </a:lnTo>
                <a:lnTo>
                  <a:pt x="14592" y="5387"/>
                </a:lnTo>
                <a:lnTo>
                  <a:pt x="14583" y="5391"/>
                </a:lnTo>
                <a:lnTo>
                  <a:pt x="14575" y="5393"/>
                </a:lnTo>
                <a:lnTo>
                  <a:pt x="14569" y="5390"/>
                </a:lnTo>
                <a:lnTo>
                  <a:pt x="14564" y="5381"/>
                </a:lnTo>
                <a:lnTo>
                  <a:pt x="14602" y="5360"/>
                </a:lnTo>
                <a:lnTo>
                  <a:pt x="14644" y="5340"/>
                </a:lnTo>
                <a:lnTo>
                  <a:pt x="14666" y="5332"/>
                </a:lnTo>
                <a:lnTo>
                  <a:pt x="14689" y="5330"/>
                </a:lnTo>
                <a:lnTo>
                  <a:pt x="14714" y="5333"/>
                </a:lnTo>
                <a:lnTo>
                  <a:pt x="14739" y="5342"/>
                </a:lnTo>
                <a:lnTo>
                  <a:pt x="14753" y="5323"/>
                </a:lnTo>
                <a:lnTo>
                  <a:pt x="14773" y="5307"/>
                </a:lnTo>
                <a:lnTo>
                  <a:pt x="14793" y="5294"/>
                </a:lnTo>
                <a:lnTo>
                  <a:pt x="14816" y="5286"/>
                </a:lnTo>
                <a:lnTo>
                  <a:pt x="14840" y="5284"/>
                </a:lnTo>
                <a:lnTo>
                  <a:pt x="14863" y="5288"/>
                </a:lnTo>
                <a:lnTo>
                  <a:pt x="14885" y="5299"/>
                </a:lnTo>
                <a:lnTo>
                  <a:pt x="14904" y="5318"/>
                </a:lnTo>
                <a:lnTo>
                  <a:pt x="14911" y="5300"/>
                </a:lnTo>
                <a:lnTo>
                  <a:pt x="14923" y="5283"/>
                </a:lnTo>
                <a:lnTo>
                  <a:pt x="14938" y="5266"/>
                </a:lnTo>
                <a:lnTo>
                  <a:pt x="14955" y="5252"/>
                </a:lnTo>
                <a:lnTo>
                  <a:pt x="14973" y="5242"/>
                </a:lnTo>
                <a:lnTo>
                  <a:pt x="14992" y="5235"/>
                </a:lnTo>
                <a:lnTo>
                  <a:pt x="15011" y="5235"/>
                </a:lnTo>
                <a:lnTo>
                  <a:pt x="15030" y="5242"/>
                </a:lnTo>
                <a:lnTo>
                  <a:pt x="15029" y="5248"/>
                </a:lnTo>
                <a:lnTo>
                  <a:pt x="15025" y="5252"/>
                </a:lnTo>
                <a:lnTo>
                  <a:pt x="15018" y="5255"/>
                </a:lnTo>
                <a:lnTo>
                  <a:pt x="15012" y="5256"/>
                </a:lnTo>
                <a:lnTo>
                  <a:pt x="15006" y="5257"/>
                </a:lnTo>
                <a:lnTo>
                  <a:pt x="14999" y="5258"/>
                </a:lnTo>
                <a:lnTo>
                  <a:pt x="14994" y="5262"/>
                </a:lnTo>
                <a:lnTo>
                  <a:pt x="14992" y="5267"/>
                </a:lnTo>
                <a:lnTo>
                  <a:pt x="15055" y="5267"/>
                </a:lnTo>
                <a:lnTo>
                  <a:pt x="15054" y="5238"/>
                </a:lnTo>
                <a:lnTo>
                  <a:pt x="15062" y="5209"/>
                </a:lnTo>
                <a:lnTo>
                  <a:pt x="15076" y="5183"/>
                </a:lnTo>
                <a:lnTo>
                  <a:pt x="15097" y="5162"/>
                </a:lnTo>
                <a:lnTo>
                  <a:pt x="15123" y="5144"/>
                </a:lnTo>
                <a:lnTo>
                  <a:pt x="15153" y="5132"/>
                </a:lnTo>
                <a:lnTo>
                  <a:pt x="15185" y="5127"/>
                </a:lnTo>
                <a:lnTo>
                  <a:pt x="15218" y="5129"/>
                </a:lnTo>
                <a:lnTo>
                  <a:pt x="15200" y="5140"/>
                </a:lnTo>
                <a:lnTo>
                  <a:pt x="15179" y="5149"/>
                </a:lnTo>
                <a:lnTo>
                  <a:pt x="15156" y="5157"/>
                </a:lnTo>
                <a:lnTo>
                  <a:pt x="15134" y="5164"/>
                </a:lnTo>
                <a:lnTo>
                  <a:pt x="15114" y="5173"/>
                </a:lnTo>
                <a:lnTo>
                  <a:pt x="15097" y="5186"/>
                </a:lnTo>
                <a:lnTo>
                  <a:pt x="15086" y="5205"/>
                </a:lnTo>
                <a:lnTo>
                  <a:pt x="15081" y="5229"/>
                </a:lnTo>
                <a:lnTo>
                  <a:pt x="15115" y="5224"/>
                </a:lnTo>
                <a:lnTo>
                  <a:pt x="15147" y="5218"/>
                </a:lnTo>
                <a:lnTo>
                  <a:pt x="15176" y="5213"/>
                </a:lnTo>
                <a:lnTo>
                  <a:pt x="15203" y="5206"/>
                </a:lnTo>
                <a:lnTo>
                  <a:pt x="15230" y="5199"/>
                </a:lnTo>
                <a:lnTo>
                  <a:pt x="15258" y="5190"/>
                </a:lnTo>
                <a:lnTo>
                  <a:pt x="15287" y="5179"/>
                </a:lnTo>
                <a:lnTo>
                  <a:pt x="15320" y="5167"/>
                </a:lnTo>
                <a:lnTo>
                  <a:pt x="15329" y="5181"/>
                </a:lnTo>
                <a:lnTo>
                  <a:pt x="15341" y="5190"/>
                </a:lnTo>
                <a:lnTo>
                  <a:pt x="15353" y="5195"/>
                </a:lnTo>
                <a:lnTo>
                  <a:pt x="15367" y="5196"/>
                </a:lnTo>
                <a:lnTo>
                  <a:pt x="15381" y="5196"/>
                </a:lnTo>
                <a:lnTo>
                  <a:pt x="15395" y="5196"/>
                </a:lnTo>
                <a:lnTo>
                  <a:pt x="15408" y="5199"/>
                </a:lnTo>
                <a:lnTo>
                  <a:pt x="15421" y="5205"/>
                </a:lnTo>
                <a:lnTo>
                  <a:pt x="15406" y="5205"/>
                </a:lnTo>
                <a:lnTo>
                  <a:pt x="15392" y="5207"/>
                </a:lnTo>
                <a:lnTo>
                  <a:pt x="15386" y="5210"/>
                </a:lnTo>
                <a:lnTo>
                  <a:pt x="15384" y="5215"/>
                </a:lnTo>
                <a:lnTo>
                  <a:pt x="15381" y="5221"/>
                </a:lnTo>
                <a:lnTo>
                  <a:pt x="15383" y="5229"/>
                </a:lnTo>
                <a:lnTo>
                  <a:pt x="15412" y="5229"/>
                </a:lnTo>
                <a:lnTo>
                  <a:pt x="15431" y="5238"/>
                </a:lnTo>
                <a:lnTo>
                  <a:pt x="15441" y="5253"/>
                </a:lnTo>
                <a:lnTo>
                  <a:pt x="15445" y="5274"/>
                </a:lnTo>
                <a:lnTo>
                  <a:pt x="15444" y="5297"/>
                </a:lnTo>
                <a:lnTo>
                  <a:pt x="15437" y="5319"/>
                </a:lnTo>
                <a:lnTo>
                  <a:pt x="15430" y="5340"/>
                </a:lnTo>
                <a:lnTo>
                  <a:pt x="15421" y="5355"/>
                </a:lnTo>
                <a:lnTo>
                  <a:pt x="15441" y="5353"/>
                </a:lnTo>
                <a:lnTo>
                  <a:pt x="15462" y="5349"/>
                </a:lnTo>
                <a:lnTo>
                  <a:pt x="15481" y="5345"/>
                </a:lnTo>
                <a:lnTo>
                  <a:pt x="15500" y="5340"/>
                </a:lnTo>
                <a:lnTo>
                  <a:pt x="15516" y="5333"/>
                </a:lnTo>
                <a:lnTo>
                  <a:pt x="15533" y="5326"/>
                </a:lnTo>
                <a:lnTo>
                  <a:pt x="15547" y="5317"/>
                </a:lnTo>
                <a:lnTo>
                  <a:pt x="15560" y="5305"/>
                </a:lnTo>
                <a:lnTo>
                  <a:pt x="15543" y="5294"/>
                </a:lnTo>
                <a:lnTo>
                  <a:pt x="15534" y="5280"/>
                </a:lnTo>
                <a:lnTo>
                  <a:pt x="15529" y="5266"/>
                </a:lnTo>
                <a:lnTo>
                  <a:pt x="15527" y="5253"/>
                </a:lnTo>
                <a:lnTo>
                  <a:pt x="15524" y="5241"/>
                </a:lnTo>
                <a:lnTo>
                  <a:pt x="15516" y="5229"/>
                </a:lnTo>
                <a:lnTo>
                  <a:pt x="15505" y="5221"/>
                </a:lnTo>
                <a:lnTo>
                  <a:pt x="15483" y="5218"/>
                </a:lnTo>
                <a:lnTo>
                  <a:pt x="15523" y="5213"/>
                </a:lnTo>
                <a:lnTo>
                  <a:pt x="15556" y="5206"/>
                </a:lnTo>
                <a:lnTo>
                  <a:pt x="15586" y="5199"/>
                </a:lnTo>
                <a:lnTo>
                  <a:pt x="15616" y="5190"/>
                </a:lnTo>
                <a:lnTo>
                  <a:pt x="15644" y="5181"/>
                </a:lnTo>
                <a:lnTo>
                  <a:pt x="15674" y="5172"/>
                </a:lnTo>
                <a:lnTo>
                  <a:pt x="15709" y="5163"/>
                </a:lnTo>
                <a:lnTo>
                  <a:pt x="15748" y="5154"/>
                </a:lnTo>
                <a:lnTo>
                  <a:pt x="15752" y="5137"/>
                </a:lnTo>
                <a:lnTo>
                  <a:pt x="15748" y="5126"/>
                </a:lnTo>
                <a:lnTo>
                  <a:pt x="15742" y="5118"/>
                </a:lnTo>
                <a:lnTo>
                  <a:pt x="15732" y="5113"/>
                </a:lnTo>
                <a:lnTo>
                  <a:pt x="15723" y="5109"/>
                </a:lnTo>
                <a:lnTo>
                  <a:pt x="15715" y="5103"/>
                </a:lnTo>
                <a:lnTo>
                  <a:pt x="15710" y="5093"/>
                </a:lnTo>
                <a:lnTo>
                  <a:pt x="15711" y="5079"/>
                </a:lnTo>
                <a:lnTo>
                  <a:pt x="15737" y="5079"/>
                </a:lnTo>
                <a:lnTo>
                  <a:pt x="15761" y="5078"/>
                </a:lnTo>
                <a:lnTo>
                  <a:pt x="15771" y="5075"/>
                </a:lnTo>
                <a:lnTo>
                  <a:pt x="15779" y="5071"/>
                </a:lnTo>
                <a:lnTo>
                  <a:pt x="15784" y="5064"/>
                </a:lnTo>
                <a:lnTo>
                  <a:pt x="15786" y="5053"/>
                </a:lnTo>
                <a:lnTo>
                  <a:pt x="15760" y="5048"/>
                </a:lnTo>
                <a:lnTo>
                  <a:pt x="15732" y="5045"/>
                </a:lnTo>
                <a:lnTo>
                  <a:pt x="15719" y="5042"/>
                </a:lnTo>
                <a:lnTo>
                  <a:pt x="15706" y="5039"/>
                </a:lnTo>
                <a:lnTo>
                  <a:pt x="15695" y="5034"/>
                </a:lnTo>
                <a:lnTo>
                  <a:pt x="15686" y="5028"/>
                </a:lnTo>
                <a:lnTo>
                  <a:pt x="15709" y="5025"/>
                </a:lnTo>
                <a:lnTo>
                  <a:pt x="15734" y="5019"/>
                </a:lnTo>
                <a:lnTo>
                  <a:pt x="15760" y="5010"/>
                </a:lnTo>
                <a:lnTo>
                  <a:pt x="15784" y="5003"/>
                </a:lnTo>
                <a:lnTo>
                  <a:pt x="15807" y="4997"/>
                </a:lnTo>
                <a:lnTo>
                  <a:pt x="15826" y="4997"/>
                </a:lnTo>
                <a:lnTo>
                  <a:pt x="15840" y="5008"/>
                </a:lnTo>
                <a:lnTo>
                  <a:pt x="15850" y="5028"/>
                </a:lnTo>
                <a:lnTo>
                  <a:pt x="15828" y="5036"/>
                </a:lnTo>
                <a:lnTo>
                  <a:pt x="15817" y="5042"/>
                </a:lnTo>
                <a:lnTo>
                  <a:pt x="15813" y="5047"/>
                </a:lnTo>
                <a:lnTo>
                  <a:pt x="15813" y="5055"/>
                </a:lnTo>
                <a:lnTo>
                  <a:pt x="15814" y="5062"/>
                </a:lnTo>
                <a:lnTo>
                  <a:pt x="15814" y="5073"/>
                </a:lnTo>
                <a:lnTo>
                  <a:pt x="15809" y="5087"/>
                </a:lnTo>
                <a:lnTo>
                  <a:pt x="15799" y="5103"/>
                </a:lnTo>
                <a:lnTo>
                  <a:pt x="15814" y="5095"/>
                </a:lnTo>
                <a:lnTo>
                  <a:pt x="15832" y="5089"/>
                </a:lnTo>
                <a:lnTo>
                  <a:pt x="15850" y="5084"/>
                </a:lnTo>
                <a:lnTo>
                  <a:pt x="15869" y="5079"/>
                </a:lnTo>
                <a:lnTo>
                  <a:pt x="15886" y="5071"/>
                </a:lnTo>
                <a:lnTo>
                  <a:pt x="15898" y="5062"/>
                </a:lnTo>
                <a:lnTo>
                  <a:pt x="15909" y="5047"/>
                </a:lnTo>
                <a:lnTo>
                  <a:pt x="15912" y="5028"/>
                </a:lnTo>
                <a:lnTo>
                  <a:pt x="15910" y="5020"/>
                </a:lnTo>
                <a:lnTo>
                  <a:pt x="15906" y="5017"/>
                </a:lnTo>
                <a:lnTo>
                  <a:pt x="15898" y="5013"/>
                </a:lnTo>
                <a:lnTo>
                  <a:pt x="15892" y="5011"/>
                </a:lnTo>
                <a:lnTo>
                  <a:pt x="15884" y="5009"/>
                </a:lnTo>
                <a:lnTo>
                  <a:pt x="15879" y="5005"/>
                </a:lnTo>
                <a:lnTo>
                  <a:pt x="15875" y="4999"/>
                </a:lnTo>
                <a:lnTo>
                  <a:pt x="15874" y="4990"/>
                </a:lnTo>
                <a:lnTo>
                  <a:pt x="15943" y="4967"/>
                </a:lnTo>
                <a:lnTo>
                  <a:pt x="16014" y="4947"/>
                </a:lnTo>
                <a:lnTo>
                  <a:pt x="16088" y="4930"/>
                </a:lnTo>
                <a:lnTo>
                  <a:pt x="16163" y="4913"/>
                </a:lnTo>
                <a:lnTo>
                  <a:pt x="16238" y="4897"/>
                </a:lnTo>
                <a:lnTo>
                  <a:pt x="16310" y="4878"/>
                </a:lnTo>
                <a:lnTo>
                  <a:pt x="16378" y="4855"/>
                </a:lnTo>
                <a:lnTo>
                  <a:pt x="16442" y="4827"/>
                </a:lnTo>
                <a:lnTo>
                  <a:pt x="16422" y="4819"/>
                </a:lnTo>
                <a:lnTo>
                  <a:pt x="16405" y="4815"/>
                </a:lnTo>
                <a:lnTo>
                  <a:pt x="16390" y="4813"/>
                </a:lnTo>
                <a:lnTo>
                  <a:pt x="16375" y="4812"/>
                </a:lnTo>
                <a:lnTo>
                  <a:pt x="16342" y="4812"/>
                </a:lnTo>
                <a:lnTo>
                  <a:pt x="16291" y="4814"/>
                </a:lnTo>
                <a:lnTo>
                  <a:pt x="16291" y="4822"/>
                </a:lnTo>
                <a:lnTo>
                  <a:pt x="16291" y="4828"/>
                </a:lnTo>
                <a:lnTo>
                  <a:pt x="16293" y="4833"/>
                </a:lnTo>
                <a:lnTo>
                  <a:pt x="16296" y="4838"/>
                </a:lnTo>
                <a:lnTo>
                  <a:pt x="16297" y="4843"/>
                </a:lnTo>
                <a:lnTo>
                  <a:pt x="16298" y="4846"/>
                </a:lnTo>
                <a:lnTo>
                  <a:pt x="16296" y="4850"/>
                </a:lnTo>
                <a:lnTo>
                  <a:pt x="16291" y="4851"/>
                </a:lnTo>
                <a:lnTo>
                  <a:pt x="16279" y="4850"/>
                </a:lnTo>
                <a:lnTo>
                  <a:pt x="16268" y="4851"/>
                </a:lnTo>
                <a:lnTo>
                  <a:pt x="16256" y="4856"/>
                </a:lnTo>
                <a:lnTo>
                  <a:pt x="16246" y="4861"/>
                </a:lnTo>
                <a:lnTo>
                  <a:pt x="16237" y="4865"/>
                </a:lnTo>
                <a:lnTo>
                  <a:pt x="16229" y="4866"/>
                </a:lnTo>
                <a:lnTo>
                  <a:pt x="16222" y="4863"/>
                </a:lnTo>
                <a:lnTo>
                  <a:pt x="16215" y="4851"/>
                </a:lnTo>
                <a:lnTo>
                  <a:pt x="16242" y="4833"/>
                </a:lnTo>
                <a:lnTo>
                  <a:pt x="16270" y="4815"/>
                </a:lnTo>
                <a:lnTo>
                  <a:pt x="16298" y="4800"/>
                </a:lnTo>
                <a:lnTo>
                  <a:pt x="16326" y="4789"/>
                </a:lnTo>
                <a:lnTo>
                  <a:pt x="16356" y="4782"/>
                </a:lnTo>
                <a:lnTo>
                  <a:pt x="16384" y="4781"/>
                </a:lnTo>
                <a:lnTo>
                  <a:pt x="16413" y="4787"/>
                </a:lnTo>
                <a:lnTo>
                  <a:pt x="16442" y="4801"/>
                </a:lnTo>
                <a:lnTo>
                  <a:pt x="16441" y="4789"/>
                </a:lnTo>
                <a:lnTo>
                  <a:pt x="16438" y="4780"/>
                </a:lnTo>
                <a:lnTo>
                  <a:pt x="16435" y="4771"/>
                </a:lnTo>
                <a:lnTo>
                  <a:pt x="16429" y="4763"/>
                </a:lnTo>
                <a:lnTo>
                  <a:pt x="16459" y="4756"/>
                </a:lnTo>
                <a:lnTo>
                  <a:pt x="16489" y="4748"/>
                </a:lnTo>
                <a:lnTo>
                  <a:pt x="16521" y="4742"/>
                </a:lnTo>
                <a:lnTo>
                  <a:pt x="16554" y="4736"/>
                </a:lnTo>
                <a:lnTo>
                  <a:pt x="16586" y="4731"/>
                </a:lnTo>
                <a:lnTo>
                  <a:pt x="16619" y="4725"/>
                </a:lnTo>
                <a:lnTo>
                  <a:pt x="16651" y="4720"/>
                </a:lnTo>
                <a:lnTo>
                  <a:pt x="16682" y="4712"/>
                </a:lnTo>
                <a:lnTo>
                  <a:pt x="16687" y="4726"/>
                </a:lnTo>
                <a:lnTo>
                  <a:pt x="16694" y="4738"/>
                </a:lnTo>
                <a:lnTo>
                  <a:pt x="16689" y="4749"/>
                </a:lnTo>
                <a:lnTo>
                  <a:pt x="16684" y="4759"/>
                </a:lnTo>
                <a:lnTo>
                  <a:pt x="16676" y="4768"/>
                </a:lnTo>
                <a:lnTo>
                  <a:pt x="16669" y="4776"/>
                </a:lnTo>
                <a:lnTo>
                  <a:pt x="16662" y="4771"/>
                </a:lnTo>
                <a:lnTo>
                  <a:pt x="16657" y="4766"/>
                </a:lnTo>
                <a:lnTo>
                  <a:pt x="16652" y="4759"/>
                </a:lnTo>
                <a:lnTo>
                  <a:pt x="16648" y="4753"/>
                </a:lnTo>
                <a:lnTo>
                  <a:pt x="16643" y="4747"/>
                </a:lnTo>
                <a:lnTo>
                  <a:pt x="16637" y="4742"/>
                </a:lnTo>
                <a:lnTo>
                  <a:pt x="16629" y="4739"/>
                </a:lnTo>
                <a:lnTo>
                  <a:pt x="16619" y="4738"/>
                </a:lnTo>
                <a:lnTo>
                  <a:pt x="16608" y="4754"/>
                </a:lnTo>
                <a:lnTo>
                  <a:pt x="16592" y="4764"/>
                </a:lnTo>
                <a:lnTo>
                  <a:pt x="16572" y="4768"/>
                </a:lnTo>
                <a:lnTo>
                  <a:pt x="16549" y="4772"/>
                </a:lnTo>
                <a:lnTo>
                  <a:pt x="16526" y="4776"/>
                </a:lnTo>
                <a:lnTo>
                  <a:pt x="16505" y="4785"/>
                </a:lnTo>
                <a:lnTo>
                  <a:pt x="16484" y="4800"/>
                </a:lnTo>
                <a:lnTo>
                  <a:pt x="16468" y="4827"/>
                </a:lnTo>
                <a:lnTo>
                  <a:pt x="16505" y="4827"/>
                </a:lnTo>
                <a:lnTo>
                  <a:pt x="16544" y="4824"/>
                </a:lnTo>
                <a:lnTo>
                  <a:pt x="16582" y="4818"/>
                </a:lnTo>
                <a:lnTo>
                  <a:pt x="16620" y="4812"/>
                </a:lnTo>
                <a:lnTo>
                  <a:pt x="16659" y="4803"/>
                </a:lnTo>
                <a:lnTo>
                  <a:pt x="16697" y="4793"/>
                </a:lnTo>
                <a:lnTo>
                  <a:pt x="16734" y="4784"/>
                </a:lnTo>
                <a:lnTo>
                  <a:pt x="16769" y="4776"/>
                </a:lnTo>
                <a:lnTo>
                  <a:pt x="16775" y="4786"/>
                </a:lnTo>
                <a:lnTo>
                  <a:pt x="16780" y="4798"/>
                </a:lnTo>
                <a:lnTo>
                  <a:pt x="16786" y="4809"/>
                </a:lnTo>
                <a:lnTo>
                  <a:pt x="16792" y="4817"/>
                </a:lnTo>
                <a:lnTo>
                  <a:pt x="16801" y="4823"/>
                </a:lnTo>
                <a:lnTo>
                  <a:pt x="16810" y="4826"/>
                </a:lnTo>
                <a:lnTo>
                  <a:pt x="16822" y="4823"/>
                </a:lnTo>
                <a:lnTo>
                  <a:pt x="16833" y="4814"/>
                </a:lnTo>
                <a:lnTo>
                  <a:pt x="16837" y="4800"/>
                </a:lnTo>
                <a:lnTo>
                  <a:pt x="16834" y="4793"/>
                </a:lnTo>
                <a:lnTo>
                  <a:pt x="16828" y="4790"/>
                </a:lnTo>
                <a:lnTo>
                  <a:pt x="16819" y="4789"/>
                </a:lnTo>
                <a:lnTo>
                  <a:pt x="16810" y="4789"/>
                </a:lnTo>
                <a:lnTo>
                  <a:pt x="16801" y="4789"/>
                </a:lnTo>
                <a:lnTo>
                  <a:pt x="16796" y="4785"/>
                </a:lnTo>
                <a:lnTo>
                  <a:pt x="16795" y="4776"/>
                </a:lnTo>
                <a:lnTo>
                  <a:pt x="16829" y="4764"/>
                </a:lnTo>
                <a:lnTo>
                  <a:pt x="16870" y="4757"/>
                </a:lnTo>
                <a:lnTo>
                  <a:pt x="16916" y="4749"/>
                </a:lnTo>
                <a:lnTo>
                  <a:pt x="16959" y="4742"/>
                </a:lnTo>
                <a:lnTo>
                  <a:pt x="16999" y="4731"/>
                </a:lnTo>
                <a:lnTo>
                  <a:pt x="17029" y="4716"/>
                </a:lnTo>
                <a:lnTo>
                  <a:pt x="17047" y="4694"/>
                </a:lnTo>
                <a:lnTo>
                  <a:pt x="17047" y="4663"/>
                </a:lnTo>
                <a:lnTo>
                  <a:pt x="17037" y="4677"/>
                </a:lnTo>
                <a:lnTo>
                  <a:pt x="17027" y="4683"/>
                </a:lnTo>
                <a:lnTo>
                  <a:pt x="17018" y="4684"/>
                </a:lnTo>
                <a:lnTo>
                  <a:pt x="17009" y="4680"/>
                </a:lnTo>
                <a:lnTo>
                  <a:pt x="16999" y="4675"/>
                </a:lnTo>
                <a:lnTo>
                  <a:pt x="16988" y="4669"/>
                </a:lnTo>
                <a:lnTo>
                  <a:pt x="16974" y="4664"/>
                </a:lnTo>
                <a:lnTo>
                  <a:pt x="16959" y="4663"/>
                </a:lnTo>
                <a:lnTo>
                  <a:pt x="16948" y="4674"/>
                </a:lnTo>
                <a:lnTo>
                  <a:pt x="16922" y="4689"/>
                </a:lnTo>
                <a:lnTo>
                  <a:pt x="16889" y="4705"/>
                </a:lnTo>
                <a:lnTo>
                  <a:pt x="16850" y="4719"/>
                </a:lnTo>
                <a:lnTo>
                  <a:pt x="16810" y="4729"/>
                </a:lnTo>
                <a:lnTo>
                  <a:pt x="16772" y="4730"/>
                </a:lnTo>
                <a:lnTo>
                  <a:pt x="16740" y="4721"/>
                </a:lnTo>
                <a:lnTo>
                  <a:pt x="16720" y="4701"/>
                </a:lnTo>
                <a:lnTo>
                  <a:pt x="16769" y="4694"/>
                </a:lnTo>
                <a:lnTo>
                  <a:pt x="16820" y="4683"/>
                </a:lnTo>
                <a:lnTo>
                  <a:pt x="16870" y="4669"/>
                </a:lnTo>
                <a:lnTo>
                  <a:pt x="16921" y="4654"/>
                </a:lnTo>
                <a:lnTo>
                  <a:pt x="16973" y="4638"/>
                </a:lnTo>
                <a:lnTo>
                  <a:pt x="17025" y="4628"/>
                </a:lnTo>
                <a:lnTo>
                  <a:pt x="17080" y="4622"/>
                </a:lnTo>
                <a:lnTo>
                  <a:pt x="17135" y="4624"/>
                </a:lnTo>
                <a:lnTo>
                  <a:pt x="17135" y="4663"/>
                </a:lnTo>
                <a:lnTo>
                  <a:pt x="17145" y="4666"/>
                </a:lnTo>
                <a:lnTo>
                  <a:pt x="17155" y="4665"/>
                </a:lnTo>
                <a:lnTo>
                  <a:pt x="17163" y="4661"/>
                </a:lnTo>
                <a:lnTo>
                  <a:pt x="17171" y="4656"/>
                </a:lnTo>
                <a:lnTo>
                  <a:pt x="17176" y="4652"/>
                </a:lnTo>
                <a:lnTo>
                  <a:pt x="17181" y="4651"/>
                </a:lnTo>
                <a:lnTo>
                  <a:pt x="17185" y="4654"/>
                </a:lnTo>
                <a:lnTo>
                  <a:pt x="17186" y="4663"/>
                </a:lnTo>
                <a:lnTo>
                  <a:pt x="17182" y="4668"/>
                </a:lnTo>
                <a:lnTo>
                  <a:pt x="17174" y="4670"/>
                </a:lnTo>
                <a:lnTo>
                  <a:pt x="17167" y="4672"/>
                </a:lnTo>
                <a:lnTo>
                  <a:pt x="17158" y="4673"/>
                </a:lnTo>
                <a:lnTo>
                  <a:pt x="17150" y="4674"/>
                </a:lnTo>
                <a:lnTo>
                  <a:pt x="17143" y="4677"/>
                </a:lnTo>
                <a:lnTo>
                  <a:pt x="17137" y="4680"/>
                </a:lnTo>
                <a:lnTo>
                  <a:pt x="17135" y="4688"/>
                </a:lnTo>
                <a:lnTo>
                  <a:pt x="17155" y="4688"/>
                </a:lnTo>
                <a:lnTo>
                  <a:pt x="17174" y="4689"/>
                </a:lnTo>
                <a:lnTo>
                  <a:pt x="17192" y="4688"/>
                </a:lnTo>
                <a:lnTo>
                  <a:pt x="17209" y="4686"/>
                </a:lnTo>
                <a:lnTo>
                  <a:pt x="17224" y="4680"/>
                </a:lnTo>
                <a:lnTo>
                  <a:pt x="17236" y="4674"/>
                </a:lnTo>
                <a:lnTo>
                  <a:pt x="17244" y="4664"/>
                </a:lnTo>
                <a:lnTo>
                  <a:pt x="17250" y="4650"/>
                </a:lnTo>
                <a:lnTo>
                  <a:pt x="17229" y="4649"/>
                </a:lnTo>
                <a:lnTo>
                  <a:pt x="17215" y="4646"/>
                </a:lnTo>
                <a:lnTo>
                  <a:pt x="17205" y="4641"/>
                </a:lnTo>
                <a:lnTo>
                  <a:pt x="17197" y="4635"/>
                </a:lnTo>
                <a:lnTo>
                  <a:pt x="17191" y="4630"/>
                </a:lnTo>
                <a:lnTo>
                  <a:pt x="17181" y="4623"/>
                </a:lnTo>
                <a:lnTo>
                  <a:pt x="17168" y="4617"/>
                </a:lnTo>
                <a:lnTo>
                  <a:pt x="17148" y="4612"/>
                </a:lnTo>
                <a:lnTo>
                  <a:pt x="17180" y="4612"/>
                </a:lnTo>
                <a:lnTo>
                  <a:pt x="17209" y="4605"/>
                </a:lnTo>
                <a:lnTo>
                  <a:pt x="17236" y="4595"/>
                </a:lnTo>
                <a:lnTo>
                  <a:pt x="17264" y="4585"/>
                </a:lnTo>
                <a:lnTo>
                  <a:pt x="17290" y="4576"/>
                </a:lnTo>
                <a:lnTo>
                  <a:pt x="17317" y="4572"/>
                </a:lnTo>
                <a:lnTo>
                  <a:pt x="17345" y="4575"/>
                </a:lnTo>
                <a:lnTo>
                  <a:pt x="17376" y="4586"/>
                </a:lnTo>
                <a:lnTo>
                  <a:pt x="17367" y="4598"/>
                </a:lnTo>
                <a:lnTo>
                  <a:pt x="17351" y="4603"/>
                </a:lnTo>
                <a:lnTo>
                  <a:pt x="17331" y="4605"/>
                </a:lnTo>
                <a:lnTo>
                  <a:pt x="17311" y="4607"/>
                </a:lnTo>
                <a:lnTo>
                  <a:pt x="17290" y="4610"/>
                </a:lnTo>
                <a:lnTo>
                  <a:pt x="17274" y="4619"/>
                </a:lnTo>
                <a:lnTo>
                  <a:pt x="17264" y="4636"/>
                </a:lnTo>
                <a:lnTo>
                  <a:pt x="17261" y="4663"/>
                </a:lnTo>
                <a:lnTo>
                  <a:pt x="17290" y="4655"/>
                </a:lnTo>
                <a:lnTo>
                  <a:pt x="17322" y="4651"/>
                </a:lnTo>
                <a:lnTo>
                  <a:pt x="17355" y="4650"/>
                </a:lnTo>
                <a:lnTo>
                  <a:pt x="17388" y="4649"/>
                </a:lnTo>
                <a:lnTo>
                  <a:pt x="17423" y="4645"/>
                </a:lnTo>
                <a:lnTo>
                  <a:pt x="17456" y="4636"/>
                </a:lnTo>
                <a:lnTo>
                  <a:pt x="17486" y="4622"/>
                </a:lnTo>
                <a:lnTo>
                  <a:pt x="17513" y="4599"/>
                </a:lnTo>
                <a:lnTo>
                  <a:pt x="17494" y="4604"/>
                </a:lnTo>
                <a:lnTo>
                  <a:pt x="17475" y="4607"/>
                </a:lnTo>
                <a:lnTo>
                  <a:pt x="17456" y="4607"/>
                </a:lnTo>
                <a:lnTo>
                  <a:pt x="17439" y="4604"/>
                </a:lnTo>
                <a:lnTo>
                  <a:pt x="17423" y="4598"/>
                </a:lnTo>
                <a:lnTo>
                  <a:pt x="17409" y="4589"/>
                </a:lnTo>
                <a:lnTo>
                  <a:pt x="17397" y="4577"/>
                </a:lnTo>
                <a:lnTo>
                  <a:pt x="17387" y="4562"/>
                </a:lnTo>
                <a:lnTo>
                  <a:pt x="17513" y="4532"/>
                </a:lnTo>
                <a:lnTo>
                  <a:pt x="17634" y="4507"/>
                </a:lnTo>
                <a:lnTo>
                  <a:pt x="17751" y="4486"/>
                </a:lnTo>
                <a:lnTo>
                  <a:pt x="17865" y="4467"/>
                </a:lnTo>
                <a:lnTo>
                  <a:pt x="17975" y="4445"/>
                </a:lnTo>
                <a:lnTo>
                  <a:pt x="18084" y="4420"/>
                </a:lnTo>
                <a:lnTo>
                  <a:pt x="18191" y="4388"/>
                </a:lnTo>
                <a:lnTo>
                  <a:pt x="18295" y="4347"/>
                </a:lnTo>
                <a:lnTo>
                  <a:pt x="18285" y="4342"/>
                </a:lnTo>
                <a:lnTo>
                  <a:pt x="18275" y="4337"/>
                </a:lnTo>
                <a:lnTo>
                  <a:pt x="18266" y="4330"/>
                </a:lnTo>
                <a:lnTo>
                  <a:pt x="18258" y="4323"/>
                </a:lnTo>
                <a:lnTo>
                  <a:pt x="18282" y="4329"/>
                </a:lnTo>
                <a:lnTo>
                  <a:pt x="18309" y="4334"/>
                </a:lnTo>
                <a:lnTo>
                  <a:pt x="18322" y="4334"/>
                </a:lnTo>
                <a:lnTo>
                  <a:pt x="18333" y="4330"/>
                </a:lnTo>
                <a:lnTo>
                  <a:pt x="18341" y="4323"/>
                </a:lnTo>
                <a:lnTo>
                  <a:pt x="18346" y="4310"/>
                </a:lnTo>
                <a:lnTo>
                  <a:pt x="18323" y="4304"/>
                </a:lnTo>
                <a:lnTo>
                  <a:pt x="18299" y="4299"/>
                </a:lnTo>
                <a:lnTo>
                  <a:pt x="18291" y="4295"/>
                </a:lnTo>
                <a:lnTo>
                  <a:pt x="18286" y="4290"/>
                </a:lnTo>
                <a:lnTo>
                  <a:pt x="18287" y="4282"/>
                </a:lnTo>
                <a:lnTo>
                  <a:pt x="18295" y="4272"/>
                </a:lnTo>
                <a:lnTo>
                  <a:pt x="18276" y="4276"/>
                </a:lnTo>
                <a:lnTo>
                  <a:pt x="18259" y="4277"/>
                </a:lnTo>
                <a:lnTo>
                  <a:pt x="18244" y="4277"/>
                </a:lnTo>
                <a:lnTo>
                  <a:pt x="18231" y="4277"/>
                </a:lnTo>
                <a:lnTo>
                  <a:pt x="18220" y="4277"/>
                </a:lnTo>
                <a:lnTo>
                  <a:pt x="18207" y="4277"/>
                </a:lnTo>
                <a:lnTo>
                  <a:pt x="18196" y="4280"/>
                </a:lnTo>
                <a:lnTo>
                  <a:pt x="18182" y="4285"/>
                </a:lnTo>
                <a:lnTo>
                  <a:pt x="18182" y="4299"/>
                </a:lnTo>
                <a:lnTo>
                  <a:pt x="18187" y="4308"/>
                </a:lnTo>
                <a:lnTo>
                  <a:pt x="18196" y="4314"/>
                </a:lnTo>
                <a:lnTo>
                  <a:pt x="18207" y="4316"/>
                </a:lnTo>
                <a:lnTo>
                  <a:pt x="18219" y="4319"/>
                </a:lnTo>
                <a:lnTo>
                  <a:pt x="18230" y="4322"/>
                </a:lnTo>
                <a:lnTo>
                  <a:pt x="18239" y="4327"/>
                </a:lnTo>
                <a:lnTo>
                  <a:pt x="18245" y="4334"/>
                </a:lnTo>
                <a:lnTo>
                  <a:pt x="18215" y="4339"/>
                </a:lnTo>
                <a:lnTo>
                  <a:pt x="18186" y="4346"/>
                </a:lnTo>
                <a:lnTo>
                  <a:pt x="18159" y="4353"/>
                </a:lnTo>
                <a:lnTo>
                  <a:pt x="18133" y="4360"/>
                </a:lnTo>
                <a:lnTo>
                  <a:pt x="18110" y="4366"/>
                </a:lnTo>
                <a:lnTo>
                  <a:pt x="18090" y="4371"/>
                </a:lnTo>
                <a:lnTo>
                  <a:pt x="18071" y="4374"/>
                </a:lnTo>
                <a:lnTo>
                  <a:pt x="18056" y="4372"/>
                </a:lnTo>
                <a:lnTo>
                  <a:pt x="18057" y="4361"/>
                </a:lnTo>
                <a:lnTo>
                  <a:pt x="18057" y="4348"/>
                </a:lnTo>
                <a:lnTo>
                  <a:pt x="18058" y="4343"/>
                </a:lnTo>
                <a:lnTo>
                  <a:pt x="18061" y="4339"/>
                </a:lnTo>
                <a:lnTo>
                  <a:pt x="18063" y="4337"/>
                </a:lnTo>
                <a:lnTo>
                  <a:pt x="18068" y="4334"/>
                </a:lnTo>
                <a:lnTo>
                  <a:pt x="18075" y="4336"/>
                </a:lnTo>
                <a:lnTo>
                  <a:pt x="18082" y="4341"/>
                </a:lnTo>
                <a:lnTo>
                  <a:pt x="18091" y="4346"/>
                </a:lnTo>
                <a:lnTo>
                  <a:pt x="18099" y="4352"/>
                </a:lnTo>
                <a:lnTo>
                  <a:pt x="18105" y="4356"/>
                </a:lnTo>
                <a:lnTo>
                  <a:pt x="18112" y="4357"/>
                </a:lnTo>
                <a:lnTo>
                  <a:pt x="18117" y="4356"/>
                </a:lnTo>
                <a:lnTo>
                  <a:pt x="18119" y="4347"/>
                </a:lnTo>
                <a:lnTo>
                  <a:pt x="18108" y="4341"/>
                </a:lnTo>
                <a:lnTo>
                  <a:pt x="18105" y="4334"/>
                </a:lnTo>
                <a:lnTo>
                  <a:pt x="18108" y="4328"/>
                </a:lnTo>
                <a:lnTo>
                  <a:pt x="18114" y="4322"/>
                </a:lnTo>
                <a:lnTo>
                  <a:pt x="18123" y="4314"/>
                </a:lnTo>
                <a:lnTo>
                  <a:pt x="18130" y="4305"/>
                </a:lnTo>
                <a:lnTo>
                  <a:pt x="18133" y="4296"/>
                </a:lnTo>
                <a:lnTo>
                  <a:pt x="18132" y="4285"/>
                </a:lnTo>
                <a:lnTo>
                  <a:pt x="18006" y="4314"/>
                </a:lnTo>
                <a:lnTo>
                  <a:pt x="17890" y="4337"/>
                </a:lnTo>
                <a:lnTo>
                  <a:pt x="17779" y="4356"/>
                </a:lnTo>
                <a:lnTo>
                  <a:pt x="17672" y="4374"/>
                </a:lnTo>
                <a:lnTo>
                  <a:pt x="17567" y="4390"/>
                </a:lnTo>
                <a:lnTo>
                  <a:pt x="17458" y="4409"/>
                </a:lnTo>
                <a:lnTo>
                  <a:pt x="17345" y="4432"/>
                </a:lnTo>
                <a:lnTo>
                  <a:pt x="17224" y="4460"/>
                </a:lnTo>
                <a:lnTo>
                  <a:pt x="17216" y="4459"/>
                </a:lnTo>
                <a:lnTo>
                  <a:pt x="17210" y="4455"/>
                </a:lnTo>
                <a:lnTo>
                  <a:pt x="17206" y="4450"/>
                </a:lnTo>
                <a:lnTo>
                  <a:pt x="17202" y="4445"/>
                </a:lnTo>
                <a:lnTo>
                  <a:pt x="17197" y="4440"/>
                </a:lnTo>
                <a:lnTo>
                  <a:pt x="17192" y="4436"/>
                </a:lnTo>
                <a:lnTo>
                  <a:pt x="17185" y="4434"/>
                </a:lnTo>
                <a:lnTo>
                  <a:pt x="17173" y="4436"/>
                </a:lnTo>
                <a:lnTo>
                  <a:pt x="17146" y="4467"/>
                </a:lnTo>
                <a:lnTo>
                  <a:pt x="17108" y="4490"/>
                </a:lnTo>
                <a:lnTo>
                  <a:pt x="17062" y="4504"/>
                </a:lnTo>
                <a:lnTo>
                  <a:pt x="17013" y="4511"/>
                </a:lnTo>
                <a:lnTo>
                  <a:pt x="16962" y="4514"/>
                </a:lnTo>
                <a:lnTo>
                  <a:pt x="16912" y="4511"/>
                </a:lnTo>
                <a:lnTo>
                  <a:pt x="16869" y="4506"/>
                </a:lnTo>
                <a:lnTo>
                  <a:pt x="16833" y="4498"/>
                </a:lnTo>
                <a:lnTo>
                  <a:pt x="16865" y="4470"/>
                </a:lnTo>
                <a:lnTo>
                  <a:pt x="16903" y="4450"/>
                </a:lnTo>
                <a:lnTo>
                  <a:pt x="16948" y="4434"/>
                </a:lnTo>
                <a:lnTo>
                  <a:pt x="16995" y="4421"/>
                </a:lnTo>
                <a:lnTo>
                  <a:pt x="17042" y="4408"/>
                </a:lnTo>
                <a:lnTo>
                  <a:pt x="17087" y="4393"/>
                </a:lnTo>
                <a:lnTo>
                  <a:pt x="17127" y="4374"/>
                </a:lnTo>
                <a:lnTo>
                  <a:pt x="17160" y="4347"/>
                </a:lnTo>
                <a:lnTo>
                  <a:pt x="17151" y="4343"/>
                </a:lnTo>
                <a:lnTo>
                  <a:pt x="17145" y="4338"/>
                </a:lnTo>
                <a:lnTo>
                  <a:pt x="17139" y="4332"/>
                </a:lnTo>
                <a:lnTo>
                  <a:pt x="17134" y="4324"/>
                </a:lnTo>
                <a:lnTo>
                  <a:pt x="17130" y="4315"/>
                </a:lnTo>
                <a:lnTo>
                  <a:pt x="17127" y="4305"/>
                </a:lnTo>
                <a:lnTo>
                  <a:pt x="17125" y="4295"/>
                </a:lnTo>
                <a:lnTo>
                  <a:pt x="17123" y="4285"/>
                </a:lnTo>
                <a:lnTo>
                  <a:pt x="17137" y="4274"/>
                </a:lnTo>
                <a:lnTo>
                  <a:pt x="17153" y="4264"/>
                </a:lnTo>
                <a:lnTo>
                  <a:pt x="17162" y="4260"/>
                </a:lnTo>
                <a:lnTo>
                  <a:pt x="17172" y="4258"/>
                </a:lnTo>
                <a:lnTo>
                  <a:pt x="17183" y="4257"/>
                </a:lnTo>
                <a:lnTo>
                  <a:pt x="17199" y="4259"/>
                </a:lnTo>
                <a:lnTo>
                  <a:pt x="17199" y="4269"/>
                </a:lnTo>
                <a:lnTo>
                  <a:pt x="17194" y="4276"/>
                </a:lnTo>
                <a:lnTo>
                  <a:pt x="17186" y="4280"/>
                </a:lnTo>
                <a:lnTo>
                  <a:pt x="17177" y="4281"/>
                </a:lnTo>
                <a:lnTo>
                  <a:pt x="17167" y="4283"/>
                </a:lnTo>
                <a:lnTo>
                  <a:pt x="17158" y="4285"/>
                </a:lnTo>
                <a:lnTo>
                  <a:pt x="17151" y="4290"/>
                </a:lnTo>
                <a:lnTo>
                  <a:pt x="17148" y="4297"/>
                </a:lnTo>
                <a:lnTo>
                  <a:pt x="17162" y="4297"/>
                </a:lnTo>
                <a:lnTo>
                  <a:pt x="17174" y="4295"/>
                </a:lnTo>
                <a:lnTo>
                  <a:pt x="17186" y="4292"/>
                </a:lnTo>
                <a:lnTo>
                  <a:pt x="17196" y="4288"/>
                </a:lnTo>
                <a:lnTo>
                  <a:pt x="17206" y="4285"/>
                </a:lnTo>
                <a:lnTo>
                  <a:pt x="17219" y="4282"/>
                </a:lnTo>
                <a:lnTo>
                  <a:pt x="17233" y="4282"/>
                </a:lnTo>
                <a:lnTo>
                  <a:pt x="17250" y="4285"/>
                </a:lnTo>
                <a:lnTo>
                  <a:pt x="17233" y="4268"/>
                </a:lnTo>
                <a:lnTo>
                  <a:pt x="17225" y="4258"/>
                </a:lnTo>
                <a:lnTo>
                  <a:pt x="17225" y="4253"/>
                </a:lnTo>
                <a:lnTo>
                  <a:pt x="17229" y="4250"/>
                </a:lnTo>
                <a:lnTo>
                  <a:pt x="17236" y="4246"/>
                </a:lnTo>
                <a:lnTo>
                  <a:pt x="17244" y="4240"/>
                </a:lnTo>
                <a:lnTo>
                  <a:pt x="17253" y="4229"/>
                </a:lnTo>
                <a:lnTo>
                  <a:pt x="17261" y="4208"/>
                </a:lnTo>
                <a:lnTo>
                  <a:pt x="17190" y="4224"/>
                </a:lnTo>
                <a:lnTo>
                  <a:pt x="17120" y="4238"/>
                </a:lnTo>
                <a:lnTo>
                  <a:pt x="17052" y="4250"/>
                </a:lnTo>
                <a:lnTo>
                  <a:pt x="16988" y="4266"/>
                </a:lnTo>
                <a:lnTo>
                  <a:pt x="16927" y="4281"/>
                </a:lnTo>
                <a:lnTo>
                  <a:pt x="16868" y="4299"/>
                </a:lnTo>
                <a:lnTo>
                  <a:pt x="16811" y="4322"/>
                </a:lnTo>
                <a:lnTo>
                  <a:pt x="16757" y="4347"/>
                </a:lnTo>
                <a:lnTo>
                  <a:pt x="16713" y="4348"/>
                </a:lnTo>
                <a:lnTo>
                  <a:pt x="16669" y="4357"/>
                </a:lnTo>
                <a:lnTo>
                  <a:pt x="16622" y="4374"/>
                </a:lnTo>
                <a:lnTo>
                  <a:pt x="16576" y="4392"/>
                </a:lnTo>
                <a:lnTo>
                  <a:pt x="16531" y="4408"/>
                </a:lnTo>
                <a:lnTo>
                  <a:pt x="16488" y="4418"/>
                </a:lnTo>
                <a:lnTo>
                  <a:pt x="16450" y="4421"/>
                </a:lnTo>
                <a:lnTo>
                  <a:pt x="16417" y="4411"/>
                </a:lnTo>
                <a:lnTo>
                  <a:pt x="16459" y="4389"/>
                </a:lnTo>
                <a:lnTo>
                  <a:pt x="16499" y="4371"/>
                </a:lnTo>
                <a:lnTo>
                  <a:pt x="16540" y="4356"/>
                </a:lnTo>
                <a:lnTo>
                  <a:pt x="16582" y="4342"/>
                </a:lnTo>
                <a:lnTo>
                  <a:pt x="16626" y="4328"/>
                </a:lnTo>
                <a:lnTo>
                  <a:pt x="16671" y="4315"/>
                </a:lnTo>
                <a:lnTo>
                  <a:pt x="16719" y="4301"/>
                </a:lnTo>
                <a:lnTo>
                  <a:pt x="16769" y="4285"/>
                </a:lnTo>
                <a:lnTo>
                  <a:pt x="16772" y="4271"/>
                </a:lnTo>
                <a:lnTo>
                  <a:pt x="16768" y="4260"/>
                </a:lnTo>
                <a:lnTo>
                  <a:pt x="16762" y="4255"/>
                </a:lnTo>
                <a:lnTo>
                  <a:pt x="16753" y="4252"/>
                </a:lnTo>
                <a:lnTo>
                  <a:pt x="16743" y="4248"/>
                </a:lnTo>
                <a:lnTo>
                  <a:pt x="16736" y="4243"/>
                </a:lnTo>
                <a:lnTo>
                  <a:pt x="16731" y="4235"/>
                </a:lnTo>
                <a:lnTo>
                  <a:pt x="16733" y="4221"/>
                </a:lnTo>
                <a:lnTo>
                  <a:pt x="16758" y="4211"/>
                </a:lnTo>
                <a:lnTo>
                  <a:pt x="16786" y="4206"/>
                </a:lnTo>
                <a:lnTo>
                  <a:pt x="16813" y="4207"/>
                </a:lnTo>
                <a:lnTo>
                  <a:pt x="16841" y="4211"/>
                </a:lnTo>
                <a:lnTo>
                  <a:pt x="16868" y="4217"/>
                </a:lnTo>
                <a:lnTo>
                  <a:pt x="16894" y="4225"/>
                </a:lnTo>
                <a:lnTo>
                  <a:pt x="16921" y="4231"/>
                </a:lnTo>
                <a:lnTo>
                  <a:pt x="16946" y="4234"/>
                </a:lnTo>
                <a:lnTo>
                  <a:pt x="16958" y="4199"/>
                </a:lnTo>
                <a:lnTo>
                  <a:pt x="16977" y="4178"/>
                </a:lnTo>
                <a:lnTo>
                  <a:pt x="17004" y="4167"/>
                </a:lnTo>
                <a:lnTo>
                  <a:pt x="17034" y="4165"/>
                </a:lnTo>
                <a:lnTo>
                  <a:pt x="17065" y="4167"/>
                </a:lnTo>
                <a:lnTo>
                  <a:pt x="17093" y="4174"/>
                </a:lnTo>
                <a:lnTo>
                  <a:pt x="17118" y="4180"/>
                </a:lnTo>
                <a:lnTo>
                  <a:pt x="17135" y="4184"/>
                </a:lnTo>
                <a:lnTo>
                  <a:pt x="17174" y="4183"/>
                </a:lnTo>
                <a:lnTo>
                  <a:pt x="17214" y="4176"/>
                </a:lnTo>
                <a:lnTo>
                  <a:pt x="17252" y="4165"/>
                </a:lnTo>
                <a:lnTo>
                  <a:pt x="17290" y="4153"/>
                </a:lnTo>
                <a:lnTo>
                  <a:pt x="17326" y="4141"/>
                </a:lnTo>
                <a:lnTo>
                  <a:pt x="17362" y="4132"/>
                </a:lnTo>
                <a:lnTo>
                  <a:pt x="17395" y="4129"/>
                </a:lnTo>
                <a:lnTo>
                  <a:pt x="17425" y="4133"/>
                </a:lnTo>
                <a:lnTo>
                  <a:pt x="17410" y="4143"/>
                </a:lnTo>
                <a:lnTo>
                  <a:pt x="17395" y="4153"/>
                </a:lnTo>
                <a:lnTo>
                  <a:pt x="17378" y="4161"/>
                </a:lnTo>
                <a:lnTo>
                  <a:pt x="17362" y="4170"/>
                </a:lnTo>
                <a:lnTo>
                  <a:pt x="17344" y="4178"/>
                </a:lnTo>
                <a:lnTo>
                  <a:pt x="17325" y="4184"/>
                </a:lnTo>
                <a:lnTo>
                  <a:pt x="17307" y="4190"/>
                </a:lnTo>
                <a:lnTo>
                  <a:pt x="17286" y="4196"/>
                </a:lnTo>
                <a:lnTo>
                  <a:pt x="17286" y="4204"/>
                </a:lnTo>
                <a:lnTo>
                  <a:pt x="17288" y="4211"/>
                </a:lnTo>
                <a:lnTo>
                  <a:pt x="17290" y="4216"/>
                </a:lnTo>
                <a:lnTo>
                  <a:pt x="17295" y="4220"/>
                </a:lnTo>
                <a:lnTo>
                  <a:pt x="17304" y="4226"/>
                </a:lnTo>
                <a:lnTo>
                  <a:pt x="17312" y="4234"/>
                </a:lnTo>
                <a:lnTo>
                  <a:pt x="17299" y="4245"/>
                </a:lnTo>
                <a:lnTo>
                  <a:pt x="17288" y="4258"/>
                </a:lnTo>
                <a:lnTo>
                  <a:pt x="17276" y="4269"/>
                </a:lnTo>
                <a:lnTo>
                  <a:pt x="17266" y="4282"/>
                </a:lnTo>
                <a:lnTo>
                  <a:pt x="17244" y="4309"/>
                </a:lnTo>
                <a:lnTo>
                  <a:pt x="17224" y="4334"/>
                </a:lnTo>
                <a:lnTo>
                  <a:pt x="17256" y="4343"/>
                </a:lnTo>
                <a:lnTo>
                  <a:pt x="17286" y="4351"/>
                </a:lnTo>
                <a:lnTo>
                  <a:pt x="17317" y="4355"/>
                </a:lnTo>
                <a:lnTo>
                  <a:pt x="17348" y="4357"/>
                </a:lnTo>
                <a:lnTo>
                  <a:pt x="17378" y="4357"/>
                </a:lnTo>
                <a:lnTo>
                  <a:pt x="17407" y="4356"/>
                </a:lnTo>
                <a:lnTo>
                  <a:pt x="17435" y="4352"/>
                </a:lnTo>
                <a:lnTo>
                  <a:pt x="17464" y="4347"/>
                </a:lnTo>
                <a:lnTo>
                  <a:pt x="17448" y="4347"/>
                </a:lnTo>
                <a:lnTo>
                  <a:pt x="17434" y="4344"/>
                </a:lnTo>
                <a:lnTo>
                  <a:pt x="17429" y="4342"/>
                </a:lnTo>
                <a:lnTo>
                  <a:pt x="17427" y="4337"/>
                </a:lnTo>
                <a:lnTo>
                  <a:pt x="17424" y="4330"/>
                </a:lnTo>
                <a:lnTo>
                  <a:pt x="17425" y="4323"/>
                </a:lnTo>
                <a:lnTo>
                  <a:pt x="17449" y="4315"/>
                </a:lnTo>
                <a:lnTo>
                  <a:pt x="17478" y="4310"/>
                </a:lnTo>
                <a:lnTo>
                  <a:pt x="17492" y="4309"/>
                </a:lnTo>
                <a:lnTo>
                  <a:pt x="17504" y="4310"/>
                </a:lnTo>
                <a:lnTo>
                  <a:pt x="17516" y="4315"/>
                </a:lnTo>
                <a:lnTo>
                  <a:pt x="17526" y="4323"/>
                </a:lnTo>
                <a:lnTo>
                  <a:pt x="17537" y="4296"/>
                </a:lnTo>
                <a:lnTo>
                  <a:pt x="17550" y="4276"/>
                </a:lnTo>
                <a:lnTo>
                  <a:pt x="17564" y="4260"/>
                </a:lnTo>
                <a:lnTo>
                  <a:pt x="17582" y="4250"/>
                </a:lnTo>
                <a:lnTo>
                  <a:pt x="17604" y="4243"/>
                </a:lnTo>
                <a:lnTo>
                  <a:pt x="17628" y="4240"/>
                </a:lnTo>
                <a:lnTo>
                  <a:pt x="17657" y="4241"/>
                </a:lnTo>
                <a:lnTo>
                  <a:pt x="17690" y="4246"/>
                </a:lnTo>
                <a:lnTo>
                  <a:pt x="17732" y="4222"/>
                </a:lnTo>
                <a:lnTo>
                  <a:pt x="17774" y="4198"/>
                </a:lnTo>
                <a:lnTo>
                  <a:pt x="17816" y="4174"/>
                </a:lnTo>
                <a:lnTo>
                  <a:pt x="17857" y="4148"/>
                </a:lnTo>
                <a:lnTo>
                  <a:pt x="17899" y="4124"/>
                </a:lnTo>
                <a:lnTo>
                  <a:pt x="17942" y="4101"/>
                </a:lnTo>
                <a:lnTo>
                  <a:pt x="17986" y="4078"/>
                </a:lnTo>
                <a:lnTo>
                  <a:pt x="18030" y="4058"/>
                </a:lnTo>
                <a:lnTo>
                  <a:pt x="18024" y="4033"/>
                </a:lnTo>
                <a:lnTo>
                  <a:pt x="18016" y="4010"/>
                </a:lnTo>
                <a:lnTo>
                  <a:pt x="18010" y="3999"/>
                </a:lnTo>
                <a:lnTo>
                  <a:pt x="18003" y="3991"/>
                </a:lnTo>
                <a:lnTo>
                  <a:pt x="17993" y="3984"/>
                </a:lnTo>
                <a:lnTo>
                  <a:pt x="17981" y="3982"/>
                </a:lnTo>
                <a:lnTo>
                  <a:pt x="17960" y="3996"/>
                </a:lnTo>
                <a:lnTo>
                  <a:pt x="17931" y="4006"/>
                </a:lnTo>
                <a:lnTo>
                  <a:pt x="17894" y="4012"/>
                </a:lnTo>
                <a:lnTo>
                  <a:pt x="17853" y="4016"/>
                </a:lnTo>
                <a:lnTo>
                  <a:pt x="17812" y="4016"/>
                </a:lnTo>
                <a:lnTo>
                  <a:pt x="17774" y="4012"/>
                </a:lnTo>
                <a:lnTo>
                  <a:pt x="17740" y="4006"/>
                </a:lnTo>
                <a:lnTo>
                  <a:pt x="17716" y="3994"/>
                </a:lnTo>
                <a:lnTo>
                  <a:pt x="17723" y="3988"/>
                </a:lnTo>
                <a:lnTo>
                  <a:pt x="17730" y="3985"/>
                </a:lnTo>
                <a:lnTo>
                  <a:pt x="17735" y="3985"/>
                </a:lnTo>
                <a:lnTo>
                  <a:pt x="17741" y="3988"/>
                </a:lnTo>
                <a:lnTo>
                  <a:pt x="17747" y="3992"/>
                </a:lnTo>
                <a:lnTo>
                  <a:pt x="17755" y="3994"/>
                </a:lnTo>
                <a:lnTo>
                  <a:pt x="17765" y="3996"/>
                </a:lnTo>
                <a:lnTo>
                  <a:pt x="17778" y="3994"/>
                </a:lnTo>
                <a:lnTo>
                  <a:pt x="17777" y="3977"/>
                </a:lnTo>
                <a:lnTo>
                  <a:pt x="17783" y="3964"/>
                </a:lnTo>
                <a:lnTo>
                  <a:pt x="17792" y="3956"/>
                </a:lnTo>
                <a:lnTo>
                  <a:pt x="17805" y="3951"/>
                </a:lnTo>
                <a:lnTo>
                  <a:pt x="17819" y="3947"/>
                </a:lnTo>
                <a:lnTo>
                  <a:pt x="17830" y="3942"/>
                </a:lnTo>
                <a:lnTo>
                  <a:pt x="17838" y="3933"/>
                </a:lnTo>
                <a:lnTo>
                  <a:pt x="17842" y="3919"/>
                </a:lnTo>
                <a:lnTo>
                  <a:pt x="17781" y="3924"/>
                </a:lnTo>
                <a:lnTo>
                  <a:pt x="17717" y="3935"/>
                </a:lnTo>
                <a:lnTo>
                  <a:pt x="17655" y="3950"/>
                </a:lnTo>
                <a:lnTo>
                  <a:pt x="17591" y="3966"/>
                </a:lnTo>
                <a:lnTo>
                  <a:pt x="17528" y="3984"/>
                </a:lnTo>
                <a:lnTo>
                  <a:pt x="17466" y="4002"/>
                </a:lnTo>
                <a:lnTo>
                  <a:pt x="17406" y="4019"/>
                </a:lnTo>
                <a:lnTo>
                  <a:pt x="17350" y="4033"/>
                </a:lnTo>
                <a:lnTo>
                  <a:pt x="17350" y="4021"/>
                </a:lnTo>
                <a:lnTo>
                  <a:pt x="17354" y="4011"/>
                </a:lnTo>
                <a:lnTo>
                  <a:pt x="17358" y="4002"/>
                </a:lnTo>
                <a:lnTo>
                  <a:pt x="17363" y="3994"/>
                </a:lnTo>
                <a:lnTo>
                  <a:pt x="17332" y="3997"/>
                </a:lnTo>
                <a:lnTo>
                  <a:pt x="17302" y="3999"/>
                </a:lnTo>
                <a:lnTo>
                  <a:pt x="17271" y="4003"/>
                </a:lnTo>
                <a:lnTo>
                  <a:pt x="17242" y="4008"/>
                </a:lnTo>
                <a:lnTo>
                  <a:pt x="17215" y="4017"/>
                </a:lnTo>
                <a:lnTo>
                  <a:pt x="17190" y="4030"/>
                </a:lnTo>
                <a:lnTo>
                  <a:pt x="17167" y="4048"/>
                </a:lnTo>
                <a:lnTo>
                  <a:pt x="17148" y="4069"/>
                </a:lnTo>
                <a:lnTo>
                  <a:pt x="17157" y="4072"/>
                </a:lnTo>
                <a:lnTo>
                  <a:pt x="17166" y="4071"/>
                </a:lnTo>
                <a:lnTo>
                  <a:pt x="17177" y="4069"/>
                </a:lnTo>
                <a:lnTo>
                  <a:pt x="17187" y="4068"/>
                </a:lnTo>
                <a:lnTo>
                  <a:pt x="17197" y="4068"/>
                </a:lnTo>
                <a:lnTo>
                  <a:pt x="17205" y="4071"/>
                </a:lnTo>
                <a:lnTo>
                  <a:pt x="17210" y="4075"/>
                </a:lnTo>
                <a:lnTo>
                  <a:pt x="17211" y="4082"/>
                </a:lnTo>
                <a:lnTo>
                  <a:pt x="17174" y="4086"/>
                </a:lnTo>
                <a:lnTo>
                  <a:pt x="17137" y="4097"/>
                </a:lnTo>
                <a:lnTo>
                  <a:pt x="17102" y="4111"/>
                </a:lnTo>
                <a:lnTo>
                  <a:pt x="17067" y="4127"/>
                </a:lnTo>
                <a:lnTo>
                  <a:pt x="17034" y="4141"/>
                </a:lnTo>
                <a:lnTo>
                  <a:pt x="17004" y="4147"/>
                </a:lnTo>
                <a:lnTo>
                  <a:pt x="16973" y="4146"/>
                </a:lnTo>
                <a:lnTo>
                  <a:pt x="16946" y="4133"/>
                </a:lnTo>
                <a:lnTo>
                  <a:pt x="16950" y="4122"/>
                </a:lnTo>
                <a:lnTo>
                  <a:pt x="16955" y="4114"/>
                </a:lnTo>
                <a:lnTo>
                  <a:pt x="16962" y="4110"/>
                </a:lnTo>
                <a:lnTo>
                  <a:pt x="16971" y="4110"/>
                </a:lnTo>
                <a:lnTo>
                  <a:pt x="16988" y="4115"/>
                </a:lnTo>
                <a:lnTo>
                  <a:pt x="17009" y="4120"/>
                </a:lnTo>
                <a:lnTo>
                  <a:pt x="17006" y="4109"/>
                </a:lnTo>
                <a:lnTo>
                  <a:pt x="17001" y="4100"/>
                </a:lnTo>
                <a:lnTo>
                  <a:pt x="16995" y="4092"/>
                </a:lnTo>
                <a:lnTo>
                  <a:pt x="16987" y="4086"/>
                </a:lnTo>
                <a:lnTo>
                  <a:pt x="16978" y="4080"/>
                </a:lnTo>
                <a:lnTo>
                  <a:pt x="16971" y="4075"/>
                </a:lnTo>
                <a:lnTo>
                  <a:pt x="16964" y="4067"/>
                </a:lnTo>
                <a:lnTo>
                  <a:pt x="16959" y="4058"/>
                </a:lnTo>
                <a:lnTo>
                  <a:pt x="16954" y="4076"/>
                </a:lnTo>
                <a:lnTo>
                  <a:pt x="16950" y="4094"/>
                </a:lnTo>
                <a:lnTo>
                  <a:pt x="16948" y="4101"/>
                </a:lnTo>
                <a:lnTo>
                  <a:pt x="16945" y="4109"/>
                </a:lnTo>
                <a:lnTo>
                  <a:pt x="16940" y="4115"/>
                </a:lnTo>
                <a:lnTo>
                  <a:pt x="16934" y="4120"/>
                </a:lnTo>
                <a:lnTo>
                  <a:pt x="16931" y="4115"/>
                </a:lnTo>
                <a:lnTo>
                  <a:pt x="16925" y="4109"/>
                </a:lnTo>
                <a:lnTo>
                  <a:pt x="16917" y="4104"/>
                </a:lnTo>
                <a:lnTo>
                  <a:pt x="16908" y="4099"/>
                </a:lnTo>
                <a:lnTo>
                  <a:pt x="16899" y="4096"/>
                </a:lnTo>
                <a:lnTo>
                  <a:pt x="16892" y="4096"/>
                </a:lnTo>
                <a:lnTo>
                  <a:pt x="16887" y="4100"/>
                </a:lnTo>
                <a:lnTo>
                  <a:pt x="16883" y="4108"/>
                </a:lnTo>
                <a:lnTo>
                  <a:pt x="16888" y="4109"/>
                </a:lnTo>
                <a:lnTo>
                  <a:pt x="16892" y="4113"/>
                </a:lnTo>
                <a:lnTo>
                  <a:pt x="16894" y="4117"/>
                </a:lnTo>
                <a:lnTo>
                  <a:pt x="16896" y="4120"/>
                </a:lnTo>
                <a:lnTo>
                  <a:pt x="16897" y="4133"/>
                </a:lnTo>
                <a:lnTo>
                  <a:pt x="16896" y="4146"/>
                </a:lnTo>
                <a:lnTo>
                  <a:pt x="16883" y="4137"/>
                </a:lnTo>
                <a:lnTo>
                  <a:pt x="16865" y="4136"/>
                </a:lnTo>
                <a:lnTo>
                  <a:pt x="16845" y="4138"/>
                </a:lnTo>
                <a:lnTo>
                  <a:pt x="16823" y="4143"/>
                </a:lnTo>
                <a:lnTo>
                  <a:pt x="16801" y="4147"/>
                </a:lnTo>
                <a:lnTo>
                  <a:pt x="16780" y="4148"/>
                </a:lnTo>
                <a:lnTo>
                  <a:pt x="16761" y="4145"/>
                </a:lnTo>
                <a:lnTo>
                  <a:pt x="16744" y="4133"/>
                </a:lnTo>
                <a:lnTo>
                  <a:pt x="16767" y="4118"/>
                </a:lnTo>
                <a:lnTo>
                  <a:pt x="16792" y="4104"/>
                </a:lnTo>
                <a:lnTo>
                  <a:pt x="16820" y="4091"/>
                </a:lnTo>
                <a:lnTo>
                  <a:pt x="16850" y="4078"/>
                </a:lnTo>
                <a:lnTo>
                  <a:pt x="16876" y="4066"/>
                </a:lnTo>
                <a:lnTo>
                  <a:pt x="16898" y="4052"/>
                </a:lnTo>
                <a:lnTo>
                  <a:pt x="16915" y="4036"/>
                </a:lnTo>
                <a:lnTo>
                  <a:pt x="16921" y="4020"/>
                </a:lnTo>
                <a:lnTo>
                  <a:pt x="16940" y="4029"/>
                </a:lnTo>
                <a:lnTo>
                  <a:pt x="16959" y="4031"/>
                </a:lnTo>
                <a:lnTo>
                  <a:pt x="16981" y="4031"/>
                </a:lnTo>
                <a:lnTo>
                  <a:pt x="17001" y="4027"/>
                </a:lnTo>
                <a:lnTo>
                  <a:pt x="17045" y="4016"/>
                </a:lnTo>
                <a:lnTo>
                  <a:pt x="17085" y="4007"/>
                </a:lnTo>
                <a:lnTo>
                  <a:pt x="17089" y="3997"/>
                </a:lnTo>
                <a:lnTo>
                  <a:pt x="17088" y="3988"/>
                </a:lnTo>
                <a:lnTo>
                  <a:pt x="17084" y="3979"/>
                </a:lnTo>
                <a:lnTo>
                  <a:pt x="17079" y="3973"/>
                </a:lnTo>
                <a:lnTo>
                  <a:pt x="17075" y="3966"/>
                </a:lnTo>
                <a:lnTo>
                  <a:pt x="17074" y="3961"/>
                </a:lnTo>
                <a:lnTo>
                  <a:pt x="17076" y="3959"/>
                </a:lnTo>
                <a:lnTo>
                  <a:pt x="17085" y="3956"/>
                </a:lnTo>
                <a:lnTo>
                  <a:pt x="17186" y="3974"/>
                </a:lnTo>
                <a:lnTo>
                  <a:pt x="17288" y="3978"/>
                </a:lnTo>
                <a:lnTo>
                  <a:pt x="17390" y="3971"/>
                </a:lnTo>
                <a:lnTo>
                  <a:pt x="17495" y="3957"/>
                </a:lnTo>
                <a:lnTo>
                  <a:pt x="17602" y="3940"/>
                </a:lnTo>
                <a:lnTo>
                  <a:pt x="17712" y="3922"/>
                </a:lnTo>
                <a:lnTo>
                  <a:pt x="17825" y="3905"/>
                </a:lnTo>
                <a:lnTo>
                  <a:pt x="17942" y="3894"/>
                </a:lnTo>
                <a:lnTo>
                  <a:pt x="17932" y="3901"/>
                </a:lnTo>
                <a:lnTo>
                  <a:pt x="17918" y="3904"/>
                </a:lnTo>
                <a:lnTo>
                  <a:pt x="17903" y="3905"/>
                </a:lnTo>
                <a:lnTo>
                  <a:pt x="17886" y="3907"/>
                </a:lnTo>
                <a:lnTo>
                  <a:pt x="17871" y="3909"/>
                </a:lnTo>
                <a:lnTo>
                  <a:pt x="17860" y="3915"/>
                </a:lnTo>
                <a:lnTo>
                  <a:pt x="17853" y="3927"/>
                </a:lnTo>
                <a:lnTo>
                  <a:pt x="17854" y="3943"/>
                </a:lnTo>
                <a:lnTo>
                  <a:pt x="17867" y="3945"/>
                </a:lnTo>
                <a:lnTo>
                  <a:pt x="17879" y="3943"/>
                </a:lnTo>
                <a:lnTo>
                  <a:pt x="17888" y="3940"/>
                </a:lnTo>
                <a:lnTo>
                  <a:pt x="17896" y="3936"/>
                </a:lnTo>
                <a:lnTo>
                  <a:pt x="17905" y="3933"/>
                </a:lnTo>
                <a:lnTo>
                  <a:pt x="17916" y="3929"/>
                </a:lnTo>
                <a:lnTo>
                  <a:pt x="17928" y="3929"/>
                </a:lnTo>
                <a:lnTo>
                  <a:pt x="17942" y="3932"/>
                </a:lnTo>
                <a:lnTo>
                  <a:pt x="17960" y="3904"/>
                </a:lnTo>
                <a:lnTo>
                  <a:pt x="17991" y="3887"/>
                </a:lnTo>
                <a:lnTo>
                  <a:pt x="18030" y="3879"/>
                </a:lnTo>
                <a:lnTo>
                  <a:pt x="18074" y="3872"/>
                </a:lnTo>
                <a:lnTo>
                  <a:pt x="18116" y="3867"/>
                </a:lnTo>
                <a:lnTo>
                  <a:pt x="18152" y="3859"/>
                </a:lnTo>
                <a:lnTo>
                  <a:pt x="18180" y="3844"/>
                </a:lnTo>
                <a:lnTo>
                  <a:pt x="18194" y="3817"/>
                </a:lnTo>
                <a:lnTo>
                  <a:pt x="18251" y="3828"/>
                </a:lnTo>
                <a:lnTo>
                  <a:pt x="18304" y="3834"/>
                </a:lnTo>
                <a:lnTo>
                  <a:pt x="18356" y="3837"/>
                </a:lnTo>
                <a:lnTo>
                  <a:pt x="18406" y="3837"/>
                </a:lnTo>
                <a:lnTo>
                  <a:pt x="18452" y="3831"/>
                </a:lnTo>
                <a:lnTo>
                  <a:pt x="18492" y="3823"/>
                </a:lnTo>
                <a:lnTo>
                  <a:pt x="18529" y="3810"/>
                </a:lnTo>
                <a:lnTo>
                  <a:pt x="18560" y="3793"/>
                </a:lnTo>
                <a:lnTo>
                  <a:pt x="18551" y="3801"/>
                </a:lnTo>
                <a:lnTo>
                  <a:pt x="18549" y="3811"/>
                </a:lnTo>
                <a:lnTo>
                  <a:pt x="18551" y="3821"/>
                </a:lnTo>
                <a:lnTo>
                  <a:pt x="18555" y="3831"/>
                </a:lnTo>
                <a:lnTo>
                  <a:pt x="18559" y="3843"/>
                </a:lnTo>
                <a:lnTo>
                  <a:pt x="18561" y="3852"/>
                </a:lnTo>
                <a:lnTo>
                  <a:pt x="18557" y="3861"/>
                </a:lnTo>
                <a:lnTo>
                  <a:pt x="18547" y="3868"/>
                </a:lnTo>
                <a:lnTo>
                  <a:pt x="18523" y="3865"/>
                </a:lnTo>
                <a:lnTo>
                  <a:pt x="18501" y="3865"/>
                </a:lnTo>
                <a:lnTo>
                  <a:pt x="18482" y="3867"/>
                </a:lnTo>
                <a:lnTo>
                  <a:pt x="18464" y="3872"/>
                </a:lnTo>
                <a:lnTo>
                  <a:pt x="18435" y="3884"/>
                </a:lnTo>
                <a:lnTo>
                  <a:pt x="18408" y="3894"/>
                </a:lnTo>
                <a:lnTo>
                  <a:pt x="18417" y="3894"/>
                </a:lnTo>
                <a:lnTo>
                  <a:pt x="18422" y="3895"/>
                </a:lnTo>
                <a:lnTo>
                  <a:pt x="18428" y="3899"/>
                </a:lnTo>
                <a:lnTo>
                  <a:pt x="18431" y="3903"/>
                </a:lnTo>
                <a:lnTo>
                  <a:pt x="18434" y="3908"/>
                </a:lnTo>
                <a:lnTo>
                  <a:pt x="18435" y="3914"/>
                </a:lnTo>
                <a:lnTo>
                  <a:pt x="18435" y="3923"/>
                </a:lnTo>
                <a:lnTo>
                  <a:pt x="18434" y="3932"/>
                </a:lnTo>
                <a:lnTo>
                  <a:pt x="18481" y="3919"/>
                </a:lnTo>
                <a:lnTo>
                  <a:pt x="18528" y="3907"/>
                </a:lnTo>
                <a:lnTo>
                  <a:pt x="18577" y="3891"/>
                </a:lnTo>
                <a:lnTo>
                  <a:pt x="18626" y="3876"/>
                </a:lnTo>
                <a:lnTo>
                  <a:pt x="18676" y="3861"/>
                </a:lnTo>
                <a:lnTo>
                  <a:pt x="18728" y="3845"/>
                </a:lnTo>
                <a:lnTo>
                  <a:pt x="18782" y="3831"/>
                </a:lnTo>
                <a:lnTo>
                  <a:pt x="18838" y="3817"/>
                </a:lnTo>
                <a:lnTo>
                  <a:pt x="18853" y="3835"/>
                </a:lnTo>
                <a:lnTo>
                  <a:pt x="18876" y="3844"/>
                </a:lnTo>
                <a:lnTo>
                  <a:pt x="18901" y="3847"/>
                </a:lnTo>
                <a:lnTo>
                  <a:pt x="18932" y="3847"/>
                </a:lnTo>
                <a:lnTo>
                  <a:pt x="18964" y="3844"/>
                </a:lnTo>
                <a:lnTo>
                  <a:pt x="18994" y="3842"/>
                </a:lnTo>
                <a:lnTo>
                  <a:pt x="19025" y="3840"/>
                </a:lnTo>
                <a:lnTo>
                  <a:pt x="19052" y="3843"/>
                </a:lnTo>
                <a:lnTo>
                  <a:pt x="19052" y="3843"/>
                </a:lnTo>
                <a:close/>
                <a:moveTo>
                  <a:pt x="10137" y="605"/>
                </a:moveTo>
                <a:lnTo>
                  <a:pt x="10140" y="619"/>
                </a:lnTo>
                <a:lnTo>
                  <a:pt x="10149" y="626"/>
                </a:lnTo>
                <a:lnTo>
                  <a:pt x="10164" y="629"/>
                </a:lnTo>
                <a:lnTo>
                  <a:pt x="10180" y="628"/>
                </a:lnTo>
                <a:lnTo>
                  <a:pt x="10198" y="621"/>
                </a:lnTo>
                <a:lnTo>
                  <a:pt x="10212" y="614"/>
                </a:lnTo>
                <a:lnTo>
                  <a:pt x="10222" y="603"/>
                </a:lnTo>
                <a:lnTo>
                  <a:pt x="10226" y="592"/>
                </a:lnTo>
                <a:lnTo>
                  <a:pt x="10211" y="591"/>
                </a:lnTo>
                <a:lnTo>
                  <a:pt x="10199" y="591"/>
                </a:lnTo>
                <a:lnTo>
                  <a:pt x="10188" y="592"/>
                </a:lnTo>
                <a:lnTo>
                  <a:pt x="10178" y="593"/>
                </a:lnTo>
                <a:lnTo>
                  <a:pt x="10159" y="600"/>
                </a:lnTo>
                <a:lnTo>
                  <a:pt x="10137" y="605"/>
                </a:lnTo>
                <a:close/>
                <a:moveTo>
                  <a:pt x="9633" y="579"/>
                </a:moveTo>
                <a:lnTo>
                  <a:pt x="9662" y="574"/>
                </a:lnTo>
                <a:lnTo>
                  <a:pt x="9693" y="569"/>
                </a:lnTo>
                <a:lnTo>
                  <a:pt x="9722" y="564"/>
                </a:lnTo>
                <a:lnTo>
                  <a:pt x="9750" y="557"/>
                </a:lnTo>
                <a:lnTo>
                  <a:pt x="9777" y="549"/>
                </a:lnTo>
                <a:lnTo>
                  <a:pt x="9800" y="537"/>
                </a:lnTo>
                <a:lnTo>
                  <a:pt x="9820" y="523"/>
                </a:lnTo>
                <a:lnTo>
                  <a:pt x="9835" y="504"/>
                </a:lnTo>
                <a:lnTo>
                  <a:pt x="9812" y="515"/>
                </a:lnTo>
                <a:lnTo>
                  <a:pt x="9783" y="522"/>
                </a:lnTo>
                <a:lnTo>
                  <a:pt x="9751" y="524"/>
                </a:lnTo>
                <a:lnTo>
                  <a:pt x="9718" y="526"/>
                </a:lnTo>
                <a:lnTo>
                  <a:pt x="9688" y="529"/>
                </a:lnTo>
                <a:lnTo>
                  <a:pt x="9661" y="537"/>
                </a:lnTo>
                <a:lnTo>
                  <a:pt x="9642" y="552"/>
                </a:lnTo>
                <a:lnTo>
                  <a:pt x="9633" y="579"/>
                </a:lnTo>
                <a:close/>
                <a:moveTo>
                  <a:pt x="9797" y="617"/>
                </a:moveTo>
                <a:lnTo>
                  <a:pt x="9837" y="626"/>
                </a:lnTo>
                <a:lnTo>
                  <a:pt x="9876" y="629"/>
                </a:lnTo>
                <a:lnTo>
                  <a:pt x="9915" y="626"/>
                </a:lnTo>
                <a:lnTo>
                  <a:pt x="9956" y="621"/>
                </a:lnTo>
                <a:lnTo>
                  <a:pt x="9996" y="614"/>
                </a:lnTo>
                <a:lnTo>
                  <a:pt x="10035" y="605"/>
                </a:lnTo>
                <a:lnTo>
                  <a:pt x="10075" y="597"/>
                </a:lnTo>
                <a:lnTo>
                  <a:pt x="10113" y="592"/>
                </a:lnTo>
                <a:lnTo>
                  <a:pt x="10114" y="583"/>
                </a:lnTo>
                <a:lnTo>
                  <a:pt x="10112" y="575"/>
                </a:lnTo>
                <a:lnTo>
                  <a:pt x="10108" y="568"/>
                </a:lnTo>
                <a:lnTo>
                  <a:pt x="10103" y="561"/>
                </a:lnTo>
                <a:lnTo>
                  <a:pt x="10099" y="555"/>
                </a:lnTo>
                <a:lnTo>
                  <a:pt x="10098" y="550"/>
                </a:lnTo>
                <a:lnTo>
                  <a:pt x="10101" y="545"/>
                </a:lnTo>
                <a:lnTo>
                  <a:pt x="10113" y="541"/>
                </a:lnTo>
                <a:lnTo>
                  <a:pt x="10149" y="551"/>
                </a:lnTo>
                <a:lnTo>
                  <a:pt x="10187" y="564"/>
                </a:lnTo>
                <a:lnTo>
                  <a:pt x="10205" y="566"/>
                </a:lnTo>
                <a:lnTo>
                  <a:pt x="10221" y="565"/>
                </a:lnTo>
                <a:lnTo>
                  <a:pt x="10238" y="557"/>
                </a:lnTo>
                <a:lnTo>
                  <a:pt x="10250" y="541"/>
                </a:lnTo>
                <a:lnTo>
                  <a:pt x="10247" y="540"/>
                </a:lnTo>
                <a:lnTo>
                  <a:pt x="10243" y="537"/>
                </a:lnTo>
                <a:lnTo>
                  <a:pt x="10240" y="533"/>
                </a:lnTo>
                <a:lnTo>
                  <a:pt x="10239" y="528"/>
                </a:lnTo>
                <a:lnTo>
                  <a:pt x="10238" y="517"/>
                </a:lnTo>
                <a:lnTo>
                  <a:pt x="10239" y="504"/>
                </a:lnTo>
                <a:lnTo>
                  <a:pt x="10184" y="503"/>
                </a:lnTo>
                <a:lnTo>
                  <a:pt x="10136" y="512"/>
                </a:lnTo>
                <a:lnTo>
                  <a:pt x="10091" y="524"/>
                </a:lnTo>
                <a:lnTo>
                  <a:pt x="10048" y="540"/>
                </a:lnTo>
                <a:lnTo>
                  <a:pt x="10002" y="555"/>
                </a:lnTo>
                <a:lnTo>
                  <a:pt x="9954" y="566"/>
                </a:lnTo>
                <a:lnTo>
                  <a:pt x="9899" y="572"/>
                </a:lnTo>
                <a:lnTo>
                  <a:pt x="9835" y="566"/>
                </a:lnTo>
                <a:lnTo>
                  <a:pt x="9837" y="579"/>
                </a:lnTo>
                <a:lnTo>
                  <a:pt x="9834" y="588"/>
                </a:lnTo>
                <a:lnTo>
                  <a:pt x="9829" y="594"/>
                </a:lnTo>
                <a:lnTo>
                  <a:pt x="9823" y="598"/>
                </a:lnTo>
                <a:lnTo>
                  <a:pt x="9815" y="601"/>
                </a:lnTo>
                <a:lnTo>
                  <a:pt x="9807" y="605"/>
                </a:lnTo>
                <a:lnTo>
                  <a:pt x="9801" y="610"/>
                </a:lnTo>
                <a:lnTo>
                  <a:pt x="9797" y="617"/>
                </a:lnTo>
                <a:lnTo>
                  <a:pt x="9797" y="617"/>
                </a:lnTo>
                <a:close/>
                <a:moveTo>
                  <a:pt x="9419" y="479"/>
                </a:moveTo>
                <a:lnTo>
                  <a:pt x="9440" y="477"/>
                </a:lnTo>
                <a:lnTo>
                  <a:pt x="9461" y="477"/>
                </a:lnTo>
                <a:lnTo>
                  <a:pt x="9481" y="477"/>
                </a:lnTo>
                <a:lnTo>
                  <a:pt x="9499" y="480"/>
                </a:lnTo>
                <a:lnTo>
                  <a:pt x="9536" y="485"/>
                </a:lnTo>
                <a:lnTo>
                  <a:pt x="9570" y="491"/>
                </a:lnTo>
                <a:lnTo>
                  <a:pt x="9567" y="454"/>
                </a:lnTo>
                <a:lnTo>
                  <a:pt x="9551" y="434"/>
                </a:lnTo>
                <a:lnTo>
                  <a:pt x="9528" y="429"/>
                </a:lnTo>
                <a:lnTo>
                  <a:pt x="9500" y="433"/>
                </a:lnTo>
                <a:lnTo>
                  <a:pt x="9472" y="443"/>
                </a:lnTo>
                <a:lnTo>
                  <a:pt x="9447" y="457"/>
                </a:lnTo>
                <a:lnTo>
                  <a:pt x="9428" y="470"/>
                </a:lnTo>
                <a:lnTo>
                  <a:pt x="9419" y="479"/>
                </a:lnTo>
                <a:close/>
                <a:moveTo>
                  <a:pt x="10818" y="919"/>
                </a:moveTo>
                <a:lnTo>
                  <a:pt x="10815" y="911"/>
                </a:lnTo>
                <a:lnTo>
                  <a:pt x="10806" y="906"/>
                </a:lnTo>
                <a:lnTo>
                  <a:pt x="10794" y="905"/>
                </a:lnTo>
                <a:lnTo>
                  <a:pt x="10783" y="906"/>
                </a:lnTo>
                <a:lnTo>
                  <a:pt x="10771" y="910"/>
                </a:lnTo>
                <a:lnTo>
                  <a:pt x="10762" y="915"/>
                </a:lnTo>
                <a:lnTo>
                  <a:pt x="10756" y="923"/>
                </a:lnTo>
                <a:lnTo>
                  <a:pt x="10756" y="932"/>
                </a:lnTo>
                <a:lnTo>
                  <a:pt x="10761" y="936"/>
                </a:lnTo>
                <a:lnTo>
                  <a:pt x="10770" y="941"/>
                </a:lnTo>
                <a:lnTo>
                  <a:pt x="10783" y="944"/>
                </a:lnTo>
                <a:lnTo>
                  <a:pt x="10794" y="946"/>
                </a:lnTo>
                <a:lnTo>
                  <a:pt x="10806" y="946"/>
                </a:lnTo>
                <a:lnTo>
                  <a:pt x="10815" y="942"/>
                </a:lnTo>
                <a:lnTo>
                  <a:pt x="10820" y="933"/>
                </a:lnTo>
                <a:lnTo>
                  <a:pt x="10818" y="919"/>
                </a:lnTo>
                <a:lnTo>
                  <a:pt x="10818" y="919"/>
                </a:lnTo>
                <a:close/>
                <a:moveTo>
                  <a:pt x="6292" y="1083"/>
                </a:moveTo>
                <a:lnTo>
                  <a:pt x="6291" y="1065"/>
                </a:lnTo>
                <a:lnTo>
                  <a:pt x="6285" y="1054"/>
                </a:lnTo>
                <a:lnTo>
                  <a:pt x="6275" y="1049"/>
                </a:lnTo>
                <a:lnTo>
                  <a:pt x="6263" y="1049"/>
                </a:lnTo>
                <a:lnTo>
                  <a:pt x="6252" y="1053"/>
                </a:lnTo>
                <a:lnTo>
                  <a:pt x="6241" y="1060"/>
                </a:lnTo>
                <a:lnTo>
                  <a:pt x="6233" y="1070"/>
                </a:lnTo>
                <a:lnTo>
                  <a:pt x="6229" y="1083"/>
                </a:lnTo>
                <a:lnTo>
                  <a:pt x="6249" y="1088"/>
                </a:lnTo>
                <a:lnTo>
                  <a:pt x="6261" y="1090"/>
                </a:lnTo>
                <a:lnTo>
                  <a:pt x="6271" y="1088"/>
                </a:lnTo>
                <a:lnTo>
                  <a:pt x="6292" y="1083"/>
                </a:lnTo>
                <a:close/>
                <a:moveTo>
                  <a:pt x="6342" y="869"/>
                </a:moveTo>
                <a:lnTo>
                  <a:pt x="6332" y="864"/>
                </a:lnTo>
                <a:lnTo>
                  <a:pt x="6317" y="862"/>
                </a:lnTo>
                <a:lnTo>
                  <a:pt x="6300" y="862"/>
                </a:lnTo>
                <a:lnTo>
                  <a:pt x="6282" y="864"/>
                </a:lnTo>
                <a:lnTo>
                  <a:pt x="6266" y="869"/>
                </a:lnTo>
                <a:lnTo>
                  <a:pt x="6253" y="878"/>
                </a:lnTo>
                <a:lnTo>
                  <a:pt x="6244" y="891"/>
                </a:lnTo>
                <a:lnTo>
                  <a:pt x="6241" y="906"/>
                </a:lnTo>
                <a:lnTo>
                  <a:pt x="6271" y="902"/>
                </a:lnTo>
                <a:lnTo>
                  <a:pt x="6301" y="897"/>
                </a:lnTo>
                <a:lnTo>
                  <a:pt x="6315" y="894"/>
                </a:lnTo>
                <a:lnTo>
                  <a:pt x="6327" y="888"/>
                </a:lnTo>
                <a:lnTo>
                  <a:pt x="6336" y="880"/>
                </a:lnTo>
                <a:lnTo>
                  <a:pt x="6342" y="869"/>
                </a:lnTo>
                <a:lnTo>
                  <a:pt x="6342" y="869"/>
                </a:lnTo>
                <a:close/>
                <a:moveTo>
                  <a:pt x="9167" y="541"/>
                </a:moveTo>
                <a:lnTo>
                  <a:pt x="9198" y="541"/>
                </a:lnTo>
                <a:lnTo>
                  <a:pt x="9230" y="542"/>
                </a:lnTo>
                <a:lnTo>
                  <a:pt x="9262" y="542"/>
                </a:lnTo>
                <a:lnTo>
                  <a:pt x="9291" y="540"/>
                </a:lnTo>
                <a:lnTo>
                  <a:pt x="9317" y="533"/>
                </a:lnTo>
                <a:lnTo>
                  <a:pt x="9337" y="522"/>
                </a:lnTo>
                <a:lnTo>
                  <a:pt x="9350" y="504"/>
                </a:lnTo>
                <a:lnTo>
                  <a:pt x="9355" y="479"/>
                </a:lnTo>
                <a:lnTo>
                  <a:pt x="9327" y="477"/>
                </a:lnTo>
                <a:lnTo>
                  <a:pt x="9300" y="477"/>
                </a:lnTo>
                <a:lnTo>
                  <a:pt x="9274" y="479"/>
                </a:lnTo>
                <a:lnTo>
                  <a:pt x="9247" y="480"/>
                </a:lnTo>
                <a:lnTo>
                  <a:pt x="9221" y="482"/>
                </a:lnTo>
                <a:lnTo>
                  <a:pt x="9196" y="485"/>
                </a:lnTo>
                <a:lnTo>
                  <a:pt x="9169" y="487"/>
                </a:lnTo>
                <a:lnTo>
                  <a:pt x="9141" y="491"/>
                </a:lnTo>
                <a:lnTo>
                  <a:pt x="9154" y="489"/>
                </a:lnTo>
                <a:lnTo>
                  <a:pt x="9162" y="490"/>
                </a:lnTo>
                <a:lnTo>
                  <a:pt x="9165" y="495"/>
                </a:lnTo>
                <a:lnTo>
                  <a:pt x="9167" y="503"/>
                </a:lnTo>
                <a:lnTo>
                  <a:pt x="9167" y="522"/>
                </a:lnTo>
                <a:lnTo>
                  <a:pt x="9167" y="541"/>
                </a:lnTo>
                <a:lnTo>
                  <a:pt x="9167" y="541"/>
                </a:lnTo>
                <a:close/>
                <a:moveTo>
                  <a:pt x="10932" y="793"/>
                </a:moveTo>
                <a:lnTo>
                  <a:pt x="10979" y="780"/>
                </a:lnTo>
                <a:lnTo>
                  <a:pt x="11029" y="771"/>
                </a:lnTo>
                <a:lnTo>
                  <a:pt x="11081" y="762"/>
                </a:lnTo>
                <a:lnTo>
                  <a:pt x="11133" y="755"/>
                </a:lnTo>
                <a:lnTo>
                  <a:pt x="11185" y="747"/>
                </a:lnTo>
                <a:lnTo>
                  <a:pt x="11235" y="737"/>
                </a:lnTo>
                <a:lnTo>
                  <a:pt x="11281" y="723"/>
                </a:lnTo>
                <a:lnTo>
                  <a:pt x="11323" y="705"/>
                </a:lnTo>
                <a:lnTo>
                  <a:pt x="11268" y="695"/>
                </a:lnTo>
                <a:lnTo>
                  <a:pt x="11216" y="690"/>
                </a:lnTo>
                <a:lnTo>
                  <a:pt x="11165" y="691"/>
                </a:lnTo>
                <a:lnTo>
                  <a:pt x="11115" y="698"/>
                </a:lnTo>
                <a:lnTo>
                  <a:pt x="11068" y="712"/>
                </a:lnTo>
                <a:lnTo>
                  <a:pt x="11021" y="732"/>
                </a:lnTo>
                <a:lnTo>
                  <a:pt x="10976" y="759"/>
                </a:lnTo>
                <a:lnTo>
                  <a:pt x="10932" y="793"/>
                </a:lnTo>
                <a:close/>
                <a:moveTo>
                  <a:pt x="14652" y="6376"/>
                </a:moveTo>
                <a:lnTo>
                  <a:pt x="14650" y="6390"/>
                </a:lnTo>
                <a:lnTo>
                  <a:pt x="14650" y="6403"/>
                </a:lnTo>
                <a:lnTo>
                  <a:pt x="14652" y="6414"/>
                </a:lnTo>
                <a:lnTo>
                  <a:pt x="14654" y="6423"/>
                </a:lnTo>
                <a:lnTo>
                  <a:pt x="14659" y="6432"/>
                </a:lnTo>
                <a:lnTo>
                  <a:pt x="14667" y="6437"/>
                </a:lnTo>
                <a:lnTo>
                  <a:pt x="14676" y="6440"/>
                </a:lnTo>
                <a:lnTo>
                  <a:pt x="14690" y="6440"/>
                </a:lnTo>
                <a:lnTo>
                  <a:pt x="14690" y="6426"/>
                </a:lnTo>
                <a:lnTo>
                  <a:pt x="14690" y="6414"/>
                </a:lnTo>
                <a:lnTo>
                  <a:pt x="14689" y="6403"/>
                </a:lnTo>
                <a:lnTo>
                  <a:pt x="14686" y="6393"/>
                </a:lnTo>
                <a:lnTo>
                  <a:pt x="14681" y="6385"/>
                </a:lnTo>
                <a:lnTo>
                  <a:pt x="14675" y="6379"/>
                </a:lnTo>
                <a:lnTo>
                  <a:pt x="14664" y="6376"/>
                </a:lnTo>
                <a:lnTo>
                  <a:pt x="14652" y="6376"/>
                </a:lnTo>
                <a:close/>
                <a:moveTo>
                  <a:pt x="9318" y="617"/>
                </a:moveTo>
                <a:lnTo>
                  <a:pt x="9300" y="616"/>
                </a:lnTo>
                <a:lnTo>
                  <a:pt x="9286" y="617"/>
                </a:lnTo>
                <a:lnTo>
                  <a:pt x="9274" y="620"/>
                </a:lnTo>
                <a:lnTo>
                  <a:pt x="9263" y="626"/>
                </a:lnTo>
                <a:lnTo>
                  <a:pt x="9246" y="640"/>
                </a:lnTo>
                <a:lnTo>
                  <a:pt x="9230" y="654"/>
                </a:lnTo>
                <a:lnTo>
                  <a:pt x="9238" y="654"/>
                </a:lnTo>
                <a:lnTo>
                  <a:pt x="9244" y="656"/>
                </a:lnTo>
                <a:lnTo>
                  <a:pt x="9251" y="658"/>
                </a:lnTo>
                <a:lnTo>
                  <a:pt x="9256" y="661"/>
                </a:lnTo>
                <a:lnTo>
                  <a:pt x="9261" y="663"/>
                </a:lnTo>
                <a:lnTo>
                  <a:pt x="9266" y="666"/>
                </a:lnTo>
                <a:lnTo>
                  <a:pt x="9272" y="667"/>
                </a:lnTo>
                <a:lnTo>
                  <a:pt x="9280" y="667"/>
                </a:lnTo>
                <a:lnTo>
                  <a:pt x="9279" y="654"/>
                </a:lnTo>
                <a:lnTo>
                  <a:pt x="9283" y="647"/>
                </a:lnTo>
                <a:lnTo>
                  <a:pt x="9288" y="643"/>
                </a:lnTo>
                <a:lnTo>
                  <a:pt x="9297" y="639"/>
                </a:lnTo>
                <a:lnTo>
                  <a:pt x="9304" y="636"/>
                </a:lnTo>
                <a:lnTo>
                  <a:pt x="9312" y="633"/>
                </a:lnTo>
                <a:lnTo>
                  <a:pt x="9317" y="628"/>
                </a:lnTo>
                <a:lnTo>
                  <a:pt x="9318" y="617"/>
                </a:lnTo>
                <a:close/>
                <a:moveTo>
                  <a:pt x="8372" y="365"/>
                </a:moveTo>
                <a:lnTo>
                  <a:pt x="8408" y="356"/>
                </a:lnTo>
                <a:lnTo>
                  <a:pt x="8443" y="347"/>
                </a:lnTo>
                <a:lnTo>
                  <a:pt x="8460" y="342"/>
                </a:lnTo>
                <a:lnTo>
                  <a:pt x="8475" y="335"/>
                </a:lnTo>
                <a:lnTo>
                  <a:pt x="8488" y="326"/>
                </a:lnTo>
                <a:lnTo>
                  <a:pt x="8498" y="314"/>
                </a:lnTo>
                <a:lnTo>
                  <a:pt x="8478" y="304"/>
                </a:lnTo>
                <a:lnTo>
                  <a:pt x="8459" y="300"/>
                </a:lnTo>
                <a:lnTo>
                  <a:pt x="8439" y="304"/>
                </a:lnTo>
                <a:lnTo>
                  <a:pt x="8422" y="311"/>
                </a:lnTo>
                <a:lnTo>
                  <a:pt x="8406" y="322"/>
                </a:lnTo>
                <a:lnTo>
                  <a:pt x="8392" y="336"/>
                </a:lnTo>
                <a:lnTo>
                  <a:pt x="8381" y="350"/>
                </a:lnTo>
                <a:lnTo>
                  <a:pt x="8372" y="365"/>
                </a:lnTo>
                <a:close/>
                <a:moveTo>
                  <a:pt x="15711" y="1171"/>
                </a:moveTo>
                <a:lnTo>
                  <a:pt x="15721" y="1179"/>
                </a:lnTo>
                <a:lnTo>
                  <a:pt x="15734" y="1181"/>
                </a:lnTo>
                <a:lnTo>
                  <a:pt x="15747" y="1183"/>
                </a:lnTo>
                <a:lnTo>
                  <a:pt x="15762" y="1180"/>
                </a:lnTo>
                <a:lnTo>
                  <a:pt x="15776" y="1176"/>
                </a:lnTo>
                <a:lnTo>
                  <a:pt x="15790" y="1171"/>
                </a:lnTo>
                <a:lnTo>
                  <a:pt x="15802" y="1165"/>
                </a:lnTo>
                <a:lnTo>
                  <a:pt x="15812" y="1158"/>
                </a:lnTo>
                <a:lnTo>
                  <a:pt x="15794" y="1161"/>
                </a:lnTo>
                <a:lnTo>
                  <a:pt x="15776" y="1160"/>
                </a:lnTo>
                <a:lnTo>
                  <a:pt x="15761" y="1156"/>
                </a:lnTo>
                <a:lnTo>
                  <a:pt x="15747" y="1152"/>
                </a:lnTo>
                <a:lnTo>
                  <a:pt x="15735" y="1149"/>
                </a:lnTo>
                <a:lnTo>
                  <a:pt x="15725" y="1151"/>
                </a:lnTo>
                <a:lnTo>
                  <a:pt x="15716" y="1157"/>
                </a:lnTo>
                <a:lnTo>
                  <a:pt x="15711" y="1171"/>
                </a:lnTo>
                <a:lnTo>
                  <a:pt x="15711" y="1171"/>
                </a:lnTo>
                <a:close/>
                <a:moveTo>
                  <a:pt x="16077" y="5771"/>
                </a:moveTo>
                <a:lnTo>
                  <a:pt x="16089" y="5778"/>
                </a:lnTo>
                <a:lnTo>
                  <a:pt x="16109" y="5780"/>
                </a:lnTo>
                <a:lnTo>
                  <a:pt x="16133" y="5780"/>
                </a:lnTo>
                <a:lnTo>
                  <a:pt x="16157" y="5775"/>
                </a:lnTo>
                <a:lnTo>
                  <a:pt x="16179" y="5769"/>
                </a:lnTo>
                <a:lnTo>
                  <a:pt x="16193" y="5760"/>
                </a:lnTo>
                <a:lnTo>
                  <a:pt x="16198" y="5747"/>
                </a:lnTo>
                <a:lnTo>
                  <a:pt x="16190" y="5733"/>
                </a:lnTo>
                <a:lnTo>
                  <a:pt x="16184" y="5750"/>
                </a:lnTo>
                <a:lnTo>
                  <a:pt x="16171" y="5755"/>
                </a:lnTo>
                <a:lnTo>
                  <a:pt x="16154" y="5755"/>
                </a:lnTo>
                <a:lnTo>
                  <a:pt x="16135" y="5750"/>
                </a:lnTo>
                <a:lnTo>
                  <a:pt x="16116" y="5746"/>
                </a:lnTo>
                <a:lnTo>
                  <a:pt x="16098" y="5746"/>
                </a:lnTo>
                <a:lnTo>
                  <a:pt x="16084" y="5754"/>
                </a:lnTo>
                <a:lnTo>
                  <a:pt x="16077" y="5771"/>
                </a:lnTo>
                <a:close/>
                <a:moveTo>
                  <a:pt x="15976" y="5457"/>
                </a:moveTo>
                <a:lnTo>
                  <a:pt x="15989" y="5454"/>
                </a:lnTo>
                <a:lnTo>
                  <a:pt x="16005" y="5456"/>
                </a:lnTo>
                <a:lnTo>
                  <a:pt x="16023" y="5457"/>
                </a:lnTo>
                <a:lnTo>
                  <a:pt x="16041" y="5458"/>
                </a:lnTo>
                <a:lnTo>
                  <a:pt x="16056" y="5458"/>
                </a:lnTo>
                <a:lnTo>
                  <a:pt x="16068" y="5454"/>
                </a:lnTo>
                <a:lnTo>
                  <a:pt x="16075" y="5447"/>
                </a:lnTo>
                <a:lnTo>
                  <a:pt x="16077" y="5432"/>
                </a:lnTo>
                <a:lnTo>
                  <a:pt x="16068" y="5428"/>
                </a:lnTo>
                <a:lnTo>
                  <a:pt x="16056" y="5426"/>
                </a:lnTo>
                <a:lnTo>
                  <a:pt x="16041" y="5426"/>
                </a:lnTo>
                <a:lnTo>
                  <a:pt x="16024" y="5428"/>
                </a:lnTo>
                <a:lnTo>
                  <a:pt x="16008" y="5432"/>
                </a:lnTo>
                <a:lnTo>
                  <a:pt x="15993" y="5437"/>
                </a:lnTo>
                <a:lnTo>
                  <a:pt x="15981" y="5446"/>
                </a:lnTo>
                <a:lnTo>
                  <a:pt x="15976" y="5457"/>
                </a:lnTo>
                <a:close/>
                <a:moveTo>
                  <a:pt x="16391" y="5771"/>
                </a:moveTo>
                <a:lnTo>
                  <a:pt x="16366" y="5771"/>
                </a:lnTo>
                <a:lnTo>
                  <a:pt x="16366" y="5788"/>
                </a:lnTo>
                <a:lnTo>
                  <a:pt x="16359" y="5796"/>
                </a:lnTo>
                <a:lnTo>
                  <a:pt x="16350" y="5798"/>
                </a:lnTo>
                <a:lnTo>
                  <a:pt x="16338" y="5797"/>
                </a:lnTo>
                <a:lnTo>
                  <a:pt x="16312" y="5789"/>
                </a:lnTo>
                <a:lnTo>
                  <a:pt x="16291" y="5784"/>
                </a:lnTo>
                <a:lnTo>
                  <a:pt x="16289" y="5796"/>
                </a:lnTo>
                <a:lnTo>
                  <a:pt x="16287" y="5806"/>
                </a:lnTo>
                <a:lnTo>
                  <a:pt x="16283" y="5815"/>
                </a:lnTo>
                <a:lnTo>
                  <a:pt x="16278" y="5822"/>
                </a:lnTo>
                <a:lnTo>
                  <a:pt x="16294" y="5817"/>
                </a:lnTo>
                <a:lnTo>
                  <a:pt x="16312" y="5815"/>
                </a:lnTo>
                <a:lnTo>
                  <a:pt x="16331" y="5813"/>
                </a:lnTo>
                <a:lnTo>
                  <a:pt x="16350" y="5812"/>
                </a:lnTo>
                <a:lnTo>
                  <a:pt x="16368" y="5810"/>
                </a:lnTo>
                <a:lnTo>
                  <a:pt x="16384" y="5804"/>
                </a:lnTo>
                <a:lnTo>
                  <a:pt x="16396" y="5797"/>
                </a:lnTo>
                <a:lnTo>
                  <a:pt x="16404" y="5784"/>
                </a:lnTo>
                <a:lnTo>
                  <a:pt x="16399" y="5783"/>
                </a:lnTo>
                <a:lnTo>
                  <a:pt x="16394" y="5782"/>
                </a:lnTo>
                <a:lnTo>
                  <a:pt x="16392" y="5780"/>
                </a:lnTo>
                <a:lnTo>
                  <a:pt x="16391" y="5778"/>
                </a:lnTo>
                <a:lnTo>
                  <a:pt x="16391" y="5775"/>
                </a:lnTo>
                <a:lnTo>
                  <a:pt x="16391" y="5771"/>
                </a:lnTo>
                <a:close/>
                <a:moveTo>
                  <a:pt x="16177" y="4940"/>
                </a:moveTo>
                <a:lnTo>
                  <a:pt x="16194" y="4948"/>
                </a:lnTo>
                <a:lnTo>
                  <a:pt x="16212" y="4955"/>
                </a:lnTo>
                <a:lnTo>
                  <a:pt x="16219" y="4961"/>
                </a:lnTo>
                <a:lnTo>
                  <a:pt x="16224" y="4968"/>
                </a:lnTo>
                <a:lnTo>
                  <a:pt x="16228" y="4977"/>
                </a:lnTo>
                <a:lnTo>
                  <a:pt x="16228" y="4990"/>
                </a:lnTo>
                <a:lnTo>
                  <a:pt x="16245" y="4980"/>
                </a:lnTo>
                <a:lnTo>
                  <a:pt x="16264" y="4973"/>
                </a:lnTo>
                <a:lnTo>
                  <a:pt x="16287" y="4969"/>
                </a:lnTo>
                <a:lnTo>
                  <a:pt x="16310" y="4966"/>
                </a:lnTo>
                <a:lnTo>
                  <a:pt x="16333" y="4961"/>
                </a:lnTo>
                <a:lnTo>
                  <a:pt x="16352" y="4954"/>
                </a:lnTo>
                <a:lnTo>
                  <a:pt x="16368" y="4943"/>
                </a:lnTo>
                <a:lnTo>
                  <a:pt x="16378" y="4927"/>
                </a:lnTo>
                <a:lnTo>
                  <a:pt x="16349" y="4931"/>
                </a:lnTo>
                <a:lnTo>
                  <a:pt x="16320" y="4930"/>
                </a:lnTo>
                <a:lnTo>
                  <a:pt x="16291" y="4925"/>
                </a:lnTo>
                <a:lnTo>
                  <a:pt x="16261" y="4920"/>
                </a:lnTo>
                <a:lnTo>
                  <a:pt x="16236" y="4916"/>
                </a:lnTo>
                <a:lnTo>
                  <a:pt x="16213" y="4916"/>
                </a:lnTo>
                <a:lnTo>
                  <a:pt x="16193" y="4924"/>
                </a:lnTo>
                <a:lnTo>
                  <a:pt x="16177" y="4940"/>
                </a:lnTo>
                <a:lnTo>
                  <a:pt x="16177" y="4940"/>
                </a:lnTo>
                <a:close/>
                <a:moveTo>
                  <a:pt x="16252" y="5205"/>
                </a:moveTo>
                <a:lnTo>
                  <a:pt x="16243" y="5192"/>
                </a:lnTo>
                <a:lnTo>
                  <a:pt x="16232" y="5181"/>
                </a:lnTo>
                <a:lnTo>
                  <a:pt x="16221" y="5171"/>
                </a:lnTo>
                <a:lnTo>
                  <a:pt x="16209" y="5160"/>
                </a:lnTo>
                <a:lnTo>
                  <a:pt x="16198" y="5149"/>
                </a:lnTo>
                <a:lnTo>
                  <a:pt x="16189" y="5136"/>
                </a:lnTo>
                <a:lnTo>
                  <a:pt x="16181" y="5122"/>
                </a:lnTo>
                <a:lnTo>
                  <a:pt x="16177" y="5103"/>
                </a:lnTo>
                <a:lnTo>
                  <a:pt x="16157" y="5126"/>
                </a:lnTo>
                <a:lnTo>
                  <a:pt x="16135" y="5145"/>
                </a:lnTo>
                <a:lnTo>
                  <a:pt x="16111" y="5162"/>
                </a:lnTo>
                <a:lnTo>
                  <a:pt x="16084" y="5173"/>
                </a:lnTo>
                <a:lnTo>
                  <a:pt x="16056" y="5179"/>
                </a:lnTo>
                <a:lnTo>
                  <a:pt x="16027" y="5182"/>
                </a:lnTo>
                <a:lnTo>
                  <a:pt x="15995" y="5177"/>
                </a:lnTo>
                <a:lnTo>
                  <a:pt x="15963" y="5167"/>
                </a:lnTo>
                <a:lnTo>
                  <a:pt x="15957" y="5176"/>
                </a:lnTo>
                <a:lnTo>
                  <a:pt x="15949" y="5185"/>
                </a:lnTo>
                <a:lnTo>
                  <a:pt x="15940" y="5192"/>
                </a:lnTo>
                <a:lnTo>
                  <a:pt x="15933" y="5200"/>
                </a:lnTo>
                <a:lnTo>
                  <a:pt x="15925" y="5209"/>
                </a:lnTo>
                <a:lnTo>
                  <a:pt x="15920" y="5218"/>
                </a:lnTo>
                <a:lnTo>
                  <a:pt x="15915" y="5229"/>
                </a:lnTo>
                <a:lnTo>
                  <a:pt x="15912" y="5242"/>
                </a:lnTo>
                <a:lnTo>
                  <a:pt x="15945" y="5232"/>
                </a:lnTo>
                <a:lnTo>
                  <a:pt x="15985" y="5221"/>
                </a:lnTo>
                <a:lnTo>
                  <a:pt x="16031" y="5211"/>
                </a:lnTo>
                <a:lnTo>
                  <a:pt x="16080" y="5204"/>
                </a:lnTo>
                <a:lnTo>
                  <a:pt x="16129" y="5199"/>
                </a:lnTo>
                <a:lnTo>
                  <a:pt x="16176" y="5196"/>
                </a:lnTo>
                <a:lnTo>
                  <a:pt x="16218" y="5197"/>
                </a:lnTo>
                <a:lnTo>
                  <a:pt x="16252" y="5205"/>
                </a:lnTo>
                <a:close/>
                <a:moveTo>
                  <a:pt x="16391" y="5645"/>
                </a:moveTo>
                <a:lnTo>
                  <a:pt x="16381" y="5652"/>
                </a:lnTo>
                <a:lnTo>
                  <a:pt x="16368" y="5654"/>
                </a:lnTo>
                <a:lnTo>
                  <a:pt x="16353" y="5654"/>
                </a:lnTo>
                <a:lnTo>
                  <a:pt x="16338" y="5656"/>
                </a:lnTo>
                <a:lnTo>
                  <a:pt x="16324" y="5657"/>
                </a:lnTo>
                <a:lnTo>
                  <a:pt x="16312" y="5661"/>
                </a:lnTo>
                <a:lnTo>
                  <a:pt x="16305" y="5670"/>
                </a:lnTo>
                <a:lnTo>
                  <a:pt x="16303" y="5684"/>
                </a:lnTo>
                <a:lnTo>
                  <a:pt x="16330" y="5678"/>
                </a:lnTo>
                <a:lnTo>
                  <a:pt x="16358" y="5676"/>
                </a:lnTo>
                <a:lnTo>
                  <a:pt x="16371" y="5672"/>
                </a:lnTo>
                <a:lnTo>
                  <a:pt x="16382" y="5667"/>
                </a:lnTo>
                <a:lnTo>
                  <a:pt x="16389" y="5658"/>
                </a:lnTo>
                <a:lnTo>
                  <a:pt x="16391" y="5645"/>
                </a:lnTo>
                <a:close/>
                <a:moveTo>
                  <a:pt x="16543" y="5671"/>
                </a:moveTo>
                <a:lnTo>
                  <a:pt x="16525" y="5663"/>
                </a:lnTo>
                <a:lnTo>
                  <a:pt x="16506" y="5662"/>
                </a:lnTo>
                <a:lnTo>
                  <a:pt x="16489" y="5663"/>
                </a:lnTo>
                <a:lnTo>
                  <a:pt x="16471" y="5668"/>
                </a:lnTo>
                <a:lnTo>
                  <a:pt x="16456" y="5676"/>
                </a:lnTo>
                <a:lnTo>
                  <a:pt x="16442" y="5686"/>
                </a:lnTo>
                <a:lnTo>
                  <a:pt x="16428" y="5696"/>
                </a:lnTo>
                <a:lnTo>
                  <a:pt x="16417" y="5709"/>
                </a:lnTo>
                <a:lnTo>
                  <a:pt x="16428" y="5712"/>
                </a:lnTo>
                <a:lnTo>
                  <a:pt x="16443" y="5712"/>
                </a:lnTo>
                <a:lnTo>
                  <a:pt x="16463" y="5710"/>
                </a:lnTo>
                <a:lnTo>
                  <a:pt x="16482" y="5706"/>
                </a:lnTo>
                <a:lnTo>
                  <a:pt x="16501" y="5700"/>
                </a:lnTo>
                <a:lnTo>
                  <a:pt x="16517" y="5691"/>
                </a:lnTo>
                <a:lnTo>
                  <a:pt x="16533" y="5682"/>
                </a:lnTo>
                <a:lnTo>
                  <a:pt x="16543" y="5671"/>
                </a:lnTo>
                <a:lnTo>
                  <a:pt x="16543" y="5671"/>
                </a:lnTo>
                <a:close/>
                <a:moveTo>
                  <a:pt x="17047" y="4763"/>
                </a:moveTo>
                <a:lnTo>
                  <a:pt x="17027" y="4770"/>
                </a:lnTo>
                <a:lnTo>
                  <a:pt x="17002" y="4773"/>
                </a:lnTo>
                <a:lnTo>
                  <a:pt x="16973" y="4776"/>
                </a:lnTo>
                <a:lnTo>
                  <a:pt x="16944" y="4780"/>
                </a:lnTo>
                <a:lnTo>
                  <a:pt x="16915" y="4786"/>
                </a:lnTo>
                <a:lnTo>
                  <a:pt x="16887" y="4794"/>
                </a:lnTo>
                <a:lnTo>
                  <a:pt x="16864" y="4808"/>
                </a:lnTo>
                <a:lnTo>
                  <a:pt x="16846" y="4827"/>
                </a:lnTo>
                <a:lnTo>
                  <a:pt x="16868" y="4841"/>
                </a:lnTo>
                <a:lnTo>
                  <a:pt x="16897" y="4847"/>
                </a:lnTo>
                <a:lnTo>
                  <a:pt x="16927" y="4846"/>
                </a:lnTo>
                <a:lnTo>
                  <a:pt x="16960" y="4838"/>
                </a:lnTo>
                <a:lnTo>
                  <a:pt x="16991" y="4826"/>
                </a:lnTo>
                <a:lnTo>
                  <a:pt x="17017" y="4808"/>
                </a:lnTo>
                <a:lnTo>
                  <a:pt x="17037" y="4787"/>
                </a:lnTo>
                <a:lnTo>
                  <a:pt x="17047" y="4763"/>
                </a:lnTo>
                <a:close/>
                <a:moveTo>
                  <a:pt x="16366" y="5583"/>
                </a:moveTo>
                <a:lnTo>
                  <a:pt x="16340" y="5579"/>
                </a:lnTo>
                <a:lnTo>
                  <a:pt x="16316" y="5578"/>
                </a:lnTo>
                <a:lnTo>
                  <a:pt x="16291" y="5580"/>
                </a:lnTo>
                <a:lnTo>
                  <a:pt x="16268" y="5586"/>
                </a:lnTo>
                <a:lnTo>
                  <a:pt x="16245" y="5594"/>
                </a:lnTo>
                <a:lnTo>
                  <a:pt x="16222" y="5605"/>
                </a:lnTo>
                <a:lnTo>
                  <a:pt x="16199" y="5617"/>
                </a:lnTo>
                <a:lnTo>
                  <a:pt x="16177" y="5633"/>
                </a:lnTo>
                <a:lnTo>
                  <a:pt x="16201" y="5628"/>
                </a:lnTo>
                <a:lnTo>
                  <a:pt x="16228" y="5624"/>
                </a:lnTo>
                <a:lnTo>
                  <a:pt x="16255" y="5621"/>
                </a:lnTo>
                <a:lnTo>
                  <a:pt x="16282" y="5619"/>
                </a:lnTo>
                <a:lnTo>
                  <a:pt x="16307" y="5614"/>
                </a:lnTo>
                <a:lnTo>
                  <a:pt x="16330" y="5607"/>
                </a:lnTo>
                <a:lnTo>
                  <a:pt x="16350" y="5597"/>
                </a:lnTo>
                <a:lnTo>
                  <a:pt x="16366" y="5583"/>
                </a:lnTo>
                <a:close/>
                <a:moveTo>
                  <a:pt x="16833" y="4990"/>
                </a:moveTo>
                <a:lnTo>
                  <a:pt x="16822" y="4990"/>
                </a:lnTo>
                <a:lnTo>
                  <a:pt x="16811" y="4986"/>
                </a:lnTo>
                <a:lnTo>
                  <a:pt x="16803" y="4982"/>
                </a:lnTo>
                <a:lnTo>
                  <a:pt x="16795" y="4977"/>
                </a:lnTo>
                <a:lnTo>
                  <a:pt x="16787" y="4995"/>
                </a:lnTo>
                <a:lnTo>
                  <a:pt x="16780" y="5013"/>
                </a:lnTo>
                <a:lnTo>
                  <a:pt x="16775" y="5032"/>
                </a:lnTo>
                <a:lnTo>
                  <a:pt x="16769" y="5053"/>
                </a:lnTo>
                <a:lnTo>
                  <a:pt x="16786" y="5053"/>
                </a:lnTo>
                <a:lnTo>
                  <a:pt x="16799" y="5051"/>
                </a:lnTo>
                <a:lnTo>
                  <a:pt x="16810" y="5046"/>
                </a:lnTo>
                <a:lnTo>
                  <a:pt x="16819" y="5039"/>
                </a:lnTo>
                <a:lnTo>
                  <a:pt x="16825" y="5031"/>
                </a:lnTo>
                <a:lnTo>
                  <a:pt x="16831" y="5019"/>
                </a:lnTo>
                <a:lnTo>
                  <a:pt x="16833" y="5006"/>
                </a:lnTo>
                <a:lnTo>
                  <a:pt x="16833" y="4990"/>
                </a:lnTo>
                <a:close/>
                <a:moveTo>
                  <a:pt x="16795" y="5696"/>
                </a:moveTo>
                <a:lnTo>
                  <a:pt x="16800" y="5700"/>
                </a:lnTo>
                <a:lnTo>
                  <a:pt x="16810" y="5704"/>
                </a:lnTo>
                <a:lnTo>
                  <a:pt x="16822" y="5708"/>
                </a:lnTo>
                <a:lnTo>
                  <a:pt x="16834" y="5710"/>
                </a:lnTo>
                <a:lnTo>
                  <a:pt x="16847" y="5710"/>
                </a:lnTo>
                <a:lnTo>
                  <a:pt x="16857" y="5709"/>
                </a:lnTo>
                <a:lnTo>
                  <a:pt x="16866" y="5704"/>
                </a:lnTo>
                <a:lnTo>
                  <a:pt x="16870" y="5696"/>
                </a:lnTo>
                <a:lnTo>
                  <a:pt x="16857" y="5692"/>
                </a:lnTo>
                <a:lnTo>
                  <a:pt x="16846" y="5687"/>
                </a:lnTo>
                <a:lnTo>
                  <a:pt x="16837" y="5682"/>
                </a:lnTo>
                <a:lnTo>
                  <a:pt x="16828" y="5678"/>
                </a:lnTo>
                <a:lnTo>
                  <a:pt x="16820" y="5676"/>
                </a:lnTo>
                <a:lnTo>
                  <a:pt x="16813" y="5677"/>
                </a:lnTo>
                <a:lnTo>
                  <a:pt x="16804" y="5684"/>
                </a:lnTo>
                <a:lnTo>
                  <a:pt x="16795" y="5696"/>
                </a:lnTo>
                <a:lnTo>
                  <a:pt x="16795" y="5696"/>
                </a:lnTo>
                <a:close/>
                <a:moveTo>
                  <a:pt x="16429" y="5759"/>
                </a:moveTo>
                <a:lnTo>
                  <a:pt x="16461" y="5762"/>
                </a:lnTo>
                <a:lnTo>
                  <a:pt x="16492" y="5766"/>
                </a:lnTo>
                <a:lnTo>
                  <a:pt x="16522" y="5769"/>
                </a:lnTo>
                <a:lnTo>
                  <a:pt x="16552" y="5770"/>
                </a:lnTo>
                <a:lnTo>
                  <a:pt x="16580" y="5768"/>
                </a:lnTo>
                <a:lnTo>
                  <a:pt x="16606" y="5761"/>
                </a:lnTo>
                <a:lnTo>
                  <a:pt x="16632" y="5750"/>
                </a:lnTo>
                <a:lnTo>
                  <a:pt x="16656" y="5733"/>
                </a:lnTo>
                <a:lnTo>
                  <a:pt x="16636" y="5731"/>
                </a:lnTo>
                <a:lnTo>
                  <a:pt x="16609" y="5727"/>
                </a:lnTo>
                <a:lnTo>
                  <a:pt x="16577" y="5724"/>
                </a:lnTo>
                <a:lnTo>
                  <a:pt x="16544" y="5723"/>
                </a:lnTo>
                <a:lnTo>
                  <a:pt x="16510" y="5726"/>
                </a:lnTo>
                <a:lnTo>
                  <a:pt x="16478" y="5731"/>
                </a:lnTo>
                <a:lnTo>
                  <a:pt x="16451" y="5742"/>
                </a:lnTo>
                <a:lnTo>
                  <a:pt x="16429" y="5759"/>
                </a:lnTo>
                <a:lnTo>
                  <a:pt x="16429" y="5759"/>
                </a:lnTo>
                <a:close/>
                <a:moveTo>
                  <a:pt x="16859" y="5468"/>
                </a:moveTo>
                <a:lnTo>
                  <a:pt x="16828" y="5471"/>
                </a:lnTo>
                <a:lnTo>
                  <a:pt x="16800" y="5475"/>
                </a:lnTo>
                <a:lnTo>
                  <a:pt x="16789" y="5479"/>
                </a:lnTo>
                <a:lnTo>
                  <a:pt x="16780" y="5485"/>
                </a:lnTo>
                <a:lnTo>
                  <a:pt x="16773" y="5494"/>
                </a:lnTo>
                <a:lnTo>
                  <a:pt x="16769" y="5507"/>
                </a:lnTo>
                <a:lnTo>
                  <a:pt x="16786" y="5507"/>
                </a:lnTo>
                <a:lnTo>
                  <a:pt x="16801" y="5507"/>
                </a:lnTo>
                <a:lnTo>
                  <a:pt x="16814" y="5504"/>
                </a:lnTo>
                <a:lnTo>
                  <a:pt x="16825" y="5500"/>
                </a:lnTo>
                <a:lnTo>
                  <a:pt x="16837" y="5495"/>
                </a:lnTo>
                <a:lnTo>
                  <a:pt x="16846" y="5488"/>
                </a:lnTo>
                <a:lnTo>
                  <a:pt x="16852" y="5479"/>
                </a:lnTo>
                <a:lnTo>
                  <a:pt x="16859" y="5468"/>
                </a:lnTo>
                <a:close/>
                <a:moveTo>
                  <a:pt x="16707" y="5293"/>
                </a:moveTo>
                <a:lnTo>
                  <a:pt x="16684" y="5293"/>
                </a:lnTo>
                <a:lnTo>
                  <a:pt x="16665" y="5294"/>
                </a:lnTo>
                <a:lnTo>
                  <a:pt x="16647" y="5299"/>
                </a:lnTo>
                <a:lnTo>
                  <a:pt x="16631" y="5305"/>
                </a:lnTo>
                <a:lnTo>
                  <a:pt x="16617" y="5313"/>
                </a:lnTo>
                <a:lnTo>
                  <a:pt x="16604" y="5322"/>
                </a:lnTo>
                <a:lnTo>
                  <a:pt x="16591" y="5332"/>
                </a:lnTo>
                <a:lnTo>
                  <a:pt x="16581" y="5342"/>
                </a:lnTo>
                <a:lnTo>
                  <a:pt x="16603" y="5336"/>
                </a:lnTo>
                <a:lnTo>
                  <a:pt x="16623" y="5332"/>
                </a:lnTo>
                <a:lnTo>
                  <a:pt x="16641" y="5330"/>
                </a:lnTo>
                <a:lnTo>
                  <a:pt x="16657" y="5327"/>
                </a:lnTo>
                <a:lnTo>
                  <a:pt x="16671" y="5323"/>
                </a:lnTo>
                <a:lnTo>
                  <a:pt x="16685" y="5318"/>
                </a:lnTo>
                <a:lnTo>
                  <a:pt x="16697" y="5308"/>
                </a:lnTo>
                <a:lnTo>
                  <a:pt x="16707" y="5293"/>
                </a:lnTo>
                <a:lnTo>
                  <a:pt x="16707" y="5293"/>
                </a:lnTo>
                <a:close/>
                <a:moveTo>
                  <a:pt x="16619" y="5079"/>
                </a:moveTo>
                <a:lnTo>
                  <a:pt x="16636" y="5088"/>
                </a:lnTo>
                <a:lnTo>
                  <a:pt x="16652" y="5088"/>
                </a:lnTo>
                <a:lnTo>
                  <a:pt x="16668" y="5084"/>
                </a:lnTo>
                <a:lnTo>
                  <a:pt x="16682" y="5075"/>
                </a:lnTo>
                <a:lnTo>
                  <a:pt x="16697" y="5064"/>
                </a:lnTo>
                <a:lnTo>
                  <a:pt x="16712" y="5053"/>
                </a:lnTo>
                <a:lnTo>
                  <a:pt x="16727" y="5045"/>
                </a:lnTo>
                <a:lnTo>
                  <a:pt x="16744" y="5041"/>
                </a:lnTo>
                <a:lnTo>
                  <a:pt x="16730" y="5037"/>
                </a:lnTo>
                <a:lnTo>
                  <a:pt x="16712" y="5036"/>
                </a:lnTo>
                <a:lnTo>
                  <a:pt x="16693" y="5036"/>
                </a:lnTo>
                <a:lnTo>
                  <a:pt x="16674" y="5038"/>
                </a:lnTo>
                <a:lnTo>
                  <a:pt x="16655" y="5043"/>
                </a:lnTo>
                <a:lnTo>
                  <a:pt x="16640" y="5052"/>
                </a:lnTo>
                <a:lnTo>
                  <a:pt x="16627" y="5064"/>
                </a:lnTo>
                <a:lnTo>
                  <a:pt x="16619" y="5079"/>
                </a:lnTo>
                <a:close/>
                <a:moveTo>
                  <a:pt x="16026" y="5897"/>
                </a:moveTo>
                <a:lnTo>
                  <a:pt x="16040" y="5897"/>
                </a:lnTo>
                <a:lnTo>
                  <a:pt x="16054" y="5897"/>
                </a:lnTo>
                <a:lnTo>
                  <a:pt x="16066" y="5895"/>
                </a:lnTo>
                <a:lnTo>
                  <a:pt x="16078" y="5892"/>
                </a:lnTo>
                <a:lnTo>
                  <a:pt x="16088" y="5890"/>
                </a:lnTo>
                <a:lnTo>
                  <a:pt x="16098" y="5885"/>
                </a:lnTo>
                <a:lnTo>
                  <a:pt x="16107" y="5880"/>
                </a:lnTo>
                <a:lnTo>
                  <a:pt x="16114" y="5872"/>
                </a:lnTo>
                <a:lnTo>
                  <a:pt x="16102" y="5862"/>
                </a:lnTo>
                <a:lnTo>
                  <a:pt x="16088" y="5854"/>
                </a:lnTo>
                <a:lnTo>
                  <a:pt x="16074" y="5846"/>
                </a:lnTo>
                <a:lnTo>
                  <a:pt x="16059" y="5840"/>
                </a:lnTo>
                <a:lnTo>
                  <a:pt x="16042" y="5834"/>
                </a:lnTo>
                <a:lnTo>
                  <a:pt x="16028" y="5826"/>
                </a:lnTo>
                <a:lnTo>
                  <a:pt x="16013" y="5818"/>
                </a:lnTo>
                <a:lnTo>
                  <a:pt x="16000" y="5810"/>
                </a:lnTo>
                <a:lnTo>
                  <a:pt x="15996" y="5827"/>
                </a:lnTo>
                <a:lnTo>
                  <a:pt x="15999" y="5840"/>
                </a:lnTo>
                <a:lnTo>
                  <a:pt x="16004" y="5849"/>
                </a:lnTo>
                <a:lnTo>
                  <a:pt x="16010" y="5857"/>
                </a:lnTo>
                <a:lnTo>
                  <a:pt x="16018" y="5863"/>
                </a:lnTo>
                <a:lnTo>
                  <a:pt x="16024" y="5871"/>
                </a:lnTo>
                <a:lnTo>
                  <a:pt x="16027" y="5882"/>
                </a:lnTo>
                <a:lnTo>
                  <a:pt x="16026" y="5897"/>
                </a:lnTo>
                <a:close/>
                <a:moveTo>
                  <a:pt x="11449" y="642"/>
                </a:moveTo>
                <a:lnTo>
                  <a:pt x="11435" y="643"/>
                </a:lnTo>
                <a:lnTo>
                  <a:pt x="11421" y="643"/>
                </a:lnTo>
                <a:lnTo>
                  <a:pt x="11408" y="644"/>
                </a:lnTo>
                <a:lnTo>
                  <a:pt x="11397" y="647"/>
                </a:lnTo>
                <a:lnTo>
                  <a:pt x="11386" y="650"/>
                </a:lnTo>
                <a:lnTo>
                  <a:pt x="11379" y="658"/>
                </a:lnTo>
                <a:lnTo>
                  <a:pt x="11375" y="667"/>
                </a:lnTo>
                <a:lnTo>
                  <a:pt x="11374" y="680"/>
                </a:lnTo>
                <a:lnTo>
                  <a:pt x="11386" y="680"/>
                </a:lnTo>
                <a:lnTo>
                  <a:pt x="11399" y="678"/>
                </a:lnTo>
                <a:lnTo>
                  <a:pt x="11411" y="675"/>
                </a:lnTo>
                <a:lnTo>
                  <a:pt x="11421" y="671"/>
                </a:lnTo>
                <a:lnTo>
                  <a:pt x="11430" y="666"/>
                </a:lnTo>
                <a:lnTo>
                  <a:pt x="11437" y="659"/>
                </a:lnTo>
                <a:lnTo>
                  <a:pt x="11444" y="652"/>
                </a:lnTo>
                <a:lnTo>
                  <a:pt x="11449" y="642"/>
                </a:lnTo>
                <a:close/>
                <a:moveTo>
                  <a:pt x="14942" y="6314"/>
                </a:moveTo>
                <a:lnTo>
                  <a:pt x="14950" y="6316"/>
                </a:lnTo>
                <a:lnTo>
                  <a:pt x="14964" y="6317"/>
                </a:lnTo>
                <a:lnTo>
                  <a:pt x="14981" y="6319"/>
                </a:lnTo>
                <a:lnTo>
                  <a:pt x="15001" y="6317"/>
                </a:lnTo>
                <a:lnTo>
                  <a:pt x="15018" y="6314"/>
                </a:lnTo>
                <a:lnTo>
                  <a:pt x="15035" y="6309"/>
                </a:lnTo>
                <a:lnTo>
                  <a:pt x="15048" y="6300"/>
                </a:lnTo>
                <a:lnTo>
                  <a:pt x="15055" y="6288"/>
                </a:lnTo>
                <a:lnTo>
                  <a:pt x="15043" y="6282"/>
                </a:lnTo>
                <a:lnTo>
                  <a:pt x="15027" y="6279"/>
                </a:lnTo>
                <a:lnTo>
                  <a:pt x="15011" y="6278"/>
                </a:lnTo>
                <a:lnTo>
                  <a:pt x="14993" y="6281"/>
                </a:lnTo>
                <a:lnTo>
                  <a:pt x="14976" y="6286"/>
                </a:lnTo>
                <a:lnTo>
                  <a:pt x="14961" y="6293"/>
                </a:lnTo>
                <a:lnTo>
                  <a:pt x="14950" y="6302"/>
                </a:lnTo>
                <a:lnTo>
                  <a:pt x="14942" y="6314"/>
                </a:lnTo>
                <a:lnTo>
                  <a:pt x="14942" y="6314"/>
                </a:lnTo>
                <a:close/>
                <a:moveTo>
                  <a:pt x="15496" y="6200"/>
                </a:moveTo>
                <a:lnTo>
                  <a:pt x="15511" y="6191"/>
                </a:lnTo>
                <a:lnTo>
                  <a:pt x="15530" y="6186"/>
                </a:lnTo>
                <a:lnTo>
                  <a:pt x="15552" y="6184"/>
                </a:lnTo>
                <a:lnTo>
                  <a:pt x="15574" y="6183"/>
                </a:lnTo>
                <a:lnTo>
                  <a:pt x="15594" y="6180"/>
                </a:lnTo>
                <a:lnTo>
                  <a:pt x="15613" y="6175"/>
                </a:lnTo>
                <a:lnTo>
                  <a:pt x="15627" y="6165"/>
                </a:lnTo>
                <a:lnTo>
                  <a:pt x="15635" y="6149"/>
                </a:lnTo>
                <a:lnTo>
                  <a:pt x="15611" y="6148"/>
                </a:lnTo>
                <a:lnTo>
                  <a:pt x="15584" y="6149"/>
                </a:lnTo>
                <a:lnTo>
                  <a:pt x="15560" y="6155"/>
                </a:lnTo>
                <a:lnTo>
                  <a:pt x="15537" y="6162"/>
                </a:lnTo>
                <a:lnTo>
                  <a:pt x="15519" y="6171"/>
                </a:lnTo>
                <a:lnTo>
                  <a:pt x="15505" y="6181"/>
                </a:lnTo>
                <a:lnTo>
                  <a:pt x="15497" y="6190"/>
                </a:lnTo>
                <a:lnTo>
                  <a:pt x="15496" y="6200"/>
                </a:lnTo>
                <a:close/>
                <a:moveTo>
                  <a:pt x="15711" y="1361"/>
                </a:moveTo>
                <a:lnTo>
                  <a:pt x="15716" y="1384"/>
                </a:lnTo>
                <a:lnTo>
                  <a:pt x="15721" y="1407"/>
                </a:lnTo>
                <a:lnTo>
                  <a:pt x="15725" y="1417"/>
                </a:lnTo>
                <a:lnTo>
                  <a:pt x="15732" y="1426"/>
                </a:lnTo>
                <a:lnTo>
                  <a:pt x="15738" y="1432"/>
                </a:lnTo>
                <a:lnTo>
                  <a:pt x="15748" y="1436"/>
                </a:lnTo>
                <a:lnTo>
                  <a:pt x="15757" y="1418"/>
                </a:lnTo>
                <a:lnTo>
                  <a:pt x="15768" y="1409"/>
                </a:lnTo>
                <a:lnTo>
                  <a:pt x="15782" y="1405"/>
                </a:lnTo>
                <a:lnTo>
                  <a:pt x="15799" y="1405"/>
                </a:lnTo>
                <a:lnTo>
                  <a:pt x="15814" y="1407"/>
                </a:lnTo>
                <a:lnTo>
                  <a:pt x="15830" y="1405"/>
                </a:lnTo>
                <a:lnTo>
                  <a:pt x="15841" y="1399"/>
                </a:lnTo>
                <a:lnTo>
                  <a:pt x="15850" y="1386"/>
                </a:lnTo>
                <a:lnTo>
                  <a:pt x="15842" y="1371"/>
                </a:lnTo>
                <a:lnTo>
                  <a:pt x="15830" y="1359"/>
                </a:lnTo>
                <a:lnTo>
                  <a:pt x="15812" y="1352"/>
                </a:lnTo>
                <a:lnTo>
                  <a:pt x="15791" y="1347"/>
                </a:lnTo>
                <a:lnTo>
                  <a:pt x="15768" y="1345"/>
                </a:lnTo>
                <a:lnTo>
                  <a:pt x="15747" y="1348"/>
                </a:lnTo>
                <a:lnTo>
                  <a:pt x="15726" y="1353"/>
                </a:lnTo>
                <a:lnTo>
                  <a:pt x="15711" y="1361"/>
                </a:lnTo>
                <a:lnTo>
                  <a:pt x="15711" y="1361"/>
                </a:lnTo>
                <a:close/>
                <a:moveTo>
                  <a:pt x="13958" y="137"/>
                </a:moveTo>
                <a:lnTo>
                  <a:pt x="13941" y="134"/>
                </a:lnTo>
                <a:lnTo>
                  <a:pt x="13922" y="134"/>
                </a:lnTo>
                <a:lnTo>
                  <a:pt x="13900" y="137"/>
                </a:lnTo>
                <a:lnTo>
                  <a:pt x="13879" y="145"/>
                </a:lnTo>
                <a:lnTo>
                  <a:pt x="13856" y="151"/>
                </a:lnTo>
                <a:lnTo>
                  <a:pt x="13831" y="159"/>
                </a:lnTo>
                <a:lnTo>
                  <a:pt x="13807" y="163"/>
                </a:lnTo>
                <a:lnTo>
                  <a:pt x="13782" y="163"/>
                </a:lnTo>
                <a:lnTo>
                  <a:pt x="13782" y="201"/>
                </a:lnTo>
                <a:lnTo>
                  <a:pt x="13775" y="199"/>
                </a:lnTo>
                <a:lnTo>
                  <a:pt x="13770" y="196"/>
                </a:lnTo>
                <a:lnTo>
                  <a:pt x="13767" y="192"/>
                </a:lnTo>
                <a:lnTo>
                  <a:pt x="13763" y="188"/>
                </a:lnTo>
                <a:lnTo>
                  <a:pt x="13760" y="183"/>
                </a:lnTo>
                <a:lnTo>
                  <a:pt x="13758" y="177"/>
                </a:lnTo>
                <a:lnTo>
                  <a:pt x="13756" y="171"/>
                </a:lnTo>
                <a:lnTo>
                  <a:pt x="13756" y="163"/>
                </a:lnTo>
                <a:lnTo>
                  <a:pt x="13721" y="171"/>
                </a:lnTo>
                <a:lnTo>
                  <a:pt x="13680" y="177"/>
                </a:lnTo>
                <a:lnTo>
                  <a:pt x="13637" y="185"/>
                </a:lnTo>
                <a:lnTo>
                  <a:pt x="13591" y="192"/>
                </a:lnTo>
                <a:lnTo>
                  <a:pt x="13542" y="200"/>
                </a:lnTo>
                <a:lnTo>
                  <a:pt x="13495" y="207"/>
                </a:lnTo>
                <a:lnTo>
                  <a:pt x="13448" y="216"/>
                </a:lnTo>
                <a:lnTo>
                  <a:pt x="13404" y="227"/>
                </a:lnTo>
                <a:lnTo>
                  <a:pt x="13401" y="237"/>
                </a:lnTo>
                <a:lnTo>
                  <a:pt x="13404" y="246"/>
                </a:lnTo>
                <a:lnTo>
                  <a:pt x="13410" y="253"/>
                </a:lnTo>
                <a:lnTo>
                  <a:pt x="13418" y="260"/>
                </a:lnTo>
                <a:lnTo>
                  <a:pt x="13424" y="265"/>
                </a:lnTo>
                <a:lnTo>
                  <a:pt x="13428" y="269"/>
                </a:lnTo>
                <a:lnTo>
                  <a:pt x="13425" y="272"/>
                </a:lnTo>
                <a:lnTo>
                  <a:pt x="13416" y="276"/>
                </a:lnTo>
                <a:lnTo>
                  <a:pt x="13387" y="249"/>
                </a:lnTo>
                <a:lnTo>
                  <a:pt x="13351" y="238"/>
                </a:lnTo>
                <a:lnTo>
                  <a:pt x="13311" y="237"/>
                </a:lnTo>
                <a:lnTo>
                  <a:pt x="13267" y="244"/>
                </a:lnTo>
                <a:lnTo>
                  <a:pt x="13220" y="257"/>
                </a:lnTo>
                <a:lnTo>
                  <a:pt x="13172" y="274"/>
                </a:lnTo>
                <a:lnTo>
                  <a:pt x="13123" y="289"/>
                </a:lnTo>
                <a:lnTo>
                  <a:pt x="13075" y="302"/>
                </a:lnTo>
                <a:lnTo>
                  <a:pt x="13094" y="316"/>
                </a:lnTo>
                <a:lnTo>
                  <a:pt x="13115" y="326"/>
                </a:lnTo>
                <a:lnTo>
                  <a:pt x="13137" y="332"/>
                </a:lnTo>
                <a:lnTo>
                  <a:pt x="13159" y="333"/>
                </a:lnTo>
                <a:lnTo>
                  <a:pt x="13179" y="330"/>
                </a:lnTo>
                <a:lnTo>
                  <a:pt x="13196" y="319"/>
                </a:lnTo>
                <a:lnTo>
                  <a:pt x="13207" y="302"/>
                </a:lnTo>
                <a:lnTo>
                  <a:pt x="13214" y="276"/>
                </a:lnTo>
                <a:lnTo>
                  <a:pt x="13214" y="276"/>
                </a:lnTo>
                <a:lnTo>
                  <a:pt x="13214" y="314"/>
                </a:lnTo>
                <a:lnTo>
                  <a:pt x="13290" y="302"/>
                </a:lnTo>
                <a:lnTo>
                  <a:pt x="13365" y="289"/>
                </a:lnTo>
                <a:lnTo>
                  <a:pt x="13442" y="276"/>
                </a:lnTo>
                <a:lnTo>
                  <a:pt x="13516" y="263"/>
                </a:lnTo>
                <a:lnTo>
                  <a:pt x="13588" y="249"/>
                </a:lnTo>
                <a:lnTo>
                  <a:pt x="13657" y="234"/>
                </a:lnTo>
                <a:lnTo>
                  <a:pt x="13722" y="219"/>
                </a:lnTo>
                <a:lnTo>
                  <a:pt x="13782" y="201"/>
                </a:lnTo>
                <a:lnTo>
                  <a:pt x="13805" y="207"/>
                </a:lnTo>
                <a:lnTo>
                  <a:pt x="13829" y="207"/>
                </a:lnTo>
                <a:lnTo>
                  <a:pt x="13854" y="202"/>
                </a:lnTo>
                <a:lnTo>
                  <a:pt x="13879" y="193"/>
                </a:lnTo>
                <a:lnTo>
                  <a:pt x="13903" y="182"/>
                </a:lnTo>
                <a:lnTo>
                  <a:pt x="13924" y="168"/>
                </a:lnTo>
                <a:lnTo>
                  <a:pt x="13944" y="153"/>
                </a:lnTo>
                <a:lnTo>
                  <a:pt x="13958" y="137"/>
                </a:lnTo>
                <a:lnTo>
                  <a:pt x="13958" y="137"/>
                </a:lnTo>
                <a:close/>
                <a:moveTo>
                  <a:pt x="12382" y="491"/>
                </a:moveTo>
                <a:lnTo>
                  <a:pt x="12433" y="461"/>
                </a:lnTo>
                <a:lnTo>
                  <a:pt x="12496" y="442"/>
                </a:lnTo>
                <a:lnTo>
                  <a:pt x="12567" y="431"/>
                </a:lnTo>
                <a:lnTo>
                  <a:pt x="12642" y="425"/>
                </a:lnTo>
                <a:lnTo>
                  <a:pt x="12717" y="419"/>
                </a:lnTo>
                <a:lnTo>
                  <a:pt x="12790" y="407"/>
                </a:lnTo>
                <a:lnTo>
                  <a:pt x="12856" y="387"/>
                </a:lnTo>
                <a:lnTo>
                  <a:pt x="12912" y="353"/>
                </a:lnTo>
                <a:lnTo>
                  <a:pt x="12926" y="363"/>
                </a:lnTo>
                <a:lnTo>
                  <a:pt x="12943" y="369"/>
                </a:lnTo>
                <a:lnTo>
                  <a:pt x="12960" y="370"/>
                </a:lnTo>
                <a:lnTo>
                  <a:pt x="12978" y="368"/>
                </a:lnTo>
                <a:lnTo>
                  <a:pt x="12996" y="363"/>
                </a:lnTo>
                <a:lnTo>
                  <a:pt x="13014" y="355"/>
                </a:lnTo>
                <a:lnTo>
                  <a:pt x="13033" y="347"/>
                </a:lnTo>
                <a:lnTo>
                  <a:pt x="13050" y="340"/>
                </a:lnTo>
                <a:lnTo>
                  <a:pt x="13039" y="339"/>
                </a:lnTo>
                <a:lnTo>
                  <a:pt x="13032" y="333"/>
                </a:lnTo>
                <a:lnTo>
                  <a:pt x="13025" y="327"/>
                </a:lnTo>
                <a:lnTo>
                  <a:pt x="13019" y="319"/>
                </a:lnTo>
                <a:lnTo>
                  <a:pt x="13014" y="313"/>
                </a:lnTo>
                <a:lnTo>
                  <a:pt x="13008" y="307"/>
                </a:lnTo>
                <a:lnTo>
                  <a:pt x="12999" y="303"/>
                </a:lnTo>
                <a:lnTo>
                  <a:pt x="12987" y="302"/>
                </a:lnTo>
                <a:lnTo>
                  <a:pt x="12974" y="302"/>
                </a:lnTo>
                <a:lnTo>
                  <a:pt x="12964" y="304"/>
                </a:lnTo>
                <a:lnTo>
                  <a:pt x="12957" y="309"/>
                </a:lnTo>
                <a:lnTo>
                  <a:pt x="12949" y="314"/>
                </a:lnTo>
                <a:lnTo>
                  <a:pt x="12937" y="327"/>
                </a:lnTo>
                <a:lnTo>
                  <a:pt x="12925" y="340"/>
                </a:lnTo>
                <a:lnTo>
                  <a:pt x="12893" y="339"/>
                </a:lnTo>
                <a:lnTo>
                  <a:pt x="12856" y="341"/>
                </a:lnTo>
                <a:lnTo>
                  <a:pt x="12817" y="345"/>
                </a:lnTo>
                <a:lnTo>
                  <a:pt x="12774" y="351"/>
                </a:lnTo>
                <a:lnTo>
                  <a:pt x="12732" y="359"/>
                </a:lnTo>
                <a:lnTo>
                  <a:pt x="12694" y="370"/>
                </a:lnTo>
                <a:lnTo>
                  <a:pt x="12661" y="386"/>
                </a:lnTo>
                <a:lnTo>
                  <a:pt x="12634" y="402"/>
                </a:lnTo>
                <a:lnTo>
                  <a:pt x="12608" y="391"/>
                </a:lnTo>
                <a:lnTo>
                  <a:pt x="12581" y="386"/>
                </a:lnTo>
                <a:lnTo>
                  <a:pt x="12553" y="387"/>
                </a:lnTo>
                <a:lnTo>
                  <a:pt x="12524" y="393"/>
                </a:lnTo>
                <a:lnTo>
                  <a:pt x="12494" y="403"/>
                </a:lnTo>
                <a:lnTo>
                  <a:pt x="12465" y="415"/>
                </a:lnTo>
                <a:lnTo>
                  <a:pt x="12436" y="428"/>
                </a:lnTo>
                <a:lnTo>
                  <a:pt x="12408" y="440"/>
                </a:lnTo>
                <a:lnTo>
                  <a:pt x="12377" y="443"/>
                </a:lnTo>
                <a:lnTo>
                  <a:pt x="12345" y="445"/>
                </a:lnTo>
                <a:lnTo>
                  <a:pt x="12316" y="448"/>
                </a:lnTo>
                <a:lnTo>
                  <a:pt x="12287" y="453"/>
                </a:lnTo>
                <a:lnTo>
                  <a:pt x="12261" y="461"/>
                </a:lnTo>
                <a:lnTo>
                  <a:pt x="12241" y="473"/>
                </a:lnTo>
                <a:lnTo>
                  <a:pt x="12226" y="491"/>
                </a:lnTo>
                <a:lnTo>
                  <a:pt x="12218" y="515"/>
                </a:lnTo>
                <a:lnTo>
                  <a:pt x="12232" y="513"/>
                </a:lnTo>
                <a:lnTo>
                  <a:pt x="12243" y="507"/>
                </a:lnTo>
                <a:lnTo>
                  <a:pt x="12252" y="499"/>
                </a:lnTo>
                <a:lnTo>
                  <a:pt x="12261" y="490"/>
                </a:lnTo>
                <a:lnTo>
                  <a:pt x="12270" y="481"/>
                </a:lnTo>
                <a:lnTo>
                  <a:pt x="12279" y="473"/>
                </a:lnTo>
                <a:lnTo>
                  <a:pt x="12292" y="468"/>
                </a:lnTo>
                <a:lnTo>
                  <a:pt x="12306" y="466"/>
                </a:lnTo>
                <a:lnTo>
                  <a:pt x="12321" y="476"/>
                </a:lnTo>
                <a:lnTo>
                  <a:pt x="12336" y="486"/>
                </a:lnTo>
                <a:lnTo>
                  <a:pt x="12345" y="490"/>
                </a:lnTo>
                <a:lnTo>
                  <a:pt x="12354" y="493"/>
                </a:lnTo>
                <a:lnTo>
                  <a:pt x="12367" y="493"/>
                </a:lnTo>
                <a:lnTo>
                  <a:pt x="12382" y="491"/>
                </a:lnTo>
                <a:close/>
                <a:moveTo>
                  <a:pt x="16240" y="5129"/>
                </a:moveTo>
                <a:lnTo>
                  <a:pt x="16240" y="5154"/>
                </a:lnTo>
                <a:lnTo>
                  <a:pt x="16235" y="5155"/>
                </a:lnTo>
                <a:lnTo>
                  <a:pt x="16231" y="5157"/>
                </a:lnTo>
                <a:lnTo>
                  <a:pt x="16228" y="5158"/>
                </a:lnTo>
                <a:lnTo>
                  <a:pt x="16227" y="5160"/>
                </a:lnTo>
                <a:lnTo>
                  <a:pt x="16227" y="5163"/>
                </a:lnTo>
                <a:lnTo>
                  <a:pt x="16228" y="5167"/>
                </a:lnTo>
                <a:lnTo>
                  <a:pt x="16245" y="5168"/>
                </a:lnTo>
                <a:lnTo>
                  <a:pt x="16259" y="5165"/>
                </a:lnTo>
                <a:lnTo>
                  <a:pt x="16272" y="5163"/>
                </a:lnTo>
                <a:lnTo>
                  <a:pt x="16283" y="5159"/>
                </a:lnTo>
                <a:lnTo>
                  <a:pt x="16296" y="5155"/>
                </a:lnTo>
                <a:lnTo>
                  <a:pt x="16308" y="5153"/>
                </a:lnTo>
                <a:lnTo>
                  <a:pt x="16324" y="5151"/>
                </a:lnTo>
                <a:lnTo>
                  <a:pt x="16342" y="5154"/>
                </a:lnTo>
                <a:lnTo>
                  <a:pt x="16352" y="5163"/>
                </a:lnTo>
                <a:lnTo>
                  <a:pt x="16357" y="5173"/>
                </a:lnTo>
                <a:lnTo>
                  <a:pt x="16358" y="5183"/>
                </a:lnTo>
                <a:lnTo>
                  <a:pt x="16358" y="5195"/>
                </a:lnTo>
                <a:lnTo>
                  <a:pt x="16357" y="5205"/>
                </a:lnTo>
                <a:lnTo>
                  <a:pt x="16359" y="5214"/>
                </a:lnTo>
                <a:lnTo>
                  <a:pt x="16366" y="5223"/>
                </a:lnTo>
                <a:lnTo>
                  <a:pt x="16378" y="5229"/>
                </a:lnTo>
                <a:lnTo>
                  <a:pt x="16390" y="5216"/>
                </a:lnTo>
                <a:lnTo>
                  <a:pt x="16392" y="5206"/>
                </a:lnTo>
                <a:lnTo>
                  <a:pt x="16390" y="5196"/>
                </a:lnTo>
                <a:lnTo>
                  <a:pt x="16385" y="5188"/>
                </a:lnTo>
                <a:lnTo>
                  <a:pt x="16377" y="5179"/>
                </a:lnTo>
                <a:lnTo>
                  <a:pt x="16370" y="5169"/>
                </a:lnTo>
                <a:lnTo>
                  <a:pt x="16366" y="5157"/>
                </a:lnTo>
                <a:lnTo>
                  <a:pt x="16366" y="5141"/>
                </a:lnTo>
                <a:lnTo>
                  <a:pt x="16396" y="5134"/>
                </a:lnTo>
                <a:lnTo>
                  <a:pt x="16433" y="5123"/>
                </a:lnTo>
                <a:lnTo>
                  <a:pt x="16449" y="5117"/>
                </a:lnTo>
                <a:lnTo>
                  <a:pt x="16461" y="5112"/>
                </a:lnTo>
                <a:lnTo>
                  <a:pt x="16468" y="5107"/>
                </a:lnTo>
                <a:lnTo>
                  <a:pt x="16468" y="5103"/>
                </a:lnTo>
                <a:lnTo>
                  <a:pt x="16451" y="5107"/>
                </a:lnTo>
                <a:lnTo>
                  <a:pt x="16441" y="5104"/>
                </a:lnTo>
                <a:lnTo>
                  <a:pt x="16435" y="5098"/>
                </a:lnTo>
                <a:lnTo>
                  <a:pt x="16429" y="5090"/>
                </a:lnTo>
                <a:lnTo>
                  <a:pt x="16424" y="5084"/>
                </a:lnTo>
                <a:lnTo>
                  <a:pt x="16418" y="5078"/>
                </a:lnTo>
                <a:lnTo>
                  <a:pt x="16407" y="5075"/>
                </a:lnTo>
                <a:lnTo>
                  <a:pt x="16391" y="5079"/>
                </a:lnTo>
                <a:lnTo>
                  <a:pt x="16378" y="5093"/>
                </a:lnTo>
                <a:lnTo>
                  <a:pt x="16362" y="5106"/>
                </a:lnTo>
                <a:lnTo>
                  <a:pt x="16343" y="5116"/>
                </a:lnTo>
                <a:lnTo>
                  <a:pt x="16322" y="5125"/>
                </a:lnTo>
                <a:lnTo>
                  <a:pt x="16301" y="5130"/>
                </a:lnTo>
                <a:lnTo>
                  <a:pt x="16280" y="5134"/>
                </a:lnTo>
                <a:lnTo>
                  <a:pt x="16259" y="5132"/>
                </a:lnTo>
                <a:lnTo>
                  <a:pt x="16240" y="5129"/>
                </a:lnTo>
                <a:lnTo>
                  <a:pt x="16240" y="5129"/>
                </a:lnTo>
                <a:close/>
                <a:moveTo>
                  <a:pt x="16378" y="5242"/>
                </a:moveTo>
                <a:lnTo>
                  <a:pt x="16316" y="5242"/>
                </a:lnTo>
                <a:lnTo>
                  <a:pt x="16314" y="5262"/>
                </a:lnTo>
                <a:lnTo>
                  <a:pt x="16319" y="5274"/>
                </a:lnTo>
                <a:lnTo>
                  <a:pt x="16330" y="5280"/>
                </a:lnTo>
                <a:lnTo>
                  <a:pt x="16344" y="5280"/>
                </a:lnTo>
                <a:lnTo>
                  <a:pt x="16358" y="5275"/>
                </a:lnTo>
                <a:lnTo>
                  <a:pt x="16371" y="5267"/>
                </a:lnTo>
                <a:lnTo>
                  <a:pt x="16378" y="5256"/>
                </a:lnTo>
                <a:lnTo>
                  <a:pt x="16378" y="5242"/>
                </a:lnTo>
                <a:lnTo>
                  <a:pt x="16378" y="5242"/>
                </a:lnTo>
                <a:close/>
                <a:moveTo>
                  <a:pt x="16404" y="4889"/>
                </a:moveTo>
                <a:lnTo>
                  <a:pt x="16418" y="4911"/>
                </a:lnTo>
                <a:lnTo>
                  <a:pt x="16437" y="4922"/>
                </a:lnTo>
                <a:lnTo>
                  <a:pt x="16461" y="4925"/>
                </a:lnTo>
                <a:lnTo>
                  <a:pt x="16489" y="4922"/>
                </a:lnTo>
                <a:lnTo>
                  <a:pt x="16545" y="4911"/>
                </a:lnTo>
                <a:lnTo>
                  <a:pt x="16594" y="4902"/>
                </a:lnTo>
                <a:lnTo>
                  <a:pt x="16585" y="4919"/>
                </a:lnTo>
                <a:lnTo>
                  <a:pt x="16572" y="4931"/>
                </a:lnTo>
                <a:lnTo>
                  <a:pt x="16556" y="4940"/>
                </a:lnTo>
                <a:lnTo>
                  <a:pt x="16539" y="4948"/>
                </a:lnTo>
                <a:lnTo>
                  <a:pt x="16521" y="4955"/>
                </a:lnTo>
                <a:lnTo>
                  <a:pt x="16505" y="4964"/>
                </a:lnTo>
                <a:lnTo>
                  <a:pt x="16491" y="4976"/>
                </a:lnTo>
                <a:lnTo>
                  <a:pt x="16480" y="4990"/>
                </a:lnTo>
                <a:lnTo>
                  <a:pt x="16510" y="4989"/>
                </a:lnTo>
                <a:lnTo>
                  <a:pt x="16538" y="4985"/>
                </a:lnTo>
                <a:lnTo>
                  <a:pt x="16563" y="4978"/>
                </a:lnTo>
                <a:lnTo>
                  <a:pt x="16585" y="4968"/>
                </a:lnTo>
                <a:lnTo>
                  <a:pt x="16601" y="4955"/>
                </a:lnTo>
                <a:lnTo>
                  <a:pt x="16613" y="4940"/>
                </a:lnTo>
                <a:lnTo>
                  <a:pt x="16619" y="4922"/>
                </a:lnTo>
                <a:lnTo>
                  <a:pt x="16619" y="4902"/>
                </a:lnTo>
                <a:lnTo>
                  <a:pt x="16632" y="4905"/>
                </a:lnTo>
                <a:lnTo>
                  <a:pt x="16642" y="4903"/>
                </a:lnTo>
                <a:lnTo>
                  <a:pt x="16651" y="4902"/>
                </a:lnTo>
                <a:lnTo>
                  <a:pt x="16660" y="4899"/>
                </a:lnTo>
                <a:lnTo>
                  <a:pt x="16668" y="4896"/>
                </a:lnTo>
                <a:lnTo>
                  <a:pt x="16675" y="4893"/>
                </a:lnTo>
                <a:lnTo>
                  <a:pt x="16684" y="4891"/>
                </a:lnTo>
                <a:lnTo>
                  <a:pt x="16694" y="4889"/>
                </a:lnTo>
                <a:lnTo>
                  <a:pt x="16692" y="4878"/>
                </a:lnTo>
                <a:lnTo>
                  <a:pt x="16693" y="4869"/>
                </a:lnTo>
                <a:lnTo>
                  <a:pt x="16694" y="4861"/>
                </a:lnTo>
                <a:lnTo>
                  <a:pt x="16698" y="4856"/>
                </a:lnTo>
                <a:lnTo>
                  <a:pt x="16702" y="4850"/>
                </a:lnTo>
                <a:lnTo>
                  <a:pt x="16706" y="4843"/>
                </a:lnTo>
                <a:lnTo>
                  <a:pt x="16707" y="4836"/>
                </a:lnTo>
                <a:lnTo>
                  <a:pt x="16707" y="4827"/>
                </a:lnTo>
                <a:lnTo>
                  <a:pt x="16665" y="4838"/>
                </a:lnTo>
                <a:lnTo>
                  <a:pt x="16628" y="4849"/>
                </a:lnTo>
                <a:lnTo>
                  <a:pt x="16594" y="4859"/>
                </a:lnTo>
                <a:lnTo>
                  <a:pt x="16559" y="4866"/>
                </a:lnTo>
                <a:lnTo>
                  <a:pt x="16526" y="4874"/>
                </a:lnTo>
                <a:lnTo>
                  <a:pt x="16489" y="4880"/>
                </a:lnTo>
                <a:lnTo>
                  <a:pt x="16450" y="4885"/>
                </a:lnTo>
                <a:lnTo>
                  <a:pt x="16404" y="4889"/>
                </a:lnTo>
                <a:close/>
                <a:moveTo>
                  <a:pt x="16378" y="5355"/>
                </a:moveTo>
                <a:lnTo>
                  <a:pt x="16353" y="5359"/>
                </a:lnTo>
                <a:lnTo>
                  <a:pt x="16328" y="5364"/>
                </a:lnTo>
                <a:lnTo>
                  <a:pt x="16303" y="5370"/>
                </a:lnTo>
                <a:lnTo>
                  <a:pt x="16282" y="5378"/>
                </a:lnTo>
                <a:lnTo>
                  <a:pt x="16260" y="5386"/>
                </a:lnTo>
                <a:lnTo>
                  <a:pt x="16240" y="5396"/>
                </a:lnTo>
                <a:lnTo>
                  <a:pt x="16221" y="5407"/>
                </a:lnTo>
                <a:lnTo>
                  <a:pt x="16203" y="5419"/>
                </a:lnTo>
                <a:lnTo>
                  <a:pt x="16227" y="5414"/>
                </a:lnTo>
                <a:lnTo>
                  <a:pt x="16255" y="5411"/>
                </a:lnTo>
                <a:lnTo>
                  <a:pt x="16283" y="5410"/>
                </a:lnTo>
                <a:lnTo>
                  <a:pt x="16311" y="5407"/>
                </a:lnTo>
                <a:lnTo>
                  <a:pt x="16335" y="5402"/>
                </a:lnTo>
                <a:lnTo>
                  <a:pt x="16357" y="5393"/>
                </a:lnTo>
                <a:lnTo>
                  <a:pt x="16372" y="5378"/>
                </a:lnTo>
                <a:lnTo>
                  <a:pt x="16378" y="5355"/>
                </a:lnTo>
                <a:close/>
                <a:moveTo>
                  <a:pt x="15560" y="5570"/>
                </a:moveTo>
                <a:lnTo>
                  <a:pt x="15586" y="5566"/>
                </a:lnTo>
                <a:lnTo>
                  <a:pt x="15613" y="5561"/>
                </a:lnTo>
                <a:lnTo>
                  <a:pt x="15640" y="5555"/>
                </a:lnTo>
                <a:lnTo>
                  <a:pt x="15664" y="5549"/>
                </a:lnTo>
                <a:lnTo>
                  <a:pt x="15690" y="5542"/>
                </a:lnTo>
                <a:lnTo>
                  <a:pt x="15714" y="5535"/>
                </a:lnTo>
                <a:lnTo>
                  <a:pt x="15737" y="5527"/>
                </a:lnTo>
                <a:lnTo>
                  <a:pt x="15761" y="5519"/>
                </a:lnTo>
                <a:lnTo>
                  <a:pt x="15737" y="5513"/>
                </a:lnTo>
                <a:lnTo>
                  <a:pt x="15707" y="5510"/>
                </a:lnTo>
                <a:lnTo>
                  <a:pt x="15678" y="5512"/>
                </a:lnTo>
                <a:lnTo>
                  <a:pt x="15649" y="5518"/>
                </a:lnTo>
                <a:lnTo>
                  <a:pt x="15621" y="5527"/>
                </a:lnTo>
                <a:lnTo>
                  <a:pt x="15595" y="5538"/>
                </a:lnTo>
                <a:lnTo>
                  <a:pt x="15574" y="5552"/>
                </a:lnTo>
                <a:lnTo>
                  <a:pt x="15560" y="5570"/>
                </a:lnTo>
                <a:close/>
                <a:moveTo>
                  <a:pt x="15925" y="5129"/>
                </a:moveTo>
                <a:lnTo>
                  <a:pt x="15966" y="5112"/>
                </a:lnTo>
                <a:lnTo>
                  <a:pt x="16007" y="5101"/>
                </a:lnTo>
                <a:lnTo>
                  <a:pt x="16047" y="5092"/>
                </a:lnTo>
                <a:lnTo>
                  <a:pt x="16088" y="5085"/>
                </a:lnTo>
                <a:lnTo>
                  <a:pt x="16130" y="5079"/>
                </a:lnTo>
                <a:lnTo>
                  <a:pt x="16172" y="5073"/>
                </a:lnTo>
                <a:lnTo>
                  <a:pt x="16218" y="5065"/>
                </a:lnTo>
                <a:lnTo>
                  <a:pt x="16265" y="5053"/>
                </a:lnTo>
                <a:lnTo>
                  <a:pt x="16263" y="5062"/>
                </a:lnTo>
                <a:lnTo>
                  <a:pt x="16258" y="5070"/>
                </a:lnTo>
                <a:lnTo>
                  <a:pt x="16250" y="5076"/>
                </a:lnTo>
                <a:lnTo>
                  <a:pt x="16243" y="5081"/>
                </a:lnTo>
                <a:lnTo>
                  <a:pt x="16236" y="5087"/>
                </a:lnTo>
                <a:lnTo>
                  <a:pt x="16231" y="5094"/>
                </a:lnTo>
                <a:lnTo>
                  <a:pt x="16227" y="5103"/>
                </a:lnTo>
                <a:lnTo>
                  <a:pt x="16228" y="5116"/>
                </a:lnTo>
                <a:lnTo>
                  <a:pt x="16268" y="5103"/>
                </a:lnTo>
                <a:lnTo>
                  <a:pt x="16292" y="5093"/>
                </a:lnTo>
                <a:lnTo>
                  <a:pt x="16302" y="5090"/>
                </a:lnTo>
                <a:lnTo>
                  <a:pt x="16312" y="5089"/>
                </a:lnTo>
                <a:lnTo>
                  <a:pt x="16325" y="5089"/>
                </a:lnTo>
                <a:lnTo>
                  <a:pt x="16342" y="5090"/>
                </a:lnTo>
                <a:lnTo>
                  <a:pt x="16322" y="5080"/>
                </a:lnTo>
                <a:lnTo>
                  <a:pt x="16308" y="5071"/>
                </a:lnTo>
                <a:lnTo>
                  <a:pt x="16300" y="5064"/>
                </a:lnTo>
                <a:lnTo>
                  <a:pt x="16293" y="5055"/>
                </a:lnTo>
                <a:lnTo>
                  <a:pt x="16291" y="5046"/>
                </a:lnTo>
                <a:lnTo>
                  <a:pt x="16289" y="5034"/>
                </a:lnTo>
                <a:lnTo>
                  <a:pt x="16291" y="5020"/>
                </a:lnTo>
                <a:lnTo>
                  <a:pt x="16291" y="5003"/>
                </a:lnTo>
                <a:lnTo>
                  <a:pt x="16265" y="5003"/>
                </a:lnTo>
                <a:lnTo>
                  <a:pt x="16240" y="5003"/>
                </a:lnTo>
                <a:lnTo>
                  <a:pt x="16228" y="5004"/>
                </a:lnTo>
                <a:lnTo>
                  <a:pt x="16218" y="5006"/>
                </a:lnTo>
                <a:lnTo>
                  <a:pt x="16209" y="5010"/>
                </a:lnTo>
                <a:lnTo>
                  <a:pt x="16203" y="5015"/>
                </a:lnTo>
                <a:lnTo>
                  <a:pt x="16198" y="5009"/>
                </a:lnTo>
                <a:lnTo>
                  <a:pt x="16195" y="5001"/>
                </a:lnTo>
                <a:lnTo>
                  <a:pt x="16193" y="4992"/>
                </a:lnTo>
                <a:lnTo>
                  <a:pt x="16190" y="4983"/>
                </a:lnTo>
                <a:lnTo>
                  <a:pt x="16187" y="4976"/>
                </a:lnTo>
                <a:lnTo>
                  <a:pt x="16185" y="4967"/>
                </a:lnTo>
                <a:lnTo>
                  <a:pt x="16181" y="4959"/>
                </a:lnTo>
                <a:lnTo>
                  <a:pt x="16177" y="4953"/>
                </a:lnTo>
                <a:lnTo>
                  <a:pt x="16145" y="4952"/>
                </a:lnTo>
                <a:lnTo>
                  <a:pt x="16116" y="4954"/>
                </a:lnTo>
                <a:lnTo>
                  <a:pt x="16102" y="4957"/>
                </a:lnTo>
                <a:lnTo>
                  <a:pt x="16092" y="4962"/>
                </a:lnTo>
                <a:lnTo>
                  <a:pt x="16083" y="4968"/>
                </a:lnTo>
                <a:lnTo>
                  <a:pt x="16077" y="4977"/>
                </a:lnTo>
                <a:lnTo>
                  <a:pt x="16083" y="4983"/>
                </a:lnTo>
                <a:lnTo>
                  <a:pt x="16091" y="4989"/>
                </a:lnTo>
                <a:lnTo>
                  <a:pt x="16100" y="4992"/>
                </a:lnTo>
                <a:lnTo>
                  <a:pt x="16107" y="4996"/>
                </a:lnTo>
                <a:lnTo>
                  <a:pt x="16116" y="5001"/>
                </a:lnTo>
                <a:lnTo>
                  <a:pt x="16121" y="5008"/>
                </a:lnTo>
                <a:lnTo>
                  <a:pt x="16126" y="5017"/>
                </a:lnTo>
                <a:lnTo>
                  <a:pt x="16126" y="5028"/>
                </a:lnTo>
                <a:lnTo>
                  <a:pt x="16105" y="5046"/>
                </a:lnTo>
                <a:lnTo>
                  <a:pt x="16078" y="5055"/>
                </a:lnTo>
                <a:lnTo>
                  <a:pt x="16047" y="5059"/>
                </a:lnTo>
                <a:lnTo>
                  <a:pt x="16016" y="5062"/>
                </a:lnTo>
                <a:lnTo>
                  <a:pt x="15986" y="5067"/>
                </a:lnTo>
                <a:lnTo>
                  <a:pt x="15960" y="5078"/>
                </a:lnTo>
                <a:lnTo>
                  <a:pt x="15938" y="5097"/>
                </a:lnTo>
                <a:lnTo>
                  <a:pt x="15925" y="5129"/>
                </a:lnTo>
                <a:close/>
                <a:moveTo>
                  <a:pt x="15874" y="5229"/>
                </a:moveTo>
                <a:lnTo>
                  <a:pt x="15850" y="5225"/>
                </a:lnTo>
                <a:lnTo>
                  <a:pt x="15822" y="5224"/>
                </a:lnTo>
                <a:lnTo>
                  <a:pt x="15794" y="5229"/>
                </a:lnTo>
                <a:lnTo>
                  <a:pt x="15765" y="5237"/>
                </a:lnTo>
                <a:lnTo>
                  <a:pt x="15737" y="5248"/>
                </a:lnTo>
                <a:lnTo>
                  <a:pt x="15711" y="5261"/>
                </a:lnTo>
                <a:lnTo>
                  <a:pt x="15690" y="5276"/>
                </a:lnTo>
                <a:lnTo>
                  <a:pt x="15673" y="5293"/>
                </a:lnTo>
                <a:lnTo>
                  <a:pt x="15697" y="5284"/>
                </a:lnTo>
                <a:lnTo>
                  <a:pt x="15725" y="5279"/>
                </a:lnTo>
                <a:lnTo>
                  <a:pt x="15754" y="5275"/>
                </a:lnTo>
                <a:lnTo>
                  <a:pt x="15785" y="5272"/>
                </a:lnTo>
                <a:lnTo>
                  <a:pt x="15814" y="5269"/>
                </a:lnTo>
                <a:lnTo>
                  <a:pt x="15840" y="5261"/>
                </a:lnTo>
                <a:lnTo>
                  <a:pt x="15860" y="5248"/>
                </a:lnTo>
                <a:lnTo>
                  <a:pt x="15874" y="5229"/>
                </a:lnTo>
                <a:close/>
                <a:moveTo>
                  <a:pt x="15585" y="5759"/>
                </a:moveTo>
                <a:lnTo>
                  <a:pt x="15639" y="5748"/>
                </a:lnTo>
                <a:lnTo>
                  <a:pt x="15696" y="5741"/>
                </a:lnTo>
                <a:lnTo>
                  <a:pt x="15756" y="5736"/>
                </a:lnTo>
                <a:lnTo>
                  <a:pt x="15814" y="5729"/>
                </a:lnTo>
                <a:lnTo>
                  <a:pt x="15869" y="5720"/>
                </a:lnTo>
                <a:lnTo>
                  <a:pt x="15921" y="5708"/>
                </a:lnTo>
                <a:lnTo>
                  <a:pt x="15965" y="5687"/>
                </a:lnTo>
                <a:lnTo>
                  <a:pt x="16000" y="5658"/>
                </a:lnTo>
                <a:lnTo>
                  <a:pt x="15945" y="5667"/>
                </a:lnTo>
                <a:lnTo>
                  <a:pt x="15889" y="5676"/>
                </a:lnTo>
                <a:lnTo>
                  <a:pt x="15833" y="5685"/>
                </a:lnTo>
                <a:lnTo>
                  <a:pt x="15779" y="5695"/>
                </a:lnTo>
                <a:lnTo>
                  <a:pt x="15726" y="5706"/>
                </a:lnTo>
                <a:lnTo>
                  <a:pt x="15676" y="5720"/>
                </a:lnTo>
                <a:lnTo>
                  <a:pt x="15628" y="5738"/>
                </a:lnTo>
                <a:lnTo>
                  <a:pt x="15585" y="5759"/>
                </a:lnTo>
                <a:close/>
                <a:moveTo>
                  <a:pt x="4124" y="8620"/>
                </a:moveTo>
                <a:lnTo>
                  <a:pt x="4153" y="8606"/>
                </a:lnTo>
                <a:lnTo>
                  <a:pt x="4186" y="8596"/>
                </a:lnTo>
                <a:lnTo>
                  <a:pt x="4222" y="8587"/>
                </a:lnTo>
                <a:lnTo>
                  <a:pt x="4256" y="8579"/>
                </a:lnTo>
                <a:lnTo>
                  <a:pt x="4288" y="8569"/>
                </a:lnTo>
                <a:lnTo>
                  <a:pt x="4313" y="8555"/>
                </a:lnTo>
                <a:lnTo>
                  <a:pt x="4331" y="8535"/>
                </a:lnTo>
                <a:lnTo>
                  <a:pt x="4338" y="8507"/>
                </a:lnTo>
                <a:lnTo>
                  <a:pt x="4313" y="8526"/>
                </a:lnTo>
                <a:lnTo>
                  <a:pt x="4287" y="8539"/>
                </a:lnTo>
                <a:lnTo>
                  <a:pt x="4257" y="8548"/>
                </a:lnTo>
                <a:lnTo>
                  <a:pt x="4228" y="8554"/>
                </a:lnTo>
                <a:lnTo>
                  <a:pt x="4197" y="8563"/>
                </a:lnTo>
                <a:lnTo>
                  <a:pt x="4169" y="8574"/>
                </a:lnTo>
                <a:lnTo>
                  <a:pt x="4144" y="8592"/>
                </a:lnTo>
                <a:lnTo>
                  <a:pt x="4124" y="8620"/>
                </a:lnTo>
                <a:close/>
                <a:moveTo>
                  <a:pt x="5863" y="8772"/>
                </a:moveTo>
                <a:lnTo>
                  <a:pt x="5806" y="8783"/>
                </a:lnTo>
                <a:lnTo>
                  <a:pt x="5750" y="8795"/>
                </a:lnTo>
                <a:lnTo>
                  <a:pt x="5698" y="8805"/>
                </a:lnTo>
                <a:lnTo>
                  <a:pt x="5648" y="8816"/>
                </a:lnTo>
                <a:lnTo>
                  <a:pt x="5600" y="8829"/>
                </a:lnTo>
                <a:lnTo>
                  <a:pt x="5555" y="8844"/>
                </a:lnTo>
                <a:lnTo>
                  <a:pt x="5512" y="8862"/>
                </a:lnTo>
                <a:lnTo>
                  <a:pt x="5472" y="8885"/>
                </a:lnTo>
                <a:lnTo>
                  <a:pt x="5476" y="8886"/>
                </a:lnTo>
                <a:lnTo>
                  <a:pt x="5479" y="8887"/>
                </a:lnTo>
                <a:lnTo>
                  <a:pt x="5481" y="8890"/>
                </a:lnTo>
                <a:lnTo>
                  <a:pt x="5482" y="8893"/>
                </a:lnTo>
                <a:lnTo>
                  <a:pt x="5485" y="8896"/>
                </a:lnTo>
                <a:lnTo>
                  <a:pt x="5485" y="8900"/>
                </a:lnTo>
                <a:lnTo>
                  <a:pt x="5485" y="8904"/>
                </a:lnTo>
                <a:lnTo>
                  <a:pt x="5485" y="8909"/>
                </a:lnTo>
                <a:lnTo>
                  <a:pt x="5559" y="8898"/>
                </a:lnTo>
                <a:lnTo>
                  <a:pt x="5635" y="8877"/>
                </a:lnTo>
                <a:lnTo>
                  <a:pt x="5712" y="8853"/>
                </a:lnTo>
                <a:lnTo>
                  <a:pt x="5788" y="8825"/>
                </a:lnTo>
                <a:lnTo>
                  <a:pt x="5867" y="8797"/>
                </a:lnTo>
                <a:lnTo>
                  <a:pt x="5945" y="8768"/>
                </a:lnTo>
                <a:lnTo>
                  <a:pt x="6024" y="8742"/>
                </a:lnTo>
                <a:lnTo>
                  <a:pt x="6103" y="8721"/>
                </a:lnTo>
                <a:lnTo>
                  <a:pt x="6076" y="8718"/>
                </a:lnTo>
                <a:lnTo>
                  <a:pt x="6047" y="8717"/>
                </a:lnTo>
                <a:lnTo>
                  <a:pt x="6015" y="8719"/>
                </a:lnTo>
                <a:lnTo>
                  <a:pt x="5983" y="8723"/>
                </a:lnTo>
                <a:lnTo>
                  <a:pt x="5951" y="8731"/>
                </a:lnTo>
                <a:lnTo>
                  <a:pt x="5919" y="8741"/>
                </a:lnTo>
                <a:lnTo>
                  <a:pt x="5890" y="8754"/>
                </a:lnTo>
                <a:lnTo>
                  <a:pt x="5863" y="8772"/>
                </a:lnTo>
                <a:close/>
                <a:moveTo>
                  <a:pt x="5737" y="8708"/>
                </a:moveTo>
                <a:lnTo>
                  <a:pt x="5726" y="8716"/>
                </a:lnTo>
                <a:lnTo>
                  <a:pt x="5714" y="8722"/>
                </a:lnTo>
                <a:lnTo>
                  <a:pt x="5700" y="8728"/>
                </a:lnTo>
                <a:lnTo>
                  <a:pt x="5686" y="8733"/>
                </a:lnTo>
                <a:lnTo>
                  <a:pt x="5673" y="8740"/>
                </a:lnTo>
                <a:lnTo>
                  <a:pt x="5663" y="8747"/>
                </a:lnTo>
                <a:lnTo>
                  <a:pt x="5654" y="8758"/>
                </a:lnTo>
                <a:lnTo>
                  <a:pt x="5649" y="8772"/>
                </a:lnTo>
                <a:lnTo>
                  <a:pt x="5662" y="8778"/>
                </a:lnTo>
                <a:lnTo>
                  <a:pt x="5676" y="8781"/>
                </a:lnTo>
                <a:lnTo>
                  <a:pt x="5690" y="8778"/>
                </a:lnTo>
                <a:lnTo>
                  <a:pt x="5705" y="8773"/>
                </a:lnTo>
                <a:lnTo>
                  <a:pt x="5735" y="8759"/>
                </a:lnTo>
                <a:lnTo>
                  <a:pt x="5763" y="8746"/>
                </a:lnTo>
                <a:lnTo>
                  <a:pt x="5763" y="8739"/>
                </a:lnTo>
                <a:lnTo>
                  <a:pt x="5761" y="8732"/>
                </a:lnTo>
                <a:lnTo>
                  <a:pt x="5759" y="8726"/>
                </a:lnTo>
                <a:lnTo>
                  <a:pt x="5756" y="8721"/>
                </a:lnTo>
                <a:lnTo>
                  <a:pt x="5752" y="8717"/>
                </a:lnTo>
                <a:lnTo>
                  <a:pt x="5747" y="8713"/>
                </a:lnTo>
                <a:lnTo>
                  <a:pt x="5742" y="8711"/>
                </a:lnTo>
                <a:lnTo>
                  <a:pt x="5737" y="8708"/>
                </a:lnTo>
                <a:close/>
                <a:moveTo>
                  <a:pt x="113" y="6175"/>
                </a:moveTo>
                <a:lnTo>
                  <a:pt x="84" y="6170"/>
                </a:lnTo>
                <a:lnTo>
                  <a:pt x="62" y="6169"/>
                </a:lnTo>
                <a:lnTo>
                  <a:pt x="42" y="6170"/>
                </a:lnTo>
                <a:lnTo>
                  <a:pt x="13" y="6175"/>
                </a:lnTo>
                <a:lnTo>
                  <a:pt x="14" y="6194"/>
                </a:lnTo>
                <a:lnTo>
                  <a:pt x="24" y="6207"/>
                </a:lnTo>
                <a:lnTo>
                  <a:pt x="42" y="6213"/>
                </a:lnTo>
                <a:lnTo>
                  <a:pt x="61" y="6214"/>
                </a:lnTo>
                <a:lnTo>
                  <a:pt x="82" y="6212"/>
                </a:lnTo>
                <a:lnTo>
                  <a:pt x="99" y="6203"/>
                </a:lnTo>
                <a:lnTo>
                  <a:pt x="111" y="6191"/>
                </a:lnTo>
                <a:lnTo>
                  <a:pt x="113" y="6175"/>
                </a:lnTo>
                <a:close/>
                <a:moveTo>
                  <a:pt x="8889" y="7851"/>
                </a:moveTo>
                <a:lnTo>
                  <a:pt x="8867" y="7873"/>
                </a:lnTo>
                <a:lnTo>
                  <a:pt x="8839" y="7886"/>
                </a:lnTo>
                <a:lnTo>
                  <a:pt x="8810" y="7892"/>
                </a:lnTo>
                <a:lnTo>
                  <a:pt x="8778" y="7896"/>
                </a:lnTo>
                <a:lnTo>
                  <a:pt x="8748" y="7901"/>
                </a:lnTo>
                <a:lnTo>
                  <a:pt x="8718" y="7909"/>
                </a:lnTo>
                <a:lnTo>
                  <a:pt x="8694" y="7925"/>
                </a:lnTo>
                <a:lnTo>
                  <a:pt x="8675" y="7952"/>
                </a:lnTo>
                <a:lnTo>
                  <a:pt x="8712" y="7951"/>
                </a:lnTo>
                <a:lnTo>
                  <a:pt x="8745" y="7947"/>
                </a:lnTo>
                <a:lnTo>
                  <a:pt x="8777" y="7940"/>
                </a:lnTo>
                <a:lnTo>
                  <a:pt x="8806" y="7932"/>
                </a:lnTo>
                <a:lnTo>
                  <a:pt x="8836" y="7923"/>
                </a:lnTo>
                <a:lnTo>
                  <a:pt x="8865" y="7915"/>
                </a:lnTo>
                <a:lnTo>
                  <a:pt x="8894" y="7907"/>
                </a:lnTo>
                <a:lnTo>
                  <a:pt x="8927" y="7901"/>
                </a:lnTo>
                <a:lnTo>
                  <a:pt x="8927" y="7890"/>
                </a:lnTo>
                <a:lnTo>
                  <a:pt x="8927" y="7879"/>
                </a:lnTo>
                <a:lnTo>
                  <a:pt x="8926" y="7870"/>
                </a:lnTo>
                <a:lnTo>
                  <a:pt x="8922" y="7863"/>
                </a:lnTo>
                <a:lnTo>
                  <a:pt x="8917" y="7856"/>
                </a:lnTo>
                <a:lnTo>
                  <a:pt x="8909" y="7853"/>
                </a:lnTo>
                <a:lnTo>
                  <a:pt x="8900" y="7851"/>
                </a:lnTo>
                <a:lnTo>
                  <a:pt x="8889" y="7851"/>
                </a:lnTo>
                <a:lnTo>
                  <a:pt x="8889" y="7851"/>
                </a:lnTo>
                <a:close/>
                <a:moveTo>
                  <a:pt x="14526" y="6389"/>
                </a:moveTo>
                <a:lnTo>
                  <a:pt x="14503" y="6400"/>
                </a:lnTo>
                <a:lnTo>
                  <a:pt x="14477" y="6407"/>
                </a:lnTo>
                <a:lnTo>
                  <a:pt x="14449" y="6412"/>
                </a:lnTo>
                <a:lnTo>
                  <a:pt x="14421" y="6417"/>
                </a:lnTo>
                <a:lnTo>
                  <a:pt x="14394" y="6423"/>
                </a:lnTo>
                <a:lnTo>
                  <a:pt x="14370" y="6432"/>
                </a:lnTo>
                <a:lnTo>
                  <a:pt x="14350" y="6446"/>
                </a:lnTo>
                <a:lnTo>
                  <a:pt x="14336" y="6465"/>
                </a:lnTo>
                <a:lnTo>
                  <a:pt x="14356" y="6466"/>
                </a:lnTo>
                <a:lnTo>
                  <a:pt x="14377" y="6464"/>
                </a:lnTo>
                <a:lnTo>
                  <a:pt x="14394" y="6460"/>
                </a:lnTo>
                <a:lnTo>
                  <a:pt x="14411" y="6455"/>
                </a:lnTo>
                <a:lnTo>
                  <a:pt x="14426" y="6454"/>
                </a:lnTo>
                <a:lnTo>
                  <a:pt x="14440" y="6455"/>
                </a:lnTo>
                <a:lnTo>
                  <a:pt x="14453" y="6463"/>
                </a:lnTo>
                <a:lnTo>
                  <a:pt x="14462" y="6478"/>
                </a:lnTo>
                <a:lnTo>
                  <a:pt x="14464" y="6457"/>
                </a:lnTo>
                <a:lnTo>
                  <a:pt x="14477" y="6443"/>
                </a:lnTo>
                <a:lnTo>
                  <a:pt x="14495" y="6433"/>
                </a:lnTo>
                <a:lnTo>
                  <a:pt x="14517" y="6426"/>
                </a:lnTo>
                <a:lnTo>
                  <a:pt x="14534" y="6419"/>
                </a:lnTo>
                <a:lnTo>
                  <a:pt x="14545" y="6412"/>
                </a:lnTo>
                <a:lnTo>
                  <a:pt x="14543" y="6403"/>
                </a:lnTo>
                <a:lnTo>
                  <a:pt x="14526" y="6389"/>
                </a:lnTo>
                <a:close/>
                <a:moveTo>
                  <a:pt x="8196" y="8103"/>
                </a:moveTo>
                <a:lnTo>
                  <a:pt x="8206" y="8106"/>
                </a:lnTo>
                <a:lnTo>
                  <a:pt x="8220" y="8103"/>
                </a:lnTo>
                <a:lnTo>
                  <a:pt x="8236" y="8100"/>
                </a:lnTo>
                <a:lnTo>
                  <a:pt x="8251" y="8091"/>
                </a:lnTo>
                <a:lnTo>
                  <a:pt x="8266" y="8080"/>
                </a:lnTo>
                <a:lnTo>
                  <a:pt x="8279" y="8069"/>
                </a:lnTo>
                <a:lnTo>
                  <a:pt x="8290" y="8055"/>
                </a:lnTo>
                <a:lnTo>
                  <a:pt x="8297" y="8040"/>
                </a:lnTo>
                <a:lnTo>
                  <a:pt x="8276" y="8041"/>
                </a:lnTo>
                <a:lnTo>
                  <a:pt x="8259" y="8042"/>
                </a:lnTo>
                <a:lnTo>
                  <a:pt x="8242" y="8047"/>
                </a:lnTo>
                <a:lnTo>
                  <a:pt x="8228" y="8052"/>
                </a:lnTo>
                <a:lnTo>
                  <a:pt x="8215" y="8061"/>
                </a:lnTo>
                <a:lnTo>
                  <a:pt x="8206" y="8073"/>
                </a:lnTo>
                <a:lnTo>
                  <a:pt x="8200" y="8087"/>
                </a:lnTo>
                <a:lnTo>
                  <a:pt x="8196" y="8103"/>
                </a:lnTo>
                <a:close/>
                <a:moveTo>
                  <a:pt x="4615" y="7914"/>
                </a:moveTo>
                <a:lnTo>
                  <a:pt x="4613" y="7933"/>
                </a:lnTo>
                <a:lnTo>
                  <a:pt x="4602" y="7943"/>
                </a:lnTo>
                <a:lnTo>
                  <a:pt x="4587" y="7948"/>
                </a:lnTo>
                <a:lnTo>
                  <a:pt x="4569" y="7951"/>
                </a:lnTo>
                <a:lnTo>
                  <a:pt x="4551" y="7953"/>
                </a:lnTo>
                <a:lnTo>
                  <a:pt x="4537" y="7960"/>
                </a:lnTo>
                <a:lnTo>
                  <a:pt x="4527" y="7971"/>
                </a:lnTo>
                <a:lnTo>
                  <a:pt x="4526" y="7990"/>
                </a:lnTo>
                <a:lnTo>
                  <a:pt x="4544" y="7988"/>
                </a:lnTo>
                <a:lnTo>
                  <a:pt x="4560" y="7985"/>
                </a:lnTo>
                <a:lnTo>
                  <a:pt x="4576" y="7981"/>
                </a:lnTo>
                <a:lnTo>
                  <a:pt x="4590" y="7976"/>
                </a:lnTo>
                <a:lnTo>
                  <a:pt x="4601" y="7970"/>
                </a:lnTo>
                <a:lnTo>
                  <a:pt x="4613" y="7962"/>
                </a:lnTo>
                <a:lnTo>
                  <a:pt x="4622" y="7952"/>
                </a:lnTo>
                <a:lnTo>
                  <a:pt x="4628" y="7939"/>
                </a:lnTo>
                <a:lnTo>
                  <a:pt x="4622" y="7938"/>
                </a:lnTo>
                <a:lnTo>
                  <a:pt x="4618" y="7934"/>
                </a:lnTo>
                <a:lnTo>
                  <a:pt x="4618" y="7932"/>
                </a:lnTo>
                <a:lnTo>
                  <a:pt x="4620" y="7928"/>
                </a:lnTo>
                <a:lnTo>
                  <a:pt x="4622" y="7923"/>
                </a:lnTo>
                <a:lnTo>
                  <a:pt x="4622" y="7919"/>
                </a:lnTo>
                <a:lnTo>
                  <a:pt x="4620" y="7916"/>
                </a:lnTo>
                <a:lnTo>
                  <a:pt x="4615" y="7914"/>
                </a:lnTo>
                <a:close/>
                <a:moveTo>
                  <a:pt x="8549" y="7965"/>
                </a:moveTo>
                <a:lnTo>
                  <a:pt x="8550" y="7981"/>
                </a:lnTo>
                <a:lnTo>
                  <a:pt x="8554" y="7991"/>
                </a:lnTo>
                <a:lnTo>
                  <a:pt x="8559" y="7996"/>
                </a:lnTo>
                <a:lnTo>
                  <a:pt x="8566" y="7996"/>
                </a:lnTo>
                <a:lnTo>
                  <a:pt x="8574" y="7995"/>
                </a:lnTo>
                <a:lnTo>
                  <a:pt x="8585" y="7993"/>
                </a:lnTo>
                <a:lnTo>
                  <a:pt x="8597" y="7990"/>
                </a:lnTo>
                <a:lnTo>
                  <a:pt x="8611" y="7990"/>
                </a:lnTo>
                <a:lnTo>
                  <a:pt x="8611" y="7974"/>
                </a:lnTo>
                <a:lnTo>
                  <a:pt x="8608" y="7963"/>
                </a:lnTo>
                <a:lnTo>
                  <a:pt x="8601" y="7957"/>
                </a:lnTo>
                <a:lnTo>
                  <a:pt x="8592" y="7954"/>
                </a:lnTo>
                <a:lnTo>
                  <a:pt x="8582" y="7956"/>
                </a:lnTo>
                <a:lnTo>
                  <a:pt x="8572" y="7958"/>
                </a:lnTo>
                <a:lnTo>
                  <a:pt x="8560" y="7961"/>
                </a:lnTo>
                <a:lnTo>
                  <a:pt x="8549" y="7965"/>
                </a:lnTo>
                <a:close/>
                <a:moveTo>
                  <a:pt x="3556" y="8027"/>
                </a:moveTo>
                <a:lnTo>
                  <a:pt x="3575" y="8017"/>
                </a:lnTo>
                <a:lnTo>
                  <a:pt x="3599" y="8010"/>
                </a:lnTo>
                <a:lnTo>
                  <a:pt x="3623" y="8005"/>
                </a:lnTo>
                <a:lnTo>
                  <a:pt x="3649" y="8002"/>
                </a:lnTo>
                <a:lnTo>
                  <a:pt x="3673" y="7995"/>
                </a:lnTo>
                <a:lnTo>
                  <a:pt x="3694" y="7986"/>
                </a:lnTo>
                <a:lnTo>
                  <a:pt x="3710" y="7972"/>
                </a:lnTo>
                <a:lnTo>
                  <a:pt x="3720" y="7952"/>
                </a:lnTo>
                <a:lnTo>
                  <a:pt x="3693" y="7956"/>
                </a:lnTo>
                <a:lnTo>
                  <a:pt x="3668" y="7960"/>
                </a:lnTo>
                <a:lnTo>
                  <a:pt x="3642" y="7965"/>
                </a:lnTo>
                <a:lnTo>
                  <a:pt x="3619" y="7972"/>
                </a:lnTo>
                <a:lnTo>
                  <a:pt x="3599" y="7981"/>
                </a:lnTo>
                <a:lnTo>
                  <a:pt x="3581" y="7993"/>
                </a:lnTo>
                <a:lnTo>
                  <a:pt x="3567" y="8008"/>
                </a:lnTo>
                <a:lnTo>
                  <a:pt x="3556" y="8027"/>
                </a:lnTo>
                <a:close/>
                <a:moveTo>
                  <a:pt x="3745" y="7914"/>
                </a:moveTo>
                <a:lnTo>
                  <a:pt x="3767" y="7934"/>
                </a:lnTo>
                <a:lnTo>
                  <a:pt x="3798" y="7939"/>
                </a:lnTo>
                <a:lnTo>
                  <a:pt x="3835" y="7933"/>
                </a:lnTo>
                <a:lnTo>
                  <a:pt x="3874" y="7919"/>
                </a:lnTo>
                <a:lnTo>
                  <a:pt x="3913" y="7900"/>
                </a:lnTo>
                <a:lnTo>
                  <a:pt x="3952" y="7878"/>
                </a:lnTo>
                <a:lnTo>
                  <a:pt x="3985" y="7856"/>
                </a:lnTo>
                <a:lnTo>
                  <a:pt x="4009" y="7839"/>
                </a:lnTo>
                <a:lnTo>
                  <a:pt x="3966" y="7836"/>
                </a:lnTo>
                <a:lnTo>
                  <a:pt x="3930" y="7844"/>
                </a:lnTo>
                <a:lnTo>
                  <a:pt x="3899" y="7856"/>
                </a:lnTo>
                <a:lnTo>
                  <a:pt x="3874" y="7873"/>
                </a:lnTo>
                <a:lnTo>
                  <a:pt x="3847" y="7890"/>
                </a:lnTo>
                <a:lnTo>
                  <a:pt x="3819" y="7904"/>
                </a:lnTo>
                <a:lnTo>
                  <a:pt x="3786" y="7912"/>
                </a:lnTo>
                <a:lnTo>
                  <a:pt x="3745" y="7914"/>
                </a:lnTo>
                <a:close/>
                <a:moveTo>
                  <a:pt x="3039" y="2659"/>
                </a:moveTo>
                <a:lnTo>
                  <a:pt x="3028" y="2665"/>
                </a:lnTo>
                <a:lnTo>
                  <a:pt x="3017" y="2671"/>
                </a:lnTo>
                <a:lnTo>
                  <a:pt x="3003" y="2674"/>
                </a:lnTo>
                <a:lnTo>
                  <a:pt x="2990" y="2679"/>
                </a:lnTo>
                <a:lnTo>
                  <a:pt x="2977" y="2685"/>
                </a:lnTo>
                <a:lnTo>
                  <a:pt x="2969" y="2692"/>
                </a:lnTo>
                <a:lnTo>
                  <a:pt x="2963" y="2705"/>
                </a:lnTo>
                <a:lnTo>
                  <a:pt x="2963" y="2721"/>
                </a:lnTo>
                <a:lnTo>
                  <a:pt x="3003" y="2734"/>
                </a:lnTo>
                <a:lnTo>
                  <a:pt x="3042" y="2734"/>
                </a:lnTo>
                <a:lnTo>
                  <a:pt x="3082" y="2725"/>
                </a:lnTo>
                <a:lnTo>
                  <a:pt x="3120" y="2711"/>
                </a:lnTo>
                <a:lnTo>
                  <a:pt x="3160" y="2697"/>
                </a:lnTo>
                <a:lnTo>
                  <a:pt x="3202" y="2688"/>
                </a:lnTo>
                <a:lnTo>
                  <a:pt x="3245" y="2686"/>
                </a:lnTo>
                <a:lnTo>
                  <a:pt x="3291" y="2696"/>
                </a:lnTo>
                <a:lnTo>
                  <a:pt x="3296" y="2710"/>
                </a:lnTo>
                <a:lnTo>
                  <a:pt x="3303" y="2721"/>
                </a:lnTo>
                <a:lnTo>
                  <a:pt x="3293" y="2732"/>
                </a:lnTo>
                <a:lnTo>
                  <a:pt x="3284" y="2737"/>
                </a:lnTo>
                <a:lnTo>
                  <a:pt x="3277" y="2739"/>
                </a:lnTo>
                <a:lnTo>
                  <a:pt x="3269" y="2739"/>
                </a:lnTo>
                <a:lnTo>
                  <a:pt x="3247" y="2737"/>
                </a:lnTo>
                <a:lnTo>
                  <a:pt x="3216" y="2734"/>
                </a:lnTo>
                <a:lnTo>
                  <a:pt x="3216" y="2744"/>
                </a:lnTo>
                <a:lnTo>
                  <a:pt x="3214" y="2752"/>
                </a:lnTo>
                <a:lnTo>
                  <a:pt x="3210" y="2758"/>
                </a:lnTo>
                <a:lnTo>
                  <a:pt x="3207" y="2763"/>
                </a:lnTo>
                <a:lnTo>
                  <a:pt x="3203" y="2770"/>
                </a:lnTo>
                <a:lnTo>
                  <a:pt x="3202" y="2776"/>
                </a:lnTo>
                <a:lnTo>
                  <a:pt x="3200" y="2785"/>
                </a:lnTo>
                <a:lnTo>
                  <a:pt x="3203" y="2798"/>
                </a:lnTo>
                <a:lnTo>
                  <a:pt x="3221" y="2799"/>
                </a:lnTo>
                <a:lnTo>
                  <a:pt x="3233" y="2797"/>
                </a:lnTo>
                <a:lnTo>
                  <a:pt x="3242" y="2790"/>
                </a:lnTo>
                <a:lnTo>
                  <a:pt x="3250" y="2781"/>
                </a:lnTo>
                <a:lnTo>
                  <a:pt x="3256" y="2772"/>
                </a:lnTo>
                <a:lnTo>
                  <a:pt x="3265" y="2765"/>
                </a:lnTo>
                <a:lnTo>
                  <a:pt x="3275" y="2760"/>
                </a:lnTo>
                <a:lnTo>
                  <a:pt x="3291" y="2760"/>
                </a:lnTo>
                <a:lnTo>
                  <a:pt x="3329" y="2758"/>
                </a:lnTo>
                <a:lnTo>
                  <a:pt x="3362" y="2761"/>
                </a:lnTo>
                <a:lnTo>
                  <a:pt x="3390" y="2767"/>
                </a:lnTo>
                <a:lnTo>
                  <a:pt x="3416" y="2775"/>
                </a:lnTo>
                <a:lnTo>
                  <a:pt x="3438" y="2783"/>
                </a:lnTo>
                <a:lnTo>
                  <a:pt x="3461" y="2790"/>
                </a:lnTo>
                <a:lnTo>
                  <a:pt x="3483" y="2795"/>
                </a:lnTo>
                <a:lnTo>
                  <a:pt x="3505" y="2798"/>
                </a:lnTo>
                <a:lnTo>
                  <a:pt x="3494" y="2776"/>
                </a:lnTo>
                <a:lnTo>
                  <a:pt x="3486" y="2757"/>
                </a:lnTo>
                <a:lnTo>
                  <a:pt x="3484" y="2748"/>
                </a:lnTo>
                <a:lnTo>
                  <a:pt x="3486" y="2739"/>
                </a:lnTo>
                <a:lnTo>
                  <a:pt x="3493" y="2730"/>
                </a:lnTo>
                <a:lnTo>
                  <a:pt x="3505" y="2721"/>
                </a:lnTo>
                <a:lnTo>
                  <a:pt x="3530" y="2719"/>
                </a:lnTo>
                <a:lnTo>
                  <a:pt x="3556" y="2716"/>
                </a:lnTo>
                <a:lnTo>
                  <a:pt x="3581" y="2714"/>
                </a:lnTo>
                <a:lnTo>
                  <a:pt x="3608" y="2711"/>
                </a:lnTo>
                <a:lnTo>
                  <a:pt x="3633" y="2709"/>
                </a:lnTo>
                <a:lnTo>
                  <a:pt x="3659" y="2706"/>
                </a:lnTo>
                <a:lnTo>
                  <a:pt x="3683" y="2701"/>
                </a:lnTo>
                <a:lnTo>
                  <a:pt x="3707" y="2696"/>
                </a:lnTo>
                <a:lnTo>
                  <a:pt x="3714" y="2693"/>
                </a:lnTo>
                <a:lnTo>
                  <a:pt x="3717" y="2690"/>
                </a:lnTo>
                <a:lnTo>
                  <a:pt x="3721" y="2685"/>
                </a:lnTo>
                <a:lnTo>
                  <a:pt x="3724" y="2678"/>
                </a:lnTo>
                <a:lnTo>
                  <a:pt x="3726" y="2673"/>
                </a:lnTo>
                <a:lnTo>
                  <a:pt x="3730" y="2667"/>
                </a:lnTo>
                <a:lnTo>
                  <a:pt x="3736" y="2663"/>
                </a:lnTo>
                <a:lnTo>
                  <a:pt x="3745" y="2659"/>
                </a:lnTo>
                <a:lnTo>
                  <a:pt x="3747" y="2663"/>
                </a:lnTo>
                <a:lnTo>
                  <a:pt x="3753" y="2672"/>
                </a:lnTo>
                <a:lnTo>
                  <a:pt x="3758" y="2677"/>
                </a:lnTo>
                <a:lnTo>
                  <a:pt x="3762" y="2681"/>
                </a:lnTo>
                <a:lnTo>
                  <a:pt x="3767" y="2683"/>
                </a:lnTo>
                <a:lnTo>
                  <a:pt x="3770" y="2683"/>
                </a:lnTo>
                <a:lnTo>
                  <a:pt x="3781" y="2678"/>
                </a:lnTo>
                <a:lnTo>
                  <a:pt x="3795" y="2664"/>
                </a:lnTo>
                <a:lnTo>
                  <a:pt x="3810" y="2649"/>
                </a:lnTo>
                <a:lnTo>
                  <a:pt x="3824" y="2635"/>
                </a:lnTo>
                <a:lnTo>
                  <a:pt x="3836" y="2625"/>
                </a:lnTo>
                <a:lnTo>
                  <a:pt x="3842" y="2622"/>
                </a:lnTo>
                <a:lnTo>
                  <a:pt x="3842" y="2632"/>
                </a:lnTo>
                <a:lnTo>
                  <a:pt x="3833" y="2659"/>
                </a:lnTo>
                <a:lnTo>
                  <a:pt x="3877" y="2645"/>
                </a:lnTo>
                <a:lnTo>
                  <a:pt x="3912" y="2632"/>
                </a:lnTo>
                <a:lnTo>
                  <a:pt x="3929" y="2627"/>
                </a:lnTo>
                <a:lnTo>
                  <a:pt x="3947" y="2623"/>
                </a:lnTo>
                <a:lnTo>
                  <a:pt x="3964" y="2621"/>
                </a:lnTo>
                <a:lnTo>
                  <a:pt x="3985" y="2621"/>
                </a:lnTo>
                <a:lnTo>
                  <a:pt x="3980" y="2634"/>
                </a:lnTo>
                <a:lnTo>
                  <a:pt x="3977" y="2644"/>
                </a:lnTo>
                <a:lnTo>
                  <a:pt x="3977" y="2653"/>
                </a:lnTo>
                <a:lnTo>
                  <a:pt x="3978" y="2660"/>
                </a:lnTo>
                <a:lnTo>
                  <a:pt x="3984" y="2665"/>
                </a:lnTo>
                <a:lnTo>
                  <a:pt x="3992" y="2669"/>
                </a:lnTo>
                <a:lnTo>
                  <a:pt x="4005" y="2672"/>
                </a:lnTo>
                <a:lnTo>
                  <a:pt x="4022" y="2671"/>
                </a:lnTo>
                <a:lnTo>
                  <a:pt x="4026" y="2658"/>
                </a:lnTo>
                <a:lnTo>
                  <a:pt x="4026" y="2649"/>
                </a:lnTo>
                <a:lnTo>
                  <a:pt x="4022" y="2643"/>
                </a:lnTo>
                <a:lnTo>
                  <a:pt x="4017" y="2639"/>
                </a:lnTo>
                <a:lnTo>
                  <a:pt x="4012" y="2635"/>
                </a:lnTo>
                <a:lnTo>
                  <a:pt x="4005" y="2631"/>
                </a:lnTo>
                <a:lnTo>
                  <a:pt x="4000" y="2627"/>
                </a:lnTo>
                <a:lnTo>
                  <a:pt x="3998" y="2621"/>
                </a:lnTo>
                <a:lnTo>
                  <a:pt x="4013" y="2609"/>
                </a:lnTo>
                <a:lnTo>
                  <a:pt x="4029" y="2601"/>
                </a:lnTo>
                <a:lnTo>
                  <a:pt x="4050" y="2593"/>
                </a:lnTo>
                <a:lnTo>
                  <a:pt x="4070" y="2587"/>
                </a:lnTo>
                <a:lnTo>
                  <a:pt x="4115" y="2578"/>
                </a:lnTo>
                <a:lnTo>
                  <a:pt x="4161" y="2570"/>
                </a:lnTo>
                <a:lnTo>
                  <a:pt x="4161" y="2589"/>
                </a:lnTo>
                <a:lnTo>
                  <a:pt x="4161" y="2608"/>
                </a:lnTo>
                <a:lnTo>
                  <a:pt x="4162" y="2616"/>
                </a:lnTo>
                <a:lnTo>
                  <a:pt x="4167" y="2621"/>
                </a:lnTo>
                <a:lnTo>
                  <a:pt x="4175" y="2623"/>
                </a:lnTo>
                <a:lnTo>
                  <a:pt x="4186" y="2621"/>
                </a:lnTo>
                <a:lnTo>
                  <a:pt x="4196" y="2616"/>
                </a:lnTo>
                <a:lnTo>
                  <a:pt x="4201" y="2609"/>
                </a:lnTo>
                <a:lnTo>
                  <a:pt x="4200" y="2602"/>
                </a:lnTo>
                <a:lnTo>
                  <a:pt x="4197" y="2594"/>
                </a:lnTo>
                <a:lnTo>
                  <a:pt x="4192" y="2585"/>
                </a:lnTo>
                <a:lnTo>
                  <a:pt x="4189" y="2575"/>
                </a:lnTo>
                <a:lnTo>
                  <a:pt x="4186" y="2566"/>
                </a:lnTo>
                <a:lnTo>
                  <a:pt x="4186" y="2557"/>
                </a:lnTo>
                <a:lnTo>
                  <a:pt x="4239" y="2547"/>
                </a:lnTo>
                <a:lnTo>
                  <a:pt x="4289" y="2534"/>
                </a:lnTo>
                <a:lnTo>
                  <a:pt x="4338" y="2520"/>
                </a:lnTo>
                <a:lnTo>
                  <a:pt x="4385" y="2506"/>
                </a:lnTo>
                <a:lnTo>
                  <a:pt x="4431" y="2491"/>
                </a:lnTo>
                <a:lnTo>
                  <a:pt x="4478" y="2477"/>
                </a:lnTo>
                <a:lnTo>
                  <a:pt x="4526" y="2466"/>
                </a:lnTo>
                <a:lnTo>
                  <a:pt x="4577" y="2457"/>
                </a:lnTo>
                <a:lnTo>
                  <a:pt x="4573" y="2468"/>
                </a:lnTo>
                <a:lnTo>
                  <a:pt x="4567" y="2476"/>
                </a:lnTo>
                <a:lnTo>
                  <a:pt x="4558" y="2481"/>
                </a:lnTo>
                <a:lnTo>
                  <a:pt x="4548" y="2485"/>
                </a:lnTo>
                <a:lnTo>
                  <a:pt x="4537" y="2489"/>
                </a:lnTo>
                <a:lnTo>
                  <a:pt x="4527" y="2492"/>
                </a:lnTo>
                <a:lnTo>
                  <a:pt x="4520" y="2499"/>
                </a:lnTo>
                <a:lnTo>
                  <a:pt x="4515" y="2508"/>
                </a:lnTo>
                <a:lnTo>
                  <a:pt x="4540" y="2506"/>
                </a:lnTo>
                <a:lnTo>
                  <a:pt x="4564" y="2503"/>
                </a:lnTo>
                <a:lnTo>
                  <a:pt x="4590" y="2496"/>
                </a:lnTo>
                <a:lnTo>
                  <a:pt x="4614" y="2489"/>
                </a:lnTo>
                <a:lnTo>
                  <a:pt x="4639" y="2481"/>
                </a:lnTo>
                <a:lnTo>
                  <a:pt x="4667" y="2472"/>
                </a:lnTo>
                <a:lnTo>
                  <a:pt x="4697" y="2463"/>
                </a:lnTo>
                <a:lnTo>
                  <a:pt x="4729" y="2457"/>
                </a:lnTo>
                <a:lnTo>
                  <a:pt x="4729" y="2449"/>
                </a:lnTo>
                <a:lnTo>
                  <a:pt x="4727" y="2443"/>
                </a:lnTo>
                <a:lnTo>
                  <a:pt x="4725" y="2436"/>
                </a:lnTo>
                <a:lnTo>
                  <a:pt x="4722" y="2431"/>
                </a:lnTo>
                <a:lnTo>
                  <a:pt x="4720" y="2426"/>
                </a:lnTo>
                <a:lnTo>
                  <a:pt x="4717" y="2421"/>
                </a:lnTo>
                <a:lnTo>
                  <a:pt x="4716" y="2415"/>
                </a:lnTo>
                <a:lnTo>
                  <a:pt x="4716" y="2407"/>
                </a:lnTo>
                <a:lnTo>
                  <a:pt x="4774" y="2397"/>
                </a:lnTo>
                <a:lnTo>
                  <a:pt x="4829" y="2385"/>
                </a:lnTo>
                <a:lnTo>
                  <a:pt x="4881" y="2371"/>
                </a:lnTo>
                <a:lnTo>
                  <a:pt x="4932" y="2360"/>
                </a:lnTo>
                <a:lnTo>
                  <a:pt x="4982" y="2348"/>
                </a:lnTo>
                <a:lnTo>
                  <a:pt x="5030" y="2342"/>
                </a:lnTo>
                <a:lnTo>
                  <a:pt x="5080" y="2340"/>
                </a:lnTo>
                <a:lnTo>
                  <a:pt x="5132" y="2343"/>
                </a:lnTo>
                <a:lnTo>
                  <a:pt x="5127" y="2338"/>
                </a:lnTo>
                <a:lnTo>
                  <a:pt x="5121" y="2336"/>
                </a:lnTo>
                <a:lnTo>
                  <a:pt x="5113" y="2334"/>
                </a:lnTo>
                <a:lnTo>
                  <a:pt x="5104" y="2333"/>
                </a:lnTo>
                <a:lnTo>
                  <a:pt x="5097" y="2332"/>
                </a:lnTo>
                <a:lnTo>
                  <a:pt x="5089" y="2329"/>
                </a:lnTo>
                <a:lnTo>
                  <a:pt x="5084" y="2326"/>
                </a:lnTo>
                <a:lnTo>
                  <a:pt x="5081" y="2318"/>
                </a:lnTo>
                <a:lnTo>
                  <a:pt x="5116" y="2308"/>
                </a:lnTo>
                <a:lnTo>
                  <a:pt x="5151" y="2299"/>
                </a:lnTo>
                <a:lnTo>
                  <a:pt x="5186" y="2291"/>
                </a:lnTo>
                <a:lnTo>
                  <a:pt x="5220" y="2281"/>
                </a:lnTo>
                <a:lnTo>
                  <a:pt x="5219" y="2286"/>
                </a:lnTo>
                <a:lnTo>
                  <a:pt x="5218" y="2290"/>
                </a:lnTo>
                <a:lnTo>
                  <a:pt x="5215" y="2294"/>
                </a:lnTo>
                <a:lnTo>
                  <a:pt x="5212" y="2298"/>
                </a:lnTo>
                <a:lnTo>
                  <a:pt x="5210" y="2301"/>
                </a:lnTo>
                <a:lnTo>
                  <a:pt x="5207" y="2306"/>
                </a:lnTo>
                <a:lnTo>
                  <a:pt x="5207" y="2312"/>
                </a:lnTo>
                <a:lnTo>
                  <a:pt x="5207" y="2318"/>
                </a:lnTo>
                <a:lnTo>
                  <a:pt x="5219" y="2317"/>
                </a:lnTo>
                <a:lnTo>
                  <a:pt x="5229" y="2314"/>
                </a:lnTo>
                <a:lnTo>
                  <a:pt x="5238" y="2312"/>
                </a:lnTo>
                <a:lnTo>
                  <a:pt x="5247" y="2308"/>
                </a:lnTo>
                <a:lnTo>
                  <a:pt x="5254" y="2303"/>
                </a:lnTo>
                <a:lnTo>
                  <a:pt x="5261" y="2296"/>
                </a:lnTo>
                <a:lnTo>
                  <a:pt x="5266" y="2289"/>
                </a:lnTo>
                <a:lnTo>
                  <a:pt x="5271" y="2281"/>
                </a:lnTo>
                <a:lnTo>
                  <a:pt x="5262" y="2278"/>
                </a:lnTo>
                <a:lnTo>
                  <a:pt x="5254" y="2277"/>
                </a:lnTo>
                <a:lnTo>
                  <a:pt x="5251" y="2276"/>
                </a:lnTo>
                <a:lnTo>
                  <a:pt x="5248" y="2275"/>
                </a:lnTo>
                <a:lnTo>
                  <a:pt x="5246" y="2272"/>
                </a:lnTo>
                <a:lnTo>
                  <a:pt x="5246" y="2268"/>
                </a:lnTo>
                <a:lnTo>
                  <a:pt x="5280" y="2254"/>
                </a:lnTo>
                <a:lnTo>
                  <a:pt x="5319" y="2238"/>
                </a:lnTo>
                <a:lnTo>
                  <a:pt x="5340" y="2233"/>
                </a:lnTo>
                <a:lnTo>
                  <a:pt x="5360" y="2230"/>
                </a:lnTo>
                <a:lnTo>
                  <a:pt x="5379" y="2233"/>
                </a:lnTo>
                <a:lnTo>
                  <a:pt x="5397" y="2243"/>
                </a:lnTo>
                <a:lnTo>
                  <a:pt x="5387" y="2248"/>
                </a:lnTo>
                <a:lnTo>
                  <a:pt x="5375" y="2249"/>
                </a:lnTo>
                <a:lnTo>
                  <a:pt x="5363" y="2250"/>
                </a:lnTo>
                <a:lnTo>
                  <a:pt x="5349" y="2252"/>
                </a:lnTo>
                <a:lnTo>
                  <a:pt x="5337" y="2254"/>
                </a:lnTo>
                <a:lnTo>
                  <a:pt x="5328" y="2259"/>
                </a:lnTo>
                <a:lnTo>
                  <a:pt x="5322" y="2267"/>
                </a:lnTo>
                <a:lnTo>
                  <a:pt x="5321" y="2281"/>
                </a:lnTo>
                <a:lnTo>
                  <a:pt x="5358" y="2282"/>
                </a:lnTo>
                <a:lnTo>
                  <a:pt x="5384" y="2278"/>
                </a:lnTo>
                <a:lnTo>
                  <a:pt x="5405" y="2270"/>
                </a:lnTo>
                <a:lnTo>
                  <a:pt x="5420" y="2257"/>
                </a:lnTo>
                <a:lnTo>
                  <a:pt x="5442" y="2225"/>
                </a:lnTo>
                <a:lnTo>
                  <a:pt x="5459" y="2192"/>
                </a:lnTo>
                <a:lnTo>
                  <a:pt x="5496" y="2184"/>
                </a:lnTo>
                <a:lnTo>
                  <a:pt x="5535" y="2179"/>
                </a:lnTo>
                <a:lnTo>
                  <a:pt x="5573" y="2177"/>
                </a:lnTo>
                <a:lnTo>
                  <a:pt x="5610" y="2177"/>
                </a:lnTo>
                <a:lnTo>
                  <a:pt x="5645" y="2175"/>
                </a:lnTo>
                <a:lnTo>
                  <a:pt x="5679" y="2172"/>
                </a:lnTo>
                <a:lnTo>
                  <a:pt x="5709" y="2165"/>
                </a:lnTo>
                <a:lnTo>
                  <a:pt x="5737" y="2155"/>
                </a:lnTo>
                <a:lnTo>
                  <a:pt x="5722" y="2154"/>
                </a:lnTo>
                <a:lnTo>
                  <a:pt x="5707" y="2154"/>
                </a:lnTo>
                <a:lnTo>
                  <a:pt x="5699" y="2152"/>
                </a:lnTo>
                <a:lnTo>
                  <a:pt x="5694" y="2151"/>
                </a:lnTo>
                <a:lnTo>
                  <a:pt x="5689" y="2147"/>
                </a:lnTo>
                <a:lnTo>
                  <a:pt x="5686" y="2142"/>
                </a:lnTo>
                <a:lnTo>
                  <a:pt x="5723" y="2142"/>
                </a:lnTo>
                <a:lnTo>
                  <a:pt x="5755" y="2142"/>
                </a:lnTo>
                <a:lnTo>
                  <a:pt x="5784" y="2141"/>
                </a:lnTo>
                <a:lnTo>
                  <a:pt x="5812" y="2140"/>
                </a:lnTo>
                <a:lnTo>
                  <a:pt x="5842" y="2136"/>
                </a:lnTo>
                <a:lnTo>
                  <a:pt x="5873" y="2131"/>
                </a:lnTo>
                <a:lnTo>
                  <a:pt x="5909" y="2124"/>
                </a:lnTo>
                <a:lnTo>
                  <a:pt x="5951" y="2117"/>
                </a:lnTo>
                <a:lnTo>
                  <a:pt x="5961" y="2109"/>
                </a:lnTo>
                <a:lnTo>
                  <a:pt x="5963" y="2102"/>
                </a:lnTo>
                <a:lnTo>
                  <a:pt x="5959" y="2094"/>
                </a:lnTo>
                <a:lnTo>
                  <a:pt x="5952" y="2088"/>
                </a:lnTo>
                <a:lnTo>
                  <a:pt x="5946" y="2081"/>
                </a:lnTo>
                <a:lnTo>
                  <a:pt x="5942" y="2076"/>
                </a:lnTo>
                <a:lnTo>
                  <a:pt x="5943" y="2071"/>
                </a:lnTo>
                <a:lnTo>
                  <a:pt x="5951" y="2066"/>
                </a:lnTo>
                <a:lnTo>
                  <a:pt x="5997" y="2049"/>
                </a:lnTo>
                <a:lnTo>
                  <a:pt x="6041" y="2038"/>
                </a:lnTo>
                <a:lnTo>
                  <a:pt x="6086" y="2032"/>
                </a:lnTo>
                <a:lnTo>
                  <a:pt x="6129" y="2028"/>
                </a:lnTo>
                <a:lnTo>
                  <a:pt x="6173" y="2026"/>
                </a:lnTo>
                <a:lnTo>
                  <a:pt x="6213" y="2026"/>
                </a:lnTo>
                <a:lnTo>
                  <a:pt x="6253" y="2028"/>
                </a:lnTo>
                <a:lnTo>
                  <a:pt x="6292" y="2029"/>
                </a:lnTo>
                <a:lnTo>
                  <a:pt x="6291" y="2010"/>
                </a:lnTo>
                <a:lnTo>
                  <a:pt x="6289" y="2001"/>
                </a:lnTo>
                <a:lnTo>
                  <a:pt x="6281" y="1997"/>
                </a:lnTo>
                <a:lnTo>
                  <a:pt x="6273" y="1997"/>
                </a:lnTo>
                <a:lnTo>
                  <a:pt x="6264" y="2000"/>
                </a:lnTo>
                <a:lnTo>
                  <a:pt x="6255" y="2001"/>
                </a:lnTo>
                <a:lnTo>
                  <a:pt x="6248" y="1998"/>
                </a:lnTo>
                <a:lnTo>
                  <a:pt x="6241" y="1991"/>
                </a:lnTo>
                <a:lnTo>
                  <a:pt x="6266" y="1977"/>
                </a:lnTo>
                <a:lnTo>
                  <a:pt x="6285" y="1972"/>
                </a:lnTo>
                <a:lnTo>
                  <a:pt x="6300" y="1974"/>
                </a:lnTo>
                <a:lnTo>
                  <a:pt x="6314" y="1979"/>
                </a:lnTo>
                <a:lnTo>
                  <a:pt x="6328" y="1988"/>
                </a:lnTo>
                <a:lnTo>
                  <a:pt x="6345" y="1996"/>
                </a:lnTo>
                <a:lnTo>
                  <a:pt x="6365" y="2002"/>
                </a:lnTo>
                <a:lnTo>
                  <a:pt x="6393" y="2004"/>
                </a:lnTo>
                <a:lnTo>
                  <a:pt x="6397" y="1993"/>
                </a:lnTo>
                <a:lnTo>
                  <a:pt x="6396" y="1983"/>
                </a:lnTo>
                <a:lnTo>
                  <a:pt x="6392" y="1976"/>
                </a:lnTo>
                <a:lnTo>
                  <a:pt x="6387" y="1968"/>
                </a:lnTo>
                <a:lnTo>
                  <a:pt x="6383" y="1963"/>
                </a:lnTo>
                <a:lnTo>
                  <a:pt x="6382" y="1958"/>
                </a:lnTo>
                <a:lnTo>
                  <a:pt x="6384" y="1955"/>
                </a:lnTo>
                <a:lnTo>
                  <a:pt x="6393" y="1953"/>
                </a:lnTo>
                <a:lnTo>
                  <a:pt x="6411" y="1951"/>
                </a:lnTo>
                <a:lnTo>
                  <a:pt x="6421" y="1953"/>
                </a:lnTo>
                <a:lnTo>
                  <a:pt x="6425" y="1956"/>
                </a:lnTo>
                <a:lnTo>
                  <a:pt x="6425" y="1962"/>
                </a:lnTo>
                <a:lnTo>
                  <a:pt x="6424" y="1968"/>
                </a:lnTo>
                <a:lnTo>
                  <a:pt x="6424" y="1974"/>
                </a:lnTo>
                <a:lnTo>
                  <a:pt x="6425" y="1982"/>
                </a:lnTo>
                <a:lnTo>
                  <a:pt x="6430" y="1991"/>
                </a:lnTo>
                <a:lnTo>
                  <a:pt x="6444" y="1987"/>
                </a:lnTo>
                <a:lnTo>
                  <a:pt x="6457" y="1982"/>
                </a:lnTo>
                <a:lnTo>
                  <a:pt x="6468" y="1976"/>
                </a:lnTo>
                <a:lnTo>
                  <a:pt x="6478" y="1969"/>
                </a:lnTo>
                <a:lnTo>
                  <a:pt x="6499" y="1955"/>
                </a:lnTo>
                <a:lnTo>
                  <a:pt x="6519" y="1940"/>
                </a:lnTo>
                <a:lnTo>
                  <a:pt x="6506" y="1940"/>
                </a:lnTo>
                <a:lnTo>
                  <a:pt x="6495" y="1939"/>
                </a:lnTo>
                <a:lnTo>
                  <a:pt x="6490" y="1937"/>
                </a:lnTo>
                <a:lnTo>
                  <a:pt x="6486" y="1936"/>
                </a:lnTo>
                <a:lnTo>
                  <a:pt x="6482" y="1932"/>
                </a:lnTo>
                <a:lnTo>
                  <a:pt x="6481" y="1927"/>
                </a:lnTo>
                <a:lnTo>
                  <a:pt x="6525" y="1918"/>
                </a:lnTo>
                <a:lnTo>
                  <a:pt x="6569" y="1907"/>
                </a:lnTo>
                <a:lnTo>
                  <a:pt x="6589" y="1904"/>
                </a:lnTo>
                <a:lnTo>
                  <a:pt x="6608" y="1907"/>
                </a:lnTo>
                <a:lnTo>
                  <a:pt x="6627" y="1913"/>
                </a:lnTo>
                <a:lnTo>
                  <a:pt x="6645" y="1927"/>
                </a:lnTo>
                <a:lnTo>
                  <a:pt x="6658" y="1914"/>
                </a:lnTo>
                <a:lnTo>
                  <a:pt x="6672" y="1900"/>
                </a:lnTo>
                <a:lnTo>
                  <a:pt x="6686" y="1889"/>
                </a:lnTo>
                <a:lnTo>
                  <a:pt x="6702" y="1878"/>
                </a:lnTo>
                <a:lnTo>
                  <a:pt x="6720" y="1869"/>
                </a:lnTo>
                <a:lnTo>
                  <a:pt x="6739" y="1861"/>
                </a:lnTo>
                <a:lnTo>
                  <a:pt x="6760" y="1856"/>
                </a:lnTo>
                <a:lnTo>
                  <a:pt x="6784" y="1852"/>
                </a:lnTo>
                <a:lnTo>
                  <a:pt x="6779" y="1864"/>
                </a:lnTo>
                <a:lnTo>
                  <a:pt x="6776" y="1871"/>
                </a:lnTo>
                <a:lnTo>
                  <a:pt x="6775" y="1875"/>
                </a:lnTo>
                <a:lnTo>
                  <a:pt x="6776" y="1879"/>
                </a:lnTo>
                <a:lnTo>
                  <a:pt x="6779" y="1884"/>
                </a:lnTo>
                <a:lnTo>
                  <a:pt x="6784" y="1890"/>
                </a:lnTo>
                <a:lnTo>
                  <a:pt x="6800" y="1888"/>
                </a:lnTo>
                <a:lnTo>
                  <a:pt x="6814" y="1881"/>
                </a:lnTo>
                <a:lnTo>
                  <a:pt x="6825" y="1874"/>
                </a:lnTo>
                <a:lnTo>
                  <a:pt x="6834" y="1864"/>
                </a:lnTo>
                <a:lnTo>
                  <a:pt x="6839" y="1853"/>
                </a:lnTo>
                <a:lnTo>
                  <a:pt x="6843" y="1843"/>
                </a:lnTo>
                <a:lnTo>
                  <a:pt x="6845" y="1834"/>
                </a:lnTo>
                <a:lnTo>
                  <a:pt x="6846" y="1827"/>
                </a:lnTo>
                <a:lnTo>
                  <a:pt x="6882" y="1839"/>
                </a:lnTo>
                <a:lnTo>
                  <a:pt x="6923" y="1844"/>
                </a:lnTo>
                <a:lnTo>
                  <a:pt x="6969" y="1841"/>
                </a:lnTo>
                <a:lnTo>
                  <a:pt x="7014" y="1832"/>
                </a:lnTo>
                <a:lnTo>
                  <a:pt x="7056" y="1818"/>
                </a:lnTo>
                <a:lnTo>
                  <a:pt x="7093" y="1801"/>
                </a:lnTo>
                <a:lnTo>
                  <a:pt x="7121" y="1782"/>
                </a:lnTo>
                <a:lnTo>
                  <a:pt x="7137" y="1764"/>
                </a:lnTo>
                <a:lnTo>
                  <a:pt x="7143" y="1765"/>
                </a:lnTo>
                <a:lnTo>
                  <a:pt x="7147" y="1769"/>
                </a:lnTo>
                <a:lnTo>
                  <a:pt x="7149" y="1774"/>
                </a:lnTo>
                <a:lnTo>
                  <a:pt x="7152" y="1780"/>
                </a:lnTo>
                <a:lnTo>
                  <a:pt x="7156" y="1785"/>
                </a:lnTo>
                <a:lnTo>
                  <a:pt x="7160" y="1788"/>
                </a:lnTo>
                <a:lnTo>
                  <a:pt x="7166" y="1790"/>
                </a:lnTo>
                <a:lnTo>
                  <a:pt x="7175" y="1788"/>
                </a:lnTo>
                <a:lnTo>
                  <a:pt x="7276" y="1753"/>
                </a:lnTo>
                <a:lnTo>
                  <a:pt x="7376" y="1722"/>
                </a:lnTo>
                <a:lnTo>
                  <a:pt x="7477" y="1694"/>
                </a:lnTo>
                <a:lnTo>
                  <a:pt x="7579" y="1670"/>
                </a:lnTo>
                <a:lnTo>
                  <a:pt x="7682" y="1647"/>
                </a:lnTo>
                <a:lnTo>
                  <a:pt x="7787" y="1624"/>
                </a:lnTo>
                <a:lnTo>
                  <a:pt x="7896" y="1600"/>
                </a:lnTo>
                <a:lnTo>
                  <a:pt x="8006" y="1575"/>
                </a:lnTo>
                <a:lnTo>
                  <a:pt x="8012" y="1571"/>
                </a:lnTo>
                <a:lnTo>
                  <a:pt x="8014" y="1564"/>
                </a:lnTo>
                <a:lnTo>
                  <a:pt x="8017" y="1555"/>
                </a:lnTo>
                <a:lnTo>
                  <a:pt x="8017" y="1548"/>
                </a:lnTo>
                <a:lnTo>
                  <a:pt x="8018" y="1539"/>
                </a:lnTo>
                <a:lnTo>
                  <a:pt x="8021" y="1531"/>
                </a:lnTo>
                <a:lnTo>
                  <a:pt x="8024" y="1526"/>
                </a:lnTo>
                <a:lnTo>
                  <a:pt x="8032" y="1525"/>
                </a:lnTo>
                <a:lnTo>
                  <a:pt x="8089" y="1531"/>
                </a:lnTo>
                <a:lnTo>
                  <a:pt x="8145" y="1529"/>
                </a:lnTo>
                <a:lnTo>
                  <a:pt x="8201" y="1520"/>
                </a:lnTo>
                <a:lnTo>
                  <a:pt x="8256" y="1506"/>
                </a:lnTo>
                <a:lnTo>
                  <a:pt x="8308" y="1488"/>
                </a:lnTo>
                <a:lnTo>
                  <a:pt x="8358" y="1466"/>
                </a:lnTo>
                <a:lnTo>
                  <a:pt x="8405" y="1445"/>
                </a:lnTo>
                <a:lnTo>
                  <a:pt x="8448" y="1423"/>
                </a:lnTo>
                <a:lnTo>
                  <a:pt x="8432" y="1437"/>
                </a:lnTo>
                <a:lnTo>
                  <a:pt x="8432" y="1445"/>
                </a:lnTo>
                <a:lnTo>
                  <a:pt x="8445" y="1447"/>
                </a:lnTo>
                <a:lnTo>
                  <a:pt x="8465" y="1446"/>
                </a:lnTo>
                <a:lnTo>
                  <a:pt x="8489" y="1442"/>
                </a:lnTo>
                <a:lnTo>
                  <a:pt x="8511" y="1433"/>
                </a:lnTo>
                <a:lnTo>
                  <a:pt x="8529" y="1423"/>
                </a:lnTo>
                <a:lnTo>
                  <a:pt x="8536" y="1410"/>
                </a:lnTo>
                <a:lnTo>
                  <a:pt x="8525" y="1410"/>
                </a:lnTo>
                <a:lnTo>
                  <a:pt x="8512" y="1409"/>
                </a:lnTo>
                <a:lnTo>
                  <a:pt x="8507" y="1408"/>
                </a:lnTo>
                <a:lnTo>
                  <a:pt x="8503" y="1407"/>
                </a:lnTo>
                <a:lnTo>
                  <a:pt x="8501" y="1403"/>
                </a:lnTo>
                <a:lnTo>
                  <a:pt x="8498" y="1399"/>
                </a:lnTo>
                <a:lnTo>
                  <a:pt x="8518" y="1390"/>
                </a:lnTo>
                <a:lnTo>
                  <a:pt x="8539" y="1381"/>
                </a:lnTo>
                <a:lnTo>
                  <a:pt x="8549" y="1379"/>
                </a:lnTo>
                <a:lnTo>
                  <a:pt x="8560" y="1375"/>
                </a:lnTo>
                <a:lnTo>
                  <a:pt x="8573" y="1373"/>
                </a:lnTo>
                <a:lnTo>
                  <a:pt x="8587" y="1373"/>
                </a:lnTo>
                <a:lnTo>
                  <a:pt x="8582" y="1384"/>
                </a:lnTo>
                <a:lnTo>
                  <a:pt x="8580" y="1393"/>
                </a:lnTo>
                <a:lnTo>
                  <a:pt x="8578" y="1396"/>
                </a:lnTo>
                <a:lnTo>
                  <a:pt x="8580" y="1400"/>
                </a:lnTo>
                <a:lnTo>
                  <a:pt x="8582" y="1405"/>
                </a:lnTo>
                <a:lnTo>
                  <a:pt x="8587" y="1410"/>
                </a:lnTo>
                <a:lnTo>
                  <a:pt x="8633" y="1405"/>
                </a:lnTo>
                <a:lnTo>
                  <a:pt x="8679" y="1399"/>
                </a:lnTo>
                <a:lnTo>
                  <a:pt x="8721" y="1390"/>
                </a:lnTo>
                <a:lnTo>
                  <a:pt x="8763" y="1379"/>
                </a:lnTo>
                <a:lnTo>
                  <a:pt x="8804" y="1368"/>
                </a:lnTo>
                <a:lnTo>
                  <a:pt x="8844" y="1357"/>
                </a:lnTo>
                <a:lnTo>
                  <a:pt x="8885" y="1345"/>
                </a:lnTo>
                <a:lnTo>
                  <a:pt x="8927" y="1335"/>
                </a:lnTo>
                <a:lnTo>
                  <a:pt x="8934" y="1328"/>
                </a:lnTo>
                <a:lnTo>
                  <a:pt x="8935" y="1319"/>
                </a:lnTo>
                <a:lnTo>
                  <a:pt x="8934" y="1310"/>
                </a:lnTo>
                <a:lnTo>
                  <a:pt x="8931" y="1301"/>
                </a:lnTo>
                <a:lnTo>
                  <a:pt x="8930" y="1292"/>
                </a:lnTo>
                <a:lnTo>
                  <a:pt x="8932" y="1283"/>
                </a:lnTo>
                <a:lnTo>
                  <a:pt x="8939" y="1277"/>
                </a:lnTo>
                <a:lnTo>
                  <a:pt x="8953" y="1273"/>
                </a:lnTo>
                <a:lnTo>
                  <a:pt x="8965" y="1274"/>
                </a:lnTo>
                <a:lnTo>
                  <a:pt x="8976" y="1274"/>
                </a:lnTo>
                <a:lnTo>
                  <a:pt x="8986" y="1272"/>
                </a:lnTo>
                <a:lnTo>
                  <a:pt x="8993" y="1269"/>
                </a:lnTo>
                <a:lnTo>
                  <a:pt x="9001" y="1267"/>
                </a:lnTo>
                <a:lnTo>
                  <a:pt x="9009" y="1263"/>
                </a:lnTo>
                <a:lnTo>
                  <a:pt x="9018" y="1260"/>
                </a:lnTo>
                <a:lnTo>
                  <a:pt x="9028" y="1260"/>
                </a:lnTo>
                <a:lnTo>
                  <a:pt x="9034" y="1261"/>
                </a:lnTo>
                <a:lnTo>
                  <a:pt x="9038" y="1265"/>
                </a:lnTo>
                <a:lnTo>
                  <a:pt x="9043" y="1268"/>
                </a:lnTo>
                <a:lnTo>
                  <a:pt x="9047" y="1273"/>
                </a:lnTo>
                <a:lnTo>
                  <a:pt x="9049" y="1278"/>
                </a:lnTo>
                <a:lnTo>
                  <a:pt x="9052" y="1283"/>
                </a:lnTo>
                <a:lnTo>
                  <a:pt x="9053" y="1289"/>
                </a:lnTo>
                <a:lnTo>
                  <a:pt x="9053" y="1297"/>
                </a:lnTo>
                <a:lnTo>
                  <a:pt x="9063" y="1296"/>
                </a:lnTo>
                <a:lnTo>
                  <a:pt x="9072" y="1293"/>
                </a:lnTo>
                <a:lnTo>
                  <a:pt x="9080" y="1291"/>
                </a:lnTo>
                <a:lnTo>
                  <a:pt x="9088" y="1288"/>
                </a:lnTo>
                <a:lnTo>
                  <a:pt x="9094" y="1287"/>
                </a:lnTo>
                <a:lnTo>
                  <a:pt x="9100" y="1287"/>
                </a:lnTo>
                <a:lnTo>
                  <a:pt x="9108" y="1291"/>
                </a:lnTo>
                <a:lnTo>
                  <a:pt x="9116" y="1297"/>
                </a:lnTo>
                <a:lnTo>
                  <a:pt x="9122" y="1289"/>
                </a:lnTo>
                <a:lnTo>
                  <a:pt x="9125" y="1284"/>
                </a:lnTo>
                <a:lnTo>
                  <a:pt x="9125" y="1279"/>
                </a:lnTo>
                <a:lnTo>
                  <a:pt x="9123" y="1275"/>
                </a:lnTo>
                <a:lnTo>
                  <a:pt x="9121" y="1272"/>
                </a:lnTo>
                <a:lnTo>
                  <a:pt x="9118" y="1267"/>
                </a:lnTo>
                <a:lnTo>
                  <a:pt x="9117" y="1258"/>
                </a:lnTo>
                <a:lnTo>
                  <a:pt x="9116" y="1247"/>
                </a:lnTo>
                <a:lnTo>
                  <a:pt x="9151" y="1237"/>
                </a:lnTo>
                <a:lnTo>
                  <a:pt x="9184" y="1227"/>
                </a:lnTo>
                <a:lnTo>
                  <a:pt x="9201" y="1221"/>
                </a:lnTo>
                <a:lnTo>
                  <a:pt x="9215" y="1214"/>
                </a:lnTo>
                <a:lnTo>
                  <a:pt x="9229" y="1205"/>
                </a:lnTo>
                <a:lnTo>
                  <a:pt x="9242" y="1197"/>
                </a:lnTo>
                <a:lnTo>
                  <a:pt x="9247" y="1208"/>
                </a:lnTo>
                <a:lnTo>
                  <a:pt x="9252" y="1218"/>
                </a:lnTo>
                <a:lnTo>
                  <a:pt x="9255" y="1225"/>
                </a:lnTo>
                <a:lnTo>
                  <a:pt x="9256" y="1231"/>
                </a:lnTo>
                <a:lnTo>
                  <a:pt x="9256" y="1239"/>
                </a:lnTo>
                <a:lnTo>
                  <a:pt x="9255" y="1247"/>
                </a:lnTo>
                <a:lnTo>
                  <a:pt x="9331" y="1247"/>
                </a:lnTo>
                <a:lnTo>
                  <a:pt x="9339" y="1219"/>
                </a:lnTo>
                <a:lnTo>
                  <a:pt x="9363" y="1194"/>
                </a:lnTo>
                <a:lnTo>
                  <a:pt x="9400" y="1174"/>
                </a:lnTo>
                <a:lnTo>
                  <a:pt x="9443" y="1157"/>
                </a:lnTo>
                <a:lnTo>
                  <a:pt x="9489" y="1149"/>
                </a:lnTo>
                <a:lnTo>
                  <a:pt x="9533" y="1152"/>
                </a:lnTo>
                <a:lnTo>
                  <a:pt x="9570" y="1167"/>
                </a:lnTo>
                <a:lnTo>
                  <a:pt x="9596" y="1197"/>
                </a:lnTo>
                <a:lnTo>
                  <a:pt x="9551" y="1205"/>
                </a:lnTo>
                <a:lnTo>
                  <a:pt x="9507" y="1213"/>
                </a:lnTo>
                <a:lnTo>
                  <a:pt x="9463" y="1221"/>
                </a:lnTo>
                <a:lnTo>
                  <a:pt x="9420" y="1230"/>
                </a:lnTo>
                <a:lnTo>
                  <a:pt x="9379" y="1241"/>
                </a:lnTo>
                <a:lnTo>
                  <a:pt x="9341" y="1255"/>
                </a:lnTo>
                <a:lnTo>
                  <a:pt x="9308" y="1274"/>
                </a:lnTo>
                <a:lnTo>
                  <a:pt x="9280" y="1297"/>
                </a:lnTo>
                <a:lnTo>
                  <a:pt x="9290" y="1298"/>
                </a:lnTo>
                <a:lnTo>
                  <a:pt x="9297" y="1303"/>
                </a:lnTo>
                <a:lnTo>
                  <a:pt x="9300" y="1311"/>
                </a:lnTo>
                <a:lnTo>
                  <a:pt x="9303" y="1319"/>
                </a:lnTo>
                <a:lnTo>
                  <a:pt x="9305" y="1328"/>
                </a:lnTo>
                <a:lnTo>
                  <a:pt x="9311" y="1334"/>
                </a:lnTo>
                <a:lnTo>
                  <a:pt x="9318" y="1337"/>
                </a:lnTo>
                <a:lnTo>
                  <a:pt x="9331" y="1335"/>
                </a:lnTo>
                <a:lnTo>
                  <a:pt x="9337" y="1333"/>
                </a:lnTo>
                <a:lnTo>
                  <a:pt x="9340" y="1329"/>
                </a:lnTo>
                <a:lnTo>
                  <a:pt x="9339" y="1323"/>
                </a:lnTo>
                <a:lnTo>
                  <a:pt x="9336" y="1316"/>
                </a:lnTo>
                <a:lnTo>
                  <a:pt x="9336" y="1310"/>
                </a:lnTo>
                <a:lnTo>
                  <a:pt x="9337" y="1305"/>
                </a:lnTo>
                <a:lnTo>
                  <a:pt x="9344" y="1300"/>
                </a:lnTo>
                <a:lnTo>
                  <a:pt x="9355" y="1297"/>
                </a:lnTo>
                <a:lnTo>
                  <a:pt x="9398" y="1298"/>
                </a:lnTo>
                <a:lnTo>
                  <a:pt x="9440" y="1298"/>
                </a:lnTo>
                <a:lnTo>
                  <a:pt x="9481" y="1295"/>
                </a:lnTo>
                <a:lnTo>
                  <a:pt x="9521" y="1287"/>
                </a:lnTo>
                <a:lnTo>
                  <a:pt x="9556" y="1277"/>
                </a:lnTo>
                <a:lnTo>
                  <a:pt x="9591" y="1260"/>
                </a:lnTo>
                <a:lnTo>
                  <a:pt x="9620" y="1237"/>
                </a:lnTo>
                <a:lnTo>
                  <a:pt x="9645" y="1209"/>
                </a:lnTo>
                <a:lnTo>
                  <a:pt x="9648" y="1218"/>
                </a:lnTo>
                <a:lnTo>
                  <a:pt x="9645" y="1226"/>
                </a:lnTo>
                <a:lnTo>
                  <a:pt x="9642" y="1233"/>
                </a:lnTo>
                <a:lnTo>
                  <a:pt x="9637" y="1240"/>
                </a:lnTo>
                <a:lnTo>
                  <a:pt x="9633" y="1246"/>
                </a:lnTo>
                <a:lnTo>
                  <a:pt x="9631" y="1251"/>
                </a:lnTo>
                <a:lnTo>
                  <a:pt x="9635" y="1256"/>
                </a:lnTo>
                <a:lnTo>
                  <a:pt x="9645" y="1260"/>
                </a:lnTo>
                <a:lnTo>
                  <a:pt x="9672" y="1256"/>
                </a:lnTo>
                <a:lnTo>
                  <a:pt x="9694" y="1249"/>
                </a:lnTo>
                <a:lnTo>
                  <a:pt x="9713" y="1237"/>
                </a:lnTo>
                <a:lnTo>
                  <a:pt x="9730" y="1225"/>
                </a:lnTo>
                <a:lnTo>
                  <a:pt x="9746" y="1211"/>
                </a:lnTo>
                <a:lnTo>
                  <a:pt x="9761" y="1197"/>
                </a:lnTo>
                <a:lnTo>
                  <a:pt x="9778" y="1183"/>
                </a:lnTo>
                <a:lnTo>
                  <a:pt x="9797" y="1171"/>
                </a:lnTo>
                <a:lnTo>
                  <a:pt x="9829" y="1184"/>
                </a:lnTo>
                <a:lnTo>
                  <a:pt x="9867" y="1190"/>
                </a:lnTo>
                <a:lnTo>
                  <a:pt x="9909" y="1190"/>
                </a:lnTo>
                <a:lnTo>
                  <a:pt x="9951" y="1184"/>
                </a:lnTo>
                <a:lnTo>
                  <a:pt x="9991" y="1172"/>
                </a:lnTo>
                <a:lnTo>
                  <a:pt x="10026" y="1156"/>
                </a:lnTo>
                <a:lnTo>
                  <a:pt x="10056" y="1134"/>
                </a:lnTo>
                <a:lnTo>
                  <a:pt x="10075" y="1109"/>
                </a:lnTo>
                <a:lnTo>
                  <a:pt x="10114" y="1109"/>
                </a:lnTo>
                <a:lnTo>
                  <a:pt x="10155" y="1109"/>
                </a:lnTo>
                <a:lnTo>
                  <a:pt x="10196" y="1107"/>
                </a:lnTo>
                <a:lnTo>
                  <a:pt x="10239" y="1109"/>
                </a:lnTo>
                <a:lnTo>
                  <a:pt x="10239" y="1100"/>
                </a:lnTo>
                <a:lnTo>
                  <a:pt x="10238" y="1093"/>
                </a:lnTo>
                <a:lnTo>
                  <a:pt x="10234" y="1090"/>
                </a:lnTo>
                <a:lnTo>
                  <a:pt x="10230" y="1084"/>
                </a:lnTo>
                <a:lnTo>
                  <a:pt x="10221" y="1078"/>
                </a:lnTo>
                <a:lnTo>
                  <a:pt x="10213" y="1070"/>
                </a:lnTo>
                <a:lnTo>
                  <a:pt x="10220" y="1065"/>
                </a:lnTo>
                <a:lnTo>
                  <a:pt x="10227" y="1063"/>
                </a:lnTo>
                <a:lnTo>
                  <a:pt x="10235" y="1060"/>
                </a:lnTo>
                <a:lnTo>
                  <a:pt x="10245" y="1058"/>
                </a:lnTo>
                <a:lnTo>
                  <a:pt x="10266" y="1058"/>
                </a:lnTo>
                <a:lnTo>
                  <a:pt x="10289" y="1058"/>
                </a:lnTo>
                <a:lnTo>
                  <a:pt x="10277" y="1077"/>
                </a:lnTo>
                <a:lnTo>
                  <a:pt x="10263" y="1096"/>
                </a:lnTo>
                <a:lnTo>
                  <a:pt x="10298" y="1086"/>
                </a:lnTo>
                <a:lnTo>
                  <a:pt x="10328" y="1072"/>
                </a:lnTo>
                <a:lnTo>
                  <a:pt x="10357" y="1055"/>
                </a:lnTo>
                <a:lnTo>
                  <a:pt x="10387" y="1040"/>
                </a:lnTo>
                <a:lnTo>
                  <a:pt x="10416" y="1028"/>
                </a:lnTo>
                <a:lnTo>
                  <a:pt x="10447" y="1023"/>
                </a:lnTo>
                <a:lnTo>
                  <a:pt x="10480" y="1028"/>
                </a:lnTo>
                <a:lnTo>
                  <a:pt x="10515" y="1045"/>
                </a:lnTo>
                <a:lnTo>
                  <a:pt x="10520" y="1034"/>
                </a:lnTo>
                <a:lnTo>
                  <a:pt x="10525" y="1023"/>
                </a:lnTo>
                <a:lnTo>
                  <a:pt x="10532" y="1013"/>
                </a:lnTo>
                <a:lnTo>
                  <a:pt x="10538" y="1006"/>
                </a:lnTo>
                <a:lnTo>
                  <a:pt x="10547" y="998"/>
                </a:lnTo>
                <a:lnTo>
                  <a:pt x="10557" y="992"/>
                </a:lnTo>
                <a:lnTo>
                  <a:pt x="10568" y="986"/>
                </a:lnTo>
                <a:lnTo>
                  <a:pt x="10579" y="983"/>
                </a:lnTo>
                <a:lnTo>
                  <a:pt x="10588" y="1002"/>
                </a:lnTo>
                <a:lnTo>
                  <a:pt x="10602" y="1011"/>
                </a:lnTo>
                <a:lnTo>
                  <a:pt x="10621" y="1013"/>
                </a:lnTo>
                <a:lnTo>
                  <a:pt x="10641" y="1011"/>
                </a:lnTo>
                <a:lnTo>
                  <a:pt x="10687" y="995"/>
                </a:lnTo>
                <a:lnTo>
                  <a:pt x="10731" y="983"/>
                </a:lnTo>
                <a:lnTo>
                  <a:pt x="10729" y="971"/>
                </a:lnTo>
                <a:lnTo>
                  <a:pt x="10727" y="961"/>
                </a:lnTo>
                <a:lnTo>
                  <a:pt x="10722" y="953"/>
                </a:lnTo>
                <a:lnTo>
                  <a:pt x="10717" y="946"/>
                </a:lnTo>
                <a:lnTo>
                  <a:pt x="10709" y="941"/>
                </a:lnTo>
                <a:lnTo>
                  <a:pt x="10701" y="936"/>
                </a:lnTo>
                <a:lnTo>
                  <a:pt x="10691" y="933"/>
                </a:lnTo>
                <a:lnTo>
                  <a:pt x="10680" y="932"/>
                </a:lnTo>
                <a:lnTo>
                  <a:pt x="10582" y="956"/>
                </a:lnTo>
                <a:lnTo>
                  <a:pt x="10481" y="983"/>
                </a:lnTo>
                <a:lnTo>
                  <a:pt x="10378" y="1009"/>
                </a:lnTo>
                <a:lnTo>
                  <a:pt x="10273" y="1036"/>
                </a:lnTo>
                <a:lnTo>
                  <a:pt x="10165" y="1059"/>
                </a:lnTo>
                <a:lnTo>
                  <a:pt x="10057" y="1076"/>
                </a:lnTo>
                <a:lnTo>
                  <a:pt x="9946" y="1084"/>
                </a:lnTo>
                <a:lnTo>
                  <a:pt x="9835" y="1083"/>
                </a:lnTo>
                <a:lnTo>
                  <a:pt x="9833" y="1104"/>
                </a:lnTo>
                <a:lnTo>
                  <a:pt x="9823" y="1119"/>
                </a:lnTo>
                <a:lnTo>
                  <a:pt x="9806" y="1130"/>
                </a:lnTo>
                <a:lnTo>
                  <a:pt x="9783" y="1138"/>
                </a:lnTo>
                <a:lnTo>
                  <a:pt x="9759" y="1140"/>
                </a:lnTo>
                <a:lnTo>
                  <a:pt x="9732" y="1139"/>
                </a:lnTo>
                <a:lnTo>
                  <a:pt x="9707" y="1133"/>
                </a:lnTo>
                <a:lnTo>
                  <a:pt x="9684" y="1121"/>
                </a:lnTo>
                <a:lnTo>
                  <a:pt x="9674" y="1129"/>
                </a:lnTo>
                <a:lnTo>
                  <a:pt x="9672" y="1137"/>
                </a:lnTo>
                <a:lnTo>
                  <a:pt x="9676" y="1144"/>
                </a:lnTo>
                <a:lnTo>
                  <a:pt x="9682" y="1151"/>
                </a:lnTo>
                <a:lnTo>
                  <a:pt x="9689" y="1156"/>
                </a:lnTo>
                <a:lnTo>
                  <a:pt x="9693" y="1162"/>
                </a:lnTo>
                <a:lnTo>
                  <a:pt x="9691" y="1167"/>
                </a:lnTo>
                <a:lnTo>
                  <a:pt x="9684" y="1171"/>
                </a:lnTo>
                <a:lnTo>
                  <a:pt x="9668" y="1171"/>
                </a:lnTo>
                <a:lnTo>
                  <a:pt x="9653" y="1171"/>
                </a:lnTo>
                <a:lnTo>
                  <a:pt x="9645" y="1170"/>
                </a:lnTo>
                <a:lnTo>
                  <a:pt x="9640" y="1167"/>
                </a:lnTo>
                <a:lnTo>
                  <a:pt x="9635" y="1165"/>
                </a:lnTo>
                <a:lnTo>
                  <a:pt x="9633" y="1158"/>
                </a:lnTo>
                <a:lnTo>
                  <a:pt x="9638" y="1157"/>
                </a:lnTo>
                <a:lnTo>
                  <a:pt x="9642" y="1154"/>
                </a:lnTo>
                <a:lnTo>
                  <a:pt x="9644" y="1151"/>
                </a:lnTo>
                <a:lnTo>
                  <a:pt x="9645" y="1146"/>
                </a:lnTo>
                <a:lnTo>
                  <a:pt x="9647" y="1134"/>
                </a:lnTo>
                <a:lnTo>
                  <a:pt x="9645" y="1121"/>
                </a:lnTo>
                <a:lnTo>
                  <a:pt x="9726" y="1109"/>
                </a:lnTo>
                <a:lnTo>
                  <a:pt x="9796" y="1090"/>
                </a:lnTo>
                <a:lnTo>
                  <a:pt x="9862" y="1067"/>
                </a:lnTo>
                <a:lnTo>
                  <a:pt x="9926" y="1042"/>
                </a:lnTo>
                <a:lnTo>
                  <a:pt x="9989" y="1021"/>
                </a:lnTo>
                <a:lnTo>
                  <a:pt x="10057" y="1004"/>
                </a:lnTo>
                <a:lnTo>
                  <a:pt x="10131" y="994"/>
                </a:lnTo>
                <a:lnTo>
                  <a:pt x="10213" y="995"/>
                </a:lnTo>
                <a:lnTo>
                  <a:pt x="10219" y="986"/>
                </a:lnTo>
                <a:lnTo>
                  <a:pt x="10222" y="981"/>
                </a:lnTo>
                <a:lnTo>
                  <a:pt x="10222" y="978"/>
                </a:lnTo>
                <a:lnTo>
                  <a:pt x="10221" y="974"/>
                </a:lnTo>
                <a:lnTo>
                  <a:pt x="10219" y="969"/>
                </a:lnTo>
                <a:lnTo>
                  <a:pt x="10216" y="964"/>
                </a:lnTo>
                <a:lnTo>
                  <a:pt x="10213" y="956"/>
                </a:lnTo>
                <a:lnTo>
                  <a:pt x="10213" y="944"/>
                </a:lnTo>
                <a:lnTo>
                  <a:pt x="10234" y="930"/>
                </a:lnTo>
                <a:lnTo>
                  <a:pt x="10258" y="919"/>
                </a:lnTo>
                <a:lnTo>
                  <a:pt x="10285" y="909"/>
                </a:lnTo>
                <a:lnTo>
                  <a:pt x="10314" y="900"/>
                </a:lnTo>
                <a:lnTo>
                  <a:pt x="10346" y="890"/>
                </a:lnTo>
                <a:lnTo>
                  <a:pt x="10376" y="881"/>
                </a:lnTo>
                <a:lnTo>
                  <a:pt x="10408" y="869"/>
                </a:lnTo>
                <a:lnTo>
                  <a:pt x="10440" y="857"/>
                </a:lnTo>
                <a:lnTo>
                  <a:pt x="10430" y="849"/>
                </a:lnTo>
                <a:lnTo>
                  <a:pt x="10417" y="845"/>
                </a:lnTo>
                <a:lnTo>
                  <a:pt x="10403" y="841"/>
                </a:lnTo>
                <a:lnTo>
                  <a:pt x="10389" y="838"/>
                </a:lnTo>
                <a:lnTo>
                  <a:pt x="10375" y="835"/>
                </a:lnTo>
                <a:lnTo>
                  <a:pt x="10361" y="831"/>
                </a:lnTo>
                <a:lnTo>
                  <a:pt x="10350" y="826"/>
                </a:lnTo>
                <a:lnTo>
                  <a:pt x="10340" y="818"/>
                </a:lnTo>
                <a:lnTo>
                  <a:pt x="10355" y="815"/>
                </a:lnTo>
                <a:lnTo>
                  <a:pt x="10371" y="810"/>
                </a:lnTo>
                <a:lnTo>
                  <a:pt x="10385" y="803"/>
                </a:lnTo>
                <a:lnTo>
                  <a:pt x="10399" y="797"/>
                </a:lnTo>
                <a:lnTo>
                  <a:pt x="10412" y="789"/>
                </a:lnTo>
                <a:lnTo>
                  <a:pt x="10424" y="780"/>
                </a:lnTo>
                <a:lnTo>
                  <a:pt x="10433" y="769"/>
                </a:lnTo>
                <a:lnTo>
                  <a:pt x="10440" y="756"/>
                </a:lnTo>
                <a:lnTo>
                  <a:pt x="10447" y="779"/>
                </a:lnTo>
                <a:lnTo>
                  <a:pt x="10462" y="789"/>
                </a:lnTo>
                <a:lnTo>
                  <a:pt x="10486" y="789"/>
                </a:lnTo>
                <a:lnTo>
                  <a:pt x="10515" y="782"/>
                </a:lnTo>
                <a:lnTo>
                  <a:pt x="10548" y="771"/>
                </a:lnTo>
                <a:lnTo>
                  <a:pt x="10584" y="760"/>
                </a:lnTo>
                <a:lnTo>
                  <a:pt x="10621" y="755"/>
                </a:lnTo>
                <a:lnTo>
                  <a:pt x="10654" y="756"/>
                </a:lnTo>
                <a:lnTo>
                  <a:pt x="10657" y="745"/>
                </a:lnTo>
                <a:lnTo>
                  <a:pt x="10662" y="734"/>
                </a:lnTo>
                <a:lnTo>
                  <a:pt x="10666" y="724"/>
                </a:lnTo>
                <a:lnTo>
                  <a:pt x="10672" y="717"/>
                </a:lnTo>
                <a:lnTo>
                  <a:pt x="10680" y="709"/>
                </a:lnTo>
                <a:lnTo>
                  <a:pt x="10687" y="703"/>
                </a:lnTo>
                <a:lnTo>
                  <a:pt x="10696" y="698"/>
                </a:lnTo>
                <a:lnTo>
                  <a:pt x="10705" y="692"/>
                </a:lnTo>
                <a:lnTo>
                  <a:pt x="10658" y="682"/>
                </a:lnTo>
                <a:lnTo>
                  <a:pt x="10611" y="681"/>
                </a:lnTo>
                <a:lnTo>
                  <a:pt x="10564" y="689"/>
                </a:lnTo>
                <a:lnTo>
                  <a:pt x="10517" y="701"/>
                </a:lnTo>
                <a:lnTo>
                  <a:pt x="10472" y="718"/>
                </a:lnTo>
                <a:lnTo>
                  <a:pt x="10429" y="733"/>
                </a:lnTo>
                <a:lnTo>
                  <a:pt x="10388" y="747"/>
                </a:lnTo>
                <a:lnTo>
                  <a:pt x="10352" y="756"/>
                </a:lnTo>
                <a:lnTo>
                  <a:pt x="10341" y="759"/>
                </a:lnTo>
                <a:lnTo>
                  <a:pt x="10331" y="761"/>
                </a:lnTo>
                <a:lnTo>
                  <a:pt x="10323" y="765"/>
                </a:lnTo>
                <a:lnTo>
                  <a:pt x="10315" y="769"/>
                </a:lnTo>
                <a:lnTo>
                  <a:pt x="10309" y="774"/>
                </a:lnTo>
                <a:lnTo>
                  <a:pt x="10303" y="776"/>
                </a:lnTo>
                <a:lnTo>
                  <a:pt x="10296" y="779"/>
                </a:lnTo>
                <a:lnTo>
                  <a:pt x="10289" y="780"/>
                </a:lnTo>
                <a:lnTo>
                  <a:pt x="10282" y="774"/>
                </a:lnTo>
                <a:lnTo>
                  <a:pt x="10266" y="761"/>
                </a:lnTo>
                <a:lnTo>
                  <a:pt x="10257" y="754"/>
                </a:lnTo>
                <a:lnTo>
                  <a:pt x="10250" y="747"/>
                </a:lnTo>
                <a:lnTo>
                  <a:pt x="10248" y="743"/>
                </a:lnTo>
                <a:lnTo>
                  <a:pt x="10250" y="743"/>
                </a:lnTo>
                <a:lnTo>
                  <a:pt x="10226" y="743"/>
                </a:lnTo>
                <a:lnTo>
                  <a:pt x="10198" y="751"/>
                </a:lnTo>
                <a:lnTo>
                  <a:pt x="10170" y="762"/>
                </a:lnTo>
                <a:lnTo>
                  <a:pt x="10141" y="775"/>
                </a:lnTo>
                <a:lnTo>
                  <a:pt x="10112" y="787"/>
                </a:lnTo>
                <a:lnTo>
                  <a:pt x="10081" y="793"/>
                </a:lnTo>
                <a:lnTo>
                  <a:pt x="10052" y="792"/>
                </a:lnTo>
                <a:lnTo>
                  <a:pt x="10024" y="780"/>
                </a:lnTo>
                <a:lnTo>
                  <a:pt x="10040" y="766"/>
                </a:lnTo>
                <a:lnTo>
                  <a:pt x="10057" y="757"/>
                </a:lnTo>
                <a:lnTo>
                  <a:pt x="10072" y="751"/>
                </a:lnTo>
                <a:lnTo>
                  <a:pt x="10089" y="747"/>
                </a:lnTo>
                <a:lnTo>
                  <a:pt x="10126" y="746"/>
                </a:lnTo>
                <a:lnTo>
                  <a:pt x="10175" y="743"/>
                </a:lnTo>
                <a:lnTo>
                  <a:pt x="10177" y="731"/>
                </a:lnTo>
                <a:lnTo>
                  <a:pt x="10177" y="719"/>
                </a:lnTo>
                <a:lnTo>
                  <a:pt x="10178" y="714"/>
                </a:lnTo>
                <a:lnTo>
                  <a:pt x="10180" y="710"/>
                </a:lnTo>
                <a:lnTo>
                  <a:pt x="10183" y="706"/>
                </a:lnTo>
                <a:lnTo>
                  <a:pt x="10188" y="705"/>
                </a:lnTo>
                <a:lnTo>
                  <a:pt x="10244" y="694"/>
                </a:lnTo>
                <a:lnTo>
                  <a:pt x="10300" y="682"/>
                </a:lnTo>
                <a:lnTo>
                  <a:pt x="10357" y="671"/>
                </a:lnTo>
                <a:lnTo>
                  <a:pt x="10413" y="659"/>
                </a:lnTo>
                <a:lnTo>
                  <a:pt x="10469" y="648"/>
                </a:lnTo>
                <a:lnTo>
                  <a:pt x="10524" y="635"/>
                </a:lnTo>
                <a:lnTo>
                  <a:pt x="10578" y="621"/>
                </a:lnTo>
                <a:lnTo>
                  <a:pt x="10629" y="605"/>
                </a:lnTo>
                <a:lnTo>
                  <a:pt x="10593" y="582"/>
                </a:lnTo>
                <a:lnTo>
                  <a:pt x="10551" y="575"/>
                </a:lnTo>
                <a:lnTo>
                  <a:pt x="10508" y="580"/>
                </a:lnTo>
                <a:lnTo>
                  <a:pt x="10462" y="592"/>
                </a:lnTo>
                <a:lnTo>
                  <a:pt x="10413" y="606"/>
                </a:lnTo>
                <a:lnTo>
                  <a:pt x="10366" y="619"/>
                </a:lnTo>
                <a:lnTo>
                  <a:pt x="10320" y="624"/>
                </a:lnTo>
                <a:lnTo>
                  <a:pt x="10276" y="617"/>
                </a:lnTo>
                <a:lnTo>
                  <a:pt x="10249" y="639"/>
                </a:lnTo>
                <a:lnTo>
                  <a:pt x="10217" y="648"/>
                </a:lnTo>
                <a:lnTo>
                  <a:pt x="10182" y="648"/>
                </a:lnTo>
                <a:lnTo>
                  <a:pt x="10146" y="644"/>
                </a:lnTo>
                <a:lnTo>
                  <a:pt x="10108" y="638"/>
                </a:lnTo>
                <a:lnTo>
                  <a:pt x="10072" y="635"/>
                </a:lnTo>
                <a:lnTo>
                  <a:pt x="10040" y="639"/>
                </a:lnTo>
                <a:lnTo>
                  <a:pt x="10011" y="654"/>
                </a:lnTo>
                <a:lnTo>
                  <a:pt x="10022" y="657"/>
                </a:lnTo>
                <a:lnTo>
                  <a:pt x="10031" y="659"/>
                </a:lnTo>
                <a:lnTo>
                  <a:pt x="10035" y="663"/>
                </a:lnTo>
                <a:lnTo>
                  <a:pt x="10036" y="667"/>
                </a:lnTo>
                <a:lnTo>
                  <a:pt x="10038" y="673"/>
                </a:lnTo>
                <a:lnTo>
                  <a:pt x="10036" y="680"/>
                </a:lnTo>
                <a:lnTo>
                  <a:pt x="10017" y="681"/>
                </a:lnTo>
                <a:lnTo>
                  <a:pt x="10002" y="677"/>
                </a:lnTo>
                <a:lnTo>
                  <a:pt x="9989" y="671"/>
                </a:lnTo>
                <a:lnTo>
                  <a:pt x="9978" y="663"/>
                </a:lnTo>
                <a:lnTo>
                  <a:pt x="9965" y="657"/>
                </a:lnTo>
                <a:lnTo>
                  <a:pt x="9951" y="652"/>
                </a:lnTo>
                <a:lnTo>
                  <a:pt x="9933" y="650"/>
                </a:lnTo>
                <a:lnTo>
                  <a:pt x="9910" y="654"/>
                </a:lnTo>
                <a:lnTo>
                  <a:pt x="9896" y="686"/>
                </a:lnTo>
                <a:lnTo>
                  <a:pt x="9875" y="705"/>
                </a:lnTo>
                <a:lnTo>
                  <a:pt x="9847" y="713"/>
                </a:lnTo>
                <a:lnTo>
                  <a:pt x="9816" y="712"/>
                </a:lnTo>
                <a:lnTo>
                  <a:pt x="9783" y="706"/>
                </a:lnTo>
                <a:lnTo>
                  <a:pt x="9749" y="700"/>
                </a:lnTo>
                <a:lnTo>
                  <a:pt x="9714" y="694"/>
                </a:lnTo>
                <a:lnTo>
                  <a:pt x="9684" y="692"/>
                </a:lnTo>
                <a:lnTo>
                  <a:pt x="9696" y="685"/>
                </a:lnTo>
                <a:lnTo>
                  <a:pt x="9712" y="680"/>
                </a:lnTo>
                <a:lnTo>
                  <a:pt x="9728" y="676"/>
                </a:lnTo>
                <a:lnTo>
                  <a:pt x="9744" y="671"/>
                </a:lnTo>
                <a:lnTo>
                  <a:pt x="9758" y="663"/>
                </a:lnTo>
                <a:lnTo>
                  <a:pt x="9768" y="653"/>
                </a:lnTo>
                <a:lnTo>
                  <a:pt x="9773" y="638"/>
                </a:lnTo>
                <a:lnTo>
                  <a:pt x="9772" y="617"/>
                </a:lnTo>
                <a:lnTo>
                  <a:pt x="9733" y="610"/>
                </a:lnTo>
                <a:lnTo>
                  <a:pt x="9691" y="611"/>
                </a:lnTo>
                <a:lnTo>
                  <a:pt x="9645" y="621"/>
                </a:lnTo>
                <a:lnTo>
                  <a:pt x="9597" y="635"/>
                </a:lnTo>
                <a:lnTo>
                  <a:pt x="9546" y="652"/>
                </a:lnTo>
                <a:lnTo>
                  <a:pt x="9493" y="670"/>
                </a:lnTo>
                <a:lnTo>
                  <a:pt x="9438" y="684"/>
                </a:lnTo>
                <a:lnTo>
                  <a:pt x="9381" y="692"/>
                </a:lnTo>
                <a:lnTo>
                  <a:pt x="9344" y="696"/>
                </a:lnTo>
                <a:lnTo>
                  <a:pt x="9308" y="698"/>
                </a:lnTo>
                <a:lnTo>
                  <a:pt x="9272" y="700"/>
                </a:lnTo>
                <a:lnTo>
                  <a:pt x="9237" y="703"/>
                </a:lnTo>
                <a:lnTo>
                  <a:pt x="9202" y="706"/>
                </a:lnTo>
                <a:lnTo>
                  <a:pt x="9169" y="712"/>
                </a:lnTo>
                <a:lnTo>
                  <a:pt x="9136" y="719"/>
                </a:lnTo>
                <a:lnTo>
                  <a:pt x="9103" y="731"/>
                </a:lnTo>
                <a:lnTo>
                  <a:pt x="9107" y="722"/>
                </a:lnTo>
                <a:lnTo>
                  <a:pt x="9112" y="715"/>
                </a:lnTo>
                <a:lnTo>
                  <a:pt x="9117" y="710"/>
                </a:lnTo>
                <a:lnTo>
                  <a:pt x="9122" y="705"/>
                </a:lnTo>
                <a:lnTo>
                  <a:pt x="9125" y="700"/>
                </a:lnTo>
                <a:lnTo>
                  <a:pt x="9126" y="695"/>
                </a:lnTo>
                <a:lnTo>
                  <a:pt x="9123" y="689"/>
                </a:lnTo>
                <a:lnTo>
                  <a:pt x="9116" y="680"/>
                </a:lnTo>
                <a:lnTo>
                  <a:pt x="9102" y="680"/>
                </a:lnTo>
                <a:lnTo>
                  <a:pt x="9089" y="681"/>
                </a:lnTo>
                <a:lnTo>
                  <a:pt x="9075" y="682"/>
                </a:lnTo>
                <a:lnTo>
                  <a:pt x="9063" y="685"/>
                </a:lnTo>
                <a:lnTo>
                  <a:pt x="9055" y="689"/>
                </a:lnTo>
                <a:lnTo>
                  <a:pt x="9047" y="695"/>
                </a:lnTo>
                <a:lnTo>
                  <a:pt x="9042" y="705"/>
                </a:lnTo>
                <a:lnTo>
                  <a:pt x="9041" y="718"/>
                </a:lnTo>
                <a:lnTo>
                  <a:pt x="9057" y="715"/>
                </a:lnTo>
                <a:lnTo>
                  <a:pt x="9070" y="717"/>
                </a:lnTo>
                <a:lnTo>
                  <a:pt x="9081" y="720"/>
                </a:lnTo>
                <a:lnTo>
                  <a:pt x="9089" y="726"/>
                </a:lnTo>
                <a:lnTo>
                  <a:pt x="9095" y="733"/>
                </a:lnTo>
                <a:lnTo>
                  <a:pt x="9099" y="743"/>
                </a:lnTo>
                <a:lnTo>
                  <a:pt x="9103" y="755"/>
                </a:lnTo>
                <a:lnTo>
                  <a:pt x="9103" y="768"/>
                </a:lnTo>
                <a:lnTo>
                  <a:pt x="9051" y="769"/>
                </a:lnTo>
                <a:lnTo>
                  <a:pt x="9004" y="775"/>
                </a:lnTo>
                <a:lnTo>
                  <a:pt x="8962" y="785"/>
                </a:lnTo>
                <a:lnTo>
                  <a:pt x="8922" y="797"/>
                </a:lnTo>
                <a:lnTo>
                  <a:pt x="8885" y="806"/>
                </a:lnTo>
                <a:lnTo>
                  <a:pt x="8850" y="811"/>
                </a:lnTo>
                <a:lnTo>
                  <a:pt x="8813" y="807"/>
                </a:lnTo>
                <a:lnTo>
                  <a:pt x="8776" y="793"/>
                </a:lnTo>
                <a:lnTo>
                  <a:pt x="8796" y="787"/>
                </a:lnTo>
                <a:lnTo>
                  <a:pt x="8813" y="780"/>
                </a:lnTo>
                <a:lnTo>
                  <a:pt x="8828" y="776"/>
                </a:lnTo>
                <a:lnTo>
                  <a:pt x="8842" y="774"/>
                </a:lnTo>
                <a:lnTo>
                  <a:pt x="8871" y="770"/>
                </a:lnTo>
                <a:lnTo>
                  <a:pt x="8915" y="768"/>
                </a:lnTo>
                <a:lnTo>
                  <a:pt x="8850" y="752"/>
                </a:lnTo>
                <a:lnTo>
                  <a:pt x="8780" y="751"/>
                </a:lnTo>
                <a:lnTo>
                  <a:pt x="8706" y="760"/>
                </a:lnTo>
                <a:lnTo>
                  <a:pt x="8629" y="776"/>
                </a:lnTo>
                <a:lnTo>
                  <a:pt x="8555" y="798"/>
                </a:lnTo>
                <a:lnTo>
                  <a:pt x="8484" y="821"/>
                </a:lnTo>
                <a:lnTo>
                  <a:pt x="8418" y="841"/>
                </a:lnTo>
                <a:lnTo>
                  <a:pt x="8359" y="857"/>
                </a:lnTo>
                <a:lnTo>
                  <a:pt x="8355" y="869"/>
                </a:lnTo>
                <a:lnTo>
                  <a:pt x="8358" y="877"/>
                </a:lnTo>
                <a:lnTo>
                  <a:pt x="8364" y="880"/>
                </a:lnTo>
                <a:lnTo>
                  <a:pt x="8373" y="881"/>
                </a:lnTo>
                <a:lnTo>
                  <a:pt x="8382" y="881"/>
                </a:lnTo>
                <a:lnTo>
                  <a:pt x="8391" y="882"/>
                </a:lnTo>
                <a:lnTo>
                  <a:pt x="8396" y="886"/>
                </a:lnTo>
                <a:lnTo>
                  <a:pt x="8397" y="894"/>
                </a:lnTo>
                <a:lnTo>
                  <a:pt x="8392" y="899"/>
                </a:lnTo>
                <a:lnTo>
                  <a:pt x="8390" y="905"/>
                </a:lnTo>
                <a:lnTo>
                  <a:pt x="8389" y="913"/>
                </a:lnTo>
                <a:lnTo>
                  <a:pt x="8387" y="922"/>
                </a:lnTo>
                <a:lnTo>
                  <a:pt x="8386" y="930"/>
                </a:lnTo>
                <a:lnTo>
                  <a:pt x="8383" y="937"/>
                </a:lnTo>
                <a:lnTo>
                  <a:pt x="8380" y="942"/>
                </a:lnTo>
                <a:lnTo>
                  <a:pt x="8372" y="944"/>
                </a:lnTo>
                <a:lnTo>
                  <a:pt x="8372" y="919"/>
                </a:lnTo>
                <a:lnTo>
                  <a:pt x="8361" y="916"/>
                </a:lnTo>
                <a:lnTo>
                  <a:pt x="8353" y="919"/>
                </a:lnTo>
                <a:lnTo>
                  <a:pt x="8349" y="924"/>
                </a:lnTo>
                <a:lnTo>
                  <a:pt x="8347" y="932"/>
                </a:lnTo>
                <a:lnTo>
                  <a:pt x="8345" y="939"/>
                </a:lnTo>
                <a:lnTo>
                  <a:pt x="8341" y="944"/>
                </a:lnTo>
                <a:lnTo>
                  <a:pt x="8334" y="947"/>
                </a:lnTo>
                <a:lnTo>
                  <a:pt x="8322" y="944"/>
                </a:lnTo>
                <a:lnTo>
                  <a:pt x="8322" y="937"/>
                </a:lnTo>
                <a:lnTo>
                  <a:pt x="8321" y="930"/>
                </a:lnTo>
                <a:lnTo>
                  <a:pt x="8317" y="925"/>
                </a:lnTo>
                <a:lnTo>
                  <a:pt x="8313" y="922"/>
                </a:lnTo>
                <a:lnTo>
                  <a:pt x="8304" y="915"/>
                </a:lnTo>
                <a:lnTo>
                  <a:pt x="8297" y="906"/>
                </a:lnTo>
                <a:lnTo>
                  <a:pt x="8307" y="906"/>
                </a:lnTo>
                <a:lnTo>
                  <a:pt x="8316" y="904"/>
                </a:lnTo>
                <a:lnTo>
                  <a:pt x="8324" y="901"/>
                </a:lnTo>
                <a:lnTo>
                  <a:pt x="8330" y="896"/>
                </a:lnTo>
                <a:lnTo>
                  <a:pt x="8339" y="883"/>
                </a:lnTo>
                <a:lnTo>
                  <a:pt x="8347" y="869"/>
                </a:lnTo>
                <a:lnTo>
                  <a:pt x="8322" y="868"/>
                </a:lnTo>
                <a:lnTo>
                  <a:pt x="8303" y="871"/>
                </a:lnTo>
                <a:lnTo>
                  <a:pt x="8288" y="877"/>
                </a:lnTo>
                <a:lnTo>
                  <a:pt x="8278" y="886"/>
                </a:lnTo>
                <a:lnTo>
                  <a:pt x="8270" y="896"/>
                </a:lnTo>
                <a:lnTo>
                  <a:pt x="8265" y="908"/>
                </a:lnTo>
                <a:lnTo>
                  <a:pt x="8261" y="920"/>
                </a:lnTo>
                <a:lnTo>
                  <a:pt x="8259" y="932"/>
                </a:lnTo>
                <a:lnTo>
                  <a:pt x="8240" y="936"/>
                </a:lnTo>
                <a:lnTo>
                  <a:pt x="8218" y="942"/>
                </a:lnTo>
                <a:lnTo>
                  <a:pt x="8198" y="951"/>
                </a:lnTo>
                <a:lnTo>
                  <a:pt x="8177" y="960"/>
                </a:lnTo>
                <a:lnTo>
                  <a:pt x="8157" y="967"/>
                </a:lnTo>
                <a:lnTo>
                  <a:pt x="8138" y="974"/>
                </a:lnTo>
                <a:lnTo>
                  <a:pt x="8121" y="974"/>
                </a:lnTo>
                <a:lnTo>
                  <a:pt x="8107" y="970"/>
                </a:lnTo>
                <a:lnTo>
                  <a:pt x="8112" y="962"/>
                </a:lnTo>
                <a:lnTo>
                  <a:pt x="8120" y="957"/>
                </a:lnTo>
                <a:lnTo>
                  <a:pt x="8127" y="952"/>
                </a:lnTo>
                <a:lnTo>
                  <a:pt x="8135" y="947"/>
                </a:lnTo>
                <a:lnTo>
                  <a:pt x="8143" y="942"/>
                </a:lnTo>
                <a:lnTo>
                  <a:pt x="8150" y="937"/>
                </a:lnTo>
                <a:lnTo>
                  <a:pt x="8155" y="929"/>
                </a:lnTo>
                <a:lnTo>
                  <a:pt x="8158" y="919"/>
                </a:lnTo>
                <a:lnTo>
                  <a:pt x="8139" y="915"/>
                </a:lnTo>
                <a:lnTo>
                  <a:pt x="8120" y="916"/>
                </a:lnTo>
                <a:lnTo>
                  <a:pt x="8102" y="920"/>
                </a:lnTo>
                <a:lnTo>
                  <a:pt x="8084" y="924"/>
                </a:lnTo>
                <a:lnTo>
                  <a:pt x="8069" y="928"/>
                </a:lnTo>
                <a:lnTo>
                  <a:pt x="8054" y="929"/>
                </a:lnTo>
                <a:lnTo>
                  <a:pt x="8042" y="928"/>
                </a:lnTo>
                <a:lnTo>
                  <a:pt x="8032" y="919"/>
                </a:lnTo>
                <a:lnTo>
                  <a:pt x="8052" y="911"/>
                </a:lnTo>
                <a:lnTo>
                  <a:pt x="8071" y="902"/>
                </a:lnTo>
                <a:lnTo>
                  <a:pt x="8083" y="899"/>
                </a:lnTo>
                <a:lnTo>
                  <a:pt x="8094" y="896"/>
                </a:lnTo>
                <a:lnTo>
                  <a:pt x="8106" y="895"/>
                </a:lnTo>
                <a:lnTo>
                  <a:pt x="8120" y="894"/>
                </a:lnTo>
                <a:lnTo>
                  <a:pt x="8175" y="838"/>
                </a:lnTo>
                <a:lnTo>
                  <a:pt x="8247" y="798"/>
                </a:lnTo>
                <a:lnTo>
                  <a:pt x="8333" y="771"/>
                </a:lnTo>
                <a:lnTo>
                  <a:pt x="8425" y="751"/>
                </a:lnTo>
                <a:lnTo>
                  <a:pt x="8521" y="732"/>
                </a:lnTo>
                <a:lnTo>
                  <a:pt x="8613" y="709"/>
                </a:lnTo>
                <a:lnTo>
                  <a:pt x="8695" y="677"/>
                </a:lnTo>
                <a:lnTo>
                  <a:pt x="8763" y="630"/>
                </a:lnTo>
                <a:lnTo>
                  <a:pt x="8768" y="631"/>
                </a:lnTo>
                <a:lnTo>
                  <a:pt x="8772" y="634"/>
                </a:lnTo>
                <a:lnTo>
                  <a:pt x="8774" y="638"/>
                </a:lnTo>
                <a:lnTo>
                  <a:pt x="8776" y="643"/>
                </a:lnTo>
                <a:lnTo>
                  <a:pt x="8777" y="654"/>
                </a:lnTo>
                <a:lnTo>
                  <a:pt x="8776" y="667"/>
                </a:lnTo>
                <a:lnTo>
                  <a:pt x="8795" y="653"/>
                </a:lnTo>
                <a:lnTo>
                  <a:pt x="8816" y="645"/>
                </a:lnTo>
                <a:lnTo>
                  <a:pt x="8838" y="640"/>
                </a:lnTo>
                <a:lnTo>
                  <a:pt x="8858" y="638"/>
                </a:lnTo>
                <a:lnTo>
                  <a:pt x="8879" y="634"/>
                </a:lnTo>
                <a:lnTo>
                  <a:pt x="8898" y="628"/>
                </a:lnTo>
                <a:lnTo>
                  <a:pt x="8913" y="614"/>
                </a:lnTo>
                <a:lnTo>
                  <a:pt x="8927" y="592"/>
                </a:lnTo>
                <a:lnTo>
                  <a:pt x="8893" y="574"/>
                </a:lnTo>
                <a:lnTo>
                  <a:pt x="8853" y="563"/>
                </a:lnTo>
                <a:lnTo>
                  <a:pt x="8811" y="555"/>
                </a:lnTo>
                <a:lnTo>
                  <a:pt x="8771" y="552"/>
                </a:lnTo>
                <a:lnTo>
                  <a:pt x="8735" y="554"/>
                </a:lnTo>
                <a:lnTo>
                  <a:pt x="8707" y="559"/>
                </a:lnTo>
                <a:lnTo>
                  <a:pt x="8689" y="568"/>
                </a:lnTo>
                <a:lnTo>
                  <a:pt x="8688" y="579"/>
                </a:lnTo>
                <a:lnTo>
                  <a:pt x="8685" y="586"/>
                </a:lnTo>
                <a:lnTo>
                  <a:pt x="8681" y="589"/>
                </a:lnTo>
                <a:lnTo>
                  <a:pt x="8676" y="591"/>
                </a:lnTo>
                <a:lnTo>
                  <a:pt x="8669" y="592"/>
                </a:lnTo>
                <a:lnTo>
                  <a:pt x="8653" y="592"/>
                </a:lnTo>
                <a:lnTo>
                  <a:pt x="8637" y="592"/>
                </a:lnTo>
                <a:lnTo>
                  <a:pt x="8637" y="554"/>
                </a:lnTo>
                <a:lnTo>
                  <a:pt x="8569" y="569"/>
                </a:lnTo>
                <a:lnTo>
                  <a:pt x="8503" y="582"/>
                </a:lnTo>
                <a:lnTo>
                  <a:pt x="8441" y="594"/>
                </a:lnTo>
                <a:lnTo>
                  <a:pt x="8381" y="607"/>
                </a:lnTo>
                <a:lnTo>
                  <a:pt x="8324" y="622"/>
                </a:lnTo>
                <a:lnTo>
                  <a:pt x="8270" y="643"/>
                </a:lnTo>
                <a:lnTo>
                  <a:pt x="8218" y="670"/>
                </a:lnTo>
                <a:lnTo>
                  <a:pt x="8171" y="705"/>
                </a:lnTo>
                <a:lnTo>
                  <a:pt x="8172" y="700"/>
                </a:lnTo>
                <a:lnTo>
                  <a:pt x="8173" y="695"/>
                </a:lnTo>
                <a:lnTo>
                  <a:pt x="8176" y="691"/>
                </a:lnTo>
                <a:lnTo>
                  <a:pt x="8178" y="687"/>
                </a:lnTo>
                <a:lnTo>
                  <a:pt x="8181" y="684"/>
                </a:lnTo>
                <a:lnTo>
                  <a:pt x="8182" y="680"/>
                </a:lnTo>
                <a:lnTo>
                  <a:pt x="8184" y="675"/>
                </a:lnTo>
                <a:lnTo>
                  <a:pt x="8184" y="667"/>
                </a:lnTo>
                <a:lnTo>
                  <a:pt x="8155" y="666"/>
                </a:lnTo>
                <a:lnTo>
                  <a:pt x="8131" y="667"/>
                </a:lnTo>
                <a:lnTo>
                  <a:pt x="8108" y="670"/>
                </a:lnTo>
                <a:lnTo>
                  <a:pt x="8088" y="672"/>
                </a:lnTo>
                <a:lnTo>
                  <a:pt x="8069" y="675"/>
                </a:lnTo>
                <a:lnTo>
                  <a:pt x="8049" y="676"/>
                </a:lnTo>
                <a:lnTo>
                  <a:pt x="8028" y="673"/>
                </a:lnTo>
                <a:lnTo>
                  <a:pt x="8006" y="667"/>
                </a:lnTo>
                <a:lnTo>
                  <a:pt x="7968" y="706"/>
                </a:lnTo>
                <a:lnTo>
                  <a:pt x="7919" y="732"/>
                </a:lnTo>
                <a:lnTo>
                  <a:pt x="7861" y="750"/>
                </a:lnTo>
                <a:lnTo>
                  <a:pt x="7800" y="764"/>
                </a:lnTo>
                <a:lnTo>
                  <a:pt x="7740" y="775"/>
                </a:lnTo>
                <a:lnTo>
                  <a:pt x="7684" y="790"/>
                </a:lnTo>
                <a:lnTo>
                  <a:pt x="7637" y="812"/>
                </a:lnTo>
                <a:lnTo>
                  <a:pt x="7603" y="844"/>
                </a:lnTo>
                <a:lnTo>
                  <a:pt x="7563" y="838"/>
                </a:lnTo>
                <a:lnTo>
                  <a:pt x="7520" y="835"/>
                </a:lnTo>
                <a:lnTo>
                  <a:pt x="7475" y="839"/>
                </a:lnTo>
                <a:lnTo>
                  <a:pt x="7432" y="846"/>
                </a:lnTo>
                <a:lnTo>
                  <a:pt x="7390" y="858"/>
                </a:lnTo>
                <a:lnTo>
                  <a:pt x="7353" y="874"/>
                </a:lnTo>
                <a:lnTo>
                  <a:pt x="7323" y="895"/>
                </a:lnTo>
                <a:lnTo>
                  <a:pt x="7301" y="919"/>
                </a:lnTo>
                <a:lnTo>
                  <a:pt x="7263" y="938"/>
                </a:lnTo>
                <a:lnTo>
                  <a:pt x="7223" y="944"/>
                </a:lnTo>
                <a:lnTo>
                  <a:pt x="7183" y="943"/>
                </a:lnTo>
                <a:lnTo>
                  <a:pt x="7142" y="938"/>
                </a:lnTo>
                <a:lnTo>
                  <a:pt x="7098" y="933"/>
                </a:lnTo>
                <a:lnTo>
                  <a:pt x="7056" y="929"/>
                </a:lnTo>
                <a:lnTo>
                  <a:pt x="7014" y="932"/>
                </a:lnTo>
                <a:lnTo>
                  <a:pt x="6972" y="944"/>
                </a:lnTo>
                <a:lnTo>
                  <a:pt x="6961" y="950"/>
                </a:lnTo>
                <a:lnTo>
                  <a:pt x="6941" y="956"/>
                </a:lnTo>
                <a:lnTo>
                  <a:pt x="6913" y="965"/>
                </a:lnTo>
                <a:lnTo>
                  <a:pt x="6879" y="974"/>
                </a:lnTo>
                <a:lnTo>
                  <a:pt x="6845" y="981"/>
                </a:lnTo>
                <a:lnTo>
                  <a:pt x="6812" y="986"/>
                </a:lnTo>
                <a:lnTo>
                  <a:pt x="6781" y="988"/>
                </a:lnTo>
                <a:lnTo>
                  <a:pt x="6758" y="983"/>
                </a:lnTo>
                <a:lnTo>
                  <a:pt x="6742" y="1014"/>
                </a:lnTo>
                <a:lnTo>
                  <a:pt x="6714" y="1040"/>
                </a:lnTo>
                <a:lnTo>
                  <a:pt x="6680" y="1059"/>
                </a:lnTo>
                <a:lnTo>
                  <a:pt x="6639" y="1074"/>
                </a:lnTo>
                <a:lnTo>
                  <a:pt x="6595" y="1084"/>
                </a:lnTo>
                <a:lnTo>
                  <a:pt x="6553" y="1091"/>
                </a:lnTo>
                <a:lnTo>
                  <a:pt x="6514" y="1095"/>
                </a:lnTo>
                <a:lnTo>
                  <a:pt x="6481" y="1096"/>
                </a:lnTo>
                <a:lnTo>
                  <a:pt x="6488" y="1096"/>
                </a:lnTo>
                <a:lnTo>
                  <a:pt x="6495" y="1095"/>
                </a:lnTo>
                <a:lnTo>
                  <a:pt x="6501" y="1092"/>
                </a:lnTo>
                <a:lnTo>
                  <a:pt x="6506" y="1090"/>
                </a:lnTo>
                <a:lnTo>
                  <a:pt x="6510" y="1086"/>
                </a:lnTo>
                <a:lnTo>
                  <a:pt x="6514" y="1081"/>
                </a:lnTo>
                <a:lnTo>
                  <a:pt x="6516" y="1076"/>
                </a:lnTo>
                <a:lnTo>
                  <a:pt x="6519" y="1070"/>
                </a:lnTo>
                <a:lnTo>
                  <a:pt x="6483" y="1074"/>
                </a:lnTo>
                <a:lnTo>
                  <a:pt x="6448" y="1078"/>
                </a:lnTo>
                <a:lnTo>
                  <a:pt x="6411" y="1082"/>
                </a:lnTo>
                <a:lnTo>
                  <a:pt x="6376" y="1086"/>
                </a:lnTo>
                <a:lnTo>
                  <a:pt x="6342" y="1091"/>
                </a:lnTo>
                <a:lnTo>
                  <a:pt x="6310" y="1098"/>
                </a:lnTo>
                <a:lnTo>
                  <a:pt x="6281" y="1109"/>
                </a:lnTo>
                <a:lnTo>
                  <a:pt x="6254" y="1121"/>
                </a:lnTo>
                <a:lnTo>
                  <a:pt x="6258" y="1133"/>
                </a:lnTo>
                <a:lnTo>
                  <a:pt x="6263" y="1142"/>
                </a:lnTo>
                <a:lnTo>
                  <a:pt x="6268" y="1149"/>
                </a:lnTo>
                <a:lnTo>
                  <a:pt x="6272" y="1156"/>
                </a:lnTo>
                <a:lnTo>
                  <a:pt x="6273" y="1161"/>
                </a:lnTo>
                <a:lnTo>
                  <a:pt x="6272" y="1167"/>
                </a:lnTo>
                <a:lnTo>
                  <a:pt x="6266" y="1175"/>
                </a:lnTo>
                <a:lnTo>
                  <a:pt x="6254" y="1184"/>
                </a:lnTo>
                <a:lnTo>
                  <a:pt x="6240" y="1175"/>
                </a:lnTo>
                <a:lnTo>
                  <a:pt x="6222" y="1162"/>
                </a:lnTo>
                <a:lnTo>
                  <a:pt x="6213" y="1157"/>
                </a:lnTo>
                <a:lnTo>
                  <a:pt x="6206" y="1157"/>
                </a:lnTo>
                <a:lnTo>
                  <a:pt x="6197" y="1161"/>
                </a:lnTo>
                <a:lnTo>
                  <a:pt x="6190" y="1171"/>
                </a:lnTo>
                <a:lnTo>
                  <a:pt x="6197" y="1174"/>
                </a:lnTo>
                <a:lnTo>
                  <a:pt x="6201" y="1177"/>
                </a:lnTo>
                <a:lnTo>
                  <a:pt x="6202" y="1183"/>
                </a:lnTo>
                <a:lnTo>
                  <a:pt x="6203" y="1189"/>
                </a:lnTo>
                <a:lnTo>
                  <a:pt x="6202" y="1197"/>
                </a:lnTo>
                <a:lnTo>
                  <a:pt x="6201" y="1202"/>
                </a:lnTo>
                <a:lnTo>
                  <a:pt x="6197" y="1207"/>
                </a:lnTo>
                <a:lnTo>
                  <a:pt x="6190" y="1209"/>
                </a:lnTo>
                <a:lnTo>
                  <a:pt x="6166" y="1204"/>
                </a:lnTo>
                <a:lnTo>
                  <a:pt x="6143" y="1203"/>
                </a:lnTo>
                <a:lnTo>
                  <a:pt x="6123" y="1204"/>
                </a:lnTo>
                <a:lnTo>
                  <a:pt x="6104" y="1208"/>
                </a:lnTo>
                <a:lnTo>
                  <a:pt x="6084" y="1212"/>
                </a:lnTo>
                <a:lnTo>
                  <a:pt x="6063" y="1214"/>
                </a:lnTo>
                <a:lnTo>
                  <a:pt x="6040" y="1214"/>
                </a:lnTo>
                <a:lnTo>
                  <a:pt x="6015" y="1209"/>
                </a:lnTo>
                <a:lnTo>
                  <a:pt x="5994" y="1233"/>
                </a:lnTo>
                <a:lnTo>
                  <a:pt x="5975" y="1259"/>
                </a:lnTo>
                <a:lnTo>
                  <a:pt x="5965" y="1270"/>
                </a:lnTo>
                <a:lnTo>
                  <a:pt x="5954" y="1281"/>
                </a:lnTo>
                <a:lnTo>
                  <a:pt x="5941" y="1291"/>
                </a:lnTo>
                <a:lnTo>
                  <a:pt x="5926" y="1297"/>
                </a:lnTo>
                <a:lnTo>
                  <a:pt x="5862" y="1291"/>
                </a:lnTo>
                <a:lnTo>
                  <a:pt x="5798" y="1296"/>
                </a:lnTo>
                <a:lnTo>
                  <a:pt x="5736" y="1309"/>
                </a:lnTo>
                <a:lnTo>
                  <a:pt x="5672" y="1328"/>
                </a:lnTo>
                <a:lnTo>
                  <a:pt x="5608" y="1348"/>
                </a:lnTo>
                <a:lnTo>
                  <a:pt x="5545" y="1367"/>
                </a:lnTo>
                <a:lnTo>
                  <a:pt x="5477" y="1381"/>
                </a:lnTo>
                <a:lnTo>
                  <a:pt x="5410" y="1386"/>
                </a:lnTo>
                <a:lnTo>
                  <a:pt x="5411" y="1396"/>
                </a:lnTo>
                <a:lnTo>
                  <a:pt x="5410" y="1404"/>
                </a:lnTo>
                <a:lnTo>
                  <a:pt x="5405" y="1410"/>
                </a:lnTo>
                <a:lnTo>
                  <a:pt x="5400" y="1414"/>
                </a:lnTo>
                <a:lnTo>
                  <a:pt x="5395" y="1418"/>
                </a:lnTo>
                <a:lnTo>
                  <a:pt x="5389" y="1423"/>
                </a:lnTo>
                <a:lnTo>
                  <a:pt x="5386" y="1428"/>
                </a:lnTo>
                <a:lnTo>
                  <a:pt x="5384" y="1436"/>
                </a:lnTo>
                <a:lnTo>
                  <a:pt x="5395" y="1440"/>
                </a:lnTo>
                <a:lnTo>
                  <a:pt x="5403" y="1438"/>
                </a:lnTo>
                <a:lnTo>
                  <a:pt x="5412" y="1435"/>
                </a:lnTo>
                <a:lnTo>
                  <a:pt x="5419" y="1431"/>
                </a:lnTo>
                <a:lnTo>
                  <a:pt x="5425" y="1427"/>
                </a:lnTo>
                <a:lnTo>
                  <a:pt x="5429" y="1424"/>
                </a:lnTo>
                <a:lnTo>
                  <a:pt x="5433" y="1427"/>
                </a:lnTo>
                <a:lnTo>
                  <a:pt x="5434" y="1436"/>
                </a:lnTo>
                <a:lnTo>
                  <a:pt x="5417" y="1447"/>
                </a:lnTo>
                <a:lnTo>
                  <a:pt x="5402" y="1450"/>
                </a:lnTo>
                <a:lnTo>
                  <a:pt x="5387" y="1449"/>
                </a:lnTo>
                <a:lnTo>
                  <a:pt x="5372" y="1443"/>
                </a:lnTo>
                <a:lnTo>
                  <a:pt x="5356" y="1437"/>
                </a:lnTo>
                <a:lnTo>
                  <a:pt x="5341" y="1431"/>
                </a:lnTo>
                <a:lnTo>
                  <a:pt x="5326" y="1426"/>
                </a:lnTo>
                <a:lnTo>
                  <a:pt x="5308" y="1423"/>
                </a:lnTo>
                <a:lnTo>
                  <a:pt x="5294" y="1427"/>
                </a:lnTo>
                <a:lnTo>
                  <a:pt x="5284" y="1433"/>
                </a:lnTo>
                <a:lnTo>
                  <a:pt x="5274" y="1441"/>
                </a:lnTo>
                <a:lnTo>
                  <a:pt x="5266" y="1451"/>
                </a:lnTo>
                <a:lnTo>
                  <a:pt x="5260" y="1461"/>
                </a:lnTo>
                <a:lnTo>
                  <a:pt x="5252" y="1471"/>
                </a:lnTo>
                <a:lnTo>
                  <a:pt x="5243" y="1479"/>
                </a:lnTo>
                <a:lnTo>
                  <a:pt x="5233" y="1487"/>
                </a:lnTo>
                <a:lnTo>
                  <a:pt x="5169" y="1482"/>
                </a:lnTo>
                <a:lnTo>
                  <a:pt x="5109" y="1496"/>
                </a:lnTo>
                <a:lnTo>
                  <a:pt x="5055" y="1522"/>
                </a:lnTo>
                <a:lnTo>
                  <a:pt x="5000" y="1553"/>
                </a:lnTo>
                <a:lnTo>
                  <a:pt x="4944" y="1580"/>
                </a:lnTo>
                <a:lnTo>
                  <a:pt x="4885" y="1597"/>
                </a:lnTo>
                <a:lnTo>
                  <a:pt x="4823" y="1599"/>
                </a:lnTo>
                <a:lnTo>
                  <a:pt x="4754" y="1575"/>
                </a:lnTo>
                <a:lnTo>
                  <a:pt x="4749" y="1586"/>
                </a:lnTo>
                <a:lnTo>
                  <a:pt x="4739" y="1594"/>
                </a:lnTo>
                <a:lnTo>
                  <a:pt x="4729" y="1599"/>
                </a:lnTo>
                <a:lnTo>
                  <a:pt x="4718" y="1601"/>
                </a:lnTo>
                <a:lnTo>
                  <a:pt x="4711" y="1605"/>
                </a:lnTo>
                <a:lnTo>
                  <a:pt x="4708" y="1609"/>
                </a:lnTo>
                <a:lnTo>
                  <a:pt x="4713" y="1615"/>
                </a:lnTo>
                <a:lnTo>
                  <a:pt x="4729" y="1625"/>
                </a:lnTo>
                <a:lnTo>
                  <a:pt x="4698" y="1636"/>
                </a:lnTo>
                <a:lnTo>
                  <a:pt x="4667" y="1650"/>
                </a:lnTo>
                <a:lnTo>
                  <a:pt x="4636" y="1666"/>
                </a:lnTo>
                <a:lnTo>
                  <a:pt x="4602" y="1680"/>
                </a:lnTo>
                <a:lnTo>
                  <a:pt x="4571" y="1692"/>
                </a:lnTo>
                <a:lnTo>
                  <a:pt x="4539" y="1695"/>
                </a:lnTo>
                <a:lnTo>
                  <a:pt x="4507" y="1692"/>
                </a:lnTo>
                <a:lnTo>
                  <a:pt x="4476" y="1675"/>
                </a:lnTo>
                <a:lnTo>
                  <a:pt x="4465" y="1690"/>
                </a:lnTo>
                <a:lnTo>
                  <a:pt x="4451" y="1704"/>
                </a:lnTo>
                <a:lnTo>
                  <a:pt x="4434" y="1715"/>
                </a:lnTo>
                <a:lnTo>
                  <a:pt x="4416" y="1723"/>
                </a:lnTo>
                <a:lnTo>
                  <a:pt x="4397" y="1730"/>
                </a:lnTo>
                <a:lnTo>
                  <a:pt x="4374" y="1735"/>
                </a:lnTo>
                <a:lnTo>
                  <a:pt x="4350" y="1737"/>
                </a:lnTo>
                <a:lnTo>
                  <a:pt x="4325" y="1739"/>
                </a:lnTo>
                <a:lnTo>
                  <a:pt x="4329" y="1727"/>
                </a:lnTo>
                <a:lnTo>
                  <a:pt x="4332" y="1720"/>
                </a:lnTo>
                <a:lnTo>
                  <a:pt x="4332" y="1716"/>
                </a:lnTo>
                <a:lnTo>
                  <a:pt x="4332" y="1711"/>
                </a:lnTo>
                <a:lnTo>
                  <a:pt x="4330" y="1707"/>
                </a:lnTo>
                <a:lnTo>
                  <a:pt x="4325" y="1701"/>
                </a:lnTo>
                <a:lnTo>
                  <a:pt x="4251" y="1723"/>
                </a:lnTo>
                <a:lnTo>
                  <a:pt x="4177" y="1749"/>
                </a:lnTo>
                <a:lnTo>
                  <a:pt x="4106" y="1774"/>
                </a:lnTo>
                <a:lnTo>
                  <a:pt x="4034" y="1801"/>
                </a:lnTo>
                <a:lnTo>
                  <a:pt x="3966" y="1830"/>
                </a:lnTo>
                <a:lnTo>
                  <a:pt x="3899" y="1861"/>
                </a:lnTo>
                <a:lnTo>
                  <a:pt x="3833" y="1893"/>
                </a:lnTo>
                <a:lnTo>
                  <a:pt x="3770" y="1927"/>
                </a:lnTo>
                <a:lnTo>
                  <a:pt x="3762" y="1925"/>
                </a:lnTo>
                <a:lnTo>
                  <a:pt x="3756" y="1920"/>
                </a:lnTo>
                <a:lnTo>
                  <a:pt x="3750" y="1914"/>
                </a:lnTo>
                <a:lnTo>
                  <a:pt x="3744" y="1909"/>
                </a:lnTo>
                <a:lnTo>
                  <a:pt x="3738" y="1904"/>
                </a:lnTo>
                <a:lnTo>
                  <a:pt x="3730" y="1900"/>
                </a:lnTo>
                <a:lnTo>
                  <a:pt x="3720" y="1900"/>
                </a:lnTo>
                <a:lnTo>
                  <a:pt x="3707" y="1903"/>
                </a:lnTo>
                <a:lnTo>
                  <a:pt x="3651" y="1940"/>
                </a:lnTo>
                <a:lnTo>
                  <a:pt x="3584" y="1963"/>
                </a:lnTo>
                <a:lnTo>
                  <a:pt x="3510" y="1974"/>
                </a:lnTo>
                <a:lnTo>
                  <a:pt x="3432" y="1983"/>
                </a:lnTo>
                <a:lnTo>
                  <a:pt x="3354" y="1993"/>
                </a:lnTo>
                <a:lnTo>
                  <a:pt x="3282" y="2010"/>
                </a:lnTo>
                <a:lnTo>
                  <a:pt x="3217" y="2042"/>
                </a:lnTo>
                <a:lnTo>
                  <a:pt x="3165" y="2091"/>
                </a:lnTo>
                <a:lnTo>
                  <a:pt x="3175" y="2127"/>
                </a:lnTo>
                <a:lnTo>
                  <a:pt x="3181" y="2151"/>
                </a:lnTo>
                <a:lnTo>
                  <a:pt x="3181" y="2160"/>
                </a:lnTo>
                <a:lnTo>
                  <a:pt x="3176" y="2170"/>
                </a:lnTo>
                <a:lnTo>
                  <a:pt x="3167" y="2180"/>
                </a:lnTo>
                <a:lnTo>
                  <a:pt x="3152" y="2192"/>
                </a:lnTo>
                <a:lnTo>
                  <a:pt x="3167" y="2201"/>
                </a:lnTo>
                <a:lnTo>
                  <a:pt x="3181" y="2202"/>
                </a:lnTo>
                <a:lnTo>
                  <a:pt x="3194" y="2198"/>
                </a:lnTo>
                <a:lnTo>
                  <a:pt x="3207" y="2192"/>
                </a:lnTo>
                <a:lnTo>
                  <a:pt x="3216" y="2182"/>
                </a:lnTo>
                <a:lnTo>
                  <a:pt x="3223" y="2172"/>
                </a:lnTo>
                <a:lnTo>
                  <a:pt x="3227" y="2161"/>
                </a:lnTo>
                <a:lnTo>
                  <a:pt x="3228" y="2155"/>
                </a:lnTo>
                <a:lnTo>
                  <a:pt x="3241" y="2166"/>
                </a:lnTo>
                <a:lnTo>
                  <a:pt x="3254" y="2172"/>
                </a:lnTo>
                <a:lnTo>
                  <a:pt x="3267" y="2170"/>
                </a:lnTo>
                <a:lnTo>
                  <a:pt x="3279" y="2166"/>
                </a:lnTo>
                <a:lnTo>
                  <a:pt x="3292" y="2163"/>
                </a:lnTo>
                <a:lnTo>
                  <a:pt x="3305" y="2159"/>
                </a:lnTo>
                <a:lnTo>
                  <a:pt x="3317" y="2160"/>
                </a:lnTo>
                <a:lnTo>
                  <a:pt x="3329" y="2166"/>
                </a:lnTo>
                <a:lnTo>
                  <a:pt x="3323" y="2188"/>
                </a:lnTo>
                <a:lnTo>
                  <a:pt x="3310" y="2206"/>
                </a:lnTo>
                <a:lnTo>
                  <a:pt x="3295" y="2221"/>
                </a:lnTo>
                <a:lnTo>
                  <a:pt x="3277" y="2235"/>
                </a:lnTo>
                <a:lnTo>
                  <a:pt x="3256" y="2249"/>
                </a:lnTo>
                <a:lnTo>
                  <a:pt x="3237" y="2266"/>
                </a:lnTo>
                <a:lnTo>
                  <a:pt x="3218" y="2284"/>
                </a:lnTo>
                <a:lnTo>
                  <a:pt x="3203" y="2305"/>
                </a:lnTo>
                <a:lnTo>
                  <a:pt x="3216" y="2309"/>
                </a:lnTo>
                <a:lnTo>
                  <a:pt x="3228" y="2308"/>
                </a:lnTo>
                <a:lnTo>
                  <a:pt x="3240" y="2304"/>
                </a:lnTo>
                <a:lnTo>
                  <a:pt x="3250" y="2299"/>
                </a:lnTo>
                <a:lnTo>
                  <a:pt x="3259" y="2295"/>
                </a:lnTo>
                <a:lnTo>
                  <a:pt x="3267" y="2294"/>
                </a:lnTo>
                <a:lnTo>
                  <a:pt x="3273" y="2296"/>
                </a:lnTo>
                <a:lnTo>
                  <a:pt x="3278" y="2305"/>
                </a:lnTo>
                <a:lnTo>
                  <a:pt x="3247" y="2320"/>
                </a:lnTo>
                <a:lnTo>
                  <a:pt x="3214" y="2333"/>
                </a:lnTo>
                <a:lnTo>
                  <a:pt x="3182" y="2347"/>
                </a:lnTo>
                <a:lnTo>
                  <a:pt x="3151" y="2361"/>
                </a:lnTo>
                <a:lnTo>
                  <a:pt x="3119" y="2375"/>
                </a:lnTo>
                <a:lnTo>
                  <a:pt x="3090" y="2392"/>
                </a:lnTo>
                <a:lnTo>
                  <a:pt x="3063" y="2410"/>
                </a:lnTo>
                <a:lnTo>
                  <a:pt x="3039" y="2431"/>
                </a:lnTo>
                <a:lnTo>
                  <a:pt x="3065" y="2433"/>
                </a:lnTo>
                <a:lnTo>
                  <a:pt x="3090" y="2429"/>
                </a:lnTo>
                <a:lnTo>
                  <a:pt x="3112" y="2424"/>
                </a:lnTo>
                <a:lnTo>
                  <a:pt x="3133" y="2417"/>
                </a:lnTo>
                <a:lnTo>
                  <a:pt x="3152" y="2413"/>
                </a:lnTo>
                <a:lnTo>
                  <a:pt x="3170" y="2413"/>
                </a:lnTo>
                <a:lnTo>
                  <a:pt x="3186" y="2419"/>
                </a:lnTo>
                <a:lnTo>
                  <a:pt x="3203" y="2431"/>
                </a:lnTo>
                <a:lnTo>
                  <a:pt x="3198" y="2453"/>
                </a:lnTo>
                <a:lnTo>
                  <a:pt x="3196" y="2463"/>
                </a:lnTo>
                <a:lnTo>
                  <a:pt x="3198" y="2475"/>
                </a:lnTo>
                <a:lnTo>
                  <a:pt x="3203" y="2495"/>
                </a:lnTo>
                <a:lnTo>
                  <a:pt x="3140" y="2514"/>
                </a:lnTo>
                <a:lnTo>
                  <a:pt x="3079" y="2534"/>
                </a:lnTo>
                <a:lnTo>
                  <a:pt x="3018" y="2556"/>
                </a:lnTo>
                <a:lnTo>
                  <a:pt x="2957" y="2578"/>
                </a:lnTo>
                <a:lnTo>
                  <a:pt x="2897" y="2599"/>
                </a:lnTo>
                <a:lnTo>
                  <a:pt x="2839" y="2622"/>
                </a:lnTo>
                <a:lnTo>
                  <a:pt x="2780" y="2646"/>
                </a:lnTo>
                <a:lnTo>
                  <a:pt x="2724" y="2671"/>
                </a:lnTo>
                <a:lnTo>
                  <a:pt x="2762" y="2669"/>
                </a:lnTo>
                <a:lnTo>
                  <a:pt x="2804" y="2667"/>
                </a:lnTo>
                <a:lnTo>
                  <a:pt x="2849" y="2663"/>
                </a:lnTo>
                <a:lnTo>
                  <a:pt x="2892" y="2660"/>
                </a:lnTo>
                <a:lnTo>
                  <a:pt x="2934" y="2658"/>
                </a:lnTo>
                <a:lnTo>
                  <a:pt x="2974" y="2657"/>
                </a:lnTo>
                <a:lnTo>
                  <a:pt x="3009" y="2657"/>
                </a:lnTo>
                <a:lnTo>
                  <a:pt x="3039" y="2659"/>
                </a:lnTo>
                <a:lnTo>
                  <a:pt x="3039" y="2659"/>
                </a:lnTo>
                <a:close/>
                <a:moveTo>
                  <a:pt x="177" y="6263"/>
                </a:moveTo>
                <a:lnTo>
                  <a:pt x="155" y="6254"/>
                </a:lnTo>
                <a:lnTo>
                  <a:pt x="129" y="6249"/>
                </a:lnTo>
                <a:lnTo>
                  <a:pt x="101" y="6247"/>
                </a:lnTo>
                <a:lnTo>
                  <a:pt x="71" y="6250"/>
                </a:lnTo>
                <a:lnTo>
                  <a:pt x="46" y="6256"/>
                </a:lnTo>
                <a:lnTo>
                  <a:pt x="23" y="6267"/>
                </a:lnTo>
                <a:lnTo>
                  <a:pt x="8" y="6282"/>
                </a:lnTo>
                <a:lnTo>
                  <a:pt x="0" y="6301"/>
                </a:lnTo>
                <a:lnTo>
                  <a:pt x="23" y="6314"/>
                </a:lnTo>
                <a:lnTo>
                  <a:pt x="47" y="6320"/>
                </a:lnTo>
                <a:lnTo>
                  <a:pt x="73" y="6321"/>
                </a:lnTo>
                <a:lnTo>
                  <a:pt x="97" y="6316"/>
                </a:lnTo>
                <a:lnTo>
                  <a:pt x="121" y="6309"/>
                </a:lnTo>
                <a:lnTo>
                  <a:pt x="143" y="6296"/>
                </a:lnTo>
                <a:lnTo>
                  <a:pt x="162" y="6281"/>
                </a:lnTo>
                <a:lnTo>
                  <a:pt x="177" y="6263"/>
                </a:lnTo>
                <a:close/>
                <a:moveTo>
                  <a:pt x="3859" y="8255"/>
                </a:moveTo>
                <a:lnTo>
                  <a:pt x="3868" y="8247"/>
                </a:lnTo>
                <a:lnTo>
                  <a:pt x="3879" y="8243"/>
                </a:lnTo>
                <a:lnTo>
                  <a:pt x="3892" y="8241"/>
                </a:lnTo>
                <a:lnTo>
                  <a:pt x="3905" y="8238"/>
                </a:lnTo>
                <a:lnTo>
                  <a:pt x="3917" y="8234"/>
                </a:lnTo>
                <a:lnTo>
                  <a:pt x="3926" y="8228"/>
                </a:lnTo>
                <a:lnTo>
                  <a:pt x="3933" y="8218"/>
                </a:lnTo>
                <a:lnTo>
                  <a:pt x="3934" y="8204"/>
                </a:lnTo>
                <a:lnTo>
                  <a:pt x="3921" y="8206"/>
                </a:lnTo>
                <a:lnTo>
                  <a:pt x="3906" y="8212"/>
                </a:lnTo>
                <a:lnTo>
                  <a:pt x="3892" y="8218"/>
                </a:lnTo>
                <a:lnTo>
                  <a:pt x="3878" y="8226"/>
                </a:lnTo>
                <a:lnTo>
                  <a:pt x="3866" y="8234"/>
                </a:lnTo>
                <a:lnTo>
                  <a:pt x="3857" y="8242"/>
                </a:lnTo>
                <a:lnTo>
                  <a:pt x="3855" y="8250"/>
                </a:lnTo>
                <a:lnTo>
                  <a:pt x="3859" y="8255"/>
                </a:lnTo>
                <a:close/>
                <a:moveTo>
                  <a:pt x="3871" y="8014"/>
                </a:moveTo>
                <a:lnTo>
                  <a:pt x="3887" y="8023"/>
                </a:lnTo>
                <a:lnTo>
                  <a:pt x="3899" y="8024"/>
                </a:lnTo>
                <a:lnTo>
                  <a:pt x="3911" y="8023"/>
                </a:lnTo>
                <a:lnTo>
                  <a:pt x="3920" y="8018"/>
                </a:lnTo>
                <a:lnTo>
                  <a:pt x="3929" y="8013"/>
                </a:lnTo>
                <a:lnTo>
                  <a:pt x="3940" y="8007"/>
                </a:lnTo>
                <a:lnTo>
                  <a:pt x="3954" y="8003"/>
                </a:lnTo>
                <a:lnTo>
                  <a:pt x="3972" y="8003"/>
                </a:lnTo>
                <a:lnTo>
                  <a:pt x="3967" y="7985"/>
                </a:lnTo>
                <a:lnTo>
                  <a:pt x="3963" y="7966"/>
                </a:lnTo>
                <a:lnTo>
                  <a:pt x="3961" y="7958"/>
                </a:lnTo>
                <a:lnTo>
                  <a:pt x="3958" y="7951"/>
                </a:lnTo>
                <a:lnTo>
                  <a:pt x="3953" y="7944"/>
                </a:lnTo>
                <a:lnTo>
                  <a:pt x="3947" y="7939"/>
                </a:lnTo>
                <a:lnTo>
                  <a:pt x="3941" y="7953"/>
                </a:lnTo>
                <a:lnTo>
                  <a:pt x="3933" y="7963"/>
                </a:lnTo>
                <a:lnTo>
                  <a:pt x="3921" y="7971"/>
                </a:lnTo>
                <a:lnTo>
                  <a:pt x="3907" y="7976"/>
                </a:lnTo>
                <a:lnTo>
                  <a:pt x="3894" y="7981"/>
                </a:lnTo>
                <a:lnTo>
                  <a:pt x="3883" y="7989"/>
                </a:lnTo>
                <a:lnTo>
                  <a:pt x="3875" y="8000"/>
                </a:lnTo>
                <a:lnTo>
                  <a:pt x="3871" y="8014"/>
                </a:lnTo>
                <a:close/>
                <a:moveTo>
                  <a:pt x="5295" y="8960"/>
                </a:moveTo>
                <a:lnTo>
                  <a:pt x="5325" y="8960"/>
                </a:lnTo>
                <a:lnTo>
                  <a:pt x="5353" y="8960"/>
                </a:lnTo>
                <a:lnTo>
                  <a:pt x="5365" y="8959"/>
                </a:lnTo>
                <a:lnTo>
                  <a:pt x="5374" y="8954"/>
                </a:lnTo>
                <a:lnTo>
                  <a:pt x="5381" y="8946"/>
                </a:lnTo>
                <a:lnTo>
                  <a:pt x="5384" y="8935"/>
                </a:lnTo>
                <a:lnTo>
                  <a:pt x="5372" y="8937"/>
                </a:lnTo>
                <a:lnTo>
                  <a:pt x="5356" y="8936"/>
                </a:lnTo>
                <a:lnTo>
                  <a:pt x="5341" y="8935"/>
                </a:lnTo>
                <a:lnTo>
                  <a:pt x="5326" y="8933"/>
                </a:lnTo>
                <a:lnTo>
                  <a:pt x="5312" y="8933"/>
                </a:lnTo>
                <a:lnTo>
                  <a:pt x="5302" y="8937"/>
                </a:lnTo>
                <a:lnTo>
                  <a:pt x="5295" y="8946"/>
                </a:lnTo>
                <a:lnTo>
                  <a:pt x="5295" y="8960"/>
                </a:lnTo>
                <a:close/>
                <a:moveTo>
                  <a:pt x="11991" y="7057"/>
                </a:moveTo>
                <a:lnTo>
                  <a:pt x="11999" y="7065"/>
                </a:lnTo>
                <a:lnTo>
                  <a:pt x="12012" y="7068"/>
                </a:lnTo>
                <a:lnTo>
                  <a:pt x="12027" y="7070"/>
                </a:lnTo>
                <a:lnTo>
                  <a:pt x="12042" y="7067"/>
                </a:lnTo>
                <a:lnTo>
                  <a:pt x="12057" y="7062"/>
                </a:lnTo>
                <a:lnTo>
                  <a:pt x="12069" y="7054"/>
                </a:lnTo>
                <a:lnTo>
                  <a:pt x="12078" y="7044"/>
                </a:lnTo>
                <a:lnTo>
                  <a:pt x="12079" y="7032"/>
                </a:lnTo>
                <a:lnTo>
                  <a:pt x="12066" y="7034"/>
                </a:lnTo>
                <a:lnTo>
                  <a:pt x="12052" y="7033"/>
                </a:lnTo>
                <a:lnTo>
                  <a:pt x="12036" y="7032"/>
                </a:lnTo>
                <a:lnTo>
                  <a:pt x="12021" y="7030"/>
                </a:lnTo>
                <a:lnTo>
                  <a:pt x="12007" y="7030"/>
                </a:lnTo>
                <a:lnTo>
                  <a:pt x="11996" y="7034"/>
                </a:lnTo>
                <a:lnTo>
                  <a:pt x="11991" y="7043"/>
                </a:lnTo>
                <a:lnTo>
                  <a:pt x="11991" y="7057"/>
                </a:lnTo>
                <a:lnTo>
                  <a:pt x="11991" y="7057"/>
                </a:lnTo>
                <a:close/>
                <a:moveTo>
                  <a:pt x="13416" y="6692"/>
                </a:moveTo>
                <a:lnTo>
                  <a:pt x="13474" y="6685"/>
                </a:lnTo>
                <a:lnTo>
                  <a:pt x="13525" y="6683"/>
                </a:lnTo>
                <a:lnTo>
                  <a:pt x="13549" y="6679"/>
                </a:lnTo>
                <a:lnTo>
                  <a:pt x="13569" y="6674"/>
                </a:lnTo>
                <a:lnTo>
                  <a:pt x="13588" y="6665"/>
                </a:lnTo>
                <a:lnTo>
                  <a:pt x="13605" y="6654"/>
                </a:lnTo>
                <a:lnTo>
                  <a:pt x="13588" y="6651"/>
                </a:lnTo>
                <a:lnTo>
                  <a:pt x="13582" y="6648"/>
                </a:lnTo>
                <a:lnTo>
                  <a:pt x="13586" y="6645"/>
                </a:lnTo>
                <a:lnTo>
                  <a:pt x="13593" y="6641"/>
                </a:lnTo>
                <a:lnTo>
                  <a:pt x="13606" y="6636"/>
                </a:lnTo>
                <a:lnTo>
                  <a:pt x="13618" y="6629"/>
                </a:lnTo>
                <a:lnTo>
                  <a:pt x="13626" y="6623"/>
                </a:lnTo>
                <a:lnTo>
                  <a:pt x="13630" y="6615"/>
                </a:lnTo>
                <a:lnTo>
                  <a:pt x="13598" y="6620"/>
                </a:lnTo>
                <a:lnTo>
                  <a:pt x="13567" y="6624"/>
                </a:lnTo>
                <a:lnTo>
                  <a:pt x="13533" y="6628"/>
                </a:lnTo>
                <a:lnTo>
                  <a:pt x="13503" y="6633"/>
                </a:lnTo>
                <a:lnTo>
                  <a:pt x="13475" y="6642"/>
                </a:lnTo>
                <a:lnTo>
                  <a:pt x="13449" y="6654"/>
                </a:lnTo>
                <a:lnTo>
                  <a:pt x="13430" y="6670"/>
                </a:lnTo>
                <a:lnTo>
                  <a:pt x="13416" y="6692"/>
                </a:lnTo>
                <a:close/>
                <a:moveTo>
                  <a:pt x="11348" y="7234"/>
                </a:moveTo>
                <a:lnTo>
                  <a:pt x="11391" y="7226"/>
                </a:lnTo>
                <a:lnTo>
                  <a:pt x="11431" y="7215"/>
                </a:lnTo>
                <a:lnTo>
                  <a:pt x="11468" y="7202"/>
                </a:lnTo>
                <a:lnTo>
                  <a:pt x="11505" y="7189"/>
                </a:lnTo>
                <a:lnTo>
                  <a:pt x="11543" y="7177"/>
                </a:lnTo>
                <a:lnTo>
                  <a:pt x="11584" y="7166"/>
                </a:lnTo>
                <a:lnTo>
                  <a:pt x="11627" y="7159"/>
                </a:lnTo>
                <a:lnTo>
                  <a:pt x="11675" y="7158"/>
                </a:lnTo>
                <a:lnTo>
                  <a:pt x="11646" y="7138"/>
                </a:lnTo>
                <a:lnTo>
                  <a:pt x="11605" y="7131"/>
                </a:lnTo>
                <a:lnTo>
                  <a:pt x="11557" y="7133"/>
                </a:lnTo>
                <a:lnTo>
                  <a:pt x="11506" y="7144"/>
                </a:lnTo>
                <a:lnTo>
                  <a:pt x="11456" y="7161"/>
                </a:lnTo>
                <a:lnTo>
                  <a:pt x="11411" y="7183"/>
                </a:lnTo>
                <a:lnTo>
                  <a:pt x="11374" y="7207"/>
                </a:lnTo>
                <a:lnTo>
                  <a:pt x="11348" y="7234"/>
                </a:lnTo>
                <a:lnTo>
                  <a:pt x="11348" y="7234"/>
                </a:lnTo>
                <a:close/>
                <a:moveTo>
                  <a:pt x="13996" y="6553"/>
                </a:moveTo>
                <a:lnTo>
                  <a:pt x="13997" y="6540"/>
                </a:lnTo>
                <a:lnTo>
                  <a:pt x="13994" y="6533"/>
                </a:lnTo>
                <a:lnTo>
                  <a:pt x="13989" y="6526"/>
                </a:lnTo>
                <a:lnTo>
                  <a:pt x="13983" y="6521"/>
                </a:lnTo>
                <a:lnTo>
                  <a:pt x="13977" y="6517"/>
                </a:lnTo>
                <a:lnTo>
                  <a:pt x="13972" y="6511"/>
                </a:lnTo>
                <a:lnTo>
                  <a:pt x="13969" y="6502"/>
                </a:lnTo>
                <a:lnTo>
                  <a:pt x="13970" y="6489"/>
                </a:lnTo>
                <a:lnTo>
                  <a:pt x="13986" y="6489"/>
                </a:lnTo>
                <a:lnTo>
                  <a:pt x="14000" y="6487"/>
                </a:lnTo>
                <a:lnTo>
                  <a:pt x="14005" y="6484"/>
                </a:lnTo>
                <a:lnTo>
                  <a:pt x="14007" y="6480"/>
                </a:lnTo>
                <a:lnTo>
                  <a:pt x="14010" y="6474"/>
                </a:lnTo>
                <a:lnTo>
                  <a:pt x="14009" y="6465"/>
                </a:lnTo>
                <a:lnTo>
                  <a:pt x="13966" y="6492"/>
                </a:lnTo>
                <a:lnTo>
                  <a:pt x="13926" y="6521"/>
                </a:lnTo>
                <a:lnTo>
                  <a:pt x="13907" y="6536"/>
                </a:lnTo>
                <a:lnTo>
                  <a:pt x="13889" y="6553"/>
                </a:lnTo>
                <a:lnTo>
                  <a:pt x="13872" y="6571"/>
                </a:lnTo>
                <a:lnTo>
                  <a:pt x="13857" y="6591"/>
                </a:lnTo>
                <a:lnTo>
                  <a:pt x="13888" y="6600"/>
                </a:lnTo>
                <a:lnTo>
                  <a:pt x="13928" y="6605"/>
                </a:lnTo>
                <a:lnTo>
                  <a:pt x="13974" y="6605"/>
                </a:lnTo>
                <a:lnTo>
                  <a:pt x="14020" y="6599"/>
                </a:lnTo>
                <a:lnTo>
                  <a:pt x="14059" y="6587"/>
                </a:lnTo>
                <a:lnTo>
                  <a:pt x="14090" y="6569"/>
                </a:lnTo>
                <a:lnTo>
                  <a:pt x="14104" y="6545"/>
                </a:lnTo>
                <a:lnTo>
                  <a:pt x="14096" y="6515"/>
                </a:lnTo>
                <a:lnTo>
                  <a:pt x="14094" y="6530"/>
                </a:lnTo>
                <a:lnTo>
                  <a:pt x="14087" y="6540"/>
                </a:lnTo>
                <a:lnTo>
                  <a:pt x="14077" y="6548"/>
                </a:lnTo>
                <a:lnTo>
                  <a:pt x="14065" y="6552"/>
                </a:lnTo>
                <a:lnTo>
                  <a:pt x="14049" y="6554"/>
                </a:lnTo>
                <a:lnTo>
                  <a:pt x="14031" y="6554"/>
                </a:lnTo>
                <a:lnTo>
                  <a:pt x="14014" y="6554"/>
                </a:lnTo>
                <a:lnTo>
                  <a:pt x="13996" y="6553"/>
                </a:lnTo>
                <a:lnTo>
                  <a:pt x="13996" y="6553"/>
                </a:lnTo>
                <a:close/>
                <a:moveTo>
                  <a:pt x="13656" y="6604"/>
                </a:moveTo>
                <a:lnTo>
                  <a:pt x="13651" y="6614"/>
                </a:lnTo>
                <a:lnTo>
                  <a:pt x="13646" y="6626"/>
                </a:lnTo>
                <a:lnTo>
                  <a:pt x="13643" y="6631"/>
                </a:lnTo>
                <a:lnTo>
                  <a:pt x="13642" y="6637"/>
                </a:lnTo>
                <a:lnTo>
                  <a:pt x="13642" y="6645"/>
                </a:lnTo>
                <a:lnTo>
                  <a:pt x="13643" y="6654"/>
                </a:lnTo>
                <a:lnTo>
                  <a:pt x="13681" y="6654"/>
                </a:lnTo>
                <a:lnTo>
                  <a:pt x="13681" y="6634"/>
                </a:lnTo>
                <a:lnTo>
                  <a:pt x="13681" y="6615"/>
                </a:lnTo>
                <a:lnTo>
                  <a:pt x="13679" y="6608"/>
                </a:lnTo>
                <a:lnTo>
                  <a:pt x="13675" y="6603"/>
                </a:lnTo>
                <a:lnTo>
                  <a:pt x="13667" y="6601"/>
                </a:lnTo>
                <a:lnTo>
                  <a:pt x="13656" y="6604"/>
                </a:lnTo>
                <a:close/>
                <a:moveTo>
                  <a:pt x="10692" y="7373"/>
                </a:moveTo>
                <a:lnTo>
                  <a:pt x="10692" y="7435"/>
                </a:lnTo>
                <a:lnTo>
                  <a:pt x="10709" y="7438"/>
                </a:lnTo>
                <a:lnTo>
                  <a:pt x="10723" y="7436"/>
                </a:lnTo>
                <a:lnTo>
                  <a:pt x="10734" y="7435"/>
                </a:lnTo>
                <a:lnTo>
                  <a:pt x="10746" y="7431"/>
                </a:lnTo>
                <a:lnTo>
                  <a:pt x="10756" y="7427"/>
                </a:lnTo>
                <a:lnTo>
                  <a:pt x="10767" y="7425"/>
                </a:lnTo>
                <a:lnTo>
                  <a:pt x="10779" y="7422"/>
                </a:lnTo>
                <a:lnTo>
                  <a:pt x="10793" y="7422"/>
                </a:lnTo>
                <a:lnTo>
                  <a:pt x="10799" y="7415"/>
                </a:lnTo>
                <a:lnTo>
                  <a:pt x="10802" y="7408"/>
                </a:lnTo>
                <a:lnTo>
                  <a:pt x="10802" y="7405"/>
                </a:lnTo>
                <a:lnTo>
                  <a:pt x="10801" y="7401"/>
                </a:lnTo>
                <a:lnTo>
                  <a:pt x="10798" y="7397"/>
                </a:lnTo>
                <a:lnTo>
                  <a:pt x="10795" y="7391"/>
                </a:lnTo>
                <a:lnTo>
                  <a:pt x="10794" y="7383"/>
                </a:lnTo>
                <a:lnTo>
                  <a:pt x="10793" y="7373"/>
                </a:lnTo>
                <a:lnTo>
                  <a:pt x="10813" y="7363"/>
                </a:lnTo>
                <a:lnTo>
                  <a:pt x="10832" y="7355"/>
                </a:lnTo>
                <a:lnTo>
                  <a:pt x="10849" y="7351"/>
                </a:lnTo>
                <a:lnTo>
                  <a:pt x="10864" y="7349"/>
                </a:lnTo>
                <a:lnTo>
                  <a:pt x="10894" y="7347"/>
                </a:lnTo>
                <a:lnTo>
                  <a:pt x="10919" y="7347"/>
                </a:lnTo>
                <a:lnTo>
                  <a:pt x="10892" y="7332"/>
                </a:lnTo>
                <a:lnTo>
                  <a:pt x="10864" y="7326"/>
                </a:lnTo>
                <a:lnTo>
                  <a:pt x="10836" y="7326"/>
                </a:lnTo>
                <a:lnTo>
                  <a:pt x="10807" y="7331"/>
                </a:lnTo>
                <a:lnTo>
                  <a:pt x="10778" y="7340"/>
                </a:lnTo>
                <a:lnTo>
                  <a:pt x="10748" y="7350"/>
                </a:lnTo>
                <a:lnTo>
                  <a:pt x="10720" y="7361"/>
                </a:lnTo>
                <a:lnTo>
                  <a:pt x="10692" y="7373"/>
                </a:lnTo>
                <a:close/>
                <a:moveTo>
                  <a:pt x="14312" y="6452"/>
                </a:moveTo>
                <a:lnTo>
                  <a:pt x="14294" y="6454"/>
                </a:lnTo>
                <a:lnTo>
                  <a:pt x="14278" y="6457"/>
                </a:lnTo>
                <a:lnTo>
                  <a:pt x="14263" y="6460"/>
                </a:lnTo>
                <a:lnTo>
                  <a:pt x="14248" y="6465"/>
                </a:lnTo>
                <a:lnTo>
                  <a:pt x="14234" y="6470"/>
                </a:lnTo>
                <a:lnTo>
                  <a:pt x="14221" y="6475"/>
                </a:lnTo>
                <a:lnTo>
                  <a:pt x="14208" y="6483"/>
                </a:lnTo>
                <a:lnTo>
                  <a:pt x="14197" y="6489"/>
                </a:lnTo>
                <a:lnTo>
                  <a:pt x="14216" y="6489"/>
                </a:lnTo>
                <a:lnTo>
                  <a:pt x="14234" y="6489"/>
                </a:lnTo>
                <a:lnTo>
                  <a:pt x="14252" y="6487"/>
                </a:lnTo>
                <a:lnTo>
                  <a:pt x="14267" y="6484"/>
                </a:lnTo>
                <a:lnTo>
                  <a:pt x="14281" y="6479"/>
                </a:lnTo>
                <a:lnTo>
                  <a:pt x="14294" y="6473"/>
                </a:lnTo>
                <a:lnTo>
                  <a:pt x="14304" y="6464"/>
                </a:lnTo>
                <a:lnTo>
                  <a:pt x="14312" y="6452"/>
                </a:lnTo>
                <a:lnTo>
                  <a:pt x="14312" y="6452"/>
                </a:lnTo>
                <a:close/>
                <a:moveTo>
                  <a:pt x="9910" y="7587"/>
                </a:moveTo>
                <a:lnTo>
                  <a:pt x="9932" y="7592"/>
                </a:lnTo>
                <a:lnTo>
                  <a:pt x="9957" y="7593"/>
                </a:lnTo>
                <a:lnTo>
                  <a:pt x="9986" y="7592"/>
                </a:lnTo>
                <a:lnTo>
                  <a:pt x="10012" y="7585"/>
                </a:lnTo>
                <a:lnTo>
                  <a:pt x="10034" y="7578"/>
                </a:lnTo>
                <a:lnTo>
                  <a:pt x="10047" y="7566"/>
                </a:lnTo>
                <a:lnTo>
                  <a:pt x="10049" y="7552"/>
                </a:lnTo>
                <a:lnTo>
                  <a:pt x="10036" y="7536"/>
                </a:lnTo>
                <a:lnTo>
                  <a:pt x="10025" y="7547"/>
                </a:lnTo>
                <a:lnTo>
                  <a:pt x="10010" y="7553"/>
                </a:lnTo>
                <a:lnTo>
                  <a:pt x="9992" y="7557"/>
                </a:lnTo>
                <a:lnTo>
                  <a:pt x="9973" y="7560"/>
                </a:lnTo>
                <a:lnTo>
                  <a:pt x="9952" y="7562"/>
                </a:lnTo>
                <a:lnTo>
                  <a:pt x="9935" y="7566"/>
                </a:lnTo>
                <a:lnTo>
                  <a:pt x="9921" y="7574"/>
                </a:lnTo>
                <a:lnTo>
                  <a:pt x="9910" y="7587"/>
                </a:lnTo>
                <a:close/>
                <a:moveTo>
                  <a:pt x="9532" y="7751"/>
                </a:moveTo>
                <a:lnTo>
                  <a:pt x="9558" y="7751"/>
                </a:lnTo>
                <a:lnTo>
                  <a:pt x="9582" y="7749"/>
                </a:lnTo>
                <a:lnTo>
                  <a:pt x="9592" y="7747"/>
                </a:lnTo>
                <a:lnTo>
                  <a:pt x="9600" y="7742"/>
                </a:lnTo>
                <a:lnTo>
                  <a:pt x="9606" y="7735"/>
                </a:lnTo>
                <a:lnTo>
                  <a:pt x="9609" y="7725"/>
                </a:lnTo>
                <a:lnTo>
                  <a:pt x="9593" y="7724"/>
                </a:lnTo>
                <a:lnTo>
                  <a:pt x="9577" y="7724"/>
                </a:lnTo>
                <a:lnTo>
                  <a:pt x="9570" y="7723"/>
                </a:lnTo>
                <a:lnTo>
                  <a:pt x="9564" y="7721"/>
                </a:lnTo>
                <a:lnTo>
                  <a:pt x="9560" y="7718"/>
                </a:lnTo>
                <a:lnTo>
                  <a:pt x="9558" y="7713"/>
                </a:lnTo>
                <a:lnTo>
                  <a:pt x="9581" y="7710"/>
                </a:lnTo>
                <a:lnTo>
                  <a:pt x="9609" y="7713"/>
                </a:lnTo>
                <a:lnTo>
                  <a:pt x="9639" y="7716"/>
                </a:lnTo>
                <a:lnTo>
                  <a:pt x="9671" y="7719"/>
                </a:lnTo>
                <a:lnTo>
                  <a:pt x="9702" y="7719"/>
                </a:lnTo>
                <a:lnTo>
                  <a:pt x="9730" y="7713"/>
                </a:lnTo>
                <a:lnTo>
                  <a:pt x="9754" y="7699"/>
                </a:lnTo>
                <a:lnTo>
                  <a:pt x="9772" y="7674"/>
                </a:lnTo>
                <a:lnTo>
                  <a:pt x="9738" y="7665"/>
                </a:lnTo>
                <a:lnTo>
                  <a:pt x="9700" y="7658"/>
                </a:lnTo>
                <a:lnTo>
                  <a:pt x="9659" y="7654"/>
                </a:lnTo>
                <a:lnTo>
                  <a:pt x="9620" y="7655"/>
                </a:lnTo>
                <a:lnTo>
                  <a:pt x="9584" y="7664"/>
                </a:lnTo>
                <a:lnTo>
                  <a:pt x="9555" y="7681"/>
                </a:lnTo>
                <a:lnTo>
                  <a:pt x="9537" y="7710"/>
                </a:lnTo>
                <a:lnTo>
                  <a:pt x="9532" y="7751"/>
                </a:lnTo>
                <a:lnTo>
                  <a:pt x="9532" y="7751"/>
                </a:lnTo>
                <a:close/>
                <a:moveTo>
                  <a:pt x="10440" y="7435"/>
                </a:moveTo>
                <a:lnTo>
                  <a:pt x="10441" y="7450"/>
                </a:lnTo>
                <a:lnTo>
                  <a:pt x="10449" y="7459"/>
                </a:lnTo>
                <a:lnTo>
                  <a:pt x="10461" y="7463"/>
                </a:lnTo>
                <a:lnTo>
                  <a:pt x="10475" y="7462"/>
                </a:lnTo>
                <a:lnTo>
                  <a:pt x="10489" y="7457"/>
                </a:lnTo>
                <a:lnTo>
                  <a:pt x="10500" y="7448"/>
                </a:lnTo>
                <a:lnTo>
                  <a:pt x="10505" y="7436"/>
                </a:lnTo>
                <a:lnTo>
                  <a:pt x="10504" y="7422"/>
                </a:lnTo>
                <a:lnTo>
                  <a:pt x="10492" y="7421"/>
                </a:lnTo>
                <a:lnTo>
                  <a:pt x="10483" y="7421"/>
                </a:lnTo>
                <a:lnTo>
                  <a:pt x="10475" y="7422"/>
                </a:lnTo>
                <a:lnTo>
                  <a:pt x="10466" y="7424"/>
                </a:lnTo>
                <a:lnTo>
                  <a:pt x="10459" y="7425"/>
                </a:lnTo>
                <a:lnTo>
                  <a:pt x="10452" y="7429"/>
                </a:lnTo>
                <a:lnTo>
                  <a:pt x="10447" y="7431"/>
                </a:lnTo>
                <a:lnTo>
                  <a:pt x="10440" y="7435"/>
                </a:lnTo>
                <a:close/>
                <a:moveTo>
                  <a:pt x="9079" y="7826"/>
                </a:moveTo>
                <a:lnTo>
                  <a:pt x="9083" y="7832"/>
                </a:lnTo>
                <a:lnTo>
                  <a:pt x="9093" y="7837"/>
                </a:lnTo>
                <a:lnTo>
                  <a:pt x="9107" y="7840"/>
                </a:lnTo>
                <a:lnTo>
                  <a:pt x="9122" y="7841"/>
                </a:lnTo>
                <a:lnTo>
                  <a:pt x="9139" y="7840"/>
                </a:lnTo>
                <a:lnTo>
                  <a:pt x="9153" y="7837"/>
                </a:lnTo>
                <a:lnTo>
                  <a:pt x="9163" y="7832"/>
                </a:lnTo>
                <a:lnTo>
                  <a:pt x="9167" y="7826"/>
                </a:lnTo>
                <a:lnTo>
                  <a:pt x="9146" y="7814"/>
                </a:lnTo>
                <a:lnTo>
                  <a:pt x="9117" y="7802"/>
                </a:lnTo>
                <a:lnTo>
                  <a:pt x="9103" y="7799"/>
                </a:lnTo>
                <a:lnTo>
                  <a:pt x="9090" y="7800"/>
                </a:lnTo>
                <a:lnTo>
                  <a:pt x="9081" y="7809"/>
                </a:lnTo>
                <a:lnTo>
                  <a:pt x="9079" y="7826"/>
                </a:lnTo>
                <a:close/>
                <a:moveTo>
                  <a:pt x="9167" y="7775"/>
                </a:moveTo>
                <a:lnTo>
                  <a:pt x="9162" y="7762"/>
                </a:lnTo>
                <a:lnTo>
                  <a:pt x="9154" y="7752"/>
                </a:lnTo>
                <a:lnTo>
                  <a:pt x="9144" y="7746"/>
                </a:lnTo>
                <a:lnTo>
                  <a:pt x="9132" y="7742"/>
                </a:lnTo>
                <a:lnTo>
                  <a:pt x="9121" y="7741"/>
                </a:lnTo>
                <a:lnTo>
                  <a:pt x="9109" y="7744"/>
                </a:lnTo>
                <a:lnTo>
                  <a:pt x="9099" y="7751"/>
                </a:lnTo>
                <a:lnTo>
                  <a:pt x="9092" y="7762"/>
                </a:lnTo>
                <a:lnTo>
                  <a:pt x="9139" y="7793"/>
                </a:lnTo>
                <a:lnTo>
                  <a:pt x="9191" y="7812"/>
                </a:lnTo>
                <a:lnTo>
                  <a:pt x="9247" y="7821"/>
                </a:lnTo>
                <a:lnTo>
                  <a:pt x="9304" y="7821"/>
                </a:lnTo>
                <a:lnTo>
                  <a:pt x="9363" y="7813"/>
                </a:lnTo>
                <a:lnTo>
                  <a:pt x="9419" y="7798"/>
                </a:lnTo>
                <a:lnTo>
                  <a:pt x="9472" y="7777"/>
                </a:lnTo>
                <a:lnTo>
                  <a:pt x="9519" y="7751"/>
                </a:lnTo>
                <a:lnTo>
                  <a:pt x="9481" y="7732"/>
                </a:lnTo>
                <a:lnTo>
                  <a:pt x="9442" y="7721"/>
                </a:lnTo>
                <a:lnTo>
                  <a:pt x="9398" y="7718"/>
                </a:lnTo>
                <a:lnTo>
                  <a:pt x="9355" y="7720"/>
                </a:lnTo>
                <a:lnTo>
                  <a:pt x="9309" y="7728"/>
                </a:lnTo>
                <a:lnTo>
                  <a:pt x="9262" y="7741"/>
                </a:lnTo>
                <a:lnTo>
                  <a:pt x="9215" y="7757"/>
                </a:lnTo>
                <a:lnTo>
                  <a:pt x="9167" y="7775"/>
                </a:lnTo>
                <a:lnTo>
                  <a:pt x="9167" y="7775"/>
                </a:lnTo>
                <a:close/>
                <a:moveTo>
                  <a:pt x="9861" y="7599"/>
                </a:moveTo>
                <a:lnTo>
                  <a:pt x="9866" y="7599"/>
                </a:lnTo>
                <a:lnTo>
                  <a:pt x="9870" y="7602"/>
                </a:lnTo>
                <a:lnTo>
                  <a:pt x="9872" y="7603"/>
                </a:lnTo>
                <a:lnTo>
                  <a:pt x="9873" y="7606"/>
                </a:lnTo>
                <a:lnTo>
                  <a:pt x="9873" y="7608"/>
                </a:lnTo>
                <a:lnTo>
                  <a:pt x="9872" y="7612"/>
                </a:lnTo>
                <a:lnTo>
                  <a:pt x="9861" y="7612"/>
                </a:lnTo>
                <a:lnTo>
                  <a:pt x="9849" y="7613"/>
                </a:lnTo>
                <a:lnTo>
                  <a:pt x="9844" y="7615"/>
                </a:lnTo>
                <a:lnTo>
                  <a:pt x="9839" y="7616"/>
                </a:lnTo>
                <a:lnTo>
                  <a:pt x="9837" y="7620"/>
                </a:lnTo>
                <a:lnTo>
                  <a:pt x="9835" y="7625"/>
                </a:lnTo>
                <a:lnTo>
                  <a:pt x="9852" y="7634"/>
                </a:lnTo>
                <a:lnTo>
                  <a:pt x="9866" y="7636"/>
                </a:lnTo>
                <a:lnTo>
                  <a:pt x="9876" y="7634"/>
                </a:lnTo>
                <a:lnTo>
                  <a:pt x="9885" y="7629"/>
                </a:lnTo>
                <a:lnTo>
                  <a:pt x="9890" y="7620"/>
                </a:lnTo>
                <a:lnTo>
                  <a:pt x="9894" y="7609"/>
                </a:lnTo>
                <a:lnTo>
                  <a:pt x="9896" y="7598"/>
                </a:lnTo>
                <a:lnTo>
                  <a:pt x="9898" y="7587"/>
                </a:lnTo>
                <a:lnTo>
                  <a:pt x="9886" y="7587"/>
                </a:lnTo>
                <a:lnTo>
                  <a:pt x="9875" y="7588"/>
                </a:lnTo>
                <a:lnTo>
                  <a:pt x="9870" y="7589"/>
                </a:lnTo>
                <a:lnTo>
                  <a:pt x="9865" y="7590"/>
                </a:lnTo>
                <a:lnTo>
                  <a:pt x="9862" y="7594"/>
                </a:lnTo>
                <a:lnTo>
                  <a:pt x="9861" y="7599"/>
                </a:lnTo>
                <a:close/>
                <a:moveTo>
                  <a:pt x="9028" y="7864"/>
                </a:moveTo>
                <a:lnTo>
                  <a:pt x="9035" y="7863"/>
                </a:lnTo>
                <a:lnTo>
                  <a:pt x="9042" y="7863"/>
                </a:lnTo>
                <a:lnTo>
                  <a:pt x="9048" y="7860"/>
                </a:lnTo>
                <a:lnTo>
                  <a:pt x="9053" y="7858"/>
                </a:lnTo>
                <a:lnTo>
                  <a:pt x="9057" y="7854"/>
                </a:lnTo>
                <a:lnTo>
                  <a:pt x="9061" y="7849"/>
                </a:lnTo>
                <a:lnTo>
                  <a:pt x="9063" y="7844"/>
                </a:lnTo>
                <a:lnTo>
                  <a:pt x="9066" y="7839"/>
                </a:lnTo>
                <a:lnTo>
                  <a:pt x="9056" y="7832"/>
                </a:lnTo>
                <a:lnTo>
                  <a:pt x="9042" y="7827"/>
                </a:lnTo>
                <a:lnTo>
                  <a:pt x="9027" y="7826"/>
                </a:lnTo>
                <a:lnTo>
                  <a:pt x="9011" y="7827"/>
                </a:lnTo>
                <a:lnTo>
                  <a:pt x="8997" y="7831"/>
                </a:lnTo>
                <a:lnTo>
                  <a:pt x="8986" y="7839"/>
                </a:lnTo>
                <a:lnTo>
                  <a:pt x="8979" y="7849"/>
                </a:lnTo>
                <a:lnTo>
                  <a:pt x="8978" y="7864"/>
                </a:lnTo>
                <a:lnTo>
                  <a:pt x="8997" y="7865"/>
                </a:lnTo>
                <a:lnTo>
                  <a:pt x="9014" y="7872"/>
                </a:lnTo>
                <a:lnTo>
                  <a:pt x="9028" y="7881"/>
                </a:lnTo>
                <a:lnTo>
                  <a:pt x="9039" y="7888"/>
                </a:lnTo>
                <a:lnTo>
                  <a:pt x="9049" y="7895"/>
                </a:lnTo>
                <a:lnTo>
                  <a:pt x="9062" y="7896"/>
                </a:lnTo>
                <a:lnTo>
                  <a:pt x="9075" y="7891"/>
                </a:lnTo>
                <a:lnTo>
                  <a:pt x="9092" y="7877"/>
                </a:lnTo>
                <a:lnTo>
                  <a:pt x="9083" y="7874"/>
                </a:lnTo>
                <a:lnTo>
                  <a:pt x="9074" y="7876"/>
                </a:lnTo>
                <a:lnTo>
                  <a:pt x="9062" y="7877"/>
                </a:lnTo>
                <a:lnTo>
                  <a:pt x="9052" y="7878"/>
                </a:lnTo>
                <a:lnTo>
                  <a:pt x="9042" y="7878"/>
                </a:lnTo>
                <a:lnTo>
                  <a:pt x="9034" y="7876"/>
                </a:lnTo>
                <a:lnTo>
                  <a:pt x="9029" y="7872"/>
                </a:lnTo>
                <a:lnTo>
                  <a:pt x="9028" y="7864"/>
                </a:lnTo>
                <a:close/>
                <a:moveTo>
                  <a:pt x="3757" y="7839"/>
                </a:moveTo>
                <a:lnTo>
                  <a:pt x="3735" y="7839"/>
                </a:lnTo>
                <a:lnTo>
                  <a:pt x="3711" y="7842"/>
                </a:lnTo>
                <a:lnTo>
                  <a:pt x="3688" y="7849"/>
                </a:lnTo>
                <a:lnTo>
                  <a:pt x="3666" y="7858"/>
                </a:lnTo>
                <a:lnTo>
                  <a:pt x="3649" y="7867"/>
                </a:lnTo>
                <a:lnTo>
                  <a:pt x="3636" y="7878"/>
                </a:lnTo>
                <a:lnTo>
                  <a:pt x="3629" y="7890"/>
                </a:lnTo>
                <a:lnTo>
                  <a:pt x="3631" y="7901"/>
                </a:lnTo>
                <a:lnTo>
                  <a:pt x="3642" y="7888"/>
                </a:lnTo>
                <a:lnTo>
                  <a:pt x="3657" y="7881"/>
                </a:lnTo>
                <a:lnTo>
                  <a:pt x="3675" y="7874"/>
                </a:lnTo>
                <a:lnTo>
                  <a:pt x="3696" y="7870"/>
                </a:lnTo>
                <a:lnTo>
                  <a:pt x="3715" y="7867"/>
                </a:lnTo>
                <a:lnTo>
                  <a:pt x="3733" y="7862"/>
                </a:lnTo>
                <a:lnTo>
                  <a:pt x="3748" y="7853"/>
                </a:lnTo>
                <a:lnTo>
                  <a:pt x="3757" y="7839"/>
                </a:lnTo>
                <a:close/>
                <a:moveTo>
                  <a:pt x="4893" y="2583"/>
                </a:moveTo>
                <a:lnTo>
                  <a:pt x="4894" y="2598"/>
                </a:lnTo>
                <a:lnTo>
                  <a:pt x="4892" y="2607"/>
                </a:lnTo>
                <a:lnTo>
                  <a:pt x="4884" y="2613"/>
                </a:lnTo>
                <a:lnTo>
                  <a:pt x="4875" y="2616"/>
                </a:lnTo>
                <a:lnTo>
                  <a:pt x="4865" y="2618"/>
                </a:lnTo>
                <a:lnTo>
                  <a:pt x="4855" y="2621"/>
                </a:lnTo>
                <a:lnTo>
                  <a:pt x="4847" y="2626"/>
                </a:lnTo>
                <a:lnTo>
                  <a:pt x="4842" y="2634"/>
                </a:lnTo>
                <a:lnTo>
                  <a:pt x="4904" y="2634"/>
                </a:lnTo>
                <a:lnTo>
                  <a:pt x="4902" y="2622"/>
                </a:lnTo>
                <a:lnTo>
                  <a:pt x="4904" y="2611"/>
                </a:lnTo>
                <a:lnTo>
                  <a:pt x="4908" y="2602"/>
                </a:lnTo>
                <a:lnTo>
                  <a:pt x="4912" y="2594"/>
                </a:lnTo>
                <a:lnTo>
                  <a:pt x="4914" y="2589"/>
                </a:lnTo>
                <a:lnTo>
                  <a:pt x="4914" y="2584"/>
                </a:lnTo>
                <a:lnTo>
                  <a:pt x="4907" y="2583"/>
                </a:lnTo>
                <a:lnTo>
                  <a:pt x="4893" y="2583"/>
                </a:lnTo>
                <a:close/>
                <a:moveTo>
                  <a:pt x="1639" y="5381"/>
                </a:moveTo>
                <a:lnTo>
                  <a:pt x="1654" y="5381"/>
                </a:lnTo>
                <a:lnTo>
                  <a:pt x="1667" y="5378"/>
                </a:lnTo>
                <a:lnTo>
                  <a:pt x="1678" y="5373"/>
                </a:lnTo>
                <a:lnTo>
                  <a:pt x="1689" y="5368"/>
                </a:lnTo>
                <a:lnTo>
                  <a:pt x="1708" y="5355"/>
                </a:lnTo>
                <a:lnTo>
                  <a:pt x="1727" y="5342"/>
                </a:lnTo>
                <a:lnTo>
                  <a:pt x="1715" y="5342"/>
                </a:lnTo>
                <a:lnTo>
                  <a:pt x="1704" y="5341"/>
                </a:lnTo>
                <a:lnTo>
                  <a:pt x="1699" y="5340"/>
                </a:lnTo>
                <a:lnTo>
                  <a:pt x="1694" y="5339"/>
                </a:lnTo>
                <a:lnTo>
                  <a:pt x="1691" y="5335"/>
                </a:lnTo>
                <a:lnTo>
                  <a:pt x="1690" y="5331"/>
                </a:lnTo>
                <a:lnTo>
                  <a:pt x="1724" y="5286"/>
                </a:lnTo>
                <a:lnTo>
                  <a:pt x="1771" y="5255"/>
                </a:lnTo>
                <a:lnTo>
                  <a:pt x="1829" y="5233"/>
                </a:lnTo>
                <a:lnTo>
                  <a:pt x="1889" y="5215"/>
                </a:lnTo>
                <a:lnTo>
                  <a:pt x="1950" y="5197"/>
                </a:lnTo>
                <a:lnTo>
                  <a:pt x="2007" y="5176"/>
                </a:lnTo>
                <a:lnTo>
                  <a:pt x="2057" y="5145"/>
                </a:lnTo>
                <a:lnTo>
                  <a:pt x="2094" y="5103"/>
                </a:lnTo>
                <a:lnTo>
                  <a:pt x="2054" y="5107"/>
                </a:lnTo>
                <a:lnTo>
                  <a:pt x="2016" y="5118"/>
                </a:lnTo>
                <a:lnTo>
                  <a:pt x="1980" y="5136"/>
                </a:lnTo>
                <a:lnTo>
                  <a:pt x="1945" y="5153"/>
                </a:lnTo>
                <a:lnTo>
                  <a:pt x="1910" y="5167"/>
                </a:lnTo>
                <a:lnTo>
                  <a:pt x="1876" y="5173"/>
                </a:lnTo>
                <a:lnTo>
                  <a:pt x="1840" y="5165"/>
                </a:lnTo>
                <a:lnTo>
                  <a:pt x="1803" y="5141"/>
                </a:lnTo>
                <a:lnTo>
                  <a:pt x="1771" y="5151"/>
                </a:lnTo>
                <a:lnTo>
                  <a:pt x="1736" y="5165"/>
                </a:lnTo>
                <a:lnTo>
                  <a:pt x="1722" y="5174"/>
                </a:lnTo>
                <a:lnTo>
                  <a:pt x="1712" y="5183"/>
                </a:lnTo>
                <a:lnTo>
                  <a:pt x="1709" y="5193"/>
                </a:lnTo>
                <a:lnTo>
                  <a:pt x="1715" y="5205"/>
                </a:lnTo>
                <a:lnTo>
                  <a:pt x="1715" y="5199"/>
                </a:lnTo>
                <a:lnTo>
                  <a:pt x="1720" y="5196"/>
                </a:lnTo>
                <a:lnTo>
                  <a:pt x="1727" y="5196"/>
                </a:lnTo>
                <a:lnTo>
                  <a:pt x="1737" y="5199"/>
                </a:lnTo>
                <a:lnTo>
                  <a:pt x="1746" y="5202"/>
                </a:lnTo>
                <a:lnTo>
                  <a:pt x="1755" y="5207"/>
                </a:lnTo>
                <a:lnTo>
                  <a:pt x="1761" y="5213"/>
                </a:lnTo>
                <a:lnTo>
                  <a:pt x="1765" y="5218"/>
                </a:lnTo>
                <a:lnTo>
                  <a:pt x="1741" y="5219"/>
                </a:lnTo>
                <a:lnTo>
                  <a:pt x="1720" y="5225"/>
                </a:lnTo>
                <a:lnTo>
                  <a:pt x="1703" y="5234"/>
                </a:lnTo>
                <a:lnTo>
                  <a:pt x="1686" y="5244"/>
                </a:lnTo>
                <a:lnTo>
                  <a:pt x="1670" y="5256"/>
                </a:lnTo>
                <a:lnTo>
                  <a:pt x="1653" y="5266"/>
                </a:lnTo>
                <a:lnTo>
                  <a:pt x="1635" y="5274"/>
                </a:lnTo>
                <a:lnTo>
                  <a:pt x="1614" y="5280"/>
                </a:lnTo>
                <a:lnTo>
                  <a:pt x="1620" y="5299"/>
                </a:lnTo>
                <a:lnTo>
                  <a:pt x="1631" y="5314"/>
                </a:lnTo>
                <a:lnTo>
                  <a:pt x="1645" y="5326"/>
                </a:lnTo>
                <a:lnTo>
                  <a:pt x="1658" y="5337"/>
                </a:lnTo>
                <a:lnTo>
                  <a:pt x="1667" y="5347"/>
                </a:lnTo>
                <a:lnTo>
                  <a:pt x="1668" y="5358"/>
                </a:lnTo>
                <a:lnTo>
                  <a:pt x="1661" y="5368"/>
                </a:lnTo>
                <a:lnTo>
                  <a:pt x="1639" y="5381"/>
                </a:lnTo>
                <a:close/>
                <a:moveTo>
                  <a:pt x="5472" y="2508"/>
                </a:moveTo>
                <a:lnTo>
                  <a:pt x="5444" y="2511"/>
                </a:lnTo>
                <a:lnTo>
                  <a:pt x="5417" y="2515"/>
                </a:lnTo>
                <a:lnTo>
                  <a:pt x="5391" y="2520"/>
                </a:lnTo>
                <a:lnTo>
                  <a:pt x="5365" y="2527"/>
                </a:lnTo>
                <a:lnTo>
                  <a:pt x="5341" y="2534"/>
                </a:lnTo>
                <a:lnTo>
                  <a:pt x="5319" y="2543"/>
                </a:lnTo>
                <a:lnTo>
                  <a:pt x="5300" y="2556"/>
                </a:lnTo>
                <a:lnTo>
                  <a:pt x="5282" y="2570"/>
                </a:lnTo>
                <a:lnTo>
                  <a:pt x="5312" y="2569"/>
                </a:lnTo>
                <a:lnTo>
                  <a:pt x="5341" y="2566"/>
                </a:lnTo>
                <a:lnTo>
                  <a:pt x="5369" y="2562"/>
                </a:lnTo>
                <a:lnTo>
                  <a:pt x="5396" y="2557"/>
                </a:lnTo>
                <a:lnTo>
                  <a:pt x="5420" y="2550"/>
                </a:lnTo>
                <a:lnTo>
                  <a:pt x="5440" y="2539"/>
                </a:lnTo>
                <a:lnTo>
                  <a:pt x="5458" y="2525"/>
                </a:lnTo>
                <a:lnTo>
                  <a:pt x="5472" y="2508"/>
                </a:lnTo>
                <a:lnTo>
                  <a:pt x="5472" y="2508"/>
                </a:lnTo>
                <a:close/>
                <a:moveTo>
                  <a:pt x="1198" y="5255"/>
                </a:moveTo>
                <a:lnTo>
                  <a:pt x="1219" y="5251"/>
                </a:lnTo>
                <a:lnTo>
                  <a:pt x="1238" y="5244"/>
                </a:lnTo>
                <a:lnTo>
                  <a:pt x="1256" y="5237"/>
                </a:lnTo>
                <a:lnTo>
                  <a:pt x="1274" y="5229"/>
                </a:lnTo>
                <a:lnTo>
                  <a:pt x="1274" y="5246"/>
                </a:lnTo>
                <a:lnTo>
                  <a:pt x="1276" y="5258"/>
                </a:lnTo>
                <a:lnTo>
                  <a:pt x="1277" y="5265"/>
                </a:lnTo>
                <a:lnTo>
                  <a:pt x="1280" y="5271"/>
                </a:lnTo>
                <a:lnTo>
                  <a:pt x="1282" y="5275"/>
                </a:lnTo>
                <a:lnTo>
                  <a:pt x="1286" y="5280"/>
                </a:lnTo>
                <a:lnTo>
                  <a:pt x="1322" y="5262"/>
                </a:lnTo>
                <a:lnTo>
                  <a:pt x="1358" y="5244"/>
                </a:lnTo>
                <a:lnTo>
                  <a:pt x="1375" y="5235"/>
                </a:lnTo>
                <a:lnTo>
                  <a:pt x="1392" y="5225"/>
                </a:lnTo>
                <a:lnTo>
                  <a:pt x="1408" y="5215"/>
                </a:lnTo>
                <a:lnTo>
                  <a:pt x="1425" y="5205"/>
                </a:lnTo>
                <a:lnTo>
                  <a:pt x="1414" y="5200"/>
                </a:lnTo>
                <a:lnTo>
                  <a:pt x="1403" y="5193"/>
                </a:lnTo>
                <a:lnTo>
                  <a:pt x="1394" y="5187"/>
                </a:lnTo>
                <a:lnTo>
                  <a:pt x="1387" y="5179"/>
                </a:lnTo>
                <a:lnTo>
                  <a:pt x="1388" y="5140"/>
                </a:lnTo>
                <a:lnTo>
                  <a:pt x="1369" y="5120"/>
                </a:lnTo>
                <a:lnTo>
                  <a:pt x="1337" y="5116"/>
                </a:lnTo>
                <a:lnTo>
                  <a:pt x="1299" y="5126"/>
                </a:lnTo>
                <a:lnTo>
                  <a:pt x="1259" y="5146"/>
                </a:lnTo>
                <a:lnTo>
                  <a:pt x="1225" y="5177"/>
                </a:lnTo>
                <a:lnTo>
                  <a:pt x="1202" y="5214"/>
                </a:lnTo>
                <a:lnTo>
                  <a:pt x="1198" y="5255"/>
                </a:lnTo>
                <a:close/>
                <a:moveTo>
                  <a:pt x="3669" y="2747"/>
                </a:moveTo>
                <a:lnTo>
                  <a:pt x="3687" y="2746"/>
                </a:lnTo>
                <a:lnTo>
                  <a:pt x="3705" y="2744"/>
                </a:lnTo>
                <a:lnTo>
                  <a:pt x="3720" y="2742"/>
                </a:lnTo>
                <a:lnTo>
                  <a:pt x="3735" y="2737"/>
                </a:lnTo>
                <a:lnTo>
                  <a:pt x="3747" y="2730"/>
                </a:lnTo>
                <a:lnTo>
                  <a:pt x="3757" y="2721"/>
                </a:lnTo>
                <a:lnTo>
                  <a:pt x="3764" y="2710"/>
                </a:lnTo>
                <a:lnTo>
                  <a:pt x="3770" y="2696"/>
                </a:lnTo>
                <a:lnTo>
                  <a:pt x="3753" y="2699"/>
                </a:lnTo>
                <a:lnTo>
                  <a:pt x="3736" y="2701"/>
                </a:lnTo>
                <a:lnTo>
                  <a:pt x="3721" y="2705"/>
                </a:lnTo>
                <a:lnTo>
                  <a:pt x="3707" y="2710"/>
                </a:lnTo>
                <a:lnTo>
                  <a:pt x="3694" y="2716"/>
                </a:lnTo>
                <a:lnTo>
                  <a:pt x="3684" y="2724"/>
                </a:lnTo>
                <a:lnTo>
                  <a:pt x="3675" y="2734"/>
                </a:lnTo>
                <a:lnTo>
                  <a:pt x="3669" y="2747"/>
                </a:lnTo>
                <a:close/>
                <a:moveTo>
                  <a:pt x="6064" y="2066"/>
                </a:moveTo>
                <a:lnTo>
                  <a:pt x="6002" y="2066"/>
                </a:lnTo>
                <a:lnTo>
                  <a:pt x="6001" y="2088"/>
                </a:lnTo>
                <a:lnTo>
                  <a:pt x="6006" y="2099"/>
                </a:lnTo>
                <a:lnTo>
                  <a:pt x="6016" y="2104"/>
                </a:lnTo>
                <a:lnTo>
                  <a:pt x="6029" y="2103"/>
                </a:lnTo>
                <a:lnTo>
                  <a:pt x="6041" y="2096"/>
                </a:lnTo>
                <a:lnTo>
                  <a:pt x="6053" y="2088"/>
                </a:lnTo>
                <a:lnTo>
                  <a:pt x="6062" y="2077"/>
                </a:lnTo>
                <a:lnTo>
                  <a:pt x="6064" y="2066"/>
                </a:lnTo>
                <a:lnTo>
                  <a:pt x="6064" y="2066"/>
                </a:lnTo>
                <a:close/>
                <a:moveTo>
                  <a:pt x="2799" y="2772"/>
                </a:moveTo>
                <a:lnTo>
                  <a:pt x="2822" y="2772"/>
                </a:lnTo>
                <a:lnTo>
                  <a:pt x="2844" y="2772"/>
                </a:lnTo>
                <a:lnTo>
                  <a:pt x="2864" y="2771"/>
                </a:lnTo>
                <a:lnTo>
                  <a:pt x="2883" y="2769"/>
                </a:lnTo>
                <a:lnTo>
                  <a:pt x="2901" y="2763"/>
                </a:lnTo>
                <a:lnTo>
                  <a:pt x="2916" y="2757"/>
                </a:lnTo>
                <a:lnTo>
                  <a:pt x="2929" y="2747"/>
                </a:lnTo>
                <a:lnTo>
                  <a:pt x="2938" y="2734"/>
                </a:lnTo>
                <a:lnTo>
                  <a:pt x="2920" y="2724"/>
                </a:lnTo>
                <a:lnTo>
                  <a:pt x="2900" y="2719"/>
                </a:lnTo>
                <a:lnTo>
                  <a:pt x="2879" y="2716"/>
                </a:lnTo>
                <a:lnTo>
                  <a:pt x="2859" y="2719"/>
                </a:lnTo>
                <a:lnTo>
                  <a:pt x="2840" y="2727"/>
                </a:lnTo>
                <a:lnTo>
                  <a:pt x="2822" y="2737"/>
                </a:lnTo>
                <a:lnTo>
                  <a:pt x="2808" y="2752"/>
                </a:lnTo>
                <a:lnTo>
                  <a:pt x="2799" y="2772"/>
                </a:lnTo>
                <a:lnTo>
                  <a:pt x="2799" y="2772"/>
                </a:lnTo>
                <a:close/>
                <a:moveTo>
                  <a:pt x="5384" y="2444"/>
                </a:moveTo>
                <a:lnTo>
                  <a:pt x="5373" y="2444"/>
                </a:lnTo>
                <a:lnTo>
                  <a:pt x="5363" y="2445"/>
                </a:lnTo>
                <a:lnTo>
                  <a:pt x="5353" y="2447"/>
                </a:lnTo>
                <a:lnTo>
                  <a:pt x="5345" y="2449"/>
                </a:lnTo>
                <a:lnTo>
                  <a:pt x="5337" y="2453"/>
                </a:lnTo>
                <a:lnTo>
                  <a:pt x="5331" y="2458"/>
                </a:lnTo>
                <a:lnTo>
                  <a:pt x="5326" y="2463"/>
                </a:lnTo>
                <a:lnTo>
                  <a:pt x="5321" y="2469"/>
                </a:lnTo>
                <a:lnTo>
                  <a:pt x="5330" y="2476"/>
                </a:lnTo>
                <a:lnTo>
                  <a:pt x="5340" y="2480"/>
                </a:lnTo>
                <a:lnTo>
                  <a:pt x="5351" y="2482"/>
                </a:lnTo>
                <a:lnTo>
                  <a:pt x="5363" y="2481"/>
                </a:lnTo>
                <a:lnTo>
                  <a:pt x="5373" y="2477"/>
                </a:lnTo>
                <a:lnTo>
                  <a:pt x="5381" y="2469"/>
                </a:lnTo>
                <a:lnTo>
                  <a:pt x="5384" y="2459"/>
                </a:lnTo>
                <a:lnTo>
                  <a:pt x="5384" y="2444"/>
                </a:lnTo>
                <a:close/>
                <a:moveTo>
                  <a:pt x="6380" y="2079"/>
                </a:moveTo>
                <a:lnTo>
                  <a:pt x="6389" y="2082"/>
                </a:lnTo>
                <a:lnTo>
                  <a:pt x="6402" y="2082"/>
                </a:lnTo>
                <a:lnTo>
                  <a:pt x="6417" y="2081"/>
                </a:lnTo>
                <a:lnTo>
                  <a:pt x="6434" y="2077"/>
                </a:lnTo>
                <a:lnTo>
                  <a:pt x="6449" y="2071"/>
                </a:lnTo>
                <a:lnTo>
                  <a:pt x="6463" y="2063"/>
                </a:lnTo>
                <a:lnTo>
                  <a:pt x="6474" y="2053"/>
                </a:lnTo>
                <a:lnTo>
                  <a:pt x="6481" y="2040"/>
                </a:lnTo>
                <a:lnTo>
                  <a:pt x="6452" y="2046"/>
                </a:lnTo>
                <a:lnTo>
                  <a:pt x="6421" y="2051"/>
                </a:lnTo>
                <a:lnTo>
                  <a:pt x="6407" y="2054"/>
                </a:lnTo>
                <a:lnTo>
                  <a:pt x="6396" y="2060"/>
                </a:lnTo>
                <a:lnTo>
                  <a:pt x="6387" y="2067"/>
                </a:lnTo>
                <a:lnTo>
                  <a:pt x="6380" y="2079"/>
                </a:lnTo>
                <a:close/>
                <a:moveTo>
                  <a:pt x="9255" y="1297"/>
                </a:moveTo>
                <a:lnTo>
                  <a:pt x="9153" y="1314"/>
                </a:lnTo>
                <a:lnTo>
                  <a:pt x="9044" y="1335"/>
                </a:lnTo>
                <a:lnTo>
                  <a:pt x="8935" y="1358"/>
                </a:lnTo>
                <a:lnTo>
                  <a:pt x="8822" y="1386"/>
                </a:lnTo>
                <a:lnTo>
                  <a:pt x="8707" y="1417"/>
                </a:lnTo>
                <a:lnTo>
                  <a:pt x="8594" y="1450"/>
                </a:lnTo>
                <a:lnTo>
                  <a:pt x="8482" y="1485"/>
                </a:lnTo>
                <a:lnTo>
                  <a:pt x="8372" y="1525"/>
                </a:lnTo>
                <a:lnTo>
                  <a:pt x="8378" y="1526"/>
                </a:lnTo>
                <a:lnTo>
                  <a:pt x="8383" y="1530"/>
                </a:lnTo>
                <a:lnTo>
                  <a:pt x="8387" y="1533"/>
                </a:lnTo>
                <a:lnTo>
                  <a:pt x="8391" y="1538"/>
                </a:lnTo>
                <a:lnTo>
                  <a:pt x="8394" y="1541"/>
                </a:lnTo>
                <a:lnTo>
                  <a:pt x="8396" y="1548"/>
                </a:lnTo>
                <a:lnTo>
                  <a:pt x="8397" y="1554"/>
                </a:lnTo>
                <a:lnTo>
                  <a:pt x="8397" y="1562"/>
                </a:lnTo>
                <a:lnTo>
                  <a:pt x="8428" y="1561"/>
                </a:lnTo>
                <a:lnTo>
                  <a:pt x="8455" y="1555"/>
                </a:lnTo>
                <a:lnTo>
                  <a:pt x="8478" y="1548"/>
                </a:lnTo>
                <a:lnTo>
                  <a:pt x="8501" y="1540"/>
                </a:lnTo>
                <a:lnTo>
                  <a:pt x="8525" y="1531"/>
                </a:lnTo>
                <a:lnTo>
                  <a:pt x="8550" y="1525"/>
                </a:lnTo>
                <a:lnTo>
                  <a:pt x="8578" y="1522"/>
                </a:lnTo>
                <a:lnTo>
                  <a:pt x="8611" y="1525"/>
                </a:lnTo>
                <a:lnTo>
                  <a:pt x="8615" y="1512"/>
                </a:lnTo>
                <a:lnTo>
                  <a:pt x="8623" y="1499"/>
                </a:lnTo>
                <a:lnTo>
                  <a:pt x="8632" y="1487"/>
                </a:lnTo>
                <a:lnTo>
                  <a:pt x="8642" y="1477"/>
                </a:lnTo>
                <a:lnTo>
                  <a:pt x="8655" y="1468"/>
                </a:lnTo>
                <a:lnTo>
                  <a:pt x="8666" y="1464"/>
                </a:lnTo>
                <a:lnTo>
                  <a:pt x="8678" y="1466"/>
                </a:lnTo>
                <a:lnTo>
                  <a:pt x="8688" y="1474"/>
                </a:lnTo>
                <a:lnTo>
                  <a:pt x="8685" y="1482"/>
                </a:lnTo>
                <a:lnTo>
                  <a:pt x="8680" y="1485"/>
                </a:lnTo>
                <a:lnTo>
                  <a:pt x="8674" y="1489"/>
                </a:lnTo>
                <a:lnTo>
                  <a:pt x="8666" y="1491"/>
                </a:lnTo>
                <a:lnTo>
                  <a:pt x="8660" y="1493"/>
                </a:lnTo>
                <a:lnTo>
                  <a:pt x="8653" y="1497"/>
                </a:lnTo>
                <a:lnTo>
                  <a:pt x="8650" y="1503"/>
                </a:lnTo>
                <a:lnTo>
                  <a:pt x="8650" y="1512"/>
                </a:lnTo>
                <a:lnTo>
                  <a:pt x="8687" y="1505"/>
                </a:lnTo>
                <a:lnTo>
                  <a:pt x="8715" y="1494"/>
                </a:lnTo>
                <a:lnTo>
                  <a:pt x="8737" y="1480"/>
                </a:lnTo>
                <a:lnTo>
                  <a:pt x="8757" y="1465"/>
                </a:lnTo>
                <a:lnTo>
                  <a:pt x="8777" y="1449"/>
                </a:lnTo>
                <a:lnTo>
                  <a:pt x="8799" y="1435"/>
                </a:lnTo>
                <a:lnTo>
                  <a:pt x="8828" y="1421"/>
                </a:lnTo>
                <a:lnTo>
                  <a:pt x="8864" y="1410"/>
                </a:lnTo>
                <a:lnTo>
                  <a:pt x="8875" y="1417"/>
                </a:lnTo>
                <a:lnTo>
                  <a:pt x="8880" y="1423"/>
                </a:lnTo>
                <a:lnTo>
                  <a:pt x="8881" y="1429"/>
                </a:lnTo>
                <a:lnTo>
                  <a:pt x="8881" y="1435"/>
                </a:lnTo>
                <a:lnTo>
                  <a:pt x="8880" y="1440"/>
                </a:lnTo>
                <a:lnTo>
                  <a:pt x="8883" y="1445"/>
                </a:lnTo>
                <a:lnTo>
                  <a:pt x="8889" y="1447"/>
                </a:lnTo>
                <a:lnTo>
                  <a:pt x="8902" y="1449"/>
                </a:lnTo>
                <a:lnTo>
                  <a:pt x="8903" y="1443"/>
                </a:lnTo>
                <a:lnTo>
                  <a:pt x="8904" y="1438"/>
                </a:lnTo>
                <a:lnTo>
                  <a:pt x="8906" y="1437"/>
                </a:lnTo>
                <a:lnTo>
                  <a:pt x="8908" y="1436"/>
                </a:lnTo>
                <a:lnTo>
                  <a:pt x="8911" y="1436"/>
                </a:lnTo>
                <a:lnTo>
                  <a:pt x="8915" y="1436"/>
                </a:lnTo>
                <a:lnTo>
                  <a:pt x="8920" y="1436"/>
                </a:lnTo>
                <a:lnTo>
                  <a:pt x="8925" y="1433"/>
                </a:lnTo>
                <a:lnTo>
                  <a:pt x="8926" y="1432"/>
                </a:lnTo>
                <a:lnTo>
                  <a:pt x="8927" y="1429"/>
                </a:lnTo>
                <a:lnTo>
                  <a:pt x="8927" y="1427"/>
                </a:lnTo>
                <a:lnTo>
                  <a:pt x="8927" y="1423"/>
                </a:lnTo>
                <a:lnTo>
                  <a:pt x="8916" y="1422"/>
                </a:lnTo>
                <a:lnTo>
                  <a:pt x="8907" y="1418"/>
                </a:lnTo>
                <a:lnTo>
                  <a:pt x="8904" y="1415"/>
                </a:lnTo>
                <a:lnTo>
                  <a:pt x="8902" y="1412"/>
                </a:lnTo>
                <a:lnTo>
                  <a:pt x="8900" y="1405"/>
                </a:lnTo>
                <a:lnTo>
                  <a:pt x="8902" y="1399"/>
                </a:lnTo>
                <a:lnTo>
                  <a:pt x="8917" y="1398"/>
                </a:lnTo>
                <a:lnTo>
                  <a:pt x="8932" y="1396"/>
                </a:lnTo>
                <a:lnTo>
                  <a:pt x="8949" y="1394"/>
                </a:lnTo>
                <a:lnTo>
                  <a:pt x="8965" y="1391"/>
                </a:lnTo>
                <a:lnTo>
                  <a:pt x="9001" y="1384"/>
                </a:lnTo>
                <a:lnTo>
                  <a:pt x="9041" y="1373"/>
                </a:lnTo>
                <a:lnTo>
                  <a:pt x="9042" y="1385"/>
                </a:lnTo>
                <a:lnTo>
                  <a:pt x="9042" y="1396"/>
                </a:lnTo>
                <a:lnTo>
                  <a:pt x="9043" y="1401"/>
                </a:lnTo>
                <a:lnTo>
                  <a:pt x="9046" y="1407"/>
                </a:lnTo>
                <a:lnTo>
                  <a:pt x="9048" y="1409"/>
                </a:lnTo>
                <a:lnTo>
                  <a:pt x="9053" y="1410"/>
                </a:lnTo>
                <a:lnTo>
                  <a:pt x="9060" y="1403"/>
                </a:lnTo>
                <a:lnTo>
                  <a:pt x="9069" y="1399"/>
                </a:lnTo>
                <a:lnTo>
                  <a:pt x="9081" y="1396"/>
                </a:lnTo>
                <a:lnTo>
                  <a:pt x="9094" y="1395"/>
                </a:lnTo>
                <a:lnTo>
                  <a:pt x="9106" y="1393"/>
                </a:lnTo>
                <a:lnTo>
                  <a:pt x="9117" y="1390"/>
                </a:lnTo>
                <a:lnTo>
                  <a:pt x="9125" y="1384"/>
                </a:lnTo>
                <a:lnTo>
                  <a:pt x="9128" y="1373"/>
                </a:lnTo>
                <a:lnTo>
                  <a:pt x="9117" y="1372"/>
                </a:lnTo>
                <a:lnTo>
                  <a:pt x="9106" y="1372"/>
                </a:lnTo>
                <a:lnTo>
                  <a:pt x="9100" y="1371"/>
                </a:lnTo>
                <a:lnTo>
                  <a:pt x="9095" y="1368"/>
                </a:lnTo>
                <a:lnTo>
                  <a:pt x="9093" y="1366"/>
                </a:lnTo>
                <a:lnTo>
                  <a:pt x="9092" y="1361"/>
                </a:lnTo>
                <a:lnTo>
                  <a:pt x="9117" y="1351"/>
                </a:lnTo>
                <a:lnTo>
                  <a:pt x="9142" y="1345"/>
                </a:lnTo>
                <a:lnTo>
                  <a:pt x="9167" y="1342"/>
                </a:lnTo>
                <a:lnTo>
                  <a:pt x="9191" y="1339"/>
                </a:lnTo>
                <a:lnTo>
                  <a:pt x="9212" y="1334"/>
                </a:lnTo>
                <a:lnTo>
                  <a:pt x="9230" y="1328"/>
                </a:lnTo>
                <a:lnTo>
                  <a:pt x="9244" y="1316"/>
                </a:lnTo>
                <a:lnTo>
                  <a:pt x="9255" y="1297"/>
                </a:lnTo>
                <a:close/>
                <a:moveTo>
                  <a:pt x="8145" y="1638"/>
                </a:moveTo>
                <a:lnTo>
                  <a:pt x="8168" y="1638"/>
                </a:lnTo>
                <a:lnTo>
                  <a:pt x="8189" y="1637"/>
                </a:lnTo>
                <a:lnTo>
                  <a:pt x="8209" y="1636"/>
                </a:lnTo>
                <a:lnTo>
                  <a:pt x="8227" y="1632"/>
                </a:lnTo>
                <a:lnTo>
                  <a:pt x="8243" y="1625"/>
                </a:lnTo>
                <a:lnTo>
                  <a:pt x="8259" y="1619"/>
                </a:lnTo>
                <a:lnTo>
                  <a:pt x="8273" y="1610"/>
                </a:lnTo>
                <a:lnTo>
                  <a:pt x="8284" y="1600"/>
                </a:lnTo>
                <a:lnTo>
                  <a:pt x="8264" y="1601"/>
                </a:lnTo>
                <a:lnTo>
                  <a:pt x="8243" y="1604"/>
                </a:lnTo>
                <a:lnTo>
                  <a:pt x="8226" y="1608"/>
                </a:lnTo>
                <a:lnTo>
                  <a:pt x="8206" y="1611"/>
                </a:lnTo>
                <a:lnTo>
                  <a:pt x="8190" y="1617"/>
                </a:lnTo>
                <a:lnTo>
                  <a:pt x="8173" y="1622"/>
                </a:lnTo>
                <a:lnTo>
                  <a:pt x="8159" y="1629"/>
                </a:lnTo>
                <a:lnTo>
                  <a:pt x="8145" y="1638"/>
                </a:lnTo>
                <a:close/>
                <a:moveTo>
                  <a:pt x="8057" y="1613"/>
                </a:moveTo>
                <a:lnTo>
                  <a:pt x="8103" y="1613"/>
                </a:lnTo>
                <a:lnTo>
                  <a:pt x="8144" y="1608"/>
                </a:lnTo>
                <a:lnTo>
                  <a:pt x="8181" y="1599"/>
                </a:lnTo>
                <a:lnTo>
                  <a:pt x="8214" y="1587"/>
                </a:lnTo>
                <a:lnTo>
                  <a:pt x="8247" y="1575"/>
                </a:lnTo>
                <a:lnTo>
                  <a:pt x="8282" y="1563"/>
                </a:lnTo>
                <a:lnTo>
                  <a:pt x="8319" y="1554"/>
                </a:lnTo>
                <a:lnTo>
                  <a:pt x="8359" y="1549"/>
                </a:lnTo>
                <a:lnTo>
                  <a:pt x="8329" y="1536"/>
                </a:lnTo>
                <a:lnTo>
                  <a:pt x="8292" y="1534"/>
                </a:lnTo>
                <a:lnTo>
                  <a:pt x="8252" y="1540"/>
                </a:lnTo>
                <a:lnTo>
                  <a:pt x="8210" y="1552"/>
                </a:lnTo>
                <a:lnTo>
                  <a:pt x="8168" y="1568"/>
                </a:lnTo>
                <a:lnTo>
                  <a:pt x="8127" y="1585"/>
                </a:lnTo>
                <a:lnTo>
                  <a:pt x="8091" y="1600"/>
                </a:lnTo>
                <a:lnTo>
                  <a:pt x="8057" y="1613"/>
                </a:lnTo>
                <a:close/>
                <a:moveTo>
                  <a:pt x="8032" y="1613"/>
                </a:moveTo>
                <a:lnTo>
                  <a:pt x="7972" y="1623"/>
                </a:lnTo>
                <a:lnTo>
                  <a:pt x="7915" y="1634"/>
                </a:lnTo>
                <a:lnTo>
                  <a:pt x="7859" y="1648"/>
                </a:lnTo>
                <a:lnTo>
                  <a:pt x="7805" y="1662"/>
                </a:lnTo>
                <a:lnTo>
                  <a:pt x="7752" y="1679"/>
                </a:lnTo>
                <a:lnTo>
                  <a:pt x="7701" y="1698"/>
                </a:lnTo>
                <a:lnTo>
                  <a:pt x="7651" y="1717"/>
                </a:lnTo>
                <a:lnTo>
                  <a:pt x="7603" y="1739"/>
                </a:lnTo>
                <a:lnTo>
                  <a:pt x="7666" y="1732"/>
                </a:lnTo>
                <a:lnTo>
                  <a:pt x="7726" y="1722"/>
                </a:lnTo>
                <a:lnTo>
                  <a:pt x="7782" y="1709"/>
                </a:lnTo>
                <a:lnTo>
                  <a:pt x="7836" y="1694"/>
                </a:lnTo>
                <a:lnTo>
                  <a:pt x="7887" y="1675"/>
                </a:lnTo>
                <a:lnTo>
                  <a:pt x="7936" y="1656"/>
                </a:lnTo>
                <a:lnTo>
                  <a:pt x="7985" y="1634"/>
                </a:lnTo>
                <a:lnTo>
                  <a:pt x="8032" y="1613"/>
                </a:lnTo>
                <a:close/>
                <a:moveTo>
                  <a:pt x="7325" y="1814"/>
                </a:moveTo>
                <a:lnTo>
                  <a:pt x="7305" y="1814"/>
                </a:lnTo>
                <a:lnTo>
                  <a:pt x="7286" y="1815"/>
                </a:lnTo>
                <a:lnTo>
                  <a:pt x="7267" y="1816"/>
                </a:lnTo>
                <a:lnTo>
                  <a:pt x="7249" y="1819"/>
                </a:lnTo>
                <a:lnTo>
                  <a:pt x="7232" y="1824"/>
                </a:lnTo>
                <a:lnTo>
                  <a:pt x="7219" y="1830"/>
                </a:lnTo>
                <a:lnTo>
                  <a:pt x="7208" y="1839"/>
                </a:lnTo>
                <a:lnTo>
                  <a:pt x="7199" y="1852"/>
                </a:lnTo>
                <a:lnTo>
                  <a:pt x="7222" y="1853"/>
                </a:lnTo>
                <a:lnTo>
                  <a:pt x="7241" y="1853"/>
                </a:lnTo>
                <a:lnTo>
                  <a:pt x="7259" y="1850"/>
                </a:lnTo>
                <a:lnTo>
                  <a:pt x="7274" y="1844"/>
                </a:lnTo>
                <a:lnTo>
                  <a:pt x="7288" y="1838"/>
                </a:lnTo>
                <a:lnTo>
                  <a:pt x="7301" y="1830"/>
                </a:lnTo>
                <a:lnTo>
                  <a:pt x="7314" y="1823"/>
                </a:lnTo>
                <a:lnTo>
                  <a:pt x="7325" y="1814"/>
                </a:lnTo>
                <a:close/>
                <a:moveTo>
                  <a:pt x="2207" y="5066"/>
                </a:moveTo>
                <a:lnTo>
                  <a:pt x="2243" y="5060"/>
                </a:lnTo>
                <a:lnTo>
                  <a:pt x="2277" y="5055"/>
                </a:lnTo>
                <a:lnTo>
                  <a:pt x="2294" y="5050"/>
                </a:lnTo>
                <a:lnTo>
                  <a:pt x="2308" y="5045"/>
                </a:lnTo>
                <a:lnTo>
                  <a:pt x="2322" y="5037"/>
                </a:lnTo>
                <a:lnTo>
                  <a:pt x="2333" y="5028"/>
                </a:lnTo>
                <a:lnTo>
                  <a:pt x="2323" y="5013"/>
                </a:lnTo>
                <a:lnTo>
                  <a:pt x="2308" y="5006"/>
                </a:lnTo>
                <a:lnTo>
                  <a:pt x="2288" y="5008"/>
                </a:lnTo>
                <a:lnTo>
                  <a:pt x="2268" y="5015"/>
                </a:lnTo>
                <a:lnTo>
                  <a:pt x="2248" y="5025"/>
                </a:lnTo>
                <a:lnTo>
                  <a:pt x="2229" y="5039"/>
                </a:lnTo>
                <a:lnTo>
                  <a:pt x="2215" y="5053"/>
                </a:lnTo>
                <a:lnTo>
                  <a:pt x="2207" y="5066"/>
                </a:lnTo>
                <a:close/>
                <a:moveTo>
                  <a:pt x="1047" y="5368"/>
                </a:moveTo>
                <a:lnTo>
                  <a:pt x="1061" y="5364"/>
                </a:lnTo>
                <a:lnTo>
                  <a:pt x="1076" y="5360"/>
                </a:lnTo>
                <a:lnTo>
                  <a:pt x="1089" y="5354"/>
                </a:lnTo>
                <a:lnTo>
                  <a:pt x="1103" y="5349"/>
                </a:lnTo>
                <a:lnTo>
                  <a:pt x="1114" y="5342"/>
                </a:lnTo>
                <a:lnTo>
                  <a:pt x="1126" y="5335"/>
                </a:lnTo>
                <a:lnTo>
                  <a:pt x="1137" y="5327"/>
                </a:lnTo>
                <a:lnTo>
                  <a:pt x="1147" y="5318"/>
                </a:lnTo>
                <a:lnTo>
                  <a:pt x="1130" y="5318"/>
                </a:lnTo>
                <a:lnTo>
                  <a:pt x="1112" y="5321"/>
                </a:lnTo>
                <a:lnTo>
                  <a:pt x="1096" y="5323"/>
                </a:lnTo>
                <a:lnTo>
                  <a:pt x="1082" y="5328"/>
                </a:lnTo>
                <a:lnTo>
                  <a:pt x="1070" y="5335"/>
                </a:lnTo>
                <a:lnTo>
                  <a:pt x="1060" y="5344"/>
                </a:lnTo>
                <a:lnTo>
                  <a:pt x="1052" y="5354"/>
                </a:lnTo>
                <a:lnTo>
                  <a:pt x="1047" y="5368"/>
                </a:lnTo>
                <a:close/>
                <a:moveTo>
                  <a:pt x="1235" y="5419"/>
                </a:moveTo>
                <a:lnTo>
                  <a:pt x="1217" y="5406"/>
                </a:lnTo>
                <a:lnTo>
                  <a:pt x="1202" y="5407"/>
                </a:lnTo>
                <a:lnTo>
                  <a:pt x="1189" y="5418"/>
                </a:lnTo>
                <a:lnTo>
                  <a:pt x="1181" y="5434"/>
                </a:lnTo>
                <a:lnTo>
                  <a:pt x="1178" y="5449"/>
                </a:lnTo>
                <a:lnTo>
                  <a:pt x="1182" y="5462"/>
                </a:lnTo>
                <a:lnTo>
                  <a:pt x="1192" y="5466"/>
                </a:lnTo>
                <a:lnTo>
                  <a:pt x="1210" y="5457"/>
                </a:lnTo>
                <a:lnTo>
                  <a:pt x="1205" y="5456"/>
                </a:lnTo>
                <a:lnTo>
                  <a:pt x="1201" y="5454"/>
                </a:lnTo>
                <a:lnTo>
                  <a:pt x="1198" y="5452"/>
                </a:lnTo>
                <a:lnTo>
                  <a:pt x="1198" y="5451"/>
                </a:lnTo>
                <a:lnTo>
                  <a:pt x="1197" y="5448"/>
                </a:lnTo>
                <a:lnTo>
                  <a:pt x="1198" y="5444"/>
                </a:lnTo>
                <a:lnTo>
                  <a:pt x="1206" y="5443"/>
                </a:lnTo>
                <a:lnTo>
                  <a:pt x="1212" y="5443"/>
                </a:lnTo>
                <a:lnTo>
                  <a:pt x="1217" y="5440"/>
                </a:lnTo>
                <a:lnTo>
                  <a:pt x="1223" y="5438"/>
                </a:lnTo>
                <a:lnTo>
                  <a:pt x="1226" y="5434"/>
                </a:lnTo>
                <a:lnTo>
                  <a:pt x="1230" y="5429"/>
                </a:lnTo>
                <a:lnTo>
                  <a:pt x="1233" y="5424"/>
                </a:lnTo>
                <a:lnTo>
                  <a:pt x="1235" y="5419"/>
                </a:lnTo>
                <a:close/>
                <a:moveTo>
                  <a:pt x="2320" y="5053"/>
                </a:moveTo>
                <a:lnTo>
                  <a:pt x="2329" y="5060"/>
                </a:lnTo>
                <a:lnTo>
                  <a:pt x="2341" y="5064"/>
                </a:lnTo>
                <a:lnTo>
                  <a:pt x="2352" y="5062"/>
                </a:lnTo>
                <a:lnTo>
                  <a:pt x="2362" y="5060"/>
                </a:lnTo>
                <a:lnTo>
                  <a:pt x="2374" y="5053"/>
                </a:lnTo>
                <a:lnTo>
                  <a:pt x="2383" y="5047"/>
                </a:lnTo>
                <a:lnTo>
                  <a:pt x="2390" y="5038"/>
                </a:lnTo>
                <a:lnTo>
                  <a:pt x="2395" y="5028"/>
                </a:lnTo>
                <a:lnTo>
                  <a:pt x="2383" y="5028"/>
                </a:lnTo>
                <a:lnTo>
                  <a:pt x="2370" y="5028"/>
                </a:lnTo>
                <a:lnTo>
                  <a:pt x="2359" y="5029"/>
                </a:lnTo>
                <a:lnTo>
                  <a:pt x="2348" y="5032"/>
                </a:lnTo>
                <a:lnTo>
                  <a:pt x="2339" y="5034"/>
                </a:lnTo>
                <a:lnTo>
                  <a:pt x="2332" y="5039"/>
                </a:lnTo>
                <a:lnTo>
                  <a:pt x="2325" y="5046"/>
                </a:lnTo>
                <a:lnTo>
                  <a:pt x="2320" y="5053"/>
                </a:lnTo>
                <a:lnTo>
                  <a:pt x="2320" y="5053"/>
                </a:lnTo>
                <a:close/>
                <a:moveTo>
                  <a:pt x="1361" y="5331"/>
                </a:moveTo>
                <a:lnTo>
                  <a:pt x="1369" y="5335"/>
                </a:lnTo>
                <a:lnTo>
                  <a:pt x="1377" y="5339"/>
                </a:lnTo>
                <a:lnTo>
                  <a:pt x="1384" y="5341"/>
                </a:lnTo>
                <a:lnTo>
                  <a:pt x="1393" y="5342"/>
                </a:lnTo>
                <a:lnTo>
                  <a:pt x="1402" y="5345"/>
                </a:lnTo>
                <a:lnTo>
                  <a:pt x="1410" y="5347"/>
                </a:lnTo>
                <a:lnTo>
                  <a:pt x="1417" y="5351"/>
                </a:lnTo>
                <a:lnTo>
                  <a:pt x="1425" y="5355"/>
                </a:lnTo>
                <a:lnTo>
                  <a:pt x="1430" y="5349"/>
                </a:lnTo>
                <a:lnTo>
                  <a:pt x="1433" y="5341"/>
                </a:lnTo>
                <a:lnTo>
                  <a:pt x="1433" y="5333"/>
                </a:lnTo>
                <a:lnTo>
                  <a:pt x="1431" y="5325"/>
                </a:lnTo>
                <a:lnTo>
                  <a:pt x="1429" y="5316"/>
                </a:lnTo>
                <a:lnTo>
                  <a:pt x="1424" y="5307"/>
                </a:lnTo>
                <a:lnTo>
                  <a:pt x="1419" y="5299"/>
                </a:lnTo>
                <a:lnTo>
                  <a:pt x="1412" y="5293"/>
                </a:lnTo>
                <a:lnTo>
                  <a:pt x="1408" y="5300"/>
                </a:lnTo>
                <a:lnTo>
                  <a:pt x="1402" y="5304"/>
                </a:lnTo>
                <a:lnTo>
                  <a:pt x="1393" y="5307"/>
                </a:lnTo>
                <a:lnTo>
                  <a:pt x="1383" y="5308"/>
                </a:lnTo>
                <a:lnTo>
                  <a:pt x="1374" y="5311"/>
                </a:lnTo>
                <a:lnTo>
                  <a:pt x="1366" y="5313"/>
                </a:lnTo>
                <a:lnTo>
                  <a:pt x="1363" y="5319"/>
                </a:lnTo>
                <a:lnTo>
                  <a:pt x="1361" y="5331"/>
                </a:lnTo>
                <a:close/>
                <a:moveTo>
                  <a:pt x="1186" y="4738"/>
                </a:moveTo>
                <a:lnTo>
                  <a:pt x="1172" y="4738"/>
                </a:lnTo>
                <a:lnTo>
                  <a:pt x="1158" y="4739"/>
                </a:lnTo>
                <a:lnTo>
                  <a:pt x="1145" y="4740"/>
                </a:lnTo>
                <a:lnTo>
                  <a:pt x="1133" y="4743"/>
                </a:lnTo>
                <a:lnTo>
                  <a:pt x="1123" y="4747"/>
                </a:lnTo>
                <a:lnTo>
                  <a:pt x="1116" y="4753"/>
                </a:lnTo>
                <a:lnTo>
                  <a:pt x="1110" y="4763"/>
                </a:lnTo>
                <a:lnTo>
                  <a:pt x="1109" y="4776"/>
                </a:lnTo>
                <a:lnTo>
                  <a:pt x="1123" y="4776"/>
                </a:lnTo>
                <a:lnTo>
                  <a:pt x="1136" y="4773"/>
                </a:lnTo>
                <a:lnTo>
                  <a:pt x="1147" y="4771"/>
                </a:lnTo>
                <a:lnTo>
                  <a:pt x="1158" y="4767"/>
                </a:lnTo>
                <a:lnTo>
                  <a:pt x="1167" y="4762"/>
                </a:lnTo>
                <a:lnTo>
                  <a:pt x="1174" y="4756"/>
                </a:lnTo>
                <a:lnTo>
                  <a:pt x="1181" y="4748"/>
                </a:lnTo>
                <a:lnTo>
                  <a:pt x="1186" y="4738"/>
                </a:lnTo>
                <a:lnTo>
                  <a:pt x="1186" y="4738"/>
                </a:lnTo>
                <a:close/>
                <a:moveTo>
                  <a:pt x="1286" y="5355"/>
                </a:moveTo>
                <a:lnTo>
                  <a:pt x="1275" y="5379"/>
                </a:lnTo>
                <a:lnTo>
                  <a:pt x="1263" y="5402"/>
                </a:lnTo>
                <a:lnTo>
                  <a:pt x="1259" y="5415"/>
                </a:lnTo>
                <a:lnTo>
                  <a:pt x="1254" y="5428"/>
                </a:lnTo>
                <a:lnTo>
                  <a:pt x="1251" y="5442"/>
                </a:lnTo>
                <a:lnTo>
                  <a:pt x="1248" y="5457"/>
                </a:lnTo>
                <a:lnTo>
                  <a:pt x="1270" y="5447"/>
                </a:lnTo>
                <a:lnTo>
                  <a:pt x="1291" y="5443"/>
                </a:lnTo>
                <a:lnTo>
                  <a:pt x="1316" y="5440"/>
                </a:lnTo>
                <a:lnTo>
                  <a:pt x="1338" y="5439"/>
                </a:lnTo>
                <a:lnTo>
                  <a:pt x="1360" y="5435"/>
                </a:lnTo>
                <a:lnTo>
                  <a:pt x="1378" y="5425"/>
                </a:lnTo>
                <a:lnTo>
                  <a:pt x="1392" y="5409"/>
                </a:lnTo>
                <a:lnTo>
                  <a:pt x="1400" y="5381"/>
                </a:lnTo>
                <a:lnTo>
                  <a:pt x="1378" y="5384"/>
                </a:lnTo>
                <a:lnTo>
                  <a:pt x="1360" y="5386"/>
                </a:lnTo>
                <a:lnTo>
                  <a:pt x="1347" y="5386"/>
                </a:lnTo>
                <a:lnTo>
                  <a:pt x="1336" y="5383"/>
                </a:lnTo>
                <a:lnTo>
                  <a:pt x="1314" y="5372"/>
                </a:lnTo>
                <a:lnTo>
                  <a:pt x="1286" y="5355"/>
                </a:lnTo>
                <a:close/>
                <a:moveTo>
                  <a:pt x="1336" y="5545"/>
                </a:moveTo>
                <a:lnTo>
                  <a:pt x="1303" y="5563"/>
                </a:lnTo>
                <a:lnTo>
                  <a:pt x="1267" y="5579"/>
                </a:lnTo>
                <a:lnTo>
                  <a:pt x="1231" y="5596"/>
                </a:lnTo>
                <a:lnTo>
                  <a:pt x="1196" y="5612"/>
                </a:lnTo>
                <a:lnTo>
                  <a:pt x="1161" y="5630"/>
                </a:lnTo>
                <a:lnTo>
                  <a:pt x="1128" y="5649"/>
                </a:lnTo>
                <a:lnTo>
                  <a:pt x="1099" y="5671"/>
                </a:lnTo>
                <a:lnTo>
                  <a:pt x="1072" y="5696"/>
                </a:lnTo>
                <a:lnTo>
                  <a:pt x="1116" y="5691"/>
                </a:lnTo>
                <a:lnTo>
                  <a:pt x="1154" y="5680"/>
                </a:lnTo>
                <a:lnTo>
                  <a:pt x="1188" y="5666"/>
                </a:lnTo>
                <a:lnTo>
                  <a:pt x="1220" y="5649"/>
                </a:lnTo>
                <a:lnTo>
                  <a:pt x="1253" y="5633"/>
                </a:lnTo>
                <a:lnTo>
                  <a:pt x="1285" y="5616"/>
                </a:lnTo>
                <a:lnTo>
                  <a:pt x="1322" y="5603"/>
                </a:lnTo>
                <a:lnTo>
                  <a:pt x="1361" y="5594"/>
                </a:lnTo>
                <a:lnTo>
                  <a:pt x="1361" y="5601"/>
                </a:lnTo>
                <a:lnTo>
                  <a:pt x="1359" y="5605"/>
                </a:lnTo>
                <a:lnTo>
                  <a:pt x="1356" y="5608"/>
                </a:lnTo>
                <a:lnTo>
                  <a:pt x="1354" y="5612"/>
                </a:lnTo>
                <a:lnTo>
                  <a:pt x="1351" y="5616"/>
                </a:lnTo>
                <a:lnTo>
                  <a:pt x="1350" y="5621"/>
                </a:lnTo>
                <a:lnTo>
                  <a:pt x="1349" y="5626"/>
                </a:lnTo>
                <a:lnTo>
                  <a:pt x="1349" y="5633"/>
                </a:lnTo>
                <a:lnTo>
                  <a:pt x="1368" y="5630"/>
                </a:lnTo>
                <a:lnTo>
                  <a:pt x="1378" y="5621"/>
                </a:lnTo>
                <a:lnTo>
                  <a:pt x="1380" y="5608"/>
                </a:lnTo>
                <a:lnTo>
                  <a:pt x="1382" y="5594"/>
                </a:lnTo>
                <a:lnTo>
                  <a:pt x="1384" y="5582"/>
                </a:lnTo>
                <a:lnTo>
                  <a:pt x="1392" y="5572"/>
                </a:lnTo>
                <a:lnTo>
                  <a:pt x="1408" y="5566"/>
                </a:lnTo>
                <a:lnTo>
                  <a:pt x="1438" y="5570"/>
                </a:lnTo>
                <a:lnTo>
                  <a:pt x="1433" y="5580"/>
                </a:lnTo>
                <a:lnTo>
                  <a:pt x="1430" y="5589"/>
                </a:lnTo>
                <a:lnTo>
                  <a:pt x="1429" y="5593"/>
                </a:lnTo>
                <a:lnTo>
                  <a:pt x="1430" y="5597"/>
                </a:lnTo>
                <a:lnTo>
                  <a:pt x="1433" y="5602"/>
                </a:lnTo>
                <a:lnTo>
                  <a:pt x="1438" y="5607"/>
                </a:lnTo>
                <a:lnTo>
                  <a:pt x="1458" y="5607"/>
                </a:lnTo>
                <a:lnTo>
                  <a:pt x="1475" y="5605"/>
                </a:lnTo>
                <a:lnTo>
                  <a:pt x="1489" y="5598"/>
                </a:lnTo>
                <a:lnTo>
                  <a:pt x="1503" y="5591"/>
                </a:lnTo>
                <a:lnTo>
                  <a:pt x="1515" y="5583"/>
                </a:lnTo>
                <a:lnTo>
                  <a:pt x="1528" y="5577"/>
                </a:lnTo>
                <a:lnTo>
                  <a:pt x="1545" y="5572"/>
                </a:lnTo>
                <a:lnTo>
                  <a:pt x="1564" y="5570"/>
                </a:lnTo>
                <a:lnTo>
                  <a:pt x="1570" y="5583"/>
                </a:lnTo>
                <a:lnTo>
                  <a:pt x="1579" y="5592"/>
                </a:lnTo>
                <a:lnTo>
                  <a:pt x="1591" y="5600"/>
                </a:lnTo>
                <a:lnTo>
                  <a:pt x="1605" y="5605"/>
                </a:lnTo>
                <a:lnTo>
                  <a:pt x="1620" y="5608"/>
                </a:lnTo>
                <a:lnTo>
                  <a:pt x="1638" y="5610"/>
                </a:lnTo>
                <a:lnTo>
                  <a:pt x="1657" y="5610"/>
                </a:lnTo>
                <a:lnTo>
                  <a:pt x="1677" y="5607"/>
                </a:lnTo>
                <a:lnTo>
                  <a:pt x="1675" y="5593"/>
                </a:lnTo>
                <a:lnTo>
                  <a:pt x="1676" y="5582"/>
                </a:lnTo>
                <a:lnTo>
                  <a:pt x="1681" y="5574"/>
                </a:lnTo>
                <a:lnTo>
                  <a:pt x="1687" y="5568"/>
                </a:lnTo>
                <a:lnTo>
                  <a:pt x="1694" y="5561"/>
                </a:lnTo>
                <a:lnTo>
                  <a:pt x="1699" y="5554"/>
                </a:lnTo>
                <a:lnTo>
                  <a:pt x="1703" y="5545"/>
                </a:lnTo>
                <a:lnTo>
                  <a:pt x="1703" y="5532"/>
                </a:lnTo>
                <a:lnTo>
                  <a:pt x="1694" y="5532"/>
                </a:lnTo>
                <a:lnTo>
                  <a:pt x="1687" y="5533"/>
                </a:lnTo>
                <a:lnTo>
                  <a:pt x="1682" y="5535"/>
                </a:lnTo>
                <a:lnTo>
                  <a:pt x="1676" y="5538"/>
                </a:lnTo>
                <a:lnTo>
                  <a:pt x="1671" y="5541"/>
                </a:lnTo>
                <a:lnTo>
                  <a:pt x="1666" y="5544"/>
                </a:lnTo>
                <a:lnTo>
                  <a:pt x="1659" y="5545"/>
                </a:lnTo>
                <a:lnTo>
                  <a:pt x="1652" y="5545"/>
                </a:lnTo>
                <a:lnTo>
                  <a:pt x="1647" y="5526"/>
                </a:lnTo>
                <a:lnTo>
                  <a:pt x="1643" y="5514"/>
                </a:lnTo>
                <a:lnTo>
                  <a:pt x="1639" y="5510"/>
                </a:lnTo>
                <a:lnTo>
                  <a:pt x="1634" y="5507"/>
                </a:lnTo>
                <a:lnTo>
                  <a:pt x="1625" y="5502"/>
                </a:lnTo>
                <a:lnTo>
                  <a:pt x="1614" y="5494"/>
                </a:lnTo>
                <a:lnTo>
                  <a:pt x="1639" y="5470"/>
                </a:lnTo>
                <a:lnTo>
                  <a:pt x="1671" y="5452"/>
                </a:lnTo>
                <a:lnTo>
                  <a:pt x="1706" y="5439"/>
                </a:lnTo>
                <a:lnTo>
                  <a:pt x="1743" y="5429"/>
                </a:lnTo>
                <a:lnTo>
                  <a:pt x="1780" y="5420"/>
                </a:lnTo>
                <a:lnTo>
                  <a:pt x="1815" y="5411"/>
                </a:lnTo>
                <a:lnTo>
                  <a:pt x="1844" y="5398"/>
                </a:lnTo>
                <a:lnTo>
                  <a:pt x="1866" y="5381"/>
                </a:lnTo>
                <a:lnTo>
                  <a:pt x="1807" y="5373"/>
                </a:lnTo>
                <a:lnTo>
                  <a:pt x="1749" y="5382"/>
                </a:lnTo>
                <a:lnTo>
                  <a:pt x="1691" y="5401"/>
                </a:lnTo>
                <a:lnTo>
                  <a:pt x="1635" y="5426"/>
                </a:lnTo>
                <a:lnTo>
                  <a:pt x="1578" y="5454"/>
                </a:lnTo>
                <a:lnTo>
                  <a:pt x="1519" y="5477"/>
                </a:lnTo>
                <a:lnTo>
                  <a:pt x="1461" y="5493"/>
                </a:lnTo>
                <a:lnTo>
                  <a:pt x="1400" y="5494"/>
                </a:lnTo>
                <a:lnTo>
                  <a:pt x="1454" y="5476"/>
                </a:lnTo>
                <a:lnTo>
                  <a:pt x="1507" y="5457"/>
                </a:lnTo>
                <a:lnTo>
                  <a:pt x="1531" y="5444"/>
                </a:lnTo>
                <a:lnTo>
                  <a:pt x="1554" y="5430"/>
                </a:lnTo>
                <a:lnTo>
                  <a:pt x="1573" y="5414"/>
                </a:lnTo>
                <a:lnTo>
                  <a:pt x="1588" y="5393"/>
                </a:lnTo>
                <a:lnTo>
                  <a:pt x="1528" y="5406"/>
                </a:lnTo>
                <a:lnTo>
                  <a:pt x="1470" y="5423"/>
                </a:lnTo>
                <a:lnTo>
                  <a:pt x="1414" y="5440"/>
                </a:lnTo>
                <a:lnTo>
                  <a:pt x="1360" y="5461"/>
                </a:lnTo>
                <a:lnTo>
                  <a:pt x="1309" y="5484"/>
                </a:lnTo>
                <a:lnTo>
                  <a:pt x="1261" y="5509"/>
                </a:lnTo>
                <a:lnTo>
                  <a:pt x="1215" y="5538"/>
                </a:lnTo>
                <a:lnTo>
                  <a:pt x="1173" y="5570"/>
                </a:lnTo>
                <a:lnTo>
                  <a:pt x="1200" y="5574"/>
                </a:lnTo>
                <a:lnTo>
                  <a:pt x="1224" y="5570"/>
                </a:lnTo>
                <a:lnTo>
                  <a:pt x="1247" y="5564"/>
                </a:lnTo>
                <a:lnTo>
                  <a:pt x="1267" y="5554"/>
                </a:lnTo>
                <a:lnTo>
                  <a:pt x="1286" y="5545"/>
                </a:lnTo>
                <a:lnTo>
                  <a:pt x="1304" y="5540"/>
                </a:lnTo>
                <a:lnTo>
                  <a:pt x="1321" y="5538"/>
                </a:lnTo>
                <a:lnTo>
                  <a:pt x="1336" y="5545"/>
                </a:lnTo>
                <a:close/>
                <a:moveTo>
                  <a:pt x="16846" y="5620"/>
                </a:moveTo>
                <a:lnTo>
                  <a:pt x="16847" y="5629"/>
                </a:lnTo>
                <a:lnTo>
                  <a:pt x="16848" y="5636"/>
                </a:lnTo>
                <a:lnTo>
                  <a:pt x="16850" y="5640"/>
                </a:lnTo>
                <a:lnTo>
                  <a:pt x="16851" y="5643"/>
                </a:lnTo>
                <a:lnTo>
                  <a:pt x="16855" y="5645"/>
                </a:lnTo>
                <a:lnTo>
                  <a:pt x="16859" y="5645"/>
                </a:lnTo>
                <a:lnTo>
                  <a:pt x="16857" y="5638"/>
                </a:lnTo>
                <a:lnTo>
                  <a:pt x="16859" y="5631"/>
                </a:lnTo>
                <a:lnTo>
                  <a:pt x="16861" y="5625"/>
                </a:lnTo>
                <a:lnTo>
                  <a:pt x="16864" y="5620"/>
                </a:lnTo>
                <a:lnTo>
                  <a:pt x="16866" y="5615"/>
                </a:lnTo>
                <a:lnTo>
                  <a:pt x="16869" y="5610"/>
                </a:lnTo>
                <a:lnTo>
                  <a:pt x="16870" y="5603"/>
                </a:lnTo>
                <a:lnTo>
                  <a:pt x="16870" y="5594"/>
                </a:lnTo>
                <a:lnTo>
                  <a:pt x="16853" y="5596"/>
                </a:lnTo>
                <a:lnTo>
                  <a:pt x="16836" y="5598"/>
                </a:lnTo>
                <a:lnTo>
                  <a:pt x="16820" y="5603"/>
                </a:lnTo>
                <a:lnTo>
                  <a:pt x="16808" y="5610"/>
                </a:lnTo>
                <a:lnTo>
                  <a:pt x="16803" y="5615"/>
                </a:lnTo>
                <a:lnTo>
                  <a:pt x="16805" y="5619"/>
                </a:lnTo>
                <a:lnTo>
                  <a:pt x="16819" y="5621"/>
                </a:lnTo>
                <a:lnTo>
                  <a:pt x="16846" y="5620"/>
                </a:lnTo>
                <a:lnTo>
                  <a:pt x="16846" y="5620"/>
                </a:lnTo>
                <a:close/>
                <a:moveTo>
                  <a:pt x="1336" y="4789"/>
                </a:moveTo>
                <a:lnTo>
                  <a:pt x="1274" y="4808"/>
                </a:lnTo>
                <a:lnTo>
                  <a:pt x="1211" y="4827"/>
                </a:lnTo>
                <a:lnTo>
                  <a:pt x="1147" y="4845"/>
                </a:lnTo>
                <a:lnTo>
                  <a:pt x="1085" y="4865"/>
                </a:lnTo>
                <a:lnTo>
                  <a:pt x="1025" y="4887"/>
                </a:lnTo>
                <a:lnTo>
                  <a:pt x="969" y="4912"/>
                </a:lnTo>
                <a:lnTo>
                  <a:pt x="917" y="4943"/>
                </a:lnTo>
                <a:lnTo>
                  <a:pt x="870" y="4977"/>
                </a:lnTo>
                <a:lnTo>
                  <a:pt x="935" y="4961"/>
                </a:lnTo>
                <a:lnTo>
                  <a:pt x="1001" y="4945"/>
                </a:lnTo>
                <a:lnTo>
                  <a:pt x="1067" y="4929"/>
                </a:lnTo>
                <a:lnTo>
                  <a:pt x="1131" y="4911"/>
                </a:lnTo>
                <a:lnTo>
                  <a:pt x="1192" y="4889"/>
                </a:lnTo>
                <a:lnTo>
                  <a:pt x="1248" y="4864"/>
                </a:lnTo>
                <a:lnTo>
                  <a:pt x="1296" y="4831"/>
                </a:lnTo>
                <a:lnTo>
                  <a:pt x="1336" y="4789"/>
                </a:lnTo>
                <a:close/>
                <a:moveTo>
                  <a:pt x="1513" y="5305"/>
                </a:moveTo>
                <a:lnTo>
                  <a:pt x="1536" y="5299"/>
                </a:lnTo>
                <a:lnTo>
                  <a:pt x="1559" y="5294"/>
                </a:lnTo>
                <a:lnTo>
                  <a:pt x="1569" y="5290"/>
                </a:lnTo>
                <a:lnTo>
                  <a:pt x="1578" y="5285"/>
                </a:lnTo>
                <a:lnTo>
                  <a:pt x="1584" y="5277"/>
                </a:lnTo>
                <a:lnTo>
                  <a:pt x="1588" y="5267"/>
                </a:lnTo>
                <a:lnTo>
                  <a:pt x="1573" y="5266"/>
                </a:lnTo>
                <a:lnTo>
                  <a:pt x="1560" y="5266"/>
                </a:lnTo>
                <a:lnTo>
                  <a:pt x="1549" y="5270"/>
                </a:lnTo>
                <a:lnTo>
                  <a:pt x="1538" y="5274"/>
                </a:lnTo>
                <a:lnTo>
                  <a:pt x="1529" y="5280"/>
                </a:lnTo>
                <a:lnTo>
                  <a:pt x="1523" y="5286"/>
                </a:lnTo>
                <a:lnTo>
                  <a:pt x="1518" y="5295"/>
                </a:lnTo>
                <a:lnTo>
                  <a:pt x="1513" y="5305"/>
                </a:lnTo>
                <a:close/>
                <a:moveTo>
                  <a:pt x="2017" y="5229"/>
                </a:moveTo>
                <a:lnTo>
                  <a:pt x="2053" y="5220"/>
                </a:lnTo>
                <a:lnTo>
                  <a:pt x="2090" y="5211"/>
                </a:lnTo>
                <a:lnTo>
                  <a:pt x="2127" y="5202"/>
                </a:lnTo>
                <a:lnTo>
                  <a:pt x="2162" y="5191"/>
                </a:lnTo>
                <a:lnTo>
                  <a:pt x="2194" y="5178"/>
                </a:lnTo>
                <a:lnTo>
                  <a:pt x="2225" y="5163"/>
                </a:lnTo>
                <a:lnTo>
                  <a:pt x="2250" y="5143"/>
                </a:lnTo>
                <a:lnTo>
                  <a:pt x="2269" y="5116"/>
                </a:lnTo>
                <a:lnTo>
                  <a:pt x="2234" y="5126"/>
                </a:lnTo>
                <a:lnTo>
                  <a:pt x="2198" y="5136"/>
                </a:lnTo>
                <a:lnTo>
                  <a:pt x="2161" y="5145"/>
                </a:lnTo>
                <a:lnTo>
                  <a:pt x="2127" y="5155"/>
                </a:lnTo>
                <a:lnTo>
                  <a:pt x="2094" y="5168"/>
                </a:lnTo>
                <a:lnTo>
                  <a:pt x="2063" y="5185"/>
                </a:lnTo>
                <a:lnTo>
                  <a:pt x="2038" y="5204"/>
                </a:lnTo>
                <a:lnTo>
                  <a:pt x="2017" y="5229"/>
                </a:lnTo>
                <a:close/>
                <a:moveTo>
                  <a:pt x="2459" y="5053"/>
                </a:moveTo>
                <a:lnTo>
                  <a:pt x="2432" y="5059"/>
                </a:lnTo>
                <a:lnTo>
                  <a:pt x="2407" y="5064"/>
                </a:lnTo>
                <a:lnTo>
                  <a:pt x="2383" y="5071"/>
                </a:lnTo>
                <a:lnTo>
                  <a:pt x="2360" y="5080"/>
                </a:lnTo>
                <a:lnTo>
                  <a:pt x="2338" y="5090"/>
                </a:lnTo>
                <a:lnTo>
                  <a:pt x="2318" y="5102"/>
                </a:lnTo>
                <a:lnTo>
                  <a:pt x="2300" y="5115"/>
                </a:lnTo>
                <a:lnTo>
                  <a:pt x="2282" y="5129"/>
                </a:lnTo>
                <a:lnTo>
                  <a:pt x="2309" y="5123"/>
                </a:lnTo>
                <a:lnTo>
                  <a:pt x="2333" y="5117"/>
                </a:lnTo>
                <a:lnTo>
                  <a:pt x="2357" y="5108"/>
                </a:lnTo>
                <a:lnTo>
                  <a:pt x="2379" y="5099"/>
                </a:lnTo>
                <a:lnTo>
                  <a:pt x="2420" y="5076"/>
                </a:lnTo>
                <a:lnTo>
                  <a:pt x="2459" y="5053"/>
                </a:lnTo>
                <a:close/>
                <a:moveTo>
                  <a:pt x="1438" y="5205"/>
                </a:moveTo>
                <a:lnTo>
                  <a:pt x="1485" y="5188"/>
                </a:lnTo>
                <a:lnTo>
                  <a:pt x="1532" y="5173"/>
                </a:lnTo>
                <a:lnTo>
                  <a:pt x="1555" y="5165"/>
                </a:lnTo>
                <a:lnTo>
                  <a:pt x="1577" y="5155"/>
                </a:lnTo>
                <a:lnTo>
                  <a:pt x="1597" y="5143"/>
                </a:lnTo>
                <a:lnTo>
                  <a:pt x="1614" y="5129"/>
                </a:lnTo>
                <a:lnTo>
                  <a:pt x="1580" y="5125"/>
                </a:lnTo>
                <a:lnTo>
                  <a:pt x="1547" y="5125"/>
                </a:lnTo>
                <a:lnTo>
                  <a:pt x="1518" y="5129"/>
                </a:lnTo>
                <a:lnTo>
                  <a:pt x="1491" y="5136"/>
                </a:lnTo>
                <a:lnTo>
                  <a:pt x="1468" y="5148"/>
                </a:lnTo>
                <a:lnTo>
                  <a:pt x="1452" y="5163"/>
                </a:lnTo>
                <a:lnTo>
                  <a:pt x="1440" y="5182"/>
                </a:lnTo>
                <a:lnTo>
                  <a:pt x="1438" y="5205"/>
                </a:lnTo>
                <a:close/>
                <a:moveTo>
                  <a:pt x="2220" y="4964"/>
                </a:moveTo>
                <a:lnTo>
                  <a:pt x="2180" y="4982"/>
                </a:lnTo>
                <a:lnTo>
                  <a:pt x="2143" y="5003"/>
                </a:lnTo>
                <a:lnTo>
                  <a:pt x="2105" y="5022"/>
                </a:lnTo>
                <a:lnTo>
                  <a:pt x="2068" y="5041"/>
                </a:lnTo>
                <a:lnTo>
                  <a:pt x="2096" y="5043"/>
                </a:lnTo>
                <a:lnTo>
                  <a:pt x="2122" y="5043"/>
                </a:lnTo>
                <a:lnTo>
                  <a:pt x="2145" y="5041"/>
                </a:lnTo>
                <a:lnTo>
                  <a:pt x="2165" y="5034"/>
                </a:lnTo>
                <a:lnTo>
                  <a:pt x="2183" y="5024"/>
                </a:lnTo>
                <a:lnTo>
                  <a:pt x="2198" y="5010"/>
                </a:lnTo>
                <a:lnTo>
                  <a:pt x="2210" y="4990"/>
                </a:lnTo>
                <a:lnTo>
                  <a:pt x="2220" y="4964"/>
                </a:lnTo>
                <a:close/>
                <a:moveTo>
                  <a:pt x="18094" y="4990"/>
                </a:moveTo>
                <a:lnTo>
                  <a:pt x="18093" y="4995"/>
                </a:lnTo>
                <a:lnTo>
                  <a:pt x="18090" y="4999"/>
                </a:lnTo>
                <a:lnTo>
                  <a:pt x="18088" y="5003"/>
                </a:lnTo>
                <a:lnTo>
                  <a:pt x="18085" y="5006"/>
                </a:lnTo>
                <a:lnTo>
                  <a:pt x="18077" y="5011"/>
                </a:lnTo>
                <a:lnTo>
                  <a:pt x="18068" y="5015"/>
                </a:lnTo>
                <a:lnTo>
                  <a:pt x="18049" y="5018"/>
                </a:lnTo>
                <a:lnTo>
                  <a:pt x="18045" y="5022"/>
                </a:lnTo>
                <a:lnTo>
                  <a:pt x="18052" y="5024"/>
                </a:lnTo>
                <a:lnTo>
                  <a:pt x="18067" y="5025"/>
                </a:lnTo>
                <a:lnTo>
                  <a:pt x="18088" y="5027"/>
                </a:lnTo>
                <a:lnTo>
                  <a:pt x="18109" y="5028"/>
                </a:lnTo>
                <a:lnTo>
                  <a:pt x="18130" y="5028"/>
                </a:lnTo>
                <a:lnTo>
                  <a:pt x="18144" y="5028"/>
                </a:lnTo>
                <a:lnTo>
                  <a:pt x="18177" y="5024"/>
                </a:lnTo>
                <a:lnTo>
                  <a:pt x="18214" y="5018"/>
                </a:lnTo>
                <a:lnTo>
                  <a:pt x="18252" y="5010"/>
                </a:lnTo>
                <a:lnTo>
                  <a:pt x="18290" y="5000"/>
                </a:lnTo>
                <a:lnTo>
                  <a:pt x="18324" y="4987"/>
                </a:lnTo>
                <a:lnTo>
                  <a:pt x="18352" y="4973"/>
                </a:lnTo>
                <a:lnTo>
                  <a:pt x="18373" y="4957"/>
                </a:lnTo>
                <a:lnTo>
                  <a:pt x="18384" y="4940"/>
                </a:lnTo>
                <a:lnTo>
                  <a:pt x="18340" y="4941"/>
                </a:lnTo>
                <a:lnTo>
                  <a:pt x="18301" y="4950"/>
                </a:lnTo>
                <a:lnTo>
                  <a:pt x="18267" y="4962"/>
                </a:lnTo>
                <a:lnTo>
                  <a:pt x="18235" y="4975"/>
                </a:lnTo>
                <a:lnTo>
                  <a:pt x="18203" y="4986"/>
                </a:lnTo>
                <a:lnTo>
                  <a:pt x="18170" y="4994"/>
                </a:lnTo>
                <a:lnTo>
                  <a:pt x="18135" y="4996"/>
                </a:lnTo>
                <a:lnTo>
                  <a:pt x="18094" y="4990"/>
                </a:lnTo>
                <a:close/>
                <a:moveTo>
                  <a:pt x="5359" y="7322"/>
                </a:moveTo>
                <a:lnTo>
                  <a:pt x="5375" y="7327"/>
                </a:lnTo>
                <a:lnTo>
                  <a:pt x="5393" y="7327"/>
                </a:lnTo>
                <a:lnTo>
                  <a:pt x="5412" y="7323"/>
                </a:lnTo>
                <a:lnTo>
                  <a:pt x="5433" y="7315"/>
                </a:lnTo>
                <a:lnTo>
                  <a:pt x="5452" y="7307"/>
                </a:lnTo>
                <a:lnTo>
                  <a:pt x="5470" y="7295"/>
                </a:lnTo>
                <a:lnTo>
                  <a:pt x="5485" y="7284"/>
                </a:lnTo>
                <a:lnTo>
                  <a:pt x="5498" y="7271"/>
                </a:lnTo>
                <a:lnTo>
                  <a:pt x="5457" y="7279"/>
                </a:lnTo>
                <a:lnTo>
                  <a:pt x="5416" y="7285"/>
                </a:lnTo>
                <a:lnTo>
                  <a:pt x="5397" y="7290"/>
                </a:lnTo>
                <a:lnTo>
                  <a:pt x="5381" y="7296"/>
                </a:lnTo>
                <a:lnTo>
                  <a:pt x="5368" y="7308"/>
                </a:lnTo>
                <a:lnTo>
                  <a:pt x="5359" y="7322"/>
                </a:lnTo>
                <a:lnTo>
                  <a:pt x="5359" y="7322"/>
                </a:lnTo>
                <a:close/>
                <a:moveTo>
                  <a:pt x="8688" y="7410"/>
                </a:moveTo>
                <a:lnTo>
                  <a:pt x="8715" y="7419"/>
                </a:lnTo>
                <a:lnTo>
                  <a:pt x="8739" y="7417"/>
                </a:lnTo>
                <a:lnTo>
                  <a:pt x="8762" y="7408"/>
                </a:lnTo>
                <a:lnTo>
                  <a:pt x="8785" y="7397"/>
                </a:lnTo>
                <a:lnTo>
                  <a:pt x="8809" y="7384"/>
                </a:lnTo>
                <a:lnTo>
                  <a:pt x="8836" y="7373"/>
                </a:lnTo>
                <a:lnTo>
                  <a:pt x="8866" y="7369"/>
                </a:lnTo>
                <a:lnTo>
                  <a:pt x="8902" y="7373"/>
                </a:lnTo>
                <a:lnTo>
                  <a:pt x="8886" y="7350"/>
                </a:lnTo>
                <a:lnTo>
                  <a:pt x="8861" y="7340"/>
                </a:lnTo>
                <a:lnTo>
                  <a:pt x="8829" y="7340"/>
                </a:lnTo>
                <a:lnTo>
                  <a:pt x="8795" y="7346"/>
                </a:lnTo>
                <a:lnTo>
                  <a:pt x="8760" y="7359"/>
                </a:lnTo>
                <a:lnTo>
                  <a:pt x="8729" y="7375"/>
                </a:lnTo>
                <a:lnTo>
                  <a:pt x="8703" y="7393"/>
                </a:lnTo>
                <a:lnTo>
                  <a:pt x="8688" y="7410"/>
                </a:lnTo>
                <a:close/>
                <a:moveTo>
                  <a:pt x="8397" y="7499"/>
                </a:moveTo>
                <a:lnTo>
                  <a:pt x="8415" y="7499"/>
                </a:lnTo>
                <a:lnTo>
                  <a:pt x="8431" y="7497"/>
                </a:lnTo>
                <a:lnTo>
                  <a:pt x="8445" y="7494"/>
                </a:lnTo>
                <a:lnTo>
                  <a:pt x="8457" y="7489"/>
                </a:lnTo>
                <a:lnTo>
                  <a:pt x="8469" y="7483"/>
                </a:lnTo>
                <a:lnTo>
                  <a:pt x="8480" y="7476"/>
                </a:lnTo>
                <a:lnTo>
                  <a:pt x="8489" y="7468"/>
                </a:lnTo>
                <a:lnTo>
                  <a:pt x="8498" y="7461"/>
                </a:lnTo>
                <a:lnTo>
                  <a:pt x="8485" y="7454"/>
                </a:lnTo>
                <a:lnTo>
                  <a:pt x="8471" y="7452"/>
                </a:lnTo>
                <a:lnTo>
                  <a:pt x="8457" y="7454"/>
                </a:lnTo>
                <a:lnTo>
                  <a:pt x="8443" y="7459"/>
                </a:lnTo>
                <a:lnTo>
                  <a:pt x="8429" y="7467"/>
                </a:lnTo>
                <a:lnTo>
                  <a:pt x="8417" y="7477"/>
                </a:lnTo>
                <a:lnTo>
                  <a:pt x="8405" y="7487"/>
                </a:lnTo>
                <a:lnTo>
                  <a:pt x="8397" y="7499"/>
                </a:lnTo>
                <a:close/>
                <a:moveTo>
                  <a:pt x="9987" y="7057"/>
                </a:moveTo>
                <a:lnTo>
                  <a:pt x="9947" y="7051"/>
                </a:lnTo>
                <a:lnTo>
                  <a:pt x="9904" y="7051"/>
                </a:lnTo>
                <a:lnTo>
                  <a:pt x="9861" y="7057"/>
                </a:lnTo>
                <a:lnTo>
                  <a:pt x="9816" y="7067"/>
                </a:lnTo>
                <a:lnTo>
                  <a:pt x="9774" y="7082"/>
                </a:lnTo>
                <a:lnTo>
                  <a:pt x="9735" y="7100"/>
                </a:lnTo>
                <a:lnTo>
                  <a:pt x="9700" y="7122"/>
                </a:lnTo>
                <a:lnTo>
                  <a:pt x="9671" y="7145"/>
                </a:lnTo>
                <a:lnTo>
                  <a:pt x="9696" y="7144"/>
                </a:lnTo>
                <a:lnTo>
                  <a:pt x="9717" y="7137"/>
                </a:lnTo>
                <a:lnTo>
                  <a:pt x="9732" y="7130"/>
                </a:lnTo>
                <a:lnTo>
                  <a:pt x="9746" y="7121"/>
                </a:lnTo>
                <a:lnTo>
                  <a:pt x="9759" y="7116"/>
                </a:lnTo>
                <a:lnTo>
                  <a:pt x="9773" y="7113"/>
                </a:lnTo>
                <a:lnTo>
                  <a:pt x="9789" y="7119"/>
                </a:lnTo>
                <a:lnTo>
                  <a:pt x="9810" y="7132"/>
                </a:lnTo>
                <a:lnTo>
                  <a:pt x="9824" y="7119"/>
                </a:lnTo>
                <a:lnTo>
                  <a:pt x="9839" y="7108"/>
                </a:lnTo>
                <a:lnTo>
                  <a:pt x="9857" y="7098"/>
                </a:lnTo>
                <a:lnTo>
                  <a:pt x="9876" y="7090"/>
                </a:lnTo>
                <a:lnTo>
                  <a:pt x="9895" y="7086"/>
                </a:lnTo>
                <a:lnTo>
                  <a:pt x="9914" y="7088"/>
                </a:lnTo>
                <a:lnTo>
                  <a:pt x="9932" y="7095"/>
                </a:lnTo>
                <a:lnTo>
                  <a:pt x="9949" y="7108"/>
                </a:lnTo>
                <a:lnTo>
                  <a:pt x="9947" y="7095"/>
                </a:lnTo>
                <a:lnTo>
                  <a:pt x="9950" y="7088"/>
                </a:lnTo>
                <a:lnTo>
                  <a:pt x="9956" y="7082"/>
                </a:lnTo>
                <a:lnTo>
                  <a:pt x="9965" y="7080"/>
                </a:lnTo>
                <a:lnTo>
                  <a:pt x="9973" y="7077"/>
                </a:lnTo>
                <a:lnTo>
                  <a:pt x="9980" y="7074"/>
                </a:lnTo>
                <a:lnTo>
                  <a:pt x="9986" y="7067"/>
                </a:lnTo>
                <a:lnTo>
                  <a:pt x="9987" y="7057"/>
                </a:lnTo>
                <a:close/>
                <a:moveTo>
                  <a:pt x="9470" y="7183"/>
                </a:moveTo>
                <a:lnTo>
                  <a:pt x="9392" y="7202"/>
                </a:lnTo>
                <a:lnTo>
                  <a:pt x="9317" y="7217"/>
                </a:lnTo>
                <a:lnTo>
                  <a:pt x="9244" y="7234"/>
                </a:lnTo>
                <a:lnTo>
                  <a:pt x="9173" y="7251"/>
                </a:lnTo>
                <a:lnTo>
                  <a:pt x="9106" y="7270"/>
                </a:lnTo>
                <a:lnTo>
                  <a:pt x="9039" y="7293"/>
                </a:lnTo>
                <a:lnTo>
                  <a:pt x="8976" y="7323"/>
                </a:lnTo>
                <a:lnTo>
                  <a:pt x="8915" y="7360"/>
                </a:lnTo>
                <a:lnTo>
                  <a:pt x="8982" y="7338"/>
                </a:lnTo>
                <a:lnTo>
                  <a:pt x="9053" y="7321"/>
                </a:lnTo>
                <a:lnTo>
                  <a:pt x="9126" y="7304"/>
                </a:lnTo>
                <a:lnTo>
                  <a:pt x="9198" y="7287"/>
                </a:lnTo>
                <a:lnTo>
                  <a:pt x="9270" y="7268"/>
                </a:lnTo>
                <a:lnTo>
                  <a:pt x="9340" y="7245"/>
                </a:lnTo>
                <a:lnTo>
                  <a:pt x="9407" y="7217"/>
                </a:lnTo>
                <a:lnTo>
                  <a:pt x="9470" y="7183"/>
                </a:lnTo>
                <a:close/>
                <a:moveTo>
                  <a:pt x="10239" y="6995"/>
                </a:moveTo>
                <a:lnTo>
                  <a:pt x="10275" y="6984"/>
                </a:lnTo>
                <a:lnTo>
                  <a:pt x="10312" y="6976"/>
                </a:lnTo>
                <a:lnTo>
                  <a:pt x="10348" y="6967"/>
                </a:lnTo>
                <a:lnTo>
                  <a:pt x="10385" y="6958"/>
                </a:lnTo>
                <a:lnTo>
                  <a:pt x="10420" y="6948"/>
                </a:lnTo>
                <a:lnTo>
                  <a:pt x="10454" y="6936"/>
                </a:lnTo>
                <a:lnTo>
                  <a:pt x="10486" y="6922"/>
                </a:lnTo>
                <a:lnTo>
                  <a:pt x="10515" y="6906"/>
                </a:lnTo>
                <a:lnTo>
                  <a:pt x="10487" y="6907"/>
                </a:lnTo>
                <a:lnTo>
                  <a:pt x="10453" y="6909"/>
                </a:lnTo>
                <a:lnTo>
                  <a:pt x="10416" y="6916"/>
                </a:lnTo>
                <a:lnTo>
                  <a:pt x="10376" y="6925"/>
                </a:lnTo>
                <a:lnTo>
                  <a:pt x="10338" y="6937"/>
                </a:lnTo>
                <a:lnTo>
                  <a:pt x="10301" y="6953"/>
                </a:lnTo>
                <a:lnTo>
                  <a:pt x="10267" y="6972"/>
                </a:lnTo>
                <a:lnTo>
                  <a:pt x="10239" y="6995"/>
                </a:lnTo>
                <a:close/>
                <a:moveTo>
                  <a:pt x="7754" y="7687"/>
                </a:moveTo>
                <a:lnTo>
                  <a:pt x="7776" y="7691"/>
                </a:lnTo>
                <a:lnTo>
                  <a:pt x="7798" y="7690"/>
                </a:lnTo>
                <a:lnTo>
                  <a:pt x="7818" y="7685"/>
                </a:lnTo>
                <a:lnTo>
                  <a:pt x="7835" y="7677"/>
                </a:lnTo>
                <a:lnTo>
                  <a:pt x="7849" y="7667"/>
                </a:lnTo>
                <a:lnTo>
                  <a:pt x="7857" y="7657"/>
                </a:lnTo>
                <a:lnTo>
                  <a:pt x="7860" y="7646"/>
                </a:lnTo>
                <a:lnTo>
                  <a:pt x="7855" y="7636"/>
                </a:lnTo>
                <a:lnTo>
                  <a:pt x="7845" y="7645"/>
                </a:lnTo>
                <a:lnTo>
                  <a:pt x="7832" y="7650"/>
                </a:lnTo>
                <a:lnTo>
                  <a:pt x="7815" y="7654"/>
                </a:lnTo>
                <a:lnTo>
                  <a:pt x="7800" y="7657"/>
                </a:lnTo>
                <a:lnTo>
                  <a:pt x="7784" y="7660"/>
                </a:lnTo>
                <a:lnTo>
                  <a:pt x="7771" y="7665"/>
                </a:lnTo>
                <a:lnTo>
                  <a:pt x="7761" y="7674"/>
                </a:lnTo>
                <a:lnTo>
                  <a:pt x="7754" y="7687"/>
                </a:lnTo>
                <a:close/>
                <a:moveTo>
                  <a:pt x="5094" y="7523"/>
                </a:moveTo>
                <a:lnTo>
                  <a:pt x="5052" y="7532"/>
                </a:lnTo>
                <a:lnTo>
                  <a:pt x="5012" y="7542"/>
                </a:lnTo>
                <a:lnTo>
                  <a:pt x="4995" y="7550"/>
                </a:lnTo>
                <a:lnTo>
                  <a:pt x="4978" y="7560"/>
                </a:lnTo>
                <a:lnTo>
                  <a:pt x="4965" y="7571"/>
                </a:lnTo>
                <a:lnTo>
                  <a:pt x="4955" y="7587"/>
                </a:lnTo>
                <a:lnTo>
                  <a:pt x="4981" y="7587"/>
                </a:lnTo>
                <a:lnTo>
                  <a:pt x="5005" y="7585"/>
                </a:lnTo>
                <a:lnTo>
                  <a:pt x="5028" y="7583"/>
                </a:lnTo>
                <a:lnTo>
                  <a:pt x="5047" y="7576"/>
                </a:lnTo>
                <a:lnTo>
                  <a:pt x="5063" y="7569"/>
                </a:lnTo>
                <a:lnTo>
                  <a:pt x="5077" y="7557"/>
                </a:lnTo>
                <a:lnTo>
                  <a:pt x="5088" y="7542"/>
                </a:lnTo>
                <a:lnTo>
                  <a:pt x="5094" y="7523"/>
                </a:lnTo>
                <a:close/>
                <a:moveTo>
                  <a:pt x="5321" y="7170"/>
                </a:moveTo>
                <a:lnTo>
                  <a:pt x="5295" y="7170"/>
                </a:lnTo>
                <a:lnTo>
                  <a:pt x="5270" y="7170"/>
                </a:lnTo>
                <a:lnTo>
                  <a:pt x="5258" y="7172"/>
                </a:lnTo>
                <a:lnTo>
                  <a:pt x="5248" y="7174"/>
                </a:lnTo>
                <a:lnTo>
                  <a:pt x="5239" y="7178"/>
                </a:lnTo>
                <a:lnTo>
                  <a:pt x="5233" y="7183"/>
                </a:lnTo>
                <a:lnTo>
                  <a:pt x="5235" y="7198"/>
                </a:lnTo>
                <a:lnTo>
                  <a:pt x="5246" y="7206"/>
                </a:lnTo>
                <a:lnTo>
                  <a:pt x="5258" y="7209"/>
                </a:lnTo>
                <a:lnTo>
                  <a:pt x="5275" y="7205"/>
                </a:lnTo>
                <a:lnTo>
                  <a:pt x="5291" y="7198"/>
                </a:lnTo>
                <a:lnTo>
                  <a:pt x="5305" y="7189"/>
                </a:lnTo>
                <a:lnTo>
                  <a:pt x="5316" y="7179"/>
                </a:lnTo>
                <a:lnTo>
                  <a:pt x="5321" y="7170"/>
                </a:lnTo>
                <a:close/>
                <a:moveTo>
                  <a:pt x="5295" y="7347"/>
                </a:moveTo>
                <a:lnTo>
                  <a:pt x="5275" y="7355"/>
                </a:lnTo>
                <a:lnTo>
                  <a:pt x="5252" y="7360"/>
                </a:lnTo>
                <a:lnTo>
                  <a:pt x="5229" y="7365"/>
                </a:lnTo>
                <a:lnTo>
                  <a:pt x="5206" y="7370"/>
                </a:lnTo>
                <a:lnTo>
                  <a:pt x="5183" y="7377"/>
                </a:lnTo>
                <a:lnTo>
                  <a:pt x="5163" y="7384"/>
                </a:lnTo>
                <a:lnTo>
                  <a:pt x="5145" y="7396"/>
                </a:lnTo>
                <a:lnTo>
                  <a:pt x="5132" y="7410"/>
                </a:lnTo>
                <a:lnTo>
                  <a:pt x="5151" y="7413"/>
                </a:lnTo>
                <a:lnTo>
                  <a:pt x="5172" y="7412"/>
                </a:lnTo>
                <a:lnTo>
                  <a:pt x="5193" y="7405"/>
                </a:lnTo>
                <a:lnTo>
                  <a:pt x="5215" y="7396"/>
                </a:lnTo>
                <a:lnTo>
                  <a:pt x="5258" y="7370"/>
                </a:lnTo>
                <a:lnTo>
                  <a:pt x="5295" y="7347"/>
                </a:lnTo>
                <a:lnTo>
                  <a:pt x="5295" y="7347"/>
                </a:lnTo>
                <a:close/>
                <a:moveTo>
                  <a:pt x="6910" y="7939"/>
                </a:moveTo>
                <a:lnTo>
                  <a:pt x="6921" y="7942"/>
                </a:lnTo>
                <a:lnTo>
                  <a:pt x="6930" y="7940"/>
                </a:lnTo>
                <a:lnTo>
                  <a:pt x="6937" y="7938"/>
                </a:lnTo>
                <a:lnTo>
                  <a:pt x="6943" y="7935"/>
                </a:lnTo>
                <a:lnTo>
                  <a:pt x="6948" y="7932"/>
                </a:lnTo>
                <a:lnTo>
                  <a:pt x="6955" y="7928"/>
                </a:lnTo>
                <a:lnTo>
                  <a:pt x="6962" y="7926"/>
                </a:lnTo>
                <a:lnTo>
                  <a:pt x="6972" y="7926"/>
                </a:lnTo>
                <a:lnTo>
                  <a:pt x="6972" y="7901"/>
                </a:lnTo>
                <a:lnTo>
                  <a:pt x="6969" y="7901"/>
                </a:lnTo>
                <a:lnTo>
                  <a:pt x="6965" y="7900"/>
                </a:lnTo>
                <a:lnTo>
                  <a:pt x="6962" y="7898"/>
                </a:lnTo>
                <a:lnTo>
                  <a:pt x="6960" y="7896"/>
                </a:lnTo>
                <a:lnTo>
                  <a:pt x="6953" y="7892"/>
                </a:lnTo>
                <a:lnTo>
                  <a:pt x="6947" y="7888"/>
                </a:lnTo>
                <a:lnTo>
                  <a:pt x="6947" y="7898"/>
                </a:lnTo>
                <a:lnTo>
                  <a:pt x="6942" y="7905"/>
                </a:lnTo>
                <a:lnTo>
                  <a:pt x="6934" y="7909"/>
                </a:lnTo>
                <a:lnTo>
                  <a:pt x="6925" y="7911"/>
                </a:lnTo>
                <a:lnTo>
                  <a:pt x="6918" y="7914"/>
                </a:lnTo>
                <a:lnTo>
                  <a:pt x="6911" y="7919"/>
                </a:lnTo>
                <a:lnTo>
                  <a:pt x="6909" y="7926"/>
                </a:lnTo>
                <a:lnTo>
                  <a:pt x="6910" y="7939"/>
                </a:lnTo>
                <a:lnTo>
                  <a:pt x="6910" y="7939"/>
                </a:lnTo>
                <a:close/>
                <a:moveTo>
                  <a:pt x="5107" y="7322"/>
                </a:moveTo>
                <a:lnTo>
                  <a:pt x="5116" y="7326"/>
                </a:lnTo>
                <a:lnTo>
                  <a:pt x="5127" y="7327"/>
                </a:lnTo>
                <a:lnTo>
                  <a:pt x="5139" y="7324"/>
                </a:lnTo>
                <a:lnTo>
                  <a:pt x="5151" y="7318"/>
                </a:lnTo>
                <a:lnTo>
                  <a:pt x="5164" y="7310"/>
                </a:lnTo>
                <a:lnTo>
                  <a:pt x="5177" y="7303"/>
                </a:lnTo>
                <a:lnTo>
                  <a:pt x="5187" y="7293"/>
                </a:lnTo>
                <a:lnTo>
                  <a:pt x="5195" y="7284"/>
                </a:lnTo>
                <a:lnTo>
                  <a:pt x="5179" y="7284"/>
                </a:lnTo>
                <a:lnTo>
                  <a:pt x="5164" y="7285"/>
                </a:lnTo>
                <a:lnTo>
                  <a:pt x="5150" y="7287"/>
                </a:lnTo>
                <a:lnTo>
                  <a:pt x="5139" y="7291"/>
                </a:lnTo>
                <a:lnTo>
                  <a:pt x="5128" y="7296"/>
                </a:lnTo>
                <a:lnTo>
                  <a:pt x="5119" y="7303"/>
                </a:lnTo>
                <a:lnTo>
                  <a:pt x="5112" y="7312"/>
                </a:lnTo>
                <a:lnTo>
                  <a:pt x="5107" y="7322"/>
                </a:lnTo>
                <a:close/>
                <a:moveTo>
                  <a:pt x="4993" y="7271"/>
                </a:moveTo>
                <a:lnTo>
                  <a:pt x="4937" y="7281"/>
                </a:lnTo>
                <a:lnTo>
                  <a:pt x="4883" y="7290"/>
                </a:lnTo>
                <a:lnTo>
                  <a:pt x="4830" y="7301"/>
                </a:lnTo>
                <a:lnTo>
                  <a:pt x="4779" y="7315"/>
                </a:lnTo>
                <a:lnTo>
                  <a:pt x="4731" y="7332"/>
                </a:lnTo>
                <a:lnTo>
                  <a:pt x="4688" y="7354"/>
                </a:lnTo>
                <a:lnTo>
                  <a:pt x="4648" y="7379"/>
                </a:lnTo>
                <a:lnTo>
                  <a:pt x="4615" y="7410"/>
                </a:lnTo>
                <a:lnTo>
                  <a:pt x="4667" y="7397"/>
                </a:lnTo>
                <a:lnTo>
                  <a:pt x="4720" y="7385"/>
                </a:lnTo>
                <a:lnTo>
                  <a:pt x="4772" y="7374"/>
                </a:lnTo>
                <a:lnTo>
                  <a:pt x="4824" y="7360"/>
                </a:lnTo>
                <a:lnTo>
                  <a:pt x="4872" y="7345"/>
                </a:lnTo>
                <a:lnTo>
                  <a:pt x="4917" y="7324"/>
                </a:lnTo>
                <a:lnTo>
                  <a:pt x="4958" y="7301"/>
                </a:lnTo>
                <a:lnTo>
                  <a:pt x="4993" y="7271"/>
                </a:lnTo>
                <a:close/>
                <a:moveTo>
                  <a:pt x="4804" y="7510"/>
                </a:moveTo>
                <a:lnTo>
                  <a:pt x="4804" y="7523"/>
                </a:lnTo>
                <a:lnTo>
                  <a:pt x="4800" y="7532"/>
                </a:lnTo>
                <a:lnTo>
                  <a:pt x="4796" y="7541"/>
                </a:lnTo>
                <a:lnTo>
                  <a:pt x="4791" y="7548"/>
                </a:lnTo>
                <a:lnTo>
                  <a:pt x="4809" y="7548"/>
                </a:lnTo>
                <a:lnTo>
                  <a:pt x="4823" y="7545"/>
                </a:lnTo>
                <a:lnTo>
                  <a:pt x="4834" y="7539"/>
                </a:lnTo>
                <a:lnTo>
                  <a:pt x="4843" y="7531"/>
                </a:lnTo>
                <a:lnTo>
                  <a:pt x="4852" y="7523"/>
                </a:lnTo>
                <a:lnTo>
                  <a:pt x="4860" y="7514"/>
                </a:lnTo>
                <a:lnTo>
                  <a:pt x="4870" y="7505"/>
                </a:lnTo>
                <a:lnTo>
                  <a:pt x="4880" y="7499"/>
                </a:lnTo>
                <a:lnTo>
                  <a:pt x="4867" y="7496"/>
                </a:lnTo>
                <a:lnTo>
                  <a:pt x="4857" y="7497"/>
                </a:lnTo>
                <a:lnTo>
                  <a:pt x="4849" y="7500"/>
                </a:lnTo>
                <a:lnTo>
                  <a:pt x="4842" y="7504"/>
                </a:lnTo>
                <a:lnTo>
                  <a:pt x="4834" y="7509"/>
                </a:lnTo>
                <a:lnTo>
                  <a:pt x="4827" y="7511"/>
                </a:lnTo>
                <a:lnTo>
                  <a:pt x="4816" y="7513"/>
                </a:lnTo>
                <a:lnTo>
                  <a:pt x="4804" y="7510"/>
                </a:lnTo>
                <a:close/>
                <a:moveTo>
                  <a:pt x="10604" y="6880"/>
                </a:moveTo>
                <a:lnTo>
                  <a:pt x="10596" y="6874"/>
                </a:lnTo>
                <a:lnTo>
                  <a:pt x="10588" y="6870"/>
                </a:lnTo>
                <a:lnTo>
                  <a:pt x="10582" y="6870"/>
                </a:lnTo>
                <a:lnTo>
                  <a:pt x="10575" y="6871"/>
                </a:lnTo>
                <a:lnTo>
                  <a:pt x="10569" y="6874"/>
                </a:lnTo>
                <a:lnTo>
                  <a:pt x="10561" y="6876"/>
                </a:lnTo>
                <a:lnTo>
                  <a:pt x="10552" y="6879"/>
                </a:lnTo>
                <a:lnTo>
                  <a:pt x="10541" y="6880"/>
                </a:lnTo>
                <a:lnTo>
                  <a:pt x="10541" y="6895"/>
                </a:lnTo>
                <a:lnTo>
                  <a:pt x="10547" y="6904"/>
                </a:lnTo>
                <a:lnTo>
                  <a:pt x="10557" y="6908"/>
                </a:lnTo>
                <a:lnTo>
                  <a:pt x="10571" y="6908"/>
                </a:lnTo>
                <a:lnTo>
                  <a:pt x="10584" y="6904"/>
                </a:lnTo>
                <a:lnTo>
                  <a:pt x="10596" y="6898"/>
                </a:lnTo>
                <a:lnTo>
                  <a:pt x="10603" y="6890"/>
                </a:lnTo>
                <a:lnTo>
                  <a:pt x="10604" y="6880"/>
                </a:lnTo>
                <a:close/>
                <a:moveTo>
                  <a:pt x="8675" y="7410"/>
                </a:moveTo>
                <a:lnTo>
                  <a:pt x="8659" y="7403"/>
                </a:lnTo>
                <a:lnTo>
                  <a:pt x="8642" y="7403"/>
                </a:lnTo>
                <a:lnTo>
                  <a:pt x="8625" y="7408"/>
                </a:lnTo>
                <a:lnTo>
                  <a:pt x="8608" y="7416"/>
                </a:lnTo>
                <a:lnTo>
                  <a:pt x="8591" y="7427"/>
                </a:lnTo>
                <a:lnTo>
                  <a:pt x="8576" y="7439"/>
                </a:lnTo>
                <a:lnTo>
                  <a:pt x="8562" y="7450"/>
                </a:lnTo>
                <a:lnTo>
                  <a:pt x="8549" y="7461"/>
                </a:lnTo>
                <a:lnTo>
                  <a:pt x="8569" y="7458"/>
                </a:lnTo>
                <a:lnTo>
                  <a:pt x="8587" y="7454"/>
                </a:lnTo>
                <a:lnTo>
                  <a:pt x="8604" y="7449"/>
                </a:lnTo>
                <a:lnTo>
                  <a:pt x="8619" y="7443"/>
                </a:lnTo>
                <a:lnTo>
                  <a:pt x="8647" y="7426"/>
                </a:lnTo>
                <a:lnTo>
                  <a:pt x="8675" y="7410"/>
                </a:lnTo>
                <a:close/>
                <a:moveTo>
                  <a:pt x="13857" y="5936"/>
                </a:moveTo>
                <a:lnTo>
                  <a:pt x="13820" y="5930"/>
                </a:lnTo>
                <a:lnTo>
                  <a:pt x="13786" y="5933"/>
                </a:lnTo>
                <a:lnTo>
                  <a:pt x="13755" y="5941"/>
                </a:lnTo>
                <a:lnTo>
                  <a:pt x="13723" y="5952"/>
                </a:lnTo>
                <a:lnTo>
                  <a:pt x="13693" y="5962"/>
                </a:lnTo>
                <a:lnTo>
                  <a:pt x="13658" y="5971"/>
                </a:lnTo>
                <a:lnTo>
                  <a:pt x="13621" y="5975"/>
                </a:lnTo>
                <a:lnTo>
                  <a:pt x="13579" y="5974"/>
                </a:lnTo>
                <a:lnTo>
                  <a:pt x="13513" y="6007"/>
                </a:lnTo>
                <a:lnTo>
                  <a:pt x="13439" y="6031"/>
                </a:lnTo>
                <a:lnTo>
                  <a:pt x="13359" y="6050"/>
                </a:lnTo>
                <a:lnTo>
                  <a:pt x="13278" y="6068"/>
                </a:lnTo>
                <a:lnTo>
                  <a:pt x="13196" y="6086"/>
                </a:lnTo>
                <a:lnTo>
                  <a:pt x="13118" y="6107"/>
                </a:lnTo>
                <a:lnTo>
                  <a:pt x="13047" y="6135"/>
                </a:lnTo>
                <a:lnTo>
                  <a:pt x="12987" y="6175"/>
                </a:lnTo>
                <a:lnTo>
                  <a:pt x="13009" y="6170"/>
                </a:lnTo>
                <a:lnTo>
                  <a:pt x="13030" y="6166"/>
                </a:lnTo>
                <a:lnTo>
                  <a:pt x="13053" y="6162"/>
                </a:lnTo>
                <a:lnTo>
                  <a:pt x="13076" y="6160"/>
                </a:lnTo>
                <a:lnTo>
                  <a:pt x="13121" y="6156"/>
                </a:lnTo>
                <a:lnTo>
                  <a:pt x="13164" y="6149"/>
                </a:lnTo>
                <a:lnTo>
                  <a:pt x="13179" y="6146"/>
                </a:lnTo>
                <a:lnTo>
                  <a:pt x="13196" y="6138"/>
                </a:lnTo>
                <a:lnTo>
                  <a:pt x="13214" y="6129"/>
                </a:lnTo>
                <a:lnTo>
                  <a:pt x="13232" y="6120"/>
                </a:lnTo>
                <a:lnTo>
                  <a:pt x="13249" y="6110"/>
                </a:lnTo>
                <a:lnTo>
                  <a:pt x="13267" y="6100"/>
                </a:lnTo>
                <a:lnTo>
                  <a:pt x="13285" y="6092"/>
                </a:lnTo>
                <a:lnTo>
                  <a:pt x="13303" y="6087"/>
                </a:lnTo>
                <a:lnTo>
                  <a:pt x="13323" y="6083"/>
                </a:lnTo>
                <a:lnTo>
                  <a:pt x="13345" y="6082"/>
                </a:lnTo>
                <a:lnTo>
                  <a:pt x="13367" y="6082"/>
                </a:lnTo>
                <a:lnTo>
                  <a:pt x="13391" y="6082"/>
                </a:lnTo>
                <a:lnTo>
                  <a:pt x="13414" y="6082"/>
                </a:lnTo>
                <a:lnTo>
                  <a:pt x="13437" y="6081"/>
                </a:lnTo>
                <a:lnTo>
                  <a:pt x="13458" y="6078"/>
                </a:lnTo>
                <a:lnTo>
                  <a:pt x="13479" y="6074"/>
                </a:lnTo>
                <a:lnTo>
                  <a:pt x="13495" y="6068"/>
                </a:lnTo>
                <a:lnTo>
                  <a:pt x="13509" y="6062"/>
                </a:lnTo>
                <a:lnTo>
                  <a:pt x="13523" y="6055"/>
                </a:lnTo>
                <a:lnTo>
                  <a:pt x="13536" y="6048"/>
                </a:lnTo>
                <a:lnTo>
                  <a:pt x="13550" y="6040"/>
                </a:lnTo>
                <a:lnTo>
                  <a:pt x="13563" y="6034"/>
                </a:lnTo>
                <a:lnTo>
                  <a:pt x="13577" y="6027"/>
                </a:lnTo>
                <a:lnTo>
                  <a:pt x="13592" y="6023"/>
                </a:lnTo>
                <a:lnTo>
                  <a:pt x="13629" y="6018"/>
                </a:lnTo>
                <a:lnTo>
                  <a:pt x="13668" y="6016"/>
                </a:lnTo>
                <a:lnTo>
                  <a:pt x="13709" y="6015"/>
                </a:lnTo>
                <a:lnTo>
                  <a:pt x="13749" y="6012"/>
                </a:lnTo>
                <a:lnTo>
                  <a:pt x="13784" y="6008"/>
                </a:lnTo>
                <a:lnTo>
                  <a:pt x="13814" y="6002"/>
                </a:lnTo>
                <a:lnTo>
                  <a:pt x="13834" y="5990"/>
                </a:lnTo>
                <a:lnTo>
                  <a:pt x="13844" y="5974"/>
                </a:lnTo>
                <a:lnTo>
                  <a:pt x="13881" y="5974"/>
                </a:lnTo>
                <a:lnTo>
                  <a:pt x="13916" y="5971"/>
                </a:lnTo>
                <a:lnTo>
                  <a:pt x="13947" y="5967"/>
                </a:lnTo>
                <a:lnTo>
                  <a:pt x="13977" y="5961"/>
                </a:lnTo>
                <a:lnTo>
                  <a:pt x="14005" y="5951"/>
                </a:lnTo>
                <a:lnTo>
                  <a:pt x="14029" y="5939"/>
                </a:lnTo>
                <a:lnTo>
                  <a:pt x="14052" y="5927"/>
                </a:lnTo>
                <a:lnTo>
                  <a:pt x="14072" y="5910"/>
                </a:lnTo>
                <a:lnTo>
                  <a:pt x="14113" y="5904"/>
                </a:lnTo>
                <a:lnTo>
                  <a:pt x="14152" y="5896"/>
                </a:lnTo>
                <a:lnTo>
                  <a:pt x="14192" y="5887"/>
                </a:lnTo>
                <a:lnTo>
                  <a:pt x="14229" y="5878"/>
                </a:lnTo>
                <a:lnTo>
                  <a:pt x="14262" y="5867"/>
                </a:lnTo>
                <a:lnTo>
                  <a:pt x="14292" y="5854"/>
                </a:lnTo>
                <a:lnTo>
                  <a:pt x="14317" y="5839"/>
                </a:lnTo>
                <a:lnTo>
                  <a:pt x="14336" y="5822"/>
                </a:lnTo>
                <a:lnTo>
                  <a:pt x="14280" y="5838"/>
                </a:lnTo>
                <a:lnTo>
                  <a:pt x="14220" y="5849"/>
                </a:lnTo>
                <a:lnTo>
                  <a:pt x="14157" y="5857"/>
                </a:lnTo>
                <a:lnTo>
                  <a:pt x="14095" y="5866"/>
                </a:lnTo>
                <a:lnTo>
                  <a:pt x="14033" y="5874"/>
                </a:lnTo>
                <a:lnTo>
                  <a:pt x="13972" y="5888"/>
                </a:lnTo>
                <a:lnTo>
                  <a:pt x="13913" y="5908"/>
                </a:lnTo>
                <a:lnTo>
                  <a:pt x="13857" y="5936"/>
                </a:lnTo>
                <a:close/>
                <a:moveTo>
                  <a:pt x="13177" y="5910"/>
                </a:moveTo>
                <a:lnTo>
                  <a:pt x="13157" y="5908"/>
                </a:lnTo>
                <a:lnTo>
                  <a:pt x="13136" y="5908"/>
                </a:lnTo>
                <a:lnTo>
                  <a:pt x="13116" y="5911"/>
                </a:lnTo>
                <a:lnTo>
                  <a:pt x="13099" y="5918"/>
                </a:lnTo>
                <a:lnTo>
                  <a:pt x="13086" y="5927"/>
                </a:lnTo>
                <a:lnTo>
                  <a:pt x="13079" y="5937"/>
                </a:lnTo>
                <a:lnTo>
                  <a:pt x="13079" y="5948"/>
                </a:lnTo>
                <a:lnTo>
                  <a:pt x="13088" y="5961"/>
                </a:lnTo>
                <a:lnTo>
                  <a:pt x="13097" y="5952"/>
                </a:lnTo>
                <a:lnTo>
                  <a:pt x="13108" y="5947"/>
                </a:lnTo>
                <a:lnTo>
                  <a:pt x="13123" y="5944"/>
                </a:lnTo>
                <a:lnTo>
                  <a:pt x="13139" y="5942"/>
                </a:lnTo>
                <a:lnTo>
                  <a:pt x="13154" y="5939"/>
                </a:lnTo>
                <a:lnTo>
                  <a:pt x="13167" y="5934"/>
                </a:lnTo>
                <a:lnTo>
                  <a:pt x="13174" y="5925"/>
                </a:lnTo>
                <a:lnTo>
                  <a:pt x="13177" y="5910"/>
                </a:lnTo>
                <a:close/>
                <a:moveTo>
                  <a:pt x="13025" y="6074"/>
                </a:moveTo>
                <a:lnTo>
                  <a:pt x="13041" y="6076"/>
                </a:lnTo>
                <a:lnTo>
                  <a:pt x="13055" y="6074"/>
                </a:lnTo>
                <a:lnTo>
                  <a:pt x="13066" y="6072"/>
                </a:lnTo>
                <a:lnTo>
                  <a:pt x="13076" y="6068"/>
                </a:lnTo>
                <a:lnTo>
                  <a:pt x="13094" y="6058"/>
                </a:lnTo>
                <a:lnTo>
                  <a:pt x="13113" y="6049"/>
                </a:lnTo>
                <a:lnTo>
                  <a:pt x="13115" y="6035"/>
                </a:lnTo>
                <a:lnTo>
                  <a:pt x="13115" y="6023"/>
                </a:lnTo>
                <a:lnTo>
                  <a:pt x="13113" y="6012"/>
                </a:lnTo>
                <a:lnTo>
                  <a:pt x="13109" y="6002"/>
                </a:lnTo>
                <a:lnTo>
                  <a:pt x="13106" y="5994"/>
                </a:lnTo>
                <a:lnTo>
                  <a:pt x="13098" y="5988"/>
                </a:lnTo>
                <a:lnTo>
                  <a:pt x="13089" y="5985"/>
                </a:lnTo>
                <a:lnTo>
                  <a:pt x="13075" y="5985"/>
                </a:lnTo>
                <a:lnTo>
                  <a:pt x="13072" y="6012"/>
                </a:lnTo>
                <a:lnTo>
                  <a:pt x="13069" y="6039"/>
                </a:lnTo>
                <a:lnTo>
                  <a:pt x="13064" y="6050"/>
                </a:lnTo>
                <a:lnTo>
                  <a:pt x="13055" y="6060"/>
                </a:lnTo>
                <a:lnTo>
                  <a:pt x="13042" y="6068"/>
                </a:lnTo>
                <a:lnTo>
                  <a:pt x="13025" y="6074"/>
                </a:lnTo>
                <a:lnTo>
                  <a:pt x="13025" y="6074"/>
                </a:lnTo>
                <a:close/>
                <a:moveTo>
                  <a:pt x="13643" y="6100"/>
                </a:moveTo>
                <a:lnTo>
                  <a:pt x="13605" y="6106"/>
                </a:lnTo>
                <a:lnTo>
                  <a:pt x="13567" y="6111"/>
                </a:lnTo>
                <a:lnTo>
                  <a:pt x="13549" y="6115"/>
                </a:lnTo>
                <a:lnTo>
                  <a:pt x="13532" y="6120"/>
                </a:lnTo>
                <a:lnTo>
                  <a:pt x="13517" y="6128"/>
                </a:lnTo>
                <a:lnTo>
                  <a:pt x="13504" y="6137"/>
                </a:lnTo>
                <a:lnTo>
                  <a:pt x="13526" y="6137"/>
                </a:lnTo>
                <a:lnTo>
                  <a:pt x="13546" y="6135"/>
                </a:lnTo>
                <a:lnTo>
                  <a:pt x="13565" y="6132"/>
                </a:lnTo>
                <a:lnTo>
                  <a:pt x="13583" y="6128"/>
                </a:lnTo>
                <a:lnTo>
                  <a:pt x="13600" y="6121"/>
                </a:lnTo>
                <a:lnTo>
                  <a:pt x="13615" y="6115"/>
                </a:lnTo>
                <a:lnTo>
                  <a:pt x="13629" y="6107"/>
                </a:lnTo>
                <a:lnTo>
                  <a:pt x="13643" y="6100"/>
                </a:lnTo>
                <a:lnTo>
                  <a:pt x="13643" y="6100"/>
                </a:lnTo>
                <a:close/>
                <a:moveTo>
                  <a:pt x="14173" y="6162"/>
                </a:moveTo>
                <a:lnTo>
                  <a:pt x="14200" y="6157"/>
                </a:lnTo>
                <a:lnTo>
                  <a:pt x="14228" y="6155"/>
                </a:lnTo>
                <a:lnTo>
                  <a:pt x="14240" y="6152"/>
                </a:lnTo>
                <a:lnTo>
                  <a:pt x="14253" y="6148"/>
                </a:lnTo>
                <a:lnTo>
                  <a:pt x="14264" y="6143"/>
                </a:lnTo>
                <a:lnTo>
                  <a:pt x="14273" y="6137"/>
                </a:lnTo>
                <a:lnTo>
                  <a:pt x="14247" y="6134"/>
                </a:lnTo>
                <a:lnTo>
                  <a:pt x="14216" y="6129"/>
                </a:lnTo>
                <a:lnTo>
                  <a:pt x="14201" y="6130"/>
                </a:lnTo>
                <a:lnTo>
                  <a:pt x="14188" y="6135"/>
                </a:lnTo>
                <a:lnTo>
                  <a:pt x="14178" y="6146"/>
                </a:lnTo>
                <a:lnTo>
                  <a:pt x="14173" y="6162"/>
                </a:lnTo>
                <a:close/>
                <a:moveTo>
                  <a:pt x="14147" y="6149"/>
                </a:moveTo>
                <a:lnTo>
                  <a:pt x="14133" y="6148"/>
                </a:lnTo>
                <a:lnTo>
                  <a:pt x="14122" y="6149"/>
                </a:lnTo>
                <a:lnTo>
                  <a:pt x="14113" y="6153"/>
                </a:lnTo>
                <a:lnTo>
                  <a:pt x="14105" y="6158"/>
                </a:lnTo>
                <a:lnTo>
                  <a:pt x="14099" y="6165"/>
                </a:lnTo>
                <a:lnTo>
                  <a:pt x="14094" y="6171"/>
                </a:lnTo>
                <a:lnTo>
                  <a:pt x="14089" y="6179"/>
                </a:lnTo>
                <a:lnTo>
                  <a:pt x="14084" y="6188"/>
                </a:lnTo>
                <a:lnTo>
                  <a:pt x="14098" y="6188"/>
                </a:lnTo>
                <a:lnTo>
                  <a:pt x="14110" y="6188"/>
                </a:lnTo>
                <a:lnTo>
                  <a:pt x="14122" y="6186"/>
                </a:lnTo>
                <a:lnTo>
                  <a:pt x="14131" y="6184"/>
                </a:lnTo>
                <a:lnTo>
                  <a:pt x="14140" y="6180"/>
                </a:lnTo>
                <a:lnTo>
                  <a:pt x="14145" y="6172"/>
                </a:lnTo>
                <a:lnTo>
                  <a:pt x="14147" y="6162"/>
                </a:lnTo>
                <a:lnTo>
                  <a:pt x="14147" y="6149"/>
                </a:lnTo>
                <a:close/>
                <a:moveTo>
                  <a:pt x="13870" y="6237"/>
                </a:moveTo>
                <a:lnTo>
                  <a:pt x="13889" y="6237"/>
                </a:lnTo>
                <a:lnTo>
                  <a:pt x="13907" y="6237"/>
                </a:lnTo>
                <a:lnTo>
                  <a:pt x="13923" y="6235"/>
                </a:lnTo>
                <a:lnTo>
                  <a:pt x="13940" y="6232"/>
                </a:lnTo>
                <a:lnTo>
                  <a:pt x="13954" y="6227"/>
                </a:lnTo>
                <a:lnTo>
                  <a:pt x="13965" y="6221"/>
                </a:lnTo>
                <a:lnTo>
                  <a:pt x="13975" y="6212"/>
                </a:lnTo>
                <a:lnTo>
                  <a:pt x="13983" y="6200"/>
                </a:lnTo>
                <a:lnTo>
                  <a:pt x="13969" y="6197"/>
                </a:lnTo>
                <a:lnTo>
                  <a:pt x="13954" y="6197"/>
                </a:lnTo>
                <a:lnTo>
                  <a:pt x="13938" y="6198"/>
                </a:lnTo>
                <a:lnTo>
                  <a:pt x="13923" y="6203"/>
                </a:lnTo>
                <a:lnTo>
                  <a:pt x="13908" y="6209"/>
                </a:lnTo>
                <a:lnTo>
                  <a:pt x="13894" y="6218"/>
                </a:lnTo>
                <a:lnTo>
                  <a:pt x="13881" y="6227"/>
                </a:lnTo>
                <a:lnTo>
                  <a:pt x="13870" y="6237"/>
                </a:lnTo>
                <a:close/>
                <a:moveTo>
                  <a:pt x="12192" y="6465"/>
                </a:moveTo>
                <a:lnTo>
                  <a:pt x="12149" y="6471"/>
                </a:lnTo>
                <a:lnTo>
                  <a:pt x="12106" y="6478"/>
                </a:lnTo>
                <a:lnTo>
                  <a:pt x="12086" y="6484"/>
                </a:lnTo>
                <a:lnTo>
                  <a:pt x="12068" y="6491"/>
                </a:lnTo>
                <a:lnTo>
                  <a:pt x="12052" y="6501"/>
                </a:lnTo>
                <a:lnTo>
                  <a:pt x="12041" y="6515"/>
                </a:lnTo>
                <a:lnTo>
                  <a:pt x="12059" y="6520"/>
                </a:lnTo>
                <a:lnTo>
                  <a:pt x="12077" y="6519"/>
                </a:lnTo>
                <a:lnTo>
                  <a:pt x="12096" y="6512"/>
                </a:lnTo>
                <a:lnTo>
                  <a:pt x="12116" y="6503"/>
                </a:lnTo>
                <a:lnTo>
                  <a:pt x="12156" y="6483"/>
                </a:lnTo>
                <a:lnTo>
                  <a:pt x="12192" y="6465"/>
                </a:lnTo>
                <a:lnTo>
                  <a:pt x="12192" y="6465"/>
                </a:lnTo>
                <a:close/>
                <a:moveTo>
                  <a:pt x="11436" y="6654"/>
                </a:moveTo>
                <a:lnTo>
                  <a:pt x="11404" y="6664"/>
                </a:lnTo>
                <a:lnTo>
                  <a:pt x="11371" y="6671"/>
                </a:lnTo>
                <a:lnTo>
                  <a:pt x="11356" y="6676"/>
                </a:lnTo>
                <a:lnTo>
                  <a:pt x="11343" y="6683"/>
                </a:lnTo>
                <a:lnTo>
                  <a:pt x="11332" y="6692"/>
                </a:lnTo>
                <a:lnTo>
                  <a:pt x="11323" y="6704"/>
                </a:lnTo>
                <a:lnTo>
                  <a:pt x="11347" y="6707"/>
                </a:lnTo>
                <a:lnTo>
                  <a:pt x="11366" y="6707"/>
                </a:lnTo>
                <a:lnTo>
                  <a:pt x="11383" y="6702"/>
                </a:lnTo>
                <a:lnTo>
                  <a:pt x="11397" y="6696"/>
                </a:lnTo>
                <a:lnTo>
                  <a:pt x="11408" y="6687"/>
                </a:lnTo>
                <a:lnTo>
                  <a:pt x="11418" y="6676"/>
                </a:lnTo>
                <a:lnTo>
                  <a:pt x="11427" y="6665"/>
                </a:lnTo>
                <a:lnTo>
                  <a:pt x="11436" y="6654"/>
                </a:lnTo>
                <a:close/>
                <a:moveTo>
                  <a:pt x="11171" y="6730"/>
                </a:moveTo>
                <a:lnTo>
                  <a:pt x="11152" y="6735"/>
                </a:lnTo>
                <a:lnTo>
                  <a:pt x="11129" y="6738"/>
                </a:lnTo>
                <a:lnTo>
                  <a:pt x="11106" y="6740"/>
                </a:lnTo>
                <a:lnTo>
                  <a:pt x="11083" y="6741"/>
                </a:lnTo>
                <a:lnTo>
                  <a:pt x="11062" y="6745"/>
                </a:lnTo>
                <a:lnTo>
                  <a:pt x="11043" y="6752"/>
                </a:lnTo>
                <a:lnTo>
                  <a:pt x="11029" y="6763"/>
                </a:lnTo>
                <a:lnTo>
                  <a:pt x="11020" y="6780"/>
                </a:lnTo>
                <a:lnTo>
                  <a:pt x="11044" y="6778"/>
                </a:lnTo>
                <a:lnTo>
                  <a:pt x="11065" y="6774"/>
                </a:lnTo>
                <a:lnTo>
                  <a:pt x="11087" y="6771"/>
                </a:lnTo>
                <a:lnTo>
                  <a:pt x="11107" y="6766"/>
                </a:lnTo>
                <a:lnTo>
                  <a:pt x="11125" y="6759"/>
                </a:lnTo>
                <a:lnTo>
                  <a:pt x="11143" y="6750"/>
                </a:lnTo>
                <a:lnTo>
                  <a:pt x="11158" y="6741"/>
                </a:lnTo>
                <a:lnTo>
                  <a:pt x="11171" y="6730"/>
                </a:lnTo>
                <a:lnTo>
                  <a:pt x="11171" y="6730"/>
                </a:lnTo>
                <a:close/>
                <a:moveTo>
                  <a:pt x="11714" y="6604"/>
                </a:moveTo>
                <a:lnTo>
                  <a:pt x="11725" y="6598"/>
                </a:lnTo>
                <a:lnTo>
                  <a:pt x="11740" y="6595"/>
                </a:lnTo>
                <a:lnTo>
                  <a:pt x="11756" y="6594"/>
                </a:lnTo>
                <a:lnTo>
                  <a:pt x="11772" y="6592"/>
                </a:lnTo>
                <a:lnTo>
                  <a:pt x="11786" y="6590"/>
                </a:lnTo>
                <a:lnTo>
                  <a:pt x="11800" y="6585"/>
                </a:lnTo>
                <a:lnTo>
                  <a:pt x="11809" y="6577"/>
                </a:lnTo>
                <a:lnTo>
                  <a:pt x="11814" y="6566"/>
                </a:lnTo>
                <a:lnTo>
                  <a:pt x="11802" y="6558"/>
                </a:lnTo>
                <a:lnTo>
                  <a:pt x="11786" y="6555"/>
                </a:lnTo>
                <a:lnTo>
                  <a:pt x="11771" y="6555"/>
                </a:lnTo>
                <a:lnTo>
                  <a:pt x="11754" y="6561"/>
                </a:lnTo>
                <a:lnTo>
                  <a:pt x="11740" y="6567"/>
                </a:lnTo>
                <a:lnTo>
                  <a:pt x="11728" y="6577"/>
                </a:lnTo>
                <a:lnTo>
                  <a:pt x="11719" y="6590"/>
                </a:lnTo>
                <a:lnTo>
                  <a:pt x="11714" y="6604"/>
                </a:lnTo>
                <a:close/>
                <a:moveTo>
                  <a:pt x="11827" y="6566"/>
                </a:moveTo>
                <a:lnTo>
                  <a:pt x="11903" y="6566"/>
                </a:lnTo>
                <a:lnTo>
                  <a:pt x="11902" y="6550"/>
                </a:lnTo>
                <a:lnTo>
                  <a:pt x="11894" y="6541"/>
                </a:lnTo>
                <a:lnTo>
                  <a:pt x="11883" y="6539"/>
                </a:lnTo>
                <a:lnTo>
                  <a:pt x="11869" y="6539"/>
                </a:lnTo>
                <a:lnTo>
                  <a:pt x="11854" y="6544"/>
                </a:lnTo>
                <a:lnTo>
                  <a:pt x="11841" y="6550"/>
                </a:lnTo>
                <a:lnTo>
                  <a:pt x="11831" y="6558"/>
                </a:lnTo>
                <a:lnTo>
                  <a:pt x="11827" y="6566"/>
                </a:lnTo>
                <a:lnTo>
                  <a:pt x="11827" y="6566"/>
                </a:lnTo>
                <a:close/>
                <a:moveTo>
                  <a:pt x="12496" y="6237"/>
                </a:moveTo>
                <a:lnTo>
                  <a:pt x="12470" y="6259"/>
                </a:lnTo>
                <a:lnTo>
                  <a:pt x="12438" y="6277"/>
                </a:lnTo>
                <a:lnTo>
                  <a:pt x="12404" y="6289"/>
                </a:lnTo>
                <a:lnTo>
                  <a:pt x="12367" y="6298"/>
                </a:lnTo>
                <a:lnTo>
                  <a:pt x="12329" y="6303"/>
                </a:lnTo>
                <a:lnTo>
                  <a:pt x="12293" y="6305"/>
                </a:lnTo>
                <a:lnTo>
                  <a:pt x="12260" y="6303"/>
                </a:lnTo>
                <a:lnTo>
                  <a:pt x="12231" y="6301"/>
                </a:lnTo>
                <a:lnTo>
                  <a:pt x="12147" y="6344"/>
                </a:lnTo>
                <a:lnTo>
                  <a:pt x="12055" y="6376"/>
                </a:lnTo>
                <a:lnTo>
                  <a:pt x="11958" y="6400"/>
                </a:lnTo>
                <a:lnTo>
                  <a:pt x="11861" y="6419"/>
                </a:lnTo>
                <a:lnTo>
                  <a:pt x="11766" y="6438"/>
                </a:lnTo>
                <a:lnTo>
                  <a:pt x="11675" y="6463"/>
                </a:lnTo>
                <a:lnTo>
                  <a:pt x="11594" y="6496"/>
                </a:lnTo>
                <a:lnTo>
                  <a:pt x="11524" y="6540"/>
                </a:lnTo>
                <a:lnTo>
                  <a:pt x="11566" y="6534"/>
                </a:lnTo>
                <a:lnTo>
                  <a:pt x="11602" y="6527"/>
                </a:lnTo>
                <a:lnTo>
                  <a:pt x="11632" y="6520"/>
                </a:lnTo>
                <a:lnTo>
                  <a:pt x="11659" y="6513"/>
                </a:lnTo>
                <a:lnTo>
                  <a:pt x="11684" y="6508"/>
                </a:lnTo>
                <a:lnTo>
                  <a:pt x="11710" y="6507"/>
                </a:lnTo>
                <a:lnTo>
                  <a:pt x="11735" y="6508"/>
                </a:lnTo>
                <a:lnTo>
                  <a:pt x="11765" y="6515"/>
                </a:lnTo>
                <a:lnTo>
                  <a:pt x="11786" y="6492"/>
                </a:lnTo>
                <a:lnTo>
                  <a:pt x="11816" y="6477"/>
                </a:lnTo>
                <a:lnTo>
                  <a:pt x="11851" y="6465"/>
                </a:lnTo>
                <a:lnTo>
                  <a:pt x="11892" y="6460"/>
                </a:lnTo>
                <a:lnTo>
                  <a:pt x="11934" y="6456"/>
                </a:lnTo>
                <a:lnTo>
                  <a:pt x="11979" y="6455"/>
                </a:lnTo>
                <a:lnTo>
                  <a:pt x="12023" y="6454"/>
                </a:lnTo>
                <a:lnTo>
                  <a:pt x="12066" y="6452"/>
                </a:lnTo>
                <a:lnTo>
                  <a:pt x="12088" y="6431"/>
                </a:lnTo>
                <a:lnTo>
                  <a:pt x="12112" y="6414"/>
                </a:lnTo>
                <a:lnTo>
                  <a:pt x="12139" y="6401"/>
                </a:lnTo>
                <a:lnTo>
                  <a:pt x="12171" y="6393"/>
                </a:lnTo>
                <a:lnTo>
                  <a:pt x="12204" y="6386"/>
                </a:lnTo>
                <a:lnTo>
                  <a:pt x="12240" y="6384"/>
                </a:lnTo>
                <a:lnTo>
                  <a:pt x="12278" y="6385"/>
                </a:lnTo>
                <a:lnTo>
                  <a:pt x="12319" y="6389"/>
                </a:lnTo>
                <a:lnTo>
                  <a:pt x="12327" y="6381"/>
                </a:lnTo>
                <a:lnTo>
                  <a:pt x="12331" y="6373"/>
                </a:lnTo>
                <a:lnTo>
                  <a:pt x="12335" y="6366"/>
                </a:lnTo>
                <a:lnTo>
                  <a:pt x="12336" y="6359"/>
                </a:lnTo>
                <a:lnTo>
                  <a:pt x="12336" y="6354"/>
                </a:lnTo>
                <a:lnTo>
                  <a:pt x="12338" y="6348"/>
                </a:lnTo>
                <a:lnTo>
                  <a:pt x="12340" y="6343"/>
                </a:lnTo>
                <a:lnTo>
                  <a:pt x="12344" y="6339"/>
                </a:lnTo>
                <a:lnTo>
                  <a:pt x="12373" y="6339"/>
                </a:lnTo>
                <a:lnTo>
                  <a:pt x="12406" y="6340"/>
                </a:lnTo>
                <a:lnTo>
                  <a:pt x="12440" y="6342"/>
                </a:lnTo>
                <a:lnTo>
                  <a:pt x="12471" y="6340"/>
                </a:lnTo>
                <a:lnTo>
                  <a:pt x="12498" y="6337"/>
                </a:lnTo>
                <a:lnTo>
                  <a:pt x="12517" y="6328"/>
                </a:lnTo>
                <a:lnTo>
                  <a:pt x="12525" y="6312"/>
                </a:lnTo>
                <a:lnTo>
                  <a:pt x="12521" y="6288"/>
                </a:lnTo>
                <a:lnTo>
                  <a:pt x="12572" y="6281"/>
                </a:lnTo>
                <a:lnTo>
                  <a:pt x="12627" y="6270"/>
                </a:lnTo>
                <a:lnTo>
                  <a:pt x="12684" y="6260"/>
                </a:lnTo>
                <a:lnTo>
                  <a:pt x="12741" y="6246"/>
                </a:lnTo>
                <a:lnTo>
                  <a:pt x="12799" y="6230"/>
                </a:lnTo>
                <a:lnTo>
                  <a:pt x="12853" y="6211"/>
                </a:lnTo>
                <a:lnTo>
                  <a:pt x="12904" y="6189"/>
                </a:lnTo>
                <a:lnTo>
                  <a:pt x="12949" y="6162"/>
                </a:lnTo>
                <a:lnTo>
                  <a:pt x="12881" y="6165"/>
                </a:lnTo>
                <a:lnTo>
                  <a:pt x="12822" y="6175"/>
                </a:lnTo>
                <a:lnTo>
                  <a:pt x="12766" y="6188"/>
                </a:lnTo>
                <a:lnTo>
                  <a:pt x="12713" y="6203"/>
                </a:lnTo>
                <a:lnTo>
                  <a:pt x="12662" y="6218"/>
                </a:lnTo>
                <a:lnTo>
                  <a:pt x="12611" y="6230"/>
                </a:lnTo>
                <a:lnTo>
                  <a:pt x="12555" y="6237"/>
                </a:lnTo>
                <a:lnTo>
                  <a:pt x="12496" y="6237"/>
                </a:lnTo>
                <a:lnTo>
                  <a:pt x="12496" y="6237"/>
                </a:lnTo>
                <a:close/>
                <a:moveTo>
                  <a:pt x="14059" y="5822"/>
                </a:moveTo>
                <a:lnTo>
                  <a:pt x="14084" y="5818"/>
                </a:lnTo>
                <a:lnTo>
                  <a:pt x="14109" y="5815"/>
                </a:lnTo>
                <a:lnTo>
                  <a:pt x="14119" y="5811"/>
                </a:lnTo>
                <a:lnTo>
                  <a:pt x="14127" y="5806"/>
                </a:lnTo>
                <a:lnTo>
                  <a:pt x="14133" y="5797"/>
                </a:lnTo>
                <a:lnTo>
                  <a:pt x="14135" y="5784"/>
                </a:lnTo>
                <a:lnTo>
                  <a:pt x="14112" y="5790"/>
                </a:lnTo>
                <a:lnTo>
                  <a:pt x="14089" y="5796"/>
                </a:lnTo>
                <a:lnTo>
                  <a:pt x="14079" y="5799"/>
                </a:lnTo>
                <a:lnTo>
                  <a:pt x="14070" y="5804"/>
                </a:lnTo>
                <a:lnTo>
                  <a:pt x="14063" y="5812"/>
                </a:lnTo>
                <a:lnTo>
                  <a:pt x="14059" y="5822"/>
                </a:lnTo>
                <a:close/>
                <a:moveTo>
                  <a:pt x="10767" y="6843"/>
                </a:moveTo>
                <a:lnTo>
                  <a:pt x="10784" y="6837"/>
                </a:lnTo>
                <a:lnTo>
                  <a:pt x="10803" y="6833"/>
                </a:lnTo>
                <a:lnTo>
                  <a:pt x="10822" y="6832"/>
                </a:lnTo>
                <a:lnTo>
                  <a:pt x="10843" y="6829"/>
                </a:lnTo>
                <a:lnTo>
                  <a:pt x="10862" y="6827"/>
                </a:lnTo>
                <a:lnTo>
                  <a:pt x="10880" y="6822"/>
                </a:lnTo>
                <a:lnTo>
                  <a:pt x="10895" y="6815"/>
                </a:lnTo>
                <a:lnTo>
                  <a:pt x="10906" y="6805"/>
                </a:lnTo>
                <a:lnTo>
                  <a:pt x="10886" y="6800"/>
                </a:lnTo>
                <a:lnTo>
                  <a:pt x="10866" y="6797"/>
                </a:lnTo>
                <a:lnTo>
                  <a:pt x="10845" y="6797"/>
                </a:lnTo>
                <a:lnTo>
                  <a:pt x="10826" y="6801"/>
                </a:lnTo>
                <a:lnTo>
                  <a:pt x="10809" y="6808"/>
                </a:lnTo>
                <a:lnTo>
                  <a:pt x="10793" y="6816"/>
                </a:lnTo>
                <a:lnTo>
                  <a:pt x="10780" y="6828"/>
                </a:lnTo>
                <a:lnTo>
                  <a:pt x="10767" y="6843"/>
                </a:lnTo>
                <a:lnTo>
                  <a:pt x="10767" y="6843"/>
                </a:lnTo>
                <a:close/>
                <a:moveTo>
                  <a:pt x="19153" y="4498"/>
                </a:moveTo>
                <a:lnTo>
                  <a:pt x="19151" y="4506"/>
                </a:lnTo>
                <a:lnTo>
                  <a:pt x="19146" y="4510"/>
                </a:lnTo>
                <a:lnTo>
                  <a:pt x="19139" y="4514"/>
                </a:lnTo>
                <a:lnTo>
                  <a:pt x="19132" y="4515"/>
                </a:lnTo>
                <a:lnTo>
                  <a:pt x="19125" y="4518"/>
                </a:lnTo>
                <a:lnTo>
                  <a:pt x="19119" y="4521"/>
                </a:lnTo>
                <a:lnTo>
                  <a:pt x="19115" y="4528"/>
                </a:lnTo>
                <a:lnTo>
                  <a:pt x="19115" y="4537"/>
                </a:lnTo>
                <a:lnTo>
                  <a:pt x="19124" y="4547"/>
                </a:lnTo>
                <a:lnTo>
                  <a:pt x="19136" y="4549"/>
                </a:lnTo>
                <a:lnTo>
                  <a:pt x="19147" y="4547"/>
                </a:lnTo>
                <a:lnTo>
                  <a:pt x="19157" y="4539"/>
                </a:lnTo>
                <a:lnTo>
                  <a:pt x="19165" y="4529"/>
                </a:lnTo>
                <a:lnTo>
                  <a:pt x="19167" y="4518"/>
                </a:lnTo>
                <a:lnTo>
                  <a:pt x="19164" y="4507"/>
                </a:lnTo>
                <a:lnTo>
                  <a:pt x="19153" y="4498"/>
                </a:lnTo>
                <a:lnTo>
                  <a:pt x="19153" y="4498"/>
                </a:lnTo>
                <a:close/>
                <a:moveTo>
                  <a:pt x="1727" y="4902"/>
                </a:moveTo>
                <a:lnTo>
                  <a:pt x="1745" y="4902"/>
                </a:lnTo>
                <a:lnTo>
                  <a:pt x="1761" y="4901"/>
                </a:lnTo>
                <a:lnTo>
                  <a:pt x="1775" y="4898"/>
                </a:lnTo>
                <a:lnTo>
                  <a:pt x="1788" y="4893"/>
                </a:lnTo>
                <a:lnTo>
                  <a:pt x="1799" y="4887"/>
                </a:lnTo>
                <a:lnTo>
                  <a:pt x="1810" y="4880"/>
                </a:lnTo>
                <a:lnTo>
                  <a:pt x="1819" y="4873"/>
                </a:lnTo>
                <a:lnTo>
                  <a:pt x="1829" y="4864"/>
                </a:lnTo>
                <a:lnTo>
                  <a:pt x="1811" y="4864"/>
                </a:lnTo>
                <a:lnTo>
                  <a:pt x="1794" y="4865"/>
                </a:lnTo>
                <a:lnTo>
                  <a:pt x="1780" y="4869"/>
                </a:lnTo>
                <a:lnTo>
                  <a:pt x="1768" y="4873"/>
                </a:lnTo>
                <a:lnTo>
                  <a:pt x="1756" y="4879"/>
                </a:lnTo>
                <a:lnTo>
                  <a:pt x="1746" y="4885"/>
                </a:lnTo>
                <a:lnTo>
                  <a:pt x="1737" y="4894"/>
                </a:lnTo>
                <a:lnTo>
                  <a:pt x="1727" y="4902"/>
                </a:lnTo>
                <a:close/>
                <a:moveTo>
                  <a:pt x="1639" y="4827"/>
                </a:moveTo>
                <a:lnTo>
                  <a:pt x="1652" y="4833"/>
                </a:lnTo>
                <a:lnTo>
                  <a:pt x="1666" y="4838"/>
                </a:lnTo>
                <a:lnTo>
                  <a:pt x="1682" y="4840"/>
                </a:lnTo>
                <a:lnTo>
                  <a:pt x="1699" y="4838"/>
                </a:lnTo>
                <a:lnTo>
                  <a:pt x="1715" y="4835"/>
                </a:lnTo>
                <a:lnTo>
                  <a:pt x="1731" y="4829"/>
                </a:lnTo>
                <a:lnTo>
                  <a:pt x="1743" y="4822"/>
                </a:lnTo>
                <a:lnTo>
                  <a:pt x="1752" y="4814"/>
                </a:lnTo>
                <a:lnTo>
                  <a:pt x="1743" y="4800"/>
                </a:lnTo>
                <a:lnTo>
                  <a:pt x="1729" y="4791"/>
                </a:lnTo>
                <a:lnTo>
                  <a:pt x="1712" y="4787"/>
                </a:lnTo>
                <a:lnTo>
                  <a:pt x="1691" y="4787"/>
                </a:lnTo>
                <a:lnTo>
                  <a:pt x="1672" y="4791"/>
                </a:lnTo>
                <a:lnTo>
                  <a:pt x="1656" y="4800"/>
                </a:lnTo>
                <a:lnTo>
                  <a:pt x="1644" y="4812"/>
                </a:lnTo>
                <a:lnTo>
                  <a:pt x="1639" y="4827"/>
                </a:lnTo>
                <a:close/>
                <a:moveTo>
                  <a:pt x="2598" y="4838"/>
                </a:moveTo>
                <a:lnTo>
                  <a:pt x="2571" y="4838"/>
                </a:lnTo>
                <a:lnTo>
                  <a:pt x="2547" y="4840"/>
                </a:lnTo>
                <a:lnTo>
                  <a:pt x="2538" y="4842"/>
                </a:lnTo>
                <a:lnTo>
                  <a:pt x="2529" y="4847"/>
                </a:lnTo>
                <a:lnTo>
                  <a:pt x="2524" y="4854"/>
                </a:lnTo>
                <a:lnTo>
                  <a:pt x="2522" y="4864"/>
                </a:lnTo>
                <a:lnTo>
                  <a:pt x="2533" y="4863"/>
                </a:lnTo>
                <a:lnTo>
                  <a:pt x="2546" y="4864"/>
                </a:lnTo>
                <a:lnTo>
                  <a:pt x="2560" y="4865"/>
                </a:lnTo>
                <a:lnTo>
                  <a:pt x="2574" y="4866"/>
                </a:lnTo>
                <a:lnTo>
                  <a:pt x="2585" y="4865"/>
                </a:lnTo>
                <a:lnTo>
                  <a:pt x="2594" y="4861"/>
                </a:lnTo>
                <a:lnTo>
                  <a:pt x="2599" y="4852"/>
                </a:lnTo>
                <a:lnTo>
                  <a:pt x="2598" y="4838"/>
                </a:lnTo>
                <a:lnTo>
                  <a:pt x="2598" y="4838"/>
                </a:lnTo>
                <a:close/>
                <a:moveTo>
                  <a:pt x="15081" y="1713"/>
                </a:moveTo>
                <a:lnTo>
                  <a:pt x="15109" y="1717"/>
                </a:lnTo>
                <a:lnTo>
                  <a:pt x="15130" y="1720"/>
                </a:lnTo>
                <a:lnTo>
                  <a:pt x="15139" y="1718"/>
                </a:lnTo>
                <a:lnTo>
                  <a:pt x="15148" y="1716"/>
                </a:lnTo>
                <a:lnTo>
                  <a:pt x="15158" y="1711"/>
                </a:lnTo>
                <a:lnTo>
                  <a:pt x="15169" y="1701"/>
                </a:lnTo>
                <a:lnTo>
                  <a:pt x="15156" y="1697"/>
                </a:lnTo>
                <a:lnTo>
                  <a:pt x="15143" y="1693"/>
                </a:lnTo>
                <a:lnTo>
                  <a:pt x="15130" y="1690"/>
                </a:lnTo>
                <a:lnTo>
                  <a:pt x="15119" y="1690"/>
                </a:lnTo>
                <a:lnTo>
                  <a:pt x="15108" y="1692"/>
                </a:lnTo>
                <a:lnTo>
                  <a:pt x="15096" y="1695"/>
                </a:lnTo>
                <a:lnTo>
                  <a:pt x="15087" y="1703"/>
                </a:lnTo>
                <a:lnTo>
                  <a:pt x="15081" y="1713"/>
                </a:lnTo>
                <a:close/>
                <a:moveTo>
                  <a:pt x="2724" y="4675"/>
                </a:moveTo>
                <a:lnTo>
                  <a:pt x="2713" y="4674"/>
                </a:lnTo>
                <a:lnTo>
                  <a:pt x="2704" y="4672"/>
                </a:lnTo>
                <a:lnTo>
                  <a:pt x="2696" y="4668"/>
                </a:lnTo>
                <a:lnTo>
                  <a:pt x="2690" y="4665"/>
                </a:lnTo>
                <a:lnTo>
                  <a:pt x="2683" y="4664"/>
                </a:lnTo>
                <a:lnTo>
                  <a:pt x="2676" y="4665"/>
                </a:lnTo>
                <a:lnTo>
                  <a:pt x="2669" y="4668"/>
                </a:lnTo>
                <a:lnTo>
                  <a:pt x="2660" y="4675"/>
                </a:lnTo>
                <a:lnTo>
                  <a:pt x="2660" y="4689"/>
                </a:lnTo>
                <a:lnTo>
                  <a:pt x="2667" y="4698"/>
                </a:lnTo>
                <a:lnTo>
                  <a:pt x="2677" y="4702"/>
                </a:lnTo>
                <a:lnTo>
                  <a:pt x="2690" y="4702"/>
                </a:lnTo>
                <a:lnTo>
                  <a:pt x="2704" y="4698"/>
                </a:lnTo>
                <a:lnTo>
                  <a:pt x="2715" y="4693"/>
                </a:lnTo>
                <a:lnTo>
                  <a:pt x="2723" y="4684"/>
                </a:lnTo>
                <a:lnTo>
                  <a:pt x="2724" y="4675"/>
                </a:lnTo>
                <a:close/>
                <a:moveTo>
                  <a:pt x="3505" y="4511"/>
                </a:moveTo>
                <a:lnTo>
                  <a:pt x="3529" y="4510"/>
                </a:lnTo>
                <a:lnTo>
                  <a:pt x="3552" y="4507"/>
                </a:lnTo>
                <a:lnTo>
                  <a:pt x="3572" y="4502"/>
                </a:lnTo>
                <a:lnTo>
                  <a:pt x="3590" y="4496"/>
                </a:lnTo>
                <a:lnTo>
                  <a:pt x="3608" y="4488"/>
                </a:lnTo>
                <a:lnTo>
                  <a:pt x="3624" y="4479"/>
                </a:lnTo>
                <a:lnTo>
                  <a:pt x="3641" y="4470"/>
                </a:lnTo>
                <a:lnTo>
                  <a:pt x="3656" y="4460"/>
                </a:lnTo>
                <a:lnTo>
                  <a:pt x="3646" y="4463"/>
                </a:lnTo>
                <a:lnTo>
                  <a:pt x="3636" y="4459"/>
                </a:lnTo>
                <a:lnTo>
                  <a:pt x="3627" y="4451"/>
                </a:lnTo>
                <a:lnTo>
                  <a:pt x="3621" y="4444"/>
                </a:lnTo>
                <a:lnTo>
                  <a:pt x="3613" y="4437"/>
                </a:lnTo>
                <a:lnTo>
                  <a:pt x="3607" y="4435"/>
                </a:lnTo>
                <a:lnTo>
                  <a:pt x="3600" y="4437"/>
                </a:lnTo>
                <a:lnTo>
                  <a:pt x="3594" y="4449"/>
                </a:lnTo>
                <a:lnTo>
                  <a:pt x="3595" y="4454"/>
                </a:lnTo>
                <a:lnTo>
                  <a:pt x="3587" y="4460"/>
                </a:lnTo>
                <a:lnTo>
                  <a:pt x="3575" y="4467"/>
                </a:lnTo>
                <a:lnTo>
                  <a:pt x="3559" y="4474"/>
                </a:lnTo>
                <a:lnTo>
                  <a:pt x="3542" y="4482"/>
                </a:lnTo>
                <a:lnTo>
                  <a:pt x="3525" y="4490"/>
                </a:lnTo>
                <a:lnTo>
                  <a:pt x="3512" y="4500"/>
                </a:lnTo>
                <a:lnTo>
                  <a:pt x="3505" y="4511"/>
                </a:lnTo>
                <a:close/>
                <a:moveTo>
                  <a:pt x="2963" y="4712"/>
                </a:moveTo>
                <a:lnTo>
                  <a:pt x="3016" y="4708"/>
                </a:lnTo>
                <a:lnTo>
                  <a:pt x="3063" y="4700"/>
                </a:lnTo>
                <a:lnTo>
                  <a:pt x="3106" y="4686"/>
                </a:lnTo>
                <a:lnTo>
                  <a:pt x="3146" y="4668"/>
                </a:lnTo>
                <a:lnTo>
                  <a:pt x="3182" y="4649"/>
                </a:lnTo>
                <a:lnTo>
                  <a:pt x="3218" y="4627"/>
                </a:lnTo>
                <a:lnTo>
                  <a:pt x="3254" y="4607"/>
                </a:lnTo>
                <a:lnTo>
                  <a:pt x="3291" y="4586"/>
                </a:lnTo>
                <a:lnTo>
                  <a:pt x="3317" y="4584"/>
                </a:lnTo>
                <a:lnTo>
                  <a:pt x="3348" y="4581"/>
                </a:lnTo>
                <a:lnTo>
                  <a:pt x="3379" y="4575"/>
                </a:lnTo>
                <a:lnTo>
                  <a:pt x="3409" y="4568"/>
                </a:lnTo>
                <a:lnTo>
                  <a:pt x="3437" y="4558"/>
                </a:lnTo>
                <a:lnTo>
                  <a:pt x="3460" y="4546"/>
                </a:lnTo>
                <a:lnTo>
                  <a:pt x="3474" y="4530"/>
                </a:lnTo>
                <a:lnTo>
                  <a:pt x="3480" y="4511"/>
                </a:lnTo>
                <a:lnTo>
                  <a:pt x="3470" y="4519"/>
                </a:lnTo>
                <a:lnTo>
                  <a:pt x="3458" y="4521"/>
                </a:lnTo>
                <a:lnTo>
                  <a:pt x="3444" y="4520"/>
                </a:lnTo>
                <a:lnTo>
                  <a:pt x="3428" y="4516"/>
                </a:lnTo>
                <a:lnTo>
                  <a:pt x="3410" y="4511"/>
                </a:lnTo>
                <a:lnTo>
                  <a:pt x="3393" y="4509"/>
                </a:lnTo>
                <a:lnTo>
                  <a:pt x="3374" y="4507"/>
                </a:lnTo>
                <a:lnTo>
                  <a:pt x="3354" y="4511"/>
                </a:lnTo>
                <a:lnTo>
                  <a:pt x="3353" y="4520"/>
                </a:lnTo>
                <a:lnTo>
                  <a:pt x="3352" y="4528"/>
                </a:lnTo>
                <a:lnTo>
                  <a:pt x="3349" y="4535"/>
                </a:lnTo>
                <a:lnTo>
                  <a:pt x="3347" y="4542"/>
                </a:lnTo>
                <a:lnTo>
                  <a:pt x="3344" y="4548"/>
                </a:lnTo>
                <a:lnTo>
                  <a:pt x="3339" y="4553"/>
                </a:lnTo>
                <a:lnTo>
                  <a:pt x="3334" y="4558"/>
                </a:lnTo>
                <a:lnTo>
                  <a:pt x="3329" y="4562"/>
                </a:lnTo>
                <a:lnTo>
                  <a:pt x="3310" y="4552"/>
                </a:lnTo>
                <a:lnTo>
                  <a:pt x="3291" y="4542"/>
                </a:lnTo>
                <a:lnTo>
                  <a:pt x="3281" y="4538"/>
                </a:lnTo>
                <a:lnTo>
                  <a:pt x="3269" y="4535"/>
                </a:lnTo>
                <a:lnTo>
                  <a:pt x="3256" y="4535"/>
                </a:lnTo>
                <a:lnTo>
                  <a:pt x="3241" y="4537"/>
                </a:lnTo>
                <a:lnTo>
                  <a:pt x="3188" y="4571"/>
                </a:lnTo>
                <a:lnTo>
                  <a:pt x="3129" y="4598"/>
                </a:lnTo>
                <a:lnTo>
                  <a:pt x="3065" y="4621"/>
                </a:lnTo>
                <a:lnTo>
                  <a:pt x="3000" y="4644"/>
                </a:lnTo>
                <a:lnTo>
                  <a:pt x="2938" y="4666"/>
                </a:lnTo>
                <a:lnTo>
                  <a:pt x="2879" y="4694"/>
                </a:lnTo>
                <a:lnTo>
                  <a:pt x="2827" y="4730"/>
                </a:lnTo>
                <a:lnTo>
                  <a:pt x="2786" y="4776"/>
                </a:lnTo>
                <a:lnTo>
                  <a:pt x="2826" y="4762"/>
                </a:lnTo>
                <a:lnTo>
                  <a:pt x="2858" y="4749"/>
                </a:lnTo>
                <a:lnTo>
                  <a:pt x="2873" y="4744"/>
                </a:lnTo>
                <a:lnTo>
                  <a:pt x="2892" y="4743"/>
                </a:lnTo>
                <a:lnTo>
                  <a:pt x="2912" y="4745"/>
                </a:lnTo>
                <a:lnTo>
                  <a:pt x="2938" y="4750"/>
                </a:lnTo>
                <a:lnTo>
                  <a:pt x="2943" y="4740"/>
                </a:lnTo>
                <a:lnTo>
                  <a:pt x="2948" y="4730"/>
                </a:lnTo>
                <a:lnTo>
                  <a:pt x="2955" y="4720"/>
                </a:lnTo>
                <a:lnTo>
                  <a:pt x="2963" y="4712"/>
                </a:lnTo>
                <a:close/>
                <a:moveTo>
                  <a:pt x="15609" y="1297"/>
                </a:moveTo>
                <a:lnTo>
                  <a:pt x="15584" y="1278"/>
                </a:lnTo>
                <a:lnTo>
                  <a:pt x="15553" y="1267"/>
                </a:lnTo>
                <a:lnTo>
                  <a:pt x="15520" y="1264"/>
                </a:lnTo>
                <a:lnTo>
                  <a:pt x="15483" y="1267"/>
                </a:lnTo>
                <a:lnTo>
                  <a:pt x="15448" y="1275"/>
                </a:lnTo>
                <a:lnTo>
                  <a:pt x="15414" y="1288"/>
                </a:lnTo>
                <a:lnTo>
                  <a:pt x="15383" y="1305"/>
                </a:lnTo>
                <a:lnTo>
                  <a:pt x="15357" y="1323"/>
                </a:lnTo>
                <a:lnTo>
                  <a:pt x="15388" y="1330"/>
                </a:lnTo>
                <a:lnTo>
                  <a:pt x="15421" y="1329"/>
                </a:lnTo>
                <a:lnTo>
                  <a:pt x="15454" y="1324"/>
                </a:lnTo>
                <a:lnTo>
                  <a:pt x="15488" y="1316"/>
                </a:lnTo>
                <a:lnTo>
                  <a:pt x="15521" y="1307"/>
                </a:lnTo>
                <a:lnTo>
                  <a:pt x="15553" y="1300"/>
                </a:lnTo>
                <a:lnTo>
                  <a:pt x="15584" y="1296"/>
                </a:lnTo>
                <a:lnTo>
                  <a:pt x="15609" y="1297"/>
                </a:lnTo>
                <a:close/>
                <a:moveTo>
                  <a:pt x="19695" y="4033"/>
                </a:moveTo>
                <a:lnTo>
                  <a:pt x="19704" y="4029"/>
                </a:lnTo>
                <a:lnTo>
                  <a:pt x="19715" y="4026"/>
                </a:lnTo>
                <a:lnTo>
                  <a:pt x="19725" y="4025"/>
                </a:lnTo>
                <a:lnTo>
                  <a:pt x="19737" y="4024"/>
                </a:lnTo>
                <a:lnTo>
                  <a:pt x="19747" y="4021"/>
                </a:lnTo>
                <a:lnTo>
                  <a:pt x="19757" y="4019"/>
                </a:lnTo>
                <a:lnTo>
                  <a:pt x="19765" y="4013"/>
                </a:lnTo>
                <a:lnTo>
                  <a:pt x="19771" y="4007"/>
                </a:lnTo>
                <a:lnTo>
                  <a:pt x="19762" y="4002"/>
                </a:lnTo>
                <a:lnTo>
                  <a:pt x="19752" y="3998"/>
                </a:lnTo>
                <a:lnTo>
                  <a:pt x="19739" y="3998"/>
                </a:lnTo>
                <a:lnTo>
                  <a:pt x="19727" y="3999"/>
                </a:lnTo>
                <a:lnTo>
                  <a:pt x="19714" y="4003"/>
                </a:lnTo>
                <a:lnTo>
                  <a:pt x="19705" y="4010"/>
                </a:lnTo>
                <a:lnTo>
                  <a:pt x="19697" y="4020"/>
                </a:lnTo>
                <a:lnTo>
                  <a:pt x="19695" y="4033"/>
                </a:lnTo>
                <a:lnTo>
                  <a:pt x="19695" y="4033"/>
                </a:lnTo>
                <a:close/>
                <a:moveTo>
                  <a:pt x="19216" y="4108"/>
                </a:moveTo>
                <a:lnTo>
                  <a:pt x="19217" y="4118"/>
                </a:lnTo>
                <a:lnTo>
                  <a:pt x="19225" y="4122"/>
                </a:lnTo>
                <a:lnTo>
                  <a:pt x="19235" y="4122"/>
                </a:lnTo>
                <a:lnTo>
                  <a:pt x="19248" y="4120"/>
                </a:lnTo>
                <a:lnTo>
                  <a:pt x="19260" y="4119"/>
                </a:lnTo>
                <a:lnTo>
                  <a:pt x="19271" y="4119"/>
                </a:lnTo>
                <a:lnTo>
                  <a:pt x="19278" y="4123"/>
                </a:lnTo>
                <a:lnTo>
                  <a:pt x="19280" y="4133"/>
                </a:lnTo>
                <a:lnTo>
                  <a:pt x="19259" y="4133"/>
                </a:lnTo>
                <a:lnTo>
                  <a:pt x="19249" y="4134"/>
                </a:lnTo>
                <a:lnTo>
                  <a:pt x="19246" y="4137"/>
                </a:lnTo>
                <a:lnTo>
                  <a:pt x="19249" y="4139"/>
                </a:lnTo>
                <a:lnTo>
                  <a:pt x="19254" y="4143"/>
                </a:lnTo>
                <a:lnTo>
                  <a:pt x="19260" y="4150"/>
                </a:lnTo>
                <a:lnTo>
                  <a:pt x="19264" y="4159"/>
                </a:lnTo>
                <a:lnTo>
                  <a:pt x="19267" y="4171"/>
                </a:lnTo>
                <a:lnTo>
                  <a:pt x="19249" y="4165"/>
                </a:lnTo>
                <a:lnTo>
                  <a:pt x="19231" y="4160"/>
                </a:lnTo>
                <a:lnTo>
                  <a:pt x="19215" y="4156"/>
                </a:lnTo>
                <a:lnTo>
                  <a:pt x="19198" y="4152"/>
                </a:lnTo>
                <a:lnTo>
                  <a:pt x="19167" y="4148"/>
                </a:lnTo>
                <a:lnTo>
                  <a:pt x="19141" y="4146"/>
                </a:lnTo>
                <a:lnTo>
                  <a:pt x="19142" y="4139"/>
                </a:lnTo>
                <a:lnTo>
                  <a:pt x="19146" y="4136"/>
                </a:lnTo>
                <a:lnTo>
                  <a:pt x="19151" y="4132"/>
                </a:lnTo>
                <a:lnTo>
                  <a:pt x="19156" y="4129"/>
                </a:lnTo>
                <a:lnTo>
                  <a:pt x="19161" y="4127"/>
                </a:lnTo>
                <a:lnTo>
                  <a:pt x="19165" y="4123"/>
                </a:lnTo>
                <a:lnTo>
                  <a:pt x="19166" y="4117"/>
                </a:lnTo>
                <a:lnTo>
                  <a:pt x="19165" y="4108"/>
                </a:lnTo>
                <a:lnTo>
                  <a:pt x="19122" y="4101"/>
                </a:lnTo>
                <a:lnTo>
                  <a:pt x="19082" y="4103"/>
                </a:lnTo>
                <a:lnTo>
                  <a:pt x="19045" y="4110"/>
                </a:lnTo>
                <a:lnTo>
                  <a:pt x="19010" y="4122"/>
                </a:lnTo>
                <a:lnTo>
                  <a:pt x="18974" y="4134"/>
                </a:lnTo>
                <a:lnTo>
                  <a:pt x="18937" y="4147"/>
                </a:lnTo>
                <a:lnTo>
                  <a:pt x="18896" y="4155"/>
                </a:lnTo>
                <a:lnTo>
                  <a:pt x="18850" y="4159"/>
                </a:lnTo>
                <a:lnTo>
                  <a:pt x="18852" y="4173"/>
                </a:lnTo>
                <a:lnTo>
                  <a:pt x="18861" y="4183"/>
                </a:lnTo>
                <a:lnTo>
                  <a:pt x="18875" y="4192"/>
                </a:lnTo>
                <a:lnTo>
                  <a:pt x="18890" y="4197"/>
                </a:lnTo>
                <a:lnTo>
                  <a:pt x="18908" y="4199"/>
                </a:lnTo>
                <a:lnTo>
                  <a:pt x="18922" y="4201"/>
                </a:lnTo>
                <a:lnTo>
                  <a:pt x="18933" y="4199"/>
                </a:lnTo>
                <a:lnTo>
                  <a:pt x="18938" y="4196"/>
                </a:lnTo>
                <a:lnTo>
                  <a:pt x="18929" y="4187"/>
                </a:lnTo>
                <a:lnTo>
                  <a:pt x="18932" y="4180"/>
                </a:lnTo>
                <a:lnTo>
                  <a:pt x="18942" y="4176"/>
                </a:lnTo>
                <a:lnTo>
                  <a:pt x="18956" y="4173"/>
                </a:lnTo>
                <a:lnTo>
                  <a:pt x="18974" y="4170"/>
                </a:lnTo>
                <a:lnTo>
                  <a:pt x="18992" y="4167"/>
                </a:lnTo>
                <a:lnTo>
                  <a:pt x="19006" y="4164"/>
                </a:lnTo>
                <a:lnTo>
                  <a:pt x="19015" y="4159"/>
                </a:lnTo>
                <a:lnTo>
                  <a:pt x="19013" y="4169"/>
                </a:lnTo>
                <a:lnTo>
                  <a:pt x="19016" y="4176"/>
                </a:lnTo>
                <a:lnTo>
                  <a:pt x="19018" y="4183"/>
                </a:lnTo>
                <a:lnTo>
                  <a:pt x="19022" y="4188"/>
                </a:lnTo>
                <a:lnTo>
                  <a:pt x="19026" y="4194"/>
                </a:lnTo>
                <a:lnTo>
                  <a:pt x="19029" y="4201"/>
                </a:lnTo>
                <a:lnTo>
                  <a:pt x="19029" y="4210"/>
                </a:lnTo>
                <a:lnTo>
                  <a:pt x="19027" y="4221"/>
                </a:lnTo>
                <a:lnTo>
                  <a:pt x="19076" y="4215"/>
                </a:lnTo>
                <a:lnTo>
                  <a:pt x="19129" y="4210"/>
                </a:lnTo>
                <a:lnTo>
                  <a:pt x="19185" y="4204"/>
                </a:lnTo>
                <a:lnTo>
                  <a:pt x="19243" y="4198"/>
                </a:lnTo>
                <a:lnTo>
                  <a:pt x="19300" y="4189"/>
                </a:lnTo>
                <a:lnTo>
                  <a:pt x="19352" y="4176"/>
                </a:lnTo>
                <a:lnTo>
                  <a:pt x="19400" y="4159"/>
                </a:lnTo>
                <a:lnTo>
                  <a:pt x="19443" y="4133"/>
                </a:lnTo>
                <a:lnTo>
                  <a:pt x="19418" y="4129"/>
                </a:lnTo>
                <a:lnTo>
                  <a:pt x="19398" y="4128"/>
                </a:lnTo>
                <a:lnTo>
                  <a:pt x="19379" y="4129"/>
                </a:lnTo>
                <a:lnTo>
                  <a:pt x="19361" y="4129"/>
                </a:lnTo>
                <a:lnTo>
                  <a:pt x="19346" y="4129"/>
                </a:lnTo>
                <a:lnTo>
                  <a:pt x="19332" y="4125"/>
                </a:lnTo>
                <a:lnTo>
                  <a:pt x="19318" y="4119"/>
                </a:lnTo>
                <a:lnTo>
                  <a:pt x="19304" y="4108"/>
                </a:lnTo>
                <a:lnTo>
                  <a:pt x="19323" y="4103"/>
                </a:lnTo>
                <a:lnTo>
                  <a:pt x="19339" y="4100"/>
                </a:lnTo>
                <a:lnTo>
                  <a:pt x="19352" y="4099"/>
                </a:lnTo>
                <a:lnTo>
                  <a:pt x="19365" y="4099"/>
                </a:lnTo>
                <a:lnTo>
                  <a:pt x="19376" y="4101"/>
                </a:lnTo>
                <a:lnTo>
                  <a:pt x="19388" y="4105"/>
                </a:lnTo>
                <a:lnTo>
                  <a:pt x="19402" y="4111"/>
                </a:lnTo>
                <a:lnTo>
                  <a:pt x="19418" y="4120"/>
                </a:lnTo>
                <a:lnTo>
                  <a:pt x="19425" y="4114"/>
                </a:lnTo>
                <a:lnTo>
                  <a:pt x="19427" y="4108"/>
                </a:lnTo>
                <a:lnTo>
                  <a:pt x="19426" y="4103"/>
                </a:lnTo>
                <a:lnTo>
                  <a:pt x="19423" y="4097"/>
                </a:lnTo>
                <a:lnTo>
                  <a:pt x="19421" y="4092"/>
                </a:lnTo>
                <a:lnTo>
                  <a:pt x="19421" y="4089"/>
                </a:lnTo>
                <a:lnTo>
                  <a:pt x="19422" y="4086"/>
                </a:lnTo>
                <a:lnTo>
                  <a:pt x="19430" y="4082"/>
                </a:lnTo>
                <a:lnTo>
                  <a:pt x="19445" y="4086"/>
                </a:lnTo>
                <a:lnTo>
                  <a:pt x="19459" y="4086"/>
                </a:lnTo>
                <a:lnTo>
                  <a:pt x="19473" y="4082"/>
                </a:lnTo>
                <a:lnTo>
                  <a:pt x="19485" y="4077"/>
                </a:lnTo>
                <a:lnTo>
                  <a:pt x="19496" y="4073"/>
                </a:lnTo>
                <a:lnTo>
                  <a:pt x="19505" y="4072"/>
                </a:lnTo>
                <a:lnTo>
                  <a:pt x="19513" y="4075"/>
                </a:lnTo>
                <a:lnTo>
                  <a:pt x="19519" y="4082"/>
                </a:lnTo>
                <a:lnTo>
                  <a:pt x="19513" y="4087"/>
                </a:lnTo>
                <a:lnTo>
                  <a:pt x="19505" y="4091"/>
                </a:lnTo>
                <a:lnTo>
                  <a:pt x="19496" y="4094"/>
                </a:lnTo>
                <a:lnTo>
                  <a:pt x="19487" y="4095"/>
                </a:lnTo>
                <a:lnTo>
                  <a:pt x="19465" y="4096"/>
                </a:lnTo>
                <a:lnTo>
                  <a:pt x="19443" y="4095"/>
                </a:lnTo>
                <a:lnTo>
                  <a:pt x="19446" y="4111"/>
                </a:lnTo>
                <a:lnTo>
                  <a:pt x="19458" y="4125"/>
                </a:lnTo>
                <a:lnTo>
                  <a:pt x="19474" y="4136"/>
                </a:lnTo>
                <a:lnTo>
                  <a:pt x="19495" y="4142"/>
                </a:lnTo>
                <a:lnTo>
                  <a:pt x="19515" y="4145"/>
                </a:lnTo>
                <a:lnTo>
                  <a:pt x="19534" y="4142"/>
                </a:lnTo>
                <a:lnTo>
                  <a:pt x="19548" y="4134"/>
                </a:lnTo>
                <a:lnTo>
                  <a:pt x="19556" y="4120"/>
                </a:lnTo>
                <a:lnTo>
                  <a:pt x="19538" y="4118"/>
                </a:lnTo>
                <a:lnTo>
                  <a:pt x="19530" y="4114"/>
                </a:lnTo>
                <a:lnTo>
                  <a:pt x="19530" y="4109"/>
                </a:lnTo>
                <a:lnTo>
                  <a:pt x="19537" y="4104"/>
                </a:lnTo>
                <a:lnTo>
                  <a:pt x="19555" y="4092"/>
                </a:lnTo>
                <a:lnTo>
                  <a:pt x="19569" y="4082"/>
                </a:lnTo>
                <a:lnTo>
                  <a:pt x="19557" y="4082"/>
                </a:lnTo>
                <a:lnTo>
                  <a:pt x="19546" y="4081"/>
                </a:lnTo>
                <a:lnTo>
                  <a:pt x="19541" y="4080"/>
                </a:lnTo>
                <a:lnTo>
                  <a:pt x="19535" y="4078"/>
                </a:lnTo>
                <a:lnTo>
                  <a:pt x="19533" y="4075"/>
                </a:lnTo>
                <a:lnTo>
                  <a:pt x="19532" y="4069"/>
                </a:lnTo>
                <a:lnTo>
                  <a:pt x="19542" y="4068"/>
                </a:lnTo>
                <a:lnTo>
                  <a:pt x="19552" y="4066"/>
                </a:lnTo>
                <a:lnTo>
                  <a:pt x="19560" y="4062"/>
                </a:lnTo>
                <a:lnTo>
                  <a:pt x="19567" y="4057"/>
                </a:lnTo>
                <a:lnTo>
                  <a:pt x="19581" y="4044"/>
                </a:lnTo>
                <a:lnTo>
                  <a:pt x="19594" y="4033"/>
                </a:lnTo>
                <a:lnTo>
                  <a:pt x="19551" y="4033"/>
                </a:lnTo>
                <a:lnTo>
                  <a:pt x="19502" y="4034"/>
                </a:lnTo>
                <a:lnTo>
                  <a:pt x="19450" y="4040"/>
                </a:lnTo>
                <a:lnTo>
                  <a:pt x="19398" y="4048"/>
                </a:lnTo>
                <a:lnTo>
                  <a:pt x="19346" y="4058"/>
                </a:lnTo>
                <a:lnTo>
                  <a:pt x="19297" y="4072"/>
                </a:lnTo>
                <a:lnTo>
                  <a:pt x="19254" y="4089"/>
                </a:lnTo>
                <a:lnTo>
                  <a:pt x="19216" y="4108"/>
                </a:lnTo>
                <a:close/>
                <a:moveTo>
                  <a:pt x="19064" y="5218"/>
                </a:moveTo>
                <a:lnTo>
                  <a:pt x="19053" y="5218"/>
                </a:lnTo>
                <a:lnTo>
                  <a:pt x="19041" y="5219"/>
                </a:lnTo>
                <a:lnTo>
                  <a:pt x="19031" y="5220"/>
                </a:lnTo>
                <a:lnTo>
                  <a:pt x="19021" y="5223"/>
                </a:lnTo>
                <a:lnTo>
                  <a:pt x="19011" y="5227"/>
                </a:lnTo>
                <a:lnTo>
                  <a:pt x="19003" y="5230"/>
                </a:lnTo>
                <a:lnTo>
                  <a:pt x="18996" y="5235"/>
                </a:lnTo>
                <a:lnTo>
                  <a:pt x="18989" y="5242"/>
                </a:lnTo>
                <a:lnTo>
                  <a:pt x="18999" y="5249"/>
                </a:lnTo>
                <a:lnTo>
                  <a:pt x="19011" y="5253"/>
                </a:lnTo>
                <a:lnTo>
                  <a:pt x="19022" y="5255"/>
                </a:lnTo>
                <a:lnTo>
                  <a:pt x="19034" y="5251"/>
                </a:lnTo>
                <a:lnTo>
                  <a:pt x="19045" y="5246"/>
                </a:lnTo>
                <a:lnTo>
                  <a:pt x="19054" y="5237"/>
                </a:lnTo>
                <a:lnTo>
                  <a:pt x="19060" y="5228"/>
                </a:lnTo>
                <a:lnTo>
                  <a:pt x="19064" y="5218"/>
                </a:lnTo>
                <a:close/>
                <a:moveTo>
                  <a:pt x="19998" y="3943"/>
                </a:moveTo>
                <a:lnTo>
                  <a:pt x="20000" y="3959"/>
                </a:lnTo>
                <a:lnTo>
                  <a:pt x="20009" y="3968"/>
                </a:lnTo>
                <a:lnTo>
                  <a:pt x="20021" y="3974"/>
                </a:lnTo>
                <a:lnTo>
                  <a:pt x="20033" y="3977"/>
                </a:lnTo>
                <a:lnTo>
                  <a:pt x="20049" y="3979"/>
                </a:lnTo>
                <a:lnTo>
                  <a:pt x="20063" y="3983"/>
                </a:lnTo>
                <a:lnTo>
                  <a:pt x="20075" y="3987"/>
                </a:lnTo>
                <a:lnTo>
                  <a:pt x="20086" y="3994"/>
                </a:lnTo>
                <a:lnTo>
                  <a:pt x="20109" y="3969"/>
                </a:lnTo>
                <a:lnTo>
                  <a:pt x="20139" y="3954"/>
                </a:lnTo>
                <a:lnTo>
                  <a:pt x="20175" y="3946"/>
                </a:lnTo>
                <a:lnTo>
                  <a:pt x="20216" y="3942"/>
                </a:lnTo>
                <a:lnTo>
                  <a:pt x="20258" y="3941"/>
                </a:lnTo>
                <a:lnTo>
                  <a:pt x="20300" y="3937"/>
                </a:lnTo>
                <a:lnTo>
                  <a:pt x="20339" y="3932"/>
                </a:lnTo>
                <a:lnTo>
                  <a:pt x="20376" y="3919"/>
                </a:lnTo>
                <a:lnTo>
                  <a:pt x="20347" y="3901"/>
                </a:lnTo>
                <a:lnTo>
                  <a:pt x="20305" y="3895"/>
                </a:lnTo>
                <a:lnTo>
                  <a:pt x="20255" y="3899"/>
                </a:lnTo>
                <a:lnTo>
                  <a:pt x="20199" y="3908"/>
                </a:lnTo>
                <a:lnTo>
                  <a:pt x="20143" y="3921"/>
                </a:lnTo>
                <a:lnTo>
                  <a:pt x="20087" y="3932"/>
                </a:lnTo>
                <a:lnTo>
                  <a:pt x="20039" y="3941"/>
                </a:lnTo>
                <a:lnTo>
                  <a:pt x="19998" y="3943"/>
                </a:lnTo>
                <a:close/>
                <a:moveTo>
                  <a:pt x="19166" y="5141"/>
                </a:moveTo>
                <a:lnTo>
                  <a:pt x="19077" y="5141"/>
                </a:lnTo>
                <a:lnTo>
                  <a:pt x="19081" y="5158"/>
                </a:lnTo>
                <a:lnTo>
                  <a:pt x="19090" y="5169"/>
                </a:lnTo>
                <a:lnTo>
                  <a:pt x="19104" y="5176"/>
                </a:lnTo>
                <a:lnTo>
                  <a:pt x="19119" y="5177"/>
                </a:lnTo>
                <a:lnTo>
                  <a:pt x="19136" y="5174"/>
                </a:lnTo>
                <a:lnTo>
                  <a:pt x="19151" y="5167"/>
                </a:lnTo>
                <a:lnTo>
                  <a:pt x="19161" y="5157"/>
                </a:lnTo>
                <a:lnTo>
                  <a:pt x="19165" y="5141"/>
                </a:lnTo>
                <a:lnTo>
                  <a:pt x="19166" y="5141"/>
                </a:lnTo>
                <a:close/>
                <a:moveTo>
                  <a:pt x="19115" y="4436"/>
                </a:moveTo>
                <a:lnTo>
                  <a:pt x="19128" y="4440"/>
                </a:lnTo>
                <a:lnTo>
                  <a:pt x="19145" y="4442"/>
                </a:lnTo>
                <a:lnTo>
                  <a:pt x="19165" y="4442"/>
                </a:lnTo>
                <a:lnTo>
                  <a:pt x="19187" y="4440"/>
                </a:lnTo>
                <a:lnTo>
                  <a:pt x="19207" y="4435"/>
                </a:lnTo>
                <a:lnTo>
                  <a:pt x="19226" y="4428"/>
                </a:lnTo>
                <a:lnTo>
                  <a:pt x="19243" y="4421"/>
                </a:lnTo>
                <a:lnTo>
                  <a:pt x="19254" y="4411"/>
                </a:lnTo>
                <a:lnTo>
                  <a:pt x="19234" y="4418"/>
                </a:lnTo>
                <a:lnTo>
                  <a:pt x="19213" y="4421"/>
                </a:lnTo>
                <a:lnTo>
                  <a:pt x="19194" y="4418"/>
                </a:lnTo>
                <a:lnTo>
                  <a:pt x="19174" y="4416"/>
                </a:lnTo>
                <a:lnTo>
                  <a:pt x="19156" y="4413"/>
                </a:lnTo>
                <a:lnTo>
                  <a:pt x="19139" y="4414"/>
                </a:lnTo>
                <a:lnTo>
                  <a:pt x="19125" y="4421"/>
                </a:lnTo>
                <a:lnTo>
                  <a:pt x="19115" y="4436"/>
                </a:lnTo>
                <a:lnTo>
                  <a:pt x="19115" y="4436"/>
                </a:lnTo>
                <a:close/>
                <a:moveTo>
                  <a:pt x="13958" y="6111"/>
                </a:moveTo>
                <a:lnTo>
                  <a:pt x="13965" y="6128"/>
                </a:lnTo>
                <a:lnTo>
                  <a:pt x="13979" y="6141"/>
                </a:lnTo>
                <a:lnTo>
                  <a:pt x="13997" y="6152"/>
                </a:lnTo>
                <a:lnTo>
                  <a:pt x="14016" y="6158"/>
                </a:lnTo>
                <a:lnTo>
                  <a:pt x="14031" y="6160"/>
                </a:lnTo>
                <a:lnTo>
                  <a:pt x="14039" y="6155"/>
                </a:lnTo>
                <a:lnTo>
                  <a:pt x="14037" y="6143"/>
                </a:lnTo>
                <a:lnTo>
                  <a:pt x="14021" y="6124"/>
                </a:lnTo>
                <a:lnTo>
                  <a:pt x="14063" y="6124"/>
                </a:lnTo>
                <a:lnTo>
                  <a:pt x="14103" y="6121"/>
                </a:lnTo>
                <a:lnTo>
                  <a:pt x="14141" y="6116"/>
                </a:lnTo>
                <a:lnTo>
                  <a:pt x="14175" y="6109"/>
                </a:lnTo>
                <a:lnTo>
                  <a:pt x="14208" y="6099"/>
                </a:lnTo>
                <a:lnTo>
                  <a:pt x="14238" y="6086"/>
                </a:lnTo>
                <a:lnTo>
                  <a:pt x="14264" y="6069"/>
                </a:lnTo>
                <a:lnTo>
                  <a:pt x="14286" y="6049"/>
                </a:lnTo>
                <a:lnTo>
                  <a:pt x="14243" y="6054"/>
                </a:lnTo>
                <a:lnTo>
                  <a:pt x="14201" y="6062"/>
                </a:lnTo>
                <a:lnTo>
                  <a:pt x="14160" y="6069"/>
                </a:lnTo>
                <a:lnTo>
                  <a:pt x="14121" y="6078"/>
                </a:lnTo>
                <a:lnTo>
                  <a:pt x="14081" y="6088"/>
                </a:lnTo>
                <a:lnTo>
                  <a:pt x="14040" y="6097"/>
                </a:lnTo>
                <a:lnTo>
                  <a:pt x="14000" y="6105"/>
                </a:lnTo>
                <a:lnTo>
                  <a:pt x="13958" y="6111"/>
                </a:lnTo>
                <a:lnTo>
                  <a:pt x="13958" y="6111"/>
                </a:lnTo>
                <a:close/>
                <a:moveTo>
                  <a:pt x="7616" y="6818"/>
                </a:moveTo>
                <a:lnTo>
                  <a:pt x="7528" y="6818"/>
                </a:lnTo>
                <a:lnTo>
                  <a:pt x="7529" y="6837"/>
                </a:lnTo>
                <a:lnTo>
                  <a:pt x="7537" y="6847"/>
                </a:lnTo>
                <a:lnTo>
                  <a:pt x="7548" y="6851"/>
                </a:lnTo>
                <a:lnTo>
                  <a:pt x="7562" y="6848"/>
                </a:lnTo>
                <a:lnTo>
                  <a:pt x="7579" y="6843"/>
                </a:lnTo>
                <a:lnTo>
                  <a:pt x="7593" y="6834"/>
                </a:lnTo>
                <a:lnTo>
                  <a:pt x="7607" y="6825"/>
                </a:lnTo>
                <a:lnTo>
                  <a:pt x="7616" y="6818"/>
                </a:lnTo>
                <a:close/>
                <a:moveTo>
                  <a:pt x="6557" y="7006"/>
                </a:moveTo>
                <a:lnTo>
                  <a:pt x="6541" y="7018"/>
                </a:lnTo>
                <a:lnTo>
                  <a:pt x="6527" y="7024"/>
                </a:lnTo>
                <a:lnTo>
                  <a:pt x="6514" y="7026"/>
                </a:lnTo>
                <a:lnTo>
                  <a:pt x="6501" y="7025"/>
                </a:lnTo>
                <a:lnTo>
                  <a:pt x="6474" y="7016"/>
                </a:lnTo>
                <a:lnTo>
                  <a:pt x="6443" y="7006"/>
                </a:lnTo>
                <a:lnTo>
                  <a:pt x="6443" y="7057"/>
                </a:lnTo>
                <a:lnTo>
                  <a:pt x="6462" y="7056"/>
                </a:lnTo>
                <a:lnTo>
                  <a:pt x="6483" y="7053"/>
                </a:lnTo>
                <a:lnTo>
                  <a:pt x="6506" y="7048"/>
                </a:lnTo>
                <a:lnTo>
                  <a:pt x="6527" y="7043"/>
                </a:lnTo>
                <a:lnTo>
                  <a:pt x="6545" y="7037"/>
                </a:lnTo>
                <a:lnTo>
                  <a:pt x="6557" y="7028"/>
                </a:lnTo>
                <a:lnTo>
                  <a:pt x="6561" y="7018"/>
                </a:lnTo>
                <a:lnTo>
                  <a:pt x="6557" y="7006"/>
                </a:lnTo>
                <a:lnTo>
                  <a:pt x="6557" y="7006"/>
                </a:lnTo>
                <a:close/>
                <a:moveTo>
                  <a:pt x="9696" y="6162"/>
                </a:moveTo>
                <a:lnTo>
                  <a:pt x="9688" y="6162"/>
                </a:lnTo>
                <a:lnTo>
                  <a:pt x="9681" y="6161"/>
                </a:lnTo>
                <a:lnTo>
                  <a:pt x="9676" y="6160"/>
                </a:lnTo>
                <a:lnTo>
                  <a:pt x="9671" y="6156"/>
                </a:lnTo>
                <a:lnTo>
                  <a:pt x="9666" y="6153"/>
                </a:lnTo>
                <a:lnTo>
                  <a:pt x="9659" y="6151"/>
                </a:lnTo>
                <a:lnTo>
                  <a:pt x="9653" y="6149"/>
                </a:lnTo>
                <a:lnTo>
                  <a:pt x="9645" y="6149"/>
                </a:lnTo>
                <a:lnTo>
                  <a:pt x="9642" y="6167"/>
                </a:lnTo>
                <a:lnTo>
                  <a:pt x="9631" y="6179"/>
                </a:lnTo>
                <a:lnTo>
                  <a:pt x="9616" y="6186"/>
                </a:lnTo>
                <a:lnTo>
                  <a:pt x="9600" y="6191"/>
                </a:lnTo>
                <a:lnTo>
                  <a:pt x="9583" y="6197"/>
                </a:lnTo>
                <a:lnTo>
                  <a:pt x="9567" y="6203"/>
                </a:lnTo>
                <a:lnTo>
                  <a:pt x="9554" y="6212"/>
                </a:lnTo>
                <a:lnTo>
                  <a:pt x="9545" y="6226"/>
                </a:lnTo>
                <a:lnTo>
                  <a:pt x="9560" y="6231"/>
                </a:lnTo>
                <a:lnTo>
                  <a:pt x="9573" y="6233"/>
                </a:lnTo>
                <a:lnTo>
                  <a:pt x="9586" y="6232"/>
                </a:lnTo>
                <a:lnTo>
                  <a:pt x="9596" y="6231"/>
                </a:lnTo>
                <a:lnTo>
                  <a:pt x="9606" y="6230"/>
                </a:lnTo>
                <a:lnTo>
                  <a:pt x="9616" y="6232"/>
                </a:lnTo>
                <a:lnTo>
                  <a:pt x="9625" y="6239"/>
                </a:lnTo>
                <a:lnTo>
                  <a:pt x="9633" y="6250"/>
                </a:lnTo>
                <a:lnTo>
                  <a:pt x="9633" y="6231"/>
                </a:lnTo>
                <a:lnTo>
                  <a:pt x="9638" y="6218"/>
                </a:lnTo>
                <a:lnTo>
                  <a:pt x="9649" y="6209"/>
                </a:lnTo>
                <a:lnTo>
                  <a:pt x="9662" y="6203"/>
                </a:lnTo>
                <a:lnTo>
                  <a:pt x="9675" y="6198"/>
                </a:lnTo>
                <a:lnTo>
                  <a:pt x="9686" y="6190"/>
                </a:lnTo>
                <a:lnTo>
                  <a:pt x="9694" y="6179"/>
                </a:lnTo>
                <a:lnTo>
                  <a:pt x="9696" y="6162"/>
                </a:lnTo>
                <a:close/>
                <a:moveTo>
                  <a:pt x="6998" y="6867"/>
                </a:moveTo>
                <a:lnTo>
                  <a:pt x="7035" y="6867"/>
                </a:lnTo>
                <a:lnTo>
                  <a:pt x="7072" y="6862"/>
                </a:lnTo>
                <a:lnTo>
                  <a:pt x="7106" y="6853"/>
                </a:lnTo>
                <a:lnTo>
                  <a:pt x="7137" y="6841"/>
                </a:lnTo>
                <a:lnTo>
                  <a:pt x="7163" y="6825"/>
                </a:lnTo>
                <a:lnTo>
                  <a:pt x="7184" y="6808"/>
                </a:lnTo>
                <a:lnTo>
                  <a:pt x="7197" y="6787"/>
                </a:lnTo>
                <a:lnTo>
                  <a:pt x="7199" y="6767"/>
                </a:lnTo>
                <a:lnTo>
                  <a:pt x="7190" y="6778"/>
                </a:lnTo>
                <a:lnTo>
                  <a:pt x="7176" y="6781"/>
                </a:lnTo>
                <a:lnTo>
                  <a:pt x="7160" y="6777"/>
                </a:lnTo>
                <a:lnTo>
                  <a:pt x="7142" y="6771"/>
                </a:lnTo>
                <a:lnTo>
                  <a:pt x="7124" y="6764"/>
                </a:lnTo>
                <a:lnTo>
                  <a:pt x="7107" y="6762"/>
                </a:lnTo>
                <a:lnTo>
                  <a:pt x="7095" y="6766"/>
                </a:lnTo>
                <a:lnTo>
                  <a:pt x="7086" y="6780"/>
                </a:lnTo>
                <a:lnTo>
                  <a:pt x="7095" y="6781"/>
                </a:lnTo>
                <a:lnTo>
                  <a:pt x="7102" y="6782"/>
                </a:lnTo>
                <a:lnTo>
                  <a:pt x="7106" y="6783"/>
                </a:lnTo>
                <a:lnTo>
                  <a:pt x="7109" y="6786"/>
                </a:lnTo>
                <a:lnTo>
                  <a:pt x="7111" y="6788"/>
                </a:lnTo>
                <a:lnTo>
                  <a:pt x="7111" y="6792"/>
                </a:lnTo>
                <a:lnTo>
                  <a:pt x="7101" y="6796"/>
                </a:lnTo>
                <a:lnTo>
                  <a:pt x="7087" y="6797"/>
                </a:lnTo>
                <a:lnTo>
                  <a:pt x="7073" y="6797"/>
                </a:lnTo>
                <a:lnTo>
                  <a:pt x="7058" y="6797"/>
                </a:lnTo>
                <a:lnTo>
                  <a:pt x="7042" y="6800"/>
                </a:lnTo>
                <a:lnTo>
                  <a:pt x="7028" y="6805"/>
                </a:lnTo>
                <a:lnTo>
                  <a:pt x="7018" y="6815"/>
                </a:lnTo>
                <a:lnTo>
                  <a:pt x="7011" y="6830"/>
                </a:lnTo>
                <a:lnTo>
                  <a:pt x="7027" y="6832"/>
                </a:lnTo>
                <a:lnTo>
                  <a:pt x="7034" y="6834"/>
                </a:lnTo>
                <a:lnTo>
                  <a:pt x="7032" y="6837"/>
                </a:lnTo>
                <a:lnTo>
                  <a:pt x="7025" y="6842"/>
                </a:lnTo>
                <a:lnTo>
                  <a:pt x="7016" y="6846"/>
                </a:lnTo>
                <a:lnTo>
                  <a:pt x="7006" y="6852"/>
                </a:lnTo>
                <a:lnTo>
                  <a:pt x="6999" y="6860"/>
                </a:lnTo>
                <a:lnTo>
                  <a:pt x="6998" y="6867"/>
                </a:lnTo>
                <a:close/>
                <a:moveTo>
                  <a:pt x="6758" y="6969"/>
                </a:moveTo>
                <a:lnTo>
                  <a:pt x="6772" y="6956"/>
                </a:lnTo>
                <a:lnTo>
                  <a:pt x="6790" y="6948"/>
                </a:lnTo>
                <a:lnTo>
                  <a:pt x="6812" y="6942"/>
                </a:lnTo>
                <a:lnTo>
                  <a:pt x="6834" y="6937"/>
                </a:lnTo>
                <a:lnTo>
                  <a:pt x="6855" y="6932"/>
                </a:lnTo>
                <a:lnTo>
                  <a:pt x="6874" y="6923"/>
                </a:lnTo>
                <a:lnTo>
                  <a:pt x="6888" y="6912"/>
                </a:lnTo>
                <a:lnTo>
                  <a:pt x="6897" y="6893"/>
                </a:lnTo>
                <a:lnTo>
                  <a:pt x="6874" y="6897"/>
                </a:lnTo>
                <a:lnTo>
                  <a:pt x="6855" y="6900"/>
                </a:lnTo>
                <a:lnTo>
                  <a:pt x="6837" y="6906"/>
                </a:lnTo>
                <a:lnTo>
                  <a:pt x="6820" y="6909"/>
                </a:lnTo>
                <a:lnTo>
                  <a:pt x="6803" y="6912"/>
                </a:lnTo>
                <a:lnTo>
                  <a:pt x="6785" y="6913"/>
                </a:lnTo>
                <a:lnTo>
                  <a:pt x="6766" y="6912"/>
                </a:lnTo>
                <a:lnTo>
                  <a:pt x="6746" y="6906"/>
                </a:lnTo>
                <a:lnTo>
                  <a:pt x="6747" y="6920"/>
                </a:lnTo>
                <a:lnTo>
                  <a:pt x="6744" y="6931"/>
                </a:lnTo>
                <a:lnTo>
                  <a:pt x="6742" y="6940"/>
                </a:lnTo>
                <a:lnTo>
                  <a:pt x="6738" y="6948"/>
                </a:lnTo>
                <a:lnTo>
                  <a:pt x="6737" y="6954"/>
                </a:lnTo>
                <a:lnTo>
                  <a:pt x="6739" y="6960"/>
                </a:lnTo>
                <a:lnTo>
                  <a:pt x="6746" y="6964"/>
                </a:lnTo>
                <a:lnTo>
                  <a:pt x="6758" y="6969"/>
                </a:lnTo>
                <a:lnTo>
                  <a:pt x="6758" y="6969"/>
                </a:lnTo>
                <a:close/>
                <a:moveTo>
                  <a:pt x="6329" y="6982"/>
                </a:moveTo>
                <a:lnTo>
                  <a:pt x="6346" y="6982"/>
                </a:lnTo>
                <a:lnTo>
                  <a:pt x="6359" y="6979"/>
                </a:lnTo>
                <a:lnTo>
                  <a:pt x="6370" y="6974"/>
                </a:lnTo>
                <a:lnTo>
                  <a:pt x="6379" y="6967"/>
                </a:lnTo>
                <a:lnTo>
                  <a:pt x="6393" y="6950"/>
                </a:lnTo>
                <a:lnTo>
                  <a:pt x="6406" y="6931"/>
                </a:lnTo>
                <a:lnTo>
                  <a:pt x="6389" y="6931"/>
                </a:lnTo>
                <a:lnTo>
                  <a:pt x="6376" y="6934"/>
                </a:lnTo>
                <a:lnTo>
                  <a:pt x="6365" y="6939"/>
                </a:lnTo>
                <a:lnTo>
                  <a:pt x="6356" y="6945"/>
                </a:lnTo>
                <a:lnTo>
                  <a:pt x="6342" y="6963"/>
                </a:lnTo>
                <a:lnTo>
                  <a:pt x="6329" y="6982"/>
                </a:lnTo>
                <a:close/>
                <a:moveTo>
                  <a:pt x="5863" y="7132"/>
                </a:moveTo>
                <a:lnTo>
                  <a:pt x="5844" y="7131"/>
                </a:lnTo>
                <a:lnTo>
                  <a:pt x="5829" y="7133"/>
                </a:lnTo>
                <a:lnTo>
                  <a:pt x="5816" y="7137"/>
                </a:lnTo>
                <a:lnTo>
                  <a:pt x="5806" y="7144"/>
                </a:lnTo>
                <a:lnTo>
                  <a:pt x="5797" y="7152"/>
                </a:lnTo>
                <a:lnTo>
                  <a:pt x="5789" y="7163"/>
                </a:lnTo>
                <a:lnTo>
                  <a:pt x="5782" y="7173"/>
                </a:lnTo>
                <a:lnTo>
                  <a:pt x="5775" y="7183"/>
                </a:lnTo>
                <a:lnTo>
                  <a:pt x="5789" y="7188"/>
                </a:lnTo>
                <a:lnTo>
                  <a:pt x="5803" y="7188"/>
                </a:lnTo>
                <a:lnTo>
                  <a:pt x="5817" y="7187"/>
                </a:lnTo>
                <a:lnTo>
                  <a:pt x="5829" y="7180"/>
                </a:lnTo>
                <a:lnTo>
                  <a:pt x="5840" y="7173"/>
                </a:lnTo>
                <a:lnTo>
                  <a:pt x="5850" y="7161"/>
                </a:lnTo>
                <a:lnTo>
                  <a:pt x="5858" y="7149"/>
                </a:lnTo>
                <a:lnTo>
                  <a:pt x="5863" y="7132"/>
                </a:lnTo>
                <a:close/>
                <a:moveTo>
                  <a:pt x="16870" y="4902"/>
                </a:moveTo>
                <a:lnTo>
                  <a:pt x="16901" y="4901"/>
                </a:lnTo>
                <a:lnTo>
                  <a:pt x="16929" y="4897"/>
                </a:lnTo>
                <a:lnTo>
                  <a:pt x="16957" y="4893"/>
                </a:lnTo>
                <a:lnTo>
                  <a:pt x="16982" y="4888"/>
                </a:lnTo>
                <a:lnTo>
                  <a:pt x="17008" y="4880"/>
                </a:lnTo>
                <a:lnTo>
                  <a:pt x="17031" y="4873"/>
                </a:lnTo>
                <a:lnTo>
                  <a:pt x="17052" y="4863"/>
                </a:lnTo>
                <a:lnTo>
                  <a:pt x="17073" y="4851"/>
                </a:lnTo>
                <a:lnTo>
                  <a:pt x="17048" y="4840"/>
                </a:lnTo>
                <a:lnTo>
                  <a:pt x="17023" y="4836"/>
                </a:lnTo>
                <a:lnTo>
                  <a:pt x="16996" y="4838"/>
                </a:lnTo>
                <a:lnTo>
                  <a:pt x="16968" y="4846"/>
                </a:lnTo>
                <a:lnTo>
                  <a:pt x="16941" y="4857"/>
                </a:lnTo>
                <a:lnTo>
                  <a:pt x="16915" y="4871"/>
                </a:lnTo>
                <a:lnTo>
                  <a:pt x="16892" y="4887"/>
                </a:lnTo>
                <a:lnTo>
                  <a:pt x="16870" y="4902"/>
                </a:lnTo>
                <a:close/>
                <a:moveTo>
                  <a:pt x="7250" y="6767"/>
                </a:moveTo>
                <a:lnTo>
                  <a:pt x="7274" y="6764"/>
                </a:lnTo>
                <a:lnTo>
                  <a:pt x="7297" y="6760"/>
                </a:lnTo>
                <a:lnTo>
                  <a:pt x="7320" y="6757"/>
                </a:lnTo>
                <a:lnTo>
                  <a:pt x="7340" y="6750"/>
                </a:lnTo>
                <a:lnTo>
                  <a:pt x="7360" y="6743"/>
                </a:lnTo>
                <a:lnTo>
                  <a:pt x="7376" y="6732"/>
                </a:lnTo>
                <a:lnTo>
                  <a:pt x="7390" y="6720"/>
                </a:lnTo>
                <a:lnTo>
                  <a:pt x="7402" y="6704"/>
                </a:lnTo>
                <a:lnTo>
                  <a:pt x="7385" y="6712"/>
                </a:lnTo>
                <a:lnTo>
                  <a:pt x="7371" y="6715"/>
                </a:lnTo>
                <a:lnTo>
                  <a:pt x="7360" y="6715"/>
                </a:lnTo>
                <a:lnTo>
                  <a:pt x="7349" y="6711"/>
                </a:lnTo>
                <a:lnTo>
                  <a:pt x="7340" y="6704"/>
                </a:lnTo>
                <a:lnTo>
                  <a:pt x="7332" y="6697"/>
                </a:lnTo>
                <a:lnTo>
                  <a:pt x="7323" y="6688"/>
                </a:lnTo>
                <a:lnTo>
                  <a:pt x="7314" y="6679"/>
                </a:lnTo>
                <a:lnTo>
                  <a:pt x="7315" y="6699"/>
                </a:lnTo>
                <a:lnTo>
                  <a:pt x="7309" y="6712"/>
                </a:lnTo>
                <a:lnTo>
                  <a:pt x="7297" y="6720"/>
                </a:lnTo>
                <a:lnTo>
                  <a:pt x="7284" y="6726"/>
                </a:lnTo>
                <a:lnTo>
                  <a:pt x="7270" y="6731"/>
                </a:lnTo>
                <a:lnTo>
                  <a:pt x="7258" y="6738"/>
                </a:lnTo>
                <a:lnTo>
                  <a:pt x="7251" y="6749"/>
                </a:lnTo>
                <a:lnTo>
                  <a:pt x="7250" y="6767"/>
                </a:lnTo>
                <a:close/>
                <a:moveTo>
                  <a:pt x="7703" y="6704"/>
                </a:moveTo>
                <a:lnTo>
                  <a:pt x="7693" y="6703"/>
                </a:lnTo>
                <a:lnTo>
                  <a:pt x="7684" y="6699"/>
                </a:lnTo>
                <a:lnTo>
                  <a:pt x="7680" y="6696"/>
                </a:lnTo>
                <a:lnTo>
                  <a:pt x="7679" y="6692"/>
                </a:lnTo>
                <a:lnTo>
                  <a:pt x="7678" y="6687"/>
                </a:lnTo>
                <a:lnTo>
                  <a:pt x="7679" y="6679"/>
                </a:lnTo>
                <a:lnTo>
                  <a:pt x="7659" y="6684"/>
                </a:lnTo>
                <a:lnTo>
                  <a:pt x="7638" y="6689"/>
                </a:lnTo>
                <a:lnTo>
                  <a:pt x="7628" y="6692"/>
                </a:lnTo>
                <a:lnTo>
                  <a:pt x="7617" y="6693"/>
                </a:lnTo>
                <a:lnTo>
                  <a:pt x="7605" y="6693"/>
                </a:lnTo>
                <a:lnTo>
                  <a:pt x="7590" y="6692"/>
                </a:lnTo>
                <a:lnTo>
                  <a:pt x="7590" y="6703"/>
                </a:lnTo>
                <a:lnTo>
                  <a:pt x="7588" y="6713"/>
                </a:lnTo>
                <a:lnTo>
                  <a:pt x="7582" y="6722"/>
                </a:lnTo>
                <a:lnTo>
                  <a:pt x="7577" y="6730"/>
                </a:lnTo>
                <a:lnTo>
                  <a:pt x="7594" y="6740"/>
                </a:lnTo>
                <a:lnTo>
                  <a:pt x="7607" y="6743"/>
                </a:lnTo>
                <a:lnTo>
                  <a:pt x="7618" y="6739"/>
                </a:lnTo>
                <a:lnTo>
                  <a:pt x="7630" y="6732"/>
                </a:lnTo>
                <a:lnTo>
                  <a:pt x="7640" y="6722"/>
                </a:lnTo>
                <a:lnTo>
                  <a:pt x="7651" y="6713"/>
                </a:lnTo>
                <a:lnTo>
                  <a:pt x="7664" y="6707"/>
                </a:lnTo>
                <a:lnTo>
                  <a:pt x="7679" y="6704"/>
                </a:lnTo>
                <a:lnTo>
                  <a:pt x="7679" y="6708"/>
                </a:lnTo>
                <a:lnTo>
                  <a:pt x="7682" y="6712"/>
                </a:lnTo>
                <a:lnTo>
                  <a:pt x="7686" y="6713"/>
                </a:lnTo>
                <a:lnTo>
                  <a:pt x="7691" y="6715"/>
                </a:lnTo>
                <a:lnTo>
                  <a:pt x="7694" y="6715"/>
                </a:lnTo>
                <a:lnTo>
                  <a:pt x="7698" y="6712"/>
                </a:lnTo>
                <a:lnTo>
                  <a:pt x="7702" y="6710"/>
                </a:lnTo>
                <a:lnTo>
                  <a:pt x="7703" y="6704"/>
                </a:lnTo>
                <a:close/>
                <a:moveTo>
                  <a:pt x="7577" y="6741"/>
                </a:moveTo>
                <a:lnTo>
                  <a:pt x="7565" y="6744"/>
                </a:lnTo>
                <a:lnTo>
                  <a:pt x="7556" y="6743"/>
                </a:lnTo>
                <a:lnTo>
                  <a:pt x="7547" y="6740"/>
                </a:lnTo>
                <a:lnTo>
                  <a:pt x="7540" y="6736"/>
                </a:lnTo>
                <a:lnTo>
                  <a:pt x="7533" y="6731"/>
                </a:lnTo>
                <a:lnTo>
                  <a:pt x="7525" y="6729"/>
                </a:lnTo>
                <a:lnTo>
                  <a:pt x="7515" y="6727"/>
                </a:lnTo>
                <a:lnTo>
                  <a:pt x="7502" y="6730"/>
                </a:lnTo>
                <a:lnTo>
                  <a:pt x="7502" y="6746"/>
                </a:lnTo>
                <a:lnTo>
                  <a:pt x="7509" y="6758"/>
                </a:lnTo>
                <a:lnTo>
                  <a:pt x="7520" y="6764"/>
                </a:lnTo>
                <a:lnTo>
                  <a:pt x="7533" y="6767"/>
                </a:lnTo>
                <a:lnTo>
                  <a:pt x="7547" y="6764"/>
                </a:lnTo>
                <a:lnTo>
                  <a:pt x="7561" y="6759"/>
                </a:lnTo>
                <a:lnTo>
                  <a:pt x="7571" y="6752"/>
                </a:lnTo>
                <a:lnTo>
                  <a:pt x="7577" y="6741"/>
                </a:lnTo>
                <a:lnTo>
                  <a:pt x="7577" y="6741"/>
                </a:lnTo>
                <a:close/>
                <a:moveTo>
                  <a:pt x="9470" y="6288"/>
                </a:moveTo>
                <a:lnTo>
                  <a:pt x="9468" y="6281"/>
                </a:lnTo>
                <a:lnTo>
                  <a:pt x="9467" y="6274"/>
                </a:lnTo>
                <a:lnTo>
                  <a:pt x="9466" y="6268"/>
                </a:lnTo>
                <a:lnTo>
                  <a:pt x="9462" y="6263"/>
                </a:lnTo>
                <a:lnTo>
                  <a:pt x="9460" y="6259"/>
                </a:lnTo>
                <a:lnTo>
                  <a:pt x="9454" y="6255"/>
                </a:lnTo>
                <a:lnTo>
                  <a:pt x="9449" y="6253"/>
                </a:lnTo>
                <a:lnTo>
                  <a:pt x="9444" y="6250"/>
                </a:lnTo>
                <a:lnTo>
                  <a:pt x="9438" y="6260"/>
                </a:lnTo>
                <a:lnTo>
                  <a:pt x="9426" y="6264"/>
                </a:lnTo>
                <a:lnTo>
                  <a:pt x="9411" y="6265"/>
                </a:lnTo>
                <a:lnTo>
                  <a:pt x="9393" y="6263"/>
                </a:lnTo>
                <a:lnTo>
                  <a:pt x="9376" y="6261"/>
                </a:lnTo>
                <a:lnTo>
                  <a:pt x="9360" y="6261"/>
                </a:lnTo>
                <a:lnTo>
                  <a:pt x="9349" y="6265"/>
                </a:lnTo>
                <a:lnTo>
                  <a:pt x="9344" y="6275"/>
                </a:lnTo>
                <a:lnTo>
                  <a:pt x="9361" y="6275"/>
                </a:lnTo>
                <a:lnTo>
                  <a:pt x="9379" y="6279"/>
                </a:lnTo>
                <a:lnTo>
                  <a:pt x="9395" y="6286"/>
                </a:lnTo>
                <a:lnTo>
                  <a:pt x="9410" y="6292"/>
                </a:lnTo>
                <a:lnTo>
                  <a:pt x="9425" y="6297"/>
                </a:lnTo>
                <a:lnTo>
                  <a:pt x="9439" y="6300"/>
                </a:lnTo>
                <a:lnTo>
                  <a:pt x="9454" y="6297"/>
                </a:lnTo>
                <a:lnTo>
                  <a:pt x="9470" y="6288"/>
                </a:lnTo>
                <a:close/>
                <a:moveTo>
                  <a:pt x="7502" y="6692"/>
                </a:moveTo>
                <a:lnTo>
                  <a:pt x="7525" y="6693"/>
                </a:lnTo>
                <a:lnTo>
                  <a:pt x="7549" y="6689"/>
                </a:lnTo>
                <a:lnTo>
                  <a:pt x="7576" y="6680"/>
                </a:lnTo>
                <a:lnTo>
                  <a:pt x="7604" y="6670"/>
                </a:lnTo>
                <a:lnTo>
                  <a:pt x="7631" y="6656"/>
                </a:lnTo>
                <a:lnTo>
                  <a:pt x="7658" y="6642"/>
                </a:lnTo>
                <a:lnTo>
                  <a:pt x="7682" y="6628"/>
                </a:lnTo>
                <a:lnTo>
                  <a:pt x="7703" y="6615"/>
                </a:lnTo>
                <a:lnTo>
                  <a:pt x="7683" y="6615"/>
                </a:lnTo>
                <a:lnTo>
                  <a:pt x="7656" y="6618"/>
                </a:lnTo>
                <a:lnTo>
                  <a:pt x="7628" y="6624"/>
                </a:lnTo>
                <a:lnTo>
                  <a:pt x="7600" y="6634"/>
                </a:lnTo>
                <a:lnTo>
                  <a:pt x="7571" y="6647"/>
                </a:lnTo>
                <a:lnTo>
                  <a:pt x="7544" y="6661"/>
                </a:lnTo>
                <a:lnTo>
                  <a:pt x="7521" y="6676"/>
                </a:lnTo>
                <a:lnTo>
                  <a:pt x="7502" y="6692"/>
                </a:lnTo>
                <a:close/>
                <a:moveTo>
                  <a:pt x="5586" y="7158"/>
                </a:moveTo>
                <a:lnTo>
                  <a:pt x="5572" y="7155"/>
                </a:lnTo>
                <a:lnTo>
                  <a:pt x="5559" y="7156"/>
                </a:lnTo>
                <a:lnTo>
                  <a:pt x="5547" y="7163"/>
                </a:lnTo>
                <a:lnTo>
                  <a:pt x="5540" y="7172"/>
                </a:lnTo>
                <a:lnTo>
                  <a:pt x="5535" y="7182"/>
                </a:lnTo>
                <a:lnTo>
                  <a:pt x="5535" y="7192"/>
                </a:lnTo>
                <a:lnTo>
                  <a:pt x="5538" y="7201"/>
                </a:lnTo>
                <a:lnTo>
                  <a:pt x="5547" y="7209"/>
                </a:lnTo>
                <a:lnTo>
                  <a:pt x="5549" y="7198"/>
                </a:lnTo>
                <a:lnTo>
                  <a:pt x="5554" y="7192"/>
                </a:lnTo>
                <a:lnTo>
                  <a:pt x="5561" y="7188"/>
                </a:lnTo>
                <a:lnTo>
                  <a:pt x="5569" y="7186"/>
                </a:lnTo>
                <a:lnTo>
                  <a:pt x="5578" y="7183"/>
                </a:lnTo>
                <a:lnTo>
                  <a:pt x="5584" y="7178"/>
                </a:lnTo>
                <a:lnTo>
                  <a:pt x="5587" y="7170"/>
                </a:lnTo>
                <a:lnTo>
                  <a:pt x="5586" y="7158"/>
                </a:lnTo>
                <a:lnTo>
                  <a:pt x="5586" y="7158"/>
                </a:lnTo>
                <a:close/>
                <a:moveTo>
                  <a:pt x="7729" y="6767"/>
                </a:moveTo>
                <a:lnTo>
                  <a:pt x="7711" y="6767"/>
                </a:lnTo>
                <a:lnTo>
                  <a:pt x="7693" y="6767"/>
                </a:lnTo>
                <a:lnTo>
                  <a:pt x="7677" y="6767"/>
                </a:lnTo>
                <a:lnTo>
                  <a:pt x="7663" y="6769"/>
                </a:lnTo>
                <a:lnTo>
                  <a:pt x="7650" y="6774"/>
                </a:lnTo>
                <a:lnTo>
                  <a:pt x="7642" y="6785"/>
                </a:lnTo>
                <a:lnTo>
                  <a:pt x="7638" y="6799"/>
                </a:lnTo>
                <a:lnTo>
                  <a:pt x="7641" y="6818"/>
                </a:lnTo>
                <a:lnTo>
                  <a:pt x="7666" y="6809"/>
                </a:lnTo>
                <a:lnTo>
                  <a:pt x="7694" y="6801"/>
                </a:lnTo>
                <a:lnTo>
                  <a:pt x="7706" y="6796"/>
                </a:lnTo>
                <a:lnTo>
                  <a:pt x="7717" y="6790"/>
                </a:lnTo>
                <a:lnTo>
                  <a:pt x="7725" y="6780"/>
                </a:lnTo>
                <a:lnTo>
                  <a:pt x="7729" y="6767"/>
                </a:lnTo>
                <a:close/>
                <a:moveTo>
                  <a:pt x="5914" y="7121"/>
                </a:moveTo>
                <a:lnTo>
                  <a:pt x="5940" y="7117"/>
                </a:lnTo>
                <a:lnTo>
                  <a:pt x="5961" y="7112"/>
                </a:lnTo>
                <a:lnTo>
                  <a:pt x="5983" y="7104"/>
                </a:lnTo>
                <a:lnTo>
                  <a:pt x="6003" y="7096"/>
                </a:lnTo>
                <a:lnTo>
                  <a:pt x="6024" y="7089"/>
                </a:lnTo>
                <a:lnTo>
                  <a:pt x="6047" y="7084"/>
                </a:lnTo>
                <a:lnTo>
                  <a:pt x="6073" y="7081"/>
                </a:lnTo>
                <a:lnTo>
                  <a:pt x="6103" y="7082"/>
                </a:lnTo>
                <a:lnTo>
                  <a:pt x="6132" y="7053"/>
                </a:lnTo>
                <a:lnTo>
                  <a:pt x="6131" y="7039"/>
                </a:lnTo>
                <a:lnTo>
                  <a:pt x="6106" y="7038"/>
                </a:lnTo>
                <a:lnTo>
                  <a:pt x="6067" y="7047"/>
                </a:lnTo>
                <a:lnTo>
                  <a:pt x="6021" y="7062"/>
                </a:lnTo>
                <a:lnTo>
                  <a:pt x="5975" y="7081"/>
                </a:lnTo>
                <a:lnTo>
                  <a:pt x="5937" y="7102"/>
                </a:lnTo>
                <a:lnTo>
                  <a:pt x="5914" y="7121"/>
                </a:lnTo>
                <a:close/>
                <a:moveTo>
                  <a:pt x="18598" y="4259"/>
                </a:moveTo>
                <a:lnTo>
                  <a:pt x="18585" y="4272"/>
                </a:lnTo>
                <a:lnTo>
                  <a:pt x="18568" y="4280"/>
                </a:lnTo>
                <a:lnTo>
                  <a:pt x="18545" y="4287"/>
                </a:lnTo>
                <a:lnTo>
                  <a:pt x="18522" y="4292"/>
                </a:lnTo>
                <a:lnTo>
                  <a:pt x="18503" y="4300"/>
                </a:lnTo>
                <a:lnTo>
                  <a:pt x="18490" y="4311"/>
                </a:lnTo>
                <a:lnTo>
                  <a:pt x="18487" y="4325"/>
                </a:lnTo>
                <a:lnTo>
                  <a:pt x="18498" y="4347"/>
                </a:lnTo>
                <a:lnTo>
                  <a:pt x="18514" y="4341"/>
                </a:lnTo>
                <a:lnTo>
                  <a:pt x="18535" y="4334"/>
                </a:lnTo>
                <a:lnTo>
                  <a:pt x="18556" y="4327"/>
                </a:lnTo>
                <a:lnTo>
                  <a:pt x="18577" y="4316"/>
                </a:lnTo>
                <a:lnTo>
                  <a:pt x="18594" y="4306"/>
                </a:lnTo>
                <a:lnTo>
                  <a:pt x="18605" y="4292"/>
                </a:lnTo>
                <a:lnTo>
                  <a:pt x="18607" y="4277"/>
                </a:lnTo>
                <a:lnTo>
                  <a:pt x="18598" y="4259"/>
                </a:lnTo>
                <a:close/>
                <a:moveTo>
                  <a:pt x="18523" y="5280"/>
                </a:moveTo>
                <a:lnTo>
                  <a:pt x="18551" y="5280"/>
                </a:lnTo>
                <a:lnTo>
                  <a:pt x="18579" y="5280"/>
                </a:lnTo>
                <a:lnTo>
                  <a:pt x="18592" y="5277"/>
                </a:lnTo>
                <a:lnTo>
                  <a:pt x="18601" y="5274"/>
                </a:lnTo>
                <a:lnTo>
                  <a:pt x="18608" y="5266"/>
                </a:lnTo>
                <a:lnTo>
                  <a:pt x="18611" y="5255"/>
                </a:lnTo>
                <a:lnTo>
                  <a:pt x="18582" y="5255"/>
                </a:lnTo>
                <a:lnTo>
                  <a:pt x="18554" y="5255"/>
                </a:lnTo>
                <a:lnTo>
                  <a:pt x="18542" y="5257"/>
                </a:lnTo>
                <a:lnTo>
                  <a:pt x="18532" y="5261"/>
                </a:lnTo>
                <a:lnTo>
                  <a:pt x="18526" y="5269"/>
                </a:lnTo>
                <a:lnTo>
                  <a:pt x="18523" y="5280"/>
                </a:lnTo>
                <a:close/>
                <a:moveTo>
                  <a:pt x="18397" y="4272"/>
                </a:moveTo>
                <a:lnTo>
                  <a:pt x="18397" y="4295"/>
                </a:lnTo>
                <a:lnTo>
                  <a:pt x="18394" y="4310"/>
                </a:lnTo>
                <a:lnTo>
                  <a:pt x="18389" y="4320"/>
                </a:lnTo>
                <a:lnTo>
                  <a:pt x="18380" y="4327"/>
                </a:lnTo>
                <a:lnTo>
                  <a:pt x="18370" y="4332"/>
                </a:lnTo>
                <a:lnTo>
                  <a:pt x="18358" y="4337"/>
                </a:lnTo>
                <a:lnTo>
                  <a:pt x="18346" y="4346"/>
                </a:lnTo>
                <a:lnTo>
                  <a:pt x="18333" y="4360"/>
                </a:lnTo>
                <a:lnTo>
                  <a:pt x="18373" y="4352"/>
                </a:lnTo>
                <a:lnTo>
                  <a:pt x="18407" y="4334"/>
                </a:lnTo>
                <a:lnTo>
                  <a:pt x="18440" y="4311"/>
                </a:lnTo>
                <a:lnTo>
                  <a:pt x="18473" y="4286"/>
                </a:lnTo>
                <a:lnTo>
                  <a:pt x="18512" y="4262"/>
                </a:lnTo>
                <a:lnTo>
                  <a:pt x="18555" y="4245"/>
                </a:lnTo>
                <a:lnTo>
                  <a:pt x="18608" y="4239"/>
                </a:lnTo>
                <a:lnTo>
                  <a:pt x="18673" y="4246"/>
                </a:lnTo>
                <a:lnTo>
                  <a:pt x="18673" y="4196"/>
                </a:lnTo>
                <a:lnTo>
                  <a:pt x="18627" y="4203"/>
                </a:lnTo>
                <a:lnTo>
                  <a:pt x="18579" y="4208"/>
                </a:lnTo>
                <a:lnTo>
                  <a:pt x="18531" y="4213"/>
                </a:lnTo>
                <a:lnTo>
                  <a:pt x="18482" y="4218"/>
                </a:lnTo>
                <a:lnTo>
                  <a:pt x="18436" y="4226"/>
                </a:lnTo>
                <a:lnTo>
                  <a:pt x="18393" y="4236"/>
                </a:lnTo>
                <a:lnTo>
                  <a:pt x="18354" y="4252"/>
                </a:lnTo>
                <a:lnTo>
                  <a:pt x="18321" y="4272"/>
                </a:lnTo>
                <a:lnTo>
                  <a:pt x="18331" y="4283"/>
                </a:lnTo>
                <a:lnTo>
                  <a:pt x="18342" y="4285"/>
                </a:lnTo>
                <a:lnTo>
                  <a:pt x="18352" y="4281"/>
                </a:lnTo>
                <a:lnTo>
                  <a:pt x="18361" y="4273"/>
                </a:lnTo>
                <a:lnTo>
                  <a:pt x="18372" y="4266"/>
                </a:lnTo>
                <a:lnTo>
                  <a:pt x="18380" y="4260"/>
                </a:lnTo>
                <a:lnTo>
                  <a:pt x="18388" y="4262"/>
                </a:lnTo>
                <a:lnTo>
                  <a:pt x="18397" y="4272"/>
                </a:lnTo>
                <a:close/>
                <a:moveTo>
                  <a:pt x="17993" y="5331"/>
                </a:moveTo>
                <a:lnTo>
                  <a:pt x="18015" y="5325"/>
                </a:lnTo>
                <a:lnTo>
                  <a:pt x="18037" y="5319"/>
                </a:lnTo>
                <a:lnTo>
                  <a:pt x="18056" y="5317"/>
                </a:lnTo>
                <a:lnTo>
                  <a:pt x="18074" y="5316"/>
                </a:lnTo>
                <a:lnTo>
                  <a:pt x="18089" y="5312"/>
                </a:lnTo>
                <a:lnTo>
                  <a:pt x="18104" y="5308"/>
                </a:lnTo>
                <a:lnTo>
                  <a:pt x="18118" y="5302"/>
                </a:lnTo>
                <a:lnTo>
                  <a:pt x="18132" y="5293"/>
                </a:lnTo>
                <a:lnTo>
                  <a:pt x="18117" y="5288"/>
                </a:lnTo>
                <a:lnTo>
                  <a:pt x="18099" y="5286"/>
                </a:lnTo>
                <a:lnTo>
                  <a:pt x="18080" y="5289"/>
                </a:lnTo>
                <a:lnTo>
                  <a:pt x="18060" y="5294"/>
                </a:lnTo>
                <a:lnTo>
                  <a:pt x="18039" y="5300"/>
                </a:lnTo>
                <a:lnTo>
                  <a:pt x="18020" y="5309"/>
                </a:lnTo>
                <a:lnTo>
                  <a:pt x="18005" y="5319"/>
                </a:lnTo>
                <a:lnTo>
                  <a:pt x="17993" y="5331"/>
                </a:lnTo>
                <a:close/>
                <a:moveTo>
                  <a:pt x="18119" y="4776"/>
                </a:moveTo>
                <a:lnTo>
                  <a:pt x="18135" y="4776"/>
                </a:lnTo>
                <a:lnTo>
                  <a:pt x="18149" y="4773"/>
                </a:lnTo>
                <a:lnTo>
                  <a:pt x="18160" y="4770"/>
                </a:lnTo>
                <a:lnTo>
                  <a:pt x="18172" y="4766"/>
                </a:lnTo>
                <a:lnTo>
                  <a:pt x="18182" y="4761"/>
                </a:lnTo>
                <a:lnTo>
                  <a:pt x="18193" y="4756"/>
                </a:lnTo>
                <a:lnTo>
                  <a:pt x="18206" y="4753"/>
                </a:lnTo>
                <a:lnTo>
                  <a:pt x="18220" y="4750"/>
                </a:lnTo>
                <a:lnTo>
                  <a:pt x="18224" y="4745"/>
                </a:lnTo>
                <a:lnTo>
                  <a:pt x="18216" y="4742"/>
                </a:lnTo>
                <a:lnTo>
                  <a:pt x="18201" y="4742"/>
                </a:lnTo>
                <a:lnTo>
                  <a:pt x="18180" y="4744"/>
                </a:lnTo>
                <a:lnTo>
                  <a:pt x="18159" y="4749"/>
                </a:lnTo>
                <a:lnTo>
                  <a:pt x="18138" y="4756"/>
                </a:lnTo>
                <a:lnTo>
                  <a:pt x="18124" y="4764"/>
                </a:lnTo>
                <a:lnTo>
                  <a:pt x="18119" y="4776"/>
                </a:lnTo>
                <a:close/>
                <a:moveTo>
                  <a:pt x="18144" y="4927"/>
                </a:moveTo>
                <a:lnTo>
                  <a:pt x="18161" y="4922"/>
                </a:lnTo>
                <a:lnTo>
                  <a:pt x="18178" y="4917"/>
                </a:lnTo>
                <a:lnTo>
                  <a:pt x="18194" y="4911"/>
                </a:lnTo>
                <a:lnTo>
                  <a:pt x="18209" y="4903"/>
                </a:lnTo>
                <a:lnTo>
                  <a:pt x="18223" y="4896"/>
                </a:lnTo>
                <a:lnTo>
                  <a:pt x="18235" y="4887"/>
                </a:lnTo>
                <a:lnTo>
                  <a:pt x="18247" y="4875"/>
                </a:lnTo>
                <a:lnTo>
                  <a:pt x="18258" y="4864"/>
                </a:lnTo>
                <a:lnTo>
                  <a:pt x="18238" y="4866"/>
                </a:lnTo>
                <a:lnTo>
                  <a:pt x="18220" y="4870"/>
                </a:lnTo>
                <a:lnTo>
                  <a:pt x="18202" y="4874"/>
                </a:lnTo>
                <a:lnTo>
                  <a:pt x="18186" y="4880"/>
                </a:lnTo>
                <a:lnTo>
                  <a:pt x="18172" y="4888"/>
                </a:lnTo>
                <a:lnTo>
                  <a:pt x="18160" y="4898"/>
                </a:lnTo>
                <a:lnTo>
                  <a:pt x="18150" y="4911"/>
                </a:lnTo>
                <a:lnTo>
                  <a:pt x="18144" y="4927"/>
                </a:lnTo>
                <a:lnTo>
                  <a:pt x="18144" y="4927"/>
                </a:lnTo>
                <a:close/>
                <a:moveTo>
                  <a:pt x="18421" y="4940"/>
                </a:moveTo>
                <a:lnTo>
                  <a:pt x="18420" y="4953"/>
                </a:lnTo>
                <a:lnTo>
                  <a:pt x="18426" y="4962"/>
                </a:lnTo>
                <a:lnTo>
                  <a:pt x="18438" y="4967"/>
                </a:lnTo>
                <a:lnTo>
                  <a:pt x="18453" y="4968"/>
                </a:lnTo>
                <a:lnTo>
                  <a:pt x="18468" y="4967"/>
                </a:lnTo>
                <a:lnTo>
                  <a:pt x="18480" y="4962"/>
                </a:lnTo>
                <a:lnTo>
                  <a:pt x="18486" y="4953"/>
                </a:lnTo>
                <a:lnTo>
                  <a:pt x="18485" y="4940"/>
                </a:lnTo>
                <a:lnTo>
                  <a:pt x="18421" y="4940"/>
                </a:lnTo>
                <a:close/>
                <a:moveTo>
                  <a:pt x="18750" y="5293"/>
                </a:moveTo>
                <a:lnTo>
                  <a:pt x="18761" y="5298"/>
                </a:lnTo>
                <a:lnTo>
                  <a:pt x="18775" y="5300"/>
                </a:lnTo>
                <a:lnTo>
                  <a:pt x="18789" y="5299"/>
                </a:lnTo>
                <a:lnTo>
                  <a:pt x="18805" y="5297"/>
                </a:lnTo>
                <a:lnTo>
                  <a:pt x="18817" y="5290"/>
                </a:lnTo>
                <a:lnTo>
                  <a:pt x="18829" y="5284"/>
                </a:lnTo>
                <a:lnTo>
                  <a:pt x="18835" y="5276"/>
                </a:lnTo>
                <a:lnTo>
                  <a:pt x="18838" y="5267"/>
                </a:lnTo>
                <a:lnTo>
                  <a:pt x="18825" y="5269"/>
                </a:lnTo>
                <a:lnTo>
                  <a:pt x="18811" y="5269"/>
                </a:lnTo>
                <a:lnTo>
                  <a:pt x="18794" y="5267"/>
                </a:lnTo>
                <a:lnTo>
                  <a:pt x="18779" y="5266"/>
                </a:lnTo>
                <a:lnTo>
                  <a:pt x="18765" y="5266"/>
                </a:lnTo>
                <a:lnTo>
                  <a:pt x="18755" y="5270"/>
                </a:lnTo>
                <a:lnTo>
                  <a:pt x="18750" y="5279"/>
                </a:lnTo>
                <a:lnTo>
                  <a:pt x="18750" y="5293"/>
                </a:lnTo>
                <a:lnTo>
                  <a:pt x="18750" y="5293"/>
                </a:lnTo>
                <a:close/>
                <a:moveTo>
                  <a:pt x="18699" y="4208"/>
                </a:moveTo>
                <a:lnTo>
                  <a:pt x="18708" y="4215"/>
                </a:lnTo>
                <a:lnTo>
                  <a:pt x="18715" y="4216"/>
                </a:lnTo>
                <a:lnTo>
                  <a:pt x="18724" y="4216"/>
                </a:lnTo>
                <a:lnTo>
                  <a:pt x="18732" y="4215"/>
                </a:lnTo>
                <a:lnTo>
                  <a:pt x="18738" y="4216"/>
                </a:lnTo>
                <a:lnTo>
                  <a:pt x="18745" y="4220"/>
                </a:lnTo>
                <a:lnTo>
                  <a:pt x="18748" y="4230"/>
                </a:lnTo>
                <a:lnTo>
                  <a:pt x="18750" y="4246"/>
                </a:lnTo>
                <a:lnTo>
                  <a:pt x="18738" y="4249"/>
                </a:lnTo>
                <a:lnTo>
                  <a:pt x="18728" y="4250"/>
                </a:lnTo>
                <a:lnTo>
                  <a:pt x="18719" y="4254"/>
                </a:lnTo>
                <a:lnTo>
                  <a:pt x="18710" y="4258"/>
                </a:lnTo>
                <a:lnTo>
                  <a:pt x="18703" y="4263"/>
                </a:lnTo>
                <a:lnTo>
                  <a:pt x="18696" y="4268"/>
                </a:lnTo>
                <a:lnTo>
                  <a:pt x="18690" y="4276"/>
                </a:lnTo>
                <a:lnTo>
                  <a:pt x="18686" y="4285"/>
                </a:lnTo>
                <a:lnTo>
                  <a:pt x="18703" y="4292"/>
                </a:lnTo>
                <a:lnTo>
                  <a:pt x="18722" y="4296"/>
                </a:lnTo>
                <a:lnTo>
                  <a:pt x="18743" y="4297"/>
                </a:lnTo>
                <a:lnTo>
                  <a:pt x="18765" y="4295"/>
                </a:lnTo>
                <a:lnTo>
                  <a:pt x="18784" y="4290"/>
                </a:lnTo>
                <a:lnTo>
                  <a:pt x="18802" y="4282"/>
                </a:lnTo>
                <a:lnTo>
                  <a:pt x="18816" y="4272"/>
                </a:lnTo>
                <a:lnTo>
                  <a:pt x="18825" y="4259"/>
                </a:lnTo>
                <a:lnTo>
                  <a:pt x="18812" y="4259"/>
                </a:lnTo>
                <a:lnTo>
                  <a:pt x="18803" y="4257"/>
                </a:lnTo>
                <a:lnTo>
                  <a:pt x="18796" y="4250"/>
                </a:lnTo>
                <a:lnTo>
                  <a:pt x="18790" y="4243"/>
                </a:lnTo>
                <a:lnTo>
                  <a:pt x="18783" y="4225"/>
                </a:lnTo>
                <a:lnTo>
                  <a:pt x="18775" y="4208"/>
                </a:lnTo>
                <a:lnTo>
                  <a:pt x="18785" y="4207"/>
                </a:lnTo>
                <a:lnTo>
                  <a:pt x="18796" y="4204"/>
                </a:lnTo>
                <a:lnTo>
                  <a:pt x="18806" y="4202"/>
                </a:lnTo>
                <a:lnTo>
                  <a:pt x="18813" y="4198"/>
                </a:lnTo>
                <a:lnTo>
                  <a:pt x="18821" y="4193"/>
                </a:lnTo>
                <a:lnTo>
                  <a:pt x="18829" y="4187"/>
                </a:lnTo>
                <a:lnTo>
                  <a:pt x="18834" y="4179"/>
                </a:lnTo>
                <a:lnTo>
                  <a:pt x="18838" y="4171"/>
                </a:lnTo>
                <a:lnTo>
                  <a:pt x="18819" y="4178"/>
                </a:lnTo>
                <a:lnTo>
                  <a:pt x="18799" y="4180"/>
                </a:lnTo>
                <a:lnTo>
                  <a:pt x="18780" y="4180"/>
                </a:lnTo>
                <a:lnTo>
                  <a:pt x="18762" y="4179"/>
                </a:lnTo>
                <a:lnTo>
                  <a:pt x="18745" y="4180"/>
                </a:lnTo>
                <a:lnTo>
                  <a:pt x="18728" y="4184"/>
                </a:lnTo>
                <a:lnTo>
                  <a:pt x="18713" y="4193"/>
                </a:lnTo>
                <a:lnTo>
                  <a:pt x="18699" y="4208"/>
                </a:lnTo>
                <a:lnTo>
                  <a:pt x="18699" y="4208"/>
                </a:lnTo>
                <a:close/>
                <a:moveTo>
                  <a:pt x="18194" y="5205"/>
                </a:moveTo>
                <a:lnTo>
                  <a:pt x="18166" y="5207"/>
                </a:lnTo>
                <a:lnTo>
                  <a:pt x="18138" y="5211"/>
                </a:lnTo>
                <a:lnTo>
                  <a:pt x="18109" y="5214"/>
                </a:lnTo>
                <a:lnTo>
                  <a:pt x="18082" y="5218"/>
                </a:lnTo>
                <a:lnTo>
                  <a:pt x="18056" y="5223"/>
                </a:lnTo>
                <a:lnTo>
                  <a:pt x="18031" y="5230"/>
                </a:lnTo>
                <a:lnTo>
                  <a:pt x="18011" y="5241"/>
                </a:lnTo>
                <a:lnTo>
                  <a:pt x="17993" y="5255"/>
                </a:lnTo>
                <a:lnTo>
                  <a:pt x="18021" y="5244"/>
                </a:lnTo>
                <a:lnTo>
                  <a:pt x="18052" y="5241"/>
                </a:lnTo>
                <a:lnTo>
                  <a:pt x="18081" y="5239"/>
                </a:lnTo>
                <a:lnTo>
                  <a:pt x="18109" y="5239"/>
                </a:lnTo>
                <a:lnTo>
                  <a:pt x="18136" y="5238"/>
                </a:lnTo>
                <a:lnTo>
                  <a:pt x="18159" y="5234"/>
                </a:lnTo>
                <a:lnTo>
                  <a:pt x="18179" y="5223"/>
                </a:lnTo>
                <a:lnTo>
                  <a:pt x="18194" y="5205"/>
                </a:lnTo>
                <a:lnTo>
                  <a:pt x="18194" y="5205"/>
                </a:lnTo>
                <a:close/>
                <a:moveTo>
                  <a:pt x="17237" y="4763"/>
                </a:moveTo>
                <a:lnTo>
                  <a:pt x="17239" y="4745"/>
                </a:lnTo>
                <a:lnTo>
                  <a:pt x="17236" y="4730"/>
                </a:lnTo>
                <a:lnTo>
                  <a:pt x="17227" y="4720"/>
                </a:lnTo>
                <a:lnTo>
                  <a:pt x="17214" y="4714"/>
                </a:lnTo>
                <a:lnTo>
                  <a:pt x="17201" y="4712"/>
                </a:lnTo>
                <a:lnTo>
                  <a:pt x="17188" y="4716"/>
                </a:lnTo>
                <a:lnTo>
                  <a:pt x="17178" y="4725"/>
                </a:lnTo>
                <a:lnTo>
                  <a:pt x="17173" y="4738"/>
                </a:lnTo>
                <a:lnTo>
                  <a:pt x="17186" y="4736"/>
                </a:lnTo>
                <a:lnTo>
                  <a:pt x="17194" y="4739"/>
                </a:lnTo>
                <a:lnTo>
                  <a:pt x="17200" y="4744"/>
                </a:lnTo>
                <a:lnTo>
                  <a:pt x="17205" y="4750"/>
                </a:lnTo>
                <a:lnTo>
                  <a:pt x="17210" y="4757"/>
                </a:lnTo>
                <a:lnTo>
                  <a:pt x="17215" y="4762"/>
                </a:lnTo>
                <a:lnTo>
                  <a:pt x="17224" y="4764"/>
                </a:lnTo>
                <a:lnTo>
                  <a:pt x="17237" y="4763"/>
                </a:lnTo>
                <a:close/>
                <a:moveTo>
                  <a:pt x="17173" y="4889"/>
                </a:moveTo>
                <a:lnTo>
                  <a:pt x="17174" y="4901"/>
                </a:lnTo>
                <a:lnTo>
                  <a:pt x="17171" y="4908"/>
                </a:lnTo>
                <a:lnTo>
                  <a:pt x="17164" y="4913"/>
                </a:lnTo>
                <a:lnTo>
                  <a:pt x="17158" y="4917"/>
                </a:lnTo>
                <a:lnTo>
                  <a:pt x="17150" y="4921"/>
                </a:lnTo>
                <a:lnTo>
                  <a:pt x="17145" y="4927"/>
                </a:lnTo>
                <a:lnTo>
                  <a:pt x="17144" y="4938"/>
                </a:lnTo>
                <a:lnTo>
                  <a:pt x="17148" y="4953"/>
                </a:lnTo>
                <a:lnTo>
                  <a:pt x="17176" y="4950"/>
                </a:lnTo>
                <a:lnTo>
                  <a:pt x="17204" y="4949"/>
                </a:lnTo>
                <a:lnTo>
                  <a:pt x="17232" y="4948"/>
                </a:lnTo>
                <a:lnTo>
                  <a:pt x="17258" y="4947"/>
                </a:lnTo>
                <a:lnTo>
                  <a:pt x="17286" y="4943"/>
                </a:lnTo>
                <a:lnTo>
                  <a:pt x="17313" y="4938"/>
                </a:lnTo>
                <a:lnTo>
                  <a:pt x="17339" y="4927"/>
                </a:lnTo>
                <a:lnTo>
                  <a:pt x="17363" y="4915"/>
                </a:lnTo>
                <a:lnTo>
                  <a:pt x="17337" y="4907"/>
                </a:lnTo>
                <a:lnTo>
                  <a:pt x="17312" y="4907"/>
                </a:lnTo>
                <a:lnTo>
                  <a:pt x="17285" y="4911"/>
                </a:lnTo>
                <a:lnTo>
                  <a:pt x="17260" y="4916"/>
                </a:lnTo>
                <a:lnTo>
                  <a:pt x="17234" y="4921"/>
                </a:lnTo>
                <a:lnTo>
                  <a:pt x="17211" y="4920"/>
                </a:lnTo>
                <a:lnTo>
                  <a:pt x="17191" y="4910"/>
                </a:lnTo>
                <a:lnTo>
                  <a:pt x="17173" y="4889"/>
                </a:lnTo>
                <a:lnTo>
                  <a:pt x="17173" y="4889"/>
                </a:lnTo>
                <a:close/>
                <a:moveTo>
                  <a:pt x="17286" y="5355"/>
                </a:moveTo>
                <a:lnTo>
                  <a:pt x="17289" y="5370"/>
                </a:lnTo>
                <a:lnTo>
                  <a:pt x="17284" y="5382"/>
                </a:lnTo>
                <a:lnTo>
                  <a:pt x="17272" y="5388"/>
                </a:lnTo>
                <a:lnTo>
                  <a:pt x="17258" y="5393"/>
                </a:lnTo>
                <a:lnTo>
                  <a:pt x="17246" y="5397"/>
                </a:lnTo>
                <a:lnTo>
                  <a:pt x="17238" y="5401"/>
                </a:lnTo>
                <a:lnTo>
                  <a:pt x="17238" y="5409"/>
                </a:lnTo>
                <a:lnTo>
                  <a:pt x="17250" y="5419"/>
                </a:lnTo>
                <a:lnTo>
                  <a:pt x="17284" y="5411"/>
                </a:lnTo>
                <a:lnTo>
                  <a:pt x="17325" y="5404"/>
                </a:lnTo>
                <a:lnTo>
                  <a:pt x="17345" y="5398"/>
                </a:lnTo>
                <a:lnTo>
                  <a:pt x="17364" y="5391"/>
                </a:lnTo>
                <a:lnTo>
                  <a:pt x="17383" y="5382"/>
                </a:lnTo>
                <a:lnTo>
                  <a:pt x="17400" y="5368"/>
                </a:lnTo>
                <a:lnTo>
                  <a:pt x="17388" y="5359"/>
                </a:lnTo>
                <a:lnTo>
                  <a:pt x="17374" y="5356"/>
                </a:lnTo>
                <a:lnTo>
                  <a:pt x="17360" y="5359"/>
                </a:lnTo>
                <a:lnTo>
                  <a:pt x="17345" y="5363"/>
                </a:lnTo>
                <a:lnTo>
                  <a:pt x="17329" y="5367"/>
                </a:lnTo>
                <a:lnTo>
                  <a:pt x="17315" y="5368"/>
                </a:lnTo>
                <a:lnTo>
                  <a:pt x="17299" y="5365"/>
                </a:lnTo>
                <a:lnTo>
                  <a:pt x="17286" y="5355"/>
                </a:lnTo>
                <a:close/>
                <a:moveTo>
                  <a:pt x="17009" y="4940"/>
                </a:moveTo>
                <a:lnTo>
                  <a:pt x="16934" y="4940"/>
                </a:lnTo>
                <a:lnTo>
                  <a:pt x="16934" y="4958"/>
                </a:lnTo>
                <a:lnTo>
                  <a:pt x="16941" y="4969"/>
                </a:lnTo>
                <a:lnTo>
                  <a:pt x="16953" y="4975"/>
                </a:lnTo>
                <a:lnTo>
                  <a:pt x="16968" y="4976"/>
                </a:lnTo>
                <a:lnTo>
                  <a:pt x="16983" y="4972"/>
                </a:lnTo>
                <a:lnTo>
                  <a:pt x="16996" y="4964"/>
                </a:lnTo>
                <a:lnTo>
                  <a:pt x="17006" y="4953"/>
                </a:lnTo>
                <a:lnTo>
                  <a:pt x="17009" y="4940"/>
                </a:lnTo>
                <a:lnTo>
                  <a:pt x="17009" y="4940"/>
                </a:lnTo>
                <a:close/>
                <a:moveTo>
                  <a:pt x="17073" y="4776"/>
                </a:moveTo>
                <a:lnTo>
                  <a:pt x="17085" y="4784"/>
                </a:lnTo>
                <a:lnTo>
                  <a:pt x="17097" y="4785"/>
                </a:lnTo>
                <a:lnTo>
                  <a:pt x="17107" y="4780"/>
                </a:lnTo>
                <a:lnTo>
                  <a:pt x="17118" y="4773"/>
                </a:lnTo>
                <a:lnTo>
                  <a:pt x="17129" y="4763"/>
                </a:lnTo>
                <a:lnTo>
                  <a:pt x="17139" y="4753"/>
                </a:lnTo>
                <a:lnTo>
                  <a:pt x="17149" y="4744"/>
                </a:lnTo>
                <a:lnTo>
                  <a:pt x="17160" y="4738"/>
                </a:lnTo>
                <a:lnTo>
                  <a:pt x="17132" y="4742"/>
                </a:lnTo>
                <a:lnTo>
                  <a:pt x="17107" y="4747"/>
                </a:lnTo>
                <a:lnTo>
                  <a:pt x="17095" y="4752"/>
                </a:lnTo>
                <a:lnTo>
                  <a:pt x="17085" y="4758"/>
                </a:lnTo>
                <a:lnTo>
                  <a:pt x="17078" y="4766"/>
                </a:lnTo>
                <a:lnTo>
                  <a:pt x="17073" y="4776"/>
                </a:lnTo>
                <a:close/>
                <a:moveTo>
                  <a:pt x="17337" y="5179"/>
                </a:moveTo>
                <a:lnTo>
                  <a:pt x="17354" y="5181"/>
                </a:lnTo>
                <a:lnTo>
                  <a:pt x="17367" y="5177"/>
                </a:lnTo>
                <a:lnTo>
                  <a:pt x="17377" y="5171"/>
                </a:lnTo>
                <a:lnTo>
                  <a:pt x="17386" y="5164"/>
                </a:lnTo>
                <a:lnTo>
                  <a:pt x="17395" y="5158"/>
                </a:lnTo>
                <a:lnTo>
                  <a:pt x="17404" y="5155"/>
                </a:lnTo>
                <a:lnTo>
                  <a:pt x="17414" y="5157"/>
                </a:lnTo>
                <a:lnTo>
                  <a:pt x="17425" y="5167"/>
                </a:lnTo>
                <a:lnTo>
                  <a:pt x="17424" y="5153"/>
                </a:lnTo>
                <a:lnTo>
                  <a:pt x="17414" y="5144"/>
                </a:lnTo>
                <a:lnTo>
                  <a:pt x="17400" y="5141"/>
                </a:lnTo>
                <a:lnTo>
                  <a:pt x="17382" y="5144"/>
                </a:lnTo>
                <a:lnTo>
                  <a:pt x="17365" y="5149"/>
                </a:lnTo>
                <a:lnTo>
                  <a:pt x="17350" y="5158"/>
                </a:lnTo>
                <a:lnTo>
                  <a:pt x="17340" y="5168"/>
                </a:lnTo>
                <a:lnTo>
                  <a:pt x="17337" y="5179"/>
                </a:lnTo>
                <a:close/>
                <a:moveTo>
                  <a:pt x="17135" y="4953"/>
                </a:moveTo>
                <a:lnTo>
                  <a:pt x="17060" y="4953"/>
                </a:lnTo>
                <a:lnTo>
                  <a:pt x="17060" y="4973"/>
                </a:lnTo>
                <a:lnTo>
                  <a:pt x="17065" y="4985"/>
                </a:lnTo>
                <a:lnTo>
                  <a:pt x="17075" y="4989"/>
                </a:lnTo>
                <a:lnTo>
                  <a:pt x="17088" y="4985"/>
                </a:lnTo>
                <a:lnTo>
                  <a:pt x="17102" y="4978"/>
                </a:lnTo>
                <a:lnTo>
                  <a:pt x="17116" y="4968"/>
                </a:lnTo>
                <a:lnTo>
                  <a:pt x="17127" y="4959"/>
                </a:lnTo>
                <a:lnTo>
                  <a:pt x="17135" y="4953"/>
                </a:lnTo>
                <a:close/>
                <a:moveTo>
                  <a:pt x="17564" y="4562"/>
                </a:moveTo>
                <a:lnTo>
                  <a:pt x="17569" y="4566"/>
                </a:lnTo>
                <a:lnTo>
                  <a:pt x="17577" y="4568"/>
                </a:lnTo>
                <a:lnTo>
                  <a:pt x="17583" y="4571"/>
                </a:lnTo>
                <a:lnTo>
                  <a:pt x="17591" y="4572"/>
                </a:lnTo>
                <a:lnTo>
                  <a:pt x="17597" y="4576"/>
                </a:lnTo>
                <a:lnTo>
                  <a:pt x="17601" y="4581"/>
                </a:lnTo>
                <a:lnTo>
                  <a:pt x="17604" y="4589"/>
                </a:lnTo>
                <a:lnTo>
                  <a:pt x="17602" y="4599"/>
                </a:lnTo>
                <a:lnTo>
                  <a:pt x="17632" y="4593"/>
                </a:lnTo>
                <a:lnTo>
                  <a:pt x="17663" y="4588"/>
                </a:lnTo>
                <a:lnTo>
                  <a:pt x="17695" y="4584"/>
                </a:lnTo>
                <a:lnTo>
                  <a:pt x="17728" y="4580"/>
                </a:lnTo>
                <a:lnTo>
                  <a:pt x="17760" y="4576"/>
                </a:lnTo>
                <a:lnTo>
                  <a:pt x="17790" y="4570"/>
                </a:lnTo>
                <a:lnTo>
                  <a:pt x="17818" y="4561"/>
                </a:lnTo>
                <a:lnTo>
                  <a:pt x="17842" y="4549"/>
                </a:lnTo>
                <a:lnTo>
                  <a:pt x="17804" y="4533"/>
                </a:lnTo>
                <a:lnTo>
                  <a:pt x="17765" y="4528"/>
                </a:lnTo>
                <a:lnTo>
                  <a:pt x="17730" y="4530"/>
                </a:lnTo>
                <a:lnTo>
                  <a:pt x="17695" y="4537"/>
                </a:lnTo>
                <a:lnTo>
                  <a:pt x="17661" y="4546"/>
                </a:lnTo>
                <a:lnTo>
                  <a:pt x="17628" y="4554"/>
                </a:lnTo>
                <a:lnTo>
                  <a:pt x="17596" y="4561"/>
                </a:lnTo>
                <a:lnTo>
                  <a:pt x="17564" y="4562"/>
                </a:lnTo>
                <a:close/>
                <a:moveTo>
                  <a:pt x="18043" y="5432"/>
                </a:moveTo>
                <a:lnTo>
                  <a:pt x="18072" y="5432"/>
                </a:lnTo>
                <a:lnTo>
                  <a:pt x="18100" y="5432"/>
                </a:lnTo>
                <a:lnTo>
                  <a:pt x="18112" y="5429"/>
                </a:lnTo>
                <a:lnTo>
                  <a:pt x="18122" y="5425"/>
                </a:lnTo>
                <a:lnTo>
                  <a:pt x="18128" y="5418"/>
                </a:lnTo>
                <a:lnTo>
                  <a:pt x="18132" y="5406"/>
                </a:lnTo>
                <a:lnTo>
                  <a:pt x="18121" y="5398"/>
                </a:lnTo>
                <a:lnTo>
                  <a:pt x="18108" y="5395"/>
                </a:lnTo>
                <a:lnTo>
                  <a:pt x="18094" y="5395"/>
                </a:lnTo>
                <a:lnTo>
                  <a:pt x="18081" y="5398"/>
                </a:lnTo>
                <a:lnTo>
                  <a:pt x="18068" y="5404"/>
                </a:lnTo>
                <a:lnTo>
                  <a:pt x="18057" y="5411"/>
                </a:lnTo>
                <a:lnTo>
                  <a:pt x="18049" y="5420"/>
                </a:lnTo>
                <a:lnTo>
                  <a:pt x="18043" y="5432"/>
                </a:lnTo>
                <a:close/>
                <a:moveTo>
                  <a:pt x="17942" y="5053"/>
                </a:moveTo>
                <a:lnTo>
                  <a:pt x="18019" y="5053"/>
                </a:lnTo>
                <a:lnTo>
                  <a:pt x="18019" y="5015"/>
                </a:lnTo>
                <a:lnTo>
                  <a:pt x="17996" y="5022"/>
                </a:lnTo>
                <a:lnTo>
                  <a:pt x="17973" y="5027"/>
                </a:lnTo>
                <a:lnTo>
                  <a:pt x="17963" y="5031"/>
                </a:lnTo>
                <a:lnTo>
                  <a:pt x="17954" y="5036"/>
                </a:lnTo>
                <a:lnTo>
                  <a:pt x="17946" y="5043"/>
                </a:lnTo>
                <a:lnTo>
                  <a:pt x="17942" y="5053"/>
                </a:lnTo>
                <a:close/>
                <a:moveTo>
                  <a:pt x="18006" y="4927"/>
                </a:moveTo>
                <a:lnTo>
                  <a:pt x="18020" y="4927"/>
                </a:lnTo>
                <a:lnTo>
                  <a:pt x="18033" y="4926"/>
                </a:lnTo>
                <a:lnTo>
                  <a:pt x="18045" y="4925"/>
                </a:lnTo>
                <a:lnTo>
                  <a:pt x="18057" y="4922"/>
                </a:lnTo>
                <a:lnTo>
                  <a:pt x="18068" y="4919"/>
                </a:lnTo>
                <a:lnTo>
                  <a:pt x="18077" y="4915"/>
                </a:lnTo>
                <a:lnTo>
                  <a:pt x="18086" y="4908"/>
                </a:lnTo>
                <a:lnTo>
                  <a:pt x="18094" y="4902"/>
                </a:lnTo>
                <a:lnTo>
                  <a:pt x="18065" y="4902"/>
                </a:lnTo>
                <a:lnTo>
                  <a:pt x="18037" y="4902"/>
                </a:lnTo>
                <a:lnTo>
                  <a:pt x="18025" y="4903"/>
                </a:lnTo>
                <a:lnTo>
                  <a:pt x="18015" y="4908"/>
                </a:lnTo>
                <a:lnTo>
                  <a:pt x="18009" y="4916"/>
                </a:lnTo>
                <a:lnTo>
                  <a:pt x="18006" y="4927"/>
                </a:lnTo>
                <a:close/>
                <a:moveTo>
                  <a:pt x="17413" y="4675"/>
                </a:moveTo>
                <a:lnTo>
                  <a:pt x="17402" y="4675"/>
                </a:lnTo>
                <a:lnTo>
                  <a:pt x="17393" y="4678"/>
                </a:lnTo>
                <a:lnTo>
                  <a:pt x="17386" y="4682"/>
                </a:lnTo>
                <a:lnTo>
                  <a:pt x="17379" y="4687"/>
                </a:lnTo>
                <a:lnTo>
                  <a:pt x="17371" y="4698"/>
                </a:lnTo>
                <a:lnTo>
                  <a:pt x="17363" y="4712"/>
                </a:lnTo>
                <a:lnTo>
                  <a:pt x="17374" y="4717"/>
                </a:lnTo>
                <a:lnTo>
                  <a:pt x="17385" y="4722"/>
                </a:lnTo>
                <a:lnTo>
                  <a:pt x="17390" y="4725"/>
                </a:lnTo>
                <a:lnTo>
                  <a:pt x="17396" y="4726"/>
                </a:lnTo>
                <a:lnTo>
                  <a:pt x="17404" y="4726"/>
                </a:lnTo>
                <a:lnTo>
                  <a:pt x="17413" y="4725"/>
                </a:lnTo>
                <a:lnTo>
                  <a:pt x="17413" y="4675"/>
                </a:lnTo>
                <a:close/>
                <a:moveTo>
                  <a:pt x="17778" y="4650"/>
                </a:moveTo>
                <a:lnTo>
                  <a:pt x="17790" y="4647"/>
                </a:lnTo>
                <a:lnTo>
                  <a:pt x="17801" y="4645"/>
                </a:lnTo>
                <a:lnTo>
                  <a:pt x="17812" y="4641"/>
                </a:lnTo>
                <a:lnTo>
                  <a:pt x="17823" y="4637"/>
                </a:lnTo>
                <a:lnTo>
                  <a:pt x="17830" y="4631"/>
                </a:lnTo>
                <a:lnTo>
                  <a:pt x="17837" y="4623"/>
                </a:lnTo>
                <a:lnTo>
                  <a:pt x="17840" y="4613"/>
                </a:lnTo>
                <a:lnTo>
                  <a:pt x="17842" y="4599"/>
                </a:lnTo>
                <a:lnTo>
                  <a:pt x="17829" y="4602"/>
                </a:lnTo>
                <a:lnTo>
                  <a:pt x="17819" y="4604"/>
                </a:lnTo>
                <a:lnTo>
                  <a:pt x="17810" y="4610"/>
                </a:lnTo>
                <a:lnTo>
                  <a:pt x="17802" y="4617"/>
                </a:lnTo>
                <a:lnTo>
                  <a:pt x="17790" y="4633"/>
                </a:lnTo>
                <a:lnTo>
                  <a:pt x="17778" y="4650"/>
                </a:lnTo>
                <a:close/>
                <a:moveTo>
                  <a:pt x="14613" y="5481"/>
                </a:moveTo>
                <a:lnTo>
                  <a:pt x="14644" y="5481"/>
                </a:lnTo>
                <a:lnTo>
                  <a:pt x="14668" y="5480"/>
                </a:lnTo>
                <a:lnTo>
                  <a:pt x="14687" y="5477"/>
                </a:lnTo>
                <a:lnTo>
                  <a:pt x="14703" y="5476"/>
                </a:lnTo>
                <a:lnTo>
                  <a:pt x="14714" y="5477"/>
                </a:lnTo>
                <a:lnTo>
                  <a:pt x="14724" y="5482"/>
                </a:lnTo>
                <a:lnTo>
                  <a:pt x="14732" y="5491"/>
                </a:lnTo>
                <a:lnTo>
                  <a:pt x="14739" y="5507"/>
                </a:lnTo>
                <a:lnTo>
                  <a:pt x="14743" y="5498"/>
                </a:lnTo>
                <a:lnTo>
                  <a:pt x="14747" y="5490"/>
                </a:lnTo>
                <a:lnTo>
                  <a:pt x="14752" y="5482"/>
                </a:lnTo>
                <a:lnTo>
                  <a:pt x="14757" y="5474"/>
                </a:lnTo>
                <a:lnTo>
                  <a:pt x="14761" y="5466"/>
                </a:lnTo>
                <a:lnTo>
                  <a:pt x="14765" y="5456"/>
                </a:lnTo>
                <a:lnTo>
                  <a:pt x="14766" y="5444"/>
                </a:lnTo>
                <a:lnTo>
                  <a:pt x="14765" y="5432"/>
                </a:lnTo>
                <a:lnTo>
                  <a:pt x="14757" y="5429"/>
                </a:lnTo>
                <a:lnTo>
                  <a:pt x="14750" y="5425"/>
                </a:lnTo>
                <a:lnTo>
                  <a:pt x="14743" y="5420"/>
                </a:lnTo>
                <a:lnTo>
                  <a:pt x="14736" y="5416"/>
                </a:lnTo>
                <a:lnTo>
                  <a:pt x="14729" y="5411"/>
                </a:lnTo>
                <a:lnTo>
                  <a:pt x="14722" y="5409"/>
                </a:lnTo>
                <a:lnTo>
                  <a:pt x="14713" y="5406"/>
                </a:lnTo>
                <a:lnTo>
                  <a:pt x="14703" y="5406"/>
                </a:lnTo>
                <a:lnTo>
                  <a:pt x="14692" y="5426"/>
                </a:lnTo>
                <a:lnTo>
                  <a:pt x="14682" y="5438"/>
                </a:lnTo>
                <a:lnTo>
                  <a:pt x="14671" y="5443"/>
                </a:lnTo>
                <a:lnTo>
                  <a:pt x="14659" y="5446"/>
                </a:lnTo>
                <a:lnTo>
                  <a:pt x="14648" y="5447"/>
                </a:lnTo>
                <a:lnTo>
                  <a:pt x="14636" y="5452"/>
                </a:lnTo>
                <a:lnTo>
                  <a:pt x="14625" y="5462"/>
                </a:lnTo>
                <a:lnTo>
                  <a:pt x="14613" y="5481"/>
                </a:lnTo>
                <a:lnTo>
                  <a:pt x="14613" y="5481"/>
                </a:lnTo>
                <a:close/>
                <a:moveTo>
                  <a:pt x="17513" y="4663"/>
                </a:moveTo>
                <a:lnTo>
                  <a:pt x="17513" y="4675"/>
                </a:lnTo>
                <a:lnTo>
                  <a:pt x="17513" y="4688"/>
                </a:lnTo>
                <a:lnTo>
                  <a:pt x="17514" y="4700"/>
                </a:lnTo>
                <a:lnTo>
                  <a:pt x="17517" y="4710"/>
                </a:lnTo>
                <a:lnTo>
                  <a:pt x="17522" y="4717"/>
                </a:lnTo>
                <a:lnTo>
                  <a:pt x="17528" y="4724"/>
                </a:lnTo>
                <a:lnTo>
                  <a:pt x="17539" y="4726"/>
                </a:lnTo>
                <a:lnTo>
                  <a:pt x="17551" y="4725"/>
                </a:lnTo>
                <a:lnTo>
                  <a:pt x="17551" y="4707"/>
                </a:lnTo>
                <a:lnTo>
                  <a:pt x="17555" y="4696"/>
                </a:lnTo>
                <a:lnTo>
                  <a:pt x="17562" y="4689"/>
                </a:lnTo>
                <a:lnTo>
                  <a:pt x="17570" y="4687"/>
                </a:lnTo>
                <a:lnTo>
                  <a:pt x="17579" y="4684"/>
                </a:lnTo>
                <a:lnTo>
                  <a:pt x="17591" y="4682"/>
                </a:lnTo>
                <a:lnTo>
                  <a:pt x="17602" y="4674"/>
                </a:lnTo>
                <a:lnTo>
                  <a:pt x="17615" y="4663"/>
                </a:lnTo>
                <a:lnTo>
                  <a:pt x="17600" y="4656"/>
                </a:lnTo>
                <a:lnTo>
                  <a:pt x="17587" y="4650"/>
                </a:lnTo>
                <a:lnTo>
                  <a:pt x="17574" y="4646"/>
                </a:lnTo>
                <a:lnTo>
                  <a:pt x="17563" y="4644"/>
                </a:lnTo>
                <a:lnTo>
                  <a:pt x="17551" y="4644"/>
                </a:lnTo>
                <a:lnTo>
                  <a:pt x="17540" y="4646"/>
                </a:lnTo>
                <a:lnTo>
                  <a:pt x="17527" y="4652"/>
                </a:lnTo>
                <a:lnTo>
                  <a:pt x="17513" y="4663"/>
                </a:lnTo>
                <a:lnTo>
                  <a:pt x="17513" y="4663"/>
                </a:lnTo>
                <a:close/>
                <a:moveTo>
                  <a:pt x="15207" y="5910"/>
                </a:moveTo>
                <a:lnTo>
                  <a:pt x="15217" y="5918"/>
                </a:lnTo>
                <a:lnTo>
                  <a:pt x="15229" y="5919"/>
                </a:lnTo>
                <a:lnTo>
                  <a:pt x="15241" y="5918"/>
                </a:lnTo>
                <a:lnTo>
                  <a:pt x="15254" y="5915"/>
                </a:lnTo>
                <a:lnTo>
                  <a:pt x="15268" y="5911"/>
                </a:lnTo>
                <a:lnTo>
                  <a:pt x="15283" y="5909"/>
                </a:lnTo>
                <a:lnTo>
                  <a:pt x="15301" y="5908"/>
                </a:lnTo>
                <a:lnTo>
                  <a:pt x="15320" y="5910"/>
                </a:lnTo>
                <a:lnTo>
                  <a:pt x="15310" y="5892"/>
                </a:lnTo>
                <a:lnTo>
                  <a:pt x="15297" y="5882"/>
                </a:lnTo>
                <a:lnTo>
                  <a:pt x="15282" y="5878"/>
                </a:lnTo>
                <a:lnTo>
                  <a:pt x="15265" y="5880"/>
                </a:lnTo>
                <a:lnTo>
                  <a:pt x="15250" y="5885"/>
                </a:lnTo>
                <a:lnTo>
                  <a:pt x="15234" y="5891"/>
                </a:lnTo>
                <a:lnTo>
                  <a:pt x="15220" y="5901"/>
                </a:lnTo>
                <a:lnTo>
                  <a:pt x="15207" y="5910"/>
                </a:lnTo>
                <a:lnTo>
                  <a:pt x="15207" y="5910"/>
                </a:lnTo>
                <a:close/>
                <a:moveTo>
                  <a:pt x="14450" y="6023"/>
                </a:moveTo>
                <a:lnTo>
                  <a:pt x="14464" y="6023"/>
                </a:lnTo>
                <a:lnTo>
                  <a:pt x="14477" y="6023"/>
                </a:lnTo>
                <a:lnTo>
                  <a:pt x="14490" y="6021"/>
                </a:lnTo>
                <a:lnTo>
                  <a:pt x="14501" y="6018"/>
                </a:lnTo>
                <a:lnTo>
                  <a:pt x="14513" y="6016"/>
                </a:lnTo>
                <a:lnTo>
                  <a:pt x="14522" y="6011"/>
                </a:lnTo>
                <a:lnTo>
                  <a:pt x="14531" y="6006"/>
                </a:lnTo>
                <a:lnTo>
                  <a:pt x="14538" y="5998"/>
                </a:lnTo>
                <a:lnTo>
                  <a:pt x="14526" y="6001"/>
                </a:lnTo>
                <a:lnTo>
                  <a:pt x="14510" y="5999"/>
                </a:lnTo>
                <a:lnTo>
                  <a:pt x="14495" y="5998"/>
                </a:lnTo>
                <a:lnTo>
                  <a:pt x="14480" y="5997"/>
                </a:lnTo>
                <a:lnTo>
                  <a:pt x="14466" y="5997"/>
                </a:lnTo>
                <a:lnTo>
                  <a:pt x="14455" y="6001"/>
                </a:lnTo>
                <a:lnTo>
                  <a:pt x="14449" y="6009"/>
                </a:lnTo>
                <a:lnTo>
                  <a:pt x="14450" y="6023"/>
                </a:lnTo>
                <a:lnTo>
                  <a:pt x="14450" y="6023"/>
                </a:lnTo>
                <a:close/>
                <a:moveTo>
                  <a:pt x="14513" y="5797"/>
                </a:moveTo>
                <a:lnTo>
                  <a:pt x="14573" y="5792"/>
                </a:lnTo>
                <a:lnTo>
                  <a:pt x="14633" y="5785"/>
                </a:lnTo>
                <a:lnTo>
                  <a:pt x="14694" y="5776"/>
                </a:lnTo>
                <a:lnTo>
                  <a:pt x="14753" y="5765"/>
                </a:lnTo>
                <a:lnTo>
                  <a:pt x="14812" y="5750"/>
                </a:lnTo>
                <a:lnTo>
                  <a:pt x="14869" y="5731"/>
                </a:lnTo>
                <a:lnTo>
                  <a:pt x="14925" y="5704"/>
                </a:lnTo>
                <a:lnTo>
                  <a:pt x="14979" y="5671"/>
                </a:lnTo>
                <a:lnTo>
                  <a:pt x="14919" y="5684"/>
                </a:lnTo>
                <a:lnTo>
                  <a:pt x="14855" y="5695"/>
                </a:lnTo>
                <a:lnTo>
                  <a:pt x="14790" y="5705"/>
                </a:lnTo>
                <a:lnTo>
                  <a:pt x="14728" y="5715"/>
                </a:lnTo>
                <a:lnTo>
                  <a:pt x="14666" y="5728"/>
                </a:lnTo>
                <a:lnTo>
                  <a:pt x="14608" y="5745"/>
                </a:lnTo>
                <a:lnTo>
                  <a:pt x="14557" y="5768"/>
                </a:lnTo>
                <a:lnTo>
                  <a:pt x="14513" y="5797"/>
                </a:lnTo>
                <a:close/>
                <a:moveTo>
                  <a:pt x="14816" y="5885"/>
                </a:moveTo>
                <a:lnTo>
                  <a:pt x="14794" y="5909"/>
                </a:lnTo>
                <a:lnTo>
                  <a:pt x="14770" y="5927"/>
                </a:lnTo>
                <a:lnTo>
                  <a:pt x="14741" y="5938"/>
                </a:lnTo>
                <a:lnTo>
                  <a:pt x="14710" y="5944"/>
                </a:lnTo>
                <a:lnTo>
                  <a:pt x="14678" y="5948"/>
                </a:lnTo>
                <a:lnTo>
                  <a:pt x="14644" y="5948"/>
                </a:lnTo>
                <a:lnTo>
                  <a:pt x="14610" y="5948"/>
                </a:lnTo>
                <a:lnTo>
                  <a:pt x="14575" y="5948"/>
                </a:lnTo>
                <a:lnTo>
                  <a:pt x="14576" y="5956"/>
                </a:lnTo>
                <a:lnTo>
                  <a:pt x="14575" y="5962"/>
                </a:lnTo>
                <a:lnTo>
                  <a:pt x="14573" y="5969"/>
                </a:lnTo>
                <a:lnTo>
                  <a:pt x="14570" y="5974"/>
                </a:lnTo>
                <a:lnTo>
                  <a:pt x="14568" y="5979"/>
                </a:lnTo>
                <a:lnTo>
                  <a:pt x="14565" y="5984"/>
                </a:lnTo>
                <a:lnTo>
                  <a:pt x="14564" y="5990"/>
                </a:lnTo>
                <a:lnTo>
                  <a:pt x="14564" y="5998"/>
                </a:lnTo>
                <a:lnTo>
                  <a:pt x="14598" y="5993"/>
                </a:lnTo>
                <a:lnTo>
                  <a:pt x="14629" y="5987"/>
                </a:lnTo>
                <a:lnTo>
                  <a:pt x="14657" y="5981"/>
                </a:lnTo>
                <a:lnTo>
                  <a:pt x="14683" y="5976"/>
                </a:lnTo>
                <a:lnTo>
                  <a:pt x="14709" y="5975"/>
                </a:lnTo>
                <a:lnTo>
                  <a:pt x="14736" y="5975"/>
                </a:lnTo>
                <a:lnTo>
                  <a:pt x="14762" y="5979"/>
                </a:lnTo>
                <a:lnTo>
                  <a:pt x="14790" y="5985"/>
                </a:lnTo>
                <a:lnTo>
                  <a:pt x="14790" y="5971"/>
                </a:lnTo>
                <a:lnTo>
                  <a:pt x="14793" y="5957"/>
                </a:lnTo>
                <a:lnTo>
                  <a:pt x="14796" y="5952"/>
                </a:lnTo>
                <a:lnTo>
                  <a:pt x="14801" y="5948"/>
                </a:lnTo>
                <a:lnTo>
                  <a:pt x="14807" y="5947"/>
                </a:lnTo>
                <a:lnTo>
                  <a:pt x="14816" y="5948"/>
                </a:lnTo>
                <a:lnTo>
                  <a:pt x="14813" y="5964"/>
                </a:lnTo>
                <a:lnTo>
                  <a:pt x="14804" y="5978"/>
                </a:lnTo>
                <a:lnTo>
                  <a:pt x="14792" y="5990"/>
                </a:lnTo>
                <a:lnTo>
                  <a:pt x="14776" y="6001"/>
                </a:lnTo>
                <a:lnTo>
                  <a:pt x="14764" y="6011"/>
                </a:lnTo>
                <a:lnTo>
                  <a:pt x="14753" y="6020"/>
                </a:lnTo>
                <a:lnTo>
                  <a:pt x="14748" y="6027"/>
                </a:lnTo>
                <a:lnTo>
                  <a:pt x="14752" y="6036"/>
                </a:lnTo>
                <a:lnTo>
                  <a:pt x="14788" y="6027"/>
                </a:lnTo>
                <a:lnTo>
                  <a:pt x="14826" y="6018"/>
                </a:lnTo>
                <a:lnTo>
                  <a:pt x="14867" y="6009"/>
                </a:lnTo>
                <a:lnTo>
                  <a:pt x="14908" y="6001"/>
                </a:lnTo>
                <a:lnTo>
                  <a:pt x="14948" y="5989"/>
                </a:lnTo>
                <a:lnTo>
                  <a:pt x="14988" y="5978"/>
                </a:lnTo>
                <a:lnTo>
                  <a:pt x="15023" y="5964"/>
                </a:lnTo>
                <a:lnTo>
                  <a:pt x="15055" y="5948"/>
                </a:lnTo>
                <a:lnTo>
                  <a:pt x="15027" y="5948"/>
                </a:lnTo>
                <a:lnTo>
                  <a:pt x="15001" y="5952"/>
                </a:lnTo>
                <a:lnTo>
                  <a:pt x="14973" y="5956"/>
                </a:lnTo>
                <a:lnTo>
                  <a:pt x="14945" y="5961"/>
                </a:lnTo>
                <a:lnTo>
                  <a:pt x="14918" y="5964"/>
                </a:lnTo>
                <a:lnTo>
                  <a:pt x="14891" y="5964"/>
                </a:lnTo>
                <a:lnTo>
                  <a:pt x="14866" y="5958"/>
                </a:lnTo>
                <a:lnTo>
                  <a:pt x="14840" y="5948"/>
                </a:lnTo>
                <a:lnTo>
                  <a:pt x="14873" y="5938"/>
                </a:lnTo>
                <a:lnTo>
                  <a:pt x="14909" y="5930"/>
                </a:lnTo>
                <a:lnTo>
                  <a:pt x="14945" y="5924"/>
                </a:lnTo>
                <a:lnTo>
                  <a:pt x="14980" y="5916"/>
                </a:lnTo>
                <a:lnTo>
                  <a:pt x="15013" y="5908"/>
                </a:lnTo>
                <a:lnTo>
                  <a:pt x="15044" y="5896"/>
                </a:lnTo>
                <a:lnTo>
                  <a:pt x="15072" y="5881"/>
                </a:lnTo>
                <a:lnTo>
                  <a:pt x="15092" y="5859"/>
                </a:lnTo>
                <a:lnTo>
                  <a:pt x="15055" y="5867"/>
                </a:lnTo>
                <a:lnTo>
                  <a:pt x="15021" y="5874"/>
                </a:lnTo>
                <a:lnTo>
                  <a:pt x="14988" y="5882"/>
                </a:lnTo>
                <a:lnTo>
                  <a:pt x="14955" y="5887"/>
                </a:lnTo>
                <a:lnTo>
                  <a:pt x="14922" y="5891"/>
                </a:lnTo>
                <a:lnTo>
                  <a:pt x="14888" y="5892"/>
                </a:lnTo>
                <a:lnTo>
                  <a:pt x="14853" y="5890"/>
                </a:lnTo>
                <a:lnTo>
                  <a:pt x="14816" y="5885"/>
                </a:lnTo>
                <a:lnTo>
                  <a:pt x="14816" y="5885"/>
                </a:lnTo>
                <a:close/>
                <a:moveTo>
                  <a:pt x="17098" y="4095"/>
                </a:moveTo>
                <a:lnTo>
                  <a:pt x="17106" y="4072"/>
                </a:lnTo>
                <a:lnTo>
                  <a:pt x="17112" y="4055"/>
                </a:lnTo>
                <a:lnTo>
                  <a:pt x="17118" y="4044"/>
                </a:lnTo>
                <a:lnTo>
                  <a:pt x="17123" y="4033"/>
                </a:lnTo>
                <a:lnTo>
                  <a:pt x="17131" y="4031"/>
                </a:lnTo>
                <a:lnTo>
                  <a:pt x="17139" y="4030"/>
                </a:lnTo>
                <a:lnTo>
                  <a:pt x="17143" y="4029"/>
                </a:lnTo>
                <a:lnTo>
                  <a:pt x="17145" y="4026"/>
                </a:lnTo>
                <a:lnTo>
                  <a:pt x="17148" y="4024"/>
                </a:lnTo>
                <a:lnTo>
                  <a:pt x="17148" y="4020"/>
                </a:lnTo>
                <a:lnTo>
                  <a:pt x="17126" y="4020"/>
                </a:lnTo>
                <a:lnTo>
                  <a:pt x="17106" y="4021"/>
                </a:lnTo>
                <a:lnTo>
                  <a:pt x="17088" y="4025"/>
                </a:lnTo>
                <a:lnTo>
                  <a:pt x="17071" y="4031"/>
                </a:lnTo>
                <a:lnTo>
                  <a:pt x="17039" y="4044"/>
                </a:lnTo>
                <a:lnTo>
                  <a:pt x="17009" y="4058"/>
                </a:lnTo>
                <a:lnTo>
                  <a:pt x="17024" y="4058"/>
                </a:lnTo>
                <a:lnTo>
                  <a:pt x="17034" y="4064"/>
                </a:lnTo>
                <a:lnTo>
                  <a:pt x="17042" y="4072"/>
                </a:lnTo>
                <a:lnTo>
                  <a:pt x="17048" y="4082"/>
                </a:lnTo>
                <a:lnTo>
                  <a:pt x="17055" y="4091"/>
                </a:lnTo>
                <a:lnTo>
                  <a:pt x="17064" y="4097"/>
                </a:lnTo>
                <a:lnTo>
                  <a:pt x="17078" y="4099"/>
                </a:lnTo>
                <a:lnTo>
                  <a:pt x="17098" y="4095"/>
                </a:lnTo>
                <a:close/>
                <a:moveTo>
                  <a:pt x="15105" y="5859"/>
                </a:moveTo>
                <a:lnTo>
                  <a:pt x="15155" y="5859"/>
                </a:lnTo>
                <a:lnTo>
                  <a:pt x="15209" y="5855"/>
                </a:lnTo>
                <a:lnTo>
                  <a:pt x="15267" y="5849"/>
                </a:lnTo>
                <a:lnTo>
                  <a:pt x="15325" y="5839"/>
                </a:lnTo>
                <a:lnTo>
                  <a:pt x="15384" y="5826"/>
                </a:lnTo>
                <a:lnTo>
                  <a:pt x="15442" y="5808"/>
                </a:lnTo>
                <a:lnTo>
                  <a:pt x="15496" y="5787"/>
                </a:lnTo>
                <a:lnTo>
                  <a:pt x="15547" y="5759"/>
                </a:lnTo>
                <a:lnTo>
                  <a:pt x="15493" y="5773"/>
                </a:lnTo>
                <a:lnTo>
                  <a:pt x="15436" y="5784"/>
                </a:lnTo>
                <a:lnTo>
                  <a:pt x="15378" y="5793"/>
                </a:lnTo>
                <a:lnTo>
                  <a:pt x="15319" y="5802"/>
                </a:lnTo>
                <a:lnTo>
                  <a:pt x="15260" y="5812"/>
                </a:lnTo>
                <a:lnTo>
                  <a:pt x="15204" y="5824"/>
                </a:lnTo>
                <a:lnTo>
                  <a:pt x="15152" y="5839"/>
                </a:lnTo>
                <a:lnTo>
                  <a:pt x="15105" y="5859"/>
                </a:lnTo>
                <a:lnTo>
                  <a:pt x="15105" y="5859"/>
                </a:lnTo>
                <a:close/>
                <a:moveTo>
                  <a:pt x="15370" y="5885"/>
                </a:moveTo>
                <a:lnTo>
                  <a:pt x="15393" y="5881"/>
                </a:lnTo>
                <a:lnTo>
                  <a:pt x="15413" y="5881"/>
                </a:lnTo>
                <a:lnTo>
                  <a:pt x="15431" y="5882"/>
                </a:lnTo>
                <a:lnTo>
                  <a:pt x="15446" y="5883"/>
                </a:lnTo>
                <a:lnTo>
                  <a:pt x="15459" y="5882"/>
                </a:lnTo>
                <a:lnTo>
                  <a:pt x="15470" y="5877"/>
                </a:lnTo>
                <a:lnTo>
                  <a:pt x="15478" y="5866"/>
                </a:lnTo>
                <a:lnTo>
                  <a:pt x="15483" y="5848"/>
                </a:lnTo>
                <a:lnTo>
                  <a:pt x="15467" y="5854"/>
                </a:lnTo>
                <a:lnTo>
                  <a:pt x="15449" y="5855"/>
                </a:lnTo>
                <a:lnTo>
                  <a:pt x="15432" y="5855"/>
                </a:lnTo>
                <a:lnTo>
                  <a:pt x="15416" y="5853"/>
                </a:lnTo>
                <a:lnTo>
                  <a:pt x="15402" y="5853"/>
                </a:lnTo>
                <a:lnTo>
                  <a:pt x="15389" y="5857"/>
                </a:lnTo>
                <a:lnTo>
                  <a:pt x="15379" y="5867"/>
                </a:lnTo>
                <a:lnTo>
                  <a:pt x="15370" y="5885"/>
                </a:lnTo>
                <a:close/>
                <a:moveTo>
                  <a:pt x="15004" y="5684"/>
                </a:moveTo>
                <a:lnTo>
                  <a:pt x="15058" y="5681"/>
                </a:lnTo>
                <a:lnTo>
                  <a:pt x="15116" y="5673"/>
                </a:lnTo>
                <a:lnTo>
                  <a:pt x="15176" y="5661"/>
                </a:lnTo>
                <a:lnTo>
                  <a:pt x="15236" y="5645"/>
                </a:lnTo>
                <a:lnTo>
                  <a:pt x="15295" y="5629"/>
                </a:lnTo>
                <a:lnTo>
                  <a:pt x="15351" y="5611"/>
                </a:lnTo>
                <a:lnTo>
                  <a:pt x="15402" y="5596"/>
                </a:lnTo>
                <a:lnTo>
                  <a:pt x="15446" y="5583"/>
                </a:lnTo>
                <a:lnTo>
                  <a:pt x="15389" y="5586"/>
                </a:lnTo>
                <a:lnTo>
                  <a:pt x="15330" y="5592"/>
                </a:lnTo>
                <a:lnTo>
                  <a:pt x="15271" y="5601"/>
                </a:lnTo>
                <a:lnTo>
                  <a:pt x="15212" y="5612"/>
                </a:lnTo>
                <a:lnTo>
                  <a:pt x="15155" y="5628"/>
                </a:lnTo>
                <a:lnTo>
                  <a:pt x="15101" y="5644"/>
                </a:lnTo>
                <a:lnTo>
                  <a:pt x="15050" y="5662"/>
                </a:lnTo>
                <a:lnTo>
                  <a:pt x="15004" y="5684"/>
                </a:lnTo>
                <a:lnTo>
                  <a:pt x="15004" y="5684"/>
                </a:lnTo>
                <a:close/>
                <a:moveTo>
                  <a:pt x="15320" y="5368"/>
                </a:moveTo>
                <a:lnTo>
                  <a:pt x="15341" y="5351"/>
                </a:lnTo>
                <a:lnTo>
                  <a:pt x="15360" y="5332"/>
                </a:lnTo>
                <a:lnTo>
                  <a:pt x="15379" y="5313"/>
                </a:lnTo>
                <a:lnTo>
                  <a:pt x="15395" y="5293"/>
                </a:lnTo>
                <a:lnTo>
                  <a:pt x="15370" y="5293"/>
                </a:lnTo>
                <a:lnTo>
                  <a:pt x="15352" y="5297"/>
                </a:lnTo>
                <a:lnTo>
                  <a:pt x="15339" y="5303"/>
                </a:lnTo>
                <a:lnTo>
                  <a:pt x="15332" y="5312"/>
                </a:lnTo>
                <a:lnTo>
                  <a:pt x="15327" y="5323"/>
                </a:lnTo>
                <a:lnTo>
                  <a:pt x="15324" y="5337"/>
                </a:lnTo>
                <a:lnTo>
                  <a:pt x="15323" y="5353"/>
                </a:lnTo>
                <a:lnTo>
                  <a:pt x="15320" y="5368"/>
                </a:lnTo>
                <a:close/>
                <a:moveTo>
                  <a:pt x="14778" y="5444"/>
                </a:moveTo>
                <a:lnTo>
                  <a:pt x="14792" y="5443"/>
                </a:lnTo>
                <a:lnTo>
                  <a:pt x="14806" y="5440"/>
                </a:lnTo>
                <a:lnTo>
                  <a:pt x="14818" y="5438"/>
                </a:lnTo>
                <a:lnTo>
                  <a:pt x="14831" y="5434"/>
                </a:lnTo>
                <a:lnTo>
                  <a:pt x="14844" y="5432"/>
                </a:lnTo>
                <a:lnTo>
                  <a:pt x="14858" y="5429"/>
                </a:lnTo>
                <a:lnTo>
                  <a:pt x="14873" y="5429"/>
                </a:lnTo>
                <a:lnTo>
                  <a:pt x="14891" y="5432"/>
                </a:lnTo>
                <a:lnTo>
                  <a:pt x="14895" y="5421"/>
                </a:lnTo>
                <a:lnTo>
                  <a:pt x="14899" y="5414"/>
                </a:lnTo>
                <a:lnTo>
                  <a:pt x="14904" y="5406"/>
                </a:lnTo>
                <a:lnTo>
                  <a:pt x="14909" y="5398"/>
                </a:lnTo>
                <a:lnTo>
                  <a:pt x="14919" y="5384"/>
                </a:lnTo>
                <a:lnTo>
                  <a:pt x="14929" y="5368"/>
                </a:lnTo>
                <a:lnTo>
                  <a:pt x="14905" y="5373"/>
                </a:lnTo>
                <a:lnTo>
                  <a:pt x="14881" y="5377"/>
                </a:lnTo>
                <a:lnTo>
                  <a:pt x="14859" y="5383"/>
                </a:lnTo>
                <a:lnTo>
                  <a:pt x="14838" y="5391"/>
                </a:lnTo>
                <a:lnTo>
                  <a:pt x="14818" y="5400"/>
                </a:lnTo>
                <a:lnTo>
                  <a:pt x="14802" y="5412"/>
                </a:lnTo>
                <a:lnTo>
                  <a:pt x="14788" y="5426"/>
                </a:lnTo>
                <a:lnTo>
                  <a:pt x="14778" y="5444"/>
                </a:lnTo>
                <a:lnTo>
                  <a:pt x="14778" y="5444"/>
                </a:lnTo>
                <a:close/>
                <a:moveTo>
                  <a:pt x="18081" y="4069"/>
                </a:moveTo>
                <a:lnTo>
                  <a:pt x="18056" y="4071"/>
                </a:lnTo>
                <a:lnTo>
                  <a:pt x="18033" y="4075"/>
                </a:lnTo>
                <a:lnTo>
                  <a:pt x="18012" y="4081"/>
                </a:lnTo>
                <a:lnTo>
                  <a:pt x="17993" y="4090"/>
                </a:lnTo>
                <a:lnTo>
                  <a:pt x="17977" y="4099"/>
                </a:lnTo>
                <a:lnTo>
                  <a:pt x="17960" y="4110"/>
                </a:lnTo>
                <a:lnTo>
                  <a:pt x="17945" y="4122"/>
                </a:lnTo>
                <a:lnTo>
                  <a:pt x="17930" y="4133"/>
                </a:lnTo>
                <a:lnTo>
                  <a:pt x="17958" y="4127"/>
                </a:lnTo>
                <a:lnTo>
                  <a:pt x="17983" y="4124"/>
                </a:lnTo>
                <a:lnTo>
                  <a:pt x="18005" y="4122"/>
                </a:lnTo>
                <a:lnTo>
                  <a:pt x="18025" y="4119"/>
                </a:lnTo>
                <a:lnTo>
                  <a:pt x="18043" y="4114"/>
                </a:lnTo>
                <a:lnTo>
                  <a:pt x="18058" y="4106"/>
                </a:lnTo>
                <a:lnTo>
                  <a:pt x="18071" y="4091"/>
                </a:lnTo>
                <a:lnTo>
                  <a:pt x="18081" y="4069"/>
                </a:lnTo>
                <a:close/>
                <a:moveTo>
                  <a:pt x="15282" y="5419"/>
                </a:moveTo>
                <a:lnTo>
                  <a:pt x="15291" y="5424"/>
                </a:lnTo>
                <a:lnTo>
                  <a:pt x="15297" y="5433"/>
                </a:lnTo>
                <a:lnTo>
                  <a:pt x="15301" y="5442"/>
                </a:lnTo>
                <a:lnTo>
                  <a:pt x="15305" y="5452"/>
                </a:lnTo>
                <a:lnTo>
                  <a:pt x="15309" y="5463"/>
                </a:lnTo>
                <a:lnTo>
                  <a:pt x="15314" y="5472"/>
                </a:lnTo>
                <a:lnTo>
                  <a:pt x="15321" y="5479"/>
                </a:lnTo>
                <a:lnTo>
                  <a:pt x="15333" y="5481"/>
                </a:lnTo>
                <a:lnTo>
                  <a:pt x="15334" y="5468"/>
                </a:lnTo>
                <a:lnTo>
                  <a:pt x="15333" y="5460"/>
                </a:lnTo>
                <a:lnTo>
                  <a:pt x="15330" y="5451"/>
                </a:lnTo>
                <a:lnTo>
                  <a:pt x="15327" y="5444"/>
                </a:lnTo>
                <a:lnTo>
                  <a:pt x="15323" y="5437"/>
                </a:lnTo>
                <a:lnTo>
                  <a:pt x="15319" y="5429"/>
                </a:lnTo>
                <a:lnTo>
                  <a:pt x="15318" y="5419"/>
                </a:lnTo>
                <a:lnTo>
                  <a:pt x="15320" y="5406"/>
                </a:lnTo>
                <a:lnTo>
                  <a:pt x="15307" y="5407"/>
                </a:lnTo>
                <a:lnTo>
                  <a:pt x="15296" y="5407"/>
                </a:lnTo>
                <a:lnTo>
                  <a:pt x="15291" y="5409"/>
                </a:lnTo>
                <a:lnTo>
                  <a:pt x="15287" y="5411"/>
                </a:lnTo>
                <a:lnTo>
                  <a:pt x="15283" y="5414"/>
                </a:lnTo>
                <a:lnTo>
                  <a:pt x="15282" y="5419"/>
                </a:lnTo>
                <a:close/>
                <a:moveTo>
                  <a:pt x="14904" y="5797"/>
                </a:moveTo>
                <a:lnTo>
                  <a:pt x="14874" y="5802"/>
                </a:lnTo>
                <a:lnTo>
                  <a:pt x="14844" y="5806"/>
                </a:lnTo>
                <a:lnTo>
                  <a:pt x="14830" y="5810"/>
                </a:lnTo>
                <a:lnTo>
                  <a:pt x="14818" y="5816"/>
                </a:lnTo>
                <a:lnTo>
                  <a:pt x="14810" y="5824"/>
                </a:lnTo>
                <a:lnTo>
                  <a:pt x="14803" y="5835"/>
                </a:lnTo>
                <a:lnTo>
                  <a:pt x="14821" y="5835"/>
                </a:lnTo>
                <a:lnTo>
                  <a:pt x="14836" y="5834"/>
                </a:lnTo>
                <a:lnTo>
                  <a:pt x="14850" y="5830"/>
                </a:lnTo>
                <a:lnTo>
                  <a:pt x="14863" y="5825"/>
                </a:lnTo>
                <a:lnTo>
                  <a:pt x="14874" y="5820"/>
                </a:lnTo>
                <a:lnTo>
                  <a:pt x="14885" y="5812"/>
                </a:lnTo>
                <a:lnTo>
                  <a:pt x="14895" y="5804"/>
                </a:lnTo>
                <a:lnTo>
                  <a:pt x="14904" y="5797"/>
                </a:lnTo>
                <a:close/>
                <a:moveTo>
                  <a:pt x="15194" y="5393"/>
                </a:moveTo>
                <a:lnTo>
                  <a:pt x="15257" y="5393"/>
                </a:lnTo>
                <a:lnTo>
                  <a:pt x="15269" y="5374"/>
                </a:lnTo>
                <a:lnTo>
                  <a:pt x="15282" y="5355"/>
                </a:lnTo>
                <a:lnTo>
                  <a:pt x="15295" y="5337"/>
                </a:lnTo>
                <a:lnTo>
                  <a:pt x="15307" y="5318"/>
                </a:lnTo>
                <a:lnTo>
                  <a:pt x="15295" y="5313"/>
                </a:lnTo>
                <a:lnTo>
                  <a:pt x="15283" y="5312"/>
                </a:lnTo>
                <a:lnTo>
                  <a:pt x="15273" y="5312"/>
                </a:lnTo>
                <a:lnTo>
                  <a:pt x="15263" y="5313"/>
                </a:lnTo>
                <a:lnTo>
                  <a:pt x="15243" y="5319"/>
                </a:lnTo>
                <a:lnTo>
                  <a:pt x="15218" y="5331"/>
                </a:lnTo>
                <a:lnTo>
                  <a:pt x="15226" y="5345"/>
                </a:lnTo>
                <a:lnTo>
                  <a:pt x="15227" y="5355"/>
                </a:lnTo>
                <a:lnTo>
                  <a:pt x="15225" y="5361"/>
                </a:lnTo>
                <a:lnTo>
                  <a:pt x="15221" y="5367"/>
                </a:lnTo>
                <a:lnTo>
                  <a:pt x="15215" y="5370"/>
                </a:lnTo>
                <a:lnTo>
                  <a:pt x="15207" y="5375"/>
                </a:lnTo>
                <a:lnTo>
                  <a:pt x="15199" y="5382"/>
                </a:lnTo>
                <a:lnTo>
                  <a:pt x="15194" y="5393"/>
                </a:lnTo>
                <a:lnTo>
                  <a:pt x="15194" y="5393"/>
                </a:lnTo>
                <a:close/>
                <a:moveTo>
                  <a:pt x="14992" y="5468"/>
                </a:moveTo>
                <a:lnTo>
                  <a:pt x="14980" y="5468"/>
                </a:lnTo>
                <a:lnTo>
                  <a:pt x="14970" y="5468"/>
                </a:lnTo>
                <a:lnTo>
                  <a:pt x="14961" y="5471"/>
                </a:lnTo>
                <a:lnTo>
                  <a:pt x="14953" y="5475"/>
                </a:lnTo>
                <a:lnTo>
                  <a:pt x="14947" y="5480"/>
                </a:lnTo>
                <a:lnTo>
                  <a:pt x="14943" y="5486"/>
                </a:lnTo>
                <a:lnTo>
                  <a:pt x="14941" y="5495"/>
                </a:lnTo>
                <a:lnTo>
                  <a:pt x="14942" y="5507"/>
                </a:lnTo>
                <a:lnTo>
                  <a:pt x="14953" y="5508"/>
                </a:lnTo>
                <a:lnTo>
                  <a:pt x="14964" y="5507"/>
                </a:lnTo>
                <a:lnTo>
                  <a:pt x="14973" y="5505"/>
                </a:lnTo>
                <a:lnTo>
                  <a:pt x="14980" y="5502"/>
                </a:lnTo>
                <a:lnTo>
                  <a:pt x="14987" y="5496"/>
                </a:lnTo>
                <a:lnTo>
                  <a:pt x="14990" y="5490"/>
                </a:lnTo>
                <a:lnTo>
                  <a:pt x="14992" y="5480"/>
                </a:lnTo>
                <a:lnTo>
                  <a:pt x="14992" y="5468"/>
                </a:lnTo>
                <a:lnTo>
                  <a:pt x="14992" y="5468"/>
                </a:lnTo>
                <a:close/>
                <a:moveTo>
                  <a:pt x="18156" y="3919"/>
                </a:moveTo>
                <a:lnTo>
                  <a:pt x="18147" y="3931"/>
                </a:lnTo>
                <a:lnTo>
                  <a:pt x="18133" y="3940"/>
                </a:lnTo>
                <a:lnTo>
                  <a:pt x="18118" y="3946"/>
                </a:lnTo>
                <a:lnTo>
                  <a:pt x="18102" y="3951"/>
                </a:lnTo>
                <a:lnTo>
                  <a:pt x="18085" y="3957"/>
                </a:lnTo>
                <a:lnTo>
                  <a:pt x="18072" y="3966"/>
                </a:lnTo>
                <a:lnTo>
                  <a:pt x="18062" y="3978"/>
                </a:lnTo>
                <a:lnTo>
                  <a:pt x="18056" y="3994"/>
                </a:lnTo>
                <a:lnTo>
                  <a:pt x="18071" y="3991"/>
                </a:lnTo>
                <a:lnTo>
                  <a:pt x="18086" y="3987"/>
                </a:lnTo>
                <a:lnTo>
                  <a:pt x="18103" y="3984"/>
                </a:lnTo>
                <a:lnTo>
                  <a:pt x="18119" y="3982"/>
                </a:lnTo>
                <a:lnTo>
                  <a:pt x="18136" y="3979"/>
                </a:lnTo>
                <a:lnTo>
                  <a:pt x="18152" y="3977"/>
                </a:lnTo>
                <a:lnTo>
                  <a:pt x="18168" y="3974"/>
                </a:lnTo>
                <a:lnTo>
                  <a:pt x="18182" y="3969"/>
                </a:lnTo>
                <a:lnTo>
                  <a:pt x="18183" y="3959"/>
                </a:lnTo>
                <a:lnTo>
                  <a:pt x="18183" y="3950"/>
                </a:lnTo>
                <a:lnTo>
                  <a:pt x="18182" y="3941"/>
                </a:lnTo>
                <a:lnTo>
                  <a:pt x="18179" y="3935"/>
                </a:lnTo>
                <a:lnTo>
                  <a:pt x="18175" y="3928"/>
                </a:lnTo>
                <a:lnTo>
                  <a:pt x="18170" y="3924"/>
                </a:lnTo>
                <a:lnTo>
                  <a:pt x="18164" y="3921"/>
                </a:lnTo>
                <a:lnTo>
                  <a:pt x="18156" y="3919"/>
                </a:lnTo>
                <a:lnTo>
                  <a:pt x="18156" y="3919"/>
                </a:lnTo>
                <a:close/>
                <a:moveTo>
                  <a:pt x="18194" y="4058"/>
                </a:moveTo>
                <a:lnTo>
                  <a:pt x="18205" y="4064"/>
                </a:lnTo>
                <a:lnTo>
                  <a:pt x="18215" y="4067"/>
                </a:lnTo>
                <a:lnTo>
                  <a:pt x="18226" y="4067"/>
                </a:lnTo>
                <a:lnTo>
                  <a:pt x="18238" y="4064"/>
                </a:lnTo>
                <a:lnTo>
                  <a:pt x="18248" y="4058"/>
                </a:lnTo>
                <a:lnTo>
                  <a:pt x="18257" y="4050"/>
                </a:lnTo>
                <a:lnTo>
                  <a:pt x="18265" y="4041"/>
                </a:lnTo>
                <a:lnTo>
                  <a:pt x="18271" y="4033"/>
                </a:lnTo>
                <a:lnTo>
                  <a:pt x="18257" y="4027"/>
                </a:lnTo>
                <a:lnTo>
                  <a:pt x="18244" y="4024"/>
                </a:lnTo>
                <a:lnTo>
                  <a:pt x="18234" y="4024"/>
                </a:lnTo>
                <a:lnTo>
                  <a:pt x="18224" y="4025"/>
                </a:lnTo>
                <a:lnTo>
                  <a:pt x="18215" y="4029"/>
                </a:lnTo>
                <a:lnTo>
                  <a:pt x="18207" y="4036"/>
                </a:lnTo>
                <a:lnTo>
                  <a:pt x="18200" y="4045"/>
                </a:lnTo>
                <a:lnTo>
                  <a:pt x="18194" y="4058"/>
                </a:lnTo>
                <a:lnTo>
                  <a:pt x="18194" y="405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69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Freeform 8">
            <a:extLst>
              <a:ext uri="{FF2B5EF4-FFF2-40B4-BE49-F238E27FC236}">
                <a16:creationId xmlns:a16="http://schemas.microsoft.com/office/drawing/2014/main" id="{CF350DE4-E2C8-3B4C-A65E-98B59717277D}"/>
              </a:ext>
            </a:extLst>
          </p:cNvPr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314696" y="1784246"/>
            <a:ext cx="6635989" cy="3732744"/>
          </a:xfrm>
          <a:custGeom>
            <a:avLst/>
            <a:gdLst>
              <a:gd name="T0" fmla="*/ 1270 w 16416"/>
              <a:gd name="T1" fmla="*/ 8009 h 10976"/>
              <a:gd name="T2" fmla="*/ 5979 w 16416"/>
              <a:gd name="T3" fmla="*/ 10668 h 10976"/>
              <a:gd name="T4" fmla="*/ 15335 w 16416"/>
              <a:gd name="T5" fmla="*/ 6662 h 10976"/>
              <a:gd name="T6" fmla="*/ 14750 w 16416"/>
              <a:gd name="T7" fmla="*/ 2315 h 10976"/>
              <a:gd name="T8" fmla="*/ 9345 w 16416"/>
              <a:gd name="T9" fmla="*/ 538 h 10976"/>
              <a:gd name="T10" fmla="*/ 1039 w 16416"/>
              <a:gd name="T11" fmla="*/ 5487 h 10976"/>
              <a:gd name="T12" fmla="*/ 1099 w 16416"/>
              <a:gd name="T13" fmla="*/ 6311 h 10976"/>
              <a:gd name="T14" fmla="*/ 15035 w 16416"/>
              <a:gd name="T15" fmla="*/ 3498 h 10976"/>
              <a:gd name="T16" fmla="*/ 15155 w 16416"/>
              <a:gd name="T17" fmla="*/ 3046 h 10976"/>
              <a:gd name="T18" fmla="*/ 15187 w 16416"/>
              <a:gd name="T19" fmla="*/ 2929 h 10976"/>
              <a:gd name="T20" fmla="*/ 15546 w 16416"/>
              <a:gd name="T21" fmla="*/ 2423 h 10976"/>
              <a:gd name="T22" fmla="*/ 14805 w 16416"/>
              <a:gd name="T23" fmla="*/ 2806 h 10976"/>
              <a:gd name="T24" fmla="*/ 15156 w 16416"/>
              <a:gd name="T25" fmla="*/ 6309 h 10976"/>
              <a:gd name="T26" fmla="*/ 14879 w 16416"/>
              <a:gd name="T27" fmla="*/ 6572 h 10976"/>
              <a:gd name="T28" fmla="*/ 14890 w 16416"/>
              <a:gd name="T29" fmla="*/ 6788 h 10976"/>
              <a:gd name="T30" fmla="*/ 14497 w 16416"/>
              <a:gd name="T31" fmla="*/ 8006 h 10976"/>
              <a:gd name="T32" fmla="*/ 13375 w 16416"/>
              <a:gd name="T33" fmla="*/ 552 h 10976"/>
              <a:gd name="T34" fmla="*/ 13871 w 16416"/>
              <a:gd name="T35" fmla="*/ 6733 h 10976"/>
              <a:gd name="T36" fmla="*/ 14455 w 16416"/>
              <a:gd name="T37" fmla="*/ 2230 h 10976"/>
              <a:gd name="T38" fmla="*/ 14847 w 16416"/>
              <a:gd name="T39" fmla="*/ 2236 h 10976"/>
              <a:gd name="T40" fmla="*/ 14688 w 16416"/>
              <a:gd name="T41" fmla="*/ 7665 h 10976"/>
              <a:gd name="T42" fmla="*/ 14448 w 16416"/>
              <a:gd name="T43" fmla="*/ 5869 h 10976"/>
              <a:gd name="T44" fmla="*/ 15224 w 16416"/>
              <a:gd name="T45" fmla="*/ 7869 h 10976"/>
              <a:gd name="T46" fmla="*/ 10060 w 16416"/>
              <a:gd name="T47" fmla="*/ 10579 h 10976"/>
              <a:gd name="T48" fmla="*/ 8478 w 16416"/>
              <a:gd name="T49" fmla="*/ 10443 h 10976"/>
              <a:gd name="T50" fmla="*/ 6387 w 16416"/>
              <a:gd name="T51" fmla="*/ 7889 h 10976"/>
              <a:gd name="T52" fmla="*/ 5862 w 16416"/>
              <a:gd name="T53" fmla="*/ 7918 h 10976"/>
              <a:gd name="T54" fmla="*/ 4916 w 16416"/>
              <a:gd name="T55" fmla="*/ 810 h 10976"/>
              <a:gd name="T56" fmla="*/ 7913 w 16416"/>
              <a:gd name="T57" fmla="*/ 1219 h 10976"/>
              <a:gd name="T58" fmla="*/ 8547 w 16416"/>
              <a:gd name="T59" fmla="*/ 842 h 10976"/>
              <a:gd name="T60" fmla="*/ 9702 w 16416"/>
              <a:gd name="T61" fmla="*/ 1153 h 10976"/>
              <a:gd name="T62" fmla="*/ 10368 w 16416"/>
              <a:gd name="T63" fmla="*/ 1121 h 10976"/>
              <a:gd name="T64" fmla="*/ 5832 w 16416"/>
              <a:gd name="T65" fmla="*/ 7610 h 10976"/>
              <a:gd name="T66" fmla="*/ 11131 w 16416"/>
              <a:gd name="T67" fmla="*/ 654 h 10976"/>
              <a:gd name="T68" fmla="*/ 5858 w 16416"/>
              <a:gd name="T69" fmla="*/ 8505 h 10976"/>
              <a:gd name="T70" fmla="*/ 5402 w 16416"/>
              <a:gd name="T71" fmla="*/ 8654 h 10976"/>
              <a:gd name="T72" fmla="*/ 5830 w 16416"/>
              <a:gd name="T73" fmla="*/ 8177 h 10976"/>
              <a:gd name="T74" fmla="*/ 4398 w 16416"/>
              <a:gd name="T75" fmla="*/ 8238 h 10976"/>
              <a:gd name="T76" fmla="*/ 4186 w 16416"/>
              <a:gd name="T77" fmla="*/ 2030 h 10976"/>
              <a:gd name="T78" fmla="*/ 4608 w 16416"/>
              <a:gd name="T79" fmla="*/ 8527 h 10976"/>
              <a:gd name="T80" fmla="*/ 3539 w 16416"/>
              <a:gd name="T81" fmla="*/ 1801 h 10976"/>
              <a:gd name="T82" fmla="*/ 3146 w 16416"/>
              <a:gd name="T83" fmla="*/ 8662 h 10976"/>
              <a:gd name="T84" fmla="*/ 1550 w 16416"/>
              <a:gd name="T85" fmla="*/ 5077 h 10976"/>
              <a:gd name="T86" fmla="*/ 1274 w 16416"/>
              <a:gd name="T87" fmla="*/ 6545 h 10976"/>
              <a:gd name="T88" fmla="*/ 1330 w 16416"/>
              <a:gd name="T89" fmla="*/ 6415 h 10976"/>
              <a:gd name="T90" fmla="*/ 1013 w 16416"/>
              <a:gd name="T91" fmla="*/ 5812 h 10976"/>
              <a:gd name="T92" fmla="*/ 530 w 16416"/>
              <a:gd name="T93" fmla="*/ 6284 h 10976"/>
              <a:gd name="T94" fmla="*/ 5927 w 16416"/>
              <a:gd name="T95" fmla="*/ 1164 h 10976"/>
              <a:gd name="T96" fmla="*/ 15438 w 16416"/>
              <a:gd name="T97" fmla="*/ 2207 h 10976"/>
              <a:gd name="T98" fmla="*/ 12832 w 16416"/>
              <a:gd name="T99" fmla="*/ 789 h 10976"/>
              <a:gd name="T100" fmla="*/ 15520 w 16416"/>
              <a:gd name="T101" fmla="*/ 2982 h 10976"/>
              <a:gd name="T102" fmla="*/ 15520 w 16416"/>
              <a:gd name="T103" fmla="*/ 3295 h 10976"/>
              <a:gd name="T104" fmla="*/ 10663 w 16416"/>
              <a:gd name="T105" fmla="*/ 787 h 10976"/>
              <a:gd name="T106" fmla="*/ 15394 w 16416"/>
              <a:gd name="T107" fmla="*/ 7015 h 10976"/>
              <a:gd name="T108" fmla="*/ 15482 w 16416"/>
              <a:gd name="T109" fmla="*/ 5359 h 10976"/>
              <a:gd name="T110" fmla="*/ 15476 w 16416"/>
              <a:gd name="T111" fmla="*/ 7027 h 10976"/>
              <a:gd name="T112" fmla="*/ 14871 w 16416"/>
              <a:gd name="T113" fmla="*/ 6470 h 10976"/>
              <a:gd name="T114" fmla="*/ 15687 w 16416"/>
              <a:gd name="T115" fmla="*/ 8019 h 10976"/>
              <a:gd name="T116" fmla="*/ 15551 w 16416"/>
              <a:gd name="T117" fmla="*/ 7384 h 10976"/>
              <a:gd name="T118" fmla="*/ 14910 w 16416"/>
              <a:gd name="T119" fmla="*/ 6374 h 10976"/>
              <a:gd name="T120" fmla="*/ 14625 w 16416"/>
              <a:gd name="T121" fmla="*/ 6586 h 10976"/>
              <a:gd name="T122" fmla="*/ 6286 w 16416"/>
              <a:gd name="T123" fmla="*/ 1341 h 10976"/>
              <a:gd name="T124" fmla="*/ 1168 w 16416"/>
              <a:gd name="T125" fmla="*/ 6075 h 10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416" h="10976">
                <a:moveTo>
                  <a:pt x="934" y="5830"/>
                </a:moveTo>
                <a:lnTo>
                  <a:pt x="932" y="5833"/>
                </a:lnTo>
                <a:lnTo>
                  <a:pt x="931" y="5836"/>
                </a:lnTo>
                <a:lnTo>
                  <a:pt x="932" y="5833"/>
                </a:lnTo>
                <a:lnTo>
                  <a:pt x="934" y="5830"/>
                </a:lnTo>
                <a:close/>
                <a:moveTo>
                  <a:pt x="1302" y="6581"/>
                </a:moveTo>
                <a:lnTo>
                  <a:pt x="1302" y="6579"/>
                </a:lnTo>
                <a:lnTo>
                  <a:pt x="1301" y="6579"/>
                </a:lnTo>
                <a:lnTo>
                  <a:pt x="1301" y="6579"/>
                </a:lnTo>
                <a:lnTo>
                  <a:pt x="1302" y="6581"/>
                </a:lnTo>
                <a:lnTo>
                  <a:pt x="1302" y="6581"/>
                </a:lnTo>
                <a:close/>
                <a:moveTo>
                  <a:pt x="1202" y="6617"/>
                </a:moveTo>
                <a:lnTo>
                  <a:pt x="1197" y="6617"/>
                </a:lnTo>
                <a:lnTo>
                  <a:pt x="1192" y="6619"/>
                </a:lnTo>
                <a:lnTo>
                  <a:pt x="1188" y="6621"/>
                </a:lnTo>
                <a:lnTo>
                  <a:pt x="1183" y="6624"/>
                </a:lnTo>
                <a:lnTo>
                  <a:pt x="1188" y="6625"/>
                </a:lnTo>
                <a:lnTo>
                  <a:pt x="1194" y="6624"/>
                </a:lnTo>
                <a:lnTo>
                  <a:pt x="1199" y="6623"/>
                </a:lnTo>
                <a:lnTo>
                  <a:pt x="1202" y="6617"/>
                </a:lnTo>
                <a:close/>
                <a:moveTo>
                  <a:pt x="1219" y="7660"/>
                </a:moveTo>
                <a:lnTo>
                  <a:pt x="1222" y="7660"/>
                </a:lnTo>
                <a:lnTo>
                  <a:pt x="1224" y="7659"/>
                </a:lnTo>
                <a:lnTo>
                  <a:pt x="1222" y="7659"/>
                </a:lnTo>
                <a:lnTo>
                  <a:pt x="1219" y="7660"/>
                </a:lnTo>
                <a:close/>
                <a:moveTo>
                  <a:pt x="1204" y="7549"/>
                </a:moveTo>
                <a:lnTo>
                  <a:pt x="1202" y="7549"/>
                </a:lnTo>
                <a:lnTo>
                  <a:pt x="1201" y="7549"/>
                </a:lnTo>
                <a:lnTo>
                  <a:pt x="1196" y="7548"/>
                </a:lnTo>
                <a:lnTo>
                  <a:pt x="1191" y="7548"/>
                </a:lnTo>
                <a:lnTo>
                  <a:pt x="1187" y="7550"/>
                </a:lnTo>
                <a:lnTo>
                  <a:pt x="1181" y="7556"/>
                </a:lnTo>
                <a:lnTo>
                  <a:pt x="1192" y="7552"/>
                </a:lnTo>
                <a:lnTo>
                  <a:pt x="1201" y="7549"/>
                </a:lnTo>
                <a:lnTo>
                  <a:pt x="1202" y="7549"/>
                </a:lnTo>
                <a:lnTo>
                  <a:pt x="1204" y="7549"/>
                </a:lnTo>
                <a:close/>
                <a:moveTo>
                  <a:pt x="1209" y="7548"/>
                </a:moveTo>
                <a:lnTo>
                  <a:pt x="1205" y="7549"/>
                </a:lnTo>
                <a:lnTo>
                  <a:pt x="1206" y="7549"/>
                </a:lnTo>
                <a:lnTo>
                  <a:pt x="1208" y="7549"/>
                </a:lnTo>
                <a:lnTo>
                  <a:pt x="1209" y="7548"/>
                </a:lnTo>
                <a:close/>
                <a:moveTo>
                  <a:pt x="1139" y="6549"/>
                </a:moveTo>
                <a:lnTo>
                  <a:pt x="1146" y="6547"/>
                </a:lnTo>
                <a:lnTo>
                  <a:pt x="1153" y="6545"/>
                </a:lnTo>
                <a:lnTo>
                  <a:pt x="1146" y="6546"/>
                </a:lnTo>
                <a:lnTo>
                  <a:pt x="1139" y="6549"/>
                </a:lnTo>
                <a:close/>
                <a:moveTo>
                  <a:pt x="1146" y="5430"/>
                </a:moveTo>
                <a:lnTo>
                  <a:pt x="1145" y="5427"/>
                </a:lnTo>
                <a:lnTo>
                  <a:pt x="1144" y="5426"/>
                </a:lnTo>
                <a:lnTo>
                  <a:pt x="1143" y="5426"/>
                </a:lnTo>
                <a:lnTo>
                  <a:pt x="1141" y="5429"/>
                </a:lnTo>
                <a:lnTo>
                  <a:pt x="1143" y="5430"/>
                </a:lnTo>
                <a:lnTo>
                  <a:pt x="1144" y="5430"/>
                </a:lnTo>
                <a:lnTo>
                  <a:pt x="1145" y="5430"/>
                </a:lnTo>
                <a:lnTo>
                  <a:pt x="1146" y="5430"/>
                </a:lnTo>
                <a:close/>
                <a:moveTo>
                  <a:pt x="1084" y="5487"/>
                </a:moveTo>
                <a:lnTo>
                  <a:pt x="1084" y="5490"/>
                </a:lnTo>
                <a:lnTo>
                  <a:pt x="1084" y="5490"/>
                </a:lnTo>
                <a:lnTo>
                  <a:pt x="1085" y="5491"/>
                </a:lnTo>
                <a:lnTo>
                  <a:pt x="1087" y="5491"/>
                </a:lnTo>
                <a:lnTo>
                  <a:pt x="1087" y="5490"/>
                </a:lnTo>
                <a:lnTo>
                  <a:pt x="1087" y="5487"/>
                </a:lnTo>
                <a:lnTo>
                  <a:pt x="1085" y="5486"/>
                </a:lnTo>
                <a:lnTo>
                  <a:pt x="1084" y="5487"/>
                </a:lnTo>
                <a:close/>
                <a:moveTo>
                  <a:pt x="1038" y="5656"/>
                </a:moveTo>
                <a:lnTo>
                  <a:pt x="1039" y="5656"/>
                </a:lnTo>
                <a:lnTo>
                  <a:pt x="1039" y="5656"/>
                </a:lnTo>
                <a:lnTo>
                  <a:pt x="1039" y="5655"/>
                </a:lnTo>
                <a:lnTo>
                  <a:pt x="1038" y="5656"/>
                </a:lnTo>
                <a:close/>
                <a:moveTo>
                  <a:pt x="1202" y="5936"/>
                </a:moveTo>
                <a:lnTo>
                  <a:pt x="1199" y="5935"/>
                </a:lnTo>
                <a:lnTo>
                  <a:pt x="1196" y="5935"/>
                </a:lnTo>
                <a:lnTo>
                  <a:pt x="1194" y="5938"/>
                </a:lnTo>
                <a:lnTo>
                  <a:pt x="1192" y="5940"/>
                </a:lnTo>
                <a:lnTo>
                  <a:pt x="1191" y="5940"/>
                </a:lnTo>
                <a:lnTo>
                  <a:pt x="1192" y="5940"/>
                </a:lnTo>
                <a:lnTo>
                  <a:pt x="1191" y="5940"/>
                </a:lnTo>
                <a:lnTo>
                  <a:pt x="1192" y="5940"/>
                </a:lnTo>
                <a:lnTo>
                  <a:pt x="1197" y="5939"/>
                </a:lnTo>
                <a:lnTo>
                  <a:pt x="1202" y="5936"/>
                </a:lnTo>
                <a:close/>
                <a:moveTo>
                  <a:pt x="1103" y="6579"/>
                </a:moveTo>
                <a:lnTo>
                  <a:pt x="1102" y="6581"/>
                </a:lnTo>
                <a:lnTo>
                  <a:pt x="1102" y="6581"/>
                </a:lnTo>
                <a:lnTo>
                  <a:pt x="1103" y="6582"/>
                </a:lnTo>
                <a:lnTo>
                  <a:pt x="1104" y="6582"/>
                </a:lnTo>
                <a:lnTo>
                  <a:pt x="1103" y="6579"/>
                </a:lnTo>
                <a:close/>
                <a:moveTo>
                  <a:pt x="1278" y="7539"/>
                </a:moveTo>
                <a:lnTo>
                  <a:pt x="1278" y="7542"/>
                </a:lnTo>
                <a:lnTo>
                  <a:pt x="1278" y="7543"/>
                </a:lnTo>
                <a:lnTo>
                  <a:pt x="1279" y="7543"/>
                </a:lnTo>
                <a:lnTo>
                  <a:pt x="1281" y="7543"/>
                </a:lnTo>
                <a:lnTo>
                  <a:pt x="1283" y="7542"/>
                </a:lnTo>
                <a:lnTo>
                  <a:pt x="1283" y="7540"/>
                </a:lnTo>
                <a:lnTo>
                  <a:pt x="1280" y="7540"/>
                </a:lnTo>
                <a:lnTo>
                  <a:pt x="1278" y="7539"/>
                </a:lnTo>
                <a:close/>
                <a:moveTo>
                  <a:pt x="1185" y="5982"/>
                </a:moveTo>
                <a:lnTo>
                  <a:pt x="1182" y="5980"/>
                </a:lnTo>
                <a:lnTo>
                  <a:pt x="1180" y="5980"/>
                </a:lnTo>
                <a:lnTo>
                  <a:pt x="1177" y="5981"/>
                </a:lnTo>
                <a:lnTo>
                  <a:pt x="1176" y="5985"/>
                </a:lnTo>
                <a:lnTo>
                  <a:pt x="1180" y="5986"/>
                </a:lnTo>
                <a:lnTo>
                  <a:pt x="1182" y="5987"/>
                </a:lnTo>
                <a:lnTo>
                  <a:pt x="1183" y="5985"/>
                </a:lnTo>
                <a:lnTo>
                  <a:pt x="1185" y="5982"/>
                </a:lnTo>
                <a:close/>
                <a:moveTo>
                  <a:pt x="1255" y="5935"/>
                </a:moveTo>
                <a:lnTo>
                  <a:pt x="1256" y="5930"/>
                </a:lnTo>
                <a:lnTo>
                  <a:pt x="1255" y="5935"/>
                </a:lnTo>
                <a:lnTo>
                  <a:pt x="1264" y="5935"/>
                </a:lnTo>
                <a:lnTo>
                  <a:pt x="1255" y="5935"/>
                </a:lnTo>
                <a:close/>
                <a:moveTo>
                  <a:pt x="1266" y="5936"/>
                </a:moveTo>
                <a:lnTo>
                  <a:pt x="1266" y="5938"/>
                </a:lnTo>
                <a:lnTo>
                  <a:pt x="1267" y="5938"/>
                </a:lnTo>
                <a:lnTo>
                  <a:pt x="1267" y="5936"/>
                </a:lnTo>
                <a:lnTo>
                  <a:pt x="1266" y="5936"/>
                </a:lnTo>
                <a:close/>
                <a:moveTo>
                  <a:pt x="1144" y="6365"/>
                </a:moveTo>
                <a:lnTo>
                  <a:pt x="1140" y="6365"/>
                </a:lnTo>
                <a:lnTo>
                  <a:pt x="1136" y="6367"/>
                </a:lnTo>
                <a:lnTo>
                  <a:pt x="1134" y="6369"/>
                </a:lnTo>
                <a:lnTo>
                  <a:pt x="1131" y="6373"/>
                </a:lnTo>
                <a:lnTo>
                  <a:pt x="1037" y="6427"/>
                </a:lnTo>
                <a:lnTo>
                  <a:pt x="935" y="6502"/>
                </a:lnTo>
                <a:lnTo>
                  <a:pt x="852" y="6596"/>
                </a:lnTo>
                <a:lnTo>
                  <a:pt x="817" y="6708"/>
                </a:lnTo>
                <a:lnTo>
                  <a:pt x="817" y="6708"/>
                </a:lnTo>
                <a:lnTo>
                  <a:pt x="810" y="6719"/>
                </a:lnTo>
                <a:lnTo>
                  <a:pt x="803" y="6731"/>
                </a:lnTo>
                <a:lnTo>
                  <a:pt x="812" y="6729"/>
                </a:lnTo>
                <a:lnTo>
                  <a:pt x="818" y="6729"/>
                </a:lnTo>
                <a:lnTo>
                  <a:pt x="828" y="6774"/>
                </a:lnTo>
                <a:lnTo>
                  <a:pt x="850" y="6821"/>
                </a:lnTo>
                <a:lnTo>
                  <a:pt x="884" y="6871"/>
                </a:lnTo>
                <a:lnTo>
                  <a:pt x="934" y="6920"/>
                </a:lnTo>
                <a:lnTo>
                  <a:pt x="975" y="6959"/>
                </a:lnTo>
                <a:lnTo>
                  <a:pt x="1001" y="6996"/>
                </a:lnTo>
                <a:lnTo>
                  <a:pt x="1019" y="7030"/>
                </a:lnTo>
                <a:lnTo>
                  <a:pt x="1032" y="7060"/>
                </a:lnTo>
                <a:lnTo>
                  <a:pt x="1018" y="7058"/>
                </a:lnTo>
                <a:lnTo>
                  <a:pt x="1010" y="7059"/>
                </a:lnTo>
                <a:lnTo>
                  <a:pt x="1004" y="7064"/>
                </a:lnTo>
                <a:lnTo>
                  <a:pt x="996" y="7077"/>
                </a:lnTo>
                <a:lnTo>
                  <a:pt x="1032" y="7062"/>
                </a:lnTo>
                <a:lnTo>
                  <a:pt x="1038" y="7074"/>
                </a:lnTo>
                <a:lnTo>
                  <a:pt x="1045" y="7086"/>
                </a:lnTo>
                <a:lnTo>
                  <a:pt x="1052" y="7096"/>
                </a:lnTo>
                <a:lnTo>
                  <a:pt x="1060" y="7104"/>
                </a:lnTo>
                <a:lnTo>
                  <a:pt x="1069" y="7120"/>
                </a:lnTo>
                <a:lnTo>
                  <a:pt x="1047" y="7147"/>
                </a:lnTo>
                <a:lnTo>
                  <a:pt x="1028" y="7160"/>
                </a:lnTo>
                <a:lnTo>
                  <a:pt x="1042" y="7133"/>
                </a:lnTo>
                <a:lnTo>
                  <a:pt x="1013" y="7125"/>
                </a:lnTo>
                <a:lnTo>
                  <a:pt x="990" y="7127"/>
                </a:lnTo>
                <a:lnTo>
                  <a:pt x="981" y="7141"/>
                </a:lnTo>
                <a:lnTo>
                  <a:pt x="989" y="7174"/>
                </a:lnTo>
                <a:lnTo>
                  <a:pt x="955" y="7200"/>
                </a:lnTo>
                <a:lnTo>
                  <a:pt x="907" y="7222"/>
                </a:lnTo>
                <a:lnTo>
                  <a:pt x="870" y="7240"/>
                </a:lnTo>
                <a:lnTo>
                  <a:pt x="870" y="7254"/>
                </a:lnTo>
                <a:lnTo>
                  <a:pt x="985" y="7211"/>
                </a:lnTo>
                <a:lnTo>
                  <a:pt x="972" y="7251"/>
                </a:lnTo>
                <a:lnTo>
                  <a:pt x="897" y="7332"/>
                </a:lnTo>
                <a:lnTo>
                  <a:pt x="827" y="7402"/>
                </a:lnTo>
                <a:lnTo>
                  <a:pt x="879" y="7391"/>
                </a:lnTo>
                <a:lnTo>
                  <a:pt x="940" y="7375"/>
                </a:lnTo>
                <a:lnTo>
                  <a:pt x="968" y="7368"/>
                </a:lnTo>
                <a:lnTo>
                  <a:pt x="922" y="7391"/>
                </a:lnTo>
                <a:lnTo>
                  <a:pt x="1107" y="7428"/>
                </a:lnTo>
                <a:lnTo>
                  <a:pt x="1367" y="7367"/>
                </a:lnTo>
                <a:lnTo>
                  <a:pt x="1539" y="7311"/>
                </a:lnTo>
                <a:lnTo>
                  <a:pt x="1466" y="7361"/>
                </a:lnTo>
                <a:lnTo>
                  <a:pt x="1461" y="7376"/>
                </a:lnTo>
                <a:lnTo>
                  <a:pt x="1411" y="7391"/>
                </a:lnTo>
                <a:lnTo>
                  <a:pt x="1373" y="7408"/>
                </a:lnTo>
                <a:lnTo>
                  <a:pt x="1405" y="7424"/>
                </a:lnTo>
                <a:lnTo>
                  <a:pt x="1464" y="7399"/>
                </a:lnTo>
                <a:lnTo>
                  <a:pt x="1481" y="7403"/>
                </a:lnTo>
                <a:lnTo>
                  <a:pt x="1455" y="7427"/>
                </a:lnTo>
                <a:lnTo>
                  <a:pt x="1376" y="7468"/>
                </a:lnTo>
                <a:lnTo>
                  <a:pt x="1430" y="7469"/>
                </a:lnTo>
                <a:lnTo>
                  <a:pt x="1439" y="7480"/>
                </a:lnTo>
                <a:lnTo>
                  <a:pt x="1408" y="7502"/>
                </a:lnTo>
                <a:lnTo>
                  <a:pt x="1343" y="7529"/>
                </a:lnTo>
                <a:lnTo>
                  <a:pt x="1343" y="7528"/>
                </a:lnTo>
                <a:lnTo>
                  <a:pt x="1341" y="7525"/>
                </a:lnTo>
                <a:lnTo>
                  <a:pt x="1339" y="7526"/>
                </a:lnTo>
                <a:lnTo>
                  <a:pt x="1335" y="7528"/>
                </a:lnTo>
                <a:lnTo>
                  <a:pt x="1334" y="7529"/>
                </a:lnTo>
                <a:lnTo>
                  <a:pt x="1332" y="7531"/>
                </a:lnTo>
                <a:lnTo>
                  <a:pt x="1262" y="7554"/>
                </a:lnTo>
                <a:lnTo>
                  <a:pt x="1181" y="7577"/>
                </a:lnTo>
                <a:lnTo>
                  <a:pt x="1090" y="7599"/>
                </a:lnTo>
                <a:lnTo>
                  <a:pt x="994" y="7618"/>
                </a:lnTo>
                <a:lnTo>
                  <a:pt x="1239" y="7605"/>
                </a:lnTo>
                <a:lnTo>
                  <a:pt x="1295" y="7618"/>
                </a:lnTo>
                <a:lnTo>
                  <a:pt x="1274" y="7646"/>
                </a:lnTo>
                <a:lnTo>
                  <a:pt x="1290" y="7679"/>
                </a:lnTo>
                <a:lnTo>
                  <a:pt x="1251" y="7712"/>
                </a:lnTo>
                <a:lnTo>
                  <a:pt x="1335" y="7677"/>
                </a:lnTo>
                <a:lnTo>
                  <a:pt x="1401" y="7656"/>
                </a:lnTo>
                <a:lnTo>
                  <a:pt x="1309" y="7739"/>
                </a:lnTo>
                <a:lnTo>
                  <a:pt x="1341" y="7749"/>
                </a:lnTo>
                <a:lnTo>
                  <a:pt x="1465" y="7725"/>
                </a:lnTo>
                <a:lnTo>
                  <a:pt x="1557" y="7710"/>
                </a:lnTo>
                <a:lnTo>
                  <a:pt x="1494" y="7750"/>
                </a:lnTo>
                <a:lnTo>
                  <a:pt x="1452" y="7800"/>
                </a:lnTo>
                <a:lnTo>
                  <a:pt x="1383" y="7846"/>
                </a:lnTo>
                <a:lnTo>
                  <a:pt x="1308" y="7885"/>
                </a:lnTo>
                <a:lnTo>
                  <a:pt x="1245" y="7918"/>
                </a:lnTo>
                <a:lnTo>
                  <a:pt x="1162" y="7964"/>
                </a:lnTo>
                <a:lnTo>
                  <a:pt x="1202" y="7954"/>
                </a:lnTo>
                <a:lnTo>
                  <a:pt x="1269" y="7932"/>
                </a:lnTo>
                <a:lnTo>
                  <a:pt x="1262" y="7943"/>
                </a:lnTo>
                <a:lnTo>
                  <a:pt x="1270" y="7949"/>
                </a:lnTo>
                <a:lnTo>
                  <a:pt x="1223" y="7981"/>
                </a:lnTo>
                <a:lnTo>
                  <a:pt x="1200" y="8002"/>
                </a:lnTo>
                <a:lnTo>
                  <a:pt x="1280" y="7979"/>
                </a:lnTo>
                <a:lnTo>
                  <a:pt x="1270" y="8009"/>
                </a:lnTo>
                <a:lnTo>
                  <a:pt x="1307" y="8000"/>
                </a:lnTo>
                <a:lnTo>
                  <a:pt x="1360" y="7977"/>
                </a:lnTo>
                <a:lnTo>
                  <a:pt x="1400" y="7960"/>
                </a:lnTo>
                <a:lnTo>
                  <a:pt x="1405" y="7979"/>
                </a:lnTo>
                <a:lnTo>
                  <a:pt x="1337" y="8024"/>
                </a:lnTo>
                <a:lnTo>
                  <a:pt x="1239" y="8079"/>
                </a:lnTo>
                <a:lnTo>
                  <a:pt x="1154" y="8128"/>
                </a:lnTo>
                <a:lnTo>
                  <a:pt x="1239" y="8116"/>
                </a:lnTo>
                <a:lnTo>
                  <a:pt x="1350" y="8074"/>
                </a:lnTo>
                <a:lnTo>
                  <a:pt x="1406" y="8058"/>
                </a:lnTo>
                <a:lnTo>
                  <a:pt x="1325" y="8125"/>
                </a:lnTo>
                <a:lnTo>
                  <a:pt x="1297" y="8174"/>
                </a:lnTo>
                <a:lnTo>
                  <a:pt x="1307" y="8201"/>
                </a:lnTo>
                <a:lnTo>
                  <a:pt x="1292" y="8223"/>
                </a:lnTo>
                <a:lnTo>
                  <a:pt x="1187" y="8258"/>
                </a:lnTo>
                <a:lnTo>
                  <a:pt x="1223" y="8284"/>
                </a:lnTo>
                <a:lnTo>
                  <a:pt x="1270" y="8282"/>
                </a:lnTo>
                <a:lnTo>
                  <a:pt x="1287" y="8281"/>
                </a:lnTo>
                <a:lnTo>
                  <a:pt x="1230" y="8305"/>
                </a:lnTo>
                <a:lnTo>
                  <a:pt x="1132" y="8345"/>
                </a:lnTo>
                <a:lnTo>
                  <a:pt x="1295" y="8309"/>
                </a:lnTo>
                <a:lnTo>
                  <a:pt x="1484" y="8271"/>
                </a:lnTo>
                <a:lnTo>
                  <a:pt x="1461" y="8307"/>
                </a:lnTo>
                <a:lnTo>
                  <a:pt x="1726" y="8289"/>
                </a:lnTo>
                <a:lnTo>
                  <a:pt x="2049" y="8210"/>
                </a:lnTo>
                <a:lnTo>
                  <a:pt x="2433" y="8081"/>
                </a:lnTo>
                <a:lnTo>
                  <a:pt x="2878" y="7915"/>
                </a:lnTo>
                <a:lnTo>
                  <a:pt x="2885" y="7985"/>
                </a:lnTo>
                <a:lnTo>
                  <a:pt x="2834" y="8056"/>
                </a:lnTo>
                <a:lnTo>
                  <a:pt x="2792" y="8121"/>
                </a:lnTo>
                <a:lnTo>
                  <a:pt x="2830" y="8178"/>
                </a:lnTo>
                <a:lnTo>
                  <a:pt x="2782" y="8223"/>
                </a:lnTo>
                <a:lnTo>
                  <a:pt x="2783" y="8240"/>
                </a:lnTo>
                <a:lnTo>
                  <a:pt x="2813" y="8244"/>
                </a:lnTo>
                <a:lnTo>
                  <a:pt x="2855" y="8246"/>
                </a:lnTo>
                <a:lnTo>
                  <a:pt x="2838" y="8286"/>
                </a:lnTo>
                <a:lnTo>
                  <a:pt x="2793" y="8322"/>
                </a:lnTo>
                <a:lnTo>
                  <a:pt x="2771" y="8340"/>
                </a:lnTo>
                <a:lnTo>
                  <a:pt x="2821" y="8328"/>
                </a:lnTo>
                <a:lnTo>
                  <a:pt x="2868" y="8308"/>
                </a:lnTo>
                <a:lnTo>
                  <a:pt x="2859" y="8319"/>
                </a:lnTo>
                <a:lnTo>
                  <a:pt x="2822" y="8346"/>
                </a:lnTo>
                <a:lnTo>
                  <a:pt x="2787" y="8374"/>
                </a:lnTo>
                <a:lnTo>
                  <a:pt x="2936" y="8351"/>
                </a:lnTo>
                <a:lnTo>
                  <a:pt x="2957" y="8396"/>
                </a:lnTo>
                <a:lnTo>
                  <a:pt x="2913" y="8468"/>
                </a:lnTo>
                <a:lnTo>
                  <a:pt x="2863" y="8527"/>
                </a:lnTo>
                <a:lnTo>
                  <a:pt x="2966" y="8484"/>
                </a:lnTo>
                <a:lnTo>
                  <a:pt x="2990" y="8492"/>
                </a:lnTo>
                <a:lnTo>
                  <a:pt x="2983" y="8540"/>
                </a:lnTo>
                <a:lnTo>
                  <a:pt x="2987" y="8612"/>
                </a:lnTo>
                <a:lnTo>
                  <a:pt x="3036" y="8588"/>
                </a:lnTo>
                <a:lnTo>
                  <a:pt x="3036" y="8613"/>
                </a:lnTo>
                <a:lnTo>
                  <a:pt x="3016" y="8660"/>
                </a:lnTo>
                <a:lnTo>
                  <a:pt x="3004" y="8704"/>
                </a:lnTo>
                <a:lnTo>
                  <a:pt x="3061" y="8686"/>
                </a:lnTo>
                <a:lnTo>
                  <a:pt x="3097" y="8697"/>
                </a:lnTo>
                <a:lnTo>
                  <a:pt x="3105" y="8728"/>
                </a:lnTo>
                <a:lnTo>
                  <a:pt x="3078" y="8764"/>
                </a:lnTo>
                <a:lnTo>
                  <a:pt x="3273" y="8792"/>
                </a:lnTo>
                <a:lnTo>
                  <a:pt x="3398" y="8765"/>
                </a:lnTo>
                <a:lnTo>
                  <a:pt x="3519" y="8722"/>
                </a:lnTo>
                <a:lnTo>
                  <a:pt x="3702" y="8699"/>
                </a:lnTo>
                <a:lnTo>
                  <a:pt x="4082" y="8545"/>
                </a:lnTo>
                <a:lnTo>
                  <a:pt x="4230" y="8492"/>
                </a:lnTo>
                <a:lnTo>
                  <a:pt x="4177" y="8578"/>
                </a:lnTo>
                <a:lnTo>
                  <a:pt x="3958" y="8832"/>
                </a:lnTo>
                <a:lnTo>
                  <a:pt x="4068" y="8769"/>
                </a:lnTo>
                <a:lnTo>
                  <a:pt x="4051" y="8803"/>
                </a:lnTo>
                <a:lnTo>
                  <a:pt x="3966" y="8886"/>
                </a:lnTo>
                <a:lnTo>
                  <a:pt x="3865" y="8972"/>
                </a:lnTo>
                <a:lnTo>
                  <a:pt x="3944" y="8942"/>
                </a:lnTo>
                <a:lnTo>
                  <a:pt x="3932" y="8970"/>
                </a:lnTo>
                <a:lnTo>
                  <a:pt x="3863" y="9044"/>
                </a:lnTo>
                <a:lnTo>
                  <a:pt x="3775" y="9145"/>
                </a:lnTo>
                <a:lnTo>
                  <a:pt x="3928" y="9055"/>
                </a:lnTo>
                <a:lnTo>
                  <a:pt x="3960" y="9101"/>
                </a:lnTo>
                <a:lnTo>
                  <a:pt x="3970" y="9157"/>
                </a:lnTo>
                <a:lnTo>
                  <a:pt x="4051" y="9092"/>
                </a:lnTo>
                <a:lnTo>
                  <a:pt x="3991" y="9061"/>
                </a:lnTo>
                <a:lnTo>
                  <a:pt x="4002" y="9022"/>
                </a:lnTo>
                <a:lnTo>
                  <a:pt x="4037" y="9014"/>
                </a:lnTo>
                <a:lnTo>
                  <a:pt x="4051" y="9082"/>
                </a:lnTo>
                <a:lnTo>
                  <a:pt x="4272" y="9050"/>
                </a:lnTo>
                <a:lnTo>
                  <a:pt x="4465" y="8911"/>
                </a:lnTo>
                <a:lnTo>
                  <a:pt x="4659" y="8729"/>
                </a:lnTo>
                <a:lnTo>
                  <a:pt x="4877" y="8565"/>
                </a:lnTo>
                <a:lnTo>
                  <a:pt x="4953" y="8505"/>
                </a:lnTo>
                <a:lnTo>
                  <a:pt x="4863" y="8550"/>
                </a:lnTo>
                <a:lnTo>
                  <a:pt x="4725" y="8608"/>
                </a:lnTo>
                <a:lnTo>
                  <a:pt x="4661" y="8592"/>
                </a:lnTo>
                <a:lnTo>
                  <a:pt x="4710" y="8573"/>
                </a:lnTo>
                <a:lnTo>
                  <a:pt x="4787" y="8534"/>
                </a:lnTo>
                <a:lnTo>
                  <a:pt x="4861" y="8470"/>
                </a:lnTo>
                <a:lnTo>
                  <a:pt x="4899" y="8372"/>
                </a:lnTo>
                <a:lnTo>
                  <a:pt x="4860" y="8397"/>
                </a:lnTo>
                <a:lnTo>
                  <a:pt x="4850" y="8387"/>
                </a:lnTo>
                <a:lnTo>
                  <a:pt x="4859" y="8355"/>
                </a:lnTo>
                <a:lnTo>
                  <a:pt x="4877" y="8317"/>
                </a:lnTo>
                <a:lnTo>
                  <a:pt x="4856" y="8267"/>
                </a:lnTo>
                <a:lnTo>
                  <a:pt x="4670" y="8380"/>
                </a:lnTo>
                <a:lnTo>
                  <a:pt x="4483" y="8490"/>
                </a:lnTo>
                <a:lnTo>
                  <a:pt x="4459" y="8425"/>
                </a:lnTo>
                <a:lnTo>
                  <a:pt x="4643" y="8355"/>
                </a:lnTo>
                <a:lnTo>
                  <a:pt x="4742" y="8246"/>
                </a:lnTo>
                <a:lnTo>
                  <a:pt x="4819" y="8179"/>
                </a:lnTo>
                <a:lnTo>
                  <a:pt x="4944" y="8240"/>
                </a:lnTo>
                <a:lnTo>
                  <a:pt x="4936" y="8200"/>
                </a:lnTo>
                <a:lnTo>
                  <a:pt x="4931" y="8168"/>
                </a:lnTo>
                <a:lnTo>
                  <a:pt x="4915" y="8147"/>
                </a:lnTo>
                <a:lnTo>
                  <a:pt x="4878" y="8144"/>
                </a:lnTo>
                <a:lnTo>
                  <a:pt x="4905" y="8126"/>
                </a:lnTo>
                <a:lnTo>
                  <a:pt x="4922" y="8109"/>
                </a:lnTo>
                <a:lnTo>
                  <a:pt x="4929" y="8107"/>
                </a:lnTo>
                <a:lnTo>
                  <a:pt x="4922" y="8133"/>
                </a:lnTo>
                <a:lnTo>
                  <a:pt x="4954" y="8158"/>
                </a:lnTo>
                <a:lnTo>
                  <a:pt x="5000" y="8186"/>
                </a:lnTo>
                <a:lnTo>
                  <a:pt x="5024" y="8221"/>
                </a:lnTo>
                <a:lnTo>
                  <a:pt x="4995" y="8265"/>
                </a:lnTo>
                <a:lnTo>
                  <a:pt x="5079" y="8375"/>
                </a:lnTo>
                <a:lnTo>
                  <a:pt x="5313" y="8324"/>
                </a:lnTo>
                <a:lnTo>
                  <a:pt x="5591" y="8174"/>
                </a:lnTo>
                <a:lnTo>
                  <a:pt x="5801" y="7991"/>
                </a:lnTo>
                <a:lnTo>
                  <a:pt x="5870" y="7953"/>
                </a:lnTo>
                <a:lnTo>
                  <a:pt x="5951" y="7894"/>
                </a:lnTo>
                <a:lnTo>
                  <a:pt x="6007" y="7859"/>
                </a:lnTo>
                <a:lnTo>
                  <a:pt x="6002" y="7889"/>
                </a:lnTo>
                <a:lnTo>
                  <a:pt x="6079" y="7850"/>
                </a:lnTo>
                <a:lnTo>
                  <a:pt x="6079" y="7865"/>
                </a:lnTo>
                <a:lnTo>
                  <a:pt x="6035" y="7916"/>
                </a:lnTo>
                <a:lnTo>
                  <a:pt x="5987" y="7982"/>
                </a:lnTo>
                <a:lnTo>
                  <a:pt x="5946" y="8019"/>
                </a:lnTo>
                <a:lnTo>
                  <a:pt x="5790" y="8127"/>
                </a:lnTo>
                <a:lnTo>
                  <a:pt x="5665" y="8223"/>
                </a:lnTo>
                <a:lnTo>
                  <a:pt x="5720" y="8225"/>
                </a:lnTo>
                <a:lnTo>
                  <a:pt x="5622" y="8312"/>
                </a:lnTo>
                <a:lnTo>
                  <a:pt x="5237" y="8548"/>
                </a:lnTo>
                <a:lnTo>
                  <a:pt x="4860" y="8797"/>
                </a:lnTo>
                <a:lnTo>
                  <a:pt x="4791" y="8915"/>
                </a:lnTo>
                <a:lnTo>
                  <a:pt x="4685" y="9168"/>
                </a:lnTo>
                <a:lnTo>
                  <a:pt x="4849" y="9349"/>
                </a:lnTo>
                <a:lnTo>
                  <a:pt x="4995" y="9508"/>
                </a:lnTo>
                <a:lnTo>
                  <a:pt x="4837" y="9694"/>
                </a:lnTo>
                <a:lnTo>
                  <a:pt x="4820" y="9713"/>
                </a:lnTo>
                <a:lnTo>
                  <a:pt x="4855" y="9698"/>
                </a:lnTo>
                <a:lnTo>
                  <a:pt x="4903" y="9667"/>
                </a:lnTo>
                <a:lnTo>
                  <a:pt x="4933" y="9639"/>
                </a:lnTo>
                <a:lnTo>
                  <a:pt x="4948" y="9643"/>
                </a:lnTo>
                <a:lnTo>
                  <a:pt x="4938" y="9662"/>
                </a:lnTo>
                <a:lnTo>
                  <a:pt x="4939" y="9670"/>
                </a:lnTo>
                <a:lnTo>
                  <a:pt x="4987" y="9637"/>
                </a:lnTo>
                <a:lnTo>
                  <a:pt x="4954" y="9694"/>
                </a:lnTo>
                <a:lnTo>
                  <a:pt x="4891" y="9753"/>
                </a:lnTo>
                <a:lnTo>
                  <a:pt x="4849" y="9797"/>
                </a:lnTo>
                <a:lnTo>
                  <a:pt x="4882" y="9815"/>
                </a:lnTo>
                <a:lnTo>
                  <a:pt x="4834" y="9861"/>
                </a:lnTo>
                <a:lnTo>
                  <a:pt x="4836" y="9872"/>
                </a:lnTo>
                <a:lnTo>
                  <a:pt x="4871" y="9857"/>
                </a:lnTo>
                <a:lnTo>
                  <a:pt x="4929" y="9829"/>
                </a:lnTo>
                <a:lnTo>
                  <a:pt x="5071" y="9865"/>
                </a:lnTo>
                <a:lnTo>
                  <a:pt x="5353" y="9760"/>
                </a:lnTo>
                <a:lnTo>
                  <a:pt x="5557" y="9667"/>
                </a:lnTo>
                <a:lnTo>
                  <a:pt x="5466" y="9741"/>
                </a:lnTo>
                <a:lnTo>
                  <a:pt x="5410" y="9790"/>
                </a:lnTo>
                <a:lnTo>
                  <a:pt x="5427" y="9797"/>
                </a:lnTo>
                <a:lnTo>
                  <a:pt x="5481" y="9777"/>
                </a:lnTo>
                <a:lnTo>
                  <a:pt x="5543" y="9744"/>
                </a:lnTo>
                <a:lnTo>
                  <a:pt x="5460" y="9847"/>
                </a:lnTo>
                <a:lnTo>
                  <a:pt x="5411" y="9912"/>
                </a:lnTo>
                <a:lnTo>
                  <a:pt x="5304" y="9978"/>
                </a:lnTo>
                <a:lnTo>
                  <a:pt x="5050" y="10079"/>
                </a:lnTo>
                <a:lnTo>
                  <a:pt x="5203" y="10040"/>
                </a:lnTo>
                <a:lnTo>
                  <a:pt x="5318" y="10020"/>
                </a:lnTo>
                <a:lnTo>
                  <a:pt x="5373" y="10023"/>
                </a:lnTo>
                <a:lnTo>
                  <a:pt x="5348" y="10052"/>
                </a:lnTo>
                <a:lnTo>
                  <a:pt x="5302" y="10081"/>
                </a:lnTo>
                <a:lnTo>
                  <a:pt x="5327" y="10087"/>
                </a:lnTo>
                <a:lnTo>
                  <a:pt x="5366" y="10086"/>
                </a:lnTo>
                <a:lnTo>
                  <a:pt x="5359" y="10096"/>
                </a:lnTo>
                <a:lnTo>
                  <a:pt x="5329" y="10140"/>
                </a:lnTo>
                <a:lnTo>
                  <a:pt x="5408" y="10090"/>
                </a:lnTo>
                <a:lnTo>
                  <a:pt x="5465" y="10066"/>
                </a:lnTo>
                <a:lnTo>
                  <a:pt x="5371" y="10182"/>
                </a:lnTo>
                <a:lnTo>
                  <a:pt x="5534" y="10123"/>
                </a:lnTo>
                <a:lnTo>
                  <a:pt x="5618" y="10095"/>
                </a:lnTo>
                <a:lnTo>
                  <a:pt x="5613" y="10128"/>
                </a:lnTo>
                <a:lnTo>
                  <a:pt x="5507" y="10253"/>
                </a:lnTo>
                <a:lnTo>
                  <a:pt x="5418" y="10315"/>
                </a:lnTo>
                <a:lnTo>
                  <a:pt x="5327" y="10384"/>
                </a:lnTo>
                <a:lnTo>
                  <a:pt x="5301" y="10415"/>
                </a:lnTo>
                <a:lnTo>
                  <a:pt x="5405" y="10362"/>
                </a:lnTo>
                <a:lnTo>
                  <a:pt x="5349" y="10426"/>
                </a:lnTo>
                <a:lnTo>
                  <a:pt x="5332" y="10440"/>
                </a:lnTo>
                <a:lnTo>
                  <a:pt x="5352" y="10437"/>
                </a:lnTo>
                <a:lnTo>
                  <a:pt x="5400" y="10454"/>
                </a:lnTo>
                <a:lnTo>
                  <a:pt x="5540" y="10383"/>
                </a:lnTo>
                <a:lnTo>
                  <a:pt x="5525" y="10412"/>
                </a:lnTo>
                <a:lnTo>
                  <a:pt x="5423" y="10497"/>
                </a:lnTo>
                <a:lnTo>
                  <a:pt x="5306" y="10595"/>
                </a:lnTo>
                <a:lnTo>
                  <a:pt x="5363" y="10593"/>
                </a:lnTo>
                <a:lnTo>
                  <a:pt x="5430" y="10549"/>
                </a:lnTo>
                <a:lnTo>
                  <a:pt x="5502" y="10499"/>
                </a:lnTo>
                <a:lnTo>
                  <a:pt x="5572" y="10469"/>
                </a:lnTo>
                <a:lnTo>
                  <a:pt x="5520" y="10539"/>
                </a:lnTo>
                <a:lnTo>
                  <a:pt x="5466" y="10585"/>
                </a:lnTo>
                <a:lnTo>
                  <a:pt x="5445" y="10618"/>
                </a:lnTo>
                <a:lnTo>
                  <a:pt x="5487" y="10655"/>
                </a:lnTo>
                <a:lnTo>
                  <a:pt x="5378" y="10733"/>
                </a:lnTo>
                <a:lnTo>
                  <a:pt x="5409" y="10748"/>
                </a:lnTo>
                <a:lnTo>
                  <a:pt x="5459" y="10748"/>
                </a:lnTo>
                <a:lnTo>
                  <a:pt x="5405" y="10782"/>
                </a:lnTo>
                <a:lnTo>
                  <a:pt x="5296" y="10838"/>
                </a:lnTo>
                <a:lnTo>
                  <a:pt x="5372" y="10826"/>
                </a:lnTo>
                <a:lnTo>
                  <a:pt x="5508" y="10774"/>
                </a:lnTo>
                <a:lnTo>
                  <a:pt x="5581" y="10706"/>
                </a:lnTo>
                <a:lnTo>
                  <a:pt x="5979" y="10668"/>
                </a:lnTo>
                <a:lnTo>
                  <a:pt x="6537" y="10369"/>
                </a:lnTo>
                <a:lnTo>
                  <a:pt x="6994" y="10146"/>
                </a:lnTo>
                <a:lnTo>
                  <a:pt x="7090" y="10342"/>
                </a:lnTo>
                <a:lnTo>
                  <a:pt x="7081" y="10403"/>
                </a:lnTo>
                <a:lnTo>
                  <a:pt x="7072" y="10426"/>
                </a:lnTo>
                <a:lnTo>
                  <a:pt x="7087" y="10430"/>
                </a:lnTo>
                <a:lnTo>
                  <a:pt x="7151" y="10435"/>
                </a:lnTo>
                <a:lnTo>
                  <a:pt x="7115" y="10505"/>
                </a:lnTo>
                <a:lnTo>
                  <a:pt x="7098" y="10529"/>
                </a:lnTo>
                <a:lnTo>
                  <a:pt x="7113" y="10521"/>
                </a:lnTo>
                <a:lnTo>
                  <a:pt x="7182" y="10496"/>
                </a:lnTo>
                <a:lnTo>
                  <a:pt x="7122" y="10556"/>
                </a:lnTo>
                <a:lnTo>
                  <a:pt x="7140" y="10553"/>
                </a:lnTo>
                <a:lnTo>
                  <a:pt x="7198" y="10532"/>
                </a:lnTo>
                <a:lnTo>
                  <a:pt x="7262" y="10529"/>
                </a:lnTo>
                <a:lnTo>
                  <a:pt x="7294" y="10600"/>
                </a:lnTo>
                <a:lnTo>
                  <a:pt x="7248" y="10672"/>
                </a:lnTo>
                <a:lnTo>
                  <a:pt x="7206" y="10716"/>
                </a:lnTo>
                <a:lnTo>
                  <a:pt x="7248" y="10709"/>
                </a:lnTo>
                <a:lnTo>
                  <a:pt x="7325" y="10653"/>
                </a:lnTo>
                <a:lnTo>
                  <a:pt x="7346" y="10672"/>
                </a:lnTo>
                <a:lnTo>
                  <a:pt x="7343" y="10724"/>
                </a:lnTo>
                <a:lnTo>
                  <a:pt x="7350" y="10768"/>
                </a:lnTo>
                <a:lnTo>
                  <a:pt x="7357" y="10793"/>
                </a:lnTo>
                <a:lnTo>
                  <a:pt x="7376" y="10779"/>
                </a:lnTo>
                <a:lnTo>
                  <a:pt x="7401" y="10762"/>
                </a:lnTo>
                <a:lnTo>
                  <a:pt x="7421" y="10784"/>
                </a:lnTo>
                <a:lnTo>
                  <a:pt x="7397" y="10813"/>
                </a:lnTo>
                <a:lnTo>
                  <a:pt x="7389" y="10837"/>
                </a:lnTo>
                <a:lnTo>
                  <a:pt x="7397" y="10849"/>
                </a:lnTo>
                <a:lnTo>
                  <a:pt x="7421" y="10842"/>
                </a:lnTo>
                <a:lnTo>
                  <a:pt x="7398" y="10877"/>
                </a:lnTo>
                <a:lnTo>
                  <a:pt x="7418" y="10869"/>
                </a:lnTo>
                <a:lnTo>
                  <a:pt x="7459" y="10852"/>
                </a:lnTo>
                <a:lnTo>
                  <a:pt x="7496" y="10866"/>
                </a:lnTo>
                <a:lnTo>
                  <a:pt x="7492" y="10902"/>
                </a:lnTo>
                <a:lnTo>
                  <a:pt x="7520" y="10922"/>
                </a:lnTo>
                <a:lnTo>
                  <a:pt x="7576" y="10930"/>
                </a:lnTo>
                <a:lnTo>
                  <a:pt x="7657" y="10926"/>
                </a:lnTo>
                <a:lnTo>
                  <a:pt x="7709" y="10901"/>
                </a:lnTo>
                <a:lnTo>
                  <a:pt x="7715" y="10905"/>
                </a:lnTo>
                <a:lnTo>
                  <a:pt x="7690" y="10926"/>
                </a:lnTo>
                <a:lnTo>
                  <a:pt x="7646" y="10952"/>
                </a:lnTo>
                <a:lnTo>
                  <a:pt x="7634" y="10976"/>
                </a:lnTo>
                <a:lnTo>
                  <a:pt x="7718" y="10936"/>
                </a:lnTo>
                <a:lnTo>
                  <a:pt x="7828" y="10882"/>
                </a:lnTo>
                <a:lnTo>
                  <a:pt x="7895" y="10861"/>
                </a:lnTo>
                <a:lnTo>
                  <a:pt x="7855" y="10898"/>
                </a:lnTo>
                <a:lnTo>
                  <a:pt x="7846" y="10914"/>
                </a:lnTo>
                <a:lnTo>
                  <a:pt x="7869" y="10908"/>
                </a:lnTo>
                <a:lnTo>
                  <a:pt x="7923" y="10882"/>
                </a:lnTo>
                <a:lnTo>
                  <a:pt x="7998" y="10790"/>
                </a:lnTo>
                <a:lnTo>
                  <a:pt x="8084" y="10754"/>
                </a:lnTo>
                <a:lnTo>
                  <a:pt x="8176" y="10733"/>
                </a:lnTo>
                <a:lnTo>
                  <a:pt x="8272" y="10682"/>
                </a:lnTo>
                <a:lnTo>
                  <a:pt x="8455" y="10577"/>
                </a:lnTo>
                <a:lnTo>
                  <a:pt x="8651" y="10439"/>
                </a:lnTo>
                <a:lnTo>
                  <a:pt x="8845" y="10371"/>
                </a:lnTo>
                <a:lnTo>
                  <a:pt x="9022" y="10481"/>
                </a:lnTo>
                <a:lnTo>
                  <a:pt x="9201" y="10323"/>
                </a:lnTo>
                <a:lnTo>
                  <a:pt x="9233" y="10161"/>
                </a:lnTo>
                <a:lnTo>
                  <a:pt x="9243" y="10017"/>
                </a:lnTo>
                <a:lnTo>
                  <a:pt x="9354" y="9908"/>
                </a:lnTo>
                <a:lnTo>
                  <a:pt x="9371" y="9938"/>
                </a:lnTo>
                <a:lnTo>
                  <a:pt x="9406" y="9940"/>
                </a:lnTo>
                <a:lnTo>
                  <a:pt x="9437" y="9942"/>
                </a:lnTo>
                <a:lnTo>
                  <a:pt x="9442" y="9974"/>
                </a:lnTo>
                <a:lnTo>
                  <a:pt x="9396" y="10071"/>
                </a:lnTo>
                <a:lnTo>
                  <a:pt x="9482" y="10005"/>
                </a:lnTo>
                <a:lnTo>
                  <a:pt x="9555" y="9945"/>
                </a:lnTo>
                <a:lnTo>
                  <a:pt x="9479" y="10056"/>
                </a:lnTo>
                <a:lnTo>
                  <a:pt x="9439" y="10095"/>
                </a:lnTo>
                <a:lnTo>
                  <a:pt x="9459" y="10093"/>
                </a:lnTo>
                <a:lnTo>
                  <a:pt x="9492" y="10070"/>
                </a:lnTo>
                <a:lnTo>
                  <a:pt x="9494" y="10045"/>
                </a:lnTo>
                <a:lnTo>
                  <a:pt x="9574" y="9993"/>
                </a:lnTo>
                <a:lnTo>
                  <a:pt x="9555" y="10014"/>
                </a:lnTo>
                <a:lnTo>
                  <a:pt x="9536" y="10066"/>
                </a:lnTo>
                <a:lnTo>
                  <a:pt x="9613" y="10113"/>
                </a:lnTo>
                <a:lnTo>
                  <a:pt x="9591" y="10290"/>
                </a:lnTo>
                <a:lnTo>
                  <a:pt x="9643" y="10421"/>
                </a:lnTo>
                <a:lnTo>
                  <a:pt x="9721" y="10560"/>
                </a:lnTo>
                <a:lnTo>
                  <a:pt x="9771" y="10756"/>
                </a:lnTo>
                <a:lnTo>
                  <a:pt x="9925" y="10779"/>
                </a:lnTo>
                <a:lnTo>
                  <a:pt x="10041" y="10622"/>
                </a:lnTo>
                <a:lnTo>
                  <a:pt x="10134" y="10441"/>
                </a:lnTo>
                <a:lnTo>
                  <a:pt x="10219" y="10392"/>
                </a:lnTo>
                <a:lnTo>
                  <a:pt x="10229" y="10401"/>
                </a:lnTo>
                <a:lnTo>
                  <a:pt x="10179" y="10465"/>
                </a:lnTo>
                <a:lnTo>
                  <a:pt x="10117" y="10547"/>
                </a:lnTo>
                <a:lnTo>
                  <a:pt x="10090" y="10609"/>
                </a:lnTo>
                <a:lnTo>
                  <a:pt x="10120" y="10599"/>
                </a:lnTo>
                <a:lnTo>
                  <a:pt x="10154" y="10569"/>
                </a:lnTo>
                <a:lnTo>
                  <a:pt x="10178" y="10541"/>
                </a:lnTo>
                <a:lnTo>
                  <a:pt x="10174" y="10539"/>
                </a:lnTo>
                <a:lnTo>
                  <a:pt x="10724" y="10194"/>
                </a:lnTo>
                <a:lnTo>
                  <a:pt x="11778" y="9597"/>
                </a:lnTo>
                <a:lnTo>
                  <a:pt x="13012" y="8965"/>
                </a:lnTo>
                <a:lnTo>
                  <a:pt x="14113" y="8519"/>
                </a:lnTo>
                <a:lnTo>
                  <a:pt x="14312" y="8396"/>
                </a:lnTo>
                <a:lnTo>
                  <a:pt x="14041" y="8468"/>
                </a:lnTo>
                <a:lnTo>
                  <a:pt x="13740" y="8554"/>
                </a:lnTo>
                <a:lnTo>
                  <a:pt x="13850" y="8468"/>
                </a:lnTo>
                <a:lnTo>
                  <a:pt x="14283" y="8286"/>
                </a:lnTo>
                <a:lnTo>
                  <a:pt x="14849" y="8177"/>
                </a:lnTo>
                <a:lnTo>
                  <a:pt x="15253" y="8100"/>
                </a:lnTo>
                <a:lnTo>
                  <a:pt x="15196" y="8019"/>
                </a:lnTo>
                <a:lnTo>
                  <a:pt x="15136" y="8034"/>
                </a:lnTo>
                <a:lnTo>
                  <a:pt x="15065" y="8044"/>
                </a:lnTo>
                <a:lnTo>
                  <a:pt x="14992" y="8052"/>
                </a:lnTo>
                <a:lnTo>
                  <a:pt x="14926" y="8055"/>
                </a:lnTo>
                <a:lnTo>
                  <a:pt x="14926" y="8055"/>
                </a:lnTo>
                <a:lnTo>
                  <a:pt x="14923" y="8055"/>
                </a:lnTo>
                <a:lnTo>
                  <a:pt x="14923" y="8055"/>
                </a:lnTo>
                <a:lnTo>
                  <a:pt x="14871" y="8051"/>
                </a:lnTo>
                <a:lnTo>
                  <a:pt x="14853" y="8041"/>
                </a:lnTo>
                <a:lnTo>
                  <a:pt x="14882" y="8023"/>
                </a:lnTo>
                <a:lnTo>
                  <a:pt x="14972" y="7996"/>
                </a:lnTo>
                <a:lnTo>
                  <a:pt x="15178" y="7991"/>
                </a:lnTo>
                <a:lnTo>
                  <a:pt x="15233" y="7955"/>
                </a:lnTo>
                <a:lnTo>
                  <a:pt x="15267" y="7895"/>
                </a:lnTo>
                <a:lnTo>
                  <a:pt x="15415" y="7815"/>
                </a:lnTo>
                <a:lnTo>
                  <a:pt x="15259" y="7822"/>
                </a:lnTo>
                <a:lnTo>
                  <a:pt x="15191" y="7810"/>
                </a:lnTo>
                <a:lnTo>
                  <a:pt x="15235" y="7786"/>
                </a:lnTo>
                <a:lnTo>
                  <a:pt x="15421" y="7757"/>
                </a:lnTo>
                <a:lnTo>
                  <a:pt x="15490" y="7733"/>
                </a:lnTo>
                <a:lnTo>
                  <a:pt x="15387" y="7744"/>
                </a:lnTo>
                <a:lnTo>
                  <a:pt x="15225" y="7767"/>
                </a:lnTo>
                <a:lnTo>
                  <a:pt x="15115" y="7776"/>
                </a:lnTo>
                <a:lnTo>
                  <a:pt x="15263" y="7743"/>
                </a:lnTo>
                <a:lnTo>
                  <a:pt x="15448" y="7725"/>
                </a:lnTo>
                <a:lnTo>
                  <a:pt x="15610" y="7706"/>
                </a:lnTo>
                <a:lnTo>
                  <a:pt x="15691" y="7671"/>
                </a:lnTo>
                <a:lnTo>
                  <a:pt x="15292" y="7699"/>
                </a:lnTo>
                <a:lnTo>
                  <a:pt x="15188" y="7693"/>
                </a:lnTo>
                <a:lnTo>
                  <a:pt x="15313" y="7647"/>
                </a:lnTo>
                <a:lnTo>
                  <a:pt x="15606" y="7557"/>
                </a:lnTo>
                <a:lnTo>
                  <a:pt x="15123" y="7580"/>
                </a:lnTo>
                <a:lnTo>
                  <a:pt x="14975" y="7526"/>
                </a:lnTo>
                <a:lnTo>
                  <a:pt x="15058" y="7446"/>
                </a:lnTo>
                <a:lnTo>
                  <a:pt x="15268" y="7390"/>
                </a:lnTo>
                <a:lnTo>
                  <a:pt x="15285" y="7410"/>
                </a:lnTo>
                <a:lnTo>
                  <a:pt x="15318" y="7416"/>
                </a:lnTo>
                <a:lnTo>
                  <a:pt x="15356" y="7410"/>
                </a:lnTo>
                <a:lnTo>
                  <a:pt x="15388" y="7404"/>
                </a:lnTo>
                <a:lnTo>
                  <a:pt x="15391" y="7398"/>
                </a:lnTo>
                <a:lnTo>
                  <a:pt x="15391" y="7393"/>
                </a:lnTo>
                <a:lnTo>
                  <a:pt x="15388" y="7389"/>
                </a:lnTo>
                <a:lnTo>
                  <a:pt x="15384" y="7386"/>
                </a:lnTo>
                <a:lnTo>
                  <a:pt x="15434" y="7393"/>
                </a:lnTo>
                <a:lnTo>
                  <a:pt x="15482" y="7403"/>
                </a:lnTo>
                <a:lnTo>
                  <a:pt x="15526" y="7418"/>
                </a:lnTo>
                <a:lnTo>
                  <a:pt x="15566" y="7440"/>
                </a:lnTo>
                <a:lnTo>
                  <a:pt x="15583" y="7413"/>
                </a:lnTo>
                <a:lnTo>
                  <a:pt x="15504" y="7376"/>
                </a:lnTo>
                <a:lnTo>
                  <a:pt x="15407" y="7346"/>
                </a:lnTo>
                <a:lnTo>
                  <a:pt x="15365" y="7338"/>
                </a:lnTo>
                <a:lnTo>
                  <a:pt x="15441" y="7328"/>
                </a:lnTo>
                <a:lnTo>
                  <a:pt x="15512" y="7309"/>
                </a:lnTo>
                <a:lnTo>
                  <a:pt x="15583" y="7297"/>
                </a:lnTo>
                <a:lnTo>
                  <a:pt x="15657" y="7307"/>
                </a:lnTo>
                <a:lnTo>
                  <a:pt x="15782" y="7272"/>
                </a:lnTo>
                <a:lnTo>
                  <a:pt x="15533" y="7288"/>
                </a:lnTo>
                <a:lnTo>
                  <a:pt x="15267" y="7301"/>
                </a:lnTo>
                <a:lnTo>
                  <a:pt x="15337" y="7256"/>
                </a:lnTo>
                <a:lnTo>
                  <a:pt x="15226" y="7240"/>
                </a:lnTo>
                <a:lnTo>
                  <a:pt x="15174" y="7213"/>
                </a:lnTo>
                <a:lnTo>
                  <a:pt x="15169" y="7184"/>
                </a:lnTo>
                <a:lnTo>
                  <a:pt x="15200" y="7156"/>
                </a:lnTo>
                <a:lnTo>
                  <a:pt x="15200" y="7156"/>
                </a:lnTo>
                <a:lnTo>
                  <a:pt x="15201" y="7156"/>
                </a:lnTo>
                <a:lnTo>
                  <a:pt x="15200" y="7156"/>
                </a:lnTo>
                <a:lnTo>
                  <a:pt x="15200" y="7156"/>
                </a:lnTo>
                <a:lnTo>
                  <a:pt x="15220" y="7147"/>
                </a:lnTo>
                <a:lnTo>
                  <a:pt x="15243" y="7139"/>
                </a:lnTo>
                <a:lnTo>
                  <a:pt x="15270" y="7134"/>
                </a:lnTo>
                <a:lnTo>
                  <a:pt x="15298" y="7133"/>
                </a:lnTo>
                <a:lnTo>
                  <a:pt x="15287" y="7136"/>
                </a:lnTo>
                <a:lnTo>
                  <a:pt x="15277" y="7138"/>
                </a:lnTo>
                <a:lnTo>
                  <a:pt x="15268" y="7142"/>
                </a:lnTo>
                <a:lnTo>
                  <a:pt x="15263" y="7147"/>
                </a:lnTo>
                <a:lnTo>
                  <a:pt x="15273" y="7144"/>
                </a:lnTo>
                <a:lnTo>
                  <a:pt x="15286" y="7143"/>
                </a:lnTo>
                <a:lnTo>
                  <a:pt x="15296" y="7141"/>
                </a:lnTo>
                <a:lnTo>
                  <a:pt x="15299" y="7133"/>
                </a:lnTo>
                <a:lnTo>
                  <a:pt x="15342" y="7136"/>
                </a:lnTo>
                <a:lnTo>
                  <a:pt x="15385" y="7147"/>
                </a:lnTo>
                <a:lnTo>
                  <a:pt x="15425" y="7170"/>
                </a:lnTo>
                <a:lnTo>
                  <a:pt x="15459" y="7204"/>
                </a:lnTo>
                <a:lnTo>
                  <a:pt x="15459" y="7204"/>
                </a:lnTo>
                <a:lnTo>
                  <a:pt x="15459" y="7204"/>
                </a:lnTo>
                <a:lnTo>
                  <a:pt x="15459" y="7204"/>
                </a:lnTo>
                <a:lnTo>
                  <a:pt x="15351" y="7111"/>
                </a:lnTo>
                <a:lnTo>
                  <a:pt x="15300" y="7091"/>
                </a:lnTo>
                <a:lnTo>
                  <a:pt x="15350" y="7096"/>
                </a:lnTo>
                <a:lnTo>
                  <a:pt x="15543" y="7080"/>
                </a:lnTo>
                <a:lnTo>
                  <a:pt x="15559" y="7038"/>
                </a:lnTo>
                <a:lnTo>
                  <a:pt x="15444" y="7040"/>
                </a:lnTo>
                <a:lnTo>
                  <a:pt x="15309" y="7048"/>
                </a:lnTo>
                <a:lnTo>
                  <a:pt x="15266" y="7020"/>
                </a:lnTo>
                <a:lnTo>
                  <a:pt x="15384" y="6952"/>
                </a:lnTo>
                <a:lnTo>
                  <a:pt x="15468" y="6913"/>
                </a:lnTo>
                <a:lnTo>
                  <a:pt x="15574" y="6881"/>
                </a:lnTo>
                <a:lnTo>
                  <a:pt x="15759" y="6830"/>
                </a:lnTo>
                <a:lnTo>
                  <a:pt x="15638" y="6817"/>
                </a:lnTo>
                <a:lnTo>
                  <a:pt x="15690" y="6791"/>
                </a:lnTo>
                <a:lnTo>
                  <a:pt x="15760" y="6764"/>
                </a:lnTo>
                <a:lnTo>
                  <a:pt x="15694" y="6752"/>
                </a:lnTo>
                <a:lnTo>
                  <a:pt x="15746" y="6710"/>
                </a:lnTo>
                <a:lnTo>
                  <a:pt x="15601" y="6713"/>
                </a:lnTo>
                <a:lnTo>
                  <a:pt x="15455" y="6700"/>
                </a:lnTo>
                <a:lnTo>
                  <a:pt x="15500" y="6615"/>
                </a:lnTo>
                <a:lnTo>
                  <a:pt x="15438" y="6610"/>
                </a:lnTo>
                <a:lnTo>
                  <a:pt x="15374" y="6631"/>
                </a:lnTo>
                <a:lnTo>
                  <a:pt x="15335" y="6662"/>
                </a:lnTo>
                <a:lnTo>
                  <a:pt x="15341" y="6684"/>
                </a:lnTo>
                <a:lnTo>
                  <a:pt x="15393" y="6677"/>
                </a:lnTo>
                <a:lnTo>
                  <a:pt x="15411" y="6703"/>
                </a:lnTo>
                <a:lnTo>
                  <a:pt x="15406" y="6736"/>
                </a:lnTo>
                <a:lnTo>
                  <a:pt x="15389" y="6752"/>
                </a:lnTo>
                <a:lnTo>
                  <a:pt x="15233" y="6719"/>
                </a:lnTo>
                <a:lnTo>
                  <a:pt x="15211" y="6703"/>
                </a:lnTo>
                <a:lnTo>
                  <a:pt x="15270" y="6666"/>
                </a:lnTo>
                <a:lnTo>
                  <a:pt x="15355" y="6574"/>
                </a:lnTo>
                <a:lnTo>
                  <a:pt x="15508" y="6541"/>
                </a:lnTo>
                <a:lnTo>
                  <a:pt x="15650" y="6531"/>
                </a:lnTo>
                <a:lnTo>
                  <a:pt x="15801" y="6518"/>
                </a:lnTo>
                <a:lnTo>
                  <a:pt x="15979" y="6475"/>
                </a:lnTo>
                <a:lnTo>
                  <a:pt x="15887" y="6443"/>
                </a:lnTo>
                <a:lnTo>
                  <a:pt x="15848" y="6399"/>
                </a:lnTo>
                <a:lnTo>
                  <a:pt x="15831" y="6350"/>
                </a:lnTo>
                <a:lnTo>
                  <a:pt x="15807" y="6306"/>
                </a:lnTo>
                <a:lnTo>
                  <a:pt x="15807" y="6303"/>
                </a:lnTo>
                <a:lnTo>
                  <a:pt x="15804" y="6300"/>
                </a:lnTo>
                <a:lnTo>
                  <a:pt x="15803" y="6299"/>
                </a:lnTo>
                <a:lnTo>
                  <a:pt x="15801" y="6299"/>
                </a:lnTo>
                <a:lnTo>
                  <a:pt x="15767" y="6280"/>
                </a:lnTo>
                <a:lnTo>
                  <a:pt x="15717" y="6266"/>
                </a:lnTo>
                <a:lnTo>
                  <a:pt x="15639" y="6261"/>
                </a:lnTo>
                <a:lnTo>
                  <a:pt x="15533" y="6264"/>
                </a:lnTo>
                <a:lnTo>
                  <a:pt x="15852" y="6229"/>
                </a:lnTo>
                <a:lnTo>
                  <a:pt x="15922" y="6209"/>
                </a:lnTo>
                <a:lnTo>
                  <a:pt x="15787" y="6181"/>
                </a:lnTo>
                <a:lnTo>
                  <a:pt x="15486" y="6127"/>
                </a:lnTo>
                <a:lnTo>
                  <a:pt x="15788" y="6092"/>
                </a:lnTo>
                <a:lnTo>
                  <a:pt x="15662" y="6073"/>
                </a:lnTo>
                <a:lnTo>
                  <a:pt x="15363" y="6060"/>
                </a:lnTo>
                <a:lnTo>
                  <a:pt x="15147" y="6045"/>
                </a:lnTo>
                <a:lnTo>
                  <a:pt x="15112" y="5981"/>
                </a:lnTo>
                <a:lnTo>
                  <a:pt x="15231" y="5972"/>
                </a:lnTo>
                <a:lnTo>
                  <a:pt x="15371" y="5967"/>
                </a:lnTo>
                <a:lnTo>
                  <a:pt x="15401" y="5916"/>
                </a:lnTo>
                <a:lnTo>
                  <a:pt x="15342" y="5912"/>
                </a:lnTo>
                <a:lnTo>
                  <a:pt x="15343" y="5894"/>
                </a:lnTo>
                <a:lnTo>
                  <a:pt x="15361" y="5874"/>
                </a:lnTo>
                <a:lnTo>
                  <a:pt x="15352" y="5866"/>
                </a:lnTo>
                <a:lnTo>
                  <a:pt x="15033" y="5840"/>
                </a:lnTo>
                <a:lnTo>
                  <a:pt x="14868" y="5819"/>
                </a:lnTo>
                <a:lnTo>
                  <a:pt x="14856" y="5807"/>
                </a:lnTo>
                <a:lnTo>
                  <a:pt x="14994" y="5803"/>
                </a:lnTo>
                <a:lnTo>
                  <a:pt x="14993" y="5805"/>
                </a:lnTo>
                <a:lnTo>
                  <a:pt x="14992" y="5808"/>
                </a:lnTo>
                <a:lnTo>
                  <a:pt x="14992" y="5810"/>
                </a:lnTo>
                <a:lnTo>
                  <a:pt x="14994" y="5813"/>
                </a:lnTo>
                <a:lnTo>
                  <a:pt x="15000" y="5808"/>
                </a:lnTo>
                <a:lnTo>
                  <a:pt x="15003" y="5803"/>
                </a:lnTo>
                <a:lnTo>
                  <a:pt x="15016" y="5803"/>
                </a:lnTo>
                <a:lnTo>
                  <a:pt x="15016" y="5805"/>
                </a:lnTo>
                <a:lnTo>
                  <a:pt x="15017" y="5807"/>
                </a:lnTo>
                <a:lnTo>
                  <a:pt x="15021" y="5805"/>
                </a:lnTo>
                <a:lnTo>
                  <a:pt x="15024" y="5804"/>
                </a:lnTo>
                <a:lnTo>
                  <a:pt x="15063" y="5804"/>
                </a:lnTo>
                <a:lnTo>
                  <a:pt x="15105" y="5805"/>
                </a:lnTo>
                <a:lnTo>
                  <a:pt x="15152" y="5807"/>
                </a:lnTo>
                <a:lnTo>
                  <a:pt x="15202" y="5808"/>
                </a:lnTo>
                <a:lnTo>
                  <a:pt x="15200" y="5808"/>
                </a:lnTo>
                <a:lnTo>
                  <a:pt x="15196" y="5809"/>
                </a:lnTo>
                <a:lnTo>
                  <a:pt x="15194" y="5812"/>
                </a:lnTo>
                <a:lnTo>
                  <a:pt x="15196" y="5816"/>
                </a:lnTo>
                <a:lnTo>
                  <a:pt x="15200" y="5814"/>
                </a:lnTo>
                <a:lnTo>
                  <a:pt x="15203" y="5813"/>
                </a:lnTo>
                <a:lnTo>
                  <a:pt x="15206" y="5810"/>
                </a:lnTo>
                <a:lnTo>
                  <a:pt x="15206" y="5808"/>
                </a:lnTo>
                <a:lnTo>
                  <a:pt x="15248" y="5809"/>
                </a:lnTo>
                <a:lnTo>
                  <a:pt x="15292" y="5810"/>
                </a:lnTo>
                <a:lnTo>
                  <a:pt x="15340" y="5813"/>
                </a:lnTo>
                <a:lnTo>
                  <a:pt x="15389" y="5814"/>
                </a:lnTo>
                <a:lnTo>
                  <a:pt x="15252" y="5776"/>
                </a:lnTo>
                <a:lnTo>
                  <a:pt x="15072" y="5754"/>
                </a:lnTo>
                <a:lnTo>
                  <a:pt x="15006" y="5721"/>
                </a:lnTo>
                <a:lnTo>
                  <a:pt x="15207" y="5650"/>
                </a:lnTo>
                <a:lnTo>
                  <a:pt x="15146" y="5605"/>
                </a:lnTo>
                <a:lnTo>
                  <a:pt x="15208" y="5577"/>
                </a:lnTo>
                <a:lnTo>
                  <a:pt x="15286" y="5549"/>
                </a:lnTo>
                <a:lnTo>
                  <a:pt x="15267" y="5501"/>
                </a:lnTo>
                <a:lnTo>
                  <a:pt x="15045" y="5529"/>
                </a:lnTo>
                <a:lnTo>
                  <a:pt x="14959" y="5513"/>
                </a:lnTo>
                <a:lnTo>
                  <a:pt x="14980" y="5454"/>
                </a:lnTo>
                <a:lnTo>
                  <a:pt x="15081" y="5360"/>
                </a:lnTo>
                <a:lnTo>
                  <a:pt x="15086" y="5360"/>
                </a:lnTo>
                <a:lnTo>
                  <a:pt x="15090" y="5360"/>
                </a:lnTo>
                <a:lnTo>
                  <a:pt x="15093" y="5359"/>
                </a:lnTo>
                <a:lnTo>
                  <a:pt x="15093" y="5355"/>
                </a:lnTo>
                <a:lnTo>
                  <a:pt x="15090" y="5355"/>
                </a:lnTo>
                <a:lnTo>
                  <a:pt x="15085" y="5356"/>
                </a:lnTo>
                <a:lnTo>
                  <a:pt x="15378" y="5110"/>
                </a:lnTo>
                <a:lnTo>
                  <a:pt x="15672" y="4793"/>
                </a:lnTo>
                <a:lnTo>
                  <a:pt x="15808" y="4436"/>
                </a:lnTo>
                <a:lnTo>
                  <a:pt x="15624" y="4064"/>
                </a:lnTo>
                <a:lnTo>
                  <a:pt x="15364" y="3841"/>
                </a:lnTo>
                <a:lnTo>
                  <a:pt x="15040" y="3850"/>
                </a:lnTo>
                <a:lnTo>
                  <a:pt x="14823" y="3863"/>
                </a:lnTo>
                <a:lnTo>
                  <a:pt x="14877" y="3654"/>
                </a:lnTo>
                <a:lnTo>
                  <a:pt x="14944" y="3523"/>
                </a:lnTo>
                <a:lnTo>
                  <a:pt x="15016" y="3332"/>
                </a:lnTo>
                <a:lnTo>
                  <a:pt x="15100" y="3161"/>
                </a:lnTo>
                <a:lnTo>
                  <a:pt x="15202" y="3094"/>
                </a:lnTo>
                <a:lnTo>
                  <a:pt x="15247" y="3097"/>
                </a:lnTo>
                <a:lnTo>
                  <a:pt x="15254" y="3076"/>
                </a:lnTo>
                <a:lnTo>
                  <a:pt x="15242" y="3049"/>
                </a:lnTo>
                <a:lnTo>
                  <a:pt x="15222" y="3030"/>
                </a:lnTo>
                <a:lnTo>
                  <a:pt x="15169" y="3061"/>
                </a:lnTo>
                <a:lnTo>
                  <a:pt x="15127" y="3076"/>
                </a:lnTo>
                <a:lnTo>
                  <a:pt x="15101" y="3065"/>
                </a:lnTo>
                <a:lnTo>
                  <a:pt x="15100" y="3020"/>
                </a:lnTo>
                <a:lnTo>
                  <a:pt x="15113" y="3025"/>
                </a:lnTo>
                <a:lnTo>
                  <a:pt x="15124" y="3020"/>
                </a:lnTo>
                <a:lnTo>
                  <a:pt x="15132" y="3011"/>
                </a:lnTo>
                <a:lnTo>
                  <a:pt x="15131" y="3000"/>
                </a:lnTo>
                <a:lnTo>
                  <a:pt x="15169" y="2926"/>
                </a:lnTo>
                <a:lnTo>
                  <a:pt x="15160" y="2828"/>
                </a:lnTo>
                <a:lnTo>
                  <a:pt x="15170" y="2745"/>
                </a:lnTo>
                <a:lnTo>
                  <a:pt x="15267" y="2721"/>
                </a:lnTo>
                <a:lnTo>
                  <a:pt x="15254" y="2752"/>
                </a:lnTo>
                <a:lnTo>
                  <a:pt x="15252" y="2781"/>
                </a:lnTo>
                <a:lnTo>
                  <a:pt x="15262" y="2796"/>
                </a:lnTo>
                <a:lnTo>
                  <a:pt x="15291" y="2782"/>
                </a:lnTo>
                <a:lnTo>
                  <a:pt x="15357" y="2753"/>
                </a:lnTo>
                <a:lnTo>
                  <a:pt x="15350" y="2736"/>
                </a:lnTo>
                <a:lnTo>
                  <a:pt x="15326" y="2713"/>
                </a:lnTo>
                <a:lnTo>
                  <a:pt x="15340" y="2670"/>
                </a:lnTo>
                <a:lnTo>
                  <a:pt x="15366" y="2575"/>
                </a:lnTo>
                <a:lnTo>
                  <a:pt x="15426" y="2557"/>
                </a:lnTo>
                <a:lnTo>
                  <a:pt x="15517" y="2526"/>
                </a:lnTo>
                <a:lnTo>
                  <a:pt x="15640" y="2390"/>
                </a:lnTo>
                <a:lnTo>
                  <a:pt x="15787" y="2314"/>
                </a:lnTo>
                <a:lnTo>
                  <a:pt x="15908" y="2199"/>
                </a:lnTo>
                <a:lnTo>
                  <a:pt x="15936" y="2133"/>
                </a:lnTo>
                <a:lnTo>
                  <a:pt x="15803" y="2197"/>
                </a:lnTo>
                <a:lnTo>
                  <a:pt x="15864" y="2123"/>
                </a:lnTo>
                <a:lnTo>
                  <a:pt x="15918" y="2076"/>
                </a:lnTo>
                <a:lnTo>
                  <a:pt x="15973" y="2034"/>
                </a:lnTo>
                <a:lnTo>
                  <a:pt x="16037" y="1973"/>
                </a:lnTo>
                <a:lnTo>
                  <a:pt x="16009" y="1981"/>
                </a:lnTo>
                <a:lnTo>
                  <a:pt x="15971" y="2012"/>
                </a:lnTo>
                <a:lnTo>
                  <a:pt x="15950" y="2021"/>
                </a:lnTo>
                <a:lnTo>
                  <a:pt x="15974" y="1961"/>
                </a:lnTo>
                <a:lnTo>
                  <a:pt x="15993" y="1948"/>
                </a:lnTo>
                <a:lnTo>
                  <a:pt x="16065" y="1881"/>
                </a:lnTo>
                <a:lnTo>
                  <a:pt x="16113" y="1826"/>
                </a:lnTo>
                <a:lnTo>
                  <a:pt x="16060" y="1853"/>
                </a:lnTo>
                <a:lnTo>
                  <a:pt x="15942" y="1887"/>
                </a:lnTo>
                <a:lnTo>
                  <a:pt x="15939" y="1826"/>
                </a:lnTo>
                <a:lnTo>
                  <a:pt x="15943" y="1779"/>
                </a:lnTo>
                <a:lnTo>
                  <a:pt x="15850" y="1854"/>
                </a:lnTo>
                <a:lnTo>
                  <a:pt x="15911" y="1886"/>
                </a:lnTo>
                <a:lnTo>
                  <a:pt x="15900" y="1924"/>
                </a:lnTo>
                <a:lnTo>
                  <a:pt x="15864" y="1932"/>
                </a:lnTo>
                <a:lnTo>
                  <a:pt x="15850" y="1866"/>
                </a:lnTo>
                <a:lnTo>
                  <a:pt x="15629" y="1897"/>
                </a:lnTo>
                <a:lnTo>
                  <a:pt x="15438" y="2031"/>
                </a:lnTo>
                <a:lnTo>
                  <a:pt x="15245" y="2209"/>
                </a:lnTo>
                <a:lnTo>
                  <a:pt x="15022" y="2376"/>
                </a:lnTo>
                <a:lnTo>
                  <a:pt x="14940" y="2440"/>
                </a:lnTo>
                <a:lnTo>
                  <a:pt x="15033" y="2393"/>
                </a:lnTo>
                <a:lnTo>
                  <a:pt x="15175" y="2332"/>
                </a:lnTo>
                <a:lnTo>
                  <a:pt x="15238" y="2351"/>
                </a:lnTo>
                <a:lnTo>
                  <a:pt x="15211" y="2370"/>
                </a:lnTo>
                <a:lnTo>
                  <a:pt x="15208" y="2365"/>
                </a:lnTo>
                <a:lnTo>
                  <a:pt x="15211" y="2347"/>
                </a:lnTo>
                <a:lnTo>
                  <a:pt x="15205" y="2328"/>
                </a:lnTo>
                <a:lnTo>
                  <a:pt x="15192" y="2348"/>
                </a:lnTo>
                <a:lnTo>
                  <a:pt x="15175" y="2371"/>
                </a:lnTo>
                <a:lnTo>
                  <a:pt x="15165" y="2391"/>
                </a:lnTo>
                <a:lnTo>
                  <a:pt x="15175" y="2405"/>
                </a:lnTo>
                <a:lnTo>
                  <a:pt x="15077" y="2426"/>
                </a:lnTo>
                <a:lnTo>
                  <a:pt x="15031" y="2469"/>
                </a:lnTo>
                <a:lnTo>
                  <a:pt x="15020" y="2528"/>
                </a:lnTo>
                <a:lnTo>
                  <a:pt x="15021" y="2594"/>
                </a:lnTo>
                <a:lnTo>
                  <a:pt x="15011" y="2587"/>
                </a:lnTo>
                <a:lnTo>
                  <a:pt x="15002" y="2584"/>
                </a:lnTo>
                <a:lnTo>
                  <a:pt x="14992" y="2585"/>
                </a:lnTo>
                <a:lnTo>
                  <a:pt x="14980" y="2591"/>
                </a:lnTo>
                <a:lnTo>
                  <a:pt x="14991" y="2600"/>
                </a:lnTo>
                <a:lnTo>
                  <a:pt x="15000" y="2605"/>
                </a:lnTo>
                <a:lnTo>
                  <a:pt x="15010" y="2605"/>
                </a:lnTo>
                <a:lnTo>
                  <a:pt x="15021" y="2601"/>
                </a:lnTo>
                <a:lnTo>
                  <a:pt x="15021" y="2620"/>
                </a:lnTo>
                <a:lnTo>
                  <a:pt x="15020" y="2640"/>
                </a:lnTo>
                <a:lnTo>
                  <a:pt x="15017" y="2659"/>
                </a:lnTo>
                <a:lnTo>
                  <a:pt x="15014" y="2675"/>
                </a:lnTo>
                <a:lnTo>
                  <a:pt x="15099" y="2650"/>
                </a:lnTo>
                <a:lnTo>
                  <a:pt x="15278" y="2528"/>
                </a:lnTo>
                <a:lnTo>
                  <a:pt x="15431" y="2440"/>
                </a:lnTo>
                <a:lnTo>
                  <a:pt x="15439" y="2519"/>
                </a:lnTo>
                <a:lnTo>
                  <a:pt x="15272" y="2575"/>
                </a:lnTo>
                <a:lnTo>
                  <a:pt x="15182" y="2675"/>
                </a:lnTo>
                <a:lnTo>
                  <a:pt x="15098" y="2750"/>
                </a:lnTo>
                <a:lnTo>
                  <a:pt x="14952" y="2727"/>
                </a:lnTo>
                <a:lnTo>
                  <a:pt x="14974" y="2777"/>
                </a:lnTo>
                <a:lnTo>
                  <a:pt x="14988" y="2803"/>
                </a:lnTo>
                <a:lnTo>
                  <a:pt x="14984" y="2829"/>
                </a:lnTo>
                <a:lnTo>
                  <a:pt x="14950" y="2883"/>
                </a:lnTo>
                <a:lnTo>
                  <a:pt x="14932" y="2887"/>
                </a:lnTo>
                <a:lnTo>
                  <a:pt x="14916" y="2862"/>
                </a:lnTo>
                <a:lnTo>
                  <a:pt x="14918" y="2827"/>
                </a:lnTo>
                <a:lnTo>
                  <a:pt x="14961" y="2800"/>
                </a:lnTo>
                <a:lnTo>
                  <a:pt x="14919" y="2769"/>
                </a:lnTo>
                <a:lnTo>
                  <a:pt x="14881" y="2743"/>
                </a:lnTo>
                <a:lnTo>
                  <a:pt x="14876" y="2704"/>
                </a:lnTo>
                <a:lnTo>
                  <a:pt x="14935" y="2637"/>
                </a:lnTo>
                <a:lnTo>
                  <a:pt x="14761" y="2566"/>
                </a:lnTo>
                <a:lnTo>
                  <a:pt x="14577" y="2604"/>
                </a:lnTo>
                <a:lnTo>
                  <a:pt x="14367" y="2680"/>
                </a:lnTo>
                <a:lnTo>
                  <a:pt x="14116" y="2724"/>
                </a:lnTo>
                <a:lnTo>
                  <a:pt x="14306" y="2613"/>
                </a:lnTo>
                <a:lnTo>
                  <a:pt x="14499" y="2500"/>
                </a:lnTo>
                <a:lnTo>
                  <a:pt x="14646" y="2403"/>
                </a:lnTo>
                <a:lnTo>
                  <a:pt x="14694" y="2343"/>
                </a:lnTo>
                <a:lnTo>
                  <a:pt x="14722" y="2329"/>
                </a:lnTo>
                <a:lnTo>
                  <a:pt x="14750" y="2315"/>
                </a:lnTo>
                <a:lnTo>
                  <a:pt x="14775" y="2302"/>
                </a:lnTo>
                <a:lnTo>
                  <a:pt x="14802" y="2288"/>
                </a:lnTo>
                <a:lnTo>
                  <a:pt x="14791" y="2300"/>
                </a:lnTo>
                <a:lnTo>
                  <a:pt x="14781" y="2310"/>
                </a:lnTo>
                <a:lnTo>
                  <a:pt x="14803" y="2307"/>
                </a:lnTo>
                <a:lnTo>
                  <a:pt x="14820" y="2304"/>
                </a:lnTo>
                <a:lnTo>
                  <a:pt x="14833" y="2297"/>
                </a:lnTo>
                <a:lnTo>
                  <a:pt x="14848" y="2284"/>
                </a:lnTo>
                <a:lnTo>
                  <a:pt x="14844" y="2279"/>
                </a:lnTo>
                <a:lnTo>
                  <a:pt x="14839" y="2277"/>
                </a:lnTo>
                <a:lnTo>
                  <a:pt x="14835" y="2274"/>
                </a:lnTo>
                <a:lnTo>
                  <a:pt x="14830" y="2274"/>
                </a:lnTo>
                <a:lnTo>
                  <a:pt x="15174" y="2025"/>
                </a:lnTo>
                <a:lnTo>
                  <a:pt x="15211" y="1830"/>
                </a:lnTo>
                <a:lnTo>
                  <a:pt x="15091" y="1653"/>
                </a:lnTo>
                <a:lnTo>
                  <a:pt x="14961" y="1454"/>
                </a:lnTo>
                <a:lnTo>
                  <a:pt x="14965" y="1448"/>
                </a:lnTo>
                <a:lnTo>
                  <a:pt x="14968" y="1440"/>
                </a:lnTo>
                <a:lnTo>
                  <a:pt x="14959" y="1447"/>
                </a:lnTo>
                <a:lnTo>
                  <a:pt x="14954" y="1432"/>
                </a:lnTo>
                <a:lnTo>
                  <a:pt x="14950" y="1416"/>
                </a:lnTo>
                <a:lnTo>
                  <a:pt x="14946" y="1400"/>
                </a:lnTo>
                <a:lnTo>
                  <a:pt x="14944" y="1384"/>
                </a:lnTo>
                <a:lnTo>
                  <a:pt x="14959" y="1398"/>
                </a:lnTo>
                <a:lnTo>
                  <a:pt x="14969" y="1382"/>
                </a:lnTo>
                <a:lnTo>
                  <a:pt x="14972" y="1354"/>
                </a:lnTo>
                <a:lnTo>
                  <a:pt x="14960" y="1335"/>
                </a:lnTo>
                <a:lnTo>
                  <a:pt x="14987" y="1304"/>
                </a:lnTo>
                <a:lnTo>
                  <a:pt x="15021" y="1279"/>
                </a:lnTo>
                <a:lnTo>
                  <a:pt x="15061" y="1255"/>
                </a:lnTo>
                <a:lnTo>
                  <a:pt x="15096" y="1228"/>
                </a:lnTo>
                <a:lnTo>
                  <a:pt x="15002" y="1271"/>
                </a:lnTo>
                <a:lnTo>
                  <a:pt x="14968" y="1295"/>
                </a:lnTo>
                <a:lnTo>
                  <a:pt x="14951" y="1303"/>
                </a:lnTo>
                <a:lnTo>
                  <a:pt x="14909" y="1298"/>
                </a:lnTo>
                <a:lnTo>
                  <a:pt x="14982" y="1219"/>
                </a:lnTo>
                <a:lnTo>
                  <a:pt x="15022" y="1171"/>
                </a:lnTo>
                <a:lnTo>
                  <a:pt x="15053" y="1125"/>
                </a:lnTo>
                <a:lnTo>
                  <a:pt x="15095" y="1061"/>
                </a:lnTo>
                <a:lnTo>
                  <a:pt x="14992" y="1107"/>
                </a:lnTo>
                <a:lnTo>
                  <a:pt x="14974" y="1097"/>
                </a:lnTo>
                <a:lnTo>
                  <a:pt x="14959" y="1069"/>
                </a:lnTo>
                <a:lnTo>
                  <a:pt x="14866" y="1057"/>
                </a:lnTo>
                <a:lnTo>
                  <a:pt x="14731" y="1061"/>
                </a:lnTo>
                <a:lnTo>
                  <a:pt x="14789" y="841"/>
                </a:lnTo>
                <a:lnTo>
                  <a:pt x="14888" y="538"/>
                </a:lnTo>
                <a:lnTo>
                  <a:pt x="14871" y="296"/>
                </a:lnTo>
                <a:lnTo>
                  <a:pt x="14695" y="338"/>
                </a:lnTo>
                <a:lnTo>
                  <a:pt x="14578" y="338"/>
                </a:lnTo>
                <a:lnTo>
                  <a:pt x="14484" y="357"/>
                </a:lnTo>
                <a:lnTo>
                  <a:pt x="14376" y="458"/>
                </a:lnTo>
                <a:lnTo>
                  <a:pt x="14360" y="437"/>
                </a:lnTo>
                <a:lnTo>
                  <a:pt x="14420" y="376"/>
                </a:lnTo>
                <a:lnTo>
                  <a:pt x="14469" y="313"/>
                </a:lnTo>
                <a:lnTo>
                  <a:pt x="14423" y="282"/>
                </a:lnTo>
                <a:lnTo>
                  <a:pt x="14539" y="201"/>
                </a:lnTo>
                <a:lnTo>
                  <a:pt x="14512" y="182"/>
                </a:lnTo>
                <a:lnTo>
                  <a:pt x="14486" y="168"/>
                </a:lnTo>
                <a:lnTo>
                  <a:pt x="14611" y="104"/>
                </a:lnTo>
                <a:lnTo>
                  <a:pt x="14370" y="174"/>
                </a:lnTo>
                <a:lnTo>
                  <a:pt x="14107" y="222"/>
                </a:lnTo>
                <a:lnTo>
                  <a:pt x="13794" y="320"/>
                </a:lnTo>
                <a:lnTo>
                  <a:pt x="13403" y="537"/>
                </a:lnTo>
                <a:lnTo>
                  <a:pt x="13185" y="645"/>
                </a:lnTo>
                <a:lnTo>
                  <a:pt x="12926" y="775"/>
                </a:lnTo>
                <a:lnTo>
                  <a:pt x="12776" y="809"/>
                </a:lnTo>
                <a:lnTo>
                  <a:pt x="12880" y="633"/>
                </a:lnTo>
                <a:lnTo>
                  <a:pt x="12840" y="618"/>
                </a:lnTo>
                <a:lnTo>
                  <a:pt x="12832" y="577"/>
                </a:lnTo>
                <a:lnTo>
                  <a:pt x="12837" y="532"/>
                </a:lnTo>
                <a:lnTo>
                  <a:pt x="12831" y="509"/>
                </a:lnTo>
                <a:lnTo>
                  <a:pt x="12845" y="477"/>
                </a:lnTo>
                <a:lnTo>
                  <a:pt x="12788" y="488"/>
                </a:lnTo>
                <a:lnTo>
                  <a:pt x="12756" y="474"/>
                </a:lnTo>
                <a:lnTo>
                  <a:pt x="12842" y="370"/>
                </a:lnTo>
                <a:lnTo>
                  <a:pt x="12726" y="397"/>
                </a:lnTo>
                <a:lnTo>
                  <a:pt x="12647" y="387"/>
                </a:lnTo>
                <a:lnTo>
                  <a:pt x="12628" y="325"/>
                </a:lnTo>
                <a:lnTo>
                  <a:pt x="12688" y="201"/>
                </a:lnTo>
                <a:lnTo>
                  <a:pt x="12595" y="264"/>
                </a:lnTo>
                <a:lnTo>
                  <a:pt x="12571" y="253"/>
                </a:lnTo>
                <a:lnTo>
                  <a:pt x="12574" y="196"/>
                </a:lnTo>
                <a:lnTo>
                  <a:pt x="12557" y="124"/>
                </a:lnTo>
                <a:lnTo>
                  <a:pt x="12502" y="68"/>
                </a:lnTo>
                <a:lnTo>
                  <a:pt x="12440" y="30"/>
                </a:lnTo>
                <a:lnTo>
                  <a:pt x="12370" y="7"/>
                </a:lnTo>
                <a:lnTo>
                  <a:pt x="12293" y="0"/>
                </a:lnTo>
                <a:lnTo>
                  <a:pt x="12021" y="56"/>
                </a:lnTo>
                <a:lnTo>
                  <a:pt x="11691" y="208"/>
                </a:lnTo>
                <a:lnTo>
                  <a:pt x="11306" y="426"/>
                </a:lnTo>
                <a:lnTo>
                  <a:pt x="10872" y="683"/>
                </a:lnTo>
                <a:lnTo>
                  <a:pt x="10862" y="714"/>
                </a:lnTo>
                <a:lnTo>
                  <a:pt x="10859" y="733"/>
                </a:lnTo>
                <a:lnTo>
                  <a:pt x="10853" y="751"/>
                </a:lnTo>
                <a:lnTo>
                  <a:pt x="10837" y="776"/>
                </a:lnTo>
                <a:lnTo>
                  <a:pt x="10881" y="745"/>
                </a:lnTo>
                <a:lnTo>
                  <a:pt x="10927" y="698"/>
                </a:lnTo>
                <a:lnTo>
                  <a:pt x="10956" y="674"/>
                </a:lnTo>
                <a:lnTo>
                  <a:pt x="10947" y="709"/>
                </a:lnTo>
                <a:lnTo>
                  <a:pt x="10867" y="785"/>
                </a:lnTo>
                <a:lnTo>
                  <a:pt x="10820" y="773"/>
                </a:lnTo>
                <a:lnTo>
                  <a:pt x="10783" y="745"/>
                </a:lnTo>
                <a:lnTo>
                  <a:pt x="10737" y="772"/>
                </a:lnTo>
                <a:lnTo>
                  <a:pt x="10668" y="787"/>
                </a:lnTo>
                <a:lnTo>
                  <a:pt x="10611" y="817"/>
                </a:lnTo>
                <a:lnTo>
                  <a:pt x="10549" y="841"/>
                </a:lnTo>
                <a:lnTo>
                  <a:pt x="10465" y="841"/>
                </a:lnTo>
                <a:lnTo>
                  <a:pt x="10405" y="883"/>
                </a:lnTo>
                <a:lnTo>
                  <a:pt x="10355" y="953"/>
                </a:lnTo>
                <a:lnTo>
                  <a:pt x="10328" y="995"/>
                </a:lnTo>
                <a:lnTo>
                  <a:pt x="10330" y="952"/>
                </a:lnTo>
                <a:lnTo>
                  <a:pt x="10335" y="948"/>
                </a:lnTo>
                <a:lnTo>
                  <a:pt x="10340" y="944"/>
                </a:lnTo>
                <a:lnTo>
                  <a:pt x="10344" y="939"/>
                </a:lnTo>
                <a:lnTo>
                  <a:pt x="10349" y="933"/>
                </a:lnTo>
                <a:lnTo>
                  <a:pt x="10344" y="931"/>
                </a:lnTo>
                <a:lnTo>
                  <a:pt x="10340" y="931"/>
                </a:lnTo>
                <a:lnTo>
                  <a:pt x="10336" y="931"/>
                </a:lnTo>
                <a:lnTo>
                  <a:pt x="10333" y="933"/>
                </a:lnTo>
                <a:lnTo>
                  <a:pt x="10336" y="920"/>
                </a:lnTo>
                <a:lnTo>
                  <a:pt x="10335" y="910"/>
                </a:lnTo>
                <a:lnTo>
                  <a:pt x="10270" y="940"/>
                </a:lnTo>
                <a:lnTo>
                  <a:pt x="10192" y="977"/>
                </a:lnTo>
                <a:lnTo>
                  <a:pt x="10153" y="987"/>
                </a:lnTo>
                <a:lnTo>
                  <a:pt x="10099" y="1012"/>
                </a:lnTo>
                <a:lnTo>
                  <a:pt x="10069" y="1040"/>
                </a:lnTo>
                <a:lnTo>
                  <a:pt x="10075" y="1055"/>
                </a:lnTo>
                <a:lnTo>
                  <a:pt x="10130" y="1040"/>
                </a:lnTo>
                <a:lnTo>
                  <a:pt x="10093" y="1090"/>
                </a:lnTo>
                <a:lnTo>
                  <a:pt x="10042" y="1124"/>
                </a:lnTo>
                <a:lnTo>
                  <a:pt x="10011" y="1124"/>
                </a:lnTo>
                <a:lnTo>
                  <a:pt x="10037" y="1075"/>
                </a:lnTo>
                <a:lnTo>
                  <a:pt x="9993" y="1013"/>
                </a:lnTo>
                <a:lnTo>
                  <a:pt x="9900" y="1018"/>
                </a:lnTo>
                <a:lnTo>
                  <a:pt x="9779" y="1065"/>
                </a:lnTo>
                <a:lnTo>
                  <a:pt x="9651" y="1132"/>
                </a:lnTo>
                <a:lnTo>
                  <a:pt x="9652" y="1127"/>
                </a:lnTo>
                <a:lnTo>
                  <a:pt x="9652" y="1122"/>
                </a:lnTo>
                <a:lnTo>
                  <a:pt x="9641" y="1130"/>
                </a:lnTo>
                <a:lnTo>
                  <a:pt x="9632" y="1135"/>
                </a:lnTo>
                <a:lnTo>
                  <a:pt x="9633" y="1138"/>
                </a:lnTo>
                <a:lnTo>
                  <a:pt x="9636" y="1140"/>
                </a:lnTo>
                <a:lnTo>
                  <a:pt x="9569" y="1176"/>
                </a:lnTo>
                <a:lnTo>
                  <a:pt x="9512" y="1204"/>
                </a:lnTo>
                <a:lnTo>
                  <a:pt x="9466" y="1220"/>
                </a:lnTo>
                <a:lnTo>
                  <a:pt x="9438" y="1220"/>
                </a:lnTo>
                <a:lnTo>
                  <a:pt x="9438" y="1188"/>
                </a:lnTo>
                <a:lnTo>
                  <a:pt x="9506" y="1150"/>
                </a:lnTo>
                <a:lnTo>
                  <a:pt x="9576" y="1113"/>
                </a:lnTo>
                <a:lnTo>
                  <a:pt x="9587" y="1082"/>
                </a:lnTo>
                <a:lnTo>
                  <a:pt x="9586" y="1059"/>
                </a:lnTo>
                <a:lnTo>
                  <a:pt x="9549" y="1074"/>
                </a:lnTo>
                <a:lnTo>
                  <a:pt x="9499" y="1098"/>
                </a:lnTo>
                <a:lnTo>
                  <a:pt x="9467" y="1107"/>
                </a:lnTo>
                <a:lnTo>
                  <a:pt x="9436" y="1111"/>
                </a:lnTo>
                <a:lnTo>
                  <a:pt x="9488" y="1068"/>
                </a:lnTo>
                <a:lnTo>
                  <a:pt x="9564" y="1014"/>
                </a:lnTo>
                <a:lnTo>
                  <a:pt x="9605" y="984"/>
                </a:lnTo>
                <a:lnTo>
                  <a:pt x="9624" y="999"/>
                </a:lnTo>
                <a:lnTo>
                  <a:pt x="9623" y="1037"/>
                </a:lnTo>
                <a:lnTo>
                  <a:pt x="9630" y="1065"/>
                </a:lnTo>
                <a:lnTo>
                  <a:pt x="9680" y="1052"/>
                </a:lnTo>
                <a:lnTo>
                  <a:pt x="9671" y="1027"/>
                </a:lnTo>
                <a:lnTo>
                  <a:pt x="9741" y="963"/>
                </a:lnTo>
                <a:lnTo>
                  <a:pt x="9786" y="912"/>
                </a:lnTo>
                <a:lnTo>
                  <a:pt x="9695" y="930"/>
                </a:lnTo>
                <a:lnTo>
                  <a:pt x="9587" y="957"/>
                </a:lnTo>
                <a:lnTo>
                  <a:pt x="9665" y="922"/>
                </a:lnTo>
                <a:lnTo>
                  <a:pt x="9796" y="861"/>
                </a:lnTo>
                <a:lnTo>
                  <a:pt x="9848" y="810"/>
                </a:lnTo>
                <a:lnTo>
                  <a:pt x="9767" y="860"/>
                </a:lnTo>
                <a:lnTo>
                  <a:pt x="9754" y="840"/>
                </a:lnTo>
                <a:lnTo>
                  <a:pt x="9760" y="805"/>
                </a:lnTo>
                <a:lnTo>
                  <a:pt x="9739" y="815"/>
                </a:lnTo>
                <a:lnTo>
                  <a:pt x="9711" y="824"/>
                </a:lnTo>
                <a:lnTo>
                  <a:pt x="9685" y="850"/>
                </a:lnTo>
                <a:lnTo>
                  <a:pt x="9660" y="878"/>
                </a:lnTo>
                <a:lnTo>
                  <a:pt x="9629" y="896"/>
                </a:lnTo>
                <a:lnTo>
                  <a:pt x="9638" y="846"/>
                </a:lnTo>
                <a:lnTo>
                  <a:pt x="9572" y="907"/>
                </a:lnTo>
                <a:lnTo>
                  <a:pt x="9480" y="987"/>
                </a:lnTo>
                <a:lnTo>
                  <a:pt x="9409" y="989"/>
                </a:lnTo>
                <a:lnTo>
                  <a:pt x="9550" y="896"/>
                </a:lnTo>
                <a:lnTo>
                  <a:pt x="9698" y="780"/>
                </a:lnTo>
                <a:lnTo>
                  <a:pt x="9739" y="717"/>
                </a:lnTo>
                <a:lnTo>
                  <a:pt x="9558" y="785"/>
                </a:lnTo>
                <a:lnTo>
                  <a:pt x="9594" y="735"/>
                </a:lnTo>
                <a:lnTo>
                  <a:pt x="9660" y="717"/>
                </a:lnTo>
                <a:lnTo>
                  <a:pt x="9726" y="705"/>
                </a:lnTo>
                <a:lnTo>
                  <a:pt x="9764" y="672"/>
                </a:lnTo>
                <a:lnTo>
                  <a:pt x="9693" y="695"/>
                </a:lnTo>
                <a:lnTo>
                  <a:pt x="9623" y="712"/>
                </a:lnTo>
                <a:lnTo>
                  <a:pt x="9559" y="724"/>
                </a:lnTo>
                <a:lnTo>
                  <a:pt x="9508" y="729"/>
                </a:lnTo>
                <a:lnTo>
                  <a:pt x="9511" y="724"/>
                </a:lnTo>
                <a:lnTo>
                  <a:pt x="9512" y="720"/>
                </a:lnTo>
                <a:lnTo>
                  <a:pt x="9511" y="716"/>
                </a:lnTo>
                <a:lnTo>
                  <a:pt x="9507" y="714"/>
                </a:lnTo>
                <a:lnTo>
                  <a:pt x="9504" y="721"/>
                </a:lnTo>
                <a:lnTo>
                  <a:pt x="9502" y="729"/>
                </a:lnTo>
                <a:lnTo>
                  <a:pt x="9467" y="721"/>
                </a:lnTo>
                <a:lnTo>
                  <a:pt x="9476" y="700"/>
                </a:lnTo>
                <a:lnTo>
                  <a:pt x="9543" y="659"/>
                </a:lnTo>
                <a:lnTo>
                  <a:pt x="9675" y="599"/>
                </a:lnTo>
                <a:lnTo>
                  <a:pt x="9557" y="614"/>
                </a:lnTo>
                <a:lnTo>
                  <a:pt x="9425" y="661"/>
                </a:lnTo>
                <a:lnTo>
                  <a:pt x="9335" y="678"/>
                </a:lnTo>
                <a:lnTo>
                  <a:pt x="9340" y="602"/>
                </a:lnTo>
                <a:lnTo>
                  <a:pt x="9250" y="630"/>
                </a:lnTo>
                <a:lnTo>
                  <a:pt x="9206" y="611"/>
                </a:lnTo>
                <a:lnTo>
                  <a:pt x="9220" y="563"/>
                </a:lnTo>
                <a:lnTo>
                  <a:pt x="9298" y="502"/>
                </a:lnTo>
                <a:lnTo>
                  <a:pt x="9335" y="478"/>
                </a:lnTo>
                <a:lnTo>
                  <a:pt x="9331" y="507"/>
                </a:lnTo>
                <a:lnTo>
                  <a:pt x="9322" y="543"/>
                </a:lnTo>
                <a:lnTo>
                  <a:pt x="9345" y="538"/>
                </a:lnTo>
                <a:lnTo>
                  <a:pt x="9347" y="515"/>
                </a:lnTo>
                <a:lnTo>
                  <a:pt x="9362" y="500"/>
                </a:lnTo>
                <a:lnTo>
                  <a:pt x="9382" y="497"/>
                </a:lnTo>
                <a:lnTo>
                  <a:pt x="9395" y="510"/>
                </a:lnTo>
                <a:lnTo>
                  <a:pt x="9008" y="539"/>
                </a:lnTo>
                <a:lnTo>
                  <a:pt x="8422" y="757"/>
                </a:lnTo>
                <a:lnTo>
                  <a:pt x="7790" y="1062"/>
                </a:lnTo>
                <a:lnTo>
                  <a:pt x="7268" y="1356"/>
                </a:lnTo>
                <a:lnTo>
                  <a:pt x="6882" y="1290"/>
                </a:lnTo>
                <a:lnTo>
                  <a:pt x="6582" y="1354"/>
                </a:lnTo>
                <a:lnTo>
                  <a:pt x="6254" y="1481"/>
                </a:lnTo>
                <a:lnTo>
                  <a:pt x="5785" y="1611"/>
                </a:lnTo>
                <a:lnTo>
                  <a:pt x="5849" y="1523"/>
                </a:lnTo>
                <a:lnTo>
                  <a:pt x="5972" y="1424"/>
                </a:lnTo>
                <a:lnTo>
                  <a:pt x="6135" y="1320"/>
                </a:lnTo>
                <a:lnTo>
                  <a:pt x="6322" y="1215"/>
                </a:lnTo>
                <a:lnTo>
                  <a:pt x="6321" y="1219"/>
                </a:lnTo>
                <a:lnTo>
                  <a:pt x="6322" y="1225"/>
                </a:lnTo>
                <a:lnTo>
                  <a:pt x="6321" y="1225"/>
                </a:lnTo>
                <a:lnTo>
                  <a:pt x="6321" y="1227"/>
                </a:lnTo>
                <a:lnTo>
                  <a:pt x="6321" y="1227"/>
                </a:lnTo>
                <a:lnTo>
                  <a:pt x="6322" y="1227"/>
                </a:lnTo>
                <a:lnTo>
                  <a:pt x="6318" y="1227"/>
                </a:lnTo>
                <a:lnTo>
                  <a:pt x="6319" y="1228"/>
                </a:lnTo>
                <a:lnTo>
                  <a:pt x="6321" y="1228"/>
                </a:lnTo>
                <a:lnTo>
                  <a:pt x="6322" y="1225"/>
                </a:lnTo>
                <a:lnTo>
                  <a:pt x="6326" y="1223"/>
                </a:lnTo>
                <a:lnTo>
                  <a:pt x="6328" y="1219"/>
                </a:lnTo>
                <a:lnTo>
                  <a:pt x="6330" y="1215"/>
                </a:lnTo>
                <a:lnTo>
                  <a:pt x="6330" y="1211"/>
                </a:lnTo>
                <a:lnTo>
                  <a:pt x="6715" y="1014"/>
                </a:lnTo>
                <a:lnTo>
                  <a:pt x="6991" y="870"/>
                </a:lnTo>
                <a:lnTo>
                  <a:pt x="7012" y="819"/>
                </a:lnTo>
                <a:lnTo>
                  <a:pt x="6644" y="897"/>
                </a:lnTo>
                <a:lnTo>
                  <a:pt x="6903" y="770"/>
                </a:lnTo>
                <a:lnTo>
                  <a:pt x="6829" y="768"/>
                </a:lnTo>
                <a:lnTo>
                  <a:pt x="6574" y="843"/>
                </a:lnTo>
                <a:lnTo>
                  <a:pt x="6290" y="950"/>
                </a:lnTo>
                <a:lnTo>
                  <a:pt x="6305" y="913"/>
                </a:lnTo>
                <a:lnTo>
                  <a:pt x="6270" y="903"/>
                </a:lnTo>
                <a:lnTo>
                  <a:pt x="6232" y="903"/>
                </a:lnTo>
                <a:lnTo>
                  <a:pt x="6237" y="896"/>
                </a:lnTo>
                <a:lnTo>
                  <a:pt x="6345" y="840"/>
                </a:lnTo>
                <a:lnTo>
                  <a:pt x="6471" y="785"/>
                </a:lnTo>
                <a:lnTo>
                  <a:pt x="6524" y="742"/>
                </a:lnTo>
                <a:lnTo>
                  <a:pt x="6419" y="724"/>
                </a:lnTo>
                <a:lnTo>
                  <a:pt x="5965" y="827"/>
                </a:lnTo>
                <a:lnTo>
                  <a:pt x="5834" y="850"/>
                </a:lnTo>
                <a:lnTo>
                  <a:pt x="6006" y="786"/>
                </a:lnTo>
                <a:lnTo>
                  <a:pt x="6458" y="633"/>
                </a:lnTo>
                <a:lnTo>
                  <a:pt x="5332" y="646"/>
                </a:lnTo>
                <a:lnTo>
                  <a:pt x="3693" y="1229"/>
                </a:lnTo>
                <a:lnTo>
                  <a:pt x="1930" y="2204"/>
                </a:lnTo>
                <a:lnTo>
                  <a:pt x="428" y="3392"/>
                </a:lnTo>
                <a:lnTo>
                  <a:pt x="182" y="3685"/>
                </a:lnTo>
                <a:lnTo>
                  <a:pt x="191" y="4060"/>
                </a:lnTo>
                <a:lnTo>
                  <a:pt x="398" y="4291"/>
                </a:lnTo>
                <a:lnTo>
                  <a:pt x="743" y="4151"/>
                </a:lnTo>
                <a:lnTo>
                  <a:pt x="1311" y="3458"/>
                </a:lnTo>
                <a:lnTo>
                  <a:pt x="2261" y="2679"/>
                </a:lnTo>
                <a:lnTo>
                  <a:pt x="3057" y="2135"/>
                </a:lnTo>
                <a:lnTo>
                  <a:pt x="3164" y="2148"/>
                </a:lnTo>
                <a:lnTo>
                  <a:pt x="2254" y="2920"/>
                </a:lnTo>
                <a:lnTo>
                  <a:pt x="962" y="4184"/>
                </a:lnTo>
                <a:lnTo>
                  <a:pt x="79" y="5393"/>
                </a:lnTo>
                <a:lnTo>
                  <a:pt x="399" y="6001"/>
                </a:lnTo>
                <a:lnTo>
                  <a:pt x="553" y="5911"/>
                </a:lnTo>
                <a:lnTo>
                  <a:pt x="549" y="5991"/>
                </a:lnTo>
                <a:lnTo>
                  <a:pt x="538" y="6076"/>
                </a:lnTo>
                <a:lnTo>
                  <a:pt x="668" y="6000"/>
                </a:lnTo>
                <a:lnTo>
                  <a:pt x="568" y="6083"/>
                </a:lnTo>
                <a:lnTo>
                  <a:pt x="417" y="6157"/>
                </a:lnTo>
                <a:lnTo>
                  <a:pt x="277" y="6234"/>
                </a:lnTo>
                <a:lnTo>
                  <a:pt x="213" y="6327"/>
                </a:lnTo>
                <a:lnTo>
                  <a:pt x="254" y="6308"/>
                </a:lnTo>
                <a:lnTo>
                  <a:pt x="314" y="6283"/>
                </a:lnTo>
                <a:lnTo>
                  <a:pt x="345" y="6276"/>
                </a:lnTo>
                <a:lnTo>
                  <a:pt x="308" y="6313"/>
                </a:lnTo>
                <a:lnTo>
                  <a:pt x="251" y="6353"/>
                </a:lnTo>
                <a:lnTo>
                  <a:pt x="210" y="6376"/>
                </a:lnTo>
                <a:lnTo>
                  <a:pt x="170" y="6400"/>
                </a:lnTo>
                <a:lnTo>
                  <a:pt x="107" y="6439"/>
                </a:lnTo>
                <a:lnTo>
                  <a:pt x="143" y="6437"/>
                </a:lnTo>
                <a:lnTo>
                  <a:pt x="170" y="6418"/>
                </a:lnTo>
                <a:lnTo>
                  <a:pt x="181" y="6420"/>
                </a:lnTo>
                <a:lnTo>
                  <a:pt x="170" y="6477"/>
                </a:lnTo>
                <a:lnTo>
                  <a:pt x="116" y="6470"/>
                </a:lnTo>
                <a:lnTo>
                  <a:pt x="91" y="6489"/>
                </a:lnTo>
                <a:lnTo>
                  <a:pt x="63" y="6530"/>
                </a:lnTo>
                <a:lnTo>
                  <a:pt x="0" y="6583"/>
                </a:lnTo>
                <a:lnTo>
                  <a:pt x="75" y="6541"/>
                </a:lnTo>
                <a:lnTo>
                  <a:pt x="148" y="6530"/>
                </a:lnTo>
                <a:lnTo>
                  <a:pt x="186" y="6554"/>
                </a:lnTo>
                <a:lnTo>
                  <a:pt x="162" y="6617"/>
                </a:lnTo>
                <a:lnTo>
                  <a:pt x="142" y="6629"/>
                </a:lnTo>
                <a:lnTo>
                  <a:pt x="166" y="6626"/>
                </a:lnTo>
                <a:lnTo>
                  <a:pt x="212" y="6609"/>
                </a:lnTo>
                <a:lnTo>
                  <a:pt x="258" y="6575"/>
                </a:lnTo>
                <a:lnTo>
                  <a:pt x="209" y="6549"/>
                </a:lnTo>
                <a:lnTo>
                  <a:pt x="212" y="6519"/>
                </a:lnTo>
                <a:lnTo>
                  <a:pt x="238" y="6498"/>
                </a:lnTo>
                <a:lnTo>
                  <a:pt x="259" y="6494"/>
                </a:lnTo>
                <a:lnTo>
                  <a:pt x="296" y="6581"/>
                </a:lnTo>
                <a:lnTo>
                  <a:pt x="414" y="6574"/>
                </a:lnTo>
                <a:lnTo>
                  <a:pt x="568" y="6525"/>
                </a:lnTo>
                <a:lnTo>
                  <a:pt x="713" y="6483"/>
                </a:lnTo>
                <a:lnTo>
                  <a:pt x="724" y="6480"/>
                </a:lnTo>
                <a:lnTo>
                  <a:pt x="757" y="6421"/>
                </a:lnTo>
                <a:lnTo>
                  <a:pt x="806" y="6351"/>
                </a:lnTo>
                <a:lnTo>
                  <a:pt x="870" y="6316"/>
                </a:lnTo>
                <a:lnTo>
                  <a:pt x="904" y="6325"/>
                </a:lnTo>
                <a:lnTo>
                  <a:pt x="977" y="6267"/>
                </a:lnTo>
                <a:lnTo>
                  <a:pt x="1039" y="6241"/>
                </a:lnTo>
                <a:lnTo>
                  <a:pt x="1037" y="6337"/>
                </a:lnTo>
                <a:lnTo>
                  <a:pt x="1047" y="6337"/>
                </a:lnTo>
                <a:lnTo>
                  <a:pt x="1056" y="6335"/>
                </a:lnTo>
                <a:lnTo>
                  <a:pt x="1064" y="6331"/>
                </a:lnTo>
                <a:lnTo>
                  <a:pt x="1069" y="6327"/>
                </a:lnTo>
                <a:lnTo>
                  <a:pt x="1070" y="6328"/>
                </a:lnTo>
                <a:lnTo>
                  <a:pt x="1071" y="6330"/>
                </a:lnTo>
                <a:lnTo>
                  <a:pt x="1075" y="6327"/>
                </a:lnTo>
                <a:lnTo>
                  <a:pt x="1080" y="6323"/>
                </a:lnTo>
                <a:lnTo>
                  <a:pt x="1084" y="6321"/>
                </a:lnTo>
                <a:lnTo>
                  <a:pt x="1081" y="6317"/>
                </a:lnTo>
                <a:lnTo>
                  <a:pt x="1079" y="6318"/>
                </a:lnTo>
                <a:lnTo>
                  <a:pt x="1075" y="6321"/>
                </a:lnTo>
                <a:lnTo>
                  <a:pt x="1088" y="6292"/>
                </a:lnTo>
                <a:lnTo>
                  <a:pt x="1094" y="6256"/>
                </a:lnTo>
                <a:lnTo>
                  <a:pt x="1104" y="6223"/>
                </a:lnTo>
                <a:lnTo>
                  <a:pt x="1127" y="6201"/>
                </a:lnTo>
                <a:lnTo>
                  <a:pt x="1155" y="6173"/>
                </a:lnTo>
                <a:lnTo>
                  <a:pt x="1084" y="6197"/>
                </a:lnTo>
                <a:lnTo>
                  <a:pt x="978" y="6230"/>
                </a:lnTo>
                <a:lnTo>
                  <a:pt x="906" y="6234"/>
                </a:lnTo>
                <a:lnTo>
                  <a:pt x="1010" y="6192"/>
                </a:lnTo>
                <a:lnTo>
                  <a:pt x="1067" y="6152"/>
                </a:lnTo>
                <a:lnTo>
                  <a:pt x="1097" y="6101"/>
                </a:lnTo>
                <a:lnTo>
                  <a:pt x="1117" y="6029"/>
                </a:lnTo>
                <a:lnTo>
                  <a:pt x="1125" y="6036"/>
                </a:lnTo>
                <a:lnTo>
                  <a:pt x="1131" y="6038"/>
                </a:lnTo>
                <a:lnTo>
                  <a:pt x="1140" y="6038"/>
                </a:lnTo>
                <a:lnTo>
                  <a:pt x="1150" y="6034"/>
                </a:lnTo>
                <a:lnTo>
                  <a:pt x="1143" y="6026"/>
                </a:lnTo>
                <a:lnTo>
                  <a:pt x="1136" y="6020"/>
                </a:lnTo>
                <a:lnTo>
                  <a:pt x="1129" y="6018"/>
                </a:lnTo>
                <a:lnTo>
                  <a:pt x="1120" y="6018"/>
                </a:lnTo>
                <a:lnTo>
                  <a:pt x="1126" y="5994"/>
                </a:lnTo>
                <a:lnTo>
                  <a:pt x="1134" y="5967"/>
                </a:lnTo>
                <a:lnTo>
                  <a:pt x="1143" y="5936"/>
                </a:lnTo>
                <a:lnTo>
                  <a:pt x="1154" y="5903"/>
                </a:lnTo>
                <a:lnTo>
                  <a:pt x="1169" y="5943"/>
                </a:lnTo>
                <a:lnTo>
                  <a:pt x="1185" y="5934"/>
                </a:lnTo>
                <a:lnTo>
                  <a:pt x="1204" y="5906"/>
                </a:lnTo>
                <a:lnTo>
                  <a:pt x="1229" y="5891"/>
                </a:lnTo>
                <a:lnTo>
                  <a:pt x="1222" y="5931"/>
                </a:lnTo>
                <a:lnTo>
                  <a:pt x="1243" y="5910"/>
                </a:lnTo>
                <a:lnTo>
                  <a:pt x="1266" y="5888"/>
                </a:lnTo>
                <a:lnTo>
                  <a:pt x="1260" y="5922"/>
                </a:lnTo>
                <a:lnTo>
                  <a:pt x="1271" y="5944"/>
                </a:lnTo>
                <a:lnTo>
                  <a:pt x="1253" y="5959"/>
                </a:lnTo>
                <a:lnTo>
                  <a:pt x="1224" y="5976"/>
                </a:lnTo>
                <a:lnTo>
                  <a:pt x="1199" y="5999"/>
                </a:lnTo>
                <a:lnTo>
                  <a:pt x="1227" y="5989"/>
                </a:lnTo>
                <a:lnTo>
                  <a:pt x="1239" y="5990"/>
                </a:lnTo>
                <a:lnTo>
                  <a:pt x="1236" y="5998"/>
                </a:lnTo>
                <a:lnTo>
                  <a:pt x="1214" y="6003"/>
                </a:lnTo>
                <a:lnTo>
                  <a:pt x="1265" y="6070"/>
                </a:lnTo>
                <a:lnTo>
                  <a:pt x="1230" y="6152"/>
                </a:lnTo>
                <a:lnTo>
                  <a:pt x="1171" y="6244"/>
                </a:lnTo>
                <a:lnTo>
                  <a:pt x="1146" y="6346"/>
                </a:lnTo>
                <a:lnTo>
                  <a:pt x="1186" y="6337"/>
                </a:lnTo>
                <a:lnTo>
                  <a:pt x="1195" y="6339"/>
                </a:lnTo>
                <a:lnTo>
                  <a:pt x="1180" y="6348"/>
                </a:lnTo>
                <a:lnTo>
                  <a:pt x="1144" y="6365"/>
                </a:lnTo>
                <a:close/>
                <a:moveTo>
                  <a:pt x="936" y="6775"/>
                </a:moveTo>
                <a:lnTo>
                  <a:pt x="934" y="6771"/>
                </a:lnTo>
                <a:lnTo>
                  <a:pt x="932" y="6770"/>
                </a:lnTo>
                <a:lnTo>
                  <a:pt x="930" y="6771"/>
                </a:lnTo>
                <a:lnTo>
                  <a:pt x="927" y="6774"/>
                </a:lnTo>
                <a:lnTo>
                  <a:pt x="927" y="6777"/>
                </a:lnTo>
                <a:lnTo>
                  <a:pt x="930" y="6777"/>
                </a:lnTo>
                <a:lnTo>
                  <a:pt x="932" y="6777"/>
                </a:lnTo>
                <a:lnTo>
                  <a:pt x="936" y="6775"/>
                </a:lnTo>
                <a:close/>
                <a:moveTo>
                  <a:pt x="785" y="6693"/>
                </a:moveTo>
                <a:lnTo>
                  <a:pt x="785" y="6693"/>
                </a:lnTo>
                <a:lnTo>
                  <a:pt x="786" y="6691"/>
                </a:lnTo>
                <a:lnTo>
                  <a:pt x="785" y="6691"/>
                </a:lnTo>
                <a:lnTo>
                  <a:pt x="785" y="6693"/>
                </a:lnTo>
                <a:lnTo>
                  <a:pt x="780" y="6691"/>
                </a:lnTo>
                <a:lnTo>
                  <a:pt x="775" y="6690"/>
                </a:lnTo>
                <a:lnTo>
                  <a:pt x="771" y="6690"/>
                </a:lnTo>
                <a:lnTo>
                  <a:pt x="767" y="6694"/>
                </a:lnTo>
                <a:lnTo>
                  <a:pt x="768" y="6701"/>
                </a:lnTo>
                <a:lnTo>
                  <a:pt x="775" y="6703"/>
                </a:lnTo>
                <a:lnTo>
                  <a:pt x="781" y="6699"/>
                </a:lnTo>
                <a:lnTo>
                  <a:pt x="785" y="6693"/>
                </a:lnTo>
                <a:close/>
                <a:moveTo>
                  <a:pt x="1096" y="6619"/>
                </a:moveTo>
                <a:lnTo>
                  <a:pt x="1112" y="6610"/>
                </a:lnTo>
                <a:lnTo>
                  <a:pt x="1125" y="6605"/>
                </a:lnTo>
                <a:lnTo>
                  <a:pt x="1116" y="6602"/>
                </a:lnTo>
                <a:lnTo>
                  <a:pt x="1110" y="6603"/>
                </a:lnTo>
                <a:lnTo>
                  <a:pt x="1102" y="6609"/>
                </a:lnTo>
                <a:lnTo>
                  <a:pt x="1096" y="6619"/>
                </a:lnTo>
                <a:close/>
                <a:moveTo>
                  <a:pt x="1308" y="7474"/>
                </a:moveTo>
                <a:lnTo>
                  <a:pt x="1326" y="7480"/>
                </a:lnTo>
                <a:lnTo>
                  <a:pt x="1346" y="7478"/>
                </a:lnTo>
                <a:lnTo>
                  <a:pt x="1368" y="7469"/>
                </a:lnTo>
                <a:lnTo>
                  <a:pt x="1392" y="7452"/>
                </a:lnTo>
                <a:lnTo>
                  <a:pt x="1372" y="7459"/>
                </a:lnTo>
                <a:lnTo>
                  <a:pt x="1350" y="7464"/>
                </a:lnTo>
                <a:lnTo>
                  <a:pt x="1330" y="7469"/>
                </a:lnTo>
                <a:lnTo>
                  <a:pt x="1308" y="7474"/>
                </a:lnTo>
                <a:close/>
                <a:moveTo>
                  <a:pt x="1052" y="5497"/>
                </a:moveTo>
                <a:lnTo>
                  <a:pt x="1080" y="5478"/>
                </a:lnTo>
                <a:lnTo>
                  <a:pt x="1069" y="5476"/>
                </a:lnTo>
                <a:lnTo>
                  <a:pt x="1039" y="5487"/>
                </a:lnTo>
                <a:lnTo>
                  <a:pt x="1011" y="5511"/>
                </a:lnTo>
                <a:lnTo>
                  <a:pt x="992" y="5521"/>
                </a:lnTo>
                <a:lnTo>
                  <a:pt x="1009" y="5527"/>
                </a:lnTo>
                <a:lnTo>
                  <a:pt x="1037" y="5520"/>
                </a:lnTo>
                <a:lnTo>
                  <a:pt x="1052" y="5497"/>
                </a:lnTo>
                <a:close/>
                <a:moveTo>
                  <a:pt x="996" y="5537"/>
                </a:moveTo>
                <a:lnTo>
                  <a:pt x="996" y="5537"/>
                </a:lnTo>
                <a:lnTo>
                  <a:pt x="995" y="5537"/>
                </a:lnTo>
                <a:lnTo>
                  <a:pt x="996" y="5538"/>
                </a:lnTo>
                <a:lnTo>
                  <a:pt x="996" y="5537"/>
                </a:lnTo>
                <a:close/>
                <a:moveTo>
                  <a:pt x="783" y="6631"/>
                </a:moveTo>
                <a:lnTo>
                  <a:pt x="783" y="6631"/>
                </a:lnTo>
                <a:lnTo>
                  <a:pt x="786" y="6630"/>
                </a:lnTo>
                <a:lnTo>
                  <a:pt x="785" y="6631"/>
                </a:lnTo>
                <a:lnTo>
                  <a:pt x="783" y="6631"/>
                </a:lnTo>
                <a:close/>
                <a:moveTo>
                  <a:pt x="780" y="6631"/>
                </a:moveTo>
                <a:lnTo>
                  <a:pt x="761" y="6649"/>
                </a:lnTo>
                <a:lnTo>
                  <a:pt x="762" y="6666"/>
                </a:lnTo>
                <a:lnTo>
                  <a:pt x="775" y="6672"/>
                </a:lnTo>
                <a:lnTo>
                  <a:pt x="795" y="6654"/>
                </a:lnTo>
                <a:lnTo>
                  <a:pt x="820" y="6619"/>
                </a:lnTo>
                <a:lnTo>
                  <a:pt x="818" y="6595"/>
                </a:lnTo>
                <a:lnTo>
                  <a:pt x="800" y="6593"/>
                </a:lnTo>
                <a:lnTo>
                  <a:pt x="780" y="6631"/>
                </a:lnTo>
                <a:close/>
                <a:moveTo>
                  <a:pt x="1260" y="5922"/>
                </a:moveTo>
                <a:lnTo>
                  <a:pt x="1259" y="5922"/>
                </a:lnTo>
                <a:lnTo>
                  <a:pt x="1260" y="5924"/>
                </a:lnTo>
                <a:lnTo>
                  <a:pt x="1260" y="5922"/>
                </a:lnTo>
                <a:lnTo>
                  <a:pt x="1260" y="5922"/>
                </a:lnTo>
                <a:close/>
                <a:moveTo>
                  <a:pt x="697" y="7463"/>
                </a:moveTo>
                <a:lnTo>
                  <a:pt x="703" y="7459"/>
                </a:lnTo>
                <a:lnTo>
                  <a:pt x="697" y="7463"/>
                </a:lnTo>
                <a:lnTo>
                  <a:pt x="705" y="7461"/>
                </a:lnTo>
                <a:lnTo>
                  <a:pt x="697" y="7463"/>
                </a:lnTo>
                <a:close/>
                <a:moveTo>
                  <a:pt x="904" y="5633"/>
                </a:moveTo>
                <a:lnTo>
                  <a:pt x="903" y="5631"/>
                </a:lnTo>
                <a:lnTo>
                  <a:pt x="902" y="5630"/>
                </a:lnTo>
                <a:lnTo>
                  <a:pt x="894" y="5635"/>
                </a:lnTo>
                <a:lnTo>
                  <a:pt x="893" y="5637"/>
                </a:lnTo>
                <a:lnTo>
                  <a:pt x="898" y="5637"/>
                </a:lnTo>
                <a:lnTo>
                  <a:pt x="904" y="5633"/>
                </a:lnTo>
                <a:close/>
                <a:moveTo>
                  <a:pt x="2838" y="7969"/>
                </a:moveTo>
                <a:lnTo>
                  <a:pt x="2834" y="7972"/>
                </a:lnTo>
                <a:lnTo>
                  <a:pt x="2829" y="7974"/>
                </a:lnTo>
                <a:lnTo>
                  <a:pt x="2826" y="7977"/>
                </a:lnTo>
                <a:lnTo>
                  <a:pt x="2825" y="7979"/>
                </a:lnTo>
                <a:lnTo>
                  <a:pt x="2829" y="7977"/>
                </a:lnTo>
                <a:lnTo>
                  <a:pt x="2834" y="7976"/>
                </a:lnTo>
                <a:lnTo>
                  <a:pt x="2838" y="7973"/>
                </a:lnTo>
                <a:lnTo>
                  <a:pt x="2838" y="7969"/>
                </a:lnTo>
                <a:close/>
                <a:moveTo>
                  <a:pt x="1097" y="6185"/>
                </a:moveTo>
                <a:lnTo>
                  <a:pt x="1106" y="6178"/>
                </a:lnTo>
                <a:lnTo>
                  <a:pt x="1116" y="6169"/>
                </a:lnTo>
                <a:lnTo>
                  <a:pt x="1106" y="6169"/>
                </a:lnTo>
                <a:lnTo>
                  <a:pt x="1099" y="6172"/>
                </a:lnTo>
                <a:lnTo>
                  <a:pt x="1097" y="6178"/>
                </a:lnTo>
                <a:lnTo>
                  <a:pt x="1097" y="6185"/>
                </a:lnTo>
                <a:lnTo>
                  <a:pt x="1096" y="6185"/>
                </a:lnTo>
                <a:lnTo>
                  <a:pt x="1096" y="6185"/>
                </a:lnTo>
                <a:lnTo>
                  <a:pt x="1097" y="6185"/>
                </a:lnTo>
                <a:lnTo>
                  <a:pt x="1097" y="6185"/>
                </a:lnTo>
                <a:close/>
                <a:moveTo>
                  <a:pt x="1110" y="8044"/>
                </a:moveTo>
                <a:lnTo>
                  <a:pt x="1103" y="8046"/>
                </a:lnTo>
                <a:lnTo>
                  <a:pt x="1097" y="8047"/>
                </a:lnTo>
                <a:lnTo>
                  <a:pt x="1093" y="8049"/>
                </a:lnTo>
                <a:lnTo>
                  <a:pt x="1093" y="8055"/>
                </a:lnTo>
                <a:lnTo>
                  <a:pt x="1099" y="8053"/>
                </a:lnTo>
                <a:lnTo>
                  <a:pt x="1106" y="8052"/>
                </a:lnTo>
                <a:lnTo>
                  <a:pt x="1110" y="8049"/>
                </a:lnTo>
                <a:lnTo>
                  <a:pt x="1110" y="8044"/>
                </a:lnTo>
                <a:close/>
                <a:moveTo>
                  <a:pt x="1108" y="8182"/>
                </a:moveTo>
                <a:lnTo>
                  <a:pt x="1116" y="8177"/>
                </a:lnTo>
                <a:lnTo>
                  <a:pt x="1129" y="8168"/>
                </a:lnTo>
                <a:lnTo>
                  <a:pt x="1118" y="8170"/>
                </a:lnTo>
                <a:lnTo>
                  <a:pt x="1111" y="8173"/>
                </a:lnTo>
                <a:lnTo>
                  <a:pt x="1106" y="8175"/>
                </a:lnTo>
                <a:lnTo>
                  <a:pt x="1108" y="8182"/>
                </a:lnTo>
                <a:close/>
                <a:moveTo>
                  <a:pt x="1056" y="8084"/>
                </a:moveTo>
                <a:lnTo>
                  <a:pt x="1064" y="8081"/>
                </a:lnTo>
                <a:lnTo>
                  <a:pt x="1056" y="8084"/>
                </a:lnTo>
                <a:lnTo>
                  <a:pt x="1060" y="8089"/>
                </a:lnTo>
                <a:lnTo>
                  <a:pt x="1067" y="8089"/>
                </a:lnTo>
                <a:lnTo>
                  <a:pt x="1069" y="8086"/>
                </a:lnTo>
                <a:lnTo>
                  <a:pt x="1056" y="8084"/>
                </a:lnTo>
                <a:close/>
                <a:moveTo>
                  <a:pt x="947" y="7929"/>
                </a:moveTo>
                <a:lnTo>
                  <a:pt x="940" y="7932"/>
                </a:lnTo>
                <a:lnTo>
                  <a:pt x="931" y="7937"/>
                </a:lnTo>
                <a:lnTo>
                  <a:pt x="941" y="7936"/>
                </a:lnTo>
                <a:lnTo>
                  <a:pt x="950" y="7932"/>
                </a:lnTo>
                <a:lnTo>
                  <a:pt x="954" y="7930"/>
                </a:lnTo>
                <a:lnTo>
                  <a:pt x="947" y="7929"/>
                </a:lnTo>
                <a:close/>
                <a:moveTo>
                  <a:pt x="2763" y="8136"/>
                </a:moveTo>
                <a:lnTo>
                  <a:pt x="2755" y="8139"/>
                </a:lnTo>
                <a:lnTo>
                  <a:pt x="2749" y="8141"/>
                </a:lnTo>
                <a:lnTo>
                  <a:pt x="2743" y="8145"/>
                </a:lnTo>
                <a:lnTo>
                  <a:pt x="2745" y="8151"/>
                </a:lnTo>
                <a:lnTo>
                  <a:pt x="2752" y="8149"/>
                </a:lnTo>
                <a:lnTo>
                  <a:pt x="2760" y="8146"/>
                </a:lnTo>
                <a:lnTo>
                  <a:pt x="2764" y="8142"/>
                </a:lnTo>
                <a:lnTo>
                  <a:pt x="2763" y="8136"/>
                </a:lnTo>
                <a:close/>
                <a:moveTo>
                  <a:pt x="1126" y="8019"/>
                </a:moveTo>
                <a:lnTo>
                  <a:pt x="1118" y="8021"/>
                </a:lnTo>
                <a:lnTo>
                  <a:pt x="1110" y="8024"/>
                </a:lnTo>
                <a:lnTo>
                  <a:pt x="1103" y="8028"/>
                </a:lnTo>
                <a:lnTo>
                  <a:pt x="1103" y="8034"/>
                </a:lnTo>
                <a:lnTo>
                  <a:pt x="1111" y="8032"/>
                </a:lnTo>
                <a:lnTo>
                  <a:pt x="1120" y="8029"/>
                </a:lnTo>
                <a:lnTo>
                  <a:pt x="1127" y="8025"/>
                </a:lnTo>
                <a:lnTo>
                  <a:pt x="1126" y="8019"/>
                </a:lnTo>
                <a:close/>
                <a:moveTo>
                  <a:pt x="2709" y="4854"/>
                </a:moveTo>
                <a:lnTo>
                  <a:pt x="2717" y="4851"/>
                </a:lnTo>
                <a:lnTo>
                  <a:pt x="2719" y="4846"/>
                </a:lnTo>
                <a:lnTo>
                  <a:pt x="2718" y="4840"/>
                </a:lnTo>
                <a:lnTo>
                  <a:pt x="2712" y="4834"/>
                </a:lnTo>
                <a:lnTo>
                  <a:pt x="2710" y="4844"/>
                </a:lnTo>
                <a:lnTo>
                  <a:pt x="2709" y="4854"/>
                </a:lnTo>
                <a:close/>
                <a:moveTo>
                  <a:pt x="971" y="6731"/>
                </a:moveTo>
                <a:lnTo>
                  <a:pt x="983" y="6724"/>
                </a:lnTo>
                <a:lnTo>
                  <a:pt x="996" y="6718"/>
                </a:lnTo>
                <a:lnTo>
                  <a:pt x="986" y="6713"/>
                </a:lnTo>
                <a:lnTo>
                  <a:pt x="978" y="6714"/>
                </a:lnTo>
                <a:lnTo>
                  <a:pt x="975" y="6721"/>
                </a:lnTo>
                <a:lnTo>
                  <a:pt x="971" y="6731"/>
                </a:lnTo>
                <a:close/>
                <a:moveTo>
                  <a:pt x="906" y="6768"/>
                </a:moveTo>
                <a:lnTo>
                  <a:pt x="912" y="6755"/>
                </a:lnTo>
                <a:lnTo>
                  <a:pt x="918" y="6743"/>
                </a:lnTo>
                <a:lnTo>
                  <a:pt x="911" y="6750"/>
                </a:lnTo>
                <a:lnTo>
                  <a:pt x="907" y="6754"/>
                </a:lnTo>
                <a:lnTo>
                  <a:pt x="906" y="6759"/>
                </a:lnTo>
                <a:lnTo>
                  <a:pt x="906" y="6768"/>
                </a:lnTo>
                <a:close/>
                <a:moveTo>
                  <a:pt x="1188" y="8140"/>
                </a:moveTo>
                <a:lnTo>
                  <a:pt x="1199" y="8141"/>
                </a:lnTo>
                <a:lnTo>
                  <a:pt x="1206" y="8140"/>
                </a:lnTo>
                <a:lnTo>
                  <a:pt x="1213" y="8136"/>
                </a:lnTo>
                <a:lnTo>
                  <a:pt x="1222" y="8127"/>
                </a:lnTo>
                <a:lnTo>
                  <a:pt x="1202" y="8135"/>
                </a:lnTo>
                <a:lnTo>
                  <a:pt x="1188" y="8140"/>
                </a:lnTo>
                <a:close/>
                <a:moveTo>
                  <a:pt x="745" y="7466"/>
                </a:moveTo>
                <a:lnTo>
                  <a:pt x="749" y="7447"/>
                </a:lnTo>
                <a:lnTo>
                  <a:pt x="753" y="7433"/>
                </a:lnTo>
                <a:lnTo>
                  <a:pt x="744" y="7440"/>
                </a:lnTo>
                <a:lnTo>
                  <a:pt x="738" y="7446"/>
                </a:lnTo>
                <a:lnTo>
                  <a:pt x="738" y="7455"/>
                </a:lnTo>
                <a:lnTo>
                  <a:pt x="745" y="7466"/>
                </a:lnTo>
                <a:close/>
                <a:moveTo>
                  <a:pt x="379" y="6078"/>
                </a:moveTo>
                <a:lnTo>
                  <a:pt x="368" y="6082"/>
                </a:lnTo>
                <a:lnTo>
                  <a:pt x="356" y="6088"/>
                </a:lnTo>
                <a:lnTo>
                  <a:pt x="367" y="6090"/>
                </a:lnTo>
                <a:lnTo>
                  <a:pt x="375" y="6090"/>
                </a:lnTo>
                <a:lnTo>
                  <a:pt x="377" y="6087"/>
                </a:lnTo>
                <a:lnTo>
                  <a:pt x="379" y="6078"/>
                </a:lnTo>
                <a:close/>
                <a:moveTo>
                  <a:pt x="778" y="7427"/>
                </a:moveTo>
                <a:lnTo>
                  <a:pt x="794" y="7418"/>
                </a:lnTo>
                <a:lnTo>
                  <a:pt x="809" y="7408"/>
                </a:lnTo>
                <a:lnTo>
                  <a:pt x="796" y="7409"/>
                </a:lnTo>
                <a:lnTo>
                  <a:pt x="790" y="7412"/>
                </a:lnTo>
                <a:lnTo>
                  <a:pt x="785" y="7417"/>
                </a:lnTo>
                <a:lnTo>
                  <a:pt x="778" y="7427"/>
                </a:lnTo>
                <a:close/>
                <a:moveTo>
                  <a:pt x="1069" y="8029"/>
                </a:moveTo>
                <a:lnTo>
                  <a:pt x="1065" y="8037"/>
                </a:lnTo>
                <a:lnTo>
                  <a:pt x="1061" y="8049"/>
                </a:lnTo>
                <a:lnTo>
                  <a:pt x="1076" y="8043"/>
                </a:lnTo>
                <a:lnTo>
                  <a:pt x="1084" y="8035"/>
                </a:lnTo>
                <a:lnTo>
                  <a:pt x="1081" y="8030"/>
                </a:lnTo>
                <a:lnTo>
                  <a:pt x="1069" y="8029"/>
                </a:lnTo>
                <a:close/>
                <a:moveTo>
                  <a:pt x="803" y="6382"/>
                </a:moveTo>
                <a:lnTo>
                  <a:pt x="813" y="6378"/>
                </a:lnTo>
                <a:lnTo>
                  <a:pt x="823" y="6376"/>
                </a:lnTo>
                <a:lnTo>
                  <a:pt x="833" y="6372"/>
                </a:lnTo>
                <a:lnTo>
                  <a:pt x="842" y="6369"/>
                </a:lnTo>
                <a:lnTo>
                  <a:pt x="834" y="6364"/>
                </a:lnTo>
                <a:lnTo>
                  <a:pt x="822" y="6367"/>
                </a:lnTo>
                <a:lnTo>
                  <a:pt x="809" y="6374"/>
                </a:lnTo>
                <a:lnTo>
                  <a:pt x="803" y="6382"/>
                </a:lnTo>
                <a:close/>
                <a:moveTo>
                  <a:pt x="873" y="7175"/>
                </a:moveTo>
                <a:lnTo>
                  <a:pt x="873" y="7162"/>
                </a:lnTo>
                <a:lnTo>
                  <a:pt x="866" y="7157"/>
                </a:lnTo>
                <a:lnTo>
                  <a:pt x="855" y="7161"/>
                </a:lnTo>
                <a:lnTo>
                  <a:pt x="845" y="7172"/>
                </a:lnTo>
                <a:lnTo>
                  <a:pt x="861" y="7174"/>
                </a:lnTo>
                <a:lnTo>
                  <a:pt x="873" y="7175"/>
                </a:lnTo>
                <a:close/>
                <a:moveTo>
                  <a:pt x="864" y="7153"/>
                </a:moveTo>
                <a:lnTo>
                  <a:pt x="864" y="7153"/>
                </a:lnTo>
                <a:lnTo>
                  <a:pt x="864" y="7153"/>
                </a:lnTo>
                <a:lnTo>
                  <a:pt x="864" y="7153"/>
                </a:lnTo>
                <a:lnTo>
                  <a:pt x="864" y="7153"/>
                </a:lnTo>
                <a:close/>
                <a:moveTo>
                  <a:pt x="661" y="7500"/>
                </a:moveTo>
                <a:lnTo>
                  <a:pt x="671" y="7494"/>
                </a:lnTo>
                <a:lnTo>
                  <a:pt x="674" y="7494"/>
                </a:lnTo>
                <a:lnTo>
                  <a:pt x="669" y="7496"/>
                </a:lnTo>
                <a:lnTo>
                  <a:pt x="661" y="7500"/>
                </a:lnTo>
                <a:lnTo>
                  <a:pt x="666" y="7506"/>
                </a:lnTo>
                <a:lnTo>
                  <a:pt x="675" y="7503"/>
                </a:lnTo>
                <a:lnTo>
                  <a:pt x="678" y="7500"/>
                </a:lnTo>
                <a:lnTo>
                  <a:pt x="661" y="7500"/>
                </a:lnTo>
                <a:close/>
                <a:moveTo>
                  <a:pt x="955" y="7260"/>
                </a:moveTo>
                <a:lnTo>
                  <a:pt x="957" y="7260"/>
                </a:lnTo>
                <a:lnTo>
                  <a:pt x="957" y="7260"/>
                </a:lnTo>
                <a:lnTo>
                  <a:pt x="955" y="7260"/>
                </a:lnTo>
                <a:lnTo>
                  <a:pt x="955" y="7260"/>
                </a:lnTo>
                <a:lnTo>
                  <a:pt x="943" y="7259"/>
                </a:lnTo>
                <a:lnTo>
                  <a:pt x="931" y="7263"/>
                </a:lnTo>
                <a:lnTo>
                  <a:pt x="922" y="7270"/>
                </a:lnTo>
                <a:lnTo>
                  <a:pt x="913" y="7279"/>
                </a:lnTo>
                <a:lnTo>
                  <a:pt x="924" y="7276"/>
                </a:lnTo>
                <a:lnTo>
                  <a:pt x="934" y="7270"/>
                </a:lnTo>
                <a:lnTo>
                  <a:pt x="944" y="7265"/>
                </a:lnTo>
                <a:lnTo>
                  <a:pt x="955" y="7260"/>
                </a:lnTo>
                <a:close/>
                <a:moveTo>
                  <a:pt x="1110" y="6328"/>
                </a:moveTo>
                <a:lnTo>
                  <a:pt x="1113" y="6314"/>
                </a:lnTo>
                <a:lnTo>
                  <a:pt x="1117" y="6302"/>
                </a:lnTo>
                <a:lnTo>
                  <a:pt x="1121" y="6289"/>
                </a:lnTo>
                <a:lnTo>
                  <a:pt x="1124" y="6276"/>
                </a:lnTo>
                <a:lnTo>
                  <a:pt x="1106" y="6289"/>
                </a:lnTo>
                <a:lnTo>
                  <a:pt x="1098" y="6299"/>
                </a:lnTo>
                <a:lnTo>
                  <a:pt x="1099" y="6311"/>
                </a:lnTo>
                <a:lnTo>
                  <a:pt x="1110" y="6328"/>
                </a:lnTo>
                <a:close/>
                <a:moveTo>
                  <a:pt x="1084" y="7999"/>
                </a:moveTo>
                <a:lnTo>
                  <a:pt x="1053" y="8013"/>
                </a:lnTo>
                <a:lnTo>
                  <a:pt x="1064" y="8013"/>
                </a:lnTo>
                <a:lnTo>
                  <a:pt x="1096" y="8002"/>
                </a:lnTo>
                <a:lnTo>
                  <a:pt x="1131" y="7990"/>
                </a:lnTo>
                <a:lnTo>
                  <a:pt x="1116" y="7986"/>
                </a:lnTo>
                <a:lnTo>
                  <a:pt x="1103" y="7986"/>
                </a:lnTo>
                <a:lnTo>
                  <a:pt x="1094" y="7991"/>
                </a:lnTo>
                <a:lnTo>
                  <a:pt x="1084" y="7999"/>
                </a:lnTo>
                <a:close/>
                <a:moveTo>
                  <a:pt x="2701" y="4807"/>
                </a:moveTo>
                <a:lnTo>
                  <a:pt x="2722" y="4795"/>
                </a:lnTo>
                <a:lnTo>
                  <a:pt x="2738" y="4783"/>
                </a:lnTo>
                <a:lnTo>
                  <a:pt x="2731" y="4782"/>
                </a:lnTo>
                <a:lnTo>
                  <a:pt x="2723" y="4783"/>
                </a:lnTo>
                <a:lnTo>
                  <a:pt x="2843" y="4675"/>
                </a:lnTo>
                <a:lnTo>
                  <a:pt x="2960" y="4591"/>
                </a:lnTo>
                <a:lnTo>
                  <a:pt x="3001" y="4582"/>
                </a:lnTo>
                <a:lnTo>
                  <a:pt x="2891" y="4699"/>
                </a:lnTo>
                <a:lnTo>
                  <a:pt x="2797" y="4790"/>
                </a:lnTo>
                <a:lnTo>
                  <a:pt x="2678" y="4904"/>
                </a:lnTo>
                <a:lnTo>
                  <a:pt x="2612" y="4956"/>
                </a:lnTo>
                <a:lnTo>
                  <a:pt x="2675" y="4856"/>
                </a:lnTo>
                <a:lnTo>
                  <a:pt x="2678" y="4846"/>
                </a:lnTo>
                <a:lnTo>
                  <a:pt x="2684" y="4834"/>
                </a:lnTo>
                <a:lnTo>
                  <a:pt x="2691" y="4821"/>
                </a:lnTo>
                <a:lnTo>
                  <a:pt x="2701" y="4807"/>
                </a:lnTo>
                <a:close/>
                <a:moveTo>
                  <a:pt x="1223" y="6521"/>
                </a:moveTo>
                <a:lnTo>
                  <a:pt x="1206" y="6535"/>
                </a:lnTo>
                <a:lnTo>
                  <a:pt x="1186" y="6549"/>
                </a:lnTo>
                <a:lnTo>
                  <a:pt x="1168" y="6561"/>
                </a:lnTo>
                <a:lnTo>
                  <a:pt x="1160" y="6574"/>
                </a:lnTo>
                <a:lnTo>
                  <a:pt x="1180" y="6561"/>
                </a:lnTo>
                <a:lnTo>
                  <a:pt x="1201" y="6549"/>
                </a:lnTo>
                <a:lnTo>
                  <a:pt x="1218" y="6536"/>
                </a:lnTo>
                <a:lnTo>
                  <a:pt x="1223" y="6521"/>
                </a:lnTo>
                <a:close/>
                <a:moveTo>
                  <a:pt x="958" y="6965"/>
                </a:moveTo>
                <a:lnTo>
                  <a:pt x="939" y="6961"/>
                </a:lnTo>
                <a:lnTo>
                  <a:pt x="920" y="6964"/>
                </a:lnTo>
                <a:lnTo>
                  <a:pt x="906" y="6974"/>
                </a:lnTo>
                <a:lnTo>
                  <a:pt x="901" y="6992"/>
                </a:lnTo>
                <a:lnTo>
                  <a:pt x="922" y="6984"/>
                </a:lnTo>
                <a:lnTo>
                  <a:pt x="941" y="6987"/>
                </a:lnTo>
                <a:lnTo>
                  <a:pt x="955" y="6985"/>
                </a:lnTo>
                <a:lnTo>
                  <a:pt x="958" y="6965"/>
                </a:lnTo>
                <a:close/>
                <a:moveTo>
                  <a:pt x="939" y="7104"/>
                </a:moveTo>
                <a:lnTo>
                  <a:pt x="904" y="7111"/>
                </a:lnTo>
                <a:lnTo>
                  <a:pt x="875" y="7120"/>
                </a:lnTo>
                <a:lnTo>
                  <a:pt x="860" y="7134"/>
                </a:lnTo>
                <a:lnTo>
                  <a:pt x="864" y="7153"/>
                </a:lnTo>
                <a:lnTo>
                  <a:pt x="883" y="7141"/>
                </a:lnTo>
                <a:lnTo>
                  <a:pt x="903" y="7132"/>
                </a:lnTo>
                <a:lnTo>
                  <a:pt x="922" y="7120"/>
                </a:lnTo>
                <a:lnTo>
                  <a:pt x="939" y="7104"/>
                </a:lnTo>
                <a:close/>
                <a:moveTo>
                  <a:pt x="325" y="6155"/>
                </a:moveTo>
                <a:lnTo>
                  <a:pt x="300" y="6176"/>
                </a:lnTo>
                <a:lnTo>
                  <a:pt x="381" y="6139"/>
                </a:lnTo>
                <a:lnTo>
                  <a:pt x="460" y="6097"/>
                </a:lnTo>
                <a:lnTo>
                  <a:pt x="423" y="6099"/>
                </a:lnTo>
                <a:lnTo>
                  <a:pt x="395" y="6107"/>
                </a:lnTo>
                <a:lnTo>
                  <a:pt x="371" y="6122"/>
                </a:lnTo>
                <a:lnTo>
                  <a:pt x="349" y="6140"/>
                </a:lnTo>
                <a:lnTo>
                  <a:pt x="325" y="6155"/>
                </a:lnTo>
                <a:close/>
                <a:moveTo>
                  <a:pt x="5804" y="8015"/>
                </a:moveTo>
                <a:lnTo>
                  <a:pt x="5805" y="8014"/>
                </a:lnTo>
                <a:lnTo>
                  <a:pt x="5805" y="8013"/>
                </a:lnTo>
                <a:lnTo>
                  <a:pt x="5804" y="8014"/>
                </a:lnTo>
                <a:lnTo>
                  <a:pt x="5804" y="8015"/>
                </a:lnTo>
                <a:close/>
                <a:moveTo>
                  <a:pt x="5806" y="8013"/>
                </a:moveTo>
                <a:lnTo>
                  <a:pt x="5807" y="8011"/>
                </a:lnTo>
                <a:lnTo>
                  <a:pt x="5807" y="8011"/>
                </a:lnTo>
                <a:lnTo>
                  <a:pt x="5807" y="8011"/>
                </a:lnTo>
                <a:lnTo>
                  <a:pt x="5806" y="8013"/>
                </a:lnTo>
                <a:close/>
                <a:moveTo>
                  <a:pt x="5807" y="8011"/>
                </a:moveTo>
                <a:lnTo>
                  <a:pt x="5816" y="8010"/>
                </a:lnTo>
                <a:lnTo>
                  <a:pt x="5825" y="8007"/>
                </a:lnTo>
                <a:lnTo>
                  <a:pt x="5832" y="8001"/>
                </a:lnTo>
                <a:lnTo>
                  <a:pt x="5838" y="7992"/>
                </a:lnTo>
                <a:lnTo>
                  <a:pt x="5821" y="7991"/>
                </a:lnTo>
                <a:lnTo>
                  <a:pt x="5806" y="7992"/>
                </a:lnTo>
                <a:lnTo>
                  <a:pt x="5799" y="7999"/>
                </a:lnTo>
                <a:lnTo>
                  <a:pt x="5807" y="8011"/>
                </a:lnTo>
                <a:close/>
                <a:moveTo>
                  <a:pt x="5992" y="7899"/>
                </a:moveTo>
                <a:lnTo>
                  <a:pt x="5990" y="7895"/>
                </a:lnTo>
                <a:lnTo>
                  <a:pt x="5986" y="7897"/>
                </a:lnTo>
                <a:lnTo>
                  <a:pt x="5982" y="7899"/>
                </a:lnTo>
                <a:lnTo>
                  <a:pt x="5984" y="7903"/>
                </a:lnTo>
                <a:lnTo>
                  <a:pt x="5988" y="7902"/>
                </a:lnTo>
                <a:lnTo>
                  <a:pt x="5992" y="7899"/>
                </a:lnTo>
                <a:close/>
                <a:moveTo>
                  <a:pt x="5712" y="8085"/>
                </a:moveTo>
                <a:lnTo>
                  <a:pt x="5712" y="8102"/>
                </a:lnTo>
                <a:lnTo>
                  <a:pt x="5712" y="8118"/>
                </a:lnTo>
                <a:lnTo>
                  <a:pt x="5721" y="8109"/>
                </a:lnTo>
                <a:lnTo>
                  <a:pt x="5723" y="8102"/>
                </a:lnTo>
                <a:lnTo>
                  <a:pt x="5721" y="8094"/>
                </a:lnTo>
                <a:lnTo>
                  <a:pt x="5712" y="8085"/>
                </a:lnTo>
                <a:close/>
                <a:moveTo>
                  <a:pt x="14724" y="2029"/>
                </a:moveTo>
                <a:lnTo>
                  <a:pt x="14723" y="2029"/>
                </a:lnTo>
                <a:lnTo>
                  <a:pt x="14722" y="2030"/>
                </a:lnTo>
                <a:lnTo>
                  <a:pt x="14723" y="2030"/>
                </a:lnTo>
                <a:lnTo>
                  <a:pt x="14724" y="2029"/>
                </a:lnTo>
                <a:close/>
                <a:moveTo>
                  <a:pt x="14824" y="1971"/>
                </a:moveTo>
                <a:lnTo>
                  <a:pt x="14829" y="1971"/>
                </a:lnTo>
                <a:lnTo>
                  <a:pt x="14831" y="1970"/>
                </a:lnTo>
                <a:lnTo>
                  <a:pt x="14754" y="2027"/>
                </a:lnTo>
                <a:lnTo>
                  <a:pt x="14688" y="2048"/>
                </a:lnTo>
                <a:lnTo>
                  <a:pt x="14672" y="2029"/>
                </a:lnTo>
                <a:lnTo>
                  <a:pt x="14751" y="1967"/>
                </a:lnTo>
                <a:lnTo>
                  <a:pt x="14745" y="1983"/>
                </a:lnTo>
                <a:lnTo>
                  <a:pt x="14773" y="1971"/>
                </a:lnTo>
                <a:lnTo>
                  <a:pt x="14815" y="1953"/>
                </a:lnTo>
                <a:lnTo>
                  <a:pt x="14848" y="1951"/>
                </a:lnTo>
                <a:lnTo>
                  <a:pt x="14844" y="1956"/>
                </a:lnTo>
                <a:lnTo>
                  <a:pt x="14840" y="1961"/>
                </a:lnTo>
                <a:lnTo>
                  <a:pt x="14835" y="1961"/>
                </a:lnTo>
                <a:lnTo>
                  <a:pt x="14830" y="1964"/>
                </a:lnTo>
                <a:lnTo>
                  <a:pt x="14826" y="1966"/>
                </a:lnTo>
                <a:lnTo>
                  <a:pt x="14824" y="1971"/>
                </a:lnTo>
                <a:close/>
                <a:moveTo>
                  <a:pt x="14770" y="1984"/>
                </a:moveTo>
                <a:lnTo>
                  <a:pt x="14755" y="1994"/>
                </a:lnTo>
                <a:lnTo>
                  <a:pt x="14736" y="2003"/>
                </a:lnTo>
                <a:lnTo>
                  <a:pt x="14722" y="2015"/>
                </a:lnTo>
                <a:lnTo>
                  <a:pt x="14723" y="2029"/>
                </a:lnTo>
                <a:lnTo>
                  <a:pt x="14737" y="2018"/>
                </a:lnTo>
                <a:lnTo>
                  <a:pt x="14750" y="2008"/>
                </a:lnTo>
                <a:lnTo>
                  <a:pt x="14761" y="1998"/>
                </a:lnTo>
                <a:lnTo>
                  <a:pt x="14770" y="1984"/>
                </a:lnTo>
                <a:lnTo>
                  <a:pt x="14772" y="1984"/>
                </a:lnTo>
                <a:lnTo>
                  <a:pt x="14772" y="1984"/>
                </a:lnTo>
                <a:lnTo>
                  <a:pt x="14772" y="1983"/>
                </a:lnTo>
                <a:lnTo>
                  <a:pt x="14770" y="1984"/>
                </a:lnTo>
                <a:close/>
                <a:moveTo>
                  <a:pt x="15182" y="3000"/>
                </a:moveTo>
                <a:lnTo>
                  <a:pt x="15184" y="3000"/>
                </a:lnTo>
                <a:lnTo>
                  <a:pt x="15187" y="3000"/>
                </a:lnTo>
                <a:lnTo>
                  <a:pt x="15188" y="2999"/>
                </a:lnTo>
                <a:lnTo>
                  <a:pt x="15187" y="2996"/>
                </a:lnTo>
                <a:lnTo>
                  <a:pt x="15184" y="2996"/>
                </a:lnTo>
                <a:lnTo>
                  <a:pt x="15183" y="2996"/>
                </a:lnTo>
                <a:lnTo>
                  <a:pt x="15182" y="2997"/>
                </a:lnTo>
                <a:lnTo>
                  <a:pt x="15182" y="3000"/>
                </a:lnTo>
                <a:close/>
                <a:moveTo>
                  <a:pt x="15310" y="1990"/>
                </a:moveTo>
                <a:lnTo>
                  <a:pt x="15309" y="1993"/>
                </a:lnTo>
                <a:lnTo>
                  <a:pt x="15310" y="1993"/>
                </a:lnTo>
                <a:lnTo>
                  <a:pt x="15312" y="1992"/>
                </a:lnTo>
                <a:lnTo>
                  <a:pt x="15312" y="1992"/>
                </a:lnTo>
                <a:lnTo>
                  <a:pt x="15310" y="1990"/>
                </a:lnTo>
                <a:close/>
                <a:moveTo>
                  <a:pt x="14945" y="2853"/>
                </a:moveTo>
                <a:lnTo>
                  <a:pt x="14944" y="2855"/>
                </a:lnTo>
                <a:lnTo>
                  <a:pt x="14942" y="2856"/>
                </a:lnTo>
                <a:lnTo>
                  <a:pt x="14944" y="2856"/>
                </a:lnTo>
                <a:lnTo>
                  <a:pt x="14946" y="2857"/>
                </a:lnTo>
                <a:lnTo>
                  <a:pt x="14945" y="2853"/>
                </a:lnTo>
                <a:close/>
                <a:moveTo>
                  <a:pt x="14904" y="2035"/>
                </a:moveTo>
                <a:lnTo>
                  <a:pt x="14896" y="2037"/>
                </a:lnTo>
                <a:lnTo>
                  <a:pt x="14889" y="2040"/>
                </a:lnTo>
                <a:lnTo>
                  <a:pt x="14896" y="2039"/>
                </a:lnTo>
                <a:lnTo>
                  <a:pt x="14904" y="2035"/>
                </a:lnTo>
                <a:close/>
                <a:moveTo>
                  <a:pt x="15248" y="3491"/>
                </a:moveTo>
                <a:lnTo>
                  <a:pt x="15244" y="3492"/>
                </a:lnTo>
                <a:lnTo>
                  <a:pt x="15242" y="3494"/>
                </a:lnTo>
                <a:lnTo>
                  <a:pt x="15245" y="3492"/>
                </a:lnTo>
                <a:lnTo>
                  <a:pt x="15248" y="3491"/>
                </a:lnTo>
                <a:close/>
                <a:moveTo>
                  <a:pt x="15037" y="3383"/>
                </a:moveTo>
                <a:lnTo>
                  <a:pt x="15035" y="3380"/>
                </a:lnTo>
                <a:lnTo>
                  <a:pt x="15033" y="3378"/>
                </a:lnTo>
                <a:lnTo>
                  <a:pt x="15034" y="3380"/>
                </a:lnTo>
                <a:lnTo>
                  <a:pt x="15037" y="3383"/>
                </a:lnTo>
                <a:close/>
                <a:moveTo>
                  <a:pt x="15354" y="3422"/>
                </a:moveTo>
                <a:lnTo>
                  <a:pt x="15352" y="3422"/>
                </a:lnTo>
                <a:lnTo>
                  <a:pt x="15352" y="3422"/>
                </a:lnTo>
                <a:lnTo>
                  <a:pt x="15352" y="3422"/>
                </a:lnTo>
                <a:lnTo>
                  <a:pt x="15352" y="3422"/>
                </a:lnTo>
                <a:lnTo>
                  <a:pt x="15352" y="3422"/>
                </a:lnTo>
                <a:lnTo>
                  <a:pt x="15342" y="3425"/>
                </a:lnTo>
                <a:lnTo>
                  <a:pt x="15335" y="3428"/>
                </a:lnTo>
                <a:lnTo>
                  <a:pt x="15329" y="3435"/>
                </a:lnTo>
                <a:lnTo>
                  <a:pt x="15328" y="3448"/>
                </a:lnTo>
                <a:lnTo>
                  <a:pt x="15341" y="3447"/>
                </a:lnTo>
                <a:lnTo>
                  <a:pt x="15349" y="3443"/>
                </a:lnTo>
                <a:lnTo>
                  <a:pt x="15354" y="3435"/>
                </a:lnTo>
                <a:lnTo>
                  <a:pt x="15352" y="3422"/>
                </a:lnTo>
                <a:lnTo>
                  <a:pt x="15352" y="3422"/>
                </a:lnTo>
                <a:lnTo>
                  <a:pt x="15354" y="3422"/>
                </a:lnTo>
                <a:close/>
                <a:moveTo>
                  <a:pt x="15356" y="3410"/>
                </a:moveTo>
                <a:lnTo>
                  <a:pt x="15351" y="3410"/>
                </a:lnTo>
                <a:lnTo>
                  <a:pt x="15349" y="3412"/>
                </a:lnTo>
                <a:lnTo>
                  <a:pt x="15350" y="3417"/>
                </a:lnTo>
                <a:lnTo>
                  <a:pt x="15352" y="3422"/>
                </a:lnTo>
                <a:lnTo>
                  <a:pt x="15355" y="3420"/>
                </a:lnTo>
                <a:lnTo>
                  <a:pt x="15356" y="3416"/>
                </a:lnTo>
                <a:lnTo>
                  <a:pt x="15356" y="3412"/>
                </a:lnTo>
                <a:lnTo>
                  <a:pt x="15356" y="3410"/>
                </a:lnTo>
                <a:close/>
                <a:moveTo>
                  <a:pt x="15222" y="3482"/>
                </a:moveTo>
                <a:lnTo>
                  <a:pt x="15229" y="3486"/>
                </a:lnTo>
                <a:lnTo>
                  <a:pt x="15230" y="3486"/>
                </a:lnTo>
                <a:lnTo>
                  <a:pt x="15226" y="3485"/>
                </a:lnTo>
                <a:lnTo>
                  <a:pt x="15222" y="3482"/>
                </a:lnTo>
                <a:lnTo>
                  <a:pt x="15225" y="3490"/>
                </a:lnTo>
                <a:lnTo>
                  <a:pt x="15228" y="3495"/>
                </a:lnTo>
                <a:lnTo>
                  <a:pt x="15226" y="3495"/>
                </a:lnTo>
                <a:lnTo>
                  <a:pt x="15222" y="3482"/>
                </a:lnTo>
                <a:close/>
                <a:moveTo>
                  <a:pt x="15222" y="3482"/>
                </a:moveTo>
                <a:lnTo>
                  <a:pt x="15222" y="3481"/>
                </a:lnTo>
                <a:lnTo>
                  <a:pt x="15221" y="3482"/>
                </a:lnTo>
                <a:lnTo>
                  <a:pt x="15222" y="3482"/>
                </a:lnTo>
                <a:lnTo>
                  <a:pt x="15222" y="3482"/>
                </a:lnTo>
                <a:close/>
                <a:moveTo>
                  <a:pt x="15231" y="3501"/>
                </a:moveTo>
                <a:lnTo>
                  <a:pt x="15231" y="3501"/>
                </a:lnTo>
                <a:lnTo>
                  <a:pt x="15230" y="3501"/>
                </a:lnTo>
                <a:lnTo>
                  <a:pt x="15231" y="3501"/>
                </a:lnTo>
                <a:close/>
                <a:moveTo>
                  <a:pt x="15278" y="3360"/>
                </a:moveTo>
                <a:lnTo>
                  <a:pt x="15277" y="3359"/>
                </a:lnTo>
                <a:lnTo>
                  <a:pt x="15278" y="3360"/>
                </a:lnTo>
                <a:lnTo>
                  <a:pt x="15280" y="3357"/>
                </a:lnTo>
                <a:lnTo>
                  <a:pt x="15278" y="3360"/>
                </a:lnTo>
                <a:close/>
                <a:moveTo>
                  <a:pt x="15035" y="3498"/>
                </a:moveTo>
                <a:lnTo>
                  <a:pt x="15037" y="3498"/>
                </a:lnTo>
                <a:lnTo>
                  <a:pt x="15035" y="3498"/>
                </a:lnTo>
                <a:lnTo>
                  <a:pt x="15038" y="3499"/>
                </a:lnTo>
                <a:lnTo>
                  <a:pt x="15039" y="3499"/>
                </a:lnTo>
                <a:lnTo>
                  <a:pt x="15038" y="3499"/>
                </a:lnTo>
                <a:lnTo>
                  <a:pt x="15035" y="3498"/>
                </a:lnTo>
                <a:close/>
                <a:moveTo>
                  <a:pt x="14996" y="3504"/>
                </a:moveTo>
                <a:lnTo>
                  <a:pt x="14997" y="3504"/>
                </a:lnTo>
                <a:lnTo>
                  <a:pt x="14997" y="3504"/>
                </a:lnTo>
                <a:lnTo>
                  <a:pt x="14997" y="3504"/>
                </a:lnTo>
                <a:lnTo>
                  <a:pt x="14996" y="3504"/>
                </a:lnTo>
                <a:lnTo>
                  <a:pt x="14997" y="3505"/>
                </a:lnTo>
                <a:lnTo>
                  <a:pt x="14998" y="3506"/>
                </a:lnTo>
                <a:lnTo>
                  <a:pt x="14997" y="3505"/>
                </a:lnTo>
                <a:lnTo>
                  <a:pt x="14996" y="3504"/>
                </a:lnTo>
                <a:close/>
                <a:moveTo>
                  <a:pt x="15327" y="3128"/>
                </a:moveTo>
                <a:lnTo>
                  <a:pt x="15326" y="3127"/>
                </a:lnTo>
                <a:lnTo>
                  <a:pt x="15324" y="3128"/>
                </a:lnTo>
                <a:lnTo>
                  <a:pt x="15324" y="3128"/>
                </a:lnTo>
                <a:lnTo>
                  <a:pt x="15326" y="3131"/>
                </a:lnTo>
                <a:lnTo>
                  <a:pt x="15327" y="3128"/>
                </a:lnTo>
                <a:close/>
                <a:moveTo>
                  <a:pt x="15233" y="3193"/>
                </a:moveTo>
                <a:lnTo>
                  <a:pt x="15231" y="3196"/>
                </a:lnTo>
                <a:lnTo>
                  <a:pt x="15233" y="3197"/>
                </a:lnTo>
                <a:lnTo>
                  <a:pt x="15235" y="3197"/>
                </a:lnTo>
                <a:lnTo>
                  <a:pt x="15238" y="3197"/>
                </a:lnTo>
                <a:lnTo>
                  <a:pt x="15239" y="3195"/>
                </a:lnTo>
                <a:lnTo>
                  <a:pt x="15238" y="3193"/>
                </a:lnTo>
                <a:lnTo>
                  <a:pt x="15235" y="3193"/>
                </a:lnTo>
                <a:lnTo>
                  <a:pt x="15233" y="3193"/>
                </a:lnTo>
                <a:close/>
                <a:moveTo>
                  <a:pt x="15091" y="3247"/>
                </a:moveTo>
                <a:lnTo>
                  <a:pt x="15093" y="3245"/>
                </a:lnTo>
                <a:lnTo>
                  <a:pt x="15093" y="3244"/>
                </a:lnTo>
                <a:lnTo>
                  <a:pt x="15093" y="3243"/>
                </a:lnTo>
                <a:lnTo>
                  <a:pt x="15091" y="3242"/>
                </a:lnTo>
                <a:lnTo>
                  <a:pt x="15089" y="3243"/>
                </a:lnTo>
                <a:lnTo>
                  <a:pt x="15089" y="3244"/>
                </a:lnTo>
                <a:lnTo>
                  <a:pt x="15090" y="3245"/>
                </a:lnTo>
                <a:lnTo>
                  <a:pt x="15091" y="3247"/>
                </a:lnTo>
                <a:close/>
                <a:moveTo>
                  <a:pt x="15145" y="3167"/>
                </a:moveTo>
                <a:lnTo>
                  <a:pt x="15142" y="3167"/>
                </a:lnTo>
                <a:lnTo>
                  <a:pt x="15141" y="3168"/>
                </a:lnTo>
                <a:lnTo>
                  <a:pt x="15142" y="3169"/>
                </a:lnTo>
                <a:lnTo>
                  <a:pt x="15142" y="3172"/>
                </a:lnTo>
                <a:lnTo>
                  <a:pt x="15145" y="3172"/>
                </a:lnTo>
                <a:lnTo>
                  <a:pt x="15145" y="3170"/>
                </a:lnTo>
                <a:lnTo>
                  <a:pt x="15146" y="3169"/>
                </a:lnTo>
                <a:lnTo>
                  <a:pt x="15145" y="3167"/>
                </a:lnTo>
                <a:close/>
                <a:moveTo>
                  <a:pt x="15166" y="2981"/>
                </a:moveTo>
                <a:lnTo>
                  <a:pt x="15165" y="2981"/>
                </a:lnTo>
                <a:lnTo>
                  <a:pt x="15164" y="2981"/>
                </a:lnTo>
                <a:lnTo>
                  <a:pt x="15165" y="2982"/>
                </a:lnTo>
                <a:lnTo>
                  <a:pt x="15166" y="2981"/>
                </a:lnTo>
                <a:close/>
                <a:moveTo>
                  <a:pt x="15177" y="2973"/>
                </a:moveTo>
                <a:lnTo>
                  <a:pt x="15177" y="2976"/>
                </a:lnTo>
                <a:lnTo>
                  <a:pt x="15177" y="2973"/>
                </a:lnTo>
                <a:lnTo>
                  <a:pt x="15170" y="2977"/>
                </a:lnTo>
                <a:lnTo>
                  <a:pt x="15169" y="2978"/>
                </a:lnTo>
                <a:lnTo>
                  <a:pt x="15170" y="2977"/>
                </a:lnTo>
                <a:lnTo>
                  <a:pt x="15177" y="2973"/>
                </a:lnTo>
                <a:close/>
                <a:moveTo>
                  <a:pt x="14941" y="2707"/>
                </a:moveTo>
                <a:lnTo>
                  <a:pt x="14945" y="2707"/>
                </a:lnTo>
                <a:lnTo>
                  <a:pt x="14947" y="2706"/>
                </a:lnTo>
                <a:lnTo>
                  <a:pt x="14950" y="2703"/>
                </a:lnTo>
                <a:lnTo>
                  <a:pt x="14951" y="2699"/>
                </a:lnTo>
                <a:lnTo>
                  <a:pt x="14952" y="2699"/>
                </a:lnTo>
                <a:lnTo>
                  <a:pt x="14951" y="2699"/>
                </a:lnTo>
                <a:lnTo>
                  <a:pt x="14951" y="2699"/>
                </a:lnTo>
                <a:lnTo>
                  <a:pt x="14951" y="2699"/>
                </a:lnTo>
                <a:lnTo>
                  <a:pt x="14946" y="2702"/>
                </a:lnTo>
                <a:lnTo>
                  <a:pt x="14941" y="2707"/>
                </a:lnTo>
                <a:close/>
                <a:moveTo>
                  <a:pt x="14937" y="1995"/>
                </a:moveTo>
                <a:lnTo>
                  <a:pt x="14938" y="1994"/>
                </a:lnTo>
                <a:lnTo>
                  <a:pt x="14938" y="1993"/>
                </a:lnTo>
                <a:lnTo>
                  <a:pt x="14937" y="1993"/>
                </a:lnTo>
                <a:lnTo>
                  <a:pt x="14936" y="1993"/>
                </a:lnTo>
                <a:lnTo>
                  <a:pt x="14937" y="1995"/>
                </a:lnTo>
                <a:close/>
                <a:moveTo>
                  <a:pt x="14917" y="3672"/>
                </a:moveTo>
                <a:lnTo>
                  <a:pt x="14917" y="3673"/>
                </a:lnTo>
                <a:lnTo>
                  <a:pt x="14918" y="3674"/>
                </a:lnTo>
                <a:lnTo>
                  <a:pt x="14919" y="3674"/>
                </a:lnTo>
                <a:lnTo>
                  <a:pt x="14921" y="3673"/>
                </a:lnTo>
                <a:lnTo>
                  <a:pt x="14917" y="3672"/>
                </a:lnTo>
                <a:close/>
                <a:moveTo>
                  <a:pt x="14759" y="2368"/>
                </a:moveTo>
                <a:lnTo>
                  <a:pt x="14756" y="2370"/>
                </a:lnTo>
                <a:lnTo>
                  <a:pt x="14755" y="2371"/>
                </a:lnTo>
                <a:lnTo>
                  <a:pt x="14754" y="2374"/>
                </a:lnTo>
                <a:lnTo>
                  <a:pt x="14753" y="2376"/>
                </a:lnTo>
                <a:lnTo>
                  <a:pt x="14756" y="2375"/>
                </a:lnTo>
                <a:lnTo>
                  <a:pt x="14759" y="2374"/>
                </a:lnTo>
                <a:lnTo>
                  <a:pt x="14760" y="2372"/>
                </a:lnTo>
                <a:lnTo>
                  <a:pt x="14759" y="2368"/>
                </a:lnTo>
                <a:close/>
                <a:moveTo>
                  <a:pt x="14787" y="2114"/>
                </a:moveTo>
                <a:lnTo>
                  <a:pt x="14784" y="2114"/>
                </a:lnTo>
                <a:lnTo>
                  <a:pt x="14782" y="2114"/>
                </a:lnTo>
                <a:lnTo>
                  <a:pt x="14781" y="2115"/>
                </a:lnTo>
                <a:lnTo>
                  <a:pt x="14779" y="2118"/>
                </a:lnTo>
                <a:lnTo>
                  <a:pt x="14783" y="2116"/>
                </a:lnTo>
                <a:lnTo>
                  <a:pt x="14787" y="2114"/>
                </a:lnTo>
                <a:close/>
                <a:moveTo>
                  <a:pt x="14961" y="2650"/>
                </a:moveTo>
                <a:lnTo>
                  <a:pt x="14958" y="2648"/>
                </a:lnTo>
                <a:lnTo>
                  <a:pt x="14954" y="2648"/>
                </a:lnTo>
                <a:lnTo>
                  <a:pt x="14952" y="2650"/>
                </a:lnTo>
                <a:lnTo>
                  <a:pt x="14951" y="2655"/>
                </a:lnTo>
                <a:lnTo>
                  <a:pt x="14955" y="2656"/>
                </a:lnTo>
                <a:lnTo>
                  <a:pt x="14958" y="2656"/>
                </a:lnTo>
                <a:lnTo>
                  <a:pt x="14960" y="2654"/>
                </a:lnTo>
                <a:lnTo>
                  <a:pt x="14961" y="2650"/>
                </a:lnTo>
                <a:close/>
                <a:moveTo>
                  <a:pt x="14863" y="2163"/>
                </a:moveTo>
                <a:lnTo>
                  <a:pt x="14863" y="2162"/>
                </a:lnTo>
                <a:lnTo>
                  <a:pt x="14863" y="2162"/>
                </a:lnTo>
                <a:lnTo>
                  <a:pt x="14863" y="2162"/>
                </a:lnTo>
                <a:lnTo>
                  <a:pt x="14863" y="2163"/>
                </a:lnTo>
                <a:lnTo>
                  <a:pt x="14657" y="2328"/>
                </a:lnTo>
                <a:lnTo>
                  <a:pt x="14438" y="2479"/>
                </a:lnTo>
                <a:lnTo>
                  <a:pt x="14237" y="2601"/>
                </a:lnTo>
                <a:lnTo>
                  <a:pt x="14083" y="2675"/>
                </a:lnTo>
                <a:lnTo>
                  <a:pt x="14085" y="2670"/>
                </a:lnTo>
                <a:lnTo>
                  <a:pt x="14088" y="2662"/>
                </a:lnTo>
                <a:lnTo>
                  <a:pt x="14089" y="2664"/>
                </a:lnTo>
                <a:lnTo>
                  <a:pt x="14089" y="2664"/>
                </a:lnTo>
                <a:lnTo>
                  <a:pt x="14089" y="2664"/>
                </a:lnTo>
                <a:lnTo>
                  <a:pt x="14088" y="2662"/>
                </a:lnTo>
                <a:lnTo>
                  <a:pt x="14084" y="2671"/>
                </a:lnTo>
                <a:lnTo>
                  <a:pt x="14081" y="2675"/>
                </a:lnTo>
                <a:lnTo>
                  <a:pt x="14030" y="2689"/>
                </a:lnTo>
                <a:lnTo>
                  <a:pt x="14006" y="2683"/>
                </a:lnTo>
                <a:lnTo>
                  <a:pt x="14013" y="2652"/>
                </a:lnTo>
                <a:lnTo>
                  <a:pt x="14053" y="2598"/>
                </a:lnTo>
                <a:lnTo>
                  <a:pt x="14221" y="2491"/>
                </a:lnTo>
                <a:lnTo>
                  <a:pt x="14438" y="2340"/>
                </a:lnTo>
                <a:lnTo>
                  <a:pt x="14677" y="2161"/>
                </a:lnTo>
                <a:lnTo>
                  <a:pt x="14916" y="1973"/>
                </a:lnTo>
                <a:lnTo>
                  <a:pt x="14922" y="1973"/>
                </a:lnTo>
                <a:lnTo>
                  <a:pt x="14928" y="1969"/>
                </a:lnTo>
                <a:lnTo>
                  <a:pt x="14933" y="1964"/>
                </a:lnTo>
                <a:lnTo>
                  <a:pt x="14937" y="1955"/>
                </a:lnTo>
                <a:lnTo>
                  <a:pt x="14986" y="1915"/>
                </a:lnTo>
                <a:lnTo>
                  <a:pt x="15031" y="1876"/>
                </a:lnTo>
                <a:lnTo>
                  <a:pt x="15076" y="1838"/>
                </a:lnTo>
                <a:lnTo>
                  <a:pt x="15119" y="1799"/>
                </a:lnTo>
                <a:lnTo>
                  <a:pt x="15047" y="1755"/>
                </a:lnTo>
                <a:lnTo>
                  <a:pt x="15079" y="1709"/>
                </a:lnTo>
                <a:lnTo>
                  <a:pt x="15133" y="1712"/>
                </a:lnTo>
                <a:lnTo>
                  <a:pt x="15127" y="1817"/>
                </a:lnTo>
                <a:lnTo>
                  <a:pt x="15109" y="1886"/>
                </a:lnTo>
                <a:lnTo>
                  <a:pt x="15057" y="1969"/>
                </a:lnTo>
                <a:lnTo>
                  <a:pt x="14975" y="2060"/>
                </a:lnTo>
                <a:lnTo>
                  <a:pt x="14871" y="2157"/>
                </a:lnTo>
                <a:lnTo>
                  <a:pt x="14875" y="2153"/>
                </a:lnTo>
                <a:lnTo>
                  <a:pt x="14865" y="2162"/>
                </a:lnTo>
                <a:lnTo>
                  <a:pt x="14863" y="2163"/>
                </a:lnTo>
                <a:close/>
                <a:moveTo>
                  <a:pt x="14879" y="2149"/>
                </a:moveTo>
                <a:lnTo>
                  <a:pt x="14880" y="2148"/>
                </a:lnTo>
                <a:lnTo>
                  <a:pt x="14879" y="2149"/>
                </a:lnTo>
                <a:lnTo>
                  <a:pt x="14881" y="2148"/>
                </a:lnTo>
                <a:lnTo>
                  <a:pt x="14879" y="2149"/>
                </a:lnTo>
                <a:close/>
                <a:moveTo>
                  <a:pt x="15266" y="3548"/>
                </a:moveTo>
                <a:lnTo>
                  <a:pt x="15264" y="3554"/>
                </a:lnTo>
                <a:lnTo>
                  <a:pt x="15268" y="3556"/>
                </a:lnTo>
                <a:lnTo>
                  <a:pt x="15271" y="3554"/>
                </a:lnTo>
                <a:lnTo>
                  <a:pt x="15270" y="3548"/>
                </a:lnTo>
                <a:lnTo>
                  <a:pt x="15267" y="3547"/>
                </a:lnTo>
                <a:lnTo>
                  <a:pt x="15266" y="3548"/>
                </a:lnTo>
                <a:close/>
                <a:moveTo>
                  <a:pt x="15240" y="3464"/>
                </a:moveTo>
                <a:lnTo>
                  <a:pt x="15234" y="3463"/>
                </a:lnTo>
                <a:lnTo>
                  <a:pt x="15230" y="3468"/>
                </a:lnTo>
                <a:lnTo>
                  <a:pt x="15226" y="3475"/>
                </a:lnTo>
                <a:lnTo>
                  <a:pt x="15222" y="3481"/>
                </a:lnTo>
                <a:lnTo>
                  <a:pt x="15229" y="3477"/>
                </a:lnTo>
                <a:lnTo>
                  <a:pt x="15235" y="3475"/>
                </a:lnTo>
                <a:lnTo>
                  <a:pt x="15240" y="3471"/>
                </a:lnTo>
                <a:lnTo>
                  <a:pt x="15240" y="3464"/>
                </a:lnTo>
                <a:close/>
                <a:moveTo>
                  <a:pt x="15349" y="3270"/>
                </a:moveTo>
                <a:lnTo>
                  <a:pt x="15335" y="3277"/>
                </a:lnTo>
                <a:lnTo>
                  <a:pt x="15309" y="3298"/>
                </a:lnTo>
                <a:lnTo>
                  <a:pt x="15289" y="3324"/>
                </a:lnTo>
                <a:lnTo>
                  <a:pt x="15290" y="3355"/>
                </a:lnTo>
                <a:lnTo>
                  <a:pt x="15300" y="3329"/>
                </a:lnTo>
                <a:lnTo>
                  <a:pt x="15327" y="3307"/>
                </a:lnTo>
                <a:lnTo>
                  <a:pt x="15350" y="3287"/>
                </a:lnTo>
                <a:lnTo>
                  <a:pt x="15349" y="3270"/>
                </a:lnTo>
                <a:close/>
                <a:moveTo>
                  <a:pt x="14885" y="2717"/>
                </a:moveTo>
                <a:lnTo>
                  <a:pt x="14884" y="2722"/>
                </a:lnTo>
                <a:lnTo>
                  <a:pt x="14885" y="2717"/>
                </a:lnTo>
                <a:lnTo>
                  <a:pt x="14875" y="2717"/>
                </a:lnTo>
                <a:lnTo>
                  <a:pt x="14885" y="2717"/>
                </a:lnTo>
                <a:close/>
                <a:moveTo>
                  <a:pt x="15211" y="3295"/>
                </a:moveTo>
                <a:lnTo>
                  <a:pt x="15214" y="3293"/>
                </a:lnTo>
                <a:lnTo>
                  <a:pt x="15217" y="3290"/>
                </a:lnTo>
                <a:lnTo>
                  <a:pt x="15214" y="3287"/>
                </a:lnTo>
                <a:lnTo>
                  <a:pt x="15211" y="3289"/>
                </a:lnTo>
                <a:lnTo>
                  <a:pt x="15208" y="3291"/>
                </a:lnTo>
                <a:lnTo>
                  <a:pt x="15211" y="3295"/>
                </a:lnTo>
                <a:close/>
                <a:moveTo>
                  <a:pt x="15250" y="3169"/>
                </a:moveTo>
                <a:lnTo>
                  <a:pt x="15252" y="3167"/>
                </a:lnTo>
                <a:lnTo>
                  <a:pt x="15252" y="3165"/>
                </a:lnTo>
                <a:lnTo>
                  <a:pt x="15252" y="3164"/>
                </a:lnTo>
                <a:lnTo>
                  <a:pt x="15249" y="3164"/>
                </a:lnTo>
                <a:lnTo>
                  <a:pt x="15248" y="3167"/>
                </a:lnTo>
                <a:lnTo>
                  <a:pt x="15248" y="3168"/>
                </a:lnTo>
                <a:lnTo>
                  <a:pt x="15249" y="3168"/>
                </a:lnTo>
                <a:lnTo>
                  <a:pt x="15250" y="3169"/>
                </a:lnTo>
                <a:close/>
                <a:moveTo>
                  <a:pt x="15143" y="3061"/>
                </a:moveTo>
                <a:lnTo>
                  <a:pt x="15143" y="3061"/>
                </a:lnTo>
                <a:lnTo>
                  <a:pt x="15142" y="3061"/>
                </a:lnTo>
                <a:lnTo>
                  <a:pt x="15143" y="3061"/>
                </a:lnTo>
                <a:lnTo>
                  <a:pt x="15143" y="3061"/>
                </a:lnTo>
                <a:lnTo>
                  <a:pt x="15159" y="3051"/>
                </a:lnTo>
                <a:lnTo>
                  <a:pt x="15173" y="3042"/>
                </a:lnTo>
                <a:lnTo>
                  <a:pt x="15178" y="3041"/>
                </a:lnTo>
                <a:lnTo>
                  <a:pt x="15182" y="3038"/>
                </a:lnTo>
                <a:lnTo>
                  <a:pt x="15177" y="3041"/>
                </a:lnTo>
                <a:lnTo>
                  <a:pt x="15173" y="3042"/>
                </a:lnTo>
                <a:lnTo>
                  <a:pt x="15163" y="3042"/>
                </a:lnTo>
                <a:lnTo>
                  <a:pt x="15155" y="3046"/>
                </a:lnTo>
                <a:lnTo>
                  <a:pt x="15149" y="3051"/>
                </a:lnTo>
                <a:lnTo>
                  <a:pt x="15143" y="3061"/>
                </a:lnTo>
                <a:close/>
                <a:moveTo>
                  <a:pt x="14458" y="2329"/>
                </a:moveTo>
                <a:lnTo>
                  <a:pt x="14456" y="2329"/>
                </a:lnTo>
                <a:lnTo>
                  <a:pt x="14453" y="2330"/>
                </a:lnTo>
                <a:lnTo>
                  <a:pt x="14451" y="2333"/>
                </a:lnTo>
                <a:lnTo>
                  <a:pt x="14449" y="2334"/>
                </a:lnTo>
                <a:lnTo>
                  <a:pt x="14452" y="2335"/>
                </a:lnTo>
                <a:lnTo>
                  <a:pt x="14455" y="2334"/>
                </a:lnTo>
                <a:lnTo>
                  <a:pt x="14457" y="2332"/>
                </a:lnTo>
                <a:lnTo>
                  <a:pt x="14458" y="2329"/>
                </a:lnTo>
                <a:close/>
                <a:moveTo>
                  <a:pt x="14944" y="2222"/>
                </a:moveTo>
                <a:lnTo>
                  <a:pt x="14935" y="2227"/>
                </a:lnTo>
                <a:lnTo>
                  <a:pt x="14924" y="2231"/>
                </a:lnTo>
                <a:lnTo>
                  <a:pt x="14932" y="2232"/>
                </a:lnTo>
                <a:lnTo>
                  <a:pt x="14937" y="2231"/>
                </a:lnTo>
                <a:lnTo>
                  <a:pt x="14941" y="2227"/>
                </a:lnTo>
                <a:lnTo>
                  <a:pt x="14944" y="2222"/>
                </a:lnTo>
                <a:lnTo>
                  <a:pt x="14945" y="2222"/>
                </a:lnTo>
                <a:lnTo>
                  <a:pt x="14945" y="2222"/>
                </a:lnTo>
                <a:lnTo>
                  <a:pt x="14944" y="2221"/>
                </a:lnTo>
                <a:lnTo>
                  <a:pt x="14944" y="2222"/>
                </a:lnTo>
                <a:close/>
                <a:moveTo>
                  <a:pt x="15085" y="1755"/>
                </a:moveTo>
                <a:lnTo>
                  <a:pt x="15086" y="1759"/>
                </a:lnTo>
                <a:lnTo>
                  <a:pt x="15089" y="1760"/>
                </a:lnTo>
                <a:lnTo>
                  <a:pt x="15091" y="1759"/>
                </a:lnTo>
                <a:lnTo>
                  <a:pt x="15095" y="1756"/>
                </a:lnTo>
                <a:lnTo>
                  <a:pt x="15093" y="1754"/>
                </a:lnTo>
                <a:lnTo>
                  <a:pt x="15090" y="1754"/>
                </a:lnTo>
                <a:lnTo>
                  <a:pt x="15087" y="1754"/>
                </a:lnTo>
                <a:lnTo>
                  <a:pt x="15085" y="1755"/>
                </a:lnTo>
                <a:close/>
                <a:moveTo>
                  <a:pt x="15203" y="3324"/>
                </a:moveTo>
                <a:lnTo>
                  <a:pt x="15205" y="3319"/>
                </a:lnTo>
                <a:lnTo>
                  <a:pt x="15201" y="3317"/>
                </a:lnTo>
                <a:lnTo>
                  <a:pt x="15194" y="3315"/>
                </a:lnTo>
                <a:lnTo>
                  <a:pt x="15188" y="3315"/>
                </a:lnTo>
                <a:lnTo>
                  <a:pt x="15189" y="3323"/>
                </a:lnTo>
                <a:lnTo>
                  <a:pt x="15192" y="3326"/>
                </a:lnTo>
                <a:lnTo>
                  <a:pt x="15197" y="3326"/>
                </a:lnTo>
                <a:lnTo>
                  <a:pt x="15203" y="3324"/>
                </a:lnTo>
                <a:close/>
                <a:moveTo>
                  <a:pt x="15124" y="3513"/>
                </a:moveTo>
                <a:lnTo>
                  <a:pt x="15128" y="3514"/>
                </a:lnTo>
                <a:lnTo>
                  <a:pt x="15132" y="3513"/>
                </a:lnTo>
                <a:lnTo>
                  <a:pt x="15135" y="3510"/>
                </a:lnTo>
                <a:lnTo>
                  <a:pt x="15137" y="3506"/>
                </a:lnTo>
                <a:lnTo>
                  <a:pt x="15131" y="3505"/>
                </a:lnTo>
                <a:lnTo>
                  <a:pt x="15127" y="3505"/>
                </a:lnTo>
                <a:lnTo>
                  <a:pt x="15124" y="3508"/>
                </a:lnTo>
                <a:lnTo>
                  <a:pt x="15124" y="3513"/>
                </a:lnTo>
                <a:close/>
                <a:moveTo>
                  <a:pt x="14764" y="2222"/>
                </a:moveTo>
                <a:lnTo>
                  <a:pt x="14760" y="2225"/>
                </a:lnTo>
                <a:lnTo>
                  <a:pt x="14764" y="2222"/>
                </a:lnTo>
                <a:lnTo>
                  <a:pt x="14761" y="2221"/>
                </a:lnTo>
                <a:lnTo>
                  <a:pt x="14758" y="2222"/>
                </a:lnTo>
                <a:lnTo>
                  <a:pt x="14756" y="2223"/>
                </a:lnTo>
                <a:lnTo>
                  <a:pt x="14764" y="2222"/>
                </a:lnTo>
                <a:close/>
                <a:moveTo>
                  <a:pt x="14879" y="2255"/>
                </a:moveTo>
                <a:lnTo>
                  <a:pt x="14881" y="2254"/>
                </a:lnTo>
                <a:lnTo>
                  <a:pt x="14884" y="2253"/>
                </a:lnTo>
                <a:lnTo>
                  <a:pt x="14885" y="2250"/>
                </a:lnTo>
                <a:lnTo>
                  <a:pt x="14886" y="2246"/>
                </a:lnTo>
                <a:lnTo>
                  <a:pt x="14881" y="2246"/>
                </a:lnTo>
                <a:lnTo>
                  <a:pt x="14879" y="2248"/>
                </a:lnTo>
                <a:lnTo>
                  <a:pt x="14877" y="2250"/>
                </a:lnTo>
                <a:lnTo>
                  <a:pt x="14879" y="2255"/>
                </a:lnTo>
                <a:close/>
                <a:moveTo>
                  <a:pt x="15096" y="3201"/>
                </a:moveTo>
                <a:lnTo>
                  <a:pt x="15093" y="3205"/>
                </a:lnTo>
                <a:lnTo>
                  <a:pt x="15086" y="3207"/>
                </a:lnTo>
                <a:lnTo>
                  <a:pt x="15082" y="3211"/>
                </a:lnTo>
                <a:lnTo>
                  <a:pt x="15082" y="3216"/>
                </a:lnTo>
                <a:lnTo>
                  <a:pt x="15087" y="3215"/>
                </a:lnTo>
                <a:lnTo>
                  <a:pt x="15094" y="3211"/>
                </a:lnTo>
                <a:lnTo>
                  <a:pt x="15098" y="3205"/>
                </a:lnTo>
                <a:lnTo>
                  <a:pt x="15096" y="3201"/>
                </a:lnTo>
                <a:close/>
                <a:moveTo>
                  <a:pt x="15112" y="3464"/>
                </a:moveTo>
                <a:lnTo>
                  <a:pt x="15112" y="3458"/>
                </a:lnTo>
                <a:lnTo>
                  <a:pt x="15109" y="3456"/>
                </a:lnTo>
                <a:lnTo>
                  <a:pt x="15103" y="3454"/>
                </a:lnTo>
                <a:lnTo>
                  <a:pt x="15098" y="3453"/>
                </a:lnTo>
                <a:lnTo>
                  <a:pt x="15096" y="3459"/>
                </a:lnTo>
                <a:lnTo>
                  <a:pt x="15100" y="3462"/>
                </a:lnTo>
                <a:lnTo>
                  <a:pt x="15107" y="3462"/>
                </a:lnTo>
                <a:lnTo>
                  <a:pt x="15112" y="3464"/>
                </a:lnTo>
                <a:close/>
                <a:moveTo>
                  <a:pt x="15235" y="1780"/>
                </a:moveTo>
                <a:lnTo>
                  <a:pt x="15219" y="1785"/>
                </a:lnTo>
                <a:lnTo>
                  <a:pt x="15211" y="1789"/>
                </a:lnTo>
                <a:lnTo>
                  <a:pt x="15214" y="1796"/>
                </a:lnTo>
                <a:lnTo>
                  <a:pt x="15225" y="1808"/>
                </a:lnTo>
                <a:lnTo>
                  <a:pt x="15230" y="1794"/>
                </a:lnTo>
                <a:lnTo>
                  <a:pt x="15235" y="1780"/>
                </a:lnTo>
                <a:close/>
                <a:moveTo>
                  <a:pt x="15207" y="1789"/>
                </a:moveTo>
                <a:lnTo>
                  <a:pt x="15207" y="1788"/>
                </a:lnTo>
                <a:lnTo>
                  <a:pt x="15207" y="1788"/>
                </a:lnTo>
                <a:lnTo>
                  <a:pt x="15206" y="1788"/>
                </a:lnTo>
                <a:lnTo>
                  <a:pt x="15207" y="1789"/>
                </a:lnTo>
                <a:close/>
                <a:moveTo>
                  <a:pt x="14834" y="3765"/>
                </a:moveTo>
                <a:lnTo>
                  <a:pt x="14839" y="3764"/>
                </a:lnTo>
                <a:lnTo>
                  <a:pt x="14843" y="3764"/>
                </a:lnTo>
                <a:lnTo>
                  <a:pt x="14844" y="3760"/>
                </a:lnTo>
                <a:lnTo>
                  <a:pt x="14844" y="3756"/>
                </a:lnTo>
                <a:lnTo>
                  <a:pt x="14840" y="3756"/>
                </a:lnTo>
                <a:lnTo>
                  <a:pt x="14837" y="3757"/>
                </a:lnTo>
                <a:lnTo>
                  <a:pt x="14835" y="3760"/>
                </a:lnTo>
                <a:lnTo>
                  <a:pt x="14834" y="3765"/>
                </a:lnTo>
                <a:close/>
                <a:moveTo>
                  <a:pt x="14355" y="2628"/>
                </a:moveTo>
                <a:lnTo>
                  <a:pt x="14345" y="2636"/>
                </a:lnTo>
                <a:lnTo>
                  <a:pt x="14335" y="2643"/>
                </a:lnTo>
                <a:lnTo>
                  <a:pt x="14344" y="2643"/>
                </a:lnTo>
                <a:lnTo>
                  <a:pt x="14349" y="2641"/>
                </a:lnTo>
                <a:lnTo>
                  <a:pt x="14353" y="2636"/>
                </a:lnTo>
                <a:lnTo>
                  <a:pt x="14355" y="2628"/>
                </a:lnTo>
                <a:close/>
                <a:moveTo>
                  <a:pt x="14494" y="2517"/>
                </a:moveTo>
                <a:lnTo>
                  <a:pt x="14483" y="2525"/>
                </a:lnTo>
                <a:lnTo>
                  <a:pt x="14470" y="2535"/>
                </a:lnTo>
                <a:lnTo>
                  <a:pt x="14479" y="2533"/>
                </a:lnTo>
                <a:lnTo>
                  <a:pt x="14486" y="2530"/>
                </a:lnTo>
                <a:lnTo>
                  <a:pt x="14491" y="2525"/>
                </a:lnTo>
                <a:lnTo>
                  <a:pt x="14494" y="2517"/>
                </a:lnTo>
                <a:close/>
                <a:moveTo>
                  <a:pt x="15262" y="1820"/>
                </a:moveTo>
                <a:lnTo>
                  <a:pt x="15262" y="1820"/>
                </a:lnTo>
                <a:lnTo>
                  <a:pt x="15261" y="1821"/>
                </a:lnTo>
                <a:lnTo>
                  <a:pt x="15262" y="1820"/>
                </a:lnTo>
                <a:lnTo>
                  <a:pt x="15262" y="1820"/>
                </a:lnTo>
                <a:lnTo>
                  <a:pt x="15267" y="1820"/>
                </a:lnTo>
                <a:lnTo>
                  <a:pt x="15272" y="1820"/>
                </a:lnTo>
                <a:lnTo>
                  <a:pt x="15277" y="1819"/>
                </a:lnTo>
                <a:lnTo>
                  <a:pt x="15281" y="1815"/>
                </a:lnTo>
                <a:lnTo>
                  <a:pt x="15277" y="1806"/>
                </a:lnTo>
                <a:lnTo>
                  <a:pt x="15271" y="1806"/>
                </a:lnTo>
                <a:lnTo>
                  <a:pt x="15266" y="1811"/>
                </a:lnTo>
                <a:lnTo>
                  <a:pt x="15262" y="1820"/>
                </a:lnTo>
                <a:close/>
                <a:moveTo>
                  <a:pt x="15169" y="3528"/>
                </a:moveTo>
                <a:lnTo>
                  <a:pt x="15183" y="3527"/>
                </a:lnTo>
                <a:lnTo>
                  <a:pt x="15197" y="3526"/>
                </a:lnTo>
                <a:lnTo>
                  <a:pt x="15191" y="3517"/>
                </a:lnTo>
                <a:lnTo>
                  <a:pt x="15186" y="3513"/>
                </a:lnTo>
                <a:lnTo>
                  <a:pt x="15179" y="3517"/>
                </a:lnTo>
                <a:lnTo>
                  <a:pt x="15169" y="3528"/>
                </a:lnTo>
                <a:close/>
                <a:moveTo>
                  <a:pt x="14907" y="3734"/>
                </a:moveTo>
                <a:lnTo>
                  <a:pt x="14909" y="3742"/>
                </a:lnTo>
                <a:lnTo>
                  <a:pt x="14914" y="3747"/>
                </a:lnTo>
                <a:lnTo>
                  <a:pt x="14919" y="3750"/>
                </a:lnTo>
                <a:lnTo>
                  <a:pt x="14924" y="3746"/>
                </a:lnTo>
                <a:lnTo>
                  <a:pt x="14921" y="3741"/>
                </a:lnTo>
                <a:lnTo>
                  <a:pt x="14916" y="3734"/>
                </a:lnTo>
                <a:lnTo>
                  <a:pt x="14910" y="3732"/>
                </a:lnTo>
                <a:lnTo>
                  <a:pt x="14907" y="3734"/>
                </a:lnTo>
                <a:close/>
                <a:moveTo>
                  <a:pt x="15221" y="3573"/>
                </a:moveTo>
                <a:lnTo>
                  <a:pt x="15226" y="3570"/>
                </a:lnTo>
                <a:lnTo>
                  <a:pt x="15233" y="3568"/>
                </a:lnTo>
                <a:lnTo>
                  <a:pt x="15238" y="3564"/>
                </a:lnTo>
                <a:lnTo>
                  <a:pt x="15238" y="3560"/>
                </a:lnTo>
                <a:lnTo>
                  <a:pt x="15231" y="3559"/>
                </a:lnTo>
                <a:lnTo>
                  <a:pt x="15224" y="3561"/>
                </a:lnTo>
                <a:lnTo>
                  <a:pt x="15219" y="3566"/>
                </a:lnTo>
                <a:lnTo>
                  <a:pt x="15221" y="3573"/>
                </a:lnTo>
                <a:close/>
                <a:moveTo>
                  <a:pt x="15182" y="3205"/>
                </a:moveTo>
                <a:lnTo>
                  <a:pt x="15174" y="3210"/>
                </a:lnTo>
                <a:lnTo>
                  <a:pt x="15177" y="3215"/>
                </a:lnTo>
                <a:lnTo>
                  <a:pt x="15186" y="3216"/>
                </a:lnTo>
                <a:lnTo>
                  <a:pt x="15196" y="3210"/>
                </a:lnTo>
                <a:lnTo>
                  <a:pt x="15188" y="3206"/>
                </a:lnTo>
                <a:lnTo>
                  <a:pt x="15182" y="3205"/>
                </a:lnTo>
                <a:close/>
                <a:moveTo>
                  <a:pt x="15038" y="3382"/>
                </a:moveTo>
                <a:lnTo>
                  <a:pt x="15038" y="3382"/>
                </a:lnTo>
                <a:lnTo>
                  <a:pt x="15038" y="3382"/>
                </a:lnTo>
                <a:lnTo>
                  <a:pt x="15038" y="3382"/>
                </a:lnTo>
                <a:close/>
                <a:moveTo>
                  <a:pt x="15038" y="3382"/>
                </a:moveTo>
                <a:lnTo>
                  <a:pt x="15037" y="3382"/>
                </a:lnTo>
                <a:lnTo>
                  <a:pt x="15038" y="3382"/>
                </a:lnTo>
                <a:lnTo>
                  <a:pt x="15038" y="3382"/>
                </a:lnTo>
                <a:close/>
                <a:moveTo>
                  <a:pt x="15073" y="3371"/>
                </a:moveTo>
                <a:lnTo>
                  <a:pt x="15062" y="3369"/>
                </a:lnTo>
                <a:lnTo>
                  <a:pt x="15053" y="3370"/>
                </a:lnTo>
                <a:lnTo>
                  <a:pt x="15044" y="3375"/>
                </a:lnTo>
                <a:lnTo>
                  <a:pt x="15038" y="3382"/>
                </a:lnTo>
                <a:lnTo>
                  <a:pt x="15047" y="3383"/>
                </a:lnTo>
                <a:lnTo>
                  <a:pt x="15057" y="3383"/>
                </a:lnTo>
                <a:lnTo>
                  <a:pt x="15066" y="3379"/>
                </a:lnTo>
                <a:lnTo>
                  <a:pt x="15073" y="3371"/>
                </a:lnTo>
                <a:close/>
                <a:moveTo>
                  <a:pt x="14661" y="2412"/>
                </a:moveTo>
                <a:lnTo>
                  <a:pt x="14648" y="2414"/>
                </a:lnTo>
                <a:lnTo>
                  <a:pt x="14637" y="2419"/>
                </a:lnTo>
                <a:lnTo>
                  <a:pt x="14625" y="2428"/>
                </a:lnTo>
                <a:lnTo>
                  <a:pt x="14615" y="2440"/>
                </a:lnTo>
                <a:lnTo>
                  <a:pt x="14630" y="2437"/>
                </a:lnTo>
                <a:lnTo>
                  <a:pt x="14643" y="2431"/>
                </a:lnTo>
                <a:lnTo>
                  <a:pt x="14653" y="2422"/>
                </a:lnTo>
                <a:lnTo>
                  <a:pt x="14661" y="2412"/>
                </a:lnTo>
                <a:close/>
                <a:moveTo>
                  <a:pt x="14662" y="2412"/>
                </a:moveTo>
                <a:lnTo>
                  <a:pt x="14662" y="2410"/>
                </a:lnTo>
                <a:lnTo>
                  <a:pt x="14662" y="2410"/>
                </a:lnTo>
                <a:lnTo>
                  <a:pt x="14661" y="2412"/>
                </a:lnTo>
                <a:lnTo>
                  <a:pt x="14662" y="2412"/>
                </a:lnTo>
                <a:close/>
                <a:moveTo>
                  <a:pt x="14556" y="2497"/>
                </a:moveTo>
                <a:lnTo>
                  <a:pt x="14547" y="2489"/>
                </a:lnTo>
                <a:lnTo>
                  <a:pt x="14541" y="2486"/>
                </a:lnTo>
                <a:lnTo>
                  <a:pt x="14535" y="2487"/>
                </a:lnTo>
                <a:lnTo>
                  <a:pt x="14525" y="2492"/>
                </a:lnTo>
                <a:lnTo>
                  <a:pt x="14532" y="2496"/>
                </a:lnTo>
                <a:lnTo>
                  <a:pt x="14540" y="2500"/>
                </a:lnTo>
                <a:lnTo>
                  <a:pt x="14547" y="2501"/>
                </a:lnTo>
                <a:lnTo>
                  <a:pt x="14556" y="2497"/>
                </a:lnTo>
                <a:close/>
                <a:moveTo>
                  <a:pt x="14406" y="2586"/>
                </a:moveTo>
                <a:lnTo>
                  <a:pt x="14406" y="2589"/>
                </a:lnTo>
                <a:lnTo>
                  <a:pt x="14409" y="2591"/>
                </a:lnTo>
                <a:lnTo>
                  <a:pt x="14411" y="2594"/>
                </a:lnTo>
                <a:lnTo>
                  <a:pt x="14414" y="2592"/>
                </a:lnTo>
                <a:lnTo>
                  <a:pt x="14423" y="2584"/>
                </a:lnTo>
                <a:lnTo>
                  <a:pt x="14420" y="2576"/>
                </a:lnTo>
                <a:lnTo>
                  <a:pt x="14412" y="2575"/>
                </a:lnTo>
                <a:lnTo>
                  <a:pt x="14406" y="2586"/>
                </a:lnTo>
                <a:close/>
                <a:moveTo>
                  <a:pt x="15180" y="2908"/>
                </a:moveTo>
                <a:lnTo>
                  <a:pt x="15175" y="2918"/>
                </a:lnTo>
                <a:lnTo>
                  <a:pt x="15179" y="2923"/>
                </a:lnTo>
                <a:lnTo>
                  <a:pt x="15187" y="2929"/>
                </a:lnTo>
                <a:lnTo>
                  <a:pt x="15197" y="2932"/>
                </a:lnTo>
                <a:lnTo>
                  <a:pt x="15198" y="2921"/>
                </a:lnTo>
                <a:lnTo>
                  <a:pt x="15197" y="2911"/>
                </a:lnTo>
                <a:lnTo>
                  <a:pt x="15191" y="2906"/>
                </a:lnTo>
                <a:lnTo>
                  <a:pt x="15180" y="2908"/>
                </a:lnTo>
                <a:close/>
                <a:moveTo>
                  <a:pt x="15287" y="3503"/>
                </a:moveTo>
                <a:lnTo>
                  <a:pt x="15301" y="3504"/>
                </a:lnTo>
                <a:lnTo>
                  <a:pt x="15312" y="3494"/>
                </a:lnTo>
                <a:lnTo>
                  <a:pt x="15323" y="3481"/>
                </a:lnTo>
                <a:lnTo>
                  <a:pt x="15340" y="3473"/>
                </a:lnTo>
                <a:lnTo>
                  <a:pt x="15323" y="3472"/>
                </a:lnTo>
                <a:lnTo>
                  <a:pt x="15312" y="3475"/>
                </a:lnTo>
                <a:lnTo>
                  <a:pt x="15300" y="3485"/>
                </a:lnTo>
                <a:lnTo>
                  <a:pt x="15287" y="3503"/>
                </a:lnTo>
                <a:close/>
                <a:moveTo>
                  <a:pt x="14705" y="2404"/>
                </a:moveTo>
                <a:lnTo>
                  <a:pt x="14709" y="2391"/>
                </a:lnTo>
                <a:lnTo>
                  <a:pt x="14694" y="2390"/>
                </a:lnTo>
                <a:lnTo>
                  <a:pt x="14675" y="2398"/>
                </a:lnTo>
                <a:lnTo>
                  <a:pt x="14662" y="2410"/>
                </a:lnTo>
                <a:lnTo>
                  <a:pt x="14674" y="2413"/>
                </a:lnTo>
                <a:lnTo>
                  <a:pt x="14685" y="2412"/>
                </a:lnTo>
                <a:lnTo>
                  <a:pt x="14695" y="2409"/>
                </a:lnTo>
                <a:lnTo>
                  <a:pt x="14705" y="2404"/>
                </a:lnTo>
                <a:close/>
                <a:moveTo>
                  <a:pt x="14947" y="3705"/>
                </a:moveTo>
                <a:lnTo>
                  <a:pt x="14944" y="3716"/>
                </a:lnTo>
                <a:lnTo>
                  <a:pt x="14938" y="3732"/>
                </a:lnTo>
                <a:lnTo>
                  <a:pt x="14958" y="3730"/>
                </a:lnTo>
                <a:lnTo>
                  <a:pt x="14968" y="3720"/>
                </a:lnTo>
                <a:lnTo>
                  <a:pt x="14965" y="3708"/>
                </a:lnTo>
                <a:lnTo>
                  <a:pt x="14947" y="3705"/>
                </a:lnTo>
                <a:close/>
                <a:moveTo>
                  <a:pt x="15212" y="3405"/>
                </a:moveTo>
                <a:lnTo>
                  <a:pt x="15230" y="3406"/>
                </a:lnTo>
                <a:lnTo>
                  <a:pt x="15231" y="3398"/>
                </a:lnTo>
                <a:lnTo>
                  <a:pt x="15230" y="3388"/>
                </a:lnTo>
                <a:lnTo>
                  <a:pt x="15240" y="3380"/>
                </a:lnTo>
                <a:lnTo>
                  <a:pt x="15216" y="3374"/>
                </a:lnTo>
                <a:lnTo>
                  <a:pt x="15203" y="3378"/>
                </a:lnTo>
                <a:lnTo>
                  <a:pt x="15201" y="3389"/>
                </a:lnTo>
                <a:lnTo>
                  <a:pt x="15212" y="3405"/>
                </a:lnTo>
                <a:close/>
                <a:moveTo>
                  <a:pt x="15048" y="3443"/>
                </a:moveTo>
                <a:lnTo>
                  <a:pt x="15038" y="3450"/>
                </a:lnTo>
                <a:lnTo>
                  <a:pt x="15028" y="3456"/>
                </a:lnTo>
                <a:lnTo>
                  <a:pt x="15019" y="3457"/>
                </a:lnTo>
                <a:lnTo>
                  <a:pt x="15007" y="3457"/>
                </a:lnTo>
                <a:lnTo>
                  <a:pt x="15007" y="3475"/>
                </a:lnTo>
                <a:lnTo>
                  <a:pt x="15021" y="3476"/>
                </a:lnTo>
                <a:lnTo>
                  <a:pt x="15039" y="3464"/>
                </a:lnTo>
                <a:lnTo>
                  <a:pt x="15048" y="3443"/>
                </a:lnTo>
                <a:close/>
                <a:moveTo>
                  <a:pt x="15002" y="3476"/>
                </a:moveTo>
                <a:lnTo>
                  <a:pt x="15002" y="3476"/>
                </a:lnTo>
                <a:lnTo>
                  <a:pt x="15002" y="3476"/>
                </a:lnTo>
                <a:lnTo>
                  <a:pt x="15002" y="3476"/>
                </a:lnTo>
                <a:lnTo>
                  <a:pt x="15002" y="3477"/>
                </a:lnTo>
                <a:lnTo>
                  <a:pt x="15003" y="3476"/>
                </a:lnTo>
                <a:lnTo>
                  <a:pt x="15002" y="3476"/>
                </a:lnTo>
                <a:close/>
                <a:moveTo>
                  <a:pt x="15119" y="3392"/>
                </a:moveTo>
                <a:lnTo>
                  <a:pt x="15105" y="3386"/>
                </a:lnTo>
                <a:lnTo>
                  <a:pt x="15090" y="3389"/>
                </a:lnTo>
                <a:lnTo>
                  <a:pt x="15075" y="3398"/>
                </a:lnTo>
                <a:lnTo>
                  <a:pt x="15061" y="3410"/>
                </a:lnTo>
                <a:lnTo>
                  <a:pt x="15081" y="3415"/>
                </a:lnTo>
                <a:lnTo>
                  <a:pt x="15099" y="3415"/>
                </a:lnTo>
                <a:lnTo>
                  <a:pt x="15113" y="3407"/>
                </a:lnTo>
                <a:lnTo>
                  <a:pt x="15119" y="3392"/>
                </a:lnTo>
                <a:close/>
                <a:moveTo>
                  <a:pt x="15002" y="3477"/>
                </a:moveTo>
                <a:lnTo>
                  <a:pt x="15002" y="3476"/>
                </a:lnTo>
                <a:lnTo>
                  <a:pt x="15002" y="3477"/>
                </a:lnTo>
                <a:close/>
                <a:moveTo>
                  <a:pt x="15178" y="3154"/>
                </a:moveTo>
                <a:lnTo>
                  <a:pt x="15147" y="3182"/>
                </a:lnTo>
                <a:lnTo>
                  <a:pt x="15161" y="3182"/>
                </a:lnTo>
                <a:lnTo>
                  <a:pt x="15196" y="3161"/>
                </a:lnTo>
                <a:lnTo>
                  <a:pt x="15220" y="3131"/>
                </a:lnTo>
                <a:lnTo>
                  <a:pt x="15239" y="3118"/>
                </a:lnTo>
                <a:lnTo>
                  <a:pt x="15220" y="3116"/>
                </a:lnTo>
                <a:lnTo>
                  <a:pt x="15191" y="3127"/>
                </a:lnTo>
                <a:lnTo>
                  <a:pt x="15178" y="3154"/>
                </a:lnTo>
                <a:close/>
                <a:moveTo>
                  <a:pt x="15231" y="3102"/>
                </a:moveTo>
                <a:lnTo>
                  <a:pt x="15233" y="3102"/>
                </a:lnTo>
                <a:lnTo>
                  <a:pt x="15233" y="3102"/>
                </a:lnTo>
                <a:lnTo>
                  <a:pt x="15231" y="3100"/>
                </a:lnTo>
                <a:lnTo>
                  <a:pt x="15231" y="3102"/>
                </a:lnTo>
                <a:close/>
                <a:moveTo>
                  <a:pt x="15220" y="3245"/>
                </a:moveTo>
                <a:lnTo>
                  <a:pt x="15196" y="3247"/>
                </a:lnTo>
                <a:lnTo>
                  <a:pt x="15169" y="3254"/>
                </a:lnTo>
                <a:lnTo>
                  <a:pt x="15145" y="3266"/>
                </a:lnTo>
                <a:lnTo>
                  <a:pt x="15128" y="3284"/>
                </a:lnTo>
                <a:lnTo>
                  <a:pt x="15155" y="3281"/>
                </a:lnTo>
                <a:lnTo>
                  <a:pt x="15183" y="3276"/>
                </a:lnTo>
                <a:lnTo>
                  <a:pt x="15206" y="3263"/>
                </a:lnTo>
                <a:lnTo>
                  <a:pt x="15220" y="3245"/>
                </a:lnTo>
                <a:close/>
                <a:moveTo>
                  <a:pt x="14851" y="2067"/>
                </a:moveTo>
                <a:lnTo>
                  <a:pt x="14825" y="2083"/>
                </a:lnTo>
                <a:lnTo>
                  <a:pt x="14847" y="2090"/>
                </a:lnTo>
                <a:lnTo>
                  <a:pt x="14889" y="2083"/>
                </a:lnTo>
                <a:lnTo>
                  <a:pt x="14921" y="2064"/>
                </a:lnTo>
                <a:lnTo>
                  <a:pt x="14904" y="2057"/>
                </a:lnTo>
                <a:lnTo>
                  <a:pt x="14886" y="2060"/>
                </a:lnTo>
                <a:lnTo>
                  <a:pt x="14870" y="2067"/>
                </a:lnTo>
                <a:lnTo>
                  <a:pt x="14851" y="2067"/>
                </a:lnTo>
                <a:close/>
                <a:moveTo>
                  <a:pt x="14980" y="3648"/>
                </a:moveTo>
                <a:lnTo>
                  <a:pt x="14998" y="3654"/>
                </a:lnTo>
                <a:lnTo>
                  <a:pt x="15017" y="3650"/>
                </a:lnTo>
                <a:lnTo>
                  <a:pt x="15043" y="3638"/>
                </a:lnTo>
                <a:lnTo>
                  <a:pt x="15082" y="3615"/>
                </a:lnTo>
                <a:lnTo>
                  <a:pt x="15054" y="3612"/>
                </a:lnTo>
                <a:lnTo>
                  <a:pt x="15028" y="3617"/>
                </a:lnTo>
                <a:lnTo>
                  <a:pt x="15001" y="3630"/>
                </a:lnTo>
                <a:lnTo>
                  <a:pt x="14980" y="3648"/>
                </a:lnTo>
                <a:close/>
                <a:moveTo>
                  <a:pt x="15273" y="1885"/>
                </a:moveTo>
                <a:lnTo>
                  <a:pt x="15275" y="1885"/>
                </a:lnTo>
                <a:lnTo>
                  <a:pt x="15271" y="1886"/>
                </a:lnTo>
                <a:lnTo>
                  <a:pt x="15272" y="1885"/>
                </a:lnTo>
                <a:lnTo>
                  <a:pt x="15273" y="1885"/>
                </a:lnTo>
                <a:close/>
                <a:moveTo>
                  <a:pt x="15277" y="1883"/>
                </a:moveTo>
                <a:lnTo>
                  <a:pt x="15295" y="1862"/>
                </a:lnTo>
                <a:lnTo>
                  <a:pt x="15291" y="1844"/>
                </a:lnTo>
                <a:lnTo>
                  <a:pt x="15276" y="1840"/>
                </a:lnTo>
                <a:lnTo>
                  <a:pt x="15258" y="1862"/>
                </a:lnTo>
                <a:lnTo>
                  <a:pt x="15235" y="1904"/>
                </a:lnTo>
                <a:lnTo>
                  <a:pt x="15243" y="1931"/>
                </a:lnTo>
                <a:lnTo>
                  <a:pt x="15262" y="1928"/>
                </a:lnTo>
                <a:lnTo>
                  <a:pt x="15277" y="1883"/>
                </a:lnTo>
                <a:close/>
                <a:moveTo>
                  <a:pt x="15226" y="1925"/>
                </a:moveTo>
                <a:lnTo>
                  <a:pt x="15225" y="1925"/>
                </a:lnTo>
                <a:lnTo>
                  <a:pt x="15225" y="1925"/>
                </a:lnTo>
                <a:lnTo>
                  <a:pt x="15225" y="1925"/>
                </a:lnTo>
                <a:lnTo>
                  <a:pt x="15226" y="1925"/>
                </a:lnTo>
                <a:close/>
                <a:moveTo>
                  <a:pt x="14964" y="2799"/>
                </a:moveTo>
                <a:lnTo>
                  <a:pt x="14964" y="2799"/>
                </a:lnTo>
                <a:lnTo>
                  <a:pt x="14964" y="2799"/>
                </a:lnTo>
                <a:lnTo>
                  <a:pt x="14961" y="2800"/>
                </a:lnTo>
                <a:lnTo>
                  <a:pt x="14964" y="2799"/>
                </a:lnTo>
                <a:close/>
                <a:moveTo>
                  <a:pt x="14881" y="2731"/>
                </a:moveTo>
                <a:lnTo>
                  <a:pt x="14882" y="2731"/>
                </a:lnTo>
                <a:lnTo>
                  <a:pt x="14881" y="2730"/>
                </a:lnTo>
                <a:lnTo>
                  <a:pt x="14881" y="2731"/>
                </a:lnTo>
                <a:lnTo>
                  <a:pt x="14881" y="2731"/>
                </a:lnTo>
                <a:close/>
                <a:moveTo>
                  <a:pt x="15961" y="1928"/>
                </a:moveTo>
                <a:lnTo>
                  <a:pt x="15955" y="1922"/>
                </a:lnTo>
                <a:lnTo>
                  <a:pt x="15957" y="1910"/>
                </a:lnTo>
                <a:lnTo>
                  <a:pt x="15965" y="1901"/>
                </a:lnTo>
                <a:lnTo>
                  <a:pt x="15974" y="1899"/>
                </a:lnTo>
                <a:lnTo>
                  <a:pt x="15978" y="1908"/>
                </a:lnTo>
                <a:lnTo>
                  <a:pt x="15974" y="1915"/>
                </a:lnTo>
                <a:lnTo>
                  <a:pt x="15967" y="1922"/>
                </a:lnTo>
                <a:lnTo>
                  <a:pt x="15961" y="1928"/>
                </a:lnTo>
                <a:close/>
                <a:moveTo>
                  <a:pt x="15941" y="1967"/>
                </a:moveTo>
                <a:lnTo>
                  <a:pt x="15939" y="1960"/>
                </a:lnTo>
                <a:lnTo>
                  <a:pt x="15943" y="1956"/>
                </a:lnTo>
                <a:lnTo>
                  <a:pt x="15950" y="1955"/>
                </a:lnTo>
                <a:lnTo>
                  <a:pt x="15956" y="1955"/>
                </a:lnTo>
                <a:lnTo>
                  <a:pt x="15957" y="1962"/>
                </a:lnTo>
                <a:lnTo>
                  <a:pt x="15955" y="1967"/>
                </a:lnTo>
                <a:lnTo>
                  <a:pt x="15948" y="1969"/>
                </a:lnTo>
                <a:lnTo>
                  <a:pt x="15941" y="1967"/>
                </a:lnTo>
                <a:close/>
                <a:moveTo>
                  <a:pt x="15868" y="1961"/>
                </a:moveTo>
                <a:lnTo>
                  <a:pt x="15874" y="1962"/>
                </a:lnTo>
                <a:lnTo>
                  <a:pt x="15877" y="1970"/>
                </a:lnTo>
                <a:lnTo>
                  <a:pt x="15877" y="1980"/>
                </a:lnTo>
                <a:lnTo>
                  <a:pt x="15878" y="1989"/>
                </a:lnTo>
                <a:lnTo>
                  <a:pt x="15866" y="1985"/>
                </a:lnTo>
                <a:lnTo>
                  <a:pt x="15860" y="1981"/>
                </a:lnTo>
                <a:lnTo>
                  <a:pt x="15862" y="1974"/>
                </a:lnTo>
                <a:lnTo>
                  <a:pt x="15868" y="1961"/>
                </a:lnTo>
                <a:close/>
                <a:moveTo>
                  <a:pt x="15845" y="2016"/>
                </a:moveTo>
                <a:lnTo>
                  <a:pt x="15848" y="2011"/>
                </a:lnTo>
                <a:lnTo>
                  <a:pt x="15849" y="2011"/>
                </a:lnTo>
                <a:lnTo>
                  <a:pt x="15848" y="2013"/>
                </a:lnTo>
                <a:lnTo>
                  <a:pt x="15845" y="2016"/>
                </a:lnTo>
                <a:lnTo>
                  <a:pt x="15840" y="2011"/>
                </a:lnTo>
                <a:lnTo>
                  <a:pt x="15841" y="2004"/>
                </a:lnTo>
                <a:lnTo>
                  <a:pt x="15844" y="2004"/>
                </a:lnTo>
                <a:lnTo>
                  <a:pt x="15845" y="2016"/>
                </a:lnTo>
                <a:close/>
                <a:moveTo>
                  <a:pt x="15813" y="1948"/>
                </a:moveTo>
                <a:lnTo>
                  <a:pt x="15816" y="1938"/>
                </a:lnTo>
                <a:lnTo>
                  <a:pt x="15821" y="1932"/>
                </a:lnTo>
                <a:lnTo>
                  <a:pt x="15827" y="1928"/>
                </a:lnTo>
                <a:lnTo>
                  <a:pt x="15841" y="1927"/>
                </a:lnTo>
                <a:lnTo>
                  <a:pt x="15827" y="1938"/>
                </a:lnTo>
                <a:lnTo>
                  <a:pt x="15813" y="1948"/>
                </a:lnTo>
                <a:close/>
                <a:moveTo>
                  <a:pt x="15785" y="1957"/>
                </a:moveTo>
                <a:lnTo>
                  <a:pt x="15776" y="1957"/>
                </a:lnTo>
                <a:lnTo>
                  <a:pt x="15774" y="1952"/>
                </a:lnTo>
                <a:lnTo>
                  <a:pt x="15779" y="1947"/>
                </a:lnTo>
                <a:lnTo>
                  <a:pt x="15789" y="1943"/>
                </a:lnTo>
                <a:lnTo>
                  <a:pt x="15788" y="1953"/>
                </a:lnTo>
                <a:lnTo>
                  <a:pt x="15785" y="1957"/>
                </a:lnTo>
                <a:close/>
                <a:moveTo>
                  <a:pt x="15874" y="2203"/>
                </a:moveTo>
                <a:lnTo>
                  <a:pt x="15860" y="2212"/>
                </a:lnTo>
                <a:lnTo>
                  <a:pt x="15850" y="2220"/>
                </a:lnTo>
                <a:lnTo>
                  <a:pt x="15848" y="2213"/>
                </a:lnTo>
                <a:lnTo>
                  <a:pt x="15850" y="2209"/>
                </a:lnTo>
                <a:lnTo>
                  <a:pt x="15859" y="2206"/>
                </a:lnTo>
                <a:lnTo>
                  <a:pt x="15874" y="2203"/>
                </a:lnTo>
                <a:close/>
                <a:moveTo>
                  <a:pt x="15658" y="2309"/>
                </a:moveTo>
                <a:lnTo>
                  <a:pt x="15633" y="2335"/>
                </a:lnTo>
                <a:lnTo>
                  <a:pt x="15604" y="2346"/>
                </a:lnTo>
                <a:lnTo>
                  <a:pt x="15575" y="2346"/>
                </a:lnTo>
                <a:lnTo>
                  <a:pt x="15543" y="2342"/>
                </a:lnTo>
                <a:lnTo>
                  <a:pt x="15574" y="2324"/>
                </a:lnTo>
                <a:lnTo>
                  <a:pt x="15617" y="2306"/>
                </a:lnTo>
                <a:lnTo>
                  <a:pt x="15652" y="2298"/>
                </a:lnTo>
                <a:lnTo>
                  <a:pt x="15658" y="2309"/>
                </a:lnTo>
                <a:close/>
                <a:moveTo>
                  <a:pt x="15613" y="2384"/>
                </a:moveTo>
                <a:lnTo>
                  <a:pt x="15617" y="2380"/>
                </a:lnTo>
                <a:lnTo>
                  <a:pt x="15618" y="2380"/>
                </a:lnTo>
                <a:lnTo>
                  <a:pt x="15616" y="2381"/>
                </a:lnTo>
                <a:lnTo>
                  <a:pt x="15613" y="2384"/>
                </a:lnTo>
                <a:lnTo>
                  <a:pt x="15612" y="2380"/>
                </a:lnTo>
                <a:lnTo>
                  <a:pt x="15615" y="2376"/>
                </a:lnTo>
                <a:lnTo>
                  <a:pt x="15616" y="2376"/>
                </a:lnTo>
                <a:lnTo>
                  <a:pt x="15613" y="2384"/>
                </a:lnTo>
                <a:close/>
                <a:moveTo>
                  <a:pt x="15543" y="2426"/>
                </a:moveTo>
                <a:lnTo>
                  <a:pt x="15546" y="2422"/>
                </a:lnTo>
                <a:lnTo>
                  <a:pt x="15547" y="2422"/>
                </a:lnTo>
                <a:lnTo>
                  <a:pt x="15546" y="2423"/>
                </a:lnTo>
                <a:lnTo>
                  <a:pt x="15543" y="2426"/>
                </a:lnTo>
                <a:lnTo>
                  <a:pt x="15540" y="2422"/>
                </a:lnTo>
                <a:lnTo>
                  <a:pt x="15541" y="2417"/>
                </a:lnTo>
                <a:lnTo>
                  <a:pt x="15543" y="2417"/>
                </a:lnTo>
                <a:lnTo>
                  <a:pt x="15543" y="2426"/>
                </a:lnTo>
                <a:close/>
                <a:moveTo>
                  <a:pt x="15526" y="2444"/>
                </a:moveTo>
                <a:lnTo>
                  <a:pt x="15514" y="2441"/>
                </a:lnTo>
                <a:lnTo>
                  <a:pt x="15510" y="2435"/>
                </a:lnTo>
                <a:lnTo>
                  <a:pt x="15515" y="2431"/>
                </a:lnTo>
                <a:lnTo>
                  <a:pt x="15526" y="2436"/>
                </a:lnTo>
                <a:lnTo>
                  <a:pt x="15526" y="2440"/>
                </a:lnTo>
                <a:lnTo>
                  <a:pt x="15526" y="2444"/>
                </a:lnTo>
                <a:close/>
                <a:moveTo>
                  <a:pt x="15551" y="2368"/>
                </a:moveTo>
                <a:lnTo>
                  <a:pt x="15532" y="2405"/>
                </a:lnTo>
                <a:lnTo>
                  <a:pt x="15523" y="2413"/>
                </a:lnTo>
                <a:lnTo>
                  <a:pt x="15519" y="2398"/>
                </a:lnTo>
                <a:lnTo>
                  <a:pt x="15508" y="2363"/>
                </a:lnTo>
                <a:lnTo>
                  <a:pt x="15518" y="2365"/>
                </a:lnTo>
                <a:lnTo>
                  <a:pt x="15528" y="2366"/>
                </a:lnTo>
                <a:lnTo>
                  <a:pt x="15540" y="2367"/>
                </a:lnTo>
                <a:lnTo>
                  <a:pt x="15551" y="2368"/>
                </a:lnTo>
                <a:close/>
                <a:moveTo>
                  <a:pt x="15466" y="2445"/>
                </a:moveTo>
                <a:lnTo>
                  <a:pt x="15461" y="2418"/>
                </a:lnTo>
                <a:lnTo>
                  <a:pt x="15461" y="2399"/>
                </a:lnTo>
                <a:lnTo>
                  <a:pt x="15472" y="2385"/>
                </a:lnTo>
                <a:lnTo>
                  <a:pt x="15496" y="2372"/>
                </a:lnTo>
                <a:lnTo>
                  <a:pt x="15496" y="2393"/>
                </a:lnTo>
                <a:lnTo>
                  <a:pt x="15490" y="2410"/>
                </a:lnTo>
                <a:lnTo>
                  <a:pt x="15478" y="2427"/>
                </a:lnTo>
                <a:lnTo>
                  <a:pt x="15466" y="2445"/>
                </a:lnTo>
                <a:close/>
                <a:moveTo>
                  <a:pt x="15445" y="2175"/>
                </a:moveTo>
                <a:lnTo>
                  <a:pt x="15452" y="2177"/>
                </a:lnTo>
                <a:lnTo>
                  <a:pt x="15445" y="2175"/>
                </a:lnTo>
                <a:lnTo>
                  <a:pt x="15448" y="2170"/>
                </a:lnTo>
                <a:lnTo>
                  <a:pt x="15454" y="2170"/>
                </a:lnTo>
                <a:lnTo>
                  <a:pt x="15455" y="2172"/>
                </a:lnTo>
                <a:lnTo>
                  <a:pt x="15445" y="2175"/>
                </a:lnTo>
                <a:close/>
                <a:moveTo>
                  <a:pt x="15536" y="2142"/>
                </a:moveTo>
                <a:lnTo>
                  <a:pt x="15532" y="2156"/>
                </a:lnTo>
                <a:lnTo>
                  <a:pt x="15518" y="2171"/>
                </a:lnTo>
                <a:lnTo>
                  <a:pt x="15500" y="2186"/>
                </a:lnTo>
                <a:lnTo>
                  <a:pt x="15486" y="2202"/>
                </a:lnTo>
                <a:lnTo>
                  <a:pt x="15491" y="2181"/>
                </a:lnTo>
                <a:lnTo>
                  <a:pt x="15503" y="2162"/>
                </a:lnTo>
                <a:lnTo>
                  <a:pt x="15518" y="2148"/>
                </a:lnTo>
                <a:lnTo>
                  <a:pt x="15536" y="2142"/>
                </a:lnTo>
                <a:close/>
                <a:moveTo>
                  <a:pt x="15538" y="2106"/>
                </a:moveTo>
                <a:lnTo>
                  <a:pt x="15531" y="2111"/>
                </a:lnTo>
                <a:lnTo>
                  <a:pt x="15529" y="2113"/>
                </a:lnTo>
                <a:lnTo>
                  <a:pt x="15533" y="2110"/>
                </a:lnTo>
                <a:lnTo>
                  <a:pt x="15538" y="2106"/>
                </a:lnTo>
                <a:lnTo>
                  <a:pt x="15541" y="2114"/>
                </a:lnTo>
                <a:lnTo>
                  <a:pt x="15536" y="2119"/>
                </a:lnTo>
                <a:lnTo>
                  <a:pt x="15532" y="2119"/>
                </a:lnTo>
                <a:lnTo>
                  <a:pt x="15538" y="2106"/>
                </a:lnTo>
                <a:close/>
                <a:moveTo>
                  <a:pt x="15554" y="2156"/>
                </a:moveTo>
                <a:lnTo>
                  <a:pt x="15547" y="2160"/>
                </a:lnTo>
                <a:lnTo>
                  <a:pt x="15542" y="2155"/>
                </a:lnTo>
                <a:lnTo>
                  <a:pt x="15541" y="2147"/>
                </a:lnTo>
                <a:lnTo>
                  <a:pt x="15548" y="2149"/>
                </a:lnTo>
                <a:lnTo>
                  <a:pt x="15552" y="2152"/>
                </a:lnTo>
                <a:lnTo>
                  <a:pt x="15554" y="2156"/>
                </a:lnTo>
                <a:close/>
                <a:moveTo>
                  <a:pt x="15564" y="2120"/>
                </a:moveTo>
                <a:lnTo>
                  <a:pt x="15568" y="2124"/>
                </a:lnTo>
                <a:lnTo>
                  <a:pt x="15566" y="2128"/>
                </a:lnTo>
                <a:lnTo>
                  <a:pt x="15564" y="2132"/>
                </a:lnTo>
                <a:lnTo>
                  <a:pt x="15560" y="2135"/>
                </a:lnTo>
                <a:lnTo>
                  <a:pt x="15556" y="2132"/>
                </a:lnTo>
                <a:lnTo>
                  <a:pt x="15556" y="2128"/>
                </a:lnTo>
                <a:lnTo>
                  <a:pt x="15560" y="2124"/>
                </a:lnTo>
                <a:lnTo>
                  <a:pt x="15564" y="2120"/>
                </a:lnTo>
                <a:close/>
                <a:moveTo>
                  <a:pt x="15597" y="2176"/>
                </a:moveTo>
                <a:lnTo>
                  <a:pt x="15594" y="2186"/>
                </a:lnTo>
                <a:lnTo>
                  <a:pt x="15590" y="2194"/>
                </a:lnTo>
                <a:lnTo>
                  <a:pt x="15583" y="2198"/>
                </a:lnTo>
                <a:lnTo>
                  <a:pt x="15575" y="2202"/>
                </a:lnTo>
                <a:lnTo>
                  <a:pt x="15574" y="2190"/>
                </a:lnTo>
                <a:lnTo>
                  <a:pt x="15576" y="2184"/>
                </a:lnTo>
                <a:lnTo>
                  <a:pt x="15583" y="2180"/>
                </a:lnTo>
                <a:lnTo>
                  <a:pt x="15597" y="2176"/>
                </a:lnTo>
                <a:close/>
                <a:moveTo>
                  <a:pt x="15613" y="2223"/>
                </a:moveTo>
                <a:lnTo>
                  <a:pt x="15604" y="2230"/>
                </a:lnTo>
                <a:lnTo>
                  <a:pt x="15594" y="2239"/>
                </a:lnTo>
                <a:lnTo>
                  <a:pt x="15585" y="2244"/>
                </a:lnTo>
                <a:lnTo>
                  <a:pt x="15578" y="2242"/>
                </a:lnTo>
                <a:lnTo>
                  <a:pt x="15587" y="2234"/>
                </a:lnTo>
                <a:lnTo>
                  <a:pt x="15596" y="2225"/>
                </a:lnTo>
                <a:lnTo>
                  <a:pt x="15604" y="2218"/>
                </a:lnTo>
                <a:lnTo>
                  <a:pt x="15613" y="2223"/>
                </a:lnTo>
                <a:close/>
                <a:moveTo>
                  <a:pt x="15629" y="2079"/>
                </a:moveTo>
                <a:lnTo>
                  <a:pt x="15650" y="2087"/>
                </a:lnTo>
                <a:lnTo>
                  <a:pt x="15633" y="2106"/>
                </a:lnTo>
                <a:lnTo>
                  <a:pt x="15602" y="2119"/>
                </a:lnTo>
                <a:lnTo>
                  <a:pt x="15584" y="2104"/>
                </a:lnTo>
                <a:lnTo>
                  <a:pt x="15590" y="2093"/>
                </a:lnTo>
                <a:lnTo>
                  <a:pt x="15602" y="2086"/>
                </a:lnTo>
                <a:lnTo>
                  <a:pt x="15617" y="2079"/>
                </a:lnTo>
                <a:lnTo>
                  <a:pt x="15629" y="2079"/>
                </a:lnTo>
                <a:close/>
                <a:moveTo>
                  <a:pt x="15627" y="1887"/>
                </a:moveTo>
                <a:lnTo>
                  <a:pt x="15633" y="1889"/>
                </a:lnTo>
                <a:lnTo>
                  <a:pt x="15636" y="1891"/>
                </a:lnTo>
                <a:lnTo>
                  <a:pt x="15636" y="1895"/>
                </a:lnTo>
                <a:lnTo>
                  <a:pt x="15634" y="1900"/>
                </a:lnTo>
                <a:lnTo>
                  <a:pt x="15629" y="1897"/>
                </a:lnTo>
                <a:lnTo>
                  <a:pt x="15625" y="1895"/>
                </a:lnTo>
                <a:lnTo>
                  <a:pt x="15625" y="1892"/>
                </a:lnTo>
                <a:lnTo>
                  <a:pt x="15627" y="1887"/>
                </a:lnTo>
                <a:close/>
                <a:moveTo>
                  <a:pt x="15641" y="2241"/>
                </a:moveTo>
                <a:lnTo>
                  <a:pt x="15638" y="2245"/>
                </a:lnTo>
                <a:lnTo>
                  <a:pt x="15633" y="2249"/>
                </a:lnTo>
                <a:lnTo>
                  <a:pt x="15629" y="2250"/>
                </a:lnTo>
                <a:lnTo>
                  <a:pt x="15624" y="2246"/>
                </a:lnTo>
                <a:lnTo>
                  <a:pt x="15629" y="2242"/>
                </a:lnTo>
                <a:lnTo>
                  <a:pt x="15634" y="2237"/>
                </a:lnTo>
                <a:lnTo>
                  <a:pt x="15638" y="2236"/>
                </a:lnTo>
                <a:lnTo>
                  <a:pt x="15641" y="2241"/>
                </a:lnTo>
                <a:close/>
                <a:moveTo>
                  <a:pt x="15640" y="2203"/>
                </a:moveTo>
                <a:lnTo>
                  <a:pt x="15640" y="2197"/>
                </a:lnTo>
                <a:lnTo>
                  <a:pt x="15644" y="2190"/>
                </a:lnTo>
                <a:lnTo>
                  <a:pt x="15649" y="2186"/>
                </a:lnTo>
                <a:lnTo>
                  <a:pt x="15655" y="2181"/>
                </a:lnTo>
                <a:lnTo>
                  <a:pt x="15657" y="2192"/>
                </a:lnTo>
                <a:lnTo>
                  <a:pt x="15654" y="2199"/>
                </a:lnTo>
                <a:lnTo>
                  <a:pt x="15648" y="2202"/>
                </a:lnTo>
                <a:lnTo>
                  <a:pt x="15640" y="2203"/>
                </a:lnTo>
                <a:close/>
                <a:moveTo>
                  <a:pt x="15306" y="2692"/>
                </a:moveTo>
                <a:lnTo>
                  <a:pt x="15292" y="2684"/>
                </a:lnTo>
                <a:lnTo>
                  <a:pt x="15294" y="2670"/>
                </a:lnTo>
                <a:lnTo>
                  <a:pt x="15308" y="2660"/>
                </a:lnTo>
                <a:lnTo>
                  <a:pt x="15327" y="2656"/>
                </a:lnTo>
                <a:lnTo>
                  <a:pt x="15317" y="2674"/>
                </a:lnTo>
                <a:lnTo>
                  <a:pt x="15306" y="2692"/>
                </a:lnTo>
                <a:close/>
                <a:moveTo>
                  <a:pt x="15275" y="2754"/>
                </a:moveTo>
                <a:lnTo>
                  <a:pt x="15280" y="2749"/>
                </a:lnTo>
                <a:lnTo>
                  <a:pt x="15280" y="2748"/>
                </a:lnTo>
                <a:lnTo>
                  <a:pt x="15278" y="2750"/>
                </a:lnTo>
                <a:lnTo>
                  <a:pt x="15275" y="2754"/>
                </a:lnTo>
                <a:lnTo>
                  <a:pt x="15271" y="2748"/>
                </a:lnTo>
                <a:lnTo>
                  <a:pt x="15273" y="2741"/>
                </a:lnTo>
                <a:lnTo>
                  <a:pt x="15277" y="2743"/>
                </a:lnTo>
                <a:lnTo>
                  <a:pt x="15275" y="2754"/>
                </a:lnTo>
                <a:close/>
                <a:moveTo>
                  <a:pt x="15090" y="2955"/>
                </a:moveTo>
                <a:lnTo>
                  <a:pt x="15093" y="2978"/>
                </a:lnTo>
                <a:lnTo>
                  <a:pt x="15077" y="2987"/>
                </a:lnTo>
                <a:lnTo>
                  <a:pt x="15054" y="2985"/>
                </a:lnTo>
                <a:lnTo>
                  <a:pt x="15037" y="2971"/>
                </a:lnTo>
                <a:lnTo>
                  <a:pt x="15084" y="2948"/>
                </a:lnTo>
                <a:lnTo>
                  <a:pt x="15123" y="2922"/>
                </a:lnTo>
                <a:lnTo>
                  <a:pt x="15132" y="2917"/>
                </a:lnTo>
                <a:lnTo>
                  <a:pt x="15090" y="2955"/>
                </a:lnTo>
                <a:close/>
                <a:moveTo>
                  <a:pt x="15089" y="3127"/>
                </a:moveTo>
                <a:lnTo>
                  <a:pt x="15090" y="3126"/>
                </a:lnTo>
                <a:lnTo>
                  <a:pt x="15089" y="3127"/>
                </a:lnTo>
                <a:lnTo>
                  <a:pt x="15090" y="3125"/>
                </a:lnTo>
                <a:lnTo>
                  <a:pt x="15089" y="3127"/>
                </a:lnTo>
                <a:close/>
                <a:moveTo>
                  <a:pt x="14996" y="2964"/>
                </a:moveTo>
                <a:lnTo>
                  <a:pt x="15001" y="2949"/>
                </a:lnTo>
                <a:lnTo>
                  <a:pt x="15026" y="2927"/>
                </a:lnTo>
                <a:lnTo>
                  <a:pt x="15059" y="2908"/>
                </a:lnTo>
                <a:lnTo>
                  <a:pt x="15080" y="2898"/>
                </a:lnTo>
                <a:lnTo>
                  <a:pt x="15068" y="2932"/>
                </a:lnTo>
                <a:lnTo>
                  <a:pt x="15048" y="2941"/>
                </a:lnTo>
                <a:lnTo>
                  <a:pt x="15022" y="2945"/>
                </a:lnTo>
                <a:lnTo>
                  <a:pt x="14996" y="2964"/>
                </a:lnTo>
                <a:close/>
                <a:moveTo>
                  <a:pt x="15022" y="2918"/>
                </a:moveTo>
                <a:lnTo>
                  <a:pt x="15022" y="2918"/>
                </a:lnTo>
                <a:lnTo>
                  <a:pt x="15022" y="2918"/>
                </a:lnTo>
                <a:lnTo>
                  <a:pt x="15025" y="2917"/>
                </a:lnTo>
                <a:lnTo>
                  <a:pt x="15022" y="2918"/>
                </a:lnTo>
                <a:close/>
                <a:moveTo>
                  <a:pt x="15093" y="2847"/>
                </a:moveTo>
                <a:lnTo>
                  <a:pt x="15099" y="2847"/>
                </a:lnTo>
                <a:lnTo>
                  <a:pt x="15107" y="2848"/>
                </a:lnTo>
                <a:lnTo>
                  <a:pt x="15104" y="2850"/>
                </a:lnTo>
                <a:lnTo>
                  <a:pt x="15098" y="2852"/>
                </a:lnTo>
                <a:lnTo>
                  <a:pt x="15093" y="2851"/>
                </a:lnTo>
                <a:lnTo>
                  <a:pt x="15093" y="2847"/>
                </a:lnTo>
                <a:close/>
                <a:moveTo>
                  <a:pt x="14945" y="2934"/>
                </a:moveTo>
                <a:lnTo>
                  <a:pt x="14947" y="2935"/>
                </a:lnTo>
                <a:lnTo>
                  <a:pt x="14947" y="2935"/>
                </a:lnTo>
                <a:lnTo>
                  <a:pt x="14947" y="2934"/>
                </a:lnTo>
                <a:lnTo>
                  <a:pt x="14945" y="2934"/>
                </a:lnTo>
                <a:lnTo>
                  <a:pt x="14949" y="2930"/>
                </a:lnTo>
                <a:lnTo>
                  <a:pt x="14945" y="2934"/>
                </a:lnTo>
                <a:close/>
                <a:moveTo>
                  <a:pt x="14875" y="2825"/>
                </a:moveTo>
                <a:lnTo>
                  <a:pt x="14880" y="2815"/>
                </a:lnTo>
                <a:lnTo>
                  <a:pt x="14893" y="2806"/>
                </a:lnTo>
                <a:lnTo>
                  <a:pt x="14908" y="2801"/>
                </a:lnTo>
                <a:lnTo>
                  <a:pt x="14922" y="2803"/>
                </a:lnTo>
                <a:lnTo>
                  <a:pt x="14913" y="2814"/>
                </a:lnTo>
                <a:lnTo>
                  <a:pt x="14902" y="2822"/>
                </a:lnTo>
                <a:lnTo>
                  <a:pt x="14890" y="2825"/>
                </a:lnTo>
                <a:lnTo>
                  <a:pt x="14875" y="2825"/>
                </a:lnTo>
                <a:close/>
                <a:moveTo>
                  <a:pt x="14851" y="2736"/>
                </a:moveTo>
                <a:lnTo>
                  <a:pt x="14852" y="2736"/>
                </a:lnTo>
                <a:lnTo>
                  <a:pt x="14851" y="2736"/>
                </a:lnTo>
                <a:lnTo>
                  <a:pt x="14853" y="2734"/>
                </a:lnTo>
                <a:lnTo>
                  <a:pt x="14851" y="2736"/>
                </a:lnTo>
                <a:close/>
                <a:moveTo>
                  <a:pt x="14811" y="2590"/>
                </a:moveTo>
                <a:lnTo>
                  <a:pt x="14819" y="2585"/>
                </a:lnTo>
                <a:lnTo>
                  <a:pt x="14824" y="2585"/>
                </a:lnTo>
                <a:lnTo>
                  <a:pt x="14830" y="2589"/>
                </a:lnTo>
                <a:lnTo>
                  <a:pt x="14839" y="2598"/>
                </a:lnTo>
                <a:lnTo>
                  <a:pt x="14824" y="2594"/>
                </a:lnTo>
                <a:lnTo>
                  <a:pt x="14811" y="2590"/>
                </a:lnTo>
                <a:close/>
                <a:moveTo>
                  <a:pt x="14825" y="2771"/>
                </a:moveTo>
                <a:lnTo>
                  <a:pt x="14823" y="2769"/>
                </a:lnTo>
                <a:lnTo>
                  <a:pt x="14821" y="2769"/>
                </a:lnTo>
                <a:lnTo>
                  <a:pt x="14821" y="2767"/>
                </a:lnTo>
                <a:lnTo>
                  <a:pt x="14823" y="2766"/>
                </a:lnTo>
                <a:lnTo>
                  <a:pt x="14824" y="2766"/>
                </a:lnTo>
                <a:lnTo>
                  <a:pt x="14825" y="2767"/>
                </a:lnTo>
                <a:lnTo>
                  <a:pt x="14825" y="2768"/>
                </a:lnTo>
                <a:lnTo>
                  <a:pt x="14825" y="2771"/>
                </a:lnTo>
                <a:close/>
                <a:moveTo>
                  <a:pt x="14810" y="2808"/>
                </a:moveTo>
                <a:lnTo>
                  <a:pt x="14807" y="2806"/>
                </a:lnTo>
                <a:lnTo>
                  <a:pt x="14805" y="2806"/>
                </a:lnTo>
                <a:lnTo>
                  <a:pt x="14807" y="2804"/>
                </a:lnTo>
                <a:lnTo>
                  <a:pt x="14809" y="2804"/>
                </a:lnTo>
                <a:lnTo>
                  <a:pt x="14810" y="2805"/>
                </a:lnTo>
                <a:lnTo>
                  <a:pt x="14810" y="2808"/>
                </a:lnTo>
                <a:close/>
                <a:moveTo>
                  <a:pt x="14796" y="2674"/>
                </a:moveTo>
                <a:lnTo>
                  <a:pt x="14791" y="2674"/>
                </a:lnTo>
                <a:lnTo>
                  <a:pt x="14786" y="2674"/>
                </a:lnTo>
                <a:lnTo>
                  <a:pt x="14782" y="2671"/>
                </a:lnTo>
                <a:lnTo>
                  <a:pt x="14779" y="2666"/>
                </a:lnTo>
                <a:lnTo>
                  <a:pt x="14793" y="2656"/>
                </a:lnTo>
                <a:lnTo>
                  <a:pt x="14803" y="2654"/>
                </a:lnTo>
                <a:lnTo>
                  <a:pt x="14806" y="2659"/>
                </a:lnTo>
                <a:lnTo>
                  <a:pt x="14796" y="2674"/>
                </a:lnTo>
                <a:close/>
                <a:moveTo>
                  <a:pt x="14811" y="5790"/>
                </a:moveTo>
                <a:lnTo>
                  <a:pt x="14821" y="5790"/>
                </a:lnTo>
                <a:lnTo>
                  <a:pt x="14833" y="5791"/>
                </a:lnTo>
                <a:lnTo>
                  <a:pt x="14825" y="5791"/>
                </a:lnTo>
                <a:lnTo>
                  <a:pt x="14817" y="5791"/>
                </a:lnTo>
                <a:lnTo>
                  <a:pt x="14811" y="5793"/>
                </a:lnTo>
                <a:lnTo>
                  <a:pt x="14811" y="5790"/>
                </a:lnTo>
                <a:close/>
                <a:moveTo>
                  <a:pt x="14956" y="5784"/>
                </a:moveTo>
                <a:lnTo>
                  <a:pt x="14951" y="5782"/>
                </a:lnTo>
                <a:lnTo>
                  <a:pt x="14950" y="5782"/>
                </a:lnTo>
                <a:lnTo>
                  <a:pt x="14952" y="5784"/>
                </a:lnTo>
                <a:lnTo>
                  <a:pt x="14956" y="5784"/>
                </a:lnTo>
                <a:lnTo>
                  <a:pt x="14956" y="5785"/>
                </a:lnTo>
                <a:lnTo>
                  <a:pt x="14954" y="5785"/>
                </a:lnTo>
                <a:lnTo>
                  <a:pt x="14952" y="5784"/>
                </a:lnTo>
                <a:lnTo>
                  <a:pt x="14956" y="5784"/>
                </a:lnTo>
                <a:close/>
                <a:moveTo>
                  <a:pt x="15182" y="5551"/>
                </a:moveTo>
                <a:lnTo>
                  <a:pt x="15180" y="5558"/>
                </a:lnTo>
                <a:lnTo>
                  <a:pt x="15178" y="5561"/>
                </a:lnTo>
                <a:lnTo>
                  <a:pt x="15175" y="5560"/>
                </a:lnTo>
                <a:lnTo>
                  <a:pt x="15171" y="5558"/>
                </a:lnTo>
                <a:lnTo>
                  <a:pt x="15171" y="5553"/>
                </a:lnTo>
                <a:lnTo>
                  <a:pt x="15173" y="5551"/>
                </a:lnTo>
                <a:lnTo>
                  <a:pt x="15177" y="5551"/>
                </a:lnTo>
                <a:lnTo>
                  <a:pt x="15182" y="5551"/>
                </a:lnTo>
                <a:close/>
                <a:moveTo>
                  <a:pt x="14731" y="6127"/>
                </a:moveTo>
                <a:lnTo>
                  <a:pt x="14727" y="6132"/>
                </a:lnTo>
                <a:lnTo>
                  <a:pt x="14722" y="6136"/>
                </a:lnTo>
                <a:lnTo>
                  <a:pt x="14718" y="6138"/>
                </a:lnTo>
                <a:lnTo>
                  <a:pt x="14713" y="6138"/>
                </a:lnTo>
                <a:lnTo>
                  <a:pt x="14722" y="6132"/>
                </a:lnTo>
                <a:lnTo>
                  <a:pt x="14731" y="6127"/>
                </a:lnTo>
                <a:close/>
                <a:moveTo>
                  <a:pt x="14746" y="6309"/>
                </a:moveTo>
                <a:lnTo>
                  <a:pt x="14749" y="6312"/>
                </a:lnTo>
                <a:lnTo>
                  <a:pt x="14750" y="6313"/>
                </a:lnTo>
                <a:lnTo>
                  <a:pt x="14750" y="6314"/>
                </a:lnTo>
                <a:lnTo>
                  <a:pt x="14747" y="6314"/>
                </a:lnTo>
                <a:lnTo>
                  <a:pt x="14745" y="6314"/>
                </a:lnTo>
                <a:lnTo>
                  <a:pt x="14744" y="6313"/>
                </a:lnTo>
                <a:lnTo>
                  <a:pt x="14745" y="6311"/>
                </a:lnTo>
                <a:lnTo>
                  <a:pt x="14746" y="6309"/>
                </a:lnTo>
                <a:close/>
                <a:moveTo>
                  <a:pt x="15142" y="6463"/>
                </a:moveTo>
                <a:lnTo>
                  <a:pt x="15137" y="6472"/>
                </a:lnTo>
                <a:lnTo>
                  <a:pt x="15132" y="6477"/>
                </a:lnTo>
                <a:lnTo>
                  <a:pt x="15126" y="6477"/>
                </a:lnTo>
                <a:lnTo>
                  <a:pt x="15115" y="6472"/>
                </a:lnTo>
                <a:lnTo>
                  <a:pt x="15129" y="6467"/>
                </a:lnTo>
                <a:lnTo>
                  <a:pt x="15142" y="6463"/>
                </a:lnTo>
                <a:close/>
                <a:moveTo>
                  <a:pt x="14772" y="6407"/>
                </a:moveTo>
                <a:lnTo>
                  <a:pt x="14848" y="6379"/>
                </a:lnTo>
                <a:lnTo>
                  <a:pt x="14903" y="6356"/>
                </a:lnTo>
                <a:lnTo>
                  <a:pt x="14952" y="6346"/>
                </a:lnTo>
                <a:lnTo>
                  <a:pt x="15010" y="6355"/>
                </a:lnTo>
                <a:lnTo>
                  <a:pt x="14919" y="6383"/>
                </a:lnTo>
                <a:lnTo>
                  <a:pt x="14826" y="6418"/>
                </a:lnTo>
                <a:lnTo>
                  <a:pt x="14795" y="6437"/>
                </a:lnTo>
                <a:lnTo>
                  <a:pt x="14889" y="6419"/>
                </a:lnTo>
                <a:lnTo>
                  <a:pt x="14994" y="6405"/>
                </a:lnTo>
                <a:lnTo>
                  <a:pt x="15099" y="6413"/>
                </a:lnTo>
                <a:lnTo>
                  <a:pt x="15127" y="6433"/>
                </a:lnTo>
                <a:lnTo>
                  <a:pt x="15001" y="6457"/>
                </a:lnTo>
                <a:lnTo>
                  <a:pt x="14933" y="6466"/>
                </a:lnTo>
                <a:lnTo>
                  <a:pt x="14935" y="6483"/>
                </a:lnTo>
                <a:lnTo>
                  <a:pt x="14964" y="6494"/>
                </a:lnTo>
                <a:lnTo>
                  <a:pt x="14982" y="6481"/>
                </a:lnTo>
                <a:lnTo>
                  <a:pt x="15071" y="6485"/>
                </a:lnTo>
                <a:lnTo>
                  <a:pt x="15184" y="6486"/>
                </a:lnTo>
                <a:lnTo>
                  <a:pt x="15240" y="6499"/>
                </a:lnTo>
                <a:lnTo>
                  <a:pt x="15155" y="6544"/>
                </a:lnTo>
                <a:lnTo>
                  <a:pt x="15138" y="6535"/>
                </a:lnTo>
                <a:lnTo>
                  <a:pt x="15121" y="6531"/>
                </a:lnTo>
                <a:lnTo>
                  <a:pt x="15101" y="6528"/>
                </a:lnTo>
                <a:lnTo>
                  <a:pt x="15082" y="6528"/>
                </a:lnTo>
                <a:lnTo>
                  <a:pt x="15084" y="6527"/>
                </a:lnTo>
                <a:lnTo>
                  <a:pt x="15084" y="6526"/>
                </a:lnTo>
                <a:lnTo>
                  <a:pt x="15079" y="6523"/>
                </a:lnTo>
                <a:lnTo>
                  <a:pt x="15075" y="6522"/>
                </a:lnTo>
                <a:lnTo>
                  <a:pt x="15071" y="6525"/>
                </a:lnTo>
                <a:lnTo>
                  <a:pt x="15068" y="6528"/>
                </a:lnTo>
                <a:lnTo>
                  <a:pt x="15068" y="6530"/>
                </a:lnTo>
                <a:lnTo>
                  <a:pt x="15005" y="6542"/>
                </a:lnTo>
                <a:lnTo>
                  <a:pt x="14949" y="6559"/>
                </a:lnTo>
                <a:lnTo>
                  <a:pt x="14909" y="6563"/>
                </a:lnTo>
                <a:lnTo>
                  <a:pt x="14896" y="6540"/>
                </a:lnTo>
                <a:lnTo>
                  <a:pt x="15002" y="6522"/>
                </a:lnTo>
                <a:lnTo>
                  <a:pt x="14966" y="6514"/>
                </a:lnTo>
                <a:lnTo>
                  <a:pt x="14853" y="6513"/>
                </a:lnTo>
                <a:lnTo>
                  <a:pt x="14728" y="6514"/>
                </a:lnTo>
                <a:lnTo>
                  <a:pt x="14467" y="6513"/>
                </a:lnTo>
                <a:lnTo>
                  <a:pt x="14441" y="6488"/>
                </a:lnTo>
                <a:lnTo>
                  <a:pt x="14569" y="6448"/>
                </a:lnTo>
                <a:lnTo>
                  <a:pt x="14772" y="6407"/>
                </a:lnTo>
                <a:close/>
                <a:moveTo>
                  <a:pt x="14770" y="6330"/>
                </a:moveTo>
                <a:lnTo>
                  <a:pt x="14769" y="6331"/>
                </a:lnTo>
                <a:lnTo>
                  <a:pt x="14769" y="6332"/>
                </a:lnTo>
                <a:lnTo>
                  <a:pt x="14769" y="6331"/>
                </a:lnTo>
                <a:lnTo>
                  <a:pt x="14770" y="6330"/>
                </a:lnTo>
                <a:lnTo>
                  <a:pt x="14770" y="6332"/>
                </a:lnTo>
                <a:lnTo>
                  <a:pt x="14770" y="6334"/>
                </a:lnTo>
                <a:lnTo>
                  <a:pt x="14770" y="6334"/>
                </a:lnTo>
                <a:lnTo>
                  <a:pt x="14770" y="6330"/>
                </a:lnTo>
                <a:close/>
                <a:moveTo>
                  <a:pt x="14809" y="6358"/>
                </a:moveTo>
                <a:lnTo>
                  <a:pt x="14805" y="6364"/>
                </a:lnTo>
                <a:lnTo>
                  <a:pt x="14800" y="6370"/>
                </a:lnTo>
                <a:lnTo>
                  <a:pt x="14781" y="6369"/>
                </a:lnTo>
                <a:lnTo>
                  <a:pt x="14781" y="6365"/>
                </a:lnTo>
                <a:lnTo>
                  <a:pt x="14792" y="6362"/>
                </a:lnTo>
                <a:lnTo>
                  <a:pt x="14809" y="6358"/>
                </a:lnTo>
                <a:close/>
                <a:moveTo>
                  <a:pt x="14786" y="6130"/>
                </a:moveTo>
                <a:lnTo>
                  <a:pt x="14803" y="6122"/>
                </a:lnTo>
                <a:lnTo>
                  <a:pt x="14824" y="6121"/>
                </a:lnTo>
                <a:lnTo>
                  <a:pt x="14844" y="6122"/>
                </a:lnTo>
                <a:lnTo>
                  <a:pt x="14866" y="6124"/>
                </a:lnTo>
                <a:lnTo>
                  <a:pt x="14845" y="6132"/>
                </a:lnTo>
                <a:lnTo>
                  <a:pt x="14817" y="6138"/>
                </a:lnTo>
                <a:lnTo>
                  <a:pt x="14793" y="6136"/>
                </a:lnTo>
                <a:lnTo>
                  <a:pt x="14786" y="6130"/>
                </a:lnTo>
                <a:close/>
                <a:moveTo>
                  <a:pt x="14896" y="5828"/>
                </a:moveTo>
                <a:lnTo>
                  <a:pt x="14895" y="5835"/>
                </a:lnTo>
                <a:lnTo>
                  <a:pt x="14891" y="5837"/>
                </a:lnTo>
                <a:lnTo>
                  <a:pt x="14885" y="5838"/>
                </a:lnTo>
                <a:lnTo>
                  <a:pt x="14879" y="5840"/>
                </a:lnTo>
                <a:lnTo>
                  <a:pt x="14881" y="5832"/>
                </a:lnTo>
                <a:lnTo>
                  <a:pt x="14885" y="5828"/>
                </a:lnTo>
                <a:lnTo>
                  <a:pt x="14890" y="5828"/>
                </a:lnTo>
                <a:lnTo>
                  <a:pt x="14896" y="5828"/>
                </a:lnTo>
                <a:close/>
                <a:moveTo>
                  <a:pt x="14955" y="5959"/>
                </a:moveTo>
                <a:lnTo>
                  <a:pt x="14944" y="5962"/>
                </a:lnTo>
                <a:lnTo>
                  <a:pt x="14930" y="5962"/>
                </a:lnTo>
                <a:lnTo>
                  <a:pt x="14917" y="5959"/>
                </a:lnTo>
                <a:lnTo>
                  <a:pt x="14905" y="5956"/>
                </a:lnTo>
                <a:lnTo>
                  <a:pt x="14917" y="5953"/>
                </a:lnTo>
                <a:lnTo>
                  <a:pt x="14930" y="5953"/>
                </a:lnTo>
                <a:lnTo>
                  <a:pt x="14942" y="5954"/>
                </a:lnTo>
                <a:lnTo>
                  <a:pt x="14955" y="5959"/>
                </a:lnTo>
                <a:close/>
                <a:moveTo>
                  <a:pt x="14987" y="6314"/>
                </a:moveTo>
                <a:lnTo>
                  <a:pt x="14992" y="6314"/>
                </a:lnTo>
                <a:lnTo>
                  <a:pt x="14997" y="6313"/>
                </a:lnTo>
                <a:lnTo>
                  <a:pt x="15001" y="6314"/>
                </a:lnTo>
                <a:lnTo>
                  <a:pt x="15002" y="6320"/>
                </a:lnTo>
                <a:lnTo>
                  <a:pt x="14996" y="6320"/>
                </a:lnTo>
                <a:lnTo>
                  <a:pt x="14991" y="6321"/>
                </a:lnTo>
                <a:lnTo>
                  <a:pt x="14987" y="6320"/>
                </a:lnTo>
                <a:lnTo>
                  <a:pt x="14987" y="6314"/>
                </a:lnTo>
                <a:close/>
                <a:moveTo>
                  <a:pt x="15001" y="6059"/>
                </a:moveTo>
                <a:lnTo>
                  <a:pt x="15001" y="6059"/>
                </a:lnTo>
                <a:lnTo>
                  <a:pt x="15001" y="6059"/>
                </a:lnTo>
                <a:lnTo>
                  <a:pt x="15002" y="6059"/>
                </a:lnTo>
                <a:lnTo>
                  <a:pt x="15001" y="6059"/>
                </a:lnTo>
                <a:close/>
                <a:moveTo>
                  <a:pt x="15031" y="6341"/>
                </a:moveTo>
                <a:lnTo>
                  <a:pt x="15048" y="6336"/>
                </a:lnTo>
                <a:lnTo>
                  <a:pt x="15062" y="6330"/>
                </a:lnTo>
                <a:lnTo>
                  <a:pt x="15063" y="6330"/>
                </a:lnTo>
                <a:lnTo>
                  <a:pt x="15065" y="6330"/>
                </a:lnTo>
                <a:lnTo>
                  <a:pt x="15065" y="6328"/>
                </a:lnTo>
                <a:lnTo>
                  <a:pt x="15075" y="6322"/>
                </a:lnTo>
                <a:lnTo>
                  <a:pt x="15087" y="6314"/>
                </a:lnTo>
                <a:lnTo>
                  <a:pt x="15100" y="6307"/>
                </a:lnTo>
                <a:lnTo>
                  <a:pt x="15115" y="6298"/>
                </a:lnTo>
                <a:lnTo>
                  <a:pt x="15121" y="6309"/>
                </a:lnTo>
                <a:lnTo>
                  <a:pt x="15089" y="6334"/>
                </a:lnTo>
                <a:lnTo>
                  <a:pt x="15049" y="6350"/>
                </a:lnTo>
                <a:lnTo>
                  <a:pt x="15031" y="6341"/>
                </a:lnTo>
                <a:close/>
                <a:moveTo>
                  <a:pt x="15047" y="6285"/>
                </a:moveTo>
                <a:lnTo>
                  <a:pt x="15065" y="6270"/>
                </a:lnTo>
                <a:lnTo>
                  <a:pt x="15077" y="6275"/>
                </a:lnTo>
                <a:lnTo>
                  <a:pt x="15082" y="6290"/>
                </a:lnTo>
                <a:lnTo>
                  <a:pt x="15073" y="6307"/>
                </a:lnTo>
                <a:lnTo>
                  <a:pt x="15067" y="6297"/>
                </a:lnTo>
                <a:lnTo>
                  <a:pt x="15058" y="6295"/>
                </a:lnTo>
                <a:lnTo>
                  <a:pt x="15049" y="6294"/>
                </a:lnTo>
                <a:lnTo>
                  <a:pt x="15047" y="6285"/>
                </a:lnTo>
                <a:close/>
                <a:moveTo>
                  <a:pt x="15175" y="6332"/>
                </a:moveTo>
                <a:lnTo>
                  <a:pt x="15159" y="6341"/>
                </a:lnTo>
                <a:lnTo>
                  <a:pt x="15142" y="6344"/>
                </a:lnTo>
                <a:lnTo>
                  <a:pt x="15126" y="6345"/>
                </a:lnTo>
                <a:lnTo>
                  <a:pt x="15110" y="6342"/>
                </a:lnTo>
                <a:lnTo>
                  <a:pt x="15126" y="6334"/>
                </a:lnTo>
                <a:lnTo>
                  <a:pt x="15141" y="6330"/>
                </a:lnTo>
                <a:lnTo>
                  <a:pt x="15157" y="6328"/>
                </a:lnTo>
                <a:lnTo>
                  <a:pt x="15175" y="6332"/>
                </a:lnTo>
                <a:close/>
                <a:moveTo>
                  <a:pt x="15170" y="6236"/>
                </a:moveTo>
                <a:lnTo>
                  <a:pt x="15171" y="6242"/>
                </a:lnTo>
                <a:lnTo>
                  <a:pt x="15166" y="6244"/>
                </a:lnTo>
                <a:lnTo>
                  <a:pt x="15160" y="6244"/>
                </a:lnTo>
                <a:lnTo>
                  <a:pt x="15154" y="6244"/>
                </a:lnTo>
                <a:lnTo>
                  <a:pt x="15151" y="6238"/>
                </a:lnTo>
                <a:lnTo>
                  <a:pt x="15155" y="6236"/>
                </a:lnTo>
                <a:lnTo>
                  <a:pt x="15163" y="6236"/>
                </a:lnTo>
                <a:lnTo>
                  <a:pt x="15170" y="6236"/>
                </a:lnTo>
                <a:close/>
                <a:moveTo>
                  <a:pt x="15164" y="6278"/>
                </a:moveTo>
                <a:lnTo>
                  <a:pt x="15161" y="6278"/>
                </a:lnTo>
                <a:lnTo>
                  <a:pt x="15164" y="6278"/>
                </a:lnTo>
                <a:lnTo>
                  <a:pt x="15161" y="6279"/>
                </a:lnTo>
                <a:lnTo>
                  <a:pt x="15164" y="6278"/>
                </a:lnTo>
                <a:close/>
                <a:moveTo>
                  <a:pt x="15159" y="6276"/>
                </a:moveTo>
                <a:lnTo>
                  <a:pt x="15157" y="6272"/>
                </a:lnTo>
                <a:lnTo>
                  <a:pt x="15157" y="6270"/>
                </a:lnTo>
                <a:lnTo>
                  <a:pt x="15160" y="6269"/>
                </a:lnTo>
                <a:lnTo>
                  <a:pt x="15164" y="6269"/>
                </a:lnTo>
                <a:lnTo>
                  <a:pt x="15161" y="6272"/>
                </a:lnTo>
                <a:lnTo>
                  <a:pt x="15159" y="6276"/>
                </a:lnTo>
                <a:close/>
                <a:moveTo>
                  <a:pt x="15156" y="6309"/>
                </a:moveTo>
                <a:lnTo>
                  <a:pt x="15169" y="6308"/>
                </a:lnTo>
                <a:lnTo>
                  <a:pt x="15183" y="6307"/>
                </a:lnTo>
                <a:lnTo>
                  <a:pt x="15175" y="6313"/>
                </a:lnTo>
                <a:lnTo>
                  <a:pt x="15170" y="6316"/>
                </a:lnTo>
                <a:lnTo>
                  <a:pt x="15164" y="6314"/>
                </a:lnTo>
                <a:lnTo>
                  <a:pt x="15156" y="6309"/>
                </a:lnTo>
                <a:close/>
                <a:moveTo>
                  <a:pt x="15228" y="6458"/>
                </a:moveTo>
                <a:lnTo>
                  <a:pt x="15221" y="6469"/>
                </a:lnTo>
                <a:lnTo>
                  <a:pt x="15217" y="6472"/>
                </a:lnTo>
                <a:lnTo>
                  <a:pt x="15210" y="6471"/>
                </a:lnTo>
                <a:lnTo>
                  <a:pt x="15200" y="6466"/>
                </a:lnTo>
                <a:lnTo>
                  <a:pt x="15206" y="6458"/>
                </a:lnTo>
                <a:lnTo>
                  <a:pt x="15212" y="6456"/>
                </a:lnTo>
                <a:lnTo>
                  <a:pt x="15219" y="6456"/>
                </a:lnTo>
                <a:lnTo>
                  <a:pt x="15228" y="6458"/>
                </a:lnTo>
                <a:close/>
                <a:moveTo>
                  <a:pt x="15231" y="6381"/>
                </a:moveTo>
                <a:lnTo>
                  <a:pt x="15261" y="6395"/>
                </a:lnTo>
                <a:lnTo>
                  <a:pt x="15244" y="6411"/>
                </a:lnTo>
                <a:lnTo>
                  <a:pt x="15210" y="6434"/>
                </a:lnTo>
                <a:lnTo>
                  <a:pt x="15189" y="6465"/>
                </a:lnTo>
                <a:lnTo>
                  <a:pt x="15160" y="6435"/>
                </a:lnTo>
                <a:lnTo>
                  <a:pt x="15161" y="6407"/>
                </a:lnTo>
                <a:lnTo>
                  <a:pt x="15187" y="6388"/>
                </a:lnTo>
                <a:lnTo>
                  <a:pt x="15231" y="6381"/>
                </a:lnTo>
                <a:close/>
                <a:moveTo>
                  <a:pt x="15192" y="6253"/>
                </a:moveTo>
                <a:lnTo>
                  <a:pt x="15205" y="6236"/>
                </a:lnTo>
                <a:lnTo>
                  <a:pt x="15244" y="6232"/>
                </a:lnTo>
                <a:lnTo>
                  <a:pt x="15272" y="6239"/>
                </a:lnTo>
                <a:lnTo>
                  <a:pt x="15252" y="6253"/>
                </a:lnTo>
                <a:lnTo>
                  <a:pt x="15239" y="6246"/>
                </a:lnTo>
                <a:lnTo>
                  <a:pt x="15231" y="6257"/>
                </a:lnTo>
                <a:lnTo>
                  <a:pt x="15219" y="6266"/>
                </a:lnTo>
                <a:lnTo>
                  <a:pt x="15192" y="6253"/>
                </a:lnTo>
                <a:close/>
                <a:moveTo>
                  <a:pt x="15359" y="6262"/>
                </a:moveTo>
                <a:lnTo>
                  <a:pt x="15396" y="6256"/>
                </a:lnTo>
                <a:lnTo>
                  <a:pt x="15434" y="6253"/>
                </a:lnTo>
                <a:lnTo>
                  <a:pt x="15472" y="6256"/>
                </a:lnTo>
                <a:lnTo>
                  <a:pt x="15509" y="6265"/>
                </a:lnTo>
                <a:lnTo>
                  <a:pt x="15419" y="6272"/>
                </a:lnTo>
                <a:lnTo>
                  <a:pt x="15323" y="6270"/>
                </a:lnTo>
                <a:lnTo>
                  <a:pt x="15284" y="6265"/>
                </a:lnTo>
                <a:lnTo>
                  <a:pt x="15359" y="6262"/>
                </a:lnTo>
                <a:close/>
                <a:moveTo>
                  <a:pt x="15373" y="6228"/>
                </a:moveTo>
                <a:lnTo>
                  <a:pt x="15439" y="6230"/>
                </a:lnTo>
                <a:lnTo>
                  <a:pt x="15508" y="6238"/>
                </a:lnTo>
                <a:lnTo>
                  <a:pt x="15534" y="6243"/>
                </a:lnTo>
                <a:lnTo>
                  <a:pt x="15473" y="6238"/>
                </a:lnTo>
                <a:lnTo>
                  <a:pt x="15445" y="6243"/>
                </a:lnTo>
                <a:lnTo>
                  <a:pt x="15410" y="6246"/>
                </a:lnTo>
                <a:lnTo>
                  <a:pt x="15380" y="6242"/>
                </a:lnTo>
                <a:lnTo>
                  <a:pt x="15373" y="6228"/>
                </a:lnTo>
                <a:close/>
                <a:moveTo>
                  <a:pt x="15602" y="6239"/>
                </a:moveTo>
                <a:lnTo>
                  <a:pt x="15590" y="6241"/>
                </a:lnTo>
                <a:lnTo>
                  <a:pt x="15580" y="6241"/>
                </a:lnTo>
                <a:lnTo>
                  <a:pt x="15570" y="6239"/>
                </a:lnTo>
                <a:lnTo>
                  <a:pt x="15559" y="6238"/>
                </a:lnTo>
                <a:lnTo>
                  <a:pt x="15570" y="6238"/>
                </a:lnTo>
                <a:lnTo>
                  <a:pt x="15580" y="6238"/>
                </a:lnTo>
                <a:lnTo>
                  <a:pt x="15590" y="6238"/>
                </a:lnTo>
                <a:lnTo>
                  <a:pt x="15602" y="6239"/>
                </a:lnTo>
                <a:close/>
                <a:moveTo>
                  <a:pt x="15546" y="6281"/>
                </a:moveTo>
                <a:lnTo>
                  <a:pt x="15554" y="6293"/>
                </a:lnTo>
                <a:lnTo>
                  <a:pt x="15540" y="6302"/>
                </a:lnTo>
                <a:lnTo>
                  <a:pt x="15520" y="6302"/>
                </a:lnTo>
                <a:lnTo>
                  <a:pt x="15514" y="6290"/>
                </a:lnTo>
                <a:lnTo>
                  <a:pt x="15529" y="6286"/>
                </a:lnTo>
                <a:lnTo>
                  <a:pt x="15546" y="6281"/>
                </a:lnTo>
                <a:close/>
                <a:moveTo>
                  <a:pt x="15522" y="6525"/>
                </a:moveTo>
                <a:lnTo>
                  <a:pt x="15533" y="6521"/>
                </a:lnTo>
                <a:lnTo>
                  <a:pt x="15543" y="6517"/>
                </a:lnTo>
                <a:lnTo>
                  <a:pt x="15540" y="6526"/>
                </a:lnTo>
                <a:lnTo>
                  <a:pt x="15536" y="6530"/>
                </a:lnTo>
                <a:lnTo>
                  <a:pt x="15529" y="6530"/>
                </a:lnTo>
                <a:lnTo>
                  <a:pt x="15522" y="6525"/>
                </a:lnTo>
                <a:close/>
                <a:moveTo>
                  <a:pt x="15510" y="6390"/>
                </a:moveTo>
                <a:lnTo>
                  <a:pt x="15513" y="6386"/>
                </a:lnTo>
                <a:lnTo>
                  <a:pt x="15514" y="6386"/>
                </a:lnTo>
                <a:lnTo>
                  <a:pt x="15513" y="6387"/>
                </a:lnTo>
                <a:lnTo>
                  <a:pt x="15510" y="6390"/>
                </a:lnTo>
                <a:lnTo>
                  <a:pt x="15508" y="6386"/>
                </a:lnTo>
                <a:lnTo>
                  <a:pt x="15509" y="6381"/>
                </a:lnTo>
                <a:lnTo>
                  <a:pt x="15512" y="6381"/>
                </a:lnTo>
                <a:lnTo>
                  <a:pt x="15510" y="6390"/>
                </a:lnTo>
                <a:close/>
                <a:moveTo>
                  <a:pt x="15496" y="6308"/>
                </a:moveTo>
                <a:lnTo>
                  <a:pt x="15501" y="6308"/>
                </a:lnTo>
                <a:lnTo>
                  <a:pt x="15506" y="6307"/>
                </a:lnTo>
                <a:lnTo>
                  <a:pt x="15510" y="6308"/>
                </a:lnTo>
                <a:lnTo>
                  <a:pt x="15510" y="6313"/>
                </a:lnTo>
                <a:lnTo>
                  <a:pt x="15505" y="6313"/>
                </a:lnTo>
                <a:lnTo>
                  <a:pt x="15501" y="6313"/>
                </a:lnTo>
                <a:lnTo>
                  <a:pt x="15498" y="6313"/>
                </a:lnTo>
                <a:lnTo>
                  <a:pt x="15496" y="6308"/>
                </a:lnTo>
                <a:close/>
                <a:moveTo>
                  <a:pt x="15401" y="6427"/>
                </a:moveTo>
                <a:lnTo>
                  <a:pt x="15396" y="6424"/>
                </a:lnTo>
                <a:lnTo>
                  <a:pt x="15398" y="6421"/>
                </a:lnTo>
                <a:lnTo>
                  <a:pt x="15403" y="6419"/>
                </a:lnTo>
                <a:lnTo>
                  <a:pt x="15410" y="6418"/>
                </a:lnTo>
                <a:lnTo>
                  <a:pt x="15411" y="6423"/>
                </a:lnTo>
                <a:lnTo>
                  <a:pt x="15408" y="6425"/>
                </a:lnTo>
                <a:lnTo>
                  <a:pt x="15406" y="6427"/>
                </a:lnTo>
                <a:lnTo>
                  <a:pt x="15401" y="6427"/>
                </a:lnTo>
                <a:close/>
                <a:moveTo>
                  <a:pt x="15363" y="6309"/>
                </a:moveTo>
                <a:lnTo>
                  <a:pt x="15370" y="6295"/>
                </a:lnTo>
                <a:lnTo>
                  <a:pt x="15382" y="6293"/>
                </a:lnTo>
                <a:lnTo>
                  <a:pt x="15394" y="6292"/>
                </a:lnTo>
                <a:lnTo>
                  <a:pt x="15403" y="6284"/>
                </a:lnTo>
                <a:lnTo>
                  <a:pt x="15396" y="6297"/>
                </a:lnTo>
                <a:lnTo>
                  <a:pt x="15385" y="6304"/>
                </a:lnTo>
                <a:lnTo>
                  <a:pt x="15375" y="6308"/>
                </a:lnTo>
                <a:lnTo>
                  <a:pt x="15363" y="6309"/>
                </a:lnTo>
                <a:close/>
                <a:moveTo>
                  <a:pt x="15267" y="6353"/>
                </a:moveTo>
                <a:lnTo>
                  <a:pt x="15259" y="6354"/>
                </a:lnTo>
                <a:lnTo>
                  <a:pt x="15252" y="6358"/>
                </a:lnTo>
                <a:lnTo>
                  <a:pt x="15245" y="6358"/>
                </a:lnTo>
                <a:lnTo>
                  <a:pt x="15244" y="6353"/>
                </a:lnTo>
                <a:lnTo>
                  <a:pt x="15250" y="6351"/>
                </a:lnTo>
                <a:lnTo>
                  <a:pt x="15258" y="6349"/>
                </a:lnTo>
                <a:lnTo>
                  <a:pt x="15263" y="6349"/>
                </a:lnTo>
                <a:lnTo>
                  <a:pt x="15267" y="6353"/>
                </a:lnTo>
                <a:close/>
                <a:moveTo>
                  <a:pt x="15271" y="6309"/>
                </a:moveTo>
                <a:lnTo>
                  <a:pt x="15267" y="6303"/>
                </a:lnTo>
                <a:lnTo>
                  <a:pt x="15267" y="6298"/>
                </a:lnTo>
                <a:lnTo>
                  <a:pt x="15270" y="6294"/>
                </a:lnTo>
                <a:lnTo>
                  <a:pt x="15275" y="6292"/>
                </a:lnTo>
                <a:lnTo>
                  <a:pt x="15278" y="6295"/>
                </a:lnTo>
                <a:lnTo>
                  <a:pt x="15278" y="6299"/>
                </a:lnTo>
                <a:lnTo>
                  <a:pt x="15275" y="6304"/>
                </a:lnTo>
                <a:lnTo>
                  <a:pt x="15271" y="6309"/>
                </a:lnTo>
                <a:close/>
                <a:moveTo>
                  <a:pt x="15240" y="6611"/>
                </a:moveTo>
                <a:lnTo>
                  <a:pt x="15244" y="6606"/>
                </a:lnTo>
                <a:lnTo>
                  <a:pt x="15248" y="6606"/>
                </a:lnTo>
                <a:lnTo>
                  <a:pt x="15252" y="6609"/>
                </a:lnTo>
                <a:lnTo>
                  <a:pt x="15252" y="6614"/>
                </a:lnTo>
                <a:lnTo>
                  <a:pt x="15245" y="6614"/>
                </a:lnTo>
                <a:lnTo>
                  <a:pt x="15240" y="6611"/>
                </a:lnTo>
                <a:close/>
                <a:moveTo>
                  <a:pt x="15242" y="6663"/>
                </a:moveTo>
                <a:lnTo>
                  <a:pt x="15249" y="6658"/>
                </a:lnTo>
                <a:lnTo>
                  <a:pt x="15256" y="6654"/>
                </a:lnTo>
                <a:lnTo>
                  <a:pt x="15261" y="6652"/>
                </a:lnTo>
                <a:lnTo>
                  <a:pt x="15266" y="6654"/>
                </a:lnTo>
                <a:lnTo>
                  <a:pt x="15262" y="6661"/>
                </a:lnTo>
                <a:lnTo>
                  <a:pt x="15257" y="6663"/>
                </a:lnTo>
                <a:lnTo>
                  <a:pt x="15250" y="6663"/>
                </a:lnTo>
                <a:lnTo>
                  <a:pt x="15242" y="6663"/>
                </a:lnTo>
                <a:close/>
                <a:moveTo>
                  <a:pt x="15208" y="6565"/>
                </a:moveTo>
                <a:lnTo>
                  <a:pt x="15212" y="6565"/>
                </a:lnTo>
                <a:lnTo>
                  <a:pt x="15217" y="6565"/>
                </a:lnTo>
                <a:lnTo>
                  <a:pt x="15220" y="6567"/>
                </a:lnTo>
                <a:lnTo>
                  <a:pt x="15221" y="6570"/>
                </a:lnTo>
                <a:lnTo>
                  <a:pt x="15216" y="6572"/>
                </a:lnTo>
                <a:lnTo>
                  <a:pt x="15211" y="6572"/>
                </a:lnTo>
                <a:lnTo>
                  <a:pt x="15208" y="6570"/>
                </a:lnTo>
                <a:lnTo>
                  <a:pt x="15208" y="6565"/>
                </a:lnTo>
                <a:close/>
                <a:moveTo>
                  <a:pt x="15214" y="6595"/>
                </a:moveTo>
                <a:lnTo>
                  <a:pt x="15221" y="6592"/>
                </a:lnTo>
                <a:lnTo>
                  <a:pt x="15226" y="6592"/>
                </a:lnTo>
                <a:lnTo>
                  <a:pt x="15230" y="6596"/>
                </a:lnTo>
                <a:lnTo>
                  <a:pt x="15234" y="6603"/>
                </a:lnTo>
                <a:lnTo>
                  <a:pt x="15229" y="6603"/>
                </a:lnTo>
                <a:lnTo>
                  <a:pt x="15216" y="6597"/>
                </a:lnTo>
                <a:lnTo>
                  <a:pt x="15208" y="6593"/>
                </a:lnTo>
                <a:lnTo>
                  <a:pt x="15214" y="6595"/>
                </a:lnTo>
                <a:close/>
                <a:moveTo>
                  <a:pt x="15203" y="6633"/>
                </a:moveTo>
                <a:lnTo>
                  <a:pt x="15210" y="6624"/>
                </a:lnTo>
                <a:lnTo>
                  <a:pt x="15217" y="6621"/>
                </a:lnTo>
                <a:lnTo>
                  <a:pt x="15226" y="6623"/>
                </a:lnTo>
                <a:lnTo>
                  <a:pt x="15235" y="6626"/>
                </a:lnTo>
                <a:lnTo>
                  <a:pt x="15228" y="6630"/>
                </a:lnTo>
                <a:lnTo>
                  <a:pt x="15220" y="6631"/>
                </a:lnTo>
                <a:lnTo>
                  <a:pt x="15212" y="6633"/>
                </a:lnTo>
                <a:lnTo>
                  <a:pt x="15203" y="6633"/>
                </a:lnTo>
                <a:close/>
                <a:moveTo>
                  <a:pt x="15177" y="6558"/>
                </a:moveTo>
                <a:lnTo>
                  <a:pt x="15182" y="6555"/>
                </a:lnTo>
                <a:lnTo>
                  <a:pt x="15187" y="6553"/>
                </a:lnTo>
                <a:lnTo>
                  <a:pt x="15191" y="6553"/>
                </a:lnTo>
                <a:lnTo>
                  <a:pt x="15192" y="6558"/>
                </a:lnTo>
                <a:lnTo>
                  <a:pt x="15187" y="6559"/>
                </a:lnTo>
                <a:lnTo>
                  <a:pt x="15182" y="6561"/>
                </a:lnTo>
                <a:lnTo>
                  <a:pt x="15178" y="6561"/>
                </a:lnTo>
                <a:lnTo>
                  <a:pt x="15177" y="6558"/>
                </a:lnTo>
                <a:close/>
                <a:moveTo>
                  <a:pt x="15034" y="6578"/>
                </a:moveTo>
                <a:lnTo>
                  <a:pt x="15044" y="6577"/>
                </a:lnTo>
                <a:lnTo>
                  <a:pt x="15054" y="6577"/>
                </a:lnTo>
                <a:lnTo>
                  <a:pt x="15048" y="6579"/>
                </a:lnTo>
                <a:lnTo>
                  <a:pt x="15042" y="6582"/>
                </a:lnTo>
                <a:lnTo>
                  <a:pt x="15037" y="6582"/>
                </a:lnTo>
                <a:lnTo>
                  <a:pt x="15034" y="6578"/>
                </a:lnTo>
                <a:close/>
                <a:moveTo>
                  <a:pt x="15003" y="6630"/>
                </a:moveTo>
                <a:lnTo>
                  <a:pt x="14988" y="6640"/>
                </a:lnTo>
                <a:lnTo>
                  <a:pt x="14970" y="6648"/>
                </a:lnTo>
                <a:lnTo>
                  <a:pt x="14952" y="6649"/>
                </a:lnTo>
                <a:lnTo>
                  <a:pt x="14935" y="6643"/>
                </a:lnTo>
                <a:lnTo>
                  <a:pt x="14951" y="6637"/>
                </a:lnTo>
                <a:lnTo>
                  <a:pt x="14968" y="6628"/>
                </a:lnTo>
                <a:lnTo>
                  <a:pt x="14984" y="6623"/>
                </a:lnTo>
                <a:lnTo>
                  <a:pt x="15003" y="6630"/>
                </a:lnTo>
                <a:close/>
                <a:moveTo>
                  <a:pt x="14992" y="6574"/>
                </a:moveTo>
                <a:lnTo>
                  <a:pt x="15008" y="6570"/>
                </a:lnTo>
                <a:lnTo>
                  <a:pt x="15014" y="6578"/>
                </a:lnTo>
                <a:lnTo>
                  <a:pt x="15007" y="6593"/>
                </a:lnTo>
                <a:lnTo>
                  <a:pt x="14991" y="6609"/>
                </a:lnTo>
                <a:lnTo>
                  <a:pt x="14935" y="6610"/>
                </a:lnTo>
                <a:lnTo>
                  <a:pt x="14928" y="6597"/>
                </a:lnTo>
                <a:lnTo>
                  <a:pt x="14954" y="6583"/>
                </a:lnTo>
                <a:lnTo>
                  <a:pt x="14992" y="6574"/>
                </a:lnTo>
                <a:close/>
                <a:moveTo>
                  <a:pt x="14885" y="6614"/>
                </a:moveTo>
                <a:lnTo>
                  <a:pt x="14889" y="6612"/>
                </a:lnTo>
                <a:lnTo>
                  <a:pt x="14894" y="6610"/>
                </a:lnTo>
                <a:lnTo>
                  <a:pt x="14898" y="6610"/>
                </a:lnTo>
                <a:lnTo>
                  <a:pt x="14900" y="6614"/>
                </a:lnTo>
                <a:lnTo>
                  <a:pt x="14895" y="6616"/>
                </a:lnTo>
                <a:lnTo>
                  <a:pt x="14890" y="6619"/>
                </a:lnTo>
                <a:lnTo>
                  <a:pt x="14886" y="6619"/>
                </a:lnTo>
                <a:lnTo>
                  <a:pt x="14885" y="6614"/>
                </a:lnTo>
                <a:close/>
                <a:moveTo>
                  <a:pt x="14877" y="6573"/>
                </a:moveTo>
                <a:lnTo>
                  <a:pt x="14879" y="6572"/>
                </a:lnTo>
                <a:lnTo>
                  <a:pt x="14877" y="6573"/>
                </a:lnTo>
                <a:lnTo>
                  <a:pt x="14879" y="6572"/>
                </a:lnTo>
                <a:lnTo>
                  <a:pt x="14877" y="6573"/>
                </a:lnTo>
                <a:close/>
                <a:moveTo>
                  <a:pt x="15173" y="6621"/>
                </a:moveTo>
                <a:lnTo>
                  <a:pt x="14975" y="6726"/>
                </a:lnTo>
                <a:lnTo>
                  <a:pt x="14833" y="6754"/>
                </a:lnTo>
                <a:lnTo>
                  <a:pt x="14817" y="6724"/>
                </a:lnTo>
                <a:lnTo>
                  <a:pt x="15006" y="6652"/>
                </a:lnTo>
                <a:lnTo>
                  <a:pt x="15000" y="6686"/>
                </a:lnTo>
                <a:lnTo>
                  <a:pt x="15028" y="6681"/>
                </a:lnTo>
                <a:lnTo>
                  <a:pt x="15049" y="6662"/>
                </a:lnTo>
                <a:lnTo>
                  <a:pt x="15025" y="6659"/>
                </a:lnTo>
                <a:lnTo>
                  <a:pt x="15051" y="6620"/>
                </a:lnTo>
                <a:lnTo>
                  <a:pt x="15118" y="6598"/>
                </a:lnTo>
                <a:lnTo>
                  <a:pt x="15177" y="6597"/>
                </a:lnTo>
                <a:lnTo>
                  <a:pt x="15173" y="6621"/>
                </a:lnTo>
                <a:close/>
                <a:moveTo>
                  <a:pt x="15084" y="6704"/>
                </a:moveTo>
                <a:lnTo>
                  <a:pt x="15086" y="6696"/>
                </a:lnTo>
                <a:lnTo>
                  <a:pt x="15091" y="6691"/>
                </a:lnTo>
                <a:lnTo>
                  <a:pt x="15096" y="6689"/>
                </a:lnTo>
                <a:lnTo>
                  <a:pt x="15105" y="6691"/>
                </a:lnTo>
                <a:lnTo>
                  <a:pt x="15101" y="6696"/>
                </a:lnTo>
                <a:lnTo>
                  <a:pt x="15096" y="6701"/>
                </a:lnTo>
                <a:lnTo>
                  <a:pt x="15091" y="6704"/>
                </a:lnTo>
                <a:lnTo>
                  <a:pt x="15084" y="6704"/>
                </a:lnTo>
                <a:close/>
                <a:moveTo>
                  <a:pt x="15154" y="6742"/>
                </a:moveTo>
                <a:lnTo>
                  <a:pt x="15154" y="6755"/>
                </a:lnTo>
                <a:lnTo>
                  <a:pt x="15101" y="6770"/>
                </a:lnTo>
                <a:lnTo>
                  <a:pt x="15062" y="6775"/>
                </a:lnTo>
                <a:lnTo>
                  <a:pt x="15093" y="6754"/>
                </a:lnTo>
                <a:lnTo>
                  <a:pt x="15108" y="6751"/>
                </a:lnTo>
                <a:lnTo>
                  <a:pt x="15123" y="6752"/>
                </a:lnTo>
                <a:lnTo>
                  <a:pt x="15138" y="6751"/>
                </a:lnTo>
                <a:lnTo>
                  <a:pt x="15154" y="6742"/>
                </a:lnTo>
                <a:close/>
                <a:moveTo>
                  <a:pt x="15066" y="6815"/>
                </a:moveTo>
                <a:lnTo>
                  <a:pt x="15079" y="6803"/>
                </a:lnTo>
                <a:lnTo>
                  <a:pt x="15089" y="6797"/>
                </a:lnTo>
                <a:lnTo>
                  <a:pt x="15100" y="6797"/>
                </a:lnTo>
                <a:lnTo>
                  <a:pt x="15114" y="6801"/>
                </a:lnTo>
                <a:lnTo>
                  <a:pt x="15103" y="6805"/>
                </a:lnTo>
                <a:lnTo>
                  <a:pt x="15091" y="6807"/>
                </a:lnTo>
                <a:lnTo>
                  <a:pt x="15079" y="6811"/>
                </a:lnTo>
                <a:lnTo>
                  <a:pt x="15066" y="6815"/>
                </a:lnTo>
                <a:close/>
                <a:moveTo>
                  <a:pt x="15175" y="6802"/>
                </a:moveTo>
                <a:lnTo>
                  <a:pt x="15193" y="6825"/>
                </a:lnTo>
                <a:lnTo>
                  <a:pt x="15150" y="6844"/>
                </a:lnTo>
                <a:lnTo>
                  <a:pt x="15082" y="6852"/>
                </a:lnTo>
                <a:lnTo>
                  <a:pt x="15028" y="6843"/>
                </a:lnTo>
                <a:lnTo>
                  <a:pt x="15067" y="6841"/>
                </a:lnTo>
                <a:lnTo>
                  <a:pt x="15104" y="6830"/>
                </a:lnTo>
                <a:lnTo>
                  <a:pt x="15140" y="6815"/>
                </a:lnTo>
                <a:lnTo>
                  <a:pt x="15175" y="6802"/>
                </a:lnTo>
                <a:close/>
                <a:moveTo>
                  <a:pt x="15217" y="7006"/>
                </a:moveTo>
                <a:lnTo>
                  <a:pt x="15245" y="7012"/>
                </a:lnTo>
                <a:lnTo>
                  <a:pt x="15244" y="7024"/>
                </a:lnTo>
                <a:lnTo>
                  <a:pt x="15224" y="7031"/>
                </a:lnTo>
                <a:lnTo>
                  <a:pt x="15196" y="7027"/>
                </a:lnTo>
                <a:lnTo>
                  <a:pt x="15205" y="7026"/>
                </a:lnTo>
                <a:lnTo>
                  <a:pt x="15211" y="7022"/>
                </a:lnTo>
                <a:lnTo>
                  <a:pt x="15215" y="7015"/>
                </a:lnTo>
                <a:lnTo>
                  <a:pt x="15217" y="7006"/>
                </a:lnTo>
                <a:close/>
                <a:moveTo>
                  <a:pt x="15298" y="6727"/>
                </a:moveTo>
                <a:lnTo>
                  <a:pt x="15285" y="6751"/>
                </a:lnTo>
                <a:lnTo>
                  <a:pt x="15268" y="6766"/>
                </a:lnTo>
                <a:lnTo>
                  <a:pt x="15249" y="6774"/>
                </a:lnTo>
                <a:lnTo>
                  <a:pt x="15225" y="6775"/>
                </a:lnTo>
                <a:lnTo>
                  <a:pt x="15243" y="6759"/>
                </a:lnTo>
                <a:lnTo>
                  <a:pt x="15259" y="6745"/>
                </a:lnTo>
                <a:lnTo>
                  <a:pt x="15277" y="6733"/>
                </a:lnTo>
                <a:lnTo>
                  <a:pt x="15298" y="6727"/>
                </a:lnTo>
                <a:close/>
                <a:moveTo>
                  <a:pt x="15327" y="6919"/>
                </a:moveTo>
                <a:lnTo>
                  <a:pt x="15318" y="6919"/>
                </a:lnTo>
                <a:lnTo>
                  <a:pt x="15317" y="6919"/>
                </a:lnTo>
                <a:lnTo>
                  <a:pt x="15320" y="6919"/>
                </a:lnTo>
                <a:lnTo>
                  <a:pt x="15327" y="6919"/>
                </a:lnTo>
                <a:lnTo>
                  <a:pt x="15323" y="6923"/>
                </a:lnTo>
                <a:lnTo>
                  <a:pt x="15317" y="6923"/>
                </a:lnTo>
                <a:lnTo>
                  <a:pt x="15315" y="6923"/>
                </a:lnTo>
                <a:lnTo>
                  <a:pt x="15327" y="6919"/>
                </a:lnTo>
                <a:close/>
                <a:moveTo>
                  <a:pt x="15341" y="6819"/>
                </a:moveTo>
                <a:lnTo>
                  <a:pt x="15363" y="6822"/>
                </a:lnTo>
                <a:lnTo>
                  <a:pt x="15387" y="6819"/>
                </a:lnTo>
                <a:lnTo>
                  <a:pt x="15408" y="6816"/>
                </a:lnTo>
                <a:lnTo>
                  <a:pt x="15422" y="6824"/>
                </a:lnTo>
                <a:lnTo>
                  <a:pt x="15382" y="6835"/>
                </a:lnTo>
                <a:lnTo>
                  <a:pt x="15332" y="6840"/>
                </a:lnTo>
                <a:lnTo>
                  <a:pt x="15308" y="6835"/>
                </a:lnTo>
                <a:lnTo>
                  <a:pt x="15341" y="6819"/>
                </a:lnTo>
                <a:close/>
                <a:moveTo>
                  <a:pt x="15559" y="6861"/>
                </a:moveTo>
                <a:lnTo>
                  <a:pt x="15515" y="6868"/>
                </a:lnTo>
                <a:lnTo>
                  <a:pt x="15471" y="6869"/>
                </a:lnTo>
                <a:lnTo>
                  <a:pt x="15426" y="6869"/>
                </a:lnTo>
                <a:lnTo>
                  <a:pt x="15382" y="6872"/>
                </a:lnTo>
                <a:lnTo>
                  <a:pt x="15426" y="6863"/>
                </a:lnTo>
                <a:lnTo>
                  <a:pt x="15469" y="6859"/>
                </a:lnTo>
                <a:lnTo>
                  <a:pt x="15514" y="6859"/>
                </a:lnTo>
                <a:lnTo>
                  <a:pt x="15559" y="6861"/>
                </a:lnTo>
                <a:close/>
                <a:moveTo>
                  <a:pt x="15649" y="6713"/>
                </a:moveTo>
                <a:lnTo>
                  <a:pt x="15630" y="6728"/>
                </a:lnTo>
                <a:lnTo>
                  <a:pt x="15610" y="6733"/>
                </a:lnTo>
                <a:lnTo>
                  <a:pt x="15588" y="6735"/>
                </a:lnTo>
                <a:lnTo>
                  <a:pt x="15568" y="6736"/>
                </a:lnTo>
                <a:lnTo>
                  <a:pt x="15583" y="6724"/>
                </a:lnTo>
                <a:lnTo>
                  <a:pt x="15604" y="6717"/>
                </a:lnTo>
                <a:lnTo>
                  <a:pt x="15629" y="6713"/>
                </a:lnTo>
                <a:lnTo>
                  <a:pt x="15649" y="6713"/>
                </a:lnTo>
                <a:close/>
                <a:moveTo>
                  <a:pt x="15612" y="6751"/>
                </a:moveTo>
                <a:lnTo>
                  <a:pt x="15622" y="6743"/>
                </a:lnTo>
                <a:lnTo>
                  <a:pt x="15631" y="6740"/>
                </a:lnTo>
                <a:lnTo>
                  <a:pt x="15639" y="6740"/>
                </a:lnTo>
                <a:lnTo>
                  <a:pt x="15648" y="6741"/>
                </a:lnTo>
                <a:lnTo>
                  <a:pt x="15645" y="6749"/>
                </a:lnTo>
                <a:lnTo>
                  <a:pt x="15640" y="6751"/>
                </a:lnTo>
                <a:lnTo>
                  <a:pt x="15631" y="6752"/>
                </a:lnTo>
                <a:lnTo>
                  <a:pt x="15612" y="6751"/>
                </a:lnTo>
                <a:close/>
                <a:moveTo>
                  <a:pt x="15343" y="6886"/>
                </a:moveTo>
                <a:lnTo>
                  <a:pt x="15347" y="6885"/>
                </a:lnTo>
                <a:lnTo>
                  <a:pt x="15347" y="6885"/>
                </a:lnTo>
                <a:lnTo>
                  <a:pt x="15346" y="6885"/>
                </a:lnTo>
                <a:lnTo>
                  <a:pt x="15343" y="6886"/>
                </a:lnTo>
                <a:lnTo>
                  <a:pt x="15343" y="6881"/>
                </a:lnTo>
                <a:lnTo>
                  <a:pt x="15347" y="6878"/>
                </a:lnTo>
                <a:lnTo>
                  <a:pt x="15349" y="6880"/>
                </a:lnTo>
                <a:lnTo>
                  <a:pt x="15343" y="6886"/>
                </a:lnTo>
                <a:close/>
                <a:moveTo>
                  <a:pt x="15191" y="7114"/>
                </a:moveTo>
                <a:lnTo>
                  <a:pt x="15196" y="7114"/>
                </a:lnTo>
                <a:lnTo>
                  <a:pt x="15191" y="7114"/>
                </a:lnTo>
                <a:lnTo>
                  <a:pt x="15196" y="7113"/>
                </a:lnTo>
                <a:lnTo>
                  <a:pt x="15191" y="7114"/>
                </a:lnTo>
                <a:close/>
                <a:moveTo>
                  <a:pt x="15154" y="6869"/>
                </a:moveTo>
                <a:lnTo>
                  <a:pt x="15164" y="6859"/>
                </a:lnTo>
                <a:lnTo>
                  <a:pt x="15174" y="6855"/>
                </a:lnTo>
                <a:lnTo>
                  <a:pt x="15184" y="6855"/>
                </a:lnTo>
                <a:lnTo>
                  <a:pt x="15194" y="6861"/>
                </a:lnTo>
                <a:lnTo>
                  <a:pt x="15184" y="6867"/>
                </a:lnTo>
                <a:lnTo>
                  <a:pt x="15175" y="6869"/>
                </a:lnTo>
                <a:lnTo>
                  <a:pt x="15164" y="6871"/>
                </a:lnTo>
                <a:lnTo>
                  <a:pt x="15154" y="6869"/>
                </a:lnTo>
                <a:close/>
                <a:moveTo>
                  <a:pt x="15126" y="6883"/>
                </a:moveTo>
                <a:lnTo>
                  <a:pt x="15129" y="6880"/>
                </a:lnTo>
                <a:lnTo>
                  <a:pt x="15132" y="6875"/>
                </a:lnTo>
                <a:lnTo>
                  <a:pt x="15136" y="6871"/>
                </a:lnTo>
                <a:lnTo>
                  <a:pt x="15140" y="6869"/>
                </a:lnTo>
                <a:lnTo>
                  <a:pt x="15142" y="6878"/>
                </a:lnTo>
                <a:lnTo>
                  <a:pt x="15141" y="6883"/>
                </a:lnTo>
                <a:lnTo>
                  <a:pt x="15135" y="6886"/>
                </a:lnTo>
                <a:lnTo>
                  <a:pt x="15126" y="6883"/>
                </a:lnTo>
                <a:close/>
                <a:moveTo>
                  <a:pt x="15117" y="7045"/>
                </a:moveTo>
                <a:lnTo>
                  <a:pt x="15119" y="7041"/>
                </a:lnTo>
                <a:lnTo>
                  <a:pt x="15127" y="7041"/>
                </a:lnTo>
                <a:lnTo>
                  <a:pt x="15138" y="7044"/>
                </a:lnTo>
                <a:lnTo>
                  <a:pt x="15147" y="7045"/>
                </a:lnTo>
                <a:lnTo>
                  <a:pt x="15149" y="7050"/>
                </a:lnTo>
                <a:lnTo>
                  <a:pt x="15140" y="7050"/>
                </a:lnTo>
                <a:lnTo>
                  <a:pt x="15127" y="7046"/>
                </a:lnTo>
                <a:lnTo>
                  <a:pt x="15117" y="7045"/>
                </a:lnTo>
                <a:close/>
                <a:moveTo>
                  <a:pt x="15054" y="7073"/>
                </a:moveTo>
                <a:lnTo>
                  <a:pt x="15047" y="7071"/>
                </a:lnTo>
                <a:lnTo>
                  <a:pt x="15039" y="7068"/>
                </a:lnTo>
                <a:lnTo>
                  <a:pt x="15035" y="7066"/>
                </a:lnTo>
                <a:lnTo>
                  <a:pt x="15039" y="7059"/>
                </a:lnTo>
                <a:lnTo>
                  <a:pt x="15086" y="7059"/>
                </a:lnTo>
                <a:lnTo>
                  <a:pt x="15110" y="7063"/>
                </a:lnTo>
                <a:lnTo>
                  <a:pt x="15103" y="7068"/>
                </a:lnTo>
                <a:lnTo>
                  <a:pt x="15054" y="7073"/>
                </a:lnTo>
                <a:close/>
                <a:moveTo>
                  <a:pt x="15045" y="7111"/>
                </a:moveTo>
                <a:lnTo>
                  <a:pt x="15054" y="7110"/>
                </a:lnTo>
                <a:lnTo>
                  <a:pt x="15063" y="7109"/>
                </a:lnTo>
                <a:lnTo>
                  <a:pt x="15072" y="7110"/>
                </a:lnTo>
                <a:lnTo>
                  <a:pt x="15081" y="7110"/>
                </a:lnTo>
                <a:lnTo>
                  <a:pt x="15072" y="7113"/>
                </a:lnTo>
                <a:lnTo>
                  <a:pt x="15063" y="7115"/>
                </a:lnTo>
                <a:lnTo>
                  <a:pt x="15054" y="7115"/>
                </a:lnTo>
                <a:lnTo>
                  <a:pt x="15045" y="7111"/>
                </a:lnTo>
                <a:close/>
                <a:moveTo>
                  <a:pt x="15042" y="6760"/>
                </a:moveTo>
                <a:lnTo>
                  <a:pt x="15028" y="6760"/>
                </a:lnTo>
                <a:lnTo>
                  <a:pt x="15019" y="6756"/>
                </a:lnTo>
                <a:lnTo>
                  <a:pt x="15012" y="6747"/>
                </a:lnTo>
                <a:lnTo>
                  <a:pt x="15005" y="6733"/>
                </a:lnTo>
                <a:lnTo>
                  <a:pt x="15029" y="6731"/>
                </a:lnTo>
                <a:lnTo>
                  <a:pt x="15039" y="6732"/>
                </a:lnTo>
                <a:lnTo>
                  <a:pt x="15042" y="6740"/>
                </a:lnTo>
                <a:lnTo>
                  <a:pt x="15042" y="6760"/>
                </a:lnTo>
                <a:close/>
                <a:moveTo>
                  <a:pt x="14917" y="6773"/>
                </a:moveTo>
                <a:lnTo>
                  <a:pt x="14931" y="6774"/>
                </a:lnTo>
                <a:lnTo>
                  <a:pt x="14946" y="6774"/>
                </a:lnTo>
                <a:lnTo>
                  <a:pt x="14941" y="6782"/>
                </a:lnTo>
                <a:lnTo>
                  <a:pt x="14936" y="6784"/>
                </a:lnTo>
                <a:lnTo>
                  <a:pt x="14928" y="6782"/>
                </a:lnTo>
                <a:lnTo>
                  <a:pt x="14917" y="6773"/>
                </a:lnTo>
                <a:close/>
                <a:moveTo>
                  <a:pt x="14992" y="6822"/>
                </a:moveTo>
                <a:lnTo>
                  <a:pt x="14954" y="6819"/>
                </a:lnTo>
                <a:lnTo>
                  <a:pt x="14908" y="6813"/>
                </a:lnTo>
                <a:lnTo>
                  <a:pt x="14907" y="6802"/>
                </a:lnTo>
                <a:lnTo>
                  <a:pt x="14996" y="6779"/>
                </a:lnTo>
                <a:lnTo>
                  <a:pt x="15019" y="6789"/>
                </a:lnTo>
                <a:lnTo>
                  <a:pt x="15021" y="6796"/>
                </a:lnTo>
                <a:lnTo>
                  <a:pt x="15005" y="6801"/>
                </a:lnTo>
                <a:lnTo>
                  <a:pt x="14977" y="6803"/>
                </a:lnTo>
                <a:lnTo>
                  <a:pt x="14998" y="6808"/>
                </a:lnTo>
                <a:lnTo>
                  <a:pt x="15014" y="6811"/>
                </a:lnTo>
                <a:lnTo>
                  <a:pt x="15015" y="6813"/>
                </a:lnTo>
                <a:lnTo>
                  <a:pt x="14993" y="6822"/>
                </a:lnTo>
                <a:lnTo>
                  <a:pt x="14992" y="6822"/>
                </a:lnTo>
                <a:lnTo>
                  <a:pt x="14992" y="6822"/>
                </a:lnTo>
                <a:close/>
                <a:moveTo>
                  <a:pt x="14886" y="7174"/>
                </a:moveTo>
                <a:lnTo>
                  <a:pt x="14886" y="7175"/>
                </a:lnTo>
                <a:lnTo>
                  <a:pt x="14886" y="7174"/>
                </a:lnTo>
                <a:lnTo>
                  <a:pt x="14888" y="7174"/>
                </a:lnTo>
                <a:lnTo>
                  <a:pt x="14886" y="7174"/>
                </a:lnTo>
                <a:close/>
                <a:moveTo>
                  <a:pt x="14840" y="6801"/>
                </a:moveTo>
                <a:lnTo>
                  <a:pt x="14854" y="6789"/>
                </a:lnTo>
                <a:lnTo>
                  <a:pt x="14866" y="6778"/>
                </a:lnTo>
                <a:lnTo>
                  <a:pt x="14879" y="6771"/>
                </a:lnTo>
                <a:lnTo>
                  <a:pt x="14896" y="6771"/>
                </a:lnTo>
                <a:lnTo>
                  <a:pt x="14890" y="6788"/>
                </a:lnTo>
                <a:lnTo>
                  <a:pt x="14876" y="6797"/>
                </a:lnTo>
                <a:lnTo>
                  <a:pt x="14857" y="6801"/>
                </a:lnTo>
                <a:lnTo>
                  <a:pt x="14840" y="6801"/>
                </a:lnTo>
                <a:close/>
                <a:moveTo>
                  <a:pt x="14945" y="7438"/>
                </a:moveTo>
                <a:lnTo>
                  <a:pt x="14831" y="7461"/>
                </a:lnTo>
                <a:lnTo>
                  <a:pt x="14714" y="7474"/>
                </a:lnTo>
                <a:lnTo>
                  <a:pt x="14597" y="7484"/>
                </a:lnTo>
                <a:lnTo>
                  <a:pt x="14481" y="7502"/>
                </a:lnTo>
                <a:lnTo>
                  <a:pt x="14595" y="7466"/>
                </a:lnTo>
                <a:lnTo>
                  <a:pt x="14721" y="7441"/>
                </a:lnTo>
                <a:lnTo>
                  <a:pt x="14842" y="7431"/>
                </a:lnTo>
                <a:lnTo>
                  <a:pt x="14945" y="7438"/>
                </a:lnTo>
                <a:close/>
                <a:moveTo>
                  <a:pt x="14947" y="7621"/>
                </a:moveTo>
                <a:lnTo>
                  <a:pt x="14974" y="7627"/>
                </a:lnTo>
                <a:lnTo>
                  <a:pt x="14944" y="7638"/>
                </a:lnTo>
                <a:lnTo>
                  <a:pt x="14891" y="7649"/>
                </a:lnTo>
                <a:lnTo>
                  <a:pt x="14849" y="7649"/>
                </a:lnTo>
                <a:lnTo>
                  <a:pt x="14871" y="7633"/>
                </a:lnTo>
                <a:lnTo>
                  <a:pt x="14895" y="7627"/>
                </a:lnTo>
                <a:lnTo>
                  <a:pt x="14922" y="7624"/>
                </a:lnTo>
                <a:lnTo>
                  <a:pt x="14947" y="7621"/>
                </a:lnTo>
                <a:close/>
                <a:moveTo>
                  <a:pt x="15031" y="7739"/>
                </a:moveTo>
                <a:lnTo>
                  <a:pt x="15075" y="7758"/>
                </a:lnTo>
                <a:lnTo>
                  <a:pt x="15051" y="7758"/>
                </a:lnTo>
                <a:lnTo>
                  <a:pt x="14996" y="7757"/>
                </a:lnTo>
                <a:lnTo>
                  <a:pt x="14946" y="7769"/>
                </a:lnTo>
                <a:lnTo>
                  <a:pt x="14942" y="7750"/>
                </a:lnTo>
                <a:lnTo>
                  <a:pt x="14968" y="7739"/>
                </a:lnTo>
                <a:lnTo>
                  <a:pt x="15003" y="7736"/>
                </a:lnTo>
                <a:lnTo>
                  <a:pt x="15031" y="7739"/>
                </a:lnTo>
                <a:close/>
                <a:moveTo>
                  <a:pt x="15017" y="7594"/>
                </a:moveTo>
                <a:lnTo>
                  <a:pt x="15037" y="7592"/>
                </a:lnTo>
                <a:lnTo>
                  <a:pt x="15038" y="7598"/>
                </a:lnTo>
                <a:lnTo>
                  <a:pt x="15025" y="7603"/>
                </a:lnTo>
                <a:lnTo>
                  <a:pt x="15007" y="7600"/>
                </a:lnTo>
                <a:lnTo>
                  <a:pt x="15014" y="7596"/>
                </a:lnTo>
                <a:lnTo>
                  <a:pt x="15017" y="7594"/>
                </a:lnTo>
                <a:close/>
                <a:moveTo>
                  <a:pt x="14951" y="7948"/>
                </a:moveTo>
                <a:lnTo>
                  <a:pt x="14983" y="7935"/>
                </a:lnTo>
                <a:lnTo>
                  <a:pt x="15017" y="7926"/>
                </a:lnTo>
                <a:lnTo>
                  <a:pt x="15054" y="7922"/>
                </a:lnTo>
                <a:lnTo>
                  <a:pt x="15091" y="7921"/>
                </a:lnTo>
                <a:lnTo>
                  <a:pt x="15057" y="7927"/>
                </a:lnTo>
                <a:lnTo>
                  <a:pt x="15024" y="7934"/>
                </a:lnTo>
                <a:lnTo>
                  <a:pt x="14988" y="7941"/>
                </a:lnTo>
                <a:lnTo>
                  <a:pt x="14951" y="7948"/>
                </a:lnTo>
                <a:close/>
                <a:moveTo>
                  <a:pt x="15096" y="7654"/>
                </a:moveTo>
                <a:lnTo>
                  <a:pt x="15101" y="7656"/>
                </a:lnTo>
                <a:lnTo>
                  <a:pt x="15099" y="7656"/>
                </a:lnTo>
                <a:lnTo>
                  <a:pt x="15096" y="7657"/>
                </a:lnTo>
                <a:lnTo>
                  <a:pt x="15095" y="7656"/>
                </a:lnTo>
                <a:lnTo>
                  <a:pt x="15096" y="7654"/>
                </a:lnTo>
                <a:close/>
                <a:moveTo>
                  <a:pt x="15077" y="7954"/>
                </a:moveTo>
                <a:lnTo>
                  <a:pt x="15062" y="7954"/>
                </a:lnTo>
                <a:lnTo>
                  <a:pt x="15059" y="7953"/>
                </a:lnTo>
                <a:lnTo>
                  <a:pt x="15067" y="7950"/>
                </a:lnTo>
                <a:lnTo>
                  <a:pt x="15081" y="7950"/>
                </a:lnTo>
                <a:lnTo>
                  <a:pt x="15080" y="7953"/>
                </a:lnTo>
                <a:lnTo>
                  <a:pt x="15077" y="7954"/>
                </a:lnTo>
                <a:close/>
                <a:moveTo>
                  <a:pt x="14968" y="7979"/>
                </a:moveTo>
                <a:lnTo>
                  <a:pt x="14972" y="7973"/>
                </a:lnTo>
                <a:lnTo>
                  <a:pt x="14974" y="7971"/>
                </a:lnTo>
                <a:lnTo>
                  <a:pt x="14978" y="7969"/>
                </a:lnTo>
                <a:lnTo>
                  <a:pt x="14986" y="7971"/>
                </a:lnTo>
                <a:lnTo>
                  <a:pt x="14978" y="7974"/>
                </a:lnTo>
                <a:lnTo>
                  <a:pt x="14968" y="7979"/>
                </a:lnTo>
                <a:close/>
                <a:moveTo>
                  <a:pt x="14936" y="7907"/>
                </a:moveTo>
                <a:lnTo>
                  <a:pt x="14936" y="7906"/>
                </a:lnTo>
                <a:lnTo>
                  <a:pt x="14936" y="7907"/>
                </a:lnTo>
                <a:lnTo>
                  <a:pt x="14935" y="7904"/>
                </a:lnTo>
                <a:lnTo>
                  <a:pt x="14935" y="7903"/>
                </a:lnTo>
                <a:lnTo>
                  <a:pt x="14935" y="7904"/>
                </a:lnTo>
                <a:lnTo>
                  <a:pt x="14936" y="7907"/>
                </a:lnTo>
                <a:close/>
                <a:moveTo>
                  <a:pt x="15014" y="7903"/>
                </a:moveTo>
                <a:lnTo>
                  <a:pt x="15012" y="7904"/>
                </a:lnTo>
                <a:lnTo>
                  <a:pt x="15010" y="7907"/>
                </a:lnTo>
                <a:lnTo>
                  <a:pt x="15008" y="7907"/>
                </a:lnTo>
                <a:lnTo>
                  <a:pt x="15006" y="7907"/>
                </a:lnTo>
                <a:lnTo>
                  <a:pt x="15007" y="7904"/>
                </a:lnTo>
                <a:lnTo>
                  <a:pt x="15008" y="7903"/>
                </a:lnTo>
                <a:lnTo>
                  <a:pt x="15011" y="7902"/>
                </a:lnTo>
                <a:lnTo>
                  <a:pt x="15014" y="7903"/>
                </a:lnTo>
                <a:close/>
                <a:moveTo>
                  <a:pt x="14961" y="7902"/>
                </a:moveTo>
                <a:lnTo>
                  <a:pt x="14978" y="7887"/>
                </a:lnTo>
                <a:lnTo>
                  <a:pt x="14996" y="7880"/>
                </a:lnTo>
                <a:lnTo>
                  <a:pt x="15014" y="7880"/>
                </a:lnTo>
                <a:lnTo>
                  <a:pt x="15035" y="7885"/>
                </a:lnTo>
                <a:lnTo>
                  <a:pt x="15017" y="7889"/>
                </a:lnTo>
                <a:lnTo>
                  <a:pt x="14998" y="7894"/>
                </a:lnTo>
                <a:lnTo>
                  <a:pt x="14980" y="7898"/>
                </a:lnTo>
                <a:lnTo>
                  <a:pt x="14961" y="7902"/>
                </a:lnTo>
                <a:close/>
                <a:moveTo>
                  <a:pt x="14913" y="7684"/>
                </a:moveTo>
                <a:lnTo>
                  <a:pt x="14916" y="7684"/>
                </a:lnTo>
                <a:lnTo>
                  <a:pt x="14916" y="7684"/>
                </a:lnTo>
                <a:lnTo>
                  <a:pt x="14916" y="7685"/>
                </a:lnTo>
                <a:lnTo>
                  <a:pt x="14914" y="7688"/>
                </a:lnTo>
                <a:lnTo>
                  <a:pt x="14913" y="7684"/>
                </a:lnTo>
                <a:close/>
                <a:moveTo>
                  <a:pt x="14870" y="7811"/>
                </a:moveTo>
                <a:lnTo>
                  <a:pt x="14821" y="7794"/>
                </a:lnTo>
                <a:lnTo>
                  <a:pt x="14703" y="7805"/>
                </a:lnTo>
                <a:lnTo>
                  <a:pt x="14598" y="7815"/>
                </a:lnTo>
                <a:lnTo>
                  <a:pt x="14597" y="7792"/>
                </a:lnTo>
                <a:lnTo>
                  <a:pt x="14747" y="7776"/>
                </a:lnTo>
                <a:lnTo>
                  <a:pt x="14903" y="7777"/>
                </a:lnTo>
                <a:lnTo>
                  <a:pt x="14974" y="7791"/>
                </a:lnTo>
                <a:lnTo>
                  <a:pt x="14870" y="7811"/>
                </a:lnTo>
                <a:close/>
                <a:moveTo>
                  <a:pt x="14792" y="7913"/>
                </a:moveTo>
                <a:lnTo>
                  <a:pt x="14815" y="7906"/>
                </a:lnTo>
                <a:lnTo>
                  <a:pt x="14835" y="7902"/>
                </a:lnTo>
                <a:lnTo>
                  <a:pt x="14854" y="7903"/>
                </a:lnTo>
                <a:lnTo>
                  <a:pt x="14875" y="7907"/>
                </a:lnTo>
                <a:lnTo>
                  <a:pt x="14853" y="7912"/>
                </a:lnTo>
                <a:lnTo>
                  <a:pt x="14833" y="7913"/>
                </a:lnTo>
                <a:lnTo>
                  <a:pt x="14812" y="7913"/>
                </a:lnTo>
                <a:lnTo>
                  <a:pt x="14792" y="7913"/>
                </a:lnTo>
                <a:close/>
                <a:moveTo>
                  <a:pt x="14848" y="7953"/>
                </a:moveTo>
                <a:lnTo>
                  <a:pt x="14798" y="7955"/>
                </a:lnTo>
                <a:lnTo>
                  <a:pt x="14754" y="7957"/>
                </a:lnTo>
                <a:lnTo>
                  <a:pt x="14731" y="7949"/>
                </a:lnTo>
                <a:lnTo>
                  <a:pt x="14751" y="7923"/>
                </a:lnTo>
                <a:lnTo>
                  <a:pt x="14798" y="7932"/>
                </a:lnTo>
                <a:lnTo>
                  <a:pt x="14853" y="7936"/>
                </a:lnTo>
                <a:lnTo>
                  <a:pt x="14881" y="7940"/>
                </a:lnTo>
                <a:lnTo>
                  <a:pt x="14848" y="7953"/>
                </a:lnTo>
                <a:close/>
                <a:moveTo>
                  <a:pt x="14848" y="7954"/>
                </a:moveTo>
                <a:lnTo>
                  <a:pt x="14851" y="7954"/>
                </a:lnTo>
                <a:lnTo>
                  <a:pt x="14852" y="7954"/>
                </a:lnTo>
                <a:lnTo>
                  <a:pt x="14851" y="7954"/>
                </a:lnTo>
                <a:lnTo>
                  <a:pt x="14848" y="7954"/>
                </a:lnTo>
                <a:lnTo>
                  <a:pt x="14851" y="7953"/>
                </a:lnTo>
                <a:lnTo>
                  <a:pt x="14848" y="7954"/>
                </a:lnTo>
                <a:close/>
                <a:moveTo>
                  <a:pt x="14838" y="7969"/>
                </a:moveTo>
                <a:lnTo>
                  <a:pt x="14839" y="7968"/>
                </a:lnTo>
                <a:lnTo>
                  <a:pt x="14840" y="7968"/>
                </a:lnTo>
                <a:lnTo>
                  <a:pt x="14842" y="7969"/>
                </a:lnTo>
                <a:lnTo>
                  <a:pt x="14840" y="7971"/>
                </a:lnTo>
                <a:lnTo>
                  <a:pt x="14839" y="7971"/>
                </a:lnTo>
                <a:lnTo>
                  <a:pt x="14838" y="7969"/>
                </a:lnTo>
                <a:close/>
                <a:moveTo>
                  <a:pt x="14724" y="7991"/>
                </a:moveTo>
                <a:lnTo>
                  <a:pt x="14726" y="7990"/>
                </a:lnTo>
                <a:lnTo>
                  <a:pt x="14727" y="7988"/>
                </a:lnTo>
                <a:lnTo>
                  <a:pt x="14726" y="7990"/>
                </a:lnTo>
                <a:lnTo>
                  <a:pt x="14724" y="7991"/>
                </a:lnTo>
                <a:close/>
                <a:moveTo>
                  <a:pt x="14761" y="8025"/>
                </a:moveTo>
                <a:lnTo>
                  <a:pt x="14639" y="8056"/>
                </a:lnTo>
                <a:lnTo>
                  <a:pt x="14528" y="8089"/>
                </a:lnTo>
                <a:lnTo>
                  <a:pt x="14493" y="8095"/>
                </a:lnTo>
                <a:lnTo>
                  <a:pt x="14598" y="8044"/>
                </a:lnTo>
                <a:lnTo>
                  <a:pt x="14549" y="8053"/>
                </a:lnTo>
                <a:lnTo>
                  <a:pt x="14663" y="8033"/>
                </a:lnTo>
                <a:lnTo>
                  <a:pt x="14784" y="8013"/>
                </a:lnTo>
                <a:lnTo>
                  <a:pt x="14761" y="8025"/>
                </a:lnTo>
                <a:close/>
                <a:moveTo>
                  <a:pt x="14870" y="8056"/>
                </a:moveTo>
                <a:lnTo>
                  <a:pt x="14858" y="8074"/>
                </a:lnTo>
                <a:lnTo>
                  <a:pt x="14830" y="8077"/>
                </a:lnTo>
                <a:lnTo>
                  <a:pt x="14796" y="8076"/>
                </a:lnTo>
                <a:lnTo>
                  <a:pt x="14768" y="8077"/>
                </a:lnTo>
                <a:lnTo>
                  <a:pt x="14795" y="8069"/>
                </a:lnTo>
                <a:lnTo>
                  <a:pt x="14819" y="8058"/>
                </a:lnTo>
                <a:lnTo>
                  <a:pt x="14843" y="8052"/>
                </a:lnTo>
                <a:lnTo>
                  <a:pt x="14870" y="8056"/>
                </a:lnTo>
                <a:close/>
                <a:moveTo>
                  <a:pt x="14881" y="8111"/>
                </a:moveTo>
                <a:lnTo>
                  <a:pt x="14879" y="8112"/>
                </a:lnTo>
                <a:lnTo>
                  <a:pt x="14881" y="8111"/>
                </a:lnTo>
                <a:lnTo>
                  <a:pt x="14879" y="8112"/>
                </a:lnTo>
                <a:lnTo>
                  <a:pt x="14881" y="8111"/>
                </a:lnTo>
                <a:close/>
                <a:moveTo>
                  <a:pt x="14894" y="8108"/>
                </a:moveTo>
                <a:lnTo>
                  <a:pt x="14891" y="8109"/>
                </a:lnTo>
                <a:lnTo>
                  <a:pt x="14890" y="8109"/>
                </a:lnTo>
                <a:lnTo>
                  <a:pt x="14893" y="8109"/>
                </a:lnTo>
                <a:lnTo>
                  <a:pt x="14894" y="8108"/>
                </a:lnTo>
                <a:lnTo>
                  <a:pt x="14895" y="8112"/>
                </a:lnTo>
                <a:lnTo>
                  <a:pt x="14893" y="8112"/>
                </a:lnTo>
                <a:lnTo>
                  <a:pt x="14893" y="8111"/>
                </a:lnTo>
                <a:lnTo>
                  <a:pt x="14894" y="8108"/>
                </a:lnTo>
                <a:close/>
                <a:moveTo>
                  <a:pt x="14821" y="8119"/>
                </a:moveTo>
                <a:lnTo>
                  <a:pt x="14828" y="8112"/>
                </a:lnTo>
                <a:lnTo>
                  <a:pt x="14835" y="8108"/>
                </a:lnTo>
                <a:lnTo>
                  <a:pt x="14843" y="8109"/>
                </a:lnTo>
                <a:lnTo>
                  <a:pt x="14849" y="8116"/>
                </a:lnTo>
                <a:lnTo>
                  <a:pt x="14835" y="8118"/>
                </a:lnTo>
                <a:lnTo>
                  <a:pt x="14821" y="8119"/>
                </a:lnTo>
                <a:close/>
                <a:moveTo>
                  <a:pt x="14693" y="8173"/>
                </a:moveTo>
                <a:lnTo>
                  <a:pt x="14691" y="8169"/>
                </a:lnTo>
                <a:lnTo>
                  <a:pt x="14696" y="8168"/>
                </a:lnTo>
                <a:lnTo>
                  <a:pt x="14700" y="8169"/>
                </a:lnTo>
                <a:lnTo>
                  <a:pt x="14703" y="8173"/>
                </a:lnTo>
                <a:lnTo>
                  <a:pt x="14698" y="8173"/>
                </a:lnTo>
                <a:lnTo>
                  <a:pt x="14693" y="8173"/>
                </a:lnTo>
                <a:close/>
                <a:moveTo>
                  <a:pt x="14656" y="8131"/>
                </a:moveTo>
                <a:lnTo>
                  <a:pt x="14656" y="8130"/>
                </a:lnTo>
                <a:lnTo>
                  <a:pt x="14657" y="8130"/>
                </a:lnTo>
                <a:lnTo>
                  <a:pt x="14660" y="8130"/>
                </a:lnTo>
                <a:lnTo>
                  <a:pt x="14665" y="8128"/>
                </a:lnTo>
                <a:lnTo>
                  <a:pt x="14658" y="8131"/>
                </a:lnTo>
                <a:lnTo>
                  <a:pt x="14656" y="8131"/>
                </a:lnTo>
                <a:close/>
                <a:moveTo>
                  <a:pt x="14560" y="8131"/>
                </a:moveTo>
                <a:lnTo>
                  <a:pt x="14579" y="8122"/>
                </a:lnTo>
                <a:lnTo>
                  <a:pt x="14600" y="8117"/>
                </a:lnTo>
                <a:lnTo>
                  <a:pt x="14621" y="8113"/>
                </a:lnTo>
                <a:lnTo>
                  <a:pt x="14642" y="8111"/>
                </a:lnTo>
                <a:lnTo>
                  <a:pt x="14621" y="8116"/>
                </a:lnTo>
                <a:lnTo>
                  <a:pt x="14601" y="8121"/>
                </a:lnTo>
                <a:lnTo>
                  <a:pt x="14581" y="8126"/>
                </a:lnTo>
                <a:lnTo>
                  <a:pt x="14560" y="8131"/>
                </a:lnTo>
                <a:close/>
                <a:moveTo>
                  <a:pt x="14451" y="8182"/>
                </a:moveTo>
                <a:lnTo>
                  <a:pt x="14460" y="8179"/>
                </a:lnTo>
                <a:lnTo>
                  <a:pt x="14469" y="8174"/>
                </a:lnTo>
                <a:lnTo>
                  <a:pt x="14479" y="8172"/>
                </a:lnTo>
                <a:lnTo>
                  <a:pt x="14491" y="8175"/>
                </a:lnTo>
                <a:lnTo>
                  <a:pt x="14480" y="8182"/>
                </a:lnTo>
                <a:lnTo>
                  <a:pt x="14470" y="8184"/>
                </a:lnTo>
                <a:lnTo>
                  <a:pt x="14460" y="8183"/>
                </a:lnTo>
                <a:lnTo>
                  <a:pt x="14451" y="8182"/>
                </a:lnTo>
                <a:close/>
                <a:moveTo>
                  <a:pt x="14498" y="8005"/>
                </a:moveTo>
                <a:lnTo>
                  <a:pt x="14497" y="8006"/>
                </a:lnTo>
                <a:lnTo>
                  <a:pt x="14494" y="8007"/>
                </a:lnTo>
                <a:lnTo>
                  <a:pt x="14493" y="8009"/>
                </a:lnTo>
                <a:lnTo>
                  <a:pt x="14490" y="8007"/>
                </a:lnTo>
                <a:lnTo>
                  <a:pt x="14491" y="8006"/>
                </a:lnTo>
                <a:lnTo>
                  <a:pt x="14494" y="8005"/>
                </a:lnTo>
                <a:lnTo>
                  <a:pt x="14495" y="8004"/>
                </a:lnTo>
                <a:lnTo>
                  <a:pt x="14498" y="8005"/>
                </a:lnTo>
                <a:close/>
                <a:moveTo>
                  <a:pt x="14679" y="7993"/>
                </a:moveTo>
                <a:lnTo>
                  <a:pt x="14675" y="7995"/>
                </a:lnTo>
                <a:lnTo>
                  <a:pt x="14671" y="7995"/>
                </a:lnTo>
                <a:lnTo>
                  <a:pt x="14667" y="7993"/>
                </a:lnTo>
                <a:lnTo>
                  <a:pt x="14663" y="7992"/>
                </a:lnTo>
                <a:lnTo>
                  <a:pt x="14667" y="7990"/>
                </a:lnTo>
                <a:lnTo>
                  <a:pt x="14672" y="7988"/>
                </a:lnTo>
                <a:lnTo>
                  <a:pt x="14676" y="7990"/>
                </a:lnTo>
                <a:lnTo>
                  <a:pt x="14679" y="7993"/>
                </a:lnTo>
                <a:close/>
                <a:moveTo>
                  <a:pt x="14765" y="7869"/>
                </a:moveTo>
                <a:lnTo>
                  <a:pt x="14767" y="7867"/>
                </a:lnTo>
                <a:lnTo>
                  <a:pt x="14768" y="7867"/>
                </a:lnTo>
                <a:lnTo>
                  <a:pt x="14769" y="7869"/>
                </a:lnTo>
                <a:lnTo>
                  <a:pt x="14769" y="7870"/>
                </a:lnTo>
                <a:lnTo>
                  <a:pt x="14767" y="7869"/>
                </a:lnTo>
                <a:lnTo>
                  <a:pt x="14765" y="7869"/>
                </a:lnTo>
                <a:close/>
                <a:moveTo>
                  <a:pt x="14691" y="7869"/>
                </a:moveTo>
                <a:lnTo>
                  <a:pt x="14681" y="7879"/>
                </a:lnTo>
                <a:lnTo>
                  <a:pt x="14654" y="7881"/>
                </a:lnTo>
                <a:lnTo>
                  <a:pt x="14621" y="7880"/>
                </a:lnTo>
                <a:lnTo>
                  <a:pt x="14595" y="7879"/>
                </a:lnTo>
                <a:lnTo>
                  <a:pt x="14620" y="7875"/>
                </a:lnTo>
                <a:lnTo>
                  <a:pt x="14643" y="7873"/>
                </a:lnTo>
                <a:lnTo>
                  <a:pt x="14666" y="7871"/>
                </a:lnTo>
                <a:lnTo>
                  <a:pt x="14691" y="7869"/>
                </a:lnTo>
                <a:close/>
                <a:moveTo>
                  <a:pt x="14742" y="7828"/>
                </a:moveTo>
                <a:lnTo>
                  <a:pt x="14707" y="7834"/>
                </a:lnTo>
                <a:lnTo>
                  <a:pt x="14670" y="7837"/>
                </a:lnTo>
                <a:lnTo>
                  <a:pt x="14653" y="7834"/>
                </a:lnTo>
                <a:lnTo>
                  <a:pt x="14681" y="7823"/>
                </a:lnTo>
                <a:lnTo>
                  <a:pt x="14699" y="7814"/>
                </a:lnTo>
                <a:lnTo>
                  <a:pt x="14722" y="7810"/>
                </a:lnTo>
                <a:lnTo>
                  <a:pt x="14741" y="7815"/>
                </a:lnTo>
                <a:lnTo>
                  <a:pt x="14742" y="7828"/>
                </a:lnTo>
                <a:close/>
                <a:moveTo>
                  <a:pt x="14747" y="7867"/>
                </a:moveTo>
                <a:lnTo>
                  <a:pt x="14742" y="7870"/>
                </a:lnTo>
                <a:lnTo>
                  <a:pt x="14739" y="7871"/>
                </a:lnTo>
                <a:lnTo>
                  <a:pt x="14739" y="7869"/>
                </a:lnTo>
                <a:lnTo>
                  <a:pt x="14741" y="7867"/>
                </a:lnTo>
                <a:lnTo>
                  <a:pt x="14744" y="7867"/>
                </a:lnTo>
                <a:lnTo>
                  <a:pt x="14747" y="7867"/>
                </a:lnTo>
                <a:close/>
                <a:moveTo>
                  <a:pt x="14745" y="7861"/>
                </a:moveTo>
                <a:lnTo>
                  <a:pt x="14741" y="7859"/>
                </a:lnTo>
                <a:lnTo>
                  <a:pt x="14739" y="7859"/>
                </a:lnTo>
                <a:lnTo>
                  <a:pt x="14742" y="7859"/>
                </a:lnTo>
                <a:lnTo>
                  <a:pt x="14746" y="7859"/>
                </a:lnTo>
                <a:lnTo>
                  <a:pt x="14747" y="7860"/>
                </a:lnTo>
                <a:lnTo>
                  <a:pt x="14745" y="7861"/>
                </a:lnTo>
                <a:close/>
                <a:moveTo>
                  <a:pt x="14565" y="7927"/>
                </a:moveTo>
                <a:lnTo>
                  <a:pt x="14569" y="7927"/>
                </a:lnTo>
                <a:lnTo>
                  <a:pt x="14570" y="7927"/>
                </a:lnTo>
                <a:lnTo>
                  <a:pt x="14570" y="7929"/>
                </a:lnTo>
                <a:lnTo>
                  <a:pt x="14568" y="7932"/>
                </a:lnTo>
                <a:lnTo>
                  <a:pt x="14567" y="7931"/>
                </a:lnTo>
                <a:lnTo>
                  <a:pt x="14565" y="7927"/>
                </a:lnTo>
                <a:close/>
                <a:moveTo>
                  <a:pt x="14441" y="8016"/>
                </a:moveTo>
                <a:lnTo>
                  <a:pt x="14321" y="8032"/>
                </a:lnTo>
                <a:lnTo>
                  <a:pt x="14228" y="8034"/>
                </a:lnTo>
                <a:lnTo>
                  <a:pt x="14150" y="8041"/>
                </a:lnTo>
                <a:lnTo>
                  <a:pt x="14076" y="8065"/>
                </a:lnTo>
                <a:lnTo>
                  <a:pt x="14197" y="8072"/>
                </a:lnTo>
                <a:lnTo>
                  <a:pt x="14219" y="8071"/>
                </a:lnTo>
                <a:lnTo>
                  <a:pt x="14168" y="8084"/>
                </a:lnTo>
                <a:lnTo>
                  <a:pt x="14065" y="8130"/>
                </a:lnTo>
                <a:lnTo>
                  <a:pt x="13943" y="8159"/>
                </a:lnTo>
                <a:lnTo>
                  <a:pt x="13776" y="8191"/>
                </a:lnTo>
                <a:lnTo>
                  <a:pt x="13692" y="8198"/>
                </a:lnTo>
                <a:lnTo>
                  <a:pt x="13823" y="8156"/>
                </a:lnTo>
                <a:lnTo>
                  <a:pt x="14038" y="8072"/>
                </a:lnTo>
                <a:lnTo>
                  <a:pt x="14249" y="8018"/>
                </a:lnTo>
                <a:lnTo>
                  <a:pt x="14469" y="7968"/>
                </a:lnTo>
                <a:lnTo>
                  <a:pt x="14707" y="7907"/>
                </a:lnTo>
                <a:lnTo>
                  <a:pt x="14773" y="7907"/>
                </a:lnTo>
                <a:lnTo>
                  <a:pt x="14751" y="7922"/>
                </a:lnTo>
                <a:lnTo>
                  <a:pt x="14686" y="7941"/>
                </a:lnTo>
                <a:lnTo>
                  <a:pt x="14616" y="7955"/>
                </a:lnTo>
                <a:lnTo>
                  <a:pt x="14680" y="7957"/>
                </a:lnTo>
                <a:lnTo>
                  <a:pt x="14614" y="7963"/>
                </a:lnTo>
                <a:lnTo>
                  <a:pt x="14503" y="7982"/>
                </a:lnTo>
                <a:lnTo>
                  <a:pt x="14441" y="8016"/>
                </a:lnTo>
                <a:close/>
                <a:moveTo>
                  <a:pt x="14407" y="8192"/>
                </a:moveTo>
                <a:lnTo>
                  <a:pt x="14397" y="8195"/>
                </a:lnTo>
                <a:lnTo>
                  <a:pt x="14386" y="8198"/>
                </a:lnTo>
                <a:lnTo>
                  <a:pt x="14374" y="8201"/>
                </a:lnTo>
                <a:lnTo>
                  <a:pt x="14362" y="8204"/>
                </a:lnTo>
                <a:lnTo>
                  <a:pt x="14369" y="8193"/>
                </a:lnTo>
                <a:lnTo>
                  <a:pt x="14383" y="8184"/>
                </a:lnTo>
                <a:lnTo>
                  <a:pt x="14398" y="8183"/>
                </a:lnTo>
                <a:lnTo>
                  <a:pt x="14407" y="8192"/>
                </a:lnTo>
                <a:close/>
                <a:moveTo>
                  <a:pt x="14288" y="8097"/>
                </a:moveTo>
                <a:lnTo>
                  <a:pt x="14299" y="8094"/>
                </a:lnTo>
                <a:lnTo>
                  <a:pt x="14309" y="8091"/>
                </a:lnTo>
                <a:lnTo>
                  <a:pt x="14306" y="8098"/>
                </a:lnTo>
                <a:lnTo>
                  <a:pt x="14300" y="8100"/>
                </a:lnTo>
                <a:lnTo>
                  <a:pt x="14294" y="8100"/>
                </a:lnTo>
                <a:lnTo>
                  <a:pt x="14288" y="8097"/>
                </a:lnTo>
                <a:close/>
                <a:moveTo>
                  <a:pt x="14288" y="8218"/>
                </a:moveTo>
                <a:lnTo>
                  <a:pt x="14292" y="8214"/>
                </a:lnTo>
                <a:lnTo>
                  <a:pt x="14300" y="8211"/>
                </a:lnTo>
                <a:lnTo>
                  <a:pt x="14312" y="8209"/>
                </a:lnTo>
                <a:lnTo>
                  <a:pt x="14321" y="8205"/>
                </a:lnTo>
                <a:lnTo>
                  <a:pt x="14313" y="8216"/>
                </a:lnTo>
                <a:lnTo>
                  <a:pt x="14306" y="8223"/>
                </a:lnTo>
                <a:lnTo>
                  <a:pt x="14298" y="8223"/>
                </a:lnTo>
                <a:lnTo>
                  <a:pt x="14288" y="8218"/>
                </a:lnTo>
                <a:close/>
                <a:moveTo>
                  <a:pt x="14241" y="8119"/>
                </a:moveTo>
                <a:lnTo>
                  <a:pt x="14177" y="8135"/>
                </a:lnTo>
                <a:lnTo>
                  <a:pt x="14143" y="8136"/>
                </a:lnTo>
                <a:lnTo>
                  <a:pt x="14151" y="8127"/>
                </a:lnTo>
                <a:lnTo>
                  <a:pt x="14218" y="8111"/>
                </a:lnTo>
                <a:lnTo>
                  <a:pt x="14232" y="8109"/>
                </a:lnTo>
                <a:lnTo>
                  <a:pt x="14246" y="8109"/>
                </a:lnTo>
                <a:lnTo>
                  <a:pt x="14252" y="8112"/>
                </a:lnTo>
                <a:lnTo>
                  <a:pt x="14241" y="8119"/>
                </a:lnTo>
                <a:close/>
                <a:moveTo>
                  <a:pt x="14223" y="8262"/>
                </a:moveTo>
                <a:lnTo>
                  <a:pt x="14228" y="8260"/>
                </a:lnTo>
                <a:lnTo>
                  <a:pt x="14223" y="8262"/>
                </a:lnTo>
                <a:lnTo>
                  <a:pt x="14227" y="8258"/>
                </a:lnTo>
                <a:lnTo>
                  <a:pt x="14223" y="8262"/>
                </a:lnTo>
                <a:close/>
                <a:moveTo>
                  <a:pt x="14163" y="8270"/>
                </a:moveTo>
                <a:lnTo>
                  <a:pt x="14163" y="8257"/>
                </a:lnTo>
                <a:lnTo>
                  <a:pt x="14167" y="8256"/>
                </a:lnTo>
                <a:lnTo>
                  <a:pt x="14173" y="8261"/>
                </a:lnTo>
                <a:lnTo>
                  <a:pt x="14177" y="8272"/>
                </a:lnTo>
                <a:lnTo>
                  <a:pt x="14172" y="8276"/>
                </a:lnTo>
                <a:lnTo>
                  <a:pt x="14168" y="8276"/>
                </a:lnTo>
                <a:lnTo>
                  <a:pt x="14164" y="8274"/>
                </a:lnTo>
                <a:lnTo>
                  <a:pt x="14163" y="8270"/>
                </a:lnTo>
                <a:close/>
                <a:moveTo>
                  <a:pt x="14106" y="8136"/>
                </a:moveTo>
                <a:lnTo>
                  <a:pt x="14084" y="8142"/>
                </a:lnTo>
                <a:lnTo>
                  <a:pt x="14064" y="8149"/>
                </a:lnTo>
                <a:lnTo>
                  <a:pt x="14043" y="8155"/>
                </a:lnTo>
                <a:lnTo>
                  <a:pt x="14022" y="8156"/>
                </a:lnTo>
                <a:lnTo>
                  <a:pt x="14042" y="8147"/>
                </a:lnTo>
                <a:lnTo>
                  <a:pt x="14064" y="8141"/>
                </a:lnTo>
                <a:lnTo>
                  <a:pt x="14086" y="8137"/>
                </a:lnTo>
                <a:lnTo>
                  <a:pt x="14106" y="8136"/>
                </a:lnTo>
                <a:close/>
                <a:moveTo>
                  <a:pt x="13808" y="8202"/>
                </a:moveTo>
                <a:lnTo>
                  <a:pt x="13816" y="8201"/>
                </a:lnTo>
                <a:lnTo>
                  <a:pt x="13827" y="8201"/>
                </a:lnTo>
                <a:lnTo>
                  <a:pt x="13822" y="8202"/>
                </a:lnTo>
                <a:lnTo>
                  <a:pt x="13815" y="8204"/>
                </a:lnTo>
                <a:lnTo>
                  <a:pt x="13811" y="8205"/>
                </a:lnTo>
                <a:lnTo>
                  <a:pt x="13808" y="8202"/>
                </a:lnTo>
                <a:close/>
                <a:moveTo>
                  <a:pt x="13944" y="8197"/>
                </a:moveTo>
                <a:lnTo>
                  <a:pt x="13652" y="8282"/>
                </a:lnTo>
                <a:lnTo>
                  <a:pt x="13440" y="8337"/>
                </a:lnTo>
                <a:lnTo>
                  <a:pt x="13428" y="8333"/>
                </a:lnTo>
                <a:lnTo>
                  <a:pt x="13745" y="8248"/>
                </a:lnTo>
                <a:lnTo>
                  <a:pt x="13473" y="8289"/>
                </a:lnTo>
                <a:lnTo>
                  <a:pt x="13606" y="8253"/>
                </a:lnTo>
                <a:lnTo>
                  <a:pt x="13857" y="8204"/>
                </a:lnTo>
                <a:lnTo>
                  <a:pt x="13944" y="8197"/>
                </a:lnTo>
                <a:close/>
                <a:moveTo>
                  <a:pt x="13736" y="8286"/>
                </a:moveTo>
                <a:lnTo>
                  <a:pt x="13736" y="8285"/>
                </a:lnTo>
                <a:lnTo>
                  <a:pt x="13736" y="8285"/>
                </a:lnTo>
                <a:lnTo>
                  <a:pt x="13738" y="8285"/>
                </a:lnTo>
                <a:lnTo>
                  <a:pt x="13739" y="8285"/>
                </a:lnTo>
                <a:lnTo>
                  <a:pt x="13736" y="8286"/>
                </a:lnTo>
                <a:close/>
                <a:moveTo>
                  <a:pt x="13324" y="8352"/>
                </a:moveTo>
                <a:lnTo>
                  <a:pt x="13308" y="8360"/>
                </a:lnTo>
                <a:lnTo>
                  <a:pt x="13298" y="8369"/>
                </a:lnTo>
                <a:lnTo>
                  <a:pt x="13287" y="8379"/>
                </a:lnTo>
                <a:lnTo>
                  <a:pt x="13271" y="8389"/>
                </a:lnTo>
                <a:lnTo>
                  <a:pt x="13279" y="8359"/>
                </a:lnTo>
                <a:lnTo>
                  <a:pt x="13297" y="8346"/>
                </a:lnTo>
                <a:lnTo>
                  <a:pt x="13315" y="8346"/>
                </a:lnTo>
                <a:lnTo>
                  <a:pt x="13324" y="8352"/>
                </a:lnTo>
                <a:close/>
                <a:moveTo>
                  <a:pt x="13243" y="8420"/>
                </a:moveTo>
                <a:lnTo>
                  <a:pt x="13243" y="8416"/>
                </a:lnTo>
                <a:lnTo>
                  <a:pt x="13241" y="8415"/>
                </a:lnTo>
                <a:lnTo>
                  <a:pt x="13235" y="8414"/>
                </a:lnTo>
                <a:lnTo>
                  <a:pt x="13224" y="8411"/>
                </a:lnTo>
                <a:lnTo>
                  <a:pt x="13249" y="8407"/>
                </a:lnTo>
                <a:lnTo>
                  <a:pt x="13263" y="8408"/>
                </a:lnTo>
                <a:lnTo>
                  <a:pt x="13261" y="8415"/>
                </a:lnTo>
                <a:lnTo>
                  <a:pt x="13243" y="8420"/>
                </a:lnTo>
                <a:close/>
                <a:moveTo>
                  <a:pt x="13310" y="7413"/>
                </a:moveTo>
                <a:lnTo>
                  <a:pt x="13307" y="7414"/>
                </a:lnTo>
                <a:lnTo>
                  <a:pt x="13306" y="7414"/>
                </a:lnTo>
                <a:lnTo>
                  <a:pt x="13305" y="7414"/>
                </a:lnTo>
                <a:lnTo>
                  <a:pt x="13305" y="7412"/>
                </a:lnTo>
                <a:lnTo>
                  <a:pt x="13307" y="7413"/>
                </a:lnTo>
                <a:lnTo>
                  <a:pt x="13310" y="7413"/>
                </a:lnTo>
                <a:close/>
                <a:moveTo>
                  <a:pt x="13378" y="7366"/>
                </a:moveTo>
                <a:lnTo>
                  <a:pt x="13385" y="7363"/>
                </a:lnTo>
                <a:lnTo>
                  <a:pt x="13391" y="7363"/>
                </a:lnTo>
                <a:lnTo>
                  <a:pt x="13398" y="7365"/>
                </a:lnTo>
                <a:lnTo>
                  <a:pt x="13403" y="7368"/>
                </a:lnTo>
                <a:lnTo>
                  <a:pt x="13387" y="7368"/>
                </a:lnTo>
                <a:lnTo>
                  <a:pt x="13387" y="7367"/>
                </a:lnTo>
                <a:lnTo>
                  <a:pt x="13390" y="7366"/>
                </a:lnTo>
                <a:lnTo>
                  <a:pt x="13378" y="7366"/>
                </a:lnTo>
                <a:close/>
                <a:moveTo>
                  <a:pt x="13205" y="697"/>
                </a:moveTo>
                <a:lnTo>
                  <a:pt x="13254" y="658"/>
                </a:lnTo>
                <a:lnTo>
                  <a:pt x="13321" y="609"/>
                </a:lnTo>
                <a:lnTo>
                  <a:pt x="13380" y="577"/>
                </a:lnTo>
                <a:lnTo>
                  <a:pt x="13401" y="589"/>
                </a:lnTo>
                <a:lnTo>
                  <a:pt x="13344" y="621"/>
                </a:lnTo>
                <a:lnTo>
                  <a:pt x="13296" y="656"/>
                </a:lnTo>
                <a:lnTo>
                  <a:pt x="13251" y="686"/>
                </a:lnTo>
                <a:lnTo>
                  <a:pt x="13205" y="697"/>
                </a:lnTo>
                <a:close/>
                <a:moveTo>
                  <a:pt x="13377" y="547"/>
                </a:moveTo>
                <a:lnTo>
                  <a:pt x="13373" y="549"/>
                </a:lnTo>
                <a:lnTo>
                  <a:pt x="13373" y="549"/>
                </a:lnTo>
                <a:lnTo>
                  <a:pt x="13375" y="548"/>
                </a:lnTo>
                <a:lnTo>
                  <a:pt x="13377" y="547"/>
                </a:lnTo>
                <a:lnTo>
                  <a:pt x="13378" y="549"/>
                </a:lnTo>
                <a:lnTo>
                  <a:pt x="13375" y="552"/>
                </a:lnTo>
                <a:lnTo>
                  <a:pt x="13373" y="553"/>
                </a:lnTo>
                <a:lnTo>
                  <a:pt x="13377" y="547"/>
                </a:lnTo>
                <a:close/>
                <a:moveTo>
                  <a:pt x="13429" y="7353"/>
                </a:moveTo>
                <a:lnTo>
                  <a:pt x="13429" y="7354"/>
                </a:lnTo>
                <a:lnTo>
                  <a:pt x="13429" y="7353"/>
                </a:lnTo>
                <a:lnTo>
                  <a:pt x="13429" y="7354"/>
                </a:lnTo>
                <a:lnTo>
                  <a:pt x="13429" y="7353"/>
                </a:lnTo>
                <a:close/>
                <a:moveTo>
                  <a:pt x="13585" y="1064"/>
                </a:moveTo>
                <a:lnTo>
                  <a:pt x="13580" y="1066"/>
                </a:lnTo>
                <a:lnTo>
                  <a:pt x="13578" y="1066"/>
                </a:lnTo>
                <a:lnTo>
                  <a:pt x="13581" y="1065"/>
                </a:lnTo>
                <a:lnTo>
                  <a:pt x="13585" y="1064"/>
                </a:lnTo>
                <a:lnTo>
                  <a:pt x="13585" y="1069"/>
                </a:lnTo>
                <a:lnTo>
                  <a:pt x="13581" y="1073"/>
                </a:lnTo>
                <a:lnTo>
                  <a:pt x="13580" y="1073"/>
                </a:lnTo>
                <a:lnTo>
                  <a:pt x="13585" y="1064"/>
                </a:lnTo>
                <a:close/>
                <a:moveTo>
                  <a:pt x="13837" y="7913"/>
                </a:moveTo>
                <a:lnTo>
                  <a:pt x="13831" y="7916"/>
                </a:lnTo>
                <a:lnTo>
                  <a:pt x="13824" y="7917"/>
                </a:lnTo>
                <a:lnTo>
                  <a:pt x="13831" y="7915"/>
                </a:lnTo>
                <a:lnTo>
                  <a:pt x="13837" y="7913"/>
                </a:lnTo>
                <a:close/>
                <a:moveTo>
                  <a:pt x="13881" y="7903"/>
                </a:moveTo>
                <a:lnTo>
                  <a:pt x="13880" y="7903"/>
                </a:lnTo>
                <a:lnTo>
                  <a:pt x="13881" y="7903"/>
                </a:lnTo>
                <a:lnTo>
                  <a:pt x="13881" y="7904"/>
                </a:lnTo>
                <a:lnTo>
                  <a:pt x="13881" y="7903"/>
                </a:lnTo>
                <a:close/>
                <a:moveTo>
                  <a:pt x="13901" y="7902"/>
                </a:moveTo>
                <a:lnTo>
                  <a:pt x="13907" y="7894"/>
                </a:lnTo>
                <a:lnTo>
                  <a:pt x="13912" y="7889"/>
                </a:lnTo>
                <a:lnTo>
                  <a:pt x="13918" y="7888"/>
                </a:lnTo>
                <a:lnTo>
                  <a:pt x="13923" y="7895"/>
                </a:lnTo>
                <a:lnTo>
                  <a:pt x="13921" y="7899"/>
                </a:lnTo>
                <a:lnTo>
                  <a:pt x="13915" y="7901"/>
                </a:lnTo>
                <a:lnTo>
                  <a:pt x="13907" y="7901"/>
                </a:lnTo>
                <a:lnTo>
                  <a:pt x="13901" y="7902"/>
                </a:lnTo>
                <a:close/>
                <a:moveTo>
                  <a:pt x="13926" y="7902"/>
                </a:moveTo>
                <a:lnTo>
                  <a:pt x="13929" y="7911"/>
                </a:lnTo>
                <a:lnTo>
                  <a:pt x="13920" y="7913"/>
                </a:lnTo>
                <a:lnTo>
                  <a:pt x="13907" y="7915"/>
                </a:lnTo>
                <a:lnTo>
                  <a:pt x="13895" y="7916"/>
                </a:lnTo>
                <a:lnTo>
                  <a:pt x="13911" y="7908"/>
                </a:lnTo>
                <a:lnTo>
                  <a:pt x="13926" y="7902"/>
                </a:lnTo>
                <a:close/>
                <a:moveTo>
                  <a:pt x="14020" y="7888"/>
                </a:moveTo>
                <a:lnTo>
                  <a:pt x="14019" y="7888"/>
                </a:lnTo>
                <a:lnTo>
                  <a:pt x="14020" y="7888"/>
                </a:lnTo>
                <a:lnTo>
                  <a:pt x="14019" y="7889"/>
                </a:lnTo>
                <a:lnTo>
                  <a:pt x="14019" y="7890"/>
                </a:lnTo>
                <a:lnTo>
                  <a:pt x="14019" y="7889"/>
                </a:lnTo>
                <a:lnTo>
                  <a:pt x="14020" y="7888"/>
                </a:lnTo>
                <a:close/>
                <a:moveTo>
                  <a:pt x="14071" y="7889"/>
                </a:moveTo>
                <a:lnTo>
                  <a:pt x="14064" y="7878"/>
                </a:lnTo>
                <a:lnTo>
                  <a:pt x="14080" y="7871"/>
                </a:lnTo>
                <a:lnTo>
                  <a:pt x="14108" y="7867"/>
                </a:lnTo>
                <a:lnTo>
                  <a:pt x="14131" y="7869"/>
                </a:lnTo>
                <a:lnTo>
                  <a:pt x="14116" y="7878"/>
                </a:lnTo>
                <a:lnTo>
                  <a:pt x="14100" y="7884"/>
                </a:lnTo>
                <a:lnTo>
                  <a:pt x="14085" y="7888"/>
                </a:lnTo>
                <a:lnTo>
                  <a:pt x="14071" y="7889"/>
                </a:lnTo>
                <a:close/>
                <a:moveTo>
                  <a:pt x="14051" y="8030"/>
                </a:moveTo>
                <a:lnTo>
                  <a:pt x="14041" y="8034"/>
                </a:lnTo>
                <a:lnTo>
                  <a:pt x="14037" y="8027"/>
                </a:lnTo>
                <a:lnTo>
                  <a:pt x="14037" y="8014"/>
                </a:lnTo>
                <a:lnTo>
                  <a:pt x="14038" y="8000"/>
                </a:lnTo>
                <a:lnTo>
                  <a:pt x="14046" y="8018"/>
                </a:lnTo>
                <a:lnTo>
                  <a:pt x="14051" y="8030"/>
                </a:lnTo>
                <a:close/>
                <a:moveTo>
                  <a:pt x="14047" y="7916"/>
                </a:moveTo>
                <a:lnTo>
                  <a:pt x="14053" y="7912"/>
                </a:lnTo>
                <a:lnTo>
                  <a:pt x="14058" y="7908"/>
                </a:lnTo>
                <a:lnTo>
                  <a:pt x="14065" y="7904"/>
                </a:lnTo>
                <a:lnTo>
                  <a:pt x="14071" y="7903"/>
                </a:lnTo>
                <a:lnTo>
                  <a:pt x="14071" y="7911"/>
                </a:lnTo>
                <a:lnTo>
                  <a:pt x="14065" y="7913"/>
                </a:lnTo>
                <a:lnTo>
                  <a:pt x="14056" y="7913"/>
                </a:lnTo>
                <a:lnTo>
                  <a:pt x="14047" y="7916"/>
                </a:lnTo>
                <a:close/>
                <a:moveTo>
                  <a:pt x="14195" y="7963"/>
                </a:moveTo>
                <a:lnTo>
                  <a:pt x="14186" y="7976"/>
                </a:lnTo>
                <a:lnTo>
                  <a:pt x="14178" y="7982"/>
                </a:lnTo>
                <a:lnTo>
                  <a:pt x="14168" y="7979"/>
                </a:lnTo>
                <a:lnTo>
                  <a:pt x="14158" y="7973"/>
                </a:lnTo>
                <a:lnTo>
                  <a:pt x="14167" y="7969"/>
                </a:lnTo>
                <a:lnTo>
                  <a:pt x="14177" y="7964"/>
                </a:lnTo>
                <a:lnTo>
                  <a:pt x="14186" y="7962"/>
                </a:lnTo>
                <a:lnTo>
                  <a:pt x="14195" y="7963"/>
                </a:lnTo>
                <a:close/>
                <a:moveTo>
                  <a:pt x="14218" y="7951"/>
                </a:moveTo>
                <a:lnTo>
                  <a:pt x="14218" y="7951"/>
                </a:lnTo>
                <a:lnTo>
                  <a:pt x="14218" y="7951"/>
                </a:lnTo>
                <a:lnTo>
                  <a:pt x="14215" y="7951"/>
                </a:lnTo>
                <a:lnTo>
                  <a:pt x="14218" y="7951"/>
                </a:lnTo>
                <a:close/>
                <a:moveTo>
                  <a:pt x="14235" y="7963"/>
                </a:moveTo>
                <a:lnTo>
                  <a:pt x="14239" y="7955"/>
                </a:lnTo>
                <a:lnTo>
                  <a:pt x="14243" y="7948"/>
                </a:lnTo>
                <a:lnTo>
                  <a:pt x="14247" y="7943"/>
                </a:lnTo>
                <a:lnTo>
                  <a:pt x="14255" y="7940"/>
                </a:lnTo>
                <a:lnTo>
                  <a:pt x="14279" y="7944"/>
                </a:lnTo>
                <a:lnTo>
                  <a:pt x="14276" y="7950"/>
                </a:lnTo>
                <a:lnTo>
                  <a:pt x="14258" y="7958"/>
                </a:lnTo>
                <a:lnTo>
                  <a:pt x="14235" y="7963"/>
                </a:lnTo>
                <a:close/>
                <a:moveTo>
                  <a:pt x="14281" y="7982"/>
                </a:moveTo>
                <a:lnTo>
                  <a:pt x="14283" y="7983"/>
                </a:lnTo>
                <a:lnTo>
                  <a:pt x="14283" y="7985"/>
                </a:lnTo>
                <a:lnTo>
                  <a:pt x="14281" y="7986"/>
                </a:lnTo>
                <a:lnTo>
                  <a:pt x="14280" y="7986"/>
                </a:lnTo>
                <a:lnTo>
                  <a:pt x="14279" y="7985"/>
                </a:lnTo>
                <a:lnTo>
                  <a:pt x="14278" y="7983"/>
                </a:lnTo>
                <a:lnTo>
                  <a:pt x="14279" y="7982"/>
                </a:lnTo>
                <a:lnTo>
                  <a:pt x="14281" y="7982"/>
                </a:lnTo>
                <a:close/>
                <a:moveTo>
                  <a:pt x="14411" y="7833"/>
                </a:moveTo>
                <a:lnTo>
                  <a:pt x="14429" y="7829"/>
                </a:lnTo>
                <a:lnTo>
                  <a:pt x="14449" y="7833"/>
                </a:lnTo>
                <a:lnTo>
                  <a:pt x="14460" y="7838"/>
                </a:lnTo>
                <a:lnTo>
                  <a:pt x="14446" y="7842"/>
                </a:lnTo>
                <a:lnTo>
                  <a:pt x="14416" y="7846"/>
                </a:lnTo>
                <a:lnTo>
                  <a:pt x="14391" y="7845"/>
                </a:lnTo>
                <a:lnTo>
                  <a:pt x="14383" y="7841"/>
                </a:lnTo>
                <a:lnTo>
                  <a:pt x="14411" y="7833"/>
                </a:lnTo>
                <a:close/>
                <a:moveTo>
                  <a:pt x="14358" y="7819"/>
                </a:moveTo>
                <a:lnTo>
                  <a:pt x="14383" y="7814"/>
                </a:lnTo>
                <a:lnTo>
                  <a:pt x="14410" y="7810"/>
                </a:lnTo>
                <a:lnTo>
                  <a:pt x="14434" y="7806"/>
                </a:lnTo>
                <a:lnTo>
                  <a:pt x="14455" y="7805"/>
                </a:lnTo>
                <a:lnTo>
                  <a:pt x="14433" y="7815"/>
                </a:lnTo>
                <a:lnTo>
                  <a:pt x="14409" y="7819"/>
                </a:lnTo>
                <a:lnTo>
                  <a:pt x="14382" y="7819"/>
                </a:lnTo>
                <a:lnTo>
                  <a:pt x="14358" y="7819"/>
                </a:lnTo>
                <a:close/>
                <a:moveTo>
                  <a:pt x="14354" y="7965"/>
                </a:moveTo>
                <a:lnTo>
                  <a:pt x="14349" y="7973"/>
                </a:lnTo>
                <a:lnTo>
                  <a:pt x="14340" y="7974"/>
                </a:lnTo>
                <a:lnTo>
                  <a:pt x="14330" y="7974"/>
                </a:lnTo>
                <a:lnTo>
                  <a:pt x="14320" y="7974"/>
                </a:lnTo>
                <a:lnTo>
                  <a:pt x="14325" y="7971"/>
                </a:lnTo>
                <a:lnTo>
                  <a:pt x="14334" y="7968"/>
                </a:lnTo>
                <a:lnTo>
                  <a:pt x="14344" y="7967"/>
                </a:lnTo>
                <a:lnTo>
                  <a:pt x="14354" y="7965"/>
                </a:lnTo>
                <a:close/>
                <a:moveTo>
                  <a:pt x="14339" y="7943"/>
                </a:moveTo>
                <a:lnTo>
                  <a:pt x="14328" y="7941"/>
                </a:lnTo>
                <a:lnTo>
                  <a:pt x="14334" y="7936"/>
                </a:lnTo>
                <a:lnTo>
                  <a:pt x="14349" y="7931"/>
                </a:lnTo>
                <a:lnTo>
                  <a:pt x="14364" y="7932"/>
                </a:lnTo>
                <a:lnTo>
                  <a:pt x="14351" y="7939"/>
                </a:lnTo>
                <a:lnTo>
                  <a:pt x="14339" y="7943"/>
                </a:lnTo>
                <a:close/>
                <a:moveTo>
                  <a:pt x="14516" y="7869"/>
                </a:moveTo>
                <a:lnTo>
                  <a:pt x="14504" y="7871"/>
                </a:lnTo>
                <a:lnTo>
                  <a:pt x="14491" y="7873"/>
                </a:lnTo>
                <a:lnTo>
                  <a:pt x="14504" y="7870"/>
                </a:lnTo>
                <a:lnTo>
                  <a:pt x="14516" y="7869"/>
                </a:lnTo>
                <a:close/>
                <a:moveTo>
                  <a:pt x="14493" y="7834"/>
                </a:moveTo>
                <a:lnTo>
                  <a:pt x="14485" y="7827"/>
                </a:lnTo>
                <a:lnTo>
                  <a:pt x="14490" y="7822"/>
                </a:lnTo>
                <a:lnTo>
                  <a:pt x="14499" y="7820"/>
                </a:lnTo>
                <a:lnTo>
                  <a:pt x="14508" y="7820"/>
                </a:lnTo>
                <a:lnTo>
                  <a:pt x="14517" y="7828"/>
                </a:lnTo>
                <a:lnTo>
                  <a:pt x="14513" y="7832"/>
                </a:lnTo>
                <a:lnTo>
                  <a:pt x="14503" y="7833"/>
                </a:lnTo>
                <a:lnTo>
                  <a:pt x="14493" y="7834"/>
                </a:lnTo>
                <a:close/>
                <a:moveTo>
                  <a:pt x="14539" y="7888"/>
                </a:moveTo>
                <a:lnTo>
                  <a:pt x="14535" y="7889"/>
                </a:lnTo>
                <a:lnTo>
                  <a:pt x="14531" y="7889"/>
                </a:lnTo>
                <a:lnTo>
                  <a:pt x="14530" y="7889"/>
                </a:lnTo>
                <a:lnTo>
                  <a:pt x="14530" y="7888"/>
                </a:lnTo>
                <a:lnTo>
                  <a:pt x="14532" y="7888"/>
                </a:lnTo>
                <a:lnTo>
                  <a:pt x="14539" y="7888"/>
                </a:lnTo>
                <a:close/>
                <a:moveTo>
                  <a:pt x="14630" y="7684"/>
                </a:moveTo>
                <a:lnTo>
                  <a:pt x="14629" y="7684"/>
                </a:lnTo>
                <a:lnTo>
                  <a:pt x="14630" y="7684"/>
                </a:lnTo>
                <a:lnTo>
                  <a:pt x="14628" y="7684"/>
                </a:lnTo>
                <a:lnTo>
                  <a:pt x="14625" y="7685"/>
                </a:lnTo>
                <a:lnTo>
                  <a:pt x="14626" y="7685"/>
                </a:lnTo>
                <a:lnTo>
                  <a:pt x="14630" y="7684"/>
                </a:lnTo>
                <a:close/>
                <a:moveTo>
                  <a:pt x="13780" y="7876"/>
                </a:moveTo>
                <a:lnTo>
                  <a:pt x="13839" y="7839"/>
                </a:lnTo>
                <a:lnTo>
                  <a:pt x="13901" y="7805"/>
                </a:lnTo>
                <a:lnTo>
                  <a:pt x="13964" y="7776"/>
                </a:lnTo>
                <a:lnTo>
                  <a:pt x="14028" y="7749"/>
                </a:lnTo>
                <a:lnTo>
                  <a:pt x="14028" y="7749"/>
                </a:lnTo>
                <a:lnTo>
                  <a:pt x="14029" y="7750"/>
                </a:lnTo>
                <a:lnTo>
                  <a:pt x="14030" y="7750"/>
                </a:lnTo>
                <a:lnTo>
                  <a:pt x="14033" y="7749"/>
                </a:lnTo>
                <a:lnTo>
                  <a:pt x="14033" y="7748"/>
                </a:lnTo>
                <a:lnTo>
                  <a:pt x="14034" y="7747"/>
                </a:lnTo>
                <a:lnTo>
                  <a:pt x="14093" y="7726"/>
                </a:lnTo>
                <a:lnTo>
                  <a:pt x="14151" y="7708"/>
                </a:lnTo>
                <a:lnTo>
                  <a:pt x="14211" y="7693"/>
                </a:lnTo>
                <a:lnTo>
                  <a:pt x="14272" y="7682"/>
                </a:lnTo>
                <a:lnTo>
                  <a:pt x="14278" y="7682"/>
                </a:lnTo>
                <a:lnTo>
                  <a:pt x="14283" y="7679"/>
                </a:lnTo>
                <a:lnTo>
                  <a:pt x="14372" y="7666"/>
                </a:lnTo>
                <a:lnTo>
                  <a:pt x="14461" y="7660"/>
                </a:lnTo>
                <a:lnTo>
                  <a:pt x="14551" y="7656"/>
                </a:lnTo>
                <a:lnTo>
                  <a:pt x="14642" y="7659"/>
                </a:lnTo>
                <a:lnTo>
                  <a:pt x="14433" y="7730"/>
                </a:lnTo>
                <a:lnTo>
                  <a:pt x="14146" y="7806"/>
                </a:lnTo>
                <a:lnTo>
                  <a:pt x="13893" y="7864"/>
                </a:lnTo>
                <a:lnTo>
                  <a:pt x="13780" y="7876"/>
                </a:lnTo>
                <a:close/>
                <a:moveTo>
                  <a:pt x="13815" y="7831"/>
                </a:moveTo>
                <a:lnTo>
                  <a:pt x="13808" y="7837"/>
                </a:lnTo>
                <a:lnTo>
                  <a:pt x="13799" y="7841"/>
                </a:lnTo>
                <a:lnTo>
                  <a:pt x="13790" y="7843"/>
                </a:lnTo>
                <a:lnTo>
                  <a:pt x="13781" y="7845"/>
                </a:lnTo>
                <a:lnTo>
                  <a:pt x="13799" y="7838"/>
                </a:lnTo>
                <a:lnTo>
                  <a:pt x="13815" y="7831"/>
                </a:lnTo>
                <a:close/>
                <a:moveTo>
                  <a:pt x="13852" y="6810"/>
                </a:moveTo>
                <a:lnTo>
                  <a:pt x="13846" y="6815"/>
                </a:lnTo>
                <a:lnTo>
                  <a:pt x="13845" y="6815"/>
                </a:lnTo>
                <a:lnTo>
                  <a:pt x="13847" y="6811"/>
                </a:lnTo>
                <a:lnTo>
                  <a:pt x="13852" y="6805"/>
                </a:lnTo>
                <a:lnTo>
                  <a:pt x="13852" y="6808"/>
                </a:lnTo>
                <a:lnTo>
                  <a:pt x="13852" y="6810"/>
                </a:lnTo>
                <a:close/>
                <a:moveTo>
                  <a:pt x="13871" y="6733"/>
                </a:moveTo>
                <a:lnTo>
                  <a:pt x="13873" y="6752"/>
                </a:lnTo>
                <a:lnTo>
                  <a:pt x="13866" y="6766"/>
                </a:lnTo>
                <a:lnTo>
                  <a:pt x="13855" y="6773"/>
                </a:lnTo>
                <a:lnTo>
                  <a:pt x="13839" y="6774"/>
                </a:lnTo>
                <a:lnTo>
                  <a:pt x="13839" y="6765"/>
                </a:lnTo>
                <a:lnTo>
                  <a:pt x="13848" y="6755"/>
                </a:lnTo>
                <a:lnTo>
                  <a:pt x="13861" y="6745"/>
                </a:lnTo>
                <a:lnTo>
                  <a:pt x="13871" y="6733"/>
                </a:lnTo>
                <a:close/>
                <a:moveTo>
                  <a:pt x="13894" y="6727"/>
                </a:moveTo>
                <a:lnTo>
                  <a:pt x="13903" y="6742"/>
                </a:lnTo>
                <a:lnTo>
                  <a:pt x="13903" y="6750"/>
                </a:lnTo>
                <a:lnTo>
                  <a:pt x="13895" y="6756"/>
                </a:lnTo>
                <a:lnTo>
                  <a:pt x="13881" y="6764"/>
                </a:lnTo>
                <a:lnTo>
                  <a:pt x="13880" y="6751"/>
                </a:lnTo>
                <a:lnTo>
                  <a:pt x="13881" y="6741"/>
                </a:lnTo>
                <a:lnTo>
                  <a:pt x="13884" y="6733"/>
                </a:lnTo>
                <a:lnTo>
                  <a:pt x="13894" y="6727"/>
                </a:lnTo>
                <a:close/>
                <a:moveTo>
                  <a:pt x="13901" y="2832"/>
                </a:moveTo>
                <a:lnTo>
                  <a:pt x="13899" y="2832"/>
                </a:lnTo>
                <a:lnTo>
                  <a:pt x="13901" y="2832"/>
                </a:lnTo>
                <a:lnTo>
                  <a:pt x="13899" y="2833"/>
                </a:lnTo>
                <a:lnTo>
                  <a:pt x="13901" y="2832"/>
                </a:lnTo>
                <a:close/>
                <a:moveTo>
                  <a:pt x="13908" y="2792"/>
                </a:moveTo>
                <a:lnTo>
                  <a:pt x="13917" y="2785"/>
                </a:lnTo>
                <a:lnTo>
                  <a:pt x="13927" y="2781"/>
                </a:lnTo>
                <a:lnTo>
                  <a:pt x="13935" y="2774"/>
                </a:lnTo>
                <a:lnTo>
                  <a:pt x="13936" y="2760"/>
                </a:lnTo>
                <a:lnTo>
                  <a:pt x="13946" y="2773"/>
                </a:lnTo>
                <a:lnTo>
                  <a:pt x="13929" y="2789"/>
                </a:lnTo>
                <a:lnTo>
                  <a:pt x="13908" y="2799"/>
                </a:lnTo>
                <a:lnTo>
                  <a:pt x="13908" y="2792"/>
                </a:lnTo>
                <a:close/>
                <a:moveTo>
                  <a:pt x="13931" y="6774"/>
                </a:moveTo>
                <a:lnTo>
                  <a:pt x="13925" y="6778"/>
                </a:lnTo>
                <a:lnTo>
                  <a:pt x="13918" y="6778"/>
                </a:lnTo>
                <a:lnTo>
                  <a:pt x="13911" y="6778"/>
                </a:lnTo>
                <a:lnTo>
                  <a:pt x="13903" y="6778"/>
                </a:lnTo>
                <a:lnTo>
                  <a:pt x="13912" y="6775"/>
                </a:lnTo>
                <a:lnTo>
                  <a:pt x="13920" y="6771"/>
                </a:lnTo>
                <a:lnTo>
                  <a:pt x="13927" y="6770"/>
                </a:lnTo>
                <a:lnTo>
                  <a:pt x="13931" y="6774"/>
                </a:lnTo>
                <a:close/>
                <a:moveTo>
                  <a:pt x="13963" y="2813"/>
                </a:moveTo>
                <a:lnTo>
                  <a:pt x="13954" y="2824"/>
                </a:lnTo>
                <a:lnTo>
                  <a:pt x="13945" y="2837"/>
                </a:lnTo>
                <a:lnTo>
                  <a:pt x="13934" y="2846"/>
                </a:lnTo>
                <a:lnTo>
                  <a:pt x="13917" y="2846"/>
                </a:lnTo>
                <a:lnTo>
                  <a:pt x="13923" y="2832"/>
                </a:lnTo>
                <a:lnTo>
                  <a:pt x="13935" y="2823"/>
                </a:lnTo>
                <a:lnTo>
                  <a:pt x="13948" y="2818"/>
                </a:lnTo>
                <a:lnTo>
                  <a:pt x="13963" y="2813"/>
                </a:lnTo>
                <a:close/>
                <a:moveTo>
                  <a:pt x="14178" y="2361"/>
                </a:moveTo>
                <a:lnTo>
                  <a:pt x="14174" y="2367"/>
                </a:lnTo>
                <a:lnTo>
                  <a:pt x="14171" y="2372"/>
                </a:lnTo>
                <a:lnTo>
                  <a:pt x="14169" y="2368"/>
                </a:lnTo>
                <a:lnTo>
                  <a:pt x="14171" y="2366"/>
                </a:lnTo>
                <a:lnTo>
                  <a:pt x="14174" y="2363"/>
                </a:lnTo>
                <a:lnTo>
                  <a:pt x="14178" y="2361"/>
                </a:lnTo>
                <a:close/>
                <a:moveTo>
                  <a:pt x="14174" y="231"/>
                </a:moveTo>
                <a:lnTo>
                  <a:pt x="14171" y="235"/>
                </a:lnTo>
                <a:lnTo>
                  <a:pt x="14169" y="235"/>
                </a:lnTo>
                <a:lnTo>
                  <a:pt x="14171" y="234"/>
                </a:lnTo>
                <a:lnTo>
                  <a:pt x="14174" y="231"/>
                </a:lnTo>
                <a:lnTo>
                  <a:pt x="14177" y="236"/>
                </a:lnTo>
                <a:lnTo>
                  <a:pt x="14174" y="240"/>
                </a:lnTo>
                <a:lnTo>
                  <a:pt x="14172" y="239"/>
                </a:lnTo>
                <a:lnTo>
                  <a:pt x="14174" y="231"/>
                </a:lnTo>
                <a:close/>
                <a:moveTo>
                  <a:pt x="14188" y="2281"/>
                </a:moveTo>
                <a:lnTo>
                  <a:pt x="14187" y="2284"/>
                </a:lnTo>
                <a:lnTo>
                  <a:pt x="14187" y="2284"/>
                </a:lnTo>
                <a:lnTo>
                  <a:pt x="14187" y="2283"/>
                </a:lnTo>
                <a:lnTo>
                  <a:pt x="14188" y="2281"/>
                </a:lnTo>
                <a:lnTo>
                  <a:pt x="14193" y="2282"/>
                </a:lnTo>
                <a:lnTo>
                  <a:pt x="14192" y="2283"/>
                </a:lnTo>
                <a:lnTo>
                  <a:pt x="14190" y="2283"/>
                </a:lnTo>
                <a:lnTo>
                  <a:pt x="14188" y="2281"/>
                </a:lnTo>
                <a:close/>
                <a:moveTo>
                  <a:pt x="14234" y="2342"/>
                </a:moveTo>
                <a:lnTo>
                  <a:pt x="14233" y="2346"/>
                </a:lnTo>
                <a:lnTo>
                  <a:pt x="14229" y="2348"/>
                </a:lnTo>
                <a:lnTo>
                  <a:pt x="14225" y="2349"/>
                </a:lnTo>
                <a:lnTo>
                  <a:pt x="14220" y="2351"/>
                </a:lnTo>
                <a:lnTo>
                  <a:pt x="14220" y="2346"/>
                </a:lnTo>
                <a:lnTo>
                  <a:pt x="14223" y="2343"/>
                </a:lnTo>
                <a:lnTo>
                  <a:pt x="14229" y="2343"/>
                </a:lnTo>
                <a:lnTo>
                  <a:pt x="14234" y="2342"/>
                </a:lnTo>
                <a:close/>
                <a:moveTo>
                  <a:pt x="14242" y="2231"/>
                </a:moveTo>
                <a:lnTo>
                  <a:pt x="14248" y="2240"/>
                </a:lnTo>
                <a:lnTo>
                  <a:pt x="14238" y="2251"/>
                </a:lnTo>
                <a:lnTo>
                  <a:pt x="14224" y="2258"/>
                </a:lnTo>
                <a:lnTo>
                  <a:pt x="14220" y="2246"/>
                </a:lnTo>
                <a:lnTo>
                  <a:pt x="14230" y="2239"/>
                </a:lnTo>
                <a:lnTo>
                  <a:pt x="14242" y="2231"/>
                </a:lnTo>
                <a:close/>
                <a:moveTo>
                  <a:pt x="14253" y="2172"/>
                </a:moveTo>
                <a:lnTo>
                  <a:pt x="14252" y="2174"/>
                </a:lnTo>
                <a:lnTo>
                  <a:pt x="14251" y="2174"/>
                </a:lnTo>
                <a:lnTo>
                  <a:pt x="14249" y="2174"/>
                </a:lnTo>
                <a:lnTo>
                  <a:pt x="14249" y="2172"/>
                </a:lnTo>
                <a:lnTo>
                  <a:pt x="14251" y="2172"/>
                </a:lnTo>
                <a:lnTo>
                  <a:pt x="14252" y="2171"/>
                </a:lnTo>
                <a:lnTo>
                  <a:pt x="14252" y="2171"/>
                </a:lnTo>
                <a:lnTo>
                  <a:pt x="14253" y="2172"/>
                </a:lnTo>
                <a:close/>
                <a:moveTo>
                  <a:pt x="14290" y="812"/>
                </a:moveTo>
                <a:lnTo>
                  <a:pt x="14276" y="819"/>
                </a:lnTo>
                <a:lnTo>
                  <a:pt x="14266" y="833"/>
                </a:lnTo>
                <a:lnTo>
                  <a:pt x="14257" y="846"/>
                </a:lnTo>
                <a:lnTo>
                  <a:pt x="14246" y="847"/>
                </a:lnTo>
                <a:lnTo>
                  <a:pt x="14253" y="835"/>
                </a:lnTo>
                <a:lnTo>
                  <a:pt x="14263" y="824"/>
                </a:lnTo>
                <a:lnTo>
                  <a:pt x="14276" y="818"/>
                </a:lnTo>
                <a:lnTo>
                  <a:pt x="14290" y="812"/>
                </a:lnTo>
                <a:close/>
                <a:moveTo>
                  <a:pt x="14320" y="2288"/>
                </a:moveTo>
                <a:lnTo>
                  <a:pt x="14312" y="2292"/>
                </a:lnTo>
                <a:lnTo>
                  <a:pt x="14303" y="2295"/>
                </a:lnTo>
                <a:lnTo>
                  <a:pt x="14312" y="2291"/>
                </a:lnTo>
                <a:lnTo>
                  <a:pt x="14320" y="2288"/>
                </a:lnTo>
                <a:close/>
                <a:moveTo>
                  <a:pt x="14300" y="2142"/>
                </a:moveTo>
                <a:lnTo>
                  <a:pt x="14326" y="2130"/>
                </a:lnTo>
                <a:lnTo>
                  <a:pt x="14318" y="2141"/>
                </a:lnTo>
                <a:lnTo>
                  <a:pt x="14295" y="2160"/>
                </a:lnTo>
                <a:lnTo>
                  <a:pt x="14270" y="2175"/>
                </a:lnTo>
                <a:lnTo>
                  <a:pt x="14275" y="2165"/>
                </a:lnTo>
                <a:lnTo>
                  <a:pt x="14283" y="2156"/>
                </a:lnTo>
                <a:lnTo>
                  <a:pt x="14290" y="2148"/>
                </a:lnTo>
                <a:lnTo>
                  <a:pt x="14300" y="2142"/>
                </a:lnTo>
                <a:close/>
                <a:moveTo>
                  <a:pt x="14344" y="757"/>
                </a:moveTo>
                <a:lnTo>
                  <a:pt x="14344" y="766"/>
                </a:lnTo>
                <a:lnTo>
                  <a:pt x="14336" y="779"/>
                </a:lnTo>
                <a:lnTo>
                  <a:pt x="14326" y="790"/>
                </a:lnTo>
                <a:lnTo>
                  <a:pt x="14316" y="799"/>
                </a:lnTo>
                <a:lnTo>
                  <a:pt x="14306" y="784"/>
                </a:lnTo>
                <a:lnTo>
                  <a:pt x="14312" y="771"/>
                </a:lnTo>
                <a:lnTo>
                  <a:pt x="14326" y="761"/>
                </a:lnTo>
                <a:lnTo>
                  <a:pt x="14344" y="757"/>
                </a:lnTo>
                <a:close/>
                <a:moveTo>
                  <a:pt x="14346" y="553"/>
                </a:moveTo>
                <a:lnTo>
                  <a:pt x="14350" y="549"/>
                </a:lnTo>
                <a:lnTo>
                  <a:pt x="14354" y="547"/>
                </a:lnTo>
                <a:lnTo>
                  <a:pt x="14358" y="547"/>
                </a:lnTo>
                <a:lnTo>
                  <a:pt x="14360" y="551"/>
                </a:lnTo>
                <a:lnTo>
                  <a:pt x="14358" y="555"/>
                </a:lnTo>
                <a:lnTo>
                  <a:pt x="14354" y="557"/>
                </a:lnTo>
                <a:lnTo>
                  <a:pt x="14350" y="556"/>
                </a:lnTo>
                <a:lnTo>
                  <a:pt x="14346" y="553"/>
                </a:lnTo>
                <a:close/>
                <a:moveTo>
                  <a:pt x="14387" y="1994"/>
                </a:moveTo>
                <a:lnTo>
                  <a:pt x="14382" y="2007"/>
                </a:lnTo>
                <a:lnTo>
                  <a:pt x="14374" y="2018"/>
                </a:lnTo>
                <a:lnTo>
                  <a:pt x="14363" y="2029"/>
                </a:lnTo>
                <a:lnTo>
                  <a:pt x="14351" y="2032"/>
                </a:lnTo>
                <a:lnTo>
                  <a:pt x="14356" y="2017"/>
                </a:lnTo>
                <a:lnTo>
                  <a:pt x="14365" y="2008"/>
                </a:lnTo>
                <a:lnTo>
                  <a:pt x="14378" y="2002"/>
                </a:lnTo>
                <a:lnTo>
                  <a:pt x="14387" y="1994"/>
                </a:lnTo>
                <a:close/>
                <a:moveTo>
                  <a:pt x="14398" y="2214"/>
                </a:moveTo>
                <a:lnTo>
                  <a:pt x="14395" y="2217"/>
                </a:lnTo>
                <a:lnTo>
                  <a:pt x="14390" y="2218"/>
                </a:lnTo>
                <a:lnTo>
                  <a:pt x="14384" y="2217"/>
                </a:lnTo>
                <a:lnTo>
                  <a:pt x="14379" y="2214"/>
                </a:lnTo>
                <a:lnTo>
                  <a:pt x="14384" y="2208"/>
                </a:lnTo>
                <a:lnTo>
                  <a:pt x="14390" y="2206"/>
                </a:lnTo>
                <a:lnTo>
                  <a:pt x="14393" y="2207"/>
                </a:lnTo>
                <a:lnTo>
                  <a:pt x="14398" y="2214"/>
                </a:lnTo>
                <a:close/>
                <a:moveTo>
                  <a:pt x="14374" y="2318"/>
                </a:moveTo>
                <a:lnTo>
                  <a:pt x="14374" y="2314"/>
                </a:lnTo>
                <a:lnTo>
                  <a:pt x="14376" y="2311"/>
                </a:lnTo>
                <a:lnTo>
                  <a:pt x="14378" y="2310"/>
                </a:lnTo>
                <a:lnTo>
                  <a:pt x="14382" y="2310"/>
                </a:lnTo>
                <a:lnTo>
                  <a:pt x="14382" y="2314"/>
                </a:lnTo>
                <a:lnTo>
                  <a:pt x="14381" y="2316"/>
                </a:lnTo>
                <a:lnTo>
                  <a:pt x="14378" y="2318"/>
                </a:lnTo>
                <a:lnTo>
                  <a:pt x="14374" y="2318"/>
                </a:lnTo>
                <a:close/>
                <a:moveTo>
                  <a:pt x="14322" y="2069"/>
                </a:moveTo>
                <a:lnTo>
                  <a:pt x="14332" y="2059"/>
                </a:lnTo>
                <a:lnTo>
                  <a:pt x="14341" y="2050"/>
                </a:lnTo>
                <a:lnTo>
                  <a:pt x="14353" y="2043"/>
                </a:lnTo>
                <a:lnTo>
                  <a:pt x="14367" y="2039"/>
                </a:lnTo>
                <a:lnTo>
                  <a:pt x="14355" y="2046"/>
                </a:lnTo>
                <a:lnTo>
                  <a:pt x="14345" y="2054"/>
                </a:lnTo>
                <a:lnTo>
                  <a:pt x="14334" y="2062"/>
                </a:lnTo>
                <a:lnTo>
                  <a:pt x="14322" y="2069"/>
                </a:lnTo>
                <a:close/>
                <a:moveTo>
                  <a:pt x="14349" y="2374"/>
                </a:moveTo>
                <a:lnTo>
                  <a:pt x="14363" y="2362"/>
                </a:lnTo>
                <a:lnTo>
                  <a:pt x="14379" y="2351"/>
                </a:lnTo>
                <a:lnTo>
                  <a:pt x="14374" y="2366"/>
                </a:lnTo>
                <a:lnTo>
                  <a:pt x="14363" y="2379"/>
                </a:lnTo>
                <a:lnTo>
                  <a:pt x="14351" y="2382"/>
                </a:lnTo>
                <a:lnTo>
                  <a:pt x="14349" y="2374"/>
                </a:lnTo>
                <a:close/>
                <a:moveTo>
                  <a:pt x="14418" y="2250"/>
                </a:moveTo>
                <a:lnTo>
                  <a:pt x="14409" y="2269"/>
                </a:lnTo>
                <a:lnTo>
                  <a:pt x="14392" y="2282"/>
                </a:lnTo>
                <a:lnTo>
                  <a:pt x="14372" y="2292"/>
                </a:lnTo>
                <a:lnTo>
                  <a:pt x="14353" y="2302"/>
                </a:lnTo>
                <a:lnTo>
                  <a:pt x="14364" y="2284"/>
                </a:lnTo>
                <a:lnTo>
                  <a:pt x="14381" y="2272"/>
                </a:lnTo>
                <a:lnTo>
                  <a:pt x="14400" y="2262"/>
                </a:lnTo>
                <a:lnTo>
                  <a:pt x="14418" y="2250"/>
                </a:lnTo>
                <a:close/>
                <a:moveTo>
                  <a:pt x="14423" y="2065"/>
                </a:moveTo>
                <a:lnTo>
                  <a:pt x="14421" y="2071"/>
                </a:lnTo>
                <a:lnTo>
                  <a:pt x="14419" y="2076"/>
                </a:lnTo>
                <a:lnTo>
                  <a:pt x="14414" y="2077"/>
                </a:lnTo>
                <a:lnTo>
                  <a:pt x="14406" y="2074"/>
                </a:lnTo>
                <a:lnTo>
                  <a:pt x="14414" y="2071"/>
                </a:lnTo>
                <a:lnTo>
                  <a:pt x="14423" y="2065"/>
                </a:lnTo>
                <a:close/>
                <a:moveTo>
                  <a:pt x="14434" y="2160"/>
                </a:moveTo>
                <a:lnTo>
                  <a:pt x="14444" y="2167"/>
                </a:lnTo>
                <a:lnTo>
                  <a:pt x="14443" y="2175"/>
                </a:lnTo>
                <a:lnTo>
                  <a:pt x="14434" y="2184"/>
                </a:lnTo>
                <a:lnTo>
                  <a:pt x="14424" y="2193"/>
                </a:lnTo>
                <a:lnTo>
                  <a:pt x="14429" y="2176"/>
                </a:lnTo>
                <a:lnTo>
                  <a:pt x="14434" y="2160"/>
                </a:lnTo>
                <a:close/>
                <a:moveTo>
                  <a:pt x="14461" y="392"/>
                </a:moveTo>
                <a:lnTo>
                  <a:pt x="14453" y="398"/>
                </a:lnTo>
                <a:lnTo>
                  <a:pt x="14461" y="392"/>
                </a:lnTo>
                <a:lnTo>
                  <a:pt x="14461" y="397"/>
                </a:lnTo>
                <a:lnTo>
                  <a:pt x="14457" y="402"/>
                </a:lnTo>
                <a:lnTo>
                  <a:pt x="14455" y="402"/>
                </a:lnTo>
                <a:lnTo>
                  <a:pt x="14461" y="392"/>
                </a:lnTo>
                <a:close/>
                <a:moveTo>
                  <a:pt x="14446" y="2279"/>
                </a:moveTo>
                <a:lnTo>
                  <a:pt x="14435" y="2283"/>
                </a:lnTo>
                <a:lnTo>
                  <a:pt x="14425" y="2287"/>
                </a:lnTo>
                <a:lnTo>
                  <a:pt x="14428" y="2279"/>
                </a:lnTo>
                <a:lnTo>
                  <a:pt x="14433" y="2277"/>
                </a:lnTo>
                <a:lnTo>
                  <a:pt x="14439" y="2277"/>
                </a:lnTo>
                <a:lnTo>
                  <a:pt x="14446" y="2279"/>
                </a:lnTo>
                <a:close/>
                <a:moveTo>
                  <a:pt x="14437" y="2258"/>
                </a:moveTo>
                <a:lnTo>
                  <a:pt x="14443" y="2248"/>
                </a:lnTo>
                <a:lnTo>
                  <a:pt x="14448" y="2236"/>
                </a:lnTo>
                <a:lnTo>
                  <a:pt x="14455" y="2230"/>
                </a:lnTo>
                <a:lnTo>
                  <a:pt x="14466" y="2234"/>
                </a:lnTo>
                <a:lnTo>
                  <a:pt x="14452" y="2246"/>
                </a:lnTo>
                <a:lnTo>
                  <a:pt x="14437" y="2258"/>
                </a:lnTo>
                <a:close/>
                <a:moveTo>
                  <a:pt x="14470" y="435"/>
                </a:moveTo>
                <a:lnTo>
                  <a:pt x="14470" y="437"/>
                </a:lnTo>
                <a:lnTo>
                  <a:pt x="14469" y="439"/>
                </a:lnTo>
                <a:lnTo>
                  <a:pt x="14469" y="436"/>
                </a:lnTo>
                <a:lnTo>
                  <a:pt x="14470" y="435"/>
                </a:lnTo>
                <a:close/>
                <a:moveTo>
                  <a:pt x="14536" y="2250"/>
                </a:moveTo>
                <a:lnTo>
                  <a:pt x="14525" y="2264"/>
                </a:lnTo>
                <a:lnTo>
                  <a:pt x="14512" y="2276"/>
                </a:lnTo>
                <a:lnTo>
                  <a:pt x="14497" y="2283"/>
                </a:lnTo>
                <a:lnTo>
                  <a:pt x="14479" y="2284"/>
                </a:lnTo>
                <a:lnTo>
                  <a:pt x="14494" y="2277"/>
                </a:lnTo>
                <a:lnTo>
                  <a:pt x="14508" y="2267"/>
                </a:lnTo>
                <a:lnTo>
                  <a:pt x="14522" y="2258"/>
                </a:lnTo>
                <a:lnTo>
                  <a:pt x="14536" y="2250"/>
                </a:lnTo>
                <a:close/>
                <a:moveTo>
                  <a:pt x="14507" y="1208"/>
                </a:moveTo>
                <a:lnTo>
                  <a:pt x="14498" y="1209"/>
                </a:lnTo>
                <a:lnTo>
                  <a:pt x="14490" y="1211"/>
                </a:lnTo>
                <a:lnTo>
                  <a:pt x="14493" y="1209"/>
                </a:lnTo>
                <a:lnTo>
                  <a:pt x="14498" y="1208"/>
                </a:lnTo>
                <a:lnTo>
                  <a:pt x="14502" y="1208"/>
                </a:lnTo>
                <a:lnTo>
                  <a:pt x="14507" y="1208"/>
                </a:lnTo>
                <a:close/>
                <a:moveTo>
                  <a:pt x="14527" y="534"/>
                </a:moveTo>
                <a:lnTo>
                  <a:pt x="14522" y="544"/>
                </a:lnTo>
                <a:lnTo>
                  <a:pt x="14514" y="552"/>
                </a:lnTo>
                <a:lnTo>
                  <a:pt x="14504" y="557"/>
                </a:lnTo>
                <a:lnTo>
                  <a:pt x="14494" y="561"/>
                </a:lnTo>
                <a:lnTo>
                  <a:pt x="14511" y="547"/>
                </a:lnTo>
                <a:lnTo>
                  <a:pt x="14527" y="534"/>
                </a:lnTo>
                <a:close/>
                <a:moveTo>
                  <a:pt x="14521" y="504"/>
                </a:moveTo>
                <a:lnTo>
                  <a:pt x="14525" y="506"/>
                </a:lnTo>
                <a:lnTo>
                  <a:pt x="14522" y="507"/>
                </a:lnTo>
                <a:lnTo>
                  <a:pt x="14517" y="510"/>
                </a:lnTo>
                <a:lnTo>
                  <a:pt x="14512" y="513"/>
                </a:lnTo>
                <a:lnTo>
                  <a:pt x="14516" y="507"/>
                </a:lnTo>
                <a:lnTo>
                  <a:pt x="14521" y="504"/>
                </a:lnTo>
                <a:close/>
                <a:moveTo>
                  <a:pt x="14563" y="2181"/>
                </a:moveTo>
                <a:lnTo>
                  <a:pt x="14567" y="2190"/>
                </a:lnTo>
                <a:lnTo>
                  <a:pt x="14560" y="2202"/>
                </a:lnTo>
                <a:lnTo>
                  <a:pt x="14549" y="2212"/>
                </a:lnTo>
                <a:lnTo>
                  <a:pt x="14535" y="2216"/>
                </a:lnTo>
                <a:lnTo>
                  <a:pt x="14541" y="2206"/>
                </a:lnTo>
                <a:lnTo>
                  <a:pt x="14547" y="2197"/>
                </a:lnTo>
                <a:lnTo>
                  <a:pt x="14555" y="2189"/>
                </a:lnTo>
                <a:lnTo>
                  <a:pt x="14563" y="2181"/>
                </a:lnTo>
                <a:close/>
                <a:moveTo>
                  <a:pt x="14570" y="1724"/>
                </a:moveTo>
                <a:lnTo>
                  <a:pt x="14565" y="1727"/>
                </a:lnTo>
                <a:lnTo>
                  <a:pt x="14570" y="1724"/>
                </a:lnTo>
                <a:lnTo>
                  <a:pt x="14568" y="1729"/>
                </a:lnTo>
                <a:lnTo>
                  <a:pt x="14570" y="1724"/>
                </a:lnTo>
                <a:close/>
                <a:moveTo>
                  <a:pt x="14582" y="1073"/>
                </a:moveTo>
                <a:lnTo>
                  <a:pt x="14597" y="1046"/>
                </a:lnTo>
                <a:lnTo>
                  <a:pt x="14615" y="1029"/>
                </a:lnTo>
                <a:lnTo>
                  <a:pt x="14638" y="1019"/>
                </a:lnTo>
                <a:lnTo>
                  <a:pt x="14670" y="1013"/>
                </a:lnTo>
                <a:lnTo>
                  <a:pt x="14658" y="1056"/>
                </a:lnTo>
                <a:lnTo>
                  <a:pt x="14618" y="1094"/>
                </a:lnTo>
                <a:lnTo>
                  <a:pt x="14582" y="1107"/>
                </a:lnTo>
                <a:lnTo>
                  <a:pt x="14582" y="1073"/>
                </a:lnTo>
                <a:close/>
                <a:moveTo>
                  <a:pt x="14629" y="408"/>
                </a:moveTo>
                <a:lnTo>
                  <a:pt x="14633" y="409"/>
                </a:lnTo>
                <a:lnTo>
                  <a:pt x="14634" y="412"/>
                </a:lnTo>
                <a:lnTo>
                  <a:pt x="14633" y="417"/>
                </a:lnTo>
                <a:lnTo>
                  <a:pt x="14630" y="421"/>
                </a:lnTo>
                <a:lnTo>
                  <a:pt x="14625" y="420"/>
                </a:lnTo>
                <a:lnTo>
                  <a:pt x="14624" y="417"/>
                </a:lnTo>
                <a:lnTo>
                  <a:pt x="14625" y="412"/>
                </a:lnTo>
                <a:lnTo>
                  <a:pt x="14629" y="408"/>
                </a:lnTo>
                <a:close/>
                <a:moveTo>
                  <a:pt x="14681" y="963"/>
                </a:moveTo>
                <a:lnTo>
                  <a:pt x="14690" y="963"/>
                </a:lnTo>
                <a:lnTo>
                  <a:pt x="14693" y="971"/>
                </a:lnTo>
                <a:lnTo>
                  <a:pt x="14690" y="981"/>
                </a:lnTo>
                <a:lnTo>
                  <a:pt x="14682" y="986"/>
                </a:lnTo>
                <a:lnTo>
                  <a:pt x="14679" y="981"/>
                </a:lnTo>
                <a:lnTo>
                  <a:pt x="14677" y="975"/>
                </a:lnTo>
                <a:lnTo>
                  <a:pt x="14679" y="969"/>
                </a:lnTo>
                <a:lnTo>
                  <a:pt x="14681" y="963"/>
                </a:lnTo>
                <a:close/>
                <a:moveTo>
                  <a:pt x="14607" y="1785"/>
                </a:moveTo>
                <a:lnTo>
                  <a:pt x="14610" y="1784"/>
                </a:lnTo>
                <a:lnTo>
                  <a:pt x="14614" y="1783"/>
                </a:lnTo>
                <a:lnTo>
                  <a:pt x="14616" y="1785"/>
                </a:lnTo>
                <a:lnTo>
                  <a:pt x="14616" y="1789"/>
                </a:lnTo>
                <a:lnTo>
                  <a:pt x="14614" y="1791"/>
                </a:lnTo>
                <a:lnTo>
                  <a:pt x="14611" y="1791"/>
                </a:lnTo>
                <a:lnTo>
                  <a:pt x="14609" y="1789"/>
                </a:lnTo>
                <a:lnTo>
                  <a:pt x="14607" y="1785"/>
                </a:lnTo>
                <a:close/>
                <a:moveTo>
                  <a:pt x="14565" y="1841"/>
                </a:moveTo>
                <a:lnTo>
                  <a:pt x="14569" y="1830"/>
                </a:lnTo>
                <a:lnTo>
                  <a:pt x="14574" y="1821"/>
                </a:lnTo>
                <a:lnTo>
                  <a:pt x="14581" y="1819"/>
                </a:lnTo>
                <a:lnTo>
                  <a:pt x="14592" y="1826"/>
                </a:lnTo>
                <a:lnTo>
                  <a:pt x="14579" y="1833"/>
                </a:lnTo>
                <a:lnTo>
                  <a:pt x="14565" y="1841"/>
                </a:lnTo>
                <a:close/>
                <a:moveTo>
                  <a:pt x="14559" y="1806"/>
                </a:moveTo>
                <a:lnTo>
                  <a:pt x="14561" y="1805"/>
                </a:lnTo>
                <a:lnTo>
                  <a:pt x="14561" y="1803"/>
                </a:lnTo>
                <a:lnTo>
                  <a:pt x="14560" y="1805"/>
                </a:lnTo>
                <a:lnTo>
                  <a:pt x="14559" y="1806"/>
                </a:lnTo>
                <a:lnTo>
                  <a:pt x="14560" y="1803"/>
                </a:lnTo>
                <a:lnTo>
                  <a:pt x="14560" y="1803"/>
                </a:lnTo>
                <a:lnTo>
                  <a:pt x="14560" y="1803"/>
                </a:lnTo>
                <a:lnTo>
                  <a:pt x="14559" y="1806"/>
                </a:lnTo>
                <a:close/>
                <a:moveTo>
                  <a:pt x="14604" y="2101"/>
                </a:moveTo>
                <a:lnTo>
                  <a:pt x="14605" y="2091"/>
                </a:lnTo>
                <a:lnTo>
                  <a:pt x="14607" y="2086"/>
                </a:lnTo>
                <a:lnTo>
                  <a:pt x="14614" y="2086"/>
                </a:lnTo>
                <a:lnTo>
                  <a:pt x="14623" y="2090"/>
                </a:lnTo>
                <a:lnTo>
                  <a:pt x="14612" y="2095"/>
                </a:lnTo>
                <a:lnTo>
                  <a:pt x="14604" y="2101"/>
                </a:lnTo>
                <a:close/>
                <a:moveTo>
                  <a:pt x="14607" y="2192"/>
                </a:moveTo>
                <a:lnTo>
                  <a:pt x="14597" y="2202"/>
                </a:lnTo>
                <a:lnTo>
                  <a:pt x="14587" y="2212"/>
                </a:lnTo>
                <a:lnTo>
                  <a:pt x="14577" y="2222"/>
                </a:lnTo>
                <a:lnTo>
                  <a:pt x="14565" y="2231"/>
                </a:lnTo>
                <a:lnTo>
                  <a:pt x="14572" y="2217"/>
                </a:lnTo>
                <a:lnTo>
                  <a:pt x="14581" y="2207"/>
                </a:lnTo>
                <a:lnTo>
                  <a:pt x="14593" y="2198"/>
                </a:lnTo>
                <a:lnTo>
                  <a:pt x="14607" y="2192"/>
                </a:lnTo>
                <a:close/>
                <a:moveTo>
                  <a:pt x="14602" y="2181"/>
                </a:moveTo>
                <a:lnTo>
                  <a:pt x="14611" y="2170"/>
                </a:lnTo>
                <a:lnTo>
                  <a:pt x="14619" y="2163"/>
                </a:lnTo>
                <a:lnTo>
                  <a:pt x="14628" y="2160"/>
                </a:lnTo>
                <a:lnTo>
                  <a:pt x="14642" y="2157"/>
                </a:lnTo>
                <a:lnTo>
                  <a:pt x="14633" y="2162"/>
                </a:lnTo>
                <a:lnTo>
                  <a:pt x="14624" y="2169"/>
                </a:lnTo>
                <a:lnTo>
                  <a:pt x="14614" y="2175"/>
                </a:lnTo>
                <a:lnTo>
                  <a:pt x="14602" y="2181"/>
                </a:lnTo>
                <a:close/>
                <a:moveTo>
                  <a:pt x="14696" y="1777"/>
                </a:moveTo>
                <a:lnTo>
                  <a:pt x="14689" y="1811"/>
                </a:lnTo>
                <a:lnTo>
                  <a:pt x="14630" y="1861"/>
                </a:lnTo>
                <a:lnTo>
                  <a:pt x="14576" y="1894"/>
                </a:lnTo>
                <a:lnTo>
                  <a:pt x="14579" y="1881"/>
                </a:lnTo>
                <a:lnTo>
                  <a:pt x="14595" y="1847"/>
                </a:lnTo>
                <a:lnTo>
                  <a:pt x="14625" y="1806"/>
                </a:lnTo>
                <a:lnTo>
                  <a:pt x="14662" y="1778"/>
                </a:lnTo>
                <a:lnTo>
                  <a:pt x="14696" y="1777"/>
                </a:lnTo>
                <a:close/>
                <a:moveTo>
                  <a:pt x="14744" y="1965"/>
                </a:moveTo>
                <a:lnTo>
                  <a:pt x="14736" y="1969"/>
                </a:lnTo>
                <a:lnTo>
                  <a:pt x="14735" y="1969"/>
                </a:lnTo>
                <a:lnTo>
                  <a:pt x="14737" y="1967"/>
                </a:lnTo>
                <a:lnTo>
                  <a:pt x="14744" y="1965"/>
                </a:lnTo>
                <a:lnTo>
                  <a:pt x="14737" y="1969"/>
                </a:lnTo>
                <a:lnTo>
                  <a:pt x="14733" y="1974"/>
                </a:lnTo>
                <a:lnTo>
                  <a:pt x="14735" y="1975"/>
                </a:lnTo>
                <a:lnTo>
                  <a:pt x="14744" y="1965"/>
                </a:lnTo>
                <a:close/>
                <a:moveTo>
                  <a:pt x="14713" y="2071"/>
                </a:moveTo>
                <a:lnTo>
                  <a:pt x="14741" y="2065"/>
                </a:lnTo>
                <a:lnTo>
                  <a:pt x="14726" y="2090"/>
                </a:lnTo>
                <a:lnTo>
                  <a:pt x="14689" y="2116"/>
                </a:lnTo>
                <a:lnTo>
                  <a:pt x="14651" y="2120"/>
                </a:lnTo>
                <a:lnTo>
                  <a:pt x="14666" y="2095"/>
                </a:lnTo>
                <a:lnTo>
                  <a:pt x="14681" y="2092"/>
                </a:lnTo>
                <a:lnTo>
                  <a:pt x="14696" y="2091"/>
                </a:lnTo>
                <a:lnTo>
                  <a:pt x="14713" y="2071"/>
                </a:lnTo>
                <a:close/>
                <a:moveTo>
                  <a:pt x="14863" y="1941"/>
                </a:moveTo>
                <a:lnTo>
                  <a:pt x="14867" y="1942"/>
                </a:lnTo>
                <a:lnTo>
                  <a:pt x="14868" y="1945"/>
                </a:lnTo>
                <a:lnTo>
                  <a:pt x="14868" y="1948"/>
                </a:lnTo>
                <a:lnTo>
                  <a:pt x="14866" y="1951"/>
                </a:lnTo>
                <a:lnTo>
                  <a:pt x="14857" y="1951"/>
                </a:lnTo>
                <a:lnTo>
                  <a:pt x="14853" y="1948"/>
                </a:lnTo>
                <a:lnTo>
                  <a:pt x="14856" y="1946"/>
                </a:lnTo>
                <a:lnTo>
                  <a:pt x="14863" y="1941"/>
                </a:lnTo>
                <a:close/>
                <a:moveTo>
                  <a:pt x="15003" y="1840"/>
                </a:moveTo>
                <a:lnTo>
                  <a:pt x="15001" y="1844"/>
                </a:lnTo>
                <a:lnTo>
                  <a:pt x="15000" y="1847"/>
                </a:lnTo>
                <a:lnTo>
                  <a:pt x="14998" y="1847"/>
                </a:lnTo>
                <a:lnTo>
                  <a:pt x="14994" y="1845"/>
                </a:lnTo>
                <a:lnTo>
                  <a:pt x="15000" y="1843"/>
                </a:lnTo>
                <a:lnTo>
                  <a:pt x="15003" y="1840"/>
                </a:lnTo>
                <a:close/>
                <a:moveTo>
                  <a:pt x="15053" y="1861"/>
                </a:moveTo>
                <a:lnTo>
                  <a:pt x="15052" y="1863"/>
                </a:lnTo>
                <a:lnTo>
                  <a:pt x="15051" y="1863"/>
                </a:lnTo>
                <a:lnTo>
                  <a:pt x="15052" y="1862"/>
                </a:lnTo>
                <a:lnTo>
                  <a:pt x="15053" y="1861"/>
                </a:lnTo>
                <a:lnTo>
                  <a:pt x="15052" y="1864"/>
                </a:lnTo>
                <a:lnTo>
                  <a:pt x="15053" y="1861"/>
                </a:lnTo>
                <a:close/>
                <a:moveTo>
                  <a:pt x="15019" y="1833"/>
                </a:moveTo>
                <a:lnTo>
                  <a:pt x="15034" y="1821"/>
                </a:lnTo>
                <a:lnTo>
                  <a:pt x="15049" y="1810"/>
                </a:lnTo>
                <a:lnTo>
                  <a:pt x="15065" y="1797"/>
                </a:lnTo>
                <a:lnTo>
                  <a:pt x="15082" y="1789"/>
                </a:lnTo>
                <a:lnTo>
                  <a:pt x="15071" y="1822"/>
                </a:lnTo>
                <a:lnTo>
                  <a:pt x="15042" y="1848"/>
                </a:lnTo>
                <a:lnTo>
                  <a:pt x="15016" y="1854"/>
                </a:lnTo>
                <a:lnTo>
                  <a:pt x="15019" y="1833"/>
                </a:lnTo>
                <a:close/>
                <a:moveTo>
                  <a:pt x="15067" y="1648"/>
                </a:moveTo>
                <a:lnTo>
                  <a:pt x="15072" y="1648"/>
                </a:lnTo>
                <a:lnTo>
                  <a:pt x="15077" y="1651"/>
                </a:lnTo>
                <a:lnTo>
                  <a:pt x="15080" y="1654"/>
                </a:lnTo>
                <a:lnTo>
                  <a:pt x="15081" y="1659"/>
                </a:lnTo>
                <a:lnTo>
                  <a:pt x="15080" y="1673"/>
                </a:lnTo>
                <a:lnTo>
                  <a:pt x="15068" y="1670"/>
                </a:lnTo>
                <a:lnTo>
                  <a:pt x="15058" y="1658"/>
                </a:lnTo>
                <a:lnTo>
                  <a:pt x="15067" y="1648"/>
                </a:lnTo>
                <a:close/>
                <a:moveTo>
                  <a:pt x="15062" y="2097"/>
                </a:moveTo>
                <a:lnTo>
                  <a:pt x="15052" y="2101"/>
                </a:lnTo>
                <a:lnTo>
                  <a:pt x="15053" y="2099"/>
                </a:lnTo>
                <a:lnTo>
                  <a:pt x="15059" y="2092"/>
                </a:lnTo>
                <a:lnTo>
                  <a:pt x="15068" y="2087"/>
                </a:lnTo>
                <a:lnTo>
                  <a:pt x="15071" y="2090"/>
                </a:lnTo>
                <a:lnTo>
                  <a:pt x="15070" y="2092"/>
                </a:lnTo>
                <a:lnTo>
                  <a:pt x="15066" y="2095"/>
                </a:lnTo>
                <a:lnTo>
                  <a:pt x="15062" y="2097"/>
                </a:lnTo>
                <a:close/>
                <a:moveTo>
                  <a:pt x="14993" y="2144"/>
                </a:moveTo>
                <a:lnTo>
                  <a:pt x="14992" y="2143"/>
                </a:lnTo>
                <a:lnTo>
                  <a:pt x="14992" y="2143"/>
                </a:lnTo>
                <a:lnTo>
                  <a:pt x="14993" y="2142"/>
                </a:lnTo>
                <a:lnTo>
                  <a:pt x="14994" y="2142"/>
                </a:lnTo>
                <a:lnTo>
                  <a:pt x="14993" y="2144"/>
                </a:lnTo>
                <a:close/>
                <a:moveTo>
                  <a:pt x="14852" y="2240"/>
                </a:moveTo>
                <a:lnTo>
                  <a:pt x="14848" y="2240"/>
                </a:lnTo>
                <a:lnTo>
                  <a:pt x="14847" y="2239"/>
                </a:lnTo>
                <a:lnTo>
                  <a:pt x="14847" y="2236"/>
                </a:lnTo>
                <a:lnTo>
                  <a:pt x="14851" y="2234"/>
                </a:lnTo>
                <a:lnTo>
                  <a:pt x="14853" y="2234"/>
                </a:lnTo>
                <a:lnTo>
                  <a:pt x="14853" y="2235"/>
                </a:lnTo>
                <a:lnTo>
                  <a:pt x="14853" y="2237"/>
                </a:lnTo>
                <a:lnTo>
                  <a:pt x="14852" y="2240"/>
                </a:lnTo>
                <a:close/>
                <a:moveTo>
                  <a:pt x="14598" y="2402"/>
                </a:moveTo>
                <a:lnTo>
                  <a:pt x="14604" y="2398"/>
                </a:lnTo>
                <a:lnTo>
                  <a:pt x="14607" y="2399"/>
                </a:lnTo>
                <a:lnTo>
                  <a:pt x="14611" y="2400"/>
                </a:lnTo>
                <a:lnTo>
                  <a:pt x="14618" y="2399"/>
                </a:lnTo>
                <a:lnTo>
                  <a:pt x="14612" y="2403"/>
                </a:lnTo>
                <a:lnTo>
                  <a:pt x="14609" y="2404"/>
                </a:lnTo>
                <a:lnTo>
                  <a:pt x="14604" y="2404"/>
                </a:lnTo>
                <a:lnTo>
                  <a:pt x="14598" y="2402"/>
                </a:lnTo>
                <a:close/>
                <a:moveTo>
                  <a:pt x="14508" y="2477"/>
                </a:moveTo>
                <a:lnTo>
                  <a:pt x="14503" y="2477"/>
                </a:lnTo>
                <a:lnTo>
                  <a:pt x="14500" y="2474"/>
                </a:lnTo>
                <a:lnTo>
                  <a:pt x="14499" y="2469"/>
                </a:lnTo>
                <a:lnTo>
                  <a:pt x="14499" y="2464"/>
                </a:lnTo>
                <a:lnTo>
                  <a:pt x="14507" y="2465"/>
                </a:lnTo>
                <a:lnTo>
                  <a:pt x="14511" y="2468"/>
                </a:lnTo>
                <a:lnTo>
                  <a:pt x="14512" y="2470"/>
                </a:lnTo>
                <a:lnTo>
                  <a:pt x="14508" y="2477"/>
                </a:lnTo>
                <a:close/>
                <a:moveTo>
                  <a:pt x="14407" y="2534"/>
                </a:moveTo>
                <a:lnTo>
                  <a:pt x="14412" y="2529"/>
                </a:lnTo>
                <a:lnTo>
                  <a:pt x="14412" y="2529"/>
                </a:lnTo>
                <a:lnTo>
                  <a:pt x="14410" y="2530"/>
                </a:lnTo>
                <a:lnTo>
                  <a:pt x="14407" y="2534"/>
                </a:lnTo>
                <a:lnTo>
                  <a:pt x="14409" y="2529"/>
                </a:lnTo>
                <a:lnTo>
                  <a:pt x="14411" y="2528"/>
                </a:lnTo>
                <a:lnTo>
                  <a:pt x="14411" y="2529"/>
                </a:lnTo>
                <a:lnTo>
                  <a:pt x="14407" y="2534"/>
                </a:lnTo>
                <a:close/>
                <a:moveTo>
                  <a:pt x="14382" y="2507"/>
                </a:moveTo>
                <a:lnTo>
                  <a:pt x="14386" y="2507"/>
                </a:lnTo>
                <a:lnTo>
                  <a:pt x="14384" y="2508"/>
                </a:lnTo>
                <a:lnTo>
                  <a:pt x="14383" y="2510"/>
                </a:lnTo>
                <a:lnTo>
                  <a:pt x="14382" y="2510"/>
                </a:lnTo>
                <a:lnTo>
                  <a:pt x="14382" y="2507"/>
                </a:lnTo>
                <a:close/>
                <a:moveTo>
                  <a:pt x="14367" y="2550"/>
                </a:moveTo>
                <a:lnTo>
                  <a:pt x="14373" y="2542"/>
                </a:lnTo>
                <a:lnTo>
                  <a:pt x="14382" y="2536"/>
                </a:lnTo>
                <a:lnTo>
                  <a:pt x="14392" y="2533"/>
                </a:lnTo>
                <a:lnTo>
                  <a:pt x="14402" y="2531"/>
                </a:lnTo>
                <a:lnTo>
                  <a:pt x="14384" y="2540"/>
                </a:lnTo>
                <a:lnTo>
                  <a:pt x="14367" y="2550"/>
                </a:lnTo>
                <a:close/>
                <a:moveTo>
                  <a:pt x="14232" y="2632"/>
                </a:moveTo>
                <a:lnTo>
                  <a:pt x="14243" y="2623"/>
                </a:lnTo>
                <a:lnTo>
                  <a:pt x="14257" y="2613"/>
                </a:lnTo>
                <a:lnTo>
                  <a:pt x="14253" y="2622"/>
                </a:lnTo>
                <a:lnTo>
                  <a:pt x="14249" y="2627"/>
                </a:lnTo>
                <a:lnTo>
                  <a:pt x="14243" y="2629"/>
                </a:lnTo>
                <a:lnTo>
                  <a:pt x="14232" y="2632"/>
                </a:lnTo>
                <a:close/>
                <a:moveTo>
                  <a:pt x="14106" y="2729"/>
                </a:moveTo>
                <a:lnTo>
                  <a:pt x="14090" y="2736"/>
                </a:lnTo>
                <a:lnTo>
                  <a:pt x="14076" y="2745"/>
                </a:lnTo>
                <a:lnTo>
                  <a:pt x="14066" y="2746"/>
                </a:lnTo>
                <a:lnTo>
                  <a:pt x="14064" y="2730"/>
                </a:lnTo>
                <a:lnTo>
                  <a:pt x="14084" y="2718"/>
                </a:lnTo>
                <a:lnTo>
                  <a:pt x="14106" y="2708"/>
                </a:lnTo>
                <a:lnTo>
                  <a:pt x="14116" y="2708"/>
                </a:lnTo>
                <a:lnTo>
                  <a:pt x="14106" y="2729"/>
                </a:lnTo>
                <a:close/>
                <a:moveTo>
                  <a:pt x="14075" y="2769"/>
                </a:moveTo>
                <a:lnTo>
                  <a:pt x="14075" y="2769"/>
                </a:lnTo>
                <a:lnTo>
                  <a:pt x="14075" y="2769"/>
                </a:lnTo>
                <a:lnTo>
                  <a:pt x="14076" y="2768"/>
                </a:lnTo>
                <a:lnTo>
                  <a:pt x="14075" y="2769"/>
                </a:lnTo>
                <a:close/>
                <a:moveTo>
                  <a:pt x="14137" y="2783"/>
                </a:moveTo>
                <a:lnTo>
                  <a:pt x="14177" y="2764"/>
                </a:lnTo>
                <a:lnTo>
                  <a:pt x="14192" y="2764"/>
                </a:lnTo>
                <a:lnTo>
                  <a:pt x="14183" y="2781"/>
                </a:lnTo>
                <a:lnTo>
                  <a:pt x="14149" y="2810"/>
                </a:lnTo>
                <a:lnTo>
                  <a:pt x="14201" y="2792"/>
                </a:lnTo>
                <a:lnTo>
                  <a:pt x="14224" y="2796"/>
                </a:lnTo>
                <a:lnTo>
                  <a:pt x="14218" y="2808"/>
                </a:lnTo>
                <a:lnTo>
                  <a:pt x="14182" y="2817"/>
                </a:lnTo>
                <a:lnTo>
                  <a:pt x="14071" y="2887"/>
                </a:lnTo>
                <a:lnTo>
                  <a:pt x="14011" y="2902"/>
                </a:lnTo>
                <a:lnTo>
                  <a:pt x="14024" y="2865"/>
                </a:lnTo>
                <a:lnTo>
                  <a:pt x="14137" y="2783"/>
                </a:lnTo>
                <a:close/>
                <a:moveTo>
                  <a:pt x="14169" y="2745"/>
                </a:moveTo>
                <a:lnTo>
                  <a:pt x="14185" y="2738"/>
                </a:lnTo>
                <a:lnTo>
                  <a:pt x="14183" y="2739"/>
                </a:lnTo>
                <a:lnTo>
                  <a:pt x="14173" y="2746"/>
                </a:lnTo>
                <a:lnTo>
                  <a:pt x="14158" y="2757"/>
                </a:lnTo>
                <a:lnTo>
                  <a:pt x="14163" y="2750"/>
                </a:lnTo>
                <a:lnTo>
                  <a:pt x="14169" y="2745"/>
                </a:lnTo>
                <a:close/>
                <a:moveTo>
                  <a:pt x="14251" y="6497"/>
                </a:moveTo>
                <a:lnTo>
                  <a:pt x="14252" y="6497"/>
                </a:lnTo>
                <a:lnTo>
                  <a:pt x="14251" y="6497"/>
                </a:lnTo>
                <a:lnTo>
                  <a:pt x="14252" y="6498"/>
                </a:lnTo>
                <a:lnTo>
                  <a:pt x="14251" y="6497"/>
                </a:lnTo>
                <a:close/>
                <a:moveTo>
                  <a:pt x="14220" y="6593"/>
                </a:moveTo>
                <a:lnTo>
                  <a:pt x="14215" y="6596"/>
                </a:lnTo>
                <a:lnTo>
                  <a:pt x="14209" y="6596"/>
                </a:lnTo>
                <a:lnTo>
                  <a:pt x="14214" y="6595"/>
                </a:lnTo>
                <a:lnTo>
                  <a:pt x="14220" y="6593"/>
                </a:lnTo>
                <a:close/>
                <a:moveTo>
                  <a:pt x="14206" y="6505"/>
                </a:moveTo>
                <a:lnTo>
                  <a:pt x="14216" y="6513"/>
                </a:lnTo>
                <a:lnTo>
                  <a:pt x="14195" y="6516"/>
                </a:lnTo>
                <a:lnTo>
                  <a:pt x="14163" y="6516"/>
                </a:lnTo>
                <a:lnTo>
                  <a:pt x="14137" y="6518"/>
                </a:lnTo>
                <a:lnTo>
                  <a:pt x="14165" y="6511"/>
                </a:lnTo>
                <a:lnTo>
                  <a:pt x="14183" y="6505"/>
                </a:lnTo>
                <a:lnTo>
                  <a:pt x="14196" y="6503"/>
                </a:lnTo>
                <a:lnTo>
                  <a:pt x="14206" y="6505"/>
                </a:lnTo>
                <a:close/>
                <a:moveTo>
                  <a:pt x="13963" y="6760"/>
                </a:moveTo>
                <a:lnTo>
                  <a:pt x="13972" y="6756"/>
                </a:lnTo>
                <a:lnTo>
                  <a:pt x="13980" y="6755"/>
                </a:lnTo>
                <a:lnTo>
                  <a:pt x="13985" y="6757"/>
                </a:lnTo>
                <a:lnTo>
                  <a:pt x="13985" y="6765"/>
                </a:lnTo>
                <a:lnTo>
                  <a:pt x="14006" y="6768"/>
                </a:lnTo>
                <a:lnTo>
                  <a:pt x="13986" y="6774"/>
                </a:lnTo>
                <a:lnTo>
                  <a:pt x="13959" y="6775"/>
                </a:lnTo>
                <a:lnTo>
                  <a:pt x="13963" y="6760"/>
                </a:lnTo>
                <a:close/>
                <a:moveTo>
                  <a:pt x="13985" y="6526"/>
                </a:moveTo>
                <a:lnTo>
                  <a:pt x="13981" y="6527"/>
                </a:lnTo>
                <a:lnTo>
                  <a:pt x="13980" y="6528"/>
                </a:lnTo>
                <a:lnTo>
                  <a:pt x="13982" y="6527"/>
                </a:lnTo>
                <a:lnTo>
                  <a:pt x="13985" y="6526"/>
                </a:lnTo>
                <a:lnTo>
                  <a:pt x="13981" y="6528"/>
                </a:lnTo>
                <a:lnTo>
                  <a:pt x="13985" y="6526"/>
                </a:lnTo>
                <a:close/>
                <a:moveTo>
                  <a:pt x="13973" y="2892"/>
                </a:moveTo>
                <a:lnTo>
                  <a:pt x="13971" y="2889"/>
                </a:lnTo>
                <a:lnTo>
                  <a:pt x="13965" y="2888"/>
                </a:lnTo>
                <a:lnTo>
                  <a:pt x="13962" y="2889"/>
                </a:lnTo>
                <a:lnTo>
                  <a:pt x="13957" y="2888"/>
                </a:lnTo>
                <a:lnTo>
                  <a:pt x="13965" y="2884"/>
                </a:lnTo>
                <a:lnTo>
                  <a:pt x="13973" y="2883"/>
                </a:lnTo>
                <a:lnTo>
                  <a:pt x="13978" y="2884"/>
                </a:lnTo>
                <a:lnTo>
                  <a:pt x="13973" y="2892"/>
                </a:lnTo>
                <a:close/>
                <a:moveTo>
                  <a:pt x="14131" y="7698"/>
                </a:moveTo>
                <a:lnTo>
                  <a:pt x="14125" y="7699"/>
                </a:lnTo>
                <a:lnTo>
                  <a:pt x="14131" y="7698"/>
                </a:lnTo>
                <a:lnTo>
                  <a:pt x="14126" y="7699"/>
                </a:lnTo>
                <a:lnTo>
                  <a:pt x="14120" y="7701"/>
                </a:lnTo>
                <a:lnTo>
                  <a:pt x="14118" y="7701"/>
                </a:lnTo>
                <a:lnTo>
                  <a:pt x="14131" y="7698"/>
                </a:lnTo>
                <a:close/>
                <a:moveTo>
                  <a:pt x="14249" y="7626"/>
                </a:moveTo>
                <a:lnTo>
                  <a:pt x="14247" y="7629"/>
                </a:lnTo>
                <a:lnTo>
                  <a:pt x="14244" y="7632"/>
                </a:lnTo>
                <a:lnTo>
                  <a:pt x="14239" y="7633"/>
                </a:lnTo>
                <a:lnTo>
                  <a:pt x="14235" y="7633"/>
                </a:lnTo>
                <a:lnTo>
                  <a:pt x="14227" y="7633"/>
                </a:lnTo>
                <a:lnTo>
                  <a:pt x="14230" y="7632"/>
                </a:lnTo>
                <a:lnTo>
                  <a:pt x="14241" y="7628"/>
                </a:lnTo>
                <a:lnTo>
                  <a:pt x="14249" y="7626"/>
                </a:lnTo>
                <a:close/>
                <a:moveTo>
                  <a:pt x="14218" y="7351"/>
                </a:moveTo>
                <a:lnTo>
                  <a:pt x="14204" y="7354"/>
                </a:lnTo>
                <a:lnTo>
                  <a:pt x="14190" y="7356"/>
                </a:lnTo>
                <a:lnTo>
                  <a:pt x="14176" y="7357"/>
                </a:lnTo>
                <a:lnTo>
                  <a:pt x="14162" y="7357"/>
                </a:lnTo>
                <a:lnTo>
                  <a:pt x="14197" y="7351"/>
                </a:lnTo>
                <a:lnTo>
                  <a:pt x="14235" y="7344"/>
                </a:lnTo>
                <a:lnTo>
                  <a:pt x="14252" y="7343"/>
                </a:lnTo>
                <a:lnTo>
                  <a:pt x="14218" y="7351"/>
                </a:lnTo>
                <a:close/>
                <a:moveTo>
                  <a:pt x="14430" y="7403"/>
                </a:moveTo>
                <a:lnTo>
                  <a:pt x="14446" y="7400"/>
                </a:lnTo>
                <a:lnTo>
                  <a:pt x="14462" y="7398"/>
                </a:lnTo>
                <a:lnTo>
                  <a:pt x="14456" y="7402"/>
                </a:lnTo>
                <a:lnTo>
                  <a:pt x="14448" y="7403"/>
                </a:lnTo>
                <a:lnTo>
                  <a:pt x="14439" y="7403"/>
                </a:lnTo>
                <a:lnTo>
                  <a:pt x="14430" y="7403"/>
                </a:lnTo>
                <a:close/>
                <a:moveTo>
                  <a:pt x="14340" y="7433"/>
                </a:moveTo>
                <a:lnTo>
                  <a:pt x="14348" y="7430"/>
                </a:lnTo>
                <a:lnTo>
                  <a:pt x="14348" y="7433"/>
                </a:lnTo>
                <a:lnTo>
                  <a:pt x="14342" y="7438"/>
                </a:lnTo>
                <a:lnTo>
                  <a:pt x="14334" y="7440"/>
                </a:lnTo>
                <a:lnTo>
                  <a:pt x="14337" y="7436"/>
                </a:lnTo>
                <a:lnTo>
                  <a:pt x="14340" y="7433"/>
                </a:lnTo>
                <a:close/>
                <a:moveTo>
                  <a:pt x="14323" y="7440"/>
                </a:moveTo>
                <a:lnTo>
                  <a:pt x="14326" y="7440"/>
                </a:lnTo>
                <a:lnTo>
                  <a:pt x="14323" y="7440"/>
                </a:lnTo>
                <a:lnTo>
                  <a:pt x="14326" y="7438"/>
                </a:lnTo>
                <a:lnTo>
                  <a:pt x="14323" y="7440"/>
                </a:lnTo>
                <a:close/>
                <a:moveTo>
                  <a:pt x="14300" y="7573"/>
                </a:moveTo>
                <a:lnTo>
                  <a:pt x="14307" y="7573"/>
                </a:lnTo>
                <a:lnTo>
                  <a:pt x="14300" y="7573"/>
                </a:lnTo>
                <a:lnTo>
                  <a:pt x="14308" y="7570"/>
                </a:lnTo>
                <a:lnTo>
                  <a:pt x="14300" y="7573"/>
                </a:lnTo>
                <a:close/>
                <a:moveTo>
                  <a:pt x="14582" y="7649"/>
                </a:moveTo>
                <a:lnTo>
                  <a:pt x="14581" y="7654"/>
                </a:lnTo>
                <a:lnTo>
                  <a:pt x="14578" y="7654"/>
                </a:lnTo>
                <a:lnTo>
                  <a:pt x="14576" y="7651"/>
                </a:lnTo>
                <a:lnTo>
                  <a:pt x="14578" y="7647"/>
                </a:lnTo>
                <a:lnTo>
                  <a:pt x="14581" y="7649"/>
                </a:lnTo>
                <a:lnTo>
                  <a:pt x="14582" y="7649"/>
                </a:lnTo>
                <a:close/>
                <a:moveTo>
                  <a:pt x="14624" y="7624"/>
                </a:moveTo>
                <a:lnTo>
                  <a:pt x="14619" y="7628"/>
                </a:lnTo>
                <a:lnTo>
                  <a:pt x="14612" y="7631"/>
                </a:lnTo>
                <a:lnTo>
                  <a:pt x="14614" y="7627"/>
                </a:lnTo>
                <a:lnTo>
                  <a:pt x="14616" y="7626"/>
                </a:lnTo>
                <a:lnTo>
                  <a:pt x="14620" y="7624"/>
                </a:lnTo>
                <a:lnTo>
                  <a:pt x="14624" y="7624"/>
                </a:lnTo>
                <a:close/>
                <a:moveTo>
                  <a:pt x="14731" y="7641"/>
                </a:moveTo>
                <a:lnTo>
                  <a:pt x="14732" y="7638"/>
                </a:lnTo>
                <a:lnTo>
                  <a:pt x="14735" y="7637"/>
                </a:lnTo>
                <a:lnTo>
                  <a:pt x="14736" y="7637"/>
                </a:lnTo>
                <a:lnTo>
                  <a:pt x="14739" y="7641"/>
                </a:lnTo>
                <a:lnTo>
                  <a:pt x="14737" y="7642"/>
                </a:lnTo>
                <a:lnTo>
                  <a:pt x="14736" y="7642"/>
                </a:lnTo>
                <a:lnTo>
                  <a:pt x="14733" y="7642"/>
                </a:lnTo>
                <a:lnTo>
                  <a:pt x="14731" y="7641"/>
                </a:lnTo>
                <a:close/>
                <a:moveTo>
                  <a:pt x="14661" y="7635"/>
                </a:moveTo>
                <a:lnTo>
                  <a:pt x="14630" y="7623"/>
                </a:lnTo>
                <a:lnTo>
                  <a:pt x="14657" y="7609"/>
                </a:lnTo>
                <a:lnTo>
                  <a:pt x="14693" y="7603"/>
                </a:lnTo>
                <a:lnTo>
                  <a:pt x="14690" y="7612"/>
                </a:lnTo>
                <a:lnTo>
                  <a:pt x="14675" y="7624"/>
                </a:lnTo>
                <a:lnTo>
                  <a:pt x="14661" y="7635"/>
                </a:lnTo>
                <a:close/>
                <a:moveTo>
                  <a:pt x="14689" y="7772"/>
                </a:moveTo>
                <a:lnTo>
                  <a:pt x="14684" y="7772"/>
                </a:lnTo>
                <a:lnTo>
                  <a:pt x="14689" y="7772"/>
                </a:lnTo>
                <a:lnTo>
                  <a:pt x="14684" y="7772"/>
                </a:lnTo>
                <a:lnTo>
                  <a:pt x="14689" y="7772"/>
                </a:lnTo>
                <a:close/>
                <a:moveTo>
                  <a:pt x="14666" y="7673"/>
                </a:moveTo>
                <a:lnTo>
                  <a:pt x="14688" y="7665"/>
                </a:lnTo>
                <a:lnTo>
                  <a:pt x="14707" y="7661"/>
                </a:lnTo>
                <a:lnTo>
                  <a:pt x="14723" y="7661"/>
                </a:lnTo>
                <a:lnTo>
                  <a:pt x="14741" y="7664"/>
                </a:lnTo>
                <a:lnTo>
                  <a:pt x="14723" y="7668"/>
                </a:lnTo>
                <a:lnTo>
                  <a:pt x="14704" y="7670"/>
                </a:lnTo>
                <a:lnTo>
                  <a:pt x="14685" y="7671"/>
                </a:lnTo>
                <a:lnTo>
                  <a:pt x="14666" y="7673"/>
                </a:lnTo>
                <a:close/>
                <a:moveTo>
                  <a:pt x="14773" y="7764"/>
                </a:moveTo>
                <a:lnTo>
                  <a:pt x="14770" y="7766"/>
                </a:lnTo>
                <a:lnTo>
                  <a:pt x="14767" y="7768"/>
                </a:lnTo>
                <a:lnTo>
                  <a:pt x="14763" y="7768"/>
                </a:lnTo>
                <a:lnTo>
                  <a:pt x="14763" y="7766"/>
                </a:lnTo>
                <a:lnTo>
                  <a:pt x="14768" y="7764"/>
                </a:lnTo>
                <a:lnTo>
                  <a:pt x="14773" y="7764"/>
                </a:lnTo>
                <a:close/>
                <a:moveTo>
                  <a:pt x="14837" y="7636"/>
                </a:moveTo>
                <a:lnTo>
                  <a:pt x="14828" y="7637"/>
                </a:lnTo>
                <a:lnTo>
                  <a:pt x="14817" y="7638"/>
                </a:lnTo>
                <a:lnTo>
                  <a:pt x="14823" y="7633"/>
                </a:lnTo>
                <a:lnTo>
                  <a:pt x="14828" y="7632"/>
                </a:lnTo>
                <a:lnTo>
                  <a:pt x="14833" y="7633"/>
                </a:lnTo>
                <a:lnTo>
                  <a:pt x="14837" y="7636"/>
                </a:lnTo>
                <a:close/>
                <a:moveTo>
                  <a:pt x="14857" y="7637"/>
                </a:moveTo>
                <a:lnTo>
                  <a:pt x="14844" y="7637"/>
                </a:lnTo>
                <a:lnTo>
                  <a:pt x="14844" y="7635"/>
                </a:lnTo>
                <a:lnTo>
                  <a:pt x="14852" y="7633"/>
                </a:lnTo>
                <a:lnTo>
                  <a:pt x="14865" y="7636"/>
                </a:lnTo>
                <a:lnTo>
                  <a:pt x="14859" y="7636"/>
                </a:lnTo>
                <a:lnTo>
                  <a:pt x="14856" y="7635"/>
                </a:lnTo>
                <a:lnTo>
                  <a:pt x="14854" y="7635"/>
                </a:lnTo>
                <a:lnTo>
                  <a:pt x="14857" y="7637"/>
                </a:lnTo>
                <a:close/>
                <a:moveTo>
                  <a:pt x="14865" y="7562"/>
                </a:moveTo>
                <a:lnTo>
                  <a:pt x="14867" y="7562"/>
                </a:lnTo>
                <a:lnTo>
                  <a:pt x="14871" y="7562"/>
                </a:lnTo>
                <a:lnTo>
                  <a:pt x="14873" y="7562"/>
                </a:lnTo>
                <a:lnTo>
                  <a:pt x="14877" y="7563"/>
                </a:lnTo>
                <a:lnTo>
                  <a:pt x="14873" y="7566"/>
                </a:lnTo>
                <a:lnTo>
                  <a:pt x="14871" y="7566"/>
                </a:lnTo>
                <a:lnTo>
                  <a:pt x="14867" y="7564"/>
                </a:lnTo>
                <a:lnTo>
                  <a:pt x="14865" y="7562"/>
                </a:lnTo>
                <a:close/>
                <a:moveTo>
                  <a:pt x="14767" y="7535"/>
                </a:moveTo>
                <a:lnTo>
                  <a:pt x="14779" y="7528"/>
                </a:lnTo>
                <a:lnTo>
                  <a:pt x="14791" y="7525"/>
                </a:lnTo>
                <a:lnTo>
                  <a:pt x="14786" y="7530"/>
                </a:lnTo>
                <a:lnTo>
                  <a:pt x="14779" y="7533"/>
                </a:lnTo>
                <a:lnTo>
                  <a:pt x="14773" y="7534"/>
                </a:lnTo>
                <a:lnTo>
                  <a:pt x="14767" y="7535"/>
                </a:lnTo>
                <a:close/>
                <a:moveTo>
                  <a:pt x="14795" y="7598"/>
                </a:moveTo>
                <a:lnTo>
                  <a:pt x="14817" y="7603"/>
                </a:lnTo>
                <a:lnTo>
                  <a:pt x="14840" y="7604"/>
                </a:lnTo>
                <a:lnTo>
                  <a:pt x="14863" y="7605"/>
                </a:lnTo>
                <a:lnTo>
                  <a:pt x="14886" y="7612"/>
                </a:lnTo>
                <a:lnTo>
                  <a:pt x="14828" y="7614"/>
                </a:lnTo>
                <a:lnTo>
                  <a:pt x="14765" y="7614"/>
                </a:lnTo>
                <a:lnTo>
                  <a:pt x="14741" y="7609"/>
                </a:lnTo>
                <a:lnTo>
                  <a:pt x="14795" y="7598"/>
                </a:lnTo>
                <a:close/>
                <a:moveTo>
                  <a:pt x="14576" y="7566"/>
                </a:moveTo>
                <a:lnTo>
                  <a:pt x="14719" y="7549"/>
                </a:lnTo>
                <a:lnTo>
                  <a:pt x="14633" y="7580"/>
                </a:lnTo>
                <a:lnTo>
                  <a:pt x="14441" y="7622"/>
                </a:lnTo>
                <a:lnTo>
                  <a:pt x="14267" y="7640"/>
                </a:lnTo>
                <a:lnTo>
                  <a:pt x="14332" y="7605"/>
                </a:lnTo>
                <a:lnTo>
                  <a:pt x="14409" y="7594"/>
                </a:lnTo>
                <a:lnTo>
                  <a:pt x="14490" y="7587"/>
                </a:lnTo>
                <a:lnTo>
                  <a:pt x="14576" y="7566"/>
                </a:lnTo>
                <a:close/>
                <a:moveTo>
                  <a:pt x="14544" y="7514"/>
                </a:moveTo>
                <a:lnTo>
                  <a:pt x="14558" y="7510"/>
                </a:lnTo>
                <a:lnTo>
                  <a:pt x="14572" y="7506"/>
                </a:lnTo>
                <a:lnTo>
                  <a:pt x="14565" y="7515"/>
                </a:lnTo>
                <a:lnTo>
                  <a:pt x="14559" y="7520"/>
                </a:lnTo>
                <a:lnTo>
                  <a:pt x="14553" y="7520"/>
                </a:lnTo>
                <a:lnTo>
                  <a:pt x="14544" y="7514"/>
                </a:lnTo>
                <a:close/>
                <a:moveTo>
                  <a:pt x="14550" y="7525"/>
                </a:moveTo>
                <a:lnTo>
                  <a:pt x="14539" y="7526"/>
                </a:lnTo>
                <a:lnTo>
                  <a:pt x="14537" y="7526"/>
                </a:lnTo>
                <a:lnTo>
                  <a:pt x="14542" y="7526"/>
                </a:lnTo>
                <a:lnTo>
                  <a:pt x="14550" y="7525"/>
                </a:lnTo>
                <a:lnTo>
                  <a:pt x="14542" y="7528"/>
                </a:lnTo>
                <a:lnTo>
                  <a:pt x="14537" y="7530"/>
                </a:lnTo>
                <a:lnTo>
                  <a:pt x="14539" y="7529"/>
                </a:lnTo>
                <a:lnTo>
                  <a:pt x="14550" y="7525"/>
                </a:lnTo>
                <a:close/>
                <a:moveTo>
                  <a:pt x="14649" y="7409"/>
                </a:moveTo>
                <a:lnTo>
                  <a:pt x="14644" y="7416"/>
                </a:lnTo>
                <a:lnTo>
                  <a:pt x="14633" y="7417"/>
                </a:lnTo>
                <a:lnTo>
                  <a:pt x="14619" y="7416"/>
                </a:lnTo>
                <a:lnTo>
                  <a:pt x="14607" y="7418"/>
                </a:lnTo>
                <a:lnTo>
                  <a:pt x="14618" y="7414"/>
                </a:lnTo>
                <a:lnTo>
                  <a:pt x="14628" y="7409"/>
                </a:lnTo>
                <a:lnTo>
                  <a:pt x="14638" y="7408"/>
                </a:lnTo>
                <a:lnTo>
                  <a:pt x="14649" y="7409"/>
                </a:lnTo>
                <a:close/>
                <a:moveTo>
                  <a:pt x="14619" y="7389"/>
                </a:moveTo>
                <a:lnTo>
                  <a:pt x="14574" y="7400"/>
                </a:lnTo>
                <a:lnTo>
                  <a:pt x="14531" y="7403"/>
                </a:lnTo>
                <a:lnTo>
                  <a:pt x="14518" y="7398"/>
                </a:lnTo>
                <a:lnTo>
                  <a:pt x="14568" y="7389"/>
                </a:lnTo>
                <a:lnTo>
                  <a:pt x="14618" y="7371"/>
                </a:lnTo>
                <a:lnTo>
                  <a:pt x="14665" y="7366"/>
                </a:lnTo>
                <a:lnTo>
                  <a:pt x="14677" y="7372"/>
                </a:lnTo>
                <a:lnTo>
                  <a:pt x="14619" y="7389"/>
                </a:lnTo>
                <a:close/>
                <a:moveTo>
                  <a:pt x="14775" y="7216"/>
                </a:moveTo>
                <a:lnTo>
                  <a:pt x="14749" y="7222"/>
                </a:lnTo>
                <a:lnTo>
                  <a:pt x="14726" y="7220"/>
                </a:lnTo>
                <a:lnTo>
                  <a:pt x="14721" y="7212"/>
                </a:lnTo>
                <a:lnTo>
                  <a:pt x="14749" y="7200"/>
                </a:lnTo>
                <a:lnTo>
                  <a:pt x="14772" y="7198"/>
                </a:lnTo>
                <a:lnTo>
                  <a:pt x="14782" y="7198"/>
                </a:lnTo>
                <a:lnTo>
                  <a:pt x="14781" y="7202"/>
                </a:lnTo>
                <a:lnTo>
                  <a:pt x="14775" y="7216"/>
                </a:lnTo>
                <a:close/>
                <a:moveTo>
                  <a:pt x="14861" y="6631"/>
                </a:moveTo>
                <a:lnTo>
                  <a:pt x="14857" y="6631"/>
                </a:lnTo>
                <a:lnTo>
                  <a:pt x="14854" y="6625"/>
                </a:lnTo>
                <a:lnTo>
                  <a:pt x="14857" y="6620"/>
                </a:lnTo>
                <a:lnTo>
                  <a:pt x="14861" y="6617"/>
                </a:lnTo>
                <a:lnTo>
                  <a:pt x="14861" y="6625"/>
                </a:lnTo>
                <a:lnTo>
                  <a:pt x="14861" y="6631"/>
                </a:lnTo>
                <a:close/>
                <a:moveTo>
                  <a:pt x="14546" y="6555"/>
                </a:moveTo>
                <a:lnTo>
                  <a:pt x="14551" y="6553"/>
                </a:lnTo>
                <a:lnTo>
                  <a:pt x="14551" y="6555"/>
                </a:lnTo>
                <a:lnTo>
                  <a:pt x="14551" y="6556"/>
                </a:lnTo>
                <a:lnTo>
                  <a:pt x="14549" y="6556"/>
                </a:lnTo>
                <a:lnTo>
                  <a:pt x="14546" y="6555"/>
                </a:lnTo>
                <a:close/>
                <a:moveTo>
                  <a:pt x="14303" y="6586"/>
                </a:moveTo>
                <a:lnTo>
                  <a:pt x="14452" y="6579"/>
                </a:lnTo>
                <a:lnTo>
                  <a:pt x="14563" y="6565"/>
                </a:lnTo>
                <a:lnTo>
                  <a:pt x="14665" y="6550"/>
                </a:lnTo>
                <a:lnTo>
                  <a:pt x="14786" y="6542"/>
                </a:lnTo>
                <a:lnTo>
                  <a:pt x="14712" y="6560"/>
                </a:lnTo>
                <a:lnTo>
                  <a:pt x="14735" y="6581"/>
                </a:lnTo>
                <a:lnTo>
                  <a:pt x="14778" y="6589"/>
                </a:lnTo>
                <a:lnTo>
                  <a:pt x="14768" y="6570"/>
                </a:lnTo>
                <a:lnTo>
                  <a:pt x="14829" y="6539"/>
                </a:lnTo>
                <a:lnTo>
                  <a:pt x="14851" y="6551"/>
                </a:lnTo>
                <a:lnTo>
                  <a:pt x="14847" y="6592"/>
                </a:lnTo>
                <a:lnTo>
                  <a:pt x="14829" y="6648"/>
                </a:lnTo>
                <a:lnTo>
                  <a:pt x="14798" y="6670"/>
                </a:lnTo>
                <a:lnTo>
                  <a:pt x="14770" y="6649"/>
                </a:lnTo>
                <a:lnTo>
                  <a:pt x="14733" y="6633"/>
                </a:lnTo>
                <a:lnTo>
                  <a:pt x="14677" y="6671"/>
                </a:lnTo>
                <a:lnTo>
                  <a:pt x="14666" y="6707"/>
                </a:lnTo>
                <a:lnTo>
                  <a:pt x="14724" y="6709"/>
                </a:lnTo>
                <a:lnTo>
                  <a:pt x="14775" y="6707"/>
                </a:lnTo>
                <a:lnTo>
                  <a:pt x="14742" y="6723"/>
                </a:lnTo>
                <a:lnTo>
                  <a:pt x="14726" y="6751"/>
                </a:lnTo>
                <a:lnTo>
                  <a:pt x="14582" y="6763"/>
                </a:lnTo>
                <a:lnTo>
                  <a:pt x="14374" y="6760"/>
                </a:lnTo>
                <a:lnTo>
                  <a:pt x="14167" y="6749"/>
                </a:lnTo>
                <a:lnTo>
                  <a:pt x="14200" y="6742"/>
                </a:lnTo>
                <a:lnTo>
                  <a:pt x="14228" y="6735"/>
                </a:lnTo>
                <a:lnTo>
                  <a:pt x="14246" y="6726"/>
                </a:lnTo>
                <a:lnTo>
                  <a:pt x="14246" y="6714"/>
                </a:lnTo>
                <a:lnTo>
                  <a:pt x="14205" y="6701"/>
                </a:lnTo>
                <a:lnTo>
                  <a:pt x="14179" y="6701"/>
                </a:lnTo>
                <a:lnTo>
                  <a:pt x="14150" y="6707"/>
                </a:lnTo>
                <a:lnTo>
                  <a:pt x="14098" y="6713"/>
                </a:lnTo>
                <a:lnTo>
                  <a:pt x="14088" y="6722"/>
                </a:lnTo>
                <a:lnTo>
                  <a:pt x="14081" y="6728"/>
                </a:lnTo>
                <a:lnTo>
                  <a:pt x="14079" y="6735"/>
                </a:lnTo>
                <a:lnTo>
                  <a:pt x="14081" y="6740"/>
                </a:lnTo>
                <a:lnTo>
                  <a:pt x="14047" y="6736"/>
                </a:lnTo>
                <a:lnTo>
                  <a:pt x="14020" y="6731"/>
                </a:lnTo>
                <a:lnTo>
                  <a:pt x="14001" y="6726"/>
                </a:lnTo>
                <a:lnTo>
                  <a:pt x="13992" y="6721"/>
                </a:lnTo>
                <a:lnTo>
                  <a:pt x="14102" y="6684"/>
                </a:lnTo>
                <a:lnTo>
                  <a:pt x="14122" y="6663"/>
                </a:lnTo>
                <a:lnTo>
                  <a:pt x="14155" y="6638"/>
                </a:lnTo>
                <a:lnTo>
                  <a:pt x="14303" y="6586"/>
                </a:lnTo>
                <a:close/>
                <a:moveTo>
                  <a:pt x="14336" y="6503"/>
                </a:moveTo>
                <a:lnTo>
                  <a:pt x="14335" y="6507"/>
                </a:lnTo>
                <a:lnTo>
                  <a:pt x="14327" y="6508"/>
                </a:lnTo>
                <a:lnTo>
                  <a:pt x="14318" y="6508"/>
                </a:lnTo>
                <a:lnTo>
                  <a:pt x="14311" y="6509"/>
                </a:lnTo>
                <a:lnTo>
                  <a:pt x="14316" y="6503"/>
                </a:lnTo>
                <a:lnTo>
                  <a:pt x="14321" y="6500"/>
                </a:lnTo>
                <a:lnTo>
                  <a:pt x="14327" y="6500"/>
                </a:lnTo>
                <a:lnTo>
                  <a:pt x="14336" y="6503"/>
                </a:lnTo>
                <a:close/>
                <a:moveTo>
                  <a:pt x="14345" y="6493"/>
                </a:moveTo>
                <a:lnTo>
                  <a:pt x="14358" y="6493"/>
                </a:lnTo>
                <a:lnTo>
                  <a:pt x="14362" y="6502"/>
                </a:lnTo>
                <a:lnTo>
                  <a:pt x="14355" y="6509"/>
                </a:lnTo>
                <a:lnTo>
                  <a:pt x="14340" y="6504"/>
                </a:lnTo>
                <a:lnTo>
                  <a:pt x="14349" y="6505"/>
                </a:lnTo>
                <a:lnTo>
                  <a:pt x="14353" y="6504"/>
                </a:lnTo>
                <a:lnTo>
                  <a:pt x="14351" y="6499"/>
                </a:lnTo>
                <a:lnTo>
                  <a:pt x="14345" y="6493"/>
                </a:lnTo>
                <a:close/>
                <a:moveTo>
                  <a:pt x="14382" y="6078"/>
                </a:moveTo>
                <a:lnTo>
                  <a:pt x="14370" y="6079"/>
                </a:lnTo>
                <a:lnTo>
                  <a:pt x="14359" y="6080"/>
                </a:lnTo>
                <a:lnTo>
                  <a:pt x="14364" y="6078"/>
                </a:lnTo>
                <a:lnTo>
                  <a:pt x="14370" y="6076"/>
                </a:lnTo>
                <a:lnTo>
                  <a:pt x="14377" y="6076"/>
                </a:lnTo>
                <a:lnTo>
                  <a:pt x="14382" y="6078"/>
                </a:lnTo>
                <a:close/>
                <a:moveTo>
                  <a:pt x="14407" y="6528"/>
                </a:moveTo>
                <a:lnTo>
                  <a:pt x="14401" y="6530"/>
                </a:lnTo>
                <a:lnTo>
                  <a:pt x="14390" y="6528"/>
                </a:lnTo>
                <a:lnTo>
                  <a:pt x="14379" y="6527"/>
                </a:lnTo>
                <a:lnTo>
                  <a:pt x="14379" y="6523"/>
                </a:lnTo>
                <a:lnTo>
                  <a:pt x="14387" y="6526"/>
                </a:lnTo>
                <a:lnTo>
                  <a:pt x="14393" y="6528"/>
                </a:lnTo>
                <a:lnTo>
                  <a:pt x="14400" y="6528"/>
                </a:lnTo>
                <a:lnTo>
                  <a:pt x="14407" y="6528"/>
                </a:lnTo>
                <a:close/>
                <a:moveTo>
                  <a:pt x="14407" y="2689"/>
                </a:moveTo>
                <a:lnTo>
                  <a:pt x="14410" y="2688"/>
                </a:lnTo>
                <a:lnTo>
                  <a:pt x="14411" y="2690"/>
                </a:lnTo>
                <a:lnTo>
                  <a:pt x="14410" y="2693"/>
                </a:lnTo>
                <a:lnTo>
                  <a:pt x="14409" y="2694"/>
                </a:lnTo>
                <a:lnTo>
                  <a:pt x="14405" y="2694"/>
                </a:lnTo>
                <a:lnTo>
                  <a:pt x="14404" y="2693"/>
                </a:lnTo>
                <a:lnTo>
                  <a:pt x="14404" y="2690"/>
                </a:lnTo>
                <a:lnTo>
                  <a:pt x="14407" y="2689"/>
                </a:lnTo>
                <a:close/>
                <a:moveTo>
                  <a:pt x="14458" y="5859"/>
                </a:moveTo>
                <a:lnTo>
                  <a:pt x="14467" y="5859"/>
                </a:lnTo>
                <a:lnTo>
                  <a:pt x="14477" y="5860"/>
                </a:lnTo>
                <a:lnTo>
                  <a:pt x="14488" y="5863"/>
                </a:lnTo>
                <a:lnTo>
                  <a:pt x="14497" y="5864"/>
                </a:lnTo>
                <a:lnTo>
                  <a:pt x="14479" y="5868"/>
                </a:lnTo>
                <a:lnTo>
                  <a:pt x="14460" y="5870"/>
                </a:lnTo>
                <a:lnTo>
                  <a:pt x="14448" y="5869"/>
                </a:lnTo>
                <a:lnTo>
                  <a:pt x="14458" y="5859"/>
                </a:lnTo>
                <a:close/>
                <a:moveTo>
                  <a:pt x="14499" y="6360"/>
                </a:moveTo>
                <a:lnTo>
                  <a:pt x="14508" y="6358"/>
                </a:lnTo>
                <a:lnTo>
                  <a:pt x="14518" y="6355"/>
                </a:lnTo>
                <a:lnTo>
                  <a:pt x="14526" y="6356"/>
                </a:lnTo>
                <a:lnTo>
                  <a:pt x="14533" y="6363"/>
                </a:lnTo>
                <a:lnTo>
                  <a:pt x="14523" y="6363"/>
                </a:lnTo>
                <a:lnTo>
                  <a:pt x="14513" y="6364"/>
                </a:lnTo>
                <a:lnTo>
                  <a:pt x="14503" y="6364"/>
                </a:lnTo>
                <a:lnTo>
                  <a:pt x="14499" y="6360"/>
                </a:lnTo>
                <a:close/>
                <a:moveTo>
                  <a:pt x="14532" y="6052"/>
                </a:moveTo>
                <a:lnTo>
                  <a:pt x="14521" y="6064"/>
                </a:lnTo>
                <a:lnTo>
                  <a:pt x="14509" y="6070"/>
                </a:lnTo>
                <a:lnTo>
                  <a:pt x="14508" y="6060"/>
                </a:lnTo>
                <a:lnTo>
                  <a:pt x="14512" y="6052"/>
                </a:lnTo>
                <a:lnTo>
                  <a:pt x="14519" y="6050"/>
                </a:lnTo>
                <a:lnTo>
                  <a:pt x="14532" y="6052"/>
                </a:lnTo>
                <a:close/>
                <a:moveTo>
                  <a:pt x="14521" y="6023"/>
                </a:moveTo>
                <a:lnTo>
                  <a:pt x="14521" y="6023"/>
                </a:lnTo>
                <a:lnTo>
                  <a:pt x="14521" y="6023"/>
                </a:lnTo>
                <a:lnTo>
                  <a:pt x="14521" y="6023"/>
                </a:lnTo>
                <a:lnTo>
                  <a:pt x="14521" y="6023"/>
                </a:lnTo>
                <a:close/>
                <a:moveTo>
                  <a:pt x="14565" y="5840"/>
                </a:moveTo>
                <a:lnTo>
                  <a:pt x="14564" y="5850"/>
                </a:lnTo>
                <a:lnTo>
                  <a:pt x="14559" y="5856"/>
                </a:lnTo>
                <a:lnTo>
                  <a:pt x="14549" y="5860"/>
                </a:lnTo>
                <a:lnTo>
                  <a:pt x="14532" y="5860"/>
                </a:lnTo>
                <a:lnTo>
                  <a:pt x="14535" y="5852"/>
                </a:lnTo>
                <a:lnTo>
                  <a:pt x="14544" y="5847"/>
                </a:lnTo>
                <a:lnTo>
                  <a:pt x="14555" y="5844"/>
                </a:lnTo>
                <a:lnTo>
                  <a:pt x="14565" y="5840"/>
                </a:lnTo>
                <a:close/>
                <a:moveTo>
                  <a:pt x="14588" y="6363"/>
                </a:moveTo>
                <a:lnTo>
                  <a:pt x="14582" y="6368"/>
                </a:lnTo>
                <a:lnTo>
                  <a:pt x="14570" y="6368"/>
                </a:lnTo>
                <a:lnTo>
                  <a:pt x="14558" y="6367"/>
                </a:lnTo>
                <a:lnTo>
                  <a:pt x="14549" y="6365"/>
                </a:lnTo>
                <a:lnTo>
                  <a:pt x="14549" y="6360"/>
                </a:lnTo>
                <a:lnTo>
                  <a:pt x="14560" y="6356"/>
                </a:lnTo>
                <a:lnTo>
                  <a:pt x="14577" y="6356"/>
                </a:lnTo>
                <a:lnTo>
                  <a:pt x="14588" y="6363"/>
                </a:lnTo>
                <a:close/>
                <a:moveTo>
                  <a:pt x="14593" y="6023"/>
                </a:moveTo>
                <a:lnTo>
                  <a:pt x="14600" y="6020"/>
                </a:lnTo>
                <a:lnTo>
                  <a:pt x="14604" y="6022"/>
                </a:lnTo>
                <a:lnTo>
                  <a:pt x="14607" y="6026"/>
                </a:lnTo>
                <a:lnTo>
                  <a:pt x="14611" y="6031"/>
                </a:lnTo>
                <a:lnTo>
                  <a:pt x="14605" y="6031"/>
                </a:lnTo>
                <a:lnTo>
                  <a:pt x="14597" y="6029"/>
                </a:lnTo>
                <a:lnTo>
                  <a:pt x="14592" y="6028"/>
                </a:lnTo>
                <a:lnTo>
                  <a:pt x="14593" y="6023"/>
                </a:lnTo>
                <a:close/>
                <a:moveTo>
                  <a:pt x="14688" y="5833"/>
                </a:moveTo>
                <a:lnTo>
                  <a:pt x="14685" y="5844"/>
                </a:lnTo>
                <a:lnTo>
                  <a:pt x="14679" y="5847"/>
                </a:lnTo>
                <a:lnTo>
                  <a:pt x="14671" y="5849"/>
                </a:lnTo>
                <a:lnTo>
                  <a:pt x="14662" y="5850"/>
                </a:lnTo>
                <a:lnTo>
                  <a:pt x="14667" y="5842"/>
                </a:lnTo>
                <a:lnTo>
                  <a:pt x="14674" y="5838"/>
                </a:lnTo>
                <a:lnTo>
                  <a:pt x="14680" y="5836"/>
                </a:lnTo>
                <a:lnTo>
                  <a:pt x="14688" y="5833"/>
                </a:lnTo>
                <a:close/>
                <a:moveTo>
                  <a:pt x="15133" y="6041"/>
                </a:moveTo>
                <a:lnTo>
                  <a:pt x="15136" y="6046"/>
                </a:lnTo>
                <a:lnTo>
                  <a:pt x="15135" y="6051"/>
                </a:lnTo>
                <a:lnTo>
                  <a:pt x="15132" y="6055"/>
                </a:lnTo>
                <a:lnTo>
                  <a:pt x="15128" y="6059"/>
                </a:lnTo>
                <a:lnTo>
                  <a:pt x="15127" y="6054"/>
                </a:lnTo>
                <a:lnTo>
                  <a:pt x="15127" y="6050"/>
                </a:lnTo>
                <a:lnTo>
                  <a:pt x="15128" y="6045"/>
                </a:lnTo>
                <a:lnTo>
                  <a:pt x="15133" y="6041"/>
                </a:lnTo>
                <a:close/>
                <a:moveTo>
                  <a:pt x="15587" y="6073"/>
                </a:moveTo>
                <a:lnTo>
                  <a:pt x="15592" y="6071"/>
                </a:lnTo>
                <a:lnTo>
                  <a:pt x="15593" y="6074"/>
                </a:lnTo>
                <a:lnTo>
                  <a:pt x="15590" y="6078"/>
                </a:lnTo>
                <a:lnTo>
                  <a:pt x="15587" y="6076"/>
                </a:lnTo>
                <a:lnTo>
                  <a:pt x="15587" y="6075"/>
                </a:lnTo>
                <a:lnTo>
                  <a:pt x="15587" y="6073"/>
                </a:lnTo>
                <a:close/>
                <a:moveTo>
                  <a:pt x="15644" y="6479"/>
                </a:moveTo>
                <a:lnTo>
                  <a:pt x="15655" y="6489"/>
                </a:lnTo>
                <a:lnTo>
                  <a:pt x="15643" y="6499"/>
                </a:lnTo>
                <a:lnTo>
                  <a:pt x="15624" y="6504"/>
                </a:lnTo>
                <a:lnTo>
                  <a:pt x="15611" y="6495"/>
                </a:lnTo>
                <a:lnTo>
                  <a:pt x="15629" y="6486"/>
                </a:lnTo>
                <a:lnTo>
                  <a:pt x="15644" y="6479"/>
                </a:lnTo>
                <a:close/>
                <a:moveTo>
                  <a:pt x="15649" y="6451"/>
                </a:moveTo>
                <a:lnTo>
                  <a:pt x="15645" y="6460"/>
                </a:lnTo>
                <a:lnTo>
                  <a:pt x="15640" y="6465"/>
                </a:lnTo>
                <a:lnTo>
                  <a:pt x="15635" y="6465"/>
                </a:lnTo>
                <a:lnTo>
                  <a:pt x="15630" y="6461"/>
                </a:lnTo>
                <a:lnTo>
                  <a:pt x="15630" y="6455"/>
                </a:lnTo>
                <a:lnTo>
                  <a:pt x="15635" y="6452"/>
                </a:lnTo>
                <a:lnTo>
                  <a:pt x="15641" y="6452"/>
                </a:lnTo>
                <a:lnTo>
                  <a:pt x="15649" y="6451"/>
                </a:lnTo>
                <a:close/>
                <a:moveTo>
                  <a:pt x="15622" y="6300"/>
                </a:moveTo>
                <a:lnTo>
                  <a:pt x="15641" y="6304"/>
                </a:lnTo>
                <a:lnTo>
                  <a:pt x="15662" y="6302"/>
                </a:lnTo>
                <a:lnTo>
                  <a:pt x="15673" y="6292"/>
                </a:lnTo>
                <a:lnTo>
                  <a:pt x="15667" y="6275"/>
                </a:lnTo>
                <a:lnTo>
                  <a:pt x="15709" y="6279"/>
                </a:lnTo>
                <a:lnTo>
                  <a:pt x="15678" y="6304"/>
                </a:lnTo>
                <a:lnTo>
                  <a:pt x="15631" y="6322"/>
                </a:lnTo>
                <a:lnTo>
                  <a:pt x="15622" y="6300"/>
                </a:lnTo>
                <a:close/>
                <a:moveTo>
                  <a:pt x="15720" y="6308"/>
                </a:moveTo>
                <a:lnTo>
                  <a:pt x="15714" y="6312"/>
                </a:lnTo>
                <a:lnTo>
                  <a:pt x="15708" y="6314"/>
                </a:lnTo>
                <a:lnTo>
                  <a:pt x="15704" y="6314"/>
                </a:lnTo>
                <a:lnTo>
                  <a:pt x="15701" y="6308"/>
                </a:lnTo>
                <a:lnTo>
                  <a:pt x="15706" y="6308"/>
                </a:lnTo>
                <a:lnTo>
                  <a:pt x="15713" y="6306"/>
                </a:lnTo>
                <a:lnTo>
                  <a:pt x="15718" y="6306"/>
                </a:lnTo>
                <a:lnTo>
                  <a:pt x="15720" y="6308"/>
                </a:lnTo>
                <a:close/>
                <a:moveTo>
                  <a:pt x="15818" y="6434"/>
                </a:moveTo>
                <a:lnTo>
                  <a:pt x="15798" y="6446"/>
                </a:lnTo>
                <a:lnTo>
                  <a:pt x="15773" y="6451"/>
                </a:lnTo>
                <a:lnTo>
                  <a:pt x="15746" y="6449"/>
                </a:lnTo>
                <a:lnTo>
                  <a:pt x="15724" y="6443"/>
                </a:lnTo>
                <a:lnTo>
                  <a:pt x="15748" y="6434"/>
                </a:lnTo>
                <a:lnTo>
                  <a:pt x="15776" y="6430"/>
                </a:lnTo>
                <a:lnTo>
                  <a:pt x="15801" y="6430"/>
                </a:lnTo>
                <a:lnTo>
                  <a:pt x="15818" y="6434"/>
                </a:lnTo>
                <a:close/>
                <a:moveTo>
                  <a:pt x="15750" y="6269"/>
                </a:moveTo>
                <a:lnTo>
                  <a:pt x="15742" y="6276"/>
                </a:lnTo>
                <a:lnTo>
                  <a:pt x="15736" y="6284"/>
                </a:lnTo>
                <a:lnTo>
                  <a:pt x="15734" y="6274"/>
                </a:lnTo>
                <a:lnTo>
                  <a:pt x="15737" y="6270"/>
                </a:lnTo>
                <a:lnTo>
                  <a:pt x="15742" y="6267"/>
                </a:lnTo>
                <a:lnTo>
                  <a:pt x="15750" y="6269"/>
                </a:lnTo>
                <a:close/>
                <a:moveTo>
                  <a:pt x="15764" y="6400"/>
                </a:moveTo>
                <a:lnTo>
                  <a:pt x="15767" y="6404"/>
                </a:lnTo>
                <a:lnTo>
                  <a:pt x="15767" y="6407"/>
                </a:lnTo>
                <a:lnTo>
                  <a:pt x="15766" y="6411"/>
                </a:lnTo>
                <a:lnTo>
                  <a:pt x="15762" y="6418"/>
                </a:lnTo>
                <a:lnTo>
                  <a:pt x="15760" y="6411"/>
                </a:lnTo>
                <a:lnTo>
                  <a:pt x="15760" y="6407"/>
                </a:lnTo>
                <a:lnTo>
                  <a:pt x="15761" y="6404"/>
                </a:lnTo>
                <a:lnTo>
                  <a:pt x="15764" y="6400"/>
                </a:lnTo>
                <a:close/>
                <a:moveTo>
                  <a:pt x="15803" y="6384"/>
                </a:moveTo>
                <a:lnTo>
                  <a:pt x="15797" y="6386"/>
                </a:lnTo>
                <a:lnTo>
                  <a:pt x="15803" y="6384"/>
                </a:lnTo>
                <a:lnTo>
                  <a:pt x="15803" y="6391"/>
                </a:lnTo>
                <a:lnTo>
                  <a:pt x="15798" y="6393"/>
                </a:lnTo>
                <a:lnTo>
                  <a:pt x="15796" y="6391"/>
                </a:lnTo>
                <a:lnTo>
                  <a:pt x="15803" y="6384"/>
                </a:lnTo>
                <a:close/>
                <a:moveTo>
                  <a:pt x="15832" y="6491"/>
                </a:moveTo>
                <a:lnTo>
                  <a:pt x="15835" y="6495"/>
                </a:lnTo>
                <a:lnTo>
                  <a:pt x="15835" y="6498"/>
                </a:lnTo>
                <a:lnTo>
                  <a:pt x="15834" y="6502"/>
                </a:lnTo>
                <a:lnTo>
                  <a:pt x="15831" y="6508"/>
                </a:lnTo>
                <a:lnTo>
                  <a:pt x="15829" y="6500"/>
                </a:lnTo>
                <a:lnTo>
                  <a:pt x="15827" y="6495"/>
                </a:lnTo>
                <a:lnTo>
                  <a:pt x="15829" y="6493"/>
                </a:lnTo>
                <a:lnTo>
                  <a:pt x="15832" y="6491"/>
                </a:lnTo>
                <a:close/>
                <a:moveTo>
                  <a:pt x="15689" y="6442"/>
                </a:moveTo>
                <a:lnTo>
                  <a:pt x="15694" y="6434"/>
                </a:lnTo>
                <a:lnTo>
                  <a:pt x="15699" y="6430"/>
                </a:lnTo>
                <a:lnTo>
                  <a:pt x="15704" y="6430"/>
                </a:lnTo>
                <a:lnTo>
                  <a:pt x="15710" y="6433"/>
                </a:lnTo>
                <a:lnTo>
                  <a:pt x="15706" y="6441"/>
                </a:lnTo>
                <a:lnTo>
                  <a:pt x="15701" y="6444"/>
                </a:lnTo>
                <a:lnTo>
                  <a:pt x="15695" y="6444"/>
                </a:lnTo>
                <a:lnTo>
                  <a:pt x="15689" y="6442"/>
                </a:lnTo>
                <a:close/>
                <a:moveTo>
                  <a:pt x="15659" y="6745"/>
                </a:moveTo>
                <a:lnTo>
                  <a:pt x="15672" y="6750"/>
                </a:lnTo>
                <a:lnTo>
                  <a:pt x="15676" y="6754"/>
                </a:lnTo>
                <a:lnTo>
                  <a:pt x="15672" y="6759"/>
                </a:lnTo>
                <a:lnTo>
                  <a:pt x="15658" y="6765"/>
                </a:lnTo>
                <a:lnTo>
                  <a:pt x="15659" y="6755"/>
                </a:lnTo>
                <a:lnTo>
                  <a:pt x="15659" y="6745"/>
                </a:lnTo>
                <a:close/>
                <a:moveTo>
                  <a:pt x="15752" y="6765"/>
                </a:moveTo>
                <a:lnTo>
                  <a:pt x="15755" y="6766"/>
                </a:lnTo>
                <a:lnTo>
                  <a:pt x="15755" y="6769"/>
                </a:lnTo>
                <a:lnTo>
                  <a:pt x="15753" y="6771"/>
                </a:lnTo>
                <a:lnTo>
                  <a:pt x="15751" y="6775"/>
                </a:lnTo>
                <a:lnTo>
                  <a:pt x="15748" y="6773"/>
                </a:lnTo>
                <a:lnTo>
                  <a:pt x="15747" y="6770"/>
                </a:lnTo>
                <a:lnTo>
                  <a:pt x="15748" y="6768"/>
                </a:lnTo>
                <a:lnTo>
                  <a:pt x="15752" y="6765"/>
                </a:lnTo>
                <a:close/>
                <a:moveTo>
                  <a:pt x="15462" y="7305"/>
                </a:moveTo>
                <a:lnTo>
                  <a:pt x="15466" y="7307"/>
                </a:lnTo>
                <a:lnTo>
                  <a:pt x="15464" y="7309"/>
                </a:lnTo>
                <a:lnTo>
                  <a:pt x="15463" y="7309"/>
                </a:lnTo>
                <a:lnTo>
                  <a:pt x="15462" y="7307"/>
                </a:lnTo>
                <a:lnTo>
                  <a:pt x="15462" y="7305"/>
                </a:lnTo>
                <a:close/>
                <a:moveTo>
                  <a:pt x="15361" y="7573"/>
                </a:moveTo>
                <a:lnTo>
                  <a:pt x="15355" y="7575"/>
                </a:lnTo>
                <a:lnTo>
                  <a:pt x="15349" y="7576"/>
                </a:lnTo>
                <a:lnTo>
                  <a:pt x="15350" y="7572"/>
                </a:lnTo>
                <a:lnTo>
                  <a:pt x="15352" y="7572"/>
                </a:lnTo>
                <a:lnTo>
                  <a:pt x="15357" y="7573"/>
                </a:lnTo>
                <a:lnTo>
                  <a:pt x="15361" y="7573"/>
                </a:lnTo>
                <a:close/>
                <a:moveTo>
                  <a:pt x="15114" y="7962"/>
                </a:moveTo>
                <a:lnTo>
                  <a:pt x="15117" y="7964"/>
                </a:lnTo>
                <a:lnTo>
                  <a:pt x="15114" y="7964"/>
                </a:lnTo>
                <a:lnTo>
                  <a:pt x="15114" y="7964"/>
                </a:lnTo>
                <a:lnTo>
                  <a:pt x="15114" y="7963"/>
                </a:lnTo>
                <a:lnTo>
                  <a:pt x="15114" y="7962"/>
                </a:lnTo>
                <a:close/>
                <a:moveTo>
                  <a:pt x="15151" y="7965"/>
                </a:moveTo>
                <a:lnTo>
                  <a:pt x="15151" y="7967"/>
                </a:lnTo>
                <a:lnTo>
                  <a:pt x="15151" y="7967"/>
                </a:lnTo>
                <a:lnTo>
                  <a:pt x="15150" y="7968"/>
                </a:lnTo>
                <a:lnTo>
                  <a:pt x="15149" y="7967"/>
                </a:lnTo>
                <a:lnTo>
                  <a:pt x="15149" y="7965"/>
                </a:lnTo>
                <a:lnTo>
                  <a:pt x="15149" y="7965"/>
                </a:lnTo>
                <a:lnTo>
                  <a:pt x="15150" y="7964"/>
                </a:lnTo>
                <a:lnTo>
                  <a:pt x="15151" y="7965"/>
                </a:lnTo>
                <a:close/>
                <a:moveTo>
                  <a:pt x="15194" y="7856"/>
                </a:moveTo>
                <a:lnTo>
                  <a:pt x="15187" y="7857"/>
                </a:lnTo>
                <a:lnTo>
                  <a:pt x="15180" y="7859"/>
                </a:lnTo>
                <a:lnTo>
                  <a:pt x="15173" y="7857"/>
                </a:lnTo>
                <a:lnTo>
                  <a:pt x="15168" y="7855"/>
                </a:lnTo>
                <a:lnTo>
                  <a:pt x="15182" y="7855"/>
                </a:lnTo>
                <a:lnTo>
                  <a:pt x="15194" y="7856"/>
                </a:lnTo>
                <a:close/>
                <a:moveTo>
                  <a:pt x="15180" y="7833"/>
                </a:moveTo>
                <a:lnTo>
                  <a:pt x="15179" y="7833"/>
                </a:lnTo>
                <a:lnTo>
                  <a:pt x="15180" y="7833"/>
                </a:lnTo>
                <a:lnTo>
                  <a:pt x="15179" y="7834"/>
                </a:lnTo>
                <a:lnTo>
                  <a:pt x="15180" y="7833"/>
                </a:lnTo>
                <a:close/>
                <a:moveTo>
                  <a:pt x="15221" y="7867"/>
                </a:moveTo>
                <a:lnTo>
                  <a:pt x="15224" y="7869"/>
                </a:lnTo>
                <a:lnTo>
                  <a:pt x="15224" y="7869"/>
                </a:lnTo>
                <a:lnTo>
                  <a:pt x="15224" y="7870"/>
                </a:lnTo>
                <a:lnTo>
                  <a:pt x="15221" y="7870"/>
                </a:lnTo>
                <a:lnTo>
                  <a:pt x="15219" y="7870"/>
                </a:lnTo>
                <a:lnTo>
                  <a:pt x="15219" y="7869"/>
                </a:lnTo>
                <a:lnTo>
                  <a:pt x="15219" y="7867"/>
                </a:lnTo>
                <a:lnTo>
                  <a:pt x="15221" y="7867"/>
                </a:lnTo>
                <a:close/>
                <a:moveTo>
                  <a:pt x="15256" y="7860"/>
                </a:moveTo>
                <a:lnTo>
                  <a:pt x="15258" y="7860"/>
                </a:lnTo>
                <a:lnTo>
                  <a:pt x="15261" y="7860"/>
                </a:lnTo>
                <a:lnTo>
                  <a:pt x="15262" y="7861"/>
                </a:lnTo>
                <a:lnTo>
                  <a:pt x="15262" y="7864"/>
                </a:lnTo>
                <a:lnTo>
                  <a:pt x="15259" y="7864"/>
                </a:lnTo>
                <a:lnTo>
                  <a:pt x="15256" y="7864"/>
                </a:lnTo>
                <a:lnTo>
                  <a:pt x="15254" y="7862"/>
                </a:lnTo>
                <a:lnTo>
                  <a:pt x="15256" y="7860"/>
                </a:lnTo>
                <a:close/>
                <a:moveTo>
                  <a:pt x="15268" y="8067"/>
                </a:moveTo>
                <a:lnTo>
                  <a:pt x="15270" y="8069"/>
                </a:lnTo>
                <a:lnTo>
                  <a:pt x="15270" y="8070"/>
                </a:lnTo>
                <a:lnTo>
                  <a:pt x="15268" y="8071"/>
                </a:lnTo>
                <a:lnTo>
                  <a:pt x="15267" y="8072"/>
                </a:lnTo>
                <a:lnTo>
                  <a:pt x="15266" y="8071"/>
                </a:lnTo>
                <a:lnTo>
                  <a:pt x="15266" y="8070"/>
                </a:lnTo>
                <a:lnTo>
                  <a:pt x="15267" y="8069"/>
                </a:lnTo>
                <a:lnTo>
                  <a:pt x="15268" y="8067"/>
                </a:lnTo>
                <a:close/>
                <a:moveTo>
                  <a:pt x="15300" y="8067"/>
                </a:moveTo>
                <a:lnTo>
                  <a:pt x="15305" y="8067"/>
                </a:lnTo>
                <a:lnTo>
                  <a:pt x="15310" y="8070"/>
                </a:lnTo>
                <a:lnTo>
                  <a:pt x="15305" y="8075"/>
                </a:lnTo>
                <a:lnTo>
                  <a:pt x="15299" y="8074"/>
                </a:lnTo>
                <a:lnTo>
                  <a:pt x="15296" y="8070"/>
                </a:lnTo>
                <a:lnTo>
                  <a:pt x="15300" y="8067"/>
                </a:lnTo>
                <a:close/>
                <a:moveTo>
                  <a:pt x="15341" y="8065"/>
                </a:moveTo>
                <a:lnTo>
                  <a:pt x="15351" y="8061"/>
                </a:lnTo>
                <a:lnTo>
                  <a:pt x="15355" y="8061"/>
                </a:lnTo>
                <a:lnTo>
                  <a:pt x="15354" y="8065"/>
                </a:lnTo>
                <a:lnTo>
                  <a:pt x="15347" y="8072"/>
                </a:lnTo>
                <a:lnTo>
                  <a:pt x="15343" y="8072"/>
                </a:lnTo>
                <a:lnTo>
                  <a:pt x="15341" y="8071"/>
                </a:lnTo>
                <a:lnTo>
                  <a:pt x="15340" y="8067"/>
                </a:lnTo>
                <a:lnTo>
                  <a:pt x="15341" y="8065"/>
                </a:lnTo>
                <a:close/>
                <a:moveTo>
                  <a:pt x="14256" y="8415"/>
                </a:moveTo>
                <a:lnTo>
                  <a:pt x="14258" y="8416"/>
                </a:lnTo>
                <a:lnTo>
                  <a:pt x="14257" y="8417"/>
                </a:lnTo>
                <a:lnTo>
                  <a:pt x="14256" y="8417"/>
                </a:lnTo>
                <a:lnTo>
                  <a:pt x="14256" y="8417"/>
                </a:lnTo>
                <a:lnTo>
                  <a:pt x="14256" y="8415"/>
                </a:lnTo>
                <a:close/>
                <a:moveTo>
                  <a:pt x="12532" y="259"/>
                </a:moveTo>
                <a:lnTo>
                  <a:pt x="12539" y="255"/>
                </a:lnTo>
                <a:lnTo>
                  <a:pt x="12532" y="259"/>
                </a:lnTo>
                <a:lnTo>
                  <a:pt x="12530" y="253"/>
                </a:lnTo>
                <a:lnTo>
                  <a:pt x="12535" y="248"/>
                </a:lnTo>
                <a:lnTo>
                  <a:pt x="12538" y="249"/>
                </a:lnTo>
                <a:lnTo>
                  <a:pt x="12532" y="259"/>
                </a:lnTo>
                <a:close/>
                <a:moveTo>
                  <a:pt x="12529" y="190"/>
                </a:moveTo>
                <a:lnTo>
                  <a:pt x="12538" y="199"/>
                </a:lnTo>
                <a:lnTo>
                  <a:pt x="12540" y="207"/>
                </a:lnTo>
                <a:lnTo>
                  <a:pt x="12538" y="213"/>
                </a:lnTo>
                <a:lnTo>
                  <a:pt x="12528" y="224"/>
                </a:lnTo>
                <a:lnTo>
                  <a:pt x="12528" y="208"/>
                </a:lnTo>
                <a:lnTo>
                  <a:pt x="12529" y="190"/>
                </a:lnTo>
                <a:close/>
                <a:moveTo>
                  <a:pt x="12514" y="269"/>
                </a:moveTo>
                <a:lnTo>
                  <a:pt x="12511" y="264"/>
                </a:lnTo>
                <a:lnTo>
                  <a:pt x="12507" y="259"/>
                </a:lnTo>
                <a:lnTo>
                  <a:pt x="12506" y="254"/>
                </a:lnTo>
                <a:lnTo>
                  <a:pt x="12510" y="250"/>
                </a:lnTo>
                <a:lnTo>
                  <a:pt x="12512" y="255"/>
                </a:lnTo>
                <a:lnTo>
                  <a:pt x="12516" y="260"/>
                </a:lnTo>
                <a:lnTo>
                  <a:pt x="12518" y="266"/>
                </a:lnTo>
                <a:lnTo>
                  <a:pt x="12514" y="269"/>
                </a:lnTo>
                <a:close/>
                <a:moveTo>
                  <a:pt x="12472" y="203"/>
                </a:moveTo>
                <a:lnTo>
                  <a:pt x="12446" y="189"/>
                </a:lnTo>
                <a:lnTo>
                  <a:pt x="12437" y="179"/>
                </a:lnTo>
                <a:lnTo>
                  <a:pt x="12447" y="169"/>
                </a:lnTo>
                <a:lnTo>
                  <a:pt x="12475" y="154"/>
                </a:lnTo>
                <a:lnTo>
                  <a:pt x="12467" y="173"/>
                </a:lnTo>
                <a:lnTo>
                  <a:pt x="12475" y="173"/>
                </a:lnTo>
                <a:lnTo>
                  <a:pt x="12484" y="176"/>
                </a:lnTo>
                <a:lnTo>
                  <a:pt x="12472" y="203"/>
                </a:lnTo>
                <a:close/>
                <a:moveTo>
                  <a:pt x="12352" y="126"/>
                </a:moveTo>
                <a:lnTo>
                  <a:pt x="12358" y="113"/>
                </a:lnTo>
                <a:lnTo>
                  <a:pt x="12366" y="104"/>
                </a:lnTo>
                <a:lnTo>
                  <a:pt x="12377" y="98"/>
                </a:lnTo>
                <a:lnTo>
                  <a:pt x="12390" y="96"/>
                </a:lnTo>
                <a:lnTo>
                  <a:pt x="12388" y="110"/>
                </a:lnTo>
                <a:lnTo>
                  <a:pt x="12383" y="118"/>
                </a:lnTo>
                <a:lnTo>
                  <a:pt x="12371" y="122"/>
                </a:lnTo>
                <a:lnTo>
                  <a:pt x="12352" y="126"/>
                </a:lnTo>
                <a:close/>
                <a:moveTo>
                  <a:pt x="12356" y="34"/>
                </a:moveTo>
                <a:lnTo>
                  <a:pt x="12356" y="44"/>
                </a:lnTo>
                <a:lnTo>
                  <a:pt x="12353" y="49"/>
                </a:lnTo>
                <a:lnTo>
                  <a:pt x="12348" y="53"/>
                </a:lnTo>
                <a:lnTo>
                  <a:pt x="12337" y="56"/>
                </a:lnTo>
                <a:lnTo>
                  <a:pt x="12338" y="48"/>
                </a:lnTo>
                <a:lnTo>
                  <a:pt x="12341" y="40"/>
                </a:lnTo>
                <a:lnTo>
                  <a:pt x="12347" y="36"/>
                </a:lnTo>
                <a:lnTo>
                  <a:pt x="12356" y="34"/>
                </a:lnTo>
                <a:close/>
                <a:moveTo>
                  <a:pt x="12059" y="85"/>
                </a:moveTo>
                <a:lnTo>
                  <a:pt x="12074" y="80"/>
                </a:lnTo>
                <a:lnTo>
                  <a:pt x="12091" y="73"/>
                </a:lnTo>
                <a:lnTo>
                  <a:pt x="12087" y="87"/>
                </a:lnTo>
                <a:lnTo>
                  <a:pt x="12079" y="92"/>
                </a:lnTo>
                <a:lnTo>
                  <a:pt x="12071" y="91"/>
                </a:lnTo>
                <a:lnTo>
                  <a:pt x="12059" y="85"/>
                </a:lnTo>
                <a:close/>
                <a:moveTo>
                  <a:pt x="12030" y="113"/>
                </a:moveTo>
                <a:lnTo>
                  <a:pt x="12031" y="101"/>
                </a:lnTo>
                <a:lnTo>
                  <a:pt x="12034" y="96"/>
                </a:lnTo>
                <a:lnTo>
                  <a:pt x="12041" y="95"/>
                </a:lnTo>
                <a:lnTo>
                  <a:pt x="12057" y="98"/>
                </a:lnTo>
                <a:lnTo>
                  <a:pt x="12041" y="106"/>
                </a:lnTo>
                <a:lnTo>
                  <a:pt x="12030" y="113"/>
                </a:lnTo>
                <a:close/>
                <a:moveTo>
                  <a:pt x="11978" y="154"/>
                </a:moveTo>
                <a:lnTo>
                  <a:pt x="11989" y="147"/>
                </a:lnTo>
                <a:lnTo>
                  <a:pt x="11999" y="142"/>
                </a:lnTo>
                <a:lnTo>
                  <a:pt x="12009" y="136"/>
                </a:lnTo>
                <a:lnTo>
                  <a:pt x="12021" y="131"/>
                </a:lnTo>
                <a:lnTo>
                  <a:pt x="12012" y="147"/>
                </a:lnTo>
                <a:lnTo>
                  <a:pt x="12004" y="156"/>
                </a:lnTo>
                <a:lnTo>
                  <a:pt x="11994" y="157"/>
                </a:lnTo>
                <a:lnTo>
                  <a:pt x="11978" y="154"/>
                </a:lnTo>
                <a:close/>
                <a:moveTo>
                  <a:pt x="12014" y="39"/>
                </a:moveTo>
                <a:lnTo>
                  <a:pt x="12007" y="47"/>
                </a:lnTo>
                <a:lnTo>
                  <a:pt x="12000" y="52"/>
                </a:lnTo>
                <a:lnTo>
                  <a:pt x="11997" y="53"/>
                </a:lnTo>
                <a:lnTo>
                  <a:pt x="11993" y="49"/>
                </a:lnTo>
                <a:lnTo>
                  <a:pt x="12000" y="45"/>
                </a:lnTo>
                <a:lnTo>
                  <a:pt x="12014" y="39"/>
                </a:lnTo>
                <a:close/>
                <a:moveTo>
                  <a:pt x="11272" y="686"/>
                </a:moveTo>
                <a:lnTo>
                  <a:pt x="11261" y="677"/>
                </a:lnTo>
                <a:lnTo>
                  <a:pt x="11263" y="665"/>
                </a:lnTo>
                <a:lnTo>
                  <a:pt x="11277" y="656"/>
                </a:lnTo>
                <a:lnTo>
                  <a:pt x="11294" y="650"/>
                </a:lnTo>
                <a:lnTo>
                  <a:pt x="11284" y="669"/>
                </a:lnTo>
                <a:lnTo>
                  <a:pt x="11272" y="686"/>
                </a:lnTo>
                <a:close/>
                <a:moveTo>
                  <a:pt x="11234" y="692"/>
                </a:moveTo>
                <a:lnTo>
                  <a:pt x="11245" y="683"/>
                </a:lnTo>
                <a:lnTo>
                  <a:pt x="11255" y="675"/>
                </a:lnTo>
                <a:lnTo>
                  <a:pt x="11253" y="688"/>
                </a:lnTo>
                <a:lnTo>
                  <a:pt x="11250" y="693"/>
                </a:lnTo>
                <a:lnTo>
                  <a:pt x="11244" y="695"/>
                </a:lnTo>
                <a:lnTo>
                  <a:pt x="11234" y="692"/>
                </a:lnTo>
                <a:close/>
                <a:moveTo>
                  <a:pt x="11155" y="688"/>
                </a:moveTo>
                <a:lnTo>
                  <a:pt x="11169" y="668"/>
                </a:lnTo>
                <a:lnTo>
                  <a:pt x="11205" y="645"/>
                </a:lnTo>
                <a:lnTo>
                  <a:pt x="11245" y="618"/>
                </a:lnTo>
                <a:lnTo>
                  <a:pt x="11276" y="590"/>
                </a:lnTo>
                <a:lnTo>
                  <a:pt x="11286" y="609"/>
                </a:lnTo>
                <a:lnTo>
                  <a:pt x="11248" y="640"/>
                </a:lnTo>
                <a:lnTo>
                  <a:pt x="11194" y="669"/>
                </a:lnTo>
                <a:lnTo>
                  <a:pt x="11155" y="688"/>
                </a:lnTo>
                <a:close/>
                <a:moveTo>
                  <a:pt x="11131" y="773"/>
                </a:moveTo>
                <a:lnTo>
                  <a:pt x="11120" y="754"/>
                </a:lnTo>
                <a:lnTo>
                  <a:pt x="11128" y="738"/>
                </a:lnTo>
                <a:lnTo>
                  <a:pt x="11147" y="721"/>
                </a:lnTo>
                <a:lnTo>
                  <a:pt x="11174" y="710"/>
                </a:lnTo>
                <a:lnTo>
                  <a:pt x="11169" y="733"/>
                </a:lnTo>
                <a:lnTo>
                  <a:pt x="11156" y="745"/>
                </a:lnTo>
                <a:lnTo>
                  <a:pt x="11140" y="757"/>
                </a:lnTo>
                <a:lnTo>
                  <a:pt x="11131" y="773"/>
                </a:lnTo>
                <a:close/>
                <a:moveTo>
                  <a:pt x="10974" y="10043"/>
                </a:moveTo>
                <a:lnTo>
                  <a:pt x="10978" y="10042"/>
                </a:lnTo>
                <a:lnTo>
                  <a:pt x="10978" y="10043"/>
                </a:lnTo>
                <a:lnTo>
                  <a:pt x="10977" y="10043"/>
                </a:lnTo>
                <a:lnTo>
                  <a:pt x="10975" y="10043"/>
                </a:lnTo>
                <a:lnTo>
                  <a:pt x="10974" y="10043"/>
                </a:lnTo>
                <a:close/>
                <a:moveTo>
                  <a:pt x="10772" y="10151"/>
                </a:moveTo>
                <a:lnTo>
                  <a:pt x="10816" y="10122"/>
                </a:lnTo>
                <a:lnTo>
                  <a:pt x="10862" y="10098"/>
                </a:lnTo>
                <a:lnTo>
                  <a:pt x="10908" y="10076"/>
                </a:lnTo>
                <a:lnTo>
                  <a:pt x="10954" y="10052"/>
                </a:lnTo>
                <a:lnTo>
                  <a:pt x="10921" y="10079"/>
                </a:lnTo>
                <a:lnTo>
                  <a:pt x="10875" y="10107"/>
                </a:lnTo>
                <a:lnTo>
                  <a:pt x="10822" y="10133"/>
                </a:lnTo>
                <a:lnTo>
                  <a:pt x="10772" y="10151"/>
                </a:lnTo>
                <a:close/>
                <a:moveTo>
                  <a:pt x="10732" y="10168"/>
                </a:moveTo>
                <a:lnTo>
                  <a:pt x="10740" y="10165"/>
                </a:lnTo>
                <a:lnTo>
                  <a:pt x="10747" y="10161"/>
                </a:lnTo>
                <a:lnTo>
                  <a:pt x="10745" y="10166"/>
                </a:lnTo>
                <a:lnTo>
                  <a:pt x="10741" y="10168"/>
                </a:lnTo>
                <a:lnTo>
                  <a:pt x="10736" y="10168"/>
                </a:lnTo>
                <a:lnTo>
                  <a:pt x="10732" y="10168"/>
                </a:lnTo>
                <a:close/>
                <a:moveTo>
                  <a:pt x="10728" y="10175"/>
                </a:moveTo>
                <a:lnTo>
                  <a:pt x="10727" y="10177"/>
                </a:lnTo>
                <a:lnTo>
                  <a:pt x="10727" y="10174"/>
                </a:lnTo>
                <a:lnTo>
                  <a:pt x="10730" y="10171"/>
                </a:lnTo>
                <a:lnTo>
                  <a:pt x="10731" y="10169"/>
                </a:lnTo>
                <a:lnTo>
                  <a:pt x="10730" y="10173"/>
                </a:lnTo>
                <a:lnTo>
                  <a:pt x="10728" y="10175"/>
                </a:lnTo>
                <a:close/>
                <a:moveTo>
                  <a:pt x="10325" y="10233"/>
                </a:moveTo>
                <a:lnTo>
                  <a:pt x="10327" y="10227"/>
                </a:lnTo>
                <a:lnTo>
                  <a:pt x="10327" y="10227"/>
                </a:lnTo>
                <a:lnTo>
                  <a:pt x="10326" y="10229"/>
                </a:lnTo>
                <a:lnTo>
                  <a:pt x="10325" y="10233"/>
                </a:lnTo>
                <a:lnTo>
                  <a:pt x="10322" y="10229"/>
                </a:lnTo>
                <a:lnTo>
                  <a:pt x="10322" y="10224"/>
                </a:lnTo>
                <a:lnTo>
                  <a:pt x="10325" y="10224"/>
                </a:lnTo>
                <a:lnTo>
                  <a:pt x="10325" y="10233"/>
                </a:lnTo>
                <a:close/>
                <a:moveTo>
                  <a:pt x="10257" y="10322"/>
                </a:moveTo>
                <a:lnTo>
                  <a:pt x="10232" y="10359"/>
                </a:lnTo>
                <a:lnTo>
                  <a:pt x="10228" y="10347"/>
                </a:lnTo>
                <a:lnTo>
                  <a:pt x="10241" y="10315"/>
                </a:lnTo>
                <a:lnTo>
                  <a:pt x="10267" y="10290"/>
                </a:lnTo>
                <a:lnTo>
                  <a:pt x="10293" y="10280"/>
                </a:lnTo>
                <a:lnTo>
                  <a:pt x="10293" y="10290"/>
                </a:lnTo>
                <a:lnTo>
                  <a:pt x="10277" y="10308"/>
                </a:lnTo>
                <a:lnTo>
                  <a:pt x="10257" y="10322"/>
                </a:lnTo>
                <a:close/>
                <a:moveTo>
                  <a:pt x="10072" y="10315"/>
                </a:moveTo>
                <a:lnTo>
                  <a:pt x="10072" y="10313"/>
                </a:lnTo>
                <a:lnTo>
                  <a:pt x="10072" y="10313"/>
                </a:lnTo>
                <a:lnTo>
                  <a:pt x="10074" y="10313"/>
                </a:lnTo>
                <a:lnTo>
                  <a:pt x="10076" y="10313"/>
                </a:lnTo>
                <a:lnTo>
                  <a:pt x="10072" y="10315"/>
                </a:lnTo>
                <a:close/>
                <a:moveTo>
                  <a:pt x="10042" y="10604"/>
                </a:moveTo>
                <a:lnTo>
                  <a:pt x="10047" y="10595"/>
                </a:lnTo>
                <a:lnTo>
                  <a:pt x="10053" y="10586"/>
                </a:lnTo>
                <a:lnTo>
                  <a:pt x="10060" y="10579"/>
                </a:lnTo>
                <a:lnTo>
                  <a:pt x="10070" y="10574"/>
                </a:lnTo>
                <a:lnTo>
                  <a:pt x="10056" y="10589"/>
                </a:lnTo>
                <a:lnTo>
                  <a:pt x="10042" y="10604"/>
                </a:lnTo>
                <a:close/>
                <a:moveTo>
                  <a:pt x="10061" y="10528"/>
                </a:moveTo>
                <a:lnTo>
                  <a:pt x="10057" y="10533"/>
                </a:lnTo>
                <a:lnTo>
                  <a:pt x="10052" y="10539"/>
                </a:lnTo>
                <a:lnTo>
                  <a:pt x="10053" y="10534"/>
                </a:lnTo>
                <a:lnTo>
                  <a:pt x="10055" y="10530"/>
                </a:lnTo>
                <a:lnTo>
                  <a:pt x="10057" y="10528"/>
                </a:lnTo>
                <a:lnTo>
                  <a:pt x="10061" y="10528"/>
                </a:lnTo>
                <a:close/>
                <a:moveTo>
                  <a:pt x="10033" y="10374"/>
                </a:moveTo>
                <a:lnTo>
                  <a:pt x="10038" y="10359"/>
                </a:lnTo>
                <a:lnTo>
                  <a:pt x="10043" y="10350"/>
                </a:lnTo>
                <a:lnTo>
                  <a:pt x="10049" y="10346"/>
                </a:lnTo>
                <a:lnTo>
                  <a:pt x="10061" y="10342"/>
                </a:lnTo>
                <a:lnTo>
                  <a:pt x="10056" y="10351"/>
                </a:lnTo>
                <a:lnTo>
                  <a:pt x="10049" y="10360"/>
                </a:lnTo>
                <a:lnTo>
                  <a:pt x="10042" y="10369"/>
                </a:lnTo>
                <a:lnTo>
                  <a:pt x="10033" y="10374"/>
                </a:lnTo>
                <a:close/>
                <a:moveTo>
                  <a:pt x="10024" y="10640"/>
                </a:moveTo>
                <a:lnTo>
                  <a:pt x="10024" y="10631"/>
                </a:lnTo>
                <a:lnTo>
                  <a:pt x="10025" y="10625"/>
                </a:lnTo>
                <a:lnTo>
                  <a:pt x="10029" y="10617"/>
                </a:lnTo>
                <a:lnTo>
                  <a:pt x="10034" y="10611"/>
                </a:lnTo>
                <a:lnTo>
                  <a:pt x="10029" y="10626"/>
                </a:lnTo>
                <a:lnTo>
                  <a:pt x="10024" y="10640"/>
                </a:lnTo>
                <a:close/>
                <a:moveTo>
                  <a:pt x="10013" y="10336"/>
                </a:moveTo>
                <a:lnTo>
                  <a:pt x="10014" y="10336"/>
                </a:lnTo>
                <a:lnTo>
                  <a:pt x="10015" y="10334"/>
                </a:lnTo>
                <a:lnTo>
                  <a:pt x="10015" y="10336"/>
                </a:lnTo>
                <a:lnTo>
                  <a:pt x="10015" y="10337"/>
                </a:lnTo>
                <a:lnTo>
                  <a:pt x="10014" y="10337"/>
                </a:lnTo>
                <a:lnTo>
                  <a:pt x="10013" y="10336"/>
                </a:lnTo>
                <a:close/>
                <a:moveTo>
                  <a:pt x="9965" y="10416"/>
                </a:moveTo>
                <a:lnTo>
                  <a:pt x="9921" y="10473"/>
                </a:lnTo>
                <a:lnTo>
                  <a:pt x="9907" y="10488"/>
                </a:lnTo>
                <a:lnTo>
                  <a:pt x="9909" y="10477"/>
                </a:lnTo>
                <a:lnTo>
                  <a:pt x="9912" y="10457"/>
                </a:lnTo>
                <a:lnTo>
                  <a:pt x="9923" y="10422"/>
                </a:lnTo>
                <a:lnTo>
                  <a:pt x="9950" y="10392"/>
                </a:lnTo>
                <a:lnTo>
                  <a:pt x="9972" y="10384"/>
                </a:lnTo>
                <a:lnTo>
                  <a:pt x="9965" y="10416"/>
                </a:lnTo>
                <a:close/>
                <a:moveTo>
                  <a:pt x="9888" y="10095"/>
                </a:moveTo>
                <a:lnTo>
                  <a:pt x="9889" y="10095"/>
                </a:lnTo>
                <a:lnTo>
                  <a:pt x="9889" y="10095"/>
                </a:lnTo>
                <a:lnTo>
                  <a:pt x="9888" y="10095"/>
                </a:lnTo>
                <a:close/>
                <a:moveTo>
                  <a:pt x="9855" y="10122"/>
                </a:moveTo>
                <a:lnTo>
                  <a:pt x="9855" y="10121"/>
                </a:lnTo>
                <a:lnTo>
                  <a:pt x="9855" y="10119"/>
                </a:lnTo>
                <a:lnTo>
                  <a:pt x="9856" y="10119"/>
                </a:lnTo>
                <a:lnTo>
                  <a:pt x="9857" y="10121"/>
                </a:lnTo>
                <a:lnTo>
                  <a:pt x="9855" y="10122"/>
                </a:lnTo>
                <a:close/>
                <a:moveTo>
                  <a:pt x="9839" y="10174"/>
                </a:moveTo>
                <a:lnTo>
                  <a:pt x="9816" y="10206"/>
                </a:lnTo>
                <a:lnTo>
                  <a:pt x="9800" y="10229"/>
                </a:lnTo>
                <a:lnTo>
                  <a:pt x="9786" y="10248"/>
                </a:lnTo>
                <a:lnTo>
                  <a:pt x="9767" y="10266"/>
                </a:lnTo>
                <a:lnTo>
                  <a:pt x="9778" y="10221"/>
                </a:lnTo>
                <a:lnTo>
                  <a:pt x="9810" y="10169"/>
                </a:lnTo>
                <a:lnTo>
                  <a:pt x="9839" y="10142"/>
                </a:lnTo>
                <a:lnTo>
                  <a:pt x="9839" y="10174"/>
                </a:lnTo>
                <a:close/>
                <a:moveTo>
                  <a:pt x="9796" y="10740"/>
                </a:moveTo>
                <a:lnTo>
                  <a:pt x="9796" y="10732"/>
                </a:lnTo>
                <a:lnTo>
                  <a:pt x="9797" y="10724"/>
                </a:lnTo>
                <a:lnTo>
                  <a:pt x="9802" y="10716"/>
                </a:lnTo>
                <a:lnTo>
                  <a:pt x="9810" y="10707"/>
                </a:lnTo>
                <a:lnTo>
                  <a:pt x="9809" y="10719"/>
                </a:lnTo>
                <a:lnTo>
                  <a:pt x="9805" y="10726"/>
                </a:lnTo>
                <a:lnTo>
                  <a:pt x="9799" y="10734"/>
                </a:lnTo>
                <a:lnTo>
                  <a:pt x="9796" y="10740"/>
                </a:lnTo>
                <a:close/>
                <a:moveTo>
                  <a:pt x="9670" y="10500"/>
                </a:moveTo>
                <a:lnTo>
                  <a:pt x="9670" y="10491"/>
                </a:lnTo>
                <a:lnTo>
                  <a:pt x="9671" y="10482"/>
                </a:lnTo>
                <a:lnTo>
                  <a:pt x="9676" y="10474"/>
                </a:lnTo>
                <a:lnTo>
                  <a:pt x="9685" y="10467"/>
                </a:lnTo>
                <a:lnTo>
                  <a:pt x="9684" y="10477"/>
                </a:lnTo>
                <a:lnTo>
                  <a:pt x="9679" y="10485"/>
                </a:lnTo>
                <a:lnTo>
                  <a:pt x="9674" y="10492"/>
                </a:lnTo>
                <a:lnTo>
                  <a:pt x="9670" y="10500"/>
                </a:lnTo>
                <a:close/>
                <a:moveTo>
                  <a:pt x="9651" y="10230"/>
                </a:moveTo>
                <a:lnTo>
                  <a:pt x="9655" y="10216"/>
                </a:lnTo>
                <a:lnTo>
                  <a:pt x="9661" y="10203"/>
                </a:lnTo>
                <a:lnTo>
                  <a:pt x="9669" y="10192"/>
                </a:lnTo>
                <a:lnTo>
                  <a:pt x="9679" y="10182"/>
                </a:lnTo>
                <a:lnTo>
                  <a:pt x="9675" y="10196"/>
                </a:lnTo>
                <a:lnTo>
                  <a:pt x="9669" y="10208"/>
                </a:lnTo>
                <a:lnTo>
                  <a:pt x="9660" y="10220"/>
                </a:lnTo>
                <a:lnTo>
                  <a:pt x="9651" y="10230"/>
                </a:lnTo>
                <a:close/>
                <a:moveTo>
                  <a:pt x="9619" y="9917"/>
                </a:moveTo>
                <a:lnTo>
                  <a:pt x="9620" y="9912"/>
                </a:lnTo>
                <a:lnTo>
                  <a:pt x="9614" y="9913"/>
                </a:lnTo>
                <a:lnTo>
                  <a:pt x="9606" y="9914"/>
                </a:lnTo>
                <a:lnTo>
                  <a:pt x="9601" y="9908"/>
                </a:lnTo>
                <a:lnTo>
                  <a:pt x="9627" y="9886"/>
                </a:lnTo>
                <a:lnTo>
                  <a:pt x="9651" y="9891"/>
                </a:lnTo>
                <a:lnTo>
                  <a:pt x="9656" y="9907"/>
                </a:lnTo>
                <a:lnTo>
                  <a:pt x="9619" y="9917"/>
                </a:lnTo>
                <a:close/>
                <a:moveTo>
                  <a:pt x="9624" y="10096"/>
                </a:moveTo>
                <a:lnTo>
                  <a:pt x="9624" y="10095"/>
                </a:lnTo>
                <a:lnTo>
                  <a:pt x="9625" y="10095"/>
                </a:lnTo>
                <a:lnTo>
                  <a:pt x="9625" y="10095"/>
                </a:lnTo>
                <a:lnTo>
                  <a:pt x="9625" y="10096"/>
                </a:lnTo>
                <a:lnTo>
                  <a:pt x="9624" y="10096"/>
                </a:lnTo>
                <a:close/>
                <a:moveTo>
                  <a:pt x="9427" y="9926"/>
                </a:moveTo>
                <a:lnTo>
                  <a:pt x="9429" y="9924"/>
                </a:lnTo>
                <a:lnTo>
                  <a:pt x="9427" y="9926"/>
                </a:lnTo>
                <a:lnTo>
                  <a:pt x="9428" y="9922"/>
                </a:lnTo>
                <a:lnTo>
                  <a:pt x="9427" y="9926"/>
                </a:lnTo>
                <a:close/>
                <a:moveTo>
                  <a:pt x="9418" y="9872"/>
                </a:moveTo>
                <a:lnTo>
                  <a:pt x="9411" y="9874"/>
                </a:lnTo>
                <a:lnTo>
                  <a:pt x="9410" y="9870"/>
                </a:lnTo>
                <a:lnTo>
                  <a:pt x="9413" y="9865"/>
                </a:lnTo>
                <a:lnTo>
                  <a:pt x="9419" y="9861"/>
                </a:lnTo>
                <a:lnTo>
                  <a:pt x="9419" y="9866"/>
                </a:lnTo>
                <a:lnTo>
                  <a:pt x="9418" y="9872"/>
                </a:lnTo>
                <a:close/>
                <a:moveTo>
                  <a:pt x="9415" y="9907"/>
                </a:moveTo>
                <a:lnTo>
                  <a:pt x="9415" y="9905"/>
                </a:lnTo>
                <a:lnTo>
                  <a:pt x="9415" y="9907"/>
                </a:lnTo>
                <a:lnTo>
                  <a:pt x="9415" y="9904"/>
                </a:lnTo>
                <a:lnTo>
                  <a:pt x="9415" y="9907"/>
                </a:lnTo>
                <a:close/>
                <a:moveTo>
                  <a:pt x="9269" y="9910"/>
                </a:moveTo>
                <a:lnTo>
                  <a:pt x="9212" y="9961"/>
                </a:lnTo>
                <a:lnTo>
                  <a:pt x="9172" y="9986"/>
                </a:lnTo>
                <a:lnTo>
                  <a:pt x="9138" y="9998"/>
                </a:lnTo>
                <a:lnTo>
                  <a:pt x="9098" y="10015"/>
                </a:lnTo>
                <a:lnTo>
                  <a:pt x="9094" y="9986"/>
                </a:lnTo>
                <a:lnTo>
                  <a:pt x="9157" y="9935"/>
                </a:lnTo>
                <a:lnTo>
                  <a:pt x="9233" y="9899"/>
                </a:lnTo>
                <a:lnTo>
                  <a:pt x="9269" y="9910"/>
                </a:lnTo>
                <a:close/>
                <a:moveTo>
                  <a:pt x="9141" y="10286"/>
                </a:moveTo>
                <a:lnTo>
                  <a:pt x="9148" y="10281"/>
                </a:lnTo>
                <a:lnTo>
                  <a:pt x="9153" y="10281"/>
                </a:lnTo>
                <a:lnTo>
                  <a:pt x="9157" y="10285"/>
                </a:lnTo>
                <a:lnTo>
                  <a:pt x="9163" y="10291"/>
                </a:lnTo>
                <a:lnTo>
                  <a:pt x="9153" y="10289"/>
                </a:lnTo>
                <a:lnTo>
                  <a:pt x="9141" y="10286"/>
                </a:lnTo>
                <a:close/>
                <a:moveTo>
                  <a:pt x="9167" y="10325"/>
                </a:moveTo>
                <a:lnTo>
                  <a:pt x="9163" y="10322"/>
                </a:lnTo>
                <a:lnTo>
                  <a:pt x="9164" y="10314"/>
                </a:lnTo>
                <a:lnTo>
                  <a:pt x="9167" y="10306"/>
                </a:lnTo>
                <a:lnTo>
                  <a:pt x="9168" y="10297"/>
                </a:lnTo>
                <a:lnTo>
                  <a:pt x="9175" y="10306"/>
                </a:lnTo>
                <a:lnTo>
                  <a:pt x="9178" y="10315"/>
                </a:lnTo>
                <a:lnTo>
                  <a:pt x="9177" y="10322"/>
                </a:lnTo>
                <a:lnTo>
                  <a:pt x="9167" y="10325"/>
                </a:lnTo>
                <a:close/>
                <a:moveTo>
                  <a:pt x="9054" y="9963"/>
                </a:moveTo>
                <a:lnTo>
                  <a:pt x="9056" y="9960"/>
                </a:lnTo>
                <a:lnTo>
                  <a:pt x="9054" y="9963"/>
                </a:lnTo>
                <a:lnTo>
                  <a:pt x="9051" y="9956"/>
                </a:lnTo>
                <a:lnTo>
                  <a:pt x="9054" y="9963"/>
                </a:lnTo>
                <a:close/>
                <a:moveTo>
                  <a:pt x="9045" y="10031"/>
                </a:moveTo>
                <a:lnTo>
                  <a:pt x="9043" y="10026"/>
                </a:lnTo>
                <a:lnTo>
                  <a:pt x="9049" y="10023"/>
                </a:lnTo>
                <a:lnTo>
                  <a:pt x="9054" y="10023"/>
                </a:lnTo>
                <a:lnTo>
                  <a:pt x="9056" y="10026"/>
                </a:lnTo>
                <a:lnTo>
                  <a:pt x="9051" y="10029"/>
                </a:lnTo>
                <a:lnTo>
                  <a:pt x="9045" y="10031"/>
                </a:lnTo>
                <a:close/>
                <a:moveTo>
                  <a:pt x="9017" y="10045"/>
                </a:moveTo>
                <a:lnTo>
                  <a:pt x="9019" y="10045"/>
                </a:lnTo>
                <a:lnTo>
                  <a:pt x="9017" y="10045"/>
                </a:lnTo>
                <a:lnTo>
                  <a:pt x="9018" y="10044"/>
                </a:lnTo>
                <a:lnTo>
                  <a:pt x="9019" y="10044"/>
                </a:lnTo>
                <a:lnTo>
                  <a:pt x="9019" y="10044"/>
                </a:lnTo>
                <a:lnTo>
                  <a:pt x="9017" y="10045"/>
                </a:lnTo>
                <a:close/>
                <a:moveTo>
                  <a:pt x="8871" y="10277"/>
                </a:moveTo>
                <a:lnTo>
                  <a:pt x="8868" y="10277"/>
                </a:lnTo>
                <a:lnTo>
                  <a:pt x="8865" y="10277"/>
                </a:lnTo>
                <a:lnTo>
                  <a:pt x="8864" y="10276"/>
                </a:lnTo>
                <a:lnTo>
                  <a:pt x="8863" y="10272"/>
                </a:lnTo>
                <a:lnTo>
                  <a:pt x="8868" y="10272"/>
                </a:lnTo>
                <a:lnTo>
                  <a:pt x="8871" y="10271"/>
                </a:lnTo>
                <a:lnTo>
                  <a:pt x="8873" y="10272"/>
                </a:lnTo>
                <a:lnTo>
                  <a:pt x="8871" y="10277"/>
                </a:lnTo>
                <a:close/>
                <a:moveTo>
                  <a:pt x="8850" y="10220"/>
                </a:moveTo>
                <a:lnTo>
                  <a:pt x="8828" y="10236"/>
                </a:lnTo>
                <a:lnTo>
                  <a:pt x="8805" y="10249"/>
                </a:lnTo>
                <a:lnTo>
                  <a:pt x="8780" y="10258"/>
                </a:lnTo>
                <a:lnTo>
                  <a:pt x="8754" y="10266"/>
                </a:lnTo>
                <a:lnTo>
                  <a:pt x="8785" y="10231"/>
                </a:lnTo>
                <a:lnTo>
                  <a:pt x="8815" y="10201"/>
                </a:lnTo>
                <a:lnTo>
                  <a:pt x="8840" y="10191"/>
                </a:lnTo>
                <a:lnTo>
                  <a:pt x="8850" y="10220"/>
                </a:lnTo>
                <a:close/>
                <a:moveTo>
                  <a:pt x="8683" y="10283"/>
                </a:moveTo>
                <a:lnTo>
                  <a:pt x="8627" y="10319"/>
                </a:lnTo>
                <a:lnTo>
                  <a:pt x="8646" y="10290"/>
                </a:lnTo>
                <a:lnTo>
                  <a:pt x="8705" y="10244"/>
                </a:lnTo>
                <a:lnTo>
                  <a:pt x="8763" y="10233"/>
                </a:lnTo>
                <a:lnTo>
                  <a:pt x="8743" y="10243"/>
                </a:lnTo>
                <a:lnTo>
                  <a:pt x="8721" y="10253"/>
                </a:lnTo>
                <a:lnTo>
                  <a:pt x="8701" y="10266"/>
                </a:lnTo>
                <a:lnTo>
                  <a:pt x="8683" y="10283"/>
                </a:lnTo>
                <a:close/>
                <a:moveTo>
                  <a:pt x="8730" y="10292"/>
                </a:moveTo>
                <a:lnTo>
                  <a:pt x="8708" y="10308"/>
                </a:lnTo>
                <a:lnTo>
                  <a:pt x="8688" y="10324"/>
                </a:lnTo>
                <a:lnTo>
                  <a:pt x="8666" y="10339"/>
                </a:lnTo>
                <a:lnTo>
                  <a:pt x="8644" y="10351"/>
                </a:lnTo>
                <a:lnTo>
                  <a:pt x="8656" y="10328"/>
                </a:lnTo>
                <a:lnTo>
                  <a:pt x="8691" y="10299"/>
                </a:lnTo>
                <a:lnTo>
                  <a:pt x="8724" y="10281"/>
                </a:lnTo>
                <a:lnTo>
                  <a:pt x="8730" y="10292"/>
                </a:lnTo>
                <a:close/>
                <a:moveTo>
                  <a:pt x="8688" y="10402"/>
                </a:moveTo>
                <a:lnTo>
                  <a:pt x="8698" y="10394"/>
                </a:lnTo>
                <a:lnTo>
                  <a:pt x="8711" y="10385"/>
                </a:lnTo>
                <a:lnTo>
                  <a:pt x="8708" y="10397"/>
                </a:lnTo>
                <a:lnTo>
                  <a:pt x="8703" y="10402"/>
                </a:lnTo>
                <a:lnTo>
                  <a:pt x="8696" y="10402"/>
                </a:lnTo>
                <a:lnTo>
                  <a:pt x="8688" y="10402"/>
                </a:lnTo>
                <a:close/>
                <a:moveTo>
                  <a:pt x="8577" y="10450"/>
                </a:moveTo>
                <a:lnTo>
                  <a:pt x="8593" y="10450"/>
                </a:lnTo>
                <a:lnTo>
                  <a:pt x="8608" y="10450"/>
                </a:lnTo>
                <a:lnTo>
                  <a:pt x="8598" y="10463"/>
                </a:lnTo>
                <a:lnTo>
                  <a:pt x="8591" y="10467"/>
                </a:lnTo>
                <a:lnTo>
                  <a:pt x="8585" y="10463"/>
                </a:lnTo>
                <a:lnTo>
                  <a:pt x="8577" y="10450"/>
                </a:lnTo>
                <a:close/>
                <a:moveTo>
                  <a:pt x="8467" y="10448"/>
                </a:moveTo>
                <a:lnTo>
                  <a:pt x="8478" y="10443"/>
                </a:lnTo>
                <a:lnTo>
                  <a:pt x="8491" y="10434"/>
                </a:lnTo>
                <a:lnTo>
                  <a:pt x="8502" y="10429"/>
                </a:lnTo>
                <a:lnTo>
                  <a:pt x="8512" y="10431"/>
                </a:lnTo>
                <a:lnTo>
                  <a:pt x="8502" y="10439"/>
                </a:lnTo>
                <a:lnTo>
                  <a:pt x="8492" y="10445"/>
                </a:lnTo>
                <a:lnTo>
                  <a:pt x="8481" y="10449"/>
                </a:lnTo>
                <a:lnTo>
                  <a:pt x="8467" y="10448"/>
                </a:lnTo>
                <a:close/>
                <a:moveTo>
                  <a:pt x="8506" y="10520"/>
                </a:moveTo>
                <a:lnTo>
                  <a:pt x="8498" y="10523"/>
                </a:lnTo>
                <a:lnTo>
                  <a:pt x="8496" y="10519"/>
                </a:lnTo>
                <a:lnTo>
                  <a:pt x="8498" y="10513"/>
                </a:lnTo>
                <a:lnTo>
                  <a:pt x="8507" y="10509"/>
                </a:lnTo>
                <a:lnTo>
                  <a:pt x="8507" y="10516"/>
                </a:lnTo>
                <a:lnTo>
                  <a:pt x="8506" y="10520"/>
                </a:lnTo>
                <a:close/>
                <a:moveTo>
                  <a:pt x="8467" y="10547"/>
                </a:moveTo>
                <a:lnTo>
                  <a:pt x="8470" y="10542"/>
                </a:lnTo>
                <a:lnTo>
                  <a:pt x="8467" y="10547"/>
                </a:lnTo>
                <a:lnTo>
                  <a:pt x="8463" y="10543"/>
                </a:lnTo>
                <a:lnTo>
                  <a:pt x="8464" y="10538"/>
                </a:lnTo>
                <a:lnTo>
                  <a:pt x="8467" y="10538"/>
                </a:lnTo>
                <a:lnTo>
                  <a:pt x="8467" y="10547"/>
                </a:lnTo>
                <a:close/>
                <a:moveTo>
                  <a:pt x="8455" y="10468"/>
                </a:moveTo>
                <a:lnTo>
                  <a:pt x="8447" y="10469"/>
                </a:lnTo>
                <a:lnTo>
                  <a:pt x="8442" y="10468"/>
                </a:lnTo>
                <a:lnTo>
                  <a:pt x="8440" y="10462"/>
                </a:lnTo>
                <a:lnTo>
                  <a:pt x="8440" y="10453"/>
                </a:lnTo>
                <a:lnTo>
                  <a:pt x="8450" y="10453"/>
                </a:lnTo>
                <a:lnTo>
                  <a:pt x="8456" y="10455"/>
                </a:lnTo>
                <a:lnTo>
                  <a:pt x="8458" y="10460"/>
                </a:lnTo>
                <a:lnTo>
                  <a:pt x="8455" y="10468"/>
                </a:lnTo>
                <a:close/>
                <a:moveTo>
                  <a:pt x="8356" y="10602"/>
                </a:moveTo>
                <a:lnTo>
                  <a:pt x="8372" y="10589"/>
                </a:lnTo>
                <a:lnTo>
                  <a:pt x="8388" y="10577"/>
                </a:lnTo>
                <a:lnTo>
                  <a:pt x="8404" y="10566"/>
                </a:lnTo>
                <a:lnTo>
                  <a:pt x="8419" y="10555"/>
                </a:lnTo>
                <a:lnTo>
                  <a:pt x="8418" y="10570"/>
                </a:lnTo>
                <a:lnTo>
                  <a:pt x="8408" y="10583"/>
                </a:lnTo>
                <a:lnTo>
                  <a:pt x="8386" y="10593"/>
                </a:lnTo>
                <a:lnTo>
                  <a:pt x="8356" y="10602"/>
                </a:lnTo>
                <a:close/>
                <a:moveTo>
                  <a:pt x="8305" y="10649"/>
                </a:moveTo>
                <a:lnTo>
                  <a:pt x="8287" y="10656"/>
                </a:lnTo>
                <a:lnTo>
                  <a:pt x="8268" y="10665"/>
                </a:lnTo>
                <a:lnTo>
                  <a:pt x="8247" y="10673"/>
                </a:lnTo>
                <a:lnTo>
                  <a:pt x="8226" y="10682"/>
                </a:lnTo>
                <a:lnTo>
                  <a:pt x="8263" y="10651"/>
                </a:lnTo>
                <a:lnTo>
                  <a:pt x="8307" y="10626"/>
                </a:lnTo>
                <a:lnTo>
                  <a:pt x="8332" y="10620"/>
                </a:lnTo>
                <a:lnTo>
                  <a:pt x="8305" y="10649"/>
                </a:lnTo>
                <a:close/>
                <a:moveTo>
                  <a:pt x="8153" y="10718"/>
                </a:moveTo>
                <a:lnTo>
                  <a:pt x="8169" y="10709"/>
                </a:lnTo>
                <a:lnTo>
                  <a:pt x="8184" y="10696"/>
                </a:lnTo>
                <a:lnTo>
                  <a:pt x="8199" y="10687"/>
                </a:lnTo>
                <a:lnTo>
                  <a:pt x="8212" y="10687"/>
                </a:lnTo>
                <a:lnTo>
                  <a:pt x="8200" y="10698"/>
                </a:lnTo>
                <a:lnTo>
                  <a:pt x="8186" y="10709"/>
                </a:lnTo>
                <a:lnTo>
                  <a:pt x="8171" y="10716"/>
                </a:lnTo>
                <a:lnTo>
                  <a:pt x="8153" y="10718"/>
                </a:lnTo>
                <a:close/>
                <a:moveTo>
                  <a:pt x="8008" y="10756"/>
                </a:moveTo>
                <a:lnTo>
                  <a:pt x="8003" y="10757"/>
                </a:lnTo>
                <a:lnTo>
                  <a:pt x="7999" y="10756"/>
                </a:lnTo>
                <a:lnTo>
                  <a:pt x="7998" y="10751"/>
                </a:lnTo>
                <a:lnTo>
                  <a:pt x="7999" y="10743"/>
                </a:lnTo>
                <a:lnTo>
                  <a:pt x="8007" y="10744"/>
                </a:lnTo>
                <a:lnTo>
                  <a:pt x="8011" y="10747"/>
                </a:lnTo>
                <a:lnTo>
                  <a:pt x="8011" y="10751"/>
                </a:lnTo>
                <a:lnTo>
                  <a:pt x="8008" y="10756"/>
                </a:lnTo>
                <a:close/>
                <a:moveTo>
                  <a:pt x="7893" y="10789"/>
                </a:moveTo>
                <a:lnTo>
                  <a:pt x="7902" y="10771"/>
                </a:lnTo>
                <a:lnTo>
                  <a:pt x="7910" y="10763"/>
                </a:lnTo>
                <a:lnTo>
                  <a:pt x="7920" y="10762"/>
                </a:lnTo>
                <a:lnTo>
                  <a:pt x="7937" y="10765"/>
                </a:lnTo>
                <a:lnTo>
                  <a:pt x="7925" y="10771"/>
                </a:lnTo>
                <a:lnTo>
                  <a:pt x="7915" y="10776"/>
                </a:lnTo>
                <a:lnTo>
                  <a:pt x="7905" y="10782"/>
                </a:lnTo>
                <a:lnTo>
                  <a:pt x="7893" y="10789"/>
                </a:lnTo>
                <a:close/>
                <a:moveTo>
                  <a:pt x="7901" y="10879"/>
                </a:moveTo>
                <a:lnTo>
                  <a:pt x="7909" y="10872"/>
                </a:lnTo>
                <a:lnTo>
                  <a:pt x="7914" y="10866"/>
                </a:lnTo>
                <a:lnTo>
                  <a:pt x="7919" y="10865"/>
                </a:lnTo>
                <a:lnTo>
                  <a:pt x="7923" y="10870"/>
                </a:lnTo>
                <a:lnTo>
                  <a:pt x="7914" y="10873"/>
                </a:lnTo>
                <a:lnTo>
                  <a:pt x="7901" y="10879"/>
                </a:lnTo>
                <a:close/>
                <a:moveTo>
                  <a:pt x="7858" y="10821"/>
                </a:moveTo>
                <a:lnTo>
                  <a:pt x="7873" y="10813"/>
                </a:lnTo>
                <a:lnTo>
                  <a:pt x="7885" y="10805"/>
                </a:lnTo>
                <a:lnTo>
                  <a:pt x="7885" y="10817"/>
                </a:lnTo>
                <a:lnTo>
                  <a:pt x="7881" y="10823"/>
                </a:lnTo>
                <a:lnTo>
                  <a:pt x="7873" y="10823"/>
                </a:lnTo>
                <a:lnTo>
                  <a:pt x="7858" y="10821"/>
                </a:lnTo>
                <a:close/>
                <a:moveTo>
                  <a:pt x="7825" y="10846"/>
                </a:moveTo>
                <a:lnTo>
                  <a:pt x="7827" y="10832"/>
                </a:lnTo>
                <a:lnTo>
                  <a:pt x="7835" y="10827"/>
                </a:lnTo>
                <a:lnTo>
                  <a:pt x="7845" y="10828"/>
                </a:lnTo>
                <a:lnTo>
                  <a:pt x="7857" y="10833"/>
                </a:lnTo>
                <a:lnTo>
                  <a:pt x="7840" y="10840"/>
                </a:lnTo>
                <a:lnTo>
                  <a:pt x="7825" y="10846"/>
                </a:lnTo>
                <a:close/>
                <a:moveTo>
                  <a:pt x="7560" y="10887"/>
                </a:moveTo>
                <a:lnTo>
                  <a:pt x="7560" y="10877"/>
                </a:lnTo>
                <a:lnTo>
                  <a:pt x="7561" y="10872"/>
                </a:lnTo>
                <a:lnTo>
                  <a:pt x="7567" y="10868"/>
                </a:lnTo>
                <a:lnTo>
                  <a:pt x="7579" y="10865"/>
                </a:lnTo>
                <a:lnTo>
                  <a:pt x="7578" y="10874"/>
                </a:lnTo>
                <a:lnTo>
                  <a:pt x="7574" y="10880"/>
                </a:lnTo>
                <a:lnTo>
                  <a:pt x="7569" y="10884"/>
                </a:lnTo>
                <a:lnTo>
                  <a:pt x="7560" y="10887"/>
                </a:lnTo>
                <a:close/>
                <a:moveTo>
                  <a:pt x="7524" y="10824"/>
                </a:moveTo>
                <a:lnTo>
                  <a:pt x="7528" y="10810"/>
                </a:lnTo>
                <a:lnTo>
                  <a:pt x="7533" y="10803"/>
                </a:lnTo>
                <a:lnTo>
                  <a:pt x="7543" y="10799"/>
                </a:lnTo>
                <a:lnTo>
                  <a:pt x="7562" y="10795"/>
                </a:lnTo>
                <a:lnTo>
                  <a:pt x="7556" y="10808"/>
                </a:lnTo>
                <a:lnTo>
                  <a:pt x="7548" y="10818"/>
                </a:lnTo>
                <a:lnTo>
                  <a:pt x="7538" y="10823"/>
                </a:lnTo>
                <a:lnTo>
                  <a:pt x="7524" y="10824"/>
                </a:lnTo>
                <a:close/>
                <a:moveTo>
                  <a:pt x="7444" y="10771"/>
                </a:moveTo>
                <a:lnTo>
                  <a:pt x="7446" y="10749"/>
                </a:lnTo>
                <a:lnTo>
                  <a:pt x="7438" y="10748"/>
                </a:lnTo>
                <a:lnTo>
                  <a:pt x="7430" y="10746"/>
                </a:lnTo>
                <a:lnTo>
                  <a:pt x="7441" y="10718"/>
                </a:lnTo>
                <a:lnTo>
                  <a:pt x="7467" y="10733"/>
                </a:lnTo>
                <a:lnTo>
                  <a:pt x="7478" y="10738"/>
                </a:lnTo>
                <a:lnTo>
                  <a:pt x="7471" y="10748"/>
                </a:lnTo>
                <a:lnTo>
                  <a:pt x="7444" y="10771"/>
                </a:lnTo>
                <a:close/>
                <a:moveTo>
                  <a:pt x="7404" y="10672"/>
                </a:moveTo>
                <a:lnTo>
                  <a:pt x="7401" y="10667"/>
                </a:lnTo>
                <a:lnTo>
                  <a:pt x="7397" y="10662"/>
                </a:lnTo>
                <a:lnTo>
                  <a:pt x="7396" y="10656"/>
                </a:lnTo>
                <a:lnTo>
                  <a:pt x="7399" y="10654"/>
                </a:lnTo>
                <a:lnTo>
                  <a:pt x="7403" y="10658"/>
                </a:lnTo>
                <a:lnTo>
                  <a:pt x="7406" y="10663"/>
                </a:lnTo>
                <a:lnTo>
                  <a:pt x="7408" y="10668"/>
                </a:lnTo>
                <a:lnTo>
                  <a:pt x="7404" y="10672"/>
                </a:lnTo>
                <a:close/>
                <a:moveTo>
                  <a:pt x="7385" y="10732"/>
                </a:moveTo>
                <a:lnTo>
                  <a:pt x="7376" y="10723"/>
                </a:lnTo>
                <a:lnTo>
                  <a:pt x="7373" y="10716"/>
                </a:lnTo>
                <a:lnTo>
                  <a:pt x="7376" y="10709"/>
                </a:lnTo>
                <a:lnTo>
                  <a:pt x="7387" y="10698"/>
                </a:lnTo>
                <a:lnTo>
                  <a:pt x="7385" y="10714"/>
                </a:lnTo>
                <a:lnTo>
                  <a:pt x="7385" y="10732"/>
                </a:lnTo>
                <a:close/>
                <a:moveTo>
                  <a:pt x="7362" y="10679"/>
                </a:moveTo>
                <a:lnTo>
                  <a:pt x="7370" y="10677"/>
                </a:lnTo>
                <a:lnTo>
                  <a:pt x="7371" y="10677"/>
                </a:lnTo>
                <a:lnTo>
                  <a:pt x="7367" y="10678"/>
                </a:lnTo>
                <a:lnTo>
                  <a:pt x="7362" y="10679"/>
                </a:lnTo>
                <a:lnTo>
                  <a:pt x="7364" y="10673"/>
                </a:lnTo>
                <a:lnTo>
                  <a:pt x="7370" y="10668"/>
                </a:lnTo>
                <a:lnTo>
                  <a:pt x="7373" y="10668"/>
                </a:lnTo>
                <a:lnTo>
                  <a:pt x="7362" y="10679"/>
                </a:lnTo>
                <a:close/>
                <a:moveTo>
                  <a:pt x="7109" y="7897"/>
                </a:moveTo>
                <a:lnTo>
                  <a:pt x="7110" y="7895"/>
                </a:lnTo>
                <a:lnTo>
                  <a:pt x="7109" y="7897"/>
                </a:lnTo>
                <a:lnTo>
                  <a:pt x="7109" y="7895"/>
                </a:lnTo>
                <a:lnTo>
                  <a:pt x="7109" y="7897"/>
                </a:lnTo>
                <a:close/>
                <a:moveTo>
                  <a:pt x="6965" y="8305"/>
                </a:moveTo>
                <a:lnTo>
                  <a:pt x="6961" y="8309"/>
                </a:lnTo>
                <a:lnTo>
                  <a:pt x="6960" y="8308"/>
                </a:lnTo>
                <a:lnTo>
                  <a:pt x="6963" y="8305"/>
                </a:lnTo>
                <a:lnTo>
                  <a:pt x="6968" y="8300"/>
                </a:lnTo>
                <a:lnTo>
                  <a:pt x="6966" y="8303"/>
                </a:lnTo>
                <a:lnTo>
                  <a:pt x="6965" y="8305"/>
                </a:lnTo>
                <a:close/>
                <a:moveTo>
                  <a:pt x="6923" y="8337"/>
                </a:moveTo>
                <a:lnTo>
                  <a:pt x="6923" y="8336"/>
                </a:lnTo>
                <a:lnTo>
                  <a:pt x="6923" y="8337"/>
                </a:lnTo>
                <a:lnTo>
                  <a:pt x="6923" y="8336"/>
                </a:lnTo>
                <a:lnTo>
                  <a:pt x="6923" y="8337"/>
                </a:lnTo>
                <a:close/>
                <a:moveTo>
                  <a:pt x="6881" y="8378"/>
                </a:moveTo>
                <a:lnTo>
                  <a:pt x="6881" y="8369"/>
                </a:lnTo>
                <a:lnTo>
                  <a:pt x="6885" y="8361"/>
                </a:lnTo>
                <a:lnTo>
                  <a:pt x="6890" y="8360"/>
                </a:lnTo>
                <a:lnTo>
                  <a:pt x="6898" y="8365"/>
                </a:lnTo>
                <a:lnTo>
                  <a:pt x="6890" y="8373"/>
                </a:lnTo>
                <a:lnTo>
                  <a:pt x="6881" y="8378"/>
                </a:lnTo>
                <a:close/>
                <a:moveTo>
                  <a:pt x="6747" y="8420"/>
                </a:moveTo>
                <a:lnTo>
                  <a:pt x="6718" y="8428"/>
                </a:lnTo>
                <a:lnTo>
                  <a:pt x="6717" y="8422"/>
                </a:lnTo>
                <a:lnTo>
                  <a:pt x="6732" y="8410"/>
                </a:lnTo>
                <a:lnTo>
                  <a:pt x="6755" y="8393"/>
                </a:lnTo>
                <a:lnTo>
                  <a:pt x="6768" y="8393"/>
                </a:lnTo>
                <a:lnTo>
                  <a:pt x="6768" y="8401"/>
                </a:lnTo>
                <a:lnTo>
                  <a:pt x="6759" y="8411"/>
                </a:lnTo>
                <a:lnTo>
                  <a:pt x="6747" y="8420"/>
                </a:lnTo>
                <a:close/>
                <a:moveTo>
                  <a:pt x="6750" y="8464"/>
                </a:moveTo>
                <a:lnTo>
                  <a:pt x="6757" y="8458"/>
                </a:lnTo>
                <a:lnTo>
                  <a:pt x="6761" y="8457"/>
                </a:lnTo>
                <a:lnTo>
                  <a:pt x="6764" y="8461"/>
                </a:lnTo>
                <a:lnTo>
                  <a:pt x="6764" y="8472"/>
                </a:lnTo>
                <a:lnTo>
                  <a:pt x="6755" y="8467"/>
                </a:lnTo>
                <a:lnTo>
                  <a:pt x="6750" y="8464"/>
                </a:lnTo>
                <a:close/>
                <a:moveTo>
                  <a:pt x="6735" y="8477"/>
                </a:moveTo>
                <a:lnTo>
                  <a:pt x="6736" y="8477"/>
                </a:lnTo>
                <a:lnTo>
                  <a:pt x="6735" y="8477"/>
                </a:lnTo>
                <a:lnTo>
                  <a:pt x="6736" y="8476"/>
                </a:lnTo>
                <a:lnTo>
                  <a:pt x="6735" y="8477"/>
                </a:lnTo>
                <a:close/>
                <a:moveTo>
                  <a:pt x="6689" y="10247"/>
                </a:moveTo>
                <a:lnTo>
                  <a:pt x="6652" y="10273"/>
                </a:lnTo>
                <a:lnTo>
                  <a:pt x="6616" y="10300"/>
                </a:lnTo>
                <a:lnTo>
                  <a:pt x="6578" y="10324"/>
                </a:lnTo>
                <a:lnTo>
                  <a:pt x="6538" y="10342"/>
                </a:lnTo>
                <a:lnTo>
                  <a:pt x="6524" y="10338"/>
                </a:lnTo>
                <a:lnTo>
                  <a:pt x="6591" y="10285"/>
                </a:lnTo>
                <a:lnTo>
                  <a:pt x="6668" y="10236"/>
                </a:lnTo>
                <a:lnTo>
                  <a:pt x="6689" y="10247"/>
                </a:lnTo>
                <a:close/>
                <a:moveTo>
                  <a:pt x="6533" y="10381"/>
                </a:moveTo>
                <a:lnTo>
                  <a:pt x="6538" y="10379"/>
                </a:lnTo>
                <a:lnTo>
                  <a:pt x="6533" y="10381"/>
                </a:lnTo>
                <a:lnTo>
                  <a:pt x="6536" y="10375"/>
                </a:lnTo>
                <a:lnTo>
                  <a:pt x="6533" y="10381"/>
                </a:lnTo>
                <a:close/>
                <a:moveTo>
                  <a:pt x="6387" y="7889"/>
                </a:moveTo>
                <a:lnTo>
                  <a:pt x="6372" y="7871"/>
                </a:lnTo>
                <a:lnTo>
                  <a:pt x="6384" y="7848"/>
                </a:lnTo>
                <a:lnTo>
                  <a:pt x="6406" y="7836"/>
                </a:lnTo>
                <a:lnTo>
                  <a:pt x="6417" y="7847"/>
                </a:lnTo>
                <a:lnTo>
                  <a:pt x="6406" y="7852"/>
                </a:lnTo>
                <a:lnTo>
                  <a:pt x="6400" y="7859"/>
                </a:lnTo>
                <a:lnTo>
                  <a:pt x="6395" y="7870"/>
                </a:lnTo>
                <a:lnTo>
                  <a:pt x="6387" y="7889"/>
                </a:lnTo>
                <a:close/>
                <a:moveTo>
                  <a:pt x="6356" y="7407"/>
                </a:moveTo>
                <a:lnTo>
                  <a:pt x="6337" y="7421"/>
                </a:lnTo>
                <a:lnTo>
                  <a:pt x="6319" y="7432"/>
                </a:lnTo>
                <a:lnTo>
                  <a:pt x="6299" y="7441"/>
                </a:lnTo>
                <a:lnTo>
                  <a:pt x="6280" y="7451"/>
                </a:lnTo>
                <a:lnTo>
                  <a:pt x="6296" y="7438"/>
                </a:lnTo>
                <a:lnTo>
                  <a:pt x="6319" y="7423"/>
                </a:lnTo>
                <a:lnTo>
                  <a:pt x="6341" y="7410"/>
                </a:lnTo>
                <a:lnTo>
                  <a:pt x="6356" y="7407"/>
                </a:lnTo>
                <a:close/>
                <a:moveTo>
                  <a:pt x="6341" y="8215"/>
                </a:moveTo>
                <a:lnTo>
                  <a:pt x="6340" y="8212"/>
                </a:lnTo>
                <a:lnTo>
                  <a:pt x="6339" y="8210"/>
                </a:lnTo>
                <a:lnTo>
                  <a:pt x="6349" y="8205"/>
                </a:lnTo>
                <a:lnTo>
                  <a:pt x="6353" y="8207"/>
                </a:lnTo>
                <a:lnTo>
                  <a:pt x="6351" y="8211"/>
                </a:lnTo>
                <a:lnTo>
                  <a:pt x="6341" y="8215"/>
                </a:lnTo>
                <a:close/>
                <a:moveTo>
                  <a:pt x="6323" y="9867"/>
                </a:moveTo>
                <a:lnTo>
                  <a:pt x="6328" y="9863"/>
                </a:lnTo>
                <a:lnTo>
                  <a:pt x="6330" y="9863"/>
                </a:lnTo>
                <a:lnTo>
                  <a:pt x="6327" y="9865"/>
                </a:lnTo>
                <a:lnTo>
                  <a:pt x="6323" y="9867"/>
                </a:lnTo>
                <a:lnTo>
                  <a:pt x="6322" y="9862"/>
                </a:lnTo>
                <a:lnTo>
                  <a:pt x="6326" y="9857"/>
                </a:lnTo>
                <a:lnTo>
                  <a:pt x="6328" y="9858"/>
                </a:lnTo>
                <a:lnTo>
                  <a:pt x="6323" y="9867"/>
                </a:lnTo>
                <a:close/>
                <a:moveTo>
                  <a:pt x="6296" y="7959"/>
                </a:moveTo>
                <a:lnTo>
                  <a:pt x="6313" y="7941"/>
                </a:lnTo>
                <a:lnTo>
                  <a:pt x="6324" y="7927"/>
                </a:lnTo>
                <a:lnTo>
                  <a:pt x="6330" y="7944"/>
                </a:lnTo>
                <a:lnTo>
                  <a:pt x="6326" y="7954"/>
                </a:lnTo>
                <a:lnTo>
                  <a:pt x="6313" y="7959"/>
                </a:lnTo>
                <a:lnTo>
                  <a:pt x="6296" y="7959"/>
                </a:lnTo>
                <a:close/>
                <a:moveTo>
                  <a:pt x="6350" y="7659"/>
                </a:moveTo>
                <a:lnTo>
                  <a:pt x="6353" y="7657"/>
                </a:lnTo>
                <a:lnTo>
                  <a:pt x="6353" y="7659"/>
                </a:lnTo>
                <a:lnTo>
                  <a:pt x="6351" y="7660"/>
                </a:lnTo>
                <a:lnTo>
                  <a:pt x="6351" y="7660"/>
                </a:lnTo>
                <a:lnTo>
                  <a:pt x="6350" y="7659"/>
                </a:lnTo>
                <a:close/>
                <a:moveTo>
                  <a:pt x="6276" y="7777"/>
                </a:moveTo>
                <a:lnTo>
                  <a:pt x="6230" y="7803"/>
                </a:lnTo>
                <a:lnTo>
                  <a:pt x="6246" y="7772"/>
                </a:lnTo>
                <a:lnTo>
                  <a:pt x="6289" y="7724"/>
                </a:lnTo>
                <a:lnTo>
                  <a:pt x="6324" y="7703"/>
                </a:lnTo>
                <a:lnTo>
                  <a:pt x="6345" y="7691"/>
                </a:lnTo>
                <a:lnTo>
                  <a:pt x="6327" y="7711"/>
                </a:lnTo>
                <a:lnTo>
                  <a:pt x="6296" y="7745"/>
                </a:lnTo>
                <a:lnTo>
                  <a:pt x="6276" y="7777"/>
                </a:lnTo>
                <a:close/>
                <a:moveTo>
                  <a:pt x="6281" y="8289"/>
                </a:moveTo>
                <a:lnTo>
                  <a:pt x="6276" y="8289"/>
                </a:lnTo>
                <a:lnTo>
                  <a:pt x="6274" y="8288"/>
                </a:lnTo>
                <a:lnTo>
                  <a:pt x="6274" y="8284"/>
                </a:lnTo>
                <a:lnTo>
                  <a:pt x="6274" y="8279"/>
                </a:lnTo>
                <a:lnTo>
                  <a:pt x="6280" y="8279"/>
                </a:lnTo>
                <a:lnTo>
                  <a:pt x="6282" y="8281"/>
                </a:lnTo>
                <a:lnTo>
                  <a:pt x="6282" y="8285"/>
                </a:lnTo>
                <a:lnTo>
                  <a:pt x="6281" y="8289"/>
                </a:lnTo>
                <a:close/>
                <a:moveTo>
                  <a:pt x="6233" y="7969"/>
                </a:moveTo>
                <a:lnTo>
                  <a:pt x="6239" y="7969"/>
                </a:lnTo>
                <a:lnTo>
                  <a:pt x="6243" y="7972"/>
                </a:lnTo>
                <a:lnTo>
                  <a:pt x="6243" y="7974"/>
                </a:lnTo>
                <a:lnTo>
                  <a:pt x="6242" y="7981"/>
                </a:lnTo>
                <a:lnTo>
                  <a:pt x="6237" y="7982"/>
                </a:lnTo>
                <a:lnTo>
                  <a:pt x="6234" y="7979"/>
                </a:lnTo>
                <a:lnTo>
                  <a:pt x="6233" y="7976"/>
                </a:lnTo>
                <a:lnTo>
                  <a:pt x="6233" y="7969"/>
                </a:lnTo>
                <a:close/>
                <a:moveTo>
                  <a:pt x="6238" y="8037"/>
                </a:moveTo>
                <a:lnTo>
                  <a:pt x="6224" y="8049"/>
                </a:lnTo>
                <a:lnTo>
                  <a:pt x="6209" y="8067"/>
                </a:lnTo>
                <a:lnTo>
                  <a:pt x="6193" y="8080"/>
                </a:lnTo>
                <a:lnTo>
                  <a:pt x="6184" y="8076"/>
                </a:lnTo>
                <a:lnTo>
                  <a:pt x="6219" y="8037"/>
                </a:lnTo>
                <a:lnTo>
                  <a:pt x="6257" y="8002"/>
                </a:lnTo>
                <a:lnTo>
                  <a:pt x="6271" y="7995"/>
                </a:lnTo>
                <a:lnTo>
                  <a:pt x="6238" y="8037"/>
                </a:lnTo>
                <a:close/>
                <a:moveTo>
                  <a:pt x="6243" y="9503"/>
                </a:moveTo>
                <a:lnTo>
                  <a:pt x="6248" y="9502"/>
                </a:lnTo>
                <a:lnTo>
                  <a:pt x="6249" y="9504"/>
                </a:lnTo>
                <a:lnTo>
                  <a:pt x="6249" y="9511"/>
                </a:lnTo>
                <a:lnTo>
                  <a:pt x="6249" y="9521"/>
                </a:lnTo>
                <a:lnTo>
                  <a:pt x="6246" y="9510"/>
                </a:lnTo>
                <a:lnTo>
                  <a:pt x="6243" y="9503"/>
                </a:lnTo>
                <a:close/>
                <a:moveTo>
                  <a:pt x="6198" y="8165"/>
                </a:moveTo>
                <a:lnTo>
                  <a:pt x="6205" y="8163"/>
                </a:lnTo>
                <a:lnTo>
                  <a:pt x="6210" y="8160"/>
                </a:lnTo>
                <a:lnTo>
                  <a:pt x="6211" y="8165"/>
                </a:lnTo>
                <a:lnTo>
                  <a:pt x="6209" y="8167"/>
                </a:lnTo>
                <a:lnTo>
                  <a:pt x="6204" y="8167"/>
                </a:lnTo>
                <a:lnTo>
                  <a:pt x="6198" y="8165"/>
                </a:lnTo>
                <a:close/>
                <a:moveTo>
                  <a:pt x="6173" y="7438"/>
                </a:moveTo>
                <a:lnTo>
                  <a:pt x="6163" y="7442"/>
                </a:lnTo>
                <a:lnTo>
                  <a:pt x="6154" y="7449"/>
                </a:lnTo>
                <a:lnTo>
                  <a:pt x="6168" y="7437"/>
                </a:lnTo>
                <a:lnTo>
                  <a:pt x="6182" y="7428"/>
                </a:lnTo>
                <a:lnTo>
                  <a:pt x="6187" y="7427"/>
                </a:lnTo>
                <a:lnTo>
                  <a:pt x="6173" y="7438"/>
                </a:lnTo>
                <a:close/>
                <a:moveTo>
                  <a:pt x="6159" y="7563"/>
                </a:moveTo>
                <a:lnTo>
                  <a:pt x="6160" y="7562"/>
                </a:lnTo>
                <a:lnTo>
                  <a:pt x="6160" y="7561"/>
                </a:lnTo>
                <a:lnTo>
                  <a:pt x="6161" y="7562"/>
                </a:lnTo>
                <a:lnTo>
                  <a:pt x="6163" y="7563"/>
                </a:lnTo>
                <a:lnTo>
                  <a:pt x="6161" y="7563"/>
                </a:lnTo>
                <a:lnTo>
                  <a:pt x="6159" y="7563"/>
                </a:lnTo>
                <a:close/>
                <a:moveTo>
                  <a:pt x="6168" y="7740"/>
                </a:moveTo>
                <a:lnTo>
                  <a:pt x="6160" y="7743"/>
                </a:lnTo>
                <a:lnTo>
                  <a:pt x="6153" y="7744"/>
                </a:lnTo>
                <a:lnTo>
                  <a:pt x="6145" y="7744"/>
                </a:lnTo>
                <a:lnTo>
                  <a:pt x="6136" y="7741"/>
                </a:lnTo>
                <a:lnTo>
                  <a:pt x="6149" y="7733"/>
                </a:lnTo>
                <a:lnTo>
                  <a:pt x="6163" y="7725"/>
                </a:lnTo>
                <a:lnTo>
                  <a:pt x="6172" y="7726"/>
                </a:lnTo>
                <a:lnTo>
                  <a:pt x="6168" y="7740"/>
                </a:lnTo>
                <a:close/>
                <a:moveTo>
                  <a:pt x="6149" y="8121"/>
                </a:moveTo>
                <a:lnTo>
                  <a:pt x="6140" y="8123"/>
                </a:lnTo>
                <a:lnTo>
                  <a:pt x="6135" y="8121"/>
                </a:lnTo>
                <a:lnTo>
                  <a:pt x="6133" y="8116"/>
                </a:lnTo>
                <a:lnTo>
                  <a:pt x="6136" y="8107"/>
                </a:lnTo>
                <a:lnTo>
                  <a:pt x="6141" y="8109"/>
                </a:lnTo>
                <a:lnTo>
                  <a:pt x="6146" y="8112"/>
                </a:lnTo>
                <a:lnTo>
                  <a:pt x="6149" y="8116"/>
                </a:lnTo>
                <a:lnTo>
                  <a:pt x="6149" y="8121"/>
                </a:lnTo>
                <a:close/>
                <a:moveTo>
                  <a:pt x="6105" y="7763"/>
                </a:moveTo>
                <a:lnTo>
                  <a:pt x="6111" y="7755"/>
                </a:lnTo>
                <a:lnTo>
                  <a:pt x="6117" y="7749"/>
                </a:lnTo>
                <a:lnTo>
                  <a:pt x="6125" y="7747"/>
                </a:lnTo>
                <a:lnTo>
                  <a:pt x="6133" y="7744"/>
                </a:lnTo>
                <a:lnTo>
                  <a:pt x="6119" y="7753"/>
                </a:lnTo>
                <a:lnTo>
                  <a:pt x="6105" y="7763"/>
                </a:lnTo>
                <a:close/>
                <a:moveTo>
                  <a:pt x="6072" y="7572"/>
                </a:moveTo>
                <a:lnTo>
                  <a:pt x="6088" y="7556"/>
                </a:lnTo>
                <a:lnTo>
                  <a:pt x="6108" y="7544"/>
                </a:lnTo>
                <a:lnTo>
                  <a:pt x="6131" y="7535"/>
                </a:lnTo>
                <a:lnTo>
                  <a:pt x="6151" y="7524"/>
                </a:lnTo>
                <a:lnTo>
                  <a:pt x="6131" y="7536"/>
                </a:lnTo>
                <a:lnTo>
                  <a:pt x="6112" y="7548"/>
                </a:lnTo>
                <a:lnTo>
                  <a:pt x="6091" y="7559"/>
                </a:lnTo>
                <a:lnTo>
                  <a:pt x="6072" y="7572"/>
                </a:lnTo>
                <a:close/>
                <a:moveTo>
                  <a:pt x="6055" y="7786"/>
                </a:moveTo>
                <a:lnTo>
                  <a:pt x="6056" y="7786"/>
                </a:lnTo>
                <a:lnTo>
                  <a:pt x="6055" y="7786"/>
                </a:lnTo>
                <a:lnTo>
                  <a:pt x="6056" y="7785"/>
                </a:lnTo>
                <a:lnTo>
                  <a:pt x="6055" y="7786"/>
                </a:lnTo>
                <a:close/>
                <a:moveTo>
                  <a:pt x="5926" y="7656"/>
                </a:moveTo>
                <a:lnTo>
                  <a:pt x="5941" y="7633"/>
                </a:lnTo>
                <a:lnTo>
                  <a:pt x="5968" y="7609"/>
                </a:lnTo>
                <a:lnTo>
                  <a:pt x="5986" y="7600"/>
                </a:lnTo>
                <a:lnTo>
                  <a:pt x="5969" y="7618"/>
                </a:lnTo>
                <a:lnTo>
                  <a:pt x="6034" y="7591"/>
                </a:lnTo>
                <a:lnTo>
                  <a:pt x="6029" y="7598"/>
                </a:lnTo>
                <a:lnTo>
                  <a:pt x="5984" y="7624"/>
                </a:lnTo>
                <a:lnTo>
                  <a:pt x="5926" y="7656"/>
                </a:lnTo>
                <a:close/>
                <a:moveTo>
                  <a:pt x="6047" y="7657"/>
                </a:moveTo>
                <a:lnTo>
                  <a:pt x="6043" y="7657"/>
                </a:lnTo>
                <a:lnTo>
                  <a:pt x="6044" y="7656"/>
                </a:lnTo>
                <a:lnTo>
                  <a:pt x="6047" y="7655"/>
                </a:lnTo>
                <a:lnTo>
                  <a:pt x="6049" y="7655"/>
                </a:lnTo>
                <a:lnTo>
                  <a:pt x="6048" y="7656"/>
                </a:lnTo>
                <a:lnTo>
                  <a:pt x="6047" y="7657"/>
                </a:lnTo>
                <a:close/>
                <a:moveTo>
                  <a:pt x="5951" y="7661"/>
                </a:moveTo>
                <a:lnTo>
                  <a:pt x="5962" y="7659"/>
                </a:lnTo>
                <a:lnTo>
                  <a:pt x="5972" y="7656"/>
                </a:lnTo>
                <a:lnTo>
                  <a:pt x="5983" y="7654"/>
                </a:lnTo>
                <a:lnTo>
                  <a:pt x="5993" y="7651"/>
                </a:lnTo>
                <a:lnTo>
                  <a:pt x="5983" y="7657"/>
                </a:lnTo>
                <a:lnTo>
                  <a:pt x="5974" y="7665"/>
                </a:lnTo>
                <a:lnTo>
                  <a:pt x="5963" y="7668"/>
                </a:lnTo>
                <a:lnTo>
                  <a:pt x="5951" y="7661"/>
                </a:lnTo>
                <a:close/>
                <a:moveTo>
                  <a:pt x="5973" y="7696"/>
                </a:moveTo>
                <a:lnTo>
                  <a:pt x="5981" y="7689"/>
                </a:lnTo>
                <a:lnTo>
                  <a:pt x="5988" y="7682"/>
                </a:lnTo>
                <a:lnTo>
                  <a:pt x="5987" y="7689"/>
                </a:lnTo>
                <a:lnTo>
                  <a:pt x="5983" y="7693"/>
                </a:lnTo>
                <a:lnTo>
                  <a:pt x="5978" y="7694"/>
                </a:lnTo>
                <a:lnTo>
                  <a:pt x="5973" y="7696"/>
                </a:lnTo>
                <a:close/>
                <a:moveTo>
                  <a:pt x="5937" y="7668"/>
                </a:moveTo>
                <a:lnTo>
                  <a:pt x="5937" y="7669"/>
                </a:lnTo>
                <a:lnTo>
                  <a:pt x="5937" y="7668"/>
                </a:lnTo>
                <a:lnTo>
                  <a:pt x="5946" y="7664"/>
                </a:lnTo>
                <a:lnTo>
                  <a:pt x="5937" y="7668"/>
                </a:lnTo>
                <a:close/>
                <a:moveTo>
                  <a:pt x="5866" y="7736"/>
                </a:moveTo>
                <a:lnTo>
                  <a:pt x="5839" y="7733"/>
                </a:lnTo>
                <a:lnTo>
                  <a:pt x="5852" y="7726"/>
                </a:lnTo>
                <a:lnTo>
                  <a:pt x="5883" y="7717"/>
                </a:lnTo>
                <a:lnTo>
                  <a:pt x="5909" y="7708"/>
                </a:lnTo>
                <a:lnTo>
                  <a:pt x="5955" y="7697"/>
                </a:lnTo>
                <a:lnTo>
                  <a:pt x="5948" y="7706"/>
                </a:lnTo>
                <a:lnTo>
                  <a:pt x="5909" y="7724"/>
                </a:lnTo>
                <a:lnTo>
                  <a:pt x="5866" y="7736"/>
                </a:lnTo>
                <a:close/>
                <a:moveTo>
                  <a:pt x="5940" y="7887"/>
                </a:moveTo>
                <a:lnTo>
                  <a:pt x="5944" y="7884"/>
                </a:lnTo>
                <a:lnTo>
                  <a:pt x="5940" y="7887"/>
                </a:lnTo>
                <a:lnTo>
                  <a:pt x="5940" y="7884"/>
                </a:lnTo>
                <a:lnTo>
                  <a:pt x="5941" y="7883"/>
                </a:lnTo>
                <a:lnTo>
                  <a:pt x="5942" y="7884"/>
                </a:lnTo>
                <a:lnTo>
                  <a:pt x="5940" y="7887"/>
                </a:lnTo>
                <a:close/>
                <a:moveTo>
                  <a:pt x="5872" y="7822"/>
                </a:moveTo>
                <a:lnTo>
                  <a:pt x="5874" y="7819"/>
                </a:lnTo>
                <a:lnTo>
                  <a:pt x="5876" y="7819"/>
                </a:lnTo>
                <a:lnTo>
                  <a:pt x="5879" y="7819"/>
                </a:lnTo>
                <a:lnTo>
                  <a:pt x="5881" y="7820"/>
                </a:lnTo>
                <a:lnTo>
                  <a:pt x="5880" y="7823"/>
                </a:lnTo>
                <a:lnTo>
                  <a:pt x="5879" y="7823"/>
                </a:lnTo>
                <a:lnTo>
                  <a:pt x="5876" y="7823"/>
                </a:lnTo>
                <a:lnTo>
                  <a:pt x="5872" y="7822"/>
                </a:lnTo>
                <a:close/>
                <a:moveTo>
                  <a:pt x="5903" y="7922"/>
                </a:moveTo>
                <a:lnTo>
                  <a:pt x="5889" y="7923"/>
                </a:lnTo>
                <a:lnTo>
                  <a:pt x="5879" y="7918"/>
                </a:lnTo>
                <a:lnTo>
                  <a:pt x="5879" y="7909"/>
                </a:lnTo>
                <a:lnTo>
                  <a:pt x="5893" y="7903"/>
                </a:lnTo>
                <a:lnTo>
                  <a:pt x="5892" y="7909"/>
                </a:lnTo>
                <a:lnTo>
                  <a:pt x="5904" y="7904"/>
                </a:lnTo>
                <a:lnTo>
                  <a:pt x="5912" y="7904"/>
                </a:lnTo>
                <a:lnTo>
                  <a:pt x="5903" y="7922"/>
                </a:lnTo>
                <a:close/>
                <a:moveTo>
                  <a:pt x="5837" y="7941"/>
                </a:moveTo>
                <a:lnTo>
                  <a:pt x="5844" y="7930"/>
                </a:lnTo>
                <a:lnTo>
                  <a:pt x="5853" y="7923"/>
                </a:lnTo>
                <a:lnTo>
                  <a:pt x="5862" y="7918"/>
                </a:lnTo>
                <a:lnTo>
                  <a:pt x="5872" y="7913"/>
                </a:lnTo>
                <a:lnTo>
                  <a:pt x="5866" y="7922"/>
                </a:lnTo>
                <a:lnTo>
                  <a:pt x="5860" y="7931"/>
                </a:lnTo>
                <a:lnTo>
                  <a:pt x="5851" y="7939"/>
                </a:lnTo>
                <a:lnTo>
                  <a:pt x="5837" y="7941"/>
                </a:lnTo>
                <a:close/>
                <a:moveTo>
                  <a:pt x="5835" y="7693"/>
                </a:moveTo>
                <a:lnTo>
                  <a:pt x="5839" y="7692"/>
                </a:lnTo>
                <a:lnTo>
                  <a:pt x="5843" y="7692"/>
                </a:lnTo>
                <a:lnTo>
                  <a:pt x="5839" y="7694"/>
                </a:lnTo>
                <a:lnTo>
                  <a:pt x="5834" y="7697"/>
                </a:lnTo>
                <a:lnTo>
                  <a:pt x="5832" y="7698"/>
                </a:lnTo>
                <a:lnTo>
                  <a:pt x="5835" y="7693"/>
                </a:lnTo>
                <a:close/>
                <a:moveTo>
                  <a:pt x="5814" y="7701"/>
                </a:moveTo>
                <a:lnTo>
                  <a:pt x="5787" y="7720"/>
                </a:lnTo>
                <a:lnTo>
                  <a:pt x="5771" y="7724"/>
                </a:lnTo>
                <a:lnTo>
                  <a:pt x="5771" y="7715"/>
                </a:lnTo>
                <a:lnTo>
                  <a:pt x="5792" y="7689"/>
                </a:lnTo>
                <a:lnTo>
                  <a:pt x="5805" y="7682"/>
                </a:lnTo>
                <a:lnTo>
                  <a:pt x="5819" y="7682"/>
                </a:lnTo>
                <a:lnTo>
                  <a:pt x="5827" y="7688"/>
                </a:lnTo>
                <a:lnTo>
                  <a:pt x="5814" y="7701"/>
                </a:lnTo>
                <a:close/>
                <a:moveTo>
                  <a:pt x="5823" y="7846"/>
                </a:moveTo>
                <a:lnTo>
                  <a:pt x="5823" y="7845"/>
                </a:lnTo>
                <a:lnTo>
                  <a:pt x="5823" y="7843"/>
                </a:lnTo>
                <a:lnTo>
                  <a:pt x="5823" y="7843"/>
                </a:lnTo>
                <a:lnTo>
                  <a:pt x="5825" y="7842"/>
                </a:lnTo>
                <a:lnTo>
                  <a:pt x="5825" y="7843"/>
                </a:lnTo>
                <a:lnTo>
                  <a:pt x="5825" y="7845"/>
                </a:lnTo>
                <a:lnTo>
                  <a:pt x="5824" y="7846"/>
                </a:lnTo>
                <a:lnTo>
                  <a:pt x="5823" y="7846"/>
                </a:lnTo>
                <a:close/>
                <a:moveTo>
                  <a:pt x="5790" y="7773"/>
                </a:moveTo>
                <a:lnTo>
                  <a:pt x="5793" y="7772"/>
                </a:lnTo>
                <a:lnTo>
                  <a:pt x="5795" y="7772"/>
                </a:lnTo>
                <a:lnTo>
                  <a:pt x="5792" y="7772"/>
                </a:lnTo>
                <a:lnTo>
                  <a:pt x="5790" y="7773"/>
                </a:lnTo>
                <a:lnTo>
                  <a:pt x="5793" y="7771"/>
                </a:lnTo>
                <a:lnTo>
                  <a:pt x="5795" y="7768"/>
                </a:lnTo>
                <a:lnTo>
                  <a:pt x="5795" y="7768"/>
                </a:lnTo>
                <a:lnTo>
                  <a:pt x="5790" y="7773"/>
                </a:lnTo>
                <a:close/>
                <a:moveTo>
                  <a:pt x="5767" y="7782"/>
                </a:moveTo>
                <a:lnTo>
                  <a:pt x="5772" y="7777"/>
                </a:lnTo>
                <a:lnTo>
                  <a:pt x="5777" y="7775"/>
                </a:lnTo>
                <a:lnTo>
                  <a:pt x="5782" y="7775"/>
                </a:lnTo>
                <a:lnTo>
                  <a:pt x="5787" y="7775"/>
                </a:lnTo>
                <a:lnTo>
                  <a:pt x="5778" y="7778"/>
                </a:lnTo>
                <a:lnTo>
                  <a:pt x="5767" y="7782"/>
                </a:lnTo>
                <a:close/>
                <a:moveTo>
                  <a:pt x="5737" y="7738"/>
                </a:moveTo>
                <a:lnTo>
                  <a:pt x="5731" y="7735"/>
                </a:lnTo>
                <a:lnTo>
                  <a:pt x="5736" y="7730"/>
                </a:lnTo>
                <a:lnTo>
                  <a:pt x="5746" y="7727"/>
                </a:lnTo>
                <a:lnTo>
                  <a:pt x="5755" y="7726"/>
                </a:lnTo>
                <a:lnTo>
                  <a:pt x="5751" y="7730"/>
                </a:lnTo>
                <a:lnTo>
                  <a:pt x="5748" y="7734"/>
                </a:lnTo>
                <a:lnTo>
                  <a:pt x="5743" y="7736"/>
                </a:lnTo>
                <a:lnTo>
                  <a:pt x="5737" y="7738"/>
                </a:lnTo>
                <a:close/>
                <a:moveTo>
                  <a:pt x="5698" y="8038"/>
                </a:moveTo>
                <a:lnTo>
                  <a:pt x="5644" y="8061"/>
                </a:lnTo>
                <a:lnTo>
                  <a:pt x="5642" y="8055"/>
                </a:lnTo>
                <a:lnTo>
                  <a:pt x="5674" y="8033"/>
                </a:lnTo>
                <a:lnTo>
                  <a:pt x="5722" y="8005"/>
                </a:lnTo>
                <a:lnTo>
                  <a:pt x="5718" y="8019"/>
                </a:lnTo>
                <a:lnTo>
                  <a:pt x="5713" y="8028"/>
                </a:lnTo>
                <a:lnTo>
                  <a:pt x="5708" y="8033"/>
                </a:lnTo>
                <a:lnTo>
                  <a:pt x="5698" y="8038"/>
                </a:lnTo>
                <a:close/>
                <a:moveTo>
                  <a:pt x="5605" y="7675"/>
                </a:moveTo>
                <a:lnTo>
                  <a:pt x="5606" y="7673"/>
                </a:lnTo>
                <a:lnTo>
                  <a:pt x="5608" y="7670"/>
                </a:lnTo>
                <a:lnTo>
                  <a:pt x="5610" y="7668"/>
                </a:lnTo>
                <a:lnTo>
                  <a:pt x="5614" y="7666"/>
                </a:lnTo>
                <a:lnTo>
                  <a:pt x="5615" y="7671"/>
                </a:lnTo>
                <a:lnTo>
                  <a:pt x="5613" y="7674"/>
                </a:lnTo>
                <a:lnTo>
                  <a:pt x="5609" y="7675"/>
                </a:lnTo>
                <a:lnTo>
                  <a:pt x="5605" y="7675"/>
                </a:lnTo>
                <a:close/>
                <a:moveTo>
                  <a:pt x="5488" y="8247"/>
                </a:moveTo>
                <a:lnTo>
                  <a:pt x="5485" y="8248"/>
                </a:lnTo>
                <a:lnTo>
                  <a:pt x="5485" y="8246"/>
                </a:lnTo>
                <a:lnTo>
                  <a:pt x="5485" y="8243"/>
                </a:lnTo>
                <a:lnTo>
                  <a:pt x="5488" y="8242"/>
                </a:lnTo>
                <a:lnTo>
                  <a:pt x="5492" y="8242"/>
                </a:lnTo>
                <a:lnTo>
                  <a:pt x="5493" y="8243"/>
                </a:lnTo>
                <a:lnTo>
                  <a:pt x="5492" y="8246"/>
                </a:lnTo>
                <a:lnTo>
                  <a:pt x="5488" y="8247"/>
                </a:lnTo>
                <a:close/>
                <a:moveTo>
                  <a:pt x="5374" y="1928"/>
                </a:moveTo>
                <a:lnTo>
                  <a:pt x="5569" y="1794"/>
                </a:lnTo>
                <a:lnTo>
                  <a:pt x="5772" y="1686"/>
                </a:lnTo>
                <a:lnTo>
                  <a:pt x="5964" y="1597"/>
                </a:lnTo>
                <a:lnTo>
                  <a:pt x="6132" y="1521"/>
                </a:lnTo>
                <a:lnTo>
                  <a:pt x="5986" y="1619"/>
                </a:lnTo>
                <a:lnTo>
                  <a:pt x="5795" y="1728"/>
                </a:lnTo>
                <a:lnTo>
                  <a:pt x="5582" y="1836"/>
                </a:lnTo>
                <a:lnTo>
                  <a:pt x="5374" y="1928"/>
                </a:lnTo>
                <a:close/>
                <a:moveTo>
                  <a:pt x="5324" y="7535"/>
                </a:moveTo>
                <a:lnTo>
                  <a:pt x="5325" y="7533"/>
                </a:lnTo>
                <a:lnTo>
                  <a:pt x="5327" y="7533"/>
                </a:lnTo>
                <a:lnTo>
                  <a:pt x="5329" y="7534"/>
                </a:lnTo>
                <a:lnTo>
                  <a:pt x="5330" y="7536"/>
                </a:lnTo>
                <a:lnTo>
                  <a:pt x="5327" y="7536"/>
                </a:lnTo>
                <a:lnTo>
                  <a:pt x="5324" y="7535"/>
                </a:lnTo>
                <a:close/>
                <a:moveTo>
                  <a:pt x="5278" y="7520"/>
                </a:moveTo>
                <a:lnTo>
                  <a:pt x="5275" y="7514"/>
                </a:lnTo>
                <a:lnTo>
                  <a:pt x="5278" y="7512"/>
                </a:lnTo>
                <a:lnTo>
                  <a:pt x="5284" y="7515"/>
                </a:lnTo>
                <a:lnTo>
                  <a:pt x="5290" y="7517"/>
                </a:lnTo>
                <a:lnTo>
                  <a:pt x="5284" y="7519"/>
                </a:lnTo>
                <a:lnTo>
                  <a:pt x="5278" y="7520"/>
                </a:lnTo>
                <a:close/>
                <a:moveTo>
                  <a:pt x="5237" y="7547"/>
                </a:moveTo>
                <a:lnTo>
                  <a:pt x="5210" y="7557"/>
                </a:lnTo>
                <a:lnTo>
                  <a:pt x="5186" y="7568"/>
                </a:lnTo>
                <a:lnTo>
                  <a:pt x="5161" y="7578"/>
                </a:lnTo>
                <a:lnTo>
                  <a:pt x="5131" y="7584"/>
                </a:lnTo>
                <a:lnTo>
                  <a:pt x="5158" y="7566"/>
                </a:lnTo>
                <a:lnTo>
                  <a:pt x="5192" y="7545"/>
                </a:lnTo>
                <a:lnTo>
                  <a:pt x="5223" y="7535"/>
                </a:lnTo>
                <a:lnTo>
                  <a:pt x="5237" y="7547"/>
                </a:lnTo>
                <a:close/>
                <a:moveTo>
                  <a:pt x="5085" y="8288"/>
                </a:moveTo>
                <a:lnTo>
                  <a:pt x="5092" y="8277"/>
                </a:lnTo>
                <a:lnTo>
                  <a:pt x="5099" y="8267"/>
                </a:lnTo>
                <a:lnTo>
                  <a:pt x="5108" y="8265"/>
                </a:lnTo>
                <a:lnTo>
                  <a:pt x="5117" y="8272"/>
                </a:lnTo>
                <a:lnTo>
                  <a:pt x="5110" y="8279"/>
                </a:lnTo>
                <a:lnTo>
                  <a:pt x="5102" y="8282"/>
                </a:lnTo>
                <a:lnTo>
                  <a:pt x="5094" y="8285"/>
                </a:lnTo>
                <a:lnTo>
                  <a:pt x="5085" y="8288"/>
                </a:lnTo>
                <a:close/>
                <a:moveTo>
                  <a:pt x="5057" y="8341"/>
                </a:moveTo>
                <a:lnTo>
                  <a:pt x="5073" y="8345"/>
                </a:lnTo>
                <a:lnTo>
                  <a:pt x="5085" y="8349"/>
                </a:lnTo>
                <a:lnTo>
                  <a:pt x="5078" y="8354"/>
                </a:lnTo>
                <a:lnTo>
                  <a:pt x="5073" y="8355"/>
                </a:lnTo>
                <a:lnTo>
                  <a:pt x="5068" y="8350"/>
                </a:lnTo>
                <a:lnTo>
                  <a:pt x="5057" y="8341"/>
                </a:lnTo>
                <a:close/>
                <a:moveTo>
                  <a:pt x="5041" y="8207"/>
                </a:moveTo>
                <a:lnTo>
                  <a:pt x="5042" y="8205"/>
                </a:lnTo>
                <a:lnTo>
                  <a:pt x="5041" y="8207"/>
                </a:lnTo>
                <a:lnTo>
                  <a:pt x="5041" y="8204"/>
                </a:lnTo>
                <a:lnTo>
                  <a:pt x="5041" y="8207"/>
                </a:lnTo>
                <a:close/>
                <a:moveTo>
                  <a:pt x="5074" y="8170"/>
                </a:moveTo>
                <a:lnTo>
                  <a:pt x="5074" y="8172"/>
                </a:lnTo>
                <a:lnTo>
                  <a:pt x="5073" y="8173"/>
                </a:lnTo>
                <a:lnTo>
                  <a:pt x="5071" y="8173"/>
                </a:lnTo>
                <a:lnTo>
                  <a:pt x="5070" y="8172"/>
                </a:lnTo>
                <a:lnTo>
                  <a:pt x="5070" y="8170"/>
                </a:lnTo>
                <a:lnTo>
                  <a:pt x="5070" y="8169"/>
                </a:lnTo>
                <a:lnTo>
                  <a:pt x="5073" y="8169"/>
                </a:lnTo>
                <a:lnTo>
                  <a:pt x="5074" y="8170"/>
                </a:lnTo>
                <a:close/>
                <a:moveTo>
                  <a:pt x="5089" y="8133"/>
                </a:moveTo>
                <a:lnTo>
                  <a:pt x="5088" y="8135"/>
                </a:lnTo>
                <a:lnTo>
                  <a:pt x="5085" y="8135"/>
                </a:lnTo>
                <a:lnTo>
                  <a:pt x="5084" y="8133"/>
                </a:lnTo>
                <a:lnTo>
                  <a:pt x="5084" y="8131"/>
                </a:lnTo>
                <a:lnTo>
                  <a:pt x="5087" y="8132"/>
                </a:lnTo>
                <a:lnTo>
                  <a:pt x="5089" y="8133"/>
                </a:lnTo>
                <a:close/>
                <a:moveTo>
                  <a:pt x="5031" y="7661"/>
                </a:moveTo>
                <a:lnTo>
                  <a:pt x="5042" y="7640"/>
                </a:lnTo>
                <a:lnTo>
                  <a:pt x="5059" y="7624"/>
                </a:lnTo>
                <a:lnTo>
                  <a:pt x="5079" y="7619"/>
                </a:lnTo>
                <a:lnTo>
                  <a:pt x="5101" y="7628"/>
                </a:lnTo>
                <a:lnTo>
                  <a:pt x="5083" y="7638"/>
                </a:lnTo>
                <a:lnTo>
                  <a:pt x="5066" y="7646"/>
                </a:lnTo>
                <a:lnTo>
                  <a:pt x="5048" y="7654"/>
                </a:lnTo>
                <a:lnTo>
                  <a:pt x="5031" y="7661"/>
                </a:lnTo>
                <a:close/>
                <a:moveTo>
                  <a:pt x="5032" y="7930"/>
                </a:moveTo>
                <a:lnTo>
                  <a:pt x="5029" y="7930"/>
                </a:lnTo>
                <a:lnTo>
                  <a:pt x="5029" y="7929"/>
                </a:lnTo>
                <a:lnTo>
                  <a:pt x="5029" y="7929"/>
                </a:lnTo>
                <a:lnTo>
                  <a:pt x="5031" y="7926"/>
                </a:lnTo>
                <a:lnTo>
                  <a:pt x="5033" y="7926"/>
                </a:lnTo>
                <a:lnTo>
                  <a:pt x="5034" y="7927"/>
                </a:lnTo>
                <a:lnTo>
                  <a:pt x="5034" y="7927"/>
                </a:lnTo>
                <a:lnTo>
                  <a:pt x="5032" y="7930"/>
                </a:lnTo>
                <a:close/>
                <a:moveTo>
                  <a:pt x="5019" y="8123"/>
                </a:moveTo>
                <a:lnTo>
                  <a:pt x="5012" y="8126"/>
                </a:lnTo>
                <a:lnTo>
                  <a:pt x="5004" y="8130"/>
                </a:lnTo>
                <a:lnTo>
                  <a:pt x="4987" y="8132"/>
                </a:lnTo>
                <a:lnTo>
                  <a:pt x="4996" y="8121"/>
                </a:lnTo>
                <a:lnTo>
                  <a:pt x="5012" y="8112"/>
                </a:lnTo>
                <a:lnTo>
                  <a:pt x="5019" y="8123"/>
                </a:lnTo>
                <a:close/>
                <a:moveTo>
                  <a:pt x="4990" y="8093"/>
                </a:moveTo>
                <a:lnTo>
                  <a:pt x="4986" y="8099"/>
                </a:lnTo>
                <a:lnTo>
                  <a:pt x="4981" y="8105"/>
                </a:lnTo>
                <a:lnTo>
                  <a:pt x="4985" y="8099"/>
                </a:lnTo>
                <a:lnTo>
                  <a:pt x="4990" y="8093"/>
                </a:lnTo>
                <a:close/>
                <a:moveTo>
                  <a:pt x="4978" y="8080"/>
                </a:moveTo>
                <a:lnTo>
                  <a:pt x="4982" y="8079"/>
                </a:lnTo>
                <a:lnTo>
                  <a:pt x="4986" y="8077"/>
                </a:lnTo>
                <a:lnTo>
                  <a:pt x="4990" y="8079"/>
                </a:lnTo>
                <a:lnTo>
                  <a:pt x="4992" y="8083"/>
                </a:lnTo>
                <a:lnTo>
                  <a:pt x="4989" y="8085"/>
                </a:lnTo>
                <a:lnTo>
                  <a:pt x="4983" y="8086"/>
                </a:lnTo>
                <a:lnTo>
                  <a:pt x="4980" y="8085"/>
                </a:lnTo>
                <a:lnTo>
                  <a:pt x="4978" y="8080"/>
                </a:lnTo>
                <a:close/>
                <a:moveTo>
                  <a:pt x="4947" y="7957"/>
                </a:moveTo>
                <a:lnTo>
                  <a:pt x="4939" y="7972"/>
                </a:lnTo>
                <a:lnTo>
                  <a:pt x="4888" y="8002"/>
                </a:lnTo>
                <a:lnTo>
                  <a:pt x="4834" y="8027"/>
                </a:lnTo>
                <a:lnTo>
                  <a:pt x="4822" y="8023"/>
                </a:lnTo>
                <a:lnTo>
                  <a:pt x="4866" y="7995"/>
                </a:lnTo>
                <a:lnTo>
                  <a:pt x="4925" y="7949"/>
                </a:lnTo>
                <a:lnTo>
                  <a:pt x="4963" y="7925"/>
                </a:lnTo>
                <a:lnTo>
                  <a:pt x="4947" y="7957"/>
                </a:lnTo>
                <a:close/>
                <a:moveTo>
                  <a:pt x="4920" y="8080"/>
                </a:moveTo>
                <a:lnTo>
                  <a:pt x="4933" y="8070"/>
                </a:lnTo>
                <a:lnTo>
                  <a:pt x="4943" y="8058"/>
                </a:lnTo>
                <a:lnTo>
                  <a:pt x="4952" y="8048"/>
                </a:lnTo>
                <a:lnTo>
                  <a:pt x="4964" y="8039"/>
                </a:lnTo>
                <a:lnTo>
                  <a:pt x="4957" y="8051"/>
                </a:lnTo>
                <a:lnTo>
                  <a:pt x="4945" y="8062"/>
                </a:lnTo>
                <a:lnTo>
                  <a:pt x="4933" y="8071"/>
                </a:lnTo>
                <a:lnTo>
                  <a:pt x="4920" y="8080"/>
                </a:lnTo>
                <a:close/>
                <a:moveTo>
                  <a:pt x="4947" y="807"/>
                </a:moveTo>
                <a:lnTo>
                  <a:pt x="4935" y="817"/>
                </a:lnTo>
                <a:lnTo>
                  <a:pt x="4924" y="823"/>
                </a:lnTo>
                <a:lnTo>
                  <a:pt x="4905" y="826"/>
                </a:lnTo>
                <a:lnTo>
                  <a:pt x="4873" y="829"/>
                </a:lnTo>
                <a:lnTo>
                  <a:pt x="4885" y="819"/>
                </a:lnTo>
                <a:lnTo>
                  <a:pt x="4898" y="814"/>
                </a:lnTo>
                <a:lnTo>
                  <a:pt x="4916" y="810"/>
                </a:lnTo>
                <a:lnTo>
                  <a:pt x="4947" y="807"/>
                </a:lnTo>
                <a:close/>
                <a:moveTo>
                  <a:pt x="5031" y="1584"/>
                </a:moveTo>
                <a:lnTo>
                  <a:pt x="5046" y="1578"/>
                </a:lnTo>
                <a:lnTo>
                  <a:pt x="5061" y="1568"/>
                </a:lnTo>
                <a:lnTo>
                  <a:pt x="5076" y="1560"/>
                </a:lnTo>
                <a:lnTo>
                  <a:pt x="5093" y="1555"/>
                </a:lnTo>
                <a:lnTo>
                  <a:pt x="5078" y="1564"/>
                </a:lnTo>
                <a:lnTo>
                  <a:pt x="5061" y="1574"/>
                </a:lnTo>
                <a:lnTo>
                  <a:pt x="5045" y="1582"/>
                </a:lnTo>
                <a:lnTo>
                  <a:pt x="5031" y="1584"/>
                </a:lnTo>
                <a:close/>
                <a:moveTo>
                  <a:pt x="5158" y="1491"/>
                </a:moveTo>
                <a:lnTo>
                  <a:pt x="5166" y="1485"/>
                </a:lnTo>
                <a:lnTo>
                  <a:pt x="5171" y="1477"/>
                </a:lnTo>
                <a:lnTo>
                  <a:pt x="5176" y="1468"/>
                </a:lnTo>
                <a:lnTo>
                  <a:pt x="5182" y="1462"/>
                </a:lnTo>
                <a:lnTo>
                  <a:pt x="5194" y="1476"/>
                </a:lnTo>
                <a:lnTo>
                  <a:pt x="5187" y="1489"/>
                </a:lnTo>
                <a:lnTo>
                  <a:pt x="5172" y="1494"/>
                </a:lnTo>
                <a:lnTo>
                  <a:pt x="5158" y="1491"/>
                </a:lnTo>
                <a:close/>
                <a:moveTo>
                  <a:pt x="5201" y="751"/>
                </a:moveTo>
                <a:lnTo>
                  <a:pt x="5218" y="751"/>
                </a:lnTo>
                <a:lnTo>
                  <a:pt x="5222" y="761"/>
                </a:lnTo>
                <a:lnTo>
                  <a:pt x="5214" y="772"/>
                </a:lnTo>
                <a:lnTo>
                  <a:pt x="5194" y="775"/>
                </a:lnTo>
                <a:lnTo>
                  <a:pt x="5196" y="766"/>
                </a:lnTo>
                <a:lnTo>
                  <a:pt x="5197" y="758"/>
                </a:lnTo>
                <a:lnTo>
                  <a:pt x="5199" y="753"/>
                </a:lnTo>
                <a:lnTo>
                  <a:pt x="5201" y="751"/>
                </a:lnTo>
                <a:close/>
                <a:moveTo>
                  <a:pt x="5260" y="1484"/>
                </a:moveTo>
                <a:lnTo>
                  <a:pt x="5265" y="1482"/>
                </a:lnTo>
                <a:lnTo>
                  <a:pt x="5265" y="1484"/>
                </a:lnTo>
                <a:lnTo>
                  <a:pt x="5264" y="1486"/>
                </a:lnTo>
                <a:lnTo>
                  <a:pt x="5260" y="1490"/>
                </a:lnTo>
                <a:lnTo>
                  <a:pt x="5256" y="1491"/>
                </a:lnTo>
                <a:lnTo>
                  <a:pt x="5256" y="1490"/>
                </a:lnTo>
                <a:lnTo>
                  <a:pt x="5259" y="1486"/>
                </a:lnTo>
                <a:lnTo>
                  <a:pt x="5260" y="1484"/>
                </a:lnTo>
                <a:close/>
                <a:moveTo>
                  <a:pt x="5275" y="756"/>
                </a:moveTo>
                <a:lnTo>
                  <a:pt x="5280" y="753"/>
                </a:lnTo>
                <a:lnTo>
                  <a:pt x="5284" y="754"/>
                </a:lnTo>
                <a:lnTo>
                  <a:pt x="5288" y="757"/>
                </a:lnTo>
                <a:lnTo>
                  <a:pt x="5289" y="761"/>
                </a:lnTo>
                <a:lnTo>
                  <a:pt x="5281" y="765"/>
                </a:lnTo>
                <a:lnTo>
                  <a:pt x="5276" y="766"/>
                </a:lnTo>
                <a:lnTo>
                  <a:pt x="5274" y="763"/>
                </a:lnTo>
                <a:lnTo>
                  <a:pt x="5275" y="756"/>
                </a:lnTo>
                <a:close/>
                <a:moveTo>
                  <a:pt x="5189" y="1530"/>
                </a:moveTo>
                <a:lnTo>
                  <a:pt x="5169" y="1530"/>
                </a:lnTo>
                <a:lnTo>
                  <a:pt x="5162" y="1518"/>
                </a:lnTo>
                <a:lnTo>
                  <a:pt x="5162" y="1509"/>
                </a:lnTo>
                <a:lnTo>
                  <a:pt x="5167" y="1514"/>
                </a:lnTo>
                <a:lnTo>
                  <a:pt x="5173" y="1517"/>
                </a:lnTo>
                <a:lnTo>
                  <a:pt x="5181" y="1518"/>
                </a:lnTo>
                <a:lnTo>
                  <a:pt x="5186" y="1521"/>
                </a:lnTo>
                <a:lnTo>
                  <a:pt x="5189" y="1530"/>
                </a:lnTo>
                <a:close/>
                <a:moveTo>
                  <a:pt x="4885" y="897"/>
                </a:moveTo>
                <a:lnTo>
                  <a:pt x="4896" y="894"/>
                </a:lnTo>
                <a:lnTo>
                  <a:pt x="4907" y="892"/>
                </a:lnTo>
                <a:lnTo>
                  <a:pt x="4913" y="894"/>
                </a:lnTo>
                <a:lnTo>
                  <a:pt x="4908" y="903"/>
                </a:lnTo>
                <a:lnTo>
                  <a:pt x="4899" y="906"/>
                </a:lnTo>
                <a:lnTo>
                  <a:pt x="4892" y="907"/>
                </a:lnTo>
                <a:lnTo>
                  <a:pt x="4885" y="905"/>
                </a:lnTo>
                <a:lnTo>
                  <a:pt x="4885" y="897"/>
                </a:lnTo>
                <a:close/>
                <a:moveTo>
                  <a:pt x="5374" y="1778"/>
                </a:moveTo>
                <a:lnTo>
                  <a:pt x="5371" y="1780"/>
                </a:lnTo>
                <a:lnTo>
                  <a:pt x="5369" y="1782"/>
                </a:lnTo>
                <a:lnTo>
                  <a:pt x="5372" y="1780"/>
                </a:lnTo>
                <a:lnTo>
                  <a:pt x="5374" y="1778"/>
                </a:lnTo>
                <a:lnTo>
                  <a:pt x="5373" y="1780"/>
                </a:lnTo>
                <a:lnTo>
                  <a:pt x="5372" y="1782"/>
                </a:lnTo>
                <a:lnTo>
                  <a:pt x="5371" y="1780"/>
                </a:lnTo>
                <a:lnTo>
                  <a:pt x="5374" y="1778"/>
                </a:lnTo>
                <a:close/>
                <a:moveTo>
                  <a:pt x="5464" y="1391"/>
                </a:moveTo>
                <a:lnTo>
                  <a:pt x="5438" y="1404"/>
                </a:lnTo>
                <a:lnTo>
                  <a:pt x="5415" y="1414"/>
                </a:lnTo>
                <a:lnTo>
                  <a:pt x="5394" y="1424"/>
                </a:lnTo>
                <a:lnTo>
                  <a:pt x="5372" y="1434"/>
                </a:lnTo>
                <a:lnTo>
                  <a:pt x="5387" y="1415"/>
                </a:lnTo>
                <a:lnTo>
                  <a:pt x="5402" y="1404"/>
                </a:lnTo>
                <a:lnTo>
                  <a:pt x="5425" y="1397"/>
                </a:lnTo>
                <a:lnTo>
                  <a:pt x="5464" y="1391"/>
                </a:lnTo>
                <a:close/>
                <a:moveTo>
                  <a:pt x="5713" y="1239"/>
                </a:moveTo>
                <a:lnTo>
                  <a:pt x="5703" y="1258"/>
                </a:lnTo>
                <a:lnTo>
                  <a:pt x="5695" y="1278"/>
                </a:lnTo>
                <a:lnTo>
                  <a:pt x="5678" y="1270"/>
                </a:lnTo>
                <a:lnTo>
                  <a:pt x="5680" y="1257"/>
                </a:lnTo>
                <a:lnTo>
                  <a:pt x="5694" y="1244"/>
                </a:lnTo>
                <a:lnTo>
                  <a:pt x="5713" y="1239"/>
                </a:lnTo>
                <a:close/>
                <a:moveTo>
                  <a:pt x="5706" y="1238"/>
                </a:moveTo>
                <a:lnTo>
                  <a:pt x="5711" y="1236"/>
                </a:lnTo>
                <a:lnTo>
                  <a:pt x="5716" y="1234"/>
                </a:lnTo>
                <a:lnTo>
                  <a:pt x="5717" y="1234"/>
                </a:lnTo>
                <a:lnTo>
                  <a:pt x="5713" y="1239"/>
                </a:lnTo>
                <a:lnTo>
                  <a:pt x="5711" y="1238"/>
                </a:lnTo>
                <a:lnTo>
                  <a:pt x="5706" y="1238"/>
                </a:lnTo>
                <a:close/>
                <a:moveTo>
                  <a:pt x="5544" y="1341"/>
                </a:moveTo>
                <a:lnTo>
                  <a:pt x="5562" y="1331"/>
                </a:lnTo>
                <a:lnTo>
                  <a:pt x="5581" y="1318"/>
                </a:lnTo>
                <a:lnTo>
                  <a:pt x="5599" y="1308"/>
                </a:lnTo>
                <a:lnTo>
                  <a:pt x="5615" y="1307"/>
                </a:lnTo>
                <a:lnTo>
                  <a:pt x="5596" y="1318"/>
                </a:lnTo>
                <a:lnTo>
                  <a:pt x="5576" y="1334"/>
                </a:lnTo>
                <a:lnTo>
                  <a:pt x="5558" y="1345"/>
                </a:lnTo>
                <a:lnTo>
                  <a:pt x="5544" y="1341"/>
                </a:lnTo>
                <a:close/>
                <a:moveTo>
                  <a:pt x="5698" y="1640"/>
                </a:moveTo>
                <a:lnTo>
                  <a:pt x="5637" y="1666"/>
                </a:lnTo>
                <a:lnTo>
                  <a:pt x="5571" y="1699"/>
                </a:lnTo>
                <a:lnTo>
                  <a:pt x="5534" y="1710"/>
                </a:lnTo>
                <a:lnTo>
                  <a:pt x="5558" y="1676"/>
                </a:lnTo>
                <a:lnTo>
                  <a:pt x="5604" y="1670"/>
                </a:lnTo>
                <a:lnTo>
                  <a:pt x="5667" y="1642"/>
                </a:lnTo>
                <a:lnTo>
                  <a:pt x="5711" y="1623"/>
                </a:lnTo>
                <a:lnTo>
                  <a:pt x="5698" y="1640"/>
                </a:lnTo>
                <a:close/>
                <a:moveTo>
                  <a:pt x="5734" y="1252"/>
                </a:moveTo>
                <a:lnTo>
                  <a:pt x="5732" y="1253"/>
                </a:lnTo>
                <a:lnTo>
                  <a:pt x="5731" y="1256"/>
                </a:lnTo>
                <a:lnTo>
                  <a:pt x="5728" y="1257"/>
                </a:lnTo>
                <a:lnTo>
                  <a:pt x="5726" y="1256"/>
                </a:lnTo>
                <a:lnTo>
                  <a:pt x="5727" y="1253"/>
                </a:lnTo>
                <a:lnTo>
                  <a:pt x="5730" y="1252"/>
                </a:lnTo>
                <a:lnTo>
                  <a:pt x="5731" y="1251"/>
                </a:lnTo>
                <a:lnTo>
                  <a:pt x="5734" y="1252"/>
                </a:lnTo>
                <a:close/>
                <a:moveTo>
                  <a:pt x="5416" y="1283"/>
                </a:moveTo>
                <a:lnTo>
                  <a:pt x="5506" y="1223"/>
                </a:lnTo>
                <a:lnTo>
                  <a:pt x="5604" y="1173"/>
                </a:lnTo>
                <a:lnTo>
                  <a:pt x="5693" y="1143"/>
                </a:lnTo>
                <a:lnTo>
                  <a:pt x="5753" y="1141"/>
                </a:lnTo>
                <a:lnTo>
                  <a:pt x="5704" y="1172"/>
                </a:lnTo>
                <a:lnTo>
                  <a:pt x="5569" y="1244"/>
                </a:lnTo>
                <a:lnTo>
                  <a:pt x="5441" y="1302"/>
                </a:lnTo>
                <a:lnTo>
                  <a:pt x="5416" y="1283"/>
                </a:lnTo>
                <a:close/>
                <a:moveTo>
                  <a:pt x="5459" y="1051"/>
                </a:moveTo>
                <a:lnTo>
                  <a:pt x="5475" y="1040"/>
                </a:lnTo>
                <a:lnTo>
                  <a:pt x="5478" y="1045"/>
                </a:lnTo>
                <a:lnTo>
                  <a:pt x="5467" y="1057"/>
                </a:lnTo>
                <a:lnTo>
                  <a:pt x="5448" y="1069"/>
                </a:lnTo>
                <a:lnTo>
                  <a:pt x="5442" y="1074"/>
                </a:lnTo>
                <a:lnTo>
                  <a:pt x="5442" y="1069"/>
                </a:lnTo>
                <a:lnTo>
                  <a:pt x="5448" y="1059"/>
                </a:lnTo>
                <a:lnTo>
                  <a:pt x="5459" y="1051"/>
                </a:lnTo>
                <a:close/>
                <a:moveTo>
                  <a:pt x="5502" y="1097"/>
                </a:moveTo>
                <a:lnTo>
                  <a:pt x="5489" y="1099"/>
                </a:lnTo>
                <a:lnTo>
                  <a:pt x="5475" y="1103"/>
                </a:lnTo>
                <a:lnTo>
                  <a:pt x="5462" y="1104"/>
                </a:lnTo>
                <a:lnTo>
                  <a:pt x="5455" y="1094"/>
                </a:lnTo>
                <a:lnTo>
                  <a:pt x="5466" y="1093"/>
                </a:lnTo>
                <a:lnTo>
                  <a:pt x="5480" y="1090"/>
                </a:lnTo>
                <a:lnTo>
                  <a:pt x="5494" y="1090"/>
                </a:lnTo>
                <a:lnTo>
                  <a:pt x="5502" y="1097"/>
                </a:lnTo>
                <a:close/>
                <a:moveTo>
                  <a:pt x="5605" y="963"/>
                </a:moveTo>
                <a:lnTo>
                  <a:pt x="5647" y="935"/>
                </a:lnTo>
                <a:lnTo>
                  <a:pt x="5683" y="916"/>
                </a:lnTo>
                <a:lnTo>
                  <a:pt x="5697" y="922"/>
                </a:lnTo>
                <a:lnTo>
                  <a:pt x="5674" y="967"/>
                </a:lnTo>
                <a:lnTo>
                  <a:pt x="5590" y="1008"/>
                </a:lnTo>
                <a:lnTo>
                  <a:pt x="5526" y="1026"/>
                </a:lnTo>
                <a:lnTo>
                  <a:pt x="5518" y="1013"/>
                </a:lnTo>
                <a:lnTo>
                  <a:pt x="5605" y="963"/>
                </a:lnTo>
                <a:close/>
                <a:moveTo>
                  <a:pt x="5800" y="1098"/>
                </a:moveTo>
                <a:lnTo>
                  <a:pt x="5785" y="1102"/>
                </a:lnTo>
                <a:lnTo>
                  <a:pt x="5767" y="1106"/>
                </a:lnTo>
                <a:lnTo>
                  <a:pt x="5782" y="1093"/>
                </a:lnTo>
                <a:lnTo>
                  <a:pt x="5790" y="1087"/>
                </a:lnTo>
                <a:lnTo>
                  <a:pt x="5795" y="1089"/>
                </a:lnTo>
                <a:lnTo>
                  <a:pt x="5800" y="1098"/>
                </a:lnTo>
                <a:close/>
                <a:moveTo>
                  <a:pt x="5821" y="1433"/>
                </a:moveTo>
                <a:lnTo>
                  <a:pt x="5832" y="1438"/>
                </a:lnTo>
                <a:lnTo>
                  <a:pt x="5825" y="1443"/>
                </a:lnTo>
                <a:lnTo>
                  <a:pt x="5814" y="1447"/>
                </a:lnTo>
                <a:lnTo>
                  <a:pt x="5801" y="1452"/>
                </a:lnTo>
                <a:lnTo>
                  <a:pt x="5804" y="1446"/>
                </a:lnTo>
                <a:lnTo>
                  <a:pt x="5810" y="1440"/>
                </a:lnTo>
                <a:lnTo>
                  <a:pt x="5816" y="1437"/>
                </a:lnTo>
                <a:lnTo>
                  <a:pt x="5821" y="1433"/>
                </a:lnTo>
                <a:close/>
                <a:moveTo>
                  <a:pt x="5838" y="1456"/>
                </a:moveTo>
                <a:lnTo>
                  <a:pt x="5844" y="1451"/>
                </a:lnTo>
                <a:lnTo>
                  <a:pt x="5851" y="1443"/>
                </a:lnTo>
                <a:lnTo>
                  <a:pt x="5851" y="1438"/>
                </a:lnTo>
                <a:lnTo>
                  <a:pt x="5843" y="1435"/>
                </a:lnTo>
                <a:lnTo>
                  <a:pt x="5874" y="1416"/>
                </a:lnTo>
                <a:lnTo>
                  <a:pt x="5879" y="1425"/>
                </a:lnTo>
                <a:lnTo>
                  <a:pt x="5863" y="1444"/>
                </a:lnTo>
                <a:lnTo>
                  <a:pt x="5838" y="1456"/>
                </a:lnTo>
                <a:close/>
                <a:moveTo>
                  <a:pt x="5916" y="1610"/>
                </a:moveTo>
                <a:lnTo>
                  <a:pt x="5917" y="1612"/>
                </a:lnTo>
                <a:lnTo>
                  <a:pt x="5917" y="1614"/>
                </a:lnTo>
                <a:lnTo>
                  <a:pt x="5914" y="1615"/>
                </a:lnTo>
                <a:lnTo>
                  <a:pt x="5912" y="1615"/>
                </a:lnTo>
                <a:lnTo>
                  <a:pt x="5916" y="1610"/>
                </a:lnTo>
                <a:close/>
                <a:moveTo>
                  <a:pt x="7148" y="1341"/>
                </a:moveTo>
                <a:lnTo>
                  <a:pt x="7137" y="1335"/>
                </a:lnTo>
                <a:lnTo>
                  <a:pt x="7128" y="1328"/>
                </a:lnTo>
                <a:lnTo>
                  <a:pt x="7134" y="1326"/>
                </a:lnTo>
                <a:lnTo>
                  <a:pt x="7140" y="1327"/>
                </a:lnTo>
                <a:lnTo>
                  <a:pt x="7143" y="1331"/>
                </a:lnTo>
                <a:lnTo>
                  <a:pt x="7148" y="1341"/>
                </a:lnTo>
                <a:close/>
                <a:moveTo>
                  <a:pt x="7160" y="1334"/>
                </a:moveTo>
                <a:lnTo>
                  <a:pt x="7171" y="1336"/>
                </a:lnTo>
                <a:lnTo>
                  <a:pt x="7185" y="1339"/>
                </a:lnTo>
                <a:lnTo>
                  <a:pt x="7176" y="1344"/>
                </a:lnTo>
                <a:lnTo>
                  <a:pt x="7168" y="1345"/>
                </a:lnTo>
                <a:lnTo>
                  <a:pt x="7161" y="1340"/>
                </a:lnTo>
                <a:lnTo>
                  <a:pt x="7160" y="1334"/>
                </a:lnTo>
                <a:close/>
                <a:moveTo>
                  <a:pt x="7767" y="1125"/>
                </a:moveTo>
                <a:lnTo>
                  <a:pt x="7771" y="1139"/>
                </a:lnTo>
                <a:lnTo>
                  <a:pt x="7770" y="1146"/>
                </a:lnTo>
                <a:lnTo>
                  <a:pt x="7762" y="1149"/>
                </a:lnTo>
                <a:lnTo>
                  <a:pt x="7747" y="1146"/>
                </a:lnTo>
                <a:lnTo>
                  <a:pt x="7757" y="1136"/>
                </a:lnTo>
                <a:lnTo>
                  <a:pt x="7767" y="1125"/>
                </a:lnTo>
                <a:close/>
                <a:moveTo>
                  <a:pt x="7841" y="1242"/>
                </a:moveTo>
                <a:lnTo>
                  <a:pt x="7859" y="1233"/>
                </a:lnTo>
                <a:lnTo>
                  <a:pt x="7876" y="1223"/>
                </a:lnTo>
                <a:lnTo>
                  <a:pt x="7892" y="1216"/>
                </a:lnTo>
                <a:lnTo>
                  <a:pt x="7913" y="1219"/>
                </a:lnTo>
                <a:lnTo>
                  <a:pt x="7885" y="1238"/>
                </a:lnTo>
                <a:lnTo>
                  <a:pt x="7849" y="1252"/>
                </a:lnTo>
                <a:lnTo>
                  <a:pt x="7827" y="1256"/>
                </a:lnTo>
                <a:lnTo>
                  <a:pt x="7841" y="1242"/>
                </a:lnTo>
                <a:close/>
                <a:moveTo>
                  <a:pt x="7860" y="1134"/>
                </a:moveTo>
                <a:lnTo>
                  <a:pt x="7851" y="1138"/>
                </a:lnTo>
                <a:lnTo>
                  <a:pt x="7840" y="1143"/>
                </a:lnTo>
                <a:lnTo>
                  <a:pt x="7843" y="1131"/>
                </a:lnTo>
                <a:lnTo>
                  <a:pt x="7848" y="1130"/>
                </a:lnTo>
                <a:lnTo>
                  <a:pt x="7854" y="1132"/>
                </a:lnTo>
                <a:lnTo>
                  <a:pt x="7860" y="1134"/>
                </a:lnTo>
                <a:close/>
                <a:moveTo>
                  <a:pt x="7911" y="1042"/>
                </a:moveTo>
                <a:lnTo>
                  <a:pt x="7900" y="1048"/>
                </a:lnTo>
                <a:lnTo>
                  <a:pt x="7887" y="1059"/>
                </a:lnTo>
                <a:lnTo>
                  <a:pt x="7876" y="1064"/>
                </a:lnTo>
                <a:lnTo>
                  <a:pt x="7868" y="1059"/>
                </a:lnTo>
                <a:lnTo>
                  <a:pt x="7877" y="1052"/>
                </a:lnTo>
                <a:lnTo>
                  <a:pt x="7886" y="1043"/>
                </a:lnTo>
                <a:lnTo>
                  <a:pt x="7896" y="1038"/>
                </a:lnTo>
                <a:lnTo>
                  <a:pt x="7911" y="1042"/>
                </a:lnTo>
                <a:close/>
                <a:moveTo>
                  <a:pt x="7905" y="1421"/>
                </a:moveTo>
                <a:lnTo>
                  <a:pt x="7909" y="1418"/>
                </a:lnTo>
                <a:lnTo>
                  <a:pt x="7909" y="1416"/>
                </a:lnTo>
                <a:lnTo>
                  <a:pt x="7907" y="1419"/>
                </a:lnTo>
                <a:lnTo>
                  <a:pt x="7905" y="1421"/>
                </a:lnTo>
                <a:lnTo>
                  <a:pt x="7901" y="1415"/>
                </a:lnTo>
                <a:lnTo>
                  <a:pt x="7904" y="1410"/>
                </a:lnTo>
                <a:lnTo>
                  <a:pt x="7906" y="1411"/>
                </a:lnTo>
                <a:lnTo>
                  <a:pt x="7905" y="1421"/>
                </a:lnTo>
                <a:close/>
                <a:moveTo>
                  <a:pt x="7927" y="1051"/>
                </a:moveTo>
                <a:lnTo>
                  <a:pt x="7933" y="1054"/>
                </a:lnTo>
                <a:lnTo>
                  <a:pt x="7935" y="1057"/>
                </a:lnTo>
                <a:lnTo>
                  <a:pt x="7938" y="1065"/>
                </a:lnTo>
                <a:lnTo>
                  <a:pt x="7937" y="1074"/>
                </a:lnTo>
                <a:lnTo>
                  <a:pt x="7930" y="1069"/>
                </a:lnTo>
                <a:lnTo>
                  <a:pt x="7924" y="1062"/>
                </a:lnTo>
                <a:lnTo>
                  <a:pt x="7921" y="1057"/>
                </a:lnTo>
                <a:lnTo>
                  <a:pt x="7927" y="1051"/>
                </a:lnTo>
                <a:close/>
                <a:moveTo>
                  <a:pt x="7967" y="1004"/>
                </a:moveTo>
                <a:lnTo>
                  <a:pt x="7967" y="1015"/>
                </a:lnTo>
                <a:lnTo>
                  <a:pt x="7963" y="1022"/>
                </a:lnTo>
                <a:lnTo>
                  <a:pt x="7953" y="1023"/>
                </a:lnTo>
                <a:lnTo>
                  <a:pt x="7939" y="1020"/>
                </a:lnTo>
                <a:lnTo>
                  <a:pt x="7955" y="1012"/>
                </a:lnTo>
                <a:lnTo>
                  <a:pt x="7967" y="1004"/>
                </a:lnTo>
                <a:close/>
                <a:moveTo>
                  <a:pt x="8011" y="1159"/>
                </a:moveTo>
                <a:lnTo>
                  <a:pt x="8000" y="1173"/>
                </a:lnTo>
                <a:lnTo>
                  <a:pt x="7977" y="1188"/>
                </a:lnTo>
                <a:lnTo>
                  <a:pt x="7952" y="1197"/>
                </a:lnTo>
                <a:lnTo>
                  <a:pt x="7933" y="1196"/>
                </a:lnTo>
                <a:lnTo>
                  <a:pt x="7955" y="1186"/>
                </a:lnTo>
                <a:lnTo>
                  <a:pt x="7974" y="1176"/>
                </a:lnTo>
                <a:lnTo>
                  <a:pt x="7993" y="1167"/>
                </a:lnTo>
                <a:lnTo>
                  <a:pt x="8011" y="1159"/>
                </a:lnTo>
                <a:close/>
                <a:moveTo>
                  <a:pt x="7980" y="1157"/>
                </a:moveTo>
                <a:lnTo>
                  <a:pt x="7984" y="1157"/>
                </a:lnTo>
                <a:lnTo>
                  <a:pt x="7986" y="1158"/>
                </a:lnTo>
                <a:lnTo>
                  <a:pt x="7985" y="1163"/>
                </a:lnTo>
                <a:lnTo>
                  <a:pt x="7984" y="1167"/>
                </a:lnTo>
                <a:lnTo>
                  <a:pt x="7980" y="1166"/>
                </a:lnTo>
                <a:lnTo>
                  <a:pt x="7977" y="1163"/>
                </a:lnTo>
                <a:lnTo>
                  <a:pt x="7977" y="1159"/>
                </a:lnTo>
                <a:lnTo>
                  <a:pt x="7980" y="1157"/>
                </a:lnTo>
                <a:close/>
                <a:moveTo>
                  <a:pt x="8023" y="1031"/>
                </a:moveTo>
                <a:lnTo>
                  <a:pt x="8023" y="1040"/>
                </a:lnTo>
                <a:lnTo>
                  <a:pt x="8018" y="1043"/>
                </a:lnTo>
                <a:lnTo>
                  <a:pt x="8011" y="1041"/>
                </a:lnTo>
                <a:lnTo>
                  <a:pt x="8003" y="1034"/>
                </a:lnTo>
                <a:lnTo>
                  <a:pt x="8008" y="1028"/>
                </a:lnTo>
                <a:lnTo>
                  <a:pt x="8012" y="1026"/>
                </a:lnTo>
                <a:lnTo>
                  <a:pt x="8017" y="1027"/>
                </a:lnTo>
                <a:lnTo>
                  <a:pt x="8023" y="1031"/>
                </a:lnTo>
                <a:close/>
                <a:moveTo>
                  <a:pt x="8032" y="1074"/>
                </a:moveTo>
                <a:lnTo>
                  <a:pt x="8039" y="1070"/>
                </a:lnTo>
                <a:lnTo>
                  <a:pt x="8045" y="1073"/>
                </a:lnTo>
                <a:lnTo>
                  <a:pt x="8049" y="1078"/>
                </a:lnTo>
                <a:lnTo>
                  <a:pt x="8049" y="1085"/>
                </a:lnTo>
                <a:lnTo>
                  <a:pt x="8042" y="1084"/>
                </a:lnTo>
                <a:lnTo>
                  <a:pt x="8037" y="1083"/>
                </a:lnTo>
                <a:lnTo>
                  <a:pt x="8032" y="1080"/>
                </a:lnTo>
                <a:lnTo>
                  <a:pt x="8032" y="1074"/>
                </a:lnTo>
                <a:close/>
                <a:moveTo>
                  <a:pt x="8054" y="1017"/>
                </a:moveTo>
                <a:lnTo>
                  <a:pt x="8046" y="1023"/>
                </a:lnTo>
                <a:lnTo>
                  <a:pt x="8041" y="1024"/>
                </a:lnTo>
                <a:lnTo>
                  <a:pt x="8037" y="1019"/>
                </a:lnTo>
                <a:lnTo>
                  <a:pt x="8035" y="1008"/>
                </a:lnTo>
                <a:lnTo>
                  <a:pt x="8045" y="1013"/>
                </a:lnTo>
                <a:lnTo>
                  <a:pt x="8054" y="1017"/>
                </a:lnTo>
                <a:close/>
                <a:moveTo>
                  <a:pt x="8142" y="1322"/>
                </a:moveTo>
                <a:lnTo>
                  <a:pt x="8143" y="1327"/>
                </a:lnTo>
                <a:lnTo>
                  <a:pt x="8142" y="1331"/>
                </a:lnTo>
                <a:lnTo>
                  <a:pt x="8137" y="1334"/>
                </a:lnTo>
                <a:lnTo>
                  <a:pt x="8130" y="1334"/>
                </a:lnTo>
                <a:lnTo>
                  <a:pt x="8130" y="1330"/>
                </a:lnTo>
                <a:lnTo>
                  <a:pt x="8133" y="1327"/>
                </a:lnTo>
                <a:lnTo>
                  <a:pt x="8137" y="1325"/>
                </a:lnTo>
                <a:lnTo>
                  <a:pt x="8142" y="1322"/>
                </a:lnTo>
                <a:close/>
                <a:moveTo>
                  <a:pt x="8189" y="1080"/>
                </a:moveTo>
                <a:lnTo>
                  <a:pt x="8180" y="1083"/>
                </a:lnTo>
                <a:lnTo>
                  <a:pt x="8170" y="1085"/>
                </a:lnTo>
                <a:lnTo>
                  <a:pt x="8174" y="1078"/>
                </a:lnTo>
                <a:lnTo>
                  <a:pt x="8177" y="1075"/>
                </a:lnTo>
                <a:lnTo>
                  <a:pt x="8183" y="1076"/>
                </a:lnTo>
                <a:lnTo>
                  <a:pt x="8189" y="1080"/>
                </a:lnTo>
                <a:close/>
                <a:moveTo>
                  <a:pt x="8249" y="991"/>
                </a:moveTo>
                <a:lnTo>
                  <a:pt x="8253" y="996"/>
                </a:lnTo>
                <a:lnTo>
                  <a:pt x="8256" y="1000"/>
                </a:lnTo>
                <a:lnTo>
                  <a:pt x="8256" y="1003"/>
                </a:lnTo>
                <a:lnTo>
                  <a:pt x="8254" y="1006"/>
                </a:lnTo>
                <a:lnTo>
                  <a:pt x="8249" y="1004"/>
                </a:lnTo>
                <a:lnTo>
                  <a:pt x="8247" y="1001"/>
                </a:lnTo>
                <a:lnTo>
                  <a:pt x="8247" y="998"/>
                </a:lnTo>
                <a:lnTo>
                  <a:pt x="8249" y="991"/>
                </a:lnTo>
                <a:close/>
                <a:moveTo>
                  <a:pt x="8278" y="1066"/>
                </a:moveTo>
                <a:lnTo>
                  <a:pt x="8293" y="1066"/>
                </a:lnTo>
                <a:lnTo>
                  <a:pt x="8293" y="1079"/>
                </a:lnTo>
                <a:lnTo>
                  <a:pt x="8281" y="1096"/>
                </a:lnTo>
                <a:lnTo>
                  <a:pt x="8260" y="1108"/>
                </a:lnTo>
                <a:lnTo>
                  <a:pt x="8261" y="1092"/>
                </a:lnTo>
                <a:lnTo>
                  <a:pt x="8261" y="1075"/>
                </a:lnTo>
                <a:lnTo>
                  <a:pt x="8265" y="1065"/>
                </a:lnTo>
                <a:lnTo>
                  <a:pt x="8278" y="1066"/>
                </a:lnTo>
                <a:close/>
                <a:moveTo>
                  <a:pt x="8311" y="943"/>
                </a:moveTo>
                <a:lnTo>
                  <a:pt x="8315" y="943"/>
                </a:lnTo>
                <a:lnTo>
                  <a:pt x="8324" y="944"/>
                </a:lnTo>
                <a:lnTo>
                  <a:pt x="8316" y="953"/>
                </a:lnTo>
                <a:lnTo>
                  <a:pt x="8309" y="954"/>
                </a:lnTo>
                <a:lnTo>
                  <a:pt x="8305" y="949"/>
                </a:lnTo>
                <a:lnTo>
                  <a:pt x="8311" y="943"/>
                </a:lnTo>
                <a:close/>
                <a:moveTo>
                  <a:pt x="8337" y="847"/>
                </a:moveTo>
                <a:lnTo>
                  <a:pt x="8343" y="850"/>
                </a:lnTo>
                <a:lnTo>
                  <a:pt x="8346" y="855"/>
                </a:lnTo>
                <a:lnTo>
                  <a:pt x="8344" y="861"/>
                </a:lnTo>
                <a:lnTo>
                  <a:pt x="8339" y="866"/>
                </a:lnTo>
                <a:lnTo>
                  <a:pt x="8334" y="864"/>
                </a:lnTo>
                <a:lnTo>
                  <a:pt x="8332" y="859"/>
                </a:lnTo>
                <a:lnTo>
                  <a:pt x="8333" y="852"/>
                </a:lnTo>
                <a:lnTo>
                  <a:pt x="8337" y="847"/>
                </a:lnTo>
                <a:close/>
                <a:moveTo>
                  <a:pt x="8370" y="917"/>
                </a:moveTo>
                <a:lnTo>
                  <a:pt x="8367" y="926"/>
                </a:lnTo>
                <a:lnTo>
                  <a:pt x="8362" y="930"/>
                </a:lnTo>
                <a:lnTo>
                  <a:pt x="8357" y="931"/>
                </a:lnTo>
                <a:lnTo>
                  <a:pt x="8349" y="933"/>
                </a:lnTo>
                <a:lnTo>
                  <a:pt x="8360" y="925"/>
                </a:lnTo>
                <a:lnTo>
                  <a:pt x="8370" y="917"/>
                </a:lnTo>
                <a:close/>
                <a:moveTo>
                  <a:pt x="8386" y="1127"/>
                </a:moveTo>
                <a:lnTo>
                  <a:pt x="8379" y="1135"/>
                </a:lnTo>
                <a:lnTo>
                  <a:pt x="8370" y="1143"/>
                </a:lnTo>
                <a:lnTo>
                  <a:pt x="8371" y="1134"/>
                </a:lnTo>
                <a:lnTo>
                  <a:pt x="8374" y="1129"/>
                </a:lnTo>
                <a:lnTo>
                  <a:pt x="8379" y="1126"/>
                </a:lnTo>
                <a:lnTo>
                  <a:pt x="8386" y="1127"/>
                </a:lnTo>
                <a:close/>
                <a:moveTo>
                  <a:pt x="8363" y="1209"/>
                </a:moveTo>
                <a:lnTo>
                  <a:pt x="8371" y="1192"/>
                </a:lnTo>
                <a:lnTo>
                  <a:pt x="8382" y="1185"/>
                </a:lnTo>
                <a:lnTo>
                  <a:pt x="8396" y="1181"/>
                </a:lnTo>
                <a:lnTo>
                  <a:pt x="8409" y="1178"/>
                </a:lnTo>
                <a:lnTo>
                  <a:pt x="8400" y="1190"/>
                </a:lnTo>
                <a:lnTo>
                  <a:pt x="8391" y="1199"/>
                </a:lnTo>
                <a:lnTo>
                  <a:pt x="8379" y="1205"/>
                </a:lnTo>
                <a:lnTo>
                  <a:pt x="8363" y="1209"/>
                </a:lnTo>
                <a:close/>
                <a:moveTo>
                  <a:pt x="8451" y="953"/>
                </a:moveTo>
                <a:lnTo>
                  <a:pt x="8444" y="959"/>
                </a:lnTo>
                <a:lnTo>
                  <a:pt x="8435" y="966"/>
                </a:lnTo>
                <a:lnTo>
                  <a:pt x="8433" y="954"/>
                </a:lnTo>
                <a:lnTo>
                  <a:pt x="8435" y="948"/>
                </a:lnTo>
                <a:lnTo>
                  <a:pt x="8440" y="949"/>
                </a:lnTo>
                <a:lnTo>
                  <a:pt x="8451" y="953"/>
                </a:lnTo>
                <a:close/>
                <a:moveTo>
                  <a:pt x="8500" y="869"/>
                </a:moveTo>
                <a:lnTo>
                  <a:pt x="8492" y="875"/>
                </a:lnTo>
                <a:lnTo>
                  <a:pt x="8491" y="875"/>
                </a:lnTo>
                <a:lnTo>
                  <a:pt x="8495" y="873"/>
                </a:lnTo>
                <a:lnTo>
                  <a:pt x="8500" y="869"/>
                </a:lnTo>
                <a:lnTo>
                  <a:pt x="8501" y="877"/>
                </a:lnTo>
                <a:lnTo>
                  <a:pt x="8496" y="883"/>
                </a:lnTo>
                <a:lnTo>
                  <a:pt x="8493" y="883"/>
                </a:lnTo>
                <a:lnTo>
                  <a:pt x="8500" y="869"/>
                </a:lnTo>
                <a:close/>
                <a:moveTo>
                  <a:pt x="8511" y="799"/>
                </a:moveTo>
                <a:lnTo>
                  <a:pt x="8510" y="813"/>
                </a:lnTo>
                <a:lnTo>
                  <a:pt x="8506" y="819"/>
                </a:lnTo>
                <a:lnTo>
                  <a:pt x="8498" y="819"/>
                </a:lnTo>
                <a:lnTo>
                  <a:pt x="8487" y="815"/>
                </a:lnTo>
                <a:lnTo>
                  <a:pt x="8500" y="807"/>
                </a:lnTo>
                <a:lnTo>
                  <a:pt x="8511" y="799"/>
                </a:lnTo>
                <a:close/>
                <a:moveTo>
                  <a:pt x="8511" y="768"/>
                </a:moveTo>
                <a:lnTo>
                  <a:pt x="8510" y="779"/>
                </a:lnTo>
                <a:lnTo>
                  <a:pt x="8507" y="786"/>
                </a:lnTo>
                <a:lnTo>
                  <a:pt x="8502" y="790"/>
                </a:lnTo>
                <a:lnTo>
                  <a:pt x="8495" y="789"/>
                </a:lnTo>
                <a:lnTo>
                  <a:pt x="8492" y="782"/>
                </a:lnTo>
                <a:lnTo>
                  <a:pt x="8497" y="777"/>
                </a:lnTo>
                <a:lnTo>
                  <a:pt x="8505" y="772"/>
                </a:lnTo>
                <a:lnTo>
                  <a:pt x="8511" y="768"/>
                </a:lnTo>
                <a:close/>
                <a:moveTo>
                  <a:pt x="8526" y="2446"/>
                </a:moveTo>
                <a:lnTo>
                  <a:pt x="8514" y="2455"/>
                </a:lnTo>
                <a:lnTo>
                  <a:pt x="8502" y="2466"/>
                </a:lnTo>
                <a:lnTo>
                  <a:pt x="8503" y="2459"/>
                </a:lnTo>
                <a:lnTo>
                  <a:pt x="8512" y="2450"/>
                </a:lnTo>
                <a:lnTo>
                  <a:pt x="8523" y="2445"/>
                </a:lnTo>
                <a:lnTo>
                  <a:pt x="8526" y="2446"/>
                </a:lnTo>
                <a:close/>
                <a:moveTo>
                  <a:pt x="8548" y="2419"/>
                </a:moveTo>
                <a:lnTo>
                  <a:pt x="8540" y="2428"/>
                </a:lnTo>
                <a:lnTo>
                  <a:pt x="8548" y="2419"/>
                </a:lnTo>
                <a:lnTo>
                  <a:pt x="8549" y="2427"/>
                </a:lnTo>
                <a:lnTo>
                  <a:pt x="8547" y="2432"/>
                </a:lnTo>
                <a:lnTo>
                  <a:pt x="8545" y="2431"/>
                </a:lnTo>
                <a:lnTo>
                  <a:pt x="8548" y="2419"/>
                </a:lnTo>
                <a:close/>
                <a:moveTo>
                  <a:pt x="8547" y="842"/>
                </a:moveTo>
                <a:lnTo>
                  <a:pt x="8544" y="852"/>
                </a:lnTo>
                <a:lnTo>
                  <a:pt x="8542" y="861"/>
                </a:lnTo>
                <a:lnTo>
                  <a:pt x="8538" y="868"/>
                </a:lnTo>
                <a:lnTo>
                  <a:pt x="8529" y="868"/>
                </a:lnTo>
                <a:lnTo>
                  <a:pt x="8529" y="859"/>
                </a:lnTo>
                <a:lnTo>
                  <a:pt x="8531" y="851"/>
                </a:lnTo>
                <a:lnTo>
                  <a:pt x="8538" y="847"/>
                </a:lnTo>
                <a:lnTo>
                  <a:pt x="8547" y="842"/>
                </a:lnTo>
                <a:close/>
                <a:moveTo>
                  <a:pt x="8644" y="738"/>
                </a:moveTo>
                <a:lnTo>
                  <a:pt x="8641" y="747"/>
                </a:lnTo>
                <a:lnTo>
                  <a:pt x="8636" y="751"/>
                </a:lnTo>
                <a:lnTo>
                  <a:pt x="8628" y="751"/>
                </a:lnTo>
                <a:lnTo>
                  <a:pt x="8621" y="749"/>
                </a:lnTo>
                <a:lnTo>
                  <a:pt x="8632" y="743"/>
                </a:lnTo>
                <a:lnTo>
                  <a:pt x="8644" y="738"/>
                </a:lnTo>
                <a:close/>
                <a:moveTo>
                  <a:pt x="8833" y="2034"/>
                </a:moveTo>
                <a:lnTo>
                  <a:pt x="8857" y="2032"/>
                </a:lnTo>
                <a:lnTo>
                  <a:pt x="8898" y="1994"/>
                </a:lnTo>
                <a:lnTo>
                  <a:pt x="8926" y="1971"/>
                </a:lnTo>
                <a:lnTo>
                  <a:pt x="8916" y="2020"/>
                </a:lnTo>
                <a:lnTo>
                  <a:pt x="8875" y="2041"/>
                </a:lnTo>
                <a:lnTo>
                  <a:pt x="8826" y="2069"/>
                </a:lnTo>
                <a:lnTo>
                  <a:pt x="8801" y="2077"/>
                </a:lnTo>
                <a:lnTo>
                  <a:pt x="8833" y="2034"/>
                </a:lnTo>
                <a:close/>
                <a:moveTo>
                  <a:pt x="8964" y="609"/>
                </a:moveTo>
                <a:lnTo>
                  <a:pt x="8970" y="614"/>
                </a:lnTo>
                <a:lnTo>
                  <a:pt x="8968" y="619"/>
                </a:lnTo>
                <a:lnTo>
                  <a:pt x="8963" y="623"/>
                </a:lnTo>
                <a:lnTo>
                  <a:pt x="8954" y="619"/>
                </a:lnTo>
                <a:lnTo>
                  <a:pt x="8961" y="613"/>
                </a:lnTo>
                <a:lnTo>
                  <a:pt x="8964" y="609"/>
                </a:lnTo>
                <a:close/>
                <a:moveTo>
                  <a:pt x="9012" y="1932"/>
                </a:moveTo>
                <a:lnTo>
                  <a:pt x="9000" y="1943"/>
                </a:lnTo>
                <a:lnTo>
                  <a:pt x="8989" y="1953"/>
                </a:lnTo>
                <a:lnTo>
                  <a:pt x="8990" y="1941"/>
                </a:lnTo>
                <a:lnTo>
                  <a:pt x="8994" y="1933"/>
                </a:lnTo>
                <a:lnTo>
                  <a:pt x="9000" y="1931"/>
                </a:lnTo>
                <a:lnTo>
                  <a:pt x="9012" y="1932"/>
                </a:lnTo>
                <a:close/>
                <a:moveTo>
                  <a:pt x="9027" y="589"/>
                </a:moveTo>
                <a:lnTo>
                  <a:pt x="9029" y="589"/>
                </a:lnTo>
                <a:lnTo>
                  <a:pt x="9035" y="589"/>
                </a:lnTo>
                <a:lnTo>
                  <a:pt x="9032" y="595"/>
                </a:lnTo>
                <a:lnTo>
                  <a:pt x="9027" y="597"/>
                </a:lnTo>
                <a:lnTo>
                  <a:pt x="9024" y="594"/>
                </a:lnTo>
                <a:lnTo>
                  <a:pt x="9027" y="589"/>
                </a:lnTo>
                <a:close/>
                <a:moveTo>
                  <a:pt x="9063" y="609"/>
                </a:moveTo>
                <a:lnTo>
                  <a:pt x="9070" y="625"/>
                </a:lnTo>
                <a:lnTo>
                  <a:pt x="9065" y="635"/>
                </a:lnTo>
                <a:lnTo>
                  <a:pt x="9051" y="639"/>
                </a:lnTo>
                <a:lnTo>
                  <a:pt x="9031" y="635"/>
                </a:lnTo>
                <a:lnTo>
                  <a:pt x="9036" y="623"/>
                </a:lnTo>
                <a:lnTo>
                  <a:pt x="9043" y="616"/>
                </a:lnTo>
                <a:lnTo>
                  <a:pt x="9052" y="612"/>
                </a:lnTo>
                <a:lnTo>
                  <a:pt x="9063" y="609"/>
                </a:lnTo>
                <a:close/>
                <a:moveTo>
                  <a:pt x="9084" y="1840"/>
                </a:moveTo>
                <a:lnTo>
                  <a:pt x="9088" y="1839"/>
                </a:lnTo>
                <a:lnTo>
                  <a:pt x="9091" y="1840"/>
                </a:lnTo>
                <a:lnTo>
                  <a:pt x="9091" y="1843"/>
                </a:lnTo>
                <a:lnTo>
                  <a:pt x="9091" y="1845"/>
                </a:lnTo>
                <a:lnTo>
                  <a:pt x="9087" y="1845"/>
                </a:lnTo>
                <a:lnTo>
                  <a:pt x="9085" y="1844"/>
                </a:lnTo>
                <a:lnTo>
                  <a:pt x="9084" y="1843"/>
                </a:lnTo>
                <a:lnTo>
                  <a:pt x="9084" y="1840"/>
                </a:lnTo>
                <a:close/>
                <a:moveTo>
                  <a:pt x="9161" y="614"/>
                </a:moveTo>
                <a:lnTo>
                  <a:pt x="9164" y="616"/>
                </a:lnTo>
                <a:lnTo>
                  <a:pt x="9166" y="618"/>
                </a:lnTo>
                <a:lnTo>
                  <a:pt x="9164" y="622"/>
                </a:lnTo>
                <a:lnTo>
                  <a:pt x="9164" y="627"/>
                </a:lnTo>
                <a:lnTo>
                  <a:pt x="9159" y="625"/>
                </a:lnTo>
                <a:lnTo>
                  <a:pt x="9158" y="622"/>
                </a:lnTo>
                <a:lnTo>
                  <a:pt x="9158" y="618"/>
                </a:lnTo>
                <a:lnTo>
                  <a:pt x="9161" y="614"/>
                </a:lnTo>
                <a:close/>
                <a:moveTo>
                  <a:pt x="9252" y="1328"/>
                </a:moveTo>
                <a:lnTo>
                  <a:pt x="9250" y="1335"/>
                </a:lnTo>
                <a:lnTo>
                  <a:pt x="9252" y="1328"/>
                </a:lnTo>
                <a:lnTo>
                  <a:pt x="9255" y="1334"/>
                </a:lnTo>
                <a:lnTo>
                  <a:pt x="9255" y="1339"/>
                </a:lnTo>
                <a:lnTo>
                  <a:pt x="9252" y="1340"/>
                </a:lnTo>
                <a:lnTo>
                  <a:pt x="9252" y="1328"/>
                </a:lnTo>
                <a:close/>
                <a:moveTo>
                  <a:pt x="9269" y="1769"/>
                </a:moveTo>
                <a:lnTo>
                  <a:pt x="9266" y="1770"/>
                </a:lnTo>
                <a:lnTo>
                  <a:pt x="9265" y="1770"/>
                </a:lnTo>
                <a:lnTo>
                  <a:pt x="9266" y="1769"/>
                </a:lnTo>
                <a:lnTo>
                  <a:pt x="9269" y="1769"/>
                </a:lnTo>
                <a:lnTo>
                  <a:pt x="9269" y="1773"/>
                </a:lnTo>
                <a:lnTo>
                  <a:pt x="9266" y="1777"/>
                </a:lnTo>
                <a:lnTo>
                  <a:pt x="9265" y="1775"/>
                </a:lnTo>
                <a:lnTo>
                  <a:pt x="9269" y="1769"/>
                </a:lnTo>
                <a:close/>
                <a:moveTo>
                  <a:pt x="9290" y="1242"/>
                </a:moveTo>
                <a:lnTo>
                  <a:pt x="9287" y="1241"/>
                </a:lnTo>
                <a:lnTo>
                  <a:pt x="9287" y="1241"/>
                </a:lnTo>
                <a:lnTo>
                  <a:pt x="9288" y="1241"/>
                </a:lnTo>
                <a:lnTo>
                  <a:pt x="9290" y="1242"/>
                </a:lnTo>
                <a:lnTo>
                  <a:pt x="9287" y="1247"/>
                </a:lnTo>
                <a:lnTo>
                  <a:pt x="9290" y="1242"/>
                </a:lnTo>
                <a:close/>
                <a:moveTo>
                  <a:pt x="9304" y="1300"/>
                </a:moveTo>
                <a:lnTo>
                  <a:pt x="9310" y="1293"/>
                </a:lnTo>
                <a:lnTo>
                  <a:pt x="9312" y="1299"/>
                </a:lnTo>
                <a:lnTo>
                  <a:pt x="9310" y="1311"/>
                </a:lnTo>
                <a:lnTo>
                  <a:pt x="9297" y="1316"/>
                </a:lnTo>
                <a:lnTo>
                  <a:pt x="9301" y="1307"/>
                </a:lnTo>
                <a:lnTo>
                  <a:pt x="9304" y="1300"/>
                </a:lnTo>
                <a:close/>
                <a:moveTo>
                  <a:pt x="9355" y="1218"/>
                </a:moveTo>
                <a:lnTo>
                  <a:pt x="9343" y="1196"/>
                </a:lnTo>
                <a:lnTo>
                  <a:pt x="9369" y="1163"/>
                </a:lnTo>
                <a:lnTo>
                  <a:pt x="9399" y="1146"/>
                </a:lnTo>
                <a:lnTo>
                  <a:pt x="9387" y="1174"/>
                </a:lnTo>
                <a:lnTo>
                  <a:pt x="9385" y="1211"/>
                </a:lnTo>
                <a:lnTo>
                  <a:pt x="9349" y="1244"/>
                </a:lnTo>
                <a:lnTo>
                  <a:pt x="9325" y="1253"/>
                </a:lnTo>
                <a:lnTo>
                  <a:pt x="9355" y="1218"/>
                </a:lnTo>
                <a:close/>
                <a:moveTo>
                  <a:pt x="9340" y="1218"/>
                </a:moveTo>
                <a:lnTo>
                  <a:pt x="9334" y="1220"/>
                </a:lnTo>
                <a:lnTo>
                  <a:pt x="9327" y="1227"/>
                </a:lnTo>
                <a:lnTo>
                  <a:pt x="9320" y="1230"/>
                </a:lnTo>
                <a:lnTo>
                  <a:pt x="9312" y="1229"/>
                </a:lnTo>
                <a:lnTo>
                  <a:pt x="9315" y="1219"/>
                </a:lnTo>
                <a:lnTo>
                  <a:pt x="9320" y="1215"/>
                </a:lnTo>
                <a:lnTo>
                  <a:pt x="9327" y="1215"/>
                </a:lnTo>
                <a:lnTo>
                  <a:pt x="9340" y="1218"/>
                </a:lnTo>
                <a:close/>
                <a:moveTo>
                  <a:pt x="9358" y="719"/>
                </a:moveTo>
                <a:lnTo>
                  <a:pt x="9367" y="730"/>
                </a:lnTo>
                <a:lnTo>
                  <a:pt x="9369" y="738"/>
                </a:lnTo>
                <a:lnTo>
                  <a:pt x="9364" y="744"/>
                </a:lnTo>
                <a:lnTo>
                  <a:pt x="9354" y="749"/>
                </a:lnTo>
                <a:lnTo>
                  <a:pt x="9349" y="743"/>
                </a:lnTo>
                <a:lnTo>
                  <a:pt x="9350" y="737"/>
                </a:lnTo>
                <a:lnTo>
                  <a:pt x="9354" y="729"/>
                </a:lnTo>
                <a:lnTo>
                  <a:pt x="9358" y="719"/>
                </a:lnTo>
                <a:close/>
                <a:moveTo>
                  <a:pt x="9434" y="1505"/>
                </a:moveTo>
                <a:lnTo>
                  <a:pt x="9439" y="1510"/>
                </a:lnTo>
                <a:lnTo>
                  <a:pt x="9437" y="1517"/>
                </a:lnTo>
                <a:lnTo>
                  <a:pt x="9433" y="1523"/>
                </a:lnTo>
                <a:lnTo>
                  <a:pt x="9428" y="1531"/>
                </a:lnTo>
                <a:lnTo>
                  <a:pt x="9425" y="1521"/>
                </a:lnTo>
                <a:lnTo>
                  <a:pt x="9427" y="1514"/>
                </a:lnTo>
                <a:lnTo>
                  <a:pt x="9431" y="1509"/>
                </a:lnTo>
                <a:lnTo>
                  <a:pt x="9434" y="1505"/>
                </a:lnTo>
                <a:close/>
                <a:moveTo>
                  <a:pt x="9460" y="1486"/>
                </a:moveTo>
                <a:lnTo>
                  <a:pt x="9524" y="1435"/>
                </a:lnTo>
                <a:lnTo>
                  <a:pt x="9581" y="1397"/>
                </a:lnTo>
                <a:lnTo>
                  <a:pt x="9609" y="1397"/>
                </a:lnTo>
                <a:lnTo>
                  <a:pt x="9585" y="1466"/>
                </a:lnTo>
                <a:lnTo>
                  <a:pt x="9552" y="1448"/>
                </a:lnTo>
                <a:lnTo>
                  <a:pt x="9504" y="1479"/>
                </a:lnTo>
                <a:lnTo>
                  <a:pt x="9466" y="1509"/>
                </a:lnTo>
                <a:lnTo>
                  <a:pt x="9460" y="1486"/>
                </a:lnTo>
                <a:close/>
                <a:moveTo>
                  <a:pt x="9508" y="1234"/>
                </a:moveTo>
                <a:lnTo>
                  <a:pt x="9517" y="1247"/>
                </a:lnTo>
                <a:lnTo>
                  <a:pt x="9517" y="1257"/>
                </a:lnTo>
                <a:lnTo>
                  <a:pt x="9511" y="1265"/>
                </a:lnTo>
                <a:lnTo>
                  <a:pt x="9496" y="1272"/>
                </a:lnTo>
                <a:lnTo>
                  <a:pt x="9497" y="1261"/>
                </a:lnTo>
                <a:lnTo>
                  <a:pt x="9498" y="1251"/>
                </a:lnTo>
                <a:lnTo>
                  <a:pt x="9501" y="1241"/>
                </a:lnTo>
                <a:lnTo>
                  <a:pt x="9508" y="1234"/>
                </a:lnTo>
                <a:close/>
                <a:moveTo>
                  <a:pt x="9527" y="1190"/>
                </a:moveTo>
                <a:lnTo>
                  <a:pt x="9530" y="1191"/>
                </a:lnTo>
                <a:lnTo>
                  <a:pt x="9530" y="1192"/>
                </a:lnTo>
                <a:lnTo>
                  <a:pt x="9530" y="1196"/>
                </a:lnTo>
                <a:lnTo>
                  <a:pt x="9529" y="1199"/>
                </a:lnTo>
                <a:lnTo>
                  <a:pt x="9525" y="1196"/>
                </a:lnTo>
                <a:lnTo>
                  <a:pt x="9524" y="1195"/>
                </a:lnTo>
                <a:lnTo>
                  <a:pt x="9524" y="1192"/>
                </a:lnTo>
                <a:lnTo>
                  <a:pt x="9527" y="1190"/>
                </a:lnTo>
                <a:close/>
                <a:moveTo>
                  <a:pt x="9538" y="1346"/>
                </a:moveTo>
                <a:lnTo>
                  <a:pt x="9522" y="1355"/>
                </a:lnTo>
                <a:lnTo>
                  <a:pt x="9517" y="1349"/>
                </a:lnTo>
                <a:lnTo>
                  <a:pt x="9521" y="1334"/>
                </a:lnTo>
                <a:lnTo>
                  <a:pt x="9531" y="1320"/>
                </a:lnTo>
                <a:lnTo>
                  <a:pt x="9538" y="1327"/>
                </a:lnTo>
                <a:lnTo>
                  <a:pt x="9540" y="1334"/>
                </a:lnTo>
                <a:lnTo>
                  <a:pt x="9540" y="1340"/>
                </a:lnTo>
                <a:lnTo>
                  <a:pt x="9538" y="1346"/>
                </a:lnTo>
                <a:close/>
                <a:moveTo>
                  <a:pt x="9594" y="1192"/>
                </a:moveTo>
                <a:lnTo>
                  <a:pt x="9586" y="1211"/>
                </a:lnTo>
                <a:lnTo>
                  <a:pt x="9573" y="1222"/>
                </a:lnTo>
                <a:lnTo>
                  <a:pt x="9555" y="1223"/>
                </a:lnTo>
                <a:lnTo>
                  <a:pt x="9538" y="1216"/>
                </a:lnTo>
                <a:lnTo>
                  <a:pt x="9553" y="1213"/>
                </a:lnTo>
                <a:lnTo>
                  <a:pt x="9566" y="1202"/>
                </a:lnTo>
                <a:lnTo>
                  <a:pt x="9577" y="1194"/>
                </a:lnTo>
                <a:lnTo>
                  <a:pt x="9594" y="1192"/>
                </a:lnTo>
                <a:close/>
                <a:moveTo>
                  <a:pt x="9597" y="1262"/>
                </a:moveTo>
                <a:lnTo>
                  <a:pt x="9698" y="1163"/>
                </a:lnTo>
                <a:lnTo>
                  <a:pt x="9820" y="1094"/>
                </a:lnTo>
                <a:lnTo>
                  <a:pt x="9912" y="1064"/>
                </a:lnTo>
                <a:lnTo>
                  <a:pt x="9914" y="1079"/>
                </a:lnTo>
                <a:lnTo>
                  <a:pt x="9889" y="1085"/>
                </a:lnTo>
                <a:lnTo>
                  <a:pt x="9893" y="1088"/>
                </a:lnTo>
                <a:lnTo>
                  <a:pt x="9897" y="1090"/>
                </a:lnTo>
                <a:lnTo>
                  <a:pt x="9876" y="1102"/>
                </a:lnTo>
                <a:lnTo>
                  <a:pt x="9848" y="1116"/>
                </a:lnTo>
                <a:lnTo>
                  <a:pt x="9814" y="1131"/>
                </a:lnTo>
                <a:lnTo>
                  <a:pt x="9773" y="1149"/>
                </a:lnTo>
                <a:lnTo>
                  <a:pt x="9794" y="1172"/>
                </a:lnTo>
                <a:lnTo>
                  <a:pt x="9838" y="1162"/>
                </a:lnTo>
                <a:lnTo>
                  <a:pt x="9890" y="1146"/>
                </a:lnTo>
                <a:lnTo>
                  <a:pt x="9934" y="1155"/>
                </a:lnTo>
                <a:lnTo>
                  <a:pt x="9829" y="1211"/>
                </a:lnTo>
                <a:lnTo>
                  <a:pt x="9679" y="1285"/>
                </a:lnTo>
                <a:lnTo>
                  <a:pt x="9572" y="1321"/>
                </a:lnTo>
                <a:lnTo>
                  <a:pt x="9597" y="1262"/>
                </a:lnTo>
                <a:close/>
                <a:moveTo>
                  <a:pt x="9620" y="1206"/>
                </a:moveTo>
                <a:lnTo>
                  <a:pt x="9624" y="1216"/>
                </a:lnTo>
                <a:lnTo>
                  <a:pt x="9623" y="1222"/>
                </a:lnTo>
                <a:lnTo>
                  <a:pt x="9616" y="1222"/>
                </a:lnTo>
                <a:lnTo>
                  <a:pt x="9604" y="1218"/>
                </a:lnTo>
                <a:lnTo>
                  <a:pt x="9614" y="1210"/>
                </a:lnTo>
                <a:lnTo>
                  <a:pt x="9620" y="1206"/>
                </a:lnTo>
                <a:close/>
                <a:moveTo>
                  <a:pt x="9666" y="1150"/>
                </a:moveTo>
                <a:lnTo>
                  <a:pt x="9678" y="1155"/>
                </a:lnTo>
                <a:lnTo>
                  <a:pt x="9679" y="1160"/>
                </a:lnTo>
                <a:lnTo>
                  <a:pt x="9673" y="1166"/>
                </a:lnTo>
                <a:lnTo>
                  <a:pt x="9662" y="1172"/>
                </a:lnTo>
                <a:lnTo>
                  <a:pt x="9660" y="1163"/>
                </a:lnTo>
                <a:lnTo>
                  <a:pt x="9661" y="1158"/>
                </a:lnTo>
                <a:lnTo>
                  <a:pt x="9664" y="1154"/>
                </a:lnTo>
                <a:lnTo>
                  <a:pt x="9666" y="1150"/>
                </a:lnTo>
                <a:close/>
                <a:moveTo>
                  <a:pt x="9709" y="1134"/>
                </a:moveTo>
                <a:lnTo>
                  <a:pt x="9712" y="1143"/>
                </a:lnTo>
                <a:lnTo>
                  <a:pt x="9712" y="1149"/>
                </a:lnTo>
                <a:lnTo>
                  <a:pt x="9708" y="1152"/>
                </a:lnTo>
                <a:lnTo>
                  <a:pt x="9702" y="1153"/>
                </a:lnTo>
                <a:lnTo>
                  <a:pt x="9704" y="1144"/>
                </a:lnTo>
                <a:lnTo>
                  <a:pt x="9709" y="1134"/>
                </a:lnTo>
                <a:close/>
                <a:moveTo>
                  <a:pt x="9925" y="1216"/>
                </a:moveTo>
                <a:lnTo>
                  <a:pt x="9926" y="1214"/>
                </a:lnTo>
                <a:lnTo>
                  <a:pt x="9928" y="1213"/>
                </a:lnTo>
                <a:lnTo>
                  <a:pt x="9930" y="1211"/>
                </a:lnTo>
                <a:lnTo>
                  <a:pt x="9932" y="1213"/>
                </a:lnTo>
                <a:lnTo>
                  <a:pt x="9932" y="1218"/>
                </a:lnTo>
                <a:lnTo>
                  <a:pt x="9931" y="1220"/>
                </a:lnTo>
                <a:lnTo>
                  <a:pt x="9928" y="1220"/>
                </a:lnTo>
                <a:lnTo>
                  <a:pt x="9925" y="1216"/>
                </a:lnTo>
                <a:close/>
                <a:moveTo>
                  <a:pt x="9978" y="1216"/>
                </a:moveTo>
                <a:lnTo>
                  <a:pt x="10020" y="1200"/>
                </a:lnTo>
                <a:lnTo>
                  <a:pt x="10051" y="1199"/>
                </a:lnTo>
                <a:lnTo>
                  <a:pt x="10051" y="1222"/>
                </a:lnTo>
                <a:lnTo>
                  <a:pt x="10004" y="1280"/>
                </a:lnTo>
                <a:lnTo>
                  <a:pt x="9963" y="1278"/>
                </a:lnTo>
                <a:lnTo>
                  <a:pt x="9921" y="1270"/>
                </a:lnTo>
                <a:lnTo>
                  <a:pt x="9913" y="1251"/>
                </a:lnTo>
                <a:lnTo>
                  <a:pt x="9978" y="1216"/>
                </a:lnTo>
                <a:close/>
                <a:moveTo>
                  <a:pt x="10193" y="1010"/>
                </a:moveTo>
                <a:lnTo>
                  <a:pt x="10191" y="1012"/>
                </a:lnTo>
                <a:lnTo>
                  <a:pt x="10193" y="1010"/>
                </a:lnTo>
                <a:lnTo>
                  <a:pt x="10195" y="1013"/>
                </a:lnTo>
                <a:lnTo>
                  <a:pt x="10193" y="1015"/>
                </a:lnTo>
                <a:lnTo>
                  <a:pt x="10192" y="1015"/>
                </a:lnTo>
                <a:lnTo>
                  <a:pt x="10193" y="1010"/>
                </a:lnTo>
                <a:close/>
                <a:moveTo>
                  <a:pt x="10258" y="963"/>
                </a:moveTo>
                <a:lnTo>
                  <a:pt x="10260" y="966"/>
                </a:lnTo>
                <a:lnTo>
                  <a:pt x="10261" y="968"/>
                </a:lnTo>
                <a:lnTo>
                  <a:pt x="10255" y="975"/>
                </a:lnTo>
                <a:lnTo>
                  <a:pt x="10252" y="975"/>
                </a:lnTo>
                <a:lnTo>
                  <a:pt x="10252" y="969"/>
                </a:lnTo>
                <a:lnTo>
                  <a:pt x="10258" y="963"/>
                </a:lnTo>
                <a:close/>
                <a:moveTo>
                  <a:pt x="10284" y="973"/>
                </a:moveTo>
                <a:lnTo>
                  <a:pt x="10311" y="964"/>
                </a:lnTo>
                <a:lnTo>
                  <a:pt x="10307" y="976"/>
                </a:lnTo>
                <a:lnTo>
                  <a:pt x="10284" y="992"/>
                </a:lnTo>
                <a:lnTo>
                  <a:pt x="10256" y="998"/>
                </a:lnTo>
                <a:lnTo>
                  <a:pt x="10261" y="987"/>
                </a:lnTo>
                <a:lnTo>
                  <a:pt x="10267" y="980"/>
                </a:lnTo>
                <a:lnTo>
                  <a:pt x="10275" y="975"/>
                </a:lnTo>
                <a:lnTo>
                  <a:pt x="10284" y="973"/>
                </a:lnTo>
                <a:close/>
                <a:moveTo>
                  <a:pt x="10313" y="1158"/>
                </a:moveTo>
                <a:lnTo>
                  <a:pt x="10308" y="1164"/>
                </a:lnTo>
                <a:lnTo>
                  <a:pt x="10300" y="1168"/>
                </a:lnTo>
                <a:lnTo>
                  <a:pt x="10293" y="1169"/>
                </a:lnTo>
                <a:lnTo>
                  <a:pt x="10285" y="1171"/>
                </a:lnTo>
                <a:lnTo>
                  <a:pt x="10293" y="1166"/>
                </a:lnTo>
                <a:lnTo>
                  <a:pt x="10300" y="1159"/>
                </a:lnTo>
                <a:lnTo>
                  <a:pt x="10307" y="1155"/>
                </a:lnTo>
                <a:lnTo>
                  <a:pt x="10313" y="1158"/>
                </a:lnTo>
                <a:close/>
                <a:moveTo>
                  <a:pt x="10353" y="1036"/>
                </a:moveTo>
                <a:lnTo>
                  <a:pt x="10373" y="1029"/>
                </a:lnTo>
                <a:lnTo>
                  <a:pt x="10369" y="1036"/>
                </a:lnTo>
                <a:lnTo>
                  <a:pt x="10353" y="1048"/>
                </a:lnTo>
                <a:lnTo>
                  <a:pt x="10337" y="1059"/>
                </a:lnTo>
                <a:lnTo>
                  <a:pt x="10339" y="1050"/>
                </a:lnTo>
                <a:lnTo>
                  <a:pt x="10342" y="1043"/>
                </a:lnTo>
                <a:lnTo>
                  <a:pt x="10347" y="1040"/>
                </a:lnTo>
                <a:lnTo>
                  <a:pt x="10353" y="1036"/>
                </a:lnTo>
                <a:close/>
                <a:moveTo>
                  <a:pt x="10386" y="1633"/>
                </a:moveTo>
                <a:lnTo>
                  <a:pt x="10382" y="1635"/>
                </a:lnTo>
                <a:lnTo>
                  <a:pt x="10378" y="1639"/>
                </a:lnTo>
                <a:lnTo>
                  <a:pt x="10375" y="1640"/>
                </a:lnTo>
                <a:lnTo>
                  <a:pt x="10373" y="1638"/>
                </a:lnTo>
                <a:lnTo>
                  <a:pt x="10377" y="1635"/>
                </a:lnTo>
                <a:lnTo>
                  <a:pt x="10381" y="1631"/>
                </a:lnTo>
                <a:lnTo>
                  <a:pt x="10383" y="1630"/>
                </a:lnTo>
                <a:lnTo>
                  <a:pt x="10386" y="1633"/>
                </a:lnTo>
                <a:close/>
                <a:moveTo>
                  <a:pt x="10556" y="845"/>
                </a:moveTo>
                <a:lnTo>
                  <a:pt x="10554" y="859"/>
                </a:lnTo>
                <a:lnTo>
                  <a:pt x="10550" y="866"/>
                </a:lnTo>
                <a:lnTo>
                  <a:pt x="10542" y="869"/>
                </a:lnTo>
                <a:lnTo>
                  <a:pt x="10527" y="868"/>
                </a:lnTo>
                <a:lnTo>
                  <a:pt x="10542" y="856"/>
                </a:lnTo>
                <a:lnTo>
                  <a:pt x="10556" y="845"/>
                </a:lnTo>
                <a:close/>
                <a:moveTo>
                  <a:pt x="10703" y="813"/>
                </a:moveTo>
                <a:lnTo>
                  <a:pt x="10700" y="835"/>
                </a:lnTo>
                <a:lnTo>
                  <a:pt x="10693" y="849"/>
                </a:lnTo>
                <a:lnTo>
                  <a:pt x="10677" y="857"/>
                </a:lnTo>
                <a:lnTo>
                  <a:pt x="10647" y="868"/>
                </a:lnTo>
                <a:lnTo>
                  <a:pt x="10658" y="849"/>
                </a:lnTo>
                <a:lnTo>
                  <a:pt x="10672" y="836"/>
                </a:lnTo>
                <a:lnTo>
                  <a:pt x="10688" y="824"/>
                </a:lnTo>
                <a:lnTo>
                  <a:pt x="10703" y="813"/>
                </a:lnTo>
                <a:close/>
                <a:moveTo>
                  <a:pt x="10749" y="815"/>
                </a:moveTo>
                <a:lnTo>
                  <a:pt x="10770" y="805"/>
                </a:lnTo>
                <a:lnTo>
                  <a:pt x="10778" y="809"/>
                </a:lnTo>
                <a:lnTo>
                  <a:pt x="10770" y="819"/>
                </a:lnTo>
                <a:lnTo>
                  <a:pt x="10750" y="827"/>
                </a:lnTo>
                <a:lnTo>
                  <a:pt x="10727" y="836"/>
                </a:lnTo>
                <a:lnTo>
                  <a:pt x="10721" y="837"/>
                </a:lnTo>
                <a:lnTo>
                  <a:pt x="10728" y="829"/>
                </a:lnTo>
                <a:lnTo>
                  <a:pt x="10749" y="815"/>
                </a:lnTo>
                <a:close/>
                <a:moveTo>
                  <a:pt x="10780" y="779"/>
                </a:moveTo>
                <a:lnTo>
                  <a:pt x="10772" y="781"/>
                </a:lnTo>
                <a:lnTo>
                  <a:pt x="10764" y="781"/>
                </a:lnTo>
                <a:lnTo>
                  <a:pt x="10770" y="775"/>
                </a:lnTo>
                <a:lnTo>
                  <a:pt x="10775" y="772"/>
                </a:lnTo>
                <a:lnTo>
                  <a:pt x="10778" y="773"/>
                </a:lnTo>
                <a:lnTo>
                  <a:pt x="10780" y="779"/>
                </a:lnTo>
                <a:close/>
                <a:moveTo>
                  <a:pt x="10782" y="789"/>
                </a:moveTo>
                <a:lnTo>
                  <a:pt x="10779" y="787"/>
                </a:lnTo>
                <a:lnTo>
                  <a:pt x="10778" y="786"/>
                </a:lnTo>
                <a:lnTo>
                  <a:pt x="10778" y="784"/>
                </a:lnTo>
                <a:lnTo>
                  <a:pt x="10780" y="781"/>
                </a:lnTo>
                <a:lnTo>
                  <a:pt x="10782" y="785"/>
                </a:lnTo>
                <a:lnTo>
                  <a:pt x="10782" y="789"/>
                </a:lnTo>
                <a:close/>
                <a:moveTo>
                  <a:pt x="10977" y="703"/>
                </a:moveTo>
                <a:lnTo>
                  <a:pt x="10971" y="705"/>
                </a:lnTo>
                <a:lnTo>
                  <a:pt x="10971" y="705"/>
                </a:lnTo>
                <a:lnTo>
                  <a:pt x="10974" y="705"/>
                </a:lnTo>
                <a:lnTo>
                  <a:pt x="10977" y="703"/>
                </a:lnTo>
                <a:lnTo>
                  <a:pt x="10977" y="707"/>
                </a:lnTo>
                <a:lnTo>
                  <a:pt x="10973" y="711"/>
                </a:lnTo>
                <a:lnTo>
                  <a:pt x="10971" y="710"/>
                </a:lnTo>
                <a:lnTo>
                  <a:pt x="10977" y="703"/>
                </a:lnTo>
                <a:close/>
                <a:moveTo>
                  <a:pt x="11011" y="636"/>
                </a:moveTo>
                <a:lnTo>
                  <a:pt x="11006" y="649"/>
                </a:lnTo>
                <a:lnTo>
                  <a:pt x="10998" y="655"/>
                </a:lnTo>
                <a:lnTo>
                  <a:pt x="10989" y="658"/>
                </a:lnTo>
                <a:lnTo>
                  <a:pt x="10983" y="660"/>
                </a:lnTo>
                <a:lnTo>
                  <a:pt x="10982" y="653"/>
                </a:lnTo>
                <a:lnTo>
                  <a:pt x="10989" y="647"/>
                </a:lnTo>
                <a:lnTo>
                  <a:pt x="11001" y="642"/>
                </a:lnTo>
                <a:lnTo>
                  <a:pt x="11011" y="636"/>
                </a:lnTo>
                <a:close/>
                <a:moveTo>
                  <a:pt x="11028" y="598"/>
                </a:moveTo>
                <a:lnTo>
                  <a:pt x="11030" y="607"/>
                </a:lnTo>
                <a:lnTo>
                  <a:pt x="11026" y="614"/>
                </a:lnTo>
                <a:lnTo>
                  <a:pt x="11019" y="617"/>
                </a:lnTo>
                <a:lnTo>
                  <a:pt x="11007" y="612"/>
                </a:lnTo>
                <a:lnTo>
                  <a:pt x="11019" y="604"/>
                </a:lnTo>
                <a:lnTo>
                  <a:pt x="11028" y="598"/>
                </a:lnTo>
                <a:close/>
                <a:moveTo>
                  <a:pt x="11048" y="640"/>
                </a:moveTo>
                <a:lnTo>
                  <a:pt x="11043" y="640"/>
                </a:lnTo>
                <a:lnTo>
                  <a:pt x="11036" y="641"/>
                </a:lnTo>
                <a:lnTo>
                  <a:pt x="11031" y="641"/>
                </a:lnTo>
                <a:lnTo>
                  <a:pt x="11030" y="637"/>
                </a:lnTo>
                <a:lnTo>
                  <a:pt x="11035" y="636"/>
                </a:lnTo>
                <a:lnTo>
                  <a:pt x="11042" y="635"/>
                </a:lnTo>
                <a:lnTo>
                  <a:pt x="11045" y="635"/>
                </a:lnTo>
                <a:lnTo>
                  <a:pt x="11048" y="640"/>
                </a:lnTo>
                <a:close/>
                <a:moveTo>
                  <a:pt x="7972" y="1239"/>
                </a:moveTo>
                <a:lnTo>
                  <a:pt x="7979" y="1234"/>
                </a:lnTo>
                <a:lnTo>
                  <a:pt x="7986" y="1229"/>
                </a:lnTo>
                <a:lnTo>
                  <a:pt x="7985" y="1237"/>
                </a:lnTo>
                <a:lnTo>
                  <a:pt x="7984" y="1239"/>
                </a:lnTo>
                <a:lnTo>
                  <a:pt x="7980" y="1241"/>
                </a:lnTo>
                <a:lnTo>
                  <a:pt x="7972" y="1239"/>
                </a:lnTo>
                <a:close/>
                <a:moveTo>
                  <a:pt x="7989" y="1369"/>
                </a:moveTo>
                <a:lnTo>
                  <a:pt x="7992" y="1365"/>
                </a:lnTo>
                <a:lnTo>
                  <a:pt x="7992" y="1365"/>
                </a:lnTo>
                <a:lnTo>
                  <a:pt x="7990" y="1367"/>
                </a:lnTo>
                <a:lnTo>
                  <a:pt x="7989" y="1369"/>
                </a:lnTo>
                <a:lnTo>
                  <a:pt x="7986" y="1367"/>
                </a:lnTo>
                <a:lnTo>
                  <a:pt x="7988" y="1362"/>
                </a:lnTo>
                <a:lnTo>
                  <a:pt x="7989" y="1362"/>
                </a:lnTo>
                <a:lnTo>
                  <a:pt x="7989" y="1369"/>
                </a:lnTo>
                <a:close/>
                <a:moveTo>
                  <a:pt x="8307" y="1213"/>
                </a:moveTo>
                <a:lnTo>
                  <a:pt x="8309" y="1208"/>
                </a:lnTo>
                <a:lnTo>
                  <a:pt x="8311" y="1201"/>
                </a:lnTo>
                <a:lnTo>
                  <a:pt x="8314" y="1197"/>
                </a:lnTo>
                <a:lnTo>
                  <a:pt x="8319" y="1200"/>
                </a:lnTo>
                <a:lnTo>
                  <a:pt x="8316" y="1205"/>
                </a:lnTo>
                <a:lnTo>
                  <a:pt x="8314" y="1210"/>
                </a:lnTo>
                <a:lnTo>
                  <a:pt x="8311" y="1214"/>
                </a:lnTo>
                <a:lnTo>
                  <a:pt x="8307" y="1213"/>
                </a:lnTo>
                <a:close/>
                <a:moveTo>
                  <a:pt x="8315" y="1234"/>
                </a:moveTo>
                <a:lnTo>
                  <a:pt x="8310" y="1241"/>
                </a:lnTo>
                <a:lnTo>
                  <a:pt x="8302" y="1247"/>
                </a:lnTo>
                <a:lnTo>
                  <a:pt x="8291" y="1253"/>
                </a:lnTo>
                <a:lnTo>
                  <a:pt x="8272" y="1261"/>
                </a:lnTo>
                <a:lnTo>
                  <a:pt x="8275" y="1248"/>
                </a:lnTo>
                <a:lnTo>
                  <a:pt x="8284" y="1239"/>
                </a:lnTo>
                <a:lnTo>
                  <a:pt x="8297" y="1236"/>
                </a:lnTo>
                <a:lnTo>
                  <a:pt x="8315" y="1234"/>
                </a:lnTo>
                <a:close/>
                <a:moveTo>
                  <a:pt x="9316" y="1583"/>
                </a:moveTo>
                <a:lnTo>
                  <a:pt x="9331" y="1577"/>
                </a:lnTo>
                <a:lnTo>
                  <a:pt x="9343" y="1570"/>
                </a:lnTo>
                <a:lnTo>
                  <a:pt x="9338" y="1582"/>
                </a:lnTo>
                <a:lnTo>
                  <a:pt x="9333" y="1587"/>
                </a:lnTo>
                <a:lnTo>
                  <a:pt x="9326" y="1587"/>
                </a:lnTo>
                <a:lnTo>
                  <a:pt x="9316" y="1583"/>
                </a:lnTo>
                <a:close/>
                <a:moveTo>
                  <a:pt x="11086" y="791"/>
                </a:moveTo>
                <a:lnTo>
                  <a:pt x="11090" y="786"/>
                </a:lnTo>
                <a:lnTo>
                  <a:pt x="11094" y="780"/>
                </a:lnTo>
                <a:lnTo>
                  <a:pt x="11098" y="775"/>
                </a:lnTo>
                <a:lnTo>
                  <a:pt x="11101" y="775"/>
                </a:lnTo>
                <a:lnTo>
                  <a:pt x="11098" y="779"/>
                </a:lnTo>
                <a:lnTo>
                  <a:pt x="11096" y="785"/>
                </a:lnTo>
                <a:lnTo>
                  <a:pt x="11094" y="790"/>
                </a:lnTo>
                <a:lnTo>
                  <a:pt x="11086" y="791"/>
                </a:lnTo>
                <a:close/>
                <a:moveTo>
                  <a:pt x="10991" y="743"/>
                </a:moveTo>
                <a:lnTo>
                  <a:pt x="10996" y="733"/>
                </a:lnTo>
                <a:lnTo>
                  <a:pt x="11002" y="726"/>
                </a:lnTo>
                <a:lnTo>
                  <a:pt x="11010" y="725"/>
                </a:lnTo>
                <a:lnTo>
                  <a:pt x="11019" y="728"/>
                </a:lnTo>
                <a:lnTo>
                  <a:pt x="11005" y="735"/>
                </a:lnTo>
                <a:lnTo>
                  <a:pt x="10991" y="743"/>
                </a:lnTo>
                <a:close/>
                <a:moveTo>
                  <a:pt x="11034" y="815"/>
                </a:moveTo>
                <a:lnTo>
                  <a:pt x="11049" y="810"/>
                </a:lnTo>
                <a:lnTo>
                  <a:pt x="11058" y="817"/>
                </a:lnTo>
                <a:lnTo>
                  <a:pt x="11058" y="827"/>
                </a:lnTo>
                <a:lnTo>
                  <a:pt x="11043" y="835"/>
                </a:lnTo>
                <a:lnTo>
                  <a:pt x="11012" y="838"/>
                </a:lnTo>
                <a:lnTo>
                  <a:pt x="11000" y="837"/>
                </a:lnTo>
                <a:lnTo>
                  <a:pt x="11006" y="829"/>
                </a:lnTo>
                <a:lnTo>
                  <a:pt x="11034" y="815"/>
                </a:lnTo>
                <a:close/>
                <a:moveTo>
                  <a:pt x="10368" y="1121"/>
                </a:moveTo>
                <a:lnTo>
                  <a:pt x="10373" y="1117"/>
                </a:lnTo>
                <a:lnTo>
                  <a:pt x="10378" y="1117"/>
                </a:lnTo>
                <a:lnTo>
                  <a:pt x="10375" y="1121"/>
                </a:lnTo>
                <a:lnTo>
                  <a:pt x="10373" y="1124"/>
                </a:lnTo>
                <a:lnTo>
                  <a:pt x="10370" y="1124"/>
                </a:lnTo>
                <a:lnTo>
                  <a:pt x="10368" y="1121"/>
                </a:lnTo>
                <a:close/>
                <a:moveTo>
                  <a:pt x="10291" y="1680"/>
                </a:moveTo>
                <a:lnTo>
                  <a:pt x="10304" y="1667"/>
                </a:lnTo>
                <a:lnTo>
                  <a:pt x="10319" y="1657"/>
                </a:lnTo>
                <a:lnTo>
                  <a:pt x="10337" y="1649"/>
                </a:lnTo>
                <a:lnTo>
                  <a:pt x="10354" y="1642"/>
                </a:lnTo>
                <a:lnTo>
                  <a:pt x="10341" y="1657"/>
                </a:lnTo>
                <a:lnTo>
                  <a:pt x="10327" y="1666"/>
                </a:lnTo>
                <a:lnTo>
                  <a:pt x="10311" y="1672"/>
                </a:lnTo>
                <a:lnTo>
                  <a:pt x="10291" y="1680"/>
                </a:lnTo>
                <a:close/>
                <a:moveTo>
                  <a:pt x="10262" y="1698"/>
                </a:moveTo>
                <a:lnTo>
                  <a:pt x="10267" y="1694"/>
                </a:lnTo>
                <a:lnTo>
                  <a:pt x="10272" y="1690"/>
                </a:lnTo>
                <a:lnTo>
                  <a:pt x="10274" y="1695"/>
                </a:lnTo>
                <a:lnTo>
                  <a:pt x="10271" y="1696"/>
                </a:lnTo>
                <a:lnTo>
                  <a:pt x="10267" y="1698"/>
                </a:lnTo>
                <a:lnTo>
                  <a:pt x="10262" y="1698"/>
                </a:lnTo>
                <a:close/>
                <a:moveTo>
                  <a:pt x="9950" y="1309"/>
                </a:moveTo>
                <a:lnTo>
                  <a:pt x="9959" y="1298"/>
                </a:lnTo>
                <a:lnTo>
                  <a:pt x="9967" y="1288"/>
                </a:lnTo>
                <a:lnTo>
                  <a:pt x="9973" y="1299"/>
                </a:lnTo>
                <a:lnTo>
                  <a:pt x="9972" y="1309"/>
                </a:lnTo>
                <a:lnTo>
                  <a:pt x="9964" y="1314"/>
                </a:lnTo>
                <a:lnTo>
                  <a:pt x="9950" y="1309"/>
                </a:lnTo>
                <a:close/>
                <a:moveTo>
                  <a:pt x="9665" y="1443"/>
                </a:moveTo>
                <a:lnTo>
                  <a:pt x="9667" y="1440"/>
                </a:lnTo>
                <a:lnTo>
                  <a:pt x="9670" y="1438"/>
                </a:lnTo>
                <a:lnTo>
                  <a:pt x="9673" y="1437"/>
                </a:lnTo>
                <a:lnTo>
                  <a:pt x="9674" y="1440"/>
                </a:lnTo>
                <a:lnTo>
                  <a:pt x="9669" y="1443"/>
                </a:lnTo>
                <a:lnTo>
                  <a:pt x="9665" y="1443"/>
                </a:lnTo>
                <a:close/>
                <a:moveTo>
                  <a:pt x="9605" y="1556"/>
                </a:moveTo>
                <a:lnTo>
                  <a:pt x="9608" y="1550"/>
                </a:lnTo>
                <a:lnTo>
                  <a:pt x="9611" y="1550"/>
                </a:lnTo>
                <a:lnTo>
                  <a:pt x="9614" y="1555"/>
                </a:lnTo>
                <a:lnTo>
                  <a:pt x="9611" y="1563"/>
                </a:lnTo>
                <a:lnTo>
                  <a:pt x="9608" y="1559"/>
                </a:lnTo>
                <a:lnTo>
                  <a:pt x="9605" y="1556"/>
                </a:lnTo>
                <a:close/>
                <a:moveTo>
                  <a:pt x="9518" y="1607"/>
                </a:moveTo>
                <a:lnTo>
                  <a:pt x="9516" y="1611"/>
                </a:lnTo>
                <a:lnTo>
                  <a:pt x="9513" y="1614"/>
                </a:lnTo>
                <a:lnTo>
                  <a:pt x="9510" y="1615"/>
                </a:lnTo>
                <a:lnTo>
                  <a:pt x="9508" y="1611"/>
                </a:lnTo>
                <a:lnTo>
                  <a:pt x="9511" y="1609"/>
                </a:lnTo>
                <a:lnTo>
                  <a:pt x="9513" y="1606"/>
                </a:lnTo>
                <a:lnTo>
                  <a:pt x="9517" y="1605"/>
                </a:lnTo>
                <a:lnTo>
                  <a:pt x="9518" y="1607"/>
                </a:lnTo>
                <a:close/>
                <a:moveTo>
                  <a:pt x="9470" y="1549"/>
                </a:moveTo>
                <a:lnTo>
                  <a:pt x="9487" y="1540"/>
                </a:lnTo>
                <a:lnTo>
                  <a:pt x="9504" y="1530"/>
                </a:lnTo>
                <a:lnTo>
                  <a:pt x="9526" y="1522"/>
                </a:lnTo>
                <a:lnTo>
                  <a:pt x="9552" y="1519"/>
                </a:lnTo>
                <a:lnTo>
                  <a:pt x="9521" y="1563"/>
                </a:lnTo>
                <a:lnTo>
                  <a:pt x="9476" y="1593"/>
                </a:lnTo>
                <a:lnTo>
                  <a:pt x="9451" y="1595"/>
                </a:lnTo>
                <a:lnTo>
                  <a:pt x="9470" y="1549"/>
                </a:lnTo>
                <a:close/>
                <a:moveTo>
                  <a:pt x="9385" y="1257"/>
                </a:moveTo>
                <a:lnTo>
                  <a:pt x="9386" y="1255"/>
                </a:lnTo>
                <a:lnTo>
                  <a:pt x="9387" y="1252"/>
                </a:lnTo>
                <a:lnTo>
                  <a:pt x="9390" y="1251"/>
                </a:lnTo>
                <a:lnTo>
                  <a:pt x="9392" y="1253"/>
                </a:lnTo>
                <a:lnTo>
                  <a:pt x="9391" y="1257"/>
                </a:lnTo>
                <a:lnTo>
                  <a:pt x="9390" y="1260"/>
                </a:lnTo>
                <a:lnTo>
                  <a:pt x="9389" y="1260"/>
                </a:lnTo>
                <a:lnTo>
                  <a:pt x="9385" y="1257"/>
                </a:lnTo>
                <a:close/>
                <a:moveTo>
                  <a:pt x="9386" y="1536"/>
                </a:moveTo>
                <a:lnTo>
                  <a:pt x="9399" y="1544"/>
                </a:lnTo>
                <a:lnTo>
                  <a:pt x="9394" y="1547"/>
                </a:lnTo>
                <a:lnTo>
                  <a:pt x="9380" y="1551"/>
                </a:lnTo>
                <a:lnTo>
                  <a:pt x="9371" y="1559"/>
                </a:lnTo>
                <a:lnTo>
                  <a:pt x="9359" y="1561"/>
                </a:lnTo>
                <a:lnTo>
                  <a:pt x="9362" y="1554"/>
                </a:lnTo>
                <a:lnTo>
                  <a:pt x="9373" y="1542"/>
                </a:lnTo>
                <a:lnTo>
                  <a:pt x="9386" y="1536"/>
                </a:lnTo>
                <a:close/>
                <a:moveTo>
                  <a:pt x="9298" y="1364"/>
                </a:moveTo>
                <a:lnTo>
                  <a:pt x="9303" y="1363"/>
                </a:lnTo>
                <a:lnTo>
                  <a:pt x="9307" y="1362"/>
                </a:lnTo>
                <a:lnTo>
                  <a:pt x="9311" y="1360"/>
                </a:lnTo>
                <a:lnTo>
                  <a:pt x="9313" y="1364"/>
                </a:lnTo>
                <a:lnTo>
                  <a:pt x="9308" y="1364"/>
                </a:lnTo>
                <a:lnTo>
                  <a:pt x="9304" y="1367"/>
                </a:lnTo>
                <a:lnTo>
                  <a:pt x="9301" y="1367"/>
                </a:lnTo>
                <a:lnTo>
                  <a:pt x="9298" y="1364"/>
                </a:lnTo>
                <a:close/>
                <a:moveTo>
                  <a:pt x="9054" y="1895"/>
                </a:moveTo>
                <a:lnTo>
                  <a:pt x="9055" y="1891"/>
                </a:lnTo>
                <a:lnTo>
                  <a:pt x="9056" y="1890"/>
                </a:lnTo>
                <a:lnTo>
                  <a:pt x="9059" y="1890"/>
                </a:lnTo>
                <a:lnTo>
                  <a:pt x="9063" y="1892"/>
                </a:lnTo>
                <a:lnTo>
                  <a:pt x="9061" y="1897"/>
                </a:lnTo>
                <a:lnTo>
                  <a:pt x="9059" y="1899"/>
                </a:lnTo>
                <a:lnTo>
                  <a:pt x="9056" y="1899"/>
                </a:lnTo>
                <a:lnTo>
                  <a:pt x="9054" y="1895"/>
                </a:lnTo>
                <a:close/>
                <a:moveTo>
                  <a:pt x="9029" y="1927"/>
                </a:moveTo>
                <a:lnTo>
                  <a:pt x="9031" y="1918"/>
                </a:lnTo>
                <a:lnTo>
                  <a:pt x="9033" y="1911"/>
                </a:lnTo>
                <a:lnTo>
                  <a:pt x="9037" y="1909"/>
                </a:lnTo>
                <a:lnTo>
                  <a:pt x="9046" y="1908"/>
                </a:lnTo>
                <a:lnTo>
                  <a:pt x="9037" y="1918"/>
                </a:lnTo>
                <a:lnTo>
                  <a:pt x="9029" y="1927"/>
                </a:lnTo>
                <a:close/>
                <a:moveTo>
                  <a:pt x="8335" y="1224"/>
                </a:moveTo>
                <a:lnTo>
                  <a:pt x="8334" y="1229"/>
                </a:lnTo>
                <a:lnTo>
                  <a:pt x="8332" y="1232"/>
                </a:lnTo>
                <a:lnTo>
                  <a:pt x="8329" y="1232"/>
                </a:lnTo>
                <a:lnTo>
                  <a:pt x="8325" y="1228"/>
                </a:lnTo>
                <a:lnTo>
                  <a:pt x="8328" y="1224"/>
                </a:lnTo>
                <a:lnTo>
                  <a:pt x="8329" y="1222"/>
                </a:lnTo>
                <a:lnTo>
                  <a:pt x="8332" y="1222"/>
                </a:lnTo>
                <a:lnTo>
                  <a:pt x="8335" y="1224"/>
                </a:lnTo>
                <a:close/>
                <a:moveTo>
                  <a:pt x="8352" y="1209"/>
                </a:moveTo>
                <a:lnTo>
                  <a:pt x="8351" y="1213"/>
                </a:lnTo>
                <a:lnTo>
                  <a:pt x="8351" y="1218"/>
                </a:lnTo>
                <a:lnTo>
                  <a:pt x="8349" y="1220"/>
                </a:lnTo>
                <a:lnTo>
                  <a:pt x="8347" y="1220"/>
                </a:lnTo>
                <a:lnTo>
                  <a:pt x="8347" y="1216"/>
                </a:lnTo>
                <a:lnTo>
                  <a:pt x="8347" y="1211"/>
                </a:lnTo>
                <a:lnTo>
                  <a:pt x="8348" y="1208"/>
                </a:lnTo>
                <a:lnTo>
                  <a:pt x="8352" y="1209"/>
                </a:lnTo>
                <a:close/>
                <a:moveTo>
                  <a:pt x="8363" y="1104"/>
                </a:moveTo>
                <a:lnTo>
                  <a:pt x="8366" y="1106"/>
                </a:lnTo>
                <a:lnTo>
                  <a:pt x="8367" y="1108"/>
                </a:lnTo>
                <a:lnTo>
                  <a:pt x="8367" y="1111"/>
                </a:lnTo>
                <a:lnTo>
                  <a:pt x="8365" y="1115"/>
                </a:lnTo>
                <a:lnTo>
                  <a:pt x="8361" y="1112"/>
                </a:lnTo>
                <a:lnTo>
                  <a:pt x="8360" y="1110"/>
                </a:lnTo>
                <a:lnTo>
                  <a:pt x="8361" y="1107"/>
                </a:lnTo>
                <a:lnTo>
                  <a:pt x="8363" y="1104"/>
                </a:lnTo>
                <a:close/>
                <a:moveTo>
                  <a:pt x="8323" y="1020"/>
                </a:moveTo>
                <a:lnTo>
                  <a:pt x="8334" y="1014"/>
                </a:lnTo>
                <a:lnTo>
                  <a:pt x="8337" y="1013"/>
                </a:lnTo>
                <a:lnTo>
                  <a:pt x="8332" y="1015"/>
                </a:lnTo>
                <a:lnTo>
                  <a:pt x="8323" y="1020"/>
                </a:lnTo>
                <a:lnTo>
                  <a:pt x="8324" y="1012"/>
                </a:lnTo>
                <a:lnTo>
                  <a:pt x="8333" y="1004"/>
                </a:lnTo>
                <a:lnTo>
                  <a:pt x="8337" y="1004"/>
                </a:lnTo>
                <a:lnTo>
                  <a:pt x="8323" y="1020"/>
                </a:lnTo>
                <a:close/>
                <a:moveTo>
                  <a:pt x="7932" y="1256"/>
                </a:moveTo>
                <a:lnTo>
                  <a:pt x="7939" y="1248"/>
                </a:lnTo>
                <a:lnTo>
                  <a:pt x="7946" y="1246"/>
                </a:lnTo>
                <a:lnTo>
                  <a:pt x="7952" y="1246"/>
                </a:lnTo>
                <a:lnTo>
                  <a:pt x="7965" y="1250"/>
                </a:lnTo>
                <a:lnTo>
                  <a:pt x="7956" y="1265"/>
                </a:lnTo>
                <a:lnTo>
                  <a:pt x="7948" y="1271"/>
                </a:lnTo>
                <a:lnTo>
                  <a:pt x="7941" y="1267"/>
                </a:lnTo>
                <a:lnTo>
                  <a:pt x="7932" y="1256"/>
                </a:lnTo>
                <a:close/>
                <a:moveTo>
                  <a:pt x="7164" y="1392"/>
                </a:moveTo>
                <a:lnTo>
                  <a:pt x="7168" y="1391"/>
                </a:lnTo>
                <a:lnTo>
                  <a:pt x="7173" y="1390"/>
                </a:lnTo>
                <a:lnTo>
                  <a:pt x="7176" y="1390"/>
                </a:lnTo>
                <a:lnTo>
                  <a:pt x="7178" y="1395"/>
                </a:lnTo>
                <a:lnTo>
                  <a:pt x="7174" y="1396"/>
                </a:lnTo>
                <a:lnTo>
                  <a:pt x="7169" y="1397"/>
                </a:lnTo>
                <a:lnTo>
                  <a:pt x="7165" y="1396"/>
                </a:lnTo>
                <a:lnTo>
                  <a:pt x="7164" y="1392"/>
                </a:lnTo>
                <a:close/>
                <a:moveTo>
                  <a:pt x="6260" y="7408"/>
                </a:moveTo>
                <a:lnTo>
                  <a:pt x="6252" y="7413"/>
                </a:lnTo>
                <a:lnTo>
                  <a:pt x="6242" y="7414"/>
                </a:lnTo>
                <a:lnTo>
                  <a:pt x="6235" y="7410"/>
                </a:lnTo>
                <a:lnTo>
                  <a:pt x="6240" y="7404"/>
                </a:lnTo>
                <a:lnTo>
                  <a:pt x="6249" y="7405"/>
                </a:lnTo>
                <a:lnTo>
                  <a:pt x="6260" y="7408"/>
                </a:lnTo>
                <a:close/>
                <a:moveTo>
                  <a:pt x="6226" y="7552"/>
                </a:moveTo>
                <a:lnTo>
                  <a:pt x="6219" y="7561"/>
                </a:lnTo>
                <a:lnTo>
                  <a:pt x="6210" y="7570"/>
                </a:lnTo>
                <a:lnTo>
                  <a:pt x="6211" y="7562"/>
                </a:lnTo>
                <a:lnTo>
                  <a:pt x="6214" y="7557"/>
                </a:lnTo>
                <a:lnTo>
                  <a:pt x="6219" y="7553"/>
                </a:lnTo>
                <a:lnTo>
                  <a:pt x="6226" y="7552"/>
                </a:lnTo>
                <a:close/>
                <a:moveTo>
                  <a:pt x="6205" y="7526"/>
                </a:moveTo>
                <a:lnTo>
                  <a:pt x="6207" y="7524"/>
                </a:lnTo>
                <a:lnTo>
                  <a:pt x="6207" y="7526"/>
                </a:lnTo>
                <a:lnTo>
                  <a:pt x="6207" y="7526"/>
                </a:lnTo>
                <a:lnTo>
                  <a:pt x="6206" y="7526"/>
                </a:lnTo>
                <a:lnTo>
                  <a:pt x="6205" y="7526"/>
                </a:lnTo>
                <a:close/>
                <a:moveTo>
                  <a:pt x="6209" y="7571"/>
                </a:moveTo>
                <a:lnTo>
                  <a:pt x="6205" y="7573"/>
                </a:lnTo>
                <a:lnTo>
                  <a:pt x="6201" y="7575"/>
                </a:lnTo>
                <a:lnTo>
                  <a:pt x="6196" y="7576"/>
                </a:lnTo>
                <a:lnTo>
                  <a:pt x="6191" y="7576"/>
                </a:lnTo>
                <a:lnTo>
                  <a:pt x="6198" y="7573"/>
                </a:lnTo>
                <a:lnTo>
                  <a:pt x="6209" y="7571"/>
                </a:lnTo>
                <a:close/>
                <a:moveTo>
                  <a:pt x="6201" y="7493"/>
                </a:moveTo>
                <a:lnTo>
                  <a:pt x="6198" y="7498"/>
                </a:lnTo>
                <a:lnTo>
                  <a:pt x="6195" y="7503"/>
                </a:lnTo>
                <a:lnTo>
                  <a:pt x="6195" y="7500"/>
                </a:lnTo>
                <a:lnTo>
                  <a:pt x="6196" y="7497"/>
                </a:lnTo>
                <a:lnTo>
                  <a:pt x="6198" y="7496"/>
                </a:lnTo>
                <a:lnTo>
                  <a:pt x="6201" y="7493"/>
                </a:lnTo>
                <a:close/>
                <a:moveTo>
                  <a:pt x="5979" y="7368"/>
                </a:moveTo>
                <a:lnTo>
                  <a:pt x="5990" y="7365"/>
                </a:lnTo>
                <a:lnTo>
                  <a:pt x="5990" y="7370"/>
                </a:lnTo>
                <a:lnTo>
                  <a:pt x="5983" y="7379"/>
                </a:lnTo>
                <a:lnTo>
                  <a:pt x="5974" y="7385"/>
                </a:lnTo>
                <a:lnTo>
                  <a:pt x="5976" y="7377"/>
                </a:lnTo>
                <a:lnTo>
                  <a:pt x="5979" y="7368"/>
                </a:lnTo>
                <a:close/>
                <a:moveTo>
                  <a:pt x="5898" y="7438"/>
                </a:moveTo>
                <a:lnTo>
                  <a:pt x="5904" y="7435"/>
                </a:lnTo>
                <a:lnTo>
                  <a:pt x="5912" y="7427"/>
                </a:lnTo>
                <a:lnTo>
                  <a:pt x="5920" y="7423"/>
                </a:lnTo>
                <a:lnTo>
                  <a:pt x="5930" y="7424"/>
                </a:lnTo>
                <a:lnTo>
                  <a:pt x="5923" y="7431"/>
                </a:lnTo>
                <a:lnTo>
                  <a:pt x="5918" y="7435"/>
                </a:lnTo>
                <a:lnTo>
                  <a:pt x="5911" y="7437"/>
                </a:lnTo>
                <a:lnTo>
                  <a:pt x="5898" y="7438"/>
                </a:lnTo>
                <a:close/>
                <a:moveTo>
                  <a:pt x="5853" y="7679"/>
                </a:moveTo>
                <a:lnTo>
                  <a:pt x="5871" y="7673"/>
                </a:lnTo>
                <a:lnTo>
                  <a:pt x="5888" y="7668"/>
                </a:lnTo>
                <a:lnTo>
                  <a:pt x="5916" y="7659"/>
                </a:lnTo>
                <a:lnTo>
                  <a:pt x="5897" y="7669"/>
                </a:lnTo>
                <a:lnTo>
                  <a:pt x="5865" y="7682"/>
                </a:lnTo>
                <a:lnTo>
                  <a:pt x="5853" y="7679"/>
                </a:lnTo>
                <a:close/>
                <a:moveTo>
                  <a:pt x="5832" y="7610"/>
                </a:moveTo>
                <a:lnTo>
                  <a:pt x="5827" y="7615"/>
                </a:lnTo>
                <a:lnTo>
                  <a:pt x="5820" y="7617"/>
                </a:lnTo>
                <a:lnTo>
                  <a:pt x="5823" y="7615"/>
                </a:lnTo>
                <a:lnTo>
                  <a:pt x="5827" y="7612"/>
                </a:lnTo>
                <a:lnTo>
                  <a:pt x="5830" y="7609"/>
                </a:lnTo>
                <a:lnTo>
                  <a:pt x="5832" y="7610"/>
                </a:lnTo>
                <a:close/>
                <a:moveTo>
                  <a:pt x="5829" y="7461"/>
                </a:moveTo>
                <a:lnTo>
                  <a:pt x="5837" y="7451"/>
                </a:lnTo>
                <a:lnTo>
                  <a:pt x="5839" y="7436"/>
                </a:lnTo>
                <a:lnTo>
                  <a:pt x="5844" y="7424"/>
                </a:lnTo>
                <a:lnTo>
                  <a:pt x="5855" y="7422"/>
                </a:lnTo>
                <a:lnTo>
                  <a:pt x="5851" y="7435"/>
                </a:lnTo>
                <a:lnTo>
                  <a:pt x="5846" y="7446"/>
                </a:lnTo>
                <a:lnTo>
                  <a:pt x="5841" y="7456"/>
                </a:lnTo>
                <a:lnTo>
                  <a:pt x="5829" y="7461"/>
                </a:lnTo>
                <a:close/>
                <a:moveTo>
                  <a:pt x="5833" y="7272"/>
                </a:moveTo>
                <a:lnTo>
                  <a:pt x="5832" y="7272"/>
                </a:lnTo>
                <a:lnTo>
                  <a:pt x="5833" y="7272"/>
                </a:lnTo>
                <a:lnTo>
                  <a:pt x="5832" y="7273"/>
                </a:lnTo>
                <a:lnTo>
                  <a:pt x="5833" y="7272"/>
                </a:lnTo>
                <a:close/>
                <a:moveTo>
                  <a:pt x="5861" y="7372"/>
                </a:moveTo>
                <a:lnTo>
                  <a:pt x="5857" y="7377"/>
                </a:lnTo>
                <a:lnTo>
                  <a:pt x="5855" y="7381"/>
                </a:lnTo>
                <a:lnTo>
                  <a:pt x="5856" y="7379"/>
                </a:lnTo>
                <a:lnTo>
                  <a:pt x="5857" y="7375"/>
                </a:lnTo>
                <a:lnTo>
                  <a:pt x="5858" y="7372"/>
                </a:lnTo>
                <a:lnTo>
                  <a:pt x="5861" y="7372"/>
                </a:lnTo>
                <a:close/>
                <a:moveTo>
                  <a:pt x="5853" y="7259"/>
                </a:moveTo>
                <a:lnTo>
                  <a:pt x="5852" y="7253"/>
                </a:lnTo>
                <a:lnTo>
                  <a:pt x="5857" y="7250"/>
                </a:lnTo>
                <a:lnTo>
                  <a:pt x="5863" y="7248"/>
                </a:lnTo>
                <a:lnTo>
                  <a:pt x="5867" y="7242"/>
                </a:lnTo>
                <a:lnTo>
                  <a:pt x="5869" y="7244"/>
                </a:lnTo>
                <a:lnTo>
                  <a:pt x="5866" y="7249"/>
                </a:lnTo>
                <a:lnTo>
                  <a:pt x="5861" y="7255"/>
                </a:lnTo>
                <a:lnTo>
                  <a:pt x="5853" y="7259"/>
                </a:lnTo>
                <a:close/>
                <a:moveTo>
                  <a:pt x="5879" y="7622"/>
                </a:moveTo>
                <a:lnTo>
                  <a:pt x="5875" y="7623"/>
                </a:lnTo>
                <a:lnTo>
                  <a:pt x="5876" y="7622"/>
                </a:lnTo>
                <a:lnTo>
                  <a:pt x="5876" y="7621"/>
                </a:lnTo>
                <a:lnTo>
                  <a:pt x="5877" y="7621"/>
                </a:lnTo>
                <a:lnTo>
                  <a:pt x="5879" y="7622"/>
                </a:lnTo>
                <a:close/>
                <a:moveTo>
                  <a:pt x="5876" y="7366"/>
                </a:moveTo>
                <a:lnTo>
                  <a:pt x="5874" y="7366"/>
                </a:lnTo>
                <a:lnTo>
                  <a:pt x="5871" y="7366"/>
                </a:lnTo>
                <a:lnTo>
                  <a:pt x="5871" y="7363"/>
                </a:lnTo>
                <a:lnTo>
                  <a:pt x="5871" y="7360"/>
                </a:lnTo>
                <a:lnTo>
                  <a:pt x="5876" y="7358"/>
                </a:lnTo>
                <a:lnTo>
                  <a:pt x="5879" y="7360"/>
                </a:lnTo>
                <a:lnTo>
                  <a:pt x="5880" y="7362"/>
                </a:lnTo>
                <a:lnTo>
                  <a:pt x="5876" y="7366"/>
                </a:lnTo>
                <a:close/>
                <a:moveTo>
                  <a:pt x="5774" y="7670"/>
                </a:moveTo>
                <a:lnTo>
                  <a:pt x="5772" y="7673"/>
                </a:lnTo>
                <a:lnTo>
                  <a:pt x="5771" y="7674"/>
                </a:lnTo>
                <a:lnTo>
                  <a:pt x="5772" y="7673"/>
                </a:lnTo>
                <a:lnTo>
                  <a:pt x="5774" y="7670"/>
                </a:lnTo>
                <a:lnTo>
                  <a:pt x="5773" y="7674"/>
                </a:lnTo>
                <a:lnTo>
                  <a:pt x="5774" y="7670"/>
                </a:lnTo>
                <a:close/>
                <a:moveTo>
                  <a:pt x="5760" y="7511"/>
                </a:moveTo>
                <a:lnTo>
                  <a:pt x="5764" y="7510"/>
                </a:lnTo>
                <a:lnTo>
                  <a:pt x="5768" y="7508"/>
                </a:lnTo>
                <a:lnTo>
                  <a:pt x="5771" y="7508"/>
                </a:lnTo>
                <a:lnTo>
                  <a:pt x="5773" y="7512"/>
                </a:lnTo>
                <a:lnTo>
                  <a:pt x="5769" y="7515"/>
                </a:lnTo>
                <a:lnTo>
                  <a:pt x="5764" y="7516"/>
                </a:lnTo>
                <a:lnTo>
                  <a:pt x="5762" y="7515"/>
                </a:lnTo>
                <a:lnTo>
                  <a:pt x="5760" y="7511"/>
                </a:lnTo>
                <a:close/>
                <a:moveTo>
                  <a:pt x="5746" y="7307"/>
                </a:moveTo>
                <a:lnTo>
                  <a:pt x="5760" y="7298"/>
                </a:lnTo>
                <a:lnTo>
                  <a:pt x="5774" y="7290"/>
                </a:lnTo>
                <a:lnTo>
                  <a:pt x="5773" y="7305"/>
                </a:lnTo>
                <a:lnTo>
                  <a:pt x="5768" y="7314"/>
                </a:lnTo>
                <a:lnTo>
                  <a:pt x="5760" y="7316"/>
                </a:lnTo>
                <a:lnTo>
                  <a:pt x="5746" y="7307"/>
                </a:lnTo>
                <a:close/>
                <a:moveTo>
                  <a:pt x="5713" y="7337"/>
                </a:moveTo>
                <a:lnTo>
                  <a:pt x="5714" y="7337"/>
                </a:lnTo>
                <a:lnTo>
                  <a:pt x="5713" y="7337"/>
                </a:lnTo>
                <a:lnTo>
                  <a:pt x="5713" y="7335"/>
                </a:lnTo>
                <a:lnTo>
                  <a:pt x="5713" y="7337"/>
                </a:lnTo>
                <a:close/>
                <a:moveTo>
                  <a:pt x="5700" y="7477"/>
                </a:moveTo>
                <a:lnTo>
                  <a:pt x="5699" y="7477"/>
                </a:lnTo>
                <a:lnTo>
                  <a:pt x="5700" y="7477"/>
                </a:lnTo>
                <a:lnTo>
                  <a:pt x="5699" y="7478"/>
                </a:lnTo>
                <a:lnTo>
                  <a:pt x="5698" y="7478"/>
                </a:lnTo>
                <a:lnTo>
                  <a:pt x="5698" y="7478"/>
                </a:lnTo>
                <a:lnTo>
                  <a:pt x="5700" y="7477"/>
                </a:lnTo>
                <a:close/>
                <a:moveTo>
                  <a:pt x="5684" y="7347"/>
                </a:moveTo>
                <a:lnTo>
                  <a:pt x="5675" y="7344"/>
                </a:lnTo>
                <a:lnTo>
                  <a:pt x="5681" y="7339"/>
                </a:lnTo>
                <a:lnTo>
                  <a:pt x="5694" y="7335"/>
                </a:lnTo>
                <a:lnTo>
                  <a:pt x="5707" y="7334"/>
                </a:lnTo>
                <a:lnTo>
                  <a:pt x="5694" y="7340"/>
                </a:lnTo>
                <a:lnTo>
                  <a:pt x="5684" y="7347"/>
                </a:lnTo>
                <a:close/>
                <a:moveTo>
                  <a:pt x="5748" y="7673"/>
                </a:moveTo>
                <a:lnTo>
                  <a:pt x="5751" y="7684"/>
                </a:lnTo>
                <a:lnTo>
                  <a:pt x="5726" y="7701"/>
                </a:lnTo>
                <a:lnTo>
                  <a:pt x="5692" y="7715"/>
                </a:lnTo>
                <a:lnTo>
                  <a:pt x="5666" y="7711"/>
                </a:lnTo>
                <a:lnTo>
                  <a:pt x="5683" y="7694"/>
                </a:lnTo>
                <a:lnTo>
                  <a:pt x="5703" y="7684"/>
                </a:lnTo>
                <a:lnTo>
                  <a:pt x="5725" y="7678"/>
                </a:lnTo>
                <a:lnTo>
                  <a:pt x="5748" y="7673"/>
                </a:lnTo>
                <a:close/>
                <a:moveTo>
                  <a:pt x="5664" y="7508"/>
                </a:moveTo>
                <a:lnTo>
                  <a:pt x="5662" y="7506"/>
                </a:lnTo>
                <a:lnTo>
                  <a:pt x="5664" y="7503"/>
                </a:lnTo>
                <a:lnTo>
                  <a:pt x="5666" y="7503"/>
                </a:lnTo>
                <a:lnTo>
                  <a:pt x="5667" y="7505"/>
                </a:lnTo>
                <a:lnTo>
                  <a:pt x="5666" y="7507"/>
                </a:lnTo>
                <a:lnTo>
                  <a:pt x="5664" y="7508"/>
                </a:lnTo>
                <a:close/>
                <a:moveTo>
                  <a:pt x="5665" y="7712"/>
                </a:moveTo>
                <a:lnTo>
                  <a:pt x="5658" y="7724"/>
                </a:lnTo>
                <a:lnTo>
                  <a:pt x="5648" y="7741"/>
                </a:lnTo>
                <a:lnTo>
                  <a:pt x="5650" y="7729"/>
                </a:lnTo>
                <a:lnTo>
                  <a:pt x="5653" y="7720"/>
                </a:lnTo>
                <a:lnTo>
                  <a:pt x="5658" y="7715"/>
                </a:lnTo>
                <a:lnTo>
                  <a:pt x="5665" y="7712"/>
                </a:lnTo>
                <a:close/>
                <a:moveTo>
                  <a:pt x="5639" y="7786"/>
                </a:moveTo>
                <a:lnTo>
                  <a:pt x="5634" y="7785"/>
                </a:lnTo>
                <a:lnTo>
                  <a:pt x="5633" y="7783"/>
                </a:lnTo>
                <a:lnTo>
                  <a:pt x="5634" y="7782"/>
                </a:lnTo>
                <a:lnTo>
                  <a:pt x="5639" y="7782"/>
                </a:lnTo>
                <a:lnTo>
                  <a:pt x="5639" y="7783"/>
                </a:lnTo>
                <a:lnTo>
                  <a:pt x="5639" y="7786"/>
                </a:lnTo>
                <a:close/>
                <a:moveTo>
                  <a:pt x="5791" y="7304"/>
                </a:moveTo>
                <a:lnTo>
                  <a:pt x="5795" y="7290"/>
                </a:lnTo>
                <a:lnTo>
                  <a:pt x="5802" y="7281"/>
                </a:lnTo>
                <a:lnTo>
                  <a:pt x="5811" y="7278"/>
                </a:lnTo>
                <a:lnTo>
                  <a:pt x="5818" y="7286"/>
                </a:lnTo>
                <a:lnTo>
                  <a:pt x="5811" y="7290"/>
                </a:lnTo>
                <a:lnTo>
                  <a:pt x="5804" y="7293"/>
                </a:lnTo>
                <a:lnTo>
                  <a:pt x="5797" y="7297"/>
                </a:lnTo>
                <a:lnTo>
                  <a:pt x="5791" y="7304"/>
                </a:lnTo>
                <a:close/>
                <a:moveTo>
                  <a:pt x="5815" y="7535"/>
                </a:moveTo>
                <a:lnTo>
                  <a:pt x="5820" y="7543"/>
                </a:lnTo>
                <a:lnTo>
                  <a:pt x="5820" y="7549"/>
                </a:lnTo>
                <a:lnTo>
                  <a:pt x="5815" y="7553"/>
                </a:lnTo>
                <a:lnTo>
                  <a:pt x="5805" y="7556"/>
                </a:lnTo>
                <a:lnTo>
                  <a:pt x="5811" y="7544"/>
                </a:lnTo>
                <a:lnTo>
                  <a:pt x="5815" y="7535"/>
                </a:lnTo>
                <a:close/>
                <a:moveTo>
                  <a:pt x="6100" y="7479"/>
                </a:moveTo>
                <a:lnTo>
                  <a:pt x="6100" y="7479"/>
                </a:lnTo>
                <a:lnTo>
                  <a:pt x="6100" y="7479"/>
                </a:lnTo>
                <a:lnTo>
                  <a:pt x="6100" y="7479"/>
                </a:lnTo>
                <a:lnTo>
                  <a:pt x="6100" y="7479"/>
                </a:lnTo>
                <a:close/>
                <a:moveTo>
                  <a:pt x="6344" y="7207"/>
                </a:moveTo>
                <a:lnTo>
                  <a:pt x="6337" y="7211"/>
                </a:lnTo>
                <a:lnTo>
                  <a:pt x="6331" y="7213"/>
                </a:lnTo>
                <a:lnTo>
                  <a:pt x="6326" y="7214"/>
                </a:lnTo>
                <a:lnTo>
                  <a:pt x="6322" y="7211"/>
                </a:lnTo>
                <a:lnTo>
                  <a:pt x="6328" y="7208"/>
                </a:lnTo>
                <a:lnTo>
                  <a:pt x="6335" y="7204"/>
                </a:lnTo>
                <a:lnTo>
                  <a:pt x="6340" y="7203"/>
                </a:lnTo>
                <a:lnTo>
                  <a:pt x="6344" y="7207"/>
                </a:lnTo>
                <a:close/>
                <a:moveTo>
                  <a:pt x="6516" y="8669"/>
                </a:moveTo>
                <a:lnTo>
                  <a:pt x="6512" y="8669"/>
                </a:lnTo>
                <a:lnTo>
                  <a:pt x="6510" y="8668"/>
                </a:lnTo>
                <a:lnTo>
                  <a:pt x="6510" y="8667"/>
                </a:lnTo>
                <a:lnTo>
                  <a:pt x="6516" y="8666"/>
                </a:lnTo>
                <a:lnTo>
                  <a:pt x="6516" y="8668"/>
                </a:lnTo>
                <a:lnTo>
                  <a:pt x="6516" y="8669"/>
                </a:lnTo>
                <a:close/>
                <a:moveTo>
                  <a:pt x="6578" y="8645"/>
                </a:moveTo>
                <a:lnTo>
                  <a:pt x="6573" y="8652"/>
                </a:lnTo>
                <a:lnTo>
                  <a:pt x="6569" y="8654"/>
                </a:lnTo>
                <a:lnTo>
                  <a:pt x="6568" y="8652"/>
                </a:lnTo>
                <a:lnTo>
                  <a:pt x="6570" y="8643"/>
                </a:lnTo>
                <a:lnTo>
                  <a:pt x="6575" y="8644"/>
                </a:lnTo>
                <a:lnTo>
                  <a:pt x="6578" y="8645"/>
                </a:lnTo>
                <a:close/>
                <a:moveTo>
                  <a:pt x="6572" y="8608"/>
                </a:moveTo>
                <a:lnTo>
                  <a:pt x="6574" y="8606"/>
                </a:lnTo>
                <a:lnTo>
                  <a:pt x="6572" y="8608"/>
                </a:lnTo>
                <a:lnTo>
                  <a:pt x="6574" y="8604"/>
                </a:lnTo>
                <a:lnTo>
                  <a:pt x="6572" y="8608"/>
                </a:lnTo>
                <a:close/>
                <a:moveTo>
                  <a:pt x="6764" y="8386"/>
                </a:moveTo>
                <a:lnTo>
                  <a:pt x="6763" y="8384"/>
                </a:lnTo>
                <a:lnTo>
                  <a:pt x="6764" y="8386"/>
                </a:lnTo>
                <a:lnTo>
                  <a:pt x="6761" y="8386"/>
                </a:lnTo>
                <a:lnTo>
                  <a:pt x="6764" y="8386"/>
                </a:lnTo>
                <a:close/>
                <a:moveTo>
                  <a:pt x="8655" y="10238"/>
                </a:moveTo>
                <a:lnTo>
                  <a:pt x="8647" y="10245"/>
                </a:lnTo>
                <a:lnTo>
                  <a:pt x="8640" y="10253"/>
                </a:lnTo>
                <a:lnTo>
                  <a:pt x="8630" y="10259"/>
                </a:lnTo>
                <a:lnTo>
                  <a:pt x="8617" y="10263"/>
                </a:lnTo>
                <a:lnTo>
                  <a:pt x="8624" y="10248"/>
                </a:lnTo>
                <a:lnTo>
                  <a:pt x="8632" y="10235"/>
                </a:lnTo>
                <a:lnTo>
                  <a:pt x="8641" y="10230"/>
                </a:lnTo>
                <a:lnTo>
                  <a:pt x="8655" y="10238"/>
                </a:lnTo>
                <a:close/>
                <a:moveTo>
                  <a:pt x="8677" y="10221"/>
                </a:moveTo>
                <a:lnTo>
                  <a:pt x="8665" y="10230"/>
                </a:lnTo>
                <a:lnTo>
                  <a:pt x="8655" y="10238"/>
                </a:lnTo>
                <a:lnTo>
                  <a:pt x="8658" y="10225"/>
                </a:lnTo>
                <a:lnTo>
                  <a:pt x="8660" y="10220"/>
                </a:lnTo>
                <a:lnTo>
                  <a:pt x="8666" y="10219"/>
                </a:lnTo>
                <a:lnTo>
                  <a:pt x="8677" y="10221"/>
                </a:lnTo>
                <a:close/>
                <a:moveTo>
                  <a:pt x="8789" y="10175"/>
                </a:moveTo>
                <a:lnTo>
                  <a:pt x="8776" y="10183"/>
                </a:lnTo>
                <a:lnTo>
                  <a:pt x="8763" y="10189"/>
                </a:lnTo>
                <a:lnTo>
                  <a:pt x="8751" y="10196"/>
                </a:lnTo>
                <a:lnTo>
                  <a:pt x="8737" y="10203"/>
                </a:lnTo>
                <a:lnTo>
                  <a:pt x="8748" y="10173"/>
                </a:lnTo>
                <a:lnTo>
                  <a:pt x="8768" y="10151"/>
                </a:lnTo>
                <a:lnTo>
                  <a:pt x="8786" y="10149"/>
                </a:lnTo>
                <a:lnTo>
                  <a:pt x="8789" y="10175"/>
                </a:lnTo>
                <a:close/>
                <a:moveTo>
                  <a:pt x="8823" y="10132"/>
                </a:moveTo>
                <a:lnTo>
                  <a:pt x="8818" y="10136"/>
                </a:lnTo>
                <a:lnTo>
                  <a:pt x="8814" y="10140"/>
                </a:lnTo>
                <a:lnTo>
                  <a:pt x="8810" y="10141"/>
                </a:lnTo>
                <a:lnTo>
                  <a:pt x="8808" y="10137"/>
                </a:lnTo>
                <a:lnTo>
                  <a:pt x="8813" y="10131"/>
                </a:lnTo>
                <a:lnTo>
                  <a:pt x="8815" y="10123"/>
                </a:lnTo>
                <a:lnTo>
                  <a:pt x="8818" y="10122"/>
                </a:lnTo>
                <a:lnTo>
                  <a:pt x="8823" y="10132"/>
                </a:lnTo>
                <a:close/>
                <a:moveTo>
                  <a:pt x="10037" y="10310"/>
                </a:moveTo>
                <a:lnTo>
                  <a:pt x="10037" y="10313"/>
                </a:lnTo>
                <a:lnTo>
                  <a:pt x="10034" y="10317"/>
                </a:lnTo>
                <a:lnTo>
                  <a:pt x="10032" y="10318"/>
                </a:lnTo>
                <a:lnTo>
                  <a:pt x="10029" y="10319"/>
                </a:lnTo>
                <a:lnTo>
                  <a:pt x="10032" y="10315"/>
                </a:lnTo>
                <a:lnTo>
                  <a:pt x="10037" y="10310"/>
                </a:lnTo>
                <a:close/>
                <a:moveTo>
                  <a:pt x="11059" y="692"/>
                </a:moveTo>
                <a:lnTo>
                  <a:pt x="11081" y="675"/>
                </a:lnTo>
                <a:lnTo>
                  <a:pt x="11105" y="663"/>
                </a:lnTo>
                <a:lnTo>
                  <a:pt x="11131" y="654"/>
                </a:lnTo>
                <a:lnTo>
                  <a:pt x="11156" y="646"/>
                </a:lnTo>
                <a:lnTo>
                  <a:pt x="11128" y="681"/>
                </a:lnTo>
                <a:lnTo>
                  <a:pt x="11080" y="711"/>
                </a:lnTo>
                <a:lnTo>
                  <a:pt x="11045" y="720"/>
                </a:lnTo>
                <a:lnTo>
                  <a:pt x="11059" y="692"/>
                </a:lnTo>
                <a:close/>
                <a:moveTo>
                  <a:pt x="11179" y="626"/>
                </a:moveTo>
                <a:lnTo>
                  <a:pt x="11208" y="598"/>
                </a:lnTo>
                <a:lnTo>
                  <a:pt x="11247" y="574"/>
                </a:lnTo>
                <a:lnTo>
                  <a:pt x="11266" y="570"/>
                </a:lnTo>
                <a:lnTo>
                  <a:pt x="11234" y="602"/>
                </a:lnTo>
                <a:lnTo>
                  <a:pt x="11213" y="605"/>
                </a:lnTo>
                <a:lnTo>
                  <a:pt x="11198" y="623"/>
                </a:lnTo>
                <a:lnTo>
                  <a:pt x="11188" y="636"/>
                </a:lnTo>
                <a:lnTo>
                  <a:pt x="11179" y="626"/>
                </a:lnTo>
                <a:close/>
                <a:moveTo>
                  <a:pt x="11224" y="511"/>
                </a:moveTo>
                <a:lnTo>
                  <a:pt x="11212" y="519"/>
                </a:lnTo>
                <a:lnTo>
                  <a:pt x="11201" y="527"/>
                </a:lnTo>
                <a:lnTo>
                  <a:pt x="11202" y="516"/>
                </a:lnTo>
                <a:lnTo>
                  <a:pt x="11208" y="511"/>
                </a:lnTo>
                <a:lnTo>
                  <a:pt x="11216" y="510"/>
                </a:lnTo>
                <a:lnTo>
                  <a:pt x="11224" y="511"/>
                </a:lnTo>
                <a:close/>
                <a:moveTo>
                  <a:pt x="11334" y="463"/>
                </a:moveTo>
                <a:lnTo>
                  <a:pt x="11319" y="463"/>
                </a:lnTo>
                <a:lnTo>
                  <a:pt x="11305" y="463"/>
                </a:lnTo>
                <a:lnTo>
                  <a:pt x="11314" y="450"/>
                </a:lnTo>
                <a:lnTo>
                  <a:pt x="11320" y="446"/>
                </a:lnTo>
                <a:lnTo>
                  <a:pt x="11327" y="450"/>
                </a:lnTo>
                <a:lnTo>
                  <a:pt x="11334" y="463"/>
                </a:lnTo>
                <a:close/>
                <a:moveTo>
                  <a:pt x="11447" y="467"/>
                </a:moveTo>
                <a:lnTo>
                  <a:pt x="11434" y="472"/>
                </a:lnTo>
                <a:lnTo>
                  <a:pt x="11421" y="481"/>
                </a:lnTo>
                <a:lnTo>
                  <a:pt x="11410" y="486"/>
                </a:lnTo>
                <a:lnTo>
                  <a:pt x="11399" y="483"/>
                </a:lnTo>
                <a:lnTo>
                  <a:pt x="11410" y="476"/>
                </a:lnTo>
                <a:lnTo>
                  <a:pt x="11420" y="469"/>
                </a:lnTo>
                <a:lnTo>
                  <a:pt x="11431" y="465"/>
                </a:lnTo>
                <a:lnTo>
                  <a:pt x="11447" y="467"/>
                </a:lnTo>
                <a:close/>
                <a:moveTo>
                  <a:pt x="11406" y="394"/>
                </a:moveTo>
                <a:lnTo>
                  <a:pt x="11413" y="392"/>
                </a:lnTo>
                <a:lnTo>
                  <a:pt x="11416" y="395"/>
                </a:lnTo>
                <a:lnTo>
                  <a:pt x="11413" y="402"/>
                </a:lnTo>
                <a:lnTo>
                  <a:pt x="11404" y="406"/>
                </a:lnTo>
                <a:lnTo>
                  <a:pt x="11406" y="398"/>
                </a:lnTo>
                <a:lnTo>
                  <a:pt x="11406" y="394"/>
                </a:lnTo>
                <a:close/>
                <a:moveTo>
                  <a:pt x="11447" y="367"/>
                </a:moveTo>
                <a:lnTo>
                  <a:pt x="11443" y="372"/>
                </a:lnTo>
                <a:lnTo>
                  <a:pt x="11447" y="367"/>
                </a:lnTo>
                <a:lnTo>
                  <a:pt x="11450" y="371"/>
                </a:lnTo>
                <a:lnTo>
                  <a:pt x="11449" y="376"/>
                </a:lnTo>
                <a:lnTo>
                  <a:pt x="11445" y="376"/>
                </a:lnTo>
                <a:lnTo>
                  <a:pt x="11447" y="367"/>
                </a:lnTo>
                <a:close/>
                <a:moveTo>
                  <a:pt x="11458" y="446"/>
                </a:moveTo>
                <a:lnTo>
                  <a:pt x="11466" y="445"/>
                </a:lnTo>
                <a:lnTo>
                  <a:pt x="11471" y="446"/>
                </a:lnTo>
                <a:lnTo>
                  <a:pt x="11472" y="453"/>
                </a:lnTo>
                <a:lnTo>
                  <a:pt x="11472" y="462"/>
                </a:lnTo>
                <a:lnTo>
                  <a:pt x="11462" y="462"/>
                </a:lnTo>
                <a:lnTo>
                  <a:pt x="11457" y="459"/>
                </a:lnTo>
                <a:lnTo>
                  <a:pt x="11454" y="454"/>
                </a:lnTo>
                <a:lnTo>
                  <a:pt x="11458" y="446"/>
                </a:lnTo>
                <a:close/>
                <a:moveTo>
                  <a:pt x="11559" y="314"/>
                </a:moveTo>
                <a:lnTo>
                  <a:pt x="11541" y="325"/>
                </a:lnTo>
                <a:lnTo>
                  <a:pt x="11525" y="337"/>
                </a:lnTo>
                <a:lnTo>
                  <a:pt x="11509" y="350"/>
                </a:lnTo>
                <a:lnTo>
                  <a:pt x="11492" y="361"/>
                </a:lnTo>
                <a:lnTo>
                  <a:pt x="11495" y="344"/>
                </a:lnTo>
                <a:lnTo>
                  <a:pt x="11505" y="332"/>
                </a:lnTo>
                <a:lnTo>
                  <a:pt x="11527" y="322"/>
                </a:lnTo>
                <a:lnTo>
                  <a:pt x="11559" y="314"/>
                </a:lnTo>
                <a:close/>
                <a:moveTo>
                  <a:pt x="11608" y="267"/>
                </a:moveTo>
                <a:lnTo>
                  <a:pt x="11627" y="259"/>
                </a:lnTo>
                <a:lnTo>
                  <a:pt x="11646" y="250"/>
                </a:lnTo>
                <a:lnTo>
                  <a:pt x="11667" y="243"/>
                </a:lnTo>
                <a:lnTo>
                  <a:pt x="11687" y="235"/>
                </a:lnTo>
                <a:lnTo>
                  <a:pt x="11652" y="264"/>
                </a:lnTo>
                <a:lnTo>
                  <a:pt x="11606" y="290"/>
                </a:lnTo>
                <a:lnTo>
                  <a:pt x="11582" y="296"/>
                </a:lnTo>
                <a:lnTo>
                  <a:pt x="11608" y="267"/>
                </a:lnTo>
                <a:close/>
                <a:moveTo>
                  <a:pt x="11761" y="199"/>
                </a:moveTo>
                <a:lnTo>
                  <a:pt x="11746" y="208"/>
                </a:lnTo>
                <a:lnTo>
                  <a:pt x="11729" y="221"/>
                </a:lnTo>
                <a:lnTo>
                  <a:pt x="11715" y="230"/>
                </a:lnTo>
                <a:lnTo>
                  <a:pt x="11701" y="229"/>
                </a:lnTo>
                <a:lnTo>
                  <a:pt x="11714" y="217"/>
                </a:lnTo>
                <a:lnTo>
                  <a:pt x="11727" y="207"/>
                </a:lnTo>
                <a:lnTo>
                  <a:pt x="11742" y="201"/>
                </a:lnTo>
                <a:lnTo>
                  <a:pt x="11761" y="199"/>
                </a:lnTo>
                <a:close/>
                <a:moveTo>
                  <a:pt x="11905" y="161"/>
                </a:moveTo>
                <a:lnTo>
                  <a:pt x="11911" y="160"/>
                </a:lnTo>
                <a:lnTo>
                  <a:pt x="11915" y="162"/>
                </a:lnTo>
                <a:lnTo>
                  <a:pt x="11915" y="168"/>
                </a:lnTo>
                <a:lnTo>
                  <a:pt x="11914" y="175"/>
                </a:lnTo>
                <a:lnTo>
                  <a:pt x="11908" y="174"/>
                </a:lnTo>
                <a:lnTo>
                  <a:pt x="11904" y="171"/>
                </a:lnTo>
                <a:lnTo>
                  <a:pt x="11902" y="168"/>
                </a:lnTo>
                <a:lnTo>
                  <a:pt x="11905" y="161"/>
                </a:lnTo>
                <a:close/>
                <a:moveTo>
                  <a:pt x="7083" y="10276"/>
                </a:moveTo>
                <a:lnTo>
                  <a:pt x="7089" y="10269"/>
                </a:lnTo>
                <a:lnTo>
                  <a:pt x="7083" y="10276"/>
                </a:lnTo>
                <a:lnTo>
                  <a:pt x="7081" y="10271"/>
                </a:lnTo>
                <a:lnTo>
                  <a:pt x="7083" y="10266"/>
                </a:lnTo>
                <a:lnTo>
                  <a:pt x="7086" y="10266"/>
                </a:lnTo>
                <a:lnTo>
                  <a:pt x="7083" y="10276"/>
                </a:lnTo>
                <a:close/>
                <a:moveTo>
                  <a:pt x="6093" y="8196"/>
                </a:moveTo>
                <a:lnTo>
                  <a:pt x="6091" y="8196"/>
                </a:lnTo>
                <a:lnTo>
                  <a:pt x="6093" y="8195"/>
                </a:lnTo>
                <a:lnTo>
                  <a:pt x="6094" y="8193"/>
                </a:lnTo>
                <a:lnTo>
                  <a:pt x="6097" y="8193"/>
                </a:lnTo>
                <a:lnTo>
                  <a:pt x="6095" y="8195"/>
                </a:lnTo>
                <a:lnTo>
                  <a:pt x="6093" y="8196"/>
                </a:lnTo>
                <a:close/>
                <a:moveTo>
                  <a:pt x="6029" y="8066"/>
                </a:moveTo>
                <a:lnTo>
                  <a:pt x="6043" y="8055"/>
                </a:lnTo>
                <a:lnTo>
                  <a:pt x="6058" y="8044"/>
                </a:lnTo>
                <a:lnTo>
                  <a:pt x="6052" y="8052"/>
                </a:lnTo>
                <a:lnTo>
                  <a:pt x="6046" y="8058"/>
                </a:lnTo>
                <a:lnTo>
                  <a:pt x="6038" y="8062"/>
                </a:lnTo>
                <a:lnTo>
                  <a:pt x="6029" y="8066"/>
                </a:lnTo>
                <a:close/>
                <a:moveTo>
                  <a:pt x="6046" y="8290"/>
                </a:moveTo>
                <a:lnTo>
                  <a:pt x="6046" y="8289"/>
                </a:lnTo>
                <a:lnTo>
                  <a:pt x="6047" y="8285"/>
                </a:lnTo>
                <a:lnTo>
                  <a:pt x="6048" y="8282"/>
                </a:lnTo>
                <a:lnTo>
                  <a:pt x="6051" y="8279"/>
                </a:lnTo>
                <a:lnTo>
                  <a:pt x="6052" y="8284"/>
                </a:lnTo>
                <a:lnTo>
                  <a:pt x="6052" y="8288"/>
                </a:lnTo>
                <a:lnTo>
                  <a:pt x="6051" y="8290"/>
                </a:lnTo>
                <a:lnTo>
                  <a:pt x="6046" y="8290"/>
                </a:lnTo>
                <a:close/>
                <a:moveTo>
                  <a:pt x="6038" y="9451"/>
                </a:moveTo>
                <a:lnTo>
                  <a:pt x="6048" y="9447"/>
                </a:lnTo>
                <a:lnTo>
                  <a:pt x="6057" y="9443"/>
                </a:lnTo>
                <a:lnTo>
                  <a:pt x="6056" y="9447"/>
                </a:lnTo>
                <a:lnTo>
                  <a:pt x="6052" y="9450"/>
                </a:lnTo>
                <a:lnTo>
                  <a:pt x="6047" y="9451"/>
                </a:lnTo>
                <a:lnTo>
                  <a:pt x="6038" y="9451"/>
                </a:lnTo>
                <a:close/>
                <a:moveTo>
                  <a:pt x="6016" y="8072"/>
                </a:moveTo>
                <a:lnTo>
                  <a:pt x="6019" y="8070"/>
                </a:lnTo>
                <a:lnTo>
                  <a:pt x="6021" y="8067"/>
                </a:lnTo>
                <a:lnTo>
                  <a:pt x="6024" y="8065"/>
                </a:lnTo>
                <a:lnTo>
                  <a:pt x="6026" y="8066"/>
                </a:lnTo>
                <a:lnTo>
                  <a:pt x="6021" y="8070"/>
                </a:lnTo>
                <a:lnTo>
                  <a:pt x="6016" y="8072"/>
                </a:lnTo>
                <a:close/>
                <a:moveTo>
                  <a:pt x="6006" y="8088"/>
                </a:moveTo>
                <a:lnTo>
                  <a:pt x="6005" y="8091"/>
                </a:lnTo>
                <a:lnTo>
                  <a:pt x="6004" y="8094"/>
                </a:lnTo>
                <a:lnTo>
                  <a:pt x="6002" y="8097"/>
                </a:lnTo>
                <a:lnTo>
                  <a:pt x="6000" y="8099"/>
                </a:lnTo>
                <a:lnTo>
                  <a:pt x="5996" y="8099"/>
                </a:lnTo>
                <a:lnTo>
                  <a:pt x="6000" y="8093"/>
                </a:lnTo>
                <a:lnTo>
                  <a:pt x="6005" y="8086"/>
                </a:lnTo>
                <a:lnTo>
                  <a:pt x="6006" y="8088"/>
                </a:lnTo>
                <a:close/>
                <a:moveTo>
                  <a:pt x="6004" y="8354"/>
                </a:moveTo>
                <a:lnTo>
                  <a:pt x="5997" y="8355"/>
                </a:lnTo>
                <a:lnTo>
                  <a:pt x="5993" y="8354"/>
                </a:lnTo>
                <a:lnTo>
                  <a:pt x="5992" y="8350"/>
                </a:lnTo>
                <a:lnTo>
                  <a:pt x="5995" y="8346"/>
                </a:lnTo>
                <a:lnTo>
                  <a:pt x="6000" y="8346"/>
                </a:lnTo>
                <a:lnTo>
                  <a:pt x="6004" y="8347"/>
                </a:lnTo>
                <a:lnTo>
                  <a:pt x="6006" y="8350"/>
                </a:lnTo>
                <a:lnTo>
                  <a:pt x="6004" y="8354"/>
                </a:lnTo>
                <a:close/>
                <a:moveTo>
                  <a:pt x="5974" y="8439"/>
                </a:moveTo>
                <a:lnTo>
                  <a:pt x="5968" y="8442"/>
                </a:lnTo>
                <a:lnTo>
                  <a:pt x="5960" y="8444"/>
                </a:lnTo>
                <a:lnTo>
                  <a:pt x="5956" y="8443"/>
                </a:lnTo>
                <a:lnTo>
                  <a:pt x="5959" y="8438"/>
                </a:lnTo>
                <a:lnTo>
                  <a:pt x="5983" y="8424"/>
                </a:lnTo>
                <a:lnTo>
                  <a:pt x="5997" y="8416"/>
                </a:lnTo>
                <a:lnTo>
                  <a:pt x="5997" y="8419"/>
                </a:lnTo>
                <a:lnTo>
                  <a:pt x="5974" y="8439"/>
                </a:lnTo>
                <a:close/>
                <a:moveTo>
                  <a:pt x="5964" y="9493"/>
                </a:moveTo>
                <a:lnTo>
                  <a:pt x="5962" y="9485"/>
                </a:lnTo>
                <a:lnTo>
                  <a:pt x="5969" y="9479"/>
                </a:lnTo>
                <a:lnTo>
                  <a:pt x="5982" y="9475"/>
                </a:lnTo>
                <a:lnTo>
                  <a:pt x="5992" y="9470"/>
                </a:lnTo>
                <a:lnTo>
                  <a:pt x="5988" y="9479"/>
                </a:lnTo>
                <a:lnTo>
                  <a:pt x="5982" y="9487"/>
                </a:lnTo>
                <a:lnTo>
                  <a:pt x="5974" y="9492"/>
                </a:lnTo>
                <a:lnTo>
                  <a:pt x="5964" y="9493"/>
                </a:lnTo>
                <a:close/>
                <a:moveTo>
                  <a:pt x="5978" y="8384"/>
                </a:moveTo>
                <a:lnTo>
                  <a:pt x="5976" y="8387"/>
                </a:lnTo>
                <a:lnTo>
                  <a:pt x="5974" y="8389"/>
                </a:lnTo>
                <a:lnTo>
                  <a:pt x="5973" y="8389"/>
                </a:lnTo>
                <a:lnTo>
                  <a:pt x="5970" y="8388"/>
                </a:lnTo>
                <a:lnTo>
                  <a:pt x="5972" y="8386"/>
                </a:lnTo>
                <a:lnTo>
                  <a:pt x="5974" y="8383"/>
                </a:lnTo>
                <a:lnTo>
                  <a:pt x="5976" y="8383"/>
                </a:lnTo>
                <a:lnTo>
                  <a:pt x="5978" y="8384"/>
                </a:lnTo>
                <a:close/>
                <a:moveTo>
                  <a:pt x="5993" y="8128"/>
                </a:moveTo>
                <a:lnTo>
                  <a:pt x="5984" y="8141"/>
                </a:lnTo>
                <a:lnTo>
                  <a:pt x="5973" y="8149"/>
                </a:lnTo>
                <a:lnTo>
                  <a:pt x="5963" y="8156"/>
                </a:lnTo>
                <a:lnTo>
                  <a:pt x="5959" y="8172"/>
                </a:lnTo>
                <a:lnTo>
                  <a:pt x="5949" y="8160"/>
                </a:lnTo>
                <a:lnTo>
                  <a:pt x="5959" y="8150"/>
                </a:lnTo>
                <a:lnTo>
                  <a:pt x="5977" y="8140"/>
                </a:lnTo>
                <a:lnTo>
                  <a:pt x="5993" y="8128"/>
                </a:lnTo>
                <a:close/>
                <a:moveTo>
                  <a:pt x="5843" y="8336"/>
                </a:moveTo>
                <a:lnTo>
                  <a:pt x="5628" y="8476"/>
                </a:lnTo>
                <a:lnTo>
                  <a:pt x="5349" y="8680"/>
                </a:lnTo>
                <a:lnTo>
                  <a:pt x="5051" y="8913"/>
                </a:lnTo>
                <a:lnTo>
                  <a:pt x="4784" y="9142"/>
                </a:lnTo>
                <a:lnTo>
                  <a:pt x="4856" y="9185"/>
                </a:lnTo>
                <a:lnTo>
                  <a:pt x="4824" y="9232"/>
                </a:lnTo>
                <a:lnTo>
                  <a:pt x="4770" y="9229"/>
                </a:lnTo>
                <a:lnTo>
                  <a:pt x="4776" y="9124"/>
                </a:lnTo>
                <a:lnTo>
                  <a:pt x="4983" y="8823"/>
                </a:lnTo>
                <a:lnTo>
                  <a:pt x="5427" y="8478"/>
                </a:lnTo>
                <a:lnTo>
                  <a:pt x="5811" y="8260"/>
                </a:lnTo>
                <a:lnTo>
                  <a:pt x="5843" y="8336"/>
                </a:lnTo>
                <a:close/>
                <a:moveTo>
                  <a:pt x="5858" y="8505"/>
                </a:moveTo>
                <a:lnTo>
                  <a:pt x="5858" y="8503"/>
                </a:lnTo>
                <a:lnTo>
                  <a:pt x="5860" y="8500"/>
                </a:lnTo>
                <a:lnTo>
                  <a:pt x="5861" y="8499"/>
                </a:lnTo>
                <a:lnTo>
                  <a:pt x="5863" y="8499"/>
                </a:lnTo>
                <a:lnTo>
                  <a:pt x="5863" y="8501"/>
                </a:lnTo>
                <a:lnTo>
                  <a:pt x="5862" y="8504"/>
                </a:lnTo>
                <a:lnTo>
                  <a:pt x="5861" y="8505"/>
                </a:lnTo>
                <a:lnTo>
                  <a:pt x="5858" y="8505"/>
                </a:lnTo>
                <a:close/>
                <a:moveTo>
                  <a:pt x="5862" y="8575"/>
                </a:moveTo>
                <a:lnTo>
                  <a:pt x="5865" y="8561"/>
                </a:lnTo>
                <a:lnTo>
                  <a:pt x="5869" y="8550"/>
                </a:lnTo>
                <a:lnTo>
                  <a:pt x="5875" y="8542"/>
                </a:lnTo>
                <a:lnTo>
                  <a:pt x="5889" y="8533"/>
                </a:lnTo>
                <a:lnTo>
                  <a:pt x="5885" y="8545"/>
                </a:lnTo>
                <a:lnTo>
                  <a:pt x="5880" y="8556"/>
                </a:lnTo>
                <a:lnTo>
                  <a:pt x="5874" y="8566"/>
                </a:lnTo>
                <a:lnTo>
                  <a:pt x="5862" y="8575"/>
                </a:lnTo>
                <a:close/>
                <a:moveTo>
                  <a:pt x="5827" y="8543"/>
                </a:moveTo>
                <a:lnTo>
                  <a:pt x="5827" y="8545"/>
                </a:lnTo>
                <a:lnTo>
                  <a:pt x="5827" y="8543"/>
                </a:lnTo>
                <a:lnTo>
                  <a:pt x="5832" y="8542"/>
                </a:lnTo>
                <a:lnTo>
                  <a:pt x="5827" y="8543"/>
                </a:lnTo>
                <a:close/>
                <a:moveTo>
                  <a:pt x="5819" y="8547"/>
                </a:moveTo>
                <a:lnTo>
                  <a:pt x="5820" y="8546"/>
                </a:lnTo>
                <a:lnTo>
                  <a:pt x="5819" y="8547"/>
                </a:lnTo>
                <a:lnTo>
                  <a:pt x="5820" y="8546"/>
                </a:lnTo>
                <a:lnTo>
                  <a:pt x="5819" y="8547"/>
                </a:lnTo>
                <a:close/>
                <a:moveTo>
                  <a:pt x="5801" y="8514"/>
                </a:moveTo>
                <a:lnTo>
                  <a:pt x="5802" y="8513"/>
                </a:lnTo>
                <a:lnTo>
                  <a:pt x="5804" y="8513"/>
                </a:lnTo>
                <a:lnTo>
                  <a:pt x="5805" y="8514"/>
                </a:lnTo>
                <a:lnTo>
                  <a:pt x="5804" y="8515"/>
                </a:lnTo>
                <a:lnTo>
                  <a:pt x="5801" y="8514"/>
                </a:lnTo>
                <a:close/>
                <a:moveTo>
                  <a:pt x="5824" y="9553"/>
                </a:moveTo>
                <a:lnTo>
                  <a:pt x="5785" y="9582"/>
                </a:lnTo>
                <a:lnTo>
                  <a:pt x="5744" y="9611"/>
                </a:lnTo>
                <a:lnTo>
                  <a:pt x="5706" y="9641"/>
                </a:lnTo>
                <a:lnTo>
                  <a:pt x="5670" y="9674"/>
                </a:lnTo>
                <a:lnTo>
                  <a:pt x="5564" y="9728"/>
                </a:lnTo>
                <a:lnTo>
                  <a:pt x="5652" y="9655"/>
                </a:lnTo>
                <a:lnTo>
                  <a:pt x="5787" y="9559"/>
                </a:lnTo>
                <a:lnTo>
                  <a:pt x="5824" y="9553"/>
                </a:lnTo>
                <a:close/>
                <a:moveTo>
                  <a:pt x="5740" y="10704"/>
                </a:moveTo>
                <a:lnTo>
                  <a:pt x="5745" y="10698"/>
                </a:lnTo>
                <a:lnTo>
                  <a:pt x="5740" y="10704"/>
                </a:lnTo>
                <a:lnTo>
                  <a:pt x="5736" y="10698"/>
                </a:lnTo>
                <a:lnTo>
                  <a:pt x="5739" y="10695"/>
                </a:lnTo>
                <a:lnTo>
                  <a:pt x="5743" y="10695"/>
                </a:lnTo>
                <a:lnTo>
                  <a:pt x="5740" y="10704"/>
                </a:lnTo>
                <a:close/>
                <a:moveTo>
                  <a:pt x="5650" y="8762"/>
                </a:moveTo>
                <a:lnTo>
                  <a:pt x="5648" y="8764"/>
                </a:lnTo>
                <a:lnTo>
                  <a:pt x="5647" y="8764"/>
                </a:lnTo>
                <a:lnTo>
                  <a:pt x="5647" y="8762"/>
                </a:lnTo>
                <a:lnTo>
                  <a:pt x="5648" y="8761"/>
                </a:lnTo>
                <a:lnTo>
                  <a:pt x="5650" y="8761"/>
                </a:lnTo>
                <a:lnTo>
                  <a:pt x="5650" y="8762"/>
                </a:lnTo>
                <a:close/>
                <a:moveTo>
                  <a:pt x="5664" y="8593"/>
                </a:moveTo>
                <a:lnTo>
                  <a:pt x="5666" y="8589"/>
                </a:lnTo>
                <a:lnTo>
                  <a:pt x="5669" y="8587"/>
                </a:lnTo>
                <a:lnTo>
                  <a:pt x="5674" y="8585"/>
                </a:lnTo>
                <a:lnTo>
                  <a:pt x="5678" y="8583"/>
                </a:lnTo>
                <a:lnTo>
                  <a:pt x="5679" y="8589"/>
                </a:lnTo>
                <a:lnTo>
                  <a:pt x="5675" y="8590"/>
                </a:lnTo>
                <a:lnTo>
                  <a:pt x="5670" y="8592"/>
                </a:lnTo>
                <a:lnTo>
                  <a:pt x="5664" y="8593"/>
                </a:lnTo>
                <a:close/>
                <a:moveTo>
                  <a:pt x="5679" y="8673"/>
                </a:moveTo>
                <a:lnTo>
                  <a:pt x="5678" y="8683"/>
                </a:lnTo>
                <a:lnTo>
                  <a:pt x="5674" y="8692"/>
                </a:lnTo>
                <a:lnTo>
                  <a:pt x="5666" y="8699"/>
                </a:lnTo>
                <a:lnTo>
                  <a:pt x="5657" y="8704"/>
                </a:lnTo>
                <a:lnTo>
                  <a:pt x="5650" y="8696"/>
                </a:lnTo>
                <a:lnTo>
                  <a:pt x="5656" y="8688"/>
                </a:lnTo>
                <a:lnTo>
                  <a:pt x="5667" y="8681"/>
                </a:lnTo>
                <a:lnTo>
                  <a:pt x="5679" y="8673"/>
                </a:lnTo>
                <a:close/>
                <a:moveTo>
                  <a:pt x="5693" y="8739"/>
                </a:moveTo>
                <a:lnTo>
                  <a:pt x="5684" y="8739"/>
                </a:lnTo>
                <a:lnTo>
                  <a:pt x="5674" y="8738"/>
                </a:lnTo>
                <a:lnTo>
                  <a:pt x="5679" y="8737"/>
                </a:lnTo>
                <a:lnTo>
                  <a:pt x="5685" y="8736"/>
                </a:lnTo>
                <a:lnTo>
                  <a:pt x="5692" y="8736"/>
                </a:lnTo>
                <a:lnTo>
                  <a:pt x="5693" y="8739"/>
                </a:lnTo>
                <a:close/>
                <a:moveTo>
                  <a:pt x="5704" y="9597"/>
                </a:moveTo>
                <a:lnTo>
                  <a:pt x="5706" y="9602"/>
                </a:lnTo>
                <a:lnTo>
                  <a:pt x="5700" y="9608"/>
                </a:lnTo>
                <a:lnTo>
                  <a:pt x="5694" y="9614"/>
                </a:lnTo>
                <a:lnTo>
                  <a:pt x="5688" y="9618"/>
                </a:lnTo>
                <a:lnTo>
                  <a:pt x="5686" y="9611"/>
                </a:lnTo>
                <a:lnTo>
                  <a:pt x="5692" y="9608"/>
                </a:lnTo>
                <a:lnTo>
                  <a:pt x="5699" y="9602"/>
                </a:lnTo>
                <a:lnTo>
                  <a:pt x="5704" y="9597"/>
                </a:lnTo>
                <a:close/>
                <a:moveTo>
                  <a:pt x="5762" y="8682"/>
                </a:moveTo>
                <a:lnTo>
                  <a:pt x="5754" y="8697"/>
                </a:lnTo>
                <a:lnTo>
                  <a:pt x="5741" y="8708"/>
                </a:lnTo>
                <a:lnTo>
                  <a:pt x="5727" y="8713"/>
                </a:lnTo>
                <a:lnTo>
                  <a:pt x="5711" y="8709"/>
                </a:lnTo>
                <a:lnTo>
                  <a:pt x="5721" y="8696"/>
                </a:lnTo>
                <a:lnTo>
                  <a:pt x="5732" y="8683"/>
                </a:lnTo>
                <a:lnTo>
                  <a:pt x="5745" y="8678"/>
                </a:lnTo>
                <a:lnTo>
                  <a:pt x="5762" y="8682"/>
                </a:lnTo>
                <a:close/>
                <a:moveTo>
                  <a:pt x="5720" y="8574"/>
                </a:moveTo>
                <a:lnTo>
                  <a:pt x="5723" y="8568"/>
                </a:lnTo>
                <a:lnTo>
                  <a:pt x="5727" y="8561"/>
                </a:lnTo>
                <a:lnTo>
                  <a:pt x="5730" y="8566"/>
                </a:lnTo>
                <a:lnTo>
                  <a:pt x="5727" y="8569"/>
                </a:lnTo>
                <a:lnTo>
                  <a:pt x="5723" y="8571"/>
                </a:lnTo>
                <a:lnTo>
                  <a:pt x="5720" y="8574"/>
                </a:lnTo>
                <a:close/>
                <a:moveTo>
                  <a:pt x="5758" y="8615"/>
                </a:moveTo>
                <a:lnTo>
                  <a:pt x="5745" y="8629"/>
                </a:lnTo>
                <a:lnTo>
                  <a:pt x="5732" y="8643"/>
                </a:lnTo>
                <a:lnTo>
                  <a:pt x="5718" y="8652"/>
                </a:lnTo>
                <a:lnTo>
                  <a:pt x="5704" y="8653"/>
                </a:lnTo>
                <a:lnTo>
                  <a:pt x="5717" y="8643"/>
                </a:lnTo>
                <a:lnTo>
                  <a:pt x="5730" y="8632"/>
                </a:lnTo>
                <a:lnTo>
                  <a:pt x="5744" y="8624"/>
                </a:lnTo>
                <a:lnTo>
                  <a:pt x="5758" y="8615"/>
                </a:lnTo>
                <a:close/>
                <a:moveTo>
                  <a:pt x="5613" y="9648"/>
                </a:moveTo>
                <a:lnTo>
                  <a:pt x="5623" y="9642"/>
                </a:lnTo>
                <a:lnTo>
                  <a:pt x="5633" y="9634"/>
                </a:lnTo>
                <a:lnTo>
                  <a:pt x="5644" y="9632"/>
                </a:lnTo>
                <a:lnTo>
                  <a:pt x="5660" y="9639"/>
                </a:lnTo>
                <a:lnTo>
                  <a:pt x="5638" y="9655"/>
                </a:lnTo>
                <a:lnTo>
                  <a:pt x="5614" y="9666"/>
                </a:lnTo>
                <a:lnTo>
                  <a:pt x="5600" y="9667"/>
                </a:lnTo>
                <a:lnTo>
                  <a:pt x="5613" y="9648"/>
                </a:lnTo>
                <a:close/>
                <a:moveTo>
                  <a:pt x="5579" y="8648"/>
                </a:moveTo>
                <a:lnTo>
                  <a:pt x="5587" y="8643"/>
                </a:lnTo>
                <a:lnTo>
                  <a:pt x="5595" y="8641"/>
                </a:lnTo>
                <a:lnTo>
                  <a:pt x="5587" y="8644"/>
                </a:lnTo>
                <a:lnTo>
                  <a:pt x="5579" y="8648"/>
                </a:lnTo>
                <a:close/>
                <a:moveTo>
                  <a:pt x="5600" y="8793"/>
                </a:moveTo>
                <a:lnTo>
                  <a:pt x="5574" y="8806"/>
                </a:lnTo>
                <a:lnTo>
                  <a:pt x="5581" y="8795"/>
                </a:lnTo>
                <a:lnTo>
                  <a:pt x="5605" y="8775"/>
                </a:lnTo>
                <a:lnTo>
                  <a:pt x="5629" y="8760"/>
                </a:lnTo>
                <a:lnTo>
                  <a:pt x="5624" y="8770"/>
                </a:lnTo>
                <a:lnTo>
                  <a:pt x="5618" y="8779"/>
                </a:lnTo>
                <a:lnTo>
                  <a:pt x="5609" y="8786"/>
                </a:lnTo>
                <a:lnTo>
                  <a:pt x="5600" y="8793"/>
                </a:lnTo>
                <a:close/>
                <a:moveTo>
                  <a:pt x="5535" y="8897"/>
                </a:moveTo>
                <a:lnTo>
                  <a:pt x="5545" y="8890"/>
                </a:lnTo>
                <a:lnTo>
                  <a:pt x="5555" y="8882"/>
                </a:lnTo>
                <a:lnTo>
                  <a:pt x="5567" y="8874"/>
                </a:lnTo>
                <a:lnTo>
                  <a:pt x="5578" y="8867"/>
                </a:lnTo>
                <a:lnTo>
                  <a:pt x="5569" y="8876"/>
                </a:lnTo>
                <a:lnTo>
                  <a:pt x="5559" y="8885"/>
                </a:lnTo>
                <a:lnTo>
                  <a:pt x="5548" y="8892"/>
                </a:lnTo>
                <a:lnTo>
                  <a:pt x="5535" y="8897"/>
                </a:lnTo>
                <a:close/>
                <a:moveTo>
                  <a:pt x="5513" y="8942"/>
                </a:moveTo>
                <a:lnTo>
                  <a:pt x="5518" y="8929"/>
                </a:lnTo>
                <a:lnTo>
                  <a:pt x="5527" y="8916"/>
                </a:lnTo>
                <a:lnTo>
                  <a:pt x="5537" y="8907"/>
                </a:lnTo>
                <a:lnTo>
                  <a:pt x="5550" y="8902"/>
                </a:lnTo>
                <a:lnTo>
                  <a:pt x="5545" y="8918"/>
                </a:lnTo>
                <a:lnTo>
                  <a:pt x="5535" y="8927"/>
                </a:lnTo>
                <a:lnTo>
                  <a:pt x="5523" y="8934"/>
                </a:lnTo>
                <a:lnTo>
                  <a:pt x="5513" y="8942"/>
                </a:lnTo>
                <a:close/>
                <a:moveTo>
                  <a:pt x="5501" y="8722"/>
                </a:moveTo>
                <a:lnTo>
                  <a:pt x="5506" y="8719"/>
                </a:lnTo>
                <a:lnTo>
                  <a:pt x="5509" y="8718"/>
                </a:lnTo>
                <a:lnTo>
                  <a:pt x="5515" y="8718"/>
                </a:lnTo>
                <a:lnTo>
                  <a:pt x="5520" y="8722"/>
                </a:lnTo>
                <a:lnTo>
                  <a:pt x="5515" y="8728"/>
                </a:lnTo>
                <a:lnTo>
                  <a:pt x="5509" y="8730"/>
                </a:lnTo>
                <a:lnTo>
                  <a:pt x="5506" y="8729"/>
                </a:lnTo>
                <a:lnTo>
                  <a:pt x="5501" y="8722"/>
                </a:lnTo>
                <a:close/>
                <a:moveTo>
                  <a:pt x="5546" y="8632"/>
                </a:moveTo>
                <a:lnTo>
                  <a:pt x="5535" y="8652"/>
                </a:lnTo>
                <a:lnTo>
                  <a:pt x="5518" y="8664"/>
                </a:lnTo>
                <a:lnTo>
                  <a:pt x="5499" y="8674"/>
                </a:lnTo>
                <a:lnTo>
                  <a:pt x="5481" y="8686"/>
                </a:lnTo>
                <a:lnTo>
                  <a:pt x="5490" y="8667"/>
                </a:lnTo>
                <a:lnTo>
                  <a:pt x="5507" y="8654"/>
                </a:lnTo>
                <a:lnTo>
                  <a:pt x="5527" y="8644"/>
                </a:lnTo>
                <a:lnTo>
                  <a:pt x="5546" y="8632"/>
                </a:lnTo>
                <a:close/>
                <a:moveTo>
                  <a:pt x="5518" y="8585"/>
                </a:moveTo>
                <a:lnTo>
                  <a:pt x="5523" y="8570"/>
                </a:lnTo>
                <a:lnTo>
                  <a:pt x="5530" y="8561"/>
                </a:lnTo>
                <a:lnTo>
                  <a:pt x="5539" y="8556"/>
                </a:lnTo>
                <a:lnTo>
                  <a:pt x="5553" y="8552"/>
                </a:lnTo>
                <a:lnTo>
                  <a:pt x="5548" y="8564"/>
                </a:lnTo>
                <a:lnTo>
                  <a:pt x="5540" y="8570"/>
                </a:lnTo>
                <a:lnTo>
                  <a:pt x="5530" y="8576"/>
                </a:lnTo>
                <a:lnTo>
                  <a:pt x="5518" y="8585"/>
                </a:lnTo>
                <a:close/>
                <a:moveTo>
                  <a:pt x="5525" y="8617"/>
                </a:moveTo>
                <a:lnTo>
                  <a:pt x="5525" y="8622"/>
                </a:lnTo>
                <a:lnTo>
                  <a:pt x="5523" y="8625"/>
                </a:lnTo>
                <a:lnTo>
                  <a:pt x="5521" y="8626"/>
                </a:lnTo>
                <a:lnTo>
                  <a:pt x="5517" y="8626"/>
                </a:lnTo>
                <a:lnTo>
                  <a:pt x="5517" y="8621"/>
                </a:lnTo>
                <a:lnTo>
                  <a:pt x="5518" y="8618"/>
                </a:lnTo>
                <a:lnTo>
                  <a:pt x="5521" y="8617"/>
                </a:lnTo>
                <a:lnTo>
                  <a:pt x="5525" y="8617"/>
                </a:lnTo>
                <a:close/>
                <a:moveTo>
                  <a:pt x="5478" y="8871"/>
                </a:moveTo>
                <a:lnTo>
                  <a:pt x="5479" y="8865"/>
                </a:lnTo>
                <a:lnTo>
                  <a:pt x="5481" y="8860"/>
                </a:lnTo>
                <a:lnTo>
                  <a:pt x="5487" y="8859"/>
                </a:lnTo>
                <a:lnTo>
                  <a:pt x="5494" y="8862"/>
                </a:lnTo>
                <a:lnTo>
                  <a:pt x="5487" y="8865"/>
                </a:lnTo>
                <a:lnTo>
                  <a:pt x="5478" y="8871"/>
                </a:lnTo>
                <a:close/>
                <a:moveTo>
                  <a:pt x="5466" y="8776"/>
                </a:moveTo>
                <a:lnTo>
                  <a:pt x="5455" y="8769"/>
                </a:lnTo>
                <a:lnTo>
                  <a:pt x="5457" y="8761"/>
                </a:lnTo>
                <a:lnTo>
                  <a:pt x="5465" y="8752"/>
                </a:lnTo>
                <a:lnTo>
                  <a:pt x="5476" y="8743"/>
                </a:lnTo>
                <a:lnTo>
                  <a:pt x="5470" y="8760"/>
                </a:lnTo>
                <a:lnTo>
                  <a:pt x="5466" y="8776"/>
                </a:lnTo>
                <a:close/>
                <a:moveTo>
                  <a:pt x="5453" y="8657"/>
                </a:moveTo>
                <a:lnTo>
                  <a:pt x="5462" y="8653"/>
                </a:lnTo>
                <a:lnTo>
                  <a:pt x="5474" y="8649"/>
                </a:lnTo>
                <a:lnTo>
                  <a:pt x="5471" y="8657"/>
                </a:lnTo>
                <a:lnTo>
                  <a:pt x="5466" y="8660"/>
                </a:lnTo>
                <a:lnTo>
                  <a:pt x="5460" y="8659"/>
                </a:lnTo>
                <a:lnTo>
                  <a:pt x="5453" y="8657"/>
                </a:lnTo>
                <a:close/>
                <a:moveTo>
                  <a:pt x="5433" y="8702"/>
                </a:moveTo>
                <a:lnTo>
                  <a:pt x="5447" y="8690"/>
                </a:lnTo>
                <a:lnTo>
                  <a:pt x="5461" y="8678"/>
                </a:lnTo>
                <a:lnTo>
                  <a:pt x="5456" y="8688"/>
                </a:lnTo>
                <a:lnTo>
                  <a:pt x="5451" y="8700"/>
                </a:lnTo>
                <a:lnTo>
                  <a:pt x="5446" y="8706"/>
                </a:lnTo>
                <a:lnTo>
                  <a:pt x="5433" y="8702"/>
                </a:lnTo>
                <a:close/>
                <a:moveTo>
                  <a:pt x="5363" y="8686"/>
                </a:moveTo>
                <a:lnTo>
                  <a:pt x="5374" y="8672"/>
                </a:lnTo>
                <a:lnTo>
                  <a:pt x="5387" y="8660"/>
                </a:lnTo>
                <a:lnTo>
                  <a:pt x="5402" y="8654"/>
                </a:lnTo>
                <a:lnTo>
                  <a:pt x="5419" y="8653"/>
                </a:lnTo>
                <a:lnTo>
                  <a:pt x="5405" y="8660"/>
                </a:lnTo>
                <a:lnTo>
                  <a:pt x="5391" y="8669"/>
                </a:lnTo>
                <a:lnTo>
                  <a:pt x="5377" y="8680"/>
                </a:lnTo>
                <a:lnTo>
                  <a:pt x="5363" y="8686"/>
                </a:lnTo>
                <a:close/>
                <a:moveTo>
                  <a:pt x="5336" y="8756"/>
                </a:moveTo>
                <a:lnTo>
                  <a:pt x="5332" y="8747"/>
                </a:lnTo>
                <a:lnTo>
                  <a:pt x="5339" y="8736"/>
                </a:lnTo>
                <a:lnTo>
                  <a:pt x="5350" y="8725"/>
                </a:lnTo>
                <a:lnTo>
                  <a:pt x="5364" y="8722"/>
                </a:lnTo>
                <a:lnTo>
                  <a:pt x="5359" y="8732"/>
                </a:lnTo>
                <a:lnTo>
                  <a:pt x="5353" y="8741"/>
                </a:lnTo>
                <a:lnTo>
                  <a:pt x="5345" y="8748"/>
                </a:lnTo>
                <a:lnTo>
                  <a:pt x="5336" y="8756"/>
                </a:lnTo>
                <a:close/>
                <a:moveTo>
                  <a:pt x="5332" y="9213"/>
                </a:moveTo>
                <a:lnTo>
                  <a:pt x="5338" y="9210"/>
                </a:lnTo>
                <a:lnTo>
                  <a:pt x="5332" y="9213"/>
                </a:lnTo>
                <a:lnTo>
                  <a:pt x="5335" y="9207"/>
                </a:lnTo>
                <a:lnTo>
                  <a:pt x="5332" y="9213"/>
                </a:lnTo>
                <a:close/>
                <a:moveTo>
                  <a:pt x="5311" y="9111"/>
                </a:moveTo>
                <a:lnTo>
                  <a:pt x="5322" y="9103"/>
                </a:lnTo>
                <a:lnTo>
                  <a:pt x="5336" y="9095"/>
                </a:lnTo>
                <a:lnTo>
                  <a:pt x="5334" y="9107"/>
                </a:lnTo>
                <a:lnTo>
                  <a:pt x="5329" y="9116"/>
                </a:lnTo>
                <a:lnTo>
                  <a:pt x="5321" y="9119"/>
                </a:lnTo>
                <a:lnTo>
                  <a:pt x="5311" y="9111"/>
                </a:lnTo>
                <a:close/>
                <a:moveTo>
                  <a:pt x="5344" y="9131"/>
                </a:moveTo>
                <a:lnTo>
                  <a:pt x="5341" y="9133"/>
                </a:lnTo>
                <a:lnTo>
                  <a:pt x="5341" y="9133"/>
                </a:lnTo>
                <a:lnTo>
                  <a:pt x="5341" y="9133"/>
                </a:lnTo>
                <a:lnTo>
                  <a:pt x="5344" y="9131"/>
                </a:lnTo>
                <a:lnTo>
                  <a:pt x="5343" y="9133"/>
                </a:lnTo>
                <a:lnTo>
                  <a:pt x="5341" y="9134"/>
                </a:lnTo>
                <a:lnTo>
                  <a:pt x="5341" y="9133"/>
                </a:lnTo>
                <a:lnTo>
                  <a:pt x="5344" y="9131"/>
                </a:lnTo>
                <a:close/>
                <a:moveTo>
                  <a:pt x="5299" y="9103"/>
                </a:moveTo>
                <a:lnTo>
                  <a:pt x="5283" y="9126"/>
                </a:lnTo>
                <a:lnTo>
                  <a:pt x="5255" y="9151"/>
                </a:lnTo>
                <a:lnTo>
                  <a:pt x="5225" y="9166"/>
                </a:lnTo>
                <a:lnTo>
                  <a:pt x="5205" y="9162"/>
                </a:lnTo>
                <a:lnTo>
                  <a:pt x="5229" y="9112"/>
                </a:lnTo>
                <a:lnTo>
                  <a:pt x="5290" y="9060"/>
                </a:lnTo>
                <a:lnTo>
                  <a:pt x="5332" y="9044"/>
                </a:lnTo>
                <a:lnTo>
                  <a:pt x="5299" y="9103"/>
                </a:lnTo>
                <a:close/>
                <a:moveTo>
                  <a:pt x="5296" y="9152"/>
                </a:moveTo>
                <a:lnTo>
                  <a:pt x="5289" y="9154"/>
                </a:lnTo>
                <a:lnTo>
                  <a:pt x="5287" y="9152"/>
                </a:lnTo>
                <a:lnTo>
                  <a:pt x="5287" y="9149"/>
                </a:lnTo>
                <a:lnTo>
                  <a:pt x="5292" y="9147"/>
                </a:lnTo>
                <a:lnTo>
                  <a:pt x="5294" y="9149"/>
                </a:lnTo>
                <a:lnTo>
                  <a:pt x="5296" y="9152"/>
                </a:lnTo>
                <a:close/>
                <a:moveTo>
                  <a:pt x="5297" y="8836"/>
                </a:moveTo>
                <a:lnTo>
                  <a:pt x="5296" y="8846"/>
                </a:lnTo>
                <a:lnTo>
                  <a:pt x="5293" y="8851"/>
                </a:lnTo>
                <a:lnTo>
                  <a:pt x="5287" y="8851"/>
                </a:lnTo>
                <a:lnTo>
                  <a:pt x="5278" y="8848"/>
                </a:lnTo>
                <a:lnTo>
                  <a:pt x="5287" y="8843"/>
                </a:lnTo>
                <a:lnTo>
                  <a:pt x="5297" y="8836"/>
                </a:lnTo>
                <a:close/>
                <a:moveTo>
                  <a:pt x="5292" y="8746"/>
                </a:moveTo>
                <a:lnTo>
                  <a:pt x="5302" y="8736"/>
                </a:lnTo>
                <a:lnTo>
                  <a:pt x="5312" y="8725"/>
                </a:lnTo>
                <a:lnTo>
                  <a:pt x="5324" y="8715"/>
                </a:lnTo>
                <a:lnTo>
                  <a:pt x="5334" y="8706"/>
                </a:lnTo>
                <a:lnTo>
                  <a:pt x="5329" y="8720"/>
                </a:lnTo>
                <a:lnTo>
                  <a:pt x="5318" y="8730"/>
                </a:lnTo>
                <a:lnTo>
                  <a:pt x="5307" y="8739"/>
                </a:lnTo>
                <a:lnTo>
                  <a:pt x="5292" y="8746"/>
                </a:lnTo>
                <a:close/>
                <a:moveTo>
                  <a:pt x="5298" y="8756"/>
                </a:moveTo>
                <a:lnTo>
                  <a:pt x="5289" y="8767"/>
                </a:lnTo>
                <a:lnTo>
                  <a:pt x="5281" y="8774"/>
                </a:lnTo>
                <a:lnTo>
                  <a:pt x="5273" y="8778"/>
                </a:lnTo>
                <a:lnTo>
                  <a:pt x="5257" y="8781"/>
                </a:lnTo>
                <a:lnTo>
                  <a:pt x="5266" y="8775"/>
                </a:lnTo>
                <a:lnTo>
                  <a:pt x="5276" y="8769"/>
                </a:lnTo>
                <a:lnTo>
                  <a:pt x="5287" y="8762"/>
                </a:lnTo>
                <a:lnTo>
                  <a:pt x="5298" y="8756"/>
                </a:lnTo>
                <a:close/>
                <a:moveTo>
                  <a:pt x="5187" y="8868"/>
                </a:moveTo>
                <a:lnTo>
                  <a:pt x="5159" y="8873"/>
                </a:lnTo>
                <a:lnTo>
                  <a:pt x="5175" y="8849"/>
                </a:lnTo>
                <a:lnTo>
                  <a:pt x="5211" y="8821"/>
                </a:lnTo>
                <a:lnTo>
                  <a:pt x="5250" y="8817"/>
                </a:lnTo>
                <a:lnTo>
                  <a:pt x="5234" y="8844"/>
                </a:lnTo>
                <a:lnTo>
                  <a:pt x="5219" y="8846"/>
                </a:lnTo>
                <a:lnTo>
                  <a:pt x="5204" y="8848"/>
                </a:lnTo>
                <a:lnTo>
                  <a:pt x="5187" y="8868"/>
                </a:lnTo>
                <a:close/>
                <a:moveTo>
                  <a:pt x="5180" y="8944"/>
                </a:moveTo>
                <a:lnTo>
                  <a:pt x="5159" y="8952"/>
                </a:lnTo>
                <a:lnTo>
                  <a:pt x="5126" y="8972"/>
                </a:lnTo>
                <a:lnTo>
                  <a:pt x="5088" y="8986"/>
                </a:lnTo>
                <a:lnTo>
                  <a:pt x="5057" y="8979"/>
                </a:lnTo>
                <a:lnTo>
                  <a:pt x="5129" y="8921"/>
                </a:lnTo>
                <a:lnTo>
                  <a:pt x="5206" y="8892"/>
                </a:lnTo>
                <a:lnTo>
                  <a:pt x="5241" y="8899"/>
                </a:lnTo>
                <a:lnTo>
                  <a:pt x="5180" y="8944"/>
                </a:lnTo>
                <a:close/>
                <a:moveTo>
                  <a:pt x="5158" y="8974"/>
                </a:moveTo>
                <a:lnTo>
                  <a:pt x="5167" y="8969"/>
                </a:lnTo>
                <a:lnTo>
                  <a:pt x="5158" y="8974"/>
                </a:lnTo>
                <a:lnTo>
                  <a:pt x="5164" y="8970"/>
                </a:lnTo>
                <a:lnTo>
                  <a:pt x="5168" y="8963"/>
                </a:lnTo>
                <a:lnTo>
                  <a:pt x="5167" y="8963"/>
                </a:lnTo>
                <a:lnTo>
                  <a:pt x="5158" y="8974"/>
                </a:lnTo>
                <a:close/>
                <a:moveTo>
                  <a:pt x="5038" y="8998"/>
                </a:moveTo>
                <a:lnTo>
                  <a:pt x="5034" y="8998"/>
                </a:lnTo>
                <a:lnTo>
                  <a:pt x="5033" y="8994"/>
                </a:lnTo>
                <a:lnTo>
                  <a:pt x="5033" y="8991"/>
                </a:lnTo>
                <a:lnTo>
                  <a:pt x="5036" y="8989"/>
                </a:lnTo>
                <a:lnTo>
                  <a:pt x="5045" y="8989"/>
                </a:lnTo>
                <a:lnTo>
                  <a:pt x="5047" y="8990"/>
                </a:lnTo>
                <a:lnTo>
                  <a:pt x="5046" y="8994"/>
                </a:lnTo>
                <a:lnTo>
                  <a:pt x="5038" y="8998"/>
                </a:lnTo>
                <a:close/>
                <a:moveTo>
                  <a:pt x="4899" y="9100"/>
                </a:moveTo>
                <a:lnTo>
                  <a:pt x="4901" y="9097"/>
                </a:lnTo>
                <a:lnTo>
                  <a:pt x="4902" y="9095"/>
                </a:lnTo>
                <a:lnTo>
                  <a:pt x="4905" y="9093"/>
                </a:lnTo>
                <a:lnTo>
                  <a:pt x="4907" y="9095"/>
                </a:lnTo>
                <a:lnTo>
                  <a:pt x="4903" y="9097"/>
                </a:lnTo>
                <a:lnTo>
                  <a:pt x="4899" y="9100"/>
                </a:lnTo>
                <a:close/>
                <a:moveTo>
                  <a:pt x="4849" y="9079"/>
                </a:moveTo>
                <a:lnTo>
                  <a:pt x="4851" y="9078"/>
                </a:lnTo>
                <a:lnTo>
                  <a:pt x="4849" y="9079"/>
                </a:lnTo>
                <a:lnTo>
                  <a:pt x="4850" y="9077"/>
                </a:lnTo>
                <a:lnTo>
                  <a:pt x="4849" y="9079"/>
                </a:lnTo>
                <a:close/>
                <a:moveTo>
                  <a:pt x="4884" y="9109"/>
                </a:moveTo>
                <a:lnTo>
                  <a:pt x="4868" y="9119"/>
                </a:lnTo>
                <a:lnTo>
                  <a:pt x="4854" y="9131"/>
                </a:lnTo>
                <a:lnTo>
                  <a:pt x="4838" y="9143"/>
                </a:lnTo>
                <a:lnTo>
                  <a:pt x="4820" y="9151"/>
                </a:lnTo>
                <a:lnTo>
                  <a:pt x="4832" y="9117"/>
                </a:lnTo>
                <a:lnTo>
                  <a:pt x="4861" y="9093"/>
                </a:lnTo>
                <a:lnTo>
                  <a:pt x="4887" y="9086"/>
                </a:lnTo>
                <a:lnTo>
                  <a:pt x="4884" y="9109"/>
                </a:lnTo>
                <a:close/>
                <a:moveTo>
                  <a:pt x="4837" y="9292"/>
                </a:moveTo>
                <a:lnTo>
                  <a:pt x="4831" y="9293"/>
                </a:lnTo>
                <a:lnTo>
                  <a:pt x="4827" y="9291"/>
                </a:lnTo>
                <a:lnTo>
                  <a:pt x="4823" y="9287"/>
                </a:lnTo>
                <a:lnTo>
                  <a:pt x="4822" y="9282"/>
                </a:lnTo>
                <a:lnTo>
                  <a:pt x="4823" y="9268"/>
                </a:lnTo>
                <a:lnTo>
                  <a:pt x="4836" y="9271"/>
                </a:lnTo>
                <a:lnTo>
                  <a:pt x="4845" y="9282"/>
                </a:lnTo>
                <a:lnTo>
                  <a:pt x="4837" y="9292"/>
                </a:lnTo>
                <a:close/>
                <a:moveTo>
                  <a:pt x="4838" y="8843"/>
                </a:moveTo>
                <a:lnTo>
                  <a:pt x="4849" y="8839"/>
                </a:lnTo>
                <a:lnTo>
                  <a:pt x="4847" y="8843"/>
                </a:lnTo>
                <a:lnTo>
                  <a:pt x="4840" y="8848"/>
                </a:lnTo>
                <a:lnTo>
                  <a:pt x="4832" y="8854"/>
                </a:lnTo>
                <a:lnTo>
                  <a:pt x="4829" y="8851"/>
                </a:lnTo>
                <a:lnTo>
                  <a:pt x="4831" y="8848"/>
                </a:lnTo>
                <a:lnTo>
                  <a:pt x="4834" y="8845"/>
                </a:lnTo>
                <a:lnTo>
                  <a:pt x="4838" y="8843"/>
                </a:lnTo>
                <a:close/>
                <a:moveTo>
                  <a:pt x="4907" y="8795"/>
                </a:moveTo>
                <a:lnTo>
                  <a:pt x="4908" y="8797"/>
                </a:lnTo>
                <a:lnTo>
                  <a:pt x="4907" y="8798"/>
                </a:lnTo>
                <a:lnTo>
                  <a:pt x="4906" y="8798"/>
                </a:lnTo>
                <a:lnTo>
                  <a:pt x="4905" y="8798"/>
                </a:lnTo>
                <a:lnTo>
                  <a:pt x="4907" y="8795"/>
                </a:lnTo>
                <a:close/>
                <a:moveTo>
                  <a:pt x="5047" y="8700"/>
                </a:moveTo>
                <a:lnTo>
                  <a:pt x="5051" y="8700"/>
                </a:lnTo>
                <a:lnTo>
                  <a:pt x="5052" y="8700"/>
                </a:lnTo>
                <a:lnTo>
                  <a:pt x="5052" y="8702"/>
                </a:lnTo>
                <a:lnTo>
                  <a:pt x="5048" y="8706"/>
                </a:lnTo>
                <a:lnTo>
                  <a:pt x="5046" y="8706"/>
                </a:lnTo>
                <a:lnTo>
                  <a:pt x="5046" y="8705"/>
                </a:lnTo>
                <a:lnTo>
                  <a:pt x="5046" y="8702"/>
                </a:lnTo>
                <a:lnTo>
                  <a:pt x="5047" y="8700"/>
                </a:lnTo>
                <a:close/>
                <a:moveTo>
                  <a:pt x="5299" y="8536"/>
                </a:moveTo>
                <a:lnTo>
                  <a:pt x="5294" y="8540"/>
                </a:lnTo>
                <a:lnTo>
                  <a:pt x="5290" y="8538"/>
                </a:lnTo>
                <a:lnTo>
                  <a:pt x="5287" y="8537"/>
                </a:lnTo>
                <a:lnTo>
                  <a:pt x="5281" y="8538"/>
                </a:lnTo>
                <a:lnTo>
                  <a:pt x="5285" y="8534"/>
                </a:lnTo>
                <a:lnTo>
                  <a:pt x="5289" y="8533"/>
                </a:lnTo>
                <a:lnTo>
                  <a:pt x="5294" y="8533"/>
                </a:lnTo>
                <a:lnTo>
                  <a:pt x="5299" y="8536"/>
                </a:lnTo>
                <a:close/>
                <a:moveTo>
                  <a:pt x="5390" y="8461"/>
                </a:moveTo>
                <a:lnTo>
                  <a:pt x="5395" y="8459"/>
                </a:lnTo>
                <a:lnTo>
                  <a:pt x="5397" y="8462"/>
                </a:lnTo>
                <a:lnTo>
                  <a:pt x="5397" y="8467"/>
                </a:lnTo>
                <a:lnTo>
                  <a:pt x="5397" y="8473"/>
                </a:lnTo>
                <a:lnTo>
                  <a:pt x="5391" y="8472"/>
                </a:lnTo>
                <a:lnTo>
                  <a:pt x="5387" y="8470"/>
                </a:lnTo>
                <a:lnTo>
                  <a:pt x="5386" y="8466"/>
                </a:lnTo>
                <a:lnTo>
                  <a:pt x="5390" y="8461"/>
                </a:lnTo>
                <a:close/>
                <a:moveTo>
                  <a:pt x="5490" y="8402"/>
                </a:moveTo>
                <a:lnTo>
                  <a:pt x="5485" y="8407"/>
                </a:lnTo>
                <a:lnTo>
                  <a:pt x="5484" y="8407"/>
                </a:lnTo>
                <a:lnTo>
                  <a:pt x="5487" y="8406"/>
                </a:lnTo>
                <a:lnTo>
                  <a:pt x="5490" y="8402"/>
                </a:lnTo>
                <a:lnTo>
                  <a:pt x="5489" y="8407"/>
                </a:lnTo>
                <a:lnTo>
                  <a:pt x="5487" y="8408"/>
                </a:lnTo>
                <a:lnTo>
                  <a:pt x="5485" y="8407"/>
                </a:lnTo>
                <a:lnTo>
                  <a:pt x="5490" y="8402"/>
                </a:lnTo>
                <a:close/>
                <a:moveTo>
                  <a:pt x="5516" y="8429"/>
                </a:moveTo>
                <a:lnTo>
                  <a:pt x="5512" y="8429"/>
                </a:lnTo>
                <a:lnTo>
                  <a:pt x="5513" y="8428"/>
                </a:lnTo>
                <a:lnTo>
                  <a:pt x="5515" y="8426"/>
                </a:lnTo>
                <a:lnTo>
                  <a:pt x="5515" y="8426"/>
                </a:lnTo>
                <a:lnTo>
                  <a:pt x="5516" y="8429"/>
                </a:lnTo>
                <a:close/>
                <a:moveTo>
                  <a:pt x="5530" y="8386"/>
                </a:moveTo>
                <a:lnTo>
                  <a:pt x="5523" y="8394"/>
                </a:lnTo>
                <a:lnTo>
                  <a:pt x="5515" y="8400"/>
                </a:lnTo>
                <a:lnTo>
                  <a:pt x="5504" y="8402"/>
                </a:lnTo>
                <a:lnTo>
                  <a:pt x="5494" y="8405"/>
                </a:lnTo>
                <a:lnTo>
                  <a:pt x="5512" y="8394"/>
                </a:lnTo>
                <a:lnTo>
                  <a:pt x="5530" y="8386"/>
                </a:lnTo>
                <a:close/>
                <a:moveTo>
                  <a:pt x="5665" y="8303"/>
                </a:moveTo>
                <a:lnTo>
                  <a:pt x="5652" y="8312"/>
                </a:lnTo>
                <a:lnTo>
                  <a:pt x="5639" y="8322"/>
                </a:lnTo>
                <a:lnTo>
                  <a:pt x="5643" y="8313"/>
                </a:lnTo>
                <a:lnTo>
                  <a:pt x="5647" y="8308"/>
                </a:lnTo>
                <a:lnTo>
                  <a:pt x="5653" y="8305"/>
                </a:lnTo>
                <a:lnTo>
                  <a:pt x="5665" y="8303"/>
                </a:lnTo>
                <a:close/>
                <a:moveTo>
                  <a:pt x="5791" y="8205"/>
                </a:moveTo>
                <a:lnTo>
                  <a:pt x="5801" y="8200"/>
                </a:lnTo>
                <a:lnTo>
                  <a:pt x="5811" y="8193"/>
                </a:lnTo>
                <a:lnTo>
                  <a:pt x="5821" y="8186"/>
                </a:lnTo>
                <a:lnTo>
                  <a:pt x="5830" y="8177"/>
                </a:lnTo>
                <a:lnTo>
                  <a:pt x="5827" y="8204"/>
                </a:lnTo>
                <a:lnTo>
                  <a:pt x="5802" y="8223"/>
                </a:lnTo>
                <a:lnTo>
                  <a:pt x="5782" y="8225"/>
                </a:lnTo>
                <a:lnTo>
                  <a:pt x="5791" y="8205"/>
                </a:lnTo>
                <a:close/>
                <a:moveTo>
                  <a:pt x="5820" y="8163"/>
                </a:moveTo>
                <a:lnTo>
                  <a:pt x="5825" y="8168"/>
                </a:lnTo>
                <a:lnTo>
                  <a:pt x="5823" y="8172"/>
                </a:lnTo>
                <a:lnTo>
                  <a:pt x="5816" y="8174"/>
                </a:lnTo>
                <a:lnTo>
                  <a:pt x="5809" y="8178"/>
                </a:lnTo>
                <a:lnTo>
                  <a:pt x="5815" y="8172"/>
                </a:lnTo>
                <a:lnTo>
                  <a:pt x="5820" y="8163"/>
                </a:lnTo>
                <a:close/>
                <a:moveTo>
                  <a:pt x="5942" y="8107"/>
                </a:moveTo>
                <a:lnTo>
                  <a:pt x="5949" y="8098"/>
                </a:lnTo>
                <a:lnTo>
                  <a:pt x="5955" y="8090"/>
                </a:lnTo>
                <a:lnTo>
                  <a:pt x="5965" y="8086"/>
                </a:lnTo>
                <a:lnTo>
                  <a:pt x="5978" y="8086"/>
                </a:lnTo>
                <a:lnTo>
                  <a:pt x="5969" y="8103"/>
                </a:lnTo>
                <a:lnTo>
                  <a:pt x="5950" y="8114"/>
                </a:lnTo>
                <a:lnTo>
                  <a:pt x="5936" y="8118"/>
                </a:lnTo>
                <a:lnTo>
                  <a:pt x="5942" y="8107"/>
                </a:lnTo>
                <a:close/>
                <a:moveTo>
                  <a:pt x="5618" y="10333"/>
                </a:moveTo>
                <a:lnTo>
                  <a:pt x="5627" y="10325"/>
                </a:lnTo>
                <a:lnTo>
                  <a:pt x="5618" y="10333"/>
                </a:lnTo>
                <a:lnTo>
                  <a:pt x="5615" y="10327"/>
                </a:lnTo>
                <a:lnTo>
                  <a:pt x="5620" y="10320"/>
                </a:lnTo>
                <a:lnTo>
                  <a:pt x="5624" y="10322"/>
                </a:lnTo>
                <a:lnTo>
                  <a:pt x="5618" y="10333"/>
                </a:lnTo>
                <a:close/>
                <a:moveTo>
                  <a:pt x="5511" y="10359"/>
                </a:moveTo>
                <a:lnTo>
                  <a:pt x="5517" y="10345"/>
                </a:lnTo>
                <a:lnTo>
                  <a:pt x="5529" y="10339"/>
                </a:lnTo>
                <a:lnTo>
                  <a:pt x="5543" y="10337"/>
                </a:lnTo>
                <a:lnTo>
                  <a:pt x="5555" y="10334"/>
                </a:lnTo>
                <a:lnTo>
                  <a:pt x="5546" y="10345"/>
                </a:lnTo>
                <a:lnTo>
                  <a:pt x="5537" y="10355"/>
                </a:lnTo>
                <a:lnTo>
                  <a:pt x="5526" y="10360"/>
                </a:lnTo>
                <a:lnTo>
                  <a:pt x="5511" y="10359"/>
                </a:lnTo>
                <a:close/>
                <a:moveTo>
                  <a:pt x="5484" y="10017"/>
                </a:moveTo>
                <a:lnTo>
                  <a:pt x="5479" y="10021"/>
                </a:lnTo>
                <a:lnTo>
                  <a:pt x="5474" y="10025"/>
                </a:lnTo>
                <a:lnTo>
                  <a:pt x="5480" y="10020"/>
                </a:lnTo>
                <a:lnTo>
                  <a:pt x="5484" y="10017"/>
                </a:lnTo>
                <a:close/>
                <a:moveTo>
                  <a:pt x="5430" y="10029"/>
                </a:moveTo>
                <a:lnTo>
                  <a:pt x="5430" y="10029"/>
                </a:lnTo>
                <a:lnTo>
                  <a:pt x="5430" y="10029"/>
                </a:lnTo>
                <a:lnTo>
                  <a:pt x="5430" y="10029"/>
                </a:lnTo>
                <a:lnTo>
                  <a:pt x="5430" y="10029"/>
                </a:lnTo>
                <a:close/>
                <a:moveTo>
                  <a:pt x="5217" y="10020"/>
                </a:moveTo>
                <a:lnTo>
                  <a:pt x="5217" y="10017"/>
                </a:lnTo>
                <a:lnTo>
                  <a:pt x="5217" y="10017"/>
                </a:lnTo>
                <a:lnTo>
                  <a:pt x="5217" y="10017"/>
                </a:lnTo>
                <a:lnTo>
                  <a:pt x="5219" y="10017"/>
                </a:lnTo>
                <a:lnTo>
                  <a:pt x="5217" y="10020"/>
                </a:lnTo>
                <a:close/>
                <a:moveTo>
                  <a:pt x="5024" y="9865"/>
                </a:moveTo>
                <a:lnTo>
                  <a:pt x="5027" y="9862"/>
                </a:lnTo>
                <a:lnTo>
                  <a:pt x="5028" y="9863"/>
                </a:lnTo>
                <a:lnTo>
                  <a:pt x="5027" y="9863"/>
                </a:lnTo>
                <a:lnTo>
                  <a:pt x="5027" y="9865"/>
                </a:lnTo>
                <a:lnTo>
                  <a:pt x="5024" y="9865"/>
                </a:lnTo>
                <a:close/>
                <a:moveTo>
                  <a:pt x="4991" y="9812"/>
                </a:moveTo>
                <a:lnTo>
                  <a:pt x="4986" y="9815"/>
                </a:lnTo>
                <a:lnTo>
                  <a:pt x="4981" y="9816"/>
                </a:lnTo>
                <a:lnTo>
                  <a:pt x="4981" y="9802"/>
                </a:lnTo>
                <a:lnTo>
                  <a:pt x="4991" y="9796"/>
                </a:lnTo>
                <a:lnTo>
                  <a:pt x="4999" y="9800"/>
                </a:lnTo>
                <a:lnTo>
                  <a:pt x="4991" y="9812"/>
                </a:lnTo>
                <a:close/>
                <a:moveTo>
                  <a:pt x="4691" y="9089"/>
                </a:moveTo>
                <a:lnTo>
                  <a:pt x="4688" y="9089"/>
                </a:lnTo>
                <a:lnTo>
                  <a:pt x="4688" y="9088"/>
                </a:lnTo>
                <a:lnTo>
                  <a:pt x="4687" y="9086"/>
                </a:lnTo>
                <a:lnTo>
                  <a:pt x="4688" y="9084"/>
                </a:lnTo>
                <a:lnTo>
                  <a:pt x="4689" y="9086"/>
                </a:lnTo>
                <a:lnTo>
                  <a:pt x="4692" y="9087"/>
                </a:lnTo>
                <a:lnTo>
                  <a:pt x="4692" y="9088"/>
                </a:lnTo>
                <a:lnTo>
                  <a:pt x="4691" y="9089"/>
                </a:lnTo>
                <a:close/>
                <a:moveTo>
                  <a:pt x="5168" y="8588"/>
                </a:moveTo>
                <a:lnTo>
                  <a:pt x="5169" y="8587"/>
                </a:lnTo>
                <a:lnTo>
                  <a:pt x="5168" y="8588"/>
                </a:lnTo>
                <a:lnTo>
                  <a:pt x="5169" y="8587"/>
                </a:lnTo>
                <a:lnTo>
                  <a:pt x="5168" y="8588"/>
                </a:lnTo>
                <a:close/>
                <a:moveTo>
                  <a:pt x="4801" y="8094"/>
                </a:moveTo>
                <a:lnTo>
                  <a:pt x="4795" y="8094"/>
                </a:lnTo>
                <a:lnTo>
                  <a:pt x="4787" y="8093"/>
                </a:lnTo>
                <a:lnTo>
                  <a:pt x="4791" y="8091"/>
                </a:lnTo>
                <a:lnTo>
                  <a:pt x="4798" y="8089"/>
                </a:lnTo>
                <a:lnTo>
                  <a:pt x="4803" y="8090"/>
                </a:lnTo>
                <a:lnTo>
                  <a:pt x="4801" y="8094"/>
                </a:lnTo>
                <a:close/>
                <a:moveTo>
                  <a:pt x="4714" y="880"/>
                </a:moveTo>
                <a:lnTo>
                  <a:pt x="4739" y="866"/>
                </a:lnTo>
                <a:lnTo>
                  <a:pt x="4764" y="851"/>
                </a:lnTo>
                <a:lnTo>
                  <a:pt x="4785" y="847"/>
                </a:lnTo>
                <a:lnTo>
                  <a:pt x="4796" y="865"/>
                </a:lnTo>
                <a:lnTo>
                  <a:pt x="4778" y="869"/>
                </a:lnTo>
                <a:lnTo>
                  <a:pt x="4758" y="873"/>
                </a:lnTo>
                <a:lnTo>
                  <a:pt x="4738" y="877"/>
                </a:lnTo>
                <a:lnTo>
                  <a:pt x="4714" y="880"/>
                </a:lnTo>
                <a:close/>
                <a:moveTo>
                  <a:pt x="4766" y="1018"/>
                </a:moveTo>
                <a:lnTo>
                  <a:pt x="4762" y="1015"/>
                </a:lnTo>
                <a:lnTo>
                  <a:pt x="4759" y="1014"/>
                </a:lnTo>
                <a:lnTo>
                  <a:pt x="4758" y="1012"/>
                </a:lnTo>
                <a:lnTo>
                  <a:pt x="4759" y="1008"/>
                </a:lnTo>
                <a:lnTo>
                  <a:pt x="4766" y="1006"/>
                </a:lnTo>
                <a:lnTo>
                  <a:pt x="4768" y="1009"/>
                </a:lnTo>
                <a:lnTo>
                  <a:pt x="4768" y="1012"/>
                </a:lnTo>
                <a:lnTo>
                  <a:pt x="4766" y="1018"/>
                </a:lnTo>
                <a:close/>
                <a:moveTo>
                  <a:pt x="4739" y="8165"/>
                </a:moveTo>
                <a:lnTo>
                  <a:pt x="4710" y="8184"/>
                </a:lnTo>
                <a:lnTo>
                  <a:pt x="4680" y="8178"/>
                </a:lnTo>
                <a:lnTo>
                  <a:pt x="4664" y="8160"/>
                </a:lnTo>
                <a:lnTo>
                  <a:pt x="4668" y="8145"/>
                </a:lnTo>
                <a:lnTo>
                  <a:pt x="4706" y="8123"/>
                </a:lnTo>
                <a:lnTo>
                  <a:pt x="4734" y="8118"/>
                </a:lnTo>
                <a:lnTo>
                  <a:pt x="4748" y="8132"/>
                </a:lnTo>
                <a:lnTo>
                  <a:pt x="4739" y="8165"/>
                </a:lnTo>
                <a:close/>
                <a:moveTo>
                  <a:pt x="4678" y="8228"/>
                </a:moveTo>
                <a:lnTo>
                  <a:pt x="4679" y="8228"/>
                </a:lnTo>
                <a:lnTo>
                  <a:pt x="4678" y="8228"/>
                </a:lnTo>
                <a:lnTo>
                  <a:pt x="4677" y="8228"/>
                </a:lnTo>
                <a:lnTo>
                  <a:pt x="4678" y="8228"/>
                </a:lnTo>
                <a:close/>
                <a:moveTo>
                  <a:pt x="4628" y="8218"/>
                </a:moveTo>
                <a:lnTo>
                  <a:pt x="4636" y="8207"/>
                </a:lnTo>
                <a:lnTo>
                  <a:pt x="4641" y="8198"/>
                </a:lnTo>
                <a:lnTo>
                  <a:pt x="4647" y="8189"/>
                </a:lnTo>
                <a:lnTo>
                  <a:pt x="4657" y="8182"/>
                </a:lnTo>
                <a:lnTo>
                  <a:pt x="4661" y="8191"/>
                </a:lnTo>
                <a:lnTo>
                  <a:pt x="4652" y="8201"/>
                </a:lnTo>
                <a:lnTo>
                  <a:pt x="4640" y="8210"/>
                </a:lnTo>
                <a:lnTo>
                  <a:pt x="4628" y="8218"/>
                </a:lnTo>
                <a:close/>
                <a:moveTo>
                  <a:pt x="4544" y="8169"/>
                </a:moveTo>
                <a:lnTo>
                  <a:pt x="4524" y="8175"/>
                </a:lnTo>
                <a:lnTo>
                  <a:pt x="4500" y="8189"/>
                </a:lnTo>
                <a:lnTo>
                  <a:pt x="4475" y="8204"/>
                </a:lnTo>
                <a:lnTo>
                  <a:pt x="4450" y="8215"/>
                </a:lnTo>
                <a:lnTo>
                  <a:pt x="4483" y="8169"/>
                </a:lnTo>
                <a:lnTo>
                  <a:pt x="4565" y="8132"/>
                </a:lnTo>
                <a:lnTo>
                  <a:pt x="4613" y="8125"/>
                </a:lnTo>
                <a:lnTo>
                  <a:pt x="4544" y="8169"/>
                </a:lnTo>
                <a:close/>
                <a:moveTo>
                  <a:pt x="4570" y="8286"/>
                </a:moveTo>
                <a:lnTo>
                  <a:pt x="4586" y="8275"/>
                </a:lnTo>
                <a:lnTo>
                  <a:pt x="4605" y="8263"/>
                </a:lnTo>
                <a:lnTo>
                  <a:pt x="4600" y="8274"/>
                </a:lnTo>
                <a:lnTo>
                  <a:pt x="4593" y="8281"/>
                </a:lnTo>
                <a:lnTo>
                  <a:pt x="4582" y="8285"/>
                </a:lnTo>
                <a:lnTo>
                  <a:pt x="4570" y="8286"/>
                </a:lnTo>
                <a:close/>
                <a:moveTo>
                  <a:pt x="4573" y="8218"/>
                </a:moveTo>
                <a:lnTo>
                  <a:pt x="4581" y="8232"/>
                </a:lnTo>
                <a:lnTo>
                  <a:pt x="4571" y="8244"/>
                </a:lnTo>
                <a:lnTo>
                  <a:pt x="4554" y="8253"/>
                </a:lnTo>
                <a:lnTo>
                  <a:pt x="4539" y="8253"/>
                </a:lnTo>
                <a:lnTo>
                  <a:pt x="4539" y="8229"/>
                </a:lnTo>
                <a:lnTo>
                  <a:pt x="4545" y="8214"/>
                </a:lnTo>
                <a:lnTo>
                  <a:pt x="4556" y="8209"/>
                </a:lnTo>
                <a:lnTo>
                  <a:pt x="4573" y="8218"/>
                </a:lnTo>
                <a:close/>
                <a:moveTo>
                  <a:pt x="4561" y="8326"/>
                </a:moveTo>
                <a:lnTo>
                  <a:pt x="4531" y="8340"/>
                </a:lnTo>
                <a:lnTo>
                  <a:pt x="4508" y="8344"/>
                </a:lnTo>
                <a:lnTo>
                  <a:pt x="4503" y="8337"/>
                </a:lnTo>
                <a:lnTo>
                  <a:pt x="4526" y="8314"/>
                </a:lnTo>
                <a:lnTo>
                  <a:pt x="4542" y="8298"/>
                </a:lnTo>
                <a:lnTo>
                  <a:pt x="4548" y="8302"/>
                </a:lnTo>
                <a:lnTo>
                  <a:pt x="4551" y="8316"/>
                </a:lnTo>
                <a:lnTo>
                  <a:pt x="4561" y="8326"/>
                </a:lnTo>
                <a:close/>
                <a:moveTo>
                  <a:pt x="4533" y="8388"/>
                </a:moveTo>
                <a:lnTo>
                  <a:pt x="4520" y="8400"/>
                </a:lnTo>
                <a:lnTo>
                  <a:pt x="4507" y="8411"/>
                </a:lnTo>
                <a:lnTo>
                  <a:pt x="4498" y="8414"/>
                </a:lnTo>
                <a:lnTo>
                  <a:pt x="4496" y="8396"/>
                </a:lnTo>
                <a:lnTo>
                  <a:pt x="4506" y="8392"/>
                </a:lnTo>
                <a:lnTo>
                  <a:pt x="4519" y="8386"/>
                </a:lnTo>
                <a:lnTo>
                  <a:pt x="4529" y="8383"/>
                </a:lnTo>
                <a:lnTo>
                  <a:pt x="4533" y="8388"/>
                </a:lnTo>
                <a:close/>
                <a:moveTo>
                  <a:pt x="4512" y="8313"/>
                </a:moveTo>
                <a:lnTo>
                  <a:pt x="4508" y="8314"/>
                </a:lnTo>
                <a:lnTo>
                  <a:pt x="4503" y="8316"/>
                </a:lnTo>
                <a:lnTo>
                  <a:pt x="4500" y="8316"/>
                </a:lnTo>
                <a:lnTo>
                  <a:pt x="4498" y="8312"/>
                </a:lnTo>
                <a:lnTo>
                  <a:pt x="4502" y="8310"/>
                </a:lnTo>
                <a:lnTo>
                  <a:pt x="4507" y="8309"/>
                </a:lnTo>
                <a:lnTo>
                  <a:pt x="4511" y="8309"/>
                </a:lnTo>
                <a:lnTo>
                  <a:pt x="4512" y="8313"/>
                </a:lnTo>
                <a:close/>
                <a:moveTo>
                  <a:pt x="4500" y="8225"/>
                </a:moveTo>
                <a:lnTo>
                  <a:pt x="4508" y="8220"/>
                </a:lnTo>
                <a:lnTo>
                  <a:pt x="4517" y="8218"/>
                </a:lnTo>
                <a:lnTo>
                  <a:pt x="4520" y="8221"/>
                </a:lnTo>
                <a:lnTo>
                  <a:pt x="4515" y="8232"/>
                </a:lnTo>
                <a:lnTo>
                  <a:pt x="4510" y="8229"/>
                </a:lnTo>
                <a:lnTo>
                  <a:pt x="4506" y="8226"/>
                </a:lnTo>
                <a:lnTo>
                  <a:pt x="4502" y="8225"/>
                </a:lnTo>
                <a:lnTo>
                  <a:pt x="4500" y="8225"/>
                </a:lnTo>
                <a:close/>
                <a:moveTo>
                  <a:pt x="4468" y="8289"/>
                </a:moveTo>
                <a:lnTo>
                  <a:pt x="4484" y="8276"/>
                </a:lnTo>
                <a:lnTo>
                  <a:pt x="4501" y="8263"/>
                </a:lnTo>
                <a:lnTo>
                  <a:pt x="4491" y="8279"/>
                </a:lnTo>
                <a:lnTo>
                  <a:pt x="4483" y="8288"/>
                </a:lnTo>
                <a:lnTo>
                  <a:pt x="4477" y="8291"/>
                </a:lnTo>
                <a:lnTo>
                  <a:pt x="4468" y="8289"/>
                </a:lnTo>
                <a:close/>
                <a:moveTo>
                  <a:pt x="4461" y="8370"/>
                </a:moveTo>
                <a:lnTo>
                  <a:pt x="4461" y="8364"/>
                </a:lnTo>
                <a:lnTo>
                  <a:pt x="4469" y="8359"/>
                </a:lnTo>
                <a:lnTo>
                  <a:pt x="4478" y="8355"/>
                </a:lnTo>
                <a:lnTo>
                  <a:pt x="4484" y="8355"/>
                </a:lnTo>
                <a:lnTo>
                  <a:pt x="4473" y="8363"/>
                </a:lnTo>
                <a:lnTo>
                  <a:pt x="4461" y="8370"/>
                </a:lnTo>
                <a:close/>
                <a:moveTo>
                  <a:pt x="4426" y="8369"/>
                </a:moveTo>
                <a:lnTo>
                  <a:pt x="4432" y="8369"/>
                </a:lnTo>
                <a:lnTo>
                  <a:pt x="4426" y="8369"/>
                </a:lnTo>
                <a:lnTo>
                  <a:pt x="4426" y="8364"/>
                </a:lnTo>
                <a:lnTo>
                  <a:pt x="4431" y="8363"/>
                </a:lnTo>
                <a:lnTo>
                  <a:pt x="4432" y="8364"/>
                </a:lnTo>
                <a:lnTo>
                  <a:pt x="4426" y="8369"/>
                </a:lnTo>
                <a:close/>
                <a:moveTo>
                  <a:pt x="4398" y="8238"/>
                </a:moveTo>
                <a:lnTo>
                  <a:pt x="4399" y="8232"/>
                </a:lnTo>
                <a:lnTo>
                  <a:pt x="4402" y="8224"/>
                </a:lnTo>
                <a:lnTo>
                  <a:pt x="4408" y="8220"/>
                </a:lnTo>
                <a:lnTo>
                  <a:pt x="4419" y="8225"/>
                </a:lnTo>
                <a:lnTo>
                  <a:pt x="4408" y="8232"/>
                </a:lnTo>
                <a:lnTo>
                  <a:pt x="4398" y="8238"/>
                </a:lnTo>
                <a:close/>
                <a:moveTo>
                  <a:pt x="4410" y="8289"/>
                </a:moveTo>
                <a:lnTo>
                  <a:pt x="4391" y="8305"/>
                </a:lnTo>
                <a:lnTo>
                  <a:pt x="4367" y="8327"/>
                </a:lnTo>
                <a:lnTo>
                  <a:pt x="4345" y="8340"/>
                </a:lnTo>
                <a:lnTo>
                  <a:pt x="4328" y="8333"/>
                </a:lnTo>
                <a:lnTo>
                  <a:pt x="4361" y="8319"/>
                </a:lnTo>
                <a:lnTo>
                  <a:pt x="4390" y="8294"/>
                </a:lnTo>
                <a:lnTo>
                  <a:pt x="4409" y="8276"/>
                </a:lnTo>
                <a:lnTo>
                  <a:pt x="4410" y="8289"/>
                </a:lnTo>
                <a:close/>
                <a:moveTo>
                  <a:pt x="4432" y="8499"/>
                </a:moveTo>
                <a:lnTo>
                  <a:pt x="4437" y="8526"/>
                </a:lnTo>
                <a:lnTo>
                  <a:pt x="4437" y="8545"/>
                </a:lnTo>
                <a:lnTo>
                  <a:pt x="4427" y="8559"/>
                </a:lnTo>
                <a:lnTo>
                  <a:pt x="4403" y="8571"/>
                </a:lnTo>
                <a:lnTo>
                  <a:pt x="4402" y="8551"/>
                </a:lnTo>
                <a:lnTo>
                  <a:pt x="4408" y="8534"/>
                </a:lnTo>
                <a:lnTo>
                  <a:pt x="4419" y="8517"/>
                </a:lnTo>
                <a:lnTo>
                  <a:pt x="4432" y="8499"/>
                </a:lnTo>
                <a:close/>
                <a:moveTo>
                  <a:pt x="4455" y="8769"/>
                </a:moveTo>
                <a:lnTo>
                  <a:pt x="4447" y="8766"/>
                </a:lnTo>
                <a:lnTo>
                  <a:pt x="4455" y="8769"/>
                </a:lnTo>
                <a:lnTo>
                  <a:pt x="4451" y="8774"/>
                </a:lnTo>
                <a:lnTo>
                  <a:pt x="4446" y="8774"/>
                </a:lnTo>
                <a:lnTo>
                  <a:pt x="4444" y="8771"/>
                </a:lnTo>
                <a:lnTo>
                  <a:pt x="4455" y="8769"/>
                </a:lnTo>
                <a:close/>
                <a:moveTo>
                  <a:pt x="4470" y="8727"/>
                </a:moveTo>
                <a:lnTo>
                  <a:pt x="4477" y="8732"/>
                </a:lnTo>
                <a:lnTo>
                  <a:pt x="4477" y="8736"/>
                </a:lnTo>
                <a:lnTo>
                  <a:pt x="4473" y="8741"/>
                </a:lnTo>
                <a:lnTo>
                  <a:pt x="4466" y="8746"/>
                </a:lnTo>
                <a:lnTo>
                  <a:pt x="4461" y="8742"/>
                </a:lnTo>
                <a:lnTo>
                  <a:pt x="4461" y="8737"/>
                </a:lnTo>
                <a:lnTo>
                  <a:pt x="4466" y="8732"/>
                </a:lnTo>
                <a:lnTo>
                  <a:pt x="4470" y="8727"/>
                </a:lnTo>
                <a:close/>
                <a:moveTo>
                  <a:pt x="4508" y="8718"/>
                </a:moveTo>
                <a:lnTo>
                  <a:pt x="4512" y="8730"/>
                </a:lnTo>
                <a:lnTo>
                  <a:pt x="4510" y="8739"/>
                </a:lnTo>
                <a:lnTo>
                  <a:pt x="4502" y="8743"/>
                </a:lnTo>
                <a:lnTo>
                  <a:pt x="4489" y="8743"/>
                </a:lnTo>
                <a:lnTo>
                  <a:pt x="4498" y="8730"/>
                </a:lnTo>
                <a:lnTo>
                  <a:pt x="4508" y="8718"/>
                </a:lnTo>
                <a:close/>
                <a:moveTo>
                  <a:pt x="4365" y="8802"/>
                </a:moveTo>
                <a:lnTo>
                  <a:pt x="4368" y="8789"/>
                </a:lnTo>
                <a:lnTo>
                  <a:pt x="4382" y="8774"/>
                </a:lnTo>
                <a:lnTo>
                  <a:pt x="4400" y="8758"/>
                </a:lnTo>
                <a:lnTo>
                  <a:pt x="4414" y="8742"/>
                </a:lnTo>
                <a:lnTo>
                  <a:pt x="4409" y="8762"/>
                </a:lnTo>
                <a:lnTo>
                  <a:pt x="4398" y="8781"/>
                </a:lnTo>
                <a:lnTo>
                  <a:pt x="4381" y="8795"/>
                </a:lnTo>
                <a:lnTo>
                  <a:pt x="4365" y="8802"/>
                </a:lnTo>
                <a:close/>
                <a:moveTo>
                  <a:pt x="4362" y="8837"/>
                </a:moveTo>
                <a:lnTo>
                  <a:pt x="4371" y="8832"/>
                </a:lnTo>
                <a:lnTo>
                  <a:pt x="4362" y="8837"/>
                </a:lnTo>
                <a:lnTo>
                  <a:pt x="4359" y="8831"/>
                </a:lnTo>
                <a:lnTo>
                  <a:pt x="4363" y="8825"/>
                </a:lnTo>
                <a:lnTo>
                  <a:pt x="4368" y="8826"/>
                </a:lnTo>
                <a:lnTo>
                  <a:pt x="4362" y="8837"/>
                </a:lnTo>
                <a:close/>
                <a:moveTo>
                  <a:pt x="4347" y="8789"/>
                </a:moveTo>
                <a:lnTo>
                  <a:pt x="4353" y="8784"/>
                </a:lnTo>
                <a:lnTo>
                  <a:pt x="4358" y="8790"/>
                </a:lnTo>
                <a:lnTo>
                  <a:pt x="4359" y="8797"/>
                </a:lnTo>
                <a:lnTo>
                  <a:pt x="4351" y="8795"/>
                </a:lnTo>
                <a:lnTo>
                  <a:pt x="4348" y="8792"/>
                </a:lnTo>
                <a:lnTo>
                  <a:pt x="4347" y="8789"/>
                </a:lnTo>
                <a:close/>
                <a:moveTo>
                  <a:pt x="4337" y="8823"/>
                </a:moveTo>
                <a:lnTo>
                  <a:pt x="4333" y="8820"/>
                </a:lnTo>
                <a:lnTo>
                  <a:pt x="4333" y="8816"/>
                </a:lnTo>
                <a:lnTo>
                  <a:pt x="4337" y="8812"/>
                </a:lnTo>
                <a:lnTo>
                  <a:pt x="4339" y="8808"/>
                </a:lnTo>
                <a:lnTo>
                  <a:pt x="4344" y="8812"/>
                </a:lnTo>
                <a:lnTo>
                  <a:pt x="4343" y="8816"/>
                </a:lnTo>
                <a:lnTo>
                  <a:pt x="4340" y="8820"/>
                </a:lnTo>
                <a:lnTo>
                  <a:pt x="4337" y="8823"/>
                </a:lnTo>
                <a:close/>
                <a:moveTo>
                  <a:pt x="4303" y="8769"/>
                </a:moveTo>
                <a:lnTo>
                  <a:pt x="4305" y="8757"/>
                </a:lnTo>
                <a:lnTo>
                  <a:pt x="4310" y="8751"/>
                </a:lnTo>
                <a:lnTo>
                  <a:pt x="4316" y="8747"/>
                </a:lnTo>
                <a:lnTo>
                  <a:pt x="4324" y="8743"/>
                </a:lnTo>
                <a:lnTo>
                  <a:pt x="4325" y="8755"/>
                </a:lnTo>
                <a:lnTo>
                  <a:pt x="4324" y="8761"/>
                </a:lnTo>
                <a:lnTo>
                  <a:pt x="4316" y="8765"/>
                </a:lnTo>
                <a:lnTo>
                  <a:pt x="4303" y="8769"/>
                </a:lnTo>
                <a:close/>
                <a:moveTo>
                  <a:pt x="4272" y="8865"/>
                </a:moveTo>
                <a:lnTo>
                  <a:pt x="4250" y="8858"/>
                </a:lnTo>
                <a:lnTo>
                  <a:pt x="4268" y="8839"/>
                </a:lnTo>
                <a:lnTo>
                  <a:pt x="4297" y="8826"/>
                </a:lnTo>
                <a:lnTo>
                  <a:pt x="4316" y="8840"/>
                </a:lnTo>
                <a:lnTo>
                  <a:pt x="4310" y="8850"/>
                </a:lnTo>
                <a:lnTo>
                  <a:pt x="4298" y="8859"/>
                </a:lnTo>
                <a:lnTo>
                  <a:pt x="4283" y="8865"/>
                </a:lnTo>
                <a:lnTo>
                  <a:pt x="4272" y="8865"/>
                </a:lnTo>
                <a:close/>
                <a:moveTo>
                  <a:pt x="4274" y="9056"/>
                </a:moveTo>
                <a:lnTo>
                  <a:pt x="4269" y="9056"/>
                </a:lnTo>
                <a:lnTo>
                  <a:pt x="4265" y="9054"/>
                </a:lnTo>
                <a:lnTo>
                  <a:pt x="4265" y="9050"/>
                </a:lnTo>
                <a:lnTo>
                  <a:pt x="4268" y="9045"/>
                </a:lnTo>
                <a:lnTo>
                  <a:pt x="4273" y="9047"/>
                </a:lnTo>
                <a:lnTo>
                  <a:pt x="4277" y="9050"/>
                </a:lnTo>
                <a:lnTo>
                  <a:pt x="4277" y="9053"/>
                </a:lnTo>
                <a:lnTo>
                  <a:pt x="4274" y="9056"/>
                </a:lnTo>
                <a:close/>
                <a:moveTo>
                  <a:pt x="4259" y="8742"/>
                </a:moveTo>
                <a:lnTo>
                  <a:pt x="4260" y="8748"/>
                </a:lnTo>
                <a:lnTo>
                  <a:pt x="4256" y="8755"/>
                </a:lnTo>
                <a:lnTo>
                  <a:pt x="4250" y="8758"/>
                </a:lnTo>
                <a:lnTo>
                  <a:pt x="4245" y="8764"/>
                </a:lnTo>
                <a:lnTo>
                  <a:pt x="4244" y="8753"/>
                </a:lnTo>
                <a:lnTo>
                  <a:pt x="4246" y="8746"/>
                </a:lnTo>
                <a:lnTo>
                  <a:pt x="4251" y="8743"/>
                </a:lnTo>
                <a:lnTo>
                  <a:pt x="4259" y="8742"/>
                </a:lnTo>
                <a:close/>
                <a:moveTo>
                  <a:pt x="4275" y="8697"/>
                </a:moveTo>
                <a:lnTo>
                  <a:pt x="4270" y="8702"/>
                </a:lnTo>
                <a:lnTo>
                  <a:pt x="4267" y="8708"/>
                </a:lnTo>
                <a:lnTo>
                  <a:pt x="4261" y="8709"/>
                </a:lnTo>
                <a:lnTo>
                  <a:pt x="4258" y="8704"/>
                </a:lnTo>
                <a:lnTo>
                  <a:pt x="4261" y="8700"/>
                </a:lnTo>
                <a:lnTo>
                  <a:pt x="4267" y="8696"/>
                </a:lnTo>
                <a:lnTo>
                  <a:pt x="4272" y="8695"/>
                </a:lnTo>
                <a:lnTo>
                  <a:pt x="4275" y="8697"/>
                </a:lnTo>
                <a:close/>
                <a:moveTo>
                  <a:pt x="4321" y="8702"/>
                </a:moveTo>
                <a:lnTo>
                  <a:pt x="4312" y="8710"/>
                </a:lnTo>
                <a:lnTo>
                  <a:pt x="4303" y="8720"/>
                </a:lnTo>
                <a:lnTo>
                  <a:pt x="4295" y="8725"/>
                </a:lnTo>
                <a:lnTo>
                  <a:pt x="4286" y="8722"/>
                </a:lnTo>
                <a:lnTo>
                  <a:pt x="4295" y="8715"/>
                </a:lnTo>
                <a:lnTo>
                  <a:pt x="4305" y="8706"/>
                </a:lnTo>
                <a:lnTo>
                  <a:pt x="4314" y="8701"/>
                </a:lnTo>
                <a:lnTo>
                  <a:pt x="4321" y="8702"/>
                </a:lnTo>
                <a:close/>
                <a:moveTo>
                  <a:pt x="4231" y="8653"/>
                </a:moveTo>
                <a:lnTo>
                  <a:pt x="4254" y="8617"/>
                </a:lnTo>
                <a:lnTo>
                  <a:pt x="4281" y="8604"/>
                </a:lnTo>
                <a:lnTo>
                  <a:pt x="4311" y="8601"/>
                </a:lnTo>
                <a:lnTo>
                  <a:pt x="4344" y="8596"/>
                </a:lnTo>
                <a:lnTo>
                  <a:pt x="4338" y="8617"/>
                </a:lnTo>
                <a:lnTo>
                  <a:pt x="4306" y="8631"/>
                </a:lnTo>
                <a:lnTo>
                  <a:pt x="4265" y="8640"/>
                </a:lnTo>
                <a:lnTo>
                  <a:pt x="4231" y="8653"/>
                </a:lnTo>
                <a:close/>
                <a:moveTo>
                  <a:pt x="4284" y="8561"/>
                </a:moveTo>
                <a:lnTo>
                  <a:pt x="4281" y="8565"/>
                </a:lnTo>
                <a:lnTo>
                  <a:pt x="4284" y="8561"/>
                </a:lnTo>
                <a:lnTo>
                  <a:pt x="4284" y="8569"/>
                </a:lnTo>
                <a:lnTo>
                  <a:pt x="4284" y="8561"/>
                </a:lnTo>
                <a:close/>
                <a:moveTo>
                  <a:pt x="4230" y="8398"/>
                </a:moveTo>
                <a:lnTo>
                  <a:pt x="4219" y="8392"/>
                </a:lnTo>
                <a:lnTo>
                  <a:pt x="4242" y="8375"/>
                </a:lnTo>
                <a:lnTo>
                  <a:pt x="4279" y="8356"/>
                </a:lnTo>
                <a:lnTo>
                  <a:pt x="4309" y="8344"/>
                </a:lnTo>
                <a:lnTo>
                  <a:pt x="4297" y="8364"/>
                </a:lnTo>
                <a:lnTo>
                  <a:pt x="4277" y="8377"/>
                </a:lnTo>
                <a:lnTo>
                  <a:pt x="4253" y="8387"/>
                </a:lnTo>
                <a:lnTo>
                  <a:pt x="4230" y="8398"/>
                </a:lnTo>
                <a:close/>
                <a:moveTo>
                  <a:pt x="4247" y="8454"/>
                </a:moveTo>
                <a:lnTo>
                  <a:pt x="4259" y="8449"/>
                </a:lnTo>
                <a:lnTo>
                  <a:pt x="4272" y="8443"/>
                </a:lnTo>
                <a:lnTo>
                  <a:pt x="4268" y="8453"/>
                </a:lnTo>
                <a:lnTo>
                  <a:pt x="4263" y="8456"/>
                </a:lnTo>
                <a:lnTo>
                  <a:pt x="4255" y="8456"/>
                </a:lnTo>
                <a:lnTo>
                  <a:pt x="4247" y="8454"/>
                </a:lnTo>
                <a:close/>
                <a:moveTo>
                  <a:pt x="4379" y="8431"/>
                </a:moveTo>
                <a:lnTo>
                  <a:pt x="4365" y="8442"/>
                </a:lnTo>
                <a:lnTo>
                  <a:pt x="4351" y="8452"/>
                </a:lnTo>
                <a:lnTo>
                  <a:pt x="4335" y="8461"/>
                </a:lnTo>
                <a:lnTo>
                  <a:pt x="4321" y="8472"/>
                </a:lnTo>
                <a:lnTo>
                  <a:pt x="4333" y="8457"/>
                </a:lnTo>
                <a:lnTo>
                  <a:pt x="4348" y="8443"/>
                </a:lnTo>
                <a:lnTo>
                  <a:pt x="4365" y="8434"/>
                </a:lnTo>
                <a:lnTo>
                  <a:pt x="4379" y="8431"/>
                </a:lnTo>
                <a:close/>
                <a:moveTo>
                  <a:pt x="4386" y="8515"/>
                </a:moveTo>
                <a:lnTo>
                  <a:pt x="4380" y="8513"/>
                </a:lnTo>
                <a:lnTo>
                  <a:pt x="4375" y="8510"/>
                </a:lnTo>
                <a:lnTo>
                  <a:pt x="4372" y="8506"/>
                </a:lnTo>
                <a:lnTo>
                  <a:pt x="4372" y="8501"/>
                </a:lnTo>
                <a:lnTo>
                  <a:pt x="4380" y="8501"/>
                </a:lnTo>
                <a:lnTo>
                  <a:pt x="4385" y="8504"/>
                </a:lnTo>
                <a:lnTo>
                  <a:pt x="4388" y="8508"/>
                </a:lnTo>
                <a:lnTo>
                  <a:pt x="4386" y="8515"/>
                </a:lnTo>
                <a:close/>
                <a:moveTo>
                  <a:pt x="4345" y="8531"/>
                </a:moveTo>
                <a:lnTo>
                  <a:pt x="4348" y="8526"/>
                </a:lnTo>
                <a:lnTo>
                  <a:pt x="4352" y="8522"/>
                </a:lnTo>
                <a:lnTo>
                  <a:pt x="4356" y="8519"/>
                </a:lnTo>
                <a:lnTo>
                  <a:pt x="4359" y="8520"/>
                </a:lnTo>
                <a:lnTo>
                  <a:pt x="4357" y="8527"/>
                </a:lnTo>
                <a:lnTo>
                  <a:pt x="4354" y="8531"/>
                </a:lnTo>
                <a:lnTo>
                  <a:pt x="4351" y="8533"/>
                </a:lnTo>
                <a:lnTo>
                  <a:pt x="4345" y="8531"/>
                </a:lnTo>
                <a:close/>
                <a:moveTo>
                  <a:pt x="4373" y="8523"/>
                </a:moveTo>
                <a:lnTo>
                  <a:pt x="4384" y="8532"/>
                </a:lnTo>
                <a:lnTo>
                  <a:pt x="4380" y="8547"/>
                </a:lnTo>
                <a:lnTo>
                  <a:pt x="4379" y="8566"/>
                </a:lnTo>
                <a:lnTo>
                  <a:pt x="4390" y="8582"/>
                </a:lnTo>
                <a:lnTo>
                  <a:pt x="4362" y="8579"/>
                </a:lnTo>
                <a:lnTo>
                  <a:pt x="4354" y="8568"/>
                </a:lnTo>
                <a:lnTo>
                  <a:pt x="4359" y="8548"/>
                </a:lnTo>
                <a:lnTo>
                  <a:pt x="4373" y="8523"/>
                </a:lnTo>
                <a:close/>
                <a:moveTo>
                  <a:pt x="4193" y="8365"/>
                </a:moveTo>
                <a:lnTo>
                  <a:pt x="4228" y="8346"/>
                </a:lnTo>
                <a:lnTo>
                  <a:pt x="4269" y="8324"/>
                </a:lnTo>
                <a:lnTo>
                  <a:pt x="4309" y="8309"/>
                </a:lnTo>
                <a:lnTo>
                  <a:pt x="4342" y="8312"/>
                </a:lnTo>
                <a:lnTo>
                  <a:pt x="4303" y="8323"/>
                </a:lnTo>
                <a:lnTo>
                  <a:pt x="4265" y="8347"/>
                </a:lnTo>
                <a:lnTo>
                  <a:pt x="4228" y="8366"/>
                </a:lnTo>
                <a:lnTo>
                  <a:pt x="4193" y="8365"/>
                </a:lnTo>
                <a:close/>
                <a:moveTo>
                  <a:pt x="4193" y="1339"/>
                </a:moveTo>
                <a:lnTo>
                  <a:pt x="4199" y="1336"/>
                </a:lnTo>
                <a:lnTo>
                  <a:pt x="4207" y="1336"/>
                </a:lnTo>
                <a:lnTo>
                  <a:pt x="4210" y="1339"/>
                </a:lnTo>
                <a:lnTo>
                  <a:pt x="4210" y="1346"/>
                </a:lnTo>
                <a:lnTo>
                  <a:pt x="4202" y="1353"/>
                </a:lnTo>
                <a:lnTo>
                  <a:pt x="4193" y="1353"/>
                </a:lnTo>
                <a:lnTo>
                  <a:pt x="4188" y="1348"/>
                </a:lnTo>
                <a:lnTo>
                  <a:pt x="4193" y="1339"/>
                </a:lnTo>
                <a:close/>
                <a:moveTo>
                  <a:pt x="4182" y="2035"/>
                </a:moveTo>
                <a:lnTo>
                  <a:pt x="4181" y="2034"/>
                </a:lnTo>
                <a:lnTo>
                  <a:pt x="4182" y="2031"/>
                </a:lnTo>
                <a:lnTo>
                  <a:pt x="4184" y="2031"/>
                </a:lnTo>
                <a:lnTo>
                  <a:pt x="4186" y="2030"/>
                </a:lnTo>
                <a:lnTo>
                  <a:pt x="4186" y="2032"/>
                </a:lnTo>
                <a:lnTo>
                  <a:pt x="4186" y="2034"/>
                </a:lnTo>
                <a:lnTo>
                  <a:pt x="4185" y="2035"/>
                </a:lnTo>
                <a:lnTo>
                  <a:pt x="4182" y="2035"/>
                </a:lnTo>
                <a:close/>
                <a:moveTo>
                  <a:pt x="4086" y="1054"/>
                </a:moveTo>
                <a:lnTo>
                  <a:pt x="4124" y="1032"/>
                </a:lnTo>
                <a:lnTo>
                  <a:pt x="4148" y="1020"/>
                </a:lnTo>
                <a:lnTo>
                  <a:pt x="4166" y="1017"/>
                </a:lnTo>
                <a:lnTo>
                  <a:pt x="4188" y="1015"/>
                </a:lnTo>
                <a:lnTo>
                  <a:pt x="4166" y="1033"/>
                </a:lnTo>
                <a:lnTo>
                  <a:pt x="4142" y="1043"/>
                </a:lnTo>
                <a:lnTo>
                  <a:pt x="4115" y="1050"/>
                </a:lnTo>
                <a:lnTo>
                  <a:pt x="4086" y="1054"/>
                </a:lnTo>
                <a:close/>
                <a:moveTo>
                  <a:pt x="4140" y="1383"/>
                </a:moveTo>
                <a:lnTo>
                  <a:pt x="4140" y="1377"/>
                </a:lnTo>
                <a:lnTo>
                  <a:pt x="4143" y="1373"/>
                </a:lnTo>
                <a:lnTo>
                  <a:pt x="4148" y="1372"/>
                </a:lnTo>
                <a:lnTo>
                  <a:pt x="4153" y="1372"/>
                </a:lnTo>
                <a:lnTo>
                  <a:pt x="4152" y="1377"/>
                </a:lnTo>
                <a:lnTo>
                  <a:pt x="4149" y="1381"/>
                </a:lnTo>
                <a:lnTo>
                  <a:pt x="4146" y="1382"/>
                </a:lnTo>
                <a:lnTo>
                  <a:pt x="4140" y="1383"/>
                </a:lnTo>
                <a:close/>
                <a:moveTo>
                  <a:pt x="4140" y="8481"/>
                </a:moveTo>
                <a:lnTo>
                  <a:pt x="4154" y="8484"/>
                </a:lnTo>
                <a:lnTo>
                  <a:pt x="4168" y="8486"/>
                </a:lnTo>
                <a:lnTo>
                  <a:pt x="4157" y="8495"/>
                </a:lnTo>
                <a:lnTo>
                  <a:pt x="4151" y="8499"/>
                </a:lnTo>
                <a:lnTo>
                  <a:pt x="4147" y="8494"/>
                </a:lnTo>
                <a:lnTo>
                  <a:pt x="4140" y="8481"/>
                </a:lnTo>
                <a:close/>
                <a:moveTo>
                  <a:pt x="4041" y="8462"/>
                </a:moveTo>
                <a:lnTo>
                  <a:pt x="4053" y="8459"/>
                </a:lnTo>
                <a:lnTo>
                  <a:pt x="4065" y="8453"/>
                </a:lnTo>
                <a:lnTo>
                  <a:pt x="4077" y="8450"/>
                </a:lnTo>
                <a:lnTo>
                  <a:pt x="4084" y="8454"/>
                </a:lnTo>
                <a:lnTo>
                  <a:pt x="4074" y="8459"/>
                </a:lnTo>
                <a:lnTo>
                  <a:pt x="4064" y="8463"/>
                </a:lnTo>
                <a:lnTo>
                  <a:pt x="4054" y="8466"/>
                </a:lnTo>
                <a:lnTo>
                  <a:pt x="4041" y="8462"/>
                </a:lnTo>
                <a:close/>
                <a:moveTo>
                  <a:pt x="4067" y="8533"/>
                </a:moveTo>
                <a:lnTo>
                  <a:pt x="4059" y="8534"/>
                </a:lnTo>
                <a:lnTo>
                  <a:pt x="4058" y="8531"/>
                </a:lnTo>
                <a:lnTo>
                  <a:pt x="4060" y="8526"/>
                </a:lnTo>
                <a:lnTo>
                  <a:pt x="4069" y="8523"/>
                </a:lnTo>
                <a:lnTo>
                  <a:pt x="4068" y="8531"/>
                </a:lnTo>
                <a:lnTo>
                  <a:pt x="4067" y="8533"/>
                </a:lnTo>
                <a:close/>
                <a:moveTo>
                  <a:pt x="4027" y="8551"/>
                </a:moveTo>
                <a:lnTo>
                  <a:pt x="4031" y="8548"/>
                </a:lnTo>
                <a:lnTo>
                  <a:pt x="4027" y="8551"/>
                </a:lnTo>
                <a:lnTo>
                  <a:pt x="4026" y="8543"/>
                </a:lnTo>
                <a:lnTo>
                  <a:pt x="4027" y="8551"/>
                </a:lnTo>
                <a:close/>
                <a:moveTo>
                  <a:pt x="4016" y="8477"/>
                </a:moveTo>
                <a:lnTo>
                  <a:pt x="4014" y="8470"/>
                </a:lnTo>
                <a:lnTo>
                  <a:pt x="4018" y="8466"/>
                </a:lnTo>
                <a:lnTo>
                  <a:pt x="4025" y="8464"/>
                </a:lnTo>
                <a:lnTo>
                  <a:pt x="4031" y="8467"/>
                </a:lnTo>
                <a:lnTo>
                  <a:pt x="4031" y="8475"/>
                </a:lnTo>
                <a:lnTo>
                  <a:pt x="4027" y="8478"/>
                </a:lnTo>
                <a:lnTo>
                  <a:pt x="4021" y="8480"/>
                </a:lnTo>
                <a:lnTo>
                  <a:pt x="4016" y="8477"/>
                </a:lnTo>
                <a:close/>
                <a:moveTo>
                  <a:pt x="4242" y="8300"/>
                </a:moveTo>
                <a:lnTo>
                  <a:pt x="4235" y="8307"/>
                </a:lnTo>
                <a:lnTo>
                  <a:pt x="4227" y="8313"/>
                </a:lnTo>
                <a:lnTo>
                  <a:pt x="4217" y="8317"/>
                </a:lnTo>
                <a:lnTo>
                  <a:pt x="4204" y="8318"/>
                </a:lnTo>
                <a:lnTo>
                  <a:pt x="4214" y="8305"/>
                </a:lnTo>
                <a:lnTo>
                  <a:pt x="4222" y="8295"/>
                </a:lnTo>
                <a:lnTo>
                  <a:pt x="4232" y="8291"/>
                </a:lnTo>
                <a:lnTo>
                  <a:pt x="4242" y="8300"/>
                </a:lnTo>
                <a:close/>
                <a:moveTo>
                  <a:pt x="4265" y="8289"/>
                </a:moveTo>
                <a:lnTo>
                  <a:pt x="4254" y="8295"/>
                </a:lnTo>
                <a:lnTo>
                  <a:pt x="4242" y="8300"/>
                </a:lnTo>
                <a:lnTo>
                  <a:pt x="4246" y="8290"/>
                </a:lnTo>
                <a:lnTo>
                  <a:pt x="4250" y="8285"/>
                </a:lnTo>
                <a:lnTo>
                  <a:pt x="4256" y="8285"/>
                </a:lnTo>
                <a:lnTo>
                  <a:pt x="4265" y="8289"/>
                </a:lnTo>
                <a:close/>
                <a:moveTo>
                  <a:pt x="4311" y="1302"/>
                </a:moveTo>
                <a:lnTo>
                  <a:pt x="4319" y="1297"/>
                </a:lnTo>
                <a:lnTo>
                  <a:pt x="4329" y="1293"/>
                </a:lnTo>
                <a:lnTo>
                  <a:pt x="4338" y="1294"/>
                </a:lnTo>
                <a:lnTo>
                  <a:pt x="4343" y="1303"/>
                </a:lnTo>
                <a:lnTo>
                  <a:pt x="4334" y="1312"/>
                </a:lnTo>
                <a:lnTo>
                  <a:pt x="4317" y="1313"/>
                </a:lnTo>
                <a:lnTo>
                  <a:pt x="4307" y="1308"/>
                </a:lnTo>
                <a:lnTo>
                  <a:pt x="4311" y="1302"/>
                </a:lnTo>
                <a:close/>
                <a:moveTo>
                  <a:pt x="4376" y="8234"/>
                </a:moveTo>
                <a:lnTo>
                  <a:pt x="4373" y="8256"/>
                </a:lnTo>
                <a:lnTo>
                  <a:pt x="4362" y="8268"/>
                </a:lnTo>
                <a:lnTo>
                  <a:pt x="4343" y="8275"/>
                </a:lnTo>
                <a:lnTo>
                  <a:pt x="4323" y="8281"/>
                </a:lnTo>
                <a:lnTo>
                  <a:pt x="4330" y="8262"/>
                </a:lnTo>
                <a:lnTo>
                  <a:pt x="4345" y="8248"/>
                </a:lnTo>
                <a:lnTo>
                  <a:pt x="4363" y="8239"/>
                </a:lnTo>
                <a:lnTo>
                  <a:pt x="4376" y="8234"/>
                </a:lnTo>
                <a:close/>
                <a:moveTo>
                  <a:pt x="4416" y="1266"/>
                </a:moveTo>
                <a:lnTo>
                  <a:pt x="4414" y="1275"/>
                </a:lnTo>
                <a:lnTo>
                  <a:pt x="4410" y="1280"/>
                </a:lnTo>
                <a:lnTo>
                  <a:pt x="4404" y="1281"/>
                </a:lnTo>
                <a:lnTo>
                  <a:pt x="4395" y="1280"/>
                </a:lnTo>
                <a:lnTo>
                  <a:pt x="4398" y="1272"/>
                </a:lnTo>
                <a:lnTo>
                  <a:pt x="4403" y="1269"/>
                </a:lnTo>
                <a:lnTo>
                  <a:pt x="4408" y="1267"/>
                </a:lnTo>
                <a:lnTo>
                  <a:pt x="4416" y="1266"/>
                </a:lnTo>
                <a:close/>
                <a:moveTo>
                  <a:pt x="4402" y="1150"/>
                </a:moveTo>
                <a:lnTo>
                  <a:pt x="4391" y="1160"/>
                </a:lnTo>
                <a:lnTo>
                  <a:pt x="4380" y="1164"/>
                </a:lnTo>
                <a:lnTo>
                  <a:pt x="4367" y="1166"/>
                </a:lnTo>
                <a:lnTo>
                  <a:pt x="4356" y="1168"/>
                </a:lnTo>
                <a:lnTo>
                  <a:pt x="4363" y="1154"/>
                </a:lnTo>
                <a:lnTo>
                  <a:pt x="4371" y="1146"/>
                </a:lnTo>
                <a:lnTo>
                  <a:pt x="4381" y="1146"/>
                </a:lnTo>
                <a:lnTo>
                  <a:pt x="4402" y="1150"/>
                </a:lnTo>
                <a:close/>
                <a:moveTo>
                  <a:pt x="4444" y="1038"/>
                </a:moveTo>
                <a:lnTo>
                  <a:pt x="4432" y="1045"/>
                </a:lnTo>
                <a:lnTo>
                  <a:pt x="4422" y="1051"/>
                </a:lnTo>
                <a:lnTo>
                  <a:pt x="4410" y="1057"/>
                </a:lnTo>
                <a:lnTo>
                  <a:pt x="4399" y="1064"/>
                </a:lnTo>
                <a:lnTo>
                  <a:pt x="4408" y="1052"/>
                </a:lnTo>
                <a:lnTo>
                  <a:pt x="4418" y="1045"/>
                </a:lnTo>
                <a:lnTo>
                  <a:pt x="4430" y="1040"/>
                </a:lnTo>
                <a:lnTo>
                  <a:pt x="4444" y="1038"/>
                </a:lnTo>
                <a:close/>
                <a:moveTo>
                  <a:pt x="4522" y="8061"/>
                </a:moveTo>
                <a:lnTo>
                  <a:pt x="4536" y="8062"/>
                </a:lnTo>
                <a:lnTo>
                  <a:pt x="4552" y="8056"/>
                </a:lnTo>
                <a:lnTo>
                  <a:pt x="4567" y="8048"/>
                </a:lnTo>
                <a:lnTo>
                  <a:pt x="4585" y="8044"/>
                </a:lnTo>
                <a:lnTo>
                  <a:pt x="4557" y="8065"/>
                </a:lnTo>
                <a:lnTo>
                  <a:pt x="4528" y="8085"/>
                </a:lnTo>
                <a:lnTo>
                  <a:pt x="4511" y="8089"/>
                </a:lnTo>
                <a:lnTo>
                  <a:pt x="4522" y="8061"/>
                </a:lnTo>
                <a:close/>
                <a:moveTo>
                  <a:pt x="4522" y="5230"/>
                </a:moveTo>
                <a:lnTo>
                  <a:pt x="4519" y="5234"/>
                </a:lnTo>
                <a:lnTo>
                  <a:pt x="4519" y="5234"/>
                </a:lnTo>
                <a:lnTo>
                  <a:pt x="4520" y="5233"/>
                </a:lnTo>
                <a:lnTo>
                  <a:pt x="4522" y="5230"/>
                </a:lnTo>
                <a:lnTo>
                  <a:pt x="4525" y="5230"/>
                </a:lnTo>
                <a:lnTo>
                  <a:pt x="4522" y="5231"/>
                </a:lnTo>
                <a:lnTo>
                  <a:pt x="4521" y="5233"/>
                </a:lnTo>
                <a:lnTo>
                  <a:pt x="4522" y="5230"/>
                </a:lnTo>
                <a:close/>
                <a:moveTo>
                  <a:pt x="4599" y="1087"/>
                </a:moveTo>
                <a:lnTo>
                  <a:pt x="4598" y="1089"/>
                </a:lnTo>
                <a:lnTo>
                  <a:pt x="4596" y="1089"/>
                </a:lnTo>
                <a:lnTo>
                  <a:pt x="4595" y="1089"/>
                </a:lnTo>
                <a:lnTo>
                  <a:pt x="4595" y="1087"/>
                </a:lnTo>
                <a:lnTo>
                  <a:pt x="4599" y="1087"/>
                </a:lnTo>
                <a:close/>
                <a:moveTo>
                  <a:pt x="4598" y="980"/>
                </a:moveTo>
                <a:lnTo>
                  <a:pt x="4599" y="982"/>
                </a:lnTo>
                <a:lnTo>
                  <a:pt x="4598" y="984"/>
                </a:lnTo>
                <a:lnTo>
                  <a:pt x="4596" y="985"/>
                </a:lnTo>
                <a:lnTo>
                  <a:pt x="4594" y="985"/>
                </a:lnTo>
                <a:lnTo>
                  <a:pt x="4593" y="982"/>
                </a:lnTo>
                <a:lnTo>
                  <a:pt x="4594" y="981"/>
                </a:lnTo>
                <a:lnTo>
                  <a:pt x="4595" y="980"/>
                </a:lnTo>
                <a:lnTo>
                  <a:pt x="4598" y="980"/>
                </a:lnTo>
                <a:close/>
                <a:moveTo>
                  <a:pt x="4612" y="8020"/>
                </a:moveTo>
                <a:lnTo>
                  <a:pt x="4614" y="8024"/>
                </a:lnTo>
                <a:lnTo>
                  <a:pt x="4614" y="8028"/>
                </a:lnTo>
                <a:lnTo>
                  <a:pt x="4612" y="8030"/>
                </a:lnTo>
                <a:lnTo>
                  <a:pt x="4607" y="8033"/>
                </a:lnTo>
                <a:lnTo>
                  <a:pt x="4604" y="8030"/>
                </a:lnTo>
                <a:lnTo>
                  <a:pt x="4605" y="8027"/>
                </a:lnTo>
                <a:lnTo>
                  <a:pt x="4608" y="8024"/>
                </a:lnTo>
                <a:lnTo>
                  <a:pt x="4612" y="8020"/>
                </a:lnTo>
                <a:close/>
                <a:moveTo>
                  <a:pt x="4649" y="8095"/>
                </a:moveTo>
                <a:lnTo>
                  <a:pt x="4677" y="8084"/>
                </a:lnTo>
                <a:lnTo>
                  <a:pt x="4701" y="8069"/>
                </a:lnTo>
                <a:lnTo>
                  <a:pt x="4720" y="8063"/>
                </a:lnTo>
                <a:lnTo>
                  <a:pt x="4731" y="8080"/>
                </a:lnTo>
                <a:lnTo>
                  <a:pt x="4711" y="8083"/>
                </a:lnTo>
                <a:lnTo>
                  <a:pt x="4677" y="8098"/>
                </a:lnTo>
                <a:lnTo>
                  <a:pt x="4649" y="8108"/>
                </a:lnTo>
                <a:lnTo>
                  <a:pt x="4649" y="8095"/>
                </a:lnTo>
                <a:close/>
                <a:moveTo>
                  <a:pt x="4694" y="1041"/>
                </a:moveTo>
                <a:lnTo>
                  <a:pt x="4708" y="1031"/>
                </a:lnTo>
                <a:lnTo>
                  <a:pt x="4719" y="1043"/>
                </a:lnTo>
                <a:lnTo>
                  <a:pt x="4716" y="1061"/>
                </a:lnTo>
                <a:lnTo>
                  <a:pt x="4698" y="1066"/>
                </a:lnTo>
                <a:lnTo>
                  <a:pt x="4692" y="1061"/>
                </a:lnTo>
                <a:lnTo>
                  <a:pt x="4689" y="1055"/>
                </a:lnTo>
                <a:lnTo>
                  <a:pt x="4691" y="1048"/>
                </a:lnTo>
                <a:lnTo>
                  <a:pt x="4694" y="1041"/>
                </a:lnTo>
                <a:close/>
                <a:moveTo>
                  <a:pt x="4800" y="863"/>
                </a:moveTo>
                <a:lnTo>
                  <a:pt x="4799" y="864"/>
                </a:lnTo>
                <a:lnTo>
                  <a:pt x="4800" y="863"/>
                </a:lnTo>
                <a:lnTo>
                  <a:pt x="4799" y="864"/>
                </a:lnTo>
                <a:lnTo>
                  <a:pt x="4800" y="863"/>
                </a:lnTo>
                <a:close/>
                <a:moveTo>
                  <a:pt x="4549" y="8771"/>
                </a:moveTo>
                <a:lnTo>
                  <a:pt x="4536" y="8780"/>
                </a:lnTo>
                <a:lnTo>
                  <a:pt x="4524" y="8789"/>
                </a:lnTo>
                <a:lnTo>
                  <a:pt x="4525" y="8776"/>
                </a:lnTo>
                <a:lnTo>
                  <a:pt x="4529" y="8770"/>
                </a:lnTo>
                <a:lnTo>
                  <a:pt x="4536" y="8769"/>
                </a:lnTo>
                <a:lnTo>
                  <a:pt x="4549" y="8771"/>
                </a:lnTo>
                <a:close/>
                <a:moveTo>
                  <a:pt x="4544" y="8676"/>
                </a:moveTo>
                <a:lnTo>
                  <a:pt x="4563" y="8673"/>
                </a:lnTo>
                <a:lnTo>
                  <a:pt x="4571" y="8688"/>
                </a:lnTo>
                <a:lnTo>
                  <a:pt x="4568" y="8710"/>
                </a:lnTo>
                <a:lnTo>
                  <a:pt x="4558" y="8728"/>
                </a:lnTo>
                <a:lnTo>
                  <a:pt x="4542" y="8724"/>
                </a:lnTo>
                <a:lnTo>
                  <a:pt x="4531" y="8710"/>
                </a:lnTo>
                <a:lnTo>
                  <a:pt x="4531" y="8691"/>
                </a:lnTo>
                <a:lnTo>
                  <a:pt x="4544" y="8676"/>
                </a:lnTo>
                <a:close/>
                <a:moveTo>
                  <a:pt x="4577" y="8566"/>
                </a:moveTo>
                <a:lnTo>
                  <a:pt x="4563" y="8579"/>
                </a:lnTo>
                <a:lnTo>
                  <a:pt x="4551" y="8590"/>
                </a:lnTo>
                <a:lnTo>
                  <a:pt x="4552" y="8579"/>
                </a:lnTo>
                <a:lnTo>
                  <a:pt x="4556" y="8570"/>
                </a:lnTo>
                <a:lnTo>
                  <a:pt x="4563" y="8565"/>
                </a:lnTo>
                <a:lnTo>
                  <a:pt x="4577" y="8566"/>
                </a:lnTo>
                <a:close/>
                <a:moveTo>
                  <a:pt x="4659" y="8491"/>
                </a:moveTo>
                <a:lnTo>
                  <a:pt x="4701" y="8453"/>
                </a:lnTo>
                <a:lnTo>
                  <a:pt x="4724" y="8445"/>
                </a:lnTo>
                <a:lnTo>
                  <a:pt x="4717" y="8464"/>
                </a:lnTo>
                <a:lnTo>
                  <a:pt x="4671" y="8500"/>
                </a:lnTo>
                <a:lnTo>
                  <a:pt x="4621" y="8536"/>
                </a:lnTo>
                <a:lnTo>
                  <a:pt x="4598" y="8543"/>
                </a:lnTo>
                <a:lnTo>
                  <a:pt x="4608" y="8527"/>
                </a:lnTo>
                <a:lnTo>
                  <a:pt x="4659" y="8491"/>
                </a:lnTo>
                <a:close/>
                <a:moveTo>
                  <a:pt x="4645" y="8463"/>
                </a:moveTo>
                <a:lnTo>
                  <a:pt x="4645" y="8472"/>
                </a:lnTo>
                <a:lnTo>
                  <a:pt x="4638" y="8477"/>
                </a:lnTo>
                <a:lnTo>
                  <a:pt x="4631" y="8481"/>
                </a:lnTo>
                <a:lnTo>
                  <a:pt x="4623" y="8486"/>
                </a:lnTo>
                <a:lnTo>
                  <a:pt x="4621" y="8473"/>
                </a:lnTo>
                <a:lnTo>
                  <a:pt x="4623" y="8464"/>
                </a:lnTo>
                <a:lnTo>
                  <a:pt x="4631" y="8462"/>
                </a:lnTo>
                <a:lnTo>
                  <a:pt x="4645" y="8463"/>
                </a:lnTo>
                <a:close/>
                <a:moveTo>
                  <a:pt x="4729" y="8363"/>
                </a:moveTo>
                <a:lnTo>
                  <a:pt x="4733" y="8364"/>
                </a:lnTo>
                <a:lnTo>
                  <a:pt x="4734" y="8366"/>
                </a:lnTo>
                <a:lnTo>
                  <a:pt x="4733" y="8370"/>
                </a:lnTo>
                <a:lnTo>
                  <a:pt x="4729" y="8373"/>
                </a:lnTo>
                <a:lnTo>
                  <a:pt x="4726" y="8372"/>
                </a:lnTo>
                <a:lnTo>
                  <a:pt x="4725" y="8369"/>
                </a:lnTo>
                <a:lnTo>
                  <a:pt x="4726" y="8366"/>
                </a:lnTo>
                <a:lnTo>
                  <a:pt x="4729" y="8363"/>
                </a:lnTo>
                <a:close/>
                <a:moveTo>
                  <a:pt x="4657" y="8632"/>
                </a:moveTo>
                <a:lnTo>
                  <a:pt x="4650" y="8659"/>
                </a:lnTo>
                <a:lnTo>
                  <a:pt x="4622" y="8676"/>
                </a:lnTo>
                <a:lnTo>
                  <a:pt x="4589" y="8678"/>
                </a:lnTo>
                <a:lnTo>
                  <a:pt x="4561" y="8662"/>
                </a:lnTo>
                <a:lnTo>
                  <a:pt x="4590" y="8660"/>
                </a:lnTo>
                <a:lnTo>
                  <a:pt x="4610" y="8650"/>
                </a:lnTo>
                <a:lnTo>
                  <a:pt x="4631" y="8638"/>
                </a:lnTo>
                <a:lnTo>
                  <a:pt x="4657" y="8632"/>
                </a:lnTo>
                <a:close/>
                <a:moveTo>
                  <a:pt x="4572" y="8746"/>
                </a:moveTo>
                <a:lnTo>
                  <a:pt x="4579" y="8741"/>
                </a:lnTo>
                <a:lnTo>
                  <a:pt x="4572" y="8746"/>
                </a:lnTo>
                <a:lnTo>
                  <a:pt x="4571" y="8739"/>
                </a:lnTo>
                <a:lnTo>
                  <a:pt x="4573" y="8734"/>
                </a:lnTo>
                <a:lnTo>
                  <a:pt x="4576" y="8734"/>
                </a:lnTo>
                <a:lnTo>
                  <a:pt x="4572" y="8746"/>
                </a:lnTo>
                <a:close/>
                <a:moveTo>
                  <a:pt x="4780" y="8397"/>
                </a:moveTo>
                <a:lnTo>
                  <a:pt x="4781" y="8408"/>
                </a:lnTo>
                <a:lnTo>
                  <a:pt x="4778" y="8419"/>
                </a:lnTo>
                <a:lnTo>
                  <a:pt x="4771" y="8424"/>
                </a:lnTo>
                <a:lnTo>
                  <a:pt x="4757" y="8422"/>
                </a:lnTo>
                <a:lnTo>
                  <a:pt x="4768" y="8410"/>
                </a:lnTo>
                <a:lnTo>
                  <a:pt x="4780" y="8397"/>
                </a:lnTo>
                <a:close/>
                <a:moveTo>
                  <a:pt x="4805" y="8475"/>
                </a:moveTo>
                <a:lnTo>
                  <a:pt x="4799" y="8481"/>
                </a:lnTo>
                <a:lnTo>
                  <a:pt x="4805" y="8475"/>
                </a:lnTo>
                <a:lnTo>
                  <a:pt x="4809" y="8481"/>
                </a:lnTo>
                <a:lnTo>
                  <a:pt x="4804" y="8487"/>
                </a:lnTo>
                <a:lnTo>
                  <a:pt x="4800" y="8487"/>
                </a:lnTo>
                <a:lnTo>
                  <a:pt x="4805" y="8475"/>
                </a:lnTo>
                <a:close/>
                <a:moveTo>
                  <a:pt x="4850" y="8349"/>
                </a:moveTo>
                <a:lnTo>
                  <a:pt x="4841" y="8374"/>
                </a:lnTo>
                <a:lnTo>
                  <a:pt x="4828" y="8392"/>
                </a:lnTo>
                <a:lnTo>
                  <a:pt x="4814" y="8396"/>
                </a:lnTo>
                <a:lnTo>
                  <a:pt x="4800" y="8373"/>
                </a:lnTo>
                <a:lnTo>
                  <a:pt x="4810" y="8368"/>
                </a:lnTo>
                <a:lnTo>
                  <a:pt x="4822" y="8363"/>
                </a:lnTo>
                <a:lnTo>
                  <a:pt x="4836" y="8356"/>
                </a:lnTo>
                <a:lnTo>
                  <a:pt x="4850" y="8349"/>
                </a:lnTo>
                <a:close/>
                <a:moveTo>
                  <a:pt x="4846" y="8317"/>
                </a:moveTo>
                <a:lnTo>
                  <a:pt x="4845" y="8323"/>
                </a:lnTo>
                <a:lnTo>
                  <a:pt x="4838" y="8323"/>
                </a:lnTo>
                <a:lnTo>
                  <a:pt x="4833" y="8319"/>
                </a:lnTo>
                <a:lnTo>
                  <a:pt x="4831" y="8309"/>
                </a:lnTo>
                <a:lnTo>
                  <a:pt x="4841" y="8313"/>
                </a:lnTo>
                <a:lnTo>
                  <a:pt x="4846" y="8317"/>
                </a:lnTo>
                <a:close/>
                <a:moveTo>
                  <a:pt x="4854" y="8445"/>
                </a:moveTo>
                <a:lnTo>
                  <a:pt x="4851" y="8456"/>
                </a:lnTo>
                <a:lnTo>
                  <a:pt x="4846" y="8463"/>
                </a:lnTo>
                <a:lnTo>
                  <a:pt x="4838" y="8467"/>
                </a:lnTo>
                <a:lnTo>
                  <a:pt x="4826" y="8470"/>
                </a:lnTo>
                <a:lnTo>
                  <a:pt x="4840" y="8457"/>
                </a:lnTo>
                <a:lnTo>
                  <a:pt x="4854" y="8445"/>
                </a:lnTo>
                <a:close/>
                <a:moveTo>
                  <a:pt x="4126" y="8998"/>
                </a:moveTo>
                <a:lnTo>
                  <a:pt x="4121" y="9000"/>
                </a:lnTo>
                <a:lnTo>
                  <a:pt x="4112" y="9002"/>
                </a:lnTo>
                <a:lnTo>
                  <a:pt x="4114" y="8991"/>
                </a:lnTo>
                <a:lnTo>
                  <a:pt x="4120" y="8988"/>
                </a:lnTo>
                <a:lnTo>
                  <a:pt x="4125" y="8990"/>
                </a:lnTo>
                <a:lnTo>
                  <a:pt x="4126" y="8998"/>
                </a:lnTo>
                <a:close/>
                <a:moveTo>
                  <a:pt x="4060" y="9019"/>
                </a:moveTo>
                <a:lnTo>
                  <a:pt x="4074" y="9008"/>
                </a:lnTo>
                <a:lnTo>
                  <a:pt x="4088" y="8998"/>
                </a:lnTo>
                <a:lnTo>
                  <a:pt x="4084" y="9008"/>
                </a:lnTo>
                <a:lnTo>
                  <a:pt x="4081" y="9014"/>
                </a:lnTo>
                <a:lnTo>
                  <a:pt x="4074" y="9018"/>
                </a:lnTo>
                <a:lnTo>
                  <a:pt x="4060" y="9019"/>
                </a:lnTo>
                <a:close/>
                <a:moveTo>
                  <a:pt x="4054" y="8951"/>
                </a:moveTo>
                <a:lnTo>
                  <a:pt x="4056" y="8944"/>
                </a:lnTo>
                <a:lnTo>
                  <a:pt x="4056" y="8944"/>
                </a:lnTo>
                <a:lnTo>
                  <a:pt x="4056" y="8947"/>
                </a:lnTo>
                <a:lnTo>
                  <a:pt x="4054" y="8951"/>
                </a:lnTo>
                <a:lnTo>
                  <a:pt x="4047" y="8946"/>
                </a:lnTo>
                <a:lnTo>
                  <a:pt x="4049" y="8941"/>
                </a:lnTo>
                <a:lnTo>
                  <a:pt x="4051" y="8939"/>
                </a:lnTo>
                <a:lnTo>
                  <a:pt x="4054" y="8951"/>
                </a:lnTo>
                <a:close/>
                <a:moveTo>
                  <a:pt x="4033" y="8986"/>
                </a:moveTo>
                <a:lnTo>
                  <a:pt x="4026" y="8985"/>
                </a:lnTo>
                <a:lnTo>
                  <a:pt x="4025" y="8977"/>
                </a:lnTo>
                <a:lnTo>
                  <a:pt x="4025" y="8967"/>
                </a:lnTo>
                <a:lnTo>
                  <a:pt x="4023" y="8957"/>
                </a:lnTo>
                <a:lnTo>
                  <a:pt x="4036" y="8961"/>
                </a:lnTo>
                <a:lnTo>
                  <a:pt x="4041" y="8965"/>
                </a:lnTo>
                <a:lnTo>
                  <a:pt x="4040" y="8972"/>
                </a:lnTo>
                <a:lnTo>
                  <a:pt x="4033" y="8986"/>
                </a:lnTo>
                <a:close/>
                <a:moveTo>
                  <a:pt x="3960" y="8991"/>
                </a:moveTo>
                <a:lnTo>
                  <a:pt x="3952" y="8993"/>
                </a:lnTo>
                <a:lnTo>
                  <a:pt x="3947" y="8991"/>
                </a:lnTo>
                <a:lnTo>
                  <a:pt x="3944" y="8988"/>
                </a:lnTo>
                <a:lnTo>
                  <a:pt x="3944" y="8979"/>
                </a:lnTo>
                <a:lnTo>
                  <a:pt x="3952" y="8979"/>
                </a:lnTo>
                <a:lnTo>
                  <a:pt x="3958" y="8980"/>
                </a:lnTo>
                <a:lnTo>
                  <a:pt x="3961" y="8984"/>
                </a:lnTo>
                <a:lnTo>
                  <a:pt x="3960" y="8991"/>
                </a:lnTo>
                <a:close/>
                <a:moveTo>
                  <a:pt x="3938" y="9046"/>
                </a:moveTo>
                <a:lnTo>
                  <a:pt x="3925" y="9046"/>
                </a:lnTo>
                <a:lnTo>
                  <a:pt x="3926" y="9033"/>
                </a:lnTo>
                <a:lnTo>
                  <a:pt x="3937" y="9022"/>
                </a:lnTo>
                <a:lnTo>
                  <a:pt x="3948" y="9025"/>
                </a:lnTo>
                <a:lnTo>
                  <a:pt x="3943" y="9036"/>
                </a:lnTo>
                <a:lnTo>
                  <a:pt x="3938" y="9046"/>
                </a:lnTo>
                <a:close/>
                <a:moveTo>
                  <a:pt x="4025" y="8744"/>
                </a:moveTo>
                <a:lnTo>
                  <a:pt x="4039" y="8734"/>
                </a:lnTo>
                <a:lnTo>
                  <a:pt x="4049" y="8727"/>
                </a:lnTo>
                <a:lnTo>
                  <a:pt x="4051" y="8733"/>
                </a:lnTo>
                <a:lnTo>
                  <a:pt x="4049" y="8737"/>
                </a:lnTo>
                <a:lnTo>
                  <a:pt x="4040" y="8741"/>
                </a:lnTo>
                <a:lnTo>
                  <a:pt x="4025" y="8744"/>
                </a:lnTo>
                <a:close/>
                <a:moveTo>
                  <a:pt x="3918" y="8584"/>
                </a:moveTo>
                <a:lnTo>
                  <a:pt x="3934" y="8576"/>
                </a:lnTo>
                <a:lnTo>
                  <a:pt x="3951" y="8568"/>
                </a:lnTo>
                <a:lnTo>
                  <a:pt x="3967" y="8560"/>
                </a:lnTo>
                <a:lnTo>
                  <a:pt x="3983" y="8551"/>
                </a:lnTo>
                <a:lnTo>
                  <a:pt x="3979" y="8565"/>
                </a:lnTo>
                <a:lnTo>
                  <a:pt x="3967" y="8575"/>
                </a:lnTo>
                <a:lnTo>
                  <a:pt x="3947" y="8582"/>
                </a:lnTo>
                <a:lnTo>
                  <a:pt x="3918" y="8584"/>
                </a:lnTo>
                <a:close/>
                <a:moveTo>
                  <a:pt x="3874" y="2132"/>
                </a:moveTo>
                <a:lnTo>
                  <a:pt x="3886" y="2125"/>
                </a:lnTo>
                <a:lnTo>
                  <a:pt x="3887" y="2125"/>
                </a:lnTo>
                <a:lnTo>
                  <a:pt x="3882" y="2128"/>
                </a:lnTo>
                <a:lnTo>
                  <a:pt x="3874" y="2132"/>
                </a:lnTo>
                <a:lnTo>
                  <a:pt x="3877" y="2125"/>
                </a:lnTo>
                <a:lnTo>
                  <a:pt x="3883" y="2119"/>
                </a:lnTo>
                <a:lnTo>
                  <a:pt x="3886" y="2119"/>
                </a:lnTo>
                <a:lnTo>
                  <a:pt x="3874" y="2132"/>
                </a:lnTo>
                <a:close/>
                <a:moveTo>
                  <a:pt x="3865" y="8620"/>
                </a:moveTo>
                <a:lnTo>
                  <a:pt x="3848" y="8625"/>
                </a:lnTo>
                <a:lnTo>
                  <a:pt x="3828" y="8629"/>
                </a:lnTo>
                <a:lnTo>
                  <a:pt x="3809" y="8632"/>
                </a:lnTo>
                <a:lnTo>
                  <a:pt x="3789" y="8638"/>
                </a:lnTo>
                <a:lnTo>
                  <a:pt x="3826" y="8616"/>
                </a:lnTo>
                <a:lnTo>
                  <a:pt x="3870" y="8599"/>
                </a:lnTo>
                <a:lnTo>
                  <a:pt x="3893" y="8597"/>
                </a:lnTo>
                <a:lnTo>
                  <a:pt x="3865" y="8620"/>
                </a:lnTo>
                <a:close/>
                <a:moveTo>
                  <a:pt x="3772" y="2288"/>
                </a:moveTo>
                <a:lnTo>
                  <a:pt x="3756" y="2301"/>
                </a:lnTo>
                <a:lnTo>
                  <a:pt x="3741" y="2319"/>
                </a:lnTo>
                <a:lnTo>
                  <a:pt x="3725" y="2332"/>
                </a:lnTo>
                <a:lnTo>
                  <a:pt x="3709" y="2329"/>
                </a:lnTo>
                <a:lnTo>
                  <a:pt x="3727" y="2301"/>
                </a:lnTo>
                <a:lnTo>
                  <a:pt x="3771" y="2270"/>
                </a:lnTo>
                <a:lnTo>
                  <a:pt x="3800" y="2259"/>
                </a:lnTo>
                <a:lnTo>
                  <a:pt x="3772" y="2288"/>
                </a:lnTo>
                <a:close/>
                <a:moveTo>
                  <a:pt x="3718" y="8659"/>
                </a:moveTo>
                <a:lnTo>
                  <a:pt x="3733" y="8653"/>
                </a:lnTo>
                <a:lnTo>
                  <a:pt x="3748" y="8644"/>
                </a:lnTo>
                <a:lnTo>
                  <a:pt x="3763" y="8638"/>
                </a:lnTo>
                <a:lnTo>
                  <a:pt x="3775" y="8640"/>
                </a:lnTo>
                <a:lnTo>
                  <a:pt x="3762" y="8649"/>
                </a:lnTo>
                <a:lnTo>
                  <a:pt x="3749" y="8657"/>
                </a:lnTo>
                <a:lnTo>
                  <a:pt x="3734" y="8660"/>
                </a:lnTo>
                <a:lnTo>
                  <a:pt x="3718" y="8659"/>
                </a:lnTo>
                <a:close/>
                <a:moveTo>
                  <a:pt x="3536" y="2353"/>
                </a:moveTo>
                <a:lnTo>
                  <a:pt x="3494" y="2346"/>
                </a:lnTo>
                <a:lnTo>
                  <a:pt x="3514" y="2329"/>
                </a:lnTo>
                <a:lnTo>
                  <a:pt x="3572" y="2306"/>
                </a:lnTo>
                <a:lnTo>
                  <a:pt x="3643" y="2281"/>
                </a:lnTo>
                <a:lnTo>
                  <a:pt x="3678" y="2265"/>
                </a:lnTo>
                <a:lnTo>
                  <a:pt x="3644" y="2295"/>
                </a:lnTo>
                <a:lnTo>
                  <a:pt x="3581" y="2335"/>
                </a:lnTo>
                <a:lnTo>
                  <a:pt x="3536" y="2353"/>
                </a:lnTo>
                <a:close/>
                <a:moveTo>
                  <a:pt x="3650" y="2372"/>
                </a:moveTo>
                <a:lnTo>
                  <a:pt x="3641" y="2382"/>
                </a:lnTo>
                <a:lnTo>
                  <a:pt x="3630" y="2391"/>
                </a:lnTo>
                <a:lnTo>
                  <a:pt x="3617" y="2396"/>
                </a:lnTo>
                <a:lnTo>
                  <a:pt x="3603" y="2400"/>
                </a:lnTo>
                <a:lnTo>
                  <a:pt x="3617" y="2393"/>
                </a:lnTo>
                <a:lnTo>
                  <a:pt x="3635" y="2379"/>
                </a:lnTo>
                <a:lnTo>
                  <a:pt x="3648" y="2370"/>
                </a:lnTo>
                <a:lnTo>
                  <a:pt x="3650" y="2372"/>
                </a:lnTo>
                <a:close/>
                <a:moveTo>
                  <a:pt x="3581" y="8672"/>
                </a:moveTo>
                <a:lnTo>
                  <a:pt x="3575" y="8672"/>
                </a:lnTo>
                <a:lnTo>
                  <a:pt x="3572" y="8669"/>
                </a:lnTo>
                <a:lnTo>
                  <a:pt x="3572" y="8666"/>
                </a:lnTo>
                <a:lnTo>
                  <a:pt x="3575" y="8659"/>
                </a:lnTo>
                <a:lnTo>
                  <a:pt x="3581" y="8660"/>
                </a:lnTo>
                <a:lnTo>
                  <a:pt x="3584" y="8664"/>
                </a:lnTo>
                <a:lnTo>
                  <a:pt x="3584" y="8668"/>
                </a:lnTo>
                <a:lnTo>
                  <a:pt x="3581" y="8672"/>
                </a:lnTo>
                <a:close/>
                <a:moveTo>
                  <a:pt x="3472" y="8683"/>
                </a:moveTo>
                <a:lnTo>
                  <a:pt x="3483" y="8669"/>
                </a:lnTo>
                <a:lnTo>
                  <a:pt x="3492" y="8663"/>
                </a:lnTo>
                <a:lnTo>
                  <a:pt x="3501" y="8664"/>
                </a:lnTo>
                <a:lnTo>
                  <a:pt x="3515" y="8669"/>
                </a:lnTo>
                <a:lnTo>
                  <a:pt x="3504" y="8673"/>
                </a:lnTo>
                <a:lnTo>
                  <a:pt x="3494" y="8677"/>
                </a:lnTo>
                <a:lnTo>
                  <a:pt x="3483" y="8680"/>
                </a:lnTo>
                <a:lnTo>
                  <a:pt x="3472" y="8683"/>
                </a:lnTo>
                <a:close/>
                <a:moveTo>
                  <a:pt x="3465" y="8767"/>
                </a:moveTo>
                <a:lnTo>
                  <a:pt x="3473" y="8762"/>
                </a:lnTo>
                <a:lnTo>
                  <a:pt x="3479" y="8758"/>
                </a:lnTo>
                <a:lnTo>
                  <a:pt x="3483" y="8757"/>
                </a:lnTo>
                <a:lnTo>
                  <a:pt x="3486" y="8762"/>
                </a:lnTo>
                <a:lnTo>
                  <a:pt x="3478" y="8764"/>
                </a:lnTo>
                <a:lnTo>
                  <a:pt x="3465" y="8767"/>
                </a:lnTo>
                <a:close/>
                <a:moveTo>
                  <a:pt x="3539" y="1801"/>
                </a:moveTo>
                <a:lnTo>
                  <a:pt x="3525" y="1808"/>
                </a:lnTo>
                <a:lnTo>
                  <a:pt x="3524" y="1810"/>
                </a:lnTo>
                <a:lnTo>
                  <a:pt x="3529" y="1806"/>
                </a:lnTo>
                <a:lnTo>
                  <a:pt x="3539" y="1801"/>
                </a:lnTo>
                <a:lnTo>
                  <a:pt x="3534" y="1808"/>
                </a:lnTo>
                <a:lnTo>
                  <a:pt x="3527" y="1813"/>
                </a:lnTo>
                <a:lnTo>
                  <a:pt x="3525" y="1812"/>
                </a:lnTo>
                <a:lnTo>
                  <a:pt x="3539" y="1801"/>
                </a:lnTo>
                <a:close/>
                <a:moveTo>
                  <a:pt x="3508" y="1527"/>
                </a:moveTo>
                <a:lnTo>
                  <a:pt x="3509" y="1528"/>
                </a:lnTo>
                <a:lnTo>
                  <a:pt x="3509" y="1530"/>
                </a:lnTo>
                <a:lnTo>
                  <a:pt x="3508" y="1531"/>
                </a:lnTo>
                <a:lnTo>
                  <a:pt x="3505" y="1532"/>
                </a:lnTo>
                <a:lnTo>
                  <a:pt x="3505" y="1530"/>
                </a:lnTo>
                <a:lnTo>
                  <a:pt x="3505" y="1528"/>
                </a:lnTo>
                <a:lnTo>
                  <a:pt x="3506" y="1527"/>
                </a:lnTo>
                <a:lnTo>
                  <a:pt x="3508" y="1527"/>
                </a:lnTo>
                <a:close/>
                <a:moveTo>
                  <a:pt x="3551" y="1491"/>
                </a:moveTo>
                <a:lnTo>
                  <a:pt x="3557" y="1493"/>
                </a:lnTo>
                <a:lnTo>
                  <a:pt x="3564" y="1493"/>
                </a:lnTo>
                <a:lnTo>
                  <a:pt x="3565" y="1495"/>
                </a:lnTo>
                <a:lnTo>
                  <a:pt x="3561" y="1500"/>
                </a:lnTo>
                <a:lnTo>
                  <a:pt x="3556" y="1503"/>
                </a:lnTo>
                <a:lnTo>
                  <a:pt x="3552" y="1502"/>
                </a:lnTo>
                <a:lnTo>
                  <a:pt x="3551" y="1498"/>
                </a:lnTo>
                <a:lnTo>
                  <a:pt x="3551" y="1491"/>
                </a:lnTo>
                <a:close/>
                <a:moveTo>
                  <a:pt x="3575" y="1835"/>
                </a:moveTo>
                <a:lnTo>
                  <a:pt x="3580" y="1836"/>
                </a:lnTo>
                <a:lnTo>
                  <a:pt x="3578" y="1843"/>
                </a:lnTo>
                <a:lnTo>
                  <a:pt x="3572" y="1848"/>
                </a:lnTo>
                <a:lnTo>
                  <a:pt x="3566" y="1848"/>
                </a:lnTo>
                <a:lnTo>
                  <a:pt x="3571" y="1841"/>
                </a:lnTo>
                <a:lnTo>
                  <a:pt x="3575" y="1835"/>
                </a:lnTo>
                <a:close/>
                <a:moveTo>
                  <a:pt x="3620" y="1764"/>
                </a:moveTo>
                <a:lnTo>
                  <a:pt x="3628" y="1764"/>
                </a:lnTo>
                <a:lnTo>
                  <a:pt x="3634" y="1768"/>
                </a:lnTo>
                <a:lnTo>
                  <a:pt x="3632" y="1774"/>
                </a:lnTo>
                <a:lnTo>
                  <a:pt x="3627" y="1779"/>
                </a:lnTo>
                <a:lnTo>
                  <a:pt x="3621" y="1778"/>
                </a:lnTo>
                <a:lnTo>
                  <a:pt x="3617" y="1774"/>
                </a:lnTo>
                <a:lnTo>
                  <a:pt x="3616" y="1769"/>
                </a:lnTo>
                <a:lnTo>
                  <a:pt x="3620" y="1764"/>
                </a:lnTo>
                <a:close/>
                <a:moveTo>
                  <a:pt x="3808" y="1663"/>
                </a:moveTo>
                <a:lnTo>
                  <a:pt x="3777" y="1691"/>
                </a:lnTo>
                <a:lnTo>
                  <a:pt x="3748" y="1715"/>
                </a:lnTo>
                <a:lnTo>
                  <a:pt x="3714" y="1731"/>
                </a:lnTo>
                <a:lnTo>
                  <a:pt x="3674" y="1737"/>
                </a:lnTo>
                <a:lnTo>
                  <a:pt x="3707" y="1719"/>
                </a:lnTo>
                <a:lnTo>
                  <a:pt x="3741" y="1701"/>
                </a:lnTo>
                <a:lnTo>
                  <a:pt x="3772" y="1682"/>
                </a:lnTo>
                <a:lnTo>
                  <a:pt x="3808" y="1663"/>
                </a:lnTo>
                <a:close/>
                <a:moveTo>
                  <a:pt x="3706" y="1416"/>
                </a:moveTo>
                <a:lnTo>
                  <a:pt x="3710" y="1418"/>
                </a:lnTo>
                <a:lnTo>
                  <a:pt x="3710" y="1419"/>
                </a:lnTo>
                <a:lnTo>
                  <a:pt x="3707" y="1421"/>
                </a:lnTo>
                <a:lnTo>
                  <a:pt x="3704" y="1421"/>
                </a:lnTo>
                <a:lnTo>
                  <a:pt x="3705" y="1419"/>
                </a:lnTo>
                <a:lnTo>
                  <a:pt x="3706" y="1416"/>
                </a:lnTo>
                <a:close/>
                <a:moveTo>
                  <a:pt x="3812" y="1528"/>
                </a:moveTo>
                <a:lnTo>
                  <a:pt x="3809" y="1527"/>
                </a:lnTo>
                <a:lnTo>
                  <a:pt x="3809" y="1527"/>
                </a:lnTo>
                <a:lnTo>
                  <a:pt x="3811" y="1527"/>
                </a:lnTo>
                <a:lnTo>
                  <a:pt x="3812" y="1528"/>
                </a:lnTo>
                <a:lnTo>
                  <a:pt x="3808" y="1530"/>
                </a:lnTo>
                <a:lnTo>
                  <a:pt x="3812" y="1528"/>
                </a:lnTo>
                <a:close/>
                <a:moveTo>
                  <a:pt x="3895" y="1308"/>
                </a:moveTo>
                <a:lnTo>
                  <a:pt x="3897" y="1309"/>
                </a:lnTo>
                <a:lnTo>
                  <a:pt x="3897" y="1312"/>
                </a:lnTo>
                <a:lnTo>
                  <a:pt x="3895" y="1314"/>
                </a:lnTo>
                <a:lnTo>
                  <a:pt x="3892" y="1317"/>
                </a:lnTo>
                <a:lnTo>
                  <a:pt x="3888" y="1314"/>
                </a:lnTo>
                <a:lnTo>
                  <a:pt x="3888" y="1312"/>
                </a:lnTo>
                <a:lnTo>
                  <a:pt x="3891" y="1309"/>
                </a:lnTo>
                <a:lnTo>
                  <a:pt x="3895" y="1308"/>
                </a:lnTo>
                <a:close/>
                <a:moveTo>
                  <a:pt x="3976" y="2120"/>
                </a:moveTo>
                <a:lnTo>
                  <a:pt x="3974" y="2123"/>
                </a:lnTo>
                <a:lnTo>
                  <a:pt x="3972" y="2124"/>
                </a:lnTo>
                <a:lnTo>
                  <a:pt x="3974" y="2123"/>
                </a:lnTo>
                <a:lnTo>
                  <a:pt x="3976" y="2120"/>
                </a:lnTo>
                <a:lnTo>
                  <a:pt x="3975" y="2123"/>
                </a:lnTo>
                <a:lnTo>
                  <a:pt x="3974" y="2124"/>
                </a:lnTo>
                <a:lnTo>
                  <a:pt x="3974" y="2124"/>
                </a:lnTo>
                <a:lnTo>
                  <a:pt x="3976" y="2120"/>
                </a:lnTo>
                <a:close/>
                <a:moveTo>
                  <a:pt x="3435" y="8709"/>
                </a:moveTo>
                <a:lnTo>
                  <a:pt x="3450" y="8702"/>
                </a:lnTo>
                <a:lnTo>
                  <a:pt x="3462" y="8699"/>
                </a:lnTo>
                <a:lnTo>
                  <a:pt x="3459" y="8709"/>
                </a:lnTo>
                <a:lnTo>
                  <a:pt x="3457" y="8713"/>
                </a:lnTo>
                <a:lnTo>
                  <a:pt x="3449" y="8713"/>
                </a:lnTo>
                <a:lnTo>
                  <a:pt x="3435" y="8709"/>
                </a:lnTo>
                <a:close/>
                <a:moveTo>
                  <a:pt x="3402" y="8725"/>
                </a:moveTo>
                <a:lnTo>
                  <a:pt x="3407" y="8714"/>
                </a:lnTo>
                <a:lnTo>
                  <a:pt x="3413" y="8710"/>
                </a:lnTo>
                <a:lnTo>
                  <a:pt x="3422" y="8713"/>
                </a:lnTo>
                <a:lnTo>
                  <a:pt x="3432" y="8719"/>
                </a:lnTo>
                <a:lnTo>
                  <a:pt x="3417" y="8723"/>
                </a:lnTo>
                <a:lnTo>
                  <a:pt x="3402" y="8725"/>
                </a:lnTo>
                <a:close/>
                <a:moveTo>
                  <a:pt x="3353" y="4209"/>
                </a:moveTo>
                <a:lnTo>
                  <a:pt x="3343" y="4200"/>
                </a:lnTo>
                <a:lnTo>
                  <a:pt x="3352" y="4185"/>
                </a:lnTo>
                <a:lnTo>
                  <a:pt x="3369" y="4171"/>
                </a:lnTo>
                <a:lnTo>
                  <a:pt x="3384" y="4163"/>
                </a:lnTo>
                <a:lnTo>
                  <a:pt x="3399" y="4158"/>
                </a:lnTo>
                <a:lnTo>
                  <a:pt x="3389" y="4171"/>
                </a:lnTo>
                <a:lnTo>
                  <a:pt x="3369" y="4190"/>
                </a:lnTo>
                <a:lnTo>
                  <a:pt x="3353" y="4209"/>
                </a:lnTo>
                <a:close/>
                <a:moveTo>
                  <a:pt x="3313" y="4166"/>
                </a:moveTo>
                <a:lnTo>
                  <a:pt x="3308" y="4171"/>
                </a:lnTo>
                <a:lnTo>
                  <a:pt x="3300" y="4175"/>
                </a:lnTo>
                <a:lnTo>
                  <a:pt x="3294" y="4177"/>
                </a:lnTo>
                <a:lnTo>
                  <a:pt x="3285" y="4179"/>
                </a:lnTo>
                <a:lnTo>
                  <a:pt x="3295" y="4162"/>
                </a:lnTo>
                <a:lnTo>
                  <a:pt x="3314" y="4151"/>
                </a:lnTo>
                <a:lnTo>
                  <a:pt x="3325" y="4151"/>
                </a:lnTo>
                <a:lnTo>
                  <a:pt x="3313" y="4166"/>
                </a:lnTo>
                <a:close/>
                <a:moveTo>
                  <a:pt x="3314" y="4241"/>
                </a:moveTo>
                <a:lnTo>
                  <a:pt x="3306" y="4246"/>
                </a:lnTo>
                <a:lnTo>
                  <a:pt x="3308" y="4245"/>
                </a:lnTo>
                <a:lnTo>
                  <a:pt x="3313" y="4237"/>
                </a:lnTo>
                <a:lnTo>
                  <a:pt x="3319" y="4229"/>
                </a:lnTo>
                <a:lnTo>
                  <a:pt x="3324" y="4232"/>
                </a:lnTo>
                <a:lnTo>
                  <a:pt x="3323" y="4236"/>
                </a:lnTo>
                <a:lnTo>
                  <a:pt x="3318" y="4238"/>
                </a:lnTo>
                <a:lnTo>
                  <a:pt x="3314" y="4241"/>
                </a:lnTo>
                <a:close/>
                <a:moveTo>
                  <a:pt x="3282" y="4278"/>
                </a:moveTo>
                <a:lnTo>
                  <a:pt x="3281" y="4279"/>
                </a:lnTo>
                <a:lnTo>
                  <a:pt x="3278" y="4279"/>
                </a:lnTo>
                <a:lnTo>
                  <a:pt x="3277" y="4279"/>
                </a:lnTo>
                <a:lnTo>
                  <a:pt x="3274" y="4279"/>
                </a:lnTo>
                <a:lnTo>
                  <a:pt x="3277" y="4275"/>
                </a:lnTo>
                <a:lnTo>
                  <a:pt x="3281" y="4273"/>
                </a:lnTo>
                <a:lnTo>
                  <a:pt x="3283" y="4273"/>
                </a:lnTo>
                <a:lnTo>
                  <a:pt x="3282" y="4278"/>
                </a:lnTo>
                <a:close/>
                <a:moveTo>
                  <a:pt x="3249" y="2550"/>
                </a:moveTo>
                <a:lnTo>
                  <a:pt x="3241" y="2540"/>
                </a:lnTo>
                <a:lnTo>
                  <a:pt x="3246" y="2530"/>
                </a:lnTo>
                <a:lnTo>
                  <a:pt x="3258" y="2521"/>
                </a:lnTo>
                <a:lnTo>
                  <a:pt x="3271" y="2516"/>
                </a:lnTo>
                <a:lnTo>
                  <a:pt x="3267" y="2525"/>
                </a:lnTo>
                <a:lnTo>
                  <a:pt x="3262" y="2534"/>
                </a:lnTo>
                <a:lnTo>
                  <a:pt x="3255" y="2543"/>
                </a:lnTo>
                <a:lnTo>
                  <a:pt x="3249" y="2550"/>
                </a:lnTo>
                <a:close/>
                <a:moveTo>
                  <a:pt x="3260" y="4261"/>
                </a:moveTo>
                <a:lnTo>
                  <a:pt x="3264" y="4260"/>
                </a:lnTo>
                <a:lnTo>
                  <a:pt x="3260" y="4261"/>
                </a:lnTo>
                <a:lnTo>
                  <a:pt x="3264" y="4256"/>
                </a:lnTo>
                <a:lnTo>
                  <a:pt x="3260" y="4261"/>
                </a:lnTo>
                <a:close/>
                <a:moveTo>
                  <a:pt x="3217" y="4306"/>
                </a:moveTo>
                <a:lnTo>
                  <a:pt x="3222" y="4292"/>
                </a:lnTo>
                <a:lnTo>
                  <a:pt x="3232" y="4283"/>
                </a:lnTo>
                <a:lnTo>
                  <a:pt x="3246" y="4274"/>
                </a:lnTo>
                <a:lnTo>
                  <a:pt x="3258" y="4264"/>
                </a:lnTo>
                <a:lnTo>
                  <a:pt x="3252" y="4278"/>
                </a:lnTo>
                <a:lnTo>
                  <a:pt x="3241" y="4288"/>
                </a:lnTo>
                <a:lnTo>
                  <a:pt x="3230" y="4298"/>
                </a:lnTo>
                <a:lnTo>
                  <a:pt x="3217" y="4306"/>
                </a:lnTo>
                <a:close/>
                <a:moveTo>
                  <a:pt x="3310" y="2528"/>
                </a:moveTo>
                <a:lnTo>
                  <a:pt x="3306" y="2542"/>
                </a:lnTo>
                <a:lnTo>
                  <a:pt x="3299" y="2554"/>
                </a:lnTo>
                <a:lnTo>
                  <a:pt x="3290" y="2566"/>
                </a:lnTo>
                <a:lnTo>
                  <a:pt x="3280" y="2575"/>
                </a:lnTo>
                <a:lnTo>
                  <a:pt x="3286" y="2563"/>
                </a:lnTo>
                <a:lnTo>
                  <a:pt x="3292" y="2550"/>
                </a:lnTo>
                <a:lnTo>
                  <a:pt x="3300" y="2539"/>
                </a:lnTo>
                <a:lnTo>
                  <a:pt x="3310" y="2528"/>
                </a:lnTo>
                <a:close/>
                <a:moveTo>
                  <a:pt x="3379" y="2470"/>
                </a:moveTo>
                <a:lnTo>
                  <a:pt x="3387" y="2464"/>
                </a:lnTo>
                <a:lnTo>
                  <a:pt x="3397" y="2459"/>
                </a:lnTo>
                <a:lnTo>
                  <a:pt x="3406" y="2455"/>
                </a:lnTo>
                <a:lnTo>
                  <a:pt x="3417" y="2454"/>
                </a:lnTo>
                <a:lnTo>
                  <a:pt x="3398" y="2466"/>
                </a:lnTo>
                <a:lnTo>
                  <a:pt x="3379" y="2480"/>
                </a:lnTo>
                <a:lnTo>
                  <a:pt x="3369" y="2484"/>
                </a:lnTo>
                <a:lnTo>
                  <a:pt x="3379" y="2470"/>
                </a:lnTo>
                <a:close/>
                <a:moveTo>
                  <a:pt x="3409" y="2380"/>
                </a:moveTo>
                <a:lnTo>
                  <a:pt x="3434" y="2361"/>
                </a:lnTo>
                <a:lnTo>
                  <a:pt x="3440" y="2370"/>
                </a:lnTo>
                <a:lnTo>
                  <a:pt x="3430" y="2389"/>
                </a:lnTo>
                <a:lnTo>
                  <a:pt x="3404" y="2404"/>
                </a:lnTo>
                <a:lnTo>
                  <a:pt x="3379" y="2408"/>
                </a:lnTo>
                <a:lnTo>
                  <a:pt x="3374" y="2402"/>
                </a:lnTo>
                <a:lnTo>
                  <a:pt x="3385" y="2391"/>
                </a:lnTo>
                <a:lnTo>
                  <a:pt x="3409" y="2380"/>
                </a:lnTo>
                <a:close/>
                <a:moveTo>
                  <a:pt x="3185" y="4349"/>
                </a:moveTo>
                <a:lnTo>
                  <a:pt x="3178" y="4357"/>
                </a:lnTo>
                <a:lnTo>
                  <a:pt x="3170" y="4364"/>
                </a:lnTo>
                <a:lnTo>
                  <a:pt x="3162" y="4368"/>
                </a:lnTo>
                <a:lnTo>
                  <a:pt x="3156" y="4363"/>
                </a:lnTo>
                <a:lnTo>
                  <a:pt x="3170" y="4344"/>
                </a:lnTo>
                <a:lnTo>
                  <a:pt x="3189" y="4331"/>
                </a:lnTo>
                <a:lnTo>
                  <a:pt x="3198" y="4330"/>
                </a:lnTo>
                <a:lnTo>
                  <a:pt x="3185" y="4349"/>
                </a:lnTo>
                <a:close/>
                <a:moveTo>
                  <a:pt x="3156" y="8723"/>
                </a:moveTo>
                <a:lnTo>
                  <a:pt x="3157" y="8714"/>
                </a:lnTo>
                <a:lnTo>
                  <a:pt x="3160" y="8709"/>
                </a:lnTo>
                <a:lnTo>
                  <a:pt x="3166" y="8708"/>
                </a:lnTo>
                <a:lnTo>
                  <a:pt x="3176" y="8706"/>
                </a:lnTo>
                <a:lnTo>
                  <a:pt x="3174" y="8714"/>
                </a:lnTo>
                <a:lnTo>
                  <a:pt x="3170" y="8719"/>
                </a:lnTo>
                <a:lnTo>
                  <a:pt x="3165" y="8723"/>
                </a:lnTo>
                <a:lnTo>
                  <a:pt x="3156" y="8723"/>
                </a:lnTo>
                <a:close/>
                <a:moveTo>
                  <a:pt x="3143" y="4381"/>
                </a:moveTo>
                <a:lnTo>
                  <a:pt x="3152" y="4377"/>
                </a:lnTo>
                <a:lnTo>
                  <a:pt x="3157" y="4376"/>
                </a:lnTo>
                <a:lnTo>
                  <a:pt x="3153" y="4378"/>
                </a:lnTo>
                <a:lnTo>
                  <a:pt x="3150" y="4381"/>
                </a:lnTo>
                <a:lnTo>
                  <a:pt x="3146" y="4382"/>
                </a:lnTo>
                <a:lnTo>
                  <a:pt x="3143" y="4381"/>
                </a:lnTo>
                <a:close/>
                <a:moveTo>
                  <a:pt x="3133" y="8662"/>
                </a:moveTo>
                <a:lnTo>
                  <a:pt x="3138" y="8649"/>
                </a:lnTo>
                <a:lnTo>
                  <a:pt x="3145" y="8644"/>
                </a:lnTo>
                <a:lnTo>
                  <a:pt x="3155" y="8641"/>
                </a:lnTo>
                <a:lnTo>
                  <a:pt x="3173" y="8641"/>
                </a:lnTo>
                <a:lnTo>
                  <a:pt x="3165" y="8652"/>
                </a:lnTo>
                <a:lnTo>
                  <a:pt x="3156" y="8659"/>
                </a:lnTo>
                <a:lnTo>
                  <a:pt x="3146" y="8662"/>
                </a:lnTo>
                <a:lnTo>
                  <a:pt x="3133" y="8662"/>
                </a:lnTo>
                <a:close/>
                <a:moveTo>
                  <a:pt x="3114" y="4455"/>
                </a:moveTo>
                <a:lnTo>
                  <a:pt x="3117" y="4452"/>
                </a:lnTo>
                <a:lnTo>
                  <a:pt x="3114" y="4455"/>
                </a:lnTo>
                <a:lnTo>
                  <a:pt x="3110" y="4457"/>
                </a:lnTo>
                <a:lnTo>
                  <a:pt x="3114" y="4455"/>
                </a:lnTo>
                <a:close/>
                <a:moveTo>
                  <a:pt x="3069" y="8602"/>
                </a:moveTo>
                <a:lnTo>
                  <a:pt x="3075" y="8582"/>
                </a:lnTo>
                <a:lnTo>
                  <a:pt x="3067" y="8579"/>
                </a:lnTo>
                <a:lnTo>
                  <a:pt x="3061" y="8576"/>
                </a:lnTo>
                <a:lnTo>
                  <a:pt x="3076" y="8552"/>
                </a:lnTo>
                <a:lnTo>
                  <a:pt x="3096" y="8570"/>
                </a:lnTo>
                <a:lnTo>
                  <a:pt x="3105" y="8576"/>
                </a:lnTo>
                <a:lnTo>
                  <a:pt x="3097" y="8584"/>
                </a:lnTo>
                <a:lnTo>
                  <a:pt x="3069" y="8602"/>
                </a:lnTo>
                <a:close/>
                <a:moveTo>
                  <a:pt x="3048" y="8505"/>
                </a:moveTo>
                <a:lnTo>
                  <a:pt x="3047" y="8500"/>
                </a:lnTo>
                <a:lnTo>
                  <a:pt x="3043" y="8495"/>
                </a:lnTo>
                <a:lnTo>
                  <a:pt x="3043" y="8490"/>
                </a:lnTo>
                <a:lnTo>
                  <a:pt x="3047" y="8487"/>
                </a:lnTo>
                <a:lnTo>
                  <a:pt x="3049" y="8492"/>
                </a:lnTo>
                <a:lnTo>
                  <a:pt x="3052" y="8498"/>
                </a:lnTo>
                <a:lnTo>
                  <a:pt x="3052" y="8503"/>
                </a:lnTo>
                <a:lnTo>
                  <a:pt x="3048" y="8505"/>
                </a:lnTo>
                <a:close/>
                <a:moveTo>
                  <a:pt x="3057" y="4511"/>
                </a:moveTo>
                <a:lnTo>
                  <a:pt x="3057" y="4511"/>
                </a:lnTo>
                <a:lnTo>
                  <a:pt x="3057" y="4511"/>
                </a:lnTo>
                <a:lnTo>
                  <a:pt x="3057" y="4512"/>
                </a:lnTo>
                <a:lnTo>
                  <a:pt x="3057" y="4511"/>
                </a:lnTo>
                <a:close/>
                <a:moveTo>
                  <a:pt x="3034" y="2762"/>
                </a:moveTo>
                <a:lnTo>
                  <a:pt x="3010" y="2785"/>
                </a:lnTo>
                <a:lnTo>
                  <a:pt x="2984" y="2808"/>
                </a:lnTo>
                <a:lnTo>
                  <a:pt x="2974" y="2815"/>
                </a:lnTo>
                <a:lnTo>
                  <a:pt x="2990" y="2790"/>
                </a:lnTo>
                <a:lnTo>
                  <a:pt x="3027" y="2754"/>
                </a:lnTo>
                <a:lnTo>
                  <a:pt x="3066" y="2729"/>
                </a:lnTo>
                <a:lnTo>
                  <a:pt x="3076" y="2726"/>
                </a:lnTo>
                <a:lnTo>
                  <a:pt x="3034" y="2762"/>
                </a:lnTo>
                <a:close/>
                <a:moveTo>
                  <a:pt x="3010" y="8506"/>
                </a:moveTo>
                <a:lnTo>
                  <a:pt x="3017" y="8505"/>
                </a:lnTo>
                <a:lnTo>
                  <a:pt x="3010" y="8506"/>
                </a:lnTo>
                <a:lnTo>
                  <a:pt x="3012" y="8501"/>
                </a:lnTo>
                <a:lnTo>
                  <a:pt x="3017" y="8496"/>
                </a:lnTo>
                <a:lnTo>
                  <a:pt x="3020" y="8498"/>
                </a:lnTo>
                <a:lnTo>
                  <a:pt x="3010" y="8506"/>
                </a:lnTo>
                <a:close/>
                <a:moveTo>
                  <a:pt x="3022" y="8557"/>
                </a:moveTo>
                <a:lnTo>
                  <a:pt x="3015" y="8547"/>
                </a:lnTo>
                <a:lnTo>
                  <a:pt x="3013" y="8541"/>
                </a:lnTo>
                <a:lnTo>
                  <a:pt x="3017" y="8534"/>
                </a:lnTo>
                <a:lnTo>
                  <a:pt x="3027" y="8527"/>
                </a:lnTo>
                <a:lnTo>
                  <a:pt x="3025" y="8541"/>
                </a:lnTo>
                <a:lnTo>
                  <a:pt x="3022" y="8557"/>
                </a:lnTo>
                <a:close/>
                <a:moveTo>
                  <a:pt x="2760" y="4842"/>
                </a:moveTo>
                <a:lnTo>
                  <a:pt x="2763" y="4835"/>
                </a:lnTo>
                <a:lnTo>
                  <a:pt x="2766" y="4830"/>
                </a:lnTo>
                <a:lnTo>
                  <a:pt x="2770" y="4826"/>
                </a:lnTo>
                <a:lnTo>
                  <a:pt x="2775" y="4823"/>
                </a:lnTo>
                <a:lnTo>
                  <a:pt x="2768" y="4833"/>
                </a:lnTo>
                <a:lnTo>
                  <a:pt x="2760" y="4842"/>
                </a:lnTo>
                <a:close/>
                <a:moveTo>
                  <a:pt x="2752" y="4853"/>
                </a:moveTo>
                <a:lnTo>
                  <a:pt x="2750" y="4854"/>
                </a:lnTo>
                <a:lnTo>
                  <a:pt x="2749" y="4853"/>
                </a:lnTo>
                <a:lnTo>
                  <a:pt x="2749" y="4851"/>
                </a:lnTo>
                <a:lnTo>
                  <a:pt x="2750" y="4849"/>
                </a:lnTo>
                <a:lnTo>
                  <a:pt x="2755" y="4846"/>
                </a:lnTo>
                <a:lnTo>
                  <a:pt x="2757" y="4846"/>
                </a:lnTo>
                <a:lnTo>
                  <a:pt x="2756" y="4848"/>
                </a:lnTo>
                <a:lnTo>
                  <a:pt x="2752" y="4853"/>
                </a:lnTo>
                <a:close/>
                <a:moveTo>
                  <a:pt x="2658" y="4856"/>
                </a:moveTo>
                <a:lnTo>
                  <a:pt x="2657" y="4858"/>
                </a:lnTo>
                <a:lnTo>
                  <a:pt x="2657" y="4858"/>
                </a:lnTo>
                <a:lnTo>
                  <a:pt x="2658" y="4858"/>
                </a:lnTo>
                <a:lnTo>
                  <a:pt x="2658" y="4856"/>
                </a:lnTo>
                <a:lnTo>
                  <a:pt x="2663" y="4857"/>
                </a:lnTo>
                <a:lnTo>
                  <a:pt x="2663" y="4858"/>
                </a:lnTo>
                <a:lnTo>
                  <a:pt x="2661" y="4858"/>
                </a:lnTo>
                <a:lnTo>
                  <a:pt x="2658" y="4856"/>
                </a:lnTo>
                <a:close/>
                <a:moveTo>
                  <a:pt x="2833" y="2929"/>
                </a:moveTo>
                <a:lnTo>
                  <a:pt x="2849" y="2921"/>
                </a:lnTo>
                <a:lnTo>
                  <a:pt x="2849" y="2929"/>
                </a:lnTo>
                <a:lnTo>
                  <a:pt x="2843" y="2937"/>
                </a:lnTo>
                <a:lnTo>
                  <a:pt x="2833" y="2939"/>
                </a:lnTo>
                <a:lnTo>
                  <a:pt x="2829" y="2936"/>
                </a:lnTo>
                <a:lnTo>
                  <a:pt x="2826" y="2934"/>
                </a:lnTo>
                <a:lnTo>
                  <a:pt x="2827" y="2931"/>
                </a:lnTo>
                <a:lnTo>
                  <a:pt x="2833" y="2929"/>
                </a:lnTo>
                <a:close/>
                <a:moveTo>
                  <a:pt x="2913" y="4530"/>
                </a:moveTo>
                <a:lnTo>
                  <a:pt x="2913" y="4531"/>
                </a:lnTo>
                <a:lnTo>
                  <a:pt x="2913" y="4530"/>
                </a:lnTo>
                <a:lnTo>
                  <a:pt x="2917" y="4531"/>
                </a:lnTo>
                <a:lnTo>
                  <a:pt x="2913" y="4530"/>
                </a:lnTo>
                <a:close/>
                <a:moveTo>
                  <a:pt x="2926" y="2843"/>
                </a:moveTo>
                <a:lnTo>
                  <a:pt x="2933" y="2836"/>
                </a:lnTo>
                <a:lnTo>
                  <a:pt x="2942" y="2829"/>
                </a:lnTo>
                <a:lnTo>
                  <a:pt x="2951" y="2828"/>
                </a:lnTo>
                <a:lnTo>
                  <a:pt x="2962" y="2828"/>
                </a:lnTo>
                <a:lnTo>
                  <a:pt x="2950" y="2839"/>
                </a:lnTo>
                <a:lnTo>
                  <a:pt x="2936" y="2852"/>
                </a:lnTo>
                <a:lnTo>
                  <a:pt x="2926" y="2856"/>
                </a:lnTo>
                <a:lnTo>
                  <a:pt x="2926" y="2843"/>
                </a:lnTo>
                <a:close/>
                <a:moveTo>
                  <a:pt x="3075" y="2678"/>
                </a:moveTo>
                <a:lnTo>
                  <a:pt x="3077" y="2682"/>
                </a:lnTo>
                <a:lnTo>
                  <a:pt x="3075" y="2685"/>
                </a:lnTo>
                <a:lnTo>
                  <a:pt x="3071" y="2687"/>
                </a:lnTo>
                <a:lnTo>
                  <a:pt x="3067" y="2683"/>
                </a:lnTo>
                <a:lnTo>
                  <a:pt x="3071" y="2680"/>
                </a:lnTo>
                <a:lnTo>
                  <a:pt x="3075" y="2678"/>
                </a:lnTo>
                <a:close/>
                <a:moveTo>
                  <a:pt x="3066" y="4487"/>
                </a:moveTo>
                <a:lnTo>
                  <a:pt x="3069" y="4483"/>
                </a:lnTo>
                <a:lnTo>
                  <a:pt x="3072" y="4481"/>
                </a:lnTo>
                <a:lnTo>
                  <a:pt x="3076" y="4483"/>
                </a:lnTo>
                <a:lnTo>
                  <a:pt x="3078" y="4487"/>
                </a:lnTo>
                <a:lnTo>
                  <a:pt x="3072" y="4488"/>
                </a:lnTo>
                <a:lnTo>
                  <a:pt x="3066" y="4487"/>
                </a:lnTo>
                <a:close/>
                <a:moveTo>
                  <a:pt x="3078" y="4487"/>
                </a:moveTo>
                <a:lnTo>
                  <a:pt x="3085" y="4484"/>
                </a:lnTo>
                <a:lnTo>
                  <a:pt x="3085" y="4484"/>
                </a:lnTo>
                <a:lnTo>
                  <a:pt x="3081" y="4487"/>
                </a:lnTo>
                <a:lnTo>
                  <a:pt x="3077" y="4492"/>
                </a:lnTo>
                <a:lnTo>
                  <a:pt x="3072" y="4494"/>
                </a:lnTo>
                <a:lnTo>
                  <a:pt x="3072" y="4493"/>
                </a:lnTo>
                <a:lnTo>
                  <a:pt x="3075" y="4490"/>
                </a:lnTo>
                <a:lnTo>
                  <a:pt x="3078" y="4487"/>
                </a:lnTo>
                <a:close/>
                <a:moveTo>
                  <a:pt x="2819" y="8099"/>
                </a:moveTo>
                <a:lnTo>
                  <a:pt x="2824" y="8095"/>
                </a:lnTo>
                <a:lnTo>
                  <a:pt x="2819" y="8099"/>
                </a:lnTo>
                <a:lnTo>
                  <a:pt x="2816" y="8095"/>
                </a:lnTo>
                <a:lnTo>
                  <a:pt x="2820" y="8090"/>
                </a:lnTo>
                <a:lnTo>
                  <a:pt x="2821" y="8090"/>
                </a:lnTo>
                <a:lnTo>
                  <a:pt x="2819" y="8099"/>
                </a:lnTo>
                <a:close/>
                <a:moveTo>
                  <a:pt x="2496" y="4914"/>
                </a:moveTo>
                <a:lnTo>
                  <a:pt x="2498" y="4913"/>
                </a:lnTo>
                <a:lnTo>
                  <a:pt x="2496" y="4914"/>
                </a:lnTo>
                <a:lnTo>
                  <a:pt x="2496" y="4912"/>
                </a:lnTo>
                <a:lnTo>
                  <a:pt x="2496" y="4914"/>
                </a:lnTo>
                <a:close/>
                <a:moveTo>
                  <a:pt x="2466" y="8014"/>
                </a:moveTo>
                <a:lnTo>
                  <a:pt x="2422" y="8038"/>
                </a:lnTo>
                <a:lnTo>
                  <a:pt x="2377" y="8057"/>
                </a:lnTo>
                <a:lnTo>
                  <a:pt x="2332" y="8075"/>
                </a:lnTo>
                <a:lnTo>
                  <a:pt x="2289" y="8095"/>
                </a:lnTo>
                <a:lnTo>
                  <a:pt x="2319" y="8058"/>
                </a:lnTo>
                <a:lnTo>
                  <a:pt x="2394" y="8024"/>
                </a:lnTo>
                <a:lnTo>
                  <a:pt x="2461" y="8005"/>
                </a:lnTo>
                <a:lnTo>
                  <a:pt x="2466" y="8014"/>
                </a:lnTo>
                <a:close/>
                <a:moveTo>
                  <a:pt x="2305" y="8113"/>
                </a:moveTo>
                <a:lnTo>
                  <a:pt x="2309" y="8111"/>
                </a:lnTo>
                <a:lnTo>
                  <a:pt x="2310" y="8111"/>
                </a:lnTo>
                <a:lnTo>
                  <a:pt x="2308" y="8112"/>
                </a:lnTo>
                <a:lnTo>
                  <a:pt x="2305" y="8113"/>
                </a:lnTo>
                <a:lnTo>
                  <a:pt x="2305" y="8111"/>
                </a:lnTo>
                <a:lnTo>
                  <a:pt x="2309" y="8108"/>
                </a:lnTo>
                <a:lnTo>
                  <a:pt x="2310" y="8108"/>
                </a:lnTo>
                <a:lnTo>
                  <a:pt x="2305" y="8113"/>
                </a:lnTo>
                <a:close/>
                <a:moveTo>
                  <a:pt x="2391" y="4277"/>
                </a:moveTo>
                <a:lnTo>
                  <a:pt x="2383" y="4285"/>
                </a:lnTo>
                <a:lnTo>
                  <a:pt x="2375" y="4292"/>
                </a:lnTo>
                <a:lnTo>
                  <a:pt x="2366" y="4297"/>
                </a:lnTo>
                <a:lnTo>
                  <a:pt x="2355" y="4305"/>
                </a:lnTo>
                <a:lnTo>
                  <a:pt x="2373" y="4291"/>
                </a:lnTo>
                <a:lnTo>
                  <a:pt x="2391" y="4277"/>
                </a:lnTo>
                <a:close/>
                <a:moveTo>
                  <a:pt x="2193" y="7617"/>
                </a:moveTo>
                <a:lnTo>
                  <a:pt x="2198" y="7614"/>
                </a:lnTo>
                <a:lnTo>
                  <a:pt x="2193" y="7617"/>
                </a:lnTo>
                <a:lnTo>
                  <a:pt x="2193" y="7612"/>
                </a:lnTo>
                <a:lnTo>
                  <a:pt x="2197" y="7608"/>
                </a:lnTo>
                <a:lnTo>
                  <a:pt x="2198" y="7609"/>
                </a:lnTo>
                <a:lnTo>
                  <a:pt x="2193" y="7617"/>
                </a:lnTo>
                <a:close/>
                <a:moveTo>
                  <a:pt x="2178" y="7293"/>
                </a:moveTo>
                <a:lnTo>
                  <a:pt x="2177" y="7284"/>
                </a:lnTo>
                <a:lnTo>
                  <a:pt x="2175" y="7279"/>
                </a:lnTo>
                <a:lnTo>
                  <a:pt x="2177" y="7276"/>
                </a:lnTo>
                <a:lnTo>
                  <a:pt x="2181" y="7276"/>
                </a:lnTo>
                <a:lnTo>
                  <a:pt x="2181" y="7281"/>
                </a:lnTo>
                <a:lnTo>
                  <a:pt x="2178" y="7293"/>
                </a:lnTo>
                <a:close/>
                <a:moveTo>
                  <a:pt x="1998" y="7198"/>
                </a:moveTo>
                <a:lnTo>
                  <a:pt x="2007" y="7197"/>
                </a:lnTo>
                <a:lnTo>
                  <a:pt x="2016" y="7194"/>
                </a:lnTo>
                <a:lnTo>
                  <a:pt x="2014" y="7197"/>
                </a:lnTo>
                <a:lnTo>
                  <a:pt x="2011" y="7198"/>
                </a:lnTo>
                <a:lnTo>
                  <a:pt x="2005" y="7199"/>
                </a:lnTo>
                <a:lnTo>
                  <a:pt x="1998" y="7198"/>
                </a:lnTo>
                <a:close/>
                <a:moveTo>
                  <a:pt x="1925" y="7225"/>
                </a:moveTo>
                <a:lnTo>
                  <a:pt x="1925" y="7217"/>
                </a:lnTo>
                <a:lnTo>
                  <a:pt x="1932" y="7213"/>
                </a:lnTo>
                <a:lnTo>
                  <a:pt x="1942" y="7211"/>
                </a:lnTo>
                <a:lnTo>
                  <a:pt x="1953" y="7208"/>
                </a:lnTo>
                <a:lnTo>
                  <a:pt x="1947" y="7216"/>
                </a:lnTo>
                <a:lnTo>
                  <a:pt x="1942" y="7222"/>
                </a:lnTo>
                <a:lnTo>
                  <a:pt x="1935" y="7226"/>
                </a:lnTo>
                <a:lnTo>
                  <a:pt x="1925" y="7225"/>
                </a:lnTo>
                <a:close/>
                <a:moveTo>
                  <a:pt x="1788" y="7259"/>
                </a:moveTo>
                <a:lnTo>
                  <a:pt x="1749" y="7278"/>
                </a:lnTo>
                <a:lnTo>
                  <a:pt x="1708" y="7298"/>
                </a:lnTo>
                <a:lnTo>
                  <a:pt x="1669" y="7319"/>
                </a:lnTo>
                <a:lnTo>
                  <a:pt x="1632" y="7343"/>
                </a:lnTo>
                <a:lnTo>
                  <a:pt x="1528" y="7377"/>
                </a:lnTo>
                <a:lnTo>
                  <a:pt x="1619" y="7324"/>
                </a:lnTo>
                <a:lnTo>
                  <a:pt x="1755" y="7259"/>
                </a:lnTo>
                <a:lnTo>
                  <a:pt x="1788" y="7259"/>
                </a:lnTo>
                <a:close/>
                <a:moveTo>
                  <a:pt x="1585" y="7312"/>
                </a:moveTo>
                <a:lnTo>
                  <a:pt x="1595" y="7307"/>
                </a:lnTo>
                <a:lnTo>
                  <a:pt x="1605" y="7302"/>
                </a:lnTo>
                <a:lnTo>
                  <a:pt x="1615" y="7302"/>
                </a:lnTo>
                <a:lnTo>
                  <a:pt x="1628" y="7311"/>
                </a:lnTo>
                <a:lnTo>
                  <a:pt x="1606" y="7321"/>
                </a:lnTo>
                <a:lnTo>
                  <a:pt x="1582" y="7329"/>
                </a:lnTo>
                <a:lnTo>
                  <a:pt x="1569" y="7328"/>
                </a:lnTo>
                <a:lnTo>
                  <a:pt x="1585" y="7312"/>
                </a:lnTo>
                <a:close/>
                <a:moveTo>
                  <a:pt x="1535" y="5095"/>
                </a:moveTo>
                <a:lnTo>
                  <a:pt x="1550" y="5077"/>
                </a:lnTo>
                <a:lnTo>
                  <a:pt x="1563" y="5058"/>
                </a:lnTo>
                <a:lnTo>
                  <a:pt x="1578" y="5040"/>
                </a:lnTo>
                <a:lnTo>
                  <a:pt x="1595" y="5026"/>
                </a:lnTo>
                <a:lnTo>
                  <a:pt x="1581" y="5043"/>
                </a:lnTo>
                <a:lnTo>
                  <a:pt x="1565" y="5061"/>
                </a:lnTo>
                <a:lnTo>
                  <a:pt x="1550" y="5077"/>
                </a:lnTo>
                <a:lnTo>
                  <a:pt x="1535" y="5095"/>
                </a:lnTo>
                <a:close/>
                <a:moveTo>
                  <a:pt x="1578" y="6589"/>
                </a:moveTo>
                <a:lnTo>
                  <a:pt x="1581" y="6584"/>
                </a:lnTo>
                <a:lnTo>
                  <a:pt x="1585" y="6581"/>
                </a:lnTo>
                <a:lnTo>
                  <a:pt x="1586" y="6584"/>
                </a:lnTo>
                <a:lnTo>
                  <a:pt x="1586" y="6587"/>
                </a:lnTo>
                <a:lnTo>
                  <a:pt x="1582" y="6588"/>
                </a:lnTo>
                <a:lnTo>
                  <a:pt x="1578" y="6589"/>
                </a:lnTo>
                <a:close/>
                <a:moveTo>
                  <a:pt x="1563" y="6340"/>
                </a:moveTo>
                <a:lnTo>
                  <a:pt x="1568" y="6332"/>
                </a:lnTo>
                <a:lnTo>
                  <a:pt x="1571" y="6331"/>
                </a:lnTo>
                <a:lnTo>
                  <a:pt x="1573" y="6334"/>
                </a:lnTo>
                <a:lnTo>
                  <a:pt x="1574" y="6342"/>
                </a:lnTo>
                <a:lnTo>
                  <a:pt x="1568" y="6340"/>
                </a:lnTo>
                <a:lnTo>
                  <a:pt x="1563" y="6340"/>
                </a:lnTo>
                <a:close/>
                <a:moveTo>
                  <a:pt x="1546" y="6373"/>
                </a:moveTo>
                <a:lnTo>
                  <a:pt x="1550" y="6363"/>
                </a:lnTo>
                <a:lnTo>
                  <a:pt x="1558" y="6356"/>
                </a:lnTo>
                <a:lnTo>
                  <a:pt x="1567" y="6350"/>
                </a:lnTo>
                <a:lnTo>
                  <a:pt x="1576" y="6346"/>
                </a:lnTo>
                <a:lnTo>
                  <a:pt x="1576" y="6358"/>
                </a:lnTo>
                <a:lnTo>
                  <a:pt x="1569" y="6365"/>
                </a:lnTo>
                <a:lnTo>
                  <a:pt x="1558" y="6369"/>
                </a:lnTo>
                <a:lnTo>
                  <a:pt x="1546" y="6373"/>
                </a:lnTo>
                <a:close/>
                <a:moveTo>
                  <a:pt x="1546" y="6388"/>
                </a:moveTo>
                <a:lnTo>
                  <a:pt x="1546" y="6383"/>
                </a:lnTo>
                <a:lnTo>
                  <a:pt x="1549" y="6382"/>
                </a:lnTo>
                <a:lnTo>
                  <a:pt x="1554" y="6382"/>
                </a:lnTo>
                <a:lnTo>
                  <a:pt x="1559" y="6384"/>
                </a:lnTo>
                <a:lnTo>
                  <a:pt x="1553" y="6386"/>
                </a:lnTo>
                <a:lnTo>
                  <a:pt x="1546" y="6388"/>
                </a:lnTo>
                <a:close/>
                <a:moveTo>
                  <a:pt x="1563" y="4983"/>
                </a:moveTo>
                <a:lnTo>
                  <a:pt x="1576" y="4972"/>
                </a:lnTo>
                <a:lnTo>
                  <a:pt x="1590" y="4963"/>
                </a:lnTo>
                <a:lnTo>
                  <a:pt x="1581" y="4972"/>
                </a:lnTo>
                <a:lnTo>
                  <a:pt x="1571" y="4986"/>
                </a:lnTo>
                <a:lnTo>
                  <a:pt x="1562" y="4993"/>
                </a:lnTo>
                <a:lnTo>
                  <a:pt x="1563" y="4983"/>
                </a:lnTo>
                <a:close/>
                <a:moveTo>
                  <a:pt x="1628" y="6623"/>
                </a:moveTo>
                <a:lnTo>
                  <a:pt x="1627" y="6623"/>
                </a:lnTo>
                <a:lnTo>
                  <a:pt x="1628" y="6621"/>
                </a:lnTo>
                <a:lnTo>
                  <a:pt x="1628" y="6623"/>
                </a:lnTo>
                <a:lnTo>
                  <a:pt x="1628" y="6623"/>
                </a:lnTo>
                <a:close/>
                <a:moveTo>
                  <a:pt x="1627" y="6467"/>
                </a:moveTo>
                <a:lnTo>
                  <a:pt x="1624" y="6463"/>
                </a:lnTo>
                <a:lnTo>
                  <a:pt x="1623" y="6460"/>
                </a:lnTo>
                <a:lnTo>
                  <a:pt x="1625" y="6457"/>
                </a:lnTo>
                <a:lnTo>
                  <a:pt x="1630" y="6457"/>
                </a:lnTo>
                <a:lnTo>
                  <a:pt x="1629" y="6462"/>
                </a:lnTo>
                <a:lnTo>
                  <a:pt x="1627" y="6467"/>
                </a:lnTo>
                <a:close/>
                <a:moveTo>
                  <a:pt x="1596" y="5025"/>
                </a:moveTo>
                <a:lnTo>
                  <a:pt x="1596" y="5019"/>
                </a:lnTo>
                <a:lnTo>
                  <a:pt x="1601" y="5012"/>
                </a:lnTo>
                <a:lnTo>
                  <a:pt x="1606" y="5007"/>
                </a:lnTo>
                <a:lnTo>
                  <a:pt x="1613" y="5005"/>
                </a:lnTo>
                <a:lnTo>
                  <a:pt x="1610" y="5010"/>
                </a:lnTo>
                <a:lnTo>
                  <a:pt x="1606" y="5015"/>
                </a:lnTo>
                <a:lnTo>
                  <a:pt x="1601" y="5020"/>
                </a:lnTo>
                <a:lnTo>
                  <a:pt x="1596" y="5025"/>
                </a:lnTo>
                <a:close/>
                <a:moveTo>
                  <a:pt x="1630" y="6631"/>
                </a:moveTo>
                <a:lnTo>
                  <a:pt x="1632" y="6643"/>
                </a:lnTo>
                <a:lnTo>
                  <a:pt x="1623" y="6649"/>
                </a:lnTo>
                <a:lnTo>
                  <a:pt x="1610" y="6653"/>
                </a:lnTo>
                <a:lnTo>
                  <a:pt x="1601" y="6659"/>
                </a:lnTo>
                <a:lnTo>
                  <a:pt x="1605" y="6649"/>
                </a:lnTo>
                <a:lnTo>
                  <a:pt x="1613" y="6643"/>
                </a:lnTo>
                <a:lnTo>
                  <a:pt x="1620" y="6637"/>
                </a:lnTo>
                <a:lnTo>
                  <a:pt x="1630" y="6631"/>
                </a:lnTo>
                <a:close/>
                <a:moveTo>
                  <a:pt x="1611" y="4936"/>
                </a:moveTo>
                <a:lnTo>
                  <a:pt x="1630" y="4922"/>
                </a:lnTo>
                <a:lnTo>
                  <a:pt x="1629" y="4932"/>
                </a:lnTo>
                <a:lnTo>
                  <a:pt x="1614" y="4951"/>
                </a:lnTo>
                <a:lnTo>
                  <a:pt x="1590" y="4961"/>
                </a:lnTo>
                <a:lnTo>
                  <a:pt x="1593" y="4956"/>
                </a:lnTo>
                <a:lnTo>
                  <a:pt x="1601" y="4951"/>
                </a:lnTo>
                <a:lnTo>
                  <a:pt x="1609" y="4945"/>
                </a:lnTo>
                <a:lnTo>
                  <a:pt x="1611" y="4936"/>
                </a:lnTo>
                <a:close/>
                <a:moveTo>
                  <a:pt x="1675" y="7281"/>
                </a:moveTo>
                <a:lnTo>
                  <a:pt x="1675" y="7286"/>
                </a:lnTo>
                <a:lnTo>
                  <a:pt x="1670" y="7290"/>
                </a:lnTo>
                <a:lnTo>
                  <a:pt x="1662" y="7293"/>
                </a:lnTo>
                <a:lnTo>
                  <a:pt x="1656" y="7296"/>
                </a:lnTo>
                <a:lnTo>
                  <a:pt x="1656" y="7291"/>
                </a:lnTo>
                <a:lnTo>
                  <a:pt x="1662" y="7287"/>
                </a:lnTo>
                <a:lnTo>
                  <a:pt x="1669" y="7283"/>
                </a:lnTo>
                <a:lnTo>
                  <a:pt x="1675" y="7281"/>
                </a:lnTo>
                <a:close/>
                <a:moveTo>
                  <a:pt x="1708" y="6522"/>
                </a:moveTo>
                <a:lnTo>
                  <a:pt x="1726" y="6514"/>
                </a:lnTo>
                <a:lnTo>
                  <a:pt x="1727" y="6519"/>
                </a:lnTo>
                <a:lnTo>
                  <a:pt x="1717" y="6530"/>
                </a:lnTo>
                <a:lnTo>
                  <a:pt x="1700" y="6539"/>
                </a:lnTo>
                <a:lnTo>
                  <a:pt x="1676" y="6546"/>
                </a:lnTo>
                <a:lnTo>
                  <a:pt x="1676" y="6542"/>
                </a:lnTo>
                <a:lnTo>
                  <a:pt x="1690" y="6533"/>
                </a:lnTo>
                <a:lnTo>
                  <a:pt x="1708" y="6522"/>
                </a:lnTo>
                <a:close/>
                <a:moveTo>
                  <a:pt x="1750" y="6516"/>
                </a:moveTo>
                <a:lnTo>
                  <a:pt x="1751" y="6517"/>
                </a:lnTo>
                <a:lnTo>
                  <a:pt x="1750" y="6518"/>
                </a:lnTo>
                <a:lnTo>
                  <a:pt x="1749" y="6518"/>
                </a:lnTo>
                <a:lnTo>
                  <a:pt x="1748" y="6519"/>
                </a:lnTo>
                <a:lnTo>
                  <a:pt x="1748" y="6517"/>
                </a:lnTo>
                <a:lnTo>
                  <a:pt x="1750" y="6516"/>
                </a:lnTo>
                <a:close/>
                <a:moveTo>
                  <a:pt x="1540" y="8284"/>
                </a:moveTo>
                <a:lnTo>
                  <a:pt x="1545" y="8281"/>
                </a:lnTo>
                <a:lnTo>
                  <a:pt x="1540" y="8284"/>
                </a:lnTo>
                <a:lnTo>
                  <a:pt x="1539" y="8279"/>
                </a:lnTo>
                <a:lnTo>
                  <a:pt x="1541" y="8276"/>
                </a:lnTo>
                <a:lnTo>
                  <a:pt x="1544" y="8277"/>
                </a:lnTo>
                <a:lnTo>
                  <a:pt x="1540" y="8284"/>
                </a:lnTo>
                <a:close/>
                <a:moveTo>
                  <a:pt x="1486" y="7931"/>
                </a:moveTo>
                <a:lnTo>
                  <a:pt x="1494" y="7926"/>
                </a:lnTo>
                <a:lnTo>
                  <a:pt x="1495" y="7926"/>
                </a:lnTo>
                <a:lnTo>
                  <a:pt x="1492" y="7929"/>
                </a:lnTo>
                <a:lnTo>
                  <a:pt x="1486" y="7931"/>
                </a:lnTo>
                <a:lnTo>
                  <a:pt x="1484" y="7926"/>
                </a:lnTo>
                <a:lnTo>
                  <a:pt x="1490" y="7921"/>
                </a:lnTo>
                <a:lnTo>
                  <a:pt x="1493" y="7922"/>
                </a:lnTo>
                <a:lnTo>
                  <a:pt x="1486" y="7931"/>
                </a:lnTo>
                <a:close/>
                <a:moveTo>
                  <a:pt x="1385" y="7937"/>
                </a:moveTo>
                <a:lnTo>
                  <a:pt x="1394" y="7927"/>
                </a:lnTo>
                <a:lnTo>
                  <a:pt x="1405" y="7923"/>
                </a:lnTo>
                <a:lnTo>
                  <a:pt x="1418" y="7925"/>
                </a:lnTo>
                <a:lnTo>
                  <a:pt x="1429" y="7922"/>
                </a:lnTo>
                <a:lnTo>
                  <a:pt x="1419" y="7931"/>
                </a:lnTo>
                <a:lnTo>
                  <a:pt x="1410" y="7939"/>
                </a:lnTo>
                <a:lnTo>
                  <a:pt x="1399" y="7943"/>
                </a:lnTo>
                <a:lnTo>
                  <a:pt x="1385" y="7937"/>
                </a:lnTo>
                <a:close/>
                <a:moveTo>
                  <a:pt x="1413" y="7626"/>
                </a:moveTo>
                <a:lnTo>
                  <a:pt x="1408" y="7629"/>
                </a:lnTo>
                <a:lnTo>
                  <a:pt x="1402" y="7632"/>
                </a:lnTo>
                <a:lnTo>
                  <a:pt x="1409" y="7628"/>
                </a:lnTo>
                <a:lnTo>
                  <a:pt x="1413" y="7626"/>
                </a:lnTo>
                <a:close/>
                <a:moveTo>
                  <a:pt x="1362" y="7628"/>
                </a:moveTo>
                <a:lnTo>
                  <a:pt x="1362" y="7628"/>
                </a:lnTo>
                <a:lnTo>
                  <a:pt x="1362" y="7628"/>
                </a:lnTo>
                <a:lnTo>
                  <a:pt x="1362" y="7628"/>
                </a:lnTo>
                <a:lnTo>
                  <a:pt x="1362" y="7628"/>
                </a:lnTo>
                <a:close/>
                <a:moveTo>
                  <a:pt x="1169" y="7589"/>
                </a:moveTo>
                <a:lnTo>
                  <a:pt x="1171" y="7586"/>
                </a:lnTo>
                <a:lnTo>
                  <a:pt x="1171" y="7586"/>
                </a:lnTo>
                <a:lnTo>
                  <a:pt x="1171" y="7586"/>
                </a:lnTo>
                <a:lnTo>
                  <a:pt x="1172" y="7587"/>
                </a:lnTo>
                <a:lnTo>
                  <a:pt x="1169" y="7589"/>
                </a:lnTo>
                <a:close/>
                <a:moveTo>
                  <a:pt x="1455" y="5162"/>
                </a:moveTo>
                <a:lnTo>
                  <a:pt x="1455" y="5154"/>
                </a:lnTo>
                <a:lnTo>
                  <a:pt x="1461" y="5143"/>
                </a:lnTo>
                <a:lnTo>
                  <a:pt x="1469" y="5134"/>
                </a:lnTo>
                <a:lnTo>
                  <a:pt x="1476" y="5127"/>
                </a:lnTo>
                <a:lnTo>
                  <a:pt x="1467" y="5145"/>
                </a:lnTo>
                <a:lnTo>
                  <a:pt x="1455" y="5162"/>
                </a:lnTo>
                <a:close/>
                <a:moveTo>
                  <a:pt x="1410" y="6733"/>
                </a:moveTo>
                <a:lnTo>
                  <a:pt x="1392" y="6764"/>
                </a:lnTo>
                <a:lnTo>
                  <a:pt x="1358" y="6796"/>
                </a:lnTo>
                <a:lnTo>
                  <a:pt x="1321" y="6816"/>
                </a:lnTo>
                <a:lnTo>
                  <a:pt x="1290" y="6812"/>
                </a:lnTo>
                <a:lnTo>
                  <a:pt x="1302" y="6782"/>
                </a:lnTo>
                <a:lnTo>
                  <a:pt x="1362" y="6745"/>
                </a:lnTo>
                <a:lnTo>
                  <a:pt x="1415" y="6723"/>
                </a:lnTo>
                <a:lnTo>
                  <a:pt x="1410" y="6733"/>
                </a:lnTo>
                <a:close/>
                <a:moveTo>
                  <a:pt x="1418" y="6807"/>
                </a:moveTo>
                <a:lnTo>
                  <a:pt x="1418" y="6806"/>
                </a:lnTo>
                <a:lnTo>
                  <a:pt x="1418" y="6807"/>
                </a:lnTo>
                <a:lnTo>
                  <a:pt x="1413" y="6808"/>
                </a:lnTo>
                <a:lnTo>
                  <a:pt x="1418" y="6807"/>
                </a:lnTo>
                <a:close/>
                <a:moveTo>
                  <a:pt x="1392" y="6782"/>
                </a:moveTo>
                <a:lnTo>
                  <a:pt x="1404" y="6778"/>
                </a:lnTo>
                <a:lnTo>
                  <a:pt x="1418" y="6771"/>
                </a:lnTo>
                <a:lnTo>
                  <a:pt x="1413" y="6782"/>
                </a:lnTo>
                <a:lnTo>
                  <a:pt x="1408" y="6789"/>
                </a:lnTo>
                <a:lnTo>
                  <a:pt x="1400" y="6791"/>
                </a:lnTo>
                <a:lnTo>
                  <a:pt x="1392" y="6782"/>
                </a:lnTo>
                <a:close/>
                <a:moveTo>
                  <a:pt x="1396" y="6877"/>
                </a:moveTo>
                <a:lnTo>
                  <a:pt x="1401" y="6876"/>
                </a:lnTo>
                <a:lnTo>
                  <a:pt x="1396" y="6877"/>
                </a:lnTo>
                <a:lnTo>
                  <a:pt x="1399" y="6872"/>
                </a:lnTo>
                <a:lnTo>
                  <a:pt x="1396" y="6877"/>
                </a:lnTo>
                <a:close/>
                <a:moveTo>
                  <a:pt x="1372" y="6816"/>
                </a:moveTo>
                <a:lnTo>
                  <a:pt x="1367" y="6817"/>
                </a:lnTo>
                <a:lnTo>
                  <a:pt x="1364" y="6816"/>
                </a:lnTo>
                <a:lnTo>
                  <a:pt x="1364" y="6812"/>
                </a:lnTo>
                <a:lnTo>
                  <a:pt x="1369" y="6811"/>
                </a:lnTo>
                <a:lnTo>
                  <a:pt x="1371" y="6813"/>
                </a:lnTo>
                <a:lnTo>
                  <a:pt x="1372" y="6816"/>
                </a:lnTo>
                <a:close/>
                <a:moveTo>
                  <a:pt x="1297" y="6623"/>
                </a:moveTo>
                <a:lnTo>
                  <a:pt x="1288" y="6628"/>
                </a:lnTo>
                <a:lnTo>
                  <a:pt x="1297" y="6623"/>
                </a:lnTo>
                <a:lnTo>
                  <a:pt x="1295" y="6628"/>
                </a:lnTo>
                <a:lnTo>
                  <a:pt x="1292" y="6629"/>
                </a:lnTo>
                <a:lnTo>
                  <a:pt x="1290" y="6628"/>
                </a:lnTo>
                <a:lnTo>
                  <a:pt x="1297" y="6623"/>
                </a:lnTo>
                <a:close/>
                <a:moveTo>
                  <a:pt x="1267" y="6631"/>
                </a:moveTo>
                <a:lnTo>
                  <a:pt x="1276" y="6615"/>
                </a:lnTo>
                <a:lnTo>
                  <a:pt x="1287" y="6586"/>
                </a:lnTo>
                <a:lnTo>
                  <a:pt x="1298" y="6567"/>
                </a:lnTo>
                <a:lnTo>
                  <a:pt x="1308" y="6577"/>
                </a:lnTo>
                <a:lnTo>
                  <a:pt x="1360" y="6577"/>
                </a:lnTo>
                <a:lnTo>
                  <a:pt x="1355" y="6583"/>
                </a:lnTo>
                <a:lnTo>
                  <a:pt x="1316" y="6601"/>
                </a:lnTo>
                <a:lnTo>
                  <a:pt x="1267" y="6631"/>
                </a:lnTo>
                <a:close/>
                <a:moveTo>
                  <a:pt x="1239" y="6624"/>
                </a:moveTo>
                <a:lnTo>
                  <a:pt x="1223" y="6630"/>
                </a:lnTo>
                <a:lnTo>
                  <a:pt x="1209" y="6637"/>
                </a:lnTo>
                <a:lnTo>
                  <a:pt x="1194" y="6639"/>
                </a:lnTo>
                <a:lnTo>
                  <a:pt x="1177" y="6633"/>
                </a:lnTo>
                <a:lnTo>
                  <a:pt x="1206" y="6605"/>
                </a:lnTo>
                <a:lnTo>
                  <a:pt x="1242" y="6586"/>
                </a:lnTo>
                <a:lnTo>
                  <a:pt x="1261" y="6588"/>
                </a:lnTo>
                <a:lnTo>
                  <a:pt x="1239" y="6624"/>
                </a:lnTo>
                <a:close/>
                <a:moveTo>
                  <a:pt x="1163" y="6639"/>
                </a:moveTo>
                <a:lnTo>
                  <a:pt x="1158" y="6634"/>
                </a:lnTo>
                <a:lnTo>
                  <a:pt x="1162" y="6631"/>
                </a:lnTo>
                <a:lnTo>
                  <a:pt x="1168" y="6631"/>
                </a:lnTo>
                <a:lnTo>
                  <a:pt x="1174" y="6634"/>
                </a:lnTo>
                <a:lnTo>
                  <a:pt x="1169" y="6637"/>
                </a:lnTo>
                <a:lnTo>
                  <a:pt x="1163" y="6639"/>
                </a:lnTo>
                <a:close/>
                <a:moveTo>
                  <a:pt x="1274" y="6545"/>
                </a:moveTo>
                <a:lnTo>
                  <a:pt x="1271" y="6554"/>
                </a:lnTo>
                <a:lnTo>
                  <a:pt x="1266" y="6559"/>
                </a:lnTo>
                <a:lnTo>
                  <a:pt x="1260" y="6564"/>
                </a:lnTo>
                <a:lnTo>
                  <a:pt x="1252" y="6567"/>
                </a:lnTo>
                <a:lnTo>
                  <a:pt x="1262" y="6555"/>
                </a:lnTo>
                <a:lnTo>
                  <a:pt x="1274" y="6545"/>
                </a:lnTo>
                <a:close/>
                <a:moveTo>
                  <a:pt x="1273" y="6544"/>
                </a:moveTo>
                <a:lnTo>
                  <a:pt x="1274" y="6545"/>
                </a:lnTo>
                <a:lnTo>
                  <a:pt x="1273" y="6544"/>
                </a:lnTo>
                <a:lnTo>
                  <a:pt x="1274" y="6544"/>
                </a:lnTo>
                <a:lnTo>
                  <a:pt x="1273" y="6544"/>
                </a:lnTo>
                <a:close/>
                <a:moveTo>
                  <a:pt x="1150" y="6603"/>
                </a:moveTo>
                <a:lnTo>
                  <a:pt x="1005" y="6659"/>
                </a:lnTo>
                <a:lnTo>
                  <a:pt x="955" y="6700"/>
                </a:lnTo>
                <a:lnTo>
                  <a:pt x="945" y="6754"/>
                </a:lnTo>
                <a:lnTo>
                  <a:pt x="926" y="6845"/>
                </a:lnTo>
                <a:lnTo>
                  <a:pt x="892" y="6774"/>
                </a:lnTo>
                <a:lnTo>
                  <a:pt x="925" y="6667"/>
                </a:lnTo>
                <a:lnTo>
                  <a:pt x="982" y="6573"/>
                </a:lnTo>
                <a:lnTo>
                  <a:pt x="1018" y="6541"/>
                </a:lnTo>
                <a:lnTo>
                  <a:pt x="1097" y="6472"/>
                </a:lnTo>
                <a:lnTo>
                  <a:pt x="1130" y="6472"/>
                </a:lnTo>
                <a:lnTo>
                  <a:pt x="1150" y="6503"/>
                </a:lnTo>
                <a:lnTo>
                  <a:pt x="1192" y="6528"/>
                </a:lnTo>
                <a:lnTo>
                  <a:pt x="1195" y="6516"/>
                </a:lnTo>
                <a:lnTo>
                  <a:pt x="1194" y="6472"/>
                </a:lnTo>
                <a:lnTo>
                  <a:pt x="1196" y="6434"/>
                </a:lnTo>
                <a:lnTo>
                  <a:pt x="1216" y="6434"/>
                </a:lnTo>
                <a:lnTo>
                  <a:pt x="1211" y="6469"/>
                </a:lnTo>
                <a:lnTo>
                  <a:pt x="1227" y="6477"/>
                </a:lnTo>
                <a:lnTo>
                  <a:pt x="1251" y="6466"/>
                </a:lnTo>
                <a:lnTo>
                  <a:pt x="1271" y="6439"/>
                </a:lnTo>
                <a:lnTo>
                  <a:pt x="1246" y="6499"/>
                </a:lnTo>
                <a:lnTo>
                  <a:pt x="1255" y="6504"/>
                </a:lnTo>
                <a:lnTo>
                  <a:pt x="1284" y="6472"/>
                </a:lnTo>
                <a:lnTo>
                  <a:pt x="1320" y="6424"/>
                </a:lnTo>
                <a:lnTo>
                  <a:pt x="1284" y="6502"/>
                </a:lnTo>
                <a:lnTo>
                  <a:pt x="1245" y="6537"/>
                </a:lnTo>
                <a:lnTo>
                  <a:pt x="1200" y="6561"/>
                </a:lnTo>
                <a:lnTo>
                  <a:pt x="1150" y="6603"/>
                </a:lnTo>
                <a:close/>
                <a:moveTo>
                  <a:pt x="1022" y="6710"/>
                </a:moveTo>
                <a:lnTo>
                  <a:pt x="1024" y="6708"/>
                </a:lnTo>
                <a:lnTo>
                  <a:pt x="1025" y="6705"/>
                </a:lnTo>
                <a:lnTo>
                  <a:pt x="1028" y="6705"/>
                </a:lnTo>
                <a:lnTo>
                  <a:pt x="1029" y="6707"/>
                </a:lnTo>
                <a:lnTo>
                  <a:pt x="1025" y="6709"/>
                </a:lnTo>
                <a:lnTo>
                  <a:pt x="1022" y="6710"/>
                </a:lnTo>
                <a:close/>
                <a:moveTo>
                  <a:pt x="980" y="6684"/>
                </a:moveTo>
                <a:lnTo>
                  <a:pt x="982" y="6684"/>
                </a:lnTo>
                <a:lnTo>
                  <a:pt x="980" y="6684"/>
                </a:lnTo>
                <a:lnTo>
                  <a:pt x="981" y="6682"/>
                </a:lnTo>
                <a:lnTo>
                  <a:pt x="980" y="6684"/>
                </a:lnTo>
                <a:close/>
                <a:moveTo>
                  <a:pt x="1008" y="6715"/>
                </a:moveTo>
                <a:lnTo>
                  <a:pt x="991" y="6723"/>
                </a:lnTo>
                <a:lnTo>
                  <a:pt x="976" y="6732"/>
                </a:lnTo>
                <a:lnTo>
                  <a:pt x="961" y="6740"/>
                </a:lnTo>
                <a:lnTo>
                  <a:pt x="943" y="6745"/>
                </a:lnTo>
                <a:lnTo>
                  <a:pt x="958" y="6717"/>
                </a:lnTo>
                <a:lnTo>
                  <a:pt x="989" y="6698"/>
                </a:lnTo>
                <a:lnTo>
                  <a:pt x="1013" y="6696"/>
                </a:lnTo>
                <a:lnTo>
                  <a:pt x="1008" y="6715"/>
                </a:lnTo>
                <a:close/>
                <a:moveTo>
                  <a:pt x="936" y="6875"/>
                </a:moveTo>
                <a:lnTo>
                  <a:pt x="931" y="6875"/>
                </a:lnTo>
                <a:lnTo>
                  <a:pt x="927" y="6872"/>
                </a:lnTo>
                <a:lnTo>
                  <a:pt x="926" y="6867"/>
                </a:lnTo>
                <a:lnTo>
                  <a:pt x="925" y="6862"/>
                </a:lnTo>
                <a:lnTo>
                  <a:pt x="927" y="6850"/>
                </a:lnTo>
                <a:lnTo>
                  <a:pt x="939" y="6855"/>
                </a:lnTo>
                <a:lnTo>
                  <a:pt x="945" y="6867"/>
                </a:lnTo>
                <a:lnTo>
                  <a:pt x="936" y="6875"/>
                </a:lnTo>
                <a:close/>
                <a:moveTo>
                  <a:pt x="958" y="6525"/>
                </a:moveTo>
                <a:lnTo>
                  <a:pt x="953" y="6527"/>
                </a:lnTo>
                <a:lnTo>
                  <a:pt x="948" y="6530"/>
                </a:lnTo>
                <a:lnTo>
                  <a:pt x="948" y="6525"/>
                </a:lnTo>
                <a:lnTo>
                  <a:pt x="949" y="6522"/>
                </a:lnTo>
                <a:lnTo>
                  <a:pt x="953" y="6522"/>
                </a:lnTo>
                <a:lnTo>
                  <a:pt x="958" y="6525"/>
                </a:lnTo>
                <a:close/>
                <a:moveTo>
                  <a:pt x="1005" y="6470"/>
                </a:moveTo>
                <a:lnTo>
                  <a:pt x="1015" y="6467"/>
                </a:lnTo>
                <a:lnTo>
                  <a:pt x="1014" y="6470"/>
                </a:lnTo>
                <a:lnTo>
                  <a:pt x="1006" y="6474"/>
                </a:lnTo>
                <a:lnTo>
                  <a:pt x="997" y="6477"/>
                </a:lnTo>
                <a:lnTo>
                  <a:pt x="996" y="6475"/>
                </a:lnTo>
                <a:lnTo>
                  <a:pt x="997" y="6472"/>
                </a:lnTo>
                <a:lnTo>
                  <a:pt x="1003" y="6471"/>
                </a:lnTo>
                <a:lnTo>
                  <a:pt x="1005" y="6470"/>
                </a:lnTo>
                <a:close/>
                <a:moveTo>
                  <a:pt x="1074" y="6437"/>
                </a:moveTo>
                <a:lnTo>
                  <a:pt x="1075" y="6438"/>
                </a:lnTo>
                <a:lnTo>
                  <a:pt x="1075" y="6438"/>
                </a:lnTo>
                <a:lnTo>
                  <a:pt x="1074" y="6438"/>
                </a:lnTo>
                <a:lnTo>
                  <a:pt x="1073" y="6439"/>
                </a:lnTo>
                <a:lnTo>
                  <a:pt x="1074" y="6437"/>
                </a:lnTo>
                <a:close/>
                <a:moveTo>
                  <a:pt x="1162" y="6428"/>
                </a:moveTo>
                <a:lnTo>
                  <a:pt x="1169" y="6425"/>
                </a:lnTo>
                <a:lnTo>
                  <a:pt x="1173" y="6428"/>
                </a:lnTo>
                <a:lnTo>
                  <a:pt x="1172" y="6432"/>
                </a:lnTo>
                <a:lnTo>
                  <a:pt x="1164" y="6433"/>
                </a:lnTo>
                <a:lnTo>
                  <a:pt x="1162" y="6433"/>
                </a:lnTo>
                <a:lnTo>
                  <a:pt x="1160" y="6432"/>
                </a:lnTo>
                <a:lnTo>
                  <a:pt x="1160" y="6430"/>
                </a:lnTo>
                <a:lnTo>
                  <a:pt x="1162" y="6428"/>
                </a:lnTo>
                <a:close/>
                <a:moveTo>
                  <a:pt x="1218" y="6401"/>
                </a:moveTo>
                <a:lnTo>
                  <a:pt x="1218" y="6402"/>
                </a:lnTo>
                <a:lnTo>
                  <a:pt x="1218" y="6401"/>
                </a:lnTo>
                <a:lnTo>
                  <a:pt x="1218" y="6402"/>
                </a:lnTo>
                <a:lnTo>
                  <a:pt x="1218" y="6401"/>
                </a:lnTo>
                <a:close/>
                <a:moveTo>
                  <a:pt x="1227" y="6388"/>
                </a:moveTo>
                <a:lnTo>
                  <a:pt x="1225" y="6390"/>
                </a:lnTo>
                <a:lnTo>
                  <a:pt x="1227" y="6388"/>
                </a:lnTo>
                <a:lnTo>
                  <a:pt x="1227" y="6390"/>
                </a:lnTo>
                <a:lnTo>
                  <a:pt x="1227" y="6388"/>
                </a:lnTo>
                <a:close/>
                <a:moveTo>
                  <a:pt x="1245" y="6345"/>
                </a:moveTo>
                <a:lnTo>
                  <a:pt x="1256" y="6339"/>
                </a:lnTo>
                <a:lnTo>
                  <a:pt x="1261" y="6339"/>
                </a:lnTo>
                <a:lnTo>
                  <a:pt x="1259" y="6344"/>
                </a:lnTo>
                <a:lnTo>
                  <a:pt x="1251" y="6356"/>
                </a:lnTo>
                <a:lnTo>
                  <a:pt x="1247" y="6354"/>
                </a:lnTo>
                <a:lnTo>
                  <a:pt x="1243" y="6351"/>
                </a:lnTo>
                <a:lnTo>
                  <a:pt x="1242" y="6349"/>
                </a:lnTo>
                <a:lnTo>
                  <a:pt x="1245" y="6345"/>
                </a:lnTo>
                <a:close/>
                <a:moveTo>
                  <a:pt x="1243" y="6252"/>
                </a:moveTo>
                <a:lnTo>
                  <a:pt x="1251" y="6234"/>
                </a:lnTo>
                <a:lnTo>
                  <a:pt x="1257" y="6216"/>
                </a:lnTo>
                <a:lnTo>
                  <a:pt x="1265" y="6199"/>
                </a:lnTo>
                <a:lnTo>
                  <a:pt x="1280" y="6188"/>
                </a:lnTo>
                <a:lnTo>
                  <a:pt x="1275" y="6206"/>
                </a:lnTo>
                <a:lnTo>
                  <a:pt x="1269" y="6224"/>
                </a:lnTo>
                <a:lnTo>
                  <a:pt x="1257" y="6239"/>
                </a:lnTo>
                <a:lnTo>
                  <a:pt x="1243" y="6252"/>
                </a:lnTo>
                <a:close/>
                <a:moveTo>
                  <a:pt x="1278" y="5846"/>
                </a:moveTo>
                <a:lnTo>
                  <a:pt x="1269" y="5846"/>
                </a:lnTo>
                <a:lnTo>
                  <a:pt x="1262" y="5845"/>
                </a:lnTo>
                <a:lnTo>
                  <a:pt x="1257" y="5846"/>
                </a:lnTo>
                <a:lnTo>
                  <a:pt x="1250" y="5855"/>
                </a:lnTo>
                <a:lnTo>
                  <a:pt x="1257" y="5846"/>
                </a:lnTo>
                <a:lnTo>
                  <a:pt x="1267" y="5838"/>
                </a:lnTo>
                <a:lnTo>
                  <a:pt x="1276" y="5837"/>
                </a:lnTo>
                <a:lnTo>
                  <a:pt x="1278" y="5846"/>
                </a:lnTo>
                <a:close/>
                <a:moveTo>
                  <a:pt x="1259" y="5216"/>
                </a:moveTo>
                <a:lnTo>
                  <a:pt x="1259" y="5216"/>
                </a:lnTo>
                <a:lnTo>
                  <a:pt x="1259" y="5216"/>
                </a:lnTo>
                <a:lnTo>
                  <a:pt x="1259" y="5216"/>
                </a:lnTo>
                <a:lnTo>
                  <a:pt x="1259" y="5216"/>
                </a:lnTo>
                <a:close/>
                <a:moveTo>
                  <a:pt x="1297" y="5333"/>
                </a:moveTo>
                <a:lnTo>
                  <a:pt x="1292" y="5348"/>
                </a:lnTo>
                <a:lnTo>
                  <a:pt x="1287" y="5357"/>
                </a:lnTo>
                <a:lnTo>
                  <a:pt x="1276" y="5364"/>
                </a:lnTo>
                <a:lnTo>
                  <a:pt x="1259" y="5370"/>
                </a:lnTo>
                <a:lnTo>
                  <a:pt x="1269" y="5361"/>
                </a:lnTo>
                <a:lnTo>
                  <a:pt x="1278" y="5350"/>
                </a:lnTo>
                <a:lnTo>
                  <a:pt x="1287" y="5339"/>
                </a:lnTo>
                <a:lnTo>
                  <a:pt x="1297" y="5333"/>
                </a:lnTo>
                <a:close/>
                <a:moveTo>
                  <a:pt x="1284" y="5922"/>
                </a:moveTo>
                <a:lnTo>
                  <a:pt x="1284" y="5922"/>
                </a:lnTo>
                <a:lnTo>
                  <a:pt x="1284" y="5922"/>
                </a:lnTo>
                <a:lnTo>
                  <a:pt x="1287" y="5922"/>
                </a:lnTo>
                <a:lnTo>
                  <a:pt x="1284" y="5922"/>
                </a:lnTo>
                <a:close/>
                <a:moveTo>
                  <a:pt x="1288" y="6052"/>
                </a:moveTo>
                <a:lnTo>
                  <a:pt x="1285" y="6056"/>
                </a:lnTo>
                <a:lnTo>
                  <a:pt x="1284" y="6056"/>
                </a:lnTo>
                <a:lnTo>
                  <a:pt x="1281" y="6054"/>
                </a:lnTo>
                <a:lnTo>
                  <a:pt x="1279" y="6048"/>
                </a:lnTo>
                <a:lnTo>
                  <a:pt x="1284" y="6051"/>
                </a:lnTo>
                <a:lnTo>
                  <a:pt x="1288" y="6052"/>
                </a:lnTo>
                <a:close/>
                <a:moveTo>
                  <a:pt x="1320" y="6219"/>
                </a:moveTo>
                <a:lnTo>
                  <a:pt x="1325" y="6225"/>
                </a:lnTo>
                <a:lnTo>
                  <a:pt x="1308" y="6262"/>
                </a:lnTo>
                <a:lnTo>
                  <a:pt x="1283" y="6302"/>
                </a:lnTo>
                <a:lnTo>
                  <a:pt x="1260" y="6317"/>
                </a:lnTo>
                <a:lnTo>
                  <a:pt x="1274" y="6292"/>
                </a:lnTo>
                <a:lnTo>
                  <a:pt x="1288" y="6267"/>
                </a:lnTo>
                <a:lnTo>
                  <a:pt x="1303" y="6242"/>
                </a:lnTo>
                <a:lnTo>
                  <a:pt x="1320" y="6219"/>
                </a:lnTo>
                <a:close/>
                <a:moveTo>
                  <a:pt x="1318" y="5998"/>
                </a:moveTo>
                <a:lnTo>
                  <a:pt x="1316" y="6000"/>
                </a:lnTo>
                <a:lnTo>
                  <a:pt x="1318" y="5998"/>
                </a:lnTo>
                <a:lnTo>
                  <a:pt x="1317" y="6001"/>
                </a:lnTo>
                <a:lnTo>
                  <a:pt x="1318" y="5998"/>
                </a:lnTo>
                <a:close/>
                <a:moveTo>
                  <a:pt x="1316" y="5894"/>
                </a:moveTo>
                <a:lnTo>
                  <a:pt x="1318" y="5896"/>
                </a:lnTo>
                <a:lnTo>
                  <a:pt x="1318" y="5897"/>
                </a:lnTo>
                <a:lnTo>
                  <a:pt x="1318" y="5898"/>
                </a:lnTo>
                <a:lnTo>
                  <a:pt x="1318" y="5900"/>
                </a:lnTo>
                <a:lnTo>
                  <a:pt x="1316" y="5900"/>
                </a:lnTo>
                <a:lnTo>
                  <a:pt x="1316" y="5898"/>
                </a:lnTo>
                <a:lnTo>
                  <a:pt x="1316" y="5897"/>
                </a:lnTo>
                <a:lnTo>
                  <a:pt x="1316" y="5894"/>
                </a:lnTo>
                <a:close/>
                <a:moveTo>
                  <a:pt x="1334" y="5211"/>
                </a:moveTo>
                <a:lnTo>
                  <a:pt x="1334" y="5211"/>
                </a:lnTo>
                <a:lnTo>
                  <a:pt x="1334" y="5211"/>
                </a:lnTo>
                <a:lnTo>
                  <a:pt x="1334" y="5211"/>
                </a:lnTo>
                <a:lnTo>
                  <a:pt x="1334" y="5211"/>
                </a:lnTo>
                <a:close/>
                <a:moveTo>
                  <a:pt x="1335" y="5863"/>
                </a:moveTo>
                <a:lnTo>
                  <a:pt x="1336" y="5865"/>
                </a:lnTo>
                <a:lnTo>
                  <a:pt x="1339" y="5865"/>
                </a:lnTo>
                <a:lnTo>
                  <a:pt x="1337" y="5868"/>
                </a:lnTo>
                <a:lnTo>
                  <a:pt x="1335" y="5866"/>
                </a:lnTo>
                <a:lnTo>
                  <a:pt x="1335" y="5865"/>
                </a:lnTo>
                <a:lnTo>
                  <a:pt x="1335" y="5863"/>
                </a:lnTo>
                <a:close/>
                <a:moveTo>
                  <a:pt x="1351" y="6358"/>
                </a:moveTo>
                <a:lnTo>
                  <a:pt x="1359" y="6355"/>
                </a:lnTo>
                <a:lnTo>
                  <a:pt x="1365" y="6351"/>
                </a:lnTo>
                <a:lnTo>
                  <a:pt x="1368" y="6351"/>
                </a:lnTo>
                <a:lnTo>
                  <a:pt x="1364" y="6359"/>
                </a:lnTo>
                <a:lnTo>
                  <a:pt x="1357" y="6363"/>
                </a:lnTo>
                <a:lnTo>
                  <a:pt x="1350" y="6365"/>
                </a:lnTo>
                <a:lnTo>
                  <a:pt x="1348" y="6365"/>
                </a:lnTo>
                <a:lnTo>
                  <a:pt x="1351" y="6358"/>
                </a:lnTo>
                <a:close/>
                <a:moveTo>
                  <a:pt x="1321" y="6421"/>
                </a:moveTo>
                <a:lnTo>
                  <a:pt x="1325" y="6410"/>
                </a:lnTo>
                <a:lnTo>
                  <a:pt x="1329" y="6399"/>
                </a:lnTo>
                <a:lnTo>
                  <a:pt x="1335" y="6391"/>
                </a:lnTo>
                <a:lnTo>
                  <a:pt x="1346" y="6388"/>
                </a:lnTo>
                <a:lnTo>
                  <a:pt x="1341" y="6397"/>
                </a:lnTo>
                <a:lnTo>
                  <a:pt x="1336" y="6406"/>
                </a:lnTo>
                <a:lnTo>
                  <a:pt x="1330" y="6415"/>
                </a:lnTo>
                <a:lnTo>
                  <a:pt x="1321" y="6421"/>
                </a:lnTo>
                <a:close/>
                <a:moveTo>
                  <a:pt x="1316" y="6544"/>
                </a:moveTo>
                <a:lnTo>
                  <a:pt x="1293" y="6549"/>
                </a:lnTo>
                <a:lnTo>
                  <a:pt x="1303" y="6530"/>
                </a:lnTo>
                <a:lnTo>
                  <a:pt x="1337" y="6509"/>
                </a:lnTo>
                <a:lnTo>
                  <a:pt x="1381" y="6508"/>
                </a:lnTo>
                <a:lnTo>
                  <a:pt x="1363" y="6528"/>
                </a:lnTo>
                <a:lnTo>
                  <a:pt x="1349" y="6530"/>
                </a:lnTo>
                <a:lnTo>
                  <a:pt x="1335" y="6528"/>
                </a:lnTo>
                <a:lnTo>
                  <a:pt x="1316" y="6544"/>
                </a:lnTo>
                <a:close/>
                <a:moveTo>
                  <a:pt x="1402" y="6415"/>
                </a:moveTo>
                <a:lnTo>
                  <a:pt x="1405" y="6430"/>
                </a:lnTo>
                <a:lnTo>
                  <a:pt x="1391" y="6451"/>
                </a:lnTo>
                <a:lnTo>
                  <a:pt x="1367" y="6470"/>
                </a:lnTo>
                <a:lnTo>
                  <a:pt x="1345" y="6479"/>
                </a:lnTo>
                <a:lnTo>
                  <a:pt x="1359" y="6463"/>
                </a:lnTo>
                <a:lnTo>
                  <a:pt x="1373" y="6447"/>
                </a:lnTo>
                <a:lnTo>
                  <a:pt x="1388" y="6432"/>
                </a:lnTo>
                <a:lnTo>
                  <a:pt x="1402" y="6415"/>
                </a:lnTo>
                <a:close/>
                <a:moveTo>
                  <a:pt x="1390" y="5115"/>
                </a:moveTo>
                <a:lnTo>
                  <a:pt x="1394" y="5113"/>
                </a:lnTo>
                <a:lnTo>
                  <a:pt x="1399" y="5110"/>
                </a:lnTo>
                <a:lnTo>
                  <a:pt x="1400" y="5112"/>
                </a:lnTo>
                <a:lnTo>
                  <a:pt x="1395" y="5118"/>
                </a:lnTo>
                <a:lnTo>
                  <a:pt x="1390" y="5122"/>
                </a:lnTo>
                <a:lnTo>
                  <a:pt x="1390" y="5115"/>
                </a:lnTo>
                <a:close/>
                <a:moveTo>
                  <a:pt x="1420" y="5780"/>
                </a:moveTo>
                <a:lnTo>
                  <a:pt x="1420" y="5781"/>
                </a:lnTo>
                <a:lnTo>
                  <a:pt x="1418" y="5781"/>
                </a:lnTo>
                <a:lnTo>
                  <a:pt x="1419" y="5780"/>
                </a:lnTo>
                <a:lnTo>
                  <a:pt x="1420" y="5780"/>
                </a:lnTo>
                <a:close/>
                <a:moveTo>
                  <a:pt x="1420" y="6532"/>
                </a:moveTo>
                <a:lnTo>
                  <a:pt x="1418" y="6541"/>
                </a:lnTo>
                <a:lnTo>
                  <a:pt x="1415" y="6545"/>
                </a:lnTo>
                <a:lnTo>
                  <a:pt x="1409" y="6545"/>
                </a:lnTo>
                <a:lnTo>
                  <a:pt x="1401" y="6540"/>
                </a:lnTo>
                <a:lnTo>
                  <a:pt x="1411" y="6536"/>
                </a:lnTo>
                <a:lnTo>
                  <a:pt x="1420" y="6532"/>
                </a:lnTo>
                <a:close/>
                <a:moveTo>
                  <a:pt x="1394" y="6476"/>
                </a:moveTo>
                <a:lnTo>
                  <a:pt x="1401" y="6472"/>
                </a:lnTo>
                <a:lnTo>
                  <a:pt x="1411" y="6467"/>
                </a:lnTo>
                <a:lnTo>
                  <a:pt x="1420" y="6465"/>
                </a:lnTo>
                <a:lnTo>
                  <a:pt x="1423" y="6469"/>
                </a:lnTo>
                <a:lnTo>
                  <a:pt x="1418" y="6472"/>
                </a:lnTo>
                <a:lnTo>
                  <a:pt x="1411" y="6475"/>
                </a:lnTo>
                <a:lnTo>
                  <a:pt x="1404" y="6475"/>
                </a:lnTo>
                <a:lnTo>
                  <a:pt x="1394" y="6476"/>
                </a:lnTo>
                <a:close/>
                <a:moveTo>
                  <a:pt x="1427" y="6122"/>
                </a:moveTo>
                <a:lnTo>
                  <a:pt x="1428" y="6124"/>
                </a:lnTo>
                <a:lnTo>
                  <a:pt x="1428" y="6125"/>
                </a:lnTo>
                <a:lnTo>
                  <a:pt x="1427" y="6125"/>
                </a:lnTo>
                <a:lnTo>
                  <a:pt x="1425" y="6125"/>
                </a:lnTo>
                <a:lnTo>
                  <a:pt x="1427" y="6122"/>
                </a:lnTo>
                <a:close/>
                <a:moveTo>
                  <a:pt x="1457" y="5067"/>
                </a:moveTo>
                <a:lnTo>
                  <a:pt x="1462" y="5067"/>
                </a:lnTo>
                <a:lnTo>
                  <a:pt x="1464" y="5070"/>
                </a:lnTo>
                <a:lnTo>
                  <a:pt x="1462" y="5075"/>
                </a:lnTo>
                <a:lnTo>
                  <a:pt x="1461" y="5080"/>
                </a:lnTo>
                <a:lnTo>
                  <a:pt x="1456" y="5077"/>
                </a:lnTo>
                <a:lnTo>
                  <a:pt x="1455" y="5075"/>
                </a:lnTo>
                <a:lnTo>
                  <a:pt x="1455" y="5071"/>
                </a:lnTo>
                <a:lnTo>
                  <a:pt x="1457" y="5067"/>
                </a:lnTo>
                <a:close/>
                <a:moveTo>
                  <a:pt x="1020" y="7419"/>
                </a:moveTo>
                <a:lnTo>
                  <a:pt x="1023" y="7417"/>
                </a:lnTo>
                <a:lnTo>
                  <a:pt x="1023" y="7419"/>
                </a:lnTo>
                <a:lnTo>
                  <a:pt x="1023" y="7419"/>
                </a:lnTo>
                <a:lnTo>
                  <a:pt x="1022" y="7419"/>
                </a:lnTo>
                <a:lnTo>
                  <a:pt x="1020" y="7419"/>
                </a:lnTo>
                <a:close/>
                <a:moveTo>
                  <a:pt x="997" y="7367"/>
                </a:moveTo>
                <a:lnTo>
                  <a:pt x="994" y="7368"/>
                </a:lnTo>
                <a:lnTo>
                  <a:pt x="989" y="7368"/>
                </a:lnTo>
                <a:lnTo>
                  <a:pt x="990" y="7356"/>
                </a:lnTo>
                <a:lnTo>
                  <a:pt x="1000" y="7353"/>
                </a:lnTo>
                <a:lnTo>
                  <a:pt x="1008" y="7357"/>
                </a:lnTo>
                <a:lnTo>
                  <a:pt x="997" y="7367"/>
                </a:lnTo>
                <a:close/>
                <a:moveTo>
                  <a:pt x="834" y="6670"/>
                </a:moveTo>
                <a:lnTo>
                  <a:pt x="833" y="6668"/>
                </a:lnTo>
                <a:lnTo>
                  <a:pt x="833" y="6667"/>
                </a:lnTo>
                <a:lnTo>
                  <a:pt x="832" y="6666"/>
                </a:lnTo>
                <a:lnTo>
                  <a:pt x="833" y="6665"/>
                </a:lnTo>
                <a:lnTo>
                  <a:pt x="834" y="6666"/>
                </a:lnTo>
                <a:lnTo>
                  <a:pt x="837" y="6667"/>
                </a:lnTo>
                <a:lnTo>
                  <a:pt x="837" y="6668"/>
                </a:lnTo>
                <a:lnTo>
                  <a:pt x="834" y="6670"/>
                </a:lnTo>
                <a:close/>
                <a:moveTo>
                  <a:pt x="1251" y="6043"/>
                </a:moveTo>
                <a:lnTo>
                  <a:pt x="1260" y="6032"/>
                </a:lnTo>
                <a:lnTo>
                  <a:pt x="1257" y="6033"/>
                </a:lnTo>
                <a:lnTo>
                  <a:pt x="1252" y="6033"/>
                </a:lnTo>
                <a:lnTo>
                  <a:pt x="1253" y="6022"/>
                </a:lnTo>
                <a:lnTo>
                  <a:pt x="1262" y="6027"/>
                </a:lnTo>
                <a:lnTo>
                  <a:pt x="1264" y="6033"/>
                </a:lnTo>
                <a:lnTo>
                  <a:pt x="1260" y="6038"/>
                </a:lnTo>
                <a:lnTo>
                  <a:pt x="1251" y="6043"/>
                </a:lnTo>
                <a:close/>
                <a:moveTo>
                  <a:pt x="1199" y="5830"/>
                </a:moveTo>
                <a:lnTo>
                  <a:pt x="1208" y="5816"/>
                </a:lnTo>
                <a:lnTo>
                  <a:pt x="1219" y="5805"/>
                </a:lnTo>
                <a:lnTo>
                  <a:pt x="1230" y="5798"/>
                </a:lnTo>
                <a:lnTo>
                  <a:pt x="1243" y="5790"/>
                </a:lnTo>
                <a:lnTo>
                  <a:pt x="1230" y="5808"/>
                </a:lnTo>
                <a:lnTo>
                  <a:pt x="1222" y="5818"/>
                </a:lnTo>
                <a:lnTo>
                  <a:pt x="1213" y="5824"/>
                </a:lnTo>
                <a:lnTo>
                  <a:pt x="1199" y="5830"/>
                </a:lnTo>
                <a:close/>
                <a:moveTo>
                  <a:pt x="1192" y="5483"/>
                </a:moveTo>
                <a:lnTo>
                  <a:pt x="1197" y="5478"/>
                </a:lnTo>
                <a:lnTo>
                  <a:pt x="1201" y="5473"/>
                </a:lnTo>
                <a:lnTo>
                  <a:pt x="1206" y="5469"/>
                </a:lnTo>
                <a:lnTo>
                  <a:pt x="1214" y="5467"/>
                </a:lnTo>
                <a:lnTo>
                  <a:pt x="1210" y="5473"/>
                </a:lnTo>
                <a:lnTo>
                  <a:pt x="1205" y="5478"/>
                </a:lnTo>
                <a:lnTo>
                  <a:pt x="1199" y="5481"/>
                </a:lnTo>
                <a:lnTo>
                  <a:pt x="1192" y="5483"/>
                </a:lnTo>
                <a:close/>
                <a:moveTo>
                  <a:pt x="1177" y="5605"/>
                </a:moveTo>
                <a:lnTo>
                  <a:pt x="1177" y="5600"/>
                </a:lnTo>
                <a:lnTo>
                  <a:pt x="1180" y="5598"/>
                </a:lnTo>
                <a:lnTo>
                  <a:pt x="1182" y="5595"/>
                </a:lnTo>
                <a:lnTo>
                  <a:pt x="1186" y="5594"/>
                </a:lnTo>
                <a:lnTo>
                  <a:pt x="1182" y="5600"/>
                </a:lnTo>
                <a:lnTo>
                  <a:pt x="1177" y="5605"/>
                </a:lnTo>
                <a:close/>
                <a:moveTo>
                  <a:pt x="1155" y="5546"/>
                </a:moveTo>
                <a:lnTo>
                  <a:pt x="1146" y="5543"/>
                </a:lnTo>
                <a:lnTo>
                  <a:pt x="1140" y="5541"/>
                </a:lnTo>
                <a:lnTo>
                  <a:pt x="1140" y="5535"/>
                </a:lnTo>
                <a:lnTo>
                  <a:pt x="1146" y="5529"/>
                </a:lnTo>
                <a:lnTo>
                  <a:pt x="1168" y="5513"/>
                </a:lnTo>
                <a:lnTo>
                  <a:pt x="1176" y="5515"/>
                </a:lnTo>
                <a:lnTo>
                  <a:pt x="1172" y="5528"/>
                </a:lnTo>
                <a:lnTo>
                  <a:pt x="1155" y="5546"/>
                </a:lnTo>
                <a:close/>
                <a:moveTo>
                  <a:pt x="1149" y="5677"/>
                </a:moveTo>
                <a:lnTo>
                  <a:pt x="1146" y="5679"/>
                </a:lnTo>
                <a:lnTo>
                  <a:pt x="1146" y="5672"/>
                </a:lnTo>
                <a:lnTo>
                  <a:pt x="1150" y="5664"/>
                </a:lnTo>
                <a:lnTo>
                  <a:pt x="1155" y="5661"/>
                </a:lnTo>
                <a:lnTo>
                  <a:pt x="1153" y="5669"/>
                </a:lnTo>
                <a:lnTo>
                  <a:pt x="1149" y="5677"/>
                </a:lnTo>
                <a:close/>
                <a:moveTo>
                  <a:pt x="1122" y="5585"/>
                </a:moveTo>
                <a:lnTo>
                  <a:pt x="1097" y="5613"/>
                </a:lnTo>
                <a:lnTo>
                  <a:pt x="1075" y="5636"/>
                </a:lnTo>
                <a:lnTo>
                  <a:pt x="1052" y="5654"/>
                </a:lnTo>
                <a:lnTo>
                  <a:pt x="1025" y="5665"/>
                </a:lnTo>
                <a:lnTo>
                  <a:pt x="1043" y="5637"/>
                </a:lnTo>
                <a:lnTo>
                  <a:pt x="1088" y="5593"/>
                </a:lnTo>
                <a:lnTo>
                  <a:pt x="1125" y="5566"/>
                </a:lnTo>
                <a:lnTo>
                  <a:pt x="1122" y="5585"/>
                </a:lnTo>
                <a:close/>
                <a:moveTo>
                  <a:pt x="1121" y="5688"/>
                </a:moveTo>
                <a:lnTo>
                  <a:pt x="1130" y="5667"/>
                </a:lnTo>
                <a:lnTo>
                  <a:pt x="1130" y="5669"/>
                </a:lnTo>
                <a:lnTo>
                  <a:pt x="1121" y="5682"/>
                </a:lnTo>
                <a:lnTo>
                  <a:pt x="1101" y="5695"/>
                </a:lnTo>
                <a:lnTo>
                  <a:pt x="1106" y="5673"/>
                </a:lnTo>
                <a:lnTo>
                  <a:pt x="1122" y="5663"/>
                </a:lnTo>
                <a:lnTo>
                  <a:pt x="1132" y="5667"/>
                </a:lnTo>
                <a:lnTo>
                  <a:pt x="1121" y="5688"/>
                </a:lnTo>
                <a:close/>
                <a:moveTo>
                  <a:pt x="1090" y="6003"/>
                </a:moveTo>
                <a:lnTo>
                  <a:pt x="1084" y="6000"/>
                </a:lnTo>
                <a:lnTo>
                  <a:pt x="1080" y="5996"/>
                </a:lnTo>
                <a:lnTo>
                  <a:pt x="1079" y="5992"/>
                </a:lnTo>
                <a:lnTo>
                  <a:pt x="1079" y="5986"/>
                </a:lnTo>
                <a:lnTo>
                  <a:pt x="1085" y="5990"/>
                </a:lnTo>
                <a:lnTo>
                  <a:pt x="1089" y="5992"/>
                </a:lnTo>
                <a:lnTo>
                  <a:pt x="1092" y="5996"/>
                </a:lnTo>
                <a:lnTo>
                  <a:pt x="1090" y="6003"/>
                </a:lnTo>
                <a:close/>
                <a:moveTo>
                  <a:pt x="1088" y="6027"/>
                </a:moveTo>
                <a:lnTo>
                  <a:pt x="1089" y="6027"/>
                </a:lnTo>
                <a:lnTo>
                  <a:pt x="1088" y="6027"/>
                </a:lnTo>
                <a:lnTo>
                  <a:pt x="1088" y="6026"/>
                </a:lnTo>
                <a:lnTo>
                  <a:pt x="1088" y="6027"/>
                </a:lnTo>
                <a:close/>
                <a:moveTo>
                  <a:pt x="1074" y="5977"/>
                </a:moveTo>
                <a:lnTo>
                  <a:pt x="1078" y="5973"/>
                </a:lnTo>
                <a:lnTo>
                  <a:pt x="1080" y="5970"/>
                </a:lnTo>
                <a:lnTo>
                  <a:pt x="1079" y="5973"/>
                </a:lnTo>
                <a:lnTo>
                  <a:pt x="1076" y="5976"/>
                </a:lnTo>
                <a:lnTo>
                  <a:pt x="1075" y="5977"/>
                </a:lnTo>
                <a:lnTo>
                  <a:pt x="1074" y="5977"/>
                </a:lnTo>
                <a:close/>
                <a:moveTo>
                  <a:pt x="1074" y="6122"/>
                </a:moveTo>
                <a:lnTo>
                  <a:pt x="1066" y="6122"/>
                </a:lnTo>
                <a:lnTo>
                  <a:pt x="1066" y="6120"/>
                </a:lnTo>
                <a:lnTo>
                  <a:pt x="1071" y="6116"/>
                </a:lnTo>
                <a:lnTo>
                  <a:pt x="1079" y="6112"/>
                </a:lnTo>
                <a:lnTo>
                  <a:pt x="1076" y="6118"/>
                </a:lnTo>
                <a:lnTo>
                  <a:pt x="1074" y="6122"/>
                </a:lnTo>
                <a:close/>
                <a:moveTo>
                  <a:pt x="1052" y="5728"/>
                </a:moveTo>
                <a:lnTo>
                  <a:pt x="1057" y="5721"/>
                </a:lnTo>
                <a:lnTo>
                  <a:pt x="1062" y="5715"/>
                </a:lnTo>
                <a:lnTo>
                  <a:pt x="1066" y="5714"/>
                </a:lnTo>
                <a:lnTo>
                  <a:pt x="1067" y="5721"/>
                </a:lnTo>
                <a:lnTo>
                  <a:pt x="1065" y="5725"/>
                </a:lnTo>
                <a:lnTo>
                  <a:pt x="1060" y="5730"/>
                </a:lnTo>
                <a:lnTo>
                  <a:pt x="1055" y="5733"/>
                </a:lnTo>
                <a:lnTo>
                  <a:pt x="1052" y="5728"/>
                </a:lnTo>
                <a:close/>
                <a:moveTo>
                  <a:pt x="1050" y="6130"/>
                </a:moveTo>
                <a:lnTo>
                  <a:pt x="1055" y="6126"/>
                </a:lnTo>
                <a:lnTo>
                  <a:pt x="1059" y="6125"/>
                </a:lnTo>
                <a:lnTo>
                  <a:pt x="1062" y="6125"/>
                </a:lnTo>
                <a:lnTo>
                  <a:pt x="1065" y="6129"/>
                </a:lnTo>
                <a:lnTo>
                  <a:pt x="1059" y="6130"/>
                </a:lnTo>
                <a:lnTo>
                  <a:pt x="1050" y="6130"/>
                </a:lnTo>
                <a:close/>
                <a:moveTo>
                  <a:pt x="1014" y="6148"/>
                </a:moveTo>
                <a:lnTo>
                  <a:pt x="1022" y="6144"/>
                </a:lnTo>
                <a:lnTo>
                  <a:pt x="1014" y="6148"/>
                </a:lnTo>
                <a:lnTo>
                  <a:pt x="1014" y="6141"/>
                </a:lnTo>
                <a:lnTo>
                  <a:pt x="1019" y="6136"/>
                </a:lnTo>
                <a:lnTo>
                  <a:pt x="1022" y="6138"/>
                </a:lnTo>
                <a:lnTo>
                  <a:pt x="1014" y="6148"/>
                </a:lnTo>
                <a:close/>
                <a:moveTo>
                  <a:pt x="995" y="6078"/>
                </a:moveTo>
                <a:lnTo>
                  <a:pt x="1008" y="6066"/>
                </a:lnTo>
                <a:lnTo>
                  <a:pt x="1019" y="6057"/>
                </a:lnTo>
                <a:lnTo>
                  <a:pt x="1019" y="6069"/>
                </a:lnTo>
                <a:lnTo>
                  <a:pt x="1015" y="6076"/>
                </a:lnTo>
                <a:lnTo>
                  <a:pt x="1008" y="6080"/>
                </a:lnTo>
                <a:lnTo>
                  <a:pt x="995" y="6078"/>
                </a:lnTo>
                <a:close/>
                <a:moveTo>
                  <a:pt x="991" y="5861"/>
                </a:moveTo>
                <a:lnTo>
                  <a:pt x="963" y="5883"/>
                </a:lnTo>
                <a:lnTo>
                  <a:pt x="949" y="5887"/>
                </a:lnTo>
                <a:lnTo>
                  <a:pt x="953" y="5877"/>
                </a:lnTo>
                <a:lnTo>
                  <a:pt x="981" y="5852"/>
                </a:lnTo>
                <a:lnTo>
                  <a:pt x="1013" y="5812"/>
                </a:lnTo>
                <a:lnTo>
                  <a:pt x="1028" y="5816"/>
                </a:lnTo>
                <a:lnTo>
                  <a:pt x="1023" y="5840"/>
                </a:lnTo>
                <a:lnTo>
                  <a:pt x="991" y="5861"/>
                </a:lnTo>
                <a:close/>
                <a:moveTo>
                  <a:pt x="963" y="6102"/>
                </a:moveTo>
                <a:lnTo>
                  <a:pt x="964" y="6096"/>
                </a:lnTo>
                <a:lnTo>
                  <a:pt x="967" y="6090"/>
                </a:lnTo>
                <a:lnTo>
                  <a:pt x="969" y="6085"/>
                </a:lnTo>
                <a:lnTo>
                  <a:pt x="976" y="6085"/>
                </a:lnTo>
                <a:lnTo>
                  <a:pt x="969" y="6094"/>
                </a:lnTo>
                <a:lnTo>
                  <a:pt x="963" y="6102"/>
                </a:lnTo>
                <a:close/>
                <a:moveTo>
                  <a:pt x="950" y="6177"/>
                </a:moveTo>
                <a:lnTo>
                  <a:pt x="950" y="6176"/>
                </a:lnTo>
                <a:lnTo>
                  <a:pt x="950" y="6177"/>
                </a:lnTo>
                <a:lnTo>
                  <a:pt x="948" y="6174"/>
                </a:lnTo>
                <a:lnTo>
                  <a:pt x="950" y="6177"/>
                </a:lnTo>
                <a:close/>
                <a:moveTo>
                  <a:pt x="929" y="6124"/>
                </a:moveTo>
                <a:lnTo>
                  <a:pt x="918" y="6130"/>
                </a:lnTo>
                <a:lnTo>
                  <a:pt x="906" y="6134"/>
                </a:lnTo>
                <a:lnTo>
                  <a:pt x="890" y="6135"/>
                </a:lnTo>
                <a:lnTo>
                  <a:pt x="913" y="6113"/>
                </a:lnTo>
                <a:lnTo>
                  <a:pt x="938" y="6098"/>
                </a:lnTo>
                <a:lnTo>
                  <a:pt x="929" y="6124"/>
                </a:lnTo>
                <a:close/>
                <a:moveTo>
                  <a:pt x="910" y="6222"/>
                </a:moveTo>
                <a:lnTo>
                  <a:pt x="912" y="6214"/>
                </a:lnTo>
                <a:lnTo>
                  <a:pt x="916" y="6206"/>
                </a:lnTo>
                <a:lnTo>
                  <a:pt x="913" y="6215"/>
                </a:lnTo>
                <a:lnTo>
                  <a:pt x="910" y="6222"/>
                </a:lnTo>
                <a:close/>
                <a:moveTo>
                  <a:pt x="879" y="6241"/>
                </a:moveTo>
                <a:lnTo>
                  <a:pt x="883" y="6229"/>
                </a:lnTo>
                <a:lnTo>
                  <a:pt x="884" y="6228"/>
                </a:lnTo>
                <a:lnTo>
                  <a:pt x="883" y="6233"/>
                </a:lnTo>
                <a:lnTo>
                  <a:pt x="879" y="6241"/>
                </a:lnTo>
                <a:lnTo>
                  <a:pt x="878" y="6229"/>
                </a:lnTo>
                <a:lnTo>
                  <a:pt x="878" y="6224"/>
                </a:lnTo>
                <a:lnTo>
                  <a:pt x="879" y="6228"/>
                </a:lnTo>
                <a:lnTo>
                  <a:pt x="879" y="6241"/>
                </a:lnTo>
                <a:close/>
                <a:moveTo>
                  <a:pt x="868" y="6274"/>
                </a:moveTo>
                <a:lnTo>
                  <a:pt x="848" y="6281"/>
                </a:lnTo>
                <a:lnTo>
                  <a:pt x="829" y="6285"/>
                </a:lnTo>
                <a:lnTo>
                  <a:pt x="819" y="6281"/>
                </a:lnTo>
                <a:lnTo>
                  <a:pt x="827" y="6265"/>
                </a:lnTo>
                <a:lnTo>
                  <a:pt x="842" y="6253"/>
                </a:lnTo>
                <a:lnTo>
                  <a:pt x="860" y="6250"/>
                </a:lnTo>
                <a:lnTo>
                  <a:pt x="871" y="6255"/>
                </a:lnTo>
                <a:lnTo>
                  <a:pt x="868" y="6274"/>
                </a:lnTo>
                <a:close/>
                <a:moveTo>
                  <a:pt x="837" y="6153"/>
                </a:moveTo>
                <a:lnTo>
                  <a:pt x="832" y="6160"/>
                </a:lnTo>
                <a:lnTo>
                  <a:pt x="828" y="6167"/>
                </a:lnTo>
                <a:lnTo>
                  <a:pt x="823" y="6168"/>
                </a:lnTo>
                <a:lnTo>
                  <a:pt x="815" y="6163"/>
                </a:lnTo>
                <a:lnTo>
                  <a:pt x="826" y="6158"/>
                </a:lnTo>
                <a:lnTo>
                  <a:pt x="837" y="6153"/>
                </a:lnTo>
                <a:close/>
                <a:moveTo>
                  <a:pt x="878" y="6099"/>
                </a:moveTo>
                <a:lnTo>
                  <a:pt x="871" y="6106"/>
                </a:lnTo>
                <a:lnTo>
                  <a:pt x="864" y="6113"/>
                </a:lnTo>
                <a:lnTo>
                  <a:pt x="865" y="6106"/>
                </a:lnTo>
                <a:lnTo>
                  <a:pt x="866" y="6101"/>
                </a:lnTo>
                <a:lnTo>
                  <a:pt x="870" y="6097"/>
                </a:lnTo>
                <a:lnTo>
                  <a:pt x="878" y="6099"/>
                </a:lnTo>
                <a:close/>
                <a:moveTo>
                  <a:pt x="884" y="6101"/>
                </a:moveTo>
                <a:lnTo>
                  <a:pt x="883" y="6103"/>
                </a:lnTo>
                <a:lnTo>
                  <a:pt x="883" y="6107"/>
                </a:lnTo>
                <a:lnTo>
                  <a:pt x="882" y="6104"/>
                </a:lnTo>
                <a:lnTo>
                  <a:pt x="880" y="6102"/>
                </a:lnTo>
                <a:lnTo>
                  <a:pt x="882" y="6101"/>
                </a:lnTo>
                <a:lnTo>
                  <a:pt x="884" y="6101"/>
                </a:lnTo>
                <a:close/>
                <a:moveTo>
                  <a:pt x="805" y="6084"/>
                </a:moveTo>
                <a:lnTo>
                  <a:pt x="736" y="6110"/>
                </a:lnTo>
                <a:lnTo>
                  <a:pt x="694" y="6087"/>
                </a:lnTo>
                <a:lnTo>
                  <a:pt x="697" y="6065"/>
                </a:lnTo>
                <a:lnTo>
                  <a:pt x="759" y="6092"/>
                </a:lnTo>
                <a:lnTo>
                  <a:pt x="819" y="6043"/>
                </a:lnTo>
                <a:lnTo>
                  <a:pt x="862" y="6032"/>
                </a:lnTo>
                <a:lnTo>
                  <a:pt x="866" y="6048"/>
                </a:lnTo>
                <a:lnTo>
                  <a:pt x="805" y="6084"/>
                </a:lnTo>
                <a:close/>
                <a:moveTo>
                  <a:pt x="783" y="6197"/>
                </a:moveTo>
                <a:lnTo>
                  <a:pt x="786" y="6188"/>
                </a:lnTo>
                <a:lnTo>
                  <a:pt x="791" y="6181"/>
                </a:lnTo>
                <a:lnTo>
                  <a:pt x="799" y="6177"/>
                </a:lnTo>
                <a:lnTo>
                  <a:pt x="812" y="6180"/>
                </a:lnTo>
                <a:lnTo>
                  <a:pt x="796" y="6188"/>
                </a:lnTo>
                <a:lnTo>
                  <a:pt x="783" y="6197"/>
                </a:lnTo>
                <a:close/>
                <a:moveTo>
                  <a:pt x="794" y="6334"/>
                </a:moveTo>
                <a:lnTo>
                  <a:pt x="795" y="6332"/>
                </a:lnTo>
                <a:lnTo>
                  <a:pt x="794" y="6334"/>
                </a:lnTo>
                <a:lnTo>
                  <a:pt x="795" y="6332"/>
                </a:lnTo>
                <a:lnTo>
                  <a:pt x="794" y="6334"/>
                </a:lnTo>
                <a:close/>
                <a:moveTo>
                  <a:pt x="789" y="6270"/>
                </a:moveTo>
                <a:lnTo>
                  <a:pt x="786" y="6267"/>
                </a:lnTo>
                <a:lnTo>
                  <a:pt x="782" y="6264"/>
                </a:lnTo>
                <a:lnTo>
                  <a:pt x="786" y="6264"/>
                </a:lnTo>
                <a:lnTo>
                  <a:pt x="789" y="6265"/>
                </a:lnTo>
                <a:lnTo>
                  <a:pt x="790" y="6267"/>
                </a:lnTo>
                <a:lnTo>
                  <a:pt x="789" y="6270"/>
                </a:lnTo>
                <a:close/>
                <a:moveTo>
                  <a:pt x="768" y="6323"/>
                </a:moveTo>
                <a:lnTo>
                  <a:pt x="755" y="6317"/>
                </a:lnTo>
                <a:lnTo>
                  <a:pt x="749" y="6303"/>
                </a:lnTo>
                <a:lnTo>
                  <a:pt x="750" y="6286"/>
                </a:lnTo>
                <a:lnTo>
                  <a:pt x="764" y="6274"/>
                </a:lnTo>
                <a:lnTo>
                  <a:pt x="781" y="6274"/>
                </a:lnTo>
                <a:lnTo>
                  <a:pt x="782" y="6288"/>
                </a:lnTo>
                <a:lnTo>
                  <a:pt x="776" y="6307"/>
                </a:lnTo>
                <a:lnTo>
                  <a:pt x="768" y="6323"/>
                </a:lnTo>
                <a:close/>
                <a:moveTo>
                  <a:pt x="749" y="6364"/>
                </a:moveTo>
                <a:lnTo>
                  <a:pt x="740" y="6369"/>
                </a:lnTo>
                <a:lnTo>
                  <a:pt x="730" y="6373"/>
                </a:lnTo>
                <a:lnTo>
                  <a:pt x="733" y="6362"/>
                </a:lnTo>
                <a:lnTo>
                  <a:pt x="740" y="6356"/>
                </a:lnTo>
                <a:lnTo>
                  <a:pt x="747" y="6356"/>
                </a:lnTo>
                <a:lnTo>
                  <a:pt x="749" y="6364"/>
                </a:lnTo>
                <a:close/>
                <a:moveTo>
                  <a:pt x="706" y="6326"/>
                </a:moveTo>
                <a:lnTo>
                  <a:pt x="716" y="6317"/>
                </a:lnTo>
                <a:lnTo>
                  <a:pt x="726" y="6307"/>
                </a:lnTo>
                <a:lnTo>
                  <a:pt x="729" y="6320"/>
                </a:lnTo>
                <a:lnTo>
                  <a:pt x="725" y="6326"/>
                </a:lnTo>
                <a:lnTo>
                  <a:pt x="717" y="6328"/>
                </a:lnTo>
                <a:lnTo>
                  <a:pt x="706" y="6326"/>
                </a:lnTo>
                <a:close/>
                <a:moveTo>
                  <a:pt x="715" y="6471"/>
                </a:moveTo>
                <a:lnTo>
                  <a:pt x="715" y="6467"/>
                </a:lnTo>
                <a:lnTo>
                  <a:pt x="715" y="6471"/>
                </a:lnTo>
                <a:lnTo>
                  <a:pt x="710" y="6470"/>
                </a:lnTo>
                <a:lnTo>
                  <a:pt x="715" y="6471"/>
                </a:lnTo>
                <a:close/>
                <a:moveTo>
                  <a:pt x="684" y="6326"/>
                </a:moveTo>
                <a:lnTo>
                  <a:pt x="680" y="6321"/>
                </a:lnTo>
                <a:lnTo>
                  <a:pt x="682" y="6317"/>
                </a:lnTo>
                <a:lnTo>
                  <a:pt x="687" y="6313"/>
                </a:lnTo>
                <a:lnTo>
                  <a:pt x="691" y="6308"/>
                </a:lnTo>
                <a:lnTo>
                  <a:pt x="696" y="6314"/>
                </a:lnTo>
                <a:lnTo>
                  <a:pt x="696" y="6318"/>
                </a:lnTo>
                <a:lnTo>
                  <a:pt x="691" y="6322"/>
                </a:lnTo>
                <a:lnTo>
                  <a:pt x="684" y="6326"/>
                </a:lnTo>
                <a:close/>
                <a:moveTo>
                  <a:pt x="652" y="6159"/>
                </a:moveTo>
                <a:lnTo>
                  <a:pt x="655" y="6140"/>
                </a:lnTo>
                <a:lnTo>
                  <a:pt x="664" y="6125"/>
                </a:lnTo>
                <a:lnTo>
                  <a:pt x="677" y="6112"/>
                </a:lnTo>
                <a:lnTo>
                  <a:pt x="691" y="6098"/>
                </a:lnTo>
                <a:lnTo>
                  <a:pt x="692" y="6122"/>
                </a:lnTo>
                <a:lnTo>
                  <a:pt x="688" y="6140"/>
                </a:lnTo>
                <a:lnTo>
                  <a:pt x="677" y="6152"/>
                </a:lnTo>
                <a:lnTo>
                  <a:pt x="652" y="6159"/>
                </a:lnTo>
                <a:close/>
                <a:moveTo>
                  <a:pt x="666" y="6350"/>
                </a:moveTo>
                <a:lnTo>
                  <a:pt x="663" y="6348"/>
                </a:lnTo>
                <a:lnTo>
                  <a:pt x="656" y="6344"/>
                </a:lnTo>
                <a:lnTo>
                  <a:pt x="654" y="6340"/>
                </a:lnTo>
                <a:lnTo>
                  <a:pt x="655" y="6335"/>
                </a:lnTo>
                <a:lnTo>
                  <a:pt x="660" y="6339"/>
                </a:lnTo>
                <a:lnTo>
                  <a:pt x="665" y="6341"/>
                </a:lnTo>
                <a:lnTo>
                  <a:pt x="669" y="6345"/>
                </a:lnTo>
                <a:lnTo>
                  <a:pt x="666" y="6350"/>
                </a:lnTo>
                <a:close/>
                <a:moveTo>
                  <a:pt x="646" y="6106"/>
                </a:moveTo>
                <a:lnTo>
                  <a:pt x="642" y="6102"/>
                </a:lnTo>
                <a:lnTo>
                  <a:pt x="637" y="6099"/>
                </a:lnTo>
                <a:lnTo>
                  <a:pt x="634" y="6096"/>
                </a:lnTo>
                <a:lnTo>
                  <a:pt x="636" y="6090"/>
                </a:lnTo>
                <a:lnTo>
                  <a:pt x="643" y="6092"/>
                </a:lnTo>
                <a:lnTo>
                  <a:pt x="647" y="6094"/>
                </a:lnTo>
                <a:lnTo>
                  <a:pt x="649" y="6099"/>
                </a:lnTo>
                <a:lnTo>
                  <a:pt x="646" y="6106"/>
                </a:lnTo>
                <a:close/>
                <a:moveTo>
                  <a:pt x="641" y="6166"/>
                </a:moveTo>
                <a:lnTo>
                  <a:pt x="615" y="6159"/>
                </a:lnTo>
                <a:lnTo>
                  <a:pt x="610" y="6141"/>
                </a:lnTo>
                <a:lnTo>
                  <a:pt x="622" y="6124"/>
                </a:lnTo>
                <a:lnTo>
                  <a:pt x="642" y="6113"/>
                </a:lnTo>
                <a:lnTo>
                  <a:pt x="640" y="6126"/>
                </a:lnTo>
                <a:lnTo>
                  <a:pt x="633" y="6139"/>
                </a:lnTo>
                <a:lnTo>
                  <a:pt x="632" y="6152"/>
                </a:lnTo>
                <a:lnTo>
                  <a:pt x="641" y="6166"/>
                </a:lnTo>
                <a:close/>
                <a:moveTo>
                  <a:pt x="584" y="6362"/>
                </a:moveTo>
                <a:lnTo>
                  <a:pt x="589" y="6349"/>
                </a:lnTo>
                <a:lnTo>
                  <a:pt x="604" y="6337"/>
                </a:lnTo>
                <a:lnTo>
                  <a:pt x="622" y="6326"/>
                </a:lnTo>
                <a:lnTo>
                  <a:pt x="637" y="6314"/>
                </a:lnTo>
                <a:lnTo>
                  <a:pt x="629" y="6332"/>
                </a:lnTo>
                <a:lnTo>
                  <a:pt x="617" y="6348"/>
                </a:lnTo>
                <a:lnTo>
                  <a:pt x="600" y="6358"/>
                </a:lnTo>
                <a:lnTo>
                  <a:pt x="584" y="6362"/>
                </a:lnTo>
                <a:close/>
                <a:moveTo>
                  <a:pt x="576" y="6393"/>
                </a:moveTo>
                <a:lnTo>
                  <a:pt x="585" y="6388"/>
                </a:lnTo>
                <a:lnTo>
                  <a:pt x="576" y="6393"/>
                </a:lnTo>
                <a:lnTo>
                  <a:pt x="575" y="6386"/>
                </a:lnTo>
                <a:lnTo>
                  <a:pt x="580" y="6382"/>
                </a:lnTo>
                <a:lnTo>
                  <a:pt x="584" y="6383"/>
                </a:lnTo>
                <a:lnTo>
                  <a:pt x="576" y="6393"/>
                </a:lnTo>
                <a:close/>
                <a:moveTo>
                  <a:pt x="570" y="6346"/>
                </a:moveTo>
                <a:lnTo>
                  <a:pt x="576" y="6342"/>
                </a:lnTo>
                <a:lnTo>
                  <a:pt x="580" y="6349"/>
                </a:lnTo>
                <a:lnTo>
                  <a:pt x="580" y="6355"/>
                </a:lnTo>
                <a:lnTo>
                  <a:pt x="572" y="6353"/>
                </a:lnTo>
                <a:lnTo>
                  <a:pt x="570" y="6350"/>
                </a:lnTo>
                <a:lnTo>
                  <a:pt x="570" y="6346"/>
                </a:lnTo>
                <a:close/>
                <a:moveTo>
                  <a:pt x="559" y="6204"/>
                </a:moveTo>
                <a:lnTo>
                  <a:pt x="531" y="6197"/>
                </a:lnTo>
                <a:lnTo>
                  <a:pt x="506" y="6196"/>
                </a:lnTo>
                <a:lnTo>
                  <a:pt x="493" y="6199"/>
                </a:lnTo>
                <a:lnTo>
                  <a:pt x="507" y="6201"/>
                </a:lnTo>
                <a:lnTo>
                  <a:pt x="526" y="6172"/>
                </a:lnTo>
                <a:lnTo>
                  <a:pt x="570" y="6168"/>
                </a:lnTo>
                <a:lnTo>
                  <a:pt x="594" y="6181"/>
                </a:lnTo>
                <a:lnTo>
                  <a:pt x="559" y="6204"/>
                </a:lnTo>
                <a:close/>
                <a:moveTo>
                  <a:pt x="556" y="6377"/>
                </a:moveTo>
                <a:lnTo>
                  <a:pt x="553" y="6370"/>
                </a:lnTo>
                <a:lnTo>
                  <a:pt x="556" y="6367"/>
                </a:lnTo>
                <a:lnTo>
                  <a:pt x="561" y="6364"/>
                </a:lnTo>
                <a:lnTo>
                  <a:pt x="564" y="6369"/>
                </a:lnTo>
                <a:lnTo>
                  <a:pt x="559" y="6373"/>
                </a:lnTo>
                <a:lnTo>
                  <a:pt x="556" y="6377"/>
                </a:lnTo>
                <a:close/>
                <a:moveTo>
                  <a:pt x="557" y="6302"/>
                </a:moveTo>
                <a:lnTo>
                  <a:pt x="556" y="6312"/>
                </a:lnTo>
                <a:lnTo>
                  <a:pt x="553" y="6317"/>
                </a:lnTo>
                <a:lnTo>
                  <a:pt x="547" y="6321"/>
                </a:lnTo>
                <a:lnTo>
                  <a:pt x="534" y="6322"/>
                </a:lnTo>
                <a:lnTo>
                  <a:pt x="536" y="6312"/>
                </a:lnTo>
                <a:lnTo>
                  <a:pt x="542" y="6307"/>
                </a:lnTo>
                <a:lnTo>
                  <a:pt x="548" y="6303"/>
                </a:lnTo>
                <a:lnTo>
                  <a:pt x="557" y="6302"/>
                </a:lnTo>
                <a:close/>
                <a:moveTo>
                  <a:pt x="530" y="6284"/>
                </a:moveTo>
                <a:lnTo>
                  <a:pt x="540" y="6278"/>
                </a:lnTo>
                <a:lnTo>
                  <a:pt x="542" y="6276"/>
                </a:lnTo>
                <a:lnTo>
                  <a:pt x="536" y="6280"/>
                </a:lnTo>
                <a:lnTo>
                  <a:pt x="530" y="6284"/>
                </a:lnTo>
                <a:lnTo>
                  <a:pt x="528" y="6276"/>
                </a:lnTo>
                <a:lnTo>
                  <a:pt x="535" y="6270"/>
                </a:lnTo>
                <a:lnTo>
                  <a:pt x="539" y="6271"/>
                </a:lnTo>
                <a:lnTo>
                  <a:pt x="530" y="6284"/>
                </a:lnTo>
                <a:close/>
                <a:moveTo>
                  <a:pt x="502" y="6256"/>
                </a:moveTo>
                <a:lnTo>
                  <a:pt x="506" y="6253"/>
                </a:lnTo>
                <a:lnTo>
                  <a:pt x="511" y="6251"/>
                </a:lnTo>
                <a:lnTo>
                  <a:pt x="515" y="6251"/>
                </a:lnTo>
                <a:lnTo>
                  <a:pt x="519" y="6253"/>
                </a:lnTo>
                <a:lnTo>
                  <a:pt x="514" y="6257"/>
                </a:lnTo>
                <a:lnTo>
                  <a:pt x="508" y="6261"/>
                </a:lnTo>
                <a:lnTo>
                  <a:pt x="505" y="6261"/>
                </a:lnTo>
                <a:lnTo>
                  <a:pt x="502" y="6256"/>
                </a:lnTo>
                <a:close/>
                <a:moveTo>
                  <a:pt x="489" y="6405"/>
                </a:moveTo>
                <a:lnTo>
                  <a:pt x="473" y="6395"/>
                </a:lnTo>
                <a:lnTo>
                  <a:pt x="491" y="6379"/>
                </a:lnTo>
                <a:lnTo>
                  <a:pt x="520" y="6373"/>
                </a:lnTo>
                <a:lnTo>
                  <a:pt x="534" y="6388"/>
                </a:lnTo>
                <a:lnTo>
                  <a:pt x="528" y="6396"/>
                </a:lnTo>
                <a:lnTo>
                  <a:pt x="515" y="6402"/>
                </a:lnTo>
                <a:lnTo>
                  <a:pt x="501" y="6406"/>
                </a:lnTo>
                <a:lnTo>
                  <a:pt x="489" y="6405"/>
                </a:lnTo>
                <a:close/>
                <a:moveTo>
                  <a:pt x="464" y="6578"/>
                </a:moveTo>
                <a:lnTo>
                  <a:pt x="459" y="6577"/>
                </a:lnTo>
                <a:lnTo>
                  <a:pt x="456" y="6574"/>
                </a:lnTo>
                <a:lnTo>
                  <a:pt x="456" y="6570"/>
                </a:lnTo>
                <a:lnTo>
                  <a:pt x="460" y="6565"/>
                </a:lnTo>
                <a:lnTo>
                  <a:pt x="465" y="6569"/>
                </a:lnTo>
                <a:lnTo>
                  <a:pt x="468" y="6572"/>
                </a:lnTo>
                <a:lnTo>
                  <a:pt x="468" y="6574"/>
                </a:lnTo>
                <a:lnTo>
                  <a:pt x="464" y="6578"/>
                </a:lnTo>
                <a:close/>
                <a:moveTo>
                  <a:pt x="498" y="6290"/>
                </a:moveTo>
                <a:lnTo>
                  <a:pt x="497" y="6298"/>
                </a:lnTo>
                <a:lnTo>
                  <a:pt x="493" y="6302"/>
                </a:lnTo>
                <a:lnTo>
                  <a:pt x="487" y="6304"/>
                </a:lnTo>
                <a:lnTo>
                  <a:pt x="482" y="6308"/>
                </a:lnTo>
                <a:lnTo>
                  <a:pt x="482" y="6298"/>
                </a:lnTo>
                <a:lnTo>
                  <a:pt x="485" y="6293"/>
                </a:lnTo>
                <a:lnTo>
                  <a:pt x="491" y="6290"/>
                </a:lnTo>
                <a:lnTo>
                  <a:pt x="498" y="6290"/>
                </a:lnTo>
                <a:close/>
                <a:moveTo>
                  <a:pt x="548" y="6131"/>
                </a:moveTo>
                <a:lnTo>
                  <a:pt x="543" y="6134"/>
                </a:lnTo>
                <a:lnTo>
                  <a:pt x="548" y="6131"/>
                </a:lnTo>
                <a:lnTo>
                  <a:pt x="545" y="6138"/>
                </a:lnTo>
                <a:lnTo>
                  <a:pt x="548" y="6131"/>
                </a:lnTo>
                <a:close/>
                <a:moveTo>
                  <a:pt x="618" y="6103"/>
                </a:moveTo>
                <a:lnTo>
                  <a:pt x="614" y="6106"/>
                </a:lnTo>
                <a:lnTo>
                  <a:pt x="614" y="6107"/>
                </a:lnTo>
                <a:lnTo>
                  <a:pt x="615" y="6106"/>
                </a:lnTo>
                <a:lnTo>
                  <a:pt x="618" y="6103"/>
                </a:lnTo>
                <a:lnTo>
                  <a:pt x="620" y="6107"/>
                </a:lnTo>
                <a:lnTo>
                  <a:pt x="618" y="6112"/>
                </a:lnTo>
                <a:lnTo>
                  <a:pt x="617" y="6112"/>
                </a:lnTo>
                <a:lnTo>
                  <a:pt x="618" y="6103"/>
                </a:lnTo>
                <a:close/>
                <a:moveTo>
                  <a:pt x="846" y="5855"/>
                </a:moveTo>
                <a:lnTo>
                  <a:pt x="851" y="5855"/>
                </a:lnTo>
                <a:lnTo>
                  <a:pt x="855" y="5856"/>
                </a:lnTo>
                <a:lnTo>
                  <a:pt x="857" y="5860"/>
                </a:lnTo>
                <a:lnTo>
                  <a:pt x="860" y="5864"/>
                </a:lnTo>
                <a:lnTo>
                  <a:pt x="851" y="5865"/>
                </a:lnTo>
                <a:lnTo>
                  <a:pt x="843" y="5865"/>
                </a:lnTo>
                <a:lnTo>
                  <a:pt x="841" y="5863"/>
                </a:lnTo>
                <a:lnTo>
                  <a:pt x="846" y="5855"/>
                </a:lnTo>
                <a:close/>
                <a:moveTo>
                  <a:pt x="871" y="5898"/>
                </a:moveTo>
                <a:lnTo>
                  <a:pt x="871" y="5898"/>
                </a:lnTo>
                <a:lnTo>
                  <a:pt x="871" y="5898"/>
                </a:lnTo>
                <a:lnTo>
                  <a:pt x="870" y="5898"/>
                </a:lnTo>
                <a:lnTo>
                  <a:pt x="871" y="5898"/>
                </a:lnTo>
                <a:close/>
                <a:moveTo>
                  <a:pt x="893" y="5861"/>
                </a:moveTo>
                <a:lnTo>
                  <a:pt x="901" y="5859"/>
                </a:lnTo>
                <a:lnTo>
                  <a:pt x="893" y="5861"/>
                </a:lnTo>
                <a:lnTo>
                  <a:pt x="893" y="5855"/>
                </a:lnTo>
                <a:lnTo>
                  <a:pt x="897" y="5850"/>
                </a:lnTo>
                <a:lnTo>
                  <a:pt x="899" y="5851"/>
                </a:lnTo>
                <a:lnTo>
                  <a:pt x="893" y="5861"/>
                </a:lnTo>
                <a:close/>
                <a:moveTo>
                  <a:pt x="1000" y="5715"/>
                </a:moveTo>
                <a:lnTo>
                  <a:pt x="1000" y="5715"/>
                </a:lnTo>
                <a:lnTo>
                  <a:pt x="1000" y="5715"/>
                </a:lnTo>
                <a:lnTo>
                  <a:pt x="1000" y="5715"/>
                </a:lnTo>
                <a:lnTo>
                  <a:pt x="1000" y="5715"/>
                </a:lnTo>
                <a:close/>
                <a:moveTo>
                  <a:pt x="1015" y="5702"/>
                </a:moveTo>
                <a:lnTo>
                  <a:pt x="1009" y="5698"/>
                </a:lnTo>
                <a:lnTo>
                  <a:pt x="1006" y="5693"/>
                </a:lnTo>
                <a:lnTo>
                  <a:pt x="1010" y="5688"/>
                </a:lnTo>
                <a:lnTo>
                  <a:pt x="1017" y="5682"/>
                </a:lnTo>
                <a:lnTo>
                  <a:pt x="1017" y="5692"/>
                </a:lnTo>
                <a:lnTo>
                  <a:pt x="1015" y="5702"/>
                </a:lnTo>
                <a:close/>
                <a:moveTo>
                  <a:pt x="1027" y="5677"/>
                </a:moveTo>
                <a:lnTo>
                  <a:pt x="1024" y="5677"/>
                </a:lnTo>
                <a:lnTo>
                  <a:pt x="1027" y="5677"/>
                </a:lnTo>
                <a:lnTo>
                  <a:pt x="1022" y="5679"/>
                </a:lnTo>
                <a:lnTo>
                  <a:pt x="1027" y="5677"/>
                </a:lnTo>
                <a:close/>
                <a:moveTo>
                  <a:pt x="1071" y="5570"/>
                </a:moveTo>
                <a:lnTo>
                  <a:pt x="1066" y="5577"/>
                </a:lnTo>
                <a:lnTo>
                  <a:pt x="1062" y="5585"/>
                </a:lnTo>
                <a:lnTo>
                  <a:pt x="1056" y="5591"/>
                </a:lnTo>
                <a:lnTo>
                  <a:pt x="1048" y="5595"/>
                </a:lnTo>
                <a:lnTo>
                  <a:pt x="1053" y="5588"/>
                </a:lnTo>
                <a:lnTo>
                  <a:pt x="1059" y="5580"/>
                </a:lnTo>
                <a:lnTo>
                  <a:pt x="1064" y="5574"/>
                </a:lnTo>
                <a:lnTo>
                  <a:pt x="1071" y="5570"/>
                </a:lnTo>
                <a:close/>
                <a:moveTo>
                  <a:pt x="1102" y="5518"/>
                </a:moveTo>
                <a:lnTo>
                  <a:pt x="1102" y="5518"/>
                </a:lnTo>
                <a:lnTo>
                  <a:pt x="1102" y="5518"/>
                </a:lnTo>
                <a:lnTo>
                  <a:pt x="1102" y="5518"/>
                </a:lnTo>
                <a:lnTo>
                  <a:pt x="1102" y="5518"/>
                </a:lnTo>
                <a:close/>
                <a:moveTo>
                  <a:pt x="1149" y="5457"/>
                </a:moveTo>
                <a:lnTo>
                  <a:pt x="1143" y="5464"/>
                </a:lnTo>
                <a:lnTo>
                  <a:pt x="1135" y="5473"/>
                </a:lnTo>
                <a:lnTo>
                  <a:pt x="1136" y="5467"/>
                </a:lnTo>
                <a:lnTo>
                  <a:pt x="1140" y="5463"/>
                </a:lnTo>
                <a:lnTo>
                  <a:pt x="1145" y="5460"/>
                </a:lnTo>
                <a:lnTo>
                  <a:pt x="1149" y="5457"/>
                </a:lnTo>
                <a:close/>
                <a:moveTo>
                  <a:pt x="1164" y="5440"/>
                </a:moveTo>
                <a:lnTo>
                  <a:pt x="1158" y="5448"/>
                </a:lnTo>
                <a:lnTo>
                  <a:pt x="1150" y="5455"/>
                </a:lnTo>
                <a:lnTo>
                  <a:pt x="1153" y="5450"/>
                </a:lnTo>
                <a:lnTo>
                  <a:pt x="1155" y="5445"/>
                </a:lnTo>
                <a:lnTo>
                  <a:pt x="1159" y="5441"/>
                </a:lnTo>
                <a:lnTo>
                  <a:pt x="1164" y="5440"/>
                </a:lnTo>
                <a:close/>
                <a:moveTo>
                  <a:pt x="869" y="5678"/>
                </a:moveTo>
                <a:lnTo>
                  <a:pt x="915" y="5579"/>
                </a:lnTo>
                <a:lnTo>
                  <a:pt x="991" y="5497"/>
                </a:lnTo>
                <a:lnTo>
                  <a:pt x="1083" y="5434"/>
                </a:lnTo>
                <a:lnTo>
                  <a:pt x="1174" y="5390"/>
                </a:lnTo>
                <a:lnTo>
                  <a:pt x="1145" y="5440"/>
                </a:lnTo>
                <a:lnTo>
                  <a:pt x="1113" y="5497"/>
                </a:lnTo>
                <a:lnTo>
                  <a:pt x="1099" y="5525"/>
                </a:lnTo>
                <a:lnTo>
                  <a:pt x="1120" y="5487"/>
                </a:lnTo>
                <a:lnTo>
                  <a:pt x="1034" y="5558"/>
                </a:lnTo>
                <a:lnTo>
                  <a:pt x="977" y="5715"/>
                </a:lnTo>
                <a:lnTo>
                  <a:pt x="935" y="5836"/>
                </a:lnTo>
                <a:lnTo>
                  <a:pt x="894" y="5802"/>
                </a:lnTo>
                <a:lnTo>
                  <a:pt x="898" y="5799"/>
                </a:lnTo>
                <a:lnTo>
                  <a:pt x="906" y="5794"/>
                </a:lnTo>
                <a:lnTo>
                  <a:pt x="907" y="5791"/>
                </a:lnTo>
                <a:lnTo>
                  <a:pt x="908" y="5789"/>
                </a:lnTo>
                <a:lnTo>
                  <a:pt x="907" y="5785"/>
                </a:lnTo>
                <a:lnTo>
                  <a:pt x="904" y="5780"/>
                </a:lnTo>
                <a:lnTo>
                  <a:pt x="898" y="5790"/>
                </a:lnTo>
                <a:lnTo>
                  <a:pt x="893" y="5799"/>
                </a:lnTo>
                <a:lnTo>
                  <a:pt x="888" y="5776"/>
                </a:lnTo>
                <a:lnTo>
                  <a:pt x="882" y="5749"/>
                </a:lnTo>
                <a:lnTo>
                  <a:pt x="875" y="5716"/>
                </a:lnTo>
                <a:lnTo>
                  <a:pt x="869" y="5678"/>
                </a:lnTo>
                <a:close/>
                <a:moveTo>
                  <a:pt x="339" y="6502"/>
                </a:moveTo>
                <a:lnTo>
                  <a:pt x="334" y="6503"/>
                </a:lnTo>
                <a:lnTo>
                  <a:pt x="326" y="6504"/>
                </a:lnTo>
                <a:lnTo>
                  <a:pt x="329" y="6495"/>
                </a:lnTo>
                <a:lnTo>
                  <a:pt x="335" y="6491"/>
                </a:lnTo>
                <a:lnTo>
                  <a:pt x="339" y="6495"/>
                </a:lnTo>
                <a:lnTo>
                  <a:pt x="339" y="6502"/>
                </a:lnTo>
                <a:close/>
                <a:moveTo>
                  <a:pt x="277" y="6512"/>
                </a:moveTo>
                <a:lnTo>
                  <a:pt x="291" y="6504"/>
                </a:lnTo>
                <a:lnTo>
                  <a:pt x="305" y="6497"/>
                </a:lnTo>
                <a:lnTo>
                  <a:pt x="300" y="6505"/>
                </a:lnTo>
                <a:lnTo>
                  <a:pt x="296" y="6511"/>
                </a:lnTo>
                <a:lnTo>
                  <a:pt x="288" y="6512"/>
                </a:lnTo>
                <a:lnTo>
                  <a:pt x="277" y="6512"/>
                </a:lnTo>
                <a:close/>
                <a:moveTo>
                  <a:pt x="286" y="6430"/>
                </a:moveTo>
                <a:lnTo>
                  <a:pt x="282" y="6435"/>
                </a:lnTo>
                <a:lnTo>
                  <a:pt x="286" y="6430"/>
                </a:lnTo>
                <a:lnTo>
                  <a:pt x="289" y="6435"/>
                </a:lnTo>
                <a:lnTo>
                  <a:pt x="287" y="6442"/>
                </a:lnTo>
                <a:lnTo>
                  <a:pt x="284" y="6442"/>
                </a:lnTo>
                <a:lnTo>
                  <a:pt x="286" y="6430"/>
                </a:lnTo>
                <a:close/>
                <a:moveTo>
                  <a:pt x="258" y="6477"/>
                </a:moveTo>
                <a:lnTo>
                  <a:pt x="251" y="6475"/>
                </a:lnTo>
                <a:lnTo>
                  <a:pt x="250" y="6469"/>
                </a:lnTo>
                <a:lnTo>
                  <a:pt x="251" y="6458"/>
                </a:lnTo>
                <a:lnTo>
                  <a:pt x="252" y="6451"/>
                </a:lnTo>
                <a:lnTo>
                  <a:pt x="263" y="6456"/>
                </a:lnTo>
                <a:lnTo>
                  <a:pt x="266" y="6460"/>
                </a:lnTo>
                <a:lnTo>
                  <a:pt x="265" y="6466"/>
                </a:lnTo>
                <a:lnTo>
                  <a:pt x="258" y="6477"/>
                </a:lnTo>
                <a:close/>
                <a:moveTo>
                  <a:pt x="190" y="6471"/>
                </a:moveTo>
                <a:lnTo>
                  <a:pt x="182" y="6471"/>
                </a:lnTo>
                <a:lnTo>
                  <a:pt x="179" y="6470"/>
                </a:lnTo>
                <a:lnTo>
                  <a:pt x="176" y="6465"/>
                </a:lnTo>
                <a:lnTo>
                  <a:pt x="177" y="6457"/>
                </a:lnTo>
                <a:lnTo>
                  <a:pt x="185" y="6458"/>
                </a:lnTo>
                <a:lnTo>
                  <a:pt x="190" y="6461"/>
                </a:lnTo>
                <a:lnTo>
                  <a:pt x="193" y="6465"/>
                </a:lnTo>
                <a:lnTo>
                  <a:pt x="190" y="6471"/>
                </a:lnTo>
                <a:close/>
                <a:moveTo>
                  <a:pt x="162" y="6518"/>
                </a:moveTo>
                <a:lnTo>
                  <a:pt x="151" y="6516"/>
                </a:lnTo>
                <a:lnTo>
                  <a:pt x="154" y="6504"/>
                </a:lnTo>
                <a:lnTo>
                  <a:pt x="165" y="6495"/>
                </a:lnTo>
                <a:lnTo>
                  <a:pt x="175" y="6500"/>
                </a:lnTo>
                <a:lnTo>
                  <a:pt x="168" y="6509"/>
                </a:lnTo>
                <a:lnTo>
                  <a:pt x="162" y="6518"/>
                </a:lnTo>
                <a:close/>
                <a:moveTo>
                  <a:pt x="286" y="6257"/>
                </a:moveTo>
                <a:lnTo>
                  <a:pt x="300" y="6251"/>
                </a:lnTo>
                <a:lnTo>
                  <a:pt x="310" y="6246"/>
                </a:lnTo>
                <a:lnTo>
                  <a:pt x="311" y="6252"/>
                </a:lnTo>
                <a:lnTo>
                  <a:pt x="308" y="6255"/>
                </a:lnTo>
                <a:lnTo>
                  <a:pt x="300" y="6257"/>
                </a:lnTo>
                <a:lnTo>
                  <a:pt x="286" y="6257"/>
                </a:lnTo>
                <a:close/>
                <a:moveTo>
                  <a:pt x="6034" y="749"/>
                </a:moveTo>
                <a:lnTo>
                  <a:pt x="6030" y="751"/>
                </a:lnTo>
                <a:lnTo>
                  <a:pt x="6029" y="751"/>
                </a:lnTo>
                <a:lnTo>
                  <a:pt x="6032" y="751"/>
                </a:lnTo>
                <a:lnTo>
                  <a:pt x="6034" y="749"/>
                </a:lnTo>
                <a:lnTo>
                  <a:pt x="6033" y="752"/>
                </a:lnTo>
                <a:lnTo>
                  <a:pt x="6034" y="749"/>
                </a:lnTo>
                <a:close/>
                <a:moveTo>
                  <a:pt x="5927" y="1164"/>
                </a:moveTo>
                <a:lnTo>
                  <a:pt x="5934" y="1157"/>
                </a:lnTo>
                <a:lnTo>
                  <a:pt x="5940" y="1149"/>
                </a:lnTo>
                <a:lnTo>
                  <a:pt x="5939" y="1155"/>
                </a:lnTo>
                <a:lnTo>
                  <a:pt x="5935" y="1162"/>
                </a:lnTo>
                <a:lnTo>
                  <a:pt x="5930" y="1164"/>
                </a:lnTo>
                <a:lnTo>
                  <a:pt x="5927" y="1164"/>
                </a:lnTo>
                <a:close/>
                <a:moveTo>
                  <a:pt x="6001" y="1117"/>
                </a:moveTo>
                <a:lnTo>
                  <a:pt x="6024" y="1113"/>
                </a:lnTo>
                <a:lnTo>
                  <a:pt x="6048" y="1104"/>
                </a:lnTo>
                <a:lnTo>
                  <a:pt x="6061" y="1103"/>
                </a:lnTo>
                <a:lnTo>
                  <a:pt x="6049" y="1118"/>
                </a:lnTo>
                <a:lnTo>
                  <a:pt x="6028" y="1127"/>
                </a:lnTo>
                <a:lnTo>
                  <a:pt x="6005" y="1135"/>
                </a:lnTo>
                <a:lnTo>
                  <a:pt x="5992" y="1135"/>
                </a:lnTo>
                <a:lnTo>
                  <a:pt x="6001" y="1117"/>
                </a:lnTo>
                <a:close/>
                <a:moveTo>
                  <a:pt x="6093" y="915"/>
                </a:moveTo>
                <a:lnTo>
                  <a:pt x="6084" y="922"/>
                </a:lnTo>
                <a:lnTo>
                  <a:pt x="6071" y="926"/>
                </a:lnTo>
                <a:lnTo>
                  <a:pt x="6057" y="927"/>
                </a:lnTo>
                <a:lnTo>
                  <a:pt x="6044" y="929"/>
                </a:lnTo>
                <a:lnTo>
                  <a:pt x="6056" y="922"/>
                </a:lnTo>
                <a:lnTo>
                  <a:pt x="6067" y="917"/>
                </a:lnTo>
                <a:lnTo>
                  <a:pt x="6080" y="915"/>
                </a:lnTo>
                <a:lnTo>
                  <a:pt x="6093" y="915"/>
                </a:lnTo>
                <a:close/>
                <a:moveTo>
                  <a:pt x="6086" y="1355"/>
                </a:moveTo>
                <a:lnTo>
                  <a:pt x="6069" y="1360"/>
                </a:lnTo>
                <a:lnTo>
                  <a:pt x="6069" y="1355"/>
                </a:lnTo>
                <a:lnTo>
                  <a:pt x="6080" y="1346"/>
                </a:lnTo>
                <a:lnTo>
                  <a:pt x="6095" y="1339"/>
                </a:lnTo>
                <a:lnTo>
                  <a:pt x="6091" y="1350"/>
                </a:lnTo>
                <a:lnTo>
                  <a:pt x="6086" y="1355"/>
                </a:lnTo>
                <a:close/>
                <a:moveTo>
                  <a:pt x="6044" y="1332"/>
                </a:moveTo>
                <a:lnTo>
                  <a:pt x="6044" y="1332"/>
                </a:lnTo>
                <a:lnTo>
                  <a:pt x="6044" y="1332"/>
                </a:lnTo>
                <a:lnTo>
                  <a:pt x="6044" y="1330"/>
                </a:lnTo>
                <a:lnTo>
                  <a:pt x="6046" y="1328"/>
                </a:lnTo>
                <a:lnTo>
                  <a:pt x="6046" y="1328"/>
                </a:lnTo>
                <a:lnTo>
                  <a:pt x="6044" y="1332"/>
                </a:lnTo>
                <a:close/>
                <a:moveTo>
                  <a:pt x="6019" y="1321"/>
                </a:moveTo>
                <a:lnTo>
                  <a:pt x="6016" y="1321"/>
                </a:lnTo>
                <a:lnTo>
                  <a:pt x="6015" y="1320"/>
                </a:lnTo>
                <a:lnTo>
                  <a:pt x="6016" y="1317"/>
                </a:lnTo>
                <a:lnTo>
                  <a:pt x="6016" y="1316"/>
                </a:lnTo>
                <a:lnTo>
                  <a:pt x="6020" y="1316"/>
                </a:lnTo>
                <a:lnTo>
                  <a:pt x="6021" y="1317"/>
                </a:lnTo>
                <a:lnTo>
                  <a:pt x="6021" y="1318"/>
                </a:lnTo>
                <a:lnTo>
                  <a:pt x="6019" y="1321"/>
                </a:lnTo>
                <a:close/>
                <a:moveTo>
                  <a:pt x="6170" y="992"/>
                </a:moveTo>
                <a:lnTo>
                  <a:pt x="6170" y="992"/>
                </a:lnTo>
                <a:lnTo>
                  <a:pt x="6170" y="992"/>
                </a:lnTo>
                <a:lnTo>
                  <a:pt x="6172" y="992"/>
                </a:lnTo>
                <a:lnTo>
                  <a:pt x="6170" y="992"/>
                </a:lnTo>
                <a:close/>
                <a:moveTo>
                  <a:pt x="6289" y="931"/>
                </a:moveTo>
                <a:lnTo>
                  <a:pt x="6293" y="935"/>
                </a:lnTo>
                <a:lnTo>
                  <a:pt x="6294" y="940"/>
                </a:lnTo>
                <a:lnTo>
                  <a:pt x="6291" y="945"/>
                </a:lnTo>
                <a:lnTo>
                  <a:pt x="6290" y="950"/>
                </a:lnTo>
                <a:lnTo>
                  <a:pt x="6288" y="945"/>
                </a:lnTo>
                <a:lnTo>
                  <a:pt x="6286" y="941"/>
                </a:lnTo>
                <a:lnTo>
                  <a:pt x="6286" y="936"/>
                </a:lnTo>
                <a:lnTo>
                  <a:pt x="6289" y="931"/>
                </a:lnTo>
                <a:close/>
                <a:moveTo>
                  <a:pt x="6389" y="1102"/>
                </a:moveTo>
                <a:lnTo>
                  <a:pt x="6395" y="1110"/>
                </a:lnTo>
                <a:lnTo>
                  <a:pt x="6392" y="1113"/>
                </a:lnTo>
                <a:lnTo>
                  <a:pt x="6386" y="1115"/>
                </a:lnTo>
                <a:lnTo>
                  <a:pt x="6377" y="1116"/>
                </a:lnTo>
                <a:lnTo>
                  <a:pt x="6373" y="1110"/>
                </a:lnTo>
                <a:lnTo>
                  <a:pt x="6377" y="1106"/>
                </a:lnTo>
                <a:lnTo>
                  <a:pt x="6383" y="1104"/>
                </a:lnTo>
                <a:lnTo>
                  <a:pt x="6389" y="1102"/>
                </a:lnTo>
                <a:close/>
                <a:moveTo>
                  <a:pt x="6393" y="1144"/>
                </a:moveTo>
                <a:lnTo>
                  <a:pt x="6391" y="1140"/>
                </a:lnTo>
                <a:lnTo>
                  <a:pt x="6389" y="1138"/>
                </a:lnTo>
                <a:lnTo>
                  <a:pt x="6391" y="1136"/>
                </a:lnTo>
                <a:lnTo>
                  <a:pt x="6396" y="1135"/>
                </a:lnTo>
                <a:lnTo>
                  <a:pt x="6395" y="1140"/>
                </a:lnTo>
                <a:lnTo>
                  <a:pt x="6393" y="1144"/>
                </a:lnTo>
                <a:close/>
                <a:moveTo>
                  <a:pt x="6731" y="803"/>
                </a:moveTo>
                <a:lnTo>
                  <a:pt x="6732" y="807"/>
                </a:lnTo>
                <a:lnTo>
                  <a:pt x="6732" y="809"/>
                </a:lnTo>
                <a:lnTo>
                  <a:pt x="6731" y="810"/>
                </a:lnTo>
                <a:lnTo>
                  <a:pt x="6727" y="810"/>
                </a:lnTo>
                <a:lnTo>
                  <a:pt x="6727" y="808"/>
                </a:lnTo>
                <a:lnTo>
                  <a:pt x="6727" y="807"/>
                </a:lnTo>
                <a:lnTo>
                  <a:pt x="6729" y="804"/>
                </a:lnTo>
                <a:lnTo>
                  <a:pt x="6731" y="803"/>
                </a:lnTo>
                <a:close/>
                <a:moveTo>
                  <a:pt x="9455" y="687"/>
                </a:moveTo>
                <a:lnTo>
                  <a:pt x="9450" y="702"/>
                </a:lnTo>
                <a:lnTo>
                  <a:pt x="9443" y="711"/>
                </a:lnTo>
                <a:lnTo>
                  <a:pt x="9434" y="716"/>
                </a:lnTo>
                <a:lnTo>
                  <a:pt x="9418" y="720"/>
                </a:lnTo>
                <a:lnTo>
                  <a:pt x="9423" y="709"/>
                </a:lnTo>
                <a:lnTo>
                  <a:pt x="9432" y="698"/>
                </a:lnTo>
                <a:lnTo>
                  <a:pt x="9442" y="692"/>
                </a:lnTo>
                <a:lnTo>
                  <a:pt x="9455" y="687"/>
                </a:lnTo>
                <a:close/>
                <a:moveTo>
                  <a:pt x="9502" y="869"/>
                </a:moveTo>
                <a:lnTo>
                  <a:pt x="9507" y="869"/>
                </a:lnTo>
                <a:lnTo>
                  <a:pt x="9512" y="869"/>
                </a:lnTo>
                <a:lnTo>
                  <a:pt x="9516" y="870"/>
                </a:lnTo>
                <a:lnTo>
                  <a:pt x="9516" y="875"/>
                </a:lnTo>
                <a:lnTo>
                  <a:pt x="9511" y="874"/>
                </a:lnTo>
                <a:lnTo>
                  <a:pt x="9506" y="874"/>
                </a:lnTo>
                <a:lnTo>
                  <a:pt x="9503" y="873"/>
                </a:lnTo>
                <a:lnTo>
                  <a:pt x="9502" y="869"/>
                </a:lnTo>
                <a:close/>
                <a:moveTo>
                  <a:pt x="9552" y="829"/>
                </a:moveTo>
                <a:lnTo>
                  <a:pt x="9549" y="842"/>
                </a:lnTo>
                <a:lnTo>
                  <a:pt x="9546" y="849"/>
                </a:lnTo>
                <a:lnTo>
                  <a:pt x="9541" y="850"/>
                </a:lnTo>
                <a:lnTo>
                  <a:pt x="9535" y="846"/>
                </a:lnTo>
                <a:lnTo>
                  <a:pt x="9544" y="838"/>
                </a:lnTo>
                <a:lnTo>
                  <a:pt x="9552" y="829"/>
                </a:lnTo>
                <a:close/>
                <a:moveTo>
                  <a:pt x="9748" y="673"/>
                </a:moveTo>
                <a:lnTo>
                  <a:pt x="9743" y="674"/>
                </a:lnTo>
                <a:lnTo>
                  <a:pt x="9743" y="674"/>
                </a:lnTo>
                <a:lnTo>
                  <a:pt x="9744" y="674"/>
                </a:lnTo>
                <a:lnTo>
                  <a:pt x="9748" y="673"/>
                </a:lnTo>
                <a:lnTo>
                  <a:pt x="9746" y="675"/>
                </a:lnTo>
                <a:lnTo>
                  <a:pt x="9743" y="677"/>
                </a:lnTo>
                <a:lnTo>
                  <a:pt x="9741" y="677"/>
                </a:lnTo>
                <a:lnTo>
                  <a:pt x="9748" y="673"/>
                </a:lnTo>
                <a:close/>
                <a:moveTo>
                  <a:pt x="9657" y="768"/>
                </a:moveTo>
                <a:lnTo>
                  <a:pt x="9652" y="771"/>
                </a:lnTo>
                <a:lnTo>
                  <a:pt x="9651" y="772"/>
                </a:lnTo>
                <a:lnTo>
                  <a:pt x="9653" y="771"/>
                </a:lnTo>
                <a:lnTo>
                  <a:pt x="9657" y="768"/>
                </a:lnTo>
                <a:lnTo>
                  <a:pt x="9659" y="775"/>
                </a:lnTo>
                <a:lnTo>
                  <a:pt x="9653" y="780"/>
                </a:lnTo>
                <a:lnTo>
                  <a:pt x="9651" y="779"/>
                </a:lnTo>
                <a:lnTo>
                  <a:pt x="9657" y="768"/>
                </a:lnTo>
                <a:close/>
                <a:moveTo>
                  <a:pt x="9676" y="756"/>
                </a:moveTo>
                <a:lnTo>
                  <a:pt x="9680" y="759"/>
                </a:lnTo>
                <a:lnTo>
                  <a:pt x="9680" y="762"/>
                </a:lnTo>
                <a:lnTo>
                  <a:pt x="9678" y="767"/>
                </a:lnTo>
                <a:lnTo>
                  <a:pt x="9675" y="771"/>
                </a:lnTo>
                <a:lnTo>
                  <a:pt x="9673" y="767"/>
                </a:lnTo>
                <a:lnTo>
                  <a:pt x="9673" y="763"/>
                </a:lnTo>
                <a:lnTo>
                  <a:pt x="9675" y="759"/>
                </a:lnTo>
                <a:lnTo>
                  <a:pt x="9676" y="756"/>
                </a:lnTo>
                <a:close/>
                <a:moveTo>
                  <a:pt x="9618" y="893"/>
                </a:moveTo>
                <a:lnTo>
                  <a:pt x="9614" y="896"/>
                </a:lnTo>
                <a:lnTo>
                  <a:pt x="9618" y="893"/>
                </a:lnTo>
                <a:lnTo>
                  <a:pt x="9620" y="899"/>
                </a:lnTo>
                <a:lnTo>
                  <a:pt x="9618" y="905"/>
                </a:lnTo>
                <a:lnTo>
                  <a:pt x="9615" y="903"/>
                </a:lnTo>
                <a:lnTo>
                  <a:pt x="9618" y="893"/>
                </a:lnTo>
                <a:close/>
                <a:moveTo>
                  <a:pt x="9645" y="967"/>
                </a:moveTo>
                <a:lnTo>
                  <a:pt x="9651" y="971"/>
                </a:lnTo>
                <a:lnTo>
                  <a:pt x="9653" y="975"/>
                </a:lnTo>
                <a:lnTo>
                  <a:pt x="9653" y="980"/>
                </a:lnTo>
                <a:lnTo>
                  <a:pt x="9650" y="987"/>
                </a:lnTo>
                <a:lnTo>
                  <a:pt x="9645" y="981"/>
                </a:lnTo>
                <a:lnTo>
                  <a:pt x="9641" y="976"/>
                </a:lnTo>
                <a:lnTo>
                  <a:pt x="9639" y="972"/>
                </a:lnTo>
                <a:lnTo>
                  <a:pt x="9645" y="967"/>
                </a:lnTo>
                <a:close/>
                <a:moveTo>
                  <a:pt x="9709" y="971"/>
                </a:moveTo>
                <a:lnTo>
                  <a:pt x="9708" y="978"/>
                </a:lnTo>
                <a:lnTo>
                  <a:pt x="9703" y="985"/>
                </a:lnTo>
                <a:lnTo>
                  <a:pt x="9697" y="987"/>
                </a:lnTo>
                <a:lnTo>
                  <a:pt x="9692" y="984"/>
                </a:lnTo>
                <a:lnTo>
                  <a:pt x="9699" y="978"/>
                </a:lnTo>
                <a:lnTo>
                  <a:pt x="9709" y="971"/>
                </a:lnTo>
                <a:close/>
                <a:moveTo>
                  <a:pt x="9467" y="1122"/>
                </a:moveTo>
                <a:lnTo>
                  <a:pt x="9466" y="1132"/>
                </a:lnTo>
                <a:lnTo>
                  <a:pt x="9464" y="1141"/>
                </a:lnTo>
                <a:lnTo>
                  <a:pt x="9460" y="1148"/>
                </a:lnTo>
                <a:lnTo>
                  <a:pt x="9452" y="1152"/>
                </a:lnTo>
                <a:lnTo>
                  <a:pt x="9455" y="1144"/>
                </a:lnTo>
                <a:lnTo>
                  <a:pt x="9456" y="1135"/>
                </a:lnTo>
                <a:lnTo>
                  <a:pt x="9459" y="1126"/>
                </a:lnTo>
                <a:lnTo>
                  <a:pt x="9467" y="1122"/>
                </a:lnTo>
                <a:close/>
                <a:moveTo>
                  <a:pt x="9488" y="1131"/>
                </a:moveTo>
                <a:lnTo>
                  <a:pt x="9489" y="1135"/>
                </a:lnTo>
                <a:lnTo>
                  <a:pt x="9488" y="1138"/>
                </a:lnTo>
                <a:lnTo>
                  <a:pt x="9485" y="1139"/>
                </a:lnTo>
                <a:lnTo>
                  <a:pt x="9480" y="1140"/>
                </a:lnTo>
                <a:lnTo>
                  <a:pt x="9479" y="1138"/>
                </a:lnTo>
                <a:lnTo>
                  <a:pt x="9482" y="1135"/>
                </a:lnTo>
                <a:lnTo>
                  <a:pt x="9484" y="1132"/>
                </a:lnTo>
                <a:lnTo>
                  <a:pt x="9488" y="1131"/>
                </a:lnTo>
                <a:close/>
                <a:moveTo>
                  <a:pt x="12827" y="649"/>
                </a:moveTo>
                <a:lnTo>
                  <a:pt x="12823" y="654"/>
                </a:lnTo>
                <a:lnTo>
                  <a:pt x="12822" y="654"/>
                </a:lnTo>
                <a:lnTo>
                  <a:pt x="12824" y="653"/>
                </a:lnTo>
                <a:lnTo>
                  <a:pt x="12827" y="649"/>
                </a:lnTo>
                <a:lnTo>
                  <a:pt x="12830" y="654"/>
                </a:lnTo>
                <a:lnTo>
                  <a:pt x="12827" y="659"/>
                </a:lnTo>
                <a:lnTo>
                  <a:pt x="12824" y="659"/>
                </a:lnTo>
                <a:lnTo>
                  <a:pt x="12827" y="649"/>
                </a:lnTo>
                <a:close/>
                <a:moveTo>
                  <a:pt x="14882" y="1075"/>
                </a:moveTo>
                <a:lnTo>
                  <a:pt x="14882" y="1076"/>
                </a:lnTo>
                <a:lnTo>
                  <a:pt x="14881" y="1076"/>
                </a:lnTo>
                <a:lnTo>
                  <a:pt x="14881" y="1076"/>
                </a:lnTo>
                <a:lnTo>
                  <a:pt x="14880" y="1075"/>
                </a:lnTo>
                <a:lnTo>
                  <a:pt x="14882" y="1075"/>
                </a:lnTo>
                <a:close/>
                <a:moveTo>
                  <a:pt x="14917" y="1127"/>
                </a:moveTo>
                <a:lnTo>
                  <a:pt x="14921" y="1125"/>
                </a:lnTo>
                <a:lnTo>
                  <a:pt x="14927" y="1124"/>
                </a:lnTo>
                <a:lnTo>
                  <a:pt x="14927" y="1138"/>
                </a:lnTo>
                <a:lnTo>
                  <a:pt x="14916" y="1144"/>
                </a:lnTo>
                <a:lnTo>
                  <a:pt x="14908" y="1140"/>
                </a:lnTo>
                <a:lnTo>
                  <a:pt x="14917" y="1127"/>
                </a:lnTo>
                <a:close/>
                <a:moveTo>
                  <a:pt x="15212" y="1852"/>
                </a:moveTo>
                <a:lnTo>
                  <a:pt x="15214" y="1853"/>
                </a:lnTo>
                <a:lnTo>
                  <a:pt x="15215" y="1854"/>
                </a:lnTo>
                <a:lnTo>
                  <a:pt x="15215" y="1855"/>
                </a:lnTo>
                <a:lnTo>
                  <a:pt x="15215" y="1858"/>
                </a:lnTo>
                <a:lnTo>
                  <a:pt x="15212" y="1857"/>
                </a:lnTo>
                <a:lnTo>
                  <a:pt x="15211" y="1855"/>
                </a:lnTo>
                <a:lnTo>
                  <a:pt x="15210" y="1854"/>
                </a:lnTo>
                <a:lnTo>
                  <a:pt x="15212" y="1852"/>
                </a:lnTo>
                <a:close/>
                <a:moveTo>
                  <a:pt x="14730" y="2351"/>
                </a:moveTo>
                <a:lnTo>
                  <a:pt x="14728" y="2351"/>
                </a:lnTo>
                <a:lnTo>
                  <a:pt x="14730" y="2351"/>
                </a:lnTo>
                <a:lnTo>
                  <a:pt x="14728" y="2352"/>
                </a:lnTo>
                <a:lnTo>
                  <a:pt x="14730" y="2351"/>
                </a:lnTo>
                <a:close/>
                <a:moveTo>
                  <a:pt x="15429" y="2217"/>
                </a:moveTo>
                <a:lnTo>
                  <a:pt x="15422" y="2212"/>
                </a:lnTo>
                <a:lnTo>
                  <a:pt x="15422" y="2207"/>
                </a:lnTo>
                <a:lnTo>
                  <a:pt x="15426" y="2203"/>
                </a:lnTo>
                <a:lnTo>
                  <a:pt x="15434" y="2198"/>
                </a:lnTo>
                <a:lnTo>
                  <a:pt x="15439" y="2202"/>
                </a:lnTo>
                <a:lnTo>
                  <a:pt x="15438" y="2207"/>
                </a:lnTo>
                <a:lnTo>
                  <a:pt x="15433" y="2212"/>
                </a:lnTo>
                <a:lnTo>
                  <a:pt x="15429" y="2217"/>
                </a:lnTo>
                <a:close/>
                <a:moveTo>
                  <a:pt x="15391" y="2225"/>
                </a:moveTo>
                <a:lnTo>
                  <a:pt x="15387" y="2212"/>
                </a:lnTo>
                <a:lnTo>
                  <a:pt x="15389" y="2204"/>
                </a:lnTo>
                <a:lnTo>
                  <a:pt x="15398" y="2200"/>
                </a:lnTo>
                <a:lnTo>
                  <a:pt x="15410" y="2200"/>
                </a:lnTo>
                <a:lnTo>
                  <a:pt x="15401" y="2213"/>
                </a:lnTo>
                <a:lnTo>
                  <a:pt x="15391" y="2225"/>
                </a:lnTo>
                <a:close/>
                <a:moveTo>
                  <a:pt x="15350" y="2171"/>
                </a:moveTo>
                <a:lnTo>
                  <a:pt x="15363" y="2162"/>
                </a:lnTo>
                <a:lnTo>
                  <a:pt x="15375" y="2153"/>
                </a:lnTo>
                <a:lnTo>
                  <a:pt x="15374" y="2167"/>
                </a:lnTo>
                <a:lnTo>
                  <a:pt x="15371" y="2174"/>
                </a:lnTo>
                <a:lnTo>
                  <a:pt x="15364" y="2174"/>
                </a:lnTo>
                <a:lnTo>
                  <a:pt x="15350" y="2171"/>
                </a:lnTo>
                <a:close/>
                <a:moveTo>
                  <a:pt x="15355" y="2268"/>
                </a:moveTo>
                <a:lnTo>
                  <a:pt x="15336" y="2269"/>
                </a:lnTo>
                <a:lnTo>
                  <a:pt x="15328" y="2254"/>
                </a:lnTo>
                <a:lnTo>
                  <a:pt x="15331" y="2232"/>
                </a:lnTo>
                <a:lnTo>
                  <a:pt x="15342" y="2214"/>
                </a:lnTo>
                <a:lnTo>
                  <a:pt x="15357" y="2218"/>
                </a:lnTo>
                <a:lnTo>
                  <a:pt x="15368" y="2234"/>
                </a:lnTo>
                <a:lnTo>
                  <a:pt x="15368" y="2251"/>
                </a:lnTo>
                <a:lnTo>
                  <a:pt x="15355" y="2268"/>
                </a:lnTo>
                <a:close/>
                <a:moveTo>
                  <a:pt x="15320" y="2377"/>
                </a:moveTo>
                <a:lnTo>
                  <a:pt x="15336" y="2365"/>
                </a:lnTo>
                <a:lnTo>
                  <a:pt x="15349" y="2353"/>
                </a:lnTo>
                <a:lnTo>
                  <a:pt x="15346" y="2363"/>
                </a:lnTo>
                <a:lnTo>
                  <a:pt x="15342" y="2372"/>
                </a:lnTo>
                <a:lnTo>
                  <a:pt x="15335" y="2377"/>
                </a:lnTo>
                <a:lnTo>
                  <a:pt x="15320" y="2377"/>
                </a:lnTo>
                <a:close/>
                <a:moveTo>
                  <a:pt x="15239" y="2451"/>
                </a:moveTo>
                <a:lnTo>
                  <a:pt x="15197" y="2489"/>
                </a:lnTo>
                <a:lnTo>
                  <a:pt x="15174" y="2496"/>
                </a:lnTo>
                <a:lnTo>
                  <a:pt x="15180" y="2478"/>
                </a:lnTo>
                <a:lnTo>
                  <a:pt x="15226" y="2442"/>
                </a:lnTo>
                <a:lnTo>
                  <a:pt x="15277" y="2407"/>
                </a:lnTo>
                <a:lnTo>
                  <a:pt x="15300" y="2399"/>
                </a:lnTo>
                <a:lnTo>
                  <a:pt x="15290" y="2416"/>
                </a:lnTo>
                <a:lnTo>
                  <a:pt x="15239" y="2451"/>
                </a:lnTo>
                <a:close/>
                <a:moveTo>
                  <a:pt x="15253" y="2478"/>
                </a:moveTo>
                <a:lnTo>
                  <a:pt x="15253" y="2470"/>
                </a:lnTo>
                <a:lnTo>
                  <a:pt x="15258" y="2465"/>
                </a:lnTo>
                <a:lnTo>
                  <a:pt x="15267" y="2461"/>
                </a:lnTo>
                <a:lnTo>
                  <a:pt x="15275" y="2456"/>
                </a:lnTo>
                <a:lnTo>
                  <a:pt x="15277" y="2469"/>
                </a:lnTo>
                <a:lnTo>
                  <a:pt x="15275" y="2478"/>
                </a:lnTo>
                <a:lnTo>
                  <a:pt x="15267" y="2480"/>
                </a:lnTo>
                <a:lnTo>
                  <a:pt x="15253" y="2478"/>
                </a:lnTo>
                <a:close/>
                <a:moveTo>
                  <a:pt x="15168" y="2578"/>
                </a:moveTo>
                <a:lnTo>
                  <a:pt x="15164" y="2577"/>
                </a:lnTo>
                <a:lnTo>
                  <a:pt x="15164" y="2575"/>
                </a:lnTo>
                <a:lnTo>
                  <a:pt x="15164" y="2572"/>
                </a:lnTo>
                <a:lnTo>
                  <a:pt x="15168" y="2570"/>
                </a:lnTo>
                <a:lnTo>
                  <a:pt x="15170" y="2570"/>
                </a:lnTo>
                <a:lnTo>
                  <a:pt x="15171" y="2572"/>
                </a:lnTo>
                <a:lnTo>
                  <a:pt x="15170" y="2576"/>
                </a:lnTo>
                <a:lnTo>
                  <a:pt x="15168" y="2578"/>
                </a:lnTo>
                <a:close/>
                <a:moveTo>
                  <a:pt x="15242" y="2310"/>
                </a:moveTo>
                <a:lnTo>
                  <a:pt x="15249" y="2282"/>
                </a:lnTo>
                <a:lnTo>
                  <a:pt x="15276" y="2265"/>
                </a:lnTo>
                <a:lnTo>
                  <a:pt x="15310" y="2264"/>
                </a:lnTo>
                <a:lnTo>
                  <a:pt x="15338" y="2281"/>
                </a:lnTo>
                <a:lnTo>
                  <a:pt x="15309" y="2282"/>
                </a:lnTo>
                <a:lnTo>
                  <a:pt x="15289" y="2292"/>
                </a:lnTo>
                <a:lnTo>
                  <a:pt x="15268" y="2305"/>
                </a:lnTo>
                <a:lnTo>
                  <a:pt x="15242" y="2310"/>
                </a:lnTo>
                <a:close/>
                <a:moveTo>
                  <a:pt x="15327" y="2198"/>
                </a:moveTo>
                <a:lnTo>
                  <a:pt x="15320" y="2202"/>
                </a:lnTo>
                <a:lnTo>
                  <a:pt x="15327" y="2198"/>
                </a:lnTo>
                <a:lnTo>
                  <a:pt x="15329" y="2203"/>
                </a:lnTo>
                <a:lnTo>
                  <a:pt x="15327" y="2208"/>
                </a:lnTo>
                <a:lnTo>
                  <a:pt x="15323" y="2208"/>
                </a:lnTo>
                <a:lnTo>
                  <a:pt x="15327" y="2198"/>
                </a:lnTo>
                <a:close/>
                <a:moveTo>
                  <a:pt x="15117" y="2544"/>
                </a:moveTo>
                <a:lnTo>
                  <a:pt x="15115" y="2533"/>
                </a:lnTo>
                <a:lnTo>
                  <a:pt x="15118" y="2522"/>
                </a:lnTo>
                <a:lnTo>
                  <a:pt x="15127" y="2517"/>
                </a:lnTo>
                <a:lnTo>
                  <a:pt x="15141" y="2519"/>
                </a:lnTo>
                <a:lnTo>
                  <a:pt x="15128" y="2533"/>
                </a:lnTo>
                <a:lnTo>
                  <a:pt x="15117" y="2544"/>
                </a:lnTo>
                <a:close/>
                <a:moveTo>
                  <a:pt x="15093" y="2466"/>
                </a:moveTo>
                <a:lnTo>
                  <a:pt x="15099" y="2460"/>
                </a:lnTo>
                <a:lnTo>
                  <a:pt x="15093" y="2466"/>
                </a:lnTo>
                <a:lnTo>
                  <a:pt x="15089" y="2459"/>
                </a:lnTo>
                <a:lnTo>
                  <a:pt x="15094" y="2454"/>
                </a:lnTo>
                <a:lnTo>
                  <a:pt x="15098" y="2454"/>
                </a:lnTo>
                <a:lnTo>
                  <a:pt x="15093" y="2466"/>
                </a:lnTo>
                <a:close/>
                <a:moveTo>
                  <a:pt x="15047" y="2592"/>
                </a:moveTo>
                <a:lnTo>
                  <a:pt x="15056" y="2567"/>
                </a:lnTo>
                <a:lnTo>
                  <a:pt x="15068" y="2548"/>
                </a:lnTo>
                <a:lnTo>
                  <a:pt x="15082" y="2545"/>
                </a:lnTo>
                <a:lnTo>
                  <a:pt x="15098" y="2568"/>
                </a:lnTo>
                <a:lnTo>
                  <a:pt x="15086" y="2573"/>
                </a:lnTo>
                <a:lnTo>
                  <a:pt x="15075" y="2578"/>
                </a:lnTo>
                <a:lnTo>
                  <a:pt x="15062" y="2585"/>
                </a:lnTo>
                <a:lnTo>
                  <a:pt x="15047" y="2592"/>
                </a:lnTo>
                <a:close/>
                <a:moveTo>
                  <a:pt x="15049" y="2623"/>
                </a:moveTo>
                <a:lnTo>
                  <a:pt x="15052" y="2618"/>
                </a:lnTo>
                <a:lnTo>
                  <a:pt x="15058" y="2617"/>
                </a:lnTo>
                <a:lnTo>
                  <a:pt x="15063" y="2622"/>
                </a:lnTo>
                <a:lnTo>
                  <a:pt x="15065" y="2632"/>
                </a:lnTo>
                <a:lnTo>
                  <a:pt x="15056" y="2627"/>
                </a:lnTo>
                <a:lnTo>
                  <a:pt x="15049" y="2623"/>
                </a:lnTo>
                <a:close/>
                <a:moveTo>
                  <a:pt x="15044" y="2496"/>
                </a:moveTo>
                <a:lnTo>
                  <a:pt x="15047" y="2486"/>
                </a:lnTo>
                <a:lnTo>
                  <a:pt x="15052" y="2478"/>
                </a:lnTo>
                <a:lnTo>
                  <a:pt x="15059" y="2473"/>
                </a:lnTo>
                <a:lnTo>
                  <a:pt x="15072" y="2472"/>
                </a:lnTo>
                <a:lnTo>
                  <a:pt x="15057" y="2484"/>
                </a:lnTo>
                <a:lnTo>
                  <a:pt x="15044" y="2496"/>
                </a:lnTo>
                <a:close/>
                <a:moveTo>
                  <a:pt x="15100" y="3015"/>
                </a:moveTo>
                <a:lnTo>
                  <a:pt x="15101" y="3011"/>
                </a:lnTo>
                <a:lnTo>
                  <a:pt x="15104" y="3011"/>
                </a:lnTo>
                <a:lnTo>
                  <a:pt x="15107" y="3010"/>
                </a:lnTo>
                <a:lnTo>
                  <a:pt x="15100" y="3015"/>
                </a:lnTo>
                <a:close/>
                <a:moveTo>
                  <a:pt x="16394" y="1579"/>
                </a:moveTo>
                <a:lnTo>
                  <a:pt x="16395" y="1579"/>
                </a:lnTo>
                <a:lnTo>
                  <a:pt x="16394" y="1579"/>
                </a:lnTo>
                <a:lnTo>
                  <a:pt x="16395" y="1579"/>
                </a:lnTo>
                <a:lnTo>
                  <a:pt x="16394" y="1579"/>
                </a:lnTo>
                <a:close/>
                <a:moveTo>
                  <a:pt x="16375" y="1597"/>
                </a:moveTo>
                <a:lnTo>
                  <a:pt x="16374" y="1596"/>
                </a:lnTo>
                <a:lnTo>
                  <a:pt x="16375" y="1597"/>
                </a:lnTo>
                <a:lnTo>
                  <a:pt x="16385" y="1587"/>
                </a:lnTo>
                <a:lnTo>
                  <a:pt x="16389" y="1584"/>
                </a:lnTo>
                <a:lnTo>
                  <a:pt x="16385" y="1587"/>
                </a:lnTo>
                <a:lnTo>
                  <a:pt x="16375" y="1597"/>
                </a:lnTo>
                <a:close/>
                <a:moveTo>
                  <a:pt x="16172" y="2332"/>
                </a:moveTo>
                <a:lnTo>
                  <a:pt x="16176" y="2334"/>
                </a:lnTo>
                <a:lnTo>
                  <a:pt x="16180" y="2332"/>
                </a:lnTo>
                <a:lnTo>
                  <a:pt x="16181" y="2328"/>
                </a:lnTo>
                <a:lnTo>
                  <a:pt x="16184" y="2324"/>
                </a:lnTo>
                <a:lnTo>
                  <a:pt x="16180" y="2321"/>
                </a:lnTo>
                <a:lnTo>
                  <a:pt x="16178" y="2323"/>
                </a:lnTo>
                <a:lnTo>
                  <a:pt x="16175" y="2328"/>
                </a:lnTo>
                <a:lnTo>
                  <a:pt x="16172" y="2332"/>
                </a:lnTo>
                <a:close/>
                <a:moveTo>
                  <a:pt x="15918" y="2772"/>
                </a:moveTo>
                <a:lnTo>
                  <a:pt x="15927" y="2771"/>
                </a:lnTo>
                <a:lnTo>
                  <a:pt x="15941" y="2769"/>
                </a:lnTo>
                <a:lnTo>
                  <a:pt x="15931" y="2764"/>
                </a:lnTo>
                <a:lnTo>
                  <a:pt x="15925" y="2764"/>
                </a:lnTo>
                <a:lnTo>
                  <a:pt x="15920" y="2767"/>
                </a:lnTo>
                <a:lnTo>
                  <a:pt x="15918" y="2772"/>
                </a:lnTo>
                <a:lnTo>
                  <a:pt x="15892" y="2768"/>
                </a:lnTo>
                <a:lnTo>
                  <a:pt x="15887" y="2782"/>
                </a:lnTo>
                <a:lnTo>
                  <a:pt x="15892" y="2799"/>
                </a:lnTo>
                <a:lnTo>
                  <a:pt x="15896" y="2805"/>
                </a:lnTo>
                <a:lnTo>
                  <a:pt x="15913" y="2800"/>
                </a:lnTo>
                <a:lnTo>
                  <a:pt x="15920" y="2792"/>
                </a:lnTo>
                <a:lnTo>
                  <a:pt x="15922" y="2783"/>
                </a:lnTo>
                <a:lnTo>
                  <a:pt x="15918" y="2772"/>
                </a:lnTo>
                <a:close/>
                <a:moveTo>
                  <a:pt x="15225" y="973"/>
                </a:moveTo>
                <a:lnTo>
                  <a:pt x="15220" y="977"/>
                </a:lnTo>
                <a:lnTo>
                  <a:pt x="15219" y="978"/>
                </a:lnTo>
                <a:lnTo>
                  <a:pt x="15221" y="976"/>
                </a:lnTo>
                <a:lnTo>
                  <a:pt x="15225" y="973"/>
                </a:lnTo>
                <a:lnTo>
                  <a:pt x="15221" y="973"/>
                </a:lnTo>
                <a:lnTo>
                  <a:pt x="15216" y="976"/>
                </a:lnTo>
                <a:lnTo>
                  <a:pt x="15216" y="977"/>
                </a:lnTo>
                <a:lnTo>
                  <a:pt x="15225" y="973"/>
                </a:lnTo>
                <a:close/>
                <a:moveTo>
                  <a:pt x="15687" y="2957"/>
                </a:moveTo>
                <a:lnTo>
                  <a:pt x="15686" y="2960"/>
                </a:lnTo>
                <a:lnTo>
                  <a:pt x="15686" y="2963"/>
                </a:lnTo>
                <a:lnTo>
                  <a:pt x="15689" y="2964"/>
                </a:lnTo>
                <a:lnTo>
                  <a:pt x="15692" y="2963"/>
                </a:lnTo>
                <a:lnTo>
                  <a:pt x="15695" y="2959"/>
                </a:lnTo>
                <a:lnTo>
                  <a:pt x="15694" y="2958"/>
                </a:lnTo>
                <a:lnTo>
                  <a:pt x="15691" y="2957"/>
                </a:lnTo>
                <a:lnTo>
                  <a:pt x="15687" y="2957"/>
                </a:lnTo>
                <a:close/>
                <a:moveTo>
                  <a:pt x="15021" y="2248"/>
                </a:moveTo>
                <a:lnTo>
                  <a:pt x="15028" y="2248"/>
                </a:lnTo>
                <a:lnTo>
                  <a:pt x="15034" y="2249"/>
                </a:lnTo>
                <a:lnTo>
                  <a:pt x="15039" y="2248"/>
                </a:lnTo>
                <a:lnTo>
                  <a:pt x="15039" y="2241"/>
                </a:lnTo>
                <a:lnTo>
                  <a:pt x="15034" y="2242"/>
                </a:lnTo>
                <a:lnTo>
                  <a:pt x="15028" y="2241"/>
                </a:lnTo>
                <a:lnTo>
                  <a:pt x="15022" y="2242"/>
                </a:lnTo>
                <a:lnTo>
                  <a:pt x="15021" y="2248"/>
                </a:lnTo>
                <a:close/>
                <a:moveTo>
                  <a:pt x="15324" y="2973"/>
                </a:moveTo>
                <a:lnTo>
                  <a:pt x="15322" y="2976"/>
                </a:lnTo>
                <a:lnTo>
                  <a:pt x="15317" y="2979"/>
                </a:lnTo>
                <a:lnTo>
                  <a:pt x="15315" y="2982"/>
                </a:lnTo>
                <a:lnTo>
                  <a:pt x="15317" y="2985"/>
                </a:lnTo>
                <a:lnTo>
                  <a:pt x="15320" y="2982"/>
                </a:lnTo>
                <a:lnTo>
                  <a:pt x="15324" y="2979"/>
                </a:lnTo>
                <a:lnTo>
                  <a:pt x="15327" y="2976"/>
                </a:lnTo>
                <a:lnTo>
                  <a:pt x="15324" y="2973"/>
                </a:lnTo>
                <a:close/>
                <a:moveTo>
                  <a:pt x="14652" y="2566"/>
                </a:moveTo>
                <a:lnTo>
                  <a:pt x="14647" y="2571"/>
                </a:lnTo>
                <a:lnTo>
                  <a:pt x="14652" y="2566"/>
                </a:lnTo>
                <a:lnTo>
                  <a:pt x="14648" y="2564"/>
                </a:lnTo>
                <a:lnTo>
                  <a:pt x="14643" y="2567"/>
                </a:lnTo>
                <a:lnTo>
                  <a:pt x="14643" y="2570"/>
                </a:lnTo>
                <a:lnTo>
                  <a:pt x="14652" y="2566"/>
                </a:lnTo>
                <a:close/>
                <a:moveTo>
                  <a:pt x="15006" y="2276"/>
                </a:moveTo>
                <a:lnTo>
                  <a:pt x="15010" y="2272"/>
                </a:lnTo>
                <a:lnTo>
                  <a:pt x="15015" y="2268"/>
                </a:lnTo>
                <a:lnTo>
                  <a:pt x="15017" y="2263"/>
                </a:lnTo>
                <a:lnTo>
                  <a:pt x="15015" y="2259"/>
                </a:lnTo>
                <a:lnTo>
                  <a:pt x="15011" y="2263"/>
                </a:lnTo>
                <a:lnTo>
                  <a:pt x="15006" y="2267"/>
                </a:lnTo>
                <a:lnTo>
                  <a:pt x="15003" y="2272"/>
                </a:lnTo>
                <a:lnTo>
                  <a:pt x="15006" y="2276"/>
                </a:lnTo>
                <a:close/>
                <a:moveTo>
                  <a:pt x="15978" y="2214"/>
                </a:moveTo>
                <a:lnTo>
                  <a:pt x="15981" y="2211"/>
                </a:lnTo>
                <a:lnTo>
                  <a:pt x="15985" y="2207"/>
                </a:lnTo>
                <a:lnTo>
                  <a:pt x="15988" y="2203"/>
                </a:lnTo>
                <a:lnTo>
                  <a:pt x="15985" y="2199"/>
                </a:lnTo>
                <a:lnTo>
                  <a:pt x="15981" y="2203"/>
                </a:lnTo>
                <a:lnTo>
                  <a:pt x="15976" y="2206"/>
                </a:lnTo>
                <a:lnTo>
                  <a:pt x="15975" y="2209"/>
                </a:lnTo>
                <a:lnTo>
                  <a:pt x="15978" y="2214"/>
                </a:lnTo>
                <a:close/>
                <a:moveTo>
                  <a:pt x="12828" y="793"/>
                </a:moveTo>
                <a:lnTo>
                  <a:pt x="12832" y="789"/>
                </a:lnTo>
                <a:lnTo>
                  <a:pt x="12836" y="786"/>
                </a:lnTo>
                <a:lnTo>
                  <a:pt x="12840" y="782"/>
                </a:lnTo>
                <a:lnTo>
                  <a:pt x="12840" y="779"/>
                </a:lnTo>
                <a:lnTo>
                  <a:pt x="12836" y="782"/>
                </a:lnTo>
                <a:lnTo>
                  <a:pt x="12832" y="785"/>
                </a:lnTo>
                <a:lnTo>
                  <a:pt x="12828" y="789"/>
                </a:lnTo>
                <a:lnTo>
                  <a:pt x="12828" y="793"/>
                </a:lnTo>
                <a:close/>
                <a:moveTo>
                  <a:pt x="15210" y="2856"/>
                </a:moveTo>
                <a:lnTo>
                  <a:pt x="15207" y="2860"/>
                </a:lnTo>
                <a:lnTo>
                  <a:pt x="15208" y="2862"/>
                </a:lnTo>
                <a:lnTo>
                  <a:pt x="15211" y="2864"/>
                </a:lnTo>
                <a:lnTo>
                  <a:pt x="15217" y="2865"/>
                </a:lnTo>
                <a:lnTo>
                  <a:pt x="15216" y="2860"/>
                </a:lnTo>
                <a:lnTo>
                  <a:pt x="15215" y="2856"/>
                </a:lnTo>
                <a:lnTo>
                  <a:pt x="15214" y="2855"/>
                </a:lnTo>
                <a:lnTo>
                  <a:pt x="15210" y="2856"/>
                </a:lnTo>
                <a:close/>
                <a:moveTo>
                  <a:pt x="15570" y="2791"/>
                </a:moveTo>
                <a:lnTo>
                  <a:pt x="15573" y="2786"/>
                </a:lnTo>
                <a:lnTo>
                  <a:pt x="15575" y="2782"/>
                </a:lnTo>
                <a:lnTo>
                  <a:pt x="15576" y="2778"/>
                </a:lnTo>
                <a:lnTo>
                  <a:pt x="15573" y="2776"/>
                </a:lnTo>
                <a:lnTo>
                  <a:pt x="15569" y="2780"/>
                </a:lnTo>
                <a:lnTo>
                  <a:pt x="15566" y="2783"/>
                </a:lnTo>
                <a:lnTo>
                  <a:pt x="15565" y="2787"/>
                </a:lnTo>
                <a:lnTo>
                  <a:pt x="15570" y="2791"/>
                </a:lnTo>
                <a:close/>
                <a:moveTo>
                  <a:pt x="15411" y="2617"/>
                </a:moveTo>
                <a:lnTo>
                  <a:pt x="15407" y="2617"/>
                </a:lnTo>
                <a:lnTo>
                  <a:pt x="15405" y="2617"/>
                </a:lnTo>
                <a:lnTo>
                  <a:pt x="15406" y="2628"/>
                </a:lnTo>
                <a:lnTo>
                  <a:pt x="15410" y="2631"/>
                </a:lnTo>
                <a:lnTo>
                  <a:pt x="15412" y="2626"/>
                </a:lnTo>
                <a:lnTo>
                  <a:pt x="15411" y="2617"/>
                </a:lnTo>
                <a:close/>
                <a:moveTo>
                  <a:pt x="15012" y="2421"/>
                </a:moveTo>
                <a:lnTo>
                  <a:pt x="15012" y="2421"/>
                </a:lnTo>
                <a:lnTo>
                  <a:pt x="15014" y="2419"/>
                </a:lnTo>
                <a:lnTo>
                  <a:pt x="15012" y="2419"/>
                </a:lnTo>
                <a:lnTo>
                  <a:pt x="15012" y="2421"/>
                </a:lnTo>
                <a:lnTo>
                  <a:pt x="15005" y="2430"/>
                </a:lnTo>
                <a:lnTo>
                  <a:pt x="14994" y="2440"/>
                </a:lnTo>
                <a:lnTo>
                  <a:pt x="15006" y="2438"/>
                </a:lnTo>
                <a:lnTo>
                  <a:pt x="15011" y="2433"/>
                </a:lnTo>
                <a:lnTo>
                  <a:pt x="15012" y="2428"/>
                </a:lnTo>
                <a:lnTo>
                  <a:pt x="15012" y="2421"/>
                </a:lnTo>
                <a:close/>
                <a:moveTo>
                  <a:pt x="14680" y="2174"/>
                </a:moveTo>
                <a:lnTo>
                  <a:pt x="14675" y="2175"/>
                </a:lnTo>
                <a:lnTo>
                  <a:pt x="14672" y="2179"/>
                </a:lnTo>
                <a:lnTo>
                  <a:pt x="14675" y="2184"/>
                </a:lnTo>
                <a:lnTo>
                  <a:pt x="14681" y="2186"/>
                </a:lnTo>
                <a:lnTo>
                  <a:pt x="14681" y="2177"/>
                </a:lnTo>
                <a:lnTo>
                  <a:pt x="14680" y="2174"/>
                </a:lnTo>
                <a:close/>
                <a:moveTo>
                  <a:pt x="15315" y="3331"/>
                </a:moveTo>
                <a:lnTo>
                  <a:pt x="15305" y="3336"/>
                </a:lnTo>
                <a:lnTo>
                  <a:pt x="15295" y="3341"/>
                </a:lnTo>
                <a:lnTo>
                  <a:pt x="15304" y="3343"/>
                </a:lnTo>
                <a:lnTo>
                  <a:pt x="15308" y="3343"/>
                </a:lnTo>
                <a:lnTo>
                  <a:pt x="15312" y="3340"/>
                </a:lnTo>
                <a:lnTo>
                  <a:pt x="15315" y="3331"/>
                </a:lnTo>
                <a:close/>
                <a:moveTo>
                  <a:pt x="15394" y="3443"/>
                </a:moveTo>
                <a:lnTo>
                  <a:pt x="15392" y="3447"/>
                </a:lnTo>
                <a:lnTo>
                  <a:pt x="15392" y="3448"/>
                </a:lnTo>
                <a:lnTo>
                  <a:pt x="15393" y="3450"/>
                </a:lnTo>
                <a:lnTo>
                  <a:pt x="15398" y="3450"/>
                </a:lnTo>
                <a:lnTo>
                  <a:pt x="15399" y="3447"/>
                </a:lnTo>
                <a:lnTo>
                  <a:pt x="15399" y="3444"/>
                </a:lnTo>
                <a:lnTo>
                  <a:pt x="15398" y="3443"/>
                </a:lnTo>
                <a:lnTo>
                  <a:pt x="15394" y="3443"/>
                </a:lnTo>
                <a:close/>
                <a:moveTo>
                  <a:pt x="16067" y="1820"/>
                </a:moveTo>
                <a:lnTo>
                  <a:pt x="16062" y="1817"/>
                </a:lnTo>
                <a:lnTo>
                  <a:pt x="16059" y="1819"/>
                </a:lnTo>
                <a:lnTo>
                  <a:pt x="16057" y="1822"/>
                </a:lnTo>
                <a:lnTo>
                  <a:pt x="16055" y="1827"/>
                </a:lnTo>
                <a:lnTo>
                  <a:pt x="16060" y="1829"/>
                </a:lnTo>
                <a:lnTo>
                  <a:pt x="16064" y="1827"/>
                </a:lnTo>
                <a:lnTo>
                  <a:pt x="16065" y="1825"/>
                </a:lnTo>
                <a:lnTo>
                  <a:pt x="16067" y="1820"/>
                </a:lnTo>
                <a:close/>
                <a:moveTo>
                  <a:pt x="14395" y="2449"/>
                </a:moveTo>
                <a:lnTo>
                  <a:pt x="14390" y="2452"/>
                </a:lnTo>
                <a:lnTo>
                  <a:pt x="14390" y="2454"/>
                </a:lnTo>
                <a:lnTo>
                  <a:pt x="14392" y="2452"/>
                </a:lnTo>
                <a:lnTo>
                  <a:pt x="14395" y="2449"/>
                </a:lnTo>
                <a:lnTo>
                  <a:pt x="14391" y="2449"/>
                </a:lnTo>
                <a:lnTo>
                  <a:pt x="14386" y="2451"/>
                </a:lnTo>
                <a:lnTo>
                  <a:pt x="14386" y="2452"/>
                </a:lnTo>
                <a:lnTo>
                  <a:pt x="14395" y="2449"/>
                </a:lnTo>
                <a:close/>
                <a:moveTo>
                  <a:pt x="14623" y="2314"/>
                </a:moveTo>
                <a:lnTo>
                  <a:pt x="14616" y="2316"/>
                </a:lnTo>
                <a:lnTo>
                  <a:pt x="14615" y="2316"/>
                </a:lnTo>
                <a:lnTo>
                  <a:pt x="14618" y="2315"/>
                </a:lnTo>
                <a:lnTo>
                  <a:pt x="14623" y="2314"/>
                </a:lnTo>
                <a:lnTo>
                  <a:pt x="14619" y="2310"/>
                </a:lnTo>
                <a:lnTo>
                  <a:pt x="14614" y="2311"/>
                </a:lnTo>
                <a:lnTo>
                  <a:pt x="14612" y="2314"/>
                </a:lnTo>
                <a:lnTo>
                  <a:pt x="14623" y="2314"/>
                </a:lnTo>
                <a:close/>
                <a:moveTo>
                  <a:pt x="15289" y="3279"/>
                </a:moveTo>
                <a:lnTo>
                  <a:pt x="15285" y="3281"/>
                </a:lnTo>
                <a:lnTo>
                  <a:pt x="15280" y="3284"/>
                </a:lnTo>
                <a:lnTo>
                  <a:pt x="15277" y="3286"/>
                </a:lnTo>
                <a:lnTo>
                  <a:pt x="15280" y="3291"/>
                </a:lnTo>
                <a:lnTo>
                  <a:pt x="15284" y="3289"/>
                </a:lnTo>
                <a:lnTo>
                  <a:pt x="15289" y="3286"/>
                </a:lnTo>
                <a:lnTo>
                  <a:pt x="15291" y="3282"/>
                </a:lnTo>
                <a:lnTo>
                  <a:pt x="15289" y="3279"/>
                </a:lnTo>
                <a:close/>
                <a:moveTo>
                  <a:pt x="16397" y="1578"/>
                </a:moveTo>
                <a:lnTo>
                  <a:pt x="16404" y="1581"/>
                </a:lnTo>
                <a:lnTo>
                  <a:pt x="16409" y="1581"/>
                </a:lnTo>
                <a:lnTo>
                  <a:pt x="16413" y="1577"/>
                </a:lnTo>
                <a:lnTo>
                  <a:pt x="16416" y="1568"/>
                </a:lnTo>
                <a:lnTo>
                  <a:pt x="16406" y="1573"/>
                </a:lnTo>
                <a:lnTo>
                  <a:pt x="16397" y="1578"/>
                </a:lnTo>
                <a:close/>
                <a:moveTo>
                  <a:pt x="15127" y="1671"/>
                </a:moveTo>
                <a:lnTo>
                  <a:pt x="15129" y="1672"/>
                </a:lnTo>
                <a:lnTo>
                  <a:pt x="15132" y="1673"/>
                </a:lnTo>
                <a:lnTo>
                  <a:pt x="15140" y="1665"/>
                </a:lnTo>
                <a:lnTo>
                  <a:pt x="15138" y="1661"/>
                </a:lnTo>
                <a:lnTo>
                  <a:pt x="15133" y="1662"/>
                </a:lnTo>
                <a:lnTo>
                  <a:pt x="15127" y="1671"/>
                </a:lnTo>
                <a:close/>
                <a:moveTo>
                  <a:pt x="15652" y="2992"/>
                </a:moveTo>
                <a:lnTo>
                  <a:pt x="15647" y="2996"/>
                </a:lnTo>
                <a:lnTo>
                  <a:pt x="15647" y="2996"/>
                </a:lnTo>
                <a:lnTo>
                  <a:pt x="15648" y="2995"/>
                </a:lnTo>
                <a:lnTo>
                  <a:pt x="15652" y="2992"/>
                </a:lnTo>
                <a:lnTo>
                  <a:pt x="15647" y="2988"/>
                </a:lnTo>
                <a:lnTo>
                  <a:pt x="15640" y="2991"/>
                </a:lnTo>
                <a:lnTo>
                  <a:pt x="15640" y="2993"/>
                </a:lnTo>
                <a:lnTo>
                  <a:pt x="15652" y="2992"/>
                </a:lnTo>
                <a:close/>
                <a:moveTo>
                  <a:pt x="16097" y="2445"/>
                </a:moveTo>
                <a:lnTo>
                  <a:pt x="16104" y="2438"/>
                </a:lnTo>
                <a:lnTo>
                  <a:pt x="16097" y="2445"/>
                </a:lnTo>
                <a:lnTo>
                  <a:pt x="16101" y="2445"/>
                </a:lnTo>
                <a:lnTo>
                  <a:pt x="16106" y="2442"/>
                </a:lnTo>
                <a:lnTo>
                  <a:pt x="16108" y="2440"/>
                </a:lnTo>
                <a:lnTo>
                  <a:pt x="16097" y="2445"/>
                </a:lnTo>
                <a:close/>
                <a:moveTo>
                  <a:pt x="15668" y="2734"/>
                </a:moveTo>
                <a:lnTo>
                  <a:pt x="15664" y="2739"/>
                </a:lnTo>
                <a:lnTo>
                  <a:pt x="15663" y="2740"/>
                </a:lnTo>
                <a:lnTo>
                  <a:pt x="15666" y="2738"/>
                </a:lnTo>
                <a:lnTo>
                  <a:pt x="15668" y="2734"/>
                </a:lnTo>
                <a:lnTo>
                  <a:pt x="15662" y="2731"/>
                </a:lnTo>
                <a:lnTo>
                  <a:pt x="15657" y="2735"/>
                </a:lnTo>
                <a:lnTo>
                  <a:pt x="15657" y="2739"/>
                </a:lnTo>
                <a:lnTo>
                  <a:pt x="15668" y="2734"/>
                </a:lnTo>
                <a:close/>
                <a:moveTo>
                  <a:pt x="14074" y="2642"/>
                </a:moveTo>
                <a:lnTo>
                  <a:pt x="14071" y="2647"/>
                </a:lnTo>
                <a:lnTo>
                  <a:pt x="14074" y="2642"/>
                </a:lnTo>
                <a:lnTo>
                  <a:pt x="14069" y="2642"/>
                </a:lnTo>
                <a:lnTo>
                  <a:pt x="14066" y="2646"/>
                </a:lnTo>
                <a:lnTo>
                  <a:pt x="14066" y="2648"/>
                </a:lnTo>
                <a:lnTo>
                  <a:pt x="14074" y="2642"/>
                </a:lnTo>
                <a:close/>
                <a:moveTo>
                  <a:pt x="15498" y="2848"/>
                </a:moveTo>
                <a:lnTo>
                  <a:pt x="15505" y="2842"/>
                </a:lnTo>
                <a:lnTo>
                  <a:pt x="15506" y="2841"/>
                </a:lnTo>
                <a:lnTo>
                  <a:pt x="15503" y="2843"/>
                </a:lnTo>
                <a:lnTo>
                  <a:pt x="15498" y="2848"/>
                </a:lnTo>
                <a:lnTo>
                  <a:pt x="15503" y="2850"/>
                </a:lnTo>
                <a:lnTo>
                  <a:pt x="15506" y="2846"/>
                </a:lnTo>
                <a:lnTo>
                  <a:pt x="15506" y="2845"/>
                </a:lnTo>
                <a:lnTo>
                  <a:pt x="15498" y="2848"/>
                </a:lnTo>
                <a:close/>
                <a:moveTo>
                  <a:pt x="15599" y="3088"/>
                </a:moveTo>
                <a:lnTo>
                  <a:pt x="15604" y="3083"/>
                </a:lnTo>
                <a:lnTo>
                  <a:pt x="15611" y="3077"/>
                </a:lnTo>
                <a:lnTo>
                  <a:pt x="15617" y="3072"/>
                </a:lnTo>
                <a:lnTo>
                  <a:pt x="15617" y="3067"/>
                </a:lnTo>
                <a:lnTo>
                  <a:pt x="15611" y="3072"/>
                </a:lnTo>
                <a:lnTo>
                  <a:pt x="15602" y="3076"/>
                </a:lnTo>
                <a:lnTo>
                  <a:pt x="15597" y="3081"/>
                </a:lnTo>
                <a:lnTo>
                  <a:pt x="15599" y="3088"/>
                </a:lnTo>
                <a:close/>
                <a:moveTo>
                  <a:pt x="15864" y="1778"/>
                </a:moveTo>
                <a:lnTo>
                  <a:pt x="15859" y="1773"/>
                </a:lnTo>
                <a:lnTo>
                  <a:pt x="15857" y="1768"/>
                </a:lnTo>
                <a:lnTo>
                  <a:pt x="15852" y="1765"/>
                </a:lnTo>
                <a:lnTo>
                  <a:pt x="15848" y="1769"/>
                </a:lnTo>
                <a:lnTo>
                  <a:pt x="15852" y="1773"/>
                </a:lnTo>
                <a:lnTo>
                  <a:pt x="15855" y="1778"/>
                </a:lnTo>
                <a:lnTo>
                  <a:pt x="15859" y="1780"/>
                </a:lnTo>
                <a:lnTo>
                  <a:pt x="15864" y="1778"/>
                </a:lnTo>
                <a:close/>
                <a:moveTo>
                  <a:pt x="15351" y="3304"/>
                </a:moveTo>
                <a:lnTo>
                  <a:pt x="15342" y="3303"/>
                </a:lnTo>
                <a:lnTo>
                  <a:pt x="15337" y="3305"/>
                </a:lnTo>
                <a:lnTo>
                  <a:pt x="15335" y="3313"/>
                </a:lnTo>
                <a:lnTo>
                  <a:pt x="15332" y="3322"/>
                </a:lnTo>
                <a:lnTo>
                  <a:pt x="15340" y="3321"/>
                </a:lnTo>
                <a:lnTo>
                  <a:pt x="15346" y="3318"/>
                </a:lnTo>
                <a:lnTo>
                  <a:pt x="15351" y="3314"/>
                </a:lnTo>
                <a:lnTo>
                  <a:pt x="15351" y="3304"/>
                </a:lnTo>
                <a:close/>
                <a:moveTo>
                  <a:pt x="16100" y="1895"/>
                </a:moveTo>
                <a:lnTo>
                  <a:pt x="16097" y="1891"/>
                </a:lnTo>
                <a:lnTo>
                  <a:pt x="16096" y="1887"/>
                </a:lnTo>
                <a:lnTo>
                  <a:pt x="16085" y="1894"/>
                </a:lnTo>
                <a:lnTo>
                  <a:pt x="16083" y="1897"/>
                </a:lnTo>
                <a:lnTo>
                  <a:pt x="16088" y="1900"/>
                </a:lnTo>
                <a:lnTo>
                  <a:pt x="16100" y="1895"/>
                </a:lnTo>
                <a:close/>
                <a:moveTo>
                  <a:pt x="15610" y="3043"/>
                </a:moveTo>
                <a:lnTo>
                  <a:pt x="15617" y="3027"/>
                </a:lnTo>
                <a:lnTo>
                  <a:pt x="15625" y="3013"/>
                </a:lnTo>
                <a:lnTo>
                  <a:pt x="15613" y="3015"/>
                </a:lnTo>
                <a:lnTo>
                  <a:pt x="15608" y="3021"/>
                </a:lnTo>
                <a:lnTo>
                  <a:pt x="15607" y="3030"/>
                </a:lnTo>
                <a:lnTo>
                  <a:pt x="15610" y="3043"/>
                </a:lnTo>
                <a:close/>
                <a:moveTo>
                  <a:pt x="15056" y="1810"/>
                </a:moveTo>
                <a:lnTo>
                  <a:pt x="15042" y="1819"/>
                </a:lnTo>
                <a:lnTo>
                  <a:pt x="15029" y="1827"/>
                </a:lnTo>
                <a:lnTo>
                  <a:pt x="15042" y="1831"/>
                </a:lnTo>
                <a:lnTo>
                  <a:pt x="15048" y="1829"/>
                </a:lnTo>
                <a:lnTo>
                  <a:pt x="15053" y="1821"/>
                </a:lnTo>
                <a:lnTo>
                  <a:pt x="15056" y="1810"/>
                </a:lnTo>
                <a:close/>
                <a:moveTo>
                  <a:pt x="15118" y="1759"/>
                </a:moveTo>
                <a:lnTo>
                  <a:pt x="15113" y="1773"/>
                </a:lnTo>
                <a:lnTo>
                  <a:pt x="15108" y="1787"/>
                </a:lnTo>
                <a:lnTo>
                  <a:pt x="15115" y="1779"/>
                </a:lnTo>
                <a:lnTo>
                  <a:pt x="15119" y="1774"/>
                </a:lnTo>
                <a:lnTo>
                  <a:pt x="15121" y="1768"/>
                </a:lnTo>
                <a:lnTo>
                  <a:pt x="15118" y="1759"/>
                </a:lnTo>
                <a:close/>
                <a:moveTo>
                  <a:pt x="15498" y="3001"/>
                </a:moveTo>
                <a:lnTo>
                  <a:pt x="15505" y="2995"/>
                </a:lnTo>
                <a:lnTo>
                  <a:pt x="15513" y="2988"/>
                </a:lnTo>
                <a:lnTo>
                  <a:pt x="15520" y="2982"/>
                </a:lnTo>
                <a:lnTo>
                  <a:pt x="15524" y="2974"/>
                </a:lnTo>
                <a:lnTo>
                  <a:pt x="15515" y="2981"/>
                </a:lnTo>
                <a:lnTo>
                  <a:pt x="15505" y="2987"/>
                </a:lnTo>
                <a:lnTo>
                  <a:pt x="15498" y="2993"/>
                </a:lnTo>
                <a:lnTo>
                  <a:pt x="15498" y="3001"/>
                </a:lnTo>
                <a:close/>
                <a:moveTo>
                  <a:pt x="15671" y="3165"/>
                </a:moveTo>
                <a:lnTo>
                  <a:pt x="15659" y="3175"/>
                </a:lnTo>
                <a:lnTo>
                  <a:pt x="15671" y="3165"/>
                </a:lnTo>
                <a:lnTo>
                  <a:pt x="15663" y="3161"/>
                </a:lnTo>
                <a:lnTo>
                  <a:pt x="15658" y="3167"/>
                </a:lnTo>
                <a:lnTo>
                  <a:pt x="15658" y="3170"/>
                </a:lnTo>
                <a:lnTo>
                  <a:pt x="15671" y="3165"/>
                </a:lnTo>
                <a:close/>
                <a:moveTo>
                  <a:pt x="15705" y="2662"/>
                </a:moveTo>
                <a:lnTo>
                  <a:pt x="15706" y="2650"/>
                </a:lnTo>
                <a:lnTo>
                  <a:pt x="15709" y="2634"/>
                </a:lnTo>
                <a:lnTo>
                  <a:pt x="15699" y="2646"/>
                </a:lnTo>
                <a:lnTo>
                  <a:pt x="15695" y="2652"/>
                </a:lnTo>
                <a:lnTo>
                  <a:pt x="15696" y="2656"/>
                </a:lnTo>
                <a:lnTo>
                  <a:pt x="15705" y="2662"/>
                </a:lnTo>
                <a:close/>
                <a:moveTo>
                  <a:pt x="15171" y="977"/>
                </a:moveTo>
                <a:lnTo>
                  <a:pt x="15170" y="998"/>
                </a:lnTo>
                <a:lnTo>
                  <a:pt x="15169" y="1014"/>
                </a:lnTo>
                <a:lnTo>
                  <a:pt x="15178" y="1005"/>
                </a:lnTo>
                <a:lnTo>
                  <a:pt x="15183" y="998"/>
                </a:lnTo>
                <a:lnTo>
                  <a:pt x="15182" y="989"/>
                </a:lnTo>
                <a:lnTo>
                  <a:pt x="15171" y="977"/>
                </a:lnTo>
                <a:close/>
                <a:moveTo>
                  <a:pt x="15806" y="2413"/>
                </a:moveTo>
                <a:lnTo>
                  <a:pt x="15815" y="2407"/>
                </a:lnTo>
                <a:lnTo>
                  <a:pt x="15829" y="2398"/>
                </a:lnTo>
                <a:lnTo>
                  <a:pt x="15815" y="2396"/>
                </a:lnTo>
                <a:lnTo>
                  <a:pt x="15808" y="2398"/>
                </a:lnTo>
                <a:lnTo>
                  <a:pt x="15806" y="2403"/>
                </a:lnTo>
                <a:lnTo>
                  <a:pt x="15806" y="2413"/>
                </a:lnTo>
                <a:close/>
                <a:moveTo>
                  <a:pt x="15142" y="1026"/>
                </a:moveTo>
                <a:lnTo>
                  <a:pt x="15128" y="1038"/>
                </a:lnTo>
                <a:lnTo>
                  <a:pt x="15113" y="1051"/>
                </a:lnTo>
                <a:lnTo>
                  <a:pt x="15126" y="1047"/>
                </a:lnTo>
                <a:lnTo>
                  <a:pt x="15133" y="1043"/>
                </a:lnTo>
                <a:lnTo>
                  <a:pt x="15137" y="1037"/>
                </a:lnTo>
                <a:lnTo>
                  <a:pt x="15142" y="1026"/>
                </a:lnTo>
                <a:close/>
                <a:moveTo>
                  <a:pt x="15429" y="3065"/>
                </a:moveTo>
                <a:lnTo>
                  <a:pt x="15420" y="3071"/>
                </a:lnTo>
                <a:lnTo>
                  <a:pt x="15408" y="3076"/>
                </a:lnTo>
                <a:lnTo>
                  <a:pt x="15399" y="3083"/>
                </a:lnTo>
                <a:lnTo>
                  <a:pt x="15401" y="3091"/>
                </a:lnTo>
                <a:lnTo>
                  <a:pt x="15408" y="3085"/>
                </a:lnTo>
                <a:lnTo>
                  <a:pt x="15420" y="3079"/>
                </a:lnTo>
                <a:lnTo>
                  <a:pt x="15427" y="3072"/>
                </a:lnTo>
                <a:lnTo>
                  <a:pt x="15429" y="3065"/>
                </a:lnTo>
                <a:close/>
                <a:moveTo>
                  <a:pt x="15985" y="2064"/>
                </a:moveTo>
                <a:lnTo>
                  <a:pt x="15979" y="2072"/>
                </a:lnTo>
                <a:lnTo>
                  <a:pt x="15970" y="2081"/>
                </a:lnTo>
                <a:lnTo>
                  <a:pt x="15965" y="2088"/>
                </a:lnTo>
                <a:lnTo>
                  <a:pt x="15969" y="2096"/>
                </a:lnTo>
                <a:lnTo>
                  <a:pt x="15976" y="2088"/>
                </a:lnTo>
                <a:lnTo>
                  <a:pt x="15985" y="2081"/>
                </a:lnTo>
                <a:lnTo>
                  <a:pt x="15990" y="2073"/>
                </a:lnTo>
                <a:lnTo>
                  <a:pt x="15985" y="2064"/>
                </a:lnTo>
                <a:close/>
                <a:moveTo>
                  <a:pt x="15498" y="2935"/>
                </a:moveTo>
                <a:lnTo>
                  <a:pt x="15487" y="2925"/>
                </a:lnTo>
                <a:lnTo>
                  <a:pt x="15480" y="2929"/>
                </a:lnTo>
                <a:lnTo>
                  <a:pt x="15471" y="2941"/>
                </a:lnTo>
                <a:lnTo>
                  <a:pt x="15459" y="2954"/>
                </a:lnTo>
                <a:lnTo>
                  <a:pt x="15481" y="2944"/>
                </a:lnTo>
                <a:lnTo>
                  <a:pt x="15498" y="2935"/>
                </a:lnTo>
                <a:close/>
                <a:moveTo>
                  <a:pt x="15256" y="2177"/>
                </a:moveTo>
                <a:lnTo>
                  <a:pt x="15268" y="2171"/>
                </a:lnTo>
                <a:lnTo>
                  <a:pt x="15271" y="2170"/>
                </a:lnTo>
                <a:lnTo>
                  <a:pt x="15264" y="2172"/>
                </a:lnTo>
                <a:lnTo>
                  <a:pt x="15256" y="2177"/>
                </a:lnTo>
                <a:lnTo>
                  <a:pt x="15263" y="2181"/>
                </a:lnTo>
                <a:lnTo>
                  <a:pt x="15272" y="2179"/>
                </a:lnTo>
                <a:lnTo>
                  <a:pt x="15273" y="2175"/>
                </a:lnTo>
                <a:lnTo>
                  <a:pt x="15256" y="2177"/>
                </a:lnTo>
                <a:close/>
                <a:moveTo>
                  <a:pt x="15084" y="1314"/>
                </a:moveTo>
                <a:lnTo>
                  <a:pt x="15086" y="1327"/>
                </a:lnTo>
                <a:lnTo>
                  <a:pt x="15095" y="1331"/>
                </a:lnTo>
                <a:lnTo>
                  <a:pt x="15105" y="1326"/>
                </a:lnTo>
                <a:lnTo>
                  <a:pt x="15115" y="1312"/>
                </a:lnTo>
                <a:lnTo>
                  <a:pt x="15096" y="1313"/>
                </a:lnTo>
                <a:lnTo>
                  <a:pt x="15084" y="1314"/>
                </a:lnTo>
                <a:close/>
                <a:moveTo>
                  <a:pt x="15098" y="1335"/>
                </a:moveTo>
                <a:lnTo>
                  <a:pt x="15098" y="1336"/>
                </a:lnTo>
                <a:lnTo>
                  <a:pt x="15098" y="1335"/>
                </a:lnTo>
                <a:lnTo>
                  <a:pt x="15098" y="1335"/>
                </a:lnTo>
                <a:lnTo>
                  <a:pt x="15098" y="1335"/>
                </a:lnTo>
                <a:close/>
                <a:moveTo>
                  <a:pt x="15464" y="2853"/>
                </a:moveTo>
                <a:lnTo>
                  <a:pt x="15480" y="2842"/>
                </a:lnTo>
                <a:lnTo>
                  <a:pt x="15496" y="2829"/>
                </a:lnTo>
                <a:lnTo>
                  <a:pt x="15478" y="2832"/>
                </a:lnTo>
                <a:lnTo>
                  <a:pt x="15468" y="2834"/>
                </a:lnTo>
                <a:lnTo>
                  <a:pt x="15466" y="2841"/>
                </a:lnTo>
                <a:lnTo>
                  <a:pt x="15464" y="2853"/>
                </a:lnTo>
                <a:close/>
                <a:moveTo>
                  <a:pt x="15257" y="927"/>
                </a:moveTo>
                <a:lnTo>
                  <a:pt x="15245" y="934"/>
                </a:lnTo>
                <a:lnTo>
                  <a:pt x="15244" y="935"/>
                </a:lnTo>
                <a:lnTo>
                  <a:pt x="15249" y="931"/>
                </a:lnTo>
                <a:lnTo>
                  <a:pt x="15257" y="927"/>
                </a:lnTo>
                <a:lnTo>
                  <a:pt x="15250" y="921"/>
                </a:lnTo>
                <a:lnTo>
                  <a:pt x="15240" y="925"/>
                </a:lnTo>
                <a:lnTo>
                  <a:pt x="15239" y="930"/>
                </a:lnTo>
                <a:lnTo>
                  <a:pt x="15257" y="927"/>
                </a:lnTo>
                <a:close/>
                <a:moveTo>
                  <a:pt x="14980" y="1236"/>
                </a:moveTo>
                <a:lnTo>
                  <a:pt x="14979" y="1236"/>
                </a:lnTo>
                <a:lnTo>
                  <a:pt x="14979" y="1237"/>
                </a:lnTo>
                <a:lnTo>
                  <a:pt x="14979" y="1236"/>
                </a:lnTo>
                <a:lnTo>
                  <a:pt x="14980" y="1236"/>
                </a:lnTo>
                <a:lnTo>
                  <a:pt x="14994" y="1234"/>
                </a:lnTo>
                <a:lnTo>
                  <a:pt x="15006" y="1228"/>
                </a:lnTo>
                <a:lnTo>
                  <a:pt x="15015" y="1219"/>
                </a:lnTo>
                <a:lnTo>
                  <a:pt x="15022" y="1208"/>
                </a:lnTo>
                <a:lnTo>
                  <a:pt x="15012" y="1214"/>
                </a:lnTo>
                <a:lnTo>
                  <a:pt x="15002" y="1222"/>
                </a:lnTo>
                <a:lnTo>
                  <a:pt x="14991" y="1228"/>
                </a:lnTo>
                <a:lnTo>
                  <a:pt x="14980" y="1236"/>
                </a:lnTo>
                <a:close/>
                <a:moveTo>
                  <a:pt x="14494" y="2309"/>
                </a:moveTo>
                <a:lnTo>
                  <a:pt x="14477" y="2320"/>
                </a:lnTo>
                <a:lnTo>
                  <a:pt x="14463" y="2332"/>
                </a:lnTo>
                <a:lnTo>
                  <a:pt x="14476" y="2334"/>
                </a:lnTo>
                <a:lnTo>
                  <a:pt x="14484" y="2332"/>
                </a:lnTo>
                <a:lnTo>
                  <a:pt x="14489" y="2324"/>
                </a:lnTo>
                <a:lnTo>
                  <a:pt x="14494" y="2309"/>
                </a:lnTo>
                <a:close/>
                <a:moveTo>
                  <a:pt x="15878" y="2819"/>
                </a:moveTo>
                <a:lnTo>
                  <a:pt x="15866" y="2822"/>
                </a:lnTo>
                <a:lnTo>
                  <a:pt x="15852" y="2825"/>
                </a:lnTo>
                <a:lnTo>
                  <a:pt x="15838" y="2828"/>
                </a:lnTo>
                <a:lnTo>
                  <a:pt x="15822" y="2831"/>
                </a:lnTo>
                <a:lnTo>
                  <a:pt x="15843" y="2839"/>
                </a:lnTo>
                <a:lnTo>
                  <a:pt x="15855" y="2841"/>
                </a:lnTo>
                <a:lnTo>
                  <a:pt x="15867" y="2834"/>
                </a:lnTo>
                <a:lnTo>
                  <a:pt x="15878" y="2819"/>
                </a:lnTo>
                <a:close/>
                <a:moveTo>
                  <a:pt x="15356" y="2678"/>
                </a:moveTo>
                <a:lnTo>
                  <a:pt x="15366" y="2669"/>
                </a:lnTo>
                <a:lnTo>
                  <a:pt x="15377" y="2660"/>
                </a:lnTo>
                <a:lnTo>
                  <a:pt x="15387" y="2651"/>
                </a:lnTo>
                <a:lnTo>
                  <a:pt x="15398" y="2642"/>
                </a:lnTo>
                <a:lnTo>
                  <a:pt x="15379" y="2642"/>
                </a:lnTo>
                <a:lnTo>
                  <a:pt x="15366" y="2650"/>
                </a:lnTo>
                <a:lnTo>
                  <a:pt x="15359" y="2662"/>
                </a:lnTo>
                <a:lnTo>
                  <a:pt x="15356" y="2678"/>
                </a:lnTo>
                <a:close/>
                <a:moveTo>
                  <a:pt x="14966" y="2326"/>
                </a:moveTo>
                <a:lnTo>
                  <a:pt x="14984" y="2310"/>
                </a:lnTo>
                <a:lnTo>
                  <a:pt x="14991" y="2297"/>
                </a:lnTo>
                <a:lnTo>
                  <a:pt x="14987" y="2284"/>
                </a:lnTo>
                <a:lnTo>
                  <a:pt x="14974" y="2267"/>
                </a:lnTo>
                <a:lnTo>
                  <a:pt x="14972" y="2283"/>
                </a:lnTo>
                <a:lnTo>
                  <a:pt x="14970" y="2297"/>
                </a:lnTo>
                <a:lnTo>
                  <a:pt x="14969" y="2311"/>
                </a:lnTo>
                <a:lnTo>
                  <a:pt x="14966" y="2326"/>
                </a:lnTo>
                <a:close/>
                <a:moveTo>
                  <a:pt x="15677" y="2803"/>
                </a:moveTo>
                <a:lnTo>
                  <a:pt x="15666" y="2810"/>
                </a:lnTo>
                <a:lnTo>
                  <a:pt x="15654" y="2818"/>
                </a:lnTo>
                <a:lnTo>
                  <a:pt x="15645" y="2831"/>
                </a:lnTo>
                <a:lnTo>
                  <a:pt x="15641" y="2850"/>
                </a:lnTo>
                <a:lnTo>
                  <a:pt x="15654" y="2837"/>
                </a:lnTo>
                <a:lnTo>
                  <a:pt x="15668" y="2824"/>
                </a:lnTo>
                <a:lnTo>
                  <a:pt x="15678" y="2813"/>
                </a:lnTo>
                <a:lnTo>
                  <a:pt x="15677" y="2803"/>
                </a:lnTo>
                <a:close/>
                <a:moveTo>
                  <a:pt x="16081" y="2181"/>
                </a:moveTo>
                <a:lnTo>
                  <a:pt x="16067" y="2194"/>
                </a:lnTo>
                <a:lnTo>
                  <a:pt x="16053" y="2207"/>
                </a:lnTo>
                <a:lnTo>
                  <a:pt x="16039" y="2218"/>
                </a:lnTo>
                <a:lnTo>
                  <a:pt x="16025" y="2231"/>
                </a:lnTo>
                <a:lnTo>
                  <a:pt x="16045" y="2223"/>
                </a:lnTo>
                <a:lnTo>
                  <a:pt x="16060" y="2212"/>
                </a:lnTo>
                <a:lnTo>
                  <a:pt x="16073" y="2199"/>
                </a:lnTo>
                <a:lnTo>
                  <a:pt x="16081" y="2181"/>
                </a:lnTo>
                <a:close/>
                <a:moveTo>
                  <a:pt x="15198" y="2250"/>
                </a:moveTo>
                <a:lnTo>
                  <a:pt x="15207" y="2239"/>
                </a:lnTo>
                <a:lnTo>
                  <a:pt x="15216" y="2230"/>
                </a:lnTo>
                <a:lnTo>
                  <a:pt x="15224" y="2218"/>
                </a:lnTo>
                <a:lnTo>
                  <a:pt x="15225" y="2204"/>
                </a:lnTo>
                <a:lnTo>
                  <a:pt x="15206" y="2207"/>
                </a:lnTo>
                <a:lnTo>
                  <a:pt x="15198" y="2216"/>
                </a:lnTo>
                <a:lnTo>
                  <a:pt x="15197" y="2230"/>
                </a:lnTo>
                <a:lnTo>
                  <a:pt x="15198" y="2250"/>
                </a:lnTo>
                <a:close/>
                <a:moveTo>
                  <a:pt x="14618" y="2544"/>
                </a:moveTo>
                <a:lnTo>
                  <a:pt x="14611" y="2548"/>
                </a:lnTo>
                <a:lnTo>
                  <a:pt x="14604" y="2553"/>
                </a:lnTo>
                <a:lnTo>
                  <a:pt x="14598" y="2561"/>
                </a:lnTo>
                <a:lnTo>
                  <a:pt x="14597" y="2572"/>
                </a:lnTo>
                <a:lnTo>
                  <a:pt x="14621" y="2557"/>
                </a:lnTo>
                <a:lnTo>
                  <a:pt x="14638" y="2536"/>
                </a:lnTo>
                <a:lnTo>
                  <a:pt x="14638" y="2526"/>
                </a:lnTo>
                <a:lnTo>
                  <a:pt x="14618" y="2544"/>
                </a:lnTo>
                <a:close/>
                <a:moveTo>
                  <a:pt x="14848" y="2046"/>
                </a:moveTo>
                <a:lnTo>
                  <a:pt x="14875" y="2018"/>
                </a:lnTo>
                <a:lnTo>
                  <a:pt x="14865" y="2023"/>
                </a:lnTo>
                <a:lnTo>
                  <a:pt x="14838" y="2046"/>
                </a:lnTo>
                <a:lnTo>
                  <a:pt x="14812" y="2072"/>
                </a:lnTo>
                <a:lnTo>
                  <a:pt x="14821" y="2076"/>
                </a:lnTo>
                <a:lnTo>
                  <a:pt x="14830" y="2068"/>
                </a:lnTo>
                <a:lnTo>
                  <a:pt x="14839" y="2055"/>
                </a:lnTo>
                <a:lnTo>
                  <a:pt x="14848" y="2046"/>
                </a:lnTo>
                <a:close/>
                <a:moveTo>
                  <a:pt x="15368" y="3095"/>
                </a:moveTo>
                <a:lnTo>
                  <a:pt x="15356" y="3107"/>
                </a:lnTo>
                <a:lnTo>
                  <a:pt x="15343" y="3116"/>
                </a:lnTo>
                <a:lnTo>
                  <a:pt x="15333" y="3128"/>
                </a:lnTo>
                <a:lnTo>
                  <a:pt x="15328" y="3145"/>
                </a:lnTo>
                <a:lnTo>
                  <a:pt x="15351" y="3131"/>
                </a:lnTo>
                <a:lnTo>
                  <a:pt x="15363" y="3122"/>
                </a:lnTo>
                <a:lnTo>
                  <a:pt x="15368" y="3111"/>
                </a:lnTo>
                <a:lnTo>
                  <a:pt x="15368" y="3095"/>
                </a:lnTo>
                <a:close/>
                <a:moveTo>
                  <a:pt x="14764" y="2489"/>
                </a:moveTo>
                <a:lnTo>
                  <a:pt x="14774" y="2477"/>
                </a:lnTo>
                <a:lnTo>
                  <a:pt x="14788" y="2465"/>
                </a:lnTo>
                <a:lnTo>
                  <a:pt x="14798" y="2452"/>
                </a:lnTo>
                <a:lnTo>
                  <a:pt x="14797" y="2431"/>
                </a:lnTo>
                <a:lnTo>
                  <a:pt x="14787" y="2446"/>
                </a:lnTo>
                <a:lnTo>
                  <a:pt x="14774" y="2461"/>
                </a:lnTo>
                <a:lnTo>
                  <a:pt x="14764" y="2477"/>
                </a:lnTo>
                <a:lnTo>
                  <a:pt x="14764" y="2489"/>
                </a:lnTo>
                <a:close/>
                <a:moveTo>
                  <a:pt x="15458" y="3349"/>
                </a:moveTo>
                <a:lnTo>
                  <a:pt x="15478" y="3331"/>
                </a:lnTo>
                <a:lnTo>
                  <a:pt x="15500" y="3313"/>
                </a:lnTo>
                <a:lnTo>
                  <a:pt x="15520" y="3295"/>
                </a:lnTo>
                <a:lnTo>
                  <a:pt x="15536" y="3275"/>
                </a:lnTo>
                <a:lnTo>
                  <a:pt x="15512" y="3294"/>
                </a:lnTo>
                <a:lnTo>
                  <a:pt x="15481" y="3309"/>
                </a:lnTo>
                <a:lnTo>
                  <a:pt x="15458" y="3326"/>
                </a:lnTo>
                <a:lnTo>
                  <a:pt x="15458" y="3349"/>
                </a:lnTo>
                <a:close/>
                <a:moveTo>
                  <a:pt x="14859" y="2515"/>
                </a:moveTo>
                <a:lnTo>
                  <a:pt x="14842" y="2510"/>
                </a:lnTo>
                <a:lnTo>
                  <a:pt x="14825" y="2521"/>
                </a:lnTo>
                <a:lnTo>
                  <a:pt x="14811" y="2543"/>
                </a:lnTo>
                <a:lnTo>
                  <a:pt x="14801" y="2561"/>
                </a:lnTo>
                <a:lnTo>
                  <a:pt x="14819" y="2553"/>
                </a:lnTo>
                <a:lnTo>
                  <a:pt x="14835" y="2542"/>
                </a:lnTo>
                <a:lnTo>
                  <a:pt x="14848" y="2530"/>
                </a:lnTo>
                <a:lnTo>
                  <a:pt x="14859" y="2515"/>
                </a:lnTo>
                <a:close/>
                <a:moveTo>
                  <a:pt x="15445" y="2901"/>
                </a:moveTo>
                <a:lnTo>
                  <a:pt x="15434" y="2883"/>
                </a:lnTo>
                <a:lnTo>
                  <a:pt x="15425" y="2873"/>
                </a:lnTo>
                <a:lnTo>
                  <a:pt x="15412" y="2875"/>
                </a:lnTo>
                <a:lnTo>
                  <a:pt x="15396" y="2893"/>
                </a:lnTo>
                <a:lnTo>
                  <a:pt x="15388" y="2912"/>
                </a:lnTo>
                <a:lnTo>
                  <a:pt x="15405" y="2917"/>
                </a:lnTo>
                <a:lnTo>
                  <a:pt x="15429" y="2912"/>
                </a:lnTo>
                <a:lnTo>
                  <a:pt x="15445" y="2901"/>
                </a:lnTo>
                <a:close/>
                <a:moveTo>
                  <a:pt x="15026" y="1524"/>
                </a:moveTo>
                <a:lnTo>
                  <a:pt x="15028" y="1546"/>
                </a:lnTo>
                <a:lnTo>
                  <a:pt x="15035" y="1556"/>
                </a:lnTo>
                <a:lnTo>
                  <a:pt x="15048" y="1556"/>
                </a:lnTo>
                <a:lnTo>
                  <a:pt x="15063" y="1549"/>
                </a:lnTo>
                <a:lnTo>
                  <a:pt x="15087" y="1532"/>
                </a:lnTo>
                <a:lnTo>
                  <a:pt x="15080" y="1528"/>
                </a:lnTo>
                <a:lnTo>
                  <a:pt x="15053" y="1528"/>
                </a:lnTo>
                <a:lnTo>
                  <a:pt x="15026" y="1524"/>
                </a:lnTo>
                <a:close/>
                <a:moveTo>
                  <a:pt x="15025" y="1401"/>
                </a:moveTo>
                <a:lnTo>
                  <a:pt x="15061" y="1388"/>
                </a:lnTo>
                <a:lnTo>
                  <a:pt x="15090" y="1373"/>
                </a:lnTo>
                <a:lnTo>
                  <a:pt x="15105" y="1355"/>
                </a:lnTo>
                <a:lnTo>
                  <a:pt x="15098" y="1336"/>
                </a:lnTo>
                <a:lnTo>
                  <a:pt x="15079" y="1351"/>
                </a:lnTo>
                <a:lnTo>
                  <a:pt x="15058" y="1365"/>
                </a:lnTo>
                <a:lnTo>
                  <a:pt x="15040" y="1381"/>
                </a:lnTo>
                <a:lnTo>
                  <a:pt x="15025" y="1401"/>
                </a:lnTo>
                <a:close/>
                <a:moveTo>
                  <a:pt x="15852" y="1822"/>
                </a:moveTo>
                <a:lnTo>
                  <a:pt x="15845" y="1793"/>
                </a:lnTo>
                <a:lnTo>
                  <a:pt x="15821" y="1796"/>
                </a:lnTo>
                <a:lnTo>
                  <a:pt x="15792" y="1819"/>
                </a:lnTo>
                <a:lnTo>
                  <a:pt x="15770" y="1845"/>
                </a:lnTo>
                <a:lnTo>
                  <a:pt x="15792" y="1841"/>
                </a:lnTo>
                <a:lnTo>
                  <a:pt x="15811" y="1830"/>
                </a:lnTo>
                <a:lnTo>
                  <a:pt x="15829" y="1821"/>
                </a:lnTo>
                <a:lnTo>
                  <a:pt x="15852" y="1822"/>
                </a:lnTo>
                <a:close/>
                <a:moveTo>
                  <a:pt x="15202" y="3338"/>
                </a:moveTo>
                <a:lnTo>
                  <a:pt x="15175" y="3349"/>
                </a:lnTo>
                <a:lnTo>
                  <a:pt x="15156" y="3368"/>
                </a:lnTo>
                <a:lnTo>
                  <a:pt x="15156" y="3386"/>
                </a:lnTo>
                <a:lnTo>
                  <a:pt x="15179" y="3397"/>
                </a:lnTo>
                <a:lnTo>
                  <a:pt x="15194" y="3373"/>
                </a:lnTo>
                <a:lnTo>
                  <a:pt x="15202" y="3359"/>
                </a:lnTo>
                <a:lnTo>
                  <a:pt x="15203" y="3350"/>
                </a:lnTo>
                <a:lnTo>
                  <a:pt x="15202" y="3338"/>
                </a:lnTo>
                <a:close/>
                <a:moveTo>
                  <a:pt x="14210" y="2517"/>
                </a:moveTo>
                <a:lnTo>
                  <a:pt x="14177" y="2549"/>
                </a:lnTo>
                <a:lnTo>
                  <a:pt x="14149" y="2584"/>
                </a:lnTo>
                <a:lnTo>
                  <a:pt x="14121" y="2615"/>
                </a:lnTo>
                <a:lnTo>
                  <a:pt x="14089" y="2643"/>
                </a:lnTo>
                <a:lnTo>
                  <a:pt x="14121" y="2634"/>
                </a:lnTo>
                <a:lnTo>
                  <a:pt x="14154" y="2600"/>
                </a:lnTo>
                <a:lnTo>
                  <a:pt x="14185" y="2556"/>
                </a:lnTo>
                <a:lnTo>
                  <a:pt x="14210" y="2517"/>
                </a:lnTo>
                <a:close/>
                <a:moveTo>
                  <a:pt x="14810" y="2385"/>
                </a:moveTo>
                <a:lnTo>
                  <a:pt x="14784" y="2407"/>
                </a:lnTo>
                <a:lnTo>
                  <a:pt x="14760" y="2427"/>
                </a:lnTo>
                <a:lnTo>
                  <a:pt x="14735" y="2449"/>
                </a:lnTo>
                <a:lnTo>
                  <a:pt x="14710" y="2470"/>
                </a:lnTo>
                <a:lnTo>
                  <a:pt x="14741" y="2459"/>
                </a:lnTo>
                <a:lnTo>
                  <a:pt x="14797" y="2417"/>
                </a:lnTo>
                <a:lnTo>
                  <a:pt x="14834" y="2380"/>
                </a:lnTo>
                <a:lnTo>
                  <a:pt x="14810" y="2385"/>
                </a:lnTo>
                <a:close/>
                <a:moveTo>
                  <a:pt x="15876" y="2720"/>
                </a:moveTo>
                <a:lnTo>
                  <a:pt x="15922" y="2656"/>
                </a:lnTo>
                <a:lnTo>
                  <a:pt x="15902" y="2671"/>
                </a:lnTo>
                <a:lnTo>
                  <a:pt x="15854" y="2715"/>
                </a:lnTo>
                <a:lnTo>
                  <a:pt x="15810" y="2736"/>
                </a:lnTo>
                <a:lnTo>
                  <a:pt x="15804" y="2758"/>
                </a:lnTo>
                <a:lnTo>
                  <a:pt x="15826" y="2757"/>
                </a:lnTo>
                <a:lnTo>
                  <a:pt x="15857" y="2741"/>
                </a:lnTo>
                <a:lnTo>
                  <a:pt x="15876" y="2720"/>
                </a:lnTo>
                <a:close/>
                <a:moveTo>
                  <a:pt x="15825" y="2340"/>
                </a:moveTo>
                <a:lnTo>
                  <a:pt x="15881" y="2293"/>
                </a:lnTo>
                <a:lnTo>
                  <a:pt x="15836" y="2316"/>
                </a:lnTo>
                <a:lnTo>
                  <a:pt x="15756" y="2371"/>
                </a:lnTo>
                <a:lnTo>
                  <a:pt x="15701" y="2423"/>
                </a:lnTo>
                <a:lnTo>
                  <a:pt x="15736" y="2407"/>
                </a:lnTo>
                <a:lnTo>
                  <a:pt x="15770" y="2390"/>
                </a:lnTo>
                <a:lnTo>
                  <a:pt x="15801" y="2370"/>
                </a:lnTo>
                <a:lnTo>
                  <a:pt x="15825" y="2340"/>
                </a:lnTo>
                <a:close/>
                <a:moveTo>
                  <a:pt x="15855" y="2654"/>
                </a:moveTo>
                <a:lnTo>
                  <a:pt x="15859" y="2665"/>
                </a:lnTo>
                <a:lnTo>
                  <a:pt x="15859" y="2670"/>
                </a:lnTo>
                <a:lnTo>
                  <a:pt x="15853" y="2673"/>
                </a:lnTo>
                <a:lnTo>
                  <a:pt x="15841" y="2674"/>
                </a:lnTo>
                <a:lnTo>
                  <a:pt x="15848" y="2665"/>
                </a:lnTo>
                <a:lnTo>
                  <a:pt x="15855" y="2654"/>
                </a:lnTo>
                <a:close/>
                <a:moveTo>
                  <a:pt x="15811" y="2708"/>
                </a:moveTo>
                <a:lnTo>
                  <a:pt x="15887" y="2645"/>
                </a:lnTo>
                <a:lnTo>
                  <a:pt x="15867" y="2633"/>
                </a:lnTo>
                <a:lnTo>
                  <a:pt x="15806" y="2670"/>
                </a:lnTo>
                <a:lnTo>
                  <a:pt x="15755" y="2753"/>
                </a:lnTo>
                <a:lnTo>
                  <a:pt x="15774" y="2731"/>
                </a:lnTo>
                <a:lnTo>
                  <a:pt x="15797" y="2706"/>
                </a:lnTo>
                <a:lnTo>
                  <a:pt x="15811" y="2693"/>
                </a:lnTo>
                <a:lnTo>
                  <a:pt x="15811" y="2708"/>
                </a:lnTo>
                <a:close/>
                <a:moveTo>
                  <a:pt x="15561" y="2562"/>
                </a:moveTo>
                <a:lnTo>
                  <a:pt x="15568" y="2554"/>
                </a:lnTo>
                <a:lnTo>
                  <a:pt x="15561" y="2562"/>
                </a:lnTo>
                <a:lnTo>
                  <a:pt x="15560" y="2556"/>
                </a:lnTo>
                <a:lnTo>
                  <a:pt x="15562" y="2548"/>
                </a:lnTo>
                <a:lnTo>
                  <a:pt x="15565" y="2548"/>
                </a:lnTo>
                <a:lnTo>
                  <a:pt x="15561" y="2562"/>
                </a:lnTo>
                <a:close/>
                <a:moveTo>
                  <a:pt x="15510" y="2582"/>
                </a:moveTo>
                <a:lnTo>
                  <a:pt x="15517" y="2580"/>
                </a:lnTo>
                <a:lnTo>
                  <a:pt x="15517" y="2580"/>
                </a:lnTo>
                <a:lnTo>
                  <a:pt x="15514" y="2581"/>
                </a:lnTo>
                <a:lnTo>
                  <a:pt x="15510" y="2582"/>
                </a:lnTo>
                <a:lnTo>
                  <a:pt x="15508" y="2575"/>
                </a:lnTo>
                <a:lnTo>
                  <a:pt x="15513" y="2570"/>
                </a:lnTo>
                <a:lnTo>
                  <a:pt x="15515" y="2572"/>
                </a:lnTo>
                <a:lnTo>
                  <a:pt x="15510" y="2582"/>
                </a:lnTo>
                <a:close/>
                <a:moveTo>
                  <a:pt x="15624" y="2539"/>
                </a:moveTo>
                <a:lnTo>
                  <a:pt x="15606" y="2473"/>
                </a:lnTo>
                <a:lnTo>
                  <a:pt x="15528" y="2530"/>
                </a:lnTo>
                <a:lnTo>
                  <a:pt x="15436" y="2634"/>
                </a:lnTo>
                <a:lnTo>
                  <a:pt x="15378" y="2708"/>
                </a:lnTo>
                <a:lnTo>
                  <a:pt x="15441" y="2685"/>
                </a:lnTo>
                <a:lnTo>
                  <a:pt x="15526" y="2631"/>
                </a:lnTo>
                <a:lnTo>
                  <a:pt x="15597" y="2572"/>
                </a:lnTo>
                <a:lnTo>
                  <a:pt x="15624" y="2539"/>
                </a:lnTo>
                <a:close/>
                <a:moveTo>
                  <a:pt x="10021" y="1227"/>
                </a:moveTo>
                <a:lnTo>
                  <a:pt x="10016" y="1219"/>
                </a:lnTo>
                <a:lnTo>
                  <a:pt x="10013" y="1222"/>
                </a:lnTo>
                <a:lnTo>
                  <a:pt x="10013" y="1229"/>
                </a:lnTo>
                <a:lnTo>
                  <a:pt x="10018" y="1238"/>
                </a:lnTo>
                <a:lnTo>
                  <a:pt x="10020" y="1230"/>
                </a:lnTo>
                <a:lnTo>
                  <a:pt x="10021" y="1227"/>
                </a:lnTo>
                <a:close/>
                <a:moveTo>
                  <a:pt x="9732" y="1237"/>
                </a:moveTo>
                <a:lnTo>
                  <a:pt x="9735" y="1234"/>
                </a:lnTo>
                <a:lnTo>
                  <a:pt x="9734" y="1230"/>
                </a:lnTo>
                <a:lnTo>
                  <a:pt x="9731" y="1229"/>
                </a:lnTo>
                <a:lnTo>
                  <a:pt x="9726" y="1228"/>
                </a:lnTo>
                <a:lnTo>
                  <a:pt x="9725" y="1232"/>
                </a:lnTo>
                <a:lnTo>
                  <a:pt x="9725" y="1236"/>
                </a:lnTo>
                <a:lnTo>
                  <a:pt x="9727" y="1238"/>
                </a:lnTo>
                <a:lnTo>
                  <a:pt x="9732" y="1237"/>
                </a:lnTo>
                <a:close/>
                <a:moveTo>
                  <a:pt x="9708" y="1196"/>
                </a:moveTo>
                <a:lnTo>
                  <a:pt x="9702" y="1199"/>
                </a:lnTo>
                <a:lnTo>
                  <a:pt x="9702" y="1200"/>
                </a:lnTo>
                <a:lnTo>
                  <a:pt x="9704" y="1199"/>
                </a:lnTo>
                <a:lnTo>
                  <a:pt x="9708" y="1196"/>
                </a:lnTo>
                <a:lnTo>
                  <a:pt x="9704" y="1192"/>
                </a:lnTo>
                <a:lnTo>
                  <a:pt x="9698" y="1194"/>
                </a:lnTo>
                <a:lnTo>
                  <a:pt x="9698" y="1196"/>
                </a:lnTo>
                <a:lnTo>
                  <a:pt x="9708" y="1196"/>
                </a:lnTo>
                <a:close/>
                <a:moveTo>
                  <a:pt x="9713" y="1238"/>
                </a:moveTo>
                <a:lnTo>
                  <a:pt x="9704" y="1243"/>
                </a:lnTo>
                <a:lnTo>
                  <a:pt x="9694" y="1248"/>
                </a:lnTo>
                <a:lnTo>
                  <a:pt x="9687" y="1253"/>
                </a:lnTo>
                <a:lnTo>
                  <a:pt x="9688" y="1261"/>
                </a:lnTo>
                <a:lnTo>
                  <a:pt x="9697" y="1260"/>
                </a:lnTo>
                <a:lnTo>
                  <a:pt x="9703" y="1256"/>
                </a:lnTo>
                <a:lnTo>
                  <a:pt x="9707" y="1250"/>
                </a:lnTo>
                <a:lnTo>
                  <a:pt x="9713" y="1238"/>
                </a:lnTo>
                <a:close/>
                <a:moveTo>
                  <a:pt x="9785" y="1188"/>
                </a:moveTo>
                <a:lnTo>
                  <a:pt x="9769" y="1180"/>
                </a:lnTo>
                <a:lnTo>
                  <a:pt x="9755" y="1180"/>
                </a:lnTo>
                <a:lnTo>
                  <a:pt x="9743" y="1188"/>
                </a:lnTo>
                <a:lnTo>
                  <a:pt x="9732" y="1204"/>
                </a:lnTo>
                <a:lnTo>
                  <a:pt x="9748" y="1208"/>
                </a:lnTo>
                <a:lnTo>
                  <a:pt x="9760" y="1202"/>
                </a:lnTo>
                <a:lnTo>
                  <a:pt x="9772" y="1194"/>
                </a:lnTo>
                <a:lnTo>
                  <a:pt x="9785" y="1188"/>
                </a:lnTo>
                <a:close/>
                <a:moveTo>
                  <a:pt x="10861" y="698"/>
                </a:moveTo>
                <a:lnTo>
                  <a:pt x="10856" y="701"/>
                </a:lnTo>
                <a:lnTo>
                  <a:pt x="10861" y="698"/>
                </a:lnTo>
                <a:lnTo>
                  <a:pt x="10858" y="696"/>
                </a:lnTo>
                <a:lnTo>
                  <a:pt x="10853" y="696"/>
                </a:lnTo>
                <a:lnTo>
                  <a:pt x="10853" y="697"/>
                </a:lnTo>
                <a:lnTo>
                  <a:pt x="10861" y="698"/>
                </a:lnTo>
                <a:close/>
                <a:moveTo>
                  <a:pt x="10081" y="990"/>
                </a:moveTo>
                <a:lnTo>
                  <a:pt x="10079" y="991"/>
                </a:lnTo>
                <a:lnTo>
                  <a:pt x="10079" y="991"/>
                </a:lnTo>
                <a:lnTo>
                  <a:pt x="10080" y="990"/>
                </a:lnTo>
                <a:lnTo>
                  <a:pt x="10081" y="990"/>
                </a:lnTo>
                <a:lnTo>
                  <a:pt x="10080" y="986"/>
                </a:lnTo>
                <a:lnTo>
                  <a:pt x="10077" y="987"/>
                </a:lnTo>
                <a:lnTo>
                  <a:pt x="10076" y="989"/>
                </a:lnTo>
                <a:lnTo>
                  <a:pt x="10081" y="990"/>
                </a:lnTo>
                <a:close/>
                <a:moveTo>
                  <a:pt x="9841" y="962"/>
                </a:moveTo>
                <a:lnTo>
                  <a:pt x="9844" y="952"/>
                </a:lnTo>
                <a:lnTo>
                  <a:pt x="9847" y="943"/>
                </a:lnTo>
                <a:lnTo>
                  <a:pt x="9841" y="945"/>
                </a:lnTo>
                <a:lnTo>
                  <a:pt x="9838" y="949"/>
                </a:lnTo>
                <a:lnTo>
                  <a:pt x="9838" y="954"/>
                </a:lnTo>
                <a:lnTo>
                  <a:pt x="9841" y="962"/>
                </a:lnTo>
                <a:close/>
                <a:moveTo>
                  <a:pt x="9657" y="1111"/>
                </a:moveTo>
                <a:lnTo>
                  <a:pt x="9662" y="1111"/>
                </a:lnTo>
                <a:lnTo>
                  <a:pt x="9667" y="1110"/>
                </a:lnTo>
                <a:lnTo>
                  <a:pt x="9671" y="1108"/>
                </a:lnTo>
                <a:lnTo>
                  <a:pt x="9671" y="1103"/>
                </a:lnTo>
                <a:lnTo>
                  <a:pt x="9666" y="1104"/>
                </a:lnTo>
                <a:lnTo>
                  <a:pt x="9661" y="1106"/>
                </a:lnTo>
                <a:lnTo>
                  <a:pt x="9657" y="1107"/>
                </a:lnTo>
                <a:lnTo>
                  <a:pt x="9657" y="1111"/>
                </a:lnTo>
                <a:close/>
                <a:moveTo>
                  <a:pt x="10663" y="787"/>
                </a:moveTo>
                <a:lnTo>
                  <a:pt x="10662" y="787"/>
                </a:lnTo>
                <a:lnTo>
                  <a:pt x="10662" y="789"/>
                </a:lnTo>
                <a:lnTo>
                  <a:pt x="10663" y="789"/>
                </a:lnTo>
                <a:lnTo>
                  <a:pt x="10663" y="787"/>
                </a:lnTo>
                <a:close/>
                <a:moveTo>
                  <a:pt x="10675" y="766"/>
                </a:moveTo>
                <a:lnTo>
                  <a:pt x="10666" y="766"/>
                </a:lnTo>
                <a:lnTo>
                  <a:pt x="10662" y="771"/>
                </a:lnTo>
                <a:lnTo>
                  <a:pt x="10662" y="779"/>
                </a:lnTo>
                <a:lnTo>
                  <a:pt x="10663" y="787"/>
                </a:lnTo>
                <a:lnTo>
                  <a:pt x="10667" y="782"/>
                </a:lnTo>
                <a:lnTo>
                  <a:pt x="10671" y="777"/>
                </a:lnTo>
                <a:lnTo>
                  <a:pt x="10673" y="772"/>
                </a:lnTo>
                <a:lnTo>
                  <a:pt x="10675" y="766"/>
                </a:lnTo>
                <a:close/>
                <a:moveTo>
                  <a:pt x="9981" y="687"/>
                </a:moveTo>
                <a:lnTo>
                  <a:pt x="9977" y="682"/>
                </a:lnTo>
                <a:lnTo>
                  <a:pt x="9971" y="681"/>
                </a:lnTo>
                <a:lnTo>
                  <a:pt x="9964" y="683"/>
                </a:lnTo>
                <a:lnTo>
                  <a:pt x="9962" y="689"/>
                </a:lnTo>
                <a:lnTo>
                  <a:pt x="9972" y="689"/>
                </a:lnTo>
                <a:lnTo>
                  <a:pt x="9981" y="687"/>
                </a:lnTo>
                <a:close/>
                <a:moveTo>
                  <a:pt x="9809" y="1042"/>
                </a:moveTo>
                <a:lnTo>
                  <a:pt x="9804" y="1045"/>
                </a:lnTo>
                <a:lnTo>
                  <a:pt x="9802" y="1045"/>
                </a:lnTo>
                <a:lnTo>
                  <a:pt x="9805" y="1043"/>
                </a:lnTo>
                <a:lnTo>
                  <a:pt x="9809" y="1042"/>
                </a:lnTo>
                <a:lnTo>
                  <a:pt x="9805" y="1040"/>
                </a:lnTo>
                <a:lnTo>
                  <a:pt x="9800" y="1040"/>
                </a:lnTo>
                <a:lnTo>
                  <a:pt x="9799" y="1041"/>
                </a:lnTo>
                <a:lnTo>
                  <a:pt x="9809" y="1042"/>
                </a:lnTo>
                <a:close/>
                <a:moveTo>
                  <a:pt x="9878" y="804"/>
                </a:moveTo>
                <a:lnTo>
                  <a:pt x="9874" y="808"/>
                </a:lnTo>
                <a:lnTo>
                  <a:pt x="9874" y="813"/>
                </a:lnTo>
                <a:lnTo>
                  <a:pt x="9876" y="817"/>
                </a:lnTo>
                <a:lnTo>
                  <a:pt x="9880" y="819"/>
                </a:lnTo>
                <a:lnTo>
                  <a:pt x="9885" y="815"/>
                </a:lnTo>
                <a:lnTo>
                  <a:pt x="9886" y="809"/>
                </a:lnTo>
                <a:lnTo>
                  <a:pt x="9884" y="805"/>
                </a:lnTo>
                <a:lnTo>
                  <a:pt x="9878" y="804"/>
                </a:lnTo>
                <a:close/>
                <a:moveTo>
                  <a:pt x="9721" y="1074"/>
                </a:moveTo>
                <a:lnTo>
                  <a:pt x="9716" y="1078"/>
                </a:lnTo>
                <a:lnTo>
                  <a:pt x="9721" y="1074"/>
                </a:lnTo>
                <a:lnTo>
                  <a:pt x="9717" y="1071"/>
                </a:lnTo>
                <a:lnTo>
                  <a:pt x="9712" y="1071"/>
                </a:lnTo>
                <a:lnTo>
                  <a:pt x="9711" y="1074"/>
                </a:lnTo>
                <a:lnTo>
                  <a:pt x="9721" y="1074"/>
                </a:lnTo>
                <a:close/>
                <a:moveTo>
                  <a:pt x="10318" y="888"/>
                </a:moveTo>
                <a:lnTo>
                  <a:pt x="10312" y="894"/>
                </a:lnTo>
                <a:lnTo>
                  <a:pt x="10318" y="888"/>
                </a:lnTo>
                <a:lnTo>
                  <a:pt x="10313" y="884"/>
                </a:lnTo>
                <a:lnTo>
                  <a:pt x="10307" y="887"/>
                </a:lnTo>
                <a:lnTo>
                  <a:pt x="10307" y="891"/>
                </a:lnTo>
                <a:lnTo>
                  <a:pt x="10318" y="888"/>
                </a:lnTo>
                <a:close/>
                <a:moveTo>
                  <a:pt x="9916" y="1008"/>
                </a:moveTo>
                <a:lnTo>
                  <a:pt x="9916" y="1010"/>
                </a:lnTo>
                <a:lnTo>
                  <a:pt x="9916" y="1008"/>
                </a:lnTo>
                <a:lnTo>
                  <a:pt x="9898" y="1012"/>
                </a:lnTo>
                <a:lnTo>
                  <a:pt x="9893" y="1013"/>
                </a:lnTo>
                <a:lnTo>
                  <a:pt x="9899" y="1012"/>
                </a:lnTo>
                <a:lnTo>
                  <a:pt x="9916" y="1008"/>
                </a:lnTo>
                <a:close/>
                <a:moveTo>
                  <a:pt x="9886" y="1015"/>
                </a:moveTo>
                <a:lnTo>
                  <a:pt x="9885" y="1015"/>
                </a:lnTo>
                <a:lnTo>
                  <a:pt x="9885" y="1015"/>
                </a:lnTo>
                <a:lnTo>
                  <a:pt x="9885" y="1015"/>
                </a:lnTo>
                <a:lnTo>
                  <a:pt x="9886" y="1015"/>
                </a:lnTo>
                <a:close/>
                <a:moveTo>
                  <a:pt x="9653" y="679"/>
                </a:moveTo>
                <a:lnTo>
                  <a:pt x="9661" y="674"/>
                </a:lnTo>
                <a:lnTo>
                  <a:pt x="9671" y="668"/>
                </a:lnTo>
                <a:lnTo>
                  <a:pt x="9662" y="665"/>
                </a:lnTo>
                <a:lnTo>
                  <a:pt x="9657" y="667"/>
                </a:lnTo>
                <a:lnTo>
                  <a:pt x="9653" y="672"/>
                </a:lnTo>
                <a:lnTo>
                  <a:pt x="9653" y="679"/>
                </a:lnTo>
                <a:close/>
                <a:moveTo>
                  <a:pt x="9583" y="1143"/>
                </a:moveTo>
                <a:lnTo>
                  <a:pt x="9586" y="1136"/>
                </a:lnTo>
                <a:lnTo>
                  <a:pt x="9582" y="1132"/>
                </a:lnTo>
                <a:lnTo>
                  <a:pt x="9576" y="1134"/>
                </a:lnTo>
                <a:lnTo>
                  <a:pt x="9568" y="1135"/>
                </a:lnTo>
                <a:lnTo>
                  <a:pt x="9573" y="1143"/>
                </a:lnTo>
                <a:lnTo>
                  <a:pt x="9577" y="1146"/>
                </a:lnTo>
                <a:lnTo>
                  <a:pt x="9580" y="1146"/>
                </a:lnTo>
                <a:lnTo>
                  <a:pt x="9583" y="1143"/>
                </a:lnTo>
                <a:close/>
                <a:moveTo>
                  <a:pt x="9890" y="973"/>
                </a:moveTo>
                <a:lnTo>
                  <a:pt x="9897" y="968"/>
                </a:lnTo>
                <a:lnTo>
                  <a:pt x="9897" y="964"/>
                </a:lnTo>
                <a:lnTo>
                  <a:pt x="9892" y="959"/>
                </a:lnTo>
                <a:lnTo>
                  <a:pt x="9883" y="955"/>
                </a:lnTo>
                <a:lnTo>
                  <a:pt x="9883" y="963"/>
                </a:lnTo>
                <a:lnTo>
                  <a:pt x="9883" y="969"/>
                </a:lnTo>
                <a:lnTo>
                  <a:pt x="9885" y="973"/>
                </a:lnTo>
                <a:lnTo>
                  <a:pt x="9890" y="973"/>
                </a:lnTo>
                <a:close/>
                <a:moveTo>
                  <a:pt x="9525" y="705"/>
                </a:moveTo>
                <a:lnTo>
                  <a:pt x="9527" y="697"/>
                </a:lnTo>
                <a:lnTo>
                  <a:pt x="9532" y="692"/>
                </a:lnTo>
                <a:lnTo>
                  <a:pt x="9534" y="684"/>
                </a:lnTo>
                <a:lnTo>
                  <a:pt x="9529" y="673"/>
                </a:lnTo>
                <a:lnTo>
                  <a:pt x="9526" y="682"/>
                </a:lnTo>
                <a:lnTo>
                  <a:pt x="9522" y="691"/>
                </a:lnTo>
                <a:lnTo>
                  <a:pt x="9521" y="698"/>
                </a:lnTo>
                <a:lnTo>
                  <a:pt x="9525" y="705"/>
                </a:lnTo>
                <a:close/>
                <a:moveTo>
                  <a:pt x="9720" y="1043"/>
                </a:moveTo>
                <a:lnTo>
                  <a:pt x="9718" y="1034"/>
                </a:lnTo>
                <a:lnTo>
                  <a:pt x="9706" y="1032"/>
                </a:lnTo>
                <a:lnTo>
                  <a:pt x="9692" y="1036"/>
                </a:lnTo>
                <a:lnTo>
                  <a:pt x="9688" y="1042"/>
                </a:lnTo>
                <a:lnTo>
                  <a:pt x="9695" y="1040"/>
                </a:lnTo>
                <a:lnTo>
                  <a:pt x="9704" y="1038"/>
                </a:lnTo>
                <a:lnTo>
                  <a:pt x="9712" y="1038"/>
                </a:lnTo>
                <a:lnTo>
                  <a:pt x="9720" y="1043"/>
                </a:lnTo>
                <a:close/>
                <a:moveTo>
                  <a:pt x="9800" y="908"/>
                </a:moveTo>
                <a:lnTo>
                  <a:pt x="9802" y="922"/>
                </a:lnTo>
                <a:lnTo>
                  <a:pt x="9797" y="931"/>
                </a:lnTo>
                <a:lnTo>
                  <a:pt x="9788" y="936"/>
                </a:lnTo>
                <a:lnTo>
                  <a:pt x="9778" y="941"/>
                </a:lnTo>
                <a:lnTo>
                  <a:pt x="9800" y="939"/>
                </a:lnTo>
                <a:lnTo>
                  <a:pt x="9816" y="926"/>
                </a:lnTo>
                <a:lnTo>
                  <a:pt x="9819" y="913"/>
                </a:lnTo>
                <a:lnTo>
                  <a:pt x="9800" y="908"/>
                </a:lnTo>
                <a:close/>
                <a:moveTo>
                  <a:pt x="9702" y="796"/>
                </a:moveTo>
                <a:lnTo>
                  <a:pt x="9712" y="798"/>
                </a:lnTo>
                <a:lnTo>
                  <a:pt x="9720" y="796"/>
                </a:lnTo>
                <a:lnTo>
                  <a:pt x="9726" y="790"/>
                </a:lnTo>
                <a:lnTo>
                  <a:pt x="9731" y="780"/>
                </a:lnTo>
                <a:lnTo>
                  <a:pt x="9720" y="777"/>
                </a:lnTo>
                <a:lnTo>
                  <a:pt x="9712" y="780"/>
                </a:lnTo>
                <a:lnTo>
                  <a:pt x="9707" y="787"/>
                </a:lnTo>
                <a:lnTo>
                  <a:pt x="9702" y="796"/>
                </a:lnTo>
                <a:close/>
                <a:moveTo>
                  <a:pt x="9563" y="697"/>
                </a:moveTo>
                <a:lnTo>
                  <a:pt x="9580" y="691"/>
                </a:lnTo>
                <a:lnTo>
                  <a:pt x="9590" y="678"/>
                </a:lnTo>
                <a:lnTo>
                  <a:pt x="9595" y="661"/>
                </a:lnTo>
                <a:lnTo>
                  <a:pt x="9601" y="645"/>
                </a:lnTo>
                <a:lnTo>
                  <a:pt x="9585" y="651"/>
                </a:lnTo>
                <a:lnTo>
                  <a:pt x="9578" y="665"/>
                </a:lnTo>
                <a:lnTo>
                  <a:pt x="9574" y="682"/>
                </a:lnTo>
                <a:lnTo>
                  <a:pt x="9563" y="697"/>
                </a:lnTo>
                <a:close/>
                <a:moveTo>
                  <a:pt x="9674" y="641"/>
                </a:moveTo>
                <a:lnTo>
                  <a:pt x="9653" y="646"/>
                </a:lnTo>
                <a:lnTo>
                  <a:pt x="9636" y="651"/>
                </a:lnTo>
                <a:lnTo>
                  <a:pt x="9629" y="647"/>
                </a:lnTo>
                <a:lnTo>
                  <a:pt x="9641" y="630"/>
                </a:lnTo>
                <a:lnTo>
                  <a:pt x="9615" y="645"/>
                </a:lnTo>
                <a:lnTo>
                  <a:pt x="9625" y="660"/>
                </a:lnTo>
                <a:lnTo>
                  <a:pt x="9652" y="664"/>
                </a:lnTo>
                <a:lnTo>
                  <a:pt x="9674" y="641"/>
                </a:lnTo>
                <a:close/>
                <a:moveTo>
                  <a:pt x="9842" y="700"/>
                </a:moveTo>
                <a:lnTo>
                  <a:pt x="9860" y="695"/>
                </a:lnTo>
                <a:lnTo>
                  <a:pt x="9880" y="689"/>
                </a:lnTo>
                <a:lnTo>
                  <a:pt x="9897" y="692"/>
                </a:lnTo>
                <a:lnTo>
                  <a:pt x="9907" y="707"/>
                </a:lnTo>
                <a:lnTo>
                  <a:pt x="9894" y="677"/>
                </a:lnTo>
                <a:lnTo>
                  <a:pt x="9858" y="679"/>
                </a:lnTo>
                <a:lnTo>
                  <a:pt x="9830" y="695"/>
                </a:lnTo>
                <a:lnTo>
                  <a:pt x="9842" y="700"/>
                </a:lnTo>
                <a:close/>
                <a:moveTo>
                  <a:pt x="9759" y="985"/>
                </a:moveTo>
                <a:lnTo>
                  <a:pt x="9748" y="1008"/>
                </a:lnTo>
                <a:lnTo>
                  <a:pt x="9755" y="1024"/>
                </a:lnTo>
                <a:lnTo>
                  <a:pt x="9771" y="1027"/>
                </a:lnTo>
                <a:lnTo>
                  <a:pt x="9787" y="1001"/>
                </a:lnTo>
                <a:lnTo>
                  <a:pt x="9777" y="996"/>
                </a:lnTo>
                <a:lnTo>
                  <a:pt x="9781" y="981"/>
                </a:lnTo>
                <a:lnTo>
                  <a:pt x="9782" y="972"/>
                </a:lnTo>
                <a:lnTo>
                  <a:pt x="9759" y="985"/>
                </a:lnTo>
                <a:close/>
                <a:moveTo>
                  <a:pt x="9971" y="786"/>
                </a:moveTo>
                <a:lnTo>
                  <a:pt x="9894" y="859"/>
                </a:lnTo>
                <a:lnTo>
                  <a:pt x="9893" y="883"/>
                </a:lnTo>
                <a:lnTo>
                  <a:pt x="9908" y="888"/>
                </a:lnTo>
                <a:lnTo>
                  <a:pt x="9883" y="902"/>
                </a:lnTo>
                <a:lnTo>
                  <a:pt x="9934" y="911"/>
                </a:lnTo>
                <a:lnTo>
                  <a:pt x="9935" y="962"/>
                </a:lnTo>
                <a:lnTo>
                  <a:pt x="9932" y="995"/>
                </a:lnTo>
                <a:lnTo>
                  <a:pt x="9978" y="949"/>
                </a:lnTo>
                <a:lnTo>
                  <a:pt x="9981" y="908"/>
                </a:lnTo>
                <a:lnTo>
                  <a:pt x="10010" y="829"/>
                </a:lnTo>
                <a:lnTo>
                  <a:pt x="10029" y="745"/>
                </a:lnTo>
                <a:lnTo>
                  <a:pt x="10000" y="689"/>
                </a:lnTo>
                <a:lnTo>
                  <a:pt x="10013" y="729"/>
                </a:lnTo>
                <a:lnTo>
                  <a:pt x="9973" y="758"/>
                </a:lnTo>
                <a:lnTo>
                  <a:pt x="9941" y="777"/>
                </a:lnTo>
                <a:lnTo>
                  <a:pt x="9971" y="786"/>
                </a:lnTo>
                <a:close/>
                <a:moveTo>
                  <a:pt x="14514" y="6633"/>
                </a:moveTo>
                <a:lnTo>
                  <a:pt x="14513" y="6630"/>
                </a:lnTo>
                <a:lnTo>
                  <a:pt x="14511" y="6630"/>
                </a:lnTo>
                <a:lnTo>
                  <a:pt x="14507" y="6631"/>
                </a:lnTo>
                <a:lnTo>
                  <a:pt x="14504" y="6633"/>
                </a:lnTo>
                <a:lnTo>
                  <a:pt x="14505" y="6637"/>
                </a:lnTo>
                <a:lnTo>
                  <a:pt x="14508" y="6638"/>
                </a:lnTo>
                <a:lnTo>
                  <a:pt x="14512" y="6635"/>
                </a:lnTo>
                <a:lnTo>
                  <a:pt x="14514" y="6633"/>
                </a:lnTo>
                <a:close/>
                <a:moveTo>
                  <a:pt x="14568" y="6612"/>
                </a:moveTo>
                <a:lnTo>
                  <a:pt x="14567" y="6610"/>
                </a:lnTo>
                <a:lnTo>
                  <a:pt x="14565" y="6609"/>
                </a:lnTo>
                <a:lnTo>
                  <a:pt x="14563" y="6609"/>
                </a:lnTo>
                <a:lnTo>
                  <a:pt x="14560" y="6611"/>
                </a:lnTo>
                <a:lnTo>
                  <a:pt x="14561" y="6615"/>
                </a:lnTo>
                <a:lnTo>
                  <a:pt x="14563" y="6616"/>
                </a:lnTo>
                <a:lnTo>
                  <a:pt x="14565" y="6616"/>
                </a:lnTo>
                <a:lnTo>
                  <a:pt x="14568" y="6612"/>
                </a:lnTo>
                <a:close/>
                <a:moveTo>
                  <a:pt x="14167" y="6696"/>
                </a:moveTo>
                <a:lnTo>
                  <a:pt x="14169" y="6696"/>
                </a:lnTo>
                <a:lnTo>
                  <a:pt x="14167" y="6696"/>
                </a:lnTo>
                <a:lnTo>
                  <a:pt x="14171" y="6701"/>
                </a:lnTo>
                <a:lnTo>
                  <a:pt x="14167" y="6696"/>
                </a:lnTo>
                <a:close/>
                <a:moveTo>
                  <a:pt x="15244" y="7144"/>
                </a:moveTo>
                <a:lnTo>
                  <a:pt x="15243" y="7141"/>
                </a:lnTo>
                <a:lnTo>
                  <a:pt x="15242" y="7141"/>
                </a:lnTo>
                <a:lnTo>
                  <a:pt x="15240" y="7144"/>
                </a:lnTo>
                <a:lnTo>
                  <a:pt x="15238" y="7150"/>
                </a:lnTo>
                <a:lnTo>
                  <a:pt x="15243" y="7147"/>
                </a:lnTo>
                <a:lnTo>
                  <a:pt x="15244" y="7144"/>
                </a:lnTo>
                <a:close/>
                <a:moveTo>
                  <a:pt x="15354" y="5902"/>
                </a:moveTo>
                <a:lnTo>
                  <a:pt x="15356" y="5901"/>
                </a:lnTo>
                <a:lnTo>
                  <a:pt x="15360" y="5900"/>
                </a:lnTo>
                <a:lnTo>
                  <a:pt x="15363" y="5897"/>
                </a:lnTo>
                <a:lnTo>
                  <a:pt x="15361" y="5893"/>
                </a:lnTo>
                <a:lnTo>
                  <a:pt x="15359" y="5896"/>
                </a:lnTo>
                <a:lnTo>
                  <a:pt x="15355" y="5897"/>
                </a:lnTo>
                <a:lnTo>
                  <a:pt x="15352" y="5900"/>
                </a:lnTo>
                <a:lnTo>
                  <a:pt x="15354" y="5902"/>
                </a:lnTo>
                <a:close/>
                <a:moveTo>
                  <a:pt x="15387" y="7017"/>
                </a:moveTo>
                <a:lnTo>
                  <a:pt x="15391" y="7016"/>
                </a:lnTo>
                <a:lnTo>
                  <a:pt x="15394" y="7015"/>
                </a:lnTo>
                <a:lnTo>
                  <a:pt x="15396" y="7012"/>
                </a:lnTo>
                <a:lnTo>
                  <a:pt x="15394" y="7010"/>
                </a:lnTo>
                <a:lnTo>
                  <a:pt x="15391" y="7011"/>
                </a:lnTo>
                <a:lnTo>
                  <a:pt x="15388" y="7011"/>
                </a:lnTo>
                <a:lnTo>
                  <a:pt x="15387" y="7013"/>
                </a:lnTo>
                <a:lnTo>
                  <a:pt x="15387" y="7017"/>
                </a:lnTo>
                <a:close/>
                <a:moveTo>
                  <a:pt x="15408" y="5828"/>
                </a:moveTo>
                <a:lnTo>
                  <a:pt x="15403" y="5828"/>
                </a:lnTo>
                <a:lnTo>
                  <a:pt x="15396" y="5828"/>
                </a:lnTo>
                <a:lnTo>
                  <a:pt x="15399" y="5832"/>
                </a:lnTo>
                <a:lnTo>
                  <a:pt x="15403" y="5833"/>
                </a:lnTo>
                <a:lnTo>
                  <a:pt x="15405" y="5831"/>
                </a:lnTo>
                <a:lnTo>
                  <a:pt x="15408" y="5828"/>
                </a:lnTo>
                <a:close/>
                <a:moveTo>
                  <a:pt x="15469" y="5804"/>
                </a:moveTo>
                <a:lnTo>
                  <a:pt x="15469" y="5804"/>
                </a:lnTo>
                <a:lnTo>
                  <a:pt x="15471" y="5804"/>
                </a:lnTo>
                <a:lnTo>
                  <a:pt x="15469" y="5804"/>
                </a:lnTo>
                <a:lnTo>
                  <a:pt x="15469" y="5804"/>
                </a:lnTo>
                <a:close/>
                <a:moveTo>
                  <a:pt x="15452" y="5805"/>
                </a:moveTo>
                <a:lnTo>
                  <a:pt x="15461" y="5805"/>
                </a:lnTo>
                <a:lnTo>
                  <a:pt x="15469" y="5804"/>
                </a:lnTo>
                <a:lnTo>
                  <a:pt x="15464" y="5802"/>
                </a:lnTo>
                <a:lnTo>
                  <a:pt x="15461" y="5800"/>
                </a:lnTo>
                <a:lnTo>
                  <a:pt x="15457" y="5800"/>
                </a:lnTo>
                <a:lnTo>
                  <a:pt x="15452" y="5805"/>
                </a:lnTo>
                <a:close/>
                <a:moveTo>
                  <a:pt x="15523" y="5835"/>
                </a:moveTo>
                <a:lnTo>
                  <a:pt x="15528" y="5835"/>
                </a:lnTo>
                <a:lnTo>
                  <a:pt x="15532" y="5833"/>
                </a:lnTo>
                <a:lnTo>
                  <a:pt x="15534" y="5832"/>
                </a:lnTo>
                <a:lnTo>
                  <a:pt x="15534" y="5828"/>
                </a:lnTo>
                <a:lnTo>
                  <a:pt x="15531" y="5830"/>
                </a:lnTo>
                <a:lnTo>
                  <a:pt x="15527" y="5831"/>
                </a:lnTo>
                <a:lnTo>
                  <a:pt x="15524" y="5832"/>
                </a:lnTo>
                <a:lnTo>
                  <a:pt x="15523" y="5835"/>
                </a:lnTo>
                <a:close/>
                <a:moveTo>
                  <a:pt x="15528" y="5523"/>
                </a:moveTo>
                <a:lnTo>
                  <a:pt x="15527" y="5523"/>
                </a:lnTo>
                <a:lnTo>
                  <a:pt x="15528" y="5523"/>
                </a:lnTo>
                <a:lnTo>
                  <a:pt x="15528" y="5521"/>
                </a:lnTo>
                <a:lnTo>
                  <a:pt x="15527" y="5520"/>
                </a:lnTo>
                <a:lnTo>
                  <a:pt x="15526" y="5520"/>
                </a:lnTo>
                <a:lnTo>
                  <a:pt x="15528" y="5523"/>
                </a:lnTo>
                <a:close/>
                <a:moveTo>
                  <a:pt x="15574" y="7022"/>
                </a:moveTo>
                <a:lnTo>
                  <a:pt x="15580" y="7021"/>
                </a:lnTo>
                <a:lnTo>
                  <a:pt x="15582" y="7017"/>
                </a:lnTo>
                <a:lnTo>
                  <a:pt x="15579" y="7017"/>
                </a:lnTo>
                <a:lnTo>
                  <a:pt x="15574" y="7020"/>
                </a:lnTo>
                <a:lnTo>
                  <a:pt x="15574" y="7021"/>
                </a:lnTo>
                <a:lnTo>
                  <a:pt x="15574" y="7022"/>
                </a:lnTo>
                <a:close/>
                <a:moveTo>
                  <a:pt x="15647" y="6933"/>
                </a:moveTo>
                <a:lnTo>
                  <a:pt x="15649" y="6932"/>
                </a:lnTo>
                <a:lnTo>
                  <a:pt x="15652" y="6931"/>
                </a:lnTo>
                <a:lnTo>
                  <a:pt x="15652" y="6928"/>
                </a:lnTo>
                <a:lnTo>
                  <a:pt x="15650" y="6927"/>
                </a:lnTo>
                <a:lnTo>
                  <a:pt x="15647" y="6927"/>
                </a:lnTo>
                <a:lnTo>
                  <a:pt x="15645" y="6928"/>
                </a:lnTo>
                <a:lnTo>
                  <a:pt x="15644" y="6931"/>
                </a:lnTo>
                <a:lnTo>
                  <a:pt x="15647" y="6933"/>
                </a:lnTo>
                <a:close/>
                <a:moveTo>
                  <a:pt x="15766" y="6904"/>
                </a:moveTo>
                <a:lnTo>
                  <a:pt x="15760" y="6905"/>
                </a:lnTo>
                <a:lnTo>
                  <a:pt x="15766" y="6904"/>
                </a:lnTo>
                <a:lnTo>
                  <a:pt x="15764" y="6899"/>
                </a:lnTo>
                <a:lnTo>
                  <a:pt x="15759" y="6897"/>
                </a:lnTo>
                <a:lnTo>
                  <a:pt x="15757" y="6900"/>
                </a:lnTo>
                <a:lnTo>
                  <a:pt x="15766" y="6904"/>
                </a:lnTo>
                <a:close/>
                <a:moveTo>
                  <a:pt x="15862" y="6275"/>
                </a:moveTo>
                <a:lnTo>
                  <a:pt x="15858" y="6276"/>
                </a:lnTo>
                <a:lnTo>
                  <a:pt x="15854" y="6276"/>
                </a:lnTo>
                <a:lnTo>
                  <a:pt x="15850" y="6279"/>
                </a:lnTo>
                <a:lnTo>
                  <a:pt x="15850" y="6283"/>
                </a:lnTo>
                <a:lnTo>
                  <a:pt x="15855" y="6283"/>
                </a:lnTo>
                <a:lnTo>
                  <a:pt x="15859" y="6281"/>
                </a:lnTo>
                <a:lnTo>
                  <a:pt x="15863" y="6279"/>
                </a:lnTo>
                <a:lnTo>
                  <a:pt x="15862" y="6275"/>
                </a:lnTo>
                <a:close/>
                <a:moveTo>
                  <a:pt x="16144" y="6405"/>
                </a:moveTo>
                <a:lnTo>
                  <a:pt x="16147" y="6406"/>
                </a:lnTo>
                <a:lnTo>
                  <a:pt x="16148" y="6406"/>
                </a:lnTo>
                <a:lnTo>
                  <a:pt x="16150" y="6405"/>
                </a:lnTo>
                <a:lnTo>
                  <a:pt x="16150" y="6402"/>
                </a:lnTo>
                <a:lnTo>
                  <a:pt x="16148" y="6402"/>
                </a:lnTo>
                <a:lnTo>
                  <a:pt x="16147" y="6402"/>
                </a:lnTo>
                <a:lnTo>
                  <a:pt x="16146" y="6404"/>
                </a:lnTo>
                <a:lnTo>
                  <a:pt x="16144" y="6405"/>
                </a:lnTo>
                <a:close/>
                <a:moveTo>
                  <a:pt x="16235" y="6406"/>
                </a:moveTo>
                <a:lnTo>
                  <a:pt x="16239" y="6407"/>
                </a:lnTo>
                <a:lnTo>
                  <a:pt x="16241" y="6407"/>
                </a:lnTo>
                <a:lnTo>
                  <a:pt x="16243" y="6406"/>
                </a:lnTo>
                <a:lnTo>
                  <a:pt x="16244" y="6402"/>
                </a:lnTo>
                <a:lnTo>
                  <a:pt x="16240" y="6401"/>
                </a:lnTo>
                <a:lnTo>
                  <a:pt x="16239" y="6401"/>
                </a:lnTo>
                <a:lnTo>
                  <a:pt x="16236" y="6402"/>
                </a:lnTo>
                <a:lnTo>
                  <a:pt x="16235" y="6406"/>
                </a:lnTo>
                <a:close/>
                <a:moveTo>
                  <a:pt x="15122" y="5515"/>
                </a:moveTo>
                <a:lnTo>
                  <a:pt x="15122" y="5510"/>
                </a:lnTo>
                <a:lnTo>
                  <a:pt x="15122" y="5500"/>
                </a:lnTo>
                <a:lnTo>
                  <a:pt x="15118" y="5509"/>
                </a:lnTo>
                <a:lnTo>
                  <a:pt x="15115" y="5516"/>
                </a:lnTo>
                <a:lnTo>
                  <a:pt x="15115" y="5520"/>
                </a:lnTo>
                <a:lnTo>
                  <a:pt x="15122" y="5515"/>
                </a:lnTo>
                <a:close/>
                <a:moveTo>
                  <a:pt x="14447" y="6719"/>
                </a:moveTo>
                <a:lnTo>
                  <a:pt x="14443" y="6723"/>
                </a:lnTo>
                <a:lnTo>
                  <a:pt x="14442" y="6726"/>
                </a:lnTo>
                <a:lnTo>
                  <a:pt x="14443" y="6729"/>
                </a:lnTo>
                <a:lnTo>
                  <a:pt x="14447" y="6733"/>
                </a:lnTo>
                <a:lnTo>
                  <a:pt x="14449" y="6729"/>
                </a:lnTo>
                <a:lnTo>
                  <a:pt x="14451" y="6726"/>
                </a:lnTo>
                <a:lnTo>
                  <a:pt x="14451" y="6722"/>
                </a:lnTo>
                <a:lnTo>
                  <a:pt x="14447" y="6719"/>
                </a:lnTo>
                <a:close/>
                <a:moveTo>
                  <a:pt x="15737" y="6945"/>
                </a:moveTo>
                <a:lnTo>
                  <a:pt x="15741" y="6943"/>
                </a:lnTo>
                <a:lnTo>
                  <a:pt x="15737" y="6945"/>
                </a:lnTo>
                <a:lnTo>
                  <a:pt x="15647" y="6939"/>
                </a:lnTo>
                <a:lnTo>
                  <a:pt x="15555" y="6942"/>
                </a:lnTo>
                <a:lnTo>
                  <a:pt x="15469" y="6951"/>
                </a:lnTo>
                <a:lnTo>
                  <a:pt x="15399" y="6966"/>
                </a:lnTo>
                <a:lnTo>
                  <a:pt x="15402" y="6998"/>
                </a:lnTo>
                <a:lnTo>
                  <a:pt x="15552" y="6998"/>
                </a:lnTo>
                <a:lnTo>
                  <a:pt x="15751" y="6989"/>
                </a:lnTo>
                <a:lnTo>
                  <a:pt x="15897" y="6989"/>
                </a:lnTo>
                <a:lnTo>
                  <a:pt x="15871" y="6974"/>
                </a:lnTo>
                <a:lnTo>
                  <a:pt x="15834" y="6961"/>
                </a:lnTo>
                <a:lnTo>
                  <a:pt x="15788" y="6951"/>
                </a:lnTo>
                <a:lnTo>
                  <a:pt x="15737" y="6945"/>
                </a:lnTo>
                <a:close/>
                <a:moveTo>
                  <a:pt x="15976" y="6687"/>
                </a:moveTo>
                <a:lnTo>
                  <a:pt x="15970" y="6687"/>
                </a:lnTo>
                <a:lnTo>
                  <a:pt x="15965" y="6689"/>
                </a:lnTo>
                <a:lnTo>
                  <a:pt x="15962" y="6691"/>
                </a:lnTo>
                <a:lnTo>
                  <a:pt x="15964" y="6696"/>
                </a:lnTo>
                <a:lnTo>
                  <a:pt x="15967" y="6695"/>
                </a:lnTo>
                <a:lnTo>
                  <a:pt x="15973" y="6694"/>
                </a:lnTo>
                <a:lnTo>
                  <a:pt x="15975" y="6691"/>
                </a:lnTo>
                <a:lnTo>
                  <a:pt x="15976" y="6687"/>
                </a:lnTo>
                <a:close/>
                <a:moveTo>
                  <a:pt x="14773" y="6446"/>
                </a:moveTo>
                <a:lnTo>
                  <a:pt x="14773" y="6446"/>
                </a:lnTo>
                <a:lnTo>
                  <a:pt x="14773" y="6446"/>
                </a:lnTo>
                <a:lnTo>
                  <a:pt x="14773" y="6446"/>
                </a:lnTo>
                <a:lnTo>
                  <a:pt x="14773" y="6446"/>
                </a:lnTo>
                <a:close/>
                <a:moveTo>
                  <a:pt x="14773" y="6444"/>
                </a:moveTo>
                <a:lnTo>
                  <a:pt x="14773" y="6444"/>
                </a:lnTo>
                <a:lnTo>
                  <a:pt x="14773" y="6446"/>
                </a:lnTo>
                <a:lnTo>
                  <a:pt x="14773" y="6444"/>
                </a:lnTo>
                <a:lnTo>
                  <a:pt x="14773" y="6444"/>
                </a:lnTo>
                <a:lnTo>
                  <a:pt x="14773" y="6444"/>
                </a:lnTo>
                <a:close/>
                <a:moveTo>
                  <a:pt x="14772" y="6446"/>
                </a:moveTo>
                <a:lnTo>
                  <a:pt x="14761" y="6446"/>
                </a:lnTo>
                <a:lnTo>
                  <a:pt x="14751" y="6446"/>
                </a:lnTo>
                <a:lnTo>
                  <a:pt x="14758" y="6453"/>
                </a:lnTo>
                <a:lnTo>
                  <a:pt x="14763" y="6453"/>
                </a:lnTo>
                <a:lnTo>
                  <a:pt x="14768" y="6449"/>
                </a:lnTo>
                <a:lnTo>
                  <a:pt x="14772" y="6446"/>
                </a:lnTo>
                <a:close/>
                <a:moveTo>
                  <a:pt x="14994" y="6784"/>
                </a:moveTo>
                <a:lnTo>
                  <a:pt x="15000" y="6791"/>
                </a:lnTo>
                <a:lnTo>
                  <a:pt x="15006" y="6798"/>
                </a:lnTo>
                <a:lnTo>
                  <a:pt x="15006" y="6788"/>
                </a:lnTo>
                <a:lnTo>
                  <a:pt x="15005" y="6782"/>
                </a:lnTo>
                <a:lnTo>
                  <a:pt x="15001" y="6782"/>
                </a:lnTo>
                <a:lnTo>
                  <a:pt x="14994" y="6784"/>
                </a:lnTo>
                <a:close/>
                <a:moveTo>
                  <a:pt x="15205" y="6000"/>
                </a:moveTo>
                <a:lnTo>
                  <a:pt x="15200" y="6001"/>
                </a:lnTo>
                <a:lnTo>
                  <a:pt x="15198" y="6001"/>
                </a:lnTo>
                <a:lnTo>
                  <a:pt x="15201" y="6000"/>
                </a:lnTo>
                <a:lnTo>
                  <a:pt x="15205" y="6000"/>
                </a:lnTo>
                <a:lnTo>
                  <a:pt x="15203" y="5995"/>
                </a:lnTo>
                <a:lnTo>
                  <a:pt x="15198" y="5995"/>
                </a:lnTo>
                <a:lnTo>
                  <a:pt x="15197" y="5998"/>
                </a:lnTo>
                <a:lnTo>
                  <a:pt x="15205" y="6000"/>
                </a:lnTo>
                <a:close/>
                <a:moveTo>
                  <a:pt x="15515" y="5775"/>
                </a:moveTo>
                <a:lnTo>
                  <a:pt x="15510" y="5775"/>
                </a:lnTo>
                <a:lnTo>
                  <a:pt x="15515" y="5775"/>
                </a:lnTo>
                <a:lnTo>
                  <a:pt x="15514" y="5770"/>
                </a:lnTo>
                <a:lnTo>
                  <a:pt x="15510" y="5768"/>
                </a:lnTo>
                <a:lnTo>
                  <a:pt x="15509" y="5770"/>
                </a:lnTo>
                <a:lnTo>
                  <a:pt x="15515" y="5775"/>
                </a:lnTo>
                <a:close/>
                <a:moveTo>
                  <a:pt x="15536" y="5367"/>
                </a:moveTo>
                <a:lnTo>
                  <a:pt x="15531" y="5367"/>
                </a:lnTo>
                <a:lnTo>
                  <a:pt x="15526" y="5367"/>
                </a:lnTo>
                <a:lnTo>
                  <a:pt x="15522" y="5369"/>
                </a:lnTo>
                <a:lnTo>
                  <a:pt x="15522" y="5373"/>
                </a:lnTo>
                <a:lnTo>
                  <a:pt x="15527" y="5373"/>
                </a:lnTo>
                <a:lnTo>
                  <a:pt x="15532" y="5373"/>
                </a:lnTo>
                <a:lnTo>
                  <a:pt x="15536" y="5371"/>
                </a:lnTo>
                <a:lnTo>
                  <a:pt x="15536" y="5367"/>
                </a:lnTo>
                <a:close/>
                <a:moveTo>
                  <a:pt x="15541" y="5809"/>
                </a:moveTo>
                <a:lnTo>
                  <a:pt x="15565" y="5810"/>
                </a:lnTo>
                <a:lnTo>
                  <a:pt x="15547" y="5805"/>
                </a:lnTo>
                <a:lnTo>
                  <a:pt x="15512" y="5799"/>
                </a:lnTo>
                <a:lnTo>
                  <a:pt x="15478" y="5798"/>
                </a:lnTo>
                <a:lnTo>
                  <a:pt x="15478" y="5804"/>
                </a:lnTo>
                <a:lnTo>
                  <a:pt x="15496" y="5807"/>
                </a:lnTo>
                <a:lnTo>
                  <a:pt x="15520" y="5807"/>
                </a:lnTo>
                <a:lnTo>
                  <a:pt x="15541" y="5809"/>
                </a:lnTo>
                <a:close/>
                <a:moveTo>
                  <a:pt x="15669" y="6871"/>
                </a:moveTo>
                <a:lnTo>
                  <a:pt x="15680" y="6869"/>
                </a:lnTo>
                <a:lnTo>
                  <a:pt x="15687" y="6867"/>
                </a:lnTo>
                <a:lnTo>
                  <a:pt x="15682" y="6867"/>
                </a:lnTo>
                <a:lnTo>
                  <a:pt x="15676" y="6867"/>
                </a:lnTo>
                <a:lnTo>
                  <a:pt x="15671" y="6867"/>
                </a:lnTo>
                <a:lnTo>
                  <a:pt x="15669" y="6871"/>
                </a:lnTo>
                <a:close/>
                <a:moveTo>
                  <a:pt x="15908" y="6503"/>
                </a:moveTo>
                <a:lnTo>
                  <a:pt x="15911" y="6504"/>
                </a:lnTo>
                <a:lnTo>
                  <a:pt x="15911" y="6504"/>
                </a:lnTo>
                <a:lnTo>
                  <a:pt x="15910" y="6504"/>
                </a:lnTo>
                <a:lnTo>
                  <a:pt x="15908" y="6503"/>
                </a:lnTo>
                <a:lnTo>
                  <a:pt x="15908" y="6508"/>
                </a:lnTo>
                <a:lnTo>
                  <a:pt x="15911" y="6511"/>
                </a:lnTo>
                <a:lnTo>
                  <a:pt x="15913" y="6509"/>
                </a:lnTo>
                <a:lnTo>
                  <a:pt x="15908" y="6503"/>
                </a:lnTo>
                <a:close/>
                <a:moveTo>
                  <a:pt x="14331" y="6611"/>
                </a:moveTo>
                <a:lnTo>
                  <a:pt x="14323" y="6619"/>
                </a:lnTo>
                <a:lnTo>
                  <a:pt x="14314" y="6629"/>
                </a:lnTo>
                <a:lnTo>
                  <a:pt x="14322" y="6629"/>
                </a:lnTo>
                <a:lnTo>
                  <a:pt x="14327" y="6626"/>
                </a:lnTo>
                <a:lnTo>
                  <a:pt x="14331" y="6621"/>
                </a:lnTo>
                <a:lnTo>
                  <a:pt x="14331" y="6611"/>
                </a:lnTo>
                <a:close/>
                <a:moveTo>
                  <a:pt x="15495" y="5365"/>
                </a:moveTo>
                <a:lnTo>
                  <a:pt x="15489" y="5360"/>
                </a:lnTo>
                <a:lnTo>
                  <a:pt x="15482" y="5359"/>
                </a:lnTo>
                <a:lnTo>
                  <a:pt x="15476" y="5360"/>
                </a:lnTo>
                <a:lnTo>
                  <a:pt x="15471" y="5364"/>
                </a:lnTo>
                <a:lnTo>
                  <a:pt x="15477" y="5365"/>
                </a:lnTo>
                <a:lnTo>
                  <a:pt x="15482" y="5370"/>
                </a:lnTo>
                <a:lnTo>
                  <a:pt x="15489" y="5370"/>
                </a:lnTo>
                <a:lnTo>
                  <a:pt x="15495" y="5365"/>
                </a:lnTo>
                <a:close/>
                <a:moveTo>
                  <a:pt x="15471" y="5364"/>
                </a:moveTo>
                <a:lnTo>
                  <a:pt x="15471" y="5364"/>
                </a:lnTo>
                <a:lnTo>
                  <a:pt x="15471" y="5364"/>
                </a:lnTo>
                <a:lnTo>
                  <a:pt x="15469" y="5364"/>
                </a:lnTo>
                <a:lnTo>
                  <a:pt x="15471" y="5364"/>
                </a:lnTo>
                <a:close/>
                <a:moveTo>
                  <a:pt x="15869" y="6733"/>
                </a:moveTo>
                <a:lnTo>
                  <a:pt x="15878" y="6729"/>
                </a:lnTo>
                <a:lnTo>
                  <a:pt x="15887" y="6726"/>
                </a:lnTo>
                <a:lnTo>
                  <a:pt x="15881" y="6723"/>
                </a:lnTo>
                <a:lnTo>
                  <a:pt x="15876" y="6723"/>
                </a:lnTo>
                <a:lnTo>
                  <a:pt x="15872" y="6726"/>
                </a:lnTo>
                <a:lnTo>
                  <a:pt x="15869" y="6733"/>
                </a:lnTo>
                <a:close/>
                <a:moveTo>
                  <a:pt x="14797" y="6591"/>
                </a:moveTo>
                <a:lnTo>
                  <a:pt x="14795" y="6600"/>
                </a:lnTo>
                <a:lnTo>
                  <a:pt x="14797" y="6591"/>
                </a:lnTo>
                <a:lnTo>
                  <a:pt x="14792" y="6591"/>
                </a:lnTo>
                <a:lnTo>
                  <a:pt x="14788" y="6597"/>
                </a:lnTo>
                <a:lnTo>
                  <a:pt x="14789" y="6600"/>
                </a:lnTo>
                <a:lnTo>
                  <a:pt x="14797" y="6591"/>
                </a:lnTo>
                <a:close/>
                <a:moveTo>
                  <a:pt x="14462" y="6668"/>
                </a:moveTo>
                <a:lnTo>
                  <a:pt x="14467" y="6666"/>
                </a:lnTo>
                <a:lnTo>
                  <a:pt x="14469" y="6666"/>
                </a:lnTo>
                <a:lnTo>
                  <a:pt x="14466" y="6667"/>
                </a:lnTo>
                <a:lnTo>
                  <a:pt x="14462" y="6668"/>
                </a:lnTo>
                <a:lnTo>
                  <a:pt x="14465" y="6675"/>
                </a:lnTo>
                <a:lnTo>
                  <a:pt x="14470" y="6673"/>
                </a:lnTo>
                <a:lnTo>
                  <a:pt x="14471" y="6671"/>
                </a:lnTo>
                <a:lnTo>
                  <a:pt x="14462" y="6668"/>
                </a:lnTo>
                <a:close/>
                <a:moveTo>
                  <a:pt x="15776" y="6686"/>
                </a:moveTo>
                <a:lnTo>
                  <a:pt x="15778" y="6690"/>
                </a:lnTo>
                <a:lnTo>
                  <a:pt x="15782" y="6696"/>
                </a:lnTo>
                <a:lnTo>
                  <a:pt x="15788" y="6689"/>
                </a:lnTo>
                <a:lnTo>
                  <a:pt x="15788" y="6681"/>
                </a:lnTo>
                <a:lnTo>
                  <a:pt x="15783" y="6680"/>
                </a:lnTo>
                <a:lnTo>
                  <a:pt x="15776" y="6686"/>
                </a:lnTo>
                <a:close/>
                <a:moveTo>
                  <a:pt x="15905" y="6272"/>
                </a:moveTo>
                <a:lnTo>
                  <a:pt x="15897" y="6271"/>
                </a:lnTo>
                <a:lnTo>
                  <a:pt x="15891" y="6269"/>
                </a:lnTo>
                <a:lnTo>
                  <a:pt x="15886" y="6270"/>
                </a:lnTo>
                <a:lnTo>
                  <a:pt x="15885" y="6276"/>
                </a:lnTo>
                <a:lnTo>
                  <a:pt x="15890" y="6280"/>
                </a:lnTo>
                <a:lnTo>
                  <a:pt x="15894" y="6281"/>
                </a:lnTo>
                <a:lnTo>
                  <a:pt x="15899" y="6279"/>
                </a:lnTo>
                <a:lnTo>
                  <a:pt x="15905" y="6272"/>
                </a:lnTo>
                <a:close/>
                <a:moveTo>
                  <a:pt x="15934" y="6722"/>
                </a:moveTo>
                <a:lnTo>
                  <a:pt x="15934" y="6722"/>
                </a:lnTo>
                <a:lnTo>
                  <a:pt x="15936" y="6721"/>
                </a:lnTo>
                <a:lnTo>
                  <a:pt x="15934" y="6721"/>
                </a:lnTo>
                <a:lnTo>
                  <a:pt x="15934" y="6722"/>
                </a:lnTo>
                <a:lnTo>
                  <a:pt x="15931" y="6731"/>
                </a:lnTo>
                <a:lnTo>
                  <a:pt x="15929" y="6740"/>
                </a:lnTo>
                <a:lnTo>
                  <a:pt x="15931" y="6743"/>
                </a:lnTo>
                <a:lnTo>
                  <a:pt x="15942" y="6743"/>
                </a:lnTo>
                <a:lnTo>
                  <a:pt x="15938" y="6732"/>
                </a:lnTo>
                <a:lnTo>
                  <a:pt x="15934" y="6722"/>
                </a:lnTo>
                <a:close/>
                <a:moveTo>
                  <a:pt x="14662" y="6611"/>
                </a:moveTo>
                <a:lnTo>
                  <a:pt x="14652" y="6616"/>
                </a:lnTo>
                <a:lnTo>
                  <a:pt x="14647" y="6620"/>
                </a:lnTo>
                <a:lnTo>
                  <a:pt x="14647" y="6625"/>
                </a:lnTo>
                <a:lnTo>
                  <a:pt x="14653" y="6635"/>
                </a:lnTo>
                <a:lnTo>
                  <a:pt x="14657" y="6624"/>
                </a:lnTo>
                <a:lnTo>
                  <a:pt x="14662" y="6611"/>
                </a:lnTo>
                <a:close/>
                <a:moveTo>
                  <a:pt x="14367" y="6589"/>
                </a:moveTo>
                <a:lnTo>
                  <a:pt x="14374" y="6598"/>
                </a:lnTo>
                <a:lnTo>
                  <a:pt x="14381" y="6606"/>
                </a:lnTo>
                <a:lnTo>
                  <a:pt x="14382" y="6596"/>
                </a:lnTo>
                <a:lnTo>
                  <a:pt x="14381" y="6591"/>
                </a:lnTo>
                <a:lnTo>
                  <a:pt x="14376" y="6589"/>
                </a:lnTo>
                <a:lnTo>
                  <a:pt x="14367" y="6589"/>
                </a:lnTo>
                <a:close/>
                <a:moveTo>
                  <a:pt x="16258" y="6409"/>
                </a:moveTo>
                <a:lnTo>
                  <a:pt x="16264" y="6413"/>
                </a:lnTo>
                <a:lnTo>
                  <a:pt x="16269" y="6414"/>
                </a:lnTo>
                <a:lnTo>
                  <a:pt x="16274" y="6414"/>
                </a:lnTo>
                <a:lnTo>
                  <a:pt x="16281" y="6410"/>
                </a:lnTo>
                <a:lnTo>
                  <a:pt x="16274" y="6405"/>
                </a:lnTo>
                <a:lnTo>
                  <a:pt x="16269" y="6402"/>
                </a:lnTo>
                <a:lnTo>
                  <a:pt x="16264" y="6404"/>
                </a:lnTo>
                <a:lnTo>
                  <a:pt x="16258" y="6409"/>
                </a:lnTo>
                <a:close/>
                <a:moveTo>
                  <a:pt x="15467" y="5404"/>
                </a:moveTo>
                <a:lnTo>
                  <a:pt x="15457" y="5406"/>
                </a:lnTo>
                <a:lnTo>
                  <a:pt x="15448" y="5407"/>
                </a:lnTo>
                <a:lnTo>
                  <a:pt x="15441" y="5408"/>
                </a:lnTo>
                <a:lnTo>
                  <a:pt x="15438" y="5412"/>
                </a:lnTo>
                <a:lnTo>
                  <a:pt x="15447" y="5415"/>
                </a:lnTo>
                <a:lnTo>
                  <a:pt x="15454" y="5417"/>
                </a:lnTo>
                <a:lnTo>
                  <a:pt x="15461" y="5415"/>
                </a:lnTo>
                <a:lnTo>
                  <a:pt x="15467" y="5404"/>
                </a:lnTo>
                <a:close/>
                <a:moveTo>
                  <a:pt x="15454" y="5882"/>
                </a:moveTo>
                <a:lnTo>
                  <a:pt x="15450" y="5875"/>
                </a:lnTo>
                <a:lnTo>
                  <a:pt x="15441" y="5875"/>
                </a:lnTo>
                <a:lnTo>
                  <a:pt x="15430" y="5877"/>
                </a:lnTo>
                <a:lnTo>
                  <a:pt x="15420" y="5877"/>
                </a:lnTo>
                <a:lnTo>
                  <a:pt x="15438" y="5879"/>
                </a:lnTo>
                <a:lnTo>
                  <a:pt x="15454" y="5882"/>
                </a:lnTo>
                <a:close/>
                <a:moveTo>
                  <a:pt x="15415" y="5495"/>
                </a:moveTo>
                <a:lnTo>
                  <a:pt x="15405" y="5495"/>
                </a:lnTo>
                <a:lnTo>
                  <a:pt x="15393" y="5495"/>
                </a:lnTo>
                <a:lnTo>
                  <a:pt x="15399" y="5504"/>
                </a:lnTo>
                <a:lnTo>
                  <a:pt x="15405" y="5505"/>
                </a:lnTo>
                <a:lnTo>
                  <a:pt x="15410" y="5500"/>
                </a:lnTo>
                <a:lnTo>
                  <a:pt x="15415" y="5495"/>
                </a:lnTo>
                <a:close/>
                <a:moveTo>
                  <a:pt x="15801" y="6760"/>
                </a:moveTo>
                <a:lnTo>
                  <a:pt x="15811" y="6760"/>
                </a:lnTo>
                <a:lnTo>
                  <a:pt x="15824" y="6760"/>
                </a:lnTo>
                <a:lnTo>
                  <a:pt x="15817" y="6754"/>
                </a:lnTo>
                <a:lnTo>
                  <a:pt x="15812" y="6751"/>
                </a:lnTo>
                <a:lnTo>
                  <a:pt x="15806" y="6752"/>
                </a:lnTo>
                <a:lnTo>
                  <a:pt x="15801" y="6760"/>
                </a:lnTo>
                <a:close/>
                <a:moveTo>
                  <a:pt x="14560" y="6723"/>
                </a:moveTo>
                <a:lnTo>
                  <a:pt x="14563" y="6710"/>
                </a:lnTo>
                <a:lnTo>
                  <a:pt x="14567" y="6698"/>
                </a:lnTo>
                <a:lnTo>
                  <a:pt x="14555" y="6701"/>
                </a:lnTo>
                <a:lnTo>
                  <a:pt x="14551" y="6707"/>
                </a:lnTo>
                <a:lnTo>
                  <a:pt x="14554" y="6713"/>
                </a:lnTo>
                <a:lnTo>
                  <a:pt x="14560" y="6723"/>
                </a:lnTo>
                <a:close/>
                <a:moveTo>
                  <a:pt x="15270" y="6038"/>
                </a:moveTo>
                <a:lnTo>
                  <a:pt x="15257" y="6041"/>
                </a:lnTo>
                <a:lnTo>
                  <a:pt x="15247" y="6045"/>
                </a:lnTo>
                <a:lnTo>
                  <a:pt x="15254" y="6047"/>
                </a:lnTo>
                <a:lnTo>
                  <a:pt x="15259" y="6048"/>
                </a:lnTo>
                <a:lnTo>
                  <a:pt x="15263" y="6045"/>
                </a:lnTo>
                <a:lnTo>
                  <a:pt x="15270" y="6038"/>
                </a:lnTo>
                <a:close/>
                <a:moveTo>
                  <a:pt x="16008" y="6356"/>
                </a:moveTo>
                <a:lnTo>
                  <a:pt x="16015" y="6360"/>
                </a:lnTo>
                <a:lnTo>
                  <a:pt x="16018" y="6363"/>
                </a:lnTo>
                <a:lnTo>
                  <a:pt x="16023" y="6360"/>
                </a:lnTo>
                <a:lnTo>
                  <a:pt x="16030" y="6356"/>
                </a:lnTo>
                <a:lnTo>
                  <a:pt x="16023" y="6354"/>
                </a:lnTo>
                <a:lnTo>
                  <a:pt x="16020" y="6353"/>
                </a:lnTo>
                <a:lnTo>
                  <a:pt x="16015" y="6354"/>
                </a:lnTo>
                <a:lnTo>
                  <a:pt x="16008" y="6356"/>
                </a:lnTo>
                <a:close/>
                <a:moveTo>
                  <a:pt x="15953" y="6429"/>
                </a:moveTo>
                <a:lnTo>
                  <a:pt x="15961" y="6425"/>
                </a:lnTo>
                <a:lnTo>
                  <a:pt x="15953" y="6429"/>
                </a:lnTo>
                <a:lnTo>
                  <a:pt x="15957" y="6434"/>
                </a:lnTo>
                <a:lnTo>
                  <a:pt x="15964" y="6432"/>
                </a:lnTo>
                <a:lnTo>
                  <a:pt x="15964" y="6429"/>
                </a:lnTo>
                <a:lnTo>
                  <a:pt x="15953" y="6429"/>
                </a:lnTo>
                <a:close/>
                <a:moveTo>
                  <a:pt x="14130" y="6658"/>
                </a:moveTo>
                <a:lnTo>
                  <a:pt x="14131" y="6658"/>
                </a:lnTo>
                <a:lnTo>
                  <a:pt x="14131" y="6658"/>
                </a:lnTo>
                <a:lnTo>
                  <a:pt x="14131" y="6658"/>
                </a:lnTo>
                <a:lnTo>
                  <a:pt x="14130" y="6658"/>
                </a:lnTo>
                <a:lnTo>
                  <a:pt x="14130" y="6658"/>
                </a:lnTo>
                <a:close/>
                <a:moveTo>
                  <a:pt x="15728" y="6680"/>
                </a:moveTo>
                <a:lnTo>
                  <a:pt x="15722" y="6679"/>
                </a:lnTo>
                <a:lnTo>
                  <a:pt x="15718" y="6679"/>
                </a:lnTo>
                <a:lnTo>
                  <a:pt x="15714" y="6681"/>
                </a:lnTo>
                <a:lnTo>
                  <a:pt x="15708" y="6687"/>
                </a:lnTo>
                <a:lnTo>
                  <a:pt x="15715" y="6691"/>
                </a:lnTo>
                <a:lnTo>
                  <a:pt x="15720" y="6690"/>
                </a:lnTo>
                <a:lnTo>
                  <a:pt x="15725" y="6686"/>
                </a:lnTo>
                <a:lnTo>
                  <a:pt x="15728" y="6680"/>
                </a:lnTo>
                <a:close/>
                <a:moveTo>
                  <a:pt x="15575" y="6564"/>
                </a:moveTo>
                <a:lnTo>
                  <a:pt x="15570" y="6575"/>
                </a:lnTo>
                <a:lnTo>
                  <a:pt x="15569" y="6584"/>
                </a:lnTo>
                <a:lnTo>
                  <a:pt x="15571" y="6589"/>
                </a:lnTo>
                <a:lnTo>
                  <a:pt x="15583" y="6589"/>
                </a:lnTo>
                <a:lnTo>
                  <a:pt x="15579" y="6578"/>
                </a:lnTo>
                <a:lnTo>
                  <a:pt x="15575" y="6564"/>
                </a:lnTo>
                <a:close/>
                <a:moveTo>
                  <a:pt x="15513" y="5879"/>
                </a:moveTo>
                <a:lnTo>
                  <a:pt x="15501" y="5879"/>
                </a:lnTo>
                <a:lnTo>
                  <a:pt x="15490" y="5878"/>
                </a:lnTo>
                <a:lnTo>
                  <a:pt x="15501" y="5888"/>
                </a:lnTo>
                <a:lnTo>
                  <a:pt x="15508" y="5891"/>
                </a:lnTo>
                <a:lnTo>
                  <a:pt x="15512" y="5888"/>
                </a:lnTo>
                <a:lnTo>
                  <a:pt x="15513" y="5879"/>
                </a:lnTo>
                <a:close/>
                <a:moveTo>
                  <a:pt x="15582" y="6906"/>
                </a:moveTo>
                <a:lnTo>
                  <a:pt x="15592" y="6904"/>
                </a:lnTo>
                <a:lnTo>
                  <a:pt x="15603" y="6903"/>
                </a:lnTo>
                <a:lnTo>
                  <a:pt x="15615" y="6900"/>
                </a:lnTo>
                <a:lnTo>
                  <a:pt x="15622" y="6896"/>
                </a:lnTo>
                <a:lnTo>
                  <a:pt x="15611" y="6897"/>
                </a:lnTo>
                <a:lnTo>
                  <a:pt x="15598" y="6899"/>
                </a:lnTo>
                <a:lnTo>
                  <a:pt x="15587" y="6900"/>
                </a:lnTo>
                <a:lnTo>
                  <a:pt x="15582" y="6906"/>
                </a:lnTo>
                <a:close/>
                <a:moveTo>
                  <a:pt x="15687" y="5930"/>
                </a:moveTo>
                <a:lnTo>
                  <a:pt x="15697" y="5934"/>
                </a:lnTo>
                <a:lnTo>
                  <a:pt x="15708" y="5939"/>
                </a:lnTo>
                <a:lnTo>
                  <a:pt x="15718" y="5943"/>
                </a:lnTo>
                <a:lnTo>
                  <a:pt x="15723" y="5938"/>
                </a:lnTo>
                <a:lnTo>
                  <a:pt x="15713" y="5933"/>
                </a:lnTo>
                <a:lnTo>
                  <a:pt x="15703" y="5926"/>
                </a:lnTo>
                <a:lnTo>
                  <a:pt x="15694" y="5924"/>
                </a:lnTo>
                <a:lnTo>
                  <a:pt x="15687" y="5930"/>
                </a:lnTo>
                <a:close/>
                <a:moveTo>
                  <a:pt x="15317" y="6684"/>
                </a:moveTo>
                <a:lnTo>
                  <a:pt x="15312" y="6672"/>
                </a:lnTo>
                <a:lnTo>
                  <a:pt x="15308" y="6661"/>
                </a:lnTo>
                <a:lnTo>
                  <a:pt x="15299" y="6672"/>
                </a:lnTo>
                <a:lnTo>
                  <a:pt x="15296" y="6680"/>
                </a:lnTo>
                <a:lnTo>
                  <a:pt x="15301" y="6684"/>
                </a:lnTo>
                <a:lnTo>
                  <a:pt x="15317" y="6684"/>
                </a:lnTo>
                <a:close/>
                <a:moveTo>
                  <a:pt x="14518" y="6746"/>
                </a:moveTo>
                <a:lnTo>
                  <a:pt x="14531" y="6742"/>
                </a:lnTo>
                <a:lnTo>
                  <a:pt x="14533" y="6741"/>
                </a:lnTo>
                <a:lnTo>
                  <a:pt x="14527" y="6743"/>
                </a:lnTo>
                <a:lnTo>
                  <a:pt x="14518" y="6746"/>
                </a:lnTo>
                <a:lnTo>
                  <a:pt x="14523" y="6751"/>
                </a:lnTo>
                <a:lnTo>
                  <a:pt x="14533" y="6750"/>
                </a:lnTo>
                <a:lnTo>
                  <a:pt x="14536" y="6746"/>
                </a:lnTo>
                <a:lnTo>
                  <a:pt x="14518" y="6746"/>
                </a:lnTo>
                <a:close/>
                <a:moveTo>
                  <a:pt x="15878" y="6302"/>
                </a:moveTo>
                <a:lnTo>
                  <a:pt x="15860" y="6299"/>
                </a:lnTo>
                <a:lnTo>
                  <a:pt x="15843" y="6297"/>
                </a:lnTo>
                <a:lnTo>
                  <a:pt x="15850" y="6303"/>
                </a:lnTo>
                <a:lnTo>
                  <a:pt x="15859" y="6306"/>
                </a:lnTo>
                <a:lnTo>
                  <a:pt x="15869" y="6306"/>
                </a:lnTo>
                <a:lnTo>
                  <a:pt x="15878" y="6302"/>
                </a:lnTo>
                <a:close/>
                <a:moveTo>
                  <a:pt x="15466" y="7031"/>
                </a:moveTo>
                <a:lnTo>
                  <a:pt x="15476" y="7027"/>
                </a:lnTo>
                <a:lnTo>
                  <a:pt x="15487" y="7025"/>
                </a:lnTo>
                <a:lnTo>
                  <a:pt x="15495" y="7021"/>
                </a:lnTo>
                <a:lnTo>
                  <a:pt x="15498" y="7013"/>
                </a:lnTo>
                <a:lnTo>
                  <a:pt x="15489" y="7013"/>
                </a:lnTo>
                <a:lnTo>
                  <a:pt x="15480" y="7016"/>
                </a:lnTo>
                <a:lnTo>
                  <a:pt x="15472" y="7021"/>
                </a:lnTo>
                <a:lnTo>
                  <a:pt x="15466" y="7031"/>
                </a:lnTo>
                <a:close/>
                <a:moveTo>
                  <a:pt x="14616" y="6657"/>
                </a:moveTo>
                <a:lnTo>
                  <a:pt x="14626" y="6648"/>
                </a:lnTo>
                <a:lnTo>
                  <a:pt x="14638" y="6638"/>
                </a:lnTo>
                <a:lnTo>
                  <a:pt x="14626" y="6635"/>
                </a:lnTo>
                <a:lnTo>
                  <a:pt x="14620" y="6637"/>
                </a:lnTo>
                <a:lnTo>
                  <a:pt x="14616" y="6643"/>
                </a:lnTo>
                <a:lnTo>
                  <a:pt x="14616" y="6657"/>
                </a:lnTo>
                <a:close/>
                <a:moveTo>
                  <a:pt x="14503" y="6717"/>
                </a:moveTo>
                <a:lnTo>
                  <a:pt x="14518" y="6717"/>
                </a:lnTo>
                <a:lnTo>
                  <a:pt x="14531" y="6717"/>
                </a:lnTo>
                <a:lnTo>
                  <a:pt x="14523" y="6707"/>
                </a:lnTo>
                <a:lnTo>
                  <a:pt x="14517" y="6703"/>
                </a:lnTo>
                <a:lnTo>
                  <a:pt x="14512" y="6707"/>
                </a:lnTo>
                <a:lnTo>
                  <a:pt x="14503" y="6717"/>
                </a:lnTo>
                <a:close/>
                <a:moveTo>
                  <a:pt x="15469" y="5364"/>
                </a:moveTo>
                <a:lnTo>
                  <a:pt x="15469" y="5364"/>
                </a:lnTo>
                <a:lnTo>
                  <a:pt x="15469" y="5364"/>
                </a:lnTo>
                <a:lnTo>
                  <a:pt x="15469" y="5364"/>
                </a:lnTo>
                <a:lnTo>
                  <a:pt x="15469" y="5364"/>
                </a:lnTo>
                <a:close/>
                <a:moveTo>
                  <a:pt x="15458" y="5355"/>
                </a:moveTo>
                <a:lnTo>
                  <a:pt x="15450" y="5356"/>
                </a:lnTo>
                <a:lnTo>
                  <a:pt x="15444" y="5360"/>
                </a:lnTo>
                <a:lnTo>
                  <a:pt x="15436" y="5365"/>
                </a:lnTo>
                <a:lnTo>
                  <a:pt x="15430" y="5376"/>
                </a:lnTo>
                <a:lnTo>
                  <a:pt x="15445" y="5371"/>
                </a:lnTo>
                <a:lnTo>
                  <a:pt x="15462" y="5366"/>
                </a:lnTo>
                <a:lnTo>
                  <a:pt x="15468" y="5360"/>
                </a:lnTo>
                <a:lnTo>
                  <a:pt x="15458" y="5355"/>
                </a:lnTo>
                <a:close/>
                <a:moveTo>
                  <a:pt x="15306" y="5497"/>
                </a:moveTo>
                <a:lnTo>
                  <a:pt x="15320" y="5496"/>
                </a:lnTo>
                <a:lnTo>
                  <a:pt x="15335" y="5493"/>
                </a:lnTo>
                <a:lnTo>
                  <a:pt x="15327" y="5488"/>
                </a:lnTo>
                <a:lnTo>
                  <a:pt x="15319" y="5486"/>
                </a:lnTo>
                <a:lnTo>
                  <a:pt x="15313" y="5488"/>
                </a:lnTo>
                <a:lnTo>
                  <a:pt x="15306" y="5497"/>
                </a:lnTo>
                <a:close/>
                <a:moveTo>
                  <a:pt x="15739" y="6877"/>
                </a:moveTo>
                <a:lnTo>
                  <a:pt x="15745" y="6882"/>
                </a:lnTo>
                <a:lnTo>
                  <a:pt x="15755" y="6882"/>
                </a:lnTo>
                <a:lnTo>
                  <a:pt x="15767" y="6880"/>
                </a:lnTo>
                <a:lnTo>
                  <a:pt x="15778" y="6878"/>
                </a:lnTo>
                <a:lnTo>
                  <a:pt x="15767" y="6872"/>
                </a:lnTo>
                <a:lnTo>
                  <a:pt x="15759" y="6871"/>
                </a:lnTo>
                <a:lnTo>
                  <a:pt x="15750" y="6873"/>
                </a:lnTo>
                <a:lnTo>
                  <a:pt x="15739" y="6877"/>
                </a:lnTo>
                <a:close/>
                <a:moveTo>
                  <a:pt x="15737" y="6616"/>
                </a:moveTo>
                <a:lnTo>
                  <a:pt x="15727" y="6612"/>
                </a:lnTo>
                <a:lnTo>
                  <a:pt x="15713" y="6615"/>
                </a:lnTo>
                <a:lnTo>
                  <a:pt x="15695" y="6620"/>
                </a:lnTo>
                <a:lnTo>
                  <a:pt x="15680" y="6624"/>
                </a:lnTo>
                <a:lnTo>
                  <a:pt x="15680" y="6624"/>
                </a:lnTo>
                <a:lnTo>
                  <a:pt x="15680" y="6624"/>
                </a:lnTo>
                <a:lnTo>
                  <a:pt x="15695" y="6626"/>
                </a:lnTo>
                <a:lnTo>
                  <a:pt x="15709" y="6625"/>
                </a:lnTo>
                <a:lnTo>
                  <a:pt x="15723" y="6620"/>
                </a:lnTo>
                <a:lnTo>
                  <a:pt x="15737" y="6616"/>
                </a:lnTo>
                <a:close/>
                <a:moveTo>
                  <a:pt x="15925" y="6582"/>
                </a:moveTo>
                <a:lnTo>
                  <a:pt x="15913" y="6583"/>
                </a:lnTo>
                <a:lnTo>
                  <a:pt x="15899" y="6582"/>
                </a:lnTo>
                <a:lnTo>
                  <a:pt x="15887" y="6582"/>
                </a:lnTo>
                <a:lnTo>
                  <a:pt x="15878" y="6587"/>
                </a:lnTo>
                <a:lnTo>
                  <a:pt x="15892" y="6587"/>
                </a:lnTo>
                <a:lnTo>
                  <a:pt x="15908" y="6589"/>
                </a:lnTo>
                <a:lnTo>
                  <a:pt x="15919" y="6589"/>
                </a:lnTo>
                <a:lnTo>
                  <a:pt x="15925" y="6582"/>
                </a:lnTo>
                <a:close/>
                <a:moveTo>
                  <a:pt x="15938" y="6690"/>
                </a:moveTo>
                <a:lnTo>
                  <a:pt x="15932" y="6686"/>
                </a:lnTo>
                <a:lnTo>
                  <a:pt x="15920" y="6689"/>
                </a:lnTo>
                <a:lnTo>
                  <a:pt x="15908" y="6694"/>
                </a:lnTo>
                <a:lnTo>
                  <a:pt x="15896" y="6698"/>
                </a:lnTo>
                <a:lnTo>
                  <a:pt x="15906" y="6698"/>
                </a:lnTo>
                <a:lnTo>
                  <a:pt x="15918" y="6698"/>
                </a:lnTo>
                <a:lnTo>
                  <a:pt x="15928" y="6696"/>
                </a:lnTo>
                <a:lnTo>
                  <a:pt x="15938" y="6690"/>
                </a:lnTo>
                <a:close/>
                <a:moveTo>
                  <a:pt x="16086" y="6703"/>
                </a:moveTo>
                <a:lnTo>
                  <a:pt x="16080" y="6696"/>
                </a:lnTo>
                <a:lnTo>
                  <a:pt x="16067" y="6694"/>
                </a:lnTo>
                <a:lnTo>
                  <a:pt x="16053" y="6694"/>
                </a:lnTo>
                <a:lnTo>
                  <a:pt x="16041" y="6691"/>
                </a:lnTo>
                <a:lnTo>
                  <a:pt x="16051" y="6700"/>
                </a:lnTo>
                <a:lnTo>
                  <a:pt x="16063" y="6703"/>
                </a:lnTo>
                <a:lnTo>
                  <a:pt x="16074" y="6704"/>
                </a:lnTo>
                <a:lnTo>
                  <a:pt x="16086" y="6703"/>
                </a:lnTo>
                <a:close/>
                <a:moveTo>
                  <a:pt x="15117" y="5352"/>
                </a:moveTo>
                <a:lnTo>
                  <a:pt x="15126" y="5359"/>
                </a:lnTo>
                <a:lnTo>
                  <a:pt x="15140" y="5357"/>
                </a:lnTo>
                <a:lnTo>
                  <a:pt x="15156" y="5353"/>
                </a:lnTo>
                <a:lnTo>
                  <a:pt x="15171" y="5351"/>
                </a:lnTo>
                <a:lnTo>
                  <a:pt x="15157" y="5350"/>
                </a:lnTo>
                <a:lnTo>
                  <a:pt x="15143" y="5347"/>
                </a:lnTo>
                <a:lnTo>
                  <a:pt x="15131" y="5347"/>
                </a:lnTo>
                <a:lnTo>
                  <a:pt x="15117" y="5352"/>
                </a:lnTo>
                <a:close/>
                <a:moveTo>
                  <a:pt x="15371" y="5495"/>
                </a:moveTo>
                <a:lnTo>
                  <a:pt x="15360" y="5507"/>
                </a:lnTo>
                <a:lnTo>
                  <a:pt x="15356" y="5518"/>
                </a:lnTo>
                <a:lnTo>
                  <a:pt x="15361" y="5527"/>
                </a:lnTo>
                <a:lnTo>
                  <a:pt x="15373" y="5538"/>
                </a:lnTo>
                <a:lnTo>
                  <a:pt x="15373" y="5528"/>
                </a:lnTo>
                <a:lnTo>
                  <a:pt x="15373" y="5518"/>
                </a:lnTo>
                <a:lnTo>
                  <a:pt x="15373" y="5507"/>
                </a:lnTo>
                <a:lnTo>
                  <a:pt x="15371" y="5495"/>
                </a:lnTo>
                <a:close/>
                <a:moveTo>
                  <a:pt x="15537" y="5768"/>
                </a:moveTo>
                <a:lnTo>
                  <a:pt x="15548" y="5773"/>
                </a:lnTo>
                <a:lnTo>
                  <a:pt x="15557" y="5773"/>
                </a:lnTo>
                <a:lnTo>
                  <a:pt x="15564" y="5768"/>
                </a:lnTo>
                <a:lnTo>
                  <a:pt x="15570" y="5757"/>
                </a:lnTo>
                <a:lnTo>
                  <a:pt x="15557" y="5753"/>
                </a:lnTo>
                <a:lnTo>
                  <a:pt x="15550" y="5753"/>
                </a:lnTo>
                <a:lnTo>
                  <a:pt x="15543" y="5757"/>
                </a:lnTo>
                <a:lnTo>
                  <a:pt x="15537" y="5768"/>
                </a:lnTo>
                <a:close/>
                <a:moveTo>
                  <a:pt x="15559" y="5776"/>
                </a:moveTo>
                <a:lnTo>
                  <a:pt x="15557" y="5777"/>
                </a:lnTo>
                <a:lnTo>
                  <a:pt x="15557" y="5777"/>
                </a:lnTo>
                <a:lnTo>
                  <a:pt x="15559" y="5777"/>
                </a:lnTo>
                <a:lnTo>
                  <a:pt x="15559" y="5776"/>
                </a:lnTo>
                <a:close/>
                <a:moveTo>
                  <a:pt x="15478" y="6644"/>
                </a:moveTo>
                <a:lnTo>
                  <a:pt x="15491" y="6648"/>
                </a:lnTo>
                <a:lnTo>
                  <a:pt x="15503" y="6647"/>
                </a:lnTo>
                <a:lnTo>
                  <a:pt x="15514" y="6643"/>
                </a:lnTo>
                <a:lnTo>
                  <a:pt x="15526" y="6638"/>
                </a:lnTo>
                <a:lnTo>
                  <a:pt x="15506" y="6633"/>
                </a:lnTo>
                <a:lnTo>
                  <a:pt x="15495" y="6633"/>
                </a:lnTo>
                <a:lnTo>
                  <a:pt x="15487" y="6637"/>
                </a:lnTo>
                <a:lnTo>
                  <a:pt x="15478" y="6644"/>
                </a:lnTo>
                <a:close/>
                <a:moveTo>
                  <a:pt x="14438" y="6676"/>
                </a:moveTo>
                <a:lnTo>
                  <a:pt x="14432" y="6684"/>
                </a:lnTo>
                <a:lnTo>
                  <a:pt x="14423" y="6693"/>
                </a:lnTo>
                <a:lnTo>
                  <a:pt x="14414" y="6700"/>
                </a:lnTo>
                <a:lnTo>
                  <a:pt x="14404" y="6707"/>
                </a:lnTo>
                <a:lnTo>
                  <a:pt x="14419" y="6707"/>
                </a:lnTo>
                <a:lnTo>
                  <a:pt x="14433" y="6701"/>
                </a:lnTo>
                <a:lnTo>
                  <a:pt x="14442" y="6691"/>
                </a:lnTo>
                <a:lnTo>
                  <a:pt x="14438" y="6676"/>
                </a:lnTo>
                <a:close/>
                <a:moveTo>
                  <a:pt x="15360" y="6729"/>
                </a:moveTo>
                <a:lnTo>
                  <a:pt x="15363" y="6715"/>
                </a:lnTo>
                <a:lnTo>
                  <a:pt x="15356" y="6710"/>
                </a:lnTo>
                <a:lnTo>
                  <a:pt x="15345" y="6712"/>
                </a:lnTo>
                <a:lnTo>
                  <a:pt x="15333" y="6719"/>
                </a:lnTo>
                <a:lnTo>
                  <a:pt x="15343" y="6728"/>
                </a:lnTo>
                <a:lnTo>
                  <a:pt x="15350" y="6732"/>
                </a:lnTo>
                <a:lnTo>
                  <a:pt x="15356" y="6732"/>
                </a:lnTo>
                <a:lnTo>
                  <a:pt x="15360" y="6729"/>
                </a:lnTo>
                <a:close/>
                <a:moveTo>
                  <a:pt x="15305" y="5599"/>
                </a:moveTo>
                <a:lnTo>
                  <a:pt x="15286" y="5597"/>
                </a:lnTo>
                <a:lnTo>
                  <a:pt x="15267" y="5598"/>
                </a:lnTo>
                <a:lnTo>
                  <a:pt x="15250" y="5603"/>
                </a:lnTo>
                <a:lnTo>
                  <a:pt x="15236" y="5611"/>
                </a:lnTo>
                <a:lnTo>
                  <a:pt x="15254" y="5607"/>
                </a:lnTo>
                <a:lnTo>
                  <a:pt x="15271" y="5604"/>
                </a:lnTo>
                <a:lnTo>
                  <a:pt x="15289" y="5602"/>
                </a:lnTo>
                <a:lnTo>
                  <a:pt x="15305" y="5599"/>
                </a:lnTo>
                <a:close/>
                <a:moveTo>
                  <a:pt x="15610" y="5791"/>
                </a:moveTo>
                <a:lnTo>
                  <a:pt x="15599" y="5780"/>
                </a:lnTo>
                <a:lnTo>
                  <a:pt x="15588" y="5773"/>
                </a:lnTo>
                <a:lnTo>
                  <a:pt x="15574" y="5772"/>
                </a:lnTo>
                <a:lnTo>
                  <a:pt x="15559" y="5777"/>
                </a:lnTo>
                <a:lnTo>
                  <a:pt x="15571" y="5787"/>
                </a:lnTo>
                <a:lnTo>
                  <a:pt x="15584" y="5791"/>
                </a:lnTo>
                <a:lnTo>
                  <a:pt x="15597" y="5791"/>
                </a:lnTo>
                <a:lnTo>
                  <a:pt x="15610" y="5791"/>
                </a:lnTo>
                <a:close/>
                <a:moveTo>
                  <a:pt x="15345" y="5348"/>
                </a:moveTo>
                <a:lnTo>
                  <a:pt x="15338" y="5348"/>
                </a:lnTo>
                <a:lnTo>
                  <a:pt x="15335" y="5342"/>
                </a:lnTo>
                <a:lnTo>
                  <a:pt x="15329" y="5338"/>
                </a:lnTo>
                <a:lnTo>
                  <a:pt x="15322" y="5343"/>
                </a:lnTo>
                <a:lnTo>
                  <a:pt x="15333" y="5361"/>
                </a:lnTo>
                <a:lnTo>
                  <a:pt x="15355" y="5356"/>
                </a:lnTo>
                <a:lnTo>
                  <a:pt x="15366" y="5346"/>
                </a:lnTo>
                <a:lnTo>
                  <a:pt x="15345" y="5348"/>
                </a:lnTo>
                <a:close/>
                <a:moveTo>
                  <a:pt x="15268" y="5336"/>
                </a:moveTo>
                <a:lnTo>
                  <a:pt x="15266" y="5351"/>
                </a:lnTo>
                <a:lnTo>
                  <a:pt x="15271" y="5359"/>
                </a:lnTo>
                <a:lnTo>
                  <a:pt x="15280" y="5362"/>
                </a:lnTo>
                <a:lnTo>
                  <a:pt x="15295" y="5361"/>
                </a:lnTo>
                <a:lnTo>
                  <a:pt x="15292" y="5347"/>
                </a:lnTo>
                <a:lnTo>
                  <a:pt x="15289" y="5341"/>
                </a:lnTo>
                <a:lnTo>
                  <a:pt x="15281" y="5337"/>
                </a:lnTo>
                <a:lnTo>
                  <a:pt x="15268" y="5336"/>
                </a:lnTo>
                <a:close/>
                <a:moveTo>
                  <a:pt x="15936" y="6721"/>
                </a:moveTo>
                <a:lnTo>
                  <a:pt x="15953" y="6727"/>
                </a:lnTo>
                <a:lnTo>
                  <a:pt x="15971" y="6724"/>
                </a:lnTo>
                <a:lnTo>
                  <a:pt x="15989" y="6719"/>
                </a:lnTo>
                <a:lnTo>
                  <a:pt x="16009" y="6712"/>
                </a:lnTo>
                <a:lnTo>
                  <a:pt x="15989" y="6710"/>
                </a:lnTo>
                <a:lnTo>
                  <a:pt x="15970" y="6710"/>
                </a:lnTo>
                <a:lnTo>
                  <a:pt x="15952" y="6713"/>
                </a:lnTo>
                <a:lnTo>
                  <a:pt x="15936" y="6721"/>
                </a:lnTo>
                <a:close/>
                <a:moveTo>
                  <a:pt x="16031" y="6488"/>
                </a:moveTo>
                <a:lnTo>
                  <a:pt x="16049" y="6494"/>
                </a:lnTo>
                <a:lnTo>
                  <a:pt x="16063" y="6498"/>
                </a:lnTo>
                <a:lnTo>
                  <a:pt x="16077" y="6495"/>
                </a:lnTo>
                <a:lnTo>
                  <a:pt x="16096" y="6489"/>
                </a:lnTo>
                <a:lnTo>
                  <a:pt x="16081" y="6479"/>
                </a:lnTo>
                <a:lnTo>
                  <a:pt x="16064" y="6479"/>
                </a:lnTo>
                <a:lnTo>
                  <a:pt x="16048" y="6484"/>
                </a:lnTo>
                <a:lnTo>
                  <a:pt x="16031" y="6488"/>
                </a:lnTo>
                <a:close/>
                <a:moveTo>
                  <a:pt x="15211" y="5441"/>
                </a:moveTo>
                <a:lnTo>
                  <a:pt x="15194" y="5434"/>
                </a:lnTo>
                <a:lnTo>
                  <a:pt x="15179" y="5434"/>
                </a:lnTo>
                <a:lnTo>
                  <a:pt x="15165" y="5441"/>
                </a:lnTo>
                <a:lnTo>
                  <a:pt x="15150" y="5458"/>
                </a:lnTo>
                <a:lnTo>
                  <a:pt x="15165" y="5459"/>
                </a:lnTo>
                <a:lnTo>
                  <a:pt x="15180" y="5455"/>
                </a:lnTo>
                <a:lnTo>
                  <a:pt x="15196" y="5449"/>
                </a:lnTo>
                <a:lnTo>
                  <a:pt x="15211" y="5441"/>
                </a:lnTo>
                <a:close/>
                <a:moveTo>
                  <a:pt x="14815" y="6503"/>
                </a:moveTo>
                <a:lnTo>
                  <a:pt x="14845" y="6493"/>
                </a:lnTo>
                <a:lnTo>
                  <a:pt x="14880" y="6483"/>
                </a:lnTo>
                <a:lnTo>
                  <a:pt x="14895" y="6474"/>
                </a:lnTo>
                <a:lnTo>
                  <a:pt x="14871" y="6470"/>
                </a:lnTo>
                <a:lnTo>
                  <a:pt x="14847" y="6466"/>
                </a:lnTo>
                <a:lnTo>
                  <a:pt x="14828" y="6476"/>
                </a:lnTo>
                <a:lnTo>
                  <a:pt x="14815" y="6491"/>
                </a:lnTo>
                <a:lnTo>
                  <a:pt x="14815" y="6503"/>
                </a:lnTo>
                <a:close/>
                <a:moveTo>
                  <a:pt x="15500" y="5509"/>
                </a:moveTo>
                <a:lnTo>
                  <a:pt x="15478" y="5495"/>
                </a:lnTo>
                <a:lnTo>
                  <a:pt x="15455" y="5496"/>
                </a:lnTo>
                <a:lnTo>
                  <a:pt x="15443" y="5514"/>
                </a:lnTo>
                <a:lnTo>
                  <a:pt x="15449" y="5547"/>
                </a:lnTo>
                <a:lnTo>
                  <a:pt x="15466" y="5537"/>
                </a:lnTo>
                <a:lnTo>
                  <a:pt x="15469" y="5519"/>
                </a:lnTo>
                <a:lnTo>
                  <a:pt x="15476" y="5505"/>
                </a:lnTo>
                <a:lnTo>
                  <a:pt x="15500" y="5509"/>
                </a:lnTo>
                <a:close/>
                <a:moveTo>
                  <a:pt x="15253" y="5434"/>
                </a:moveTo>
                <a:lnTo>
                  <a:pt x="15289" y="5423"/>
                </a:lnTo>
                <a:lnTo>
                  <a:pt x="15304" y="5416"/>
                </a:lnTo>
                <a:lnTo>
                  <a:pt x="15295" y="5409"/>
                </a:lnTo>
                <a:lnTo>
                  <a:pt x="15263" y="5399"/>
                </a:lnTo>
                <a:lnTo>
                  <a:pt x="15256" y="5413"/>
                </a:lnTo>
                <a:lnTo>
                  <a:pt x="15234" y="5427"/>
                </a:lnTo>
                <a:lnTo>
                  <a:pt x="15225" y="5436"/>
                </a:lnTo>
                <a:lnTo>
                  <a:pt x="15253" y="5434"/>
                </a:lnTo>
                <a:close/>
                <a:moveTo>
                  <a:pt x="15522" y="5604"/>
                </a:moveTo>
                <a:lnTo>
                  <a:pt x="15469" y="5600"/>
                </a:lnTo>
                <a:lnTo>
                  <a:pt x="15417" y="5593"/>
                </a:lnTo>
                <a:lnTo>
                  <a:pt x="15365" y="5591"/>
                </a:lnTo>
                <a:lnTo>
                  <a:pt x="15317" y="5603"/>
                </a:lnTo>
                <a:lnTo>
                  <a:pt x="15368" y="5602"/>
                </a:lnTo>
                <a:lnTo>
                  <a:pt x="15417" y="5605"/>
                </a:lnTo>
                <a:lnTo>
                  <a:pt x="15468" y="5608"/>
                </a:lnTo>
                <a:lnTo>
                  <a:pt x="15522" y="5604"/>
                </a:lnTo>
                <a:close/>
                <a:moveTo>
                  <a:pt x="14511" y="6662"/>
                </a:moveTo>
                <a:lnTo>
                  <a:pt x="14533" y="6671"/>
                </a:lnTo>
                <a:lnTo>
                  <a:pt x="14565" y="6667"/>
                </a:lnTo>
                <a:lnTo>
                  <a:pt x="14595" y="6653"/>
                </a:lnTo>
                <a:lnTo>
                  <a:pt x="14610" y="6630"/>
                </a:lnTo>
                <a:lnTo>
                  <a:pt x="14587" y="6631"/>
                </a:lnTo>
                <a:lnTo>
                  <a:pt x="14560" y="6642"/>
                </a:lnTo>
                <a:lnTo>
                  <a:pt x="14533" y="6653"/>
                </a:lnTo>
                <a:lnTo>
                  <a:pt x="14511" y="6662"/>
                </a:lnTo>
                <a:close/>
                <a:moveTo>
                  <a:pt x="14103" y="6736"/>
                </a:moveTo>
                <a:lnTo>
                  <a:pt x="14106" y="6726"/>
                </a:lnTo>
                <a:lnTo>
                  <a:pt x="14109" y="6722"/>
                </a:lnTo>
                <a:lnTo>
                  <a:pt x="14114" y="6722"/>
                </a:lnTo>
                <a:lnTo>
                  <a:pt x="14123" y="6724"/>
                </a:lnTo>
                <a:lnTo>
                  <a:pt x="14112" y="6731"/>
                </a:lnTo>
                <a:lnTo>
                  <a:pt x="14103" y="6736"/>
                </a:lnTo>
                <a:close/>
                <a:moveTo>
                  <a:pt x="15789" y="5882"/>
                </a:moveTo>
                <a:lnTo>
                  <a:pt x="15808" y="5842"/>
                </a:lnTo>
                <a:lnTo>
                  <a:pt x="15794" y="5814"/>
                </a:lnTo>
                <a:lnTo>
                  <a:pt x="15760" y="5799"/>
                </a:lnTo>
                <a:lnTo>
                  <a:pt x="15717" y="5798"/>
                </a:lnTo>
                <a:lnTo>
                  <a:pt x="15760" y="5822"/>
                </a:lnTo>
                <a:lnTo>
                  <a:pt x="15764" y="5861"/>
                </a:lnTo>
                <a:lnTo>
                  <a:pt x="15764" y="5892"/>
                </a:lnTo>
                <a:lnTo>
                  <a:pt x="15789" y="5882"/>
                </a:lnTo>
                <a:close/>
                <a:moveTo>
                  <a:pt x="15680" y="6624"/>
                </a:moveTo>
                <a:lnTo>
                  <a:pt x="15680" y="6623"/>
                </a:lnTo>
                <a:lnTo>
                  <a:pt x="15680" y="6624"/>
                </a:lnTo>
                <a:close/>
                <a:moveTo>
                  <a:pt x="15699" y="6602"/>
                </a:moveTo>
                <a:lnTo>
                  <a:pt x="15720" y="6584"/>
                </a:lnTo>
                <a:lnTo>
                  <a:pt x="15705" y="6577"/>
                </a:lnTo>
                <a:lnTo>
                  <a:pt x="15666" y="6581"/>
                </a:lnTo>
                <a:lnTo>
                  <a:pt x="15612" y="6597"/>
                </a:lnTo>
                <a:lnTo>
                  <a:pt x="15560" y="6626"/>
                </a:lnTo>
                <a:lnTo>
                  <a:pt x="15578" y="6644"/>
                </a:lnTo>
                <a:lnTo>
                  <a:pt x="15635" y="6639"/>
                </a:lnTo>
                <a:lnTo>
                  <a:pt x="15699" y="6602"/>
                </a:lnTo>
                <a:close/>
                <a:moveTo>
                  <a:pt x="15355" y="7199"/>
                </a:moveTo>
                <a:lnTo>
                  <a:pt x="15352" y="7198"/>
                </a:lnTo>
                <a:lnTo>
                  <a:pt x="15351" y="7198"/>
                </a:lnTo>
                <a:lnTo>
                  <a:pt x="15351" y="7198"/>
                </a:lnTo>
                <a:lnTo>
                  <a:pt x="15351" y="7202"/>
                </a:lnTo>
                <a:lnTo>
                  <a:pt x="15355" y="7199"/>
                </a:lnTo>
                <a:close/>
                <a:moveTo>
                  <a:pt x="13976" y="7811"/>
                </a:moveTo>
                <a:lnTo>
                  <a:pt x="13972" y="7808"/>
                </a:lnTo>
                <a:lnTo>
                  <a:pt x="13968" y="7806"/>
                </a:lnTo>
                <a:lnTo>
                  <a:pt x="13964" y="7808"/>
                </a:lnTo>
                <a:lnTo>
                  <a:pt x="13960" y="7809"/>
                </a:lnTo>
                <a:lnTo>
                  <a:pt x="13963" y="7814"/>
                </a:lnTo>
                <a:lnTo>
                  <a:pt x="13967" y="7815"/>
                </a:lnTo>
                <a:lnTo>
                  <a:pt x="13971" y="7814"/>
                </a:lnTo>
                <a:lnTo>
                  <a:pt x="13976" y="7811"/>
                </a:lnTo>
                <a:close/>
                <a:moveTo>
                  <a:pt x="15533" y="6955"/>
                </a:moveTo>
                <a:lnTo>
                  <a:pt x="15550" y="6948"/>
                </a:lnTo>
                <a:lnTo>
                  <a:pt x="15569" y="6945"/>
                </a:lnTo>
                <a:lnTo>
                  <a:pt x="15585" y="6947"/>
                </a:lnTo>
                <a:lnTo>
                  <a:pt x="15599" y="6957"/>
                </a:lnTo>
                <a:lnTo>
                  <a:pt x="15570" y="6964"/>
                </a:lnTo>
                <a:lnTo>
                  <a:pt x="15536" y="6967"/>
                </a:lnTo>
                <a:lnTo>
                  <a:pt x="15515" y="6965"/>
                </a:lnTo>
                <a:lnTo>
                  <a:pt x="15533" y="6955"/>
                </a:lnTo>
                <a:close/>
                <a:moveTo>
                  <a:pt x="15524" y="7374"/>
                </a:moveTo>
                <a:lnTo>
                  <a:pt x="15532" y="7371"/>
                </a:lnTo>
                <a:lnTo>
                  <a:pt x="15538" y="7370"/>
                </a:lnTo>
                <a:lnTo>
                  <a:pt x="15540" y="7370"/>
                </a:lnTo>
                <a:lnTo>
                  <a:pt x="15541" y="7370"/>
                </a:lnTo>
                <a:lnTo>
                  <a:pt x="15540" y="7370"/>
                </a:lnTo>
                <a:lnTo>
                  <a:pt x="15538" y="7370"/>
                </a:lnTo>
                <a:lnTo>
                  <a:pt x="15534" y="7367"/>
                </a:lnTo>
                <a:lnTo>
                  <a:pt x="15531" y="7368"/>
                </a:lnTo>
                <a:lnTo>
                  <a:pt x="15528" y="7370"/>
                </a:lnTo>
                <a:lnTo>
                  <a:pt x="15524" y="7374"/>
                </a:lnTo>
                <a:close/>
                <a:moveTo>
                  <a:pt x="15413" y="7619"/>
                </a:moveTo>
                <a:lnTo>
                  <a:pt x="15412" y="7619"/>
                </a:lnTo>
                <a:lnTo>
                  <a:pt x="15412" y="7619"/>
                </a:lnTo>
                <a:lnTo>
                  <a:pt x="15411" y="7619"/>
                </a:lnTo>
                <a:lnTo>
                  <a:pt x="15412" y="7621"/>
                </a:lnTo>
                <a:lnTo>
                  <a:pt x="15413" y="7619"/>
                </a:lnTo>
                <a:close/>
                <a:moveTo>
                  <a:pt x="15024" y="7545"/>
                </a:moveTo>
                <a:lnTo>
                  <a:pt x="15024" y="7543"/>
                </a:lnTo>
                <a:lnTo>
                  <a:pt x="15024" y="7543"/>
                </a:lnTo>
                <a:lnTo>
                  <a:pt x="15022" y="7543"/>
                </a:lnTo>
                <a:lnTo>
                  <a:pt x="15021" y="7544"/>
                </a:lnTo>
                <a:lnTo>
                  <a:pt x="15024" y="7545"/>
                </a:lnTo>
                <a:close/>
                <a:moveTo>
                  <a:pt x="15350" y="7811"/>
                </a:moveTo>
                <a:lnTo>
                  <a:pt x="15351" y="7809"/>
                </a:lnTo>
                <a:lnTo>
                  <a:pt x="15351" y="7808"/>
                </a:lnTo>
                <a:lnTo>
                  <a:pt x="15351" y="7806"/>
                </a:lnTo>
                <a:lnTo>
                  <a:pt x="15350" y="7806"/>
                </a:lnTo>
                <a:lnTo>
                  <a:pt x="15349" y="7808"/>
                </a:lnTo>
                <a:lnTo>
                  <a:pt x="15347" y="7809"/>
                </a:lnTo>
                <a:lnTo>
                  <a:pt x="15349" y="7810"/>
                </a:lnTo>
                <a:lnTo>
                  <a:pt x="15350" y="7811"/>
                </a:lnTo>
                <a:close/>
                <a:moveTo>
                  <a:pt x="15638" y="7866"/>
                </a:moveTo>
                <a:lnTo>
                  <a:pt x="15638" y="7866"/>
                </a:lnTo>
                <a:lnTo>
                  <a:pt x="15644" y="7865"/>
                </a:lnTo>
                <a:lnTo>
                  <a:pt x="15640" y="7866"/>
                </a:lnTo>
                <a:lnTo>
                  <a:pt x="15638" y="7866"/>
                </a:lnTo>
                <a:close/>
                <a:moveTo>
                  <a:pt x="15268" y="7953"/>
                </a:moveTo>
                <a:lnTo>
                  <a:pt x="15266" y="7951"/>
                </a:lnTo>
                <a:lnTo>
                  <a:pt x="15266" y="7954"/>
                </a:lnTo>
                <a:lnTo>
                  <a:pt x="15266" y="7954"/>
                </a:lnTo>
                <a:lnTo>
                  <a:pt x="15267" y="7954"/>
                </a:lnTo>
                <a:lnTo>
                  <a:pt x="15268" y="7953"/>
                </a:lnTo>
                <a:close/>
                <a:moveTo>
                  <a:pt x="15396" y="7781"/>
                </a:moveTo>
                <a:lnTo>
                  <a:pt x="15394" y="7781"/>
                </a:lnTo>
                <a:lnTo>
                  <a:pt x="15393" y="7781"/>
                </a:lnTo>
                <a:lnTo>
                  <a:pt x="15393" y="7781"/>
                </a:lnTo>
                <a:lnTo>
                  <a:pt x="15393" y="7782"/>
                </a:lnTo>
                <a:lnTo>
                  <a:pt x="15394" y="7782"/>
                </a:lnTo>
                <a:lnTo>
                  <a:pt x="15396" y="7781"/>
                </a:lnTo>
                <a:close/>
                <a:moveTo>
                  <a:pt x="14004" y="7780"/>
                </a:moveTo>
                <a:lnTo>
                  <a:pt x="14002" y="7778"/>
                </a:lnTo>
                <a:lnTo>
                  <a:pt x="14002" y="7778"/>
                </a:lnTo>
                <a:lnTo>
                  <a:pt x="14002" y="7780"/>
                </a:lnTo>
                <a:lnTo>
                  <a:pt x="14002" y="7781"/>
                </a:lnTo>
                <a:lnTo>
                  <a:pt x="14004" y="7780"/>
                </a:lnTo>
                <a:close/>
                <a:moveTo>
                  <a:pt x="15256" y="7925"/>
                </a:moveTo>
                <a:lnTo>
                  <a:pt x="15254" y="7925"/>
                </a:lnTo>
                <a:lnTo>
                  <a:pt x="15256" y="7925"/>
                </a:lnTo>
                <a:lnTo>
                  <a:pt x="15253" y="7922"/>
                </a:lnTo>
                <a:lnTo>
                  <a:pt x="15256" y="7925"/>
                </a:lnTo>
                <a:close/>
                <a:moveTo>
                  <a:pt x="15335" y="7171"/>
                </a:moveTo>
                <a:lnTo>
                  <a:pt x="15337" y="7171"/>
                </a:lnTo>
                <a:lnTo>
                  <a:pt x="15338" y="7170"/>
                </a:lnTo>
                <a:lnTo>
                  <a:pt x="15338" y="7170"/>
                </a:lnTo>
                <a:lnTo>
                  <a:pt x="15338" y="7167"/>
                </a:lnTo>
                <a:lnTo>
                  <a:pt x="15336" y="7167"/>
                </a:lnTo>
                <a:lnTo>
                  <a:pt x="15335" y="7169"/>
                </a:lnTo>
                <a:lnTo>
                  <a:pt x="15335" y="7169"/>
                </a:lnTo>
                <a:lnTo>
                  <a:pt x="15335" y="7171"/>
                </a:lnTo>
                <a:close/>
                <a:moveTo>
                  <a:pt x="15765" y="8001"/>
                </a:moveTo>
                <a:lnTo>
                  <a:pt x="15765" y="8004"/>
                </a:lnTo>
                <a:lnTo>
                  <a:pt x="15765" y="8006"/>
                </a:lnTo>
                <a:lnTo>
                  <a:pt x="15766" y="8006"/>
                </a:lnTo>
                <a:lnTo>
                  <a:pt x="15769" y="8006"/>
                </a:lnTo>
                <a:lnTo>
                  <a:pt x="15769" y="8004"/>
                </a:lnTo>
                <a:lnTo>
                  <a:pt x="15769" y="8002"/>
                </a:lnTo>
                <a:lnTo>
                  <a:pt x="15767" y="8002"/>
                </a:lnTo>
                <a:lnTo>
                  <a:pt x="15765" y="8001"/>
                </a:lnTo>
                <a:close/>
                <a:moveTo>
                  <a:pt x="15388" y="8083"/>
                </a:moveTo>
                <a:lnTo>
                  <a:pt x="15387" y="8080"/>
                </a:lnTo>
                <a:lnTo>
                  <a:pt x="15384" y="8077"/>
                </a:lnTo>
                <a:lnTo>
                  <a:pt x="15382" y="8077"/>
                </a:lnTo>
                <a:lnTo>
                  <a:pt x="15379" y="8079"/>
                </a:lnTo>
                <a:lnTo>
                  <a:pt x="15383" y="8081"/>
                </a:lnTo>
                <a:lnTo>
                  <a:pt x="15388" y="8083"/>
                </a:lnTo>
                <a:close/>
                <a:moveTo>
                  <a:pt x="15378" y="8077"/>
                </a:moveTo>
                <a:lnTo>
                  <a:pt x="15378" y="8077"/>
                </a:lnTo>
                <a:lnTo>
                  <a:pt x="15378" y="8077"/>
                </a:lnTo>
                <a:lnTo>
                  <a:pt x="15378" y="8077"/>
                </a:lnTo>
                <a:lnTo>
                  <a:pt x="15378" y="8079"/>
                </a:lnTo>
                <a:lnTo>
                  <a:pt x="15379" y="8079"/>
                </a:lnTo>
                <a:lnTo>
                  <a:pt x="15378" y="8077"/>
                </a:lnTo>
                <a:close/>
                <a:moveTo>
                  <a:pt x="15644" y="7983"/>
                </a:moveTo>
                <a:lnTo>
                  <a:pt x="15640" y="7981"/>
                </a:lnTo>
                <a:lnTo>
                  <a:pt x="15638" y="7981"/>
                </a:lnTo>
                <a:lnTo>
                  <a:pt x="15635" y="7982"/>
                </a:lnTo>
                <a:lnTo>
                  <a:pt x="15634" y="7985"/>
                </a:lnTo>
                <a:lnTo>
                  <a:pt x="15636" y="7987"/>
                </a:lnTo>
                <a:lnTo>
                  <a:pt x="15639" y="7987"/>
                </a:lnTo>
                <a:lnTo>
                  <a:pt x="15641" y="7986"/>
                </a:lnTo>
                <a:lnTo>
                  <a:pt x="15644" y="7983"/>
                </a:lnTo>
                <a:close/>
                <a:moveTo>
                  <a:pt x="15473" y="7516"/>
                </a:moveTo>
                <a:lnTo>
                  <a:pt x="15475" y="7514"/>
                </a:lnTo>
                <a:lnTo>
                  <a:pt x="15473" y="7512"/>
                </a:lnTo>
                <a:lnTo>
                  <a:pt x="15472" y="7512"/>
                </a:lnTo>
                <a:lnTo>
                  <a:pt x="15469" y="7515"/>
                </a:lnTo>
                <a:lnTo>
                  <a:pt x="15472" y="7515"/>
                </a:lnTo>
                <a:lnTo>
                  <a:pt x="15473" y="7516"/>
                </a:lnTo>
                <a:close/>
                <a:moveTo>
                  <a:pt x="15141" y="8165"/>
                </a:moveTo>
                <a:lnTo>
                  <a:pt x="15142" y="8167"/>
                </a:lnTo>
                <a:lnTo>
                  <a:pt x="15145" y="8167"/>
                </a:lnTo>
                <a:lnTo>
                  <a:pt x="15146" y="8165"/>
                </a:lnTo>
                <a:lnTo>
                  <a:pt x="15149" y="8164"/>
                </a:lnTo>
                <a:lnTo>
                  <a:pt x="15147" y="8163"/>
                </a:lnTo>
                <a:lnTo>
                  <a:pt x="15145" y="8163"/>
                </a:lnTo>
                <a:lnTo>
                  <a:pt x="15143" y="8164"/>
                </a:lnTo>
                <a:lnTo>
                  <a:pt x="15141" y="8165"/>
                </a:lnTo>
                <a:close/>
                <a:moveTo>
                  <a:pt x="15682" y="8024"/>
                </a:moveTo>
                <a:lnTo>
                  <a:pt x="15685" y="8024"/>
                </a:lnTo>
                <a:lnTo>
                  <a:pt x="15686" y="8024"/>
                </a:lnTo>
                <a:lnTo>
                  <a:pt x="15689" y="8021"/>
                </a:lnTo>
                <a:lnTo>
                  <a:pt x="15690" y="8020"/>
                </a:lnTo>
                <a:lnTo>
                  <a:pt x="15687" y="8019"/>
                </a:lnTo>
                <a:lnTo>
                  <a:pt x="15686" y="8020"/>
                </a:lnTo>
                <a:lnTo>
                  <a:pt x="15683" y="8021"/>
                </a:lnTo>
                <a:lnTo>
                  <a:pt x="15682" y="8024"/>
                </a:lnTo>
                <a:close/>
                <a:moveTo>
                  <a:pt x="14313" y="8016"/>
                </a:moveTo>
                <a:lnTo>
                  <a:pt x="14316" y="8018"/>
                </a:lnTo>
                <a:lnTo>
                  <a:pt x="14318" y="8018"/>
                </a:lnTo>
                <a:lnTo>
                  <a:pt x="14321" y="8016"/>
                </a:lnTo>
                <a:lnTo>
                  <a:pt x="14322" y="8014"/>
                </a:lnTo>
                <a:lnTo>
                  <a:pt x="14320" y="8014"/>
                </a:lnTo>
                <a:lnTo>
                  <a:pt x="14318" y="8014"/>
                </a:lnTo>
                <a:lnTo>
                  <a:pt x="14316" y="8015"/>
                </a:lnTo>
                <a:lnTo>
                  <a:pt x="14313" y="8016"/>
                </a:lnTo>
                <a:close/>
                <a:moveTo>
                  <a:pt x="15585" y="7451"/>
                </a:moveTo>
                <a:lnTo>
                  <a:pt x="15584" y="7451"/>
                </a:lnTo>
                <a:lnTo>
                  <a:pt x="15585" y="7451"/>
                </a:lnTo>
                <a:lnTo>
                  <a:pt x="15594" y="7449"/>
                </a:lnTo>
                <a:lnTo>
                  <a:pt x="15606" y="7446"/>
                </a:lnTo>
                <a:lnTo>
                  <a:pt x="15599" y="7451"/>
                </a:lnTo>
                <a:lnTo>
                  <a:pt x="15594" y="7452"/>
                </a:lnTo>
                <a:lnTo>
                  <a:pt x="15589" y="7452"/>
                </a:lnTo>
                <a:lnTo>
                  <a:pt x="15585" y="7451"/>
                </a:lnTo>
                <a:close/>
                <a:moveTo>
                  <a:pt x="15585" y="7451"/>
                </a:moveTo>
                <a:lnTo>
                  <a:pt x="15584" y="7451"/>
                </a:lnTo>
                <a:lnTo>
                  <a:pt x="15585" y="7451"/>
                </a:lnTo>
                <a:lnTo>
                  <a:pt x="15585" y="7451"/>
                </a:lnTo>
                <a:close/>
                <a:moveTo>
                  <a:pt x="15245" y="7526"/>
                </a:moveTo>
                <a:lnTo>
                  <a:pt x="15249" y="7526"/>
                </a:lnTo>
                <a:lnTo>
                  <a:pt x="15247" y="7526"/>
                </a:lnTo>
                <a:lnTo>
                  <a:pt x="15247" y="7526"/>
                </a:lnTo>
                <a:lnTo>
                  <a:pt x="15245" y="7526"/>
                </a:lnTo>
                <a:close/>
                <a:moveTo>
                  <a:pt x="15228" y="7526"/>
                </a:moveTo>
                <a:lnTo>
                  <a:pt x="15238" y="7526"/>
                </a:lnTo>
                <a:lnTo>
                  <a:pt x="15245" y="7526"/>
                </a:lnTo>
                <a:lnTo>
                  <a:pt x="15242" y="7525"/>
                </a:lnTo>
                <a:lnTo>
                  <a:pt x="15238" y="7522"/>
                </a:lnTo>
                <a:lnTo>
                  <a:pt x="15233" y="7524"/>
                </a:lnTo>
                <a:lnTo>
                  <a:pt x="15228" y="7526"/>
                </a:lnTo>
                <a:close/>
                <a:moveTo>
                  <a:pt x="14230" y="7766"/>
                </a:moveTo>
                <a:lnTo>
                  <a:pt x="14234" y="7768"/>
                </a:lnTo>
                <a:lnTo>
                  <a:pt x="14237" y="7768"/>
                </a:lnTo>
                <a:lnTo>
                  <a:pt x="14239" y="7767"/>
                </a:lnTo>
                <a:lnTo>
                  <a:pt x="14242" y="7763"/>
                </a:lnTo>
                <a:lnTo>
                  <a:pt x="14238" y="7762"/>
                </a:lnTo>
                <a:lnTo>
                  <a:pt x="14235" y="7762"/>
                </a:lnTo>
                <a:lnTo>
                  <a:pt x="14233" y="7763"/>
                </a:lnTo>
                <a:lnTo>
                  <a:pt x="14230" y="7766"/>
                </a:lnTo>
                <a:close/>
                <a:moveTo>
                  <a:pt x="14193" y="7772"/>
                </a:moveTo>
                <a:lnTo>
                  <a:pt x="14190" y="7771"/>
                </a:lnTo>
                <a:lnTo>
                  <a:pt x="14188" y="7773"/>
                </a:lnTo>
                <a:lnTo>
                  <a:pt x="14188" y="7776"/>
                </a:lnTo>
                <a:lnTo>
                  <a:pt x="14191" y="7777"/>
                </a:lnTo>
                <a:lnTo>
                  <a:pt x="14193" y="7777"/>
                </a:lnTo>
                <a:lnTo>
                  <a:pt x="14196" y="7775"/>
                </a:lnTo>
                <a:lnTo>
                  <a:pt x="14196" y="7773"/>
                </a:lnTo>
                <a:lnTo>
                  <a:pt x="14193" y="7772"/>
                </a:lnTo>
                <a:close/>
                <a:moveTo>
                  <a:pt x="15552" y="7384"/>
                </a:moveTo>
                <a:lnTo>
                  <a:pt x="15551" y="7382"/>
                </a:lnTo>
                <a:lnTo>
                  <a:pt x="15551" y="7384"/>
                </a:lnTo>
                <a:lnTo>
                  <a:pt x="15552" y="7384"/>
                </a:lnTo>
                <a:close/>
                <a:moveTo>
                  <a:pt x="15547" y="7368"/>
                </a:moveTo>
                <a:lnTo>
                  <a:pt x="15542" y="7370"/>
                </a:lnTo>
                <a:lnTo>
                  <a:pt x="15543" y="7374"/>
                </a:lnTo>
                <a:lnTo>
                  <a:pt x="15547" y="7379"/>
                </a:lnTo>
                <a:lnTo>
                  <a:pt x="15551" y="7382"/>
                </a:lnTo>
                <a:lnTo>
                  <a:pt x="15555" y="7376"/>
                </a:lnTo>
                <a:lnTo>
                  <a:pt x="15556" y="7372"/>
                </a:lnTo>
                <a:lnTo>
                  <a:pt x="15554" y="7370"/>
                </a:lnTo>
                <a:lnTo>
                  <a:pt x="15547" y="7368"/>
                </a:lnTo>
                <a:close/>
                <a:moveTo>
                  <a:pt x="15280" y="7913"/>
                </a:moveTo>
                <a:lnTo>
                  <a:pt x="15284" y="7917"/>
                </a:lnTo>
                <a:lnTo>
                  <a:pt x="15286" y="7917"/>
                </a:lnTo>
                <a:lnTo>
                  <a:pt x="15290" y="7917"/>
                </a:lnTo>
                <a:lnTo>
                  <a:pt x="15294" y="7915"/>
                </a:lnTo>
                <a:lnTo>
                  <a:pt x="15291" y="7911"/>
                </a:lnTo>
                <a:lnTo>
                  <a:pt x="15287" y="7909"/>
                </a:lnTo>
                <a:lnTo>
                  <a:pt x="15285" y="7911"/>
                </a:lnTo>
                <a:lnTo>
                  <a:pt x="15280" y="7913"/>
                </a:lnTo>
                <a:close/>
                <a:moveTo>
                  <a:pt x="14056" y="7769"/>
                </a:moveTo>
                <a:lnTo>
                  <a:pt x="14044" y="7768"/>
                </a:lnTo>
                <a:lnTo>
                  <a:pt x="14038" y="7767"/>
                </a:lnTo>
                <a:lnTo>
                  <a:pt x="14034" y="7768"/>
                </a:lnTo>
                <a:lnTo>
                  <a:pt x="14029" y="7773"/>
                </a:lnTo>
                <a:lnTo>
                  <a:pt x="14036" y="7777"/>
                </a:lnTo>
                <a:lnTo>
                  <a:pt x="14041" y="7777"/>
                </a:lnTo>
                <a:lnTo>
                  <a:pt x="14046" y="7775"/>
                </a:lnTo>
                <a:lnTo>
                  <a:pt x="14056" y="7769"/>
                </a:lnTo>
                <a:close/>
                <a:moveTo>
                  <a:pt x="15551" y="7505"/>
                </a:moveTo>
                <a:lnTo>
                  <a:pt x="15555" y="7503"/>
                </a:lnTo>
                <a:lnTo>
                  <a:pt x="15559" y="7502"/>
                </a:lnTo>
                <a:lnTo>
                  <a:pt x="15562" y="7501"/>
                </a:lnTo>
                <a:lnTo>
                  <a:pt x="15562" y="7498"/>
                </a:lnTo>
                <a:lnTo>
                  <a:pt x="15559" y="7500"/>
                </a:lnTo>
                <a:lnTo>
                  <a:pt x="15554" y="7500"/>
                </a:lnTo>
                <a:lnTo>
                  <a:pt x="15550" y="7502"/>
                </a:lnTo>
                <a:lnTo>
                  <a:pt x="15551" y="7505"/>
                </a:lnTo>
                <a:close/>
                <a:moveTo>
                  <a:pt x="15606" y="7869"/>
                </a:moveTo>
                <a:lnTo>
                  <a:pt x="15621" y="7867"/>
                </a:lnTo>
                <a:lnTo>
                  <a:pt x="15635" y="7866"/>
                </a:lnTo>
                <a:lnTo>
                  <a:pt x="15629" y="7864"/>
                </a:lnTo>
                <a:lnTo>
                  <a:pt x="15621" y="7862"/>
                </a:lnTo>
                <a:lnTo>
                  <a:pt x="15613" y="7865"/>
                </a:lnTo>
                <a:lnTo>
                  <a:pt x="15606" y="7869"/>
                </a:lnTo>
                <a:close/>
                <a:moveTo>
                  <a:pt x="15622" y="8034"/>
                </a:moveTo>
                <a:lnTo>
                  <a:pt x="15625" y="8039"/>
                </a:lnTo>
                <a:lnTo>
                  <a:pt x="15631" y="8039"/>
                </a:lnTo>
                <a:lnTo>
                  <a:pt x="15640" y="8037"/>
                </a:lnTo>
                <a:lnTo>
                  <a:pt x="15644" y="8032"/>
                </a:lnTo>
                <a:lnTo>
                  <a:pt x="15639" y="8028"/>
                </a:lnTo>
                <a:lnTo>
                  <a:pt x="15633" y="8028"/>
                </a:lnTo>
                <a:lnTo>
                  <a:pt x="15625" y="8029"/>
                </a:lnTo>
                <a:lnTo>
                  <a:pt x="15622" y="8034"/>
                </a:lnTo>
                <a:close/>
                <a:moveTo>
                  <a:pt x="14185" y="7743"/>
                </a:moveTo>
                <a:lnTo>
                  <a:pt x="14188" y="7743"/>
                </a:lnTo>
                <a:lnTo>
                  <a:pt x="14191" y="7741"/>
                </a:lnTo>
                <a:lnTo>
                  <a:pt x="14193" y="7739"/>
                </a:lnTo>
                <a:lnTo>
                  <a:pt x="14193" y="7734"/>
                </a:lnTo>
                <a:lnTo>
                  <a:pt x="14185" y="7735"/>
                </a:lnTo>
                <a:lnTo>
                  <a:pt x="14176" y="7738"/>
                </a:lnTo>
                <a:lnTo>
                  <a:pt x="14174" y="7741"/>
                </a:lnTo>
                <a:lnTo>
                  <a:pt x="14185" y="7743"/>
                </a:lnTo>
                <a:close/>
                <a:moveTo>
                  <a:pt x="15820" y="8002"/>
                </a:moveTo>
                <a:lnTo>
                  <a:pt x="15831" y="7997"/>
                </a:lnTo>
                <a:lnTo>
                  <a:pt x="15843" y="7995"/>
                </a:lnTo>
                <a:lnTo>
                  <a:pt x="15852" y="7991"/>
                </a:lnTo>
                <a:lnTo>
                  <a:pt x="15859" y="7983"/>
                </a:lnTo>
                <a:lnTo>
                  <a:pt x="15846" y="7986"/>
                </a:lnTo>
                <a:lnTo>
                  <a:pt x="15838" y="7988"/>
                </a:lnTo>
                <a:lnTo>
                  <a:pt x="15830" y="7992"/>
                </a:lnTo>
                <a:lnTo>
                  <a:pt x="15820" y="8002"/>
                </a:lnTo>
                <a:close/>
                <a:moveTo>
                  <a:pt x="14118" y="7730"/>
                </a:moveTo>
                <a:lnTo>
                  <a:pt x="14104" y="7734"/>
                </a:lnTo>
                <a:lnTo>
                  <a:pt x="14102" y="7734"/>
                </a:lnTo>
                <a:lnTo>
                  <a:pt x="14108" y="7733"/>
                </a:lnTo>
                <a:lnTo>
                  <a:pt x="14118" y="7730"/>
                </a:lnTo>
                <a:lnTo>
                  <a:pt x="14109" y="7729"/>
                </a:lnTo>
                <a:lnTo>
                  <a:pt x="14099" y="7729"/>
                </a:lnTo>
                <a:lnTo>
                  <a:pt x="14099" y="7730"/>
                </a:lnTo>
                <a:lnTo>
                  <a:pt x="14118" y="7730"/>
                </a:lnTo>
                <a:close/>
                <a:moveTo>
                  <a:pt x="15335" y="7913"/>
                </a:moveTo>
                <a:lnTo>
                  <a:pt x="15347" y="7911"/>
                </a:lnTo>
                <a:lnTo>
                  <a:pt x="15360" y="7911"/>
                </a:lnTo>
                <a:lnTo>
                  <a:pt x="15371" y="7909"/>
                </a:lnTo>
                <a:lnTo>
                  <a:pt x="15382" y="7906"/>
                </a:lnTo>
                <a:lnTo>
                  <a:pt x="15369" y="7902"/>
                </a:lnTo>
                <a:lnTo>
                  <a:pt x="15357" y="7902"/>
                </a:lnTo>
                <a:lnTo>
                  <a:pt x="15347" y="7906"/>
                </a:lnTo>
                <a:lnTo>
                  <a:pt x="15335" y="7913"/>
                </a:lnTo>
                <a:close/>
                <a:moveTo>
                  <a:pt x="15560" y="7455"/>
                </a:moveTo>
                <a:lnTo>
                  <a:pt x="15560" y="7455"/>
                </a:lnTo>
                <a:lnTo>
                  <a:pt x="15560" y="7455"/>
                </a:lnTo>
                <a:lnTo>
                  <a:pt x="15560" y="7455"/>
                </a:lnTo>
                <a:lnTo>
                  <a:pt x="15560" y="7455"/>
                </a:lnTo>
                <a:close/>
                <a:moveTo>
                  <a:pt x="15531" y="7472"/>
                </a:moveTo>
                <a:lnTo>
                  <a:pt x="15545" y="7474"/>
                </a:lnTo>
                <a:lnTo>
                  <a:pt x="15552" y="7474"/>
                </a:lnTo>
                <a:lnTo>
                  <a:pt x="15560" y="7470"/>
                </a:lnTo>
                <a:lnTo>
                  <a:pt x="15568" y="7463"/>
                </a:lnTo>
                <a:lnTo>
                  <a:pt x="15559" y="7456"/>
                </a:lnTo>
                <a:lnTo>
                  <a:pt x="15548" y="7458"/>
                </a:lnTo>
                <a:lnTo>
                  <a:pt x="15538" y="7463"/>
                </a:lnTo>
                <a:lnTo>
                  <a:pt x="15531" y="7472"/>
                </a:lnTo>
                <a:close/>
                <a:moveTo>
                  <a:pt x="15072" y="7547"/>
                </a:moveTo>
                <a:lnTo>
                  <a:pt x="15098" y="7544"/>
                </a:lnTo>
                <a:lnTo>
                  <a:pt x="15121" y="7542"/>
                </a:lnTo>
                <a:lnTo>
                  <a:pt x="15143" y="7539"/>
                </a:lnTo>
                <a:lnTo>
                  <a:pt x="15165" y="7538"/>
                </a:lnTo>
                <a:lnTo>
                  <a:pt x="15138" y="7535"/>
                </a:lnTo>
                <a:lnTo>
                  <a:pt x="15112" y="7535"/>
                </a:lnTo>
                <a:lnTo>
                  <a:pt x="15089" y="7540"/>
                </a:lnTo>
                <a:lnTo>
                  <a:pt x="15072" y="7547"/>
                </a:lnTo>
                <a:close/>
                <a:moveTo>
                  <a:pt x="15481" y="7885"/>
                </a:moveTo>
                <a:lnTo>
                  <a:pt x="15468" y="7887"/>
                </a:lnTo>
                <a:lnTo>
                  <a:pt x="15457" y="7888"/>
                </a:lnTo>
                <a:lnTo>
                  <a:pt x="15445" y="7890"/>
                </a:lnTo>
                <a:lnTo>
                  <a:pt x="15434" y="7892"/>
                </a:lnTo>
                <a:lnTo>
                  <a:pt x="15469" y="7893"/>
                </a:lnTo>
                <a:lnTo>
                  <a:pt x="15503" y="7888"/>
                </a:lnTo>
                <a:lnTo>
                  <a:pt x="15514" y="7883"/>
                </a:lnTo>
                <a:lnTo>
                  <a:pt x="15481" y="7885"/>
                </a:lnTo>
                <a:close/>
                <a:moveTo>
                  <a:pt x="14131" y="7757"/>
                </a:moveTo>
                <a:lnTo>
                  <a:pt x="14135" y="7744"/>
                </a:lnTo>
                <a:lnTo>
                  <a:pt x="14118" y="7745"/>
                </a:lnTo>
                <a:lnTo>
                  <a:pt x="14092" y="7752"/>
                </a:lnTo>
                <a:lnTo>
                  <a:pt x="14072" y="7758"/>
                </a:lnTo>
                <a:lnTo>
                  <a:pt x="14088" y="7763"/>
                </a:lnTo>
                <a:lnTo>
                  <a:pt x="14103" y="7762"/>
                </a:lnTo>
                <a:lnTo>
                  <a:pt x="14117" y="7759"/>
                </a:lnTo>
                <a:lnTo>
                  <a:pt x="14131" y="7757"/>
                </a:lnTo>
                <a:close/>
                <a:moveTo>
                  <a:pt x="15436" y="8084"/>
                </a:moveTo>
                <a:lnTo>
                  <a:pt x="15466" y="8079"/>
                </a:lnTo>
                <a:lnTo>
                  <a:pt x="15495" y="8071"/>
                </a:lnTo>
                <a:lnTo>
                  <a:pt x="15523" y="8061"/>
                </a:lnTo>
                <a:lnTo>
                  <a:pt x="15547" y="8046"/>
                </a:lnTo>
                <a:lnTo>
                  <a:pt x="15514" y="8051"/>
                </a:lnTo>
                <a:lnTo>
                  <a:pt x="15472" y="8057"/>
                </a:lnTo>
                <a:lnTo>
                  <a:pt x="15440" y="8069"/>
                </a:lnTo>
                <a:lnTo>
                  <a:pt x="15436" y="8084"/>
                </a:lnTo>
                <a:close/>
                <a:moveTo>
                  <a:pt x="15695" y="7391"/>
                </a:moveTo>
                <a:lnTo>
                  <a:pt x="15643" y="7438"/>
                </a:lnTo>
                <a:lnTo>
                  <a:pt x="15654" y="7436"/>
                </a:lnTo>
                <a:lnTo>
                  <a:pt x="15691" y="7424"/>
                </a:lnTo>
                <a:lnTo>
                  <a:pt x="15709" y="7447"/>
                </a:lnTo>
                <a:lnTo>
                  <a:pt x="15736" y="7455"/>
                </a:lnTo>
                <a:lnTo>
                  <a:pt x="15737" y="7423"/>
                </a:lnTo>
                <a:lnTo>
                  <a:pt x="15722" y="7389"/>
                </a:lnTo>
                <a:lnTo>
                  <a:pt x="15695" y="7391"/>
                </a:lnTo>
                <a:close/>
                <a:moveTo>
                  <a:pt x="15463" y="7503"/>
                </a:moveTo>
                <a:lnTo>
                  <a:pt x="15441" y="7483"/>
                </a:lnTo>
                <a:lnTo>
                  <a:pt x="15396" y="7487"/>
                </a:lnTo>
                <a:lnTo>
                  <a:pt x="15342" y="7501"/>
                </a:lnTo>
                <a:lnTo>
                  <a:pt x="15301" y="7512"/>
                </a:lnTo>
                <a:lnTo>
                  <a:pt x="15335" y="7521"/>
                </a:lnTo>
                <a:lnTo>
                  <a:pt x="15378" y="7519"/>
                </a:lnTo>
                <a:lnTo>
                  <a:pt x="15422" y="7512"/>
                </a:lnTo>
                <a:lnTo>
                  <a:pt x="15463" y="7503"/>
                </a:lnTo>
                <a:close/>
                <a:moveTo>
                  <a:pt x="15551" y="7384"/>
                </a:moveTo>
                <a:lnTo>
                  <a:pt x="15551" y="7384"/>
                </a:lnTo>
                <a:lnTo>
                  <a:pt x="15551" y="7384"/>
                </a:lnTo>
                <a:lnTo>
                  <a:pt x="15552" y="7384"/>
                </a:lnTo>
                <a:lnTo>
                  <a:pt x="15551" y="7384"/>
                </a:lnTo>
                <a:close/>
                <a:moveTo>
                  <a:pt x="15413" y="7128"/>
                </a:moveTo>
                <a:lnTo>
                  <a:pt x="15415" y="7129"/>
                </a:lnTo>
                <a:lnTo>
                  <a:pt x="15413" y="7128"/>
                </a:lnTo>
                <a:lnTo>
                  <a:pt x="15413" y="7128"/>
                </a:lnTo>
                <a:lnTo>
                  <a:pt x="15413" y="7128"/>
                </a:lnTo>
                <a:close/>
                <a:moveTo>
                  <a:pt x="15399" y="7132"/>
                </a:moveTo>
                <a:lnTo>
                  <a:pt x="15406" y="7130"/>
                </a:lnTo>
                <a:lnTo>
                  <a:pt x="15413" y="7128"/>
                </a:lnTo>
                <a:lnTo>
                  <a:pt x="15408" y="7127"/>
                </a:lnTo>
                <a:lnTo>
                  <a:pt x="15405" y="7127"/>
                </a:lnTo>
                <a:lnTo>
                  <a:pt x="15402" y="7128"/>
                </a:lnTo>
                <a:lnTo>
                  <a:pt x="15399" y="7132"/>
                </a:lnTo>
                <a:close/>
                <a:moveTo>
                  <a:pt x="15512" y="7624"/>
                </a:moveTo>
                <a:lnTo>
                  <a:pt x="15513" y="7626"/>
                </a:lnTo>
                <a:lnTo>
                  <a:pt x="15519" y="7623"/>
                </a:lnTo>
                <a:lnTo>
                  <a:pt x="15514" y="7624"/>
                </a:lnTo>
                <a:lnTo>
                  <a:pt x="15512" y="7624"/>
                </a:lnTo>
                <a:close/>
                <a:moveTo>
                  <a:pt x="15270" y="7539"/>
                </a:moveTo>
                <a:lnTo>
                  <a:pt x="15268" y="7539"/>
                </a:lnTo>
                <a:lnTo>
                  <a:pt x="15267" y="7539"/>
                </a:lnTo>
                <a:lnTo>
                  <a:pt x="15267" y="7540"/>
                </a:lnTo>
                <a:lnTo>
                  <a:pt x="15268" y="7542"/>
                </a:lnTo>
                <a:lnTo>
                  <a:pt x="15270" y="7539"/>
                </a:lnTo>
                <a:close/>
                <a:moveTo>
                  <a:pt x="14412" y="7693"/>
                </a:moveTo>
                <a:lnTo>
                  <a:pt x="14412" y="7694"/>
                </a:lnTo>
                <a:lnTo>
                  <a:pt x="14412" y="7696"/>
                </a:lnTo>
                <a:lnTo>
                  <a:pt x="14412" y="7694"/>
                </a:lnTo>
                <a:lnTo>
                  <a:pt x="14412" y="7693"/>
                </a:lnTo>
                <a:lnTo>
                  <a:pt x="14406" y="7694"/>
                </a:lnTo>
                <a:lnTo>
                  <a:pt x="14405" y="7696"/>
                </a:lnTo>
                <a:lnTo>
                  <a:pt x="14406" y="7694"/>
                </a:lnTo>
                <a:lnTo>
                  <a:pt x="14412" y="7693"/>
                </a:lnTo>
                <a:close/>
                <a:moveTo>
                  <a:pt x="14400" y="7696"/>
                </a:moveTo>
                <a:lnTo>
                  <a:pt x="14400" y="7696"/>
                </a:lnTo>
                <a:lnTo>
                  <a:pt x="14400" y="7696"/>
                </a:lnTo>
                <a:lnTo>
                  <a:pt x="14400" y="7696"/>
                </a:lnTo>
                <a:lnTo>
                  <a:pt x="14400" y="7697"/>
                </a:lnTo>
                <a:lnTo>
                  <a:pt x="14401" y="7696"/>
                </a:lnTo>
                <a:lnTo>
                  <a:pt x="14401" y="7696"/>
                </a:lnTo>
                <a:lnTo>
                  <a:pt x="14401" y="7696"/>
                </a:lnTo>
                <a:lnTo>
                  <a:pt x="14400" y="7696"/>
                </a:lnTo>
                <a:close/>
                <a:moveTo>
                  <a:pt x="15643" y="7762"/>
                </a:moveTo>
                <a:lnTo>
                  <a:pt x="15640" y="7761"/>
                </a:lnTo>
                <a:lnTo>
                  <a:pt x="15639" y="7763"/>
                </a:lnTo>
                <a:lnTo>
                  <a:pt x="15640" y="7766"/>
                </a:lnTo>
                <a:lnTo>
                  <a:pt x="15643" y="7764"/>
                </a:lnTo>
                <a:lnTo>
                  <a:pt x="15643" y="7763"/>
                </a:lnTo>
                <a:lnTo>
                  <a:pt x="15643" y="7762"/>
                </a:lnTo>
                <a:close/>
                <a:moveTo>
                  <a:pt x="15518" y="7741"/>
                </a:moveTo>
                <a:lnTo>
                  <a:pt x="15515" y="7740"/>
                </a:lnTo>
                <a:lnTo>
                  <a:pt x="15512" y="7739"/>
                </a:lnTo>
                <a:lnTo>
                  <a:pt x="15510" y="7740"/>
                </a:lnTo>
                <a:lnTo>
                  <a:pt x="15508" y="7744"/>
                </a:lnTo>
                <a:lnTo>
                  <a:pt x="15510" y="7745"/>
                </a:lnTo>
                <a:lnTo>
                  <a:pt x="15513" y="7745"/>
                </a:lnTo>
                <a:lnTo>
                  <a:pt x="15515" y="7744"/>
                </a:lnTo>
                <a:lnTo>
                  <a:pt x="15518" y="7741"/>
                </a:lnTo>
                <a:close/>
                <a:moveTo>
                  <a:pt x="15347" y="7274"/>
                </a:moveTo>
                <a:lnTo>
                  <a:pt x="15349" y="7273"/>
                </a:lnTo>
                <a:lnTo>
                  <a:pt x="15349" y="7272"/>
                </a:lnTo>
                <a:lnTo>
                  <a:pt x="15349" y="7272"/>
                </a:lnTo>
                <a:lnTo>
                  <a:pt x="15346" y="7270"/>
                </a:lnTo>
                <a:lnTo>
                  <a:pt x="15345" y="7272"/>
                </a:lnTo>
                <a:lnTo>
                  <a:pt x="15345" y="7273"/>
                </a:lnTo>
                <a:lnTo>
                  <a:pt x="15346" y="7274"/>
                </a:lnTo>
                <a:lnTo>
                  <a:pt x="15347" y="7274"/>
                </a:lnTo>
                <a:close/>
                <a:moveTo>
                  <a:pt x="15561" y="7778"/>
                </a:moveTo>
                <a:lnTo>
                  <a:pt x="15559" y="7780"/>
                </a:lnTo>
                <a:lnTo>
                  <a:pt x="15557" y="7781"/>
                </a:lnTo>
                <a:lnTo>
                  <a:pt x="15557" y="7782"/>
                </a:lnTo>
                <a:lnTo>
                  <a:pt x="15560" y="7783"/>
                </a:lnTo>
                <a:lnTo>
                  <a:pt x="15561" y="7781"/>
                </a:lnTo>
                <a:lnTo>
                  <a:pt x="15564" y="7780"/>
                </a:lnTo>
                <a:lnTo>
                  <a:pt x="15564" y="7778"/>
                </a:lnTo>
                <a:lnTo>
                  <a:pt x="15561" y="7778"/>
                </a:lnTo>
                <a:close/>
                <a:moveTo>
                  <a:pt x="15272" y="7473"/>
                </a:moveTo>
                <a:lnTo>
                  <a:pt x="15270" y="7473"/>
                </a:lnTo>
                <a:lnTo>
                  <a:pt x="15267" y="7474"/>
                </a:lnTo>
                <a:lnTo>
                  <a:pt x="15270" y="7474"/>
                </a:lnTo>
                <a:lnTo>
                  <a:pt x="15272" y="7473"/>
                </a:lnTo>
                <a:close/>
                <a:moveTo>
                  <a:pt x="14378" y="7699"/>
                </a:moveTo>
                <a:lnTo>
                  <a:pt x="14390" y="7697"/>
                </a:lnTo>
                <a:lnTo>
                  <a:pt x="14398" y="7696"/>
                </a:lnTo>
                <a:lnTo>
                  <a:pt x="14395" y="7692"/>
                </a:lnTo>
                <a:lnTo>
                  <a:pt x="14390" y="7691"/>
                </a:lnTo>
                <a:lnTo>
                  <a:pt x="14384" y="7693"/>
                </a:lnTo>
                <a:lnTo>
                  <a:pt x="14378" y="7699"/>
                </a:lnTo>
                <a:close/>
                <a:moveTo>
                  <a:pt x="15480" y="7204"/>
                </a:moveTo>
                <a:lnTo>
                  <a:pt x="15468" y="7208"/>
                </a:lnTo>
                <a:lnTo>
                  <a:pt x="15459" y="7209"/>
                </a:lnTo>
                <a:lnTo>
                  <a:pt x="15458" y="7209"/>
                </a:lnTo>
                <a:lnTo>
                  <a:pt x="15459" y="7209"/>
                </a:lnTo>
                <a:lnTo>
                  <a:pt x="15464" y="7211"/>
                </a:lnTo>
                <a:lnTo>
                  <a:pt x="15469" y="7212"/>
                </a:lnTo>
                <a:lnTo>
                  <a:pt x="15475" y="7209"/>
                </a:lnTo>
                <a:lnTo>
                  <a:pt x="15480" y="7204"/>
                </a:lnTo>
                <a:close/>
                <a:moveTo>
                  <a:pt x="15459" y="7209"/>
                </a:moveTo>
                <a:lnTo>
                  <a:pt x="15458" y="7211"/>
                </a:lnTo>
                <a:lnTo>
                  <a:pt x="15459" y="7209"/>
                </a:lnTo>
                <a:lnTo>
                  <a:pt x="15459" y="7209"/>
                </a:lnTo>
                <a:close/>
                <a:moveTo>
                  <a:pt x="15426" y="7142"/>
                </a:moveTo>
                <a:lnTo>
                  <a:pt x="15425" y="7142"/>
                </a:lnTo>
                <a:lnTo>
                  <a:pt x="15425" y="7142"/>
                </a:lnTo>
                <a:lnTo>
                  <a:pt x="15426" y="7142"/>
                </a:lnTo>
                <a:close/>
                <a:moveTo>
                  <a:pt x="15421" y="7128"/>
                </a:moveTo>
                <a:lnTo>
                  <a:pt x="15416" y="7128"/>
                </a:lnTo>
                <a:lnTo>
                  <a:pt x="15417" y="7132"/>
                </a:lnTo>
                <a:lnTo>
                  <a:pt x="15421" y="7137"/>
                </a:lnTo>
                <a:lnTo>
                  <a:pt x="15425" y="7142"/>
                </a:lnTo>
                <a:lnTo>
                  <a:pt x="15429" y="7136"/>
                </a:lnTo>
                <a:lnTo>
                  <a:pt x="15430" y="7130"/>
                </a:lnTo>
                <a:lnTo>
                  <a:pt x="15427" y="7129"/>
                </a:lnTo>
                <a:lnTo>
                  <a:pt x="15421" y="7128"/>
                </a:lnTo>
                <a:close/>
                <a:moveTo>
                  <a:pt x="15422" y="7452"/>
                </a:moveTo>
                <a:lnTo>
                  <a:pt x="15420" y="7451"/>
                </a:lnTo>
                <a:lnTo>
                  <a:pt x="15415" y="7452"/>
                </a:lnTo>
                <a:lnTo>
                  <a:pt x="15408" y="7454"/>
                </a:lnTo>
                <a:lnTo>
                  <a:pt x="15402" y="7456"/>
                </a:lnTo>
                <a:lnTo>
                  <a:pt x="15408" y="7456"/>
                </a:lnTo>
                <a:lnTo>
                  <a:pt x="15413" y="7456"/>
                </a:lnTo>
                <a:lnTo>
                  <a:pt x="15417" y="7455"/>
                </a:lnTo>
                <a:lnTo>
                  <a:pt x="15422" y="7452"/>
                </a:lnTo>
                <a:close/>
                <a:moveTo>
                  <a:pt x="14162" y="7769"/>
                </a:moveTo>
                <a:lnTo>
                  <a:pt x="14158" y="7773"/>
                </a:lnTo>
                <a:lnTo>
                  <a:pt x="14162" y="7769"/>
                </a:lnTo>
                <a:lnTo>
                  <a:pt x="14158" y="7766"/>
                </a:lnTo>
                <a:lnTo>
                  <a:pt x="14151" y="7768"/>
                </a:lnTo>
                <a:lnTo>
                  <a:pt x="14151" y="7771"/>
                </a:lnTo>
                <a:lnTo>
                  <a:pt x="14162" y="7769"/>
                </a:lnTo>
                <a:close/>
                <a:moveTo>
                  <a:pt x="15425" y="7264"/>
                </a:moveTo>
                <a:lnTo>
                  <a:pt x="15429" y="7263"/>
                </a:lnTo>
                <a:lnTo>
                  <a:pt x="15434" y="7262"/>
                </a:lnTo>
                <a:lnTo>
                  <a:pt x="15436" y="7259"/>
                </a:lnTo>
                <a:lnTo>
                  <a:pt x="15436" y="7256"/>
                </a:lnTo>
                <a:lnTo>
                  <a:pt x="15433" y="7258"/>
                </a:lnTo>
                <a:lnTo>
                  <a:pt x="15427" y="7259"/>
                </a:lnTo>
                <a:lnTo>
                  <a:pt x="15425" y="7260"/>
                </a:lnTo>
                <a:lnTo>
                  <a:pt x="15425" y="7264"/>
                </a:lnTo>
                <a:close/>
                <a:moveTo>
                  <a:pt x="15480" y="7627"/>
                </a:moveTo>
                <a:lnTo>
                  <a:pt x="15495" y="7626"/>
                </a:lnTo>
                <a:lnTo>
                  <a:pt x="15510" y="7626"/>
                </a:lnTo>
                <a:lnTo>
                  <a:pt x="15503" y="7622"/>
                </a:lnTo>
                <a:lnTo>
                  <a:pt x="15495" y="7622"/>
                </a:lnTo>
                <a:lnTo>
                  <a:pt x="15487" y="7623"/>
                </a:lnTo>
                <a:lnTo>
                  <a:pt x="15480" y="7627"/>
                </a:lnTo>
                <a:close/>
                <a:moveTo>
                  <a:pt x="14242" y="7713"/>
                </a:moveTo>
                <a:lnTo>
                  <a:pt x="14234" y="7712"/>
                </a:lnTo>
                <a:lnTo>
                  <a:pt x="14227" y="7712"/>
                </a:lnTo>
                <a:lnTo>
                  <a:pt x="14220" y="7716"/>
                </a:lnTo>
                <a:lnTo>
                  <a:pt x="14214" y="7721"/>
                </a:lnTo>
                <a:lnTo>
                  <a:pt x="14221" y="7722"/>
                </a:lnTo>
                <a:lnTo>
                  <a:pt x="14228" y="7722"/>
                </a:lnTo>
                <a:lnTo>
                  <a:pt x="14235" y="7720"/>
                </a:lnTo>
                <a:lnTo>
                  <a:pt x="14242" y="7713"/>
                </a:lnTo>
                <a:close/>
                <a:moveTo>
                  <a:pt x="15496" y="7792"/>
                </a:moveTo>
                <a:lnTo>
                  <a:pt x="15499" y="7797"/>
                </a:lnTo>
                <a:lnTo>
                  <a:pt x="15506" y="7799"/>
                </a:lnTo>
                <a:lnTo>
                  <a:pt x="15514" y="7796"/>
                </a:lnTo>
                <a:lnTo>
                  <a:pt x="15518" y="7790"/>
                </a:lnTo>
                <a:lnTo>
                  <a:pt x="15513" y="7786"/>
                </a:lnTo>
                <a:lnTo>
                  <a:pt x="15506" y="7786"/>
                </a:lnTo>
                <a:lnTo>
                  <a:pt x="15500" y="7789"/>
                </a:lnTo>
                <a:lnTo>
                  <a:pt x="15496" y="7792"/>
                </a:lnTo>
                <a:close/>
                <a:moveTo>
                  <a:pt x="15694" y="7761"/>
                </a:moveTo>
                <a:lnTo>
                  <a:pt x="15706" y="7757"/>
                </a:lnTo>
                <a:lnTo>
                  <a:pt x="15717" y="7754"/>
                </a:lnTo>
                <a:lnTo>
                  <a:pt x="15725" y="7750"/>
                </a:lnTo>
                <a:lnTo>
                  <a:pt x="15733" y="7741"/>
                </a:lnTo>
                <a:lnTo>
                  <a:pt x="15720" y="7745"/>
                </a:lnTo>
                <a:lnTo>
                  <a:pt x="15711" y="7747"/>
                </a:lnTo>
                <a:lnTo>
                  <a:pt x="15704" y="7750"/>
                </a:lnTo>
                <a:lnTo>
                  <a:pt x="15694" y="7761"/>
                </a:lnTo>
                <a:close/>
                <a:moveTo>
                  <a:pt x="15405" y="7231"/>
                </a:moveTo>
                <a:lnTo>
                  <a:pt x="15419" y="7234"/>
                </a:lnTo>
                <a:lnTo>
                  <a:pt x="15427" y="7234"/>
                </a:lnTo>
                <a:lnTo>
                  <a:pt x="15434" y="7230"/>
                </a:lnTo>
                <a:lnTo>
                  <a:pt x="15443" y="7221"/>
                </a:lnTo>
                <a:lnTo>
                  <a:pt x="15434" y="7216"/>
                </a:lnTo>
                <a:lnTo>
                  <a:pt x="15422" y="7216"/>
                </a:lnTo>
                <a:lnTo>
                  <a:pt x="15413" y="7222"/>
                </a:lnTo>
                <a:lnTo>
                  <a:pt x="15405" y="7231"/>
                </a:lnTo>
                <a:close/>
                <a:moveTo>
                  <a:pt x="14267" y="7716"/>
                </a:moveTo>
                <a:lnTo>
                  <a:pt x="14288" y="7715"/>
                </a:lnTo>
                <a:lnTo>
                  <a:pt x="14308" y="7713"/>
                </a:lnTo>
                <a:lnTo>
                  <a:pt x="14327" y="7711"/>
                </a:lnTo>
                <a:lnTo>
                  <a:pt x="14348" y="7705"/>
                </a:lnTo>
                <a:lnTo>
                  <a:pt x="14323" y="7698"/>
                </a:lnTo>
                <a:lnTo>
                  <a:pt x="14303" y="7698"/>
                </a:lnTo>
                <a:lnTo>
                  <a:pt x="14286" y="7703"/>
                </a:lnTo>
                <a:lnTo>
                  <a:pt x="14267" y="7716"/>
                </a:lnTo>
                <a:close/>
                <a:moveTo>
                  <a:pt x="15569" y="7150"/>
                </a:moveTo>
                <a:lnTo>
                  <a:pt x="15517" y="7197"/>
                </a:lnTo>
                <a:lnTo>
                  <a:pt x="15528" y="7194"/>
                </a:lnTo>
                <a:lnTo>
                  <a:pt x="15565" y="7184"/>
                </a:lnTo>
                <a:lnTo>
                  <a:pt x="15583" y="7206"/>
                </a:lnTo>
                <a:lnTo>
                  <a:pt x="15610" y="7213"/>
                </a:lnTo>
                <a:lnTo>
                  <a:pt x="15611" y="7181"/>
                </a:lnTo>
                <a:lnTo>
                  <a:pt x="15596" y="7148"/>
                </a:lnTo>
                <a:lnTo>
                  <a:pt x="15569" y="7150"/>
                </a:lnTo>
                <a:close/>
                <a:moveTo>
                  <a:pt x="15425" y="7142"/>
                </a:moveTo>
                <a:lnTo>
                  <a:pt x="15425" y="7142"/>
                </a:lnTo>
                <a:lnTo>
                  <a:pt x="15425" y="7142"/>
                </a:lnTo>
                <a:lnTo>
                  <a:pt x="15426" y="7142"/>
                </a:lnTo>
                <a:lnTo>
                  <a:pt x="15425" y="7142"/>
                </a:lnTo>
                <a:close/>
                <a:moveTo>
                  <a:pt x="15434" y="7214"/>
                </a:moveTo>
                <a:lnTo>
                  <a:pt x="15434" y="7213"/>
                </a:lnTo>
                <a:lnTo>
                  <a:pt x="15435" y="7213"/>
                </a:lnTo>
                <a:lnTo>
                  <a:pt x="15434" y="7213"/>
                </a:lnTo>
                <a:lnTo>
                  <a:pt x="15434" y="7214"/>
                </a:lnTo>
                <a:close/>
                <a:moveTo>
                  <a:pt x="14912" y="6372"/>
                </a:moveTo>
                <a:lnTo>
                  <a:pt x="14908" y="6373"/>
                </a:lnTo>
                <a:lnTo>
                  <a:pt x="14910" y="6374"/>
                </a:lnTo>
                <a:lnTo>
                  <a:pt x="14910" y="6374"/>
                </a:lnTo>
                <a:lnTo>
                  <a:pt x="14912" y="6373"/>
                </a:lnTo>
                <a:lnTo>
                  <a:pt x="14912" y="6372"/>
                </a:lnTo>
                <a:close/>
                <a:moveTo>
                  <a:pt x="15560" y="6559"/>
                </a:moveTo>
                <a:lnTo>
                  <a:pt x="15559" y="6556"/>
                </a:lnTo>
                <a:lnTo>
                  <a:pt x="15557" y="6554"/>
                </a:lnTo>
                <a:lnTo>
                  <a:pt x="15555" y="6554"/>
                </a:lnTo>
                <a:lnTo>
                  <a:pt x="15554" y="6556"/>
                </a:lnTo>
                <a:lnTo>
                  <a:pt x="15554" y="6559"/>
                </a:lnTo>
                <a:lnTo>
                  <a:pt x="15556" y="6560"/>
                </a:lnTo>
                <a:lnTo>
                  <a:pt x="15557" y="6560"/>
                </a:lnTo>
                <a:lnTo>
                  <a:pt x="15560" y="6559"/>
                </a:lnTo>
                <a:close/>
                <a:moveTo>
                  <a:pt x="14993" y="6425"/>
                </a:moveTo>
                <a:lnTo>
                  <a:pt x="14989" y="6424"/>
                </a:lnTo>
                <a:lnTo>
                  <a:pt x="14987" y="6423"/>
                </a:lnTo>
                <a:lnTo>
                  <a:pt x="14983" y="6424"/>
                </a:lnTo>
                <a:lnTo>
                  <a:pt x="14982" y="6427"/>
                </a:lnTo>
                <a:lnTo>
                  <a:pt x="14984" y="6432"/>
                </a:lnTo>
                <a:lnTo>
                  <a:pt x="14987" y="6432"/>
                </a:lnTo>
                <a:lnTo>
                  <a:pt x="14991" y="6430"/>
                </a:lnTo>
                <a:lnTo>
                  <a:pt x="14993" y="6425"/>
                </a:lnTo>
                <a:close/>
                <a:moveTo>
                  <a:pt x="14667" y="6441"/>
                </a:moveTo>
                <a:lnTo>
                  <a:pt x="14675" y="6446"/>
                </a:lnTo>
                <a:lnTo>
                  <a:pt x="14684" y="6446"/>
                </a:lnTo>
                <a:lnTo>
                  <a:pt x="14691" y="6439"/>
                </a:lnTo>
                <a:lnTo>
                  <a:pt x="14695" y="6427"/>
                </a:lnTo>
                <a:lnTo>
                  <a:pt x="14688" y="6429"/>
                </a:lnTo>
                <a:lnTo>
                  <a:pt x="14677" y="6432"/>
                </a:lnTo>
                <a:lnTo>
                  <a:pt x="14671" y="6434"/>
                </a:lnTo>
                <a:lnTo>
                  <a:pt x="14667" y="6441"/>
                </a:lnTo>
                <a:close/>
                <a:moveTo>
                  <a:pt x="15071" y="6430"/>
                </a:moveTo>
                <a:lnTo>
                  <a:pt x="15063" y="6420"/>
                </a:lnTo>
                <a:lnTo>
                  <a:pt x="15053" y="6415"/>
                </a:lnTo>
                <a:lnTo>
                  <a:pt x="15039" y="6414"/>
                </a:lnTo>
                <a:lnTo>
                  <a:pt x="15022" y="6414"/>
                </a:lnTo>
                <a:lnTo>
                  <a:pt x="15037" y="6425"/>
                </a:lnTo>
                <a:lnTo>
                  <a:pt x="15048" y="6430"/>
                </a:lnTo>
                <a:lnTo>
                  <a:pt x="15059" y="6432"/>
                </a:lnTo>
                <a:lnTo>
                  <a:pt x="15071" y="6430"/>
                </a:lnTo>
                <a:close/>
                <a:moveTo>
                  <a:pt x="15608" y="7804"/>
                </a:moveTo>
                <a:lnTo>
                  <a:pt x="15610" y="7805"/>
                </a:lnTo>
                <a:lnTo>
                  <a:pt x="15611" y="7805"/>
                </a:lnTo>
                <a:lnTo>
                  <a:pt x="15611" y="7804"/>
                </a:lnTo>
                <a:lnTo>
                  <a:pt x="15611" y="7803"/>
                </a:lnTo>
                <a:lnTo>
                  <a:pt x="15608" y="7804"/>
                </a:lnTo>
                <a:close/>
                <a:moveTo>
                  <a:pt x="15476" y="7654"/>
                </a:moveTo>
                <a:lnTo>
                  <a:pt x="15475" y="7654"/>
                </a:lnTo>
                <a:lnTo>
                  <a:pt x="15473" y="7655"/>
                </a:lnTo>
                <a:lnTo>
                  <a:pt x="15476" y="7654"/>
                </a:lnTo>
                <a:close/>
                <a:moveTo>
                  <a:pt x="15380" y="7843"/>
                </a:moveTo>
                <a:lnTo>
                  <a:pt x="15379" y="7843"/>
                </a:lnTo>
                <a:lnTo>
                  <a:pt x="15378" y="7843"/>
                </a:lnTo>
                <a:lnTo>
                  <a:pt x="15377" y="7845"/>
                </a:lnTo>
                <a:lnTo>
                  <a:pt x="15377" y="7847"/>
                </a:lnTo>
                <a:lnTo>
                  <a:pt x="15379" y="7847"/>
                </a:lnTo>
                <a:lnTo>
                  <a:pt x="15380" y="7846"/>
                </a:lnTo>
                <a:lnTo>
                  <a:pt x="15382" y="7845"/>
                </a:lnTo>
                <a:lnTo>
                  <a:pt x="15380" y="7843"/>
                </a:lnTo>
                <a:close/>
                <a:moveTo>
                  <a:pt x="15538" y="8029"/>
                </a:moveTo>
                <a:lnTo>
                  <a:pt x="15536" y="8032"/>
                </a:lnTo>
                <a:lnTo>
                  <a:pt x="15534" y="8034"/>
                </a:lnTo>
                <a:lnTo>
                  <a:pt x="15534" y="8035"/>
                </a:lnTo>
                <a:lnTo>
                  <a:pt x="15537" y="8037"/>
                </a:lnTo>
                <a:lnTo>
                  <a:pt x="15540" y="8034"/>
                </a:lnTo>
                <a:lnTo>
                  <a:pt x="15541" y="8032"/>
                </a:lnTo>
                <a:lnTo>
                  <a:pt x="15541" y="8030"/>
                </a:lnTo>
                <a:lnTo>
                  <a:pt x="15538" y="8029"/>
                </a:lnTo>
                <a:close/>
                <a:moveTo>
                  <a:pt x="15556" y="7646"/>
                </a:moveTo>
                <a:lnTo>
                  <a:pt x="15564" y="7645"/>
                </a:lnTo>
                <a:lnTo>
                  <a:pt x="15568" y="7642"/>
                </a:lnTo>
                <a:lnTo>
                  <a:pt x="15561" y="7643"/>
                </a:lnTo>
                <a:lnTo>
                  <a:pt x="15556" y="7646"/>
                </a:lnTo>
                <a:close/>
                <a:moveTo>
                  <a:pt x="15366" y="7669"/>
                </a:moveTo>
                <a:lnTo>
                  <a:pt x="15374" y="7668"/>
                </a:lnTo>
                <a:lnTo>
                  <a:pt x="15383" y="7666"/>
                </a:lnTo>
                <a:lnTo>
                  <a:pt x="15391" y="7664"/>
                </a:lnTo>
                <a:lnTo>
                  <a:pt x="15396" y="7660"/>
                </a:lnTo>
                <a:lnTo>
                  <a:pt x="15388" y="7663"/>
                </a:lnTo>
                <a:lnTo>
                  <a:pt x="15379" y="7664"/>
                </a:lnTo>
                <a:lnTo>
                  <a:pt x="15371" y="7665"/>
                </a:lnTo>
                <a:lnTo>
                  <a:pt x="15366" y="7669"/>
                </a:lnTo>
                <a:close/>
                <a:moveTo>
                  <a:pt x="15264" y="7804"/>
                </a:moveTo>
                <a:lnTo>
                  <a:pt x="15249" y="7806"/>
                </a:lnTo>
                <a:lnTo>
                  <a:pt x="15233" y="7809"/>
                </a:lnTo>
                <a:lnTo>
                  <a:pt x="15242" y="7813"/>
                </a:lnTo>
                <a:lnTo>
                  <a:pt x="15249" y="7811"/>
                </a:lnTo>
                <a:lnTo>
                  <a:pt x="15258" y="7809"/>
                </a:lnTo>
                <a:lnTo>
                  <a:pt x="15264" y="7804"/>
                </a:lnTo>
                <a:close/>
                <a:moveTo>
                  <a:pt x="15512" y="7813"/>
                </a:moveTo>
                <a:lnTo>
                  <a:pt x="15487" y="7820"/>
                </a:lnTo>
                <a:lnTo>
                  <a:pt x="15461" y="7823"/>
                </a:lnTo>
                <a:lnTo>
                  <a:pt x="15439" y="7828"/>
                </a:lnTo>
                <a:lnTo>
                  <a:pt x="15435" y="7848"/>
                </a:lnTo>
                <a:lnTo>
                  <a:pt x="15487" y="7846"/>
                </a:lnTo>
                <a:lnTo>
                  <a:pt x="15545" y="7825"/>
                </a:lnTo>
                <a:lnTo>
                  <a:pt x="15566" y="7809"/>
                </a:lnTo>
                <a:lnTo>
                  <a:pt x="15512" y="7813"/>
                </a:lnTo>
                <a:close/>
                <a:moveTo>
                  <a:pt x="14693" y="6714"/>
                </a:moveTo>
                <a:lnTo>
                  <a:pt x="14690" y="6715"/>
                </a:lnTo>
                <a:lnTo>
                  <a:pt x="14691" y="6715"/>
                </a:lnTo>
                <a:lnTo>
                  <a:pt x="14693" y="6717"/>
                </a:lnTo>
                <a:lnTo>
                  <a:pt x="14693" y="6715"/>
                </a:lnTo>
                <a:lnTo>
                  <a:pt x="14693" y="6714"/>
                </a:lnTo>
                <a:close/>
                <a:moveTo>
                  <a:pt x="14493" y="7969"/>
                </a:moveTo>
                <a:lnTo>
                  <a:pt x="14491" y="7969"/>
                </a:lnTo>
                <a:lnTo>
                  <a:pt x="14491" y="7969"/>
                </a:lnTo>
                <a:lnTo>
                  <a:pt x="14491" y="7971"/>
                </a:lnTo>
                <a:lnTo>
                  <a:pt x="14491" y="7972"/>
                </a:lnTo>
                <a:lnTo>
                  <a:pt x="14493" y="7969"/>
                </a:lnTo>
                <a:close/>
                <a:moveTo>
                  <a:pt x="15402" y="7278"/>
                </a:moveTo>
                <a:lnTo>
                  <a:pt x="15402" y="7277"/>
                </a:lnTo>
                <a:lnTo>
                  <a:pt x="15402" y="7276"/>
                </a:lnTo>
                <a:lnTo>
                  <a:pt x="15401" y="7274"/>
                </a:lnTo>
                <a:lnTo>
                  <a:pt x="15399" y="7273"/>
                </a:lnTo>
                <a:lnTo>
                  <a:pt x="15398" y="7276"/>
                </a:lnTo>
                <a:lnTo>
                  <a:pt x="15398" y="7278"/>
                </a:lnTo>
                <a:lnTo>
                  <a:pt x="15399" y="7279"/>
                </a:lnTo>
                <a:lnTo>
                  <a:pt x="15402" y="7278"/>
                </a:lnTo>
                <a:close/>
                <a:moveTo>
                  <a:pt x="15266" y="7241"/>
                </a:moveTo>
                <a:lnTo>
                  <a:pt x="15268" y="7242"/>
                </a:lnTo>
                <a:lnTo>
                  <a:pt x="15271" y="7244"/>
                </a:lnTo>
                <a:lnTo>
                  <a:pt x="15275" y="7242"/>
                </a:lnTo>
                <a:lnTo>
                  <a:pt x="15276" y="7240"/>
                </a:lnTo>
                <a:lnTo>
                  <a:pt x="15273" y="7237"/>
                </a:lnTo>
                <a:lnTo>
                  <a:pt x="15271" y="7237"/>
                </a:lnTo>
                <a:lnTo>
                  <a:pt x="15268" y="7237"/>
                </a:lnTo>
                <a:lnTo>
                  <a:pt x="15266" y="7241"/>
                </a:lnTo>
                <a:close/>
                <a:moveTo>
                  <a:pt x="15314" y="7287"/>
                </a:moveTo>
                <a:lnTo>
                  <a:pt x="15317" y="7286"/>
                </a:lnTo>
                <a:lnTo>
                  <a:pt x="15319" y="7283"/>
                </a:lnTo>
                <a:lnTo>
                  <a:pt x="15317" y="7283"/>
                </a:lnTo>
                <a:lnTo>
                  <a:pt x="15313" y="7284"/>
                </a:lnTo>
                <a:lnTo>
                  <a:pt x="15312" y="7286"/>
                </a:lnTo>
                <a:lnTo>
                  <a:pt x="15314" y="7287"/>
                </a:lnTo>
                <a:close/>
                <a:moveTo>
                  <a:pt x="15301" y="6685"/>
                </a:moveTo>
                <a:lnTo>
                  <a:pt x="15280" y="6687"/>
                </a:lnTo>
                <a:lnTo>
                  <a:pt x="15278" y="6687"/>
                </a:lnTo>
                <a:lnTo>
                  <a:pt x="15280" y="6687"/>
                </a:lnTo>
                <a:lnTo>
                  <a:pt x="15285" y="6689"/>
                </a:lnTo>
                <a:lnTo>
                  <a:pt x="15290" y="6690"/>
                </a:lnTo>
                <a:lnTo>
                  <a:pt x="15295" y="6689"/>
                </a:lnTo>
                <a:lnTo>
                  <a:pt x="15301" y="6685"/>
                </a:lnTo>
                <a:close/>
                <a:moveTo>
                  <a:pt x="15280" y="6687"/>
                </a:moveTo>
                <a:lnTo>
                  <a:pt x="15278" y="6686"/>
                </a:lnTo>
                <a:lnTo>
                  <a:pt x="15280" y="6687"/>
                </a:lnTo>
                <a:lnTo>
                  <a:pt x="15280" y="6687"/>
                </a:lnTo>
                <a:close/>
                <a:moveTo>
                  <a:pt x="14204" y="6743"/>
                </a:moveTo>
                <a:lnTo>
                  <a:pt x="14210" y="6743"/>
                </a:lnTo>
                <a:lnTo>
                  <a:pt x="14204" y="6743"/>
                </a:lnTo>
                <a:lnTo>
                  <a:pt x="14206" y="6746"/>
                </a:lnTo>
                <a:lnTo>
                  <a:pt x="14211" y="6747"/>
                </a:lnTo>
                <a:lnTo>
                  <a:pt x="14213" y="6746"/>
                </a:lnTo>
                <a:lnTo>
                  <a:pt x="14204" y="6743"/>
                </a:lnTo>
                <a:close/>
                <a:moveTo>
                  <a:pt x="15248" y="7290"/>
                </a:moveTo>
                <a:lnTo>
                  <a:pt x="15250" y="7295"/>
                </a:lnTo>
                <a:lnTo>
                  <a:pt x="15258" y="7297"/>
                </a:lnTo>
                <a:lnTo>
                  <a:pt x="15266" y="7295"/>
                </a:lnTo>
                <a:lnTo>
                  <a:pt x="15271" y="7290"/>
                </a:lnTo>
                <a:lnTo>
                  <a:pt x="15267" y="7286"/>
                </a:lnTo>
                <a:lnTo>
                  <a:pt x="15259" y="7284"/>
                </a:lnTo>
                <a:lnTo>
                  <a:pt x="15252" y="7286"/>
                </a:lnTo>
                <a:lnTo>
                  <a:pt x="15248" y="7290"/>
                </a:lnTo>
                <a:close/>
                <a:moveTo>
                  <a:pt x="15455" y="7281"/>
                </a:moveTo>
                <a:lnTo>
                  <a:pt x="15468" y="7277"/>
                </a:lnTo>
                <a:lnTo>
                  <a:pt x="15478" y="7276"/>
                </a:lnTo>
                <a:lnTo>
                  <a:pt x="15489" y="7273"/>
                </a:lnTo>
                <a:lnTo>
                  <a:pt x="15498" y="7265"/>
                </a:lnTo>
                <a:lnTo>
                  <a:pt x="15485" y="7268"/>
                </a:lnTo>
                <a:lnTo>
                  <a:pt x="15475" y="7268"/>
                </a:lnTo>
                <a:lnTo>
                  <a:pt x="15466" y="7272"/>
                </a:lnTo>
                <a:lnTo>
                  <a:pt x="15455" y="7281"/>
                </a:lnTo>
                <a:close/>
                <a:moveTo>
                  <a:pt x="15253" y="6689"/>
                </a:moveTo>
                <a:lnTo>
                  <a:pt x="15254" y="6689"/>
                </a:lnTo>
                <a:lnTo>
                  <a:pt x="15254" y="6689"/>
                </a:lnTo>
                <a:lnTo>
                  <a:pt x="15253" y="6687"/>
                </a:lnTo>
                <a:lnTo>
                  <a:pt x="15253" y="6689"/>
                </a:lnTo>
                <a:close/>
                <a:moveTo>
                  <a:pt x="15222" y="6701"/>
                </a:moveTo>
                <a:lnTo>
                  <a:pt x="15238" y="6707"/>
                </a:lnTo>
                <a:lnTo>
                  <a:pt x="15250" y="6705"/>
                </a:lnTo>
                <a:lnTo>
                  <a:pt x="15258" y="6699"/>
                </a:lnTo>
                <a:lnTo>
                  <a:pt x="15253" y="6689"/>
                </a:lnTo>
                <a:lnTo>
                  <a:pt x="15245" y="6690"/>
                </a:lnTo>
                <a:lnTo>
                  <a:pt x="15236" y="6691"/>
                </a:lnTo>
                <a:lnTo>
                  <a:pt x="15229" y="6695"/>
                </a:lnTo>
                <a:lnTo>
                  <a:pt x="15222" y="6701"/>
                </a:lnTo>
                <a:close/>
                <a:moveTo>
                  <a:pt x="15668" y="6134"/>
                </a:moveTo>
                <a:lnTo>
                  <a:pt x="15669" y="6134"/>
                </a:lnTo>
                <a:lnTo>
                  <a:pt x="15667" y="6132"/>
                </a:lnTo>
                <a:lnTo>
                  <a:pt x="15667" y="6134"/>
                </a:lnTo>
                <a:lnTo>
                  <a:pt x="15668" y="6134"/>
                </a:lnTo>
                <a:close/>
                <a:moveTo>
                  <a:pt x="15794" y="6145"/>
                </a:moveTo>
                <a:lnTo>
                  <a:pt x="15798" y="6145"/>
                </a:lnTo>
                <a:lnTo>
                  <a:pt x="15802" y="6145"/>
                </a:lnTo>
                <a:lnTo>
                  <a:pt x="15798" y="6144"/>
                </a:lnTo>
                <a:lnTo>
                  <a:pt x="15794" y="6145"/>
                </a:lnTo>
                <a:close/>
                <a:moveTo>
                  <a:pt x="15711" y="6144"/>
                </a:moveTo>
                <a:lnTo>
                  <a:pt x="15701" y="6141"/>
                </a:lnTo>
                <a:lnTo>
                  <a:pt x="15690" y="6138"/>
                </a:lnTo>
                <a:lnTo>
                  <a:pt x="15680" y="6134"/>
                </a:lnTo>
                <a:lnTo>
                  <a:pt x="15672" y="6134"/>
                </a:lnTo>
                <a:lnTo>
                  <a:pt x="15682" y="6136"/>
                </a:lnTo>
                <a:lnTo>
                  <a:pt x="15696" y="6140"/>
                </a:lnTo>
                <a:lnTo>
                  <a:pt x="15708" y="6144"/>
                </a:lnTo>
                <a:lnTo>
                  <a:pt x="15711" y="6144"/>
                </a:lnTo>
                <a:close/>
                <a:moveTo>
                  <a:pt x="15733" y="6143"/>
                </a:moveTo>
                <a:lnTo>
                  <a:pt x="15727" y="6143"/>
                </a:lnTo>
                <a:lnTo>
                  <a:pt x="15727" y="6143"/>
                </a:lnTo>
                <a:lnTo>
                  <a:pt x="15729" y="6143"/>
                </a:lnTo>
                <a:lnTo>
                  <a:pt x="15733" y="6143"/>
                </a:lnTo>
                <a:lnTo>
                  <a:pt x="15731" y="6139"/>
                </a:lnTo>
                <a:lnTo>
                  <a:pt x="15728" y="6139"/>
                </a:lnTo>
                <a:lnTo>
                  <a:pt x="15728" y="6141"/>
                </a:lnTo>
                <a:lnTo>
                  <a:pt x="15733" y="6143"/>
                </a:lnTo>
                <a:close/>
                <a:moveTo>
                  <a:pt x="14632" y="6588"/>
                </a:moveTo>
                <a:lnTo>
                  <a:pt x="14629" y="6586"/>
                </a:lnTo>
                <a:lnTo>
                  <a:pt x="14625" y="6586"/>
                </a:lnTo>
                <a:lnTo>
                  <a:pt x="14623" y="6588"/>
                </a:lnTo>
                <a:lnTo>
                  <a:pt x="14619" y="6591"/>
                </a:lnTo>
                <a:lnTo>
                  <a:pt x="14623" y="6593"/>
                </a:lnTo>
                <a:lnTo>
                  <a:pt x="14625" y="6593"/>
                </a:lnTo>
                <a:lnTo>
                  <a:pt x="14629" y="6591"/>
                </a:lnTo>
                <a:lnTo>
                  <a:pt x="14632" y="6588"/>
                </a:lnTo>
                <a:close/>
                <a:moveTo>
                  <a:pt x="15802" y="6145"/>
                </a:moveTo>
                <a:lnTo>
                  <a:pt x="15804" y="6145"/>
                </a:lnTo>
                <a:lnTo>
                  <a:pt x="15807" y="6145"/>
                </a:lnTo>
                <a:lnTo>
                  <a:pt x="15804" y="6144"/>
                </a:lnTo>
                <a:lnTo>
                  <a:pt x="15802" y="6145"/>
                </a:lnTo>
                <a:close/>
                <a:moveTo>
                  <a:pt x="15816" y="6153"/>
                </a:moveTo>
                <a:lnTo>
                  <a:pt x="15820" y="6152"/>
                </a:lnTo>
                <a:lnTo>
                  <a:pt x="15825" y="6148"/>
                </a:lnTo>
                <a:lnTo>
                  <a:pt x="15817" y="6145"/>
                </a:lnTo>
                <a:lnTo>
                  <a:pt x="15811" y="6145"/>
                </a:lnTo>
                <a:lnTo>
                  <a:pt x="15810" y="6148"/>
                </a:lnTo>
                <a:lnTo>
                  <a:pt x="15816" y="6153"/>
                </a:lnTo>
                <a:close/>
                <a:moveTo>
                  <a:pt x="14709" y="6625"/>
                </a:moveTo>
                <a:lnTo>
                  <a:pt x="14704" y="6626"/>
                </a:lnTo>
                <a:lnTo>
                  <a:pt x="14705" y="6629"/>
                </a:lnTo>
                <a:lnTo>
                  <a:pt x="14708" y="6629"/>
                </a:lnTo>
                <a:lnTo>
                  <a:pt x="14709" y="6628"/>
                </a:lnTo>
                <a:lnTo>
                  <a:pt x="14709" y="6625"/>
                </a:lnTo>
                <a:close/>
                <a:moveTo>
                  <a:pt x="15008" y="6438"/>
                </a:moveTo>
                <a:lnTo>
                  <a:pt x="15007" y="6435"/>
                </a:lnTo>
                <a:lnTo>
                  <a:pt x="15001" y="6437"/>
                </a:lnTo>
                <a:lnTo>
                  <a:pt x="14997" y="6439"/>
                </a:lnTo>
                <a:lnTo>
                  <a:pt x="15002" y="6441"/>
                </a:lnTo>
                <a:lnTo>
                  <a:pt x="15006" y="6441"/>
                </a:lnTo>
                <a:lnTo>
                  <a:pt x="15008" y="6438"/>
                </a:lnTo>
                <a:close/>
                <a:moveTo>
                  <a:pt x="15989" y="6452"/>
                </a:moveTo>
                <a:lnTo>
                  <a:pt x="15979" y="6451"/>
                </a:lnTo>
                <a:lnTo>
                  <a:pt x="15974" y="6455"/>
                </a:lnTo>
                <a:lnTo>
                  <a:pt x="15975" y="6461"/>
                </a:lnTo>
                <a:lnTo>
                  <a:pt x="15985" y="6462"/>
                </a:lnTo>
                <a:lnTo>
                  <a:pt x="15988" y="6458"/>
                </a:lnTo>
                <a:lnTo>
                  <a:pt x="15989" y="6452"/>
                </a:lnTo>
                <a:close/>
                <a:moveTo>
                  <a:pt x="14789" y="6620"/>
                </a:moveTo>
                <a:lnTo>
                  <a:pt x="14782" y="6620"/>
                </a:lnTo>
                <a:lnTo>
                  <a:pt x="14775" y="6621"/>
                </a:lnTo>
                <a:lnTo>
                  <a:pt x="14768" y="6625"/>
                </a:lnTo>
                <a:lnTo>
                  <a:pt x="14756" y="6629"/>
                </a:lnTo>
                <a:lnTo>
                  <a:pt x="14770" y="6629"/>
                </a:lnTo>
                <a:lnTo>
                  <a:pt x="14779" y="6629"/>
                </a:lnTo>
                <a:lnTo>
                  <a:pt x="14786" y="6628"/>
                </a:lnTo>
                <a:lnTo>
                  <a:pt x="14789" y="6620"/>
                </a:lnTo>
                <a:close/>
                <a:moveTo>
                  <a:pt x="14280" y="6611"/>
                </a:moveTo>
                <a:lnTo>
                  <a:pt x="14270" y="6614"/>
                </a:lnTo>
                <a:lnTo>
                  <a:pt x="14260" y="6615"/>
                </a:lnTo>
                <a:lnTo>
                  <a:pt x="14266" y="6617"/>
                </a:lnTo>
                <a:lnTo>
                  <a:pt x="14270" y="6616"/>
                </a:lnTo>
                <a:lnTo>
                  <a:pt x="14275" y="6614"/>
                </a:lnTo>
                <a:lnTo>
                  <a:pt x="14280" y="6611"/>
                </a:lnTo>
                <a:close/>
                <a:moveTo>
                  <a:pt x="15915" y="6152"/>
                </a:moveTo>
                <a:lnTo>
                  <a:pt x="15908" y="6146"/>
                </a:lnTo>
                <a:lnTo>
                  <a:pt x="15897" y="6145"/>
                </a:lnTo>
                <a:lnTo>
                  <a:pt x="15887" y="6146"/>
                </a:lnTo>
                <a:lnTo>
                  <a:pt x="15876" y="6150"/>
                </a:lnTo>
                <a:lnTo>
                  <a:pt x="15887" y="6157"/>
                </a:lnTo>
                <a:lnTo>
                  <a:pt x="15900" y="6162"/>
                </a:lnTo>
                <a:lnTo>
                  <a:pt x="15909" y="6162"/>
                </a:lnTo>
                <a:lnTo>
                  <a:pt x="15915" y="6152"/>
                </a:lnTo>
                <a:close/>
                <a:moveTo>
                  <a:pt x="14325" y="6670"/>
                </a:moveTo>
                <a:lnTo>
                  <a:pt x="14321" y="6672"/>
                </a:lnTo>
                <a:lnTo>
                  <a:pt x="14316" y="6673"/>
                </a:lnTo>
                <a:lnTo>
                  <a:pt x="14320" y="6671"/>
                </a:lnTo>
                <a:lnTo>
                  <a:pt x="14325" y="6670"/>
                </a:lnTo>
                <a:close/>
                <a:moveTo>
                  <a:pt x="14234" y="6667"/>
                </a:moveTo>
                <a:lnTo>
                  <a:pt x="14284" y="6708"/>
                </a:lnTo>
                <a:lnTo>
                  <a:pt x="14358" y="6695"/>
                </a:lnTo>
                <a:lnTo>
                  <a:pt x="14443" y="6663"/>
                </a:lnTo>
                <a:lnTo>
                  <a:pt x="14525" y="6647"/>
                </a:lnTo>
                <a:lnTo>
                  <a:pt x="14410" y="6648"/>
                </a:lnTo>
                <a:lnTo>
                  <a:pt x="14330" y="6643"/>
                </a:lnTo>
                <a:lnTo>
                  <a:pt x="14274" y="6645"/>
                </a:lnTo>
                <a:lnTo>
                  <a:pt x="14234" y="6667"/>
                </a:lnTo>
                <a:close/>
                <a:moveTo>
                  <a:pt x="15410" y="5916"/>
                </a:moveTo>
                <a:lnTo>
                  <a:pt x="15410" y="5916"/>
                </a:lnTo>
                <a:lnTo>
                  <a:pt x="15411" y="5916"/>
                </a:lnTo>
                <a:lnTo>
                  <a:pt x="15410" y="5916"/>
                </a:lnTo>
                <a:close/>
                <a:moveTo>
                  <a:pt x="15848" y="6111"/>
                </a:moveTo>
                <a:lnTo>
                  <a:pt x="15852" y="6110"/>
                </a:lnTo>
                <a:lnTo>
                  <a:pt x="15853" y="6108"/>
                </a:lnTo>
                <a:lnTo>
                  <a:pt x="15852" y="6110"/>
                </a:lnTo>
                <a:lnTo>
                  <a:pt x="15848" y="6111"/>
                </a:lnTo>
                <a:lnTo>
                  <a:pt x="15845" y="6111"/>
                </a:lnTo>
                <a:lnTo>
                  <a:pt x="15848" y="6111"/>
                </a:lnTo>
                <a:close/>
                <a:moveTo>
                  <a:pt x="14848" y="7436"/>
                </a:moveTo>
                <a:lnTo>
                  <a:pt x="14848" y="7433"/>
                </a:lnTo>
                <a:lnTo>
                  <a:pt x="14848" y="7433"/>
                </a:lnTo>
                <a:lnTo>
                  <a:pt x="14847" y="7433"/>
                </a:lnTo>
                <a:lnTo>
                  <a:pt x="14845" y="7435"/>
                </a:lnTo>
                <a:lnTo>
                  <a:pt x="14848" y="7436"/>
                </a:lnTo>
                <a:close/>
                <a:moveTo>
                  <a:pt x="14293" y="6729"/>
                </a:moveTo>
                <a:lnTo>
                  <a:pt x="14293" y="6727"/>
                </a:lnTo>
                <a:lnTo>
                  <a:pt x="14293" y="6726"/>
                </a:lnTo>
                <a:lnTo>
                  <a:pt x="14292" y="6727"/>
                </a:lnTo>
                <a:lnTo>
                  <a:pt x="14289" y="6728"/>
                </a:lnTo>
                <a:lnTo>
                  <a:pt x="14293" y="6729"/>
                </a:lnTo>
                <a:close/>
                <a:moveTo>
                  <a:pt x="14532" y="6584"/>
                </a:moveTo>
                <a:lnTo>
                  <a:pt x="14531" y="6584"/>
                </a:lnTo>
                <a:lnTo>
                  <a:pt x="14528" y="6586"/>
                </a:lnTo>
                <a:lnTo>
                  <a:pt x="14528" y="6586"/>
                </a:lnTo>
                <a:lnTo>
                  <a:pt x="14528" y="6588"/>
                </a:lnTo>
                <a:lnTo>
                  <a:pt x="14530" y="6588"/>
                </a:lnTo>
                <a:lnTo>
                  <a:pt x="14531" y="6588"/>
                </a:lnTo>
                <a:lnTo>
                  <a:pt x="14532" y="6587"/>
                </a:lnTo>
                <a:lnTo>
                  <a:pt x="14532" y="6584"/>
                </a:lnTo>
                <a:close/>
                <a:moveTo>
                  <a:pt x="14933" y="6503"/>
                </a:moveTo>
                <a:lnTo>
                  <a:pt x="14933" y="6502"/>
                </a:lnTo>
                <a:lnTo>
                  <a:pt x="14933" y="6500"/>
                </a:lnTo>
                <a:lnTo>
                  <a:pt x="14933" y="6500"/>
                </a:lnTo>
                <a:lnTo>
                  <a:pt x="14933" y="6502"/>
                </a:lnTo>
                <a:lnTo>
                  <a:pt x="14933" y="6502"/>
                </a:lnTo>
                <a:lnTo>
                  <a:pt x="14932" y="6503"/>
                </a:lnTo>
                <a:lnTo>
                  <a:pt x="14933" y="6503"/>
                </a:lnTo>
                <a:lnTo>
                  <a:pt x="14933" y="6503"/>
                </a:lnTo>
                <a:close/>
                <a:moveTo>
                  <a:pt x="15178" y="5985"/>
                </a:moveTo>
                <a:lnTo>
                  <a:pt x="15182" y="5991"/>
                </a:lnTo>
                <a:lnTo>
                  <a:pt x="15186" y="5994"/>
                </a:lnTo>
                <a:lnTo>
                  <a:pt x="15191" y="5992"/>
                </a:lnTo>
                <a:lnTo>
                  <a:pt x="15197" y="5991"/>
                </a:lnTo>
                <a:lnTo>
                  <a:pt x="15194" y="5985"/>
                </a:lnTo>
                <a:lnTo>
                  <a:pt x="15191" y="5984"/>
                </a:lnTo>
                <a:lnTo>
                  <a:pt x="15184" y="5984"/>
                </a:lnTo>
                <a:lnTo>
                  <a:pt x="15178" y="5985"/>
                </a:lnTo>
                <a:close/>
                <a:moveTo>
                  <a:pt x="6943" y="1192"/>
                </a:moveTo>
                <a:lnTo>
                  <a:pt x="6941" y="1192"/>
                </a:lnTo>
                <a:lnTo>
                  <a:pt x="6940" y="1192"/>
                </a:lnTo>
                <a:lnTo>
                  <a:pt x="6940" y="1194"/>
                </a:lnTo>
                <a:lnTo>
                  <a:pt x="6941" y="1195"/>
                </a:lnTo>
                <a:lnTo>
                  <a:pt x="6943" y="1192"/>
                </a:lnTo>
                <a:close/>
                <a:moveTo>
                  <a:pt x="6819" y="1164"/>
                </a:moveTo>
                <a:lnTo>
                  <a:pt x="6816" y="1164"/>
                </a:lnTo>
                <a:lnTo>
                  <a:pt x="6815" y="1166"/>
                </a:lnTo>
                <a:lnTo>
                  <a:pt x="6815" y="1166"/>
                </a:lnTo>
                <a:lnTo>
                  <a:pt x="6816" y="1168"/>
                </a:lnTo>
                <a:lnTo>
                  <a:pt x="6819" y="1164"/>
                </a:lnTo>
                <a:close/>
                <a:moveTo>
                  <a:pt x="6339" y="1364"/>
                </a:moveTo>
                <a:lnTo>
                  <a:pt x="6342" y="1362"/>
                </a:lnTo>
                <a:lnTo>
                  <a:pt x="6340" y="1362"/>
                </a:lnTo>
                <a:lnTo>
                  <a:pt x="6339" y="1362"/>
                </a:lnTo>
                <a:lnTo>
                  <a:pt x="6337" y="1363"/>
                </a:lnTo>
                <a:lnTo>
                  <a:pt x="6339" y="1364"/>
                </a:lnTo>
                <a:close/>
                <a:moveTo>
                  <a:pt x="6195" y="1321"/>
                </a:moveTo>
                <a:lnTo>
                  <a:pt x="6193" y="1318"/>
                </a:lnTo>
                <a:lnTo>
                  <a:pt x="6192" y="1318"/>
                </a:lnTo>
                <a:lnTo>
                  <a:pt x="6192" y="1320"/>
                </a:lnTo>
                <a:lnTo>
                  <a:pt x="6191" y="1321"/>
                </a:lnTo>
                <a:lnTo>
                  <a:pt x="6195" y="1321"/>
                </a:lnTo>
                <a:close/>
                <a:moveTo>
                  <a:pt x="6998" y="1071"/>
                </a:moveTo>
                <a:lnTo>
                  <a:pt x="6984" y="1085"/>
                </a:lnTo>
                <a:lnTo>
                  <a:pt x="6984" y="1087"/>
                </a:lnTo>
                <a:lnTo>
                  <a:pt x="6984" y="1085"/>
                </a:lnTo>
                <a:lnTo>
                  <a:pt x="6991" y="1083"/>
                </a:lnTo>
                <a:lnTo>
                  <a:pt x="6997" y="1079"/>
                </a:lnTo>
                <a:lnTo>
                  <a:pt x="7001" y="1076"/>
                </a:lnTo>
                <a:lnTo>
                  <a:pt x="6998" y="1071"/>
                </a:lnTo>
                <a:close/>
                <a:moveTo>
                  <a:pt x="6984" y="1085"/>
                </a:moveTo>
                <a:lnTo>
                  <a:pt x="6984" y="1085"/>
                </a:lnTo>
                <a:lnTo>
                  <a:pt x="6983" y="1087"/>
                </a:lnTo>
                <a:lnTo>
                  <a:pt x="6984" y="1085"/>
                </a:lnTo>
                <a:close/>
                <a:moveTo>
                  <a:pt x="6761" y="1097"/>
                </a:moveTo>
                <a:lnTo>
                  <a:pt x="6764" y="1096"/>
                </a:lnTo>
                <a:lnTo>
                  <a:pt x="6765" y="1096"/>
                </a:lnTo>
                <a:lnTo>
                  <a:pt x="6765" y="1094"/>
                </a:lnTo>
                <a:lnTo>
                  <a:pt x="6765" y="1092"/>
                </a:lnTo>
                <a:lnTo>
                  <a:pt x="6763" y="1092"/>
                </a:lnTo>
                <a:lnTo>
                  <a:pt x="6761" y="1092"/>
                </a:lnTo>
                <a:lnTo>
                  <a:pt x="6760" y="1094"/>
                </a:lnTo>
                <a:lnTo>
                  <a:pt x="6761" y="1097"/>
                </a:lnTo>
                <a:close/>
                <a:moveTo>
                  <a:pt x="6863" y="1276"/>
                </a:moveTo>
                <a:lnTo>
                  <a:pt x="6866" y="1275"/>
                </a:lnTo>
                <a:lnTo>
                  <a:pt x="6866" y="1272"/>
                </a:lnTo>
                <a:lnTo>
                  <a:pt x="6863" y="1271"/>
                </a:lnTo>
                <a:lnTo>
                  <a:pt x="6861" y="1269"/>
                </a:lnTo>
                <a:lnTo>
                  <a:pt x="6859" y="1271"/>
                </a:lnTo>
                <a:lnTo>
                  <a:pt x="6859" y="1272"/>
                </a:lnTo>
                <a:lnTo>
                  <a:pt x="6861" y="1275"/>
                </a:lnTo>
                <a:lnTo>
                  <a:pt x="6863" y="1276"/>
                </a:lnTo>
                <a:close/>
                <a:moveTo>
                  <a:pt x="6732" y="1199"/>
                </a:moveTo>
                <a:lnTo>
                  <a:pt x="6731" y="1197"/>
                </a:lnTo>
                <a:lnTo>
                  <a:pt x="6729" y="1197"/>
                </a:lnTo>
                <a:lnTo>
                  <a:pt x="6728" y="1199"/>
                </a:lnTo>
                <a:lnTo>
                  <a:pt x="6728" y="1201"/>
                </a:lnTo>
                <a:lnTo>
                  <a:pt x="6732" y="1199"/>
                </a:lnTo>
                <a:close/>
                <a:moveTo>
                  <a:pt x="6190" y="1359"/>
                </a:moveTo>
                <a:lnTo>
                  <a:pt x="6186" y="1359"/>
                </a:lnTo>
                <a:lnTo>
                  <a:pt x="6183" y="1360"/>
                </a:lnTo>
                <a:lnTo>
                  <a:pt x="6182" y="1362"/>
                </a:lnTo>
                <a:lnTo>
                  <a:pt x="6184" y="1365"/>
                </a:lnTo>
                <a:lnTo>
                  <a:pt x="6187" y="1365"/>
                </a:lnTo>
                <a:lnTo>
                  <a:pt x="6190" y="1364"/>
                </a:lnTo>
                <a:lnTo>
                  <a:pt x="6190" y="1362"/>
                </a:lnTo>
                <a:lnTo>
                  <a:pt x="6190" y="1359"/>
                </a:lnTo>
                <a:close/>
                <a:moveTo>
                  <a:pt x="6181" y="1447"/>
                </a:moveTo>
                <a:lnTo>
                  <a:pt x="6182" y="1444"/>
                </a:lnTo>
                <a:lnTo>
                  <a:pt x="6184" y="1442"/>
                </a:lnTo>
                <a:lnTo>
                  <a:pt x="6181" y="1443"/>
                </a:lnTo>
                <a:lnTo>
                  <a:pt x="6179" y="1443"/>
                </a:lnTo>
                <a:lnTo>
                  <a:pt x="6178" y="1444"/>
                </a:lnTo>
                <a:lnTo>
                  <a:pt x="6181" y="1447"/>
                </a:lnTo>
                <a:close/>
                <a:moveTo>
                  <a:pt x="6257" y="1303"/>
                </a:moveTo>
                <a:lnTo>
                  <a:pt x="6254" y="1303"/>
                </a:lnTo>
                <a:lnTo>
                  <a:pt x="6253" y="1303"/>
                </a:lnTo>
                <a:lnTo>
                  <a:pt x="6253" y="1306"/>
                </a:lnTo>
                <a:lnTo>
                  <a:pt x="6253" y="1308"/>
                </a:lnTo>
                <a:lnTo>
                  <a:pt x="6256" y="1308"/>
                </a:lnTo>
                <a:lnTo>
                  <a:pt x="6257" y="1307"/>
                </a:lnTo>
                <a:lnTo>
                  <a:pt x="6257" y="1306"/>
                </a:lnTo>
                <a:lnTo>
                  <a:pt x="6257" y="1303"/>
                </a:lnTo>
                <a:close/>
                <a:moveTo>
                  <a:pt x="6279" y="1345"/>
                </a:moveTo>
                <a:lnTo>
                  <a:pt x="6284" y="1349"/>
                </a:lnTo>
                <a:lnTo>
                  <a:pt x="6288" y="1346"/>
                </a:lnTo>
                <a:lnTo>
                  <a:pt x="6286" y="1341"/>
                </a:lnTo>
                <a:lnTo>
                  <a:pt x="6280" y="1341"/>
                </a:lnTo>
                <a:lnTo>
                  <a:pt x="6279" y="1342"/>
                </a:lnTo>
                <a:lnTo>
                  <a:pt x="6279" y="1345"/>
                </a:lnTo>
                <a:close/>
                <a:moveTo>
                  <a:pt x="6397" y="1404"/>
                </a:moveTo>
                <a:lnTo>
                  <a:pt x="6395" y="1407"/>
                </a:lnTo>
                <a:lnTo>
                  <a:pt x="6396" y="1411"/>
                </a:lnTo>
                <a:lnTo>
                  <a:pt x="6398" y="1414"/>
                </a:lnTo>
                <a:lnTo>
                  <a:pt x="6403" y="1414"/>
                </a:lnTo>
                <a:lnTo>
                  <a:pt x="6406" y="1409"/>
                </a:lnTo>
                <a:lnTo>
                  <a:pt x="6406" y="1405"/>
                </a:lnTo>
                <a:lnTo>
                  <a:pt x="6402" y="1404"/>
                </a:lnTo>
                <a:lnTo>
                  <a:pt x="6397" y="1404"/>
                </a:lnTo>
                <a:close/>
                <a:moveTo>
                  <a:pt x="1129" y="3986"/>
                </a:moveTo>
                <a:lnTo>
                  <a:pt x="1130" y="3985"/>
                </a:lnTo>
                <a:lnTo>
                  <a:pt x="1131" y="3985"/>
                </a:lnTo>
                <a:lnTo>
                  <a:pt x="1131" y="3984"/>
                </a:lnTo>
                <a:lnTo>
                  <a:pt x="1129" y="3981"/>
                </a:lnTo>
                <a:lnTo>
                  <a:pt x="1129" y="3986"/>
                </a:lnTo>
                <a:close/>
                <a:moveTo>
                  <a:pt x="2303" y="2771"/>
                </a:moveTo>
                <a:lnTo>
                  <a:pt x="2302" y="2774"/>
                </a:lnTo>
                <a:lnTo>
                  <a:pt x="2302" y="2777"/>
                </a:lnTo>
                <a:lnTo>
                  <a:pt x="2302" y="2780"/>
                </a:lnTo>
                <a:lnTo>
                  <a:pt x="2305" y="2781"/>
                </a:lnTo>
                <a:lnTo>
                  <a:pt x="2307" y="2777"/>
                </a:lnTo>
                <a:lnTo>
                  <a:pt x="2308" y="2773"/>
                </a:lnTo>
                <a:lnTo>
                  <a:pt x="2307" y="2771"/>
                </a:lnTo>
                <a:lnTo>
                  <a:pt x="2303" y="2771"/>
                </a:lnTo>
                <a:close/>
                <a:moveTo>
                  <a:pt x="1206" y="3898"/>
                </a:moveTo>
                <a:lnTo>
                  <a:pt x="1204" y="3901"/>
                </a:lnTo>
                <a:lnTo>
                  <a:pt x="1201" y="3902"/>
                </a:lnTo>
                <a:lnTo>
                  <a:pt x="1200" y="3905"/>
                </a:lnTo>
                <a:lnTo>
                  <a:pt x="1202" y="3909"/>
                </a:lnTo>
                <a:lnTo>
                  <a:pt x="1206" y="3906"/>
                </a:lnTo>
                <a:lnTo>
                  <a:pt x="1209" y="3904"/>
                </a:lnTo>
                <a:lnTo>
                  <a:pt x="1209" y="3901"/>
                </a:lnTo>
                <a:lnTo>
                  <a:pt x="1206" y="3898"/>
                </a:lnTo>
                <a:close/>
                <a:moveTo>
                  <a:pt x="6659" y="1122"/>
                </a:moveTo>
                <a:lnTo>
                  <a:pt x="6652" y="1118"/>
                </a:lnTo>
                <a:lnTo>
                  <a:pt x="6647" y="1120"/>
                </a:lnTo>
                <a:lnTo>
                  <a:pt x="6640" y="1124"/>
                </a:lnTo>
                <a:lnTo>
                  <a:pt x="6630" y="1129"/>
                </a:lnTo>
                <a:lnTo>
                  <a:pt x="6640" y="1129"/>
                </a:lnTo>
                <a:lnTo>
                  <a:pt x="6648" y="1127"/>
                </a:lnTo>
                <a:lnTo>
                  <a:pt x="6654" y="1127"/>
                </a:lnTo>
                <a:lnTo>
                  <a:pt x="6659" y="1122"/>
                </a:lnTo>
                <a:close/>
                <a:moveTo>
                  <a:pt x="2839" y="2319"/>
                </a:moveTo>
                <a:lnTo>
                  <a:pt x="2838" y="2326"/>
                </a:lnTo>
                <a:lnTo>
                  <a:pt x="2841" y="2328"/>
                </a:lnTo>
                <a:lnTo>
                  <a:pt x="2845" y="2325"/>
                </a:lnTo>
                <a:lnTo>
                  <a:pt x="2844" y="2318"/>
                </a:lnTo>
                <a:lnTo>
                  <a:pt x="2841" y="2318"/>
                </a:lnTo>
                <a:lnTo>
                  <a:pt x="2839" y="2319"/>
                </a:lnTo>
                <a:close/>
                <a:moveTo>
                  <a:pt x="5986" y="1466"/>
                </a:moveTo>
                <a:lnTo>
                  <a:pt x="5996" y="1468"/>
                </a:lnTo>
                <a:lnTo>
                  <a:pt x="6004" y="1465"/>
                </a:lnTo>
                <a:lnTo>
                  <a:pt x="6009" y="1456"/>
                </a:lnTo>
                <a:lnTo>
                  <a:pt x="6009" y="1443"/>
                </a:lnTo>
                <a:lnTo>
                  <a:pt x="6001" y="1448"/>
                </a:lnTo>
                <a:lnTo>
                  <a:pt x="5993" y="1453"/>
                </a:lnTo>
                <a:lnTo>
                  <a:pt x="5988" y="1458"/>
                </a:lnTo>
                <a:lnTo>
                  <a:pt x="5986" y="1466"/>
                </a:lnTo>
                <a:close/>
                <a:moveTo>
                  <a:pt x="6312" y="1320"/>
                </a:moveTo>
                <a:lnTo>
                  <a:pt x="6328" y="1326"/>
                </a:lnTo>
                <a:lnTo>
                  <a:pt x="6341" y="1327"/>
                </a:lnTo>
                <a:lnTo>
                  <a:pt x="6353" y="1325"/>
                </a:lnTo>
                <a:lnTo>
                  <a:pt x="6363" y="1318"/>
                </a:lnTo>
                <a:lnTo>
                  <a:pt x="6351" y="1311"/>
                </a:lnTo>
                <a:lnTo>
                  <a:pt x="6341" y="1311"/>
                </a:lnTo>
                <a:lnTo>
                  <a:pt x="6328" y="1314"/>
                </a:lnTo>
                <a:lnTo>
                  <a:pt x="6312" y="1320"/>
                </a:lnTo>
                <a:close/>
                <a:moveTo>
                  <a:pt x="6982" y="1087"/>
                </a:moveTo>
                <a:lnTo>
                  <a:pt x="6963" y="1069"/>
                </a:lnTo>
                <a:lnTo>
                  <a:pt x="6932" y="1066"/>
                </a:lnTo>
                <a:lnTo>
                  <a:pt x="6905" y="1076"/>
                </a:lnTo>
                <a:lnTo>
                  <a:pt x="6895" y="1102"/>
                </a:lnTo>
                <a:lnTo>
                  <a:pt x="6918" y="1102"/>
                </a:lnTo>
                <a:lnTo>
                  <a:pt x="6940" y="1098"/>
                </a:lnTo>
                <a:lnTo>
                  <a:pt x="6961" y="1092"/>
                </a:lnTo>
                <a:lnTo>
                  <a:pt x="6982" y="1087"/>
                </a:lnTo>
                <a:close/>
                <a:moveTo>
                  <a:pt x="7003" y="1135"/>
                </a:moveTo>
                <a:lnTo>
                  <a:pt x="7003" y="1118"/>
                </a:lnTo>
                <a:lnTo>
                  <a:pt x="6973" y="1121"/>
                </a:lnTo>
                <a:lnTo>
                  <a:pt x="6932" y="1129"/>
                </a:lnTo>
                <a:lnTo>
                  <a:pt x="6903" y="1131"/>
                </a:lnTo>
                <a:lnTo>
                  <a:pt x="6924" y="1146"/>
                </a:lnTo>
                <a:lnTo>
                  <a:pt x="6950" y="1148"/>
                </a:lnTo>
                <a:lnTo>
                  <a:pt x="6977" y="1143"/>
                </a:lnTo>
                <a:lnTo>
                  <a:pt x="7003" y="1135"/>
                </a:lnTo>
                <a:close/>
                <a:moveTo>
                  <a:pt x="6903" y="1131"/>
                </a:moveTo>
                <a:lnTo>
                  <a:pt x="6895" y="1135"/>
                </a:lnTo>
                <a:lnTo>
                  <a:pt x="6886" y="1139"/>
                </a:lnTo>
                <a:lnTo>
                  <a:pt x="6880" y="1144"/>
                </a:lnTo>
                <a:lnTo>
                  <a:pt x="6880" y="1149"/>
                </a:lnTo>
                <a:lnTo>
                  <a:pt x="6891" y="1140"/>
                </a:lnTo>
                <a:lnTo>
                  <a:pt x="6903" y="1131"/>
                </a:lnTo>
                <a:close/>
                <a:moveTo>
                  <a:pt x="2988" y="2220"/>
                </a:moveTo>
                <a:lnTo>
                  <a:pt x="2962" y="2211"/>
                </a:lnTo>
                <a:lnTo>
                  <a:pt x="2926" y="2230"/>
                </a:lnTo>
                <a:lnTo>
                  <a:pt x="2892" y="2264"/>
                </a:lnTo>
                <a:lnTo>
                  <a:pt x="2881" y="2300"/>
                </a:lnTo>
                <a:lnTo>
                  <a:pt x="2910" y="2281"/>
                </a:lnTo>
                <a:lnTo>
                  <a:pt x="2938" y="2263"/>
                </a:lnTo>
                <a:lnTo>
                  <a:pt x="2965" y="2244"/>
                </a:lnTo>
                <a:lnTo>
                  <a:pt x="2988" y="2220"/>
                </a:lnTo>
                <a:close/>
                <a:moveTo>
                  <a:pt x="6518" y="1237"/>
                </a:moveTo>
                <a:lnTo>
                  <a:pt x="6498" y="1283"/>
                </a:lnTo>
                <a:lnTo>
                  <a:pt x="6558" y="1284"/>
                </a:lnTo>
                <a:lnTo>
                  <a:pt x="6637" y="1258"/>
                </a:lnTo>
                <a:lnTo>
                  <a:pt x="6676" y="1222"/>
                </a:lnTo>
                <a:lnTo>
                  <a:pt x="6651" y="1205"/>
                </a:lnTo>
                <a:lnTo>
                  <a:pt x="6607" y="1211"/>
                </a:lnTo>
                <a:lnTo>
                  <a:pt x="6560" y="1227"/>
                </a:lnTo>
                <a:lnTo>
                  <a:pt x="6518" y="1237"/>
                </a:lnTo>
                <a:close/>
                <a:moveTo>
                  <a:pt x="2737" y="4777"/>
                </a:moveTo>
                <a:lnTo>
                  <a:pt x="2740" y="4776"/>
                </a:lnTo>
                <a:lnTo>
                  <a:pt x="2740" y="4776"/>
                </a:lnTo>
                <a:lnTo>
                  <a:pt x="2740" y="4774"/>
                </a:lnTo>
                <a:lnTo>
                  <a:pt x="2737" y="4773"/>
                </a:lnTo>
                <a:lnTo>
                  <a:pt x="2737" y="4777"/>
                </a:lnTo>
                <a:close/>
                <a:moveTo>
                  <a:pt x="2815" y="4755"/>
                </a:moveTo>
                <a:lnTo>
                  <a:pt x="2816" y="4754"/>
                </a:lnTo>
                <a:lnTo>
                  <a:pt x="2815" y="4755"/>
                </a:lnTo>
                <a:lnTo>
                  <a:pt x="2815" y="4755"/>
                </a:lnTo>
                <a:lnTo>
                  <a:pt x="2815" y="4755"/>
                </a:lnTo>
                <a:lnTo>
                  <a:pt x="2815" y="4755"/>
                </a:lnTo>
                <a:lnTo>
                  <a:pt x="2816" y="4755"/>
                </a:lnTo>
                <a:lnTo>
                  <a:pt x="2815" y="4755"/>
                </a:lnTo>
                <a:lnTo>
                  <a:pt x="2816" y="4755"/>
                </a:lnTo>
                <a:lnTo>
                  <a:pt x="2815" y="4755"/>
                </a:lnTo>
                <a:close/>
                <a:moveTo>
                  <a:pt x="2835" y="4728"/>
                </a:moveTo>
                <a:lnTo>
                  <a:pt x="2826" y="4741"/>
                </a:lnTo>
                <a:lnTo>
                  <a:pt x="2817" y="4754"/>
                </a:lnTo>
                <a:lnTo>
                  <a:pt x="2825" y="4748"/>
                </a:lnTo>
                <a:lnTo>
                  <a:pt x="2830" y="4742"/>
                </a:lnTo>
                <a:lnTo>
                  <a:pt x="2833" y="4737"/>
                </a:lnTo>
                <a:lnTo>
                  <a:pt x="2835" y="4728"/>
                </a:lnTo>
                <a:close/>
                <a:moveTo>
                  <a:pt x="1243" y="6525"/>
                </a:moveTo>
                <a:lnTo>
                  <a:pt x="1242" y="6525"/>
                </a:lnTo>
                <a:lnTo>
                  <a:pt x="1243" y="6525"/>
                </a:lnTo>
                <a:lnTo>
                  <a:pt x="1243" y="6525"/>
                </a:lnTo>
                <a:lnTo>
                  <a:pt x="1243" y="6525"/>
                </a:lnTo>
                <a:lnTo>
                  <a:pt x="1242" y="6525"/>
                </a:lnTo>
                <a:lnTo>
                  <a:pt x="1242" y="6525"/>
                </a:lnTo>
                <a:lnTo>
                  <a:pt x="1242" y="6525"/>
                </a:lnTo>
                <a:lnTo>
                  <a:pt x="1242" y="6525"/>
                </a:lnTo>
                <a:lnTo>
                  <a:pt x="1243" y="6525"/>
                </a:lnTo>
                <a:close/>
                <a:moveTo>
                  <a:pt x="1237" y="6530"/>
                </a:moveTo>
                <a:lnTo>
                  <a:pt x="1239" y="6527"/>
                </a:lnTo>
                <a:lnTo>
                  <a:pt x="1241" y="6526"/>
                </a:lnTo>
                <a:lnTo>
                  <a:pt x="1238" y="6527"/>
                </a:lnTo>
                <a:lnTo>
                  <a:pt x="1237" y="6530"/>
                </a:lnTo>
                <a:close/>
                <a:moveTo>
                  <a:pt x="952" y="5628"/>
                </a:moveTo>
                <a:lnTo>
                  <a:pt x="953" y="5628"/>
                </a:lnTo>
                <a:lnTo>
                  <a:pt x="952" y="5628"/>
                </a:lnTo>
                <a:lnTo>
                  <a:pt x="953" y="5630"/>
                </a:lnTo>
                <a:lnTo>
                  <a:pt x="952" y="5628"/>
                </a:lnTo>
                <a:close/>
                <a:moveTo>
                  <a:pt x="949" y="5639"/>
                </a:moveTo>
                <a:lnTo>
                  <a:pt x="953" y="5637"/>
                </a:lnTo>
                <a:lnTo>
                  <a:pt x="954" y="5636"/>
                </a:lnTo>
                <a:lnTo>
                  <a:pt x="953" y="5633"/>
                </a:lnTo>
                <a:lnTo>
                  <a:pt x="952" y="5630"/>
                </a:lnTo>
                <a:lnTo>
                  <a:pt x="950" y="5632"/>
                </a:lnTo>
                <a:lnTo>
                  <a:pt x="949" y="5635"/>
                </a:lnTo>
                <a:lnTo>
                  <a:pt x="949" y="5636"/>
                </a:lnTo>
                <a:lnTo>
                  <a:pt x="949" y="5639"/>
                </a:lnTo>
                <a:close/>
                <a:moveTo>
                  <a:pt x="6331" y="1262"/>
                </a:moveTo>
                <a:lnTo>
                  <a:pt x="6330" y="1264"/>
                </a:lnTo>
                <a:lnTo>
                  <a:pt x="6328" y="1264"/>
                </a:lnTo>
                <a:lnTo>
                  <a:pt x="6328" y="1265"/>
                </a:lnTo>
                <a:lnTo>
                  <a:pt x="6330" y="1266"/>
                </a:lnTo>
                <a:lnTo>
                  <a:pt x="6331" y="1266"/>
                </a:lnTo>
                <a:lnTo>
                  <a:pt x="6332" y="1265"/>
                </a:lnTo>
                <a:lnTo>
                  <a:pt x="6332" y="1265"/>
                </a:lnTo>
                <a:lnTo>
                  <a:pt x="6331" y="1262"/>
                </a:lnTo>
                <a:close/>
                <a:moveTo>
                  <a:pt x="899" y="5695"/>
                </a:moveTo>
                <a:lnTo>
                  <a:pt x="906" y="5692"/>
                </a:lnTo>
                <a:lnTo>
                  <a:pt x="911" y="5687"/>
                </a:lnTo>
                <a:lnTo>
                  <a:pt x="912" y="5681"/>
                </a:lnTo>
                <a:lnTo>
                  <a:pt x="908" y="5675"/>
                </a:lnTo>
                <a:lnTo>
                  <a:pt x="904" y="5681"/>
                </a:lnTo>
                <a:lnTo>
                  <a:pt x="901" y="5684"/>
                </a:lnTo>
                <a:lnTo>
                  <a:pt x="898" y="5689"/>
                </a:lnTo>
                <a:lnTo>
                  <a:pt x="899" y="5695"/>
                </a:lnTo>
                <a:close/>
                <a:moveTo>
                  <a:pt x="972" y="5593"/>
                </a:moveTo>
                <a:lnTo>
                  <a:pt x="962" y="5602"/>
                </a:lnTo>
                <a:lnTo>
                  <a:pt x="955" y="5609"/>
                </a:lnTo>
                <a:lnTo>
                  <a:pt x="952" y="5618"/>
                </a:lnTo>
                <a:lnTo>
                  <a:pt x="953" y="5628"/>
                </a:lnTo>
                <a:lnTo>
                  <a:pt x="961" y="5623"/>
                </a:lnTo>
                <a:lnTo>
                  <a:pt x="967" y="5616"/>
                </a:lnTo>
                <a:lnTo>
                  <a:pt x="969" y="5605"/>
                </a:lnTo>
                <a:lnTo>
                  <a:pt x="972" y="5593"/>
                </a:lnTo>
                <a:close/>
                <a:moveTo>
                  <a:pt x="1121" y="6216"/>
                </a:moveTo>
                <a:lnTo>
                  <a:pt x="1126" y="6220"/>
                </a:lnTo>
                <a:lnTo>
                  <a:pt x="1130" y="6219"/>
                </a:lnTo>
                <a:lnTo>
                  <a:pt x="1136" y="6213"/>
                </a:lnTo>
                <a:lnTo>
                  <a:pt x="1146" y="6200"/>
                </a:lnTo>
                <a:lnTo>
                  <a:pt x="1139" y="6202"/>
                </a:lnTo>
                <a:lnTo>
                  <a:pt x="1131" y="6204"/>
                </a:lnTo>
                <a:lnTo>
                  <a:pt x="1125" y="6208"/>
                </a:lnTo>
                <a:lnTo>
                  <a:pt x="1121" y="6216"/>
                </a:lnTo>
                <a:close/>
                <a:moveTo>
                  <a:pt x="6824" y="837"/>
                </a:moveTo>
                <a:lnTo>
                  <a:pt x="6824" y="836"/>
                </a:lnTo>
                <a:lnTo>
                  <a:pt x="6821" y="837"/>
                </a:lnTo>
                <a:lnTo>
                  <a:pt x="6822" y="837"/>
                </a:lnTo>
                <a:lnTo>
                  <a:pt x="6824" y="837"/>
                </a:lnTo>
                <a:close/>
                <a:moveTo>
                  <a:pt x="6946" y="805"/>
                </a:moveTo>
                <a:lnTo>
                  <a:pt x="6950" y="803"/>
                </a:lnTo>
                <a:lnTo>
                  <a:pt x="6952" y="801"/>
                </a:lnTo>
                <a:lnTo>
                  <a:pt x="6956" y="801"/>
                </a:lnTo>
                <a:lnTo>
                  <a:pt x="6959" y="800"/>
                </a:lnTo>
                <a:lnTo>
                  <a:pt x="6955" y="800"/>
                </a:lnTo>
                <a:lnTo>
                  <a:pt x="6952" y="801"/>
                </a:lnTo>
                <a:lnTo>
                  <a:pt x="6950" y="803"/>
                </a:lnTo>
                <a:lnTo>
                  <a:pt x="6946" y="805"/>
                </a:lnTo>
                <a:close/>
                <a:moveTo>
                  <a:pt x="1168" y="6075"/>
                </a:moveTo>
                <a:lnTo>
                  <a:pt x="1167" y="6073"/>
                </a:lnTo>
                <a:lnTo>
                  <a:pt x="1166" y="6071"/>
                </a:lnTo>
                <a:lnTo>
                  <a:pt x="1164" y="6073"/>
                </a:lnTo>
                <a:lnTo>
                  <a:pt x="1163" y="6075"/>
                </a:lnTo>
                <a:lnTo>
                  <a:pt x="1168" y="6075"/>
                </a:lnTo>
                <a:close/>
                <a:moveTo>
                  <a:pt x="992" y="6569"/>
                </a:moveTo>
                <a:lnTo>
                  <a:pt x="994" y="6564"/>
                </a:lnTo>
                <a:lnTo>
                  <a:pt x="992" y="6564"/>
                </a:lnTo>
                <a:lnTo>
                  <a:pt x="990" y="6567"/>
                </a:lnTo>
                <a:lnTo>
                  <a:pt x="987" y="6570"/>
                </a:lnTo>
                <a:lnTo>
                  <a:pt x="990" y="6570"/>
                </a:lnTo>
                <a:lnTo>
                  <a:pt x="992" y="6569"/>
                </a:lnTo>
                <a:close/>
                <a:moveTo>
                  <a:pt x="994" y="6561"/>
                </a:moveTo>
                <a:lnTo>
                  <a:pt x="996" y="6559"/>
                </a:lnTo>
                <a:lnTo>
                  <a:pt x="996" y="6555"/>
                </a:lnTo>
                <a:lnTo>
                  <a:pt x="995" y="6558"/>
                </a:lnTo>
                <a:lnTo>
                  <a:pt x="994" y="6561"/>
                </a:lnTo>
                <a:close/>
                <a:moveTo>
                  <a:pt x="6867" y="832"/>
                </a:moveTo>
                <a:lnTo>
                  <a:pt x="6857" y="832"/>
                </a:lnTo>
                <a:lnTo>
                  <a:pt x="6845" y="832"/>
                </a:lnTo>
                <a:lnTo>
                  <a:pt x="6834" y="833"/>
                </a:lnTo>
                <a:lnTo>
                  <a:pt x="6826" y="835"/>
                </a:lnTo>
                <a:lnTo>
                  <a:pt x="6838" y="835"/>
                </a:lnTo>
                <a:lnTo>
                  <a:pt x="6852" y="833"/>
                </a:lnTo>
                <a:lnTo>
                  <a:pt x="6864" y="833"/>
                </a:lnTo>
                <a:lnTo>
                  <a:pt x="6867" y="832"/>
                </a:lnTo>
                <a:close/>
                <a:moveTo>
                  <a:pt x="6887" y="823"/>
                </a:moveTo>
                <a:lnTo>
                  <a:pt x="6882" y="826"/>
                </a:lnTo>
                <a:lnTo>
                  <a:pt x="6881" y="826"/>
                </a:lnTo>
                <a:lnTo>
                  <a:pt x="6884" y="824"/>
                </a:lnTo>
                <a:lnTo>
                  <a:pt x="6887" y="823"/>
                </a:lnTo>
                <a:lnTo>
                  <a:pt x="6885" y="821"/>
                </a:lnTo>
                <a:lnTo>
                  <a:pt x="6882" y="822"/>
                </a:lnTo>
                <a:lnTo>
                  <a:pt x="6882" y="824"/>
                </a:lnTo>
                <a:lnTo>
                  <a:pt x="6887" y="823"/>
                </a:lnTo>
                <a:close/>
                <a:moveTo>
                  <a:pt x="6969" y="804"/>
                </a:moveTo>
                <a:lnTo>
                  <a:pt x="6973" y="801"/>
                </a:lnTo>
                <a:lnTo>
                  <a:pt x="6975" y="796"/>
                </a:lnTo>
                <a:lnTo>
                  <a:pt x="6968" y="796"/>
                </a:lnTo>
                <a:lnTo>
                  <a:pt x="6961" y="799"/>
                </a:lnTo>
                <a:lnTo>
                  <a:pt x="6961" y="803"/>
                </a:lnTo>
                <a:lnTo>
                  <a:pt x="6969" y="804"/>
                </a:lnTo>
                <a:close/>
                <a:moveTo>
                  <a:pt x="1177" y="6159"/>
                </a:moveTo>
                <a:lnTo>
                  <a:pt x="1180" y="6159"/>
                </a:lnTo>
                <a:lnTo>
                  <a:pt x="1181" y="6158"/>
                </a:lnTo>
                <a:lnTo>
                  <a:pt x="1181" y="6155"/>
                </a:lnTo>
                <a:lnTo>
                  <a:pt x="1181" y="6153"/>
                </a:lnTo>
                <a:lnTo>
                  <a:pt x="1178" y="6153"/>
                </a:lnTo>
                <a:lnTo>
                  <a:pt x="1177" y="6154"/>
                </a:lnTo>
                <a:lnTo>
                  <a:pt x="1176" y="6157"/>
                </a:lnTo>
                <a:lnTo>
                  <a:pt x="1177" y="6159"/>
                </a:lnTo>
                <a:close/>
                <a:moveTo>
                  <a:pt x="691" y="6579"/>
                </a:moveTo>
                <a:lnTo>
                  <a:pt x="683" y="6584"/>
                </a:lnTo>
                <a:lnTo>
                  <a:pt x="684" y="6591"/>
                </a:lnTo>
                <a:lnTo>
                  <a:pt x="689" y="6592"/>
                </a:lnTo>
                <a:lnTo>
                  <a:pt x="693" y="6584"/>
                </a:lnTo>
                <a:lnTo>
                  <a:pt x="692" y="6582"/>
                </a:lnTo>
                <a:lnTo>
                  <a:pt x="691" y="6579"/>
                </a:lnTo>
                <a:close/>
                <a:moveTo>
                  <a:pt x="852" y="6365"/>
                </a:moveTo>
                <a:lnTo>
                  <a:pt x="852" y="6370"/>
                </a:lnTo>
                <a:lnTo>
                  <a:pt x="852" y="6365"/>
                </a:lnTo>
                <a:lnTo>
                  <a:pt x="841" y="6369"/>
                </a:lnTo>
                <a:lnTo>
                  <a:pt x="852" y="6365"/>
                </a:lnTo>
                <a:close/>
                <a:moveTo>
                  <a:pt x="1196" y="6020"/>
                </a:moveTo>
                <a:lnTo>
                  <a:pt x="1200" y="6015"/>
                </a:lnTo>
                <a:lnTo>
                  <a:pt x="1200" y="6010"/>
                </a:lnTo>
                <a:lnTo>
                  <a:pt x="1199" y="6006"/>
                </a:lnTo>
                <a:lnTo>
                  <a:pt x="1195" y="6001"/>
                </a:lnTo>
                <a:lnTo>
                  <a:pt x="1191" y="6006"/>
                </a:lnTo>
                <a:lnTo>
                  <a:pt x="1190" y="6012"/>
                </a:lnTo>
                <a:lnTo>
                  <a:pt x="1191" y="6015"/>
                </a:lnTo>
                <a:lnTo>
                  <a:pt x="1196" y="6020"/>
                </a:lnTo>
                <a:close/>
                <a:moveTo>
                  <a:pt x="6302" y="1351"/>
                </a:moveTo>
                <a:lnTo>
                  <a:pt x="6304" y="1350"/>
                </a:lnTo>
                <a:lnTo>
                  <a:pt x="6307" y="1349"/>
                </a:lnTo>
                <a:lnTo>
                  <a:pt x="6307" y="1346"/>
                </a:lnTo>
                <a:lnTo>
                  <a:pt x="6304" y="1344"/>
                </a:lnTo>
                <a:lnTo>
                  <a:pt x="6302" y="1346"/>
                </a:lnTo>
                <a:lnTo>
                  <a:pt x="6298" y="1350"/>
                </a:lnTo>
                <a:lnTo>
                  <a:pt x="6296" y="1353"/>
                </a:lnTo>
                <a:lnTo>
                  <a:pt x="6302" y="1351"/>
                </a:lnTo>
                <a:close/>
                <a:moveTo>
                  <a:pt x="7234" y="1027"/>
                </a:moveTo>
                <a:lnTo>
                  <a:pt x="7224" y="1029"/>
                </a:lnTo>
                <a:lnTo>
                  <a:pt x="7220" y="1034"/>
                </a:lnTo>
                <a:lnTo>
                  <a:pt x="7224" y="1040"/>
                </a:lnTo>
                <a:lnTo>
                  <a:pt x="7234" y="1038"/>
                </a:lnTo>
                <a:lnTo>
                  <a:pt x="7234" y="1033"/>
                </a:lnTo>
                <a:lnTo>
                  <a:pt x="7234" y="1027"/>
                </a:lnTo>
                <a:close/>
                <a:moveTo>
                  <a:pt x="5671" y="1769"/>
                </a:moveTo>
                <a:lnTo>
                  <a:pt x="5675" y="1764"/>
                </a:lnTo>
                <a:lnTo>
                  <a:pt x="5680" y="1757"/>
                </a:lnTo>
                <a:lnTo>
                  <a:pt x="5675" y="1761"/>
                </a:lnTo>
                <a:lnTo>
                  <a:pt x="5667" y="1765"/>
                </a:lnTo>
                <a:lnTo>
                  <a:pt x="5665" y="1769"/>
                </a:lnTo>
                <a:lnTo>
                  <a:pt x="5671" y="1769"/>
                </a:lnTo>
                <a:close/>
                <a:moveTo>
                  <a:pt x="1237" y="6055"/>
                </a:moveTo>
                <a:lnTo>
                  <a:pt x="1237" y="6055"/>
                </a:lnTo>
                <a:lnTo>
                  <a:pt x="1237" y="6055"/>
                </a:lnTo>
                <a:lnTo>
                  <a:pt x="1237" y="6054"/>
                </a:lnTo>
                <a:lnTo>
                  <a:pt x="1237" y="6052"/>
                </a:lnTo>
                <a:lnTo>
                  <a:pt x="1236" y="6054"/>
                </a:lnTo>
                <a:lnTo>
                  <a:pt x="1234" y="6055"/>
                </a:lnTo>
                <a:lnTo>
                  <a:pt x="1234" y="6055"/>
                </a:lnTo>
                <a:lnTo>
                  <a:pt x="1234" y="6055"/>
                </a:lnTo>
                <a:lnTo>
                  <a:pt x="1236" y="6056"/>
                </a:lnTo>
                <a:lnTo>
                  <a:pt x="1237" y="6055"/>
                </a:lnTo>
                <a:close/>
                <a:moveTo>
                  <a:pt x="1218" y="6094"/>
                </a:moveTo>
                <a:lnTo>
                  <a:pt x="1227" y="6087"/>
                </a:lnTo>
                <a:lnTo>
                  <a:pt x="1233" y="6078"/>
                </a:lnTo>
                <a:lnTo>
                  <a:pt x="1236" y="6068"/>
                </a:lnTo>
                <a:lnTo>
                  <a:pt x="1234" y="6056"/>
                </a:lnTo>
                <a:lnTo>
                  <a:pt x="1219" y="6068"/>
                </a:lnTo>
                <a:lnTo>
                  <a:pt x="1213" y="6075"/>
                </a:lnTo>
                <a:lnTo>
                  <a:pt x="1213" y="6084"/>
                </a:lnTo>
                <a:lnTo>
                  <a:pt x="1218" y="6094"/>
                </a:lnTo>
                <a:close/>
                <a:moveTo>
                  <a:pt x="7062" y="770"/>
                </a:moveTo>
                <a:lnTo>
                  <a:pt x="7053" y="767"/>
                </a:lnTo>
                <a:lnTo>
                  <a:pt x="7043" y="768"/>
                </a:lnTo>
                <a:lnTo>
                  <a:pt x="7034" y="775"/>
                </a:lnTo>
                <a:lnTo>
                  <a:pt x="7025" y="782"/>
                </a:lnTo>
                <a:lnTo>
                  <a:pt x="7038" y="784"/>
                </a:lnTo>
                <a:lnTo>
                  <a:pt x="7050" y="784"/>
                </a:lnTo>
                <a:lnTo>
                  <a:pt x="7059" y="781"/>
                </a:lnTo>
                <a:lnTo>
                  <a:pt x="7062" y="770"/>
                </a:lnTo>
                <a:close/>
                <a:moveTo>
                  <a:pt x="795" y="6467"/>
                </a:moveTo>
                <a:lnTo>
                  <a:pt x="777" y="6452"/>
                </a:lnTo>
                <a:lnTo>
                  <a:pt x="755" y="6484"/>
                </a:lnTo>
                <a:lnTo>
                  <a:pt x="735" y="6533"/>
                </a:lnTo>
                <a:lnTo>
                  <a:pt x="724" y="6574"/>
                </a:lnTo>
                <a:lnTo>
                  <a:pt x="753" y="6559"/>
                </a:lnTo>
                <a:lnTo>
                  <a:pt x="772" y="6532"/>
                </a:lnTo>
                <a:lnTo>
                  <a:pt x="783" y="6499"/>
                </a:lnTo>
                <a:lnTo>
                  <a:pt x="795" y="6467"/>
                </a:lnTo>
                <a:close/>
                <a:moveTo>
                  <a:pt x="6505" y="720"/>
                </a:moveTo>
                <a:lnTo>
                  <a:pt x="6507" y="720"/>
                </a:lnTo>
                <a:lnTo>
                  <a:pt x="6508" y="720"/>
                </a:lnTo>
                <a:lnTo>
                  <a:pt x="6505" y="720"/>
                </a:lnTo>
                <a:close/>
                <a:moveTo>
                  <a:pt x="6985" y="754"/>
                </a:moveTo>
                <a:lnTo>
                  <a:pt x="6988" y="751"/>
                </a:lnTo>
                <a:lnTo>
                  <a:pt x="6985" y="754"/>
                </a:lnTo>
                <a:lnTo>
                  <a:pt x="6983" y="756"/>
                </a:lnTo>
                <a:lnTo>
                  <a:pt x="6985" y="754"/>
                </a:lnTo>
                <a:close/>
                <a:moveTo>
                  <a:pt x="5909" y="1651"/>
                </a:moveTo>
                <a:lnTo>
                  <a:pt x="5909" y="1648"/>
                </a:lnTo>
                <a:lnTo>
                  <a:pt x="5907" y="1648"/>
                </a:lnTo>
                <a:lnTo>
                  <a:pt x="5906" y="1649"/>
                </a:lnTo>
                <a:lnTo>
                  <a:pt x="5906" y="1652"/>
                </a:lnTo>
                <a:lnTo>
                  <a:pt x="5908" y="1652"/>
                </a:lnTo>
                <a:lnTo>
                  <a:pt x="5909" y="1651"/>
                </a:lnTo>
                <a:close/>
                <a:moveTo>
                  <a:pt x="6263" y="1405"/>
                </a:moveTo>
                <a:lnTo>
                  <a:pt x="6261" y="1420"/>
                </a:lnTo>
                <a:lnTo>
                  <a:pt x="6258" y="1432"/>
                </a:lnTo>
                <a:lnTo>
                  <a:pt x="6258" y="1432"/>
                </a:lnTo>
                <a:lnTo>
                  <a:pt x="6258" y="1432"/>
                </a:lnTo>
                <a:lnTo>
                  <a:pt x="6258" y="1432"/>
                </a:lnTo>
                <a:lnTo>
                  <a:pt x="6257" y="1432"/>
                </a:lnTo>
                <a:lnTo>
                  <a:pt x="6258" y="1432"/>
                </a:lnTo>
                <a:lnTo>
                  <a:pt x="6258" y="1432"/>
                </a:lnTo>
                <a:lnTo>
                  <a:pt x="6262" y="1426"/>
                </a:lnTo>
                <a:lnTo>
                  <a:pt x="6266" y="1420"/>
                </a:lnTo>
                <a:lnTo>
                  <a:pt x="6267" y="1414"/>
                </a:lnTo>
                <a:lnTo>
                  <a:pt x="6263" y="1405"/>
                </a:lnTo>
                <a:close/>
                <a:moveTo>
                  <a:pt x="5608" y="1791"/>
                </a:moveTo>
                <a:lnTo>
                  <a:pt x="5604" y="1791"/>
                </a:lnTo>
                <a:lnTo>
                  <a:pt x="5599" y="1789"/>
                </a:lnTo>
                <a:lnTo>
                  <a:pt x="5596" y="1791"/>
                </a:lnTo>
                <a:lnTo>
                  <a:pt x="5595" y="1794"/>
                </a:lnTo>
                <a:lnTo>
                  <a:pt x="5599" y="1794"/>
                </a:lnTo>
                <a:lnTo>
                  <a:pt x="5602" y="1794"/>
                </a:lnTo>
                <a:lnTo>
                  <a:pt x="5606" y="1794"/>
                </a:lnTo>
                <a:lnTo>
                  <a:pt x="5608" y="1791"/>
                </a:lnTo>
                <a:close/>
                <a:moveTo>
                  <a:pt x="6254" y="1339"/>
                </a:moveTo>
                <a:lnTo>
                  <a:pt x="6260" y="1337"/>
                </a:lnTo>
                <a:lnTo>
                  <a:pt x="6263" y="1334"/>
                </a:lnTo>
                <a:lnTo>
                  <a:pt x="6257" y="1331"/>
                </a:lnTo>
                <a:lnTo>
                  <a:pt x="6252" y="1332"/>
                </a:lnTo>
                <a:lnTo>
                  <a:pt x="6251" y="1336"/>
                </a:lnTo>
                <a:lnTo>
                  <a:pt x="6254" y="1339"/>
                </a:lnTo>
                <a:close/>
                <a:moveTo>
                  <a:pt x="6137" y="1468"/>
                </a:moveTo>
                <a:lnTo>
                  <a:pt x="6144" y="1467"/>
                </a:lnTo>
                <a:lnTo>
                  <a:pt x="6149" y="1463"/>
                </a:lnTo>
                <a:lnTo>
                  <a:pt x="6151" y="1460"/>
                </a:lnTo>
                <a:lnTo>
                  <a:pt x="6151" y="1453"/>
                </a:lnTo>
                <a:lnTo>
                  <a:pt x="6145" y="1456"/>
                </a:lnTo>
                <a:lnTo>
                  <a:pt x="6140" y="1458"/>
                </a:lnTo>
                <a:lnTo>
                  <a:pt x="6137" y="1462"/>
                </a:lnTo>
                <a:lnTo>
                  <a:pt x="6137" y="1468"/>
                </a:lnTo>
                <a:close/>
                <a:moveTo>
                  <a:pt x="6312" y="863"/>
                </a:moveTo>
                <a:lnTo>
                  <a:pt x="6317" y="868"/>
                </a:lnTo>
                <a:lnTo>
                  <a:pt x="6322" y="869"/>
                </a:lnTo>
                <a:lnTo>
                  <a:pt x="6326" y="866"/>
                </a:lnTo>
                <a:lnTo>
                  <a:pt x="6332" y="863"/>
                </a:lnTo>
                <a:lnTo>
                  <a:pt x="6327" y="859"/>
                </a:lnTo>
                <a:lnTo>
                  <a:pt x="6323" y="859"/>
                </a:lnTo>
                <a:lnTo>
                  <a:pt x="6318" y="860"/>
                </a:lnTo>
                <a:lnTo>
                  <a:pt x="6312" y="863"/>
                </a:lnTo>
                <a:close/>
                <a:moveTo>
                  <a:pt x="5161" y="1491"/>
                </a:moveTo>
                <a:lnTo>
                  <a:pt x="5162" y="1491"/>
                </a:lnTo>
                <a:lnTo>
                  <a:pt x="5161" y="1491"/>
                </a:lnTo>
                <a:lnTo>
                  <a:pt x="5161" y="1491"/>
                </a:lnTo>
                <a:lnTo>
                  <a:pt x="5161" y="1491"/>
                </a:lnTo>
                <a:close/>
                <a:moveTo>
                  <a:pt x="6257" y="1433"/>
                </a:moveTo>
                <a:lnTo>
                  <a:pt x="6257" y="1434"/>
                </a:lnTo>
                <a:lnTo>
                  <a:pt x="6258" y="1434"/>
                </a:lnTo>
                <a:lnTo>
                  <a:pt x="6257" y="1433"/>
                </a:lnTo>
                <a:close/>
                <a:moveTo>
                  <a:pt x="6307" y="1261"/>
                </a:moveTo>
                <a:lnTo>
                  <a:pt x="6295" y="1280"/>
                </a:lnTo>
                <a:lnTo>
                  <a:pt x="6288" y="1299"/>
                </a:lnTo>
                <a:lnTo>
                  <a:pt x="6286" y="1317"/>
                </a:lnTo>
                <a:lnTo>
                  <a:pt x="6294" y="1331"/>
                </a:lnTo>
                <a:lnTo>
                  <a:pt x="6308" y="1320"/>
                </a:lnTo>
                <a:lnTo>
                  <a:pt x="6313" y="1302"/>
                </a:lnTo>
                <a:lnTo>
                  <a:pt x="6312" y="1281"/>
                </a:lnTo>
                <a:lnTo>
                  <a:pt x="6307" y="1261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623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70500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96">
            <a:extLst>
              <a:ext uri="{FF2B5EF4-FFF2-40B4-BE49-F238E27FC236}">
                <a16:creationId xmlns:a16="http://schemas.microsoft.com/office/drawing/2014/main" id="{D7365325-E784-BC4A-96E7-FCDDF3AA7966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6311995" y="441014"/>
            <a:ext cx="5255900" cy="6075359"/>
          </a:xfrm>
          <a:custGeom>
            <a:avLst/>
            <a:gdLst>
              <a:gd name="T0" fmla="*/ 3188 w 23437"/>
              <a:gd name="T1" fmla="*/ 18403 h 27781"/>
              <a:gd name="T2" fmla="*/ 1000 w 23437"/>
              <a:gd name="T3" fmla="*/ 17250 h 27781"/>
              <a:gd name="T4" fmla="*/ 5188 w 23437"/>
              <a:gd name="T5" fmla="*/ 18063 h 27781"/>
              <a:gd name="T6" fmla="*/ 5594 w 23437"/>
              <a:gd name="T7" fmla="*/ 17813 h 27781"/>
              <a:gd name="T8" fmla="*/ 5125 w 23437"/>
              <a:gd name="T9" fmla="*/ 18406 h 27781"/>
              <a:gd name="T10" fmla="*/ 7313 w 23437"/>
              <a:gd name="T11" fmla="*/ 20125 h 27781"/>
              <a:gd name="T12" fmla="*/ 3813 w 23437"/>
              <a:gd name="T13" fmla="*/ 18000 h 27781"/>
              <a:gd name="T14" fmla="*/ 15187 w 23437"/>
              <a:gd name="T15" fmla="*/ 4032 h 27781"/>
              <a:gd name="T16" fmla="*/ 14750 w 23437"/>
              <a:gd name="T17" fmla="*/ 4219 h 27781"/>
              <a:gd name="T18" fmla="*/ 12969 w 23437"/>
              <a:gd name="T19" fmla="*/ 3407 h 27781"/>
              <a:gd name="T20" fmla="*/ 13156 w 23437"/>
              <a:gd name="T21" fmla="*/ 4313 h 27781"/>
              <a:gd name="T22" fmla="*/ 14375 w 23437"/>
              <a:gd name="T23" fmla="*/ 5532 h 27781"/>
              <a:gd name="T24" fmla="*/ 11344 w 23437"/>
              <a:gd name="T25" fmla="*/ 4032 h 27781"/>
              <a:gd name="T26" fmla="*/ 14437 w 23437"/>
              <a:gd name="T27" fmla="*/ 6563 h 27781"/>
              <a:gd name="T28" fmla="*/ 13375 w 23437"/>
              <a:gd name="T29" fmla="*/ 6188 h 27781"/>
              <a:gd name="T30" fmla="*/ 13625 w 23437"/>
              <a:gd name="T31" fmla="*/ 7063 h 27781"/>
              <a:gd name="T32" fmla="*/ 12781 w 23437"/>
              <a:gd name="T33" fmla="*/ 6594 h 27781"/>
              <a:gd name="T34" fmla="*/ 13969 w 23437"/>
              <a:gd name="T35" fmla="*/ 7782 h 27781"/>
              <a:gd name="T36" fmla="*/ 8906 w 23437"/>
              <a:gd name="T37" fmla="*/ 4907 h 27781"/>
              <a:gd name="T38" fmla="*/ 10656 w 23437"/>
              <a:gd name="T39" fmla="*/ 6157 h 27781"/>
              <a:gd name="T40" fmla="*/ 8187 w 23437"/>
              <a:gd name="T41" fmla="*/ 5032 h 27781"/>
              <a:gd name="T42" fmla="*/ 11594 w 23437"/>
              <a:gd name="T43" fmla="*/ 6907 h 27781"/>
              <a:gd name="T44" fmla="*/ 10969 w 23437"/>
              <a:gd name="T45" fmla="*/ 6719 h 27781"/>
              <a:gd name="T46" fmla="*/ 9031 w 23437"/>
              <a:gd name="T47" fmla="*/ 6313 h 27781"/>
              <a:gd name="T48" fmla="*/ 14156 w 23437"/>
              <a:gd name="T49" fmla="*/ 9532 h 27781"/>
              <a:gd name="T50" fmla="*/ 11875 w 23437"/>
              <a:gd name="T51" fmla="*/ 8500 h 27781"/>
              <a:gd name="T52" fmla="*/ 10000 w 23437"/>
              <a:gd name="T53" fmla="*/ 7782 h 27781"/>
              <a:gd name="T54" fmla="*/ 9969 w 23437"/>
              <a:gd name="T55" fmla="*/ 8344 h 27781"/>
              <a:gd name="T56" fmla="*/ 13406 w 23437"/>
              <a:gd name="T57" fmla="*/ 10500 h 27781"/>
              <a:gd name="T58" fmla="*/ 13625 w 23437"/>
              <a:gd name="T59" fmla="*/ 11094 h 27781"/>
              <a:gd name="T60" fmla="*/ 5063 w 23437"/>
              <a:gd name="T61" fmla="*/ 6657 h 27781"/>
              <a:gd name="T62" fmla="*/ 10437 w 23437"/>
              <a:gd name="T63" fmla="*/ 9407 h 27781"/>
              <a:gd name="T64" fmla="*/ 7594 w 23437"/>
              <a:gd name="T65" fmla="*/ 8094 h 27781"/>
              <a:gd name="T66" fmla="*/ 13469 w 23437"/>
              <a:gd name="T67" fmla="*/ 11782 h 27781"/>
              <a:gd name="T68" fmla="*/ 11875 w 23437"/>
              <a:gd name="T69" fmla="*/ 10938 h 27781"/>
              <a:gd name="T70" fmla="*/ 18125 w 23437"/>
              <a:gd name="T71" fmla="*/ 17844 h 27781"/>
              <a:gd name="T72" fmla="*/ 6531 w 23437"/>
              <a:gd name="T73" fmla="*/ 11907 h 27781"/>
              <a:gd name="T74" fmla="*/ 969 w 23437"/>
              <a:gd name="T75" fmla="*/ 13688 h 27781"/>
              <a:gd name="T76" fmla="*/ 11031 w 23437"/>
              <a:gd name="T77" fmla="*/ 19531 h 27781"/>
              <a:gd name="T78" fmla="*/ 6344 w 23437"/>
              <a:gd name="T79" fmla="*/ 16282 h 27781"/>
              <a:gd name="T80" fmla="*/ 125 w 23437"/>
              <a:gd name="T81" fmla="*/ 18938 h 27781"/>
              <a:gd name="T82" fmla="*/ 2406 w 23437"/>
              <a:gd name="T83" fmla="*/ 24875 h 27781"/>
              <a:gd name="T84" fmla="*/ 2063 w 23437"/>
              <a:gd name="T85" fmla="*/ 25563 h 27781"/>
              <a:gd name="T86" fmla="*/ 8000 w 23437"/>
              <a:gd name="T87" fmla="*/ 26531 h 27781"/>
              <a:gd name="T88" fmla="*/ 21719 w 23437"/>
              <a:gd name="T89" fmla="*/ 17875 h 27781"/>
              <a:gd name="T90" fmla="*/ 5375 w 23437"/>
              <a:gd name="T91" fmla="*/ 13688 h 27781"/>
              <a:gd name="T92" fmla="*/ 6781 w 23437"/>
              <a:gd name="T93" fmla="*/ 15157 h 27781"/>
              <a:gd name="T94" fmla="*/ 2875 w 23437"/>
              <a:gd name="T95" fmla="*/ 13750 h 27781"/>
              <a:gd name="T96" fmla="*/ 3969 w 23437"/>
              <a:gd name="T97" fmla="*/ 12438 h 27781"/>
              <a:gd name="T98" fmla="*/ 6000 w 23437"/>
              <a:gd name="T99" fmla="*/ 11969 h 27781"/>
              <a:gd name="T100" fmla="*/ 7531 w 23437"/>
              <a:gd name="T101" fmla="*/ 13782 h 27781"/>
              <a:gd name="T102" fmla="*/ 6938 w 23437"/>
              <a:gd name="T103" fmla="*/ 14282 h 27781"/>
              <a:gd name="T104" fmla="*/ 7125 w 23437"/>
              <a:gd name="T105" fmla="*/ 26563 h 27781"/>
              <a:gd name="T106" fmla="*/ 5406 w 23437"/>
              <a:gd name="T107" fmla="*/ 26250 h 27781"/>
              <a:gd name="T108" fmla="*/ 6594 w 23437"/>
              <a:gd name="T109" fmla="*/ 13938 h 27781"/>
              <a:gd name="T110" fmla="*/ 6438 w 23437"/>
              <a:gd name="T111" fmla="*/ 11907 h 27781"/>
              <a:gd name="T112" fmla="*/ 4625 w 23437"/>
              <a:gd name="T113" fmla="*/ 6282 h 27781"/>
              <a:gd name="T114" fmla="*/ 2719 w 23437"/>
              <a:gd name="T115" fmla="*/ 27781 h 27781"/>
              <a:gd name="T116" fmla="*/ 6688 w 23437"/>
              <a:gd name="T117" fmla="*/ 3907 h 27781"/>
              <a:gd name="T118" fmla="*/ 2563 w 23437"/>
              <a:gd name="T119" fmla="*/ 26594 h 27781"/>
              <a:gd name="T120" fmla="*/ 1719 w 23437"/>
              <a:gd name="T121" fmla="*/ 26781 h 27781"/>
              <a:gd name="T122" fmla="*/ 3156 w 23437"/>
              <a:gd name="T123" fmla="*/ 5938 h 27781"/>
              <a:gd name="T124" fmla="*/ 8094 w 23437"/>
              <a:gd name="T125" fmla="*/ 5969 h 27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437" h="27781">
                <a:moveTo>
                  <a:pt x="6031" y="15844"/>
                </a:moveTo>
                <a:cubicBezTo>
                  <a:pt x="6000" y="15844"/>
                  <a:pt x="6000" y="15844"/>
                  <a:pt x="5969" y="15844"/>
                </a:cubicBezTo>
                <a:cubicBezTo>
                  <a:pt x="5969" y="15813"/>
                  <a:pt x="5938" y="15813"/>
                  <a:pt x="5938" y="15813"/>
                </a:cubicBezTo>
                <a:cubicBezTo>
                  <a:pt x="5500" y="15625"/>
                  <a:pt x="5094" y="15407"/>
                  <a:pt x="4688" y="15250"/>
                </a:cubicBezTo>
                <a:cubicBezTo>
                  <a:pt x="4438" y="15125"/>
                  <a:pt x="4156" y="15032"/>
                  <a:pt x="3906" y="14969"/>
                </a:cubicBezTo>
                <a:cubicBezTo>
                  <a:pt x="3594" y="14844"/>
                  <a:pt x="3313" y="14719"/>
                  <a:pt x="2969" y="14657"/>
                </a:cubicBezTo>
                <a:cubicBezTo>
                  <a:pt x="2875" y="14625"/>
                  <a:pt x="2750" y="14594"/>
                  <a:pt x="2625" y="14625"/>
                </a:cubicBezTo>
                <a:cubicBezTo>
                  <a:pt x="2750" y="14657"/>
                  <a:pt x="2875" y="14688"/>
                  <a:pt x="3000" y="14719"/>
                </a:cubicBezTo>
                <a:cubicBezTo>
                  <a:pt x="3219" y="14782"/>
                  <a:pt x="3406" y="14844"/>
                  <a:pt x="3594" y="14907"/>
                </a:cubicBezTo>
                <a:cubicBezTo>
                  <a:pt x="3938" y="15000"/>
                  <a:pt x="4281" y="15125"/>
                  <a:pt x="4594" y="15282"/>
                </a:cubicBezTo>
                <a:cubicBezTo>
                  <a:pt x="4875" y="15375"/>
                  <a:pt x="5125" y="15500"/>
                  <a:pt x="5375" y="15625"/>
                </a:cubicBezTo>
                <a:cubicBezTo>
                  <a:pt x="5625" y="15750"/>
                  <a:pt x="5875" y="15875"/>
                  <a:pt x="6156" y="16000"/>
                </a:cubicBezTo>
                <a:cubicBezTo>
                  <a:pt x="6531" y="16219"/>
                  <a:pt x="6906" y="16407"/>
                  <a:pt x="7250" y="16657"/>
                </a:cubicBezTo>
                <a:cubicBezTo>
                  <a:pt x="7344" y="16688"/>
                  <a:pt x="7438" y="16625"/>
                  <a:pt x="7500" y="16594"/>
                </a:cubicBezTo>
                <a:cubicBezTo>
                  <a:pt x="7531" y="16594"/>
                  <a:pt x="7500" y="16532"/>
                  <a:pt x="7469" y="16532"/>
                </a:cubicBezTo>
                <a:cubicBezTo>
                  <a:pt x="7344" y="16469"/>
                  <a:pt x="7250" y="16407"/>
                  <a:pt x="7125" y="16344"/>
                </a:cubicBezTo>
                <a:cubicBezTo>
                  <a:pt x="6969" y="16219"/>
                  <a:pt x="6781" y="16125"/>
                  <a:pt x="6594" y="16032"/>
                </a:cubicBezTo>
                <a:cubicBezTo>
                  <a:pt x="6125" y="15782"/>
                  <a:pt x="5656" y="15532"/>
                  <a:pt x="5188" y="15344"/>
                </a:cubicBezTo>
                <a:cubicBezTo>
                  <a:pt x="5031" y="15250"/>
                  <a:pt x="4875" y="15188"/>
                  <a:pt x="4688" y="15157"/>
                </a:cubicBezTo>
                <a:cubicBezTo>
                  <a:pt x="4750" y="15219"/>
                  <a:pt x="4844" y="15219"/>
                  <a:pt x="4938" y="15282"/>
                </a:cubicBezTo>
                <a:cubicBezTo>
                  <a:pt x="5188" y="15407"/>
                  <a:pt x="5469" y="15532"/>
                  <a:pt x="5719" y="15657"/>
                </a:cubicBezTo>
                <a:cubicBezTo>
                  <a:pt x="5750" y="15657"/>
                  <a:pt x="5781" y="15688"/>
                  <a:pt x="5813" y="15688"/>
                </a:cubicBezTo>
                <a:cubicBezTo>
                  <a:pt x="5875" y="15719"/>
                  <a:pt x="5969" y="15750"/>
                  <a:pt x="6031" y="15844"/>
                </a:cubicBezTo>
                <a:cubicBezTo>
                  <a:pt x="6031" y="15844"/>
                  <a:pt x="6031" y="15844"/>
                  <a:pt x="6031" y="15844"/>
                </a:cubicBezTo>
                <a:close/>
                <a:moveTo>
                  <a:pt x="5719" y="18875"/>
                </a:moveTo>
                <a:cubicBezTo>
                  <a:pt x="5750" y="18938"/>
                  <a:pt x="5813" y="18938"/>
                  <a:pt x="5906" y="18969"/>
                </a:cubicBezTo>
                <a:cubicBezTo>
                  <a:pt x="5906" y="18969"/>
                  <a:pt x="5906" y="19000"/>
                  <a:pt x="5906" y="19000"/>
                </a:cubicBezTo>
                <a:cubicBezTo>
                  <a:pt x="5906" y="18969"/>
                  <a:pt x="5906" y="18969"/>
                  <a:pt x="5906" y="18969"/>
                </a:cubicBezTo>
                <a:cubicBezTo>
                  <a:pt x="5844" y="18938"/>
                  <a:pt x="5781" y="18875"/>
                  <a:pt x="5719" y="18875"/>
                </a:cubicBezTo>
                <a:cubicBezTo>
                  <a:pt x="5688" y="18844"/>
                  <a:pt x="5656" y="18813"/>
                  <a:pt x="5594" y="18813"/>
                </a:cubicBezTo>
                <a:cubicBezTo>
                  <a:pt x="5625" y="18875"/>
                  <a:pt x="5656" y="18875"/>
                  <a:pt x="5719" y="18875"/>
                </a:cubicBezTo>
                <a:close/>
                <a:moveTo>
                  <a:pt x="2125" y="17250"/>
                </a:moveTo>
                <a:cubicBezTo>
                  <a:pt x="1938" y="17250"/>
                  <a:pt x="1781" y="17125"/>
                  <a:pt x="1594" y="17157"/>
                </a:cubicBezTo>
                <a:cubicBezTo>
                  <a:pt x="1781" y="17219"/>
                  <a:pt x="1938" y="17282"/>
                  <a:pt x="2125" y="17250"/>
                </a:cubicBezTo>
                <a:close/>
                <a:moveTo>
                  <a:pt x="3191" y="18406"/>
                </a:moveTo>
                <a:lnTo>
                  <a:pt x="3219" y="18406"/>
                </a:lnTo>
                <a:cubicBezTo>
                  <a:pt x="3219" y="18375"/>
                  <a:pt x="3219" y="18375"/>
                  <a:pt x="3188" y="18375"/>
                </a:cubicBezTo>
                <a:lnTo>
                  <a:pt x="3188" y="18403"/>
                </a:lnTo>
                <a:cubicBezTo>
                  <a:pt x="3177" y="18395"/>
                  <a:pt x="3166" y="18385"/>
                  <a:pt x="3156" y="18375"/>
                </a:cubicBezTo>
                <a:cubicBezTo>
                  <a:pt x="3094" y="18344"/>
                  <a:pt x="3063" y="18281"/>
                  <a:pt x="2969" y="18313"/>
                </a:cubicBezTo>
                <a:cubicBezTo>
                  <a:pt x="2938" y="18188"/>
                  <a:pt x="2813" y="18219"/>
                  <a:pt x="2750" y="18156"/>
                </a:cubicBezTo>
                <a:cubicBezTo>
                  <a:pt x="2750" y="18156"/>
                  <a:pt x="2750" y="18156"/>
                  <a:pt x="2750" y="18156"/>
                </a:cubicBezTo>
                <a:cubicBezTo>
                  <a:pt x="2719" y="18156"/>
                  <a:pt x="2688" y="18125"/>
                  <a:pt x="2656" y="18125"/>
                </a:cubicBezTo>
                <a:cubicBezTo>
                  <a:pt x="2688" y="18094"/>
                  <a:pt x="2719" y="18125"/>
                  <a:pt x="2750" y="18156"/>
                </a:cubicBezTo>
                <a:cubicBezTo>
                  <a:pt x="3000" y="18188"/>
                  <a:pt x="3250" y="18313"/>
                  <a:pt x="3531" y="18375"/>
                </a:cubicBezTo>
                <a:cubicBezTo>
                  <a:pt x="3438" y="18281"/>
                  <a:pt x="3344" y="18250"/>
                  <a:pt x="3250" y="18219"/>
                </a:cubicBezTo>
                <a:cubicBezTo>
                  <a:pt x="3250" y="18188"/>
                  <a:pt x="3250" y="18188"/>
                  <a:pt x="3250" y="18188"/>
                </a:cubicBezTo>
                <a:cubicBezTo>
                  <a:pt x="3313" y="18188"/>
                  <a:pt x="3406" y="18219"/>
                  <a:pt x="3469" y="18250"/>
                </a:cubicBezTo>
                <a:cubicBezTo>
                  <a:pt x="3750" y="18375"/>
                  <a:pt x="4031" y="18469"/>
                  <a:pt x="4281" y="18594"/>
                </a:cubicBezTo>
                <a:cubicBezTo>
                  <a:pt x="4313" y="18625"/>
                  <a:pt x="4344" y="18625"/>
                  <a:pt x="4375" y="18594"/>
                </a:cubicBezTo>
                <a:cubicBezTo>
                  <a:pt x="4375" y="18531"/>
                  <a:pt x="4344" y="18531"/>
                  <a:pt x="4344" y="18531"/>
                </a:cubicBezTo>
                <a:cubicBezTo>
                  <a:pt x="4219" y="18469"/>
                  <a:pt x="4063" y="18406"/>
                  <a:pt x="3938" y="18344"/>
                </a:cubicBezTo>
                <a:cubicBezTo>
                  <a:pt x="3594" y="18219"/>
                  <a:pt x="3250" y="18094"/>
                  <a:pt x="2906" y="17938"/>
                </a:cubicBezTo>
                <a:cubicBezTo>
                  <a:pt x="2563" y="17813"/>
                  <a:pt x="2219" y="17750"/>
                  <a:pt x="1875" y="17656"/>
                </a:cubicBezTo>
                <a:cubicBezTo>
                  <a:pt x="1656" y="17594"/>
                  <a:pt x="1438" y="17594"/>
                  <a:pt x="1219" y="17532"/>
                </a:cubicBezTo>
                <a:cubicBezTo>
                  <a:pt x="1219" y="17532"/>
                  <a:pt x="1250" y="17500"/>
                  <a:pt x="1250" y="17469"/>
                </a:cubicBezTo>
                <a:cubicBezTo>
                  <a:pt x="1313" y="17500"/>
                  <a:pt x="1375" y="17500"/>
                  <a:pt x="1438" y="17500"/>
                </a:cubicBezTo>
                <a:cubicBezTo>
                  <a:pt x="1438" y="17532"/>
                  <a:pt x="1438" y="17532"/>
                  <a:pt x="1469" y="17500"/>
                </a:cubicBezTo>
                <a:cubicBezTo>
                  <a:pt x="1563" y="17532"/>
                  <a:pt x="1688" y="17594"/>
                  <a:pt x="1781" y="17532"/>
                </a:cubicBezTo>
                <a:cubicBezTo>
                  <a:pt x="1813" y="17500"/>
                  <a:pt x="1844" y="17532"/>
                  <a:pt x="1844" y="17532"/>
                </a:cubicBezTo>
                <a:cubicBezTo>
                  <a:pt x="2250" y="17625"/>
                  <a:pt x="2656" y="17719"/>
                  <a:pt x="3063" y="17875"/>
                </a:cubicBezTo>
                <a:cubicBezTo>
                  <a:pt x="3281" y="17969"/>
                  <a:pt x="3500" y="18063"/>
                  <a:pt x="3719" y="18125"/>
                </a:cubicBezTo>
                <a:cubicBezTo>
                  <a:pt x="4031" y="18219"/>
                  <a:pt x="4281" y="18375"/>
                  <a:pt x="4563" y="18500"/>
                </a:cubicBezTo>
                <a:cubicBezTo>
                  <a:pt x="4688" y="18563"/>
                  <a:pt x="4813" y="18594"/>
                  <a:pt x="4938" y="18625"/>
                </a:cubicBezTo>
                <a:cubicBezTo>
                  <a:pt x="4875" y="18531"/>
                  <a:pt x="4750" y="18500"/>
                  <a:pt x="4656" y="18438"/>
                </a:cubicBezTo>
                <a:cubicBezTo>
                  <a:pt x="4375" y="18313"/>
                  <a:pt x="4094" y="18188"/>
                  <a:pt x="3781" y="18063"/>
                </a:cubicBezTo>
                <a:cubicBezTo>
                  <a:pt x="3531" y="17969"/>
                  <a:pt x="3281" y="17875"/>
                  <a:pt x="3063" y="17750"/>
                </a:cubicBezTo>
                <a:cubicBezTo>
                  <a:pt x="3031" y="17750"/>
                  <a:pt x="2969" y="17750"/>
                  <a:pt x="2938" y="17750"/>
                </a:cubicBezTo>
                <a:cubicBezTo>
                  <a:pt x="2750" y="17688"/>
                  <a:pt x="2531" y="17656"/>
                  <a:pt x="2344" y="17594"/>
                </a:cubicBezTo>
                <a:cubicBezTo>
                  <a:pt x="1969" y="17469"/>
                  <a:pt x="1594" y="17407"/>
                  <a:pt x="1219" y="17407"/>
                </a:cubicBezTo>
                <a:cubicBezTo>
                  <a:pt x="1125" y="17375"/>
                  <a:pt x="1063" y="17407"/>
                  <a:pt x="1031" y="17438"/>
                </a:cubicBezTo>
                <a:cubicBezTo>
                  <a:pt x="1000" y="17438"/>
                  <a:pt x="1000" y="17438"/>
                  <a:pt x="969" y="17438"/>
                </a:cubicBezTo>
                <a:cubicBezTo>
                  <a:pt x="938" y="17407"/>
                  <a:pt x="906" y="17407"/>
                  <a:pt x="875" y="17407"/>
                </a:cubicBezTo>
                <a:cubicBezTo>
                  <a:pt x="906" y="17344"/>
                  <a:pt x="969" y="17344"/>
                  <a:pt x="1000" y="17344"/>
                </a:cubicBezTo>
                <a:cubicBezTo>
                  <a:pt x="1031" y="17344"/>
                  <a:pt x="1063" y="17344"/>
                  <a:pt x="1094" y="17313"/>
                </a:cubicBezTo>
                <a:cubicBezTo>
                  <a:pt x="1094" y="17250"/>
                  <a:pt x="1031" y="17282"/>
                  <a:pt x="1000" y="17250"/>
                </a:cubicBezTo>
                <a:cubicBezTo>
                  <a:pt x="1125" y="17250"/>
                  <a:pt x="1219" y="17313"/>
                  <a:pt x="1344" y="17282"/>
                </a:cubicBezTo>
                <a:cubicBezTo>
                  <a:pt x="1281" y="17188"/>
                  <a:pt x="1156" y="17250"/>
                  <a:pt x="1156" y="17157"/>
                </a:cubicBezTo>
                <a:cubicBezTo>
                  <a:pt x="1250" y="17125"/>
                  <a:pt x="1344" y="17157"/>
                  <a:pt x="1469" y="17157"/>
                </a:cubicBezTo>
                <a:cubicBezTo>
                  <a:pt x="1281" y="17094"/>
                  <a:pt x="1125" y="17063"/>
                  <a:pt x="938" y="17063"/>
                </a:cubicBezTo>
                <a:cubicBezTo>
                  <a:pt x="1500" y="17000"/>
                  <a:pt x="2031" y="17125"/>
                  <a:pt x="2594" y="17313"/>
                </a:cubicBezTo>
                <a:cubicBezTo>
                  <a:pt x="2594" y="17313"/>
                  <a:pt x="2594" y="17313"/>
                  <a:pt x="2625" y="17313"/>
                </a:cubicBezTo>
                <a:cubicBezTo>
                  <a:pt x="2688" y="17344"/>
                  <a:pt x="2719" y="17344"/>
                  <a:pt x="2781" y="17375"/>
                </a:cubicBezTo>
                <a:cubicBezTo>
                  <a:pt x="2781" y="17375"/>
                  <a:pt x="2781" y="17375"/>
                  <a:pt x="2813" y="17375"/>
                </a:cubicBezTo>
                <a:cubicBezTo>
                  <a:pt x="2844" y="17375"/>
                  <a:pt x="2875" y="17407"/>
                  <a:pt x="2906" y="17407"/>
                </a:cubicBezTo>
                <a:cubicBezTo>
                  <a:pt x="2969" y="17532"/>
                  <a:pt x="3094" y="17563"/>
                  <a:pt x="3219" y="17594"/>
                </a:cubicBezTo>
                <a:cubicBezTo>
                  <a:pt x="3500" y="17719"/>
                  <a:pt x="3813" y="17813"/>
                  <a:pt x="4094" y="17938"/>
                </a:cubicBezTo>
                <a:cubicBezTo>
                  <a:pt x="4313" y="18031"/>
                  <a:pt x="4531" y="18125"/>
                  <a:pt x="4719" y="18219"/>
                </a:cubicBezTo>
                <a:cubicBezTo>
                  <a:pt x="4813" y="18281"/>
                  <a:pt x="4813" y="18219"/>
                  <a:pt x="4844" y="18188"/>
                </a:cubicBezTo>
                <a:cubicBezTo>
                  <a:pt x="4875" y="18125"/>
                  <a:pt x="4875" y="18094"/>
                  <a:pt x="4813" y="18094"/>
                </a:cubicBezTo>
                <a:cubicBezTo>
                  <a:pt x="4625" y="18031"/>
                  <a:pt x="4438" y="17906"/>
                  <a:pt x="4219" y="17813"/>
                </a:cubicBezTo>
                <a:cubicBezTo>
                  <a:pt x="4000" y="17750"/>
                  <a:pt x="3781" y="17656"/>
                  <a:pt x="3594" y="17594"/>
                </a:cubicBezTo>
                <a:cubicBezTo>
                  <a:pt x="3281" y="17438"/>
                  <a:pt x="3000" y="17375"/>
                  <a:pt x="2688" y="17282"/>
                </a:cubicBezTo>
                <a:cubicBezTo>
                  <a:pt x="2438" y="17188"/>
                  <a:pt x="2156" y="17125"/>
                  <a:pt x="1906" y="17063"/>
                </a:cubicBezTo>
                <a:cubicBezTo>
                  <a:pt x="1875" y="17000"/>
                  <a:pt x="1813" y="17000"/>
                  <a:pt x="1781" y="16969"/>
                </a:cubicBezTo>
                <a:cubicBezTo>
                  <a:pt x="1719" y="16969"/>
                  <a:pt x="1656" y="16938"/>
                  <a:pt x="1563" y="16938"/>
                </a:cubicBezTo>
                <a:cubicBezTo>
                  <a:pt x="1625" y="16907"/>
                  <a:pt x="1688" y="16938"/>
                  <a:pt x="1750" y="16907"/>
                </a:cubicBezTo>
                <a:cubicBezTo>
                  <a:pt x="1813" y="16907"/>
                  <a:pt x="1844" y="16907"/>
                  <a:pt x="1906" y="16938"/>
                </a:cubicBezTo>
                <a:cubicBezTo>
                  <a:pt x="1906" y="16938"/>
                  <a:pt x="1906" y="16938"/>
                  <a:pt x="1906" y="16938"/>
                </a:cubicBezTo>
                <a:cubicBezTo>
                  <a:pt x="1906" y="16938"/>
                  <a:pt x="1906" y="16938"/>
                  <a:pt x="1906" y="16938"/>
                </a:cubicBezTo>
                <a:cubicBezTo>
                  <a:pt x="2438" y="17032"/>
                  <a:pt x="2969" y="17188"/>
                  <a:pt x="3469" y="17375"/>
                </a:cubicBezTo>
                <a:cubicBezTo>
                  <a:pt x="3688" y="17469"/>
                  <a:pt x="3906" y="17532"/>
                  <a:pt x="4094" y="17594"/>
                </a:cubicBezTo>
                <a:cubicBezTo>
                  <a:pt x="4125" y="17625"/>
                  <a:pt x="4156" y="17625"/>
                  <a:pt x="4156" y="17625"/>
                </a:cubicBezTo>
                <a:cubicBezTo>
                  <a:pt x="4188" y="17656"/>
                  <a:pt x="4219" y="17688"/>
                  <a:pt x="4281" y="17688"/>
                </a:cubicBezTo>
                <a:cubicBezTo>
                  <a:pt x="4281" y="17688"/>
                  <a:pt x="4281" y="17688"/>
                  <a:pt x="4281" y="17688"/>
                </a:cubicBezTo>
                <a:cubicBezTo>
                  <a:pt x="4281" y="17688"/>
                  <a:pt x="4281" y="17688"/>
                  <a:pt x="4281" y="17688"/>
                </a:cubicBezTo>
                <a:cubicBezTo>
                  <a:pt x="4281" y="17688"/>
                  <a:pt x="4281" y="17688"/>
                  <a:pt x="4281" y="17719"/>
                </a:cubicBezTo>
                <a:cubicBezTo>
                  <a:pt x="4281" y="17719"/>
                  <a:pt x="4313" y="17719"/>
                  <a:pt x="4313" y="17719"/>
                </a:cubicBezTo>
                <a:cubicBezTo>
                  <a:pt x="4344" y="17719"/>
                  <a:pt x="4344" y="17750"/>
                  <a:pt x="4375" y="17750"/>
                </a:cubicBezTo>
                <a:cubicBezTo>
                  <a:pt x="4344" y="17781"/>
                  <a:pt x="4375" y="17813"/>
                  <a:pt x="4438" y="17813"/>
                </a:cubicBezTo>
                <a:cubicBezTo>
                  <a:pt x="4656" y="17906"/>
                  <a:pt x="4875" y="18063"/>
                  <a:pt x="5094" y="18125"/>
                </a:cubicBezTo>
                <a:cubicBezTo>
                  <a:pt x="5156" y="18156"/>
                  <a:pt x="5188" y="18219"/>
                  <a:pt x="5250" y="18188"/>
                </a:cubicBezTo>
                <a:cubicBezTo>
                  <a:pt x="5250" y="18156"/>
                  <a:pt x="5250" y="18125"/>
                  <a:pt x="5219" y="18125"/>
                </a:cubicBezTo>
                <a:cubicBezTo>
                  <a:pt x="5188" y="18094"/>
                  <a:pt x="5188" y="18094"/>
                  <a:pt x="5188" y="18063"/>
                </a:cubicBezTo>
                <a:cubicBezTo>
                  <a:pt x="5188" y="18063"/>
                  <a:pt x="5188" y="18063"/>
                  <a:pt x="5188" y="18063"/>
                </a:cubicBezTo>
                <a:cubicBezTo>
                  <a:pt x="5156" y="18031"/>
                  <a:pt x="5094" y="18000"/>
                  <a:pt x="5063" y="17969"/>
                </a:cubicBezTo>
                <a:cubicBezTo>
                  <a:pt x="4875" y="17875"/>
                  <a:pt x="4688" y="17781"/>
                  <a:pt x="4500" y="17719"/>
                </a:cubicBezTo>
                <a:cubicBezTo>
                  <a:pt x="4406" y="17656"/>
                  <a:pt x="4313" y="17594"/>
                  <a:pt x="4188" y="17594"/>
                </a:cubicBezTo>
                <a:cubicBezTo>
                  <a:pt x="4063" y="17500"/>
                  <a:pt x="3938" y="17469"/>
                  <a:pt x="3781" y="17407"/>
                </a:cubicBezTo>
                <a:cubicBezTo>
                  <a:pt x="3563" y="17344"/>
                  <a:pt x="3344" y="17282"/>
                  <a:pt x="3125" y="17188"/>
                </a:cubicBezTo>
                <a:cubicBezTo>
                  <a:pt x="2781" y="17094"/>
                  <a:pt x="2469" y="17000"/>
                  <a:pt x="2125" y="16907"/>
                </a:cubicBezTo>
                <a:cubicBezTo>
                  <a:pt x="1844" y="16844"/>
                  <a:pt x="1531" y="16813"/>
                  <a:pt x="1250" y="16750"/>
                </a:cubicBezTo>
                <a:cubicBezTo>
                  <a:pt x="1438" y="16719"/>
                  <a:pt x="1656" y="16750"/>
                  <a:pt x="1844" y="16782"/>
                </a:cubicBezTo>
                <a:cubicBezTo>
                  <a:pt x="1969" y="16813"/>
                  <a:pt x="2094" y="16844"/>
                  <a:pt x="2219" y="16844"/>
                </a:cubicBezTo>
                <a:cubicBezTo>
                  <a:pt x="2469" y="16875"/>
                  <a:pt x="2719" y="17000"/>
                  <a:pt x="2969" y="17063"/>
                </a:cubicBezTo>
                <a:cubicBezTo>
                  <a:pt x="3094" y="17094"/>
                  <a:pt x="3250" y="17188"/>
                  <a:pt x="3406" y="17219"/>
                </a:cubicBezTo>
                <a:cubicBezTo>
                  <a:pt x="3438" y="17219"/>
                  <a:pt x="3469" y="17219"/>
                  <a:pt x="3500" y="17219"/>
                </a:cubicBezTo>
                <a:cubicBezTo>
                  <a:pt x="3500" y="17219"/>
                  <a:pt x="3500" y="17219"/>
                  <a:pt x="3500" y="17219"/>
                </a:cubicBezTo>
                <a:cubicBezTo>
                  <a:pt x="3500" y="17250"/>
                  <a:pt x="3531" y="17250"/>
                  <a:pt x="3563" y="17250"/>
                </a:cubicBezTo>
                <a:cubicBezTo>
                  <a:pt x="3563" y="17282"/>
                  <a:pt x="3563" y="17282"/>
                  <a:pt x="3594" y="17282"/>
                </a:cubicBezTo>
                <a:cubicBezTo>
                  <a:pt x="3625" y="17282"/>
                  <a:pt x="3656" y="17313"/>
                  <a:pt x="3688" y="17313"/>
                </a:cubicBezTo>
                <a:cubicBezTo>
                  <a:pt x="3906" y="17407"/>
                  <a:pt x="4156" y="17500"/>
                  <a:pt x="4375" y="17594"/>
                </a:cubicBezTo>
                <a:cubicBezTo>
                  <a:pt x="4594" y="17688"/>
                  <a:pt x="4781" y="17781"/>
                  <a:pt x="5031" y="17875"/>
                </a:cubicBezTo>
                <a:cubicBezTo>
                  <a:pt x="5000" y="17813"/>
                  <a:pt x="4969" y="17781"/>
                  <a:pt x="4969" y="17750"/>
                </a:cubicBezTo>
                <a:cubicBezTo>
                  <a:pt x="4969" y="17750"/>
                  <a:pt x="4969" y="17750"/>
                  <a:pt x="4969" y="17750"/>
                </a:cubicBezTo>
                <a:cubicBezTo>
                  <a:pt x="5094" y="17688"/>
                  <a:pt x="5156" y="17813"/>
                  <a:pt x="5219" y="17844"/>
                </a:cubicBezTo>
                <a:cubicBezTo>
                  <a:pt x="5250" y="17844"/>
                  <a:pt x="5281" y="17844"/>
                  <a:pt x="5281" y="17875"/>
                </a:cubicBezTo>
                <a:cubicBezTo>
                  <a:pt x="5313" y="17875"/>
                  <a:pt x="5375" y="17906"/>
                  <a:pt x="5375" y="17875"/>
                </a:cubicBezTo>
                <a:cubicBezTo>
                  <a:pt x="5406" y="17844"/>
                  <a:pt x="5344" y="17813"/>
                  <a:pt x="5313" y="17813"/>
                </a:cubicBezTo>
                <a:cubicBezTo>
                  <a:pt x="4969" y="17594"/>
                  <a:pt x="4563" y="17438"/>
                  <a:pt x="4188" y="17250"/>
                </a:cubicBezTo>
                <a:cubicBezTo>
                  <a:pt x="3938" y="17157"/>
                  <a:pt x="3719" y="17063"/>
                  <a:pt x="3469" y="17000"/>
                </a:cubicBezTo>
                <a:cubicBezTo>
                  <a:pt x="3000" y="16813"/>
                  <a:pt x="2531" y="16688"/>
                  <a:pt x="2031" y="16594"/>
                </a:cubicBezTo>
                <a:cubicBezTo>
                  <a:pt x="1781" y="16532"/>
                  <a:pt x="1531" y="16500"/>
                  <a:pt x="1281" y="16469"/>
                </a:cubicBezTo>
                <a:cubicBezTo>
                  <a:pt x="1250" y="16469"/>
                  <a:pt x="1219" y="16469"/>
                  <a:pt x="1219" y="16438"/>
                </a:cubicBezTo>
                <a:cubicBezTo>
                  <a:pt x="1188" y="16407"/>
                  <a:pt x="1219" y="16407"/>
                  <a:pt x="1250" y="16375"/>
                </a:cubicBezTo>
                <a:cubicBezTo>
                  <a:pt x="1344" y="16344"/>
                  <a:pt x="1469" y="16344"/>
                  <a:pt x="1563" y="16375"/>
                </a:cubicBezTo>
                <a:cubicBezTo>
                  <a:pt x="2000" y="16407"/>
                  <a:pt x="2438" y="16500"/>
                  <a:pt x="2844" y="16625"/>
                </a:cubicBezTo>
                <a:cubicBezTo>
                  <a:pt x="3281" y="16750"/>
                  <a:pt x="3688" y="16907"/>
                  <a:pt x="4125" y="17063"/>
                </a:cubicBezTo>
                <a:cubicBezTo>
                  <a:pt x="4656" y="17282"/>
                  <a:pt x="5188" y="17532"/>
                  <a:pt x="5688" y="17813"/>
                </a:cubicBezTo>
                <a:cubicBezTo>
                  <a:pt x="5688" y="17844"/>
                  <a:pt x="5656" y="17844"/>
                  <a:pt x="5625" y="17844"/>
                </a:cubicBezTo>
                <a:cubicBezTo>
                  <a:pt x="5625" y="17813"/>
                  <a:pt x="5594" y="17813"/>
                  <a:pt x="5594" y="17813"/>
                </a:cubicBezTo>
                <a:cubicBezTo>
                  <a:pt x="5594" y="17813"/>
                  <a:pt x="5594" y="17813"/>
                  <a:pt x="5594" y="17813"/>
                </a:cubicBezTo>
                <a:cubicBezTo>
                  <a:pt x="5594" y="17813"/>
                  <a:pt x="5625" y="17844"/>
                  <a:pt x="5625" y="17844"/>
                </a:cubicBezTo>
                <a:cubicBezTo>
                  <a:pt x="5625" y="17906"/>
                  <a:pt x="5688" y="17906"/>
                  <a:pt x="5719" y="17938"/>
                </a:cubicBezTo>
                <a:cubicBezTo>
                  <a:pt x="5875" y="18000"/>
                  <a:pt x="6000" y="18063"/>
                  <a:pt x="6156" y="18156"/>
                </a:cubicBezTo>
                <a:cubicBezTo>
                  <a:pt x="6219" y="18188"/>
                  <a:pt x="6281" y="18219"/>
                  <a:pt x="6344" y="18188"/>
                </a:cubicBezTo>
                <a:cubicBezTo>
                  <a:pt x="6375" y="18188"/>
                  <a:pt x="6406" y="18188"/>
                  <a:pt x="6438" y="18219"/>
                </a:cubicBezTo>
                <a:cubicBezTo>
                  <a:pt x="6438" y="18250"/>
                  <a:pt x="6469" y="18250"/>
                  <a:pt x="6469" y="18250"/>
                </a:cubicBezTo>
                <a:cubicBezTo>
                  <a:pt x="6500" y="18250"/>
                  <a:pt x="6500" y="18250"/>
                  <a:pt x="6531" y="18281"/>
                </a:cubicBezTo>
                <a:cubicBezTo>
                  <a:pt x="6531" y="18281"/>
                  <a:pt x="6500" y="18313"/>
                  <a:pt x="6500" y="18344"/>
                </a:cubicBezTo>
                <a:cubicBezTo>
                  <a:pt x="6531" y="18344"/>
                  <a:pt x="6563" y="18313"/>
                  <a:pt x="6563" y="18313"/>
                </a:cubicBezTo>
                <a:cubicBezTo>
                  <a:pt x="6594" y="18313"/>
                  <a:pt x="6594" y="18313"/>
                  <a:pt x="6594" y="18313"/>
                </a:cubicBezTo>
                <a:cubicBezTo>
                  <a:pt x="6594" y="18375"/>
                  <a:pt x="6625" y="18438"/>
                  <a:pt x="6688" y="18469"/>
                </a:cubicBezTo>
                <a:cubicBezTo>
                  <a:pt x="6844" y="18531"/>
                  <a:pt x="6938" y="18656"/>
                  <a:pt x="7094" y="18750"/>
                </a:cubicBezTo>
                <a:cubicBezTo>
                  <a:pt x="7094" y="18750"/>
                  <a:pt x="7094" y="18750"/>
                  <a:pt x="7094" y="18750"/>
                </a:cubicBezTo>
                <a:cubicBezTo>
                  <a:pt x="7063" y="18750"/>
                  <a:pt x="7063" y="18750"/>
                  <a:pt x="7031" y="18750"/>
                </a:cubicBezTo>
                <a:cubicBezTo>
                  <a:pt x="7031" y="18750"/>
                  <a:pt x="7000" y="18750"/>
                  <a:pt x="7000" y="18750"/>
                </a:cubicBezTo>
                <a:cubicBezTo>
                  <a:pt x="7000" y="18688"/>
                  <a:pt x="6969" y="18688"/>
                  <a:pt x="6938" y="18719"/>
                </a:cubicBezTo>
                <a:cubicBezTo>
                  <a:pt x="6563" y="18469"/>
                  <a:pt x="6156" y="18250"/>
                  <a:pt x="5781" y="18031"/>
                </a:cubicBezTo>
                <a:cubicBezTo>
                  <a:pt x="5719" y="18000"/>
                  <a:pt x="5656" y="17969"/>
                  <a:pt x="5563" y="17938"/>
                </a:cubicBezTo>
                <a:cubicBezTo>
                  <a:pt x="5563" y="17906"/>
                  <a:pt x="5531" y="17906"/>
                  <a:pt x="5531" y="17938"/>
                </a:cubicBezTo>
                <a:cubicBezTo>
                  <a:pt x="5500" y="17938"/>
                  <a:pt x="5531" y="17969"/>
                  <a:pt x="5531" y="17969"/>
                </a:cubicBezTo>
                <a:cubicBezTo>
                  <a:pt x="5563" y="18000"/>
                  <a:pt x="5625" y="18031"/>
                  <a:pt x="5656" y="18063"/>
                </a:cubicBezTo>
                <a:cubicBezTo>
                  <a:pt x="5719" y="18094"/>
                  <a:pt x="5813" y="18125"/>
                  <a:pt x="5875" y="18156"/>
                </a:cubicBezTo>
                <a:cubicBezTo>
                  <a:pt x="5906" y="18188"/>
                  <a:pt x="5938" y="18188"/>
                  <a:pt x="5969" y="18219"/>
                </a:cubicBezTo>
                <a:cubicBezTo>
                  <a:pt x="5938" y="18219"/>
                  <a:pt x="5938" y="18250"/>
                  <a:pt x="5906" y="18250"/>
                </a:cubicBezTo>
                <a:cubicBezTo>
                  <a:pt x="5906" y="18250"/>
                  <a:pt x="5875" y="18250"/>
                  <a:pt x="5844" y="18281"/>
                </a:cubicBezTo>
                <a:cubicBezTo>
                  <a:pt x="5813" y="18281"/>
                  <a:pt x="5844" y="18344"/>
                  <a:pt x="5813" y="18344"/>
                </a:cubicBezTo>
                <a:cubicBezTo>
                  <a:pt x="5813" y="18344"/>
                  <a:pt x="5813" y="18344"/>
                  <a:pt x="5813" y="18344"/>
                </a:cubicBezTo>
                <a:cubicBezTo>
                  <a:pt x="5781" y="18281"/>
                  <a:pt x="5750" y="18313"/>
                  <a:pt x="5719" y="18313"/>
                </a:cubicBezTo>
                <a:cubicBezTo>
                  <a:pt x="5688" y="18281"/>
                  <a:pt x="5656" y="18281"/>
                  <a:pt x="5625" y="18250"/>
                </a:cubicBezTo>
                <a:cubicBezTo>
                  <a:pt x="5594" y="18250"/>
                  <a:pt x="5563" y="18188"/>
                  <a:pt x="5531" y="18250"/>
                </a:cubicBezTo>
                <a:cubicBezTo>
                  <a:pt x="5500" y="18281"/>
                  <a:pt x="5563" y="18313"/>
                  <a:pt x="5594" y="18313"/>
                </a:cubicBezTo>
                <a:cubicBezTo>
                  <a:pt x="5594" y="18406"/>
                  <a:pt x="5719" y="18438"/>
                  <a:pt x="5750" y="18531"/>
                </a:cubicBezTo>
                <a:cubicBezTo>
                  <a:pt x="5594" y="18531"/>
                  <a:pt x="5500" y="18469"/>
                  <a:pt x="5406" y="18375"/>
                </a:cubicBezTo>
                <a:cubicBezTo>
                  <a:pt x="5344" y="18313"/>
                  <a:pt x="5250" y="18281"/>
                  <a:pt x="5188" y="18281"/>
                </a:cubicBezTo>
                <a:cubicBezTo>
                  <a:pt x="5125" y="18250"/>
                  <a:pt x="5063" y="18250"/>
                  <a:pt x="4969" y="18281"/>
                </a:cubicBezTo>
                <a:cubicBezTo>
                  <a:pt x="4969" y="18281"/>
                  <a:pt x="4938" y="18281"/>
                  <a:pt x="4938" y="18313"/>
                </a:cubicBezTo>
                <a:cubicBezTo>
                  <a:pt x="4938" y="18344"/>
                  <a:pt x="4969" y="18344"/>
                  <a:pt x="4969" y="18344"/>
                </a:cubicBezTo>
                <a:cubicBezTo>
                  <a:pt x="5031" y="18375"/>
                  <a:pt x="5094" y="18375"/>
                  <a:pt x="5125" y="18406"/>
                </a:cubicBezTo>
                <a:cubicBezTo>
                  <a:pt x="5250" y="18500"/>
                  <a:pt x="5438" y="18406"/>
                  <a:pt x="5469" y="18594"/>
                </a:cubicBezTo>
                <a:cubicBezTo>
                  <a:pt x="5500" y="18594"/>
                  <a:pt x="5500" y="18594"/>
                  <a:pt x="5500" y="18594"/>
                </a:cubicBezTo>
                <a:cubicBezTo>
                  <a:pt x="5750" y="18719"/>
                  <a:pt x="6000" y="18875"/>
                  <a:pt x="6250" y="19031"/>
                </a:cubicBezTo>
                <a:cubicBezTo>
                  <a:pt x="6719" y="19281"/>
                  <a:pt x="7188" y="19563"/>
                  <a:pt x="7625" y="19844"/>
                </a:cubicBezTo>
                <a:cubicBezTo>
                  <a:pt x="7719" y="19906"/>
                  <a:pt x="7781" y="19938"/>
                  <a:pt x="7844" y="20000"/>
                </a:cubicBezTo>
                <a:cubicBezTo>
                  <a:pt x="7875" y="20000"/>
                  <a:pt x="7937" y="20031"/>
                  <a:pt x="7937" y="20000"/>
                </a:cubicBezTo>
                <a:cubicBezTo>
                  <a:pt x="7969" y="19969"/>
                  <a:pt x="7937" y="19938"/>
                  <a:pt x="7906" y="19938"/>
                </a:cubicBezTo>
                <a:cubicBezTo>
                  <a:pt x="7813" y="19875"/>
                  <a:pt x="7719" y="19844"/>
                  <a:pt x="7656" y="19781"/>
                </a:cubicBezTo>
                <a:cubicBezTo>
                  <a:pt x="7594" y="19719"/>
                  <a:pt x="7500" y="19688"/>
                  <a:pt x="7500" y="19625"/>
                </a:cubicBezTo>
                <a:cubicBezTo>
                  <a:pt x="7500" y="19625"/>
                  <a:pt x="7500" y="19625"/>
                  <a:pt x="7500" y="19625"/>
                </a:cubicBezTo>
                <a:cubicBezTo>
                  <a:pt x="7500" y="19625"/>
                  <a:pt x="7531" y="19625"/>
                  <a:pt x="7531" y="19625"/>
                </a:cubicBezTo>
                <a:cubicBezTo>
                  <a:pt x="7906" y="19844"/>
                  <a:pt x="8250" y="20156"/>
                  <a:pt x="8625" y="20438"/>
                </a:cubicBezTo>
                <a:cubicBezTo>
                  <a:pt x="8625" y="20438"/>
                  <a:pt x="8656" y="20469"/>
                  <a:pt x="8594" y="20500"/>
                </a:cubicBezTo>
                <a:cubicBezTo>
                  <a:pt x="8531" y="20438"/>
                  <a:pt x="8437" y="20375"/>
                  <a:pt x="8375" y="20344"/>
                </a:cubicBezTo>
                <a:cubicBezTo>
                  <a:pt x="8375" y="20344"/>
                  <a:pt x="8375" y="20313"/>
                  <a:pt x="8375" y="20313"/>
                </a:cubicBezTo>
                <a:cubicBezTo>
                  <a:pt x="8375" y="20313"/>
                  <a:pt x="8375" y="20313"/>
                  <a:pt x="8375" y="20313"/>
                </a:cubicBezTo>
                <a:cubicBezTo>
                  <a:pt x="8344" y="20313"/>
                  <a:pt x="8344" y="20313"/>
                  <a:pt x="8344" y="20313"/>
                </a:cubicBezTo>
                <a:cubicBezTo>
                  <a:pt x="8281" y="20250"/>
                  <a:pt x="8219" y="20281"/>
                  <a:pt x="8156" y="20219"/>
                </a:cubicBezTo>
                <a:cubicBezTo>
                  <a:pt x="8156" y="20219"/>
                  <a:pt x="8125" y="20188"/>
                  <a:pt x="8094" y="20219"/>
                </a:cubicBezTo>
                <a:cubicBezTo>
                  <a:pt x="8094" y="20250"/>
                  <a:pt x="8125" y="20250"/>
                  <a:pt x="8125" y="20281"/>
                </a:cubicBezTo>
                <a:cubicBezTo>
                  <a:pt x="8187" y="20406"/>
                  <a:pt x="8312" y="20438"/>
                  <a:pt x="8406" y="20531"/>
                </a:cubicBezTo>
                <a:cubicBezTo>
                  <a:pt x="8469" y="20656"/>
                  <a:pt x="8625" y="20688"/>
                  <a:pt x="8687" y="20813"/>
                </a:cubicBezTo>
                <a:cubicBezTo>
                  <a:pt x="8656" y="20813"/>
                  <a:pt x="8594" y="20750"/>
                  <a:pt x="8594" y="20750"/>
                </a:cubicBezTo>
                <a:cubicBezTo>
                  <a:pt x="8500" y="20844"/>
                  <a:pt x="8469" y="20750"/>
                  <a:pt x="8437" y="20719"/>
                </a:cubicBezTo>
                <a:cubicBezTo>
                  <a:pt x="8375" y="20688"/>
                  <a:pt x="8281" y="20625"/>
                  <a:pt x="8219" y="20563"/>
                </a:cubicBezTo>
                <a:cubicBezTo>
                  <a:pt x="8000" y="20406"/>
                  <a:pt x="7813" y="20250"/>
                  <a:pt x="7594" y="20125"/>
                </a:cubicBezTo>
                <a:cubicBezTo>
                  <a:pt x="7375" y="19969"/>
                  <a:pt x="7156" y="19781"/>
                  <a:pt x="6875" y="19688"/>
                </a:cubicBezTo>
                <a:cubicBezTo>
                  <a:pt x="6813" y="19656"/>
                  <a:pt x="6719" y="19594"/>
                  <a:pt x="6625" y="19563"/>
                </a:cubicBezTo>
                <a:cubicBezTo>
                  <a:pt x="6625" y="19594"/>
                  <a:pt x="6656" y="19625"/>
                  <a:pt x="6688" y="19656"/>
                </a:cubicBezTo>
                <a:cubicBezTo>
                  <a:pt x="6719" y="19750"/>
                  <a:pt x="6844" y="19781"/>
                  <a:pt x="6906" y="19750"/>
                </a:cubicBezTo>
                <a:cubicBezTo>
                  <a:pt x="6969" y="19781"/>
                  <a:pt x="7063" y="19813"/>
                  <a:pt x="7125" y="19844"/>
                </a:cubicBezTo>
                <a:cubicBezTo>
                  <a:pt x="7469" y="20094"/>
                  <a:pt x="7844" y="20344"/>
                  <a:pt x="8187" y="20625"/>
                </a:cubicBezTo>
                <a:cubicBezTo>
                  <a:pt x="8250" y="20688"/>
                  <a:pt x="8312" y="20750"/>
                  <a:pt x="8406" y="20813"/>
                </a:cubicBezTo>
                <a:cubicBezTo>
                  <a:pt x="8531" y="20938"/>
                  <a:pt x="8719" y="21063"/>
                  <a:pt x="8812" y="21219"/>
                </a:cubicBezTo>
                <a:lnTo>
                  <a:pt x="8812" y="21219"/>
                </a:lnTo>
                <a:cubicBezTo>
                  <a:pt x="8781" y="21219"/>
                  <a:pt x="8750" y="21188"/>
                  <a:pt x="8687" y="21156"/>
                </a:cubicBezTo>
                <a:cubicBezTo>
                  <a:pt x="8562" y="21031"/>
                  <a:pt x="8437" y="20906"/>
                  <a:pt x="8281" y="20813"/>
                </a:cubicBezTo>
                <a:cubicBezTo>
                  <a:pt x="7969" y="20563"/>
                  <a:pt x="7656" y="20313"/>
                  <a:pt x="7313" y="20125"/>
                </a:cubicBezTo>
                <a:cubicBezTo>
                  <a:pt x="7250" y="20063"/>
                  <a:pt x="7156" y="20000"/>
                  <a:pt x="7063" y="19938"/>
                </a:cubicBezTo>
                <a:cubicBezTo>
                  <a:pt x="6875" y="19813"/>
                  <a:pt x="6656" y="19719"/>
                  <a:pt x="6438" y="19625"/>
                </a:cubicBezTo>
                <a:cubicBezTo>
                  <a:pt x="6281" y="19563"/>
                  <a:pt x="6188" y="19438"/>
                  <a:pt x="6031" y="19406"/>
                </a:cubicBezTo>
                <a:cubicBezTo>
                  <a:pt x="5750" y="19281"/>
                  <a:pt x="5500" y="19125"/>
                  <a:pt x="5250" y="18969"/>
                </a:cubicBezTo>
                <a:cubicBezTo>
                  <a:pt x="5188" y="18969"/>
                  <a:pt x="5156" y="18938"/>
                  <a:pt x="5125" y="18906"/>
                </a:cubicBezTo>
                <a:cubicBezTo>
                  <a:pt x="5094" y="18875"/>
                  <a:pt x="5063" y="18844"/>
                  <a:pt x="5031" y="18906"/>
                </a:cubicBezTo>
                <a:cubicBezTo>
                  <a:pt x="5000" y="18938"/>
                  <a:pt x="5031" y="18969"/>
                  <a:pt x="5063" y="18969"/>
                </a:cubicBezTo>
                <a:cubicBezTo>
                  <a:pt x="5313" y="19094"/>
                  <a:pt x="5531" y="19250"/>
                  <a:pt x="5750" y="19406"/>
                </a:cubicBezTo>
                <a:cubicBezTo>
                  <a:pt x="6031" y="19563"/>
                  <a:pt x="6313" y="19719"/>
                  <a:pt x="6563" y="19906"/>
                </a:cubicBezTo>
                <a:cubicBezTo>
                  <a:pt x="6531" y="19938"/>
                  <a:pt x="6563" y="19969"/>
                  <a:pt x="6500" y="19969"/>
                </a:cubicBezTo>
                <a:cubicBezTo>
                  <a:pt x="6469" y="19938"/>
                  <a:pt x="6438" y="19906"/>
                  <a:pt x="6406" y="19906"/>
                </a:cubicBezTo>
                <a:cubicBezTo>
                  <a:pt x="6313" y="19875"/>
                  <a:pt x="6250" y="19781"/>
                  <a:pt x="6156" y="19813"/>
                </a:cubicBezTo>
                <a:cubicBezTo>
                  <a:pt x="6125" y="19844"/>
                  <a:pt x="6094" y="19781"/>
                  <a:pt x="6031" y="19781"/>
                </a:cubicBezTo>
                <a:cubicBezTo>
                  <a:pt x="6000" y="19750"/>
                  <a:pt x="5969" y="19688"/>
                  <a:pt x="5906" y="19781"/>
                </a:cubicBezTo>
                <a:cubicBezTo>
                  <a:pt x="5875" y="19813"/>
                  <a:pt x="5844" y="19750"/>
                  <a:pt x="5813" y="19750"/>
                </a:cubicBezTo>
                <a:cubicBezTo>
                  <a:pt x="5500" y="19563"/>
                  <a:pt x="5188" y="19375"/>
                  <a:pt x="4844" y="19219"/>
                </a:cubicBezTo>
                <a:cubicBezTo>
                  <a:pt x="4656" y="19094"/>
                  <a:pt x="4469" y="18969"/>
                  <a:pt x="4281" y="18875"/>
                </a:cubicBezTo>
                <a:cubicBezTo>
                  <a:pt x="4156" y="18844"/>
                  <a:pt x="4031" y="18781"/>
                  <a:pt x="3938" y="18750"/>
                </a:cubicBezTo>
                <a:cubicBezTo>
                  <a:pt x="3813" y="18656"/>
                  <a:pt x="3625" y="18625"/>
                  <a:pt x="3500" y="18531"/>
                </a:cubicBezTo>
                <a:cubicBezTo>
                  <a:pt x="3390" y="18504"/>
                  <a:pt x="3280" y="18477"/>
                  <a:pt x="3191" y="18406"/>
                </a:cubicBezTo>
                <a:close/>
                <a:moveTo>
                  <a:pt x="4563" y="18625"/>
                </a:moveTo>
                <a:cubicBezTo>
                  <a:pt x="4531" y="18625"/>
                  <a:pt x="4500" y="18656"/>
                  <a:pt x="4500" y="18656"/>
                </a:cubicBezTo>
                <a:cubicBezTo>
                  <a:pt x="4500" y="18688"/>
                  <a:pt x="4500" y="18688"/>
                  <a:pt x="4531" y="18719"/>
                </a:cubicBezTo>
                <a:cubicBezTo>
                  <a:pt x="4625" y="18750"/>
                  <a:pt x="4719" y="18813"/>
                  <a:pt x="4844" y="18875"/>
                </a:cubicBezTo>
                <a:cubicBezTo>
                  <a:pt x="4844" y="18875"/>
                  <a:pt x="4875" y="18875"/>
                  <a:pt x="4906" y="18844"/>
                </a:cubicBezTo>
                <a:cubicBezTo>
                  <a:pt x="4875" y="18844"/>
                  <a:pt x="4875" y="18813"/>
                  <a:pt x="4875" y="18813"/>
                </a:cubicBezTo>
                <a:cubicBezTo>
                  <a:pt x="4781" y="18719"/>
                  <a:pt x="4656" y="18688"/>
                  <a:pt x="4563" y="18625"/>
                </a:cubicBezTo>
                <a:close/>
                <a:moveTo>
                  <a:pt x="4313" y="18156"/>
                </a:moveTo>
                <a:cubicBezTo>
                  <a:pt x="4125" y="18063"/>
                  <a:pt x="3906" y="17969"/>
                  <a:pt x="3719" y="17906"/>
                </a:cubicBezTo>
                <a:cubicBezTo>
                  <a:pt x="3563" y="17844"/>
                  <a:pt x="3406" y="17750"/>
                  <a:pt x="3219" y="17750"/>
                </a:cubicBezTo>
                <a:cubicBezTo>
                  <a:pt x="3219" y="17688"/>
                  <a:pt x="3156" y="17688"/>
                  <a:pt x="3125" y="17688"/>
                </a:cubicBezTo>
                <a:cubicBezTo>
                  <a:pt x="2875" y="17594"/>
                  <a:pt x="2625" y="17532"/>
                  <a:pt x="2375" y="17438"/>
                </a:cubicBezTo>
                <a:cubicBezTo>
                  <a:pt x="2250" y="17407"/>
                  <a:pt x="2125" y="17313"/>
                  <a:pt x="1969" y="17344"/>
                </a:cubicBezTo>
                <a:cubicBezTo>
                  <a:pt x="2031" y="17375"/>
                  <a:pt x="2063" y="17375"/>
                  <a:pt x="2094" y="17407"/>
                </a:cubicBezTo>
                <a:cubicBezTo>
                  <a:pt x="2406" y="17500"/>
                  <a:pt x="2688" y="17594"/>
                  <a:pt x="3000" y="17688"/>
                </a:cubicBezTo>
                <a:cubicBezTo>
                  <a:pt x="3063" y="17688"/>
                  <a:pt x="3125" y="17750"/>
                  <a:pt x="3219" y="17750"/>
                </a:cubicBezTo>
                <a:cubicBezTo>
                  <a:pt x="3250" y="17781"/>
                  <a:pt x="3281" y="17781"/>
                  <a:pt x="3313" y="17781"/>
                </a:cubicBezTo>
                <a:cubicBezTo>
                  <a:pt x="3500" y="17844"/>
                  <a:pt x="3656" y="17938"/>
                  <a:pt x="3813" y="18000"/>
                </a:cubicBezTo>
                <a:cubicBezTo>
                  <a:pt x="4000" y="18063"/>
                  <a:pt x="4188" y="18156"/>
                  <a:pt x="4344" y="18219"/>
                </a:cubicBezTo>
                <a:cubicBezTo>
                  <a:pt x="4500" y="18313"/>
                  <a:pt x="4625" y="18375"/>
                  <a:pt x="4813" y="18406"/>
                </a:cubicBezTo>
                <a:cubicBezTo>
                  <a:pt x="4656" y="18313"/>
                  <a:pt x="4531" y="18250"/>
                  <a:pt x="4375" y="18188"/>
                </a:cubicBezTo>
                <a:cubicBezTo>
                  <a:pt x="4375" y="18188"/>
                  <a:pt x="4344" y="18156"/>
                  <a:pt x="4313" y="18156"/>
                </a:cubicBezTo>
                <a:close/>
                <a:moveTo>
                  <a:pt x="23219" y="12750"/>
                </a:moveTo>
                <a:cubicBezTo>
                  <a:pt x="23125" y="12282"/>
                  <a:pt x="22937" y="11844"/>
                  <a:pt x="22750" y="11438"/>
                </a:cubicBezTo>
                <a:cubicBezTo>
                  <a:pt x="22625" y="11188"/>
                  <a:pt x="22531" y="10969"/>
                  <a:pt x="22406" y="10750"/>
                </a:cubicBezTo>
                <a:cubicBezTo>
                  <a:pt x="22250" y="10407"/>
                  <a:pt x="22062" y="10125"/>
                  <a:pt x="21875" y="9813"/>
                </a:cubicBezTo>
                <a:cubicBezTo>
                  <a:pt x="21781" y="9657"/>
                  <a:pt x="21656" y="9532"/>
                  <a:pt x="21562" y="9375"/>
                </a:cubicBezTo>
                <a:cubicBezTo>
                  <a:pt x="21562" y="9344"/>
                  <a:pt x="21562" y="9344"/>
                  <a:pt x="21562" y="9344"/>
                </a:cubicBezTo>
                <a:cubicBezTo>
                  <a:pt x="21562" y="9344"/>
                  <a:pt x="21562" y="9313"/>
                  <a:pt x="21531" y="9313"/>
                </a:cubicBezTo>
                <a:cubicBezTo>
                  <a:pt x="21531" y="9313"/>
                  <a:pt x="21531" y="9313"/>
                  <a:pt x="21500" y="9313"/>
                </a:cubicBezTo>
                <a:cubicBezTo>
                  <a:pt x="21500" y="9282"/>
                  <a:pt x="21500" y="9282"/>
                  <a:pt x="21500" y="9282"/>
                </a:cubicBezTo>
                <a:cubicBezTo>
                  <a:pt x="21500" y="9282"/>
                  <a:pt x="21500" y="9282"/>
                  <a:pt x="21500" y="9250"/>
                </a:cubicBezTo>
                <a:cubicBezTo>
                  <a:pt x="21500" y="9250"/>
                  <a:pt x="21500" y="9250"/>
                  <a:pt x="21500" y="9250"/>
                </a:cubicBezTo>
                <a:cubicBezTo>
                  <a:pt x="21500" y="9250"/>
                  <a:pt x="21469" y="9250"/>
                  <a:pt x="21469" y="9250"/>
                </a:cubicBezTo>
                <a:cubicBezTo>
                  <a:pt x="21469" y="9250"/>
                  <a:pt x="21469" y="9250"/>
                  <a:pt x="21469" y="9219"/>
                </a:cubicBezTo>
                <a:cubicBezTo>
                  <a:pt x="21469" y="9219"/>
                  <a:pt x="21469" y="9219"/>
                  <a:pt x="21469" y="9219"/>
                </a:cubicBezTo>
                <a:cubicBezTo>
                  <a:pt x="21469" y="9219"/>
                  <a:pt x="21469" y="9219"/>
                  <a:pt x="21437" y="9219"/>
                </a:cubicBezTo>
                <a:cubicBezTo>
                  <a:pt x="21437" y="9188"/>
                  <a:pt x="21437" y="9188"/>
                  <a:pt x="21406" y="9157"/>
                </a:cubicBezTo>
                <a:cubicBezTo>
                  <a:pt x="21219" y="8907"/>
                  <a:pt x="21031" y="8657"/>
                  <a:pt x="20844" y="8407"/>
                </a:cubicBezTo>
                <a:cubicBezTo>
                  <a:pt x="20562" y="8032"/>
                  <a:pt x="20250" y="7688"/>
                  <a:pt x="19906" y="7407"/>
                </a:cubicBezTo>
                <a:cubicBezTo>
                  <a:pt x="19625" y="7157"/>
                  <a:pt x="19344" y="6938"/>
                  <a:pt x="19094" y="6719"/>
                </a:cubicBezTo>
                <a:cubicBezTo>
                  <a:pt x="19031" y="6657"/>
                  <a:pt x="18969" y="6625"/>
                  <a:pt x="18906" y="6688"/>
                </a:cubicBezTo>
                <a:cubicBezTo>
                  <a:pt x="18875" y="6719"/>
                  <a:pt x="18844" y="6719"/>
                  <a:pt x="18812" y="6688"/>
                </a:cubicBezTo>
                <a:cubicBezTo>
                  <a:pt x="18781" y="6625"/>
                  <a:pt x="18750" y="6594"/>
                  <a:pt x="18812" y="6563"/>
                </a:cubicBezTo>
                <a:cubicBezTo>
                  <a:pt x="18875" y="6563"/>
                  <a:pt x="18875" y="6532"/>
                  <a:pt x="18844" y="6500"/>
                </a:cubicBezTo>
                <a:cubicBezTo>
                  <a:pt x="18812" y="6469"/>
                  <a:pt x="18781" y="6438"/>
                  <a:pt x="18719" y="6438"/>
                </a:cubicBezTo>
                <a:cubicBezTo>
                  <a:pt x="18594" y="6438"/>
                  <a:pt x="18531" y="6375"/>
                  <a:pt x="18500" y="6250"/>
                </a:cubicBezTo>
                <a:cubicBezTo>
                  <a:pt x="18500" y="6188"/>
                  <a:pt x="18500" y="6157"/>
                  <a:pt x="18469" y="6125"/>
                </a:cubicBezTo>
                <a:cubicBezTo>
                  <a:pt x="18375" y="6063"/>
                  <a:pt x="18312" y="5969"/>
                  <a:pt x="18219" y="5907"/>
                </a:cubicBezTo>
                <a:cubicBezTo>
                  <a:pt x="17875" y="5532"/>
                  <a:pt x="17500" y="5219"/>
                  <a:pt x="17125" y="4907"/>
                </a:cubicBezTo>
                <a:cubicBezTo>
                  <a:pt x="16812" y="4688"/>
                  <a:pt x="16531" y="4469"/>
                  <a:pt x="16219" y="4250"/>
                </a:cubicBezTo>
                <a:cubicBezTo>
                  <a:pt x="16156" y="4219"/>
                  <a:pt x="16062" y="4125"/>
                  <a:pt x="15969" y="4157"/>
                </a:cubicBezTo>
                <a:cubicBezTo>
                  <a:pt x="15844" y="4188"/>
                  <a:pt x="15750" y="4125"/>
                  <a:pt x="15687" y="4063"/>
                </a:cubicBezTo>
                <a:cubicBezTo>
                  <a:pt x="15625" y="4032"/>
                  <a:pt x="15562" y="4000"/>
                  <a:pt x="15500" y="3969"/>
                </a:cubicBezTo>
                <a:cubicBezTo>
                  <a:pt x="15437" y="3969"/>
                  <a:pt x="15344" y="3907"/>
                  <a:pt x="15281" y="4032"/>
                </a:cubicBezTo>
                <a:cubicBezTo>
                  <a:pt x="15281" y="4032"/>
                  <a:pt x="15219" y="4032"/>
                  <a:pt x="15187" y="4032"/>
                </a:cubicBezTo>
                <a:cubicBezTo>
                  <a:pt x="15156" y="4000"/>
                  <a:pt x="15094" y="3969"/>
                  <a:pt x="15031" y="3938"/>
                </a:cubicBezTo>
                <a:cubicBezTo>
                  <a:pt x="14844" y="3813"/>
                  <a:pt x="14625" y="3782"/>
                  <a:pt x="14469" y="3625"/>
                </a:cubicBezTo>
                <a:cubicBezTo>
                  <a:pt x="14469" y="3625"/>
                  <a:pt x="14437" y="3657"/>
                  <a:pt x="14437" y="3657"/>
                </a:cubicBezTo>
                <a:cubicBezTo>
                  <a:pt x="14437" y="3657"/>
                  <a:pt x="14437" y="3688"/>
                  <a:pt x="14469" y="3688"/>
                </a:cubicBezTo>
                <a:cubicBezTo>
                  <a:pt x="14687" y="3875"/>
                  <a:pt x="14937" y="4032"/>
                  <a:pt x="15156" y="4219"/>
                </a:cubicBezTo>
                <a:cubicBezTo>
                  <a:pt x="15500" y="4469"/>
                  <a:pt x="15844" y="4750"/>
                  <a:pt x="16187" y="5000"/>
                </a:cubicBezTo>
                <a:cubicBezTo>
                  <a:pt x="16625" y="5344"/>
                  <a:pt x="17062" y="5719"/>
                  <a:pt x="17500" y="6094"/>
                </a:cubicBezTo>
                <a:cubicBezTo>
                  <a:pt x="17594" y="6188"/>
                  <a:pt x="17719" y="6282"/>
                  <a:pt x="17812" y="6407"/>
                </a:cubicBezTo>
                <a:cubicBezTo>
                  <a:pt x="17844" y="6407"/>
                  <a:pt x="17875" y="6469"/>
                  <a:pt x="17844" y="6500"/>
                </a:cubicBezTo>
                <a:cubicBezTo>
                  <a:pt x="17812" y="6532"/>
                  <a:pt x="17781" y="6469"/>
                  <a:pt x="17750" y="6469"/>
                </a:cubicBezTo>
                <a:cubicBezTo>
                  <a:pt x="17719" y="6407"/>
                  <a:pt x="17656" y="6344"/>
                  <a:pt x="17594" y="6313"/>
                </a:cubicBezTo>
                <a:cubicBezTo>
                  <a:pt x="17594" y="6282"/>
                  <a:pt x="17531" y="6250"/>
                  <a:pt x="17531" y="6313"/>
                </a:cubicBezTo>
                <a:cubicBezTo>
                  <a:pt x="17531" y="6313"/>
                  <a:pt x="17531" y="6313"/>
                  <a:pt x="17531" y="6313"/>
                </a:cubicBezTo>
                <a:cubicBezTo>
                  <a:pt x="17500" y="6313"/>
                  <a:pt x="17469" y="6282"/>
                  <a:pt x="17437" y="6250"/>
                </a:cubicBezTo>
                <a:cubicBezTo>
                  <a:pt x="17250" y="6094"/>
                  <a:pt x="17031" y="5907"/>
                  <a:pt x="16844" y="5750"/>
                </a:cubicBezTo>
                <a:cubicBezTo>
                  <a:pt x="16469" y="5407"/>
                  <a:pt x="16031" y="5094"/>
                  <a:pt x="15625" y="4782"/>
                </a:cubicBezTo>
                <a:cubicBezTo>
                  <a:pt x="15625" y="4750"/>
                  <a:pt x="15594" y="4750"/>
                  <a:pt x="15594" y="4750"/>
                </a:cubicBezTo>
                <a:cubicBezTo>
                  <a:pt x="15562" y="4719"/>
                  <a:pt x="15531" y="4719"/>
                  <a:pt x="15531" y="4688"/>
                </a:cubicBezTo>
                <a:cubicBezTo>
                  <a:pt x="15500" y="4688"/>
                  <a:pt x="15500" y="4688"/>
                  <a:pt x="15500" y="4688"/>
                </a:cubicBezTo>
                <a:cubicBezTo>
                  <a:pt x="15500" y="4657"/>
                  <a:pt x="15469" y="4657"/>
                  <a:pt x="15469" y="4657"/>
                </a:cubicBezTo>
                <a:cubicBezTo>
                  <a:pt x="15406" y="4594"/>
                  <a:pt x="15375" y="4563"/>
                  <a:pt x="15312" y="4563"/>
                </a:cubicBezTo>
                <a:cubicBezTo>
                  <a:pt x="15312" y="4532"/>
                  <a:pt x="15281" y="4500"/>
                  <a:pt x="15250" y="4469"/>
                </a:cubicBezTo>
                <a:cubicBezTo>
                  <a:pt x="15250" y="4469"/>
                  <a:pt x="15250" y="4469"/>
                  <a:pt x="15250" y="4469"/>
                </a:cubicBezTo>
                <a:cubicBezTo>
                  <a:pt x="15219" y="4438"/>
                  <a:pt x="15187" y="4438"/>
                  <a:pt x="15187" y="4407"/>
                </a:cubicBezTo>
                <a:cubicBezTo>
                  <a:pt x="15125" y="4375"/>
                  <a:pt x="15062" y="4375"/>
                  <a:pt x="15031" y="4282"/>
                </a:cubicBezTo>
                <a:cubicBezTo>
                  <a:pt x="15031" y="4282"/>
                  <a:pt x="15031" y="4282"/>
                  <a:pt x="15031" y="4282"/>
                </a:cubicBezTo>
                <a:cubicBezTo>
                  <a:pt x="15031" y="4282"/>
                  <a:pt x="15031" y="4282"/>
                  <a:pt x="15031" y="4282"/>
                </a:cubicBezTo>
                <a:cubicBezTo>
                  <a:pt x="15062" y="4282"/>
                  <a:pt x="15094" y="4282"/>
                  <a:pt x="15094" y="4282"/>
                </a:cubicBezTo>
                <a:cubicBezTo>
                  <a:pt x="15094" y="4219"/>
                  <a:pt x="15062" y="4219"/>
                  <a:pt x="15031" y="4188"/>
                </a:cubicBezTo>
                <a:cubicBezTo>
                  <a:pt x="14812" y="4032"/>
                  <a:pt x="14594" y="3875"/>
                  <a:pt x="14375" y="3719"/>
                </a:cubicBezTo>
                <a:cubicBezTo>
                  <a:pt x="14281" y="3657"/>
                  <a:pt x="14187" y="3563"/>
                  <a:pt x="14125" y="3563"/>
                </a:cubicBezTo>
                <a:cubicBezTo>
                  <a:pt x="13969" y="3563"/>
                  <a:pt x="13875" y="3500"/>
                  <a:pt x="13781" y="3407"/>
                </a:cubicBezTo>
                <a:cubicBezTo>
                  <a:pt x="13531" y="3250"/>
                  <a:pt x="13312" y="3063"/>
                  <a:pt x="13062" y="2907"/>
                </a:cubicBezTo>
                <a:cubicBezTo>
                  <a:pt x="12812" y="2750"/>
                  <a:pt x="12562" y="2625"/>
                  <a:pt x="12312" y="2469"/>
                </a:cubicBezTo>
                <a:cubicBezTo>
                  <a:pt x="12281" y="2438"/>
                  <a:pt x="12250" y="2407"/>
                  <a:pt x="12219" y="2438"/>
                </a:cubicBezTo>
                <a:cubicBezTo>
                  <a:pt x="12219" y="2469"/>
                  <a:pt x="12250" y="2469"/>
                  <a:pt x="12250" y="2500"/>
                </a:cubicBezTo>
                <a:cubicBezTo>
                  <a:pt x="12562" y="2688"/>
                  <a:pt x="12844" y="2875"/>
                  <a:pt x="13125" y="3094"/>
                </a:cubicBezTo>
                <a:cubicBezTo>
                  <a:pt x="13687" y="3438"/>
                  <a:pt x="14219" y="3844"/>
                  <a:pt x="14750" y="4219"/>
                </a:cubicBezTo>
                <a:cubicBezTo>
                  <a:pt x="14781" y="4219"/>
                  <a:pt x="14812" y="4250"/>
                  <a:pt x="14812" y="4250"/>
                </a:cubicBezTo>
                <a:cubicBezTo>
                  <a:pt x="14969" y="4375"/>
                  <a:pt x="15125" y="4469"/>
                  <a:pt x="15312" y="4563"/>
                </a:cubicBezTo>
                <a:cubicBezTo>
                  <a:pt x="15312" y="4563"/>
                  <a:pt x="15312" y="4594"/>
                  <a:pt x="15312" y="4594"/>
                </a:cubicBezTo>
                <a:cubicBezTo>
                  <a:pt x="15312" y="4594"/>
                  <a:pt x="15344" y="4594"/>
                  <a:pt x="15344" y="4625"/>
                </a:cubicBezTo>
                <a:cubicBezTo>
                  <a:pt x="15344" y="4625"/>
                  <a:pt x="15344" y="4625"/>
                  <a:pt x="15344" y="4625"/>
                </a:cubicBezTo>
                <a:cubicBezTo>
                  <a:pt x="15375" y="4657"/>
                  <a:pt x="15375" y="4657"/>
                  <a:pt x="15375" y="4688"/>
                </a:cubicBezTo>
                <a:cubicBezTo>
                  <a:pt x="15281" y="4688"/>
                  <a:pt x="15219" y="4563"/>
                  <a:pt x="15125" y="4563"/>
                </a:cubicBezTo>
                <a:cubicBezTo>
                  <a:pt x="15125" y="4594"/>
                  <a:pt x="15156" y="4594"/>
                  <a:pt x="15156" y="4625"/>
                </a:cubicBezTo>
                <a:cubicBezTo>
                  <a:pt x="15344" y="4750"/>
                  <a:pt x="15500" y="4875"/>
                  <a:pt x="15656" y="5032"/>
                </a:cubicBezTo>
                <a:cubicBezTo>
                  <a:pt x="15687" y="5032"/>
                  <a:pt x="15687" y="5032"/>
                  <a:pt x="15687" y="5063"/>
                </a:cubicBezTo>
                <a:cubicBezTo>
                  <a:pt x="15687" y="5094"/>
                  <a:pt x="15656" y="5094"/>
                  <a:pt x="15625" y="5094"/>
                </a:cubicBezTo>
                <a:cubicBezTo>
                  <a:pt x="15594" y="5094"/>
                  <a:pt x="15594" y="5063"/>
                  <a:pt x="15562" y="5063"/>
                </a:cubicBezTo>
                <a:cubicBezTo>
                  <a:pt x="15344" y="4907"/>
                  <a:pt x="15156" y="4750"/>
                  <a:pt x="14937" y="4594"/>
                </a:cubicBezTo>
                <a:cubicBezTo>
                  <a:pt x="14594" y="4313"/>
                  <a:pt x="14219" y="4032"/>
                  <a:pt x="13844" y="3782"/>
                </a:cubicBezTo>
                <a:cubicBezTo>
                  <a:pt x="13562" y="3594"/>
                  <a:pt x="13281" y="3407"/>
                  <a:pt x="13000" y="3219"/>
                </a:cubicBezTo>
                <a:cubicBezTo>
                  <a:pt x="12625" y="2938"/>
                  <a:pt x="12250" y="2688"/>
                  <a:pt x="11875" y="2438"/>
                </a:cubicBezTo>
                <a:cubicBezTo>
                  <a:pt x="11844" y="2438"/>
                  <a:pt x="11812" y="2407"/>
                  <a:pt x="11812" y="2407"/>
                </a:cubicBezTo>
                <a:cubicBezTo>
                  <a:pt x="11687" y="2313"/>
                  <a:pt x="11625" y="2313"/>
                  <a:pt x="11562" y="2313"/>
                </a:cubicBezTo>
                <a:cubicBezTo>
                  <a:pt x="11562" y="2313"/>
                  <a:pt x="11562" y="2313"/>
                  <a:pt x="11562" y="2313"/>
                </a:cubicBezTo>
                <a:cubicBezTo>
                  <a:pt x="11562" y="2313"/>
                  <a:pt x="11562" y="2313"/>
                  <a:pt x="11562" y="2313"/>
                </a:cubicBezTo>
                <a:cubicBezTo>
                  <a:pt x="11594" y="2375"/>
                  <a:pt x="11656" y="2375"/>
                  <a:pt x="11687" y="2438"/>
                </a:cubicBezTo>
                <a:cubicBezTo>
                  <a:pt x="11687" y="2438"/>
                  <a:pt x="11719" y="2438"/>
                  <a:pt x="11719" y="2469"/>
                </a:cubicBezTo>
                <a:cubicBezTo>
                  <a:pt x="11687" y="2469"/>
                  <a:pt x="11656" y="2469"/>
                  <a:pt x="11656" y="2438"/>
                </a:cubicBezTo>
                <a:cubicBezTo>
                  <a:pt x="11469" y="2313"/>
                  <a:pt x="11250" y="2250"/>
                  <a:pt x="11062" y="2094"/>
                </a:cubicBezTo>
                <a:cubicBezTo>
                  <a:pt x="10875" y="1969"/>
                  <a:pt x="10625" y="1938"/>
                  <a:pt x="10437" y="1813"/>
                </a:cubicBezTo>
                <a:cubicBezTo>
                  <a:pt x="10344" y="1750"/>
                  <a:pt x="10250" y="1719"/>
                  <a:pt x="10156" y="1657"/>
                </a:cubicBezTo>
                <a:cubicBezTo>
                  <a:pt x="9781" y="1438"/>
                  <a:pt x="9406" y="1250"/>
                  <a:pt x="9031" y="1032"/>
                </a:cubicBezTo>
                <a:cubicBezTo>
                  <a:pt x="8406" y="719"/>
                  <a:pt x="7750" y="407"/>
                  <a:pt x="7094" y="125"/>
                </a:cubicBezTo>
                <a:cubicBezTo>
                  <a:pt x="6969" y="63"/>
                  <a:pt x="6875" y="0"/>
                  <a:pt x="6719" y="0"/>
                </a:cubicBezTo>
                <a:cubicBezTo>
                  <a:pt x="7125" y="250"/>
                  <a:pt x="7531" y="407"/>
                  <a:pt x="7937" y="625"/>
                </a:cubicBezTo>
                <a:cubicBezTo>
                  <a:pt x="8281" y="813"/>
                  <a:pt x="8656" y="1000"/>
                  <a:pt x="9031" y="1188"/>
                </a:cubicBezTo>
                <a:cubicBezTo>
                  <a:pt x="9406" y="1407"/>
                  <a:pt x="9781" y="1625"/>
                  <a:pt x="10156" y="1844"/>
                </a:cubicBezTo>
                <a:cubicBezTo>
                  <a:pt x="10469" y="2032"/>
                  <a:pt x="10812" y="2219"/>
                  <a:pt x="11125" y="2407"/>
                </a:cubicBezTo>
                <a:cubicBezTo>
                  <a:pt x="11469" y="2625"/>
                  <a:pt x="11812" y="2813"/>
                  <a:pt x="12156" y="3063"/>
                </a:cubicBezTo>
                <a:cubicBezTo>
                  <a:pt x="12344" y="3188"/>
                  <a:pt x="12531" y="3282"/>
                  <a:pt x="12719" y="3407"/>
                </a:cubicBezTo>
                <a:cubicBezTo>
                  <a:pt x="12750" y="3438"/>
                  <a:pt x="12812" y="3500"/>
                  <a:pt x="12906" y="3469"/>
                </a:cubicBezTo>
                <a:cubicBezTo>
                  <a:pt x="12781" y="3375"/>
                  <a:pt x="12656" y="3282"/>
                  <a:pt x="12531" y="3188"/>
                </a:cubicBezTo>
                <a:cubicBezTo>
                  <a:pt x="12687" y="3219"/>
                  <a:pt x="12844" y="3282"/>
                  <a:pt x="12969" y="3407"/>
                </a:cubicBezTo>
                <a:cubicBezTo>
                  <a:pt x="13094" y="3532"/>
                  <a:pt x="13281" y="3657"/>
                  <a:pt x="13437" y="3782"/>
                </a:cubicBezTo>
                <a:cubicBezTo>
                  <a:pt x="13812" y="4032"/>
                  <a:pt x="14187" y="4250"/>
                  <a:pt x="14531" y="4563"/>
                </a:cubicBezTo>
                <a:cubicBezTo>
                  <a:pt x="14562" y="4594"/>
                  <a:pt x="14625" y="4625"/>
                  <a:pt x="14625" y="4719"/>
                </a:cubicBezTo>
                <a:cubicBezTo>
                  <a:pt x="14594" y="4719"/>
                  <a:pt x="14594" y="4719"/>
                  <a:pt x="14594" y="4719"/>
                </a:cubicBezTo>
                <a:cubicBezTo>
                  <a:pt x="14344" y="4563"/>
                  <a:pt x="14125" y="4344"/>
                  <a:pt x="13844" y="4282"/>
                </a:cubicBezTo>
                <a:cubicBezTo>
                  <a:pt x="13750" y="4250"/>
                  <a:pt x="13687" y="4188"/>
                  <a:pt x="13594" y="4125"/>
                </a:cubicBezTo>
                <a:cubicBezTo>
                  <a:pt x="13344" y="3938"/>
                  <a:pt x="13094" y="3782"/>
                  <a:pt x="12844" y="3594"/>
                </a:cubicBezTo>
                <a:cubicBezTo>
                  <a:pt x="12250" y="3188"/>
                  <a:pt x="11625" y="2813"/>
                  <a:pt x="11031" y="2438"/>
                </a:cubicBezTo>
                <a:cubicBezTo>
                  <a:pt x="10469" y="2125"/>
                  <a:pt x="9937" y="1813"/>
                  <a:pt x="9406" y="1500"/>
                </a:cubicBezTo>
                <a:cubicBezTo>
                  <a:pt x="8875" y="1219"/>
                  <a:pt x="8344" y="938"/>
                  <a:pt x="7781" y="688"/>
                </a:cubicBezTo>
                <a:cubicBezTo>
                  <a:pt x="7719" y="688"/>
                  <a:pt x="7688" y="625"/>
                  <a:pt x="7625" y="625"/>
                </a:cubicBezTo>
                <a:cubicBezTo>
                  <a:pt x="7625" y="719"/>
                  <a:pt x="7688" y="719"/>
                  <a:pt x="7750" y="750"/>
                </a:cubicBezTo>
                <a:cubicBezTo>
                  <a:pt x="7906" y="813"/>
                  <a:pt x="8094" y="907"/>
                  <a:pt x="8250" y="1000"/>
                </a:cubicBezTo>
                <a:cubicBezTo>
                  <a:pt x="8375" y="1063"/>
                  <a:pt x="8531" y="1157"/>
                  <a:pt x="8687" y="1219"/>
                </a:cubicBezTo>
                <a:cubicBezTo>
                  <a:pt x="8906" y="1344"/>
                  <a:pt x="9125" y="1438"/>
                  <a:pt x="9312" y="1563"/>
                </a:cubicBezTo>
                <a:cubicBezTo>
                  <a:pt x="9375" y="1594"/>
                  <a:pt x="9406" y="1625"/>
                  <a:pt x="9406" y="1688"/>
                </a:cubicBezTo>
                <a:cubicBezTo>
                  <a:pt x="9281" y="1625"/>
                  <a:pt x="9187" y="1563"/>
                  <a:pt x="9062" y="1500"/>
                </a:cubicBezTo>
                <a:cubicBezTo>
                  <a:pt x="8969" y="1469"/>
                  <a:pt x="8844" y="1407"/>
                  <a:pt x="8750" y="1344"/>
                </a:cubicBezTo>
                <a:cubicBezTo>
                  <a:pt x="8750" y="1344"/>
                  <a:pt x="8750" y="1344"/>
                  <a:pt x="8750" y="1344"/>
                </a:cubicBezTo>
                <a:cubicBezTo>
                  <a:pt x="8750" y="1344"/>
                  <a:pt x="8750" y="1344"/>
                  <a:pt x="8750" y="1344"/>
                </a:cubicBezTo>
                <a:cubicBezTo>
                  <a:pt x="8750" y="1375"/>
                  <a:pt x="8750" y="1375"/>
                  <a:pt x="8750" y="1375"/>
                </a:cubicBezTo>
                <a:cubicBezTo>
                  <a:pt x="8781" y="1532"/>
                  <a:pt x="8969" y="1563"/>
                  <a:pt x="9094" y="1657"/>
                </a:cubicBezTo>
                <a:cubicBezTo>
                  <a:pt x="9250" y="1782"/>
                  <a:pt x="9469" y="1844"/>
                  <a:pt x="9656" y="1938"/>
                </a:cubicBezTo>
                <a:cubicBezTo>
                  <a:pt x="9969" y="2032"/>
                  <a:pt x="10250" y="2250"/>
                  <a:pt x="10531" y="2407"/>
                </a:cubicBezTo>
                <a:cubicBezTo>
                  <a:pt x="10875" y="2563"/>
                  <a:pt x="11187" y="2813"/>
                  <a:pt x="11531" y="3032"/>
                </a:cubicBezTo>
                <a:cubicBezTo>
                  <a:pt x="11844" y="3219"/>
                  <a:pt x="12187" y="3438"/>
                  <a:pt x="12500" y="3657"/>
                </a:cubicBezTo>
                <a:cubicBezTo>
                  <a:pt x="12969" y="3938"/>
                  <a:pt x="13406" y="4250"/>
                  <a:pt x="13844" y="4563"/>
                </a:cubicBezTo>
                <a:cubicBezTo>
                  <a:pt x="14000" y="4688"/>
                  <a:pt x="14156" y="4782"/>
                  <a:pt x="14312" y="4907"/>
                </a:cubicBezTo>
                <a:cubicBezTo>
                  <a:pt x="14562" y="5063"/>
                  <a:pt x="14781" y="5250"/>
                  <a:pt x="15000" y="5438"/>
                </a:cubicBezTo>
                <a:cubicBezTo>
                  <a:pt x="15000" y="5438"/>
                  <a:pt x="15000" y="5438"/>
                  <a:pt x="15000" y="5438"/>
                </a:cubicBezTo>
                <a:cubicBezTo>
                  <a:pt x="15062" y="5469"/>
                  <a:pt x="15094" y="5500"/>
                  <a:pt x="15094" y="5563"/>
                </a:cubicBezTo>
                <a:cubicBezTo>
                  <a:pt x="15094" y="5563"/>
                  <a:pt x="15094" y="5563"/>
                  <a:pt x="15062" y="5563"/>
                </a:cubicBezTo>
                <a:cubicBezTo>
                  <a:pt x="15062" y="5563"/>
                  <a:pt x="15031" y="5563"/>
                  <a:pt x="15031" y="5532"/>
                </a:cubicBezTo>
                <a:cubicBezTo>
                  <a:pt x="14781" y="5344"/>
                  <a:pt x="14531" y="5188"/>
                  <a:pt x="14281" y="5000"/>
                </a:cubicBezTo>
                <a:cubicBezTo>
                  <a:pt x="13719" y="4563"/>
                  <a:pt x="13094" y="4188"/>
                  <a:pt x="12500" y="3782"/>
                </a:cubicBezTo>
                <a:cubicBezTo>
                  <a:pt x="12500" y="3782"/>
                  <a:pt x="12469" y="3750"/>
                  <a:pt x="12437" y="3782"/>
                </a:cubicBezTo>
                <a:cubicBezTo>
                  <a:pt x="12437" y="3782"/>
                  <a:pt x="12437" y="3813"/>
                  <a:pt x="12469" y="3813"/>
                </a:cubicBezTo>
                <a:cubicBezTo>
                  <a:pt x="12687" y="3969"/>
                  <a:pt x="12937" y="4157"/>
                  <a:pt x="13156" y="4313"/>
                </a:cubicBezTo>
                <a:cubicBezTo>
                  <a:pt x="13375" y="4438"/>
                  <a:pt x="13594" y="4594"/>
                  <a:pt x="13812" y="4719"/>
                </a:cubicBezTo>
                <a:cubicBezTo>
                  <a:pt x="14094" y="4907"/>
                  <a:pt x="14344" y="5094"/>
                  <a:pt x="14625" y="5313"/>
                </a:cubicBezTo>
                <a:cubicBezTo>
                  <a:pt x="14844" y="5469"/>
                  <a:pt x="15094" y="5657"/>
                  <a:pt x="15312" y="5844"/>
                </a:cubicBezTo>
                <a:cubicBezTo>
                  <a:pt x="15375" y="5907"/>
                  <a:pt x="15437" y="5938"/>
                  <a:pt x="15500" y="6000"/>
                </a:cubicBezTo>
                <a:cubicBezTo>
                  <a:pt x="15594" y="6094"/>
                  <a:pt x="15719" y="6157"/>
                  <a:pt x="15844" y="6219"/>
                </a:cubicBezTo>
                <a:cubicBezTo>
                  <a:pt x="15844" y="6219"/>
                  <a:pt x="15844" y="6219"/>
                  <a:pt x="15844" y="6219"/>
                </a:cubicBezTo>
                <a:cubicBezTo>
                  <a:pt x="15844" y="6219"/>
                  <a:pt x="15844" y="6219"/>
                  <a:pt x="15844" y="6219"/>
                </a:cubicBezTo>
                <a:cubicBezTo>
                  <a:pt x="15844" y="6219"/>
                  <a:pt x="15844" y="6219"/>
                  <a:pt x="15844" y="6219"/>
                </a:cubicBezTo>
                <a:cubicBezTo>
                  <a:pt x="15875" y="6282"/>
                  <a:pt x="15906" y="6344"/>
                  <a:pt x="15969" y="6344"/>
                </a:cubicBezTo>
                <a:cubicBezTo>
                  <a:pt x="16000" y="6375"/>
                  <a:pt x="16000" y="6375"/>
                  <a:pt x="16031" y="6375"/>
                </a:cubicBezTo>
                <a:cubicBezTo>
                  <a:pt x="16031" y="6407"/>
                  <a:pt x="16062" y="6438"/>
                  <a:pt x="16094" y="6438"/>
                </a:cubicBezTo>
                <a:cubicBezTo>
                  <a:pt x="16250" y="6594"/>
                  <a:pt x="16437" y="6719"/>
                  <a:pt x="16594" y="6875"/>
                </a:cubicBezTo>
                <a:cubicBezTo>
                  <a:pt x="16656" y="6938"/>
                  <a:pt x="16750" y="6969"/>
                  <a:pt x="16812" y="7032"/>
                </a:cubicBezTo>
                <a:cubicBezTo>
                  <a:pt x="16844" y="7000"/>
                  <a:pt x="16812" y="7000"/>
                  <a:pt x="16812" y="6969"/>
                </a:cubicBezTo>
                <a:cubicBezTo>
                  <a:pt x="16719" y="6875"/>
                  <a:pt x="16594" y="6782"/>
                  <a:pt x="16500" y="6688"/>
                </a:cubicBezTo>
                <a:cubicBezTo>
                  <a:pt x="16469" y="6657"/>
                  <a:pt x="16406" y="6625"/>
                  <a:pt x="16375" y="6594"/>
                </a:cubicBezTo>
                <a:cubicBezTo>
                  <a:pt x="16281" y="6500"/>
                  <a:pt x="16156" y="6438"/>
                  <a:pt x="16031" y="6344"/>
                </a:cubicBezTo>
                <a:cubicBezTo>
                  <a:pt x="16031" y="6344"/>
                  <a:pt x="16031" y="6344"/>
                  <a:pt x="16031" y="6344"/>
                </a:cubicBezTo>
                <a:cubicBezTo>
                  <a:pt x="16031" y="6344"/>
                  <a:pt x="16031" y="6344"/>
                  <a:pt x="16031" y="6344"/>
                </a:cubicBezTo>
                <a:cubicBezTo>
                  <a:pt x="16031" y="6344"/>
                  <a:pt x="16031" y="6344"/>
                  <a:pt x="16031" y="6344"/>
                </a:cubicBezTo>
                <a:cubicBezTo>
                  <a:pt x="16031" y="6344"/>
                  <a:pt x="16000" y="6313"/>
                  <a:pt x="15969" y="6313"/>
                </a:cubicBezTo>
                <a:cubicBezTo>
                  <a:pt x="15937" y="6250"/>
                  <a:pt x="15906" y="6250"/>
                  <a:pt x="15844" y="6219"/>
                </a:cubicBezTo>
                <a:cubicBezTo>
                  <a:pt x="15844" y="6157"/>
                  <a:pt x="15781" y="6157"/>
                  <a:pt x="15750" y="6125"/>
                </a:cubicBezTo>
                <a:cubicBezTo>
                  <a:pt x="15750" y="6125"/>
                  <a:pt x="15719" y="6094"/>
                  <a:pt x="15719" y="6094"/>
                </a:cubicBezTo>
                <a:cubicBezTo>
                  <a:pt x="15500" y="5907"/>
                  <a:pt x="15281" y="5750"/>
                  <a:pt x="15094" y="5563"/>
                </a:cubicBezTo>
                <a:cubicBezTo>
                  <a:pt x="15125" y="5563"/>
                  <a:pt x="15156" y="5563"/>
                  <a:pt x="15187" y="5594"/>
                </a:cubicBezTo>
                <a:cubicBezTo>
                  <a:pt x="15312" y="5688"/>
                  <a:pt x="15437" y="5782"/>
                  <a:pt x="15531" y="5875"/>
                </a:cubicBezTo>
                <a:cubicBezTo>
                  <a:pt x="16000" y="6250"/>
                  <a:pt x="16469" y="6625"/>
                  <a:pt x="16937" y="7000"/>
                </a:cubicBezTo>
                <a:cubicBezTo>
                  <a:pt x="16906" y="7032"/>
                  <a:pt x="16844" y="7094"/>
                  <a:pt x="16812" y="7125"/>
                </a:cubicBezTo>
                <a:cubicBezTo>
                  <a:pt x="16719" y="7063"/>
                  <a:pt x="16625" y="7032"/>
                  <a:pt x="16562" y="7032"/>
                </a:cubicBezTo>
                <a:cubicBezTo>
                  <a:pt x="16625" y="7094"/>
                  <a:pt x="16687" y="7157"/>
                  <a:pt x="16719" y="7188"/>
                </a:cubicBezTo>
                <a:cubicBezTo>
                  <a:pt x="16719" y="7219"/>
                  <a:pt x="16687" y="7219"/>
                  <a:pt x="16656" y="7250"/>
                </a:cubicBezTo>
                <a:cubicBezTo>
                  <a:pt x="16594" y="7188"/>
                  <a:pt x="16531" y="7125"/>
                  <a:pt x="16437" y="7063"/>
                </a:cubicBezTo>
                <a:cubicBezTo>
                  <a:pt x="16031" y="6688"/>
                  <a:pt x="15531" y="6344"/>
                  <a:pt x="15094" y="6000"/>
                </a:cubicBezTo>
                <a:cubicBezTo>
                  <a:pt x="15062" y="5938"/>
                  <a:pt x="15000" y="5907"/>
                  <a:pt x="14937" y="5844"/>
                </a:cubicBezTo>
                <a:cubicBezTo>
                  <a:pt x="14719" y="5688"/>
                  <a:pt x="14469" y="5532"/>
                  <a:pt x="14219" y="5375"/>
                </a:cubicBezTo>
                <a:cubicBezTo>
                  <a:pt x="14250" y="5438"/>
                  <a:pt x="14281" y="5469"/>
                  <a:pt x="14312" y="5500"/>
                </a:cubicBezTo>
                <a:cubicBezTo>
                  <a:pt x="14344" y="5500"/>
                  <a:pt x="14344" y="5532"/>
                  <a:pt x="14375" y="5532"/>
                </a:cubicBezTo>
                <a:cubicBezTo>
                  <a:pt x="14406" y="5563"/>
                  <a:pt x="14437" y="5625"/>
                  <a:pt x="14437" y="5657"/>
                </a:cubicBezTo>
                <a:cubicBezTo>
                  <a:pt x="14406" y="5657"/>
                  <a:pt x="14406" y="5657"/>
                  <a:pt x="14406" y="5657"/>
                </a:cubicBezTo>
                <a:cubicBezTo>
                  <a:pt x="14406" y="5657"/>
                  <a:pt x="14406" y="5625"/>
                  <a:pt x="14375" y="5625"/>
                </a:cubicBezTo>
                <a:cubicBezTo>
                  <a:pt x="14312" y="5594"/>
                  <a:pt x="14219" y="5563"/>
                  <a:pt x="14156" y="5500"/>
                </a:cubicBezTo>
                <a:cubicBezTo>
                  <a:pt x="14094" y="5469"/>
                  <a:pt x="14031" y="5438"/>
                  <a:pt x="13969" y="5407"/>
                </a:cubicBezTo>
                <a:cubicBezTo>
                  <a:pt x="13937" y="5375"/>
                  <a:pt x="13875" y="5344"/>
                  <a:pt x="13844" y="5313"/>
                </a:cubicBezTo>
                <a:cubicBezTo>
                  <a:pt x="13500" y="5094"/>
                  <a:pt x="13219" y="4813"/>
                  <a:pt x="12937" y="4594"/>
                </a:cubicBezTo>
                <a:cubicBezTo>
                  <a:pt x="12750" y="4438"/>
                  <a:pt x="12562" y="4344"/>
                  <a:pt x="12375" y="4219"/>
                </a:cubicBezTo>
                <a:cubicBezTo>
                  <a:pt x="12375" y="4219"/>
                  <a:pt x="12375" y="4188"/>
                  <a:pt x="12344" y="4188"/>
                </a:cubicBezTo>
                <a:cubicBezTo>
                  <a:pt x="12281" y="4125"/>
                  <a:pt x="12250" y="4094"/>
                  <a:pt x="12156" y="4094"/>
                </a:cubicBezTo>
                <a:cubicBezTo>
                  <a:pt x="12156" y="4094"/>
                  <a:pt x="12156" y="4094"/>
                  <a:pt x="12125" y="4063"/>
                </a:cubicBezTo>
                <a:cubicBezTo>
                  <a:pt x="12125" y="4063"/>
                  <a:pt x="12125" y="4094"/>
                  <a:pt x="12125" y="4094"/>
                </a:cubicBezTo>
                <a:cubicBezTo>
                  <a:pt x="12125" y="4094"/>
                  <a:pt x="12156" y="4094"/>
                  <a:pt x="12156" y="4094"/>
                </a:cubicBezTo>
                <a:cubicBezTo>
                  <a:pt x="12187" y="4125"/>
                  <a:pt x="12187" y="4125"/>
                  <a:pt x="12219" y="4157"/>
                </a:cubicBezTo>
                <a:cubicBezTo>
                  <a:pt x="12250" y="4188"/>
                  <a:pt x="12312" y="4219"/>
                  <a:pt x="12375" y="4250"/>
                </a:cubicBezTo>
                <a:cubicBezTo>
                  <a:pt x="12375" y="4250"/>
                  <a:pt x="12375" y="4250"/>
                  <a:pt x="12375" y="4250"/>
                </a:cubicBezTo>
                <a:cubicBezTo>
                  <a:pt x="12375" y="4250"/>
                  <a:pt x="12375" y="4250"/>
                  <a:pt x="12406" y="4282"/>
                </a:cubicBezTo>
                <a:cubicBezTo>
                  <a:pt x="12406" y="4282"/>
                  <a:pt x="12406" y="4282"/>
                  <a:pt x="12406" y="4313"/>
                </a:cubicBezTo>
                <a:cubicBezTo>
                  <a:pt x="12406" y="4313"/>
                  <a:pt x="12406" y="4313"/>
                  <a:pt x="12406" y="4344"/>
                </a:cubicBezTo>
                <a:cubicBezTo>
                  <a:pt x="12187" y="4219"/>
                  <a:pt x="11969" y="4094"/>
                  <a:pt x="11750" y="3969"/>
                </a:cubicBezTo>
                <a:cubicBezTo>
                  <a:pt x="11687" y="3907"/>
                  <a:pt x="11625" y="3844"/>
                  <a:pt x="11500" y="3813"/>
                </a:cubicBezTo>
                <a:cubicBezTo>
                  <a:pt x="11531" y="3844"/>
                  <a:pt x="11531" y="3875"/>
                  <a:pt x="11562" y="3875"/>
                </a:cubicBezTo>
                <a:cubicBezTo>
                  <a:pt x="11562" y="3907"/>
                  <a:pt x="11594" y="3907"/>
                  <a:pt x="11594" y="3938"/>
                </a:cubicBezTo>
                <a:cubicBezTo>
                  <a:pt x="11625" y="3938"/>
                  <a:pt x="11687" y="3969"/>
                  <a:pt x="11719" y="3969"/>
                </a:cubicBezTo>
                <a:cubicBezTo>
                  <a:pt x="12000" y="4157"/>
                  <a:pt x="12281" y="4313"/>
                  <a:pt x="12562" y="4500"/>
                </a:cubicBezTo>
                <a:cubicBezTo>
                  <a:pt x="13094" y="4875"/>
                  <a:pt x="13594" y="5219"/>
                  <a:pt x="14125" y="5594"/>
                </a:cubicBezTo>
                <a:cubicBezTo>
                  <a:pt x="14156" y="5625"/>
                  <a:pt x="14187" y="5657"/>
                  <a:pt x="14219" y="5657"/>
                </a:cubicBezTo>
                <a:cubicBezTo>
                  <a:pt x="14312" y="5719"/>
                  <a:pt x="14437" y="5813"/>
                  <a:pt x="14500" y="5875"/>
                </a:cubicBezTo>
                <a:cubicBezTo>
                  <a:pt x="14469" y="5907"/>
                  <a:pt x="14437" y="5907"/>
                  <a:pt x="14406" y="5875"/>
                </a:cubicBezTo>
                <a:cubicBezTo>
                  <a:pt x="14406" y="5875"/>
                  <a:pt x="14406" y="5875"/>
                  <a:pt x="14375" y="5844"/>
                </a:cubicBezTo>
                <a:cubicBezTo>
                  <a:pt x="14094" y="5657"/>
                  <a:pt x="13812" y="5469"/>
                  <a:pt x="13531" y="5250"/>
                </a:cubicBezTo>
                <a:cubicBezTo>
                  <a:pt x="13500" y="5219"/>
                  <a:pt x="13469" y="5219"/>
                  <a:pt x="13469" y="5282"/>
                </a:cubicBezTo>
                <a:cubicBezTo>
                  <a:pt x="13375" y="5188"/>
                  <a:pt x="13250" y="5157"/>
                  <a:pt x="13125" y="5094"/>
                </a:cubicBezTo>
                <a:cubicBezTo>
                  <a:pt x="12687" y="4782"/>
                  <a:pt x="12250" y="4469"/>
                  <a:pt x="11812" y="4188"/>
                </a:cubicBezTo>
                <a:cubicBezTo>
                  <a:pt x="11656" y="4125"/>
                  <a:pt x="11531" y="4032"/>
                  <a:pt x="11375" y="4032"/>
                </a:cubicBezTo>
                <a:cubicBezTo>
                  <a:pt x="11375" y="4032"/>
                  <a:pt x="11344" y="4032"/>
                  <a:pt x="11344" y="4000"/>
                </a:cubicBezTo>
                <a:cubicBezTo>
                  <a:pt x="11344" y="4032"/>
                  <a:pt x="11344" y="4032"/>
                  <a:pt x="11344" y="4032"/>
                </a:cubicBezTo>
                <a:lnTo>
                  <a:pt x="11344" y="4032"/>
                </a:lnTo>
                <a:cubicBezTo>
                  <a:pt x="11344" y="4032"/>
                  <a:pt x="11344" y="4032"/>
                  <a:pt x="11375" y="4032"/>
                </a:cubicBezTo>
                <a:cubicBezTo>
                  <a:pt x="11375" y="4063"/>
                  <a:pt x="11406" y="4063"/>
                  <a:pt x="11437" y="4094"/>
                </a:cubicBezTo>
                <a:cubicBezTo>
                  <a:pt x="11719" y="4250"/>
                  <a:pt x="11969" y="4407"/>
                  <a:pt x="12250" y="4594"/>
                </a:cubicBezTo>
                <a:cubicBezTo>
                  <a:pt x="12656" y="4875"/>
                  <a:pt x="13094" y="5125"/>
                  <a:pt x="13469" y="5438"/>
                </a:cubicBezTo>
                <a:cubicBezTo>
                  <a:pt x="13562" y="5532"/>
                  <a:pt x="13687" y="5563"/>
                  <a:pt x="13781" y="5657"/>
                </a:cubicBezTo>
                <a:cubicBezTo>
                  <a:pt x="13937" y="5813"/>
                  <a:pt x="14094" y="5969"/>
                  <a:pt x="14281" y="6125"/>
                </a:cubicBezTo>
                <a:cubicBezTo>
                  <a:pt x="14812" y="6500"/>
                  <a:pt x="15344" y="6907"/>
                  <a:pt x="15844" y="7344"/>
                </a:cubicBezTo>
                <a:cubicBezTo>
                  <a:pt x="15969" y="7438"/>
                  <a:pt x="16062" y="7532"/>
                  <a:pt x="16187" y="7625"/>
                </a:cubicBezTo>
                <a:cubicBezTo>
                  <a:pt x="16156" y="7625"/>
                  <a:pt x="16156" y="7657"/>
                  <a:pt x="16125" y="7688"/>
                </a:cubicBezTo>
                <a:cubicBezTo>
                  <a:pt x="16000" y="7594"/>
                  <a:pt x="15906" y="7500"/>
                  <a:pt x="15781" y="7438"/>
                </a:cubicBezTo>
                <a:cubicBezTo>
                  <a:pt x="15750" y="7407"/>
                  <a:pt x="15750" y="7407"/>
                  <a:pt x="15750" y="7375"/>
                </a:cubicBezTo>
                <a:cubicBezTo>
                  <a:pt x="15687" y="7344"/>
                  <a:pt x="15625" y="7313"/>
                  <a:pt x="15594" y="7282"/>
                </a:cubicBezTo>
                <a:cubicBezTo>
                  <a:pt x="15594" y="7250"/>
                  <a:pt x="15562" y="7219"/>
                  <a:pt x="15562" y="7219"/>
                </a:cubicBezTo>
                <a:cubicBezTo>
                  <a:pt x="15531" y="7219"/>
                  <a:pt x="15531" y="7219"/>
                  <a:pt x="15531" y="7188"/>
                </a:cubicBezTo>
                <a:cubicBezTo>
                  <a:pt x="15375" y="7094"/>
                  <a:pt x="15219" y="6969"/>
                  <a:pt x="15062" y="6844"/>
                </a:cubicBezTo>
                <a:cubicBezTo>
                  <a:pt x="15000" y="6813"/>
                  <a:pt x="14937" y="6719"/>
                  <a:pt x="14844" y="6782"/>
                </a:cubicBezTo>
                <a:cubicBezTo>
                  <a:pt x="14750" y="6688"/>
                  <a:pt x="14656" y="6563"/>
                  <a:pt x="14531" y="6532"/>
                </a:cubicBezTo>
                <a:cubicBezTo>
                  <a:pt x="14531" y="6500"/>
                  <a:pt x="14531" y="6500"/>
                  <a:pt x="14500" y="6500"/>
                </a:cubicBezTo>
                <a:cubicBezTo>
                  <a:pt x="14500" y="6500"/>
                  <a:pt x="14500" y="6500"/>
                  <a:pt x="14500" y="6500"/>
                </a:cubicBezTo>
                <a:cubicBezTo>
                  <a:pt x="14500" y="6500"/>
                  <a:pt x="14500" y="6500"/>
                  <a:pt x="14500" y="6500"/>
                </a:cubicBezTo>
                <a:cubicBezTo>
                  <a:pt x="14500" y="6500"/>
                  <a:pt x="14500" y="6500"/>
                  <a:pt x="14469" y="6500"/>
                </a:cubicBezTo>
                <a:cubicBezTo>
                  <a:pt x="14469" y="6500"/>
                  <a:pt x="14469" y="6469"/>
                  <a:pt x="14469" y="6469"/>
                </a:cubicBezTo>
                <a:cubicBezTo>
                  <a:pt x="14437" y="6469"/>
                  <a:pt x="14406" y="6438"/>
                  <a:pt x="14375" y="6438"/>
                </a:cubicBezTo>
                <a:cubicBezTo>
                  <a:pt x="14375" y="6375"/>
                  <a:pt x="14375" y="6375"/>
                  <a:pt x="14344" y="6344"/>
                </a:cubicBezTo>
                <a:cubicBezTo>
                  <a:pt x="14000" y="6125"/>
                  <a:pt x="13687" y="5907"/>
                  <a:pt x="13344" y="5657"/>
                </a:cubicBezTo>
                <a:cubicBezTo>
                  <a:pt x="12969" y="5407"/>
                  <a:pt x="12594" y="5157"/>
                  <a:pt x="12187" y="4875"/>
                </a:cubicBezTo>
                <a:cubicBezTo>
                  <a:pt x="12156" y="4844"/>
                  <a:pt x="12094" y="4813"/>
                  <a:pt x="12062" y="4875"/>
                </a:cubicBezTo>
                <a:cubicBezTo>
                  <a:pt x="12219" y="5000"/>
                  <a:pt x="12406" y="5125"/>
                  <a:pt x="12562" y="5250"/>
                </a:cubicBezTo>
                <a:cubicBezTo>
                  <a:pt x="12937" y="5469"/>
                  <a:pt x="13312" y="5719"/>
                  <a:pt x="13656" y="5969"/>
                </a:cubicBezTo>
                <a:cubicBezTo>
                  <a:pt x="13719" y="6032"/>
                  <a:pt x="13750" y="6063"/>
                  <a:pt x="13812" y="6125"/>
                </a:cubicBezTo>
                <a:cubicBezTo>
                  <a:pt x="14000" y="6250"/>
                  <a:pt x="14187" y="6375"/>
                  <a:pt x="14375" y="6500"/>
                </a:cubicBezTo>
                <a:cubicBezTo>
                  <a:pt x="14375" y="6500"/>
                  <a:pt x="14375" y="6500"/>
                  <a:pt x="14375" y="6500"/>
                </a:cubicBezTo>
                <a:cubicBezTo>
                  <a:pt x="14375" y="6500"/>
                  <a:pt x="14375" y="6500"/>
                  <a:pt x="14375" y="6500"/>
                </a:cubicBezTo>
                <a:cubicBezTo>
                  <a:pt x="14375" y="6500"/>
                  <a:pt x="14375" y="6500"/>
                  <a:pt x="14375" y="6500"/>
                </a:cubicBezTo>
                <a:cubicBezTo>
                  <a:pt x="14406" y="6500"/>
                  <a:pt x="14406" y="6500"/>
                  <a:pt x="14406" y="6500"/>
                </a:cubicBezTo>
                <a:cubicBezTo>
                  <a:pt x="14406" y="6500"/>
                  <a:pt x="14406" y="6532"/>
                  <a:pt x="14437" y="6532"/>
                </a:cubicBezTo>
                <a:cubicBezTo>
                  <a:pt x="14437" y="6532"/>
                  <a:pt x="14437" y="6532"/>
                  <a:pt x="14437" y="6532"/>
                </a:cubicBezTo>
                <a:cubicBezTo>
                  <a:pt x="14437" y="6532"/>
                  <a:pt x="14437" y="6563"/>
                  <a:pt x="14437" y="6563"/>
                </a:cubicBezTo>
                <a:cubicBezTo>
                  <a:pt x="14437" y="6563"/>
                  <a:pt x="14469" y="6563"/>
                  <a:pt x="14469" y="6563"/>
                </a:cubicBezTo>
                <a:cubicBezTo>
                  <a:pt x="14469" y="6563"/>
                  <a:pt x="14500" y="6563"/>
                  <a:pt x="14500" y="6594"/>
                </a:cubicBezTo>
                <a:cubicBezTo>
                  <a:pt x="14625" y="6688"/>
                  <a:pt x="14750" y="6782"/>
                  <a:pt x="14906" y="6875"/>
                </a:cubicBezTo>
                <a:cubicBezTo>
                  <a:pt x="14906" y="6938"/>
                  <a:pt x="14906" y="6938"/>
                  <a:pt x="14937" y="6969"/>
                </a:cubicBezTo>
                <a:cubicBezTo>
                  <a:pt x="14937" y="6969"/>
                  <a:pt x="14969" y="6969"/>
                  <a:pt x="14969" y="7000"/>
                </a:cubicBezTo>
                <a:cubicBezTo>
                  <a:pt x="15344" y="7250"/>
                  <a:pt x="15687" y="7532"/>
                  <a:pt x="16031" y="7813"/>
                </a:cubicBezTo>
                <a:cubicBezTo>
                  <a:pt x="16000" y="7844"/>
                  <a:pt x="16000" y="7875"/>
                  <a:pt x="15969" y="7907"/>
                </a:cubicBezTo>
                <a:cubicBezTo>
                  <a:pt x="15844" y="7813"/>
                  <a:pt x="15719" y="7719"/>
                  <a:pt x="15625" y="7625"/>
                </a:cubicBezTo>
                <a:cubicBezTo>
                  <a:pt x="15594" y="7625"/>
                  <a:pt x="15594" y="7625"/>
                  <a:pt x="15594" y="7625"/>
                </a:cubicBezTo>
                <a:cubicBezTo>
                  <a:pt x="15594" y="7625"/>
                  <a:pt x="15562" y="7625"/>
                  <a:pt x="15562" y="7625"/>
                </a:cubicBezTo>
                <a:cubicBezTo>
                  <a:pt x="15562" y="7625"/>
                  <a:pt x="15562" y="7625"/>
                  <a:pt x="15562" y="7625"/>
                </a:cubicBezTo>
                <a:cubicBezTo>
                  <a:pt x="15562" y="7625"/>
                  <a:pt x="15562" y="7625"/>
                  <a:pt x="15562" y="7625"/>
                </a:cubicBezTo>
                <a:cubicBezTo>
                  <a:pt x="15562" y="7594"/>
                  <a:pt x="15562" y="7594"/>
                  <a:pt x="15562" y="7594"/>
                </a:cubicBezTo>
                <a:cubicBezTo>
                  <a:pt x="15531" y="7594"/>
                  <a:pt x="15531" y="7594"/>
                  <a:pt x="15531" y="7563"/>
                </a:cubicBezTo>
                <a:cubicBezTo>
                  <a:pt x="15500" y="7532"/>
                  <a:pt x="15406" y="7532"/>
                  <a:pt x="15375" y="7469"/>
                </a:cubicBezTo>
                <a:cubicBezTo>
                  <a:pt x="15250" y="7313"/>
                  <a:pt x="15062" y="7188"/>
                  <a:pt x="14906" y="7032"/>
                </a:cubicBezTo>
                <a:cubicBezTo>
                  <a:pt x="14687" y="6844"/>
                  <a:pt x="14437" y="6657"/>
                  <a:pt x="14187" y="6469"/>
                </a:cubicBezTo>
                <a:cubicBezTo>
                  <a:pt x="13750" y="6157"/>
                  <a:pt x="13312" y="5844"/>
                  <a:pt x="12844" y="5563"/>
                </a:cubicBezTo>
                <a:cubicBezTo>
                  <a:pt x="12812" y="5532"/>
                  <a:pt x="12812" y="5532"/>
                  <a:pt x="12812" y="5532"/>
                </a:cubicBezTo>
                <a:cubicBezTo>
                  <a:pt x="12750" y="5500"/>
                  <a:pt x="12719" y="5500"/>
                  <a:pt x="12687" y="5500"/>
                </a:cubicBezTo>
                <a:cubicBezTo>
                  <a:pt x="12656" y="5469"/>
                  <a:pt x="12656" y="5469"/>
                  <a:pt x="12625" y="5469"/>
                </a:cubicBezTo>
                <a:cubicBezTo>
                  <a:pt x="12625" y="5469"/>
                  <a:pt x="12625" y="5469"/>
                  <a:pt x="12625" y="5500"/>
                </a:cubicBezTo>
                <a:cubicBezTo>
                  <a:pt x="12656" y="5500"/>
                  <a:pt x="12656" y="5500"/>
                  <a:pt x="12687" y="5500"/>
                </a:cubicBezTo>
                <a:cubicBezTo>
                  <a:pt x="12687" y="5532"/>
                  <a:pt x="12719" y="5532"/>
                  <a:pt x="12719" y="5563"/>
                </a:cubicBezTo>
                <a:cubicBezTo>
                  <a:pt x="13094" y="5813"/>
                  <a:pt x="13437" y="6032"/>
                  <a:pt x="13781" y="6282"/>
                </a:cubicBezTo>
                <a:cubicBezTo>
                  <a:pt x="14031" y="6500"/>
                  <a:pt x="14344" y="6688"/>
                  <a:pt x="14594" y="6907"/>
                </a:cubicBezTo>
                <a:cubicBezTo>
                  <a:pt x="14594" y="6907"/>
                  <a:pt x="14625" y="6907"/>
                  <a:pt x="14625" y="6938"/>
                </a:cubicBezTo>
                <a:cubicBezTo>
                  <a:pt x="14625" y="6938"/>
                  <a:pt x="14625" y="6969"/>
                  <a:pt x="14625" y="7000"/>
                </a:cubicBezTo>
                <a:cubicBezTo>
                  <a:pt x="14625" y="7000"/>
                  <a:pt x="14625" y="7000"/>
                  <a:pt x="14625" y="7000"/>
                </a:cubicBezTo>
                <a:cubicBezTo>
                  <a:pt x="14625" y="6969"/>
                  <a:pt x="14625" y="6969"/>
                  <a:pt x="14625" y="6969"/>
                </a:cubicBezTo>
                <a:cubicBezTo>
                  <a:pt x="14531" y="6969"/>
                  <a:pt x="14469" y="6907"/>
                  <a:pt x="14437" y="6844"/>
                </a:cubicBezTo>
                <a:cubicBezTo>
                  <a:pt x="14375" y="6844"/>
                  <a:pt x="14344" y="6813"/>
                  <a:pt x="14312" y="6782"/>
                </a:cubicBezTo>
                <a:cubicBezTo>
                  <a:pt x="13875" y="6469"/>
                  <a:pt x="13437" y="6157"/>
                  <a:pt x="13000" y="5844"/>
                </a:cubicBezTo>
                <a:cubicBezTo>
                  <a:pt x="12969" y="5813"/>
                  <a:pt x="12906" y="5782"/>
                  <a:pt x="12844" y="5782"/>
                </a:cubicBezTo>
                <a:cubicBezTo>
                  <a:pt x="12875" y="5813"/>
                  <a:pt x="12906" y="5844"/>
                  <a:pt x="12969" y="5875"/>
                </a:cubicBezTo>
                <a:cubicBezTo>
                  <a:pt x="13094" y="6000"/>
                  <a:pt x="13250" y="6063"/>
                  <a:pt x="13375" y="6188"/>
                </a:cubicBezTo>
                <a:cubicBezTo>
                  <a:pt x="13375" y="6188"/>
                  <a:pt x="13375" y="6188"/>
                  <a:pt x="13375" y="6188"/>
                </a:cubicBezTo>
                <a:cubicBezTo>
                  <a:pt x="13375" y="6188"/>
                  <a:pt x="13375" y="6188"/>
                  <a:pt x="13375" y="6188"/>
                </a:cubicBezTo>
                <a:cubicBezTo>
                  <a:pt x="13375" y="6188"/>
                  <a:pt x="13375" y="6188"/>
                  <a:pt x="13375" y="6188"/>
                </a:cubicBezTo>
                <a:cubicBezTo>
                  <a:pt x="13281" y="6188"/>
                  <a:pt x="13219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25" y="6063"/>
                  <a:pt x="13125" y="6032"/>
                  <a:pt x="13062" y="6032"/>
                </a:cubicBezTo>
                <a:cubicBezTo>
                  <a:pt x="13062" y="6032"/>
                  <a:pt x="13062" y="6032"/>
                  <a:pt x="13031" y="6032"/>
                </a:cubicBezTo>
                <a:cubicBezTo>
                  <a:pt x="13062" y="6063"/>
                  <a:pt x="13094" y="6094"/>
                  <a:pt x="13125" y="6094"/>
                </a:cubicBezTo>
                <a:cubicBezTo>
                  <a:pt x="13156" y="6125"/>
                  <a:pt x="13156" y="6157"/>
                  <a:pt x="13187" y="6157"/>
                </a:cubicBezTo>
                <a:cubicBezTo>
                  <a:pt x="13406" y="6313"/>
                  <a:pt x="13625" y="6469"/>
                  <a:pt x="13875" y="6625"/>
                </a:cubicBezTo>
                <a:cubicBezTo>
                  <a:pt x="14125" y="6782"/>
                  <a:pt x="14344" y="6969"/>
                  <a:pt x="14594" y="7157"/>
                </a:cubicBezTo>
                <a:cubicBezTo>
                  <a:pt x="14594" y="7188"/>
                  <a:pt x="14625" y="7188"/>
                  <a:pt x="14625" y="7219"/>
                </a:cubicBezTo>
                <a:cubicBezTo>
                  <a:pt x="14656" y="7250"/>
                  <a:pt x="14719" y="7282"/>
                  <a:pt x="14781" y="7282"/>
                </a:cubicBezTo>
                <a:cubicBezTo>
                  <a:pt x="14781" y="7344"/>
                  <a:pt x="14812" y="7344"/>
                  <a:pt x="14844" y="7375"/>
                </a:cubicBezTo>
                <a:cubicBezTo>
                  <a:pt x="14844" y="7375"/>
                  <a:pt x="14844" y="7375"/>
                  <a:pt x="14844" y="7375"/>
                </a:cubicBezTo>
                <a:cubicBezTo>
                  <a:pt x="15062" y="7563"/>
                  <a:pt x="15281" y="7719"/>
                  <a:pt x="15500" y="7907"/>
                </a:cubicBezTo>
                <a:cubicBezTo>
                  <a:pt x="15469" y="7907"/>
                  <a:pt x="15469" y="7907"/>
                  <a:pt x="15469" y="7907"/>
                </a:cubicBezTo>
                <a:cubicBezTo>
                  <a:pt x="15437" y="7907"/>
                  <a:pt x="15375" y="7907"/>
                  <a:pt x="15344" y="7875"/>
                </a:cubicBezTo>
                <a:cubicBezTo>
                  <a:pt x="15344" y="7875"/>
                  <a:pt x="15344" y="7875"/>
                  <a:pt x="15312" y="7875"/>
                </a:cubicBezTo>
                <a:cubicBezTo>
                  <a:pt x="15187" y="7782"/>
                  <a:pt x="15062" y="7688"/>
                  <a:pt x="14937" y="7594"/>
                </a:cubicBezTo>
                <a:cubicBezTo>
                  <a:pt x="14812" y="7500"/>
                  <a:pt x="14719" y="7407"/>
                  <a:pt x="14562" y="7375"/>
                </a:cubicBezTo>
                <a:cubicBezTo>
                  <a:pt x="14687" y="7469"/>
                  <a:pt x="14812" y="7563"/>
                  <a:pt x="14937" y="7657"/>
                </a:cubicBezTo>
                <a:cubicBezTo>
                  <a:pt x="15219" y="7844"/>
                  <a:pt x="15437" y="8063"/>
                  <a:pt x="15687" y="8250"/>
                </a:cubicBezTo>
                <a:cubicBezTo>
                  <a:pt x="15656" y="8313"/>
                  <a:pt x="15656" y="8375"/>
                  <a:pt x="15656" y="8469"/>
                </a:cubicBezTo>
                <a:cubicBezTo>
                  <a:pt x="15656" y="8500"/>
                  <a:pt x="15656" y="8532"/>
                  <a:pt x="15656" y="8563"/>
                </a:cubicBezTo>
                <a:cubicBezTo>
                  <a:pt x="15594" y="8500"/>
                  <a:pt x="15500" y="8438"/>
                  <a:pt x="15437" y="8375"/>
                </a:cubicBezTo>
                <a:cubicBezTo>
                  <a:pt x="15406" y="8375"/>
                  <a:pt x="15406" y="8375"/>
                  <a:pt x="15406" y="8375"/>
                </a:cubicBezTo>
                <a:cubicBezTo>
                  <a:pt x="15375" y="8313"/>
                  <a:pt x="15312" y="8250"/>
                  <a:pt x="15250" y="8313"/>
                </a:cubicBezTo>
                <a:cubicBezTo>
                  <a:pt x="15219" y="8313"/>
                  <a:pt x="15219" y="8282"/>
                  <a:pt x="15219" y="8282"/>
                </a:cubicBezTo>
                <a:cubicBezTo>
                  <a:pt x="15219" y="8282"/>
                  <a:pt x="15219" y="8282"/>
                  <a:pt x="15219" y="8282"/>
                </a:cubicBezTo>
                <a:cubicBezTo>
                  <a:pt x="15219" y="8250"/>
                  <a:pt x="15219" y="8250"/>
                  <a:pt x="15187" y="8250"/>
                </a:cubicBezTo>
                <a:cubicBezTo>
                  <a:pt x="15156" y="8250"/>
                  <a:pt x="15125" y="8219"/>
                  <a:pt x="15125" y="8188"/>
                </a:cubicBezTo>
                <a:cubicBezTo>
                  <a:pt x="14844" y="7969"/>
                  <a:pt x="14562" y="7750"/>
                  <a:pt x="14281" y="7532"/>
                </a:cubicBezTo>
                <a:cubicBezTo>
                  <a:pt x="14156" y="7407"/>
                  <a:pt x="14031" y="7313"/>
                  <a:pt x="13875" y="7219"/>
                </a:cubicBezTo>
                <a:cubicBezTo>
                  <a:pt x="13812" y="7188"/>
                  <a:pt x="13750" y="7094"/>
                  <a:pt x="13656" y="7094"/>
                </a:cubicBezTo>
                <a:cubicBezTo>
                  <a:pt x="13625" y="7094"/>
                  <a:pt x="13625" y="7094"/>
                  <a:pt x="13625" y="7094"/>
                </a:cubicBezTo>
                <a:cubicBezTo>
                  <a:pt x="13625" y="7094"/>
                  <a:pt x="13625" y="7063"/>
                  <a:pt x="13625" y="7063"/>
                </a:cubicBezTo>
                <a:cubicBezTo>
                  <a:pt x="13625" y="7063"/>
                  <a:pt x="13625" y="7063"/>
                  <a:pt x="13594" y="7032"/>
                </a:cubicBezTo>
                <a:cubicBezTo>
                  <a:pt x="13250" y="6813"/>
                  <a:pt x="12906" y="6563"/>
                  <a:pt x="12562" y="6313"/>
                </a:cubicBezTo>
                <a:cubicBezTo>
                  <a:pt x="12437" y="6250"/>
                  <a:pt x="12344" y="6157"/>
                  <a:pt x="12187" y="6094"/>
                </a:cubicBezTo>
                <a:cubicBezTo>
                  <a:pt x="12187" y="6094"/>
                  <a:pt x="12187" y="6094"/>
                  <a:pt x="12156" y="6094"/>
                </a:cubicBezTo>
                <a:cubicBezTo>
                  <a:pt x="12156" y="6063"/>
                  <a:pt x="12156" y="6063"/>
                  <a:pt x="12125" y="6032"/>
                </a:cubicBezTo>
                <a:cubicBezTo>
                  <a:pt x="12125" y="6000"/>
                  <a:pt x="12094" y="6000"/>
                  <a:pt x="12031" y="5969"/>
                </a:cubicBezTo>
                <a:cubicBezTo>
                  <a:pt x="12031" y="5969"/>
                  <a:pt x="12031" y="5969"/>
                  <a:pt x="12031" y="5969"/>
                </a:cubicBezTo>
                <a:cubicBezTo>
                  <a:pt x="12031" y="5969"/>
                  <a:pt x="12031" y="5969"/>
                  <a:pt x="12000" y="5969"/>
                </a:cubicBezTo>
                <a:cubicBezTo>
                  <a:pt x="12000" y="5969"/>
                  <a:pt x="12000" y="5969"/>
                  <a:pt x="11969" y="5969"/>
                </a:cubicBezTo>
                <a:cubicBezTo>
                  <a:pt x="11969" y="5969"/>
                  <a:pt x="11969" y="5969"/>
                  <a:pt x="11969" y="5969"/>
                </a:cubicBezTo>
                <a:cubicBezTo>
                  <a:pt x="11937" y="5938"/>
                  <a:pt x="11937" y="5938"/>
                  <a:pt x="11937" y="5907"/>
                </a:cubicBezTo>
                <a:cubicBezTo>
                  <a:pt x="11906" y="5907"/>
                  <a:pt x="11875" y="5875"/>
                  <a:pt x="11844" y="5844"/>
                </a:cubicBezTo>
                <a:cubicBezTo>
                  <a:pt x="11812" y="5813"/>
                  <a:pt x="11750" y="5813"/>
                  <a:pt x="11719" y="5782"/>
                </a:cubicBezTo>
                <a:cubicBezTo>
                  <a:pt x="11687" y="5782"/>
                  <a:pt x="11687" y="5782"/>
                  <a:pt x="11687" y="5782"/>
                </a:cubicBezTo>
                <a:cubicBezTo>
                  <a:pt x="11687" y="5782"/>
                  <a:pt x="11687" y="5782"/>
                  <a:pt x="11687" y="5782"/>
                </a:cubicBezTo>
                <a:cubicBezTo>
                  <a:pt x="11687" y="5750"/>
                  <a:pt x="11687" y="5782"/>
                  <a:pt x="11656" y="5782"/>
                </a:cubicBezTo>
                <a:cubicBezTo>
                  <a:pt x="11531" y="5688"/>
                  <a:pt x="11406" y="5625"/>
                  <a:pt x="11281" y="5563"/>
                </a:cubicBezTo>
                <a:cubicBezTo>
                  <a:pt x="11250" y="5532"/>
                  <a:pt x="11219" y="5500"/>
                  <a:pt x="11156" y="5469"/>
                </a:cubicBezTo>
                <a:cubicBezTo>
                  <a:pt x="11125" y="5469"/>
                  <a:pt x="11094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07"/>
                  <a:pt x="11031" y="5407"/>
                  <a:pt x="11000" y="5407"/>
                </a:cubicBezTo>
                <a:cubicBezTo>
                  <a:pt x="11000" y="5407"/>
                  <a:pt x="11000" y="5407"/>
                  <a:pt x="11000" y="5407"/>
                </a:cubicBezTo>
                <a:cubicBezTo>
                  <a:pt x="11000" y="5407"/>
                  <a:pt x="11000" y="5407"/>
                  <a:pt x="10969" y="5407"/>
                </a:cubicBezTo>
                <a:cubicBezTo>
                  <a:pt x="11000" y="5407"/>
                  <a:pt x="11000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38"/>
                  <a:pt x="11031" y="5438"/>
                  <a:pt x="11062" y="5469"/>
                </a:cubicBezTo>
                <a:cubicBezTo>
                  <a:pt x="11125" y="5532"/>
                  <a:pt x="11187" y="5563"/>
                  <a:pt x="11281" y="5594"/>
                </a:cubicBezTo>
                <a:cubicBezTo>
                  <a:pt x="11500" y="5750"/>
                  <a:pt x="11719" y="5875"/>
                  <a:pt x="11937" y="6032"/>
                </a:cubicBezTo>
                <a:cubicBezTo>
                  <a:pt x="12125" y="6188"/>
                  <a:pt x="12312" y="6282"/>
                  <a:pt x="12500" y="6438"/>
                </a:cubicBezTo>
                <a:cubicBezTo>
                  <a:pt x="12531" y="6469"/>
                  <a:pt x="12594" y="6500"/>
                  <a:pt x="12656" y="6500"/>
                </a:cubicBezTo>
                <a:cubicBezTo>
                  <a:pt x="12656" y="6500"/>
                  <a:pt x="12687" y="6532"/>
                  <a:pt x="12687" y="6532"/>
                </a:cubicBezTo>
                <a:cubicBezTo>
                  <a:pt x="12687" y="6532"/>
                  <a:pt x="12687" y="6532"/>
                  <a:pt x="12687" y="6532"/>
                </a:cubicBezTo>
                <a:cubicBezTo>
                  <a:pt x="12687" y="6563"/>
                  <a:pt x="12719" y="6563"/>
                  <a:pt x="12750" y="6563"/>
                </a:cubicBezTo>
                <a:cubicBezTo>
                  <a:pt x="12750" y="6563"/>
                  <a:pt x="12750" y="6563"/>
                  <a:pt x="12750" y="6563"/>
                </a:cubicBezTo>
                <a:cubicBezTo>
                  <a:pt x="12750" y="6594"/>
                  <a:pt x="12781" y="6594"/>
                  <a:pt x="12781" y="6594"/>
                </a:cubicBezTo>
                <a:cubicBezTo>
                  <a:pt x="12781" y="6594"/>
                  <a:pt x="12781" y="6594"/>
                  <a:pt x="12781" y="6594"/>
                </a:cubicBezTo>
                <a:cubicBezTo>
                  <a:pt x="12812" y="6625"/>
                  <a:pt x="12812" y="6625"/>
                  <a:pt x="12812" y="6625"/>
                </a:cubicBezTo>
                <a:cubicBezTo>
                  <a:pt x="12844" y="6657"/>
                  <a:pt x="12844" y="6657"/>
                  <a:pt x="12875" y="6657"/>
                </a:cubicBezTo>
                <a:cubicBezTo>
                  <a:pt x="12875" y="6688"/>
                  <a:pt x="12875" y="6688"/>
                  <a:pt x="12906" y="6688"/>
                </a:cubicBezTo>
                <a:cubicBezTo>
                  <a:pt x="12906" y="6688"/>
                  <a:pt x="12906" y="6688"/>
                  <a:pt x="12906" y="6719"/>
                </a:cubicBezTo>
                <a:cubicBezTo>
                  <a:pt x="13000" y="6782"/>
                  <a:pt x="13094" y="6813"/>
                  <a:pt x="13156" y="6907"/>
                </a:cubicBezTo>
                <a:cubicBezTo>
                  <a:pt x="13156" y="6907"/>
                  <a:pt x="13156" y="6907"/>
                  <a:pt x="13156" y="6907"/>
                </a:cubicBezTo>
                <a:cubicBezTo>
                  <a:pt x="13156" y="6907"/>
                  <a:pt x="13156" y="6907"/>
                  <a:pt x="13156" y="6907"/>
                </a:cubicBezTo>
                <a:cubicBezTo>
                  <a:pt x="13125" y="6907"/>
                  <a:pt x="13125" y="6907"/>
                  <a:pt x="13094" y="6907"/>
                </a:cubicBezTo>
                <a:cubicBezTo>
                  <a:pt x="13094" y="6875"/>
                  <a:pt x="13094" y="6875"/>
                  <a:pt x="13094" y="6875"/>
                </a:cubicBezTo>
                <a:cubicBezTo>
                  <a:pt x="12969" y="6813"/>
                  <a:pt x="12875" y="6750"/>
                  <a:pt x="12750" y="6657"/>
                </a:cubicBezTo>
                <a:cubicBezTo>
                  <a:pt x="12625" y="6563"/>
                  <a:pt x="12469" y="6469"/>
                  <a:pt x="12312" y="6375"/>
                </a:cubicBezTo>
                <a:cubicBezTo>
                  <a:pt x="12156" y="6282"/>
                  <a:pt x="12000" y="6157"/>
                  <a:pt x="11812" y="6063"/>
                </a:cubicBezTo>
                <a:cubicBezTo>
                  <a:pt x="11500" y="5875"/>
                  <a:pt x="11156" y="5657"/>
                  <a:pt x="10812" y="5469"/>
                </a:cubicBezTo>
                <a:cubicBezTo>
                  <a:pt x="10812" y="5469"/>
                  <a:pt x="10812" y="5469"/>
                  <a:pt x="10812" y="5469"/>
                </a:cubicBezTo>
                <a:cubicBezTo>
                  <a:pt x="10812" y="5438"/>
                  <a:pt x="10781" y="5438"/>
                  <a:pt x="10781" y="5438"/>
                </a:cubicBezTo>
                <a:cubicBezTo>
                  <a:pt x="10781" y="5438"/>
                  <a:pt x="10781" y="5438"/>
                  <a:pt x="10781" y="5438"/>
                </a:cubicBezTo>
                <a:cubicBezTo>
                  <a:pt x="10750" y="5438"/>
                  <a:pt x="10719" y="5438"/>
                  <a:pt x="10719" y="5438"/>
                </a:cubicBezTo>
                <a:cubicBezTo>
                  <a:pt x="10719" y="5407"/>
                  <a:pt x="10719" y="5407"/>
                  <a:pt x="10719" y="5407"/>
                </a:cubicBezTo>
                <a:cubicBezTo>
                  <a:pt x="10500" y="5282"/>
                  <a:pt x="10281" y="5125"/>
                  <a:pt x="10031" y="5032"/>
                </a:cubicBezTo>
                <a:cubicBezTo>
                  <a:pt x="10062" y="5094"/>
                  <a:pt x="10094" y="5125"/>
                  <a:pt x="10125" y="5125"/>
                </a:cubicBezTo>
                <a:cubicBezTo>
                  <a:pt x="10219" y="5188"/>
                  <a:pt x="10344" y="5250"/>
                  <a:pt x="10437" y="5313"/>
                </a:cubicBezTo>
                <a:cubicBezTo>
                  <a:pt x="10437" y="5344"/>
                  <a:pt x="10469" y="5344"/>
                  <a:pt x="10500" y="5375"/>
                </a:cubicBezTo>
                <a:cubicBezTo>
                  <a:pt x="10500" y="5375"/>
                  <a:pt x="10531" y="5375"/>
                  <a:pt x="10562" y="5407"/>
                </a:cubicBezTo>
                <a:cubicBezTo>
                  <a:pt x="10594" y="5407"/>
                  <a:pt x="10656" y="5438"/>
                  <a:pt x="10687" y="5438"/>
                </a:cubicBezTo>
                <a:cubicBezTo>
                  <a:pt x="10719" y="5438"/>
                  <a:pt x="10719" y="5469"/>
                  <a:pt x="10750" y="5469"/>
                </a:cubicBezTo>
                <a:cubicBezTo>
                  <a:pt x="11031" y="5657"/>
                  <a:pt x="11312" y="5844"/>
                  <a:pt x="11594" y="6032"/>
                </a:cubicBezTo>
                <a:cubicBezTo>
                  <a:pt x="11844" y="6188"/>
                  <a:pt x="12094" y="6344"/>
                  <a:pt x="12344" y="6500"/>
                </a:cubicBezTo>
                <a:cubicBezTo>
                  <a:pt x="12375" y="6500"/>
                  <a:pt x="12375" y="6532"/>
                  <a:pt x="12375" y="6532"/>
                </a:cubicBezTo>
                <a:cubicBezTo>
                  <a:pt x="12375" y="6532"/>
                  <a:pt x="12375" y="6532"/>
                  <a:pt x="12375" y="6532"/>
                </a:cubicBezTo>
                <a:cubicBezTo>
                  <a:pt x="12562" y="6657"/>
                  <a:pt x="12719" y="6750"/>
                  <a:pt x="12875" y="6875"/>
                </a:cubicBezTo>
                <a:cubicBezTo>
                  <a:pt x="13281" y="7157"/>
                  <a:pt x="13687" y="7438"/>
                  <a:pt x="14094" y="7750"/>
                </a:cubicBezTo>
                <a:cubicBezTo>
                  <a:pt x="14125" y="7750"/>
                  <a:pt x="14156" y="7782"/>
                  <a:pt x="14219" y="7813"/>
                </a:cubicBezTo>
                <a:cubicBezTo>
                  <a:pt x="14250" y="7813"/>
                  <a:pt x="14250" y="7844"/>
                  <a:pt x="14281" y="7875"/>
                </a:cubicBezTo>
                <a:cubicBezTo>
                  <a:pt x="14375" y="7907"/>
                  <a:pt x="14437" y="7969"/>
                  <a:pt x="14469" y="8032"/>
                </a:cubicBezTo>
                <a:cubicBezTo>
                  <a:pt x="14500" y="8032"/>
                  <a:pt x="14500" y="8032"/>
                  <a:pt x="14500" y="8063"/>
                </a:cubicBezTo>
                <a:cubicBezTo>
                  <a:pt x="14469" y="8063"/>
                  <a:pt x="14469" y="8032"/>
                  <a:pt x="14437" y="8032"/>
                </a:cubicBezTo>
                <a:cubicBezTo>
                  <a:pt x="14406" y="8032"/>
                  <a:pt x="14375" y="8032"/>
                  <a:pt x="14375" y="8094"/>
                </a:cubicBezTo>
                <a:cubicBezTo>
                  <a:pt x="14250" y="8000"/>
                  <a:pt x="14094" y="7907"/>
                  <a:pt x="13969" y="7782"/>
                </a:cubicBezTo>
                <a:cubicBezTo>
                  <a:pt x="13969" y="7782"/>
                  <a:pt x="13937" y="7782"/>
                  <a:pt x="13937" y="7750"/>
                </a:cubicBezTo>
                <a:cubicBezTo>
                  <a:pt x="13656" y="7563"/>
                  <a:pt x="13375" y="7344"/>
                  <a:pt x="13094" y="7157"/>
                </a:cubicBezTo>
                <a:cubicBezTo>
                  <a:pt x="12656" y="6844"/>
                  <a:pt x="12219" y="6500"/>
                  <a:pt x="11750" y="6219"/>
                </a:cubicBezTo>
                <a:cubicBezTo>
                  <a:pt x="11281" y="5969"/>
                  <a:pt x="10844" y="5657"/>
                  <a:pt x="10375" y="5438"/>
                </a:cubicBezTo>
                <a:cubicBezTo>
                  <a:pt x="10250" y="5375"/>
                  <a:pt x="10094" y="5282"/>
                  <a:pt x="9937" y="5219"/>
                </a:cubicBezTo>
                <a:cubicBezTo>
                  <a:pt x="10000" y="5313"/>
                  <a:pt x="10031" y="5344"/>
                  <a:pt x="10094" y="5375"/>
                </a:cubicBezTo>
                <a:cubicBezTo>
                  <a:pt x="10187" y="5438"/>
                  <a:pt x="10312" y="5469"/>
                  <a:pt x="10406" y="5532"/>
                </a:cubicBezTo>
                <a:cubicBezTo>
                  <a:pt x="10562" y="5625"/>
                  <a:pt x="10719" y="5719"/>
                  <a:pt x="10906" y="5844"/>
                </a:cubicBezTo>
                <a:cubicBezTo>
                  <a:pt x="11281" y="6063"/>
                  <a:pt x="11687" y="6250"/>
                  <a:pt x="12062" y="6532"/>
                </a:cubicBezTo>
                <a:cubicBezTo>
                  <a:pt x="12375" y="6750"/>
                  <a:pt x="12687" y="6938"/>
                  <a:pt x="12969" y="7188"/>
                </a:cubicBezTo>
                <a:cubicBezTo>
                  <a:pt x="13031" y="7250"/>
                  <a:pt x="13125" y="7313"/>
                  <a:pt x="13219" y="7375"/>
                </a:cubicBezTo>
                <a:cubicBezTo>
                  <a:pt x="13219" y="7375"/>
                  <a:pt x="13219" y="7375"/>
                  <a:pt x="13219" y="7375"/>
                </a:cubicBezTo>
                <a:cubicBezTo>
                  <a:pt x="13250" y="7407"/>
                  <a:pt x="13250" y="7407"/>
                  <a:pt x="13250" y="7407"/>
                </a:cubicBezTo>
                <a:cubicBezTo>
                  <a:pt x="13281" y="7438"/>
                  <a:pt x="13281" y="7438"/>
                  <a:pt x="13250" y="7469"/>
                </a:cubicBezTo>
                <a:cubicBezTo>
                  <a:pt x="13094" y="7375"/>
                  <a:pt x="12937" y="7250"/>
                  <a:pt x="12781" y="7157"/>
                </a:cubicBezTo>
                <a:cubicBezTo>
                  <a:pt x="12219" y="6782"/>
                  <a:pt x="11656" y="6407"/>
                  <a:pt x="11094" y="6063"/>
                </a:cubicBezTo>
                <a:cubicBezTo>
                  <a:pt x="11094" y="6032"/>
                  <a:pt x="11062" y="6032"/>
                  <a:pt x="11062" y="6032"/>
                </a:cubicBezTo>
                <a:cubicBezTo>
                  <a:pt x="11062" y="6032"/>
                  <a:pt x="11062" y="6032"/>
                  <a:pt x="11062" y="6032"/>
                </a:cubicBezTo>
                <a:cubicBezTo>
                  <a:pt x="10844" y="5907"/>
                  <a:pt x="10625" y="5782"/>
                  <a:pt x="10406" y="5657"/>
                </a:cubicBezTo>
                <a:cubicBezTo>
                  <a:pt x="10375" y="5625"/>
                  <a:pt x="10344" y="5594"/>
                  <a:pt x="10344" y="5594"/>
                </a:cubicBezTo>
                <a:cubicBezTo>
                  <a:pt x="10250" y="5532"/>
                  <a:pt x="10156" y="5500"/>
                  <a:pt x="10094" y="5438"/>
                </a:cubicBezTo>
                <a:cubicBezTo>
                  <a:pt x="10094" y="5438"/>
                  <a:pt x="10094" y="5438"/>
                  <a:pt x="10094" y="5438"/>
                </a:cubicBezTo>
                <a:cubicBezTo>
                  <a:pt x="10094" y="5438"/>
                  <a:pt x="10094" y="5438"/>
                  <a:pt x="10094" y="5438"/>
                </a:cubicBezTo>
                <a:cubicBezTo>
                  <a:pt x="10094" y="5438"/>
                  <a:pt x="10094" y="5438"/>
                  <a:pt x="10094" y="5438"/>
                </a:cubicBezTo>
                <a:cubicBezTo>
                  <a:pt x="10062" y="5438"/>
                  <a:pt x="10031" y="5407"/>
                  <a:pt x="10000" y="5407"/>
                </a:cubicBezTo>
                <a:cubicBezTo>
                  <a:pt x="10000" y="5407"/>
                  <a:pt x="9969" y="5407"/>
                  <a:pt x="9969" y="5407"/>
                </a:cubicBezTo>
                <a:cubicBezTo>
                  <a:pt x="10000" y="5438"/>
                  <a:pt x="10031" y="5469"/>
                  <a:pt x="10062" y="5469"/>
                </a:cubicBezTo>
                <a:cubicBezTo>
                  <a:pt x="10062" y="5469"/>
                  <a:pt x="10062" y="5469"/>
                  <a:pt x="10062" y="5469"/>
                </a:cubicBezTo>
                <a:cubicBezTo>
                  <a:pt x="10094" y="5500"/>
                  <a:pt x="10125" y="5532"/>
                  <a:pt x="10125" y="5563"/>
                </a:cubicBezTo>
                <a:cubicBezTo>
                  <a:pt x="10094" y="5563"/>
                  <a:pt x="10094" y="5563"/>
                  <a:pt x="10062" y="5532"/>
                </a:cubicBezTo>
                <a:cubicBezTo>
                  <a:pt x="9687" y="5344"/>
                  <a:pt x="9344" y="5125"/>
                  <a:pt x="8937" y="4938"/>
                </a:cubicBezTo>
                <a:cubicBezTo>
                  <a:pt x="8937" y="4938"/>
                  <a:pt x="8937" y="4938"/>
                  <a:pt x="8937" y="4938"/>
                </a:cubicBezTo>
                <a:cubicBezTo>
                  <a:pt x="8937" y="4938"/>
                  <a:pt x="8937" y="4938"/>
                  <a:pt x="8937" y="4938"/>
                </a:cubicBezTo>
                <a:cubicBezTo>
                  <a:pt x="8937" y="4907"/>
                  <a:pt x="8937" y="4907"/>
                  <a:pt x="8937" y="4907"/>
                </a:cubicBezTo>
                <a:cubicBezTo>
                  <a:pt x="8937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37" y="4907"/>
                  <a:pt x="8969" y="4907"/>
                  <a:pt x="9000" y="4907"/>
                </a:cubicBezTo>
                <a:cubicBezTo>
                  <a:pt x="9062" y="4938"/>
                  <a:pt x="9125" y="4969"/>
                  <a:pt x="9187" y="5000"/>
                </a:cubicBezTo>
                <a:cubicBezTo>
                  <a:pt x="9344" y="5063"/>
                  <a:pt x="9500" y="5157"/>
                  <a:pt x="9656" y="5250"/>
                </a:cubicBezTo>
                <a:cubicBezTo>
                  <a:pt x="9656" y="5250"/>
                  <a:pt x="9656" y="5250"/>
                  <a:pt x="9656" y="5250"/>
                </a:cubicBezTo>
                <a:cubicBezTo>
                  <a:pt x="9687" y="5250"/>
                  <a:pt x="9687" y="5282"/>
                  <a:pt x="9750" y="5313"/>
                </a:cubicBezTo>
                <a:cubicBezTo>
                  <a:pt x="9750" y="5313"/>
                  <a:pt x="9750" y="5313"/>
                  <a:pt x="9750" y="5313"/>
                </a:cubicBezTo>
                <a:cubicBezTo>
                  <a:pt x="9812" y="5313"/>
                  <a:pt x="9844" y="5375"/>
                  <a:pt x="9906" y="5344"/>
                </a:cubicBezTo>
                <a:cubicBezTo>
                  <a:pt x="9875" y="5344"/>
                  <a:pt x="9875" y="5313"/>
                  <a:pt x="9844" y="5313"/>
                </a:cubicBezTo>
                <a:cubicBezTo>
                  <a:pt x="9844" y="5282"/>
                  <a:pt x="9812" y="5282"/>
                  <a:pt x="9781" y="5282"/>
                </a:cubicBezTo>
                <a:cubicBezTo>
                  <a:pt x="9781" y="5282"/>
                  <a:pt x="9781" y="5282"/>
                  <a:pt x="9781" y="5282"/>
                </a:cubicBezTo>
                <a:cubicBezTo>
                  <a:pt x="9750" y="5250"/>
                  <a:pt x="9750" y="5250"/>
                  <a:pt x="9719" y="5219"/>
                </a:cubicBezTo>
                <a:cubicBezTo>
                  <a:pt x="9719" y="5219"/>
                  <a:pt x="9687" y="5219"/>
                  <a:pt x="9656" y="5219"/>
                </a:cubicBezTo>
                <a:cubicBezTo>
                  <a:pt x="9656" y="5219"/>
                  <a:pt x="9656" y="5188"/>
                  <a:pt x="9625" y="5188"/>
                </a:cubicBezTo>
                <a:cubicBezTo>
                  <a:pt x="9469" y="5094"/>
                  <a:pt x="9312" y="5000"/>
                  <a:pt x="9125" y="4907"/>
                </a:cubicBezTo>
                <a:cubicBezTo>
                  <a:pt x="8750" y="4688"/>
                  <a:pt x="8375" y="4500"/>
                  <a:pt x="8000" y="4313"/>
                </a:cubicBezTo>
                <a:cubicBezTo>
                  <a:pt x="7844" y="4250"/>
                  <a:pt x="7688" y="4157"/>
                  <a:pt x="7500" y="4157"/>
                </a:cubicBezTo>
                <a:cubicBezTo>
                  <a:pt x="7469" y="4157"/>
                  <a:pt x="7438" y="4157"/>
                  <a:pt x="7406" y="4125"/>
                </a:cubicBezTo>
                <a:cubicBezTo>
                  <a:pt x="7188" y="4063"/>
                  <a:pt x="7000" y="3938"/>
                  <a:pt x="6750" y="3875"/>
                </a:cubicBezTo>
                <a:cubicBezTo>
                  <a:pt x="6750" y="3875"/>
                  <a:pt x="6750" y="3875"/>
                  <a:pt x="6750" y="3875"/>
                </a:cubicBezTo>
                <a:cubicBezTo>
                  <a:pt x="6750" y="3875"/>
                  <a:pt x="6750" y="3875"/>
                  <a:pt x="6750" y="3875"/>
                </a:cubicBezTo>
                <a:cubicBezTo>
                  <a:pt x="6750" y="3907"/>
                  <a:pt x="6781" y="3938"/>
                  <a:pt x="6844" y="3969"/>
                </a:cubicBezTo>
                <a:cubicBezTo>
                  <a:pt x="7031" y="4063"/>
                  <a:pt x="7250" y="4188"/>
                  <a:pt x="7469" y="4282"/>
                </a:cubicBezTo>
                <a:cubicBezTo>
                  <a:pt x="7844" y="4438"/>
                  <a:pt x="8156" y="4625"/>
                  <a:pt x="8500" y="4813"/>
                </a:cubicBezTo>
                <a:cubicBezTo>
                  <a:pt x="8562" y="4844"/>
                  <a:pt x="8625" y="4907"/>
                  <a:pt x="8719" y="4907"/>
                </a:cubicBezTo>
                <a:cubicBezTo>
                  <a:pt x="8719" y="4907"/>
                  <a:pt x="8719" y="4907"/>
                  <a:pt x="8750" y="4907"/>
                </a:cubicBezTo>
                <a:cubicBezTo>
                  <a:pt x="8750" y="4938"/>
                  <a:pt x="8750" y="4938"/>
                  <a:pt x="8750" y="4938"/>
                </a:cubicBezTo>
                <a:cubicBezTo>
                  <a:pt x="8750" y="4938"/>
                  <a:pt x="8781" y="4969"/>
                  <a:pt x="8781" y="4969"/>
                </a:cubicBezTo>
                <a:cubicBezTo>
                  <a:pt x="8781" y="4969"/>
                  <a:pt x="8812" y="4969"/>
                  <a:pt x="8812" y="4969"/>
                </a:cubicBezTo>
                <a:cubicBezTo>
                  <a:pt x="8969" y="5032"/>
                  <a:pt x="9125" y="5125"/>
                  <a:pt x="9281" y="5188"/>
                </a:cubicBezTo>
                <a:cubicBezTo>
                  <a:pt x="9844" y="5500"/>
                  <a:pt x="10375" y="5813"/>
                  <a:pt x="10875" y="6125"/>
                </a:cubicBezTo>
                <a:cubicBezTo>
                  <a:pt x="10875" y="6157"/>
                  <a:pt x="10812" y="6157"/>
                  <a:pt x="10781" y="6157"/>
                </a:cubicBezTo>
                <a:cubicBezTo>
                  <a:pt x="10750" y="6157"/>
                  <a:pt x="10719" y="6125"/>
                  <a:pt x="10687" y="6157"/>
                </a:cubicBezTo>
                <a:cubicBezTo>
                  <a:pt x="10687" y="6157"/>
                  <a:pt x="10687" y="6157"/>
                  <a:pt x="10687" y="6157"/>
                </a:cubicBezTo>
                <a:cubicBezTo>
                  <a:pt x="10687" y="6157"/>
                  <a:pt x="10687" y="6157"/>
                  <a:pt x="10687" y="6157"/>
                </a:cubicBezTo>
                <a:cubicBezTo>
                  <a:pt x="10687" y="6157"/>
                  <a:pt x="10687" y="6157"/>
                  <a:pt x="10687" y="6157"/>
                </a:cubicBezTo>
                <a:cubicBezTo>
                  <a:pt x="10687" y="6157"/>
                  <a:pt x="10687" y="6157"/>
                  <a:pt x="10656" y="6157"/>
                </a:cubicBezTo>
                <a:cubicBezTo>
                  <a:pt x="10656" y="6157"/>
                  <a:pt x="10656" y="6157"/>
                  <a:pt x="10656" y="6157"/>
                </a:cubicBezTo>
                <a:cubicBezTo>
                  <a:pt x="10656" y="6157"/>
                  <a:pt x="10656" y="6157"/>
                  <a:pt x="10656" y="6125"/>
                </a:cubicBezTo>
                <a:cubicBezTo>
                  <a:pt x="10656" y="6125"/>
                  <a:pt x="10625" y="6125"/>
                  <a:pt x="10625" y="6094"/>
                </a:cubicBezTo>
                <a:cubicBezTo>
                  <a:pt x="10281" y="5938"/>
                  <a:pt x="9969" y="5750"/>
                  <a:pt x="9656" y="5563"/>
                </a:cubicBezTo>
                <a:cubicBezTo>
                  <a:pt x="9312" y="5375"/>
                  <a:pt x="8937" y="5219"/>
                  <a:pt x="8594" y="5032"/>
                </a:cubicBezTo>
                <a:cubicBezTo>
                  <a:pt x="8437" y="4938"/>
                  <a:pt x="8250" y="4844"/>
                  <a:pt x="8094" y="4750"/>
                </a:cubicBezTo>
                <a:cubicBezTo>
                  <a:pt x="7844" y="4657"/>
                  <a:pt x="7625" y="4532"/>
                  <a:pt x="7375" y="4438"/>
                </a:cubicBezTo>
                <a:cubicBezTo>
                  <a:pt x="7188" y="4344"/>
                  <a:pt x="6969" y="4250"/>
                  <a:pt x="6750" y="4157"/>
                </a:cubicBezTo>
                <a:cubicBezTo>
                  <a:pt x="6688" y="4125"/>
                  <a:pt x="6594" y="4188"/>
                  <a:pt x="6500" y="4094"/>
                </a:cubicBezTo>
                <a:cubicBezTo>
                  <a:pt x="6344" y="3938"/>
                  <a:pt x="6125" y="3875"/>
                  <a:pt x="5906" y="3782"/>
                </a:cubicBezTo>
                <a:cubicBezTo>
                  <a:pt x="5875" y="3750"/>
                  <a:pt x="5844" y="3750"/>
                  <a:pt x="5813" y="3782"/>
                </a:cubicBezTo>
                <a:cubicBezTo>
                  <a:pt x="5813" y="3813"/>
                  <a:pt x="5875" y="3782"/>
                  <a:pt x="5844" y="3844"/>
                </a:cubicBezTo>
                <a:cubicBezTo>
                  <a:pt x="5813" y="3844"/>
                  <a:pt x="5750" y="3813"/>
                  <a:pt x="5688" y="3813"/>
                </a:cubicBezTo>
                <a:cubicBezTo>
                  <a:pt x="5688" y="3813"/>
                  <a:pt x="5688" y="3813"/>
                  <a:pt x="5688" y="3813"/>
                </a:cubicBezTo>
                <a:cubicBezTo>
                  <a:pt x="5688" y="3813"/>
                  <a:pt x="5688" y="3813"/>
                  <a:pt x="5688" y="3813"/>
                </a:cubicBezTo>
                <a:cubicBezTo>
                  <a:pt x="5688" y="3813"/>
                  <a:pt x="5688" y="3813"/>
                  <a:pt x="5688" y="3813"/>
                </a:cubicBezTo>
                <a:cubicBezTo>
                  <a:pt x="5656" y="3813"/>
                  <a:pt x="5625" y="3813"/>
                  <a:pt x="5594" y="3782"/>
                </a:cubicBezTo>
                <a:cubicBezTo>
                  <a:pt x="5594" y="3782"/>
                  <a:pt x="5563" y="3782"/>
                  <a:pt x="5563" y="3782"/>
                </a:cubicBezTo>
                <a:cubicBezTo>
                  <a:pt x="5094" y="3532"/>
                  <a:pt x="4594" y="3407"/>
                  <a:pt x="4094" y="3219"/>
                </a:cubicBezTo>
                <a:cubicBezTo>
                  <a:pt x="4094" y="3219"/>
                  <a:pt x="4094" y="3219"/>
                  <a:pt x="4094" y="3219"/>
                </a:cubicBezTo>
                <a:cubicBezTo>
                  <a:pt x="4094" y="3219"/>
                  <a:pt x="4094" y="3219"/>
                  <a:pt x="4094" y="3219"/>
                </a:cubicBezTo>
                <a:cubicBezTo>
                  <a:pt x="4094" y="3219"/>
                  <a:pt x="4063" y="3219"/>
                  <a:pt x="4063" y="3219"/>
                </a:cubicBezTo>
                <a:cubicBezTo>
                  <a:pt x="4063" y="3219"/>
                  <a:pt x="4031" y="3188"/>
                  <a:pt x="4000" y="3188"/>
                </a:cubicBezTo>
                <a:cubicBezTo>
                  <a:pt x="4000" y="3157"/>
                  <a:pt x="3969" y="3157"/>
                  <a:pt x="3938" y="3157"/>
                </a:cubicBezTo>
                <a:cubicBezTo>
                  <a:pt x="3656" y="3032"/>
                  <a:pt x="3375" y="3000"/>
                  <a:pt x="3094" y="2907"/>
                </a:cubicBezTo>
                <a:cubicBezTo>
                  <a:pt x="2906" y="2844"/>
                  <a:pt x="2719" y="2750"/>
                  <a:pt x="2500" y="2719"/>
                </a:cubicBezTo>
                <a:cubicBezTo>
                  <a:pt x="2344" y="2688"/>
                  <a:pt x="2188" y="2688"/>
                  <a:pt x="2031" y="2688"/>
                </a:cubicBezTo>
                <a:cubicBezTo>
                  <a:pt x="2188" y="2750"/>
                  <a:pt x="2375" y="2782"/>
                  <a:pt x="2563" y="2844"/>
                </a:cubicBezTo>
                <a:cubicBezTo>
                  <a:pt x="2969" y="2969"/>
                  <a:pt x="3344" y="3094"/>
                  <a:pt x="3719" y="3219"/>
                </a:cubicBezTo>
                <a:cubicBezTo>
                  <a:pt x="3844" y="3219"/>
                  <a:pt x="3906" y="3282"/>
                  <a:pt x="4031" y="3282"/>
                </a:cubicBezTo>
                <a:cubicBezTo>
                  <a:pt x="4375" y="3407"/>
                  <a:pt x="4750" y="3532"/>
                  <a:pt x="5094" y="3657"/>
                </a:cubicBezTo>
                <a:cubicBezTo>
                  <a:pt x="5219" y="3688"/>
                  <a:pt x="5344" y="3750"/>
                  <a:pt x="5469" y="3813"/>
                </a:cubicBezTo>
                <a:cubicBezTo>
                  <a:pt x="5531" y="3844"/>
                  <a:pt x="5625" y="3844"/>
                  <a:pt x="5688" y="3875"/>
                </a:cubicBezTo>
                <a:cubicBezTo>
                  <a:pt x="5688" y="3875"/>
                  <a:pt x="5688" y="3875"/>
                  <a:pt x="5688" y="3875"/>
                </a:cubicBezTo>
                <a:cubicBezTo>
                  <a:pt x="5688" y="3875"/>
                  <a:pt x="5688" y="3875"/>
                  <a:pt x="5688" y="3907"/>
                </a:cubicBezTo>
                <a:cubicBezTo>
                  <a:pt x="5719" y="3938"/>
                  <a:pt x="5750" y="3938"/>
                  <a:pt x="5813" y="3969"/>
                </a:cubicBezTo>
                <a:cubicBezTo>
                  <a:pt x="5813" y="3969"/>
                  <a:pt x="5844" y="3969"/>
                  <a:pt x="5875" y="3969"/>
                </a:cubicBezTo>
                <a:cubicBezTo>
                  <a:pt x="6281" y="4157"/>
                  <a:pt x="6656" y="4313"/>
                  <a:pt x="7063" y="4500"/>
                </a:cubicBezTo>
                <a:cubicBezTo>
                  <a:pt x="7438" y="4657"/>
                  <a:pt x="7813" y="4813"/>
                  <a:pt x="8187" y="5032"/>
                </a:cubicBezTo>
                <a:cubicBezTo>
                  <a:pt x="8250" y="5063"/>
                  <a:pt x="8312" y="5125"/>
                  <a:pt x="8406" y="5094"/>
                </a:cubicBezTo>
                <a:cubicBezTo>
                  <a:pt x="8406" y="5094"/>
                  <a:pt x="8437" y="5125"/>
                  <a:pt x="8437" y="5125"/>
                </a:cubicBezTo>
                <a:cubicBezTo>
                  <a:pt x="8437" y="5125"/>
                  <a:pt x="8437" y="5125"/>
                  <a:pt x="8437" y="5125"/>
                </a:cubicBezTo>
                <a:cubicBezTo>
                  <a:pt x="8437" y="5157"/>
                  <a:pt x="8469" y="5157"/>
                  <a:pt x="8500" y="5157"/>
                </a:cubicBezTo>
                <a:cubicBezTo>
                  <a:pt x="8531" y="5188"/>
                  <a:pt x="8531" y="5188"/>
                  <a:pt x="8562" y="5188"/>
                </a:cubicBezTo>
                <a:cubicBezTo>
                  <a:pt x="8562" y="5188"/>
                  <a:pt x="8562" y="5219"/>
                  <a:pt x="8562" y="5219"/>
                </a:cubicBezTo>
                <a:cubicBezTo>
                  <a:pt x="8562" y="5219"/>
                  <a:pt x="8562" y="5219"/>
                  <a:pt x="8562" y="5219"/>
                </a:cubicBezTo>
                <a:cubicBezTo>
                  <a:pt x="8594" y="5219"/>
                  <a:pt x="8594" y="5219"/>
                  <a:pt x="8594" y="5219"/>
                </a:cubicBezTo>
                <a:cubicBezTo>
                  <a:pt x="8687" y="5250"/>
                  <a:pt x="8750" y="5313"/>
                  <a:pt x="8844" y="5344"/>
                </a:cubicBezTo>
                <a:cubicBezTo>
                  <a:pt x="8937" y="5407"/>
                  <a:pt x="9031" y="5438"/>
                  <a:pt x="9125" y="5500"/>
                </a:cubicBezTo>
                <a:cubicBezTo>
                  <a:pt x="9312" y="5594"/>
                  <a:pt x="9469" y="5657"/>
                  <a:pt x="9625" y="5782"/>
                </a:cubicBezTo>
                <a:cubicBezTo>
                  <a:pt x="9625" y="5782"/>
                  <a:pt x="9625" y="5782"/>
                  <a:pt x="9656" y="5782"/>
                </a:cubicBezTo>
                <a:cubicBezTo>
                  <a:pt x="9656" y="5813"/>
                  <a:pt x="9656" y="5813"/>
                  <a:pt x="9687" y="5813"/>
                </a:cubicBezTo>
                <a:cubicBezTo>
                  <a:pt x="9719" y="5813"/>
                  <a:pt x="9750" y="5813"/>
                  <a:pt x="9750" y="5844"/>
                </a:cubicBezTo>
                <a:cubicBezTo>
                  <a:pt x="9750" y="5844"/>
                  <a:pt x="9781" y="5844"/>
                  <a:pt x="9781" y="5844"/>
                </a:cubicBezTo>
                <a:cubicBezTo>
                  <a:pt x="9781" y="5875"/>
                  <a:pt x="9781" y="5907"/>
                  <a:pt x="9812" y="5907"/>
                </a:cubicBezTo>
                <a:cubicBezTo>
                  <a:pt x="9812" y="5907"/>
                  <a:pt x="9844" y="5907"/>
                  <a:pt x="9844" y="5907"/>
                </a:cubicBezTo>
                <a:cubicBezTo>
                  <a:pt x="9844" y="5907"/>
                  <a:pt x="9875" y="5907"/>
                  <a:pt x="9875" y="5907"/>
                </a:cubicBezTo>
                <a:cubicBezTo>
                  <a:pt x="9875" y="5938"/>
                  <a:pt x="9875" y="5938"/>
                  <a:pt x="9906" y="5938"/>
                </a:cubicBezTo>
                <a:cubicBezTo>
                  <a:pt x="9906" y="5938"/>
                  <a:pt x="9906" y="5969"/>
                  <a:pt x="9906" y="5969"/>
                </a:cubicBezTo>
                <a:cubicBezTo>
                  <a:pt x="10031" y="6000"/>
                  <a:pt x="10156" y="6094"/>
                  <a:pt x="10250" y="6157"/>
                </a:cubicBezTo>
                <a:cubicBezTo>
                  <a:pt x="10375" y="6188"/>
                  <a:pt x="10437" y="6282"/>
                  <a:pt x="10562" y="6282"/>
                </a:cubicBezTo>
                <a:cubicBezTo>
                  <a:pt x="10562" y="6313"/>
                  <a:pt x="10562" y="6344"/>
                  <a:pt x="10594" y="6344"/>
                </a:cubicBezTo>
                <a:cubicBezTo>
                  <a:pt x="10594" y="6344"/>
                  <a:pt x="10594" y="6344"/>
                  <a:pt x="10594" y="6344"/>
                </a:cubicBezTo>
                <a:cubicBezTo>
                  <a:pt x="10625" y="6375"/>
                  <a:pt x="10656" y="6407"/>
                  <a:pt x="10687" y="6407"/>
                </a:cubicBezTo>
                <a:cubicBezTo>
                  <a:pt x="10687" y="6407"/>
                  <a:pt x="10687" y="6407"/>
                  <a:pt x="10687" y="6407"/>
                </a:cubicBezTo>
                <a:cubicBezTo>
                  <a:pt x="10719" y="6407"/>
                  <a:pt x="10719" y="6407"/>
                  <a:pt x="10719" y="6438"/>
                </a:cubicBezTo>
                <a:cubicBezTo>
                  <a:pt x="10750" y="6438"/>
                  <a:pt x="10781" y="6438"/>
                  <a:pt x="10812" y="6407"/>
                </a:cubicBezTo>
                <a:cubicBezTo>
                  <a:pt x="10844" y="6407"/>
                  <a:pt x="10875" y="6438"/>
                  <a:pt x="10906" y="6469"/>
                </a:cubicBezTo>
                <a:cubicBezTo>
                  <a:pt x="10906" y="6469"/>
                  <a:pt x="10906" y="6469"/>
                  <a:pt x="10906" y="6469"/>
                </a:cubicBezTo>
                <a:cubicBezTo>
                  <a:pt x="10906" y="6469"/>
                  <a:pt x="10906" y="6500"/>
                  <a:pt x="10906" y="6500"/>
                </a:cubicBezTo>
                <a:cubicBezTo>
                  <a:pt x="10906" y="6500"/>
                  <a:pt x="10906" y="6532"/>
                  <a:pt x="10937" y="6532"/>
                </a:cubicBezTo>
                <a:cubicBezTo>
                  <a:pt x="10937" y="6563"/>
                  <a:pt x="10937" y="6563"/>
                  <a:pt x="10969" y="6563"/>
                </a:cubicBezTo>
                <a:cubicBezTo>
                  <a:pt x="10969" y="6563"/>
                  <a:pt x="10969" y="6563"/>
                  <a:pt x="10969" y="6563"/>
                </a:cubicBezTo>
                <a:cubicBezTo>
                  <a:pt x="11000" y="6594"/>
                  <a:pt x="11062" y="6657"/>
                  <a:pt x="11156" y="6625"/>
                </a:cubicBezTo>
                <a:cubicBezTo>
                  <a:pt x="11156" y="6594"/>
                  <a:pt x="11250" y="6594"/>
                  <a:pt x="11250" y="6657"/>
                </a:cubicBezTo>
                <a:cubicBezTo>
                  <a:pt x="11250" y="6719"/>
                  <a:pt x="11281" y="6750"/>
                  <a:pt x="11344" y="6782"/>
                </a:cubicBezTo>
                <a:cubicBezTo>
                  <a:pt x="11437" y="6844"/>
                  <a:pt x="11500" y="6875"/>
                  <a:pt x="11594" y="6907"/>
                </a:cubicBezTo>
                <a:cubicBezTo>
                  <a:pt x="11906" y="7125"/>
                  <a:pt x="12187" y="7313"/>
                  <a:pt x="12500" y="7532"/>
                </a:cubicBezTo>
                <a:cubicBezTo>
                  <a:pt x="12875" y="7782"/>
                  <a:pt x="13250" y="8032"/>
                  <a:pt x="13625" y="8313"/>
                </a:cubicBezTo>
                <a:cubicBezTo>
                  <a:pt x="13844" y="8469"/>
                  <a:pt x="14094" y="8594"/>
                  <a:pt x="14281" y="8813"/>
                </a:cubicBezTo>
                <a:cubicBezTo>
                  <a:pt x="14219" y="8844"/>
                  <a:pt x="14187" y="8844"/>
                  <a:pt x="14125" y="8782"/>
                </a:cubicBezTo>
                <a:cubicBezTo>
                  <a:pt x="14094" y="8750"/>
                  <a:pt x="14062" y="8750"/>
                  <a:pt x="14031" y="8782"/>
                </a:cubicBezTo>
                <a:cubicBezTo>
                  <a:pt x="14031" y="8750"/>
                  <a:pt x="14031" y="8750"/>
                  <a:pt x="14000" y="8750"/>
                </a:cubicBezTo>
                <a:cubicBezTo>
                  <a:pt x="14031" y="8719"/>
                  <a:pt x="14031" y="8719"/>
                  <a:pt x="14000" y="8719"/>
                </a:cubicBezTo>
                <a:cubicBezTo>
                  <a:pt x="14000" y="8719"/>
                  <a:pt x="14000" y="8719"/>
                  <a:pt x="14000" y="8719"/>
                </a:cubicBezTo>
                <a:cubicBezTo>
                  <a:pt x="14000" y="8719"/>
                  <a:pt x="13969" y="8719"/>
                  <a:pt x="13969" y="8719"/>
                </a:cubicBezTo>
                <a:cubicBezTo>
                  <a:pt x="13969" y="8719"/>
                  <a:pt x="13937" y="8719"/>
                  <a:pt x="13937" y="8719"/>
                </a:cubicBezTo>
                <a:cubicBezTo>
                  <a:pt x="13937" y="8719"/>
                  <a:pt x="13937" y="8688"/>
                  <a:pt x="13937" y="8688"/>
                </a:cubicBezTo>
                <a:cubicBezTo>
                  <a:pt x="13937" y="8688"/>
                  <a:pt x="13937" y="8688"/>
                  <a:pt x="13937" y="8688"/>
                </a:cubicBezTo>
                <a:cubicBezTo>
                  <a:pt x="13937" y="8657"/>
                  <a:pt x="13937" y="8657"/>
                  <a:pt x="13906" y="8657"/>
                </a:cubicBezTo>
                <a:cubicBezTo>
                  <a:pt x="13906" y="8657"/>
                  <a:pt x="13875" y="8657"/>
                  <a:pt x="13875" y="8657"/>
                </a:cubicBezTo>
                <a:cubicBezTo>
                  <a:pt x="13875" y="8657"/>
                  <a:pt x="13875" y="8657"/>
                  <a:pt x="13875" y="8625"/>
                </a:cubicBezTo>
                <a:cubicBezTo>
                  <a:pt x="13875" y="8594"/>
                  <a:pt x="13875" y="8625"/>
                  <a:pt x="13844" y="8625"/>
                </a:cubicBezTo>
                <a:cubicBezTo>
                  <a:pt x="13844" y="8625"/>
                  <a:pt x="13812" y="8625"/>
                  <a:pt x="13812" y="8625"/>
                </a:cubicBezTo>
                <a:cubicBezTo>
                  <a:pt x="13812" y="8594"/>
                  <a:pt x="13812" y="8594"/>
                  <a:pt x="13812" y="8594"/>
                </a:cubicBezTo>
                <a:cubicBezTo>
                  <a:pt x="13812" y="8594"/>
                  <a:pt x="13812" y="8594"/>
                  <a:pt x="13812" y="8563"/>
                </a:cubicBezTo>
                <a:cubicBezTo>
                  <a:pt x="13812" y="8563"/>
                  <a:pt x="13781" y="8563"/>
                  <a:pt x="13781" y="8563"/>
                </a:cubicBezTo>
                <a:cubicBezTo>
                  <a:pt x="13750" y="8563"/>
                  <a:pt x="13750" y="8563"/>
                  <a:pt x="13750" y="8563"/>
                </a:cubicBezTo>
                <a:cubicBezTo>
                  <a:pt x="13750" y="8563"/>
                  <a:pt x="13750" y="8532"/>
                  <a:pt x="13750" y="8532"/>
                </a:cubicBezTo>
                <a:cubicBezTo>
                  <a:pt x="13719" y="8532"/>
                  <a:pt x="13719" y="8532"/>
                  <a:pt x="13719" y="8532"/>
                </a:cubicBezTo>
                <a:cubicBezTo>
                  <a:pt x="13719" y="8532"/>
                  <a:pt x="13719" y="8532"/>
                  <a:pt x="13719" y="8532"/>
                </a:cubicBezTo>
                <a:cubicBezTo>
                  <a:pt x="13687" y="8532"/>
                  <a:pt x="13687" y="8532"/>
                  <a:pt x="13687" y="8532"/>
                </a:cubicBezTo>
                <a:cubicBezTo>
                  <a:pt x="13687" y="8500"/>
                  <a:pt x="13687" y="8500"/>
                  <a:pt x="13687" y="8500"/>
                </a:cubicBezTo>
                <a:cubicBezTo>
                  <a:pt x="13687" y="8500"/>
                  <a:pt x="13687" y="8500"/>
                  <a:pt x="13687" y="8500"/>
                </a:cubicBezTo>
                <a:cubicBezTo>
                  <a:pt x="13687" y="8469"/>
                  <a:pt x="13656" y="8469"/>
                  <a:pt x="13625" y="8500"/>
                </a:cubicBezTo>
                <a:cubicBezTo>
                  <a:pt x="13594" y="8469"/>
                  <a:pt x="13562" y="8438"/>
                  <a:pt x="13500" y="8407"/>
                </a:cubicBezTo>
                <a:cubicBezTo>
                  <a:pt x="13281" y="8250"/>
                  <a:pt x="13062" y="8094"/>
                  <a:pt x="12844" y="7938"/>
                </a:cubicBezTo>
                <a:cubicBezTo>
                  <a:pt x="12844" y="7938"/>
                  <a:pt x="12812" y="7907"/>
                  <a:pt x="12812" y="7907"/>
                </a:cubicBezTo>
                <a:cubicBezTo>
                  <a:pt x="12531" y="7719"/>
                  <a:pt x="12250" y="7532"/>
                  <a:pt x="11969" y="7344"/>
                </a:cubicBezTo>
                <a:cubicBezTo>
                  <a:pt x="11812" y="7250"/>
                  <a:pt x="11625" y="7157"/>
                  <a:pt x="11437" y="7032"/>
                </a:cubicBezTo>
                <a:cubicBezTo>
                  <a:pt x="11344" y="6938"/>
                  <a:pt x="11219" y="6844"/>
                  <a:pt x="11031" y="6907"/>
                </a:cubicBezTo>
                <a:cubicBezTo>
                  <a:pt x="11031" y="6907"/>
                  <a:pt x="11031" y="6907"/>
                  <a:pt x="11031" y="6907"/>
                </a:cubicBezTo>
                <a:cubicBezTo>
                  <a:pt x="11000" y="6907"/>
                  <a:pt x="11000" y="6907"/>
                  <a:pt x="10969" y="6875"/>
                </a:cubicBezTo>
                <a:cubicBezTo>
                  <a:pt x="11000" y="6844"/>
                  <a:pt x="11000" y="6813"/>
                  <a:pt x="11000" y="6782"/>
                </a:cubicBezTo>
                <a:cubicBezTo>
                  <a:pt x="11000" y="6750"/>
                  <a:pt x="10969" y="6750"/>
                  <a:pt x="10969" y="6719"/>
                </a:cubicBezTo>
                <a:cubicBezTo>
                  <a:pt x="10937" y="6719"/>
                  <a:pt x="10937" y="6719"/>
                  <a:pt x="10937" y="6688"/>
                </a:cubicBezTo>
                <a:cubicBezTo>
                  <a:pt x="10844" y="6657"/>
                  <a:pt x="10750" y="6594"/>
                  <a:pt x="10687" y="6563"/>
                </a:cubicBezTo>
                <a:cubicBezTo>
                  <a:pt x="10562" y="6500"/>
                  <a:pt x="10562" y="6500"/>
                  <a:pt x="10562" y="6625"/>
                </a:cubicBezTo>
                <a:cubicBezTo>
                  <a:pt x="9719" y="6094"/>
                  <a:pt x="8812" y="5657"/>
                  <a:pt x="7906" y="5219"/>
                </a:cubicBezTo>
                <a:cubicBezTo>
                  <a:pt x="7906" y="5282"/>
                  <a:pt x="7937" y="5282"/>
                  <a:pt x="7969" y="5313"/>
                </a:cubicBezTo>
                <a:cubicBezTo>
                  <a:pt x="8219" y="5438"/>
                  <a:pt x="8500" y="5563"/>
                  <a:pt x="8750" y="5719"/>
                </a:cubicBezTo>
                <a:cubicBezTo>
                  <a:pt x="9156" y="5938"/>
                  <a:pt x="9562" y="6188"/>
                  <a:pt x="9969" y="6375"/>
                </a:cubicBezTo>
                <a:cubicBezTo>
                  <a:pt x="10187" y="6469"/>
                  <a:pt x="10344" y="6657"/>
                  <a:pt x="10531" y="6750"/>
                </a:cubicBezTo>
                <a:cubicBezTo>
                  <a:pt x="10625" y="6782"/>
                  <a:pt x="10594" y="6875"/>
                  <a:pt x="10562" y="6938"/>
                </a:cubicBezTo>
                <a:cubicBezTo>
                  <a:pt x="10531" y="7000"/>
                  <a:pt x="10500" y="6907"/>
                  <a:pt x="10437" y="6907"/>
                </a:cubicBezTo>
                <a:cubicBezTo>
                  <a:pt x="10281" y="6782"/>
                  <a:pt x="10125" y="6657"/>
                  <a:pt x="9937" y="6563"/>
                </a:cubicBezTo>
                <a:cubicBezTo>
                  <a:pt x="9719" y="6469"/>
                  <a:pt x="9500" y="6375"/>
                  <a:pt x="9281" y="6282"/>
                </a:cubicBezTo>
                <a:cubicBezTo>
                  <a:pt x="9187" y="6219"/>
                  <a:pt x="9094" y="6188"/>
                  <a:pt x="9031" y="6094"/>
                </a:cubicBezTo>
                <a:cubicBezTo>
                  <a:pt x="9062" y="6094"/>
                  <a:pt x="9094" y="6125"/>
                  <a:pt x="9125" y="6125"/>
                </a:cubicBezTo>
                <a:cubicBezTo>
                  <a:pt x="9125" y="6125"/>
                  <a:pt x="9125" y="6125"/>
                  <a:pt x="9156" y="6125"/>
                </a:cubicBezTo>
                <a:cubicBezTo>
                  <a:pt x="9156" y="6157"/>
                  <a:pt x="9187" y="6157"/>
                  <a:pt x="9187" y="6157"/>
                </a:cubicBezTo>
                <a:cubicBezTo>
                  <a:pt x="9250" y="6188"/>
                  <a:pt x="9312" y="6219"/>
                  <a:pt x="9375" y="6219"/>
                </a:cubicBezTo>
                <a:cubicBezTo>
                  <a:pt x="9375" y="6219"/>
                  <a:pt x="9375" y="6219"/>
                  <a:pt x="9375" y="6219"/>
                </a:cubicBezTo>
                <a:cubicBezTo>
                  <a:pt x="9375" y="6219"/>
                  <a:pt x="9375" y="6250"/>
                  <a:pt x="9375" y="6250"/>
                </a:cubicBezTo>
                <a:cubicBezTo>
                  <a:pt x="9375" y="6250"/>
                  <a:pt x="9375" y="6219"/>
                  <a:pt x="9375" y="6219"/>
                </a:cubicBezTo>
                <a:cubicBezTo>
                  <a:pt x="9375" y="6188"/>
                  <a:pt x="9375" y="6157"/>
                  <a:pt x="9312" y="6125"/>
                </a:cubicBezTo>
                <a:cubicBezTo>
                  <a:pt x="9156" y="6000"/>
                  <a:pt x="8969" y="5938"/>
                  <a:pt x="8781" y="5844"/>
                </a:cubicBezTo>
                <a:cubicBezTo>
                  <a:pt x="8406" y="5657"/>
                  <a:pt x="8000" y="5469"/>
                  <a:pt x="7625" y="5282"/>
                </a:cubicBezTo>
                <a:cubicBezTo>
                  <a:pt x="7094" y="5000"/>
                  <a:pt x="6563" y="4782"/>
                  <a:pt x="6031" y="4563"/>
                </a:cubicBezTo>
                <a:cubicBezTo>
                  <a:pt x="5750" y="4438"/>
                  <a:pt x="5438" y="4313"/>
                  <a:pt x="5125" y="4188"/>
                </a:cubicBezTo>
                <a:cubicBezTo>
                  <a:pt x="4781" y="4063"/>
                  <a:pt x="4438" y="3938"/>
                  <a:pt x="4063" y="3813"/>
                </a:cubicBezTo>
                <a:cubicBezTo>
                  <a:pt x="3750" y="3688"/>
                  <a:pt x="3438" y="3594"/>
                  <a:pt x="3125" y="3500"/>
                </a:cubicBezTo>
                <a:cubicBezTo>
                  <a:pt x="3000" y="3469"/>
                  <a:pt x="2875" y="3438"/>
                  <a:pt x="2750" y="3438"/>
                </a:cubicBezTo>
                <a:cubicBezTo>
                  <a:pt x="3250" y="3657"/>
                  <a:pt x="3781" y="3782"/>
                  <a:pt x="4281" y="3969"/>
                </a:cubicBezTo>
                <a:cubicBezTo>
                  <a:pt x="4781" y="4157"/>
                  <a:pt x="5313" y="4344"/>
                  <a:pt x="5813" y="4563"/>
                </a:cubicBezTo>
                <a:cubicBezTo>
                  <a:pt x="6313" y="4782"/>
                  <a:pt x="6813" y="4938"/>
                  <a:pt x="7281" y="5250"/>
                </a:cubicBezTo>
                <a:cubicBezTo>
                  <a:pt x="6875" y="5063"/>
                  <a:pt x="6469" y="4938"/>
                  <a:pt x="6063" y="4750"/>
                </a:cubicBezTo>
                <a:cubicBezTo>
                  <a:pt x="6094" y="4813"/>
                  <a:pt x="6125" y="4844"/>
                  <a:pt x="6188" y="4875"/>
                </a:cubicBezTo>
                <a:cubicBezTo>
                  <a:pt x="6594" y="5094"/>
                  <a:pt x="7000" y="5313"/>
                  <a:pt x="7438" y="5500"/>
                </a:cubicBezTo>
                <a:cubicBezTo>
                  <a:pt x="7906" y="5719"/>
                  <a:pt x="8375" y="5969"/>
                  <a:pt x="8844" y="6219"/>
                </a:cubicBezTo>
                <a:cubicBezTo>
                  <a:pt x="8875" y="6219"/>
                  <a:pt x="8906" y="6250"/>
                  <a:pt x="8937" y="6250"/>
                </a:cubicBezTo>
                <a:cubicBezTo>
                  <a:pt x="8937" y="6282"/>
                  <a:pt x="8969" y="6282"/>
                  <a:pt x="9000" y="6313"/>
                </a:cubicBezTo>
                <a:cubicBezTo>
                  <a:pt x="9000" y="6313"/>
                  <a:pt x="9031" y="6313"/>
                  <a:pt x="9031" y="6313"/>
                </a:cubicBezTo>
                <a:cubicBezTo>
                  <a:pt x="9062" y="6344"/>
                  <a:pt x="9125" y="6344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87" y="6375"/>
                  <a:pt x="9187" y="6407"/>
                  <a:pt x="9187" y="6407"/>
                </a:cubicBezTo>
                <a:cubicBezTo>
                  <a:pt x="9219" y="6407"/>
                  <a:pt x="9219" y="6407"/>
                  <a:pt x="9219" y="6407"/>
                </a:cubicBezTo>
                <a:cubicBezTo>
                  <a:pt x="9250" y="6438"/>
                  <a:pt x="9312" y="6438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44" y="6500"/>
                  <a:pt x="9375" y="6500"/>
                  <a:pt x="9375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531" y="6625"/>
                  <a:pt x="9687" y="6657"/>
                  <a:pt x="9812" y="6750"/>
                </a:cubicBezTo>
                <a:cubicBezTo>
                  <a:pt x="9781" y="6719"/>
                  <a:pt x="9719" y="6657"/>
                  <a:pt x="9687" y="6625"/>
                </a:cubicBezTo>
                <a:cubicBezTo>
                  <a:pt x="9594" y="6594"/>
                  <a:pt x="9500" y="6532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375" y="6469"/>
                  <a:pt x="9375" y="6469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12" y="6438"/>
                  <a:pt x="9281" y="6407"/>
                  <a:pt x="9250" y="6375"/>
                </a:cubicBezTo>
                <a:cubicBezTo>
                  <a:pt x="9219" y="6375"/>
                  <a:pt x="9219" y="6375"/>
                  <a:pt x="9219" y="6375"/>
                </a:cubicBezTo>
                <a:cubicBezTo>
                  <a:pt x="9187" y="6375"/>
                  <a:pt x="9187" y="6375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56" y="6344"/>
                  <a:pt x="9156" y="6313"/>
                  <a:pt x="9125" y="6313"/>
                </a:cubicBezTo>
                <a:cubicBezTo>
                  <a:pt x="9094" y="6282"/>
                  <a:pt x="9062" y="6282"/>
                  <a:pt x="9062" y="6250"/>
                </a:cubicBezTo>
                <a:cubicBezTo>
                  <a:pt x="9062" y="6250"/>
                  <a:pt x="9062" y="6219"/>
                  <a:pt x="9094" y="6250"/>
                </a:cubicBezTo>
                <a:cubicBezTo>
                  <a:pt x="9406" y="6407"/>
                  <a:pt x="9719" y="6563"/>
                  <a:pt x="10031" y="6719"/>
                </a:cubicBezTo>
                <a:cubicBezTo>
                  <a:pt x="10187" y="6813"/>
                  <a:pt x="10312" y="6938"/>
                  <a:pt x="10469" y="7032"/>
                </a:cubicBezTo>
                <a:cubicBezTo>
                  <a:pt x="10875" y="7219"/>
                  <a:pt x="11250" y="7438"/>
                  <a:pt x="11594" y="7688"/>
                </a:cubicBezTo>
                <a:cubicBezTo>
                  <a:pt x="11906" y="7844"/>
                  <a:pt x="12219" y="8063"/>
                  <a:pt x="12500" y="8250"/>
                </a:cubicBezTo>
                <a:cubicBezTo>
                  <a:pt x="12656" y="8344"/>
                  <a:pt x="12812" y="8438"/>
                  <a:pt x="12937" y="8563"/>
                </a:cubicBezTo>
                <a:cubicBezTo>
                  <a:pt x="12812" y="8500"/>
                  <a:pt x="12687" y="8438"/>
                  <a:pt x="12562" y="8375"/>
                </a:cubicBezTo>
                <a:cubicBezTo>
                  <a:pt x="12562" y="8407"/>
                  <a:pt x="12562" y="8407"/>
                  <a:pt x="12594" y="8438"/>
                </a:cubicBezTo>
                <a:cubicBezTo>
                  <a:pt x="12781" y="8563"/>
                  <a:pt x="13000" y="8688"/>
                  <a:pt x="13187" y="8844"/>
                </a:cubicBezTo>
                <a:cubicBezTo>
                  <a:pt x="13375" y="8969"/>
                  <a:pt x="13531" y="9094"/>
                  <a:pt x="13719" y="9219"/>
                </a:cubicBezTo>
                <a:cubicBezTo>
                  <a:pt x="13875" y="9313"/>
                  <a:pt x="14031" y="9407"/>
                  <a:pt x="14156" y="9532"/>
                </a:cubicBezTo>
                <a:cubicBezTo>
                  <a:pt x="14250" y="9625"/>
                  <a:pt x="14375" y="9688"/>
                  <a:pt x="14500" y="9688"/>
                </a:cubicBezTo>
                <a:cubicBezTo>
                  <a:pt x="14500" y="9688"/>
                  <a:pt x="14500" y="9688"/>
                  <a:pt x="14500" y="9688"/>
                </a:cubicBezTo>
                <a:cubicBezTo>
                  <a:pt x="14500" y="9719"/>
                  <a:pt x="14500" y="9719"/>
                  <a:pt x="14500" y="9750"/>
                </a:cubicBezTo>
                <a:cubicBezTo>
                  <a:pt x="14500" y="9750"/>
                  <a:pt x="14500" y="9750"/>
                  <a:pt x="14500" y="9750"/>
                </a:cubicBezTo>
                <a:cubicBezTo>
                  <a:pt x="14594" y="9719"/>
                  <a:pt x="14625" y="9719"/>
                  <a:pt x="14594" y="9813"/>
                </a:cubicBezTo>
                <a:cubicBezTo>
                  <a:pt x="14594" y="9875"/>
                  <a:pt x="14594" y="9938"/>
                  <a:pt x="14656" y="9938"/>
                </a:cubicBezTo>
                <a:cubicBezTo>
                  <a:pt x="14687" y="9969"/>
                  <a:pt x="14719" y="9969"/>
                  <a:pt x="14719" y="10032"/>
                </a:cubicBezTo>
                <a:cubicBezTo>
                  <a:pt x="14625" y="9969"/>
                  <a:pt x="14531" y="9907"/>
                  <a:pt x="14469" y="9844"/>
                </a:cubicBezTo>
                <a:cubicBezTo>
                  <a:pt x="14187" y="9625"/>
                  <a:pt x="13875" y="9407"/>
                  <a:pt x="13594" y="9219"/>
                </a:cubicBezTo>
                <a:cubicBezTo>
                  <a:pt x="13125" y="8907"/>
                  <a:pt x="12656" y="8563"/>
                  <a:pt x="12187" y="8282"/>
                </a:cubicBezTo>
                <a:cubicBezTo>
                  <a:pt x="11906" y="8094"/>
                  <a:pt x="11625" y="7907"/>
                  <a:pt x="11312" y="7719"/>
                </a:cubicBezTo>
                <a:cubicBezTo>
                  <a:pt x="11219" y="7688"/>
                  <a:pt x="11156" y="7594"/>
                  <a:pt x="11031" y="7594"/>
                </a:cubicBezTo>
                <a:cubicBezTo>
                  <a:pt x="11125" y="7750"/>
                  <a:pt x="11312" y="7813"/>
                  <a:pt x="11437" y="7907"/>
                </a:cubicBezTo>
                <a:cubicBezTo>
                  <a:pt x="11844" y="8157"/>
                  <a:pt x="12250" y="8344"/>
                  <a:pt x="12625" y="8625"/>
                </a:cubicBezTo>
                <a:cubicBezTo>
                  <a:pt x="12750" y="8750"/>
                  <a:pt x="12875" y="8875"/>
                  <a:pt x="13031" y="8969"/>
                </a:cubicBezTo>
                <a:cubicBezTo>
                  <a:pt x="13344" y="9188"/>
                  <a:pt x="13656" y="9407"/>
                  <a:pt x="13937" y="9625"/>
                </a:cubicBezTo>
                <a:cubicBezTo>
                  <a:pt x="13937" y="9625"/>
                  <a:pt x="13937" y="9625"/>
                  <a:pt x="13937" y="9625"/>
                </a:cubicBezTo>
                <a:cubicBezTo>
                  <a:pt x="13906" y="9625"/>
                  <a:pt x="13875" y="9625"/>
                  <a:pt x="13844" y="9594"/>
                </a:cubicBezTo>
                <a:cubicBezTo>
                  <a:pt x="13656" y="9469"/>
                  <a:pt x="13469" y="9313"/>
                  <a:pt x="13281" y="9188"/>
                </a:cubicBezTo>
                <a:cubicBezTo>
                  <a:pt x="12875" y="8938"/>
                  <a:pt x="12469" y="8657"/>
                  <a:pt x="12062" y="8407"/>
                </a:cubicBezTo>
                <a:cubicBezTo>
                  <a:pt x="12031" y="8375"/>
                  <a:pt x="12031" y="8375"/>
                  <a:pt x="12000" y="8344"/>
                </a:cubicBezTo>
                <a:cubicBezTo>
                  <a:pt x="11906" y="8282"/>
                  <a:pt x="11781" y="8188"/>
                  <a:pt x="11625" y="8157"/>
                </a:cubicBezTo>
                <a:cubicBezTo>
                  <a:pt x="11625" y="8157"/>
                  <a:pt x="11625" y="8157"/>
                  <a:pt x="11625" y="8157"/>
                </a:cubicBezTo>
                <a:cubicBezTo>
                  <a:pt x="11625" y="8157"/>
                  <a:pt x="11625" y="8157"/>
                  <a:pt x="11625" y="8157"/>
                </a:cubicBezTo>
                <a:cubicBezTo>
                  <a:pt x="11625" y="8157"/>
                  <a:pt x="11625" y="8157"/>
                  <a:pt x="11625" y="8157"/>
                </a:cubicBezTo>
                <a:cubicBezTo>
                  <a:pt x="11625" y="8125"/>
                  <a:pt x="11594" y="8125"/>
                  <a:pt x="11562" y="8094"/>
                </a:cubicBezTo>
                <a:cubicBezTo>
                  <a:pt x="11312" y="7938"/>
                  <a:pt x="11062" y="7782"/>
                  <a:pt x="10812" y="7625"/>
                </a:cubicBezTo>
                <a:cubicBezTo>
                  <a:pt x="10750" y="7594"/>
                  <a:pt x="10719" y="7532"/>
                  <a:pt x="10625" y="7563"/>
                </a:cubicBezTo>
                <a:cubicBezTo>
                  <a:pt x="10875" y="7719"/>
                  <a:pt x="11094" y="7938"/>
                  <a:pt x="11344" y="8032"/>
                </a:cubicBezTo>
                <a:cubicBezTo>
                  <a:pt x="11437" y="8063"/>
                  <a:pt x="11531" y="8157"/>
                  <a:pt x="11625" y="8188"/>
                </a:cubicBezTo>
                <a:cubicBezTo>
                  <a:pt x="11625" y="8250"/>
                  <a:pt x="11656" y="8282"/>
                  <a:pt x="11719" y="8313"/>
                </a:cubicBezTo>
                <a:cubicBezTo>
                  <a:pt x="11844" y="8375"/>
                  <a:pt x="11937" y="8469"/>
                  <a:pt x="12062" y="8563"/>
                </a:cubicBezTo>
                <a:cubicBezTo>
                  <a:pt x="12312" y="8719"/>
                  <a:pt x="12562" y="8875"/>
                  <a:pt x="12812" y="9063"/>
                </a:cubicBezTo>
                <a:cubicBezTo>
                  <a:pt x="12937" y="9125"/>
                  <a:pt x="13062" y="9219"/>
                  <a:pt x="13156" y="9313"/>
                </a:cubicBezTo>
                <a:cubicBezTo>
                  <a:pt x="13156" y="9313"/>
                  <a:pt x="13156" y="9313"/>
                  <a:pt x="13156" y="9313"/>
                </a:cubicBezTo>
                <a:cubicBezTo>
                  <a:pt x="13094" y="9313"/>
                  <a:pt x="13062" y="9282"/>
                  <a:pt x="13000" y="9250"/>
                </a:cubicBezTo>
                <a:cubicBezTo>
                  <a:pt x="12969" y="9219"/>
                  <a:pt x="12937" y="9188"/>
                  <a:pt x="12875" y="9157"/>
                </a:cubicBezTo>
                <a:cubicBezTo>
                  <a:pt x="12531" y="8938"/>
                  <a:pt x="12187" y="8719"/>
                  <a:pt x="11875" y="8500"/>
                </a:cubicBezTo>
                <a:cubicBezTo>
                  <a:pt x="11625" y="8344"/>
                  <a:pt x="11375" y="8188"/>
                  <a:pt x="11125" y="8032"/>
                </a:cubicBezTo>
                <a:cubicBezTo>
                  <a:pt x="10781" y="7813"/>
                  <a:pt x="10437" y="7594"/>
                  <a:pt x="10062" y="7407"/>
                </a:cubicBezTo>
                <a:cubicBezTo>
                  <a:pt x="9906" y="7344"/>
                  <a:pt x="9812" y="7219"/>
                  <a:pt x="9656" y="7157"/>
                </a:cubicBezTo>
                <a:cubicBezTo>
                  <a:pt x="9469" y="7063"/>
                  <a:pt x="9250" y="6969"/>
                  <a:pt x="9031" y="6844"/>
                </a:cubicBezTo>
                <a:cubicBezTo>
                  <a:pt x="8937" y="6782"/>
                  <a:pt x="8781" y="6750"/>
                  <a:pt x="8656" y="6719"/>
                </a:cubicBezTo>
                <a:cubicBezTo>
                  <a:pt x="8812" y="6782"/>
                  <a:pt x="8969" y="6875"/>
                  <a:pt x="9094" y="6969"/>
                </a:cubicBezTo>
                <a:cubicBezTo>
                  <a:pt x="9062" y="6969"/>
                  <a:pt x="9000" y="6969"/>
                  <a:pt x="8969" y="6938"/>
                </a:cubicBezTo>
                <a:cubicBezTo>
                  <a:pt x="8437" y="6657"/>
                  <a:pt x="7844" y="6375"/>
                  <a:pt x="7281" y="6125"/>
                </a:cubicBezTo>
                <a:cubicBezTo>
                  <a:pt x="7219" y="6094"/>
                  <a:pt x="7188" y="6063"/>
                  <a:pt x="7125" y="6032"/>
                </a:cubicBezTo>
                <a:cubicBezTo>
                  <a:pt x="7063" y="6000"/>
                  <a:pt x="6969" y="5969"/>
                  <a:pt x="6875" y="5969"/>
                </a:cubicBezTo>
                <a:cubicBezTo>
                  <a:pt x="6875" y="5938"/>
                  <a:pt x="6844" y="5938"/>
                  <a:pt x="6844" y="5938"/>
                </a:cubicBezTo>
                <a:cubicBezTo>
                  <a:pt x="6781" y="5875"/>
                  <a:pt x="6688" y="5875"/>
                  <a:pt x="6625" y="5844"/>
                </a:cubicBezTo>
                <a:cubicBezTo>
                  <a:pt x="6688" y="5907"/>
                  <a:pt x="6781" y="5938"/>
                  <a:pt x="6875" y="5969"/>
                </a:cubicBezTo>
                <a:cubicBezTo>
                  <a:pt x="7063" y="6094"/>
                  <a:pt x="7250" y="6157"/>
                  <a:pt x="7438" y="6250"/>
                </a:cubicBezTo>
                <a:cubicBezTo>
                  <a:pt x="7750" y="6407"/>
                  <a:pt x="8062" y="6532"/>
                  <a:pt x="8375" y="6688"/>
                </a:cubicBezTo>
                <a:cubicBezTo>
                  <a:pt x="8719" y="6875"/>
                  <a:pt x="9062" y="7063"/>
                  <a:pt x="9406" y="7250"/>
                </a:cubicBezTo>
                <a:cubicBezTo>
                  <a:pt x="9750" y="7438"/>
                  <a:pt x="10094" y="7625"/>
                  <a:pt x="10437" y="7844"/>
                </a:cubicBezTo>
                <a:cubicBezTo>
                  <a:pt x="10781" y="8032"/>
                  <a:pt x="11125" y="8250"/>
                  <a:pt x="11469" y="8469"/>
                </a:cubicBezTo>
                <a:cubicBezTo>
                  <a:pt x="12031" y="8813"/>
                  <a:pt x="12562" y="9157"/>
                  <a:pt x="13094" y="9532"/>
                </a:cubicBezTo>
                <a:cubicBezTo>
                  <a:pt x="13125" y="9563"/>
                  <a:pt x="13156" y="9594"/>
                  <a:pt x="13187" y="9657"/>
                </a:cubicBezTo>
                <a:cubicBezTo>
                  <a:pt x="13187" y="9719"/>
                  <a:pt x="13250" y="9750"/>
                  <a:pt x="13281" y="9782"/>
                </a:cubicBezTo>
                <a:cubicBezTo>
                  <a:pt x="13500" y="9938"/>
                  <a:pt x="13687" y="10094"/>
                  <a:pt x="13906" y="10219"/>
                </a:cubicBezTo>
                <a:cubicBezTo>
                  <a:pt x="14031" y="10313"/>
                  <a:pt x="14156" y="10438"/>
                  <a:pt x="14281" y="10532"/>
                </a:cubicBezTo>
                <a:cubicBezTo>
                  <a:pt x="14344" y="10594"/>
                  <a:pt x="14469" y="10625"/>
                  <a:pt x="14500" y="10750"/>
                </a:cubicBezTo>
                <a:cubicBezTo>
                  <a:pt x="14500" y="10750"/>
                  <a:pt x="14500" y="10750"/>
                  <a:pt x="14500" y="10750"/>
                </a:cubicBezTo>
                <a:cubicBezTo>
                  <a:pt x="14500" y="10750"/>
                  <a:pt x="14469" y="10750"/>
                  <a:pt x="14469" y="10750"/>
                </a:cubicBezTo>
                <a:cubicBezTo>
                  <a:pt x="14469" y="10750"/>
                  <a:pt x="14469" y="10750"/>
                  <a:pt x="14469" y="10750"/>
                </a:cubicBezTo>
                <a:cubicBezTo>
                  <a:pt x="14469" y="10750"/>
                  <a:pt x="14469" y="10750"/>
                  <a:pt x="14437" y="10750"/>
                </a:cubicBezTo>
                <a:cubicBezTo>
                  <a:pt x="14406" y="10750"/>
                  <a:pt x="14375" y="10719"/>
                  <a:pt x="14312" y="10688"/>
                </a:cubicBezTo>
                <a:cubicBezTo>
                  <a:pt x="14187" y="10594"/>
                  <a:pt x="14031" y="10469"/>
                  <a:pt x="13906" y="10375"/>
                </a:cubicBezTo>
                <a:cubicBezTo>
                  <a:pt x="13562" y="10157"/>
                  <a:pt x="13250" y="9969"/>
                  <a:pt x="12937" y="9750"/>
                </a:cubicBezTo>
                <a:cubicBezTo>
                  <a:pt x="12656" y="9563"/>
                  <a:pt x="12344" y="9375"/>
                  <a:pt x="12094" y="9188"/>
                </a:cubicBezTo>
                <a:cubicBezTo>
                  <a:pt x="11812" y="8969"/>
                  <a:pt x="11500" y="8813"/>
                  <a:pt x="11219" y="8657"/>
                </a:cubicBezTo>
                <a:cubicBezTo>
                  <a:pt x="10875" y="8438"/>
                  <a:pt x="10531" y="8219"/>
                  <a:pt x="10187" y="8032"/>
                </a:cubicBezTo>
                <a:cubicBezTo>
                  <a:pt x="10156" y="8000"/>
                  <a:pt x="10156" y="8000"/>
                  <a:pt x="10156" y="7969"/>
                </a:cubicBezTo>
                <a:cubicBezTo>
                  <a:pt x="10156" y="7969"/>
                  <a:pt x="10156" y="7969"/>
                  <a:pt x="10156" y="7969"/>
                </a:cubicBezTo>
                <a:cubicBezTo>
                  <a:pt x="10219" y="7938"/>
                  <a:pt x="10187" y="7938"/>
                  <a:pt x="10156" y="7907"/>
                </a:cubicBezTo>
                <a:cubicBezTo>
                  <a:pt x="10125" y="7875"/>
                  <a:pt x="10062" y="7813"/>
                  <a:pt x="10000" y="7782"/>
                </a:cubicBezTo>
                <a:cubicBezTo>
                  <a:pt x="9594" y="7563"/>
                  <a:pt x="9187" y="7344"/>
                  <a:pt x="8750" y="7125"/>
                </a:cubicBezTo>
                <a:cubicBezTo>
                  <a:pt x="8625" y="7063"/>
                  <a:pt x="8500" y="6969"/>
                  <a:pt x="8312" y="6938"/>
                </a:cubicBezTo>
                <a:cubicBezTo>
                  <a:pt x="8500" y="7063"/>
                  <a:pt x="8687" y="7125"/>
                  <a:pt x="8812" y="7219"/>
                </a:cubicBezTo>
                <a:cubicBezTo>
                  <a:pt x="8812" y="7250"/>
                  <a:pt x="8812" y="7250"/>
                  <a:pt x="8812" y="7250"/>
                </a:cubicBezTo>
                <a:cubicBezTo>
                  <a:pt x="8344" y="7032"/>
                  <a:pt x="7875" y="6813"/>
                  <a:pt x="7406" y="6594"/>
                </a:cubicBezTo>
                <a:cubicBezTo>
                  <a:pt x="7406" y="6657"/>
                  <a:pt x="7438" y="6657"/>
                  <a:pt x="7469" y="6688"/>
                </a:cubicBezTo>
                <a:cubicBezTo>
                  <a:pt x="7563" y="6719"/>
                  <a:pt x="7656" y="6750"/>
                  <a:pt x="7750" y="6813"/>
                </a:cubicBezTo>
                <a:cubicBezTo>
                  <a:pt x="7875" y="6875"/>
                  <a:pt x="7969" y="6938"/>
                  <a:pt x="8094" y="6969"/>
                </a:cubicBezTo>
                <a:cubicBezTo>
                  <a:pt x="8125" y="7000"/>
                  <a:pt x="8156" y="7032"/>
                  <a:pt x="8156" y="7063"/>
                </a:cubicBezTo>
                <a:cubicBezTo>
                  <a:pt x="8125" y="7125"/>
                  <a:pt x="8094" y="7094"/>
                  <a:pt x="8062" y="7094"/>
                </a:cubicBezTo>
                <a:cubicBezTo>
                  <a:pt x="8031" y="7094"/>
                  <a:pt x="8031" y="7063"/>
                  <a:pt x="8000" y="7063"/>
                </a:cubicBezTo>
                <a:cubicBezTo>
                  <a:pt x="8000" y="7032"/>
                  <a:pt x="7969" y="7032"/>
                  <a:pt x="7969" y="7063"/>
                </a:cubicBezTo>
                <a:cubicBezTo>
                  <a:pt x="7969" y="7157"/>
                  <a:pt x="8062" y="7094"/>
                  <a:pt x="8094" y="7125"/>
                </a:cubicBezTo>
                <a:cubicBezTo>
                  <a:pt x="8094" y="7157"/>
                  <a:pt x="8094" y="7157"/>
                  <a:pt x="8094" y="7157"/>
                </a:cubicBezTo>
                <a:cubicBezTo>
                  <a:pt x="8375" y="7250"/>
                  <a:pt x="8562" y="7469"/>
                  <a:pt x="8812" y="7594"/>
                </a:cubicBezTo>
                <a:cubicBezTo>
                  <a:pt x="8812" y="7594"/>
                  <a:pt x="8937" y="7625"/>
                  <a:pt x="8812" y="7657"/>
                </a:cubicBezTo>
                <a:cubicBezTo>
                  <a:pt x="8812" y="7657"/>
                  <a:pt x="8812" y="7688"/>
                  <a:pt x="8812" y="7688"/>
                </a:cubicBezTo>
                <a:cubicBezTo>
                  <a:pt x="8844" y="7688"/>
                  <a:pt x="8844" y="7719"/>
                  <a:pt x="8844" y="7719"/>
                </a:cubicBezTo>
                <a:cubicBezTo>
                  <a:pt x="8906" y="7750"/>
                  <a:pt x="8969" y="7782"/>
                  <a:pt x="9000" y="7813"/>
                </a:cubicBezTo>
                <a:cubicBezTo>
                  <a:pt x="9000" y="7813"/>
                  <a:pt x="9000" y="7813"/>
                  <a:pt x="9000" y="7813"/>
                </a:cubicBezTo>
                <a:cubicBezTo>
                  <a:pt x="9031" y="7813"/>
                  <a:pt x="9062" y="7813"/>
                  <a:pt x="9062" y="7844"/>
                </a:cubicBezTo>
                <a:cubicBezTo>
                  <a:pt x="9250" y="7907"/>
                  <a:pt x="9406" y="8000"/>
                  <a:pt x="9594" y="8094"/>
                </a:cubicBezTo>
                <a:cubicBezTo>
                  <a:pt x="9594" y="8125"/>
                  <a:pt x="9594" y="8125"/>
                  <a:pt x="9594" y="8125"/>
                </a:cubicBezTo>
                <a:cubicBezTo>
                  <a:pt x="9594" y="8157"/>
                  <a:pt x="9594" y="8157"/>
                  <a:pt x="9562" y="8157"/>
                </a:cubicBezTo>
                <a:cubicBezTo>
                  <a:pt x="9531" y="8188"/>
                  <a:pt x="9531" y="8157"/>
                  <a:pt x="9531" y="8125"/>
                </a:cubicBezTo>
                <a:cubicBezTo>
                  <a:pt x="9531" y="8125"/>
                  <a:pt x="9500" y="8125"/>
                  <a:pt x="9469" y="8094"/>
                </a:cubicBezTo>
                <a:cubicBezTo>
                  <a:pt x="9281" y="8032"/>
                  <a:pt x="9062" y="7938"/>
                  <a:pt x="8875" y="7813"/>
                </a:cubicBezTo>
                <a:cubicBezTo>
                  <a:pt x="8719" y="7719"/>
                  <a:pt x="8531" y="7688"/>
                  <a:pt x="8375" y="7563"/>
                </a:cubicBezTo>
                <a:cubicBezTo>
                  <a:pt x="8250" y="7469"/>
                  <a:pt x="8094" y="7438"/>
                  <a:pt x="7937" y="7407"/>
                </a:cubicBezTo>
                <a:cubicBezTo>
                  <a:pt x="9094" y="8000"/>
                  <a:pt x="10187" y="8625"/>
                  <a:pt x="11281" y="9219"/>
                </a:cubicBezTo>
                <a:cubicBezTo>
                  <a:pt x="11219" y="9157"/>
                  <a:pt x="11156" y="9094"/>
                  <a:pt x="11062" y="9032"/>
                </a:cubicBezTo>
                <a:cubicBezTo>
                  <a:pt x="10719" y="8844"/>
                  <a:pt x="10375" y="8625"/>
                  <a:pt x="10031" y="8407"/>
                </a:cubicBezTo>
                <a:cubicBezTo>
                  <a:pt x="10000" y="8407"/>
                  <a:pt x="10000" y="8407"/>
                  <a:pt x="9969" y="8407"/>
                </a:cubicBezTo>
                <a:cubicBezTo>
                  <a:pt x="9969" y="8375"/>
                  <a:pt x="9969" y="8375"/>
                  <a:pt x="9969" y="8375"/>
                </a:cubicBezTo>
                <a:cubicBezTo>
                  <a:pt x="9969" y="8375"/>
                  <a:pt x="9969" y="8375"/>
                  <a:pt x="9969" y="8344"/>
                </a:cubicBezTo>
                <a:cubicBezTo>
                  <a:pt x="9969" y="8344"/>
                  <a:pt x="9969" y="8344"/>
                  <a:pt x="9969" y="8344"/>
                </a:cubicBezTo>
                <a:cubicBezTo>
                  <a:pt x="9969" y="8344"/>
                  <a:pt x="9969" y="8344"/>
                  <a:pt x="9969" y="8344"/>
                </a:cubicBezTo>
                <a:cubicBezTo>
                  <a:pt x="9969" y="8344"/>
                  <a:pt x="9969" y="8344"/>
                  <a:pt x="9969" y="8344"/>
                </a:cubicBezTo>
                <a:cubicBezTo>
                  <a:pt x="10000" y="8344"/>
                  <a:pt x="10000" y="8344"/>
                  <a:pt x="10031" y="8344"/>
                </a:cubicBezTo>
                <a:cubicBezTo>
                  <a:pt x="10062" y="8344"/>
                  <a:pt x="10094" y="8375"/>
                  <a:pt x="10125" y="8407"/>
                </a:cubicBezTo>
                <a:cubicBezTo>
                  <a:pt x="10187" y="8407"/>
                  <a:pt x="10219" y="8438"/>
                  <a:pt x="10281" y="8469"/>
                </a:cubicBezTo>
                <a:cubicBezTo>
                  <a:pt x="10281" y="8469"/>
                  <a:pt x="10281" y="8500"/>
                  <a:pt x="10312" y="8500"/>
                </a:cubicBezTo>
                <a:cubicBezTo>
                  <a:pt x="10531" y="8625"/>
                  <a:pt x="10750" y="8782"/>
                  <a:pt x="11000" y="8907"/>
                </a:cubicBezTo>
                <a:cubicBezTo>
                  <a:pt x="11031" y="8907"/>
                  <a:pt x="11062" y="8938"/>
                  <a:pt x="11094" y="8969"/>
                </a:cubicBezTo>
                <a:cubicBezTo>
                  <a:pt x="11187" y="9000"/>
                  <a:pt x="11250" y="9063"/>
                  <a:pt x="11375" y="9094"/>
                </a:cubicBezTo>
                <a:cubicBezTo>
                  <a:pt x="11375" y="9125"/>
                  <a:pt x="11375" y="9125"/>
                  <a:pt x="11375" y="9125"/>
                </a:cubicBezTo>
                <a:cubicBezTo>
                  <a:pt x="11406" y="9125"/>
                  <a:pt x="11406" y="9125"/>
                  <a:pt x="11406" y="9125"/>
                </a:cubicBezTo>
                <a:cubicBezTo>
                  <a:pt x="11469" y="9188"/>
                  <a:pt x="11531" y="9219"/>
                  <a:pt x="11625" y="9282"/>
                </a:cubicBezTo>
                <a:cubicBezTo>
                  <a:pt x="12000" y="9532"/>
                  <a:pt x="12375" y="9782"/>
                  <a:pt x="12781" y="10063"/>
                </a:cubicBezTo>
                <a:cubicBezTo>
                  <a:pt x="12781" y="10063"/>
                  <a:pt x="12781" y="10063"/>
                  <a:pt x="12781" y="10094"/>
                </a:cubicBezTo>
                <a:cubicBezTo>
                  <a:pt x="12781" y="10094"/>
                  <a:pt x="12812" y="10094"/>
                  <a:pt x="12812" y="10094"/>
                </a:cubicBezTo>
                <a:cubicBezTo>
                  <a:pt x="12812" y="10094"/>
                  <a:pt x="12844" y="10094"/>
                  <a:pt x="12844" y="10094"/>
                </a:cubicBezTo>
                <a:cubicBezTo>
                  <a:pt x="12875" y="10094"/>
                  <a:pt x="12875" y="10125"/>
                  <a:pt x="12875" y="10125"/>
                </a:cubicBezTo>
                <a:cubicBezTo>
                  <a:pt x="12875" y="10125"/>
                  <a:pt x="12875" y="10125"/>
                  <a:pt x="12875" y="10125"/>
                </a:cubicBezTo>
                <a:cubicBezTo>
                  <a:pt x="12875" y="10125"/>
                  <a:pt x="12875" y="10125"/>
                  <a:pt x="12906" y="10125"/>
                </a:cubicBezTo>
                <a:cubicBezTo>
                  <a:pt x="12906" y="10125"/>
                  <a:pt x="12906" y="10157"/>
                  <a:pt x="12906" y="10157"/>
                </a:cubicBezTo>
                <a:cubicBezTo>
                  <a:pt x="12906" y="10157"/>
                  <a:pt x="12906" y="10157"/>
                  <a:pt x="12906" y="10157"/>
                </a:cubicBezTo>
                <a:cubicBezTo>
                  <a:pt x="12906" y="10157"/>
                  <a:pt x="12906" y="10157"/>
                  <a:pt x="12906" y="10157"/>
                </a:cubicBezTo>
                <a:cubicBezTo>
                  <a:pt x="12906" y="10157"/>
                  <a:pt x="12906" y="10157"/>
                  <a:pt x="12906" y="10157"/>
                </a:cubicBezTo>
                <a:cubicBezTo>
                  <a:pt x="12937" y="10157"/>
                  <a:pt x="12937" y="10157"/>
                  <a:pt x="12937" y="10157"/>
                </a:cubicBezTo>
                <a:cubicBezTo>
                  <a:pt x="12969" y="10188"/>
                  <a:pt x="12969" y="10219"/>
                  <a:pt x="13000" y="10219"/>
                </a:cubicBezTo>
                <a:cubicBezTo>
                  <a:pt x="13000" y="10219"/>
                  <a:pt x="13000" y="10250"/>
                  <a:pt x="13000" y="10250"/>
                </a:cubicBezTo>
                <a:cubicBezTo>
                  <a:pt x="13000" y="10250"/>
                  <a:pt x="13000" y="10250"/>
                  <a:pt x="13000" y="10250"/>
                </a:cubicBezTo>
                <a:cubicBezTo>
                  <a:pt x="13031" y="10250"/>
                  <a:pt x="13062" y="10282"/>
                  <a:pt x="13062" y="10282"/>
                </a:cubicBezTo>
                <a:cubicBezTo>
                  <a:pt x="13094" y="10313"/>
                  <a:pt x="13125" y="10313"/>
                  <a:pt x="13156" y="10313"/>
                </a:cubicBezTo>
                <a:cubicBezTo>
                  <a:pt x="13156" y="10313"/>
                  <a:pt x="13156" y="10313"/>
                  <a:pt x="13156" y="10313"/>
                </a:cubicBezTo>
                <a:cubicBezTo>
                  <a:pt x="13156" y="10313"/>
                  <a:pt x="13156" y="10313"/>
                  <a:pt x="13156" y="10313"/>
                </a:cubicBezTo>
                <a:cubicBezTo>
                  <a:pt x="13156" y="10344"/>
                  <a:pt x="13156" y="10344"/>
                  <a:pt x="13187" y="10344"/>
                </a:cubicBezTo>
                <a:cubicBezTo>
                  <a:pt x="13187" y="10344"/>
                  <a:pt x="13187" y="10344"/>
                  <a:pt x="13187" y="10344"/>
                </a:cubicBezTo>
                <a:cubicBezTo>
                  <a:pt x="13187" y="10375"/>
                  <a:pt x="13187" y="10375"/>
                  <a:pt x="13219" y="10344"/>
                </a:cubicBezTo>
                <a:cubicBezTo>
                  <a:pt x="13219" y="10375"/>
                  <a:pt x="13219" y="10375"/>
                  <a:pt x="13219" y="10375"/>
                </a:cubicBezTo>
                <a:cubicBezTo>
                  <a:pt x="13250" y="10375"/>
                  <a:pt x="13250" y="10407"/>
                  <a:pt x="13250" y="10407"/>
                </a:cubicBezTo>
                <a:cubicBezTo>
                  <a:pt x="13281" y="10438"/>
                  <a:pt x="13281" y="10438"/>
                  <a:pt x="13312" y="10469"/>
                </a:cubicBezTo>
                <a:cubicBezTo>
                  <a:pt x="13312" y="10469"/>
                  <a:pt x="13344" y="10469"/>
                  <a:pt x="13344" y="10469"/>
                </a:cubicBezTo>
                <a:cubicBezTo>
                  <a:pt x="13344" y="10469"/>
                  <a:pt x="13375" y="10500"/>
                  <a:pt x="13375" y="10500"/>
                </a:cubicBezTo>
                <a:cubicBezTo>
                  <a:pt x="13406" y="10500"/>
                  <a:pt x="13406" y="10500"/>
                  <a:pt x="13406" y="10500"/>
                </a:cubicBezTo>
                <a:cubicBezTo>
                  <a:pt x="13406" y="10532"/>
                  <a:pt x="13437" y="10532"/>
                  <a:pt x="13406" y="10563"/>
                </a:cubicBezTo>
                <a:cubicBezTo>
                  <a:pt x="13406" y="10563"/>
                  <a:pt x="13406" y="10594"/>
                  <a:pt x="13406" y="10594"/>
                </a:cubicBezTo>
                <a:cubicBezTo>
                  <a:pt x="13344" y="10500"/>
                  <a:pt x="13250" y="10500"/>
                  <a:pt x="13156" y="10438"/>
                </a:cubicBezTo>
                <a:cubicBezTo>
                  <a:pt x="12812" y="10219"/>
                  <a:pt x="12469" y="9938"/>
                  <a:pt x="12125" y="9750"/>
                </a:cubicBezTo>
                <a:cubicBezTo>
                  <a:pt x="12094" y="9719"/>
                  <a:pt x="12062" y="9688"/>
                  <a:pt x="12031" y="9657"/>
                </a:cubicBezTo>
                <a:cubicBezTo>
                  <a:pt x="11937" y="9594"/>
                  <a:pt x="11812" y="9532"/>
                  <a:pt x="11719" y="9500"/>
                </a:cubicBezTo>
                <a:cubicBezTo>
                  <a:pt x="11719" y="9500"/>
                  <a:pt x="11719" y="9500"/>
                  <a:pt x="11719" y="9500"/>
                </a:cubicBezTo>
                <a:cubicBezTo>
                  <a:pt x="11719" y="9500"/>
                  <a:pt x="11719" y="9500"/>
                  <a:pt x="11719" y="9500"/>
                </a:cubicBezTo>
                <a:cubicBezTo>
                  <a:pt x="11687" y="9438"/>
                  <a:pt x="11625" y="9407"/>
                  <a:pt x="11562" y="9375"/>
                </a:cubicBezTo>
                <a:cubicBezTo>
                  <a:pt x="11562" y="9375"/>
                  <a:pt x="11531" y="9375"/>
                  <a:pt x="11531" y="9375"/>
                </a:cubicBezTo>
                <a:cubicBezTo>
                  <a:pt x="11500" y="9375"/>
                  <a:pt x="11500" y="9375"/>
                  <a:pt x="11500" y="9407"/>
                </a:cubicBezTo>
                <a:cubicBezTo>
                  <a:pt x="11562" y="9438"/>
                  <a:pt x="11625" y="9469"/>
                  <a:pt x="11687" y="9500"/>
                </a:cubicBezTo>
                <a:cubicBezTo>
                  <a:pt x="11875" y="9657"/>
                  <a:pt x="12062" y="9750"/>
                  <a:pt x="12250" y="9907"/>
                </a:cubicBezTo>
                <a:cubicBezTo>
                  <a:pt x="12344" y="9969"/>
                  <a:pt x="12437" y="10000"/>
                  <a:pt x="12500" y="10094"/>
                </a:cubicBezTo>
                <a:cubicBezTo>
                  <a:pt x="12500" y="10094"/>
                  <a:pt x="12500" y="10094"/>
                  <a:pt x="12500" y="10094"/>
                </a:cubicBezTo>
                <a:cubicBezTo>
                  <a:pt x="12469" y="10094"/>
                  <a:pt x="12469" y="10094"/>
                  <a:pt x="12437" y="10094"/>
                </a:cubicBezTo>
                <a:cubicBezTo>
                  <a:pt x="12437" y="10094"/>
                  <a:pt x="12437" y="10094"/>
                  <a:pt x="12437" y="10094"/>
                </a:cubicBezTo>
                <a:cubicBezTo>
                  <a:pt x="12281" y="10000"/>
                  <a:pt x="12125" y="9875"/>
                  <a:pt x="11969" y="9782"/>
                </a:cubicBezTo>
                <a:cubicBezTo>
                  <a:pt x="11844" y="9719"/>
                  <a:pt x="11719" y="9625"/>
                  <a:pt x="11594" y="9563"/>
                </a:cubicBezTo>
                <a:cubicBezTo>
                  <a:pt x="11469" y="9469"/>
                  <a:pt x="11344" y="9407"/>
                  <a:pt x="11219" y="9313"/>
                </a:cubicBezTo>
                <a:cubicBezTo>
                  <a:pt x="11219" y="9313"/>
                  <a:pt x="11219" y="9313"/>
                  <a:pt x="11219" y="9313"/>
                </a:cubicBezTo>
                <a:cubicBezTo>
                  <a:pt x="11219" y="9313"/>
                  <a:pt x="11219" y="9313"/>
                  <a:pt x="11219" y="9313"/>
                </a:cubicBezTo>
                <a:cubicBezTo>
                  <a:pt x="11250" y="9375"/>
                  <a:pt x="11312" y="9407"/>
                  <a:pt x="11344" y="9469"/>
                </a:cubicBezTo>
                <a:cubicBezTo>
                  <a:pt x="10312" y="8907"/>
                  <a:pt x="9344" y="8250"/>
                  <a:pt x="8250" y="7750"/>
                </a:cubicBezTo>
                <a:cubicBezTo>
                  <a:pt x="8250" y="7813"/>
                  <a:pt x="8281" y="7813"/>
                  <a:pt x="8312" y="7844"/>
                </a:cubicBezTo>
                <a:cubicBezTo>
                  <a:pt x="8531" y="7938"/>
                  <a:pt x="8750" y="8063"/>
                  <a:pt x="8969" y="8188"/>
                </a:cubicBezTo>
                <a:cubicBezTo>
                  <a:pt x="9437" y="8469"/>
                  <a:pt x="9937" y="8750"/>
                  <a:pt x="10406" y="9000"/>
                </a:cubicBezTo>
                <a:cubicBezTo>
                  <a:pt x="10750" y="9188"/>
                  <a:pt x="11094" y="9407"/>
                  <a:pt x="11406" y="9625"/>
                </a:cubicBezTo>
                <a:cubicBezTo>
                  <a:pt x="11656" y="9750"/>
                  <a:pt x="11875" y="9938"/>
                  <a:pt x="12125" y="10063"/>
                </a:cubicBezTo>
                <a:cubicBezTo>
                  <a:pt x="12125" y="10063"/>
                  <a:pt x="12156" y="10063"/>
                  <a:pt x="12156" y="10063"/>
                </a:cubicBezTo>
                <a:cubicBezTo>
                  <a:pt x="12156" y="10063"/>
                  <a:pt x="12156" y="10063"/>
                  <a:pt x="12156" y="10063"/>
                </a:cubicBezTo>
                <a:cubicBezTo>
                  <a:pt x="12156" y="10063"/>
                  <a:pt x="12156" y="10094"/>
                  <a:pt x="12156" y="10094"/>
                </a:cubicBezTo>
                <a:cubicBezTo>
                  <a:pt x="12656" y="10407"/>
                  <a:pt x="13125" y="10719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625" y="11063"/>
                  <a:pt x="13625" y="11094"/>
                </a:cubicBezTo>
                <a:cubicBezTo>
                  <a:pt x="13625" y="11094"/>
                  <a:pt x="13656" y="11094"/>
                  <a:pt x="13656" y="11125"/>
                </a:cubicBezTo>
                <a:cubicBezTo>
                  <a:pt x="13656" y="11125"/>
                  <a:pt x="13656" y="11125"/>
                  <a:pt x="13656" y="11125"/>
                </a:cubicBezTo>
                <a:cubicBezTo>
                  <a:pt x="13656" y="11125"/>
                  <a:pt x="13687" y="11125"/>
                  <a:pt x="13687" y="11125"/>
                </a:cubicBezTo>
                <a:cubicBezTo>
                  <a:pt x="13687" y="11125"/>
                  <a:pt x="13719" y="11157"/>
                  <a:pt x="13719" y="11157"/>
                </a:cubicBezTo>
                <a:cubicBezTo>
                  <a:pt x="13687" y="11157"/>
                  <a:pt x="13656" y="11188"/>
                  <a:pt x="13656" y="11188"/>
                </a:cubicBezTo>
                <a:cubicBezTo>
                  <a:pt x="13625" y="11188"/>
                  <a:pt x="13625" y="11157"/>
                  <a:pt x="13625" y="11157"/>
                </a:cubicBezTo>
                <a:cubicBezTo>
                  <a:pt x="13406" y="11032"/>
                  <a:pt x="13187" y="10875"/>
                  <a:pt x="12969" y="10719"/>
                </a:cubicBezTo>
                <a:cubicBezTo>
                  <a:pt x="12937" y="10688"/>
                  <a:pt x="12875" y="10657"/>
                  <a:pt x="12844" y="10625"/>
                </a:cubicBezTo>
                <a:cubicBezTo>
                  <a:pt x="12719" y="10532"/>
                  <a:pt x="12594" y="10438"/>
                  <a:pt x="12437" y="10375"/>
                </a:cubicBezTo>
                <a:cubicBezTo>
                  <a:pt x="12437" y="10375"/>
                  <a:pt x="12437" y="10375"/>
                  <a:pt x="12437" y="10375"/>
                </a:cubicBezTo>
                <a:cubicBezTo>
                  <a:pt x="12437" y="10375"/>
                  <a:pt x="12437" y="10375"/>
                  <a:pt x="12406" y="10375"/>
                </a:cubicBezTo>
                <a:cubicBezTo>
                  <a:pt x="12437" y="10375"/>
                  <a:pt x="12437" y="10375"/>
                  <a:pt x="12437" y="10375"/>
                </a:cubicBezTo>
                <a:cubicBezTo>
                  <a:pt x="12437" y="10438"/>
                  <a:pt x="12500" y="10438"/>
                  <a:pt x="12531" y="10469"/>
                </a:cubicBezTo>
                <a:cubicBezTo>
                  <a:pt x="12531" y="10500"/>
                  <a:pt x="12531" y="10500"/>
                  <a:pt x="12531" y="10500"/>
                </a:cubicBezTo>
                <a:cubicBezTo>
                  <a:pt x="12562" y="10500"/>
                  <a:pt x="12562" y="10500"/>
                  <a:pt x="12594" y="10532"/>
                </a:cubicBezTo>
                <a:cubicBezTo>
                  <a:pt x="12594" y="10532"/>
                  <a:pt x="12594" y="10532"/>
                  <a:pt x="12594" y="10532"/>
                </a:cubicBezTo>
                <a:cubicBezTo>
                  <a:pt x="12594" y="10563"/>
                  <a:pt x="12625" y="10563"/>
                  <a:pt x="12625" y="10594"/>
                </a:cubicBezTo>
                <a:cubicBezTo>
                  <a:pt x="12625" y="10594"/>
                  <a:pt x="12625" y="10594"/>
                  <a:pt x="12594" y="10594"/>
                </a:cubicBezTo>
                <a:cubicBezTo>
                  <a:pt x="12594" y="10594"/>
                  <a:pt x="12594" y="10594"/>
                  <a:pt x="12594" y="10563"/>
                </a:cubicBezTo>
                <a:cubicBezTo>
                  <a:pt x="12562" y="10563"/>
                  <a:pt x="12531" y="10563"/>
                  <a:pt x="12531" y="10563"/>
                </a:cubicBezTo>
                <a:cubicBezTo>
                  <a:pt x="12500" y="10532"/>
                  <a:pt x="12500" y="10532"/>
                  <a:pt x="12500" y="10532"/>
                </a:cubicBezTo>
                <a:cubicBezTo>
                  <a:pt x="11969" y="10219"/>
                  <a:pt x="11469" y="9875"/>
                  <a:pt x="10969" y="9563"/>
                </a:cubicBezTo>
                <a:cubicBezTo>
                  <a:pt x="10969" y="9532"/>
                  <a:pt x="10937" y="9532"/>
                  <a:pt x="10937" y="9532"/>
                </a:cubicBezTo>
                <a:cubicBezTo>
                  <a:pt x="10687" y="9375"/>
                  <a:pt x="10437" y="9219"/>
                  <a:pt x="10219" y="9032"/>
                </a:cubicBezTo>
                <a:cubicBezTo>
                  <a:pt x="9750" y="8750"/>
                  <a:pt x="9281" y="8500"/>
                  <a:pt x="8812" y="8250"/>
                </a:cubicBezTo>
                <a:cubicBezTo>
                  <a:pt x="8750" y="8219"/>
                  <a:pt x="8687" y="8188"/>
                  <a:pt x="8656" y="8219"/>
                </a:cubicBezTo>
                <a:cubicBezTo>
                  <a:pt x="8594" y="8282"/>
                  <a:pt x="8531" y="8219"/>
                  <a:pt x="8469" y="8188"/>
                </a:cubicBezTo>
                <a:cubicBezTo>
                  <a:pt x="8219" y="8094"/>
                  <a:pt x="8000" y="7969"/>
                  <a:pt x="7781" y="7844"/>
                </a:cubicBezTo>
                <a:cubicBezTo>
                  <a:pt x="7563" y="7750"/>
                  <a:pt x="7375" y="7657"/>
                  <a:pt x="7156" y="7563"/>
                </a:cubicBezTo>
                <a:cubicBezTo>
                  <a:pt x="7156" y="7563"/>
                  <a:pt x="7125" y="7563"/>
                  <a:pt x="7094" y="7563"/>
                </a:cubicBezTo>
                <a:cubicBezTo>
                  <a:pt x="7094" y="7563"/>
                  <a:pt x="7094" y="7532"/>
                  <a:pt x="7094" y="7532"/>
                </a:cubicBezTo>
                <a:cubicBezTo>
                  <a:pt x="7094" y="7532"/>
                  <a:pt x="7094" y="7532"/>
                  <a:pt x="7063" y="7532"/>
                </a:cubicBezTo>
                <a:cubicBezTo>
                  <a:pt x="6938" y="7469"/>
                  <a:pt x="6781" y="7407"/>
                  <a:pt x="6625" y="7313"/>
                </a:cubicBezTo>
                <a:cubicBezTo>
                  <a:pt x="6625" y="7313"/>
                  <a:pt x="6625" y="7313"/>
                  <a:pt x="6594" y="7313"/>
                </a:cubicBezTo>
                <a:cubicBezTo>
                  <a:pt x="6594" y="7313"/>
                  <a:pt x="6594" y="7313"/>
                  <a:pt x="6594" y="7313"/>
                </a:cubicBezTo>
                <a:cubicBezTo>
                  <a:pt x="6313" y="7188"/>
                  <a:pt x="6000" y="7032"/>
                  <a:pt x="5719" y="6938"/>
                </a:cubicBezTo>
                <a:cubicBezTo>
                  <a:pt x="5625" y="6875"/>
                  <a:pt x="5531" y="6844"/>
                  <a:pt x="5438" y="6813"/>
                </a:cubicBezTo>
                <a:cubicBezTo>
                  <a:pt x="5313" y="6750"/>
                  <a:pt x="5188" y="6719"/>
                  <a:pt x="5063" y="6657"/>
                </a:cubicBezTo>
                <a:cubicBezTo>
                  <a:pt x="5063" y="6719"/>
                  <a:pt x="5063" y="6750"/>
                  <a:pt x="5094" y="6750"/>
                </a:cubicBezTo>
                <a:cubicBezTo>
                  <a:pt x="5313" y="6844"/>
                  <a:pt x="5531" y="6938"/>
                  <a:pt x="5750" y="7000"/>
                </a:cubicBezTo>
                <a:cubicBezTo>
                  <a:pt x="5969" y="7125"/>
                  <a:pt x="6188" y="7219"/>
                  <a:pt x="6438" y="7313"/>
                </a:cubicBezTo>
                <a:cubicBezTo>
                  <a:pt x="6438" y="7313"/>
                  <a:pt x="6438" y="7313"/>
                  <a:pt x="6438" y="7313"/>
                </a:cubicBezTo>
                <a:cubicBezTo>
                  <a:pt x="6438" y="7313"/>
                  <a:pt x="6438" y="7313"/>
                  <a:pt x="6469" y="7313"/>
                </a:cubicBezTo>
                <a:cubicBezTo>
                  <a:pt x="6469" y="7344"/>
                  <a:pt x="6500" y="7344"/>
                  <a:pt x="6500" y="7344"/>
                </a:cubicBezTo>
                <a:cubicBezTo>
                  <a:pt x="6500" y="7344"/>
                  <a:pt x="6500" y="7344"/>
                  <a:pt x="6500" y="7375"/>
                </a:cubicBezTo>
                <a:cubicBezTo>
                  <a:pt x="6500" y="7375"/>
                  <a:pt x="6531" y="7375"/>
                  <a:pt x="6531" y="7375"/>
                </a:cubicBezTo>
                <a:cubicBezTo>
                  <a:pt x="6531" y="7375"/>
                  <a:pt x="6531" y="7375"/>
                  <a:pt x="6563" y="7375"/>
                </a:cubicBezTo>
                <a:cubicBezTo>
                  <a:pt x="6563" y="7375"/>
                  <a:pt x="6563" y="7375"/>
                  <a:pt x="6563" y="7375"/>
                </a:cubicBezTo>
                <a:cubicBezTo>
                  <a:pt x="6563" y="7375"/>
                  <a:pt x="6594" y="7407"/>
                  <a:pt x="6594" y="7407"/>
                </a:cubicBezTo>
                <a:cubicBezTo>
                  <a:pt x="6594" y="7407"/>
                  <a:pt x="6625" y="7407"/>
                  <a:pt x="6625" y="7438"/>
                </a:cubicBezTo>
                <a:cubicBezTo>
                  <a:pt x="6656" y="7438"/>
                  <a:pt x="6656" y="7438"/>
                  <a:pt x="6688" y="7438"/>
                </a:cubicBezTo>
                <a:cubicBezTo>
                  <a:pt x="6688" y="7438"/>
                  <a:pt x="6688" y="7438"/>
                  <a:pt x="6688" y="7438"/>
                </a:cubicBezTo>
                <a:cubicBezTo>
                  <a:pt x="6688" y="7438"/>
                  <a:pt x="6688" y="7438"/>
                  <a:pt x="6688" y="7438"/>
                </a:cubicBezTo>
                <a:cubicBezTo>
                  <a:pt x="6688" y="7438"/>
                  <a:pt x="6688" y="7438"/>
                  <a:pt x="6688" y="7438"/>
                </a:cubicBezTo>
                <a:cubicBezTo>
                  <a:pt x="6688" y="7438"/>
                  <a:pt x="6719" y="7438"/>
                  <a:pt x="6719" y="7438"/>
                </a:cubicBezTo>
                <a:cubicBezTo>
                  <a:pt x="6719" y="7438"/>
                  <a:pt x="6719" y="7469"/>
                  <a:pt x="6719" y="7469"/>
                </a:cubicBezTo>
                <a:cubicBezTo>
                  <a:pt x="6719" y="7469"/>
                  <a:pt x="6750" y="7469"/>
                  <a:pt x="6750" y="7469"/>
                </a:cubicBezTo>
                <a:cubicBezTo>
                  <a:pt x="6750" y="7469"/>
                  <a:pt x="6750" y="7469"/>
                  <a:pt x="6750" y="7469"/>
                </a:cubicBezTo>
                <a:cubicBezTo>
                  <a:pt x="6750" y="7469"/>
                  <a:pt x="6750" y="7469"/>
                  <a:pt x="6750" y="7469"/>
                </a:cubicBezTo>
                <a:cubicBezTo>
                  <a:pt x="6781" y="7500"/>
                  <a:pt x="6781" y="7500"/>
                  <a:pt x="6813" y="7500"/>
                </a:cubicBezTo>
                <a:cubicBezTo>
                  <a:pt x="6844" y="7500"/>
                  <a:pt x="6875" y="7500"/>
                  <a:pt x="6906" y="7532"/>
                </a:cubicBezTo>
                <a:cubicBezTo>
                  <a:pt x="6906" y="7532"/>
                  <a:pt x="6906" y="7563"/>
                  <a:pt x="6938" y="7563"/>
                </a:cubicBezTo>
                <a:cubicBezTo>
                  <a:pt x="6938" y="7563"/>
                  <a:pt x="6969" y="7563"/>
                  <a:pt x="6969" y="7563"/>
                </a:cubicBezTo>
                <a:cubicBezTo>
                  <a:pt x="6969" y="7563"/>
                  <a:pt x="7000" y="7563"/>
                  <a:pt x="7000" y="7563"/>
                </a:cubicBezTo>
                <a:cubicBezTo>
                  <a:pt x="7000" y="7563"/>
                  <a:pt x="7031" y="7563"/>
                  <a:pt x="7031" y="7563"/>
                </a:cubicBezTo>
                <a:cubicBezTo>
                  <a:pt x="7031" y="7594"/>
                  <a:pt x="7031" y="7594"/>
                  <a:pt x="7031" y="7594"/>
                </a:cubicBezTo>
                <a:cubicBezTo>
                  <a:pt x="7031" y="7594"/>
                  <a:pt x="7031" y="7594"/>
                  <a:pt x="7031" y="7594"/>
                </a:cubicBezTo>
                <a:cubicBezTo>
                  <a:pt x="7031" y="7625"/>
                  <a:pt x="7063" y="7625"/>
                  <a:pt x="7063" y="7625"/>
                </a:cubicBezTo>
                <a:cubicBezTo>
                  <a:pt x="7063" y="7625"/>
                  <a:pt x="7094" y="7625"/>
                  <a:pt x="7094" y="7625"/>
                </a:cubicBezTo>
                <a:cubicBezTo>
                  <a:pt x="7281" y="7750"/>
                  <a:pt x="7500" y="7844"/>
                  <a:pt x="7719" y="7938"/>
                </a:cubicBezTo>
                <a:cubicBezTo>
                  <a:pt x="8000" y="8094"/>
                  <a:pt x="8281" y="8219"/>
                  <a:pt x="8531" y="8344"/>
                </a:cubicBezTo>
                <a:cubicBezTo>
                  <a:pt x="8781" y="8469"/>
                  <a:pt x="9000" y="8625"/>
                  <a:pt x="9250" y="8750"/>
                </a:cubicBezTo>
                <a:cubicBezTo>
                  <a:pt x="9375" y="8813"/>
                  <a:pt x="9531" y="8875"/>
                  <a:pt x="9687" y="8969"/>
                </a:cubicBezTo>
                <a:cubicBezTo>
                  <a:pt x="9812" y="9032"/>
                  <a:pt x="9969" y="9125"/>
                  <a:pt x="10094" y="9188"/>
                </a:cubicBezTo>
                <a:cubicBezTo>
                  <a:pt x="10125" y="9219"/>
                  <a:pt x="10156" y="9250"/>
                  <a:pt x="10187" y="9250"/>
                </a:cubicBezTo>
                <a:cubicBezTo>
                  <a:pt x="10250" y="9313"/>
                  <a:pt x="10344" y="9344"/>
                  <a:pt x="10437" y="9407"/>
                </a:cubicBezTo>
                <a:cubicBezTo>
                  <a:pt x="10594" y="9500"/>
                  <a:pt x="10750" y="9625"/>
                  <a:pt x="10937" y="9688"/>
                </a:cubicBezTo>
                <a:cubicBezTo>
                  <a:pt x="11000" y="9719"/>
                  <a:pt x="11031" y="9750"/>
                  <a:pt x="11094" y="9782"/>
                </a:cubicBezTo>
                <a:cubicBezTo>
                  <a:pt x="11094" y="9782"/>
                  <a:pt x="11094" y="9782"/>
                  <a:pt x="11094" y="9782"/>
                </a:cubicBezTo>
                <a:cubicBezTo>
                  <a:pt x="11094" y="9782"/>
                  <a:pt x="11094" y="9782"/>
                  <a:pt x="11094" y="9782"/>
                </a:cubicBezTo>
                <a:cubicBezTo>
                  <a:pt x="11125" y="9782"/>
                  <a:pt x="11125" y="9813"/>
                  <a:pt x="11125" y="9813"/>
                </a:cubicBezTo>
                <a:cubicBezTo>
                  <a:pt x="11125" y="9813"/>
                  <a:pt x="11125" y="9813"/>
                  <a:pt x="11125" y="9813"/>
                </a:cubicBezTo>
                <a:cubicBezTo>
                  <a:pt x="11125" y="9813"/>
                  <a:pt x="11125" y="9813"/>
                  <a:pt x="11125" y="9813"/>
                </a:cubicBezTo>
                <a:cubicBezTo>
                  <a:pt x="11125" y="9813"/>
                  <a:pt x="11125" y="9813"/>
                  <a:pt x="11125" y="9813"/>
                </a:cubicBezTo>
                <a:cubicBezTo>
                  <a:pt x="11125" y="9844"/>
                  <a:pt x="11156" y="9844"/>
                  <a:pt x="11156" y="9844"/>
                </a:cubicBezTo>
                <a:cubicBezTo>
                  <a:pt x="11156" y="9844"/>
                  <a:pt x="11156" y="9844"/>
                  <a:pt x="11156" y="9844"/>
                </a:cubicBezTo>
                <a:cubicBezTo>
                  <a:pt x="11156" y="9875"/>
                  <a:pt x="11187" y="9875"/>
                  <a:pt x="11156" y="9907"/>
                </a:cubicBezTo>
                <a:cubicBezTo>
                  <a:pt x="11156" y="9907"/>
                  <a:pt x="11156" y="9907"/>
                  <a:pt x="11156" y="9907"/>
                </a:cubicBezTo>
                <a:cubicBezTo>
                  <a:pt x="11094" y="9844"/>
                  <a:pt x="11031" y="9813"/>
                  <a:pt x="10969" y="9844"/>
                </a:cubicBezTo>
                <a:cubicBezTo>
                  <a:pt x="10969" y="9844"/>
                  <a:pt x="10969" y="9844"/>
                  <a:pt x="10969" y="9813"/>
                </a:cubicBezTo>
                <a:cubicBezTo>
                  <a:pt x="10969" y="9813"/>
                  <a:pt x="10969" y="9813"/>
                  <a:pt x="10969" y="9813"/>
                </a:cubicBezTo>
                <a:cubicBezTo>
                  <a:pt x="10969" y="9813"/>
                  <a:pt x="10937" y="9813"/>
                  <a:pt x="10937" y="9813"/>
                </a:cubicBezTo>
                <a:cubicBezTo>
                  <a:pt x="10844" y="9750"/>
                  <a:pt x="10719" y="9688"/>
                  <a:pt x="10625" y="9625"/>
                </a:cubicBezTo>
                <a:cubicBezTo>
                  <a:pt x="10219" y="9407"/>
                  <a:pt x="9844" y="9188"/>
                  <a:pt x="9437" y="8969"/>
                </a:cubicBezTo>
                <a:cubicBezTo>
                  <a:pt x="9125" y="8813"/>
                  <a:pt x="8844" y="8625"/>
                  <a:pt x="8531" y="8469"/>
                </a:cubicBezTo>
                <a:cubicBezTo>
                  <a:pt x="8250" y="8344"/>
                  <a:pt x="8000" y="8219"/>
                  <a:pt x="7750" y="8094"/>
                </a:cubicBezTo>
                <a:cubicBezTo>
                  <a:pt x="7750" y="8094"/>
                  <a:pt x="7750" y="8094"/>
                  <a:pt x="7750" y="8094"/>
                </a:cubicBezTo>
                <a:cubicBezTo>
                  <a:pt x="7750" y="8063"/>
                  <a:pt x="7719" y="8063"/>
                  <a:pt x="7688" y="8094"/>
                </a:cubicBezTo>
                <a:cubicBezTo>
                  <a:pt x="7688" y="8094"/>
                  <a:pt x="7688" y="8094"/>
                  <a:pt x="7688" y="8063"/>
                </a:cubicBezTo>
                <a:cubicBezTo>
                  <a:pt x="7688" y="8063"/>
                  <a:pt x="7688" y="8063"/>
                  <a:pt x="7688" y="8063"/>
                </a:cubicBezTo>
                <a:cubicBezTo>
                  <a:pt x="7688" y="8063"/>
                  <a:pt x="7688" y="8063"/>
                  <a:pt x="7688" y="8032"/>
                </a:cubicBezTo>
                <a:cubicBezTo>
                  <a:pt x="7656" y="8032"/>
                  <a:pt x="7656" y="8032"/>
                  <a:pt x="7656" y="8032"/>
                </a:cubicBezTo>
                <a:cubicBezTo>
                  <a:pt x="7219" y="7844"/>
                  <a:pt x="6781" y="7625"/>
                  <a:pt x="6344" y="7438"/>
                </a:cubicBezTo>
                <a:cubicBezTo>
                  <a:pt x="5813" y="7219"/>
                  <a:pt x="5250" y="6969"/>
                  <a:pt x="4688" y="6782"/>
                </a:cubicBezTo>
                <a:cubicBezTo>
                  <a:pt x="4625" y="6782"/>
                  <a:pt x="4563" y="6719"/>
                  <a:pt x="4500" y="6688"/>
                </a:cubicBezTo>
                <a:cubicBezTo>
                  <a:pt x="4375" y="6688"/>
                  <a:pt x="4250" y="6625"/>
                  <a:pt x="4156" y="6594"/>
                </a:cubicBezTo>
                <a:cubicBezTo>
                  <a:pt x="4000" y="6532"/>
                  <a:pt x="3875" y="6438"/>
                  <a:pt x="3688" y="6407"/>
                </a:cubicBezTo>
                <a:cubicBezTo>
                  <a:pt x="3656" y="6407"/>
                  <a:pt x="3625" y="6407"/>
                  <a:pt x="3625" y="6438"/>
                </a:cubicBezTo>
                <a:cubicBezTo>
                  <a:pt x="3625" y="6469"/>
                  <a:pt x="3656" y="6500"/>
                  <a:pt x="3688" y="6500"/>
                </a:cubicBezTo>
                <a:cubicBezTo>
                  <a:pt x="3781" y="6532"/>
                  <a:pt x="3906" y="6594"/>
                  <a:pt x="4031" y="6625"/>
                </a:cubicBezTo>
                <a:cubicBezTo>
                  <a:pt x="4375" y="6719"/>
                  <a:pt x="4719" y="6875"/>
                  <a:pt x="5094" y="7000"/>
                </a:cubicBezTo>
                <a:cubicBezTo>
                  <a:pt x="5375" y="7125"/>
                  <a:pt x="5688" y="7250"/>
                  <a:pt x="5969" y="7375"/>
                </a:cubicBezTo>
                <a:cubicBezTo>
                  <a:pt x="6344" y="7532"/>
                  <a:pt x="6719" y="7688"/>
                  <a:pt x="7125" y="7875"/>
                </a:cubicBezTo>
                <a:cubicBezTo>
                  <a:pt x="7281" y="7938"/>
                  <a:pt x="7438" y="8032"/>
                  <a:pt x="7594" y="8094"/>
                </a:cubicBezTo>
                <a:cubicBezTo>
                  <a:pt x="8094" y="8344"/>
                  <a:pt x="8562" y="8563"/>
                  <a:pt x="9031" y="8844"/>
                </a:cubicBezTo>
                <a:cubicBezTo>
                  <a:pt x="9531" y="9125"/>
                  <a:pt x="10062" y="9407"/>
                  <a:pt x="10562" y="9688"/>
                </a:cubicBezTo>
                <a:cubicBezTo>
                  <a:pt x="10781" y="9813"/>
                  <a:pt x="10969" y="9938"/>
                  <a:pt x="11187" y="10032"/>
                </a:cubicBezTo>
                <a:cubicBezTo>
                  <a:pt x="11187" y="10063"/>
                  <a:pt x="11219" y="10063"/>
                  <a:pt x="11219" y="10094"/>
                </a:cubicBezTo>
                <a:cubicBezTo>
                  <a:pt x="11219" y="10094"/>
                  <a:pt x="11219" y="10094"/>
                  <a:pt x="11219" y="10094"/>
                </a:cubicBezTo>
                <a:cubicBezTo>
                  <a:pt x="11781" y="10407"/>
                  <a:pt x="12281" y="10750"/>
                  <a:pt x="12812" y="11094"/>
                </a:cubicBezTo>
                <a:cubicBezTo>
                  <a:pt x="12875" y="11157"/>
                  <a:pt x="12906" y="11188"/>
                  <a:pt x="12969" y="11219"/>
                </a:cubicBezTo>
                <a:cubicBezTo>
                  <a:pt x="13000" y="11250"/>
                  <a:pt x="13031" y="11250"/>
                  <a:pt x="13062" y="11282"/>
                </a:cubicBezTo>
                <a:cubicBezTo>
                  <a:pt x="13094" y="11282"/>
                  <a:pt x="13094" y="11313"/>
                  <a:pt x="13094" y="11313"/>
                </a:cubicBezTo>
                <a:cubicBezTo>
                  <a:pt x="13125" y="11344"/>
                  <a:pt x="13156" y="11344"/>
                  <a:pt x="13187" y="11375"/>
                </a:cubicBezTo>
                <a:cubicBezTo>
                  <a:pt x="13187" y="11375"/>
                  <a:pt x="13187" y="11375"/>
                  <a:pt x="13187" y="11375"/>
                </a:cubicBezTo>
                <a:cubicBezTo>
                  <a:pt x="13187" y="11407"/>
                  <a:pt x="13219" y="11407"/>
                  <a:pt x="13219" y="11438"/>
                </a:cubicBezTo>
                <a:cubicBezTo>
                  <a:pt x="13187" y="11438"/>
                  <a:pt x="13187" y="11438"/>
                  <a:pt x="13156" y="11407"/>
                </a:cubicBezTo>
                <a:cubicBezTo>
                  <a:pt x="13156" y="11407"/>
                  <a:pt x="13125" y="11407"/>
                  <a:pt x="13125" y="11407"/>
                </a:cubicBezTo>
                <a:cubicBezTo>
                  <a:pt x="12687" y="11094"/>
                  <a:pt x="12219" y="10782"/>
                  <a:pt x="11750" y="10500"/>
                </a:cubicBezTo>
                <a:cubicBezTo>
                  <a:pt x="11406" y="10282"/>
                  <a:pt x="11062" y="10063"/>
                  <a:pt x="10719" y="9875"/>
                </a:cubicBezTo>
                <a:cubicBezTo>
                  <a:pt x="10187" y="9563"/>
                  <a:pt x="9656" y="9250"/>
                  <a:pt x="9125" y="8969"/>
                </a:cubicBezTo>
                <a:cubicBezTo>
                  <a:pt x="8625" y="8688"/>
                  <a:pt x="8094" y="8438"/>
                  <a:pt x="7563" y="8188"/>
                </a:cubicBezTo>
                <a:cubicBezTo>
                  <a:pt x="7063" y="7969"/>
                  <a:pt x="6563" y="7719"/>
                  <a:pt x="6063" y="7500"/>
                </a:cubicBezTo>
                <a:cubicBezTo>
                  <a:pt x="5625" y="7313"/>
                  <a:pt x="5188" y="7157"/>
                  <a:pt x="4750" y="6969"/>
                </a:cubicBezTo>
                <a:cubicBezTo>
                  <a:pt x="4656" y="6938"/>
                  <a:pt x="4531" y="6875"/>
                  <a:pt x="4406" y="6907"/>
                </a:cubicBezTo>
                <a:cubicBezTo>
                  <a:pt x="4406" y="6907"/>
                  <a:pt x="4375" y="6907"/>
                  <a:pt x="4375" y="6938"/>
                </a:cubicBezTo>
                <a:cubicBezTo>
                  <a:pt x="4375" y="6938"/>
                  <a:pt x="4406" y="6938"/>
                  <a:pt x="4406" y="6938"/>
                </a:cubicBezTo>
                <a:cubicBezTo>
                  <a:pt x="4406" y="7000"/>
                  <a:pt x="4469" y="7000"/>
                  <a:pt x="4500" y="7032"/>
                </a:cubicBezTo>
                <a:cubicBezTo>
                  <a:pt x="4625" y="7094"/>
                  <a:pt x="4781" y="7125"/>
                  <a:pt x="4938" y="7188"/>
                </a:cubicBezTo>
                <a:cubicBezTo>
                  <a:pt x="5281" y="7313"/>
                  <a:pt x="5625" y="7469"/>
                  <a:pt x="5969" y="7625"/>
                </a:cubicBezTo>
                <a:cubicBezTo>
                  <a:pt x="6500" y="7844"/>
                  <a:pt x="7031" y="8063"/>
                  <a:pt x="7531" y="8313"/>
                </a:cubicBezTo>
                <a:cubicBezTo>
                  <a:pt x="7813" y="8469"/>
                  <a:pt x="8094" y="8594"/>
                  <a:pt x="8375" y="8750"/>
                </a:cubicBezTo>
                <a:cubicBezTo>
                  <a:pt x="8406" y="8750"/>
                  <a:pt x="8406" y="8782"/>
                  <a:pt x="8406" y="8782"/>
                </a:cubicBezTo>
                <a:cubicBezTo>
                  <a:pt x="8469" y="8813"/>
                  <a:pt x="8500" y="8813"/>
                  <a:pt x="8531" y="8844"/>
                </a:cubicBezTo>
                <a:cubicBezTo>
                  <a:pt x="8594" y="8875"/>
                  <a:pt x="8625" y="8907"/>
                  <a:pt x="8687" y="8875"/>
                </a:cubicBezTo>
                <a:cubicBezTo>
                  <a:pt x="8719" y="8907"/>
                  <a:pt x="8719" y="8907"/>
                  <a:pt x="8719" y="8907"/>
                </a:cubicBezTo>
                <a:cubicBezTo>
                  <a:pt x="8719" y="8907"/>
                  <a:pt x="8719" y="8938"/>
                  <a:pt x="8750" y="8938"/>
                </a:cubicBezTo>
                <a:cubicBezTo>
                  <a:pt x="8750" y="8938"/>
                  <a:pt x="8750" y="8938"/>
                  <a:pt x="8750" y="8938"/>
                </a:cubicBezTo>
                <a:cubicBezTo>
                  <a:pt x="8781" y="8969"/>
                  <a:pt x="8781" y="8969"/>
                  <a:pt x="8812" y="8969"/>
                </a:cubicBezTo>
                <a:cubicBezTo>
                  <a:pt x="9125" y="9125"/>
                  <a:pt x="9469" y="9313"/>
                  <a:pt x="9781" y="9469"/>
                </a:cubicBezTo>
                <a:cubicBezTo>
                  <a:pt x="10375" y="9813"/>
                  <a:pt x="10969" y="10157"/>
                  <a:pt x="11562" y="10532"/>
                </a:cubicBezTo>
                <a:cubicBezTo>
                  <a:pt x="12187" y="10938"/>
                  <a:pt x="12844" y="11313"/>
                  <a:pt x="13469" y="11782"/>
                </a:cubicBezTo>
                <a:cubicBezTo>
                  <a:pt x="13469" y="11782"/>
                  <a:pt x="13469" y="11782"/>
                  <a:pt x="13469" y="11782"/>
                </a:cubicBezTo>
                <a:cubicBezTo>
                  <a:pt x="13469" y="11782"/>
                  <a:pt x="13469" y="11782"/>
                  <a:pt x="13469" y="11782"/>
                </a:cubicBezTo>
                <a:cubicBezTo>
                  <a:pt x="13469" y="11782"/>
                  <a:pt x="13469" y="11782"/>
                  <a:pt x="13500" y="11782"/>
                </a:cubicBezTo>
                <a:cubicBezTo>
                  <a:pt x="13500" y="11782"/>
                  <a:pt x="13500" y="11813"/>
                  <a:pt x="13500" y="11813"/>
                </a:cubicBezTo>
                <a:cubicBezTo>
                  <a:pt x="13500" y="11813"/>
                  <a:pt x="13500" y="11813"/>
                  <a:pt x="13500" y="11813"/>
                </a:cubicBezTo>
                <a:cubicBezTo>
                  <a:pt x="13500" y="11813"/>
                  <a:pt x="13500" y="11813"/>
                  <a:pt x="13500" y="11813"/>
                </a:cubicBezTo>
                <a:cubicBezTo>
                  <a:pt x="13500" y="11813"/>
                  <a:pt x="13531" y="11813"/>
                  <a:pt x="13531" y="11813"/>
                </a:cubicBezTo>
                <a:cubicBezTo>
                  <a:pt x="13531" y="11844"/>
                  <a:pt x="13531" y="11844"/>
                  <a:pt x="13531" y="11844"/>
                </a:cubicBezTo>
                <a:cubicBezTo>
                  <a:pt x="13531" y="11844"/>
                  <a:pt x="13531" y="11844"/>
                  <a:pt x="13531" y="11844"/>
                </a:cubicBezTo>
                <a:cubicBezTo>
                  <a:pt x="13531" y="11844"/>
                  <a:pt x="13562" y="11844"/>
                  <a:pt x="13562" y="11844"/>
                </a:cubicBezTo>
                <a:cubicBezTo>
                  <a:pt x="13562" y="11844"/>
                  <a:pt x="13562" y="11844"/>
                  <a:pt x="13562" y="11875"/>
                </a:cubicBezTo>
                <a:cubicBezTo>
                  <a:pt x="13562" y="11875"/>
                  <a:pt x="13562" y="11875"/>
                  <a:pt x="13562" y="11875"/>
                </a:cubicBezTo>
                <a:cubicBezTo>
                  <a:pt x="13562" y="11875"/>
                  <a:pt x="13562" y="11875"/>
                  <a:pt x="13562" y="11875"/>
                </a:cubicBezTo>
                <a:cubicBezTo>
                  <a:pt x="13594" y="11875"/>
                  <a:pt x="13594" y="11875"/>
                  <a:pt x="13594" y="11875"/>
                </a:cubicBezTo>
                <a:cubicBezTo>
                  <a:pt x="13594" y="11875"/>
                  <a:pt x="13594" y="11875"/>
                  <a:pt x="13625" y="11907"/>
                </a:cubicBezTo>
                <a:cubicBezTo>
                  <a:pt x="13625" y="11907"/>
                  <a:pt x="13625" y="11907"/>
                  <a:pt x="13625" y="11907"/>
                </a:cubicBezTo>
                <a:cubicBezTo>
                  <a:pt x="13625" y="11907"/>
                  <a:pt x="13625" y="11907"/>
                  <a:pt x="13625" y="11907"/>
                </a:cubicBezTo>
                <a:cubicBezTo>
                  <a:pt x="13656" y="11907"/>
                  <a:pt x="13656" y="11938"/>
                  <a:pt x="13687" y="11969"/>
                </a:cubicBezTo>
                <a:cubicBezTo>
                  <a:pt x="13687" y="11969"/>
                  <a:pt x="13687" y="11969"/>
                  <a:pt x="13719" y="11969"/>
                </a:cubicBezTo>
                <a:cubicBezTo>
                  <a:pt x="13719" y="11969"/>
                  <a:pt x="13719" y="12000"/>
                  <a:pt x="13719" y="12000"/>
                </a:cubicBezTo>
                <a:cubicBezTo>
                  <a:pt x="13719" y="12000"/>
                  <a:pt x="13750" y="12000"/>
                  <a:pt x="13750" y="12000"/>
                </a:cubicBezTo>
                <a:cubicBezTo>
                  <a:pt x="13781" y="12000"/>
                  <a:pt x="13781" y="12032"/>
                  <a:pt x="13781" y="12032"/>
                </a:cubicBezTo>
                <a:cubicBezTo>
                  <a:pt x="13781" y="12032"/>
                  <a:pt x="13781" y="12032"/>
                  <a:pt x="13781" y="12032"/>
                </a:cubicBezTo>
                <a:cubicBezTo>
                  <a:pt x="13781" y="12063"/>
                  <a:pt x="13750" y="12063"/>
                  <a:pt x="13750" y="12063"/>
                </a:cubicBezTo>
                <a:cubicBezTo>
                  <a:pt x="13719" y="12032"/>
                  <a:pt x="13687" y="12032"/>
                  <a:pt x="13656" y="12000"/>
                </a:cubicBezTo>
                <a:cubicBezTo>
                  <a:pt x="13656" y="12000"/>
                  <a:pt x="13656" y="12000"/>
                  <a:pt x="13656" y="12000"/>
                </a:cubicBezTo>
                <a:cubicBezTo>
                  <a:pt x="13656" y="12000"/>
                  <a:pt x="13656" y="12000"/>
                  <a:pt x="13656" y="12000"/>
                </a:cubicBezTo>
                <a:cubicBezTo>
                  <a:pt x="13562" y="11938"/>
                  <a:pt x="13469" y="11875"/>
                  <a:pt x="13406" y="11813"/>
                </a:cubicBezTo>
                <a:cubicBezTo>
                  <a:pt x="13344" y="11782"/>
                  <a:pt x="13281" y="11750"/>
                  <a:pt x="13250" y="11750"/>
                </a:cubicBezTo>
                <a:cubicBezTo>
                  <a:pt x="13187" y="11625"/>
                  <a:pt x="13062" y="11594"/>
                  <a:pt x="12969" y="11532"/>
                </a:cubicBezTo>
                <a:cubicBezTo>
                  <a:pt x="12500" y="11219"/>
                  <a:pt x="12031" y="10907"/>
                  <a:pt x="11562" y="10625"/>
                </a:cubicBezTo>
                <a:cubicBezTo>
                  <a:pt x="11250" y="10438"/>
                  <a:pt x="10937" y="10250"/>
                  <a:pt x="10625" y="10063"/>
                </a:cubicBezTo>
                <a:cubicBezTo>
                  <a:pt x="10406" y="9969"/>
                  <a:pt x="10219" y="9813"/>
                  <a:pt x="10000" y="9719"/>
                </a:cubicBezTo>
                <a:cubicBezTo>
                  <a:pt x="9594" y="9500"/>
                  <a:pt x="9187" y="9250"/>
                  <a:pt x="8781" y="9063"/>
                </a:cubicBezTo>
                <a:cubicBezTo>
                  <a:pt x="8750" y="9032"/>
                  <a:pt x="8719" y="9000"/>
                  <a:pt x="8656" y="9032"/>
                </a:cubicBezTo>
                <a:cubicBezTo>
                  <a:pt x="8750" y="9094"/>
                  <a:pt x="8844" y="9125"/>
                  <a:pt x="8906" y="9188"/>
                </a:cubicBezTo>
                <a:cubicBezTo>
                  <a:pt x="9406" y="9438"/>
                  <a:pt x="9875" y="9719"/>
                  <a:pt x="10344" y="9969"/>
                </a:cubicBezTo>
                <a:cubicBezTo>
                  <a:pt x="10875" y="10282"/>
                  <a:pt x="11375" y="10594"/>
                  <a:pt x="11875" y="10938"/>
                </a:cubicBezTo>
                <a:cubicBezTo>
                  <a:pt x="12375" y="11250"/>
                  <a:pt x="12844" y="11594"/>
                  <a:pt x="13312" y="11938"/>
                </a:cubicBezTo>
                <a:cubicBezTo>
                  <a:pt x="13375" y="12000"/>
                  <a:pt x="13437" y="12032"/>
                  <a:pt x="13500" y="12094"/>
                </a:cubicBezTo>
                <a:cubicBezTo>
                  <a:pt x="13687" y="12250"/>
                  <a:pt x="13875" y="12375"/>
                  <a:pt x="14094" y="12500"/>
                </a:cubicBezTo>
                <a:cubicBezTo>
                  <a:pt x="14094" y="12532"/>
                  <a:pt x="14125" y="12532"/>
                  <a:pt x="14125" y="12563"/>
                </a:cubicBezTo>
                <a:cubicBezTo>
                  <a:pt x="14125" y="12563"/>
                  <a:pt x="14156" y="12563"/>
                  <a:pt x="14156" y="12563"/>
                </a:cubicBezTo>
                <a:cubicBezTo>
                  <a:pt x="14375" y="12750"/>
                  <a:pt x="14562" y="12938"/>
                  <a:pt x="14781" y="13094"/>
                </a:cubicBezTo>
                <a:cubicBezTo>
                  <a:pt x="14781" y="13125"/>
                  <a:pt x="14781" y="13125"/>
                  <a:pt x="14781" y="13125"/>
                </a:cubicBezTo>
                <a:cubicBezTo>
                  <a:pt x="14812" y="13125"/>
                  <a:pt x="14812" y="13157"/>
                  <a:pt x="14812" y="13157"/>
                </a:cubicBezTo>
                <a:cubicBezTo>
                  <a:pt x="14844" y="13157"/>
                  <a:pt x="14844" y="13157"/>
                  <a:pt x="14844" y="13157"/>
                </a:cubicBezTo>
                <a:cubicBezTo>
                  <a:pt x="14844" y="13157"/>
                  <a:pt x="14844" y="13157"/>
                  <a:pt x="14875" y="13188"/>
                </a:cubicBezTo>
                <a:cubicBezTo>
                  <a:pt x="14875" y="13188"/>
                  <a:pt x="14875" y="13219"/>
                  <a:pt x="14906" y="13219"/>
                </a:cubicBezTo>
                <a:cubicBezTo>
                  <a:pt x="14906" y="13219"/>
                  <a:pt x="14906" y="13219"/>
                  <a:pt x="14906" y="13219"/>
                </a:cubicBezTo>
                <a:cubicBezTo>
                  <a:pt x="14906" y="13219"/>
                  <a:pt x="14906" y="13219"/>
                  <a:pt x="14906" y="13219"/>
                </a:cubicBezTo>
                <a:cubicBezTo>
                  <a:pt x="14906" y="13219"/>
                  <a:pt x="14937" y="13250"/>
                  <a:pt x="14937" y="13250"/>
                </a:cubicBezTo>
                <a:cubicBezTo>
                  <a:pt x="14937" y="13250"/>
                  <a:pt x="14937" y="13250"/>
                  <a:pt x="14937" y="13250"/>
                </a:cubicBezTo>
                <a:cubicBezTo>
                  <a:pt x="14937" y="13250"/>
                  <a:pt x="14937" y="13282"/>
                  <a:pt x="14969" y="13250"/>
                </a:cubicBezTo>
                <a:cubicBezTo>
                  <a:pt x="14969" y="13282"/>
                  <a:pt x="14969" y="13282"/>
                  <a:pt x="14969" y="13282"/>
                </a:cubicBezTo>
                <a:cubicBezTo>
                  <a:pt x="14969" y="13282"/>
                  <a:pt x="14969" y="13282"/>
                  <a:pt x="15000" y="13313"/>
                </a:cubicBezTo>
                <a:cubicBezTo>
                  <a:pt x="15000" y="13313"/>
                  <a:pt x="15000" y="13313"/>
                  <a:pt x="15000" y="13313"/>
                </a:cubicBezTo>
                <a:cubicBezTo>
                  <a:pt x="15000" y="13313"/>
                  <a:pt x="15031" y="13313"/>
                  <a:pt x="15031" y="13313"/>
                </a:cubicBezTo>
                <a:cubicBezTo>
                  <a:pt x="15031" y="13313"/>
                  <a:pt x="15031" y="13313"/>
                  <a:pt x="15031" y="13344"/>
                </a:cubicBezTo>
                <a:cubicBezTo>
                  <a:pt x="15062" y="13375"/>
                  <a:pt x="15062" y="13375"/>
                  <a:pt x="15094" y="13407"/>
                </a:cubicBezTo>
                <a:cubicBezTo>
                  <a:pt x="15125" y="13407"/>
                  <a:pt x="15125" y="13438"/>
                  <a:pt x="15156" y="13438"/>
                </a:cubicBezTo>
                <a:cubicBezTo>
                  <a:pt x="15156" y="13438"/>
                  <a:pt x="15156" y="13438"/>
                  <a:pt x="15187" y="13438"/>
                </a:cubicBezTo>
                <a:cubicBezTo>
                  <a:pt x="15219" y="13532"/>
                  <a:pt x="15312" y="13594"/>
                  <a:pt x="15375" y="13657"/>
                </a:cubicBezTo>
                <a:cubicBezTo>
                  <a:pt x="15562" y="13844"/>
                  <a:pt x="15750" y="14032"/>
                  <a:pt x="15969" y="14219"/>
                </a:cubicBezTo>
                <a:cubicBezTo>
                  <a:pt x="15969" y="14219"/>
                  <a:pt x="15969" y="14219"/>
                  <a:pt x="16000" y="14250"/>
                </a:cubicBezTo>
                <a:cubicBezTo>
                  <a:pt x="16000" y="14250"/>
                  <a:pt x="16000" y="14250"/>
                  <a:pt x="16000" y="14250"/>
                </a:cubicBezTo>
                <a:cubicBezTo>
                  <a:pt x="16000" y="14250"/>
                  <a:pt x="16000" y="14250"/>
                  <a:pt x="16000" y="14250"/>
                </a:cubicBezTo>
                <a:cubicBezTo>
                  <a:pt x="16000" y="14250"/>
                  <a:pt x="16031" y="14282"/>
                  <a:pt x="16062" y="14313"/>
                </a:cubicBezTo>
                <a:cubicBezTo>
                  <a:pt x="16437" y="14688"/>
                  <a:pt x="16781" y="15032"/>
                  <a:pt x="17094" y="15407"/>
                </a:cubicBezTo>
                <a:cubicBezTo>
                  <a:pt x="17531" y="15907"/>
                  <a:pt x="17906" y="16375"/>
                  <a:pt x="18281" y="16907"/>
                </a:cubicBezTo>
                <a:cubicBezTo>
                  <a:pt x="18437" y="17188"/>
                  <a:pt x="18594" y="17438"/>
                  <a:pt x="18750" y="17688"/>
                </a:cubicBezTo>
                <a:cubicBezTo>
                  <a:pt x="18812" y="17813"/>
                  <a:pt x="18812" y="17813"/>
                  <a:pt x="18687" y="17813"/>
                </a:cubicBezTo>
                <a:cubicBezTo>
                  <a:pt x="18656" y="17844"/>
                  <a:pt x="18594" y="17844"/>
                  <a:pt x="18531" y="17844"/>
                </a:cubicBezTo>
                <a:cubicBezTo>
                  <a:pt x="18406" y="17844"/>
                  <a:pt x="18250" y="17844"/>
                  <a:pt x="18125" y="17844"/>
                </a:cubicBezTo>
                <a:cubicBezTo>
                  <a:pt x="18125" y="17844"/>
                  <a:pt x="18125" y="17844"/>
                  <a:pt x="18125" y="17844"/>
                </a:cubicBezTo>
                <a:cubicBezTo>
                  <a:pt x="18125" y="17844"/>
                  <a:pt x="18125" y="17844"/>
                  <a:pt x="18125" y="17844"/>
                </a:cubicBezTo>
                <a:cubicBezTo>
                  <a:pt x="18125" y="17844"/>
                  <a:pt x="18125" y="17844"/>
                  <a:pt x="18125" y="17844"/>
                </a:cubicBezTo>
                <a:cubicBezTo>
                  <a:pt x="17687" y="17844"/>
                  <a:pt x="17250" y="17844"/>
                  <a:pt x="16844" y="17844"/>
                </a:cubicBezTo>
                <a:cubicBezTo>
                  <a:pt x="16687" y="17844"/>
                  <a:pt x="16562" y="17844"/>
                  <a:pt x="16406" y="17844"/>
                </a:cubicBezTo>
                <a:cubicBezTo>
                  <a:pt x="16000" y="17844"/>
                  <a:pt x="15594" y="17781"/>
                  <a:pt x="15187" y="17719"/>
                </a:cubicBezTo>
                <a:cubicBezTo>
                  <a:pt x="14969" y="17688"/>
                  <a:pt x="14750" y="17656"/>
                  <a:pt x="14562" y="17656"/>
                </a:cubicBezTo>
                <a:cubicBezTo>
                  <a:pt x="14344" y="17656"/>
                  <a:pt x="14125" y="17594"/>
                  <a:pt x="13937" y="17563"/>
                </a:cubicBezTo>
                <a:cubicBezTo>
                  <a:pt x="13875" y="17563"/>
                  <a:pt x="13812" y="17563"/>
                  <a:pt x="13781" y="17563"/>
                </a:cubicBezTo>
                <a:cubicBezTo>
                  <a:pt x="13687" y="17532"/>
                  <a:pt x="13625" y="17532"/>
                  <a:pt x="13531" y="17500"/>
                </a:cubicBezTo>
                <a:cubicBezTo>
                  <a:pt x="13469" y="17500"/>
                  <a:pt x="13406" y="17469"/>
                  <a:pt x="13344" y="17469"/>
                </a:cubicBezTo>
                <a:cubicBezTo>
                  <a:pt x="13344" y="17438"/>
                  <a:pt x="13312" y="17438"/>
                  <a:pt x="13312" y="17438"/>
                </a:cubicBezTo>
                <a:cubicBezTo>
                  <a:pt x="13281" y="17438"/>
                  <a:pt x="13281" y="17438"/>
                  <a:pt x="13281" y="17438"/>
                </a:cubicBezTo>
                <a:cubicBezTo>
                  <a:pt x="13187" y="17500"/>
                  <a:pt x="13187" y="17438"/>
                  <a:pt x="13125" y="17375"/>
                </a:cubicBezTo>
                <a:cubicBezTo>
                  <a:pt x="13031" y="17250"/>
                  <a:pt x="12937" y="17094"/>
                  <a:pt x="12844" y="16969"/>
                </a:cubicBezTo>
                <a:cubicBezTo>
                  <a:pt x="12719" y="16719"/>
                  <a:pt x="12531" y="16500"/>
                  <a:pt x="12344" y="16282"/>
                </a:cubicBezTo>
                <a:cubicBezTo>
                  <a:pt x="12250" y="16157"/>
                  <a:pt x="12125" y="16032"/>
                  <a:pt x="12000" y="15907"/>
                </a:cubicBezTo>
                <a:cubicBezTo>
                  <a:pt x="11906" y="15844"/>
                  <a:pt x="11812" y="15782"/>
                  <a:pt x="11781" y="15688"/>
                </a:cubicBezTo>
                <a:cubicBezTo>
                  <a:pt x="11750" y="15625"/>
                  <a:pt x="11719" y="15594"/>
                  <a:pt x="11687" y="15563"/>
                </a:cubicBezTo>
                <a:cubicBezTo>
                  <a:pt x="11625" y="15500"/>
                  <a:pt x="11531" y="15469"/>
                  <a:pt x="11531" y="15407"/>
                </a:cubicBezTo>
                <a:cubicBezTo>
                  <a:pt x="11500" y="15344"/>
                  <a:pt x="11500" y="15313"/>
                  <a:pt x="11469" y="15282"/>
                </a:cubicBezTo>
                <a:cubicBezTo>
                  <a:pt x="11125" y="14938"/>
                  <a:pt x="10750" y="14594"/>
                  <a:pt x="10375" y="14313"/>
                </a:cubicBezTo>
                <a:cubicBezTo>
                  <a:pt x="9875" y="13907"/>
                  <a:pt x="9375" y="13532"/>
                  <a:pt x="8812" y="13188"/>
                </a:cubicBezTo>
                <a:cubicBezTo>
                  <a:pt x="8750" y="13188"/>
                  <a:pt x="8719" y="13157"/>
                  <a:pt x="8687" y="13125"/>
                </a:cubicBezTo>
                <a:cubicBezTo>
                  <a:pt x="8594" y="13063"/>
                  <a:pt x="8469" y="13000"/>
                  <a:pt x="8375" y="12938"/>
                </a:cubicBezTo>
                <a:cubicBezTo>
                  <a:pt x="8375" y="12907"/>
                  <a:pt x="8375" y="12907"/>
                  <a:pt x="8375" y="12907"/>
                </a:cubicBezTo>
                <a:cubicBezTo>
                  <a:pt x="8344" y="12907"/>
                  <a:pt x="8344" y="12907"/>
                  <a:pt x="8344" y="12907"/>
                </a:cubicBezTo>
                <a:cubicBezTo>
                  <a:pt x="8375" y="12938"/>
                  <a:pt x="8375" y="12938"/>
                  <a:pt x="8375" y="12938"/>
                </a:cubicBezTo>
                <a:cubicBezTo>
                  <a:pt x="8375" y="12938"/>
                  <a:pt x="8375" y="12969"/>
                  <a:pt x="8406" y="12969"/>
                </a:cubicBezTo>
                <a:cubicBezTo>
                  <a:pt x="8406" y="12969"/>
                  <a:pt x="8406" y="13000"/>
                  <a:pt x="8437" y="13000"/>
                </a:cubicBezTo>
                <a:cubicBezTo>
                  <a:pt x="8437" y="13032"/>
                  <a:pt x="8437" y="13032"/>
                  <a:pt x="8437" y="13063"/>
                </a:cubicBezTo>
                <a:cubicBezTo>
                  <a:pt x="8312" y="13032"/>
                  <a:pt x="8219" y="12969"/>
                  <a:pt x="8125" y="12938"/>
                </a:cubicBezTo>
                <a:cubicBezTo>
                  <a:pt x="8062" y="12907"/>
                  <a:pt x="8031" y="12875"/>
                  <a:pt x="7969" y="12844"/>
                </a:cubicBezTo>
                <a:cubicBezTo>
                  <a:pt x="7969" y="12813"/>
                  <a:pt x="7937" y="12782"/>
                  <a:pt x="7969" y="12750"/>
                </a:cubicBezTo>
                <a:cubicBezTo>
                  <a:pt x="8031" y="12782"/>
                  <a:pt x="8094" y="12844"/>
                  <a:pt x="8187" y="12875"/>
                </a:cubicBezTo>
                <a:cubicBezTo>
                  <a:pt x="8219" y="12907"/>
                  <a:pt x="8250" y="12907"/>
                  <a:pt x="8250" y="12875"/>
                </a:cubicBezTo>
                <a:cubicBezTo>
                  <a:pt x="8281" y="12813"/>
                  <a:pt x="8219" y="12844"/>
                  <a:pt x="8219" y="12813"/>
                </a:cubicBezTo>
                <a:cubicBezTo>
                  <a:pt x="8125" y="12719"/>
                  <a:pt x="7969" y="12688"/>
                  <a:pt x="7844" y="12625"/>
                </a:cubicBezTo>
                <a:cubicBezTo>
                  <a:pt x="7469" y="12407"/>
                  <a:pt x="7094" y="12188"/>
                  <a:pt x="6719" y="12000"/>
                </a:cubicBezTo>
                <a:cubicBezTo>
                  <a:pt x="6656" y="11969"/>
                  <a:pt x="6594" y="11938"/>
                  <a:pt x="6531" y="11907"/>
                </a:cubicBezTo>
                <a:cubicBezTo>
                  <a:pt x="6563" y="11969"/>
                  <a:pt x="6625" y="12000"/>
                  <a:pt x="6656" y="12032"/>
                </a:cubicBezTo>
                <a:cubicBezTo>
                  <a:pt x="6688" y="12032"/>
                  <a:pt x="6688" y="12032"/>
                  <a:pt x="6688" y="12032"/>
                </a:cubicBezTo>
                <a:cubicBezTo>
                  <a:pt x="6719" y="12063"/>
                  <a:pt x="6719" y="12094"/>
                  <a:pt x="6688" y="12094"/>
                </a:cubicBezTo>
                <a:cubicBezTo>
                  <a:pt x="6563" y="12063"/>
                  <a:pt x="6438" y="11969"/>
                  <a:pt x="6313" y="11907"/>
                </a:cubicBezTo>
                <a:cubicBezTo>
                  <a:pt x="6281" y="11907"/>
                  <a:pt x="6281" y="11875"/>
                  <a:pt x="6250" y="11875"/>
                </a:cubicBezTo>
                <a:cubicBezTo>
                  <a:pt x="6188" y="11844"/>
                  <a:pt x="6156" y="11813"/>
                  <a:pt x="6094" y="11782"/>
                </a:cubicBezTo>
                <a:cubicBezTo>
                  <a:pt x="5688" y="11532"/>
                  <a:pt x="5250" y="11375"/>
                  <a:pt x="4844" y="11188"/>
                </a:cubicBezTo>
                <a:cubicBezTo>
                  <a:pt x="4813" y="11188"/>
                  <a:pt x="4813" y="11188"/>
                  <a:pt x="4813" y="11188"/>
                </a:cubicBezTo>
                <a:cubicBezTo>
                  <a:pt x="4813" y="11188"/>
                  <a:pt x="4813" y="11188"/>
                  <a:pt x="4813" y="11188"/>
                </a:cubicBezTo>
                <a:cubicBezTo>
                  <a:pt x="4813" y="11188"/>
                  <a:pt x="4813" y="11188"/>
                  <a:pt x="4813" y="11188"/>
                </a:cubicBezTo>
                <a:cubicBezTo>
                  <a:pt x="4813" y="11157"/>
                  <a:pt x="4781" y="11157"/>
                  <a:pt x="4781" y="11188"/>
                </a:cubicBezTo>
                <a:cubicBezTo>
                  <a:pt x="4781" y="11157"/>
                  <a:pt x="4750" y="11157"/>
                  <a:pt x="4750" y="11157"/>
                </a:cubicBezTo>
                <a:cubicBezTo>
                  <a:pt x="4719" y="11157"/>
                  <a:pt x="4688" y="11157"/>
                  <a:pt x="4656" y="11125"/>
                </a:cubicBezTo>
                <a:cubicBezTo>
                  <a:pt x="4656" y="11125"/>
                  <a:pt x="4625" y="11125"/>
                  <a:pt x="4594" y="11094"/>
                </a:cubicBezTo>
                <a:cubicBezTo>
                  <a:pt x="4563" y="11094"/>
                  <a:pt x="4531" y="11094"/>
                  <a:pt x="4500" y="11063"/>
                </a:cubicBezTo>
                <a:cubicBezTo>
                  <a:pt x="4438" y="11063"/>
                  <a:pt x="4375" y="11032"/>
                  <a:pt x="4313" y="11032"/>
                </a:cubicBezTo>
                <a:cubicBezTo>
                  <a:pt x="3938" y="10907"/>
                  <a:pt x="3531" y="10813"/>
                  <a:pt x="3156" y="10719"/>
                </a:cubicBezTo>
                <a:cubicBezTo>
                  <a:pt x="2969" y="10688"/>
                  <a:pt x="2813" y="10688"/>
                  <a:pt x="2656" y="10657"/>
                </a:cubicBezTo>
                <a:cubicBezTo>
                  <a:pt x="2438" y="10625"/>
                  <a:pt x="2219" y="10563"/>
                  <a:pt x="1969" y="10594"/>
                </a:cubicBezTo>
                <a:cubicBezTo>
                  <a:pt x="1938" y="10625"/>
                  <a:pt x="1875" y="10657"/>
                  <a:pt x="1844" y="10625"/>
                </a:cubicBezTo>
                <a:cubicBezTo>
                  <a:pt x="1906" y="10438"/>
                  <a:pt x="2125" y="10438"/>
                  <a:pt x="2281" y="10344"/>
                </a:cubicBezTo>
                <a:cubicBezTo>
                  <a:pt x="2156" y="10375"/>
                  <a:pt x="2031" y="10407"/>
                  <a:pt x="1938" y="10407"/>
                </a:cubicBezTo>
                <a:cubicBezTo>
                  <a:pt x="1781" y="10407"/>
                  <a:pt x="1688" y="10500"/>
                  <a:pt x="1594" y="10594"/>
                </a:cubicBezTo>
                <a:cubicBezTo>
                  <a:pt x="1500" y="10688"/>
                  <a:pt x="1375" y="10782"/>
                  <a:pt x="1438" y="10938"/>
                </a:cubicBezTo>
                <a:cubicBezTo>
                  <a:pt x="1438" y="11032"/>
                  <a:pt x="1406" y="11094"/>
                  <a:pt x="1375" y="11157"/>
                </a:cubicBezTo>
                <a:cubicBezTo>
                  <a:pt x="1375" y="11188"/>
                  <a:pt x="1344" y="11250"/>
                  <a:pt x="1375" y="11313"/>
                </a:cubicBezTo>
                <a:cubicBezTo>
                  <a:pt x="1344" y="11469"/>
                  <a:pt x="1313" y="11657"/>
                  <a:pt x="1281" y="11813"/>
                </a:cubicBezTo>
                <a:cubicBezTo>
                  <a:pt x="1250" y="12000"/>
                  <a:pt x="1219" y="12157"/>
                  <a:pt x="1188" y="12344"/>
                </a:cubicBezTo>
                <a:cubicBezTo>
                  <a:pt x="1156" y="12438"/>
                  <a:pt x="1156" y="12563"/>
                  <a:pt x="1125" y="12657"/>
                </a:cubicBezTo>
                <a:cubicBezTo>
                  <a:pt x="1125" y="12750"/>
                  <a:pt x="1125" y="12875"/>
                  <a:pt x="1125" y="12969"/>
                </a:cubicBezTo>
                <a:cubicBezTo>
                  <a:pt x="1094" y="13000"/>
                  <a:pt x="1094" y="13032"/>
                  <a:pt x="1094" y="13063"/>
                </a:cubicBezTo>
                <a:cubicBezTo>
                  <a:pt x="1063" y="13125"/>
                  <a:pt x="1000" y="13219"/>
                  <a:pt x="1031" y="13313"/>
                </a:cubicBezTo>
                <a:cubicBezTo>
                  <a:pt x="1031" y="13313"/>
                  <a:pt x="1000" y="13344"/>
                  <a:pt x="1000" y="13375"/>
                </a:cubicBezTo>
                <a:cubicBezTo>
                  <a:pt x="1000" y="13375"/>
                  <a:pt x="1000" y="13375"/>
                  <a:pt x="1000" y="13375"/>
                </a:cubicBezTo>
                <a:cubicBezTo>
                  <a:pt x="1000" y="13407"/>
                  <a:pt x="1000" y="13407"/>
                  <a:pt x="1000" y="13407"/>
                </a:cubicBezTo>
                <a:cubicBezTo>
                  <a:pt x="1000" y="13438"/>
                  <a:pt x="1000" y="13438"/>
                  <a:pt x="1000" y="13469"/>
                </a:cubicBezTo>
                <a:cubicBezTo>
                  <a:pt x="969" y="13469"/>
                  <a:pt x="969" y="13500"/>
                  <a:pt x="1000" y="13500"/>
                </a:cubicBezTo>
                <a:cubicBezTo>
                  <a:pt x="969" y="13563"/>
                  <a:pt x="969" y="13625"/>
                  <a:pt x="969" y="13688"/>
                </a:cubicBezTo>
                <a:cubicBezTo>
                  <a:pt x="938" y="13719"/>
                  <a:pt x="938" y="13719"/>
                  <a:pt x="938" y="13719"/>
                </a:cubicBezTo>
                <a:cubicBezTo>
                  <a:pt x="938" y="13719"/>
                  <a:pt x="938" y="13750"/>
                  <a:pt x="938" y="13750"/>
                </a:cubicBezTo>
                <a:cubicBezTo>
                  <a:pt x="938" y="13907"/>
                  <a:pt x="875" y="14032"/>
                  <a:pt x="875" y="14188"/>
                </a:cubicBezTo>
                <a:cubicBezTo>
                  <a:pt x="844" y="14313"/>
                  <a:pt x="781" y="14438"/>
                  <a:pt x="813" y="14563"/>
                </a:cubicBezTo>
                <a:cubicBezTo>
                  <a:pt x="875" y="14500"/>
                  <a:pt x="938" y="14407"/>
                  <a:pt x="1000" y="14375"/>
                </a:cubicBezTo>
                <a:cubicBezTo>
                  <a:pt x="1250" y="14188"/>
                  <a:pt x="1563" y="14188"/>
                  <a:pt x="1844" y="14157"/>
                </a:cubicBezTo>
                <a:cubicBezTo>
                  <a:pt x="2313" y="14125"/>
                  <a:pt x="2750" y="14219"/>
                  <a:pt x="3188" y="14313"/>
                </a:cubicBezTo>
                <a:cubicBezTo>
                  <a:pt x="3750" y="14469"/>
                  <a:pt x="4250" y="14688"/>
                  <a:pt x="4781" y="14938"/>
                </a:cubicBezTo>
                <a:cubicBezTo>
                  <a:pt x="5031" y="15063"/>
                  <a:pt x="5281" y="15188"/>
                  <a:pt x="5531" y="15282"/>
                </a:cubicBezTo>
                <a:cubicBezTo>
                  <a:pt x="5875" y="15438"/>
                  <a:pt x="6219" y="15625"/>
                  <a:pt x="6563" y="15782"/>
                </a:cubicBezTo>
                <a:cubicBezTo>
                  <a:pt x="6875" y="15969"/>
                  <a:pt x="7219" y="16125"/>
                  <a:pt x="7531" y="16313"/>
                </a:cubicBezTo>
                <a:cubicBezTo>
                  <a:pt x="7781" y="16469"/>
                  <a:pt x="8031" y="16625"/>
                  <a:pt x="8281" y="16782"/>
                </a:cubicBezTo>
                <a:cubicBezTo>
                  <a:pt x="8531" y="16938"/>
                  <a:pt x="8750" y="17125"/>
                  <a:pt x="9000" y="17313"/>
                </a:cubicBezTo>
                <a:cubicBezTo>
                  <a:pt x="9312" y="17532"/>
                  <a:pt x="9625" y="17781"/>
                  <a:pt x="9937" y="18063"/>
                </a:cubicBezTo>
                <a:cubicBezTo>
                  <a:pt x="10062" y="18156"/>
                  <a:pt x="10187" y="18281"/>
                  <a:pt x="10281" y="18375"/>
                </a:cubicBezTo>
                <a:cubicBezTo>
                  <a:pt x="10406" y="18469"/>
                  <a:pt x="10500" y="18531"/>
                  <a:pt x="10469" y="18719"/>
                </a:cubicBezTo>
                <a:cubicBezTo>
                  <a:pt x="10469" y="18688"/>
                  <a:pt x="10437" y="18656"/>
                  <a:pt x="10437" y="18656"/>
                </a:cubicBezTo>
                <a:cubicBezTo>
                  <a:pt x="10375" y="18594"/>
                  <a:pt x="10312" y="18531"/>
                  <a:pt x="10219" y="18500"/>
                </a:cubicBezTo>
                <a:cubicBezTo>
                  <a:pt x="10219" y="18469"/>
                  <a:pt x="10187" y="18438"/>
                  <a:pt x="10156" y="18406"/>
                </a:cubicBezTo>
                <a:cubicBezTo>
                  <a:pt x="10125" y="18375"/>
                  <a:pt x="10062" y="18344"/>
                  <a:pt x="10031" y="18313"/>
                </a:cubicBezTo>
                <a:cubicBezTo>
                  <a:pt x="10000" y="18250"/>
                  <a:pt x="9937" y="18188"/>
                  <a:pt x="9875" y="18156"/>
                </a:cubicBezTo>
                <a:cubicBezTo>
                  <a:pt x="9844" y="18156"/>
                  <a:pt x="9812" y="18125"/>
                  <a:pt x="9781" y="18094"/>
                </a:cubicBezTo>
                <a:cubicBezTo>
                  <a:pt x="9750" y="18094"/>
                  <a:pt x="9750" y="18063"/>
                  <a:pt x="9719" y="18063"/>
                </a:cubicBezTo>
                <a:cubicBezTo>
                  <a:pt x="9719" y="18063"/>
                  <a:pt x="9719" y="18063"/>
                  <a:pt x="9719" y="18063"/>
                </a:cubicBezTo>
                <a:cubicBezTo>
                  <a:pt x="9719" y="18094"/>
                  <a:pt x="9750" y="18094"/>
                  <a:pt x="9750" y="18094"/>
                </a:cubicBezTo>
                <a:cubicBezTo>
                  <a:pt x="9781" y="18125"/>
                  <a:pt x="9812" y="18156"/>
                  <a:pt x="9812" y="18156"/>
                </a:cubicBezTo>
                <a:cubicBezTo>
                  <a:pt x="9875" y="18219"/>
                  <a:pt x="9969" y="18281"/>
                  <a:pt x="10031" y="18344"/>
                </a:cubicBezTo>
                <a:cubicBezTo>
                  <a:pt x="10062" y="18375"/>
                  <a:pt x="10094" y="18406"/>
                  <a:pt x="10125" y="18438"/>
                </a:cubicBezTo>
                <a:cubicBezTo>
                  <a:pt x="10125" y="18438"/>
                  <a:pt x="10125" y="18438"/>
                  <a:pt x="10156" y="18469"/>
                </a:cubicBezTo>
                <a:cubicBezTo>
                  <a:pt x="10156" y="18469"/>
                  <a:pt x="10187" y="18500"/>
                  <a:pt x="10219" y="18500"/>
                </a:cubicBezTo>
                <a:cubicBezTo>
                  <a:pt x="10219" y="18500"/>
                  <a:pt x="10219" y="18500"/>
                  <a:pt x="10219" y="18500"/>
                </a:cubicBezTo>
                <a:cubicBezTo>
                  <a:pt x="10250" y="18531"/>
                  <a:pt x="10250" y="18563"/>
                  <a:pt x="10281" y="18594"/>
                </a:cubicBezTo>
                <a:cubicBezTo>
                  <a:pt x="10281" y="18594"/>
                  <a:pt x="10281" y="18594"/>
                  <a:pt x="10281" y="18594"/>
                </a:cubicBezTo>
                <a:cubicBezTo>
                  <a:pt x="10500" y="18781"/>
                  <a:pt x="10687" y="18969"/>
                  <a:pt x="10875" y="19188"/>
                </a:cubicBezTo>
                <a:cubicBezTo>
                  <a:pt x="11000" y="19281"/>
                  <a:pt x="11094" y="19406"/>
                  <a:pt x="11219" y="19500"/>
                </a:cubicBezTo>
                <a:cubicBezTo>
                  <a:pt x="11312" y="19656"/>
                  <a:pt x="11469" y="19781"/>
                  <a:pt x="11531" y="19938"/>
                </a:cubicBezTo>
                <a:cubicBezTo>
                  <a:pt x="11406" y="19875"/>
                  <a:pt x="11344" y="19781"/>
                  <a:pt x="11281" y="19656"/>
                </a:cubicBezTo>
                <a:cubicBezTo>
                  <a:pt x="11031" y="19531"/>
                  <a:pt x="11031" y="19531"/>
                  <a:pt x="11031" y="19531"/>
                </a:cubicBezTo>
                <a:cubicBezTo>
                  <a:pt x="11062" y="19531"/>
                  <a:pt x="11094" y="19531"/>
                  <a:pt x="11156" y="19531"/>
                </a:cubicBezTo>
                <a:cubicBezTo>
                  <a:pt x="11031" y="19406"/>
                  <a:pt x="10937" y="19313"/>
                  <a:pt x="10844" y="19219"/>
                </a:cubicBezTo>
                <a:cubicBezTo>
                  <a:pt x="10469" y="18813"/>
                  <a:pt x="10062" y="18438"/>
                  <a:pt x="9625" y="18094"/>
                </a:cubicBezTo>
                <a:cubicBezTo>
                  <a:pt x="9125" y="17688"/>
                  <a:pt x="8625" y="17282"/>
                  <a:pt x="8094" y="16938"/>
                </a:cubicBezTo>
                <a:cubicBezTo>
                  <a:pt x="7937" y="16844"/>
                  <a:pt x="7813" y="16750"/>
                  <a:pt x="7656" y="16657"/>
                </a:cubicBezTo>
                <a:cubicBezTo>
                  <a:pt x="7656" y="16657"/>
                  <a:pt x="7625" y="16625"/>
                  <a:pt x="7594" y="16657"/>
                </a:cubicBezTo>
                <a:cubicBezTo>
                  <a:pt x="7594" y="16688"/>
                  <a:pt x="7594" y="16688"/>
                  <a:pt x="7625" y="16719"/>
                </a:cubicBezTo>
                <a:cubicBezTo>
                  <a:pt x="7906" y="16907"/>
                  <a:pt x="8187" y="17094"/>
                  <a:pt x="8500" y="17313"/>
                </a:cubicBezTo>
                <a:cubicBezTo>
                  <a:pt x="8781" y="17500"/>
                  <a:pt x="9062" y="17688"/>
                  <a:pt x="9312" y="17938"/>
                </a:cubicBezTo>
                <a:cubicBezTo>
                  <a:pt x="9312" y="17938"/>
                  <a:pt x="9281" y="17938"/>
                  <a:pt x="9281" y="17938"/>
                </a:cubicBezTo>
                <a:cubicBezTo>
                  <a:pt x="9250" y="17938"/>
                  <a:pt x="9250" y="17906"/>
                  <a:pt x="9219" y="17906"/>
                </a:cubicBezTo>
                <a:cubicBezTo>
                  <a:pt x="9219" y="17906"/>
                  <a:pt x="9187" y="17875"/>
                  <a:pt x="9187" y="17875"/>
                </a:cubicBezTo>
                <a:cubicBezTo>
                  <a:pt x="9062" y="17781"/>
                  <a:pt x="8937" y="17688"/>
                  <a:pt x="8812" y="17594"/>
                </a:cubicBezTo>
                <a:cubicBezTo>
                  <a:pt x="8781" y="17594"/>
                  <a:pt x="8781" y="17594"/>
                  <a:pt x="8750" y="17563"/>
                </a:cubicBezTo>
                <a:cubicBezTo>
                  <a:pt x="8750" y="17563"/>
                  <a:pt x="8719" y="17532"/>
                  <a:pt x="8687" y="17532"/>
                </a:cubicBezTo>
                <a:cubicBezTo>
                  <a:pt x="8656" y="17500"/>
                  <a:pt x="8625" y="17469"/>
                  <a:pt x="8594" y="17438"/>
                </a:cubicBezTo>
                <a:cubicBezTo>
                  <a:pt x="8594" y="17438"/>
                  <a:pt x="8594" y="17438"/>
                  <a:pt x="8594" y="17438"/>
                </a:cubicBezTo>
                <a:cubicBezTo>
                  <a:pt x="8562" y="17438"/>
                  <a:pt x="8562" y="17438"/>
                  <a:pt x="8531" y="17407"/>
                </a:cubicBezTo>
                <a:cubicBezTo>
                  <a:pt x="8500" y="17407"/>
                  <a:pt x="8469" y="17375"/>
                  <a:pt x="8437" y="17375"/>
                </a:cubicBezTo>
                <a:cubicBezTo>
                  <a:pt x="8406" y="17313"/>
                  <a:pt x="8344" y="17282"/>
                  <a:pt x="8312" y="17250"/>
                </a:cubicBezTo>
                <a:cubicBezTo>
                  <a:pt x="8250" y="17219"/>
                  <a:pt x="8219" y="17188"/>
                  <a:pt x="8156" y="17157"/>
                </a:cubicBezTo>
                <a:cubicBezTo>
                  <a:pt x="8156" y="17157"/>
                  <a:pt x="8156" y="17157"/>
                  <a:pt x="8156" y="17157"/>
                </a:cubicBezTo>
                <a:cubicBezTo>
                  <a:pt x="8156" y="17157"/>
                  <a:pt x="8156" y="17125"/>
                  <a:pt x="8125" y="17125"/>
                </a:cubicBezTo>
                <a:cubicBezTo>
                  <a:pt x="7937" y="17000"/>
                  <a:pt x="7750" y="16875"/>
                  <a:pt x="7563" y="16750"/>
                </a:cubicBezTo>
                <a:cubicBezTo>
                  <a:pt x="7531" y="16719"/>
                  <a:pt x="7500" y="16750"/>
                  <a:pt x="7438" y="16750"/>
                </a:cubicBezTo>
                <a:cubicBezTo>
                  <a:pt x="7563" y="16813"/>
                  <a:pt x="7656" y="16875"/>
                  <a:pt x="7750" y="16938"/>
                </a:cubicBezTo>
                <a:cubicBezTo>
                  <a:pt x="7781" y="16969"/>
                  <a:pt x="7813" y="16969"/>
                  <a:pt x="7844" y="17000"/>
                </a:cubicBezTo>
                <a:cubicBezTo>
                  <a:pt x="7844" y="17032"/>
                  <a:pt x="7875" y="17032"/>
                  <a:pt x="7875" y="17032"/>
                </a:cubicBezTo>
                <a:cubicBezTo>
                  <a:pt x="7937" y="17063"/>
                  <a:pt x="7969" y="17094"/>
                  <a:pt x="8000" y="17094"/>
                </a:cubicBezTo>
                <a:cubicBezTo>
                  <a:pt x="8062" y="17125"/>
                  <a:pt x="8094" y="17157"/>
                  <a:pt x="8156" y="17188"/>
                </a:cubicBezTo>
                <a:cubicBezTo>
                  <a:pt x="8187" y="17219"/>
                  <a:pt x="8219" y="17250"/>
                  <a:pt x="8281" y="17282"/>
                </a:cubicBezTo>
                <a:cubicBezTo>
                  <a:pt x="8281" y="17313"/>
                  <a:pt x="8312" y="17313"/>
                  <a:pt x="8344" y="17344"/>
                </a:cubicBezTo>
                <a:cubicBezTo>
                  <a:pt x="8375" y="17344"/>
                  <a:pt x="8406" y="17375"/>
                  <a:pt x="8437" y="17375"/>
                </a:cubicBezTo>
                <a:cubicBezTo>
                  <a:pt x="8406" y="17469"/>
                  <a:pt x="8375" y="17438"/>
                  <a:pt x="8312" y="17407"/>
                </a:cubicBezTo>
                <a:cubicBezTo>
                  <a:pt x="8219" y="17344"/>
                  <a:pt x="8156" y="17282"/>
                  <a:pt x="8031" y="17219"/>
                </a:cubicBezTo>
                <a:cubicBezTo>
                  <a:pt x="7719" y="17063"/>
                  <a:pt x="7438" y="16907"/>
                  <a:pt x="7156" y="16719"/>
                </a:cubicBezTo>
                <a:cubicBezTo>
                  <a:pt x="7000" y="16625"/>
                  <a:pt x="6844" y="16563"/>
                  <a:pt x="6688" y="16469"/>
                </a:cubicBezTo>
                <a:cubicBezTo>
                  <a:pt x="6594" y="16375"/>
                  <a:pt x="6469" y="16344"/>
                  <a:pt x="6344" y="16282"/>
                </a:cubicBezTo>
                <a:cubicBezTo>
                  <a:pt x="6188" y="16188"/>
                  <a:pt x="6063" y="16094"/>
                  <a:pt x="5906" y="16032"/>
                </a:cubicBezTo>
                <a:cubicBezTo>
                  <a:pt x="5500" y="15844"/>
                  <a:pt x="5094" y="15625"/>
                  <a:pt x="4688" y="15469"/>
                </a:cubicBezTo>
                <a:cubicBezTo>
                  <a:pt x="4594" y="15469"/>
                  <a:pt x="4531" y="15438"/>
                  <a:pt x="4469" y="15407"/>
                </a:cubicBezTo>
                <a:cubicBezTo>
                  <a:pt x="4281" y="15313"/>
                  <a:pt x="4094" y="15250"/>
                  <a:pt x="3875" y="15157"/>
                </a:cubicBezTo>
                <a:cubicBezTo>
                  <a:pt x="3750" y="15094"/>
                  <a:pt x="3594" y="15063"/>
                  <a:pt x="3469" y="15032"/>
                </a:cubicBezTo>
                <a:cubicBezTo>
                  <a:pt x="3188" y="14907"/>
                  <a:pt x="2875" y="14844"/>
                  <a:pt x="2594" y="14782"/>
                </a:cubicBezTo>
                <a:cubicBezTo>
                  <a:pt x="2406" y="14750"/>
                  <a:pt x="2219" y="14688"/>
                  <a:pt x="2031" y="14688"/>
                </a:cubicBezTo>
                <a:cubicBezTo>
                  <a:pt x="1781" y="14688"/>
                  <a:pt x="1531" y="14563"/>
                  <a:pt x="1313" y="14625"/>
                </a:cubicBezTo>
                <a:cubicBezTo>
                  <a:pt x="1281" y="14625"/>
                  <a:pt x="1250" y="14625"/>
                  <a:pt x="1250" y="14625"/>
                </a:cubicBezTo>
                <a:cubicBezTo>
                  <a:pt x="1250" y="14594"/>
                  <a:pt x="1281" y="14563"/>
                  <a:pt x="1281" y="14563"/>
                </a:cubicBezTo>
                <a:cubicBezTo>
                  <a:pt x="1313" y="14563"/>
                  <a:pt x="1344" y="14563"/>
                  <a:pt x="1375" y="14563"/>
                </a:cubicBezTo>
                <a:cubicBezTo>
                  <a:pt x="1500" y="14532"/>
                  <a:pt x="1656" y="14469"/>
                  <a:pt x="1781" y="14500"/>
                </a:cubicBezTo>
                <a:cubicBezTo>
                  <a:pt x="1531" y="14438"/>
                  <a:pt x="1281" y="14469"/>
                  <a:pt x="1031" y="14563"/>
                </a:cubicBezTo>
                <a:cubicBezTo>
                  <a:pt x="1188" y="14438"/>
                  <a:pt x="1375" y="14407"/>
                  <a:pt x="1594" y="14375"/>
                </a:cubicBezTo>
                <a:cubicBezTo>
                  <a:pt x="1500" y="14313"/>
                  <a:pt x="1469" y="14282"/>
                  <a:pt x="1375" y="14313"/>
                </a:cubicBezTo>
                <a:cubicBezTo>
                  <a:pt x="1281" y="14313"/>
                  <a:pt x="1219" y="14344"/>
                  <a:pt x="1156" y="14375"/>
                </a:cubicBezTo>
                <a:cubicBezTo>
                  <a:pt x="906" y="14469"/>
                  <a:pt x="750" y="14625"/>
                  <a:pt x="719" y="14938"/>
                </a:cubicBezTo>
                <a:cubicBezTo>
                  <a:pt x="688" y="14969"/>
                  <a:pt x="688" y="15032"/>
                  <a:pt x="688" y="15094"/>
                </a:cubicBezTo>
                <a:cubicBezTo>
                  <a:pt x="688" y="15157"/>
                  <a:pt x="688" y="15219"/>
                  <a:pt x="656" y="15250"/>
                </a:cubicBezTo>
                <a:cubicBezTo>
                  <a:pt x="656" y="15344"/>
                  <a:pt x="625" y="15407"/>
                  <a:pt x="625" y="15500"/>
                </a:cubicBezTo>
                <a:cubicBezTo>
                  <a:pt x="594" y="15594"/>
                  <a:pt x="594" y="15657"/>
                  <a:pt x="563" y="15750"/>
                </a:cubicBezTo>
                <a:cubicBezTo>
                  <a:pt x="563" y="15750"/>
                  <a:pt x="563" y="15750"/>
                  <a:pt x="563" y="15750"/>
                </a:cubicBezTo>
                <a:cubicBezTo>
                  <a:pt x="563" y="15750"/>
                  <a:pt x="563" y="15750"/>
                  <a:pt x="563" y="15750"/>
                </a:cubicBezTo>
                <a:cubicBezTo>
                  <a:pt x="563" y="15750"/>
                  <a:pt x="563" y="15750"/>
                  <a:pt x="563" y="15750"/>
                </a:cubicBezTo>
                <a:cubicBezTo>
                  <a:pt x="563" y="15782"/>
                  <a:pt x="563" y="15782"/>
                  <a:pt x="563" y="15782"/>
                </a:cubicBezTo>
                <a:cubicBezTo>
                  <a:pt x="563" y="15813"/>
                  <a:pt x="563" y="15844"/>
                  <a:pt x="531" y="15875"/>
                </a:cubicBezTo>
                <a:cubicBezTo>
                  <a:pt x="531" y="15875"/>
                  <a:pt x="531" y="15875"/>
                  <a:pt x="531" y="15907"/>
                </a:cubicBezTo>
                <a:cubicBezTo>
                  <a:pt x="469" y="16188"/>
                  <a:pt x="438" y="16469"/>
                  <a:pt x="344" y="16750"/>
                </a:cubicBezTo>
                <a:cubicBezTo>
                  <a:pt x="344" y="16813"/>
                  <a:pt x="344" y="16875"/>
                  <a:pt x="313" y="16938"/>
                </a:cubicBezTo>
                <a:cubicBezTo>
                  <a:pt x="281" y="17094"/>
                  <a:pt x="281" y="17282"/>
                  <a:pt x="219" y="17469"/>
                </a:cubicBezTo>
                <a:cubicBezTo>
                  <a:pt x="156" y="17563"/>
                  <a:pt x="156" y="17656"/>
                  <a:pt x="156" y="17750"/>
                </a:cubicBezTo>
                <a:cubicBezTo>
                  <a:pt x="156" y="17781"/>
                  <a:pt x="156" y="17781"/>
                  <a:pt x="125" y="17813"/>
                </a:cubicBezTo>
                <a:cubicBezTo>
                  <a:pt x="125" y="17906"/>
                  <a:pt x="94" y="18000"/>
                  <a:pt x="63" y="18094"/>
                </a:cubicBezTo>
                <a:cubicBezTo>
                  <a:pt x="63" y="18188"/>
                  <a:pt x="31" y="18281"/>
                  <a:pt x="31" y="18375"/>
                </a:cubicBezTo>
                <a:cubicBezTo>
                  <a:pt x="31" y="18438"/>
                  <a:pt x="0" y="18500"/>
                  <a:pt x="0" y="18594"/>
                </a:cubicBezTo>
                <a:cubicBezTo>
                  <a:pt x="0" y="18625"/>
                  <a:pt x="0" y="18656"/>
                  <a:pt x="31" y="18719"/>
                </a:cubicBezTo>
                <a:cubicBezTo>
                  <a:pt x="31" y="18781"/>
                  <a:pt x="94" y="18844"/>
                  <a:pt x="94" y="18906"/>
                </a:cubicBezTo>
                <a:cubicBezTo>
                  <a:pt x="94" y="18906"/>
                  <a:pt x="94" y="18938"/>
                  <a:pt x="125" y="18938"/>
                </a:cubicBezTo>
                <a:cubicBezTo>
                  <a:pt x="125" y="18969"/>
                  <a:pt x="125" y="18969"/>
                  <a:pt x="125" y="18969"/>
                </a:cubicBezTo>
                <a:cubicBezTo>
                  <a:pt x="125" y="18969"/>
                  <a:pt x="156" y="18969"/>
                  <a:pt x="156" y="18969"/>
                </a:cubicBezTo>
                <a:cubicBezTo>
                  <a:pt x="156" y="18969"/>
                  <a:pt x="156" y="18969"/>
                  <a:pt x="156" y="18969"/>
                </a:cubicBezTo>
                <a:cubicBezTo>
                  <a:pt x="156" y="19063"/>
                  <a:pt x="219" y="19125"/>
                  <a:pt x="250" y="19188"/>
                </a:cubicBezTo>
                <a:cubicBezTo>
                  <a:pt x="281" y="19188"/>
                  <a:pt x="281" y="19219"/>
                  <a:pt x="313" y="19250"/>
                </a:cubicBezTo>
                <a:cubicBezTo>
                  <a:pt x="781" y="19844"/>
                  <a:pt x="1438" y="20219"/>
                  <a:pt x="2094" y="20594"/>
                </a:cubicBezTo>
                <a:cubicBezTo>
                  <a:pt x="2156" y="20625"/>
                  <a:pt x="2219" y="20656"/>
                  <a:pt x="2281" y="20688"/>
                </a:cubicBezTo>
                <a:cubicBezTo>
                  <a:pt x="2281" y="20688"/>
                  <a:pt x="2313" y="20688"/>
                  <a:pt x="2313" y="20688"/>
                </a:cubicBezTo>
                <a:cubicBezTo>
                  <a:pt x="2313" y="20688"/>
                  <a:pt x="2344" y="20719"/>
                  <a:pt x="2344" y="20719"/>
                </a:cubicBezTo>
                <a:cubicBezTo>
                  <a:pt x="2375" y="20750"/>
                  <a:pt x="2438" y="20781"/>
                  <a:pt x="2469" y="20781"/>
                </a:cubicBezTo>
                <a:cubicBezTo>
                  <a:pt x="2531" y="20813"/>
                  <a:pt x="2563" y="20844"/>
                  <a:pt x="2594" y="20875"/>
                </a:cubicBezTo>
                <a:cubicBezTo>
                  <a:pt x="2750" y="20938"/>
                  <a:pt x="2906" y="21031"/>
                  <a:pt x="3063" y="21094"/>
                </a:cubicBezTo>
                <a:cubicBezTo>
                  <a:pt x="3563" y="21344"/>
                  <a:pt x="4063" y="21563"/>
                  <a:pt x="4563" y="21781"/>
                </a:cubicBezTo>
                <a:cubicBezTo>
                  <a:pt x="4531" y="21844"/>
                  <a:pt x="4500" y="21813"/>
                  <a:pt x="4469" y="21813"/>
                </a:cubicBezTo>
                <a:cubicBezTo>
                  <a:pt x="4344" y="21750"/>
                  <a:pt x="4219" y="21750"/>
                  <a:pt x="4094" y="21719"/>
                </a:cubicBezTo>
                <a:cubicBezTo>
                  <a:pt x="3969" y="21719"/>
                  <a:pt x="3875" y="21781"/>
                  <a:pt x="3844" y="21844"/>
                </a:cubicBezTo>
                <a:cubicBezTo>
                  <a:pt x="3844" y="21844"/>
                  <a:pt x="3844" y="21844"/>
                  <a:pt x="3844" y="21844"/>
                </a:cubicBezTo>
                <a:cubicBezTo>
                  <a:pt x="3750" y="22000"/>
                  <a:pt x="3719" y="22125"/>
                  <a:pt x="3656" y="22250"/>
                </a:cubicBezTo>
                <a:cubicBezTo>
                  <a:pt x="3625" y="22313"/>
                  <a:pt x="3594" y="22344"/>
                  <a:pt x="3594" y="22375"/>
                </a:cubicBezTo>
                <a:cubicBezTo>
                  <a:pt x="3563" y="22406"/>
                  <a:pt x="3563" y="22438"/>
                  <a:pt x="3563" y="22469"/>
                </a:cubicBezTo>
                <a:cubicBezTo>
                  <a:pt x="3500" y="22563"/>
                  <a:pt x="3469" y="22625"/>
                  <a:pt x="3438" y="22719"/>
                </a:cubicBezTo>
                <a:cubicBezTo>
                  <a:pt x="3438" y="22719"/>
                  <a:pt x="3438" y="22719"/>
                  <a:pt x="3438" y="22719"/>
                </a:cubicBezTo>
                <a:cubicBezTo>
                  <a:pt x="3375" y="22813"/>
                  <a:pt x="3313" y="22938"/>
                  <a:pt x="3281" y="23031"/>
                </a:cubicBezTo>
                <a:cubicBezTo>
                  <a:pt x="3281" y="23031"/>
                  <a:pt x="3281" y="23031"/>
                  <a:pt x="3281" y="23031"/>
                </a:cubicBezTo>
                <a:cubicBezTo>
                  <a:pt x="3250" y="23094"/>
                  <a:pt x="3250" y="23156"/>
                  <a:pt x="3219" y="23219"/>
                </a:cubicBezTo>
                <a:cubicBezTo>
                  <a:pt x="3188" y="23250"/>
                  <a:pt x="3188" y="23281"/>
                  <a:pt x="3156" y="23313"/>
                </a:cubicBezTo>
                <a:cubicBezTo>
                  <a:pt x="3125" y="23406"/>
                  <a:pt x="3063" y="23500"/>
                  <a:pt x="3031" y="23594"/>
                </a:cubicBezTo>
                <a:cubicBezTo>
                  <a:pt x="3000" y="23594"/>
                  <a:pt x="3000" y="23625"/>
                  <a:pt x="3000" y="23656"/>
                </a:cubicBezTo>
                <a:cubicBezTo>
                  <a:pt x="2969" y="23656"/>
                  <a:pt x="2969" y="23688"/>
                  <a:pt x="2969" y="23719"/>
                </a:cubicBezTo>
                <a:cubicBezTo>
                  <a:pt x="2875" y="23844"/>
                  <a:pt x="2813" y="24000"/>
                  <a:pt x="2750" y="24125"/>
                </a:cubicBezTo>
                <a:cubicBezTo>
                  <a:pt x="2750" y="24125"/>
                  <a:pt x="2750" y="24125"/>
                  <a:pt x="2750" y="24125"/>
                </a:cubicBezTo>
                <a:cubicBezTo>
                  <a:pt x="2750" y="24125"/>
                  <a:pt x="2750" y="24125"/>
                  <a:pt x="2750" y="24125"/>
                </a:cubicBezTo>
                <a:cubicBezTo>
                  <a:pt x="2750" y="24125"/>
                  <a:pt x="2750" y="24125"/>
                  <a:pt x="2750" y="24125"/>
                </a:cubicBezTo>
                <a:cubicBezTo>
                  <a:pt x="2656" y="24375"/>
                  <a:pt x="2531" y="24594"/>
                  <a:pt x="2438" y="24813"/>
                </a:cubicBezTo>
                <a:cubicBezTo>
                  <a:pt x="2406" y="24844"/>
                  <a:pt x="2406" y="24844"/>
                  <a:pt x="2406" y="24875"/>
                </a:cubicBezTo>
                <a:cubicBezTo>
                  <a:pt x="2406" y="24875"/>
                  <a:pt x="2406" y="24875"/>
                  <a:pt x="2406" y="24875"/>
                </a:cubicBezTo>
                <a:cubicBezTo>
                  <a:pt x="2406" y="24875"/>
                  <a:pt x="2406" y="24875"/>
                  <a:pt x="2406" y="24875"/>
                </a:cubicBezTo>
                <a:cubicBezTo>
                  <a:pt x="2406" y="24875"/>
                  <a:pt x="2406" y="24875"/>
                  <a:pt x="2406" y="24875"/>
                </a:cubicBezTo>
                <a:cubicBezTo>
                  <a:pt x="2344" y="24969"/>
                  <a:pt x="2281" y="25094"/>
                  <a:pt x="2219" y="25219"/>
                </a:cubicBezTo>
                <a:cubicBezTo>
                  <a:pt x="2188" y="25250"/>
                  <a:pt x="2188" y="25281"/>
                  <a:pt x="2156" y="25313"/>
                </a:cubicBezTo>
                <a:cubicBezTo>
                  <a:pt x="2125" y="25375"/>
                  <a:pt x="2156" y="25406"/>
                  <a:pt x="2250" y="25406"/>
                </a:cubicBezTo>
                <a:cubicBezTo>
                  <a:pt x="2250" y="25406"/>
                  <a:pt x="2250" y="25406"/>
                  <a:pt x="2281" y="25438"/>
                </a:cubicBezTo>
                <a:cubicBezTo>
                  <a:pt x="2281" y="25438"/>
                  <a:pt x="2313" y="25469"/>
                  <a:pt x="2344" y="25438"/>
                </a:cubicBezTo>
                <a:cubicBezTo>
                  <a:pt x="2375" y="25406"/>
                  <a:pt x="2344" y="25375"/>
                  <a:pt x="2344" y="25375"/>
                </a:cubicBezTo>
                <a:cubicBezTo>
                  <a:pt x="2313" y="25344"/>
                  <a:pt x="2313" y="25313"/>
                  <a:pt x="2313" y="25313"/>
                </a:cubicBezTo>
                <a:cubicBezTo>
                  <a:pt x="2281" y="25250"/>
                  <a:pt x="2313" y="25219"/>
                  <a:pt x="2344" y="25188"/>
                </a:cubicBezTo>
                <a:cubicBezTo>
                  <a:pt x="2344" y="25188"/>
                  <a:pt x="2344" y="25188"/>
                  <a:pt x="2375" y="25219"/>
                </a:cubicBezTo>
                <a:cubicBezTo>
                  <a:pt x="2469" y="25281"/>
                  <a:pt x="2594" y="25344"/>
                  <a:pt x="2656" y="25438"/>
                </a:cubicBezTo>
                <a:cubicBezTo>
                  <a:pt x="2719" y="25531"/>
                  <a:pt x="2781" y="25594"/>
                  <a:pt x="2844" y="25688"/>
                </a:cubicBezTo>
                <a:cubicBezTo>
                  <a:pt x="2938" y="25781"/>
                  <a:pt x="3063" y="25875"/>
                  <a:pt x="3156" y="26031"/>
                </a:cubicBezTo>
                <a:cubicBezTo>
                  <a:pt x="3219" y="26156"/>
                  <a:pt x="3344" y="26250"/>
                  <a:pt x="3438" y="26344"/>
                </a:cubicBezTo>
                <a:cubicBezTo>
                  <a:pt x="3313" y="26344"/>
                  <a:pt x="3188" y="26344"/>
                  <a:pt x="3094" y="26344"/>
                </a:cubicBezTo>
                <a:cubicBezTo>
                  <a:pt x="3094" y="26313"/>
                  <a:pt x="3094" y="26281"/>
                  <a:pt x="3094" y="26250"/>
                </a:cubicBezTo>
                <a:cubicBezTo>
                  <a:pt x="3125" y="26281"/>
                  <a:pt x="3156" y="26313"/>
                  <a:pt x="3156" y="26281"/>
                </a:cubicBezTo>
                <a:cubicBezTo>
                  <a:pt x="3188" y="26219"/>
                  <a:pt x="3125" y="26188"/>
                  <a:pt x="3094" y="26188"/>
                </a:cubicBezTo>
                <a:cubicBezTo>
                  <a:pt x="3000" y="26156"/>
                  <a:pt x="2938" y="26094"/>
                  <a:pt x="2906" y="26031"/>
                </a:cubicBezTo>
                <a:cubicBezTo>
                  <a:pt x="2875" y="26000"/>
                  <a:pt x="2813" y="25938"/>
                  <a:pt x="2781" y="25906"/>
                </a:cubicBezTo>
                <a:cubicBezTo>
                  <a:pt x="2719" y="25875"/>
                  <a:pt x="2656" y="25813"/>
                  <a:pt x="2563" y="25781"/>
                </a:cubicBezTo>
                <a:cubicBezTo>
                  <a:pt x="2563" y="25781"/>
                  <a:pt x="2563" y="25781"/>
                  <a:pt x="2563" y="25781"/>
                </a:cubicBezTo>
                <a:cubicBezTo>
                  <a:pt x="2563" y="25781"/>
                  <a:pt x="2563" y="25781"/>
                  <a:pt x="2563" y="25781"/>
                </a:cubicBezTo>
                <a:cubicBezTo>
                  <a:pt x="2563" y="25781"/>
                  <a:pt x="2563" y="25781"/>
                  <a:pt x="2563" y="25781"/>
                </a:cubicBezTo>
                <a:cubicBezTo>
                  <a:pt x="2563" y="25750"/>
                  <a:pt x="2531" y="25750"/>
                  <a:pt x="2500" y="25719"/>
                </a:cubicBezTo>
                <a:cubicBezTo>
                  <a:pt x="2500" y="25719"/>
                  <a:pt x="2500" y="25719"/>
                  <a:pt x="2500" y="25719"/>
                </a:cubicBezTo>
                <a:cubicBezTo>
                  <a:pt x="2500" y="25781"/>
                  <a:pt x="2500" y="25781"/>
                  <a:pt x="2563" y="25781"/>
                </a:cubicBezTo>
                <a:cubicBezTo>
                  <a:pt x="2563" y="25813"/>
                  <a:pt x="2563" y="25844"/>
                  <a:pt x="2563" y="25844"/>
                </a:cubicBezTo>
                <a:cubicBezTo>
                  <a:pt x="2563" y="25844"/>
                  <a:pt x="2563" y="25844"/>
                  <a:pt x="2563" y="25844"/>
                </a:cubicBezTo>
                <a:cubicBezTo>
                  <a:pt x="2531" y="25844"/>
                  <a:pt x="2500" y="25844"/>
                  <a:pt x="2469" y="25813"/>
                </a:cubicBezTo>
                <a:cubicBezTo>
                  <a:pt x="2469" y="25813"/>
                  <a:pt x="2469" y="25781"/>
                  <a:pt x="2469" y="25781"/>
                </a:cubicBezTo>
                <a:cubicBezTo>
                  <a:pt x="2438" y="25750"/>
                  <a:pt x="2406" y="25750"/>
                  <a:pt x="2375" y="25750"/>
                </a:cubicBezTo>
                <a:cubicBezTo>
                  <a:pt x="2375" y="25688"/>
                  <a:pt x="2344" y="25625"/>
                  <a:pt x="2281" y="25594"/>
                </a:cubicBezTo>
                <a:cubicBezTo>
                  <a:pt x="2281" y="25563"/>
                  <a:pt x="2250" y="25531"/>
                  <a:pt x="2219" y="25500"/>
                </a:cubicBezTo>
                <a:cubicBezTo>
                  <a:pt x="2219" y="25500"/>
                  <a:pt x="2219" y="25500"/>
                  <a:pt x="2188" y="25500"/>
                </a:cubicBezTo>
                <a:cubicBezTo>
                  <a:pt x="2188" y="25500"/>
                  <a:pt x="2188" y="25500"/>
                  <a:pt x="2156" y="25500"/>
                </a:cubicBezTo>
                <a:cubicBezTo>
                  <a:pt x="2156" y="25500"/>
                  <a:pt x="2156" y="25469"/>
                  <a:pt x="2125" y="25469"/>
                </a:cubicBezTo>
                <a:cubicBezTo>
                  <a:pt x="2125" y="25469"/>
                  <a:pt x="2125" y="25438"/>
                  <a:pt x="2094" y="25438"/>
                </a:cubicBezTo>
                <a:cubicBezTo>
                  <a:pt x="2094" y="25500"/>
                  <a:pt x="2063" y="25531"/>
                  <a:pt x="2063" y="25563"/>
                </a:cubicBezTo>
                <a:cubicBezTo>
                  <a:pt x="1969" y="25719"/>
                  <a:pt x="1969" y="25719"/>
                  <a:pt x="2094" y="25813"/>
                </a:cubicBezTo>
                <a:cubicBezTo>
                  <a:pt x="2313" y="26063"/>
                  <a:pt x="2563" y="26313"/>
                  <a:pt x="2813" y="26500"/>
                </a:cubicBezTo>
                <a:cubicBezTo>
                  <a:pt x="2844" y="26594"/>
                  <a:pt x="2938" y="26594"/>
                  <a:pt x="3031" y="26656"/>
                </a:cubicBezTo>
                <a:cubicBezTo>
                  <a:pt x="3031" y="26625"/>
                  <a:pt x="3000" y="26625"/>
                  <a:pt x="3000" y="26594"/>
                </a:cubicBezTo>
                <a:cubicBezTo>
                  <a:pt x="3094" y="26656"/>
                  <a:pt x="3188" y="26688"/>
                  <a:pt x="3313" y="26719"/>
                </a:cubicBezTo>
                <a:cubicBezTo>
                  <a:pt x="3313" y="26750"/>
                  <a:pt x="3344" y="26781"/>
                  <a:pt x="3375" y="26781"/>
                </a:cubicBezTo>
                <a:cubicBezTo>
                  <a:pt x="3406" y="26781"/>
                  <a:pt x="3438" y="26781"/>
                  <a:pt x="3438" y="26750"/>
                </a:cubicBezTo>
                <a:cubicBezTo>
                  <a:pt x="3656" y="26813"/>
                  <a:pt x="3906" y="26844"/>
                  <a:pt x="4219" y="26844"/>
                </a:cubicBezTo>
                <a:cubicBezTo>
                  <a:pt x="5125" y="26875"/>
                  <a:pt x="4938" y="26844"/>
                  <a:pt x="4563" y="26844"/>
                </a:cubicBezTo>
                <a:cubicBezTo>
                  <a:pt x="4469" y="26781"/>
                  <a:pt x="4375" y="26781"/>
                  <a:pt x="4250" y="26781"/>
                </a:cubicBezTo>
                <a:cubicBezTo>
                  <a:pt x="4188" y="26781"/>
                  <a:pt x="4094" y="26813"/>
                  <a:pt x="4000" y="26750"/>
                </a:cubicBezTo>
                <a:cubicBezTo>
                  <a:pt x="4063" y="26750"/>
                  <a:pt x="4156" y="26750"/>
                  <a:pt x="4250" y="26750"/>
                </a:cubicBezTo>
                <a:cubicBezTo>
                  <a:pt x="4406" y="26781"/>
                  <a:pt x="4594" y="26719"/>
                  <a:pt x="4750" y="26781"/>
                </a:cubicBezTo>
                <a:cubicBezTo>
                  <a:pt x="4781" y="26781"/>
                  <a:pt x="4844" y="26781"/>
                  <a:pt x="4875" y="26688"/>
                </a:cubicBezTo>
                <a:cubicBezTo>
                  <a:pt x="4656" y="26688"/>
                  <a:pt x="4438" y="26688"/>
                  <a:pt x="4219" y="26688"/>
                </a:cubicBezTo>
                <a:cubicBezTo>
                  <a:pt x="4219" y="26688"/>
                  <a:pt x="4188" y="26688"/>
                  <a:pt x="4188" y="26688"/>
                </a:cubicBezTo>
                <a:cubicBezTo>
                  <a:pt x="4281" y="26688"/>
                  <a:pt x="4375" y="26688"/>
                  <a:pt x="4469" y="26688"/>
                </a:cubicBezTo>
                <a:cubicBezTo>
                  <a:pt x="4813" y="26656"/>
                  <a:pt x="4938" y="26656"/>
                  <a:pt x="4938" y="26656"/>
                </a:cubicBezTo>
                <a:cubicBezTo>
                  <a:pt x="4938" y="26656"/>
                  <a:pt x="4938" y="26656"/>
                  <a:pt x="4938" y="26656"/>
                </a:cubicBezTo>
                <a:cubicBezTo>
                  <a:pt x="4969" y="26656"/>
                  <a:pt x="5000" y="26656"/>
                  <a:pt x="5000" y="26656"/>
                </a:cubicBezTo>
                <a:cubicBezTo>
                  <a:pt x="5063" y="26656"/>
                  <a:pt x="5125" y="26656"/>
                  <a:pt x="5188" y="26656"/>
                </a:cubicBezTo>
                <a:cubicBezTo>
                  <a:pt x="5219" y="26656"/>
                  <a:pt x="5281" y="26688"/>
                  <a:pt x="5344" y="26688"/>
                </a:cubicBezTo>
                <a:cubicBezTo>
                  <a:pt x="5406" y="26688"/>
                  <a:pt x="5438" y="26656"/>
                  <a:pt x="5500" y="26656"/>
                </a:cubicBezTo>
                <a:cubicBezTo>
                  <a:pt x="5531" y="26656"/>
                  <a:pt x="5531" y="26656"/>
                  <a:pt x="5563" y="26656"/>
                </a:cubicBezTo>
                <a:cubicBezTo>
                  <a:pt x="5594" y="26656"/>
                  <a:pt x="5594" y="26688"/>
                  <a:pt x="5625" y="26688"/>
                </a:cubicBezTo>
                <a:cubicBezTo>
                  <a:pt x="5625" y="26688"/>
                  <a:pt x="5625" y="26688"/>
                  <a:pt x="5625" y="26688"/>
                </a:cubicBezTo>
                <a:cubicBezTo>
                  <a:pt x="5594" y="26719"/>
                  <a:pt x="5594" y="26719"/>
                  <a:pt x="5594" y="26719"/>
                </a:cubicBezTo>
                <a:cubicBezTo>
                  <a:pt x="5938" y="26719"/>
                  <a:pt x="6250" y="26719"/>
                  <a:pt x="6594" y="26719"/>
                </a:cubicBezTo>
                <a:cubicBezTo>
                  <a:pt x="6656" y="26719"/>
                  <a:pt x="6719" y="26688"/>
                  <a:pt x="6813" y="26688"/>
                </a:cubicBezTo>
                <a:cubicBezTo>
                  <a:pt x="6875" y="26688"/>
                  <a:pt x="6938" y="26656"/>
                  <a:pt x="7000" y="26656"/>
                </a:cubicBezTo>
                <a:cubicBezTo>
                  <a:pt x="7125" y="26656"/>
                  <a:pt x="7219" y="26656"/>
                  <a:pt x="7313" y="26625"/>
                </a:cubicBezTo>
                <a:cubicBezTo>
                  <a:pt x="7500" y="26625"/>
                  <a:pt x="7688" y="26594"/>
                  <a:pt x="7844" y="26563"/>
                </a:cubicBezTo>
                <a:cubicBezTo>
                  <a:pt x="7844" y="26594"/>
                  <a:pt x="7875" y="26594"/>
                  <a:pt x="7875" y="26594"/>
                </a:cubicBezTo>
                <a:cubicBezTo>
                  <a:pt x="7875" y="26594"/>
                  <a:pt x="7906" y="26594"/>
                  <a:pt x="7906" y="26563"/>
                </a:cubicBezTo>
                <a:cubicBezTo>
                  <a:pt x="7906" y="26563"/>
                  <a:pt x="7906" y="26563"/>
                  <a:pt x="7906" y="26563"/>
                </a:cubicBezTo>
                <a:cubicBezTo>
                  <a:pt x="7937" y="26563"/>
                  <a:pt x="7937" y="26563"/>
                  <a:pt x="7937" y="26563"/>
                </a:cubicBezTo>
                <a:cubicBezTo>
                  <a:pt x="7937" y="26563"/>
                  <a:pt x="7969" y="26563"/>
                  <a:pt x="7969" y="26563"/>
                </a:cubicBezTo>
                <a:cubicBezTo>
                  <a:pt x="7969" y="26563"/>
                  <a:pt x="8000" y="26531"/>
                  <a:pt x="8000" y="26531"/>
                </a:cubicBezTo>
                <a:cubicBezTo>
                  <a:pt x="8031" y="26563"/>
                  <a:pt x="8062" y="26563"/>
                  <a:pt x="8062" y="26531"/>
                </a:cubicBezTo>
                <a:cubicBezTo>
                  <a:pt x="8094" y="26531"/>
                  <a:pt x="8125" y="26531"/>
                  <a:pt x="8125" y="26531"/>
                </a:cubicBezTo>
                <a:cubicBezTo>
                  <a:pt x="8187" y="26531"/>
                  <a:pt x="8219" y="26500"/>
                  <a:pt x="8281" y="26531"/>
                </a:cubicBezTo>
                <a:cubicBezTo>
                  <a:pt x="8437" y="26594"/>
                  <a:pt x="8625" y="26500"/>
                  <a:pt x="8781" y="26469"/>
                </a:cubicBezTo>
                <a:cubicBezTo>
                  <a:pt x="8844" y="26438"/>
                  <a:pt x="8906" y="26438"/>
                  <a:pt x="8969" y="26438"/>
                </a:cubicBezTo>
                <a:cubicBezTo>
                  <a:pt x="9187" y="26469"/>
                  <a:pt x="9375" y="26375"/>
                  <a:pt x="9531" y="26344"/>
                </a:cubicBezTo>
                <a:cubicBezTo>
                  <a:pt x="9844" y="26250"/>
                  <a:pt x="10094" y="26063"/>
                  <a:pt x="10312" y="25844"/>
                </a:cubicBezTo>
                <a:cubicBezTo>
                  <a:pt x="10406" y="25719"/>
                  <a:pt x="10500" y="25625"/>
                  <a:pt x="10594" y="25469"/>
                </a:cubicBezTo>
                <a:cubicBezTo>
                  <a:pt x="10531" y="25469"/>
                  <a:pt x="10500" y="25500"/>
                  <a:pt x="10500" y="25531"/>
                </a:cubicBezTo>
                <a:cubicBezTo>
                  <a:pt x="10312" y="25688"/>
                  <a:pt x="10094" y="25813"/>
                  <a:pt x="9906" y="25938"/>
                </a:cubicBezTo>
                <a:cubicBezTo>
                  <a:pt x="9875" y="25938"/>
                  <a:pt x="9875" y="25938"/>
                  <a:pt x="9844" y="25938"/>
                </a:cubicBezTo>
                <a:cubicBezTo>
                  <a:pt x="9844" y="25938"/>
                  <a:pt x="9844" y="25938"/>
                  <a:pt x="9812" y="25906"/>
                </a:cubicBezTo>
                <a:cubicBezTo>
                  <a:pt x="9906" y="25813"/>
                  <a:pt x="10000" y="25750"/>
                  <a:pt x="10094" y="25656"/>
                </a:cubicBezTo>
                <a:cubicBezTo>
                  <a:pt x="10125" y="25625"/>
                  <a:pt x="10156" y="25594"/>
                  <a:pt x="10187" y="25563"/>
                </a:cubicBezTo>
                <a:cubicBezTo>
                  <a:pt x="10312" y="25469"/>
                  <a:pt x="10437" y="25375"/>
                  <a:pt x="10562" y="25313"/>
                </a:cubicBezTo>
                <a:cubicBezTo>
                  <a:pt x="10594" y="25313"/>
                  <a:pt x="10625" y="25250"/>
                  <a:pt x="10656" y="25281"/>
                </a:cubicBezTo>
                <a:cubicBezTo>
                  <a:pt x="10687" y="25281"/>
                  <a:pt x="10625" y="25344"/>
                  <a:pt x="10656" y="25375"/>
                </a:cubicBezTo>
                <a:cubicBezTo>
                  <a:pt x="10906" y="25000"/>
                  <a:pt x="11125" y="24656"/>
                  <a:pt x="11375" y="24313"/>
                </a:cubicBezTo>
                <a:cubicBezTo>
                  <a:pt x="11562" y="24000"/>
                  <a:pt x="11750" y="23719"/>
                  <a:pt x="11937" y="23406"/>
                </a:cubicBezTo>
                <a:cubicBezTo>
                  <a:pt x="12000" y="23406"/>
                  <a:pt x="12062" y="23438"/>
                  <a:pt x="12125" y="23438"/>
                </a:cubicBezTo>
                <a:cubicBezTo>
                  <a:pt x="12156" y="23438"/>
                  <a:pt x="12156" y="23438"/>
                  <a:pt x="12156" y="23438"/>
                </a:cubicBezTo>
                <a:cubicBezTo>
                  <a:pt x="12281" y="23438"/>
                  <a:pt x="12406" y="23438"/>
                  <a:pt x="12531" y="23469"/>
                </a:cubicBezTo>
                <a:cubicBezTo>
                  <a:pt x="12844" y="23469"/>
                  <a:pt x="13156" y="23500"/>
                  <a:pt x="13469" y="23500"/>
                </a:cubicBezTo>
                <a:cubicBezTo>
                  <a:pt x="13531" y="23500"/>
                  <a:pt x="13594" y="23500"/>
                  <a:pt x="13656" y="23500"/>
                </a:cubicBezTo>
                <a:cubicBezTo>
                  <a:pt x="13781" y="23531"/>
                  <a:pt x="13906" y="23531"/>
                  <a:pt x="14031" y="23531"/>
                </a:cubicBezTo>
                <a:cubicBezTo>
                  <a:pt x="14062" y="23531"/>
                  <a:pt x="14125" y="23531"/>
                  <a:pt x="14156" y="23531"/>
                </a:cubicBezTo>
                <a:cubicBezTo>
                  <a:pt x="14437" y="23531"/>
                  <a:pt x="14750" y="23531"/>
                  <a:pt x="15031" y="23531"/>
                </a:cubicBezTo>
                <a:cubicBezTo>
                  <a:pt x="15281" y="23500"/>
                  <a:pt x="15500" y="23500"/>
                  <a:pt x="15719" y="23469"/>
                </a:cubicBezTo>
                <a:cubicBezTo>
                  <a:pt x="16094" y="23438"/>
                  <a:pt x="16469" y="23375"/>
                  <a:pt x="16844" y="23313"/>
                </a:cubicBezTo>
                <a:cubicBezTo>
                  <a:pt x="16906" y="23281"/>
                  <a:pt x="16969" y="23281"/>
                  <a:pt x="17031" y="23281"/>
                </a:cubicBezTo>
                <a:cubicBezTo>
                  <a:pt x="17156" y="23250"/>
                  <a:pt x="17250" y="23219"/>
                  <a:pt x="17375" y="23188"/>
                </a:cubicBezTo>
                <a:cubicBezTo>
                  <a:pt x="17375" y="23188"/>
                  <a:pt x="17406" y="23188"/>
                  <a:pt x="17437" y="23188"/>
                </a:cubicBezTo>
                <a:cubicBezTo>
                  <a:pt x="17937" y="23031"/>
                  <a:pt x="18406" y="22750"/>
                  <a:pt x="18844" y="22406"/>
                </a:cubicBezTo>
                <a:cubicBezTo>
                  <a:pt x="19125" y="22188"/>
                  <a:pt x="19312" y="21844"/>
                  <a:pt x="19500" y="21531"/>
                </a:cubicBezTo>
                <a:cubicBezTo>
                  <a:pt x="19687" y="21250"/>
                  <a:pt x="19875" y="20938"/>
                  <a:pt x="20031" y="20656"/>
                </a:cubicBezTo>
                <a:cubicBezTo>
                  <a:pt x="20344" y="20125"/>
                  <a:pt x="20656" y="19594"/>
                  <a:pt x="20969" y="19094"/>
                </a:cubicBezTo>
                <a:cubicBezTo>
                  <a:pt x="21094" y="18875"/>
                  <a:pt x="21219" y="18656"/>
                  <a:pt x="21344" y="18469"/>
                </a:cubicBezTo>
                <a:cubicBezTo>
                  <a:pt x="21437" y="18250"/>
                  <a:pt x="21594" y="18063"/>
                  <a:pt x="21719" y="17875"/>
                </a:cubicBezTo>
                <a:cubicBezTo>
                  <a:pt x="21875" y="17594"/>
                  <a:pt x="22031" y="17313"/>
                  <a:pt x="22187" y="17000"/>
                </a:cubicBezTo>
                <a:cubicBezTo>
                  <a:pt x="22375" y="16688"/>
                  <a:pt x="22562" y="16375"/>
                  <a:pt x="22781" y="16063"/>
                </a:cubicBezTo>
                <a:cubicBezTo>
                  <a:pt x="22969" y="15782"/>
                  <a:pt x="23094" y="15469"/>
                  <a:pt x="23219" y="15125"/>
                </a:cubicBezTo>
                <a:cubicBezTo>
                  <a:pt x="23281" y="14907"/>
                  <a:pt x="23344" y="14719"/>
                  <a:pt x="23375" y="14500"/>
                </a:cubicBezTo>
                <a:cubicBezTo>
                  <a:pt x="23437" y="13907"/>
                  <a:pt x="23375" y="13313"/>
                  <a:pt x="23219" y="12750"/>
                </a:cubicBezTo>
                <a:close/>
                <a:moveTo>
                  <a:pt x="10906" y="6344"/>
                </a:moveTo>
                <a:cubicBezTo>
                  <a:pt x="10906" y="6313"/>
                  <a:pt x="10906" y="6344"/>
                  <a:pt x="10906" y="6344"/>
                </a:cubicBezTo>
                <a:cubicBezTo>
                  <a:pt x="10906" y="6344"/>
                  <a:pt x="10906" y="6344"/>
                  <a:pt x="10906" y="6344"/>
                </a:cubicBezTo>
                <a:close/>
                <a:moveTo>
                  <a:pt x="11062" y="6563"/>
                </a:moveTo>
                <a:cubicBezTo>
                  <a:pt x="11031" y="6594"/>
                  <a:pt x="11031" y="6532"/>
                  <a:pt x="11000" y="6500"/>
                </a:cubicBezTo>
                <a:cubicBezTo>
                  <a:pt x="11031" y="6500"/>
                  <a:pt x="11062" y="6500"/>
                  <a:pt x="11062" y="6563"/>
                </a:cubicBezTo>
                <a:close/>
                <a:moveTo>
                  <a:pt x="16344" y="7500"/>
                </a:moveTo>
                <a:cubicBezTo>
                  <a:pt x="16125" y="7313"/>
                  <a:pt x="15937" y="7125"/>
                  <a:pt x="15719" y="6969"/>
                </a:cubicBezTo>
                <a:cubicBezTo>
                  <a:pt x="15687" y="6938"/>
                  <a:pt x="15656" y="6938"/>
                  <a:pt x="15656" y="6907"/>
                </a:cubicBezTo>
                <a:cubicBezTo>
                  <a:pt x="15656" y="6907"/>
                  <a:pt x="15656" y="6907"/>
                  <a:pt x="15656" y="6907"/>
                </a:cubicBezTo>
                <a:cubicBezTo>
                  <a:pt x="15656" y="6907"/>
                  <a:pt x="15656" y="6907"/>
                  <a:pt x="15656" y="6907"/>
                </a:cubicBezTo>
                <a:cubicBezTo>
                  <a:pt x="15687" y="6907"/>
                  <a:pt x="15687" y="6907"/>
                  <a:pt x="15687" y="6875"/>
                </a:cubicBezTo>
                <a:cubicBezTo>
                  <a:pt x="15656" y="6875"/>
                  <a:pt x="15656" y="6907"/>
                  <a:pt x="15656" y="6907"/>
                </a:cubicBezTo>
                <a:cubicBezTo>
                  <a:pt x="15594" y="6875"/>
                  <a:pt x="15625" y="6844"/>
                  <a:pt x="15625" y="6813"/>
                </a:cubicBezTo>
                <a:cubicBezTo>
                  <a:pt x="15625" y="6813"/>
                  <a:pt x="15625" y="6813"/>
                  <a:pt x="15625" y="6813"/>
                </a:cubicBezTo>
                <a:cubicBezTo>
                  <a:pt x="15625" y="6813"/>
                  <a:pt x="15625" y="6813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56" y="6782"/>
                  <a:pt x="15687" y="6813"/>
                  <a:pt x="15719" y="6813"/>
                </a:cubicBezTo>
                <a:cubicBezTo>
                  <a:pt x="15719" y="6844"/>
                  <a:pt x="15750" y="6844"/>
                  <a:pt x="15781" y="6875"/>
                </a:cubicBezTo>
                <a:cubicBezTo>
                  <a:pt x="15812" y="6907"/>
                  <a:pt x="15875" y="6938"/>
                  <a:pt x="15906" y="6969"/>
                </a:cubicBezTo>
                <a:cubicBezTo>
                  <a:pt x="16000" y="7032"/>
                  <a:pt x="16094" y="7125"/>
                  <a:pt x="16187" y="7188"/>
                </a:cubicBezTo>
                <a:cubicBezTo>
                  <a:pt x="16250" y="7250"/>
                  <a:pt x="16344" y="7344"/>
                  <a:pt x="16437" y="7407"/>
                </a:cubicBezTo>
                <a:cubicBezTo>
                  <a:pt x="16406" y="7438"/>
                  <a:pt x="16375" y="7469"/>
                  <a:pt x="16344" y="7500"/>
                </a:cubicBezTo>
                <a:close/>
                <a:moveTo>
                  <a:pt x="9812" y="16344"/>
                </a:moveTo>
                <a:cubicBezTo>
                  <a:pt x="9781" y="16375"/>
                  <a:pt x="9750" y="16344"/>
                  <a:pt x="9719" y="16313"/>
                </a:cubicBezTo>
                <a:cubicBezTo>
                  <a:pt x="9344" y="16063"/>
                  <a:pt x="9000" y="15813"/>
                  <a:pt x="8625" y="15532"/>
                </a:cubicBezTo>
                <a:cubicBezTo>
                  <a:pt x="8312" y="15313"/>
                  <a:pt x="8000" y="15094"/>
                  <a:pt x="7656" y="14907"/>
                </a:cubicBezTo>
                <a:cubicBezTo>
                  <a:pt x="7281" y="14657"/>
                  <a:pt x="6875" y="14407"/>
                  <a:pt x="6469" y="14188"/>
                </a:cubicBezTo>
                <a:cubicBezTo>
                  <a:pt x="6281" y="14094"/>
                  <a:pt x="6063" y="14000"/>
                  <a:pt x="5875" y="13907"/>
                </a:cubicBezTo>
                <a:cubicBezTo>
                  <a:pt x="5719" y="13813"/>
                  <a:pt x="5531" y="13750"/>
                  <a:pt x="5375" y="13688"/>
                </a:cubicBezTo>
                <a:cubicBezTo>
                  <a:pt x="5313" y="13657"/>
                  <a:pt x="5219" y="13719"/>
                  <a:pt x="5156" y="13688"/>
                </a:cubicBezTo>
                <a:cubicBezTo>
                  <a:pt x="5000" y="13657"/>
                  <a:pt x="4844" y="13563"/>
                  <a:pt x="4688" y="13500"/>
                </a:cubicBezTo>
                <a:cubicBezTo>
                  <a:pt x="4625" y="13469"/>
                  <a:pt x="4531" y="13469"/>
                  <a:pt x="4438" y="13469"/>
                </a:cubicBezTo>
                <a:cubicBezTo>
                  <a:pt x="4375" y="13469"/>
                  <a:pt x="4344" y="13375"/>
                  <a:pt x="4281" y="13375"/>
                </a:cubicBezTo>
                <a:cubicBezTo>
                  <a:pt x="4250" y="13344"/>
                  <a:pt x="4188" y="13313"/>
                  <a:pt x="4156" y="13375"/>
                </a:cubicBezTo>
                <a:cubicBezTo>
                  <a:pt x="4125" y="13407"/>
                  <a:pt x="4094" y="13407"/>
                  <a:pt x="4063" y="13407"/>
                </a:cubicBezTo>
                <a:cubicBezTo>
                  <a:pt x="3938" y="13344"/>
                  <a:pt x="3781" y="13250"/>
                  <a:pt x="3625" y="13282"/>
                </a:cubicBezTo>
                <a:cubicBezTo>
                  <a:pt x="3594" y="13282"/>
                  <a:pt x="3563" y="13250"/>
                  <a:pt x="3531" y="13219"/>
                </a:cubicBezTo>
                <a:cubicBezTo>
                  <a:pt x="3500" y="13219"/>
                  <a:pt x="3469" y="13188"/>
                  <a:pt x="3469" y="13219"/>
                </a:cubicBezTo>
                <a:cubicBezTo>
                  <a:pt x="3438" y="13219"/>
                  <a:pt x="3438" y="13250"/>
                  <a:pt x="3438" y="13250"/>
                </a:cubicBezTo>
                <a:cubicBezTo>
                  <a:pt x="3438" y="13282"/>
                  <a:pt x="3469" y="13282"/>
                  <a:pt x="3500" y="13282"/>
                </a:cubicBezTo>
                <a:cubicBezTo>
                  <a:pt x="3781" y="13344"/>
                  <a:pt x="4031" y="13469"/>
                  <a:pt x="4313" y="13532"/>
                </a:cubicBezTo>
                <a:cubicBezTo>
                  <a:pt x="4500" y="13625"/>
                  <a:pt x="4688" y="13688"/>
                  <a:pt x="4844" y="13750"/>
                </a:cubicBezTo>
                <a:cubicBezTo>
                  <a:pt x="4969" y="13813"/>
                  <a:pt x="5031" y="13907"/>
                  <a:pt x="5156" y="13907"/>
                </a:cubicBezTo>
                <a:cubicBezTo>
                  <a:pt x="5344" y="13938"/>
                  <a:pt x="5469" y="14094"/>
                  <a:pt x="5656" y="14157"/>
                </a:cubicBezTo>
                <a:cubicBezTo>
                  <a:pt x="5875" y="14250"/>
                  <a:pt x="6125" y="14407"/>
                  <a:pt x="6344" y="14500"/>
                </a:cubicBezTo>
                <a:cubicBezTo>
                  <a:pt x="6500" y="14563"/>
                  <a:pt x="6656" y="14688"/>
                  <a:pt x="6813" y="14750"/>
                </a:cubicBezTo>
                <a:cubicBezTo>
                  <a:pt x="7094" y="14907"/>
                  <a:pt x="7344" y="15094"/>
                  <a:pt x="7625" y="15250"/>
                </a:cubicBezTo>
                <a:cubicBezTo>
                  <a:pt x="7656" y="15282"/>
                  <a:pt x="7656" y="15313"/>
                  <a:pt x="7688" y="15344"/>
                </a:cubicBezTo>
                <a:cubicBezTo>
                  <a:pt x="7688" y="15344"/>
                  <a:pt x="7688" y="15344"/>
                  <a:pt x="7688" y="15344"/>
                </a:cubicBezTo>
                <a:cubicBezTo>
                  <a:pt x="7594" y="15344"/>
                  <a:pt x="7531" y="15282"/>
                  <a:pt x="7438" y="15250"/>
                </a:cubicBezTo>
                <a:cubicBezTo>
                  <a:pt x="7219" y="15094"/>
                  <a:pt x="6969" y="15000"/>
                  <a:pt x="6719" y="14875"/>
                </a:cubicBezTo>
                <a:cubicBezTo>
                  <a:pt x="6313" y="14625"/>
                  <a:pt x="5875" y="14438"/>
                  <a:pt x="5438" y="14219"/>
                </a:cubicBezTo>
                <a:cubicBezTo>
                  <a:pt x="5156" y="14094"/>
                  <a:pt x="4875" y="13969"/>
                  <a:pt x="4563" y="13875"/>
                </a:cubicBezTo>
                <a:cubicBezTo>
                  <a:pt x="4250" y="13782"/>
                  <a:pt x="3969" y="13657"/>
                  <a:pt x="3656" y="13563"/>
                </a:cubicBezTo>
                <a:cubicBezTo>
                  <a:pt x="3594" y="13532"/>
                  <a:pt x="3531" y="13532"/>
                  <a:pt x="3469" y="13500"/>
                </a:cubicBezTo>
                <a:cubicBezTo>
                  <a:pt x="3406" y="13500"/>
                  <a:pt x="3344" y="13500"/>
                  <a:pt x="3281" y="13469"/>
                </a:cubicBezTo>
                <a:cubicBezTo>
                  <a:pt x="3281" y="13438"/>
                  <a:pt x="3250" y="13438"/>
                  <a:pt x="3219" y="13469"/>
                </a:cubicBezTo>
                <a:cubicBezTo>
                  <a:pt x="3219" y="13469"/>
                  <a:pt x="3219" y="13500"/>
                  <a:pt x="3250" y="13500"/>
                </a:cubicBezTo>
                <a:cubicBezTo>
                  <a:pt x="3250" y="13563"/>
                  <a:pt x="3313" y="13594"/>
                  <a:pt x="3344" y="13594"/>
                </a:cubicBezTo>
                <a:cubicBezTo>
                  <a:pt x="3656" y="13657"/>
                  <a:pt x="3969" y="13813"/>
                  <a:pt x="4313" y="13844"/>
                </a:cubicBezTo>
                <a:cubicBezTo>
                  <a:pt x="4531" y="13907"/>
                  <a:pt x="4750" y="14000"/>
                  <a:pt x="4938" y="14094"/>
                </a:cubicBezTo>
                <a:cubicBezTo>
                  <a:pt x="5219" y="14188"/>
                  <a:pt x="5500" y="14344"/>
                  <a:pt x="5781" y="14469"/>
                </a:cubicBezTo>
                <a:cubicBezTo>
                  <a:pt x="6094" y="14594"/>
                  <a:pt x="6406" y="14782"/>
                  <a:pt x="6719" y="14969"/>
                </a:cubicBezTo>
                <a:cubicBezTo>
                  <a:pt x="7063" y="15157"/>
                  <a:pt x="7375" y="15313"/>
                  <a:pt x="7688" y="15563"/>
                </a:cubicBezTo>
                <a:cubicBezTo>
                  <a:pt x="7219" y="15313"/>
                  <a:pt x="6781" y="15032"/>
                  <a:pt x="6313" y="14813"/>
                </a:cubicBezTo>
                <a:cubicBezTo>
                  <a:pt x="6344" y="14875"/>
                  <a:pt x="6438" y="14938"/>
                  <a:pt x="6563" y="15000"/>
                </a:cubicBezTo>
                <a:cubicBezTo>
                  <a:pt x="6656" y="15032"/>
                  <a:pt x="6719" y="15094"/>
                  <a:pt x="6781" y="15157"/>
                </a:cubicBezTo>
                <a:cubicBezTo>
                  <a:pt x="6844" y="15219"/>
                  <a:pt x="6938" y="15219"/>
                  <a:pt x="7000" y="15250"/>
                </a:cubicBezTo>
                <a:cubicBezTo>
                  <a:pt x="7188" y="15375"/>
                  <a:pt x="7375" y="15500"/>
                  <a:pt x="7563" y="15625"/>
                </a:cubicBezTo>
                <a:cubicBezTo>
                  <a:pt x="7844" y="15813"/>
                  <a:pt x="8094" y="15969"/>
                  <a:pt x="8344" y="16157"/>
                </a:cubicBezTo>
                <a:cubicBezTo>
                  <a:pt x="8500" y="16282"/>
                  <a:pt x="8719" y="16375"/>
                  <a:pt x="8875" y="16563"/>
                </a:cubicBezTo>
                <a:cubicBezTo>
                  <a:pt x="8875" y="16563"/>
                  <a:pt x="8906" y="16594"/>
                  <a:pt x="8906" y="16594"/>
                </a:cubicBezTo>
                <a:cubicBezTo>
                  <a:pt x="8781" y="16594"/>
                  <a:pt x="8719" y="16500"/>
                  <a:pt x="8625" y="16438"/>
                </a:cubicBezTo>
                <a:cubicBezTo>
                  <a:pt x="8094" y="16063"/>
                  <a:pt x="7531" y="15719"/>
                  <a:pt x="6938" y="15375"/>
                </a:cubicBezTo>
                <a:cubicBezTo>
                  <a:pt x="6750" y="15250"/>
                  <a:pt x="6563" y="15125"/>
                  <a:pt x="6344" y="15032"/>
                </a:cubicBezTo>
                <a:cubicBezTo>
                  <a:pt x="6344" y="15000"/>
                  <a:pt x="6313" y="15000"/>
                  <a:pt x="6281" y="15000"/>
                </a:cubicBezTo>
                <a:cubicBezTo>
                  <a:pt x="5906" y="14782"/>
                  <a:pt x="5469" y="14594"/>
                  <a:pt x="5063" y="14407"/>
                </a:cubicBezTo>
                <a:cubicBezTo>
                  <a:pt x="4844" y="14282"/>
                  <a:pt x="4594" y="14157"/>
                  <a:pt x="4344" y="14094"/>
                </a:cubicBezTo>
                <a:cubicBezTo>
                  <a:pt x="3938" y="13969"/>
                  <a:pt x="3531" y="13782"/>
                  <a:pt x="3094" y="13750"/>
                </a:cubicBezTo>
                <a:cubicBezTo>
                  <a:pt x="3063" y="13750"/>
                  <a:pt x="3031" y="13657"/>
                  <a:pt x="2969" y="13688"/>
                </a:cubicBezTo>
                <a:cubicBezTo>
                  <a:pt x="2938" y="13719"/>
                  <a:pt x="3031" y="13782"/>
                  <a:pt x="3031" y="13844"/>
                </a:cubicBezTo>
                <a:cubicBezTo>
                  <a:pt x="3031" y="13907"/>
                  <a:pt x="3031" y="13938"/>
                  <a:pt x="3125" y="13938"/>
                </a:cubicBezTo>
                <a:cubicBezTo>
                  <a:pt x="3469" y="14000"/>
                  <a:pt x="3781" y="14125"/>
                  <a:pt x="4125" y="14219"/>
                </a:cubicBezTo>
                <a:cubicBezTo>
                  <a:pt x="4500" y="14375"/>
                  <a:pt x="4875" y="14532"/>
                  <a:pt x="5219" y="14688"/>
                </a:cubicBezTo>
                <a:cubicBezTo>
                  <a:pt x="5719" y="14907"/>
                  <a:pt x="6188" y="15188"/>
                  <a:pt x="6656" y="15438"/>
                </a:cubicBezTo>
                <a:cubicBezTo>
                  <a:pt x="6844" y="15563"/>
                  <a:pt x="7031" y="15688"/>
                  <a:pt x="7219" y="15750"/>
                </a:cubicBezTo>
                <a:cubicBezTo>
                  <a:pt x="7250" y="15782"/>
                  <a:pt x="7281" y="15782"/>
                  <a:pt x="7281" y="15813"/>
                </a:cubicBezTo>
                <a:cubicBezTo>
                  <a:pt x="7688" y="16063"/>
                  <a:pt x="8094" y="16313"/>
                  <a:pt x="8469" y="16594"/>
                </a:cubicBezTo>
                <a:cubicBezTo>
                  <a:pt x="8437" y="16594"/>
                  <a:pt x="8406" y="16594"/>
                  <a:pt x="8406" y="16625"/>
                </a:cubicBezTo>
                <a:cubicBezTo>
                  <a:pt x="8406" y="16657"/>
                  <a:pt x="8469" y="16657"/>
                  <a:pt x="8469" y="16719"/>
                </a:cubicBezTo>
                <a:cubicBezTo>
                  <a:pt x="8469" y="16719"/>
                  <a:pt x="8469" y="16719"/>
                  <a:pt x="8469" y="16719"/>
                </a:cubicBezTo>
                <a:cubicBezTo>
                  <a:pt x="8469" y="16719"/>
                  <a:pt x="8469" y="16719"/>
                  <a:pt x="8469" y="16719"/>
                </a:cubicBezTo>
                <a:cubicBezTo>
                  <a:pt x="8469" y="16719"/>
                  <a:pt x="8469" y="16719"/>
                  <a:pt x="8469" y="16719"/>
                </a:cubicBezTo>
                <a:cubicBezTo>
                  <a:pt x="8156" y="16500"/>
                  <a:pt x="7844" y="16313"/>
                  <a:pt x="7500" y="16094"/>
                </a:cubicBezTo>
                <a:cubicBezTo>
                  <a:pt x="7250" y="15938"/>
                  <a:pt x="6969" y="15782"/>
                  <a:pt x="6688" y="15594"/>
                </a:cubicBezTo>
                <a:cubicBezTo>
                  <a:pt x="6344" y="15375"/>
                  <a:pt x="5969" y="15219"/>
                  <a:pt x="5594" y="15032"/>
                </a:cubicBezTo>
                <a:cubicBezTo>
                  <a:pt x="5156" y="14813"/>
                  <a:pt x="4688" y="14625"/>
                  <a:pt x="4219" y="14469"/>
                </a:cubicBezTo>
                <a:cubicBezTo>
                  <a:pt x="3875" y="14344"/>
                  <a:pt x="3531" y="14219"/>
                  <a:pt x="3188" y="14157"/>
                </a:cubicBezTo>
                <a:cubicBezTo>
                  <a:pt x="2844" y="14063"/>
                  <a:pt x="2500" y="14000"/>
                  <a:pt x="2125" y="14000"/>
                </a:cubicBezTo>
                <a:cubicBezTo>
                  <a:pt x="1938" y="13969"/>
                  <a:pt x="1719" y="13938"/>
                  <a:pt x="1500" y="13938"/>
                </a:cubicBezTo>
                <a:cubicBezTo>
                  <a:pt x="1688" y="13875"/>
                  <a:pt x="1906" y="13875"/>
                  <a:pt x="2094" y="13875"/>
                </a:cubicBezTo>
                <a:cubicBezTo>
                  <a:pt x="2063" y="13813"/>
                  <a:pt x="2031" y="13844"/>
                  <a:pt x="1969" y="13813"/>
                </a:cubicBezTo>
                <a:cubicBezTo>
                  <a:pt x="2250" y="13719"/>
                  <a:pt x="2500" y="13844"/>
                  <a:pt x="2750" y="13813"/>
                </a:cubicBezTo>
                <a:cubicBezTo>
                  <a:pt x="2781" y="13782"/>
                  <a:pt x="2656" y="13719"/>
                  <a:pt x="2750" y="13688"/>
                </a:cubicBezTo>
                <a:cubicBezTo>
                  <a:pt x="2813" y="13657"/>
                  <a:pt x="2844" y="13719"/>
                  <a:pt x="2875" y="13750"/>
                </a:cubicBezTo>
                <a:cubicBezTo>
                  <a:pt x="2906" y="13688"/>
                  <a:pt x="2844" y="13657"/>
                  <a:pt x="2781" y="13625"/>
                </a:cubicBezTo>
                <a:cubicBezTo>
                  <a:pt x="2469" y="13563"/>
                  <a:pt x="2156" y="13532"/>
                  <a:pt x="1813" y="13500"/>
                </a:cubicBezTo>
                <a:cubicBezTo>
                  <a:pt x="1813" y="13469"/>
                  <a:pt x="1844" y="13469"/>
                  <a:pt x="1844" y="13469"/>
                </a:cubicBezTo>
                <a:cubicBezTo>
                  <a:pt x="2000" y="13313"/>
                  <a:pt x="2188" y="13407"/>
                  <a:pt x="2375" y="13407"/>
                </a:cubicBezTo>
                <a:cubicBezTo>
                  <a:pt x="2563" y="13407"/>
                  <a:pt x="2750" y="13407"/>
                  <a:pt x="2906" y="13469"/>
                </a:cubicBezTo>
                <a:cubicBezTo>
                  <a:pt x="2938" y="13469"/>
                  <a:pt x="2969" y="13469"/>
                  <a:pt x="2969" y="13469"/>
                </a:cubicBezTo>
                <a:cubicBezTo>
                  <a:pt x="3000" y="13438"/>
                  <a:pt x="3063" y="13438"/>
                  <a:pt x="3063" y="13407"/>
                </a:cubicBezTo>
                <a:cubicBezTo>
                  <a:pt x="3063" y="13344"/>
                  <a:pt x="3000" y="13375"/>
                  <a:pt x="2969" y="13344"/>
                </a:cubicBezTo>
                <a:cubicBezTo>
                  <a:pt x="3063" y="13313"/>
                  <a:pt x="3125" y="13344"/>
                  <a:pt x="3188" y="13344"/>
                </a:cubicBezTo>
                <a:cubicBezTo>
                  <a:pt x="3000" y="13250"/>
                  <a:pt x="2750" y="13250"/>
                  <a:pt x="2500" y="13157"/>
                </a:cubicBezTo>
                <a:cubicBezTo>
                  <a:pt x="2688" y="13125"/>
                  <a:pt x="2813" y="13094"/>
                  <a:pt x="2938" y="13188"/>
                </a:cubicBezTo>
                <a:cubicBezTo>
                  <a:pt x="3031" y="13219"/>
                  <a:pt x="3156" y="13188"/>
                  <a:pt x="3250" y="13250"/>
                </a:cubicBezTo>
                <a:cubicBezTo>
                  <a:pt x="3281" y="13250"/>
                  <a:pt x="3313" y="13219"/>
                  <a:pt x="3313" y="13188"/>
                </a:cubicBezTo>
                <a:cubicBezTo>
                  <a:pt x="3313" y="13157"/>
                  <a:pt x="3281" y="13157"/>
                  <a:pt x="3281" y="13157"/>
                </a:cubicBezTo>
                <a:cubicBezTo>
                  <a:pt x="3094" y="13125"/>
                  <a:pt x="2938" y="13032"/>
                  <a:pt x="2781" y="13000"/>
                </a:cubicBezTo>
                <a:cubicBezTo>
                  <a:pt x="2719" y="13000"/>
                  <a:pt x="2656" y="13000"/>
                  <a:pt x="2625" y="13000"/>
                </a:cubicBezTo>
                <a:cubicBezTo>
                  <a:pt x="2594" y="13000"/>
                  <a:pt x="2563" y="12969"/>
                  <a:pt x="2531" y="12969"/>
                </a:cubicBezTo>
                <a:cubicBezTo>
                  <a:pt x="2438" y="12875"/>
                  <a:pt x="2313" y="12844"/>
                  <a:pt x="2219" y="12813"/>
                </a:cubicBezTo>
                <a:cubicBezTo>
                  <a:pt x="2063" y="12782"/>
                  <a:pt x="1875" y="12813"/>
                  <a:pt x="1688" y="12813"/>
                </a:cubicBezTo>
                <a:cubicBezTo>
                  <a:pt x="1906" y="12750"/>
                  <a:pt x="2125" y="12719"/>
                  <a:pt x="2313" y="12750"/>
                </a:cubicBezTo>
                <a:cubicBezTo>
                  <a:pt x="2281" y="12719"/>
                  <a:pt x="2219" y="12719"/>
                  <a:pt x="2063" y="12688"/>
                </a:cubicBezTo>
                <a:cubicBezTo>
                  <a:pt x="1969" y="12688"/>
                  <a:pt x="1844" y="12688"/>
                  <a:pt x="1750" y="12688"/>
                </a:cubicBezTo>
                <a:cubicBezTo>
                  <a:pt x="1719" y="12688"/>
                  <a:pt x="1688" y="12688"/>
                  <a:pt x="1688" y="12657"/>
                </a:cubicBezTo>
                <a:cubicBezTo>
                  <a:pt x="1688" y="12625"/>
                  <a:pt x="1719" y="12625"/>
                  <a:pt x="1719" y="12625"/>
                </a:cubicBezTo>
                <a:cubicBezTo>
                  <a:pt x="1781" y="12625"/>
                  <a:pt x="1813" y="12594"/>
                  <a:pt x="1875" y="12594"/>
                </a:cubicBezTo>
                <a:cubicBezTo>
                  <a:pt x="1844" y="12563"/>
                  <a:pt x="1813" y="12532"/>
                  <a:pt x="1750" y="12500"/>
                </a:cubicBezTo>
                <a:cubicBezTo>
                  <a:pt x="1906" y="12438"/>
                  <a:pt x="2063" y="12500"/>
                  <a:pt x="2188" y="12407"/>
                </a:cubicBezTo>
                <a:cubicBezTo>
                  <a:pt x="2156" y="12375"/>
                  <a:pt x="2094" y="12438"/>
                  <a:pt x="2063" y="12344"/>
                </a:cubicBezTo>
                <a:cubicBezTo>
                  <a:pt x="2188" y="12344"/>
                  <a:pt x="2313" y="12313"/>
                  <a:pt x="2438" y="12375"/>
                </a:cubicBezTo>
                <a:cubicBezTo>
                  <a:pt x="2469" y="12375"/>
                  <a:pt x="2500" y="12375"/>
                  <a:pt x="2563" y="12375"/>
                </a:cubicBezTo>
                <a:cubicBezTo>
                  <a:pt x="2813" y="12375"/>
                  <a:pt x="3094" y="12438"/>
                  <a:pt x="3375" y="12500"/>
                </a:cubicBezTo>
                <a:cubicBezTo>
                  <a:pt x="3563" y="12563"/>
                  <a:pt x="3750" y="12594"/>
                  <a:pt x="3938" y="12657"/>
                </a:cubicBezTo>
                <a:cubicBezTo>
                  <a:pt x="3969" y="12657"/>
                  <a:pt x="3969" y="12657"/>
                  <a:pt x="3969" y="12625"/>
                </a:cubicBezTo>
                <a:cubicBezTo>
                  <a:pt x="3969" y="12594"/>
                  <a:pt x="3969" y="12625"/>
                  <a:pt x="3938" y="12594"/>
                </a:cubicBezTo>
                <a:cubicBezTo>
                  <a:pt x="3688" y="12532"/>
                  <a:pt x="3438" y="12438"/>
                  <a:pt x="3188" y="12375"/>
                </a:cubicBezTo>
                <a:cubicBezTo>
                  <a:pt x="3063" y="12375"/>
                  <a:pt x="2969" y="12375"/>
                  <a:pt x="2844" y="12282"/>
                </a:cubicBezTo>
                <a:cubicBezTo>
                  <a:pt x="3313" y="12313"/>
                  <a:pt x="3750" y="12438"/>
                  <a:pt x="4188" y="12625"/>
                </a:cubicBezTo>
                <a:cubicBezTo>
                  <a:pt x="4125" y="12500"/>
                  <a:pt x="4063" y="12438"/>
                  <a:pt x="3969" y="12438"/>
                </a:cubicBezTo>
                <a:cubicBezTo>
                  <a:pt x="3875" y="12438"/>
                  <a:pt x="3781" y="12375"/>
                  <a:pt x="3719" y="12375"/>
                </a:cubicBezTo>
                <a:cubicBezTo>
                  <a:pt x="3531" y="12344"/>
                  <a:pt x="3406" y="12250"/>
                  <a:pt x="3219" y="12188"/>
                </a:cubicBezTo>
                <a:cubicBezTo>
                  <a:pt x="3000" y="12125"/>
                  <a:pt x="2781" y="12094"/>
                  <a:pt x="2531" y="12063"/>
                </a:cubicBezTo>
                <a:cubicBezTo>
                  <a:pt x="2406" y="12032"/>
                  <a:pt x="2313" y="12032"/>
                  <a:pt x="2188" y="12032"/>
                </a:cubicBezTo>
                <a:cubicBezTo>
                  <a:pt x="2156" y="12032"/>
                  <a:pt x="2125" y="12032"/>
                  <a:pt x="2094" y="12000"/>
                </a:cubicBezTo>
                <a:cubicBezTo>
                  <a:pt x="2938" y="11938"/>
                  <a:pt x="3656" y="12219"/>
                  <a:pt x="4438" y="12438"/>
                </a:cubicBezTo>
                <a:cubicBezTo>
                  <a:pt x="4438" y="12407"/>
                  <a:pt x="4406" y="12375"/>
                  <a:pt x="4375" y="12344"/>
                </a:cubicBezTo>
                <a:cubicBezTo>
                  <a:pt x="4250" y="12282"/>
                  <a:pt x="4125" y="12250"/>
                  <a:pt x="3969" y="12219"/>
                </a:cubicBezTo>
                <a:cubicBezTo>
                  <a:pt x="3656" y="12125"/>
                  <a:pt x="3344" y="12032"/>
                  <a:pt x="3031" y="11969"/>
                </a:cubicBezTo>
                <a:cubicBezTo>
                  <a:pt x="2813" y="11938"/>
                  <a:pt x="2625" y="11907"/>
                  <a:pt x="2406" y="11875"/>
                </a:cubicBezTo>
                <a:cubicBezTo>
                  <a:pt x="2375" y="11875"/>
                  <a:pt x="2313" y="11875"/>
                  <a:pt x="2313" y="11844"/>
                </a:cubicBezTo>
                <a:cubicBezTo>
                  <a:pt x="2313" y="11782"/>
                  <a:pt x="2375" y="11813"/>
                  <a:pt x="2406" y="11782"/>
                </a:cubicBezTo>
                <a:cubicBezTo>
                  <a:pt x="2313" y="11782"/>
                  <a:pt x="2219" y="11782"/>
                  <a:pt x="2125" y="11750"/>
                </a:cubicBezTo>
                <a:cubicBezTo>
                  <a:pt x="2531" y="11719"/>
                  <a:pt x="2969" y="11750"/>
                  <a:pt x="3375" y="11844"/>
                </a:cubicBezTo>
                <a:cubicBezTo>
                  <a:pt x="3000" y="11688"/>
                  <a:pt x="2594" y="11688"/>
                  <a:pt x="2188" y="11594"/>
                </a:cubicBezTo>
                <a:cubicBezTo>
                  <a:pt x="2406" y="11563"/>
                  <a:pt x="2625" y="11625"/>
                  <a:pt x="2844" y="11594"/>
                </a:cubicBezTo>
                <a:cubicBezTo>
                  <a:pt x="2656" y="11563"/>
                  <a:pt x="2500" y="11438"/>
                  <a:pt x="2344" y="11407"/>
                </a:cubicBezTo>
                <a:cubicBezTo>
                  <a:pt x="2500" y="11407"/>
                  <a:pt x="2688" y="11407"/>
                  <a:pt x="2875" y="11407"/>
                </a:cubicBezTo>
                <a:cubicBezTo>
                  <a:pt x="3156" y="11438"/>
                  <a:pt x="3406" y="11532"/>
                  <a:pt x="3688" y="11594"/>
                </a:cubicBezTo>
                <a:cubicBezTo>
                  <a:pt x="3750" y="11625"/>
                  <a:pt x="3813" y="11625"/>
                  <a:pt x="3875" y="11625"/>
                </a:cubicBezTo>
                <a:cubicBezTo>
                  <a:pt x="3438" y="11407"/>
                  <a:pt x="2969" y="11438"/>
                  <a:pt x="2563" y="11282"/>
                </a:cubicBezTo>
                <a:cubicBezTo>
                  <a:pt x="2906" y="11250"/>
                  <a:pt x="3219" y="11344"/>
                  <a:pt x="3563" y="11407"/>
                </a:cubicBezTo>
                <a:cubicBezTo>
                  <a:pt x="3250" y="11250"/>
                  <a:pt x="2906" y="11188"/>
                  <a:pt x="2563" y="11125"/>
                </a:cubicBezTo>
                <a:cubicBezTo>
                  <a:pt x="2813" y="11094"/>
                  <a:pt x="3031" y="11157"/>
                  <a:pt x="3250" y="11157"/>
                </a:cubicBezTo>
                <a:cubicBezTo>
                  <a:pt x="3000" y="11063"/>
                  <a:pt x="2688" y="11032"/>
                  <a:pt x="2406" y="11000"/>
                </a:cubicBezTo>
                <a:cubicBezTo>
                  <a:pt x="2438" y="10969"/>
                  <a:pt x="2469" y="10969"/>
                  <a:pt x="2500" y="10969"/>
                </a:cubicBezTo>
                <a:cubicBezTo>
                  <a:pt x="2594" y="10969"/>
                  <a:pt x="2688" y="11000"/>
                  <a:pt x="2781" y="10938"/>
                </a:cubicBezTo>
                <a:cubicBezTo>
                  <a:pt x="2813" y="10938"/>
                  <a:pt x="2844" y="10969"/>
                  <a:pt x="2875" y="10969"/>
                </a:cubicBezTo>
                <a:cubicBezTo>
                  <a:pt x="2969" y="11000"/>
                  <a:pt x="3094" y="11063"/>
                  <a:pt x="3188" y="11000"/>
                </a:cubicBezTo>
                <a:cubicBezTo>
                  <a:pt x="3188" y="11000"/>
                  <a:pt x="3188" y="11000"/>
                  <a:pt x="3188" y="11000"/>
                </a:cubicBezTo>
                <a:cubicBezTo>
                  <a:pt x="3250" y="11000"/>
                  <a:pt x="3281" y="11032"/>
                  <a:pt x="3344" y="11063"/>
                </a:cubicBezTo>
                <a:cubicBezTo>
                  <a:pt x="3438" y="11125"/>
                  <a:pt x="3563" y="11188"/>
                  <a:pt x="3656" y="11157"/>
                </a:cubicBezTo>
                <a:cubicBezTo>
                  <a:pt x="3875" y="11094"/>
                  <a:pt x="4000" y="11219"/>
                  <a:pt x="4156" y="11250"/>
                </a:cubicBezTo>
                <a:cubicBezTo>
                  <a:pt x="4563" y="11344"/>
                  <a:pt x="4938" y="11532"/>
                  <a:pt x="5313" y="11657"/>
                </a:cubicBezTo>
                <a:cubicBezTo>
                  <a:pt x="5313" y="11657"/>
                  <a:pt x="5313" y="11657"/>
                  <a:pt x="5344" y="11657"/>
                </a:cubicBezTo>
                <a:cubicBezTo>
                  <a:pt x="5531" y="11750"/>
                  <a:pt x="5750" y="11875"/>
                  <a:pt x="5969" y="11938"/>
                </a:cubicBezTo>
                <a:cubicBezTo>
                  <a:pt x="5969" y="11969"/>
                  <a:pt x="5969" y="12000"/>
                  <a:pt x="6000" y="11969"/>
                </a:cubicBezTo>
                <a:cubicBezTo>
                  <a:pt x="6000" y="11969"/>
                  <a:pt x="6000" y="11969"/>
                  <a:pt x="6000" y="11969"/>
                </a:cubicBezTo>
                <a:cubicBezTo>
                  <a:pt x="6031" y="12094"/>
                  <a:pt x="6156" y="12094"/>
                  <a:pt x="6219" y="12125"/>
                </a:cubicBezTo>
                <a:cubicBezTo>
                  <a:pt x="6344" y="12219"/>
                  <a:pt x="6500" y="12282"/>
                  <a:pt x="6594" y="12344"/>
                </a:cubicBezTo>
                <a:cubicBezTo>
                  <a:pt x="6594" y="12344"/>
                  <a:pt x="6594" y="12375"/>
                  <a:pt x="6594" y="12375"/>
                </a:cubicBezTo>
                <a:cubicBezTo>
                  <a:pt x="6438" y="12344"/>
                  <a:pt x="6313" y="12250"/>
                  <a:pt x="6156" y="12188"/>
                </a:cubicBezTo>
                <a:cubicBezTo>
                  <a:pt x="5906" y="12063"/>
                  <a:pt x="5656" y="11969"/>
                  <a:pt x="5438" y="11844"/>
                </a:cubicBezTo>
                <a:cubicBezTo>
                  <a:pt x="5375" y="11813"/>
                  <a:pt x="5344" y="11813"/>
                  <a:pt x="5313" y="11844"/>
                </a:cubicBezTo>
                <a:cubicBezTo>
                  <a:pt x="5344" y="11875"/>
                  <a:pt x="5406" y="11907"/>
                  <a:pt x="5438" y="11938"/>
                </a:cubicBezTo>
                <a:cubicBezTo>
                  <a:pt x="5750" y="11969"/>
                  <a:pt x="5938" y="12188"/>
                  <a:pt x="6219" y="12282"/>
                </a:cubicBezTo>
                <a:cubicBezTo>
                  <a:pt x="6250" y="12313"/>
                  <a:pt x="6281" y="12313"/>
                  <a:pt x="6313" y="12344"/>
                </a:cubicBezTo>
                <a:cubicBezTo>
                  <a:pt x="6344" y="12344"/>
                  <a:pt x="6375" y="12375"/>
                  <a:pt x="6375" y="12407"/>
                </a:cubicBezTo>
                <a:cubicBezTo>
                  <a:pt x="6344" y="12438"/>
                  <a:pt x="6313" y="12438"/>
                  <a:pt x="6281" y="12407"/>
                </a:cubicBezTo>
                <a:cubicBezTo>
                  <a:pt x="6156" y="12344"/>
                  <a:pt x="6063" y="12313"/>
                  <a:pt x="5938" y="12250"/>
                </a:cubicBezTo>
                <a:cubicBezTo>
                  <a:pt x="5875" y="12219"/>
                  <a:pt x="5813" y="12188"/>
                  <a:pt x="5750" y="12188"/>
                </a:cubicBezTo>
                <a:cubicBezTo>
                  <a:pt x="5938" y="12313"/>
                  <a:pt x="6125" y="12375"/>
                  <a:pt x="6281" y="12532"/>
                </a:cubicBezTo>
                <a:cubicBezTo>
                  <a:pt x="6000" y="12407"/>
                  <a:pt x="5750" y="12282"/>
                  <a:pt x="5469" y="12188"/>
                </a:cubicBezTo>
                <a:cubicBezTo>
                  <a:pt x="5219" y="12094"/>
                  <a:pt x="4969" y="11938"/>
                  <a:pt x="4688" y="11907"/>
                </a:cubicBezTo>
                <a:cubicBezTo>
                  <a:pt x="4844" y="11969"/>
                  <a:pt x="5000" y="12063"/>
                  <a:pt x="5156" y="12125"/>
                </a:cubicBezTo>
                <a:cubicBezTo>
                  <a:pt x="5406" y="12219"/>
                  <a:pt x="5625" y="12313"/>
                  <a:pt x="5844" y="12438"/>
                </a:cubicBezTo>
                <a:cubicBezTo>
                  <a:pt x="6063" y="12532"/>
                  <a:pt x="6281" y="12625"/>
                  <a:pt x="6469" y="12750"/>
                </a:cubicBezTo>
                <a:cubicBezTo>
                  <a:pt x="6844" y="12907"/>
                  <a:pt x="7188" y="13094"/>
                  <a:pt x="7531" y="13313"/>
                </a:cubicBezTo>
                <a:cubicBezTo>
                  <a:pt x="7531" y="13313"/>
                  <a:pt x="7563" y="13344"/>
                  <a:pt x="7594" y="13375"/>
                </a:cubicBezTo>
                <a:cubicBezTo>
                  <a:pt x="7625" y="13375"/>
                  <a:pt x="7625" y="13407"/>
                  <a:pt x="7625" y="13438"/>
                </a:cubicBezTo>
                <a:cubicBezTo>
                  <a:pt x="7594" y="13500"/>
                  <a:pt x="7563" y="13469"/>
                  <a:pt x="7531" y="13438"/>
                </a:cubicBezTo>
                <a:cubicBezTo>
                  <a:pt x="7094" y="13219"/>
                  <a:pt x="6656" y="12969"/>
                  <a:pt x="6219" y="12750"/>
                </a:cubicBezTo>
                <a:cubicBezTo>
                  <a:pt x="6125" y="12719"/>
                  <a:pt x="6063" y="12657"/>
                  <a:pt x="5969" y="12657"/>
                </a:cubicBezTo>
                <a:cubicBezTo>
                  <a:pt x="5938" y="12657"/>
                  <a:pt x="5938" y="12657"/>
                  <a:pt x="5906" y="12657"/>
                </a:cubicBezTo>
                <a:cubicBezTo>
                  <a:pt x="5906" y="12657"/>
                  <a:pt x="5906" y="12657"/>
                  <a:pt x="5906" y="12657"/>
                </a:cubicBezTo>
                <a:cubicBezTo>
                  <a:pt x="5938" y="12657"/>
                  <a:pt x="5938" y="12657"/>
                  <a:pt x="5969" y="12688"/>
                </a:cubicBezTo>
                <a:cubicBezTo>
                  <a:pt x="6125" y="12813"/>
                  <a:pt x="6313" y="12875"/>
                  <a:pt x="6531" y="12969"/>
                </a:cubicBezTo>
                <a:cubicBezTo>
                  <a:pt x="6750" y="13094"/>
                  <a:pt x="6969" y="13219"/>
                  <a:pt x="7188" y="13344"/>
                </a:cubicBezTo>
                <a:cubicBezTo>
                  <a:pt x="7438" y="13469"/>
                  <a:pt x="7656" y="13625"/>
                  <a:pt x="7906" y="13750"/>
                </a:cubicBezTo>
                <a:cubicBezTo>
                  <a:pt x="7906" y="13782"/>
                  <a:pt x="7969" y="13782"/>
                  <a:pt x="7969" y="13844"/>
                </a:cubicBezTo>
                <a:cubicBezTo>
                  <a:pt x="7375" y="13563"/>
                  <a:pt x="6844" y="13157"/>
                  <a:pt x="6219" y="12938"/>
                </a:cubicBezTo>
                <a:cubicBezTo>
                  <a:pt x="6313" y="13032"/>
                  <a:pt x="6469" y="13125"/>
                  <a:pt x="6594" y="13188"/>
                </a:cubicBezTo>
                <a:cubicBezTo>
                  <a:pt x="6688" y="13219"/>
                  <a:pt x="6750" y="13250"/>
                  <a:pt x="6813" y="13282"/>
                </a:cubicBezTo>
                <a:cubicBezTo>
                  <a:pt x="6875" y="13313"/>
                  <a:pt x="6844" y="13375"/>
                  <a:pt x="6906" y="13407"/>
                </a:cubicBezTo>
                <a:cubicBezTo>
                  <a:pt x="7094" y="13500"/>
                  <a:pt x="7281" y="13625"/>
                  <a:pt x="7469" y="13719"/>
                </a:cubicBezTo>
                <a:cubicBezTo>
                  <a:pt x="7500" y="13750"/>
                  <a:pt x="7563" y="13750"/>
                  <a:pt x="7531" y="13782"/>
                </a:cubicBezTo>
                <a:cubicBezTo>
                  <a:pt x="7531" y="13844"/>
                  <a:pt x="7469" y="13782"/>
                  <a:pt x="7438" y="13782"/>
                </a:cubicBezTo>
                <a:cubicBezTo>
                  <a:pt x="7250" y="13657"/>
                  <a:pt x="7031" y="13532"/>
                  <a:pt x="6844" y="13438"/>
                </a:cubicBezTo>
                <a:cubicBezTo>
                  <a:pt x="6531" y="13282"/>
                  <a:pt x="6250" y="13125"/>
                  <a:pt x="5938" y="13000"/>
                </a:cubicBezTo>
                <a:cubicBezTo>
                  <a:pt x="5625" y="12844"/>
                  <a:pt x="5281" y="12719"/>
                  <a:pt x="4969" y="12563"/>
                </a:cubicBezTo>
                <a:cubicBezTo>
                  <a:pt x="4906" y="12532"/>
                  <a:pt x="4813" y="12469"/>
                  <a:pt x="4719" y="12532"/>
                </a:cubicBezTo>
                <a:cubicBezTo>
                  <a:pt x="4781" y="12594"/>
                  <a:pt x="4875" y="12625"/>
                  <a:pt x="4969" y="12657"/>
                </a:cubicBezTo>
                <a:cubicBezTo>
                  <a:pt x="5281" y="12750"/>
                  <a:pt x="5563" y="12907"/>
                  <a:pt x="5875" y="13063"/>
                </a:cubicBezTo>
                <a:cubicBezTo>
                  <a:pt x="6219" y="13188"/>
                  <a:pt x="6563" y="13375"/>
                  <a:pt x="6875" y="13563"/>
                </a:cubicBezTo>
                <a:cubicBezTo>
                  <a:pt x="7156" y="13719"/>
                  <a:pt x="7406" y="13875"/>
                  <a:pt x="7688" y="14000"/>
                </a:cubicBezTo>
                <a:cubicBezTo>
                  <a:pt x="7719" y="14032"/>
                  <a:pt x="7750" y="14063"/>
                  <a:pt x="7781" y="14125"/>
                </a:cubicBezTo>
                <a:cubicBezTo>
                  <a:pt x="7813" y="14219"/>
                  <a:pt x="7906" y="14219"/>
                  <a:pt x="8000" y="14282"/>
                </a:cubicBezTo>
                <a:cubicBezTo>
                  <a:pt x="8062" y="14313"/>
                  <a:pt x="8125" y="14313"/>
                  <a:pt x="8156" y="14407"/>
                </a:cubicBezTo>
                <a:cubicBezTo>
                  <a:pt x="8156" y="14407"/>
                  <a:pt x="8156" y="14407"/>
                  <a:pt x="8156" y="14407"/>
                </a:cubicBezTo>
                <a:cubicBezTo>
                  <a:pt x="8062" y="14438"/>
                  <a:pt x="7969" y="14375"/>
                  <a:pt x="7875" y="14313"/>
                </a:cubicBezTo>
                <a:cubicBezTo>
                  <a:pt x="7656" y="14157"/>
                  <a:pt x="7406" y="14032"/>
                  <a:pt x="7156" y="13907"/>
                </a:cubicBezTo>
                <a:cubicBezTo>
                  <a:pt x="6563" y="13563"/>
                  <a:pt x="5938" y="13250"/>
                  <a:pt x="5281" y="12969"/>
                </a:cubicBezTo>
                <a:cubicBezTo>
                  <a:pt x="5063" y="12875"/>
                  <a:pt x="4813" y="12782"/>
                  <a:pt x="4594" y="12688"/>
                </a:cubicBezTo>
                <a:cubicBezTo>
                  <a:pt x="4563" y="12657"/>
                  <a:pt x="4531" y="12657"/>
                  <a:pt x="4531" y="12688"/>
                </a:cubicBezTo>
                <a:cubicBezTo>
                  <a:pt x="4500" y="12750"/>
                  <a:pt x="4563" y="12719"/>
                  <a:pt x="4563" y="12750"/>
                </a:cubicBezTo>
                <a:cubicBezTo>
                  <a:pt x="4969" y="12907"/>
                  <a:pt x="5344" y="13063"/>
                  <a:pt x="5719" y="13250"/>
                </a:cubicBezTo>
                <a:cubicBezTo>
                  <a:pt x="5969" y="13375"/>
                  <a:pt x="6219" y="13532"/>
                  <a:pt x="6469" y="13625"/>
                </a:cubicBezTo>
                <a:cubicBezTo>
                  <a:pt x="6563" y="13657"/>
                  <a:pt x="6656" y="13719"/>
                  <a:pt x="6719" y="13782"/>
                </a:cubicBezTo>
                <a:cubicBezTo>
                  <a:pt x="6656" y="13813"/>
                  <a:pt x="6656" y="13782"/>
                  <a:pt x="6625" y="13750"/>
                </a:cubicBezTo>
                <a:cubicBezTo>
                  <a:pt x="6594" y="13750"/>
                  <a:pt x="6563" y="13719"/>
                  <a:pt x="6500" y="13782"/>
                </a:cubicBezTo>
                <a:cubicBezTo>
                  <a:pt x="6844" y="13969"/>
                  <a:pt x="7188" y="14157"/>
                  <a:pt x="7563" y="14375"/>
                </a:cubicBezTo>
                <a:cubicBezTo>
                  <a:pt x="7469" y="14407"/>
                  <a:pt x="7438" y="14375"/>
                  <a:pt x="7406" y="14344"/>
                </a:cubicBezTo>
                <a:cubicBezTo>
                  <a:pt x="7313" y="14313"/>
                  <a:pt x="7219" y="14219"/>
                  <a:pt x="7094" y="14219"/>
                </a:cubicBezTo>
                <a:cubicBezTo>
                  <a:pt x="7031" y="14125"/>
                  <a:pt x="6938" y="14094"/>
                  <a:pt x="6813" y="14063"/>
                </a:cubicBezTo>
                <a:cubicBezTo>
                  <a:pt x="6906" y="14125"/>
                  <a:pt x="7000" y="14188"/>
                  <a:pt x="7094" y="14219"/>
                </a:cubicBezTo>
                <a:cubicBezTo>
                  <a:pt x="7188" y="14313"/>
                  <a:pt x="7344" y="14375"/>
                  <a:pt x="7469" y="14438"/>
                </a:cubicBezTo>
                <a:cubicBezTo>
                  <a:pt x="7656" y="14563"/>
                  <a:pt x="7875" y="14688"/>
                  <a:pt x="8062" y="14813"/>
                </a:cubicBezTo>
                <a:cubicBezTo>
                  <a:pt x="8437" y="15032"/>
                  <a:pt x="8750" y="15282"/>
                  <a:pt x="9094" y="15532"/>
                </a:cubicBezTo>
                <a:cubicBezTo>
                  <a:pt x="9125" y="15563"/>
                  <a:pt x="9156" y="15563"/>
                  <a:pt x="9156" y="15594"/>
                </a:cubicBezTo>
                <a:cubicBezTo>
                  <a:pt x="9156" y="15594"/>
                  <a:pt x="9156" y="15594"/>
                  <a:pt x="9156" y="15594"/>
                </a:cubicBezTo>
                <a:cubicBezTo>
                  <a:pt x="9031" y="15594"/>
                  <a:pt x="8906" y="15500"/>
                  <a:pt x="8812" y="15407"/>
                </a:cubicBezTo>
                <a:cubicBezTo>
                  <a:pt x="8562" y="15219"/>
                  <a:pt x="8281" y="15063"/>
                  <a:pt x="8000" y="14875"/>
                </a:cubicBezTo>
                <a:cubicBezTo>
                  <a:pt x="7688" y="14657"/>
                  <a:pt x="7344" y="14500"/>
                  <a:pt x="7031" y="14282"/>
                </a:cubicBezTo>
                <a:cubicBezTo>
                  <a:pt x="7000" y="14282"/>
                  <a:pt x="6969" y="14282"/>
                  <a:pt x="6938" y="14282"/>
                </a:cubicBezTo>
                <a:cubicBezTo>
                  <a:pt x="6906" y="14250"/>
                  <a:pt x="6875" y="14188"/>
                  <a:pt x="6813" y="14219"/>
                </a:cubicBezTo>
                <a:cubicBezTo>
                  <a:pt x="6781" y="14219"/>
                  <a:pt x="6781" y="14188"/>
                  <a:pt x="6781" y="14188"/>
                </a:cubicBezTo>
                <a:cubicBezTo>
                  <a:pt x="6781" y="14188"/>
                  <a:pt x="6781" y="14219"/>
                  <a:pt x="6813" y="14219"/>
                </a:cubicBezTo>
                <a:cubicBezTo>
                  <a:pt x="6813" y="14282"/>
                  <a:pt x="6875" y="14282"/>
                  <a:pt x="6938" y="14282"/>
                </a:cubicBezTo>
                <a:cubicBezTo>
                  <a:pt x="7000" y="14375"/>
                  <a:pt x="7094" y="14407"/>
                  <a:pt x="7188" y="14438"/>
                </a:cubicBezTo>
                <a:cubicBezTo>
                  <a:pt x="7469" y="14625"/>
                  <a:pt x="7719" y="14750"/>
                  <a:pt x="7969" y="14938"/>
                </a:cubicBezTo>
                <a:cubicBezTo>
                  <a:pt x="8187" y="15094"/>
                  <a:pt x="8406" y="15250"/>
                  <a:pt x="8625" y="15407"/>
                </a:cubicBezTo>
                <a:cubicBezTo>
                  <a:pt x="8844" y="15532"/>
                  <a:pt x="9031" y="15688"/>
                  <a:pt x="9250" y="15844"/>
                </a:cubicBezTo>
                <a:cubicBezTo>
                  <a:pt x="9406" y="16000"/>
                  <a:pt x="9594" y="16125"/>
                  <a:pt x="9750" y="16250"/>
                </a:cubicBezTo>
                <a:cubicBezTo>
                  <a:pt x="9781" y="16282"/>
                  <a:pt x="9844" y="16282"/>
                  <a:pt x="9812" y="16344"/>
                </a:cubicBezTo>
                <a:close/>
                <a:moveTo>
                  <a:pt x="3625" y="26563"/>
                </a:moveTo>
                <a:cubicBezTo>
                  <a:pt x="3625" y="26563"/>
                  <a:pt x="3625" y="26563"/>
                  <a:pt x="3625" y="26594"/>
                </a:cubicBezTo>
                <a:cubicBezTo>
                  <a:pt x="3313" y="26563"/>
                  <a:pt x="3375" y="26531"/>
                  <a:pt x="3656" y="26531"/>
                </a:cubicBezTo>
                <a:cubicBezTo>
                  <a:pt x="3625" y="26531"/>
                  <a:pt x="3625" y="26531"/>
                  <a:pt x="3625" y="26563"/>
                </a:cubicBezTo>
                <a:close/>
                <a:moveTo>
                  <a:pt x="3781" y="26781"/>
                </a:moveTo>
                <a:cubicBezTo>
                  <a:pt x="3813" y="26781"/>
                  <a:pt x="3844" y="26781"/>
                  <a:pt x="3875" y="26781"/>
                </a:cubicBezTo>
                <a:cubicBezTo>
                  <a:pt x="3906" y="26781"/>
                  <a:pt x="3906" y="26781"/>
                  <a:pt x="3938" y="26781"/>
                </a:cubicBezTo>
                <a:cubicBezTo>
                  <a:pt x="3875" y="26781"/>
                  <a:pt x="3813" y="26781"/>
                  <a:pt x="3781" y="26781"/>
                </a:cubicBezTo>
                <a:close/>
                <a:moveTo>
                  <a:pt x="3719" y="26531"/>
                </a:moveTo>
                <a:cubicBezTo>
                  <a:pt x="3750" y="26531"/>
                  <a:pt x="3813" y="26531"/>
                  <a:pt x="3844" y="26500"/>
                </a:cubicBezTo>
                <a:cubicBezTo>
                  <a:pt x="3844" y="26500"/>
                  <a:pt x="3844" y="26500"/>
                  <a:pt x="3844" y="26500"/>
                </a:cubicBezTo>
                <a:cubicBezTo>
                  <a:pt x="3813" y="26563"/>
                  <a:pt x="3750" y="26531"/>
                  <a:pt x="3719" y="26531"/>
                </a:cubicBezTo>
                <a:close/>
                <a:moveTo>
                  <a:pt x="4688" y="26625"/>
                </a:moveTo>
                <a:cubicBezTo>
                  <a:pt x="4688" y="26625"/>
                  <a:pt x="4688" y="26625"/>
                  <a:pt x="4688" y="26625"/>
                </a:cubicBezTo>
                <a:cubicBezTo>
                  <a:pt x="4719" y="26625"/>
                  <a:pt x="4750" y="26625"/>
                  <a:pt x="4750" y="26625"/>
                </a:cubicBezTo>
                <a:cubicBezTo>
                  <a:pt x="4750" y="26625"/>
                  <a:pt x="4750" y="26625"/>
                  <a:pt x="4750" y="26625"/>
                </a:cubicBezTo>
                <a:cubicBezTo>
                  <a:pt x="4750" y="26625"/>
                  <a:pt x="4781" y="26625"/>
                  <a:pt x="4781" y="26625"/>
                </a:cubicBezTo>
                <a:cubicBezTo>
                  <a:pt x="4750" y="26625"/>
                  <a:pt x="4719" y="26625"/>
                  <a:pt x="4688" y="26625"/>
                </a:cubicBezTo>
                <a:close/>
                <a:moveTo>
                  <a:pt x="8250" y="26406"/>
                </a:moveTo>
                <a:cubicBezTo>
                  <a:pt x="8219" y="26406"/>
                  <a:pt x="8156" y="26406"/>
                  <a:pt x="8125" y="26406"/>
                </a:cubicBezTo>
                <a:cubicBezTo>
                  <a:pt x="8125" y="26406"/>
                  <a:pt x="8125" y="26406"/>
                  <a:pt x="8094" y="26406"/>
                </a:cubicBezTo>
                <a:cubicBezTo>
                  <a:pt x="8094" y="26406"/>
                  <a:pt x="8094" y="26406"/>
                  <a:pt x="8094" y="26406"/>
                </a:cubicBezTo>
                <a:cubicBezTo>
                  <a:pt x="8062" y="26438"/>
                  <a:pt x="8000" y="26438"/>
                  <a:pt x="7969" y="26438"/>
                </a:cubicBezTo>
                <a:cubicBezTo>
                  <a:pt x="7969" y="26438"/>
                  <a:pt x="7937" y="26438"/>
                  <a:pt x="7937" y="26438"/>
                </a:cubicBezTo>
                <a:cubicBezTo>
                  <a:pt x="7875" y="26438"/>
                  <a:pt x="7813" y="26438"/>
                  <a:pt x="7781" y="26469"/>
                </a:cubicBezTo>
                <a:cubicBezTo>
                  <a:pt x="7656" y="26500"/>
                  <a:pt x="7531" y="26563"/>
                  <a:pt x="7406" y="26531"/>
                </a:cubicBezTo>
                <a:cubicBezTo>
                  <a:pt x="7344" y="26500"/>
                  <a:pt x="7313" y="26500"/>
                  <a:pt x="7250" y="26531"/>
                </a:cubicBezTo>
                <a:cubicBezTo>
                  <a:pt x="7219" y="26563"/>
                  <a:pt x="7156" y="26563"/>
                  <a:pt x="7125" y="26563"/>
                </a:cubicBezTo>
                <a:cubicBezTo>
                  <a:pt x="7031" y="26594"/>
                  <a:pt x="6938" y="26594"/>
                  <a:pt x="6844" y="26594"/>
                </a:cubicBezTo>
                <a:cubicBezTo>
                  <a:pt x="6781" y="26594"/>
                  <a:pt x="6719" y="26594"/>
                  <a:pt x="6656" y="26594"/>
                </a:cubicBezTo>
                <a:cubicBezTo>
                  <a:pt x="6625" y="26594"/>
                  <a:pt x="6594" y="26594"/>
                  <a:pt x="6563" y="26594"/>
                </a:cubicBezTo>
                <a:cubicBezTo>
                  <a:pt x="6594" y="26594"/>
                  <a:pt x="6594" y="26563"/>
                  <a:pt x="6594" y="26563"/>
                </a:cubicBezTo>
                <a:cubicBezTo>
                  <a:pt x="6594" y="26563"/>
                  <a:pt x="6625" y="26563"/>
                  <a:pt x="6625" y="26563"/>
                </a:cubicBezTo>
                <a:cubicBezTo>
                  <a:pt x="6656" y="26531"/>
                  <a:pt x="6688" y="26531"/>
                  <a:pt x="6688" y="26500"/>
                </a:cubicBezTo>
                <a:cubicBezTo>
                  <a:pt x="6688" y="26500"/>
                  <a:pt x="6688" y="26500"/>
                  <a:pt x="6688" y="26500"/>
                </a:cubicBezTo>
                <a:cubicBezTo>
                  <a:pt x="6719" y="26469"/>
                  <a:pt x="6719" y="26469"/>
                  <a:pt x="6719" y="26469"/>
                </a:cubicBezTo>
                <a:cubicBezTo>
                  <a:pt x="6719" y="26469"/>
                  <a:pt x="6719" y="26469"/>
                  <a:pt x="6719" y="26469"/>
                </a:cubicBezTo>
                <a:cubicBezTo>
                  <a:pt x="6719" y="26438"/>
                  <a:pt x="6688" y="26438"/>
                  <a:pt x="6688" y="26438"/>
                </a:cubicBezTo>
                <a:cubicBezTo>
                  <a:pt x="6563" y="26438"/>
                  <a:pt x="6438" y="26438"/>
                  <a:pt x="6313" y="26438"/>
                </a:cubicBezTo>
                <a:cubicBezTo>
                  <a:pt x="5969" y="26438"/>
                  <a:pt x="5594" y="26469"/>
                  <a:pt x="5250" y="26469"/>
                </a:cubicBezTo>
                <a:cubicBezTo>
                  <a:pt x="5250" y="26469"/>
                  <a:pt x="5219" y="26469"/>
                  <a:pt x="5219" y="26469"/>
                </a:cubicBezTo>
                <a:cubicBezTo>
                  <a:pt x="5219" y="26469"/>
                  <a:pt x="5219" y="26469"/>
                  <a:pt x="5219" y="26469"/>
                </a:cubicBezTo>
                <a:cubicBezTo>
                  <a:pt x="5156" y="26469"/>
                  <a:pt x="5063" y="26469"/>
                  <a:pt x="5000" y="26469"/>
                </a:cubicBezTo>
                <a:cubicBezTo>
                  <a:pt x="4938" y="26438"/>
                  <a:pt x="4281" y="26375"/>
                  <a:pt x="3563" y="26344"/>
                </a:cubicBezTo>
                <a:cubicBezTo>
                  <a:pt x="3531" y="26344"/>
                  <a:pt x="3531" y="26313"/>
                  <a:pt x="3531" y="26313"/>
                </a:cubicBezTo>
                <a:cubicBezTo>
                  <a:pt x="3688" y="26281"/>
                  <a:pt x="3688" y="26281"/>
                  <a:pt x="3688" y="26281"/>
                </a:cubicBezTo>
                <a:cubicBezTo>
                  <a:pt x="3719" y="26281"/>
                  <a:pt x="3750" y="26281"/>
                  <a:pt x="3750" y="26250"/>
                </a:cubicBezTo>
                <a:cubicBezTo>
                  <a:pt x="3750" y="26125"/>
                  <a:pt x="3844" y="26094"/>
                  <a:pt x="3938" y="26094"/>
                </a:cubicBezTo>
                <a:cubicBezTo>
                  <a:pt x="3969" y="26125"/>
                  <a:pt x="4000" y="26094"/>
                  <a:pt x="4031" y="26094"/>
                </a:cubicBezTo>
                <a:cubicBezTo>
                  <a:pt x="4031" y="26094"/>
                  <a:pt x="4031" y="26094"/>
                  <a:pt x="4063" y="26094"/>
                </a:cubicBezTo>
                <a:cubicBezTo>
                  <a:pt x="4063" y="26094"/>
                  <a:pt x="4063" y="26094"/>
                  <a:pt x="4063" y="26094"/>
                </a:cubicBezTo>
                <a:cubicBezTo>
                  <a:pt x="4063" y="26094"/>
                  <a:pt x="4063" y="26094"/>
                  <a:pt x="4063" y="26094"/>
                </a:cubicBezTo>
                <a:cubicBezTo>
                  <a:pt x="4094" y="26094"/>
                  <a:pt x="4125" y="26094"/>
                  <a:pt x="4156" y="26094"/>
                </a:cubicBezTo>
                <a:cubicBezTo>
                  <a:pt x="4188" y="26094"/>
                  <a:pt x="4188" y="26094"/>
                  <a:pt x="4219" y="26094"/>
                </a:cubicBezTo>
                <a:cubicBezTo>
                  <a:pt x="4250" y="26125"/>
                  <a:pt x="4281" y="26125"/>
                  <a:pt x="4313" y="26125"/>
                </a:cubicBezTo>
                <a:cubicBezTo>
                  <a:pt x="4219" y="26156"/>
                  <a:pt x="4125" y="26156"/>
                  <a:pt x="4063" y="26156"/>
                </a:cubicBezTo>
                <a:cubicBezTo>
                  <a:pt x="4094" y="26156"/>
                  <a:pt x="4094" y="26156"/>
                  <a:pt x="4125" y="26156"/>
                </a:cubicBezTo>
                <a:cubicBezTo>
                  <a:pt x="4188" y="26188"/>
                  <a:pt x="4219" y="26219"/>
                  <a:pt x="4281" y="26188"/>
                </a:cubicBezTo>
                <a:cubicBezTo>
                  <a:pt x="4344" y="26188"/>
                  <a:pt x="4438" y="26219"/>
                  <a:pt x="4500" y="26219"/>
                </a:cubicBezTo>
                <a:cubicBezTo>
                  <a:pt x="4500" y="26219"/>
                  <a:pt x="4500" y="26219"/>
                  <a:pt x="4500" y="26219"/>
                </a:cubicBezTo>
                <a:cubicBezTo>
                  <a:pt x="4531" y="26219"/>
                  <a:pt x="4563" y="26219"/>
                  <a:pt x="4594" y="26188"/>
                </a:cubicBezTo>
                <a:cubicBezTo>
                  <a:pt x="4625" y="26188"/>
                  <a:pt x="4625" y="26188"/>
                  <a:pt x="4656" y="26188"/>
                </a:cubicBezTo>
                <a:cubicBezTo>
                  <a:pt x="4656" y="26188"/>
                  <a:pt x="4688" y="26219"/>
                  <a:pt x="4688" y="26219"/>
                </a:cubicBezTo>
                <a:cubicBezTo>
                  <a:pt x="4781" y="26250"/>
                  <a:pt x="4906" y="26219"/>
                  <a:pt x="5000" y="26219"/>
                </a:cubicBezTo>
                <a:cubicBezTo>
                  <a:pt x="5031" y="26219"/>
                  <a:pt x="5031" y="26219"/>
                  <a:pt x="5063" y="26219"/>
                </a:cubicBezTo>
                <a:cubicBezTo>
                  <a:pt x="5188" y="26281"/>
                  <a:pt x="5281" y="26250"/>
                  <a:pt x="5406" y="26250"/>
                </a:cubicBezTo>
                <a:cubicBezTo>
                  <a:pt x="5656" y="26250"/>
                  <a:pt x="5938" y="26281"/>
                  <a:pt x="6188" y="26250"/>
                </a:cubicBezTo>
                <a:cubicBezTo>
                  <a:pt x="6531" y="26250"/>
                  <a:pt x="6906" y="26250"/>
                  <a:pt x="7250" y="26250"/>
                </a:cubicBezTo>
                <a:cubicBezTo>
                  <a:pt x="7531" y="26219"/>
                  <a:pt x="7813" y="26156"/>
                  <a:pt x="8125" y="26188"/>
                </a:cubicBezTo>
                <a:cubicBezTo>
                  <a:pt x="8125" y="26188"/>
                  <a:pt x="8125" y="26219"/>
                  <a:pt x="8125" y="26219"/>
                </a:cubicBezTo>
                <a:cubicBezTo>
                  <a:pt x="8125" y="26219"/>
                  <a:pt x="8125" y="26250"/>
                  <a:pt x="8094" y="26250"/>
                </a:cubicBezTo>
                <a:cubicBezTo>
                  <a:pt x="8094" y="26250"/>
                  <a:pt x="8094" y="26250"/>
                  <a:pt x="8094" y="26250"/>
                </a:cubicBezTo>
                <a:cubicBezTo>
                  <a:pt x="8094" y="26250"/>
                  <a:pt x="8062" y="26281"/>
                  <a:pt x="8062" y="26281"/>
                </a:cubicBezTo>
                <a:cubicBezTo>
                  <a:pt x="8062" y="26281"/>
                  <a:pt x="8062" y="26281"/>
                  <a:pt x="8062" y="26281"/>
                </a:cubicBezTo>
                <a:cubicBezTo>
                  <a:pt x="8031" y="26281"/>
                  <a:pt x="8031" y="26281"/>
                  <a:pt x="8031" y="26281"/>
                </a:cubicBezTo>
                <a:cubicBezTo>
                  <a:pt x="8031" y="26281"/>
                  <a:pt x="8000" y="26281"/>
                  <a:pt x="8000" y="26281"/>
                </a:cubicBezTo>
                <a:cubicBezTo>
                  <a:pt x="7969" y="26281"/>
                  <a:pt x="7937" y="26281"/>
                  <a:pt x="7906" y="26313"/>
                </a:cubicBezTo>
                <a:cubicBezTo>
                  <a:pt x="7844" y="26313"/>
                  <a:pt x="7781" y="26344"/>
                  <a:pt x="7719" y="26375"/>
                </a:cubicBezTo>
                <a:cubicBezTo>
                  <a:pt x="7719" y="26375"/>
                  <a:pt x="7719" y="26375"/>
                  <a:pt x="7719" y="26375"/>
                </a:cubicBezTo>
                <a:cubicBezTo>
                  <a:pt x="7719" y="26375"/>
                  <a:pt x="7719" y="26375"/>
                  <a:pt x="7719" y="26375"/>
                </a:cubicBezTo>
                <a:cubicBezTo>
                  <a:pt x="7875" y="26375"/>
                  <a:pt x="8062" y="26344"/>
                  <a:pt x="8219" y="26344"/>
                </a:cubicBezTo>
                <a:cubicBezTo>
                  <a:pt x="8250" y="26344"/>
                  <a:pt x="8312" y="26344"/>
                  <a:pt x="8344" y="26344"/>
                </a:cubicBezTo>
                <a:cubicBezTo>
                  <a:pt x="8312" y="26406"/>
                  <a:pt x="8250" y="26375"/>
                  <a:pt x="8250" y="26406"/>
                </a:cubicBezTo>
                <a:close/>
                <a:moveTo>
                  <a:pt x="5563" y="18813"/>
                </a:moveTo>
                <a:cubicBezTo>
                  <a:pt x="5531" y="18750"/>
                  <a:pt x="5438" y="18750"/>
                  <a:pt x="5406" y="18719"/>
                </a:cubicBezTo>
                <a:cubicBezTo>
                  <a:pt x="5438" y="18781"/>
                  <a:pt x="5500" y="18781"/>
                  <a:pt x="5563" y="18813"/>
                </a:cubicBezTo>
                <a:close/>
                <a:moveTo>
                  <a:pt x="5969" y="19250"/>
                </a:moveTo>
                <a:cubicBezTo>
                  <a:pt x="5969" y="19250"/>
                  <a:pt x="5969" y="19250"/>
                  <a:pt x="5938" y="19281"/>
                </a:cubicBezTo>
                <a:cubicBezTo>
                  <a:pt x="5969" y="19281"/>
                  <a:pt x="5969" y="19281"/>
                  <a:pt x="5969" y="19281"/>
                </a:cubicBezTo>
                <a:cubicBezTo>
                  <a:pt x="5969" y="19281"/>
                  <a:pt x="5969" y="19281"/>
                  <a:pt x="5969" y="19281"/>
                </a:cubicBezTo>
                <a:cubicBezTo>
                  <a:pt x="5969" y="19250"/>
                  <a:pt x="5969" y="19250"/>
                  <a:pt x="5969" y="19250"/>
                </a:cubicBezTo>
                <a:close/>
                <a:moveTo>
                  <a:pt x="5031" y="18531"/>
                </a:moveTo>
                <a:cubicBezTo>
                  <a:pt x="5094" y="18594"/>
                  <a:pt x="5156" y="18625"/>
                  <a:pt x="5219" y="18625"/>
                </a:cubicBezTo>
                <a:cubicBezTo>
                  <a:pt x="5156" y="18563"/>
                  <a:pt x="5125" y="18531"/>
                  <a:pt x="5031" y="18531"/>
                </a:cubicBezTo>
                <a:close/>
                <a:moveTo>
                  <a:pt x="5906" y="19219"/>
                </a:moveTo>
                <a:cubicBezTo>
                  <a:pt x="5625" y="19031"/>
                  <a:pt x="5313" y="18875"/>
                  <a:pt x="5000" y="18750"/>
                </a:cubicBezTo>
                <a:cubicBezTo>
                  <a:pt x="5281" y="18938"/>
                  <a:pt x="5594" y="19094"/>
                  <a:pt x="5906" y="19219"/>
                </a:cubicBezTo>
                <a:close/>
                <a:moveTo>
                  <a:pt x="3969" y="13282"/>
                </a:moveTo>
                <a:cubicBezTo>
                  <a:pt x="4031" y="13313"/>
                  <a:pt x="4063" y="13344"/>
                  <a:pt x="4125" y="13313"/>
                </a:cubicBezTo>
                <a:cubicBezTo>
                  <a:pt x="4094" y="13282"/>
                  <a:pt x="4031" y="13250"/>
                  <a:pt x="3969" y="13282"/>
                </a:cubicBezTo>
                <a:close/>
                <a:moveTo>
                  <a:pt x="6594" y="13938"/>
                </a:moveTo>
                <a:cubicBezTo>
                  <a:pt x="6625" y="13969"/>
                  <a:pt x="6625" y="14000"/>
                  <a:pt x="6688" y="14000"/>
                </a:cubicBezTo>
                <a:cubicBezTo>
                  <a:pt x="6688" y="14000"/>
                  <a:pt x="6719" y="13969"/>
                  <a:pt x="6688" y="13969"/>
                </a:cubicBezTo>
                <a:cubicBezTo>
                  <a:pt x="6688" y="13938"/>
                  <a:pt x="6625" y="13938"/>
                  <a:pt x="6594" y="13938"/>
                </a:cubicBezTo>
                <a:close/>
                <a:moveTo>
                  <a:pt x="3656" y="11407"/>
                </a:moveTo>
                <a:cubicBezTo>
                  <a:pt x="3656" y="11407"/>
                  <a:pt x="3656" y="11407"/>
                  <a:pt x="3656" y="11407"/>
                </a:cubicBezTo>
                <a:cubicBezTo>
                  <a:pt x="3656" y="11407"/>
                  <a:pt x="3656" y="11407"/>
                  <a:pt x="3656" y="11438"/>
                </a:cubicBezTo>
                <a:cubicBezTo>
                  <a:pt x="3656" y="11407"/>
                  <a:pt x="3656" y="11407"/>
                  <a:pt x="3656" y="11407"/>
                </a:cubicBezTo>
                <a:cubicBezTo>
                  <a:pt x="3656" y="11407"/>
                  <a:pt x="3656" y="11407"/>
                  <a:pt x="3656" y="11407"/>
                </a:cubicBezTo>
                <a:close/>
                <a:moveTo>
                  <a:pt x="3813" y="11469"/>
                </a:moveTo>
                <a:cubicBezTo>
                  <a:pt x="3813" y="11469"/>
                  <a:pt x="3813" y="11469"/>
                  <a:pt x="3813" y="11469"/>
                </a:cubicBezTo>
                <a:cubicBezTo>
                  <a:pt x="3813" y="11469"/>
                  <a:pt x="3813" y="11469"/>
                  <a:pt x="3781" y="11469"/>
                </a:cubicBezTo>
                <a:cubicBezTo>
                  <a:pt x="3781" y="11469"/>
                  <a:pt x="3813" y="11469"/>
                  <a:pt x="3813" y="11469"/>
                </a:cubicBezTo>
                <a:close/>
                <a:moveTo>
                  <a:pt x="2438" y="17344"/>
                </a:moveTo>
                <a:cubicBezTo>
                  <a:pt x="2406" y="17313"/>
                  <a:pt x="2406" y="17313"/>
                  <a:pt x="2406" y="17313"/>
                </a:cubicBezTo>
                <a:cubicBezTo>
                  <a:pt x="2406" y="17313"/>
                  <a:pt x="2406" y="17313"/>
                  <a:pt x="2375" y="17313"/>
                </a:cubicBezTo>
                <a:cubicBezTo>
                  <a:pt x="2406" y="17344"/>
                  <a:pt x="2406" y="17344"/>
                  <a:pt x="2406" y="17344"/>
                </a:cubicBezTo>
                <a:cubicBezTo>
                  <a:pt x="2406" y="17344"/>
                  <a:pt x="2406" y="17344"/>
                  <a:pt x="2438" y="17344"/>
                </a:cubicBezTo>
                <a:close/>
                <a:moveTo>
                  <a:pt x="2250" y="17282"/>
                </a:moveTo>
                <a:cubicBezTo>
                  <a:pt x="2250" y="17282"/>
                  <a:pt x="2219" y="17282"/>
                  <a:pt x="2219" y="17282"/>
                </a:cubicBezTo>
                <a:cubicBezTo>
                  <a:pt x="2219" y="17313"/>
                  <a:pt x="2250" y="17313"/>
                  <a:pt x="2250" y="17282"/>
                </a:cubicBezTo>
                <a:close/>
                <a:moveTo>
                  <a:pt x="2563" y="17344"/>
                </a:moveTo>
                <a:cubicBezTo>
                  <a:pt x="2563" y="17344"/>
                  <a:pt x="2531" y="17344"/>
                  <a:pt x="2531" y="17344"/>
                </a:cubicBezTo>
                <a:cubicBezTo>
                  <a:pt x="2531" y="17344"/>
                  <a:pt x="2531" y="17344"/>
                  <a:pt x="2531" y="17344"/>
                </a:cubicBezTo>
                <a:cubicBezTo>
                  <a:pt x="2531" y="17344"/>
                  <a:pt x="2531" y="17344"/>
                  <a:pt x="2531" y="17344"/>
                </a:cubicBezTo>
                <a:cubicBezTo>
                  <a:pt x="2531" y="17375"/>
                  <a:pt x="2531" y="17344"/>
                  <a:pt x="2563" y="17344"/>
                </a:cubicBezTo>
                <a:close/>
                <a:moveTo>
                  <a:pt x="2656" y="17375"/>
                </a:moveTo>
                <a:lnTo>
                  <a:pt x="2656" y="17375"/>
                </a:lnTo>
                <a:lnTo>
                  <a:pt x="2656" y="17375"/>
                </a:lnTo>
                <a:close/>
                <a:moveTo>
                  <a:pt x="5375" y="18063"/>
                </a:moveTo>
                <a:cubicBezTo>
                  <a:pt x="5406" y="17906"/>
                  <a:pt x="5313" y="17938"/>
                  <a:pt x="5219" y="17906"/>
                </a:cubicBezTo>
                <a:cubicBezTo>
                  <a:pt x="5219" y="17875"/>
                  <a:pt x="5219" y="17875"/>
                  <a:pt x="5219" y="17875"/>
                </a:cubicBezTo>
                <a:cubicBezTo>
                  <a:pt x="5219" y="17906"/>
                  <a:pt x="5219" y="17906"/>
                  <a:pt x="5219" y="17906"/>
                </a:cubicBezTo>
                <a:cubicBezTo>
                  <a:pt x="5250" y="17969"/>
                  <a:pt x="5313" y="18031"/>
                  <a:pt x="5375" y="18063"/>
                </a:cubicBezTo>
                <a:close/>
                <a:moveTo>
                  <a:pt x="6750" y="14000"/>
                </a:moveTo>
                <a:cubicBezTo>
                  <a:pt x="6750" y="14032"/>
                  <a:pt x="6750" y="14032"/>
                  <a:pt x="6750" y="14032"/>
                </a:cubicBezTo>
                <a:cubicBezTo>
                  <a:pt x="6781" y="14032"/>
                  <a:pt x="6781" y="14032"/>
                  <a:pt x="6781" y="14032"/>
                </a:cubicBezTo>
                <a:cubicBezTo>
                  <a:pt x="6781" y="14032"/>
                  <a:pt x="6781" y="14000"/>
                  <a:pt x="6781" y="14000"/>
                </a:cubicBezTo>
                <a:cubicBezTo>
                  <a:pt x="6781" y="14000"/>
                  <a:pt x="6750" y="14000"/>
                  <a:pt x="6750" y="14000"/>
                </a:cubicBezTo>
                <a:close/>
                <a:moveTo>
                  <a:pt x="6438" y="11875"/>
                </a:moveTo>
                <a:lnTo>
                  <a:pt x="6438" y="11875"/>
                </a:lnTo>
                <a:lnTo>
                  <a:pt x="6438" y="11907"/>
                </a:lnTo>
                <a:lnTo>
                  <a:pt x="6438" y="11875"/>
                </a:lnTo>
                <a:close/>
                <a:moveTo>
                  <a:pt x="11937" y="10032"/>
                </a:moveTo>
                <a:cubicBezTo>
                  <a:pt x="11937" y="10032"/>
                  <a:pt x="11937" y="10032"/>
                  <a:pt x="11937" y="10063"/>
                </a:cubicBezTo>
                <a:cubicBezTo>
                  <a:pt x="11937" y="10063"/>
                  <a:pt x="11937" y="10032"/>
                  <a:pt x="11937" y="10032"/>
                </a:cubicBezTo>
                <a:cubicBezTo>
                  <a:pt x="11937" y="10032"/>
                  <a:pt x="11937" y="10032"/>
                  <a:pt x="11937" y="10032"/>
                </a:cubicBezTo>
                <a:close/>
                <a:moveTo>
                  <a:pt x="14375" y="9688"/>
                </a:move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lose/>
                <a:moveTo>
                  <a:pt x="12500" y="8344"/>
                </a:move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lose/>
                <a:moveTo>
                  <a:pt x="10531" y="6500"/>
                </a:moveTo>
                <a:cubicBezTo>
                  <a:pt x="10531" y="6500"/>
                  <a:pt x="10531" y="6500"/>
                  <a:pt x="10500" y="6500"/>
                </a:cubicBezTo>
                <a:cubicBezTo>
                  <a:pt x="10531" y="6500"/>
                  <a:pt x="10531" y="6500"/>
                  <a:pt x="10531" y="6500"/>
                </a:cubicBezTo>
                <a:cubicBezTo>
                  <a:pt x="10531" y="6500"/>
                  <a:pt x="10531" y="6500"/>
                  <a:pt x="10531" y="6500"/>
                </a:cubicBezTo>
                <a:cubicBezTo>
                  <a:pt x="10531" y="6500"/>
                  <a:pt x="10531" y="6500"/>
                  <a:pt x="10531" y="6500"/>
                </a:cubicBezTo>
                <a:close/>
                <a:moveTo>
                  <a:pt x="4938" y="6375"/>
                </a:moveTo>
                <a:cubicBezTo>
                  <a:pt x="4938" y="6375"/>
                  <a:pt x="4938" y="6375"/>
                  <a:pt x="4906" y="6375"/>
                </a:cubicBezTo>
                <a:cubicBezTo>
                  <a:pt x="4906" y="6375"/>
                  <a:pt x="4875" y="6375"/>
                  <a:pt x="4875" y="6375"/>
                </a:cubicBezTo>
                <a:cubicBezTo>
                  <a:pt x="4844" y="6344"/>
                  <a:pt x="4844" y="6344"/>
                  <a:pt x="4813" y="6344"/>
                </a:cubicBezTo>
                <a:cubicBezTo>
                  <a:pt x="4813" y="6313"/>
                  <a:pt x="4813" y="6313"/>
                  <a:pt x="4781" y="6313"/>
                </a:cubicBezTo>
                <a:cubicBezTo>
                  <a:pt x="4438" y="6157"/>
                  <a:pt x="4063" y="6032"/>
                  <a:pt x="3719" y="5907"/>
                </a:cubicBezTo>
                <a:cubicBezTo>
                  <a:pt x="3469" y="5813"/>
                  <a:pt x="3219" y="5719"/>
                  <a:pt x="3000" y="5657"/>
                </a:cubicBezTo>
                <a:cubicBezTo>
                  <a:pt x="2813" y="5594"/>
                  <a:pt x="2656" y="5532"/>
                  <a:pt x="2438" y="5532"/>
                </a:cubicBezTo>
                <a:cubicBezTo>
                  <a:pt x="2750" y="5657"/>
                  <a:pt x="3031" y="5750"/>
                  <a:pt x="3313" y="5844"/>
                </a:cubicBezTo>
                <a:cubicBezTo>
                  <a:pt x="3563" y="5907"/>
                  <a:pt x="3813" y="6000"/>
                  <a:pt x="4063" y="6063"/>
                </a:cubicBezTo>
                <a:lnTo>
                  <a:pt x="4063" y="6063"/>
                </a:lnTo>
                <a:cubicBezTo>
                  <a:pt x="4250" y="6125"/>
                  <a:pt x="4438" y="6219"/>
                  <a:pt x="4625" y="6282"/>
                </a:cubicBezTo>
                <a:cubicBezTo>
                  <a:pt x="4688" y="6313"/>
                  <a:pt x="4750" y="6313"/>
                  <a:pt x="4813" y="6344"/>
                </a:cubicBezTo>
                <a:cubicBezTo>
                  <a:pt x="4844" y="6344"/>
                  <a:pt x="4875" y="6344"/>
                  <a:pt x="4906" y="6375"/>
                </a:cubicBezTo>
                <a:cubicBezTo>
                  <a:pt x="4906" y="6375"/>
                  <a:pt x="4938" y="6375"/>
                  <a:pt x="4938" y="6375"/>
                </a:cubicBezTo>
                <a:cubicBezTo>
                  <a:pt x="4938" y="6375"/>
                  <a:pt x="4938" y="6375"/>
                  <a:pt x="4938" y="6375"/>
                </a:cubicBezTo>
                <a:close/>
                <a:moveTo>
                  <a:pt x="15062" y="4500"/>
                </a:moveTo>
                <a:lnTo>
                  <a:pt x="15062" y="4500"/>
                </a:lnTo>
                <a:lnTo>
                  <a:pt x="15062" y="4500"/>
                </a:lnTo>
                <a:close/>
                <a:moveTo>
                  <a:pt x="12281" y="10250"/>
                </a:moveTo>
                <a:cubicBezTo>
                  <a:pt x="12250" y="10219"/>
                  <a:pt x="12219" y="10219"/>
                  <a:pt x="12156" y="10219"/>
                </a:cubicBezTo>
                <a:cubicBezTo>
                  <a:pt x="12156" y="10188"/>
                  <a:pt x="12125" y="10157"/>
                  <a:pt x="12125" y="10157"/>
                </a:cubicBezTo>
                <a:cubicBezTo>
                  <a:pt x="12062" y="10125"/>
                  <a:pt x="12031" y="10094"/>
                  <a:pt x="11969" y="10063"/>
                </a:cubicBezTo>
                <a:cubicBezTo>
                  <a:pt x="12031" y="10125"/>
                  <a:pt x="12094" y="10188"/>
                  <a:pt x="12156" y="10219"/>
                </a:cubicBezTo>
                <a:cubicBezTo>
                  <a:pt x="12219" y="10282"/>
                  <a:pt x="12281" y="10313"/>
                  <a:pt x="12375" y="10344"/>
                </a:cubicBezTo>
                <a:cubicBezTo>
                  <a:pt x="12344" y="10313"/>
                  <a:pt x="12312" y="10282"/>
                  <a:pt x="12281" y="10250"/>
                </a:cubicBezTo>
                <a:close/>
                <a:moveTo>
                  <a:pt x="2375" y="26188"/>
                </a:moveTo>
                <a:cubicBezTo>
                  <a:pt x="2313" y="26125"/>
                  <a:pt x="2250" y="26094"/>
                  <a:pt x="2156" y="26031"/>
                </a:cubicBezTo>
                <a:cubicBezTo>
                  <a:pt x="2219" y="26125"/>
                  <a:pt x="2250" y="26188"/>
                  <a:pt x="2375" y="26188"/>
                </a:cubicBezTo>
                <a:close/>
                <a:moveTo>
                  <a:pt x="10812" y="3282"/>
                </a:moveTo>
                <a:cubicBezTo>
                  <a:pt x="10812" y="3282"/>
                  <a:pt x="10844" y="3282"/>
                  <a:pt x="10875" y="3282"/>
                </a:cubicBezTo>
                <a:cubicBezTo>
                  <a:pt x="10969" y="3375"/>
                  <a:pt x="11094" y="3438"/>
                  <a:pt x="11219" y="3500"/>
                </a:cubicBezTo>
                <a:cubicBezTo>
                  <a:pt x="11281" y="3563"/>
                  <a:pt x="11344" y="3594"/>
                  <a:pt x="11437" y="3625"/>
                </a:cubicBezTo>
                <a:cubicBezTo>
                  <a:pt x="11469" y="3688"/>
                  <a:pt x="11500" y="3688"/>
                  <a:pt x="11562" y="3719"/>
                </a:cubicBezTo>
                <a:cubicBezTo>
                  <a:pt x="11562" y="3719"/>
                  <a:pt x="11594" y="3750"/>
                  <a:pt x="11594" y="3750"/>
                </a:cubicBezTo>
                <a:cubicBezTo>
                  <a:pt x="11562" y="3688"/>
                  <a:pt x="11500" y="3625"/>
                  <a:pt x="11437" y="3625"/>
                </a:cubicBezTo>
                <a:cubicBezTo>
                  <a:pt x="11406" y="3625"/>
                  <a:pt x="11406" y="3594"/>
                  <a:pt x="11375" y="3594"/>
                </a:cubicBezTo>
                <a:cubicBezTo>
                  <a:pt x="11344" y="3532"/>
                  <a:pt x="11281" y="3500"/>
                  <a:pt x="11219" y="3500"/>
                </a:cubicBezTo>
                <a:cubicBezTo>
                  <a:pt x="11219" y="3469"/>
                  <a:pt x="11187" y="3469"/>
                  <a:pt x="11187" y="3438"/>
                </a:cubicBezTo>
                <a:cubicBezTo>
                  <a:pt x="11187" y="3438"/>
                  <a:pt x="11187" y="3438"/>
                  <a:pt x="11156" y="3438"/>
                </a:cubicBezTo>
                <a:cubicBezTo>
                  <a:pt x="11031" y="3344"/>
                  <a:pt x="10875" y="3250"/>
                  <a:pt x="10750" y="3157"/>
                </a:cubicBezTo>
                <a:cubicBezTo>
                  <a:pt x="10656" y="3094"/>
                  <a:pt x="10562" y="3063"/>
                  <a:pt x="10469" y="3000"/>
                </a:cubicBezTo>
                <a:cubicBezTo>
                  <a:pt x="10500" y="3063"/>
                  <a:pt x="10531" y="3094"/>
                  <a:pt x="10562" y="3125"/>
                </a:cubicBezTo>
                <a:cubicBezTo>
                  <a:pt x="10625" y="3157"/>
                  <a:pt x="10719" y="3219"/>
                  <a:pt x="10812" y="3282"/>
                </a:cubicBezTo>
                <a:close/>
                <a:moveTo>
                  <a:pt x="6969" y="26438"/>
                </a:moveTo>
                <a:cubicBezTo>
                  <a:pt x="7094" y="26438"/>
                  <a:pt x="7250" y="26469"/>
                  <a:pt x="7375" y="26406"/>
                </a:cubicBezTo>
                <a:cubicBezTo>
                  <a:pt x="7250" y="26375"/>
                  <a:pt x="7094" y="26406"/>
                  <a:pt x="6969" y="26438"/>
                </a:cubicBezTo>
                <a:close/>
                <a:moveTo>
                  <a:pt x="2656" y="27625"/>
                </a:moveTo>
                <a:cubicBezTo>
                  <a:pt x="2625" y="27625"/>
                  <a:pt x="2625" y="27656"/>
                  <a:pt x="2625" y="27656"/>
                </a:cubicBezTo>
                <a:cubicBezTo>
                  <a:pt x="2625" y="27719"/>
                  <a:pt x="2688" y="27750"/>
                  <a:pt x="2719" y="27781"/>
                </a:cubicBezTo>
                <a:cubicBezTo>
                  <a:pt x="2750" y="27781"/>
                  <a:pt x="2750" y="27750"/>
                  <a:pt x="2750" y="27719"/>
                </a:cubicBezTo>
                <a:cubicBezTo>
                  <a:pt x="2750" y="27688"/>
                  <a:pt x="2719" y="27625"/>
                  <a:pt x="2656" y="27625"/>
                </a:cubicBezTo>
                <a:close/>
                <a:moveTo>
                  <a:pt x="2719" y="26938"/>
                </a:moveTo>
                <a:cubicBezTo>
                  <a:pt x="2656" y="26938"/>
                  <a:pt x="2625" y="26969"/>
                  <a:pt x="2625" y="27000"/>
                </a:cubicBezTo>
                <a:cubicBezTo>
                  <a:pt x="2594" y="27063"/>
                  <a:pt x="2656" y="27063"/>
                  <a:pt x="2688" y="27063"/>
                </a:cubicBezTo>
                <a:cubicBezTo>
                  <a:pt x="2750" y="27031"/>
                  <a:pt x="2781" y="27125"/>
                  <a:pt x="2813" y="27156"/>
                </a:cubicBezTo>
                <a:cubicBezTo>
                  <a:pt x="2844" y="27188"/>
                  <a:pt x="2844" y="27219"/>
                  <a:pt x="2875" y="27250"/>
                </a:cubicBezTo>
                <a:cubicBezTo>
                  <a:pt x="2906" y="27250"/>
                  <a:pt x="2938" y="27250"/>
                  <a:pt x="2938" y="27219"/>
                </a:cubicBezTo>
                <a:cubicBezTo>
                  <a:pt x="2938" y="27188"/>
                  <a:pt x="2750" y="26938"/>
                  <a:pt x="2719" y="26938"/>
                </a:cubicBezTo>
                <a:close/>
                <a:moveTo>
                  <a:pt x="7781" y="7750"/>
                </a:moveTo>
                <a:cubicBezTo>
                  <a:pt x="7406" y="7563"/>
                  <a:pt x="7000" y="7344"/>
                  <a:pt x="6594" y="7188"/>
                </a:cubicBezTo>
                <a:cubicBezTo>
                  <a:pt x="6594" y="7219"/>
                  <a:pt x="6594" y="7219"/>
                  <a:pt x="6594" y="7219"/>
                </a:cubicBezTo>
                <a:cubicBezTo>
                  <a:pt x="6969" y="7407"/>
                  <a:pt x="7375" y="7594"/>
                  <a:pt x="7750" y="7782"/>
                </a:cubicBezTo>
                <a:cubicBezTo>
                  <a:pt x="7781" y="7782"/>
                  <a:pt x="7781" y="7750"/>
                  <a:pt x="7781" y="7750"/>
                </a:cubicBezTo>
                <a:close/>
                <a:moveTo>
                  <a:pt x="2438" y="6094"/>
                </a:moveTo>
                <a:cubicBezTo>
                  <a:pt x="2500" y="6157"/>
                  <a:pt x="2594" y="6188"/>
                  <a:pt x="2688" y="6219"/>
                </a:cubicBezTo>
                <a:cubicBezTo>
                  <a:pt x="2844" y="6250"/>
                  <a:pt x="3031" y="6313"/>
                  <a:pt x="3188" y="6407"/>
                </a:cubicBezTo>
                <a:cubicBezTo>
                  <a:pt x="3313" y="6469"/>
                  <a:pt x="3375" y="6438"/>
                  <a:pt x="3500" y="6344"/>
                </a:cubicBezTo>
                <a:cubicBezTo>
                  <a:pt x="3156" y="6219"/>
                  <a:pt x="2844" y="6157"/>
                  <a:pt x="2563" y="6032"/>
                </a:cubicBezTo>
                <a:cubicBezTo>
                  <a:pt x="2500" y="6032"/>
                  <a:pt x="2469" y="6032"/>
                  <a:pt x="2438" y="6094"/>
                </a:cubicBezTo>
                <a:close/>
                <a:moveTo>
                  <a:pt x="4906" y="6375"/>
                </a:moveTo>
                <a:close/>
                <a:moveTo>
                  <a:pt x="4813" y="6344"/>
                </a:moveTo>
                <a:cubicBezTo>
                  <a:pt x="4813" y="6344"/>
                  <a:pt x="4813" y="6344"/>
                  <a:pt x="4813" y="6344"/>
                </a:cubicBezTo>
                <a:cubicBezTo>
                  <a:pt x="4813" y="6344"/>
                  <a:pt x="4813" y="6344"/>
                  <a:pt x="4813" y="6344"/>
                </a:cubicBezTo>
                <a:lnTo>
                  <a:pt x="4813" y="6344"/>
                </a:lnTo>
                <a:cubicBezTo>
                  <a:pt x="4813" y="6344"/>
                  <a:pt x="4813" y="6344"/>
                  <a:pt x="4813" y="6344"/>
                </a:cubicBezTo>
                <a:close/>
                <a:moveTo>
                  <a:pt x="6313" y="7875"/>
                </a:moveTo>
                <a:cubicBezTo>
                  <a:pt x="7063" y="8250"/>
                  <a:pt x="7813" y="8594"/>
                  <a:pt x="8562" y="8969"/>
                </a:cubicBezTo>
                <a:cubicBezTo>
                  <a:pt x="7844" y="8532"/>
                  <a:pt x="7094" y="8188"/>
                  <a:pt x="6313" y="7875"/>
                </a:cubicBezTo>
                <a:close/>
                <a:moveTo>
                  <a:pt x="6625" y="3782"/>
                </a:moveTo>
                <a:cubicBezTo>
                  <a:pt x="6375" y="3719"/>
                  <a:pt x="6156" y="3625"/>
                  <a:pt x="5906" y="3532"/>
                </a:cubicBezTo>
                <a:cubicBezTo>
                  <a:pt x="5719" y="3469"/>
                  <a:pt x="5563" y="3407"/>
                  <a:pt x="5344" y="3407"/>
                </a:cubicBezTo>
                <a:cubicBezTo>
                  <a:pt x="5656" y="3532"/>
                  <a:pt x="5938" y="3688"/>
                  <a:pt x="6219" y="3813"/>
                </a:cubicBezTo>
                <a:cubicBezTo>
                  <a:pt x="6281" y="3844"/>
                  <a:pt x="6375" y="3907"/>
                  <a:pt x="6438" y="3875"/>
                </a:cubicBezTo>
                <a:cubicBezTo>
                  <a:pt x="6438" y="3875"/>
                  <a:pt x="6469" y="3875"/>
                  <a:pt x="6469" y="3875"/>
                </a:cubicBezTo>
                <a:cubicBezTo>
                  <a:pt x="6469" y="3875"/>
                  <a:pt x="6469" y="3875"/>
                  <a:pt x="6500" y="3875"/>
                </a:cubicBezTo>
                <a:cubicBezTo>
                  <a:pt x="6563" y="3844"/>
                  <a:pt x="6625" y="3907"/>
                  <a:pt x="6688" y="3907"/>
                </a:cubicBezTo>
                <a:cubicBezTo>
                  <a:pt x="6688" y="3907"/>
                  <a:pt x="6688" y="3907"/>
                  <a:pt x="6688" y="3907"/>
                </a:cubicBezTo>
                <a:cubicBezTo>
                  <a:pt x="6688" y="3907"/>
                  <a:pt x="6688" y="3907"/>
                  <a:pt x="6688" y="3907"/>
                </a:cubicBezTo>
                <a:cubicBezTo>
                  <a:pt x="6656" y="3875"/>
                  <a:pt x="6688" y="3813"/>
                  <a:pt x="6625" y="3782"/>
                </a:cubicBezTo>
                <a:close/>
                <a:moveTo>
                  <a:pt x="7000" y="4875"/>
                </a:moveTo>
                <a:cubicBezTo>
                  <a:pt x="7094" y="4938"/>
                  <a:pt x="7188" y="5000"/>
                  <a:pt x="7281" y="4938"/>
                </a:cubicBezTo>
                <a:cubicBezTo>
                  <a:pt x="6969" y="4750"/>
                  <a:pt x="5156" y="4000"/>
                  <a:pt x="4969" y="4032"/>
                </a:cubicBezTo>
                <a:cubicBezTo>
                  <a:pt x="5000" y="4032"/>
                  <a:pt x="5031" y="4094"/>
                  <a:pt x="5094" y="4094"/>
                </a:cubicBezTo>
                <a:cubicBezTo>
                  <a:pt x="5250" y="4157"/>
                  <a:pt x="5406" y="4219"/>
                  <a:pt x="5563" y="4282"/>
                </a:cubicBezTo>
                <a:cubicBezTo>
                  <a:pt x="6063" y="4469"/>
                  <a:pt x="6531" y="4657"/>
                  <a:pt x="7000" y="4875"/>
                </a:cubicBezTo>
                <a:close/>
                <a:moveTo>
                  <a:pt x="4250" y="1625"/>
                </a:moveTo>
                <a:cubicBezTo>
                  <a:pt x="5000" y="2000"/>
                  <a:pt x="5781" y="2282"/>
                  <a:pt x="6531" y="2625"/>
                </a:cubicBezTo>
                <a:cubicBezTo>
                  <a:pt x="5813" y="2219"/>
                  <a:pt x="5031" y="1938"/>
                  <a:pt x="4250" y="1625"/>
                </a:cubicBezTo>
                <a:close/>
                <a:moveTo>
                  <a:pt x="7031" y="3407"/>
                </a:moveTo>
                <a:cubicBezTo>
                  <a:pt x="7031" y="3407"/>
                  <a:pt x="7031" y="3438"/>
                  <a:pt x="7031" y="3438"/>
                </a:cubicBezTo>
                <a:cubicBezTo>
                  <a:pt x="7063" y="3500"/>
                  <a:pt x="7125" y="3500"/>
                  <a:pt x="7156" y="3500"/>
                </a:cubicBezTo>
                <a:cubicBezTo>
                  <a:pt x="7188" y="3500"/>
                  <a:pt x="7250" y="3469"/>
                  <a:pt x="7250" y="3532"/>
                </a:cubicBezTo>
                <a:cubicBezTo>
                  <a:pt x="7250" y="3594"/>
                  <a:pt x="7313" y="3594"/>
                  <a:pt x="7344" y="3625"/>
                </a:cubicBezTo>
                <a:cubicBezTo>
                  <a:pt x="7500" y="3688"/>
                  <a:pt x="7656" y="3750"/>
                  <a:pt x="7813" y="3782"/>
                </a:cubicBezTo>
                <a:cubicBezTo>
                  <a:pt x="8187" y="3938"/>
                  <a:pt x="8531" y="4157"/>
                  <a:pt x="8906" y="4344"/>
                </a:cubicBezTo>
                <a:cubicBezTo>
                  <a:pt x="9031" y="4407"/>
                  <a:pt x="9156" y="4500"/>
                  <a:pt x="9312" y="4500"/>
                </a:cubicBezTo>
                <a:cubicBezTo>
                  <a:pt x="8719" y="4188"/>
                  <a:pt x="8156" y="3875"/>
                  <a:pt x="7531" y="3594"/>
                </a:cubicBezTo>
                <a:cubicBezTo>
                  <a:pt x="7406" y="3532"/>
                  <a:pt x="7313" y="3469"/>
                  <a:pt x="7188" y="3407"/>
                </a:cubicBezTo>
                <a:cubicBezTo>
                  <a:pt x="7125" y="3407"/>
                  <a:pt x="7063" y="3407"/>
                  <a:pt x="7031" y="3407"/>
                </a:cubicBezTo>
                <a:close/>
                <a:moveTo>
                  <a:pt x="6969" y="3375"/>
                </a:moveTo>
                <a:cubicBezTo>
                  <a:pt x="7000" y="3313"/>
                  <a:pt x="6938" y="3313"/>
                  <a:pt x="6906" y="3282"/>
                </a:cubicBezTo>
                <a:cubicBezTo>
                  <a:pt x="6406" y="3063"/>
                  <a:pt x="5938" y="2844"/>
                  <a:pt x="5469" y="2688"/>
                </a:cubicBezTo>
                <a:cubicBezTo>
                  <a:pt x="5375" y="2625"/>
                  <a:pt x="5281" y="2594"/>
                  <a:pt x="5156" y="2625"/>
                </a:cubicBezTo>
                <a:cubicBezTo>
                  <a:pt x="5250" y="2688"/>
                  <a:pt x="5313" y="2719"/>
                  <a:pt x="5406" y="2750"/>
                </a:cubicBezTo>
                <a:cubicBezTo>
                  <a:pt x="5594" y="2813"/>
                  <a:pt x="5781" y="2907"/>
                  <a:pt x="5969" y="2969"/>
                </a:cubicBezTo>
                <a:cubicBezTo>
                  <a:pt x="6250" y="3125"/>
                  <a:pt x="6563" y="3250"/>
                  <a:pt x="6844" y="3375"/>
                </a:cubicBezTo>
                <a:cubicBezTo>
                  <a:pt x="6875" y="3407"/>
                  <a:pt x="6938" y="3438"/>
                  <a:pt x="6969" y="3375"/>
                </a:cubicBezTo>
                <a:close/>
                <a:moveTo>
                  <a:pt x="2563" y="26781"/>
                </a:moveTo>
                <a:cubicBezTo>
                  <a:pt x="2563" y="26750"/>
                  <a:pt x="2531" y="26750"/>
                  <a:pt x="2531" y="26719"/>
                </a:cubicBezTo>
                <a:cubicBezTo>
                  <a:pt x="2531" y="26719"/>
                  <a:pt x="2531" y="26688"/>
                  <a:pt x="2563" y="26688"/>
                </a:cubicBezTo>
                <a:cubicBezTo>
                  <a:pt x="2563" y="26656"/>
                  <a:pt x="2563" y="26625"/>
                  <a:pt x="2563" y="26625"/>
                </a:cubicBezTo>
                <a:cubicBezTo>
                  <a:pt x="2563" y="26625"/>
                  <a:pt x="2563" y="26625"/>
                  <a:pt x="2563" y="26625"/>
                </a:cubicBezTo>
                <a:cubicBezTo>
                  <a:pt x="2563" y="26625"/>
                  <a:pt x="2563" y="26625"/>
                  <a:pt x="2563" y="26625"/>
                </a:cubicBezTo>
                <a:cubicBezTo>
                  <a:pt x="2563" y="26625"/>
                  <a:pt x="2563" y="26625"/>
                  <a:pt x="2563" y="26625"/>
                </a:cubicBezTo>
                <a:cubicBezTo>
                  <a:pt x="2563" y="26594"/>
                  <a:pt x="2563" y="26594"/>
                  <a:pt x="2563" y="26594"/>
                </a:cubicBezTo>
                <a:cubicBezTo>
                  <a:pt x="2531" y="26594"/>
                  <a:pt x="2500" y="26594"/>
                  <a:pt x="2438" y="26594"/>
                </a:cubicBezTo>
                <a:cubicBezTo>
                  <a:pt x="2438" y="26594"/>
                  <a:pt x="2438" y="26563"/>
                  <a:pt x="2406" y="26563"/>
                </a:cubicBezTo>
                <a:cubicBezTo>
                  <a:pt x="2406" y="26563"/>
                  <a:pt x="2406" y="26563"/>
                  <a:pt x="2406" y="26531"/>
                </a:cubicBezTo>
                <a:cubicBezTo>
                  <a:pt x="2406" y="26531"/>
                  <a:pt x="2406" y="26531"/>
                  <a:pt x="2406" y="26531"/>
                </a:cubicBezTo>
                <a:cubicBezTo>
                  <a:pt x="2406" y="26531"/>
                  <a:pt x="2375" y="26531"/>
                  <a:pt x="2375" y="26531"/>
                </a:cubicBezTo>
                <a:cubicBezTo>
                  <a:pt x="2375" y="26531"/>
                  <a:pt x="2344" y="26500"/>
                  <a:pt x="2344" y="26500"/>
                </a:cubicBezTo>
                <a:cubicBezTo>
                  <a:pt x="2344" y="26500"/>
                  <a:pt x="2344" y="26500"/>
                  <a:pt x="2344" y="26500"/>
                </a:cubicBezTo>
                <a:cubicBezTo>
                  <a:pt x="2344" y="26469"/>
                  <a:pt x="2344" y="26469"/>
                  <a:pt x="2313" y="26469"/>
                </a:cubicBezTo>
                <a:cubicBezTo>
                  <a:pt x="2313" y="26469"/>
                  <a:pt x="2281" y="26438"/>
                  <a:pt x="2281" y="26438"/>
                </a:cubicBezTo>
                <a:cubicBezTo>
                  <a:pt x="2281" y="26406"/>
                  <a:pt x="2313" y="26406"/>
                  <a:pt x="2344" y="26406"/>
                </a:cubicBezTo>
                <a:cubicBezTo>
                  <a:pt x="2313" y="26344"/>
                  <a:pt x="2250" y="26281"/>
                  <a:pt x="2219" y="26250"/>
                </a:cubicBezTo>
                <a:cubicBezTo>
                  <a:pt x="2188" y="26250"/>
                  <a:pt x="2188" y="26250"/>
                  <a:pt x="2188" y="26219"/>
                </a:cubicBezTo>
                <a:cubicBezTo>
                  <a:pt x="2156" y="26219"/>
                  <a:pt x="2156" y="26219"/>
                  <a:pt x="2156" y="26219"/>
                </a:cubicBezTo>
                <a:cubicBezTo>
                  <a:pt x="2125" y="26219"/>
                  <a:pt x="2125" y="26219"/>
                  <a:pt x="2094" y="26250"/>
                </a:cubicBezTo>
                <a:cubicBezTo>
                  <a:pt x="2094" y="26250"/>
                  <a:pt x="2094" y="26250"/>
                  <a:pt x="2094" y="26250"/>
                </a:cubicBezTo>
                <a:cubicBezTo>
                  <a:pt x="2031" y="26156"/>
                  <a:pt x="1938" y="26094"/>
                  <a:pt x="1906" y="25969"/>
                </a:cubicBezTo>
                <a:cubicBezTo>
                  <a:pt x="1875" y="25969"/>
                  <a:pt x="1906" y="25938"/>
                  <a:pt x="1875" y="25938"/>
                </a:cubicBezTo>
                <a:cubicBezTo>
                  <a:pt x="1844" y="25938"/>
                  <a:pt x="1813" y="25969"/>
                  <a:pt x="1844" y="26000"/>
                </a:cubicBezTo>
                <a:cubicBezTo>
                  <a:pt x="1844" y="26031"/>
                  <a:pt x="1844" y="26031"/>
                  <a:pt x="1844" y="26063"/>
                </a:cubicBezTo>
                <a:cubicBezTo>
                  <a:pt x="1844" y="26063"/>
                  <a:pt x="1844" y="26063"/>
                  <a:pt x="1844" y="26063"/>
                </a:cubicBezTo>
                <a:cubicBezTo>
                  <a:pt x="1844" y="26063"/>
                  <a:pt x="1844" y="26063"/>
                  <a:pt x="1844" y="26094"/>
                </a:cubicBezTo>
                <a:cubicBezTo>
                  <a:pt x="1844" y="26094"/>
                  <a:pt x="1844" y="26094"/>
                  <a:pt x="1844" y="26094"/>
                </a:cubicBezTo>
                <a:cubicBezTo>
                  <a:pt x="1844" y="26094"/>
                  <a:pt x="1844" y="26094"/>
                  <a:pt x="1844" y="26094"/>
                </a:cubicBezTo>
                <a:cubicBezTo>
                  <a:pt x="1844" y="26094"/>
                  <a:pt x="1844" y="26094"/>
                  <a:pt x="1844" y="26094"/>
                </a:cubicBezTo>
                <a:cubicBezTo>
                  <a:pt x="1844" y="26125"/>
                  <a:pt x="1844" y="26125"/>
                  <a:pt x="1813" y="26156"/>
                </a:cubicBezTo>
                <a:cubicBezTo>
                  <a:pt x="1813" y="26156"/>
                  <a:pt x="1813" y="26188"/>
                  <a:pt x="1781" y="26219"/>
                </a:cubicBezTo>
                <a:cubicBezTo>
                  <a:pt x="1781" y="26219"/>
                  <a:pt x="1781" y="26219"/>
                  <a:pt x="1781" y="26219"/>
                </a:cubicBezTo>
                <a:cubicBezTo>
                  <a:pt x="1781" y="26219"/>
                  <a:pt x="1750" y="26219"/>
                  <a:pt x="1750" y="26250"/>
                </a:cubicBezTo>
                <a:cubicBezTo>
                  <a:pt x="1750" y="26250"/>
                  <a:pt x="1719" y="26250"/>
                  <a:pt x="1719" y="26250"/>
                </a:cubicBezTo>
                <a:cubicBezTo>
                  <a:pt x="1688" y="26313"/>
                  <a:pt x="1656" y="26344"/>
                  <a:pt x="1625" y="26406"/>
                </a:cubicBezTo>
                <a:cubicBezTo>
                  <a:pt x="1563" y="26469"/>
                  <a:pt x="1594" y="26500"/>
                  <a:pt x="1625" y="26531"/>
                </a:cubicBezTo>
                <a:cubicBezTo>
                  <a:pt x="1656" y="26563"/>
                  <a:pt x="1656" y="26594"/>
                  <a:pt x="1688" y="26594"/>
                </a:cubicBezTo>
                <a:cubicBezTo>
                  <a:pt x="1656" y="26594"/>
                  <a:pt x="1656" y="26594"/>
                  <a:pt x="1625" y="26594"/>
                </a:cubicBezTo>
                <a:cubicBezTo>
                  <a:pt x="1625" y="26594"/>
                  <a:pt x="1594" y="26594"/>
                  <a:pt x="1594" y="26594"/>
                </a:cubicBezTo>
                <a:cubicBezTo>
                  <a:pt x="1594" y="26656"/>
                  <a:pt x="1625" y="26719"/>
                  <a:pt x="1563" y="26750"/>
                </a:cubicBezTo>
                <a:cubicBezTo>
                  <a:pt x="1531" y="26750"/>
                  <a:pt x="1563" y="26813"/>
                  <a:pt x="1563" y="26813"/>
                </a:cubicBezTo>
                <a:cubicBezTo>
                  <a:pt x="1594" y="26844"/>
                  <a:pt x="1594" y="26844"/>
                  <a:pt x="1625" y="26813"/>
                </a:cubicBezTo>
                <a:cubicBezTo>
                  <a:pt x="1625" y="26719"/>
                  <a:pt x="1688" y="26781"/>
                  <a:pt x="1719" y="26781"/>
                </a:cubicBezTo>
                <a:cubicBezTo>
                  <a:pt x="1750" y="26781"/>
                  <a:pt x="1781" y="26781"/>
                  <a:pt x="1813" y="26781"/>
                </a:cubicBezTo>
                <a:cubicBezTo>
                  <a:pt x="1844" y="26781"/>
                  <a:pt x="1875" y="26781"/>
                  <a:pt x="1906" y="26781"/>
                </a:cubicBezTo>
                <a:cubicBezTo>
                  <a:pt x="1969" y="26781"/>
                  <a:pt x="2031" y="26781"/>
                  <a:pt x="2063" y="26750"/>
                </a:cubicBezTo>
                <a:cubicBezTo>
                  <a:pt x="2063" y="26750"/>
                  <a:pt x="2063" y="26750"/>
                  <a:pt x="2063" y="26750"/>
                </a:cubicBezTo>
                <a:cubicBezTo>
                  <a:pt x="2094" y="26750"/>
                  <a:pt x="2125" y="26750"/>
                  <a:pt x="2156" y="26719"/>
                </a:cubicBezTo>
                <a:cubicBezTo>
                  <a:pt x="2156" y="26719"/>
                  <a:pt x="2156" y="26719"/>
                  <a:pt x="2156" y="26719"/>
                </a:cubicBezTo>
                <a:cubicBezTo>
                  <a:pt x="2156" y="26750"/>
                  <a:pt x="2156" y="26750"/>
                  <a:pt x="2156" y="26750"/>
                </a:cubicBezTo>
                <a:cubicBezTo>
                  <a:pt x="2156" y="26750"/>
                  <a:pt x="2156" y="26719"/>
                  <a:pt x="2156" y="26719"/>
                </a:cubicBezTo>
                <a:cubicBezTo>
                  <a:pt x="2156" y="26719"/>
                  <a:pt x="2156" y="26719"/>
                  <a:pt x="2156" y="26719"/>
                </a:cubicBezTo>
                <a:cubicBezTo>
                  <a:pt x="2156" y="26719"/>
                  <a:pt x="2156" y="26719"/>
                  <a:pt x="2156" y="26719"/>
                </a:cubicBezTo>
                <a:cubicBezTo>
                  <a:pt x="2094" y="26656"/>
                  <a:pt x="2125" y="26625"/>
                  <a:pt x="2188" y="26563"/>
                </a:cubicBezTo>
                <a:cubicBezTo>
                  <a:pt x="2219" y="26500"/>
                  <a:pt x="2250" y="26500"/>
                  <a:pt x="2281" y="26531"/>
                </a:cubicBezTo>
                <a:cubicBezTo>
                  <a:pt x="2344" y="26625"/>
                  <a:pt x="2469" y="26719"/>
                  <a:pt x="2531" y="26813"/>
                </a:cubicBezTo>
                <a:cubicBezTo>
                  <a:pt x="2531" y="26813"/>
                  <a:pt x="2531" y="26875"/>
                  <a:pt x="2563" y="26813"/>
                </a:cubicBezTo>
                <a:cubicBezTo>
                  <a:pt x="2563" y="26813"/>
                  <a:pt x="2625" y="26813"/>
                  <a:pt x="2563" y="26781"/>
                </a:cubicBezTo>
                <a:close/>
                <a:moveTo>
                  <a:pt x="2344" y="5782"/>
                </a:moveTo>
                <a:cubicBezTo>
                  <a:pt x="2344" y="5844"/>
                  <a:pt x="2313" y="5907"/>
                  <a:pt x="2406" y="5907"/>
                </a:cubicBezTo>
                <a:cubicBezTo>
                  <a:pt x="2500" y="5938"/>
                  <a:pt x="2625" y="6000"/>
                  <a:pt x="2719" y="6032"/>
                </a:cubicBezTo>
                <a:cubicBezTo>
                  <a:pt x="3000" y="6094"/>
                  <a:pt x="3250" y="6188"/>
                  <a:pt x="3531" y="6282"/>
                </a:cubicBezTo>
                <a:cubicBezTo>
                  <a:pt x="3656" y="6313"/>
                  <a:pt x="3813" y="6375"/>
                  <a:pt x="3969" y="6375"/>
                </a:cubicBezTo>
                <a:cubicBezTo>
                  <a:pt x="3969" y="6375"/>
                  <a:pt x="3969" y="6375"/>
                  <a:pt x="3969" y="6375"/>
                </a:cubicBezTo>
                <a:cubicBezTo>
                  <a:pt x="3969" y="6375"/>
                  <a:pt x="4000" y="6407"/>
                  <a:pt x="4000" y="6407"/>
                </a:cubicBezTo>
                <a:cubicBezTo>
                  <a:pt x="4000" y="6407"/>
                  <a:pt x="4031" y="6407"/>
                  <a:pt x="4031" y="6407"/>
                </a:cubicBezTo>
                <a:cubicBezTo>
                  <a:pt x="4063" y="6407"/>
                  <a:pt x="4094" y="6407"/>
                  <a:pt x="4125" y="6407"/>
                </a:cubicBezTo>
                <a:cubicBezTo>
                  <a:pt x="4156" y="6407"/>
                  <a:pt x="4156" y="6407"/>
                  <a:pt x="4188" y="6438"/>
                </a:cubicBezTo>
                <a:cubicBezTo>
                  <a:pt x="4188" y="6438"/>
                  <a:pt x="4188" y="6438"/>
                  <a:pt x="4188" y="6438"/>
                </a:cubicBezTo>
                <a:cubicBezTo>
                  <a:pt x="4219" y="6469"/>
                  <a:pt x="4219" y="6469"/>
                  <a:pt x="4250" y="6438"/>
                </a:cubicBezTo>
                <a:cubicBezTo>
                  <a:pt x="4344" y="6469"/>
                  <a:pt x="4406" y="6500"/>
                  <a:pt x="4500" y="6532"/>
                </a:cubicBezTo>
                <a:cubicBezTo>
                  <a:pt x="4656" y="6594"/>
                  <a:pt x="4813" y="6657"/>
                  <a:pt x="4938" y="6688"/>
                </a:cubicBezTo>
                <a:cubicBezTo>
                  <a:pt x="4969" y="6688"/>
                  <a:pt x="5000" y="6719"/>
                  <a:pt x="5031" y="6688"/>
                </a:cubicBezTo>
                <a:cubicBezTo>
                  <a:pt x="5031" y="6657"/>
                  <a:pt x="5000" y="6625"/>
                  <a:pt x="4969" y="6625"/>
                </a:cubicBezTo>
                <a:cubicBezTo>
                  <a:pt x="4906" y="6594"/>
                  <a:pt x="4844" y="6594"/>
                  <a:pt x="4781" y="6563"/>
                </a:cubicBezTo>
                <a:cubicBezTo>
                  <a:pt x="4750" y="6532"/>
                  <a:pt x="4719" y="6532"/>
                  <a:pt x="4688" y="6532"/>
                </a:cubicBezTo>
                <a:cubicBezTo>
                  <a:pt x="4469" y="6438"/>
                  <a:pt x="4250" y="6375"/>
                  <a:pt x="4031" y="6282"/>
                </a:cubicBezTo>
                <a:cubicBezTo>
                  <a:pt x="4031" y="6250"/>
                  <a:pt x="4031" y="6188"/>
                  <a:pt x="4031" y="6157"/>
                </a:cubicBezTo>
                <a:cubicBezTo>
                  <a:pt x="4000" y="6157"/>
                  <a:pt x="4000" y="6157"/>
                  <a:pt x="3969" y="6157"/>
                </a:cubicBezTo>
                <a:cubicBezTo>
                  <a:pt x="3875" y="6157"/>
                  <a:pt x="3813" y="6094"/>
                  <a:pt x="3719" y="6094"/>
                </a:cubicBezTo>
                <a:cubicBezTo>
                  <a:pt x="3531" y="6063"/>
                  <a:pt x="3344" y="6000"/>
                  <a:pt x="3156" y="5938"/>
                </a:cubicBezTo>
                <a:cubicBezTo>
                  <a:pt x="2938" y="5875"/>
                  <a:pt x="2688" y="5782"/>
                  <a:pt x="2438" y="5750"/>
                </a:cubicBezTo>
                <a:cubicBezTo>
                  <a:pt x="2375" y="5750"/>
                  <a:pt x="2344" y="5719"/>
                  <a:pt x="2344" y="5782"/>
                </a:cubicBezTo>
                <a:close/>
                <a:moveTo>
                  <a:pt x="9375" y="2500"/>
                </a:moveTo>
                <a:cubicBezTo>
                  <a:pt x="9375" y="2500"/>
                  <a:pt x="9375" y="2500"/>
                  <a:pt x="9375" y="2500"/>
                </a:cubicBezTo>
                <a:cubicBezTo>
                  <a:pt x="9437" y="2469"/>
                  <a:pt x="9469" y="2532"/>
                  <a:pt x="9531" y="2532"/>
                </a:cubicBezTo>
                <a:cubicBezTo>
                  <a:pt x="9531" y="2563"/>
                  <a:pt x="9562" y="2563"/>
                  <a:pt x="9594" y="2563"/>
                </a:cubicBezTo>
                <a:cubicBezTo>
                  <a:pt x="9562" y="2532"/>
                  <a:pt x="9531" y="2500"/>
                  <a:pt x="9500" y="2500"/>
                </a:cubicBezTo>
                <a:cubicBezTo>
                  <a:pt x="9312" y="2375"/>
                  <a:pt x="9125" y="2282"/>
                  <a:pt x="8937" y="2157"/>
                </a:cubicBezTo>
                <a:cubicBezTo>
                  <a:pt x="8906" y="2157"/>
                  <a:pt x="8875" y="2125"/>
                  <a:pt x="8844" y="2094"/>
                </a:cubicBezTo>
                <a:cubicBezTo>
                  <a:pt x="8719" y="2032"/>
                  <a:pt x="8625" y="2000"/>
                  <a:pt x="8531" y="1969"/>
                </a:cubicBezTo>
                <a:cubicBezTo>
                  <a:pt x="8531" y="1969"/>
                  <a:pt x="8531" y="1969"/>
                  <a:pt x="8531" y="1969"/>
                </a:cubicBezTo>
                <a:cubicBezTo>
                  <a:pt x="8531" y="1969"/>
                  <a:pt x="8531" y="1969"/>
                  <a:pt x="8531" y="1969"/>
                </a:cubicBezTo>
                <a:cubicBezTo>
                  <a:pt x="8531" y="1969"/>
                  <a:pt x="8531" y="1969"/>
                  <a:pt x="8531" y="1969"/>
                </a:cubicBezTo>
                <a:cubicBezTo>
                  <a:pt x="8406" y="1907"/>
                  <a:pt x="8281" y="1844"/>
                  <a:pt x="8156" y="1782"/>
                </a:cubicBezTo>
                <a:cubicBezTo>
                  <a:pt x="8031" y="1719"/>
                  <a:pt x="7906" y="1657"/>
                  <a:pt x="7781" y="1594"/>
                </a:cubicBezTo>
                <a:cubicBezTo>
                  <a:pt x="7656" y="1532"/>
                  <a:pt x="7531" y="1469"/>
                  <a:pt x="7375" y="1407"/>
                </a:cubicBezTo>
                <a:cubicBezTo>
                  <a:pt x="7375" y="1407"/>
                  <a:pt x="7375" y="1407"/>
                  <a:pt x="7344" y="1375"/>
                </a:cubicBezTo>
                <a:cubicBezTo>
                  <a:pt x="7344" y="1375"/>
                  <a:pt x="7313" y="1375"/>
                  <a:pt x="7313" y="1375"/>
                </a:cubicBezTo>
                <a:cubicBezTo>
                  <a:pt x="7313" y="1375"/>
                  <a:pt x="7313" y="1375"/>
                  <a:pt x="7281" y="1375"/>
                </a:cubicBezTo>
                <a:cubicBezTo>
                  <a:pt x="7281" y="1375"/>
                  <a:pt x="7250" y="1344"/>
                  <a:pt x="7219" y="1344"/>
                </a:cubicBezTo>
                <a:cubicBezTo>
                  <a:pt x="6750" y="1094"/>
                  <a:pt x="6219" y="907"/>
                  <a:pt x="5719" y="719"/>
                </a:cubicBezTo>
                <a:cubicBezTo>
                  <a:pt x="5656" y="688"/>
                  <a:pt x="5594" y="688"/>
                  <a:pt x="5531" y="688"/>
                </a:cubicBezTo>
                <a:cubicBezTo>
                  <a:pt x="6906" y="1375"/>
                  <a:pt x="8312" y="2000"/>
                  <a:pt x="9687" y="2750"/>
                </a:cubicBezTo>
                <a:cubicBezTo>
                  <a:pt x="9594" y="2657"/>
                  <a:pt x="9469" y="2594"/>
                  <a:pt x="9375" y="2500"/>
                </a:cubicBezTo>
                <a:close/>
                <a:moveTo>
                  <a:pt x="8125" y="6000"/>
                </a:moveTo>
                <a:cubicBezTo>
                  <a:pt x="8125" y="6000"/>
                  <a:pt x="8125" y="6032"/>
                  <a:pt x="8156" y="6032"/>
                </a:cubicBezTo>
                <a:cubicBezTo>
                  <a:pt x="8219" y="6063"/>
                  <a:pt x="8250" y="6094"/>
                  <a:pt x="8344" y="6125"/>
                </a:cubicBezTo>
                <a:cubicBezTo>
                  <a:pt x="8625" y="6344"/>
                  <a:pt x="8937" y="6563"/>
                  <a:pt x="9312" y="6657"/>
                </a:cubicBezTo>
                <a:cubicBezTo>
                  <a:pt x="9281" y="6594"/>
                  <a:pt x="9250" y="6532"/>
                  <a:pt x="9187" y="6532"/>
                </a:cubicBezTo>
                <a:cubicBezTo>
                  <a:pt x="8937" y="6407"/>
                  <a:pt x="8719" y="6282"/>
                  <a:pt x="8469" y="6157"/>
                </a:cubicBezTo>
                <a:cubicBezTo>
                  <a:pt x="8469" y="6157"/>
                  <a:pt x="8469" y="6157"/>
                  <a:pt x="8437" y="6125"/>
                </a:cubicBezTo>
                <a:cubicBezTo>
                  <a:pt x="8406" y="6125"/>
                  <a:pt x="8375" y="6094"/>
                  <a:pt x="8344" y="6125"/>
                </a:cubicBezTo>
                <a:cubicBezTo>
                  <a:pt x="8344" y="6125"/>
                  <a:pt x="8344" y="6125"/>
                  <a:pt x="8344" y="6125"/>
                </a:cubicBezTo>
                <a:cubicBezTo>
                  <a:pt x="8344" y="6094"/>
                  <a:pt x="8312" y="6094"/>
                  <a:pt x="8312" y="6063"/>
                </a:cubicBezTo>
                <a:cubicBezTo>
                  <a:pt x="8281" y="6032"/>
                  <a:pt x="8250" y="6032"/>
                  <a:pt x="8219" y="6032"/>
                </a:cubicBezTo>
                <a:cubicBezTo>
                  <a:pt x="8187" y="6000"/>
                  <a:pt x="8156" y="6000"/>
                  <a:pt x="8125" y="6000"/>
                </a:cubicBezTo>
                <a:cubicBezTo>
                  <a:pt x="8125" y="6000"/>
                  <a:pt x="8125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6000"/>
                  <a:pt x="8094" y="6000"/>
                  <a:pt x="8125" y="6000"/>
                </a:cubicBezTo>
                <a:close/>
                <a:moveTo>
                  <a:pt x="1813" y="10094"/>
                </a:moveTo>
                <a:cubicBezTo>
                  <a:pt x="1844" y="10094"/>
                  <a:pt x="1844" y="10094"/>
                  <a:pt x="1844" y="10094"/>
                </a:cubicBezTo>
                <a:cubicBezTo>
                  <a:pt x="1844" y="10094"/>
                  <a:pt x="1844" y="10094"/>
                  <a:pt x="1813" y="10094"/>
                </a:cubicBezTo>
                <a:cubicBezTo>
                  <a:pt x="1625" y="10157"/>
                  <a:pt x="1500" y="10313"/>
                  <a:pt x="1500" y="10469"/>
                </a:cubicBezTo>
                <a:cubicBezTo>
                  <a:pt x="1531" y="10438"/>
                  <a:pt x="1563" y="10407"/>
                  <a:pt x="1594" y="10375"/>
                </a:cubicBezTo>
                <a:cubicBezTo>
                  <a:pt x="1656" y="10282"/>
                  <a:pt x="1750" y="10188"/>
                  <a:pt x="1813" y="10094"/>
                </a:cubicBezTo>
                <a:close/>
                <a:moveTo>
                  <a:pt x="14500" y="9782"/>
                </a:moveTo>
                <a:cubicBezTo>
                  <a:pt x="14469" y="9782"/>
                  <a:pt x="14469" y="9782"/>
                  <a:pt x="14469" y="9782"/>
                </a:cubicBezTo>
                <a:cubicBezTo>
                  <a:pt x="14469" y="9782"/>
                  <a:pt x="14469" y="9782"/>
                  <a:pt x="14469" y="9782"/>
                </a:cubicBezTo>
                <a:cubicBezTo>
                  <a:pt x="14469" y="9782"/>
                  <a:pt x="14500" y="9782"/>
                  <a:pt x="14500" y="9782"/>
                </a:cubicBezTo>
                <a:cubicBezTo>
                  <a:pt x="14500" y="9782"/>
                  <a:pt x="14500" y="9782"/>
                  <a:pt x="14500" y="9782"/>
                </a:cubicBezTo>
                <a:cubicBezTo>
                  <a:pt x="14500" y="9782"/>
                  <a:pt x="14500" y="9782"/>
                  <a:pt x="14500" y="9782"/>
                </a:cubicBezTo>
                <a:cubicBezTo>
                  <a:pt x="14500" y="9782"/>
                  <a:pt x="14500" y="9782"/>
                  <a:pt x="14500" y="9782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2432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94">
            <a:extLst>
              <a:ext uri="{FF2B5EF4-FFF2-40B4-BE49-F238E27FC236}">
                <a16:creationId xmlns:a16="http://schemas.microsoft.com/office/drawing/2014/main" id="{5F069258-23C0-0E46-AA4B-3E8DD274AD33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>
            <a:off x="300110" y="801012"/>
            <a:ext cx="6299880" cy="5327975"/>
          </a:xfrm>
          <a:custGeom>
            <a:avLst/>
            <a:gdLst>
              <a:gd name="T0" fmla="*/ 10875 w 23062"/>
              <a:gd name="T1" fmla="*/ 17906 h 22531"/>
              <a:gd name="T2" fmla="*/ 7968 w 23062"/>
              <a:gd name="T3" fmla="*/ 20093 h 22531"/>
              <a:gd name="T4" fmla="*/ 6218 w 23062"/>
              <a:gd name="T5" fmla="*/ 21875 h 22531"/>
              <a:gd name="T6" fmla="*/ 11000 w 23062"/>
              <a:gd name="T7" fmla="*/ 18218 h 22531"/>
              <a:gd name="T8" fmla="*/ 8718 w 23062"/>
              <a:gd name="T9" fmla="*/ 20281 h 22531"/>
              <a:gd name="T10" fmla="*/ 6625 w 23062"/>
              <a:gd name="T11" fmla="*/ 22343 h 22531"/>
              <a:gd name="T12" fmla="*/ 5156 w 23062"/>
              <a:gd name="T13" fmla="*/ 17062 h 22531"/>
              <a:gd name="T14" fmla="*/ 14843 w 23062"/>
              <a:gd name="T15" fmla="*/ 7625 h 22531"/>
              <a:gd name="T16" fmla="*/ 6250 w 23062"/>
              <a:gd name="T17" fmla="*/ 14562 h 22531"/>
              <a:gd name="T18" fmla="*/ 1562 w 23062"/>
              <a:gd name="T19" fmla="*/ 14750 h 22531"/>
              <a:gd name="T20" fmla="*/ 1500 w 23062"/>
              <a:gd name="T21" fmla="*/ 11531 h 22531"/>
              <a:gd name="T22" fmla="*/ 7843 w 23062"/>
              <a:gd name="T23" fmla="*/ 6812 h 22531"/>
              <a:gd name="T24" fmla="*/ 11093 w 23062"/>
              <a:gd name="T25" fmla="*/ 3625 h 22531"/>
              <a:gd name="T26" fmla="*/ 8531 w 23062"/>
              <a:gd name="T27" fmla="*/ 4312 h 22531"/>
              <a:gd name="T28" fmla="*/ 8687 w 23062"/>
              <a:gd name="T29" fmla="*/ 4000 h 22531"/>
              <a:gd name="T30" fmla="*/ 9093 w 23062"/>
              <a:gd name="T31" fmla="*/ 3375 h 22531"/>
              <a:gd name="T32" fmla="*/ 8625 w 23062"/>
              <a:gd name="T33" fmla="*/ 2968 h 22531"/>
              <a:gd name="T34" fmla="*/ 9031 w 23062"/>
              <a:gd name="T35" fmla="*/ 2125 h 22531"/>
              <a:gd name="T36" fmla="*/ 8687 w 23062"/>
              <a:gd name="T37" fmla="*/ 1531 h 22531"/>
              <a:gd name="T38" fmla="*/ 6343 w 23062"/>
              <a:gd name="T39" fmla="*/ 2687 h 22531"/>
              <a:gd name="T40" fmla="*/ 7687 w 23062"/>
              <a:gd name="T41" fmla="*/ 1375 h 22531"/>
              <a:gd name="T42" fmla="*/ 14000 w 23062"/>
              <a:gd name="T43" fmla="*/ 2625 h 22531"/>
              <a:gd name="T44" fmla="*/ 14500 w 23062"/>
              <a:gd name="T45" fmla="*/ 2968 h 22531"/>
              <a:gd name="T46" fmla="*/ 19156 w 23062"/>
              <a:gd name="T47" fmla="*/ 5531 h 22531"/>
              <a:gd name="T48" fmla="*/ 20031 w 23062"/>
              <a:gd name="T49" fmla="*/ 6968 h 22531"/>
              <a:gd name="T50" fmla="*/ 16187 w 23062"/>
              <a:gd name="T51" fmla="*/ 8250 h 22531"/>
              <a:gd name="T52" fmla="*/ 16593 w 23062"/>
              <a:gd name="T53" fmla="*/ 10375 h 22531"/>
              <a:gd name="T54" fmla="*/ 19468 w 23062"/>
              <a:gd name="T55" fmla="*/ 9218 h 22531"/>
              <a:gd name="T56" fmla="*/ 22968 w 23062"/>
              <a:gd name="T57" fmla="*/ 8906 h 22531"/>
              <a:gd name="T58" fmla="*/ 18625 w 23062"/>
              <a:gd name="T59" fmla="*/ 11062 h 22531"/>
              <a:gd name="T60" fmla="*/ 12375 w 23062"/>
              <a:gd name="T61" fmla="*/ 15375 h 22531"/>
              <a:gd name="T62" fmla="*/ 11812 w 23062"/>
              <a:gd name="T63" fmla="*/ 15531 h 22531"/>
              <a:gd name="T64" fmla="*/ 10656 w 23062"/>
              <a:gd name="T65" fmla="*/ 16812 h 22531"/>
              <a:gd name="T66" fmla="*/ 13000 w 23062"/>
              <a:gd name="T67" fmla="*/ 15156 h 22531"/>
              <a:gd name="T68" fmla="*/ 21656 w 23062"/>
              <a:gd name="T69" fmla="*/ 10218 h 22531"/>
              <a:gd name="T70" fmla="*/ 18000 w 23062"/>
              <a:gd name="T71" fmla="*/ 12125 h 22531"/>
              <a:gd name="T72" fmla="*/ 21437 w 23062"/>
              <a:gd name="T73" fmla="*/ 10968 h 22531"/>
              <a:gd name="T74" fmla="*/ 17812 w 23062"/>
              <a:gd name="T75" fmla="*/ 12281 h 22531"/>
              <a:gd name="T76" fmla="*/ 12968 w 23062"/>
              <a:gd name="T77" fmla="*/ 15843 h 22531"/>
              <a:gd name="T78" fmla="*/ 7812 w 23062"/>
              <a:gd name="T79" fmla="*/ 19531 h 22531"/>
              <a:gd name="T80" fmla="*/ 8687 w 23062"/>
              <a:gd name="T81" fmla="*/ 19406 h 22531"/>
              <a:gd name="T82" fmla="*/ 13031 w 23062"/>
              <a:gd name="T83" fmla="*/ 14500 h 22531"/>
              <a:gd name="T84" fmla="*/ 9250 w 23062"/>
              <a:gd name="T85" fmla="*/ 19406 h 22531"/>
              <a:gd name="T86" fmla="*/ 15562 w 23062"/>
              <a:gd name="T87" fmla="*/ 15125 h 22531"/>
              <a:gd name="T88" fmla="*/ 8875 w 23062"/>
              <a:gd name="T89" fmla="*/ 19718 h 22531"/>
              <a:gd name="T90" fmla="*/ 5250 w 23062"/>
              <a:gd name="T91" fmla="*/ 3531 h 22531"/>
              <a:gd name="T92" fmla="*/ 17562 w 23062"/>
              <a:gd name="T93" fmla="*/ 16875 h 22531"/>
              <a:gd name="T94" fmla="*/ 11531 w 23062"/>
              <a:gd name="T95" fmla="*/ 17062 h 22531"/>
              <a:gd name="T96" fmla="*/ 12500 w 23062"/>
              <a:gd name="T97" fmla="*/ 16406 h 22531"/>
              <a:gd name="T98" fmla="*/ 16625 w 23062"/>
              <a:gd name="T99" fmla="*/ 15593 h 22531"/>
              <a:gd name="T100" fmla="*/ 11906 w 23062"/>
              <a:gd name="T101" fmla="*/ 15687 h 22531"/>
              <a:gd name="T102" fmla="*/ 1000 w 23062"/>
              <a:gd name="T103" fmla="*/ 12312 h 22531"/>
              <a:gd name="T104" fmla="*/ 12812 w 23062"/>
              <a:gd name="T105" fmla="*/ 16312 h 22531"/>
              <a:gd name="T106" fmla="*/ 20906 w 23062"/>
              <a:gd name="T107" fmla="*/ 11093 h 22531"/>
              <a:gd name="T108" fmla="*/ 20906 w 23062"/>
              <a:gd name="T109" fmla="*/ 11687 h 22531"/>
              <a:gd name="T110" fmla="*/ 17156 w 23062"/>
              <a:gd name="T111" fmla="*/ 17937 h 22531"/>
              <a:gd name="T112" fmla="*/ 15218 w 23062"/>
              <a:gd name="T113" fmla="*/ 18625 h 22531"/>
              <a:gd name="T114" fmla="*/ 17125 w 23062"/>
              <a:gd name="T115" fmla="*/ 17062 h 22531"/>
              <a:gd name="T116" fmla="*/ 17156 w 23062"/>
              <a:gd name="T117" fmla="*/ 15812 h 22531"/>
              <a:gd name="T118" fmla="*/ 15250 w 23062"/>
              <a:gd name="T119" fmla="*/ 15687 h 22531"/>
              <a:gd name="T120" fmla="*/ 13406 w 23062"/>
              <a:gd name="T121" fmla="*/ 17406 h 22531"/>
              <a:gd name="T122" fmla="*/ 8468 w 23062"/>
              <a:gd name="T123" fmla="*/ 4406 h 22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062" h="22531">
                <a:moveTo>
                  <a:pt x="12218" y="16406"/>
                </a:moveTo>
                <a:cubicBezTo>
                  <a:pt x="12218" y="16437"/>
                  <a:pt x="12187" y="16437"/>
                  <a:pt x="12187" y="16468"/>
                </a:cubicBezTo>
                <a:lnTo>
                  <a:pt x="12187" y="16468"/>
                </a:lnTo>
                <a:cubicBezTo>
                  <a:pt x="12156" y="16468"/>
                  <a:pt x="12156" y="16468"/>
                  <a:pt x="12156" y="16468"/>
                </a:cubicBezTo>
                <a:cubicBezTo>
                  <a:pt x="12156" y="16468"/>
                  <a:pt x="12125" y="16500"/>
                  <a:pt x="12156" y="16500"/>
                </a:cubicBezTo>
                <a:cubicBezTo>
                  <a:pt x="12156" y="16500"/>
                  <a:pt x="12187" y="16500"/>
                  <a:pt x="12187" y="16500"/>
                </a:cubicBezTo>
                <a:cubicBezTo>
                  <a:pt x="12218" y="16437"/>
                  <a:pt x="12281" y="16437"/>
                  <a:pt x="12312" y="16406"/>
                </a:cubicBezTo>
                <a:cubicBezTo>
                  <a:pt x="12281" y="16375"/>
                  <a:pt x="12250" y="16437"/>
                  <a:pt x="12218" y="16406"/>
                </a:cubicBezTo>
                <a:cubicBezTo>
                  <a:pt x="12093" y="16531"/>
                  <a:pt x="11937" y="16593"/>
                  <a:pt x="11812" y="16687"/>
                </a:cubicBezTo>
                <a:cubicBezTo>
                  <a:pt x="11812" y="16687"/>
                  <a:pt x="11781" y="16687"/>
                  <a:pt x="11781" y="16687"/>
                </a:cubicBezTo>
                <a:cubicBezTo>
                  <a:pt x="11781" y="16718"/>
                  <a:pt x="11750" y="16718"/>
                  <a:pt x="11750" y="16750"/>
                </a:cubicBezTo>
                <a:cubicBezTo>
                  <a:pt x="11593" y="16906"/>
                  <a:pt x="11406" y="17000"/>
                  <a:pt x="11250" y="17125"/>
                </a:cubicBezTo>
                <a:cubicBezTo>
                  <a:pt x="11187" y="17218"/>
                  <a:pt x="11093" y="17281"/>
                  <a:pt x="11031" y="17343"/>
                </a:cubicBezTo>
                <a:cubicBezTo>
                  <a:pt x="11000" y="17406"/>
                  <a:pt x="10968" y="17468"/>
                  <a:pt x="10968" y="17531"/>
                </a:cubicBezTo>
                <a:cubicBezTo>
                  <a:pt x="10937" y="17562"/>
                  <a:pt x="10937" y="17562"/>
                  <a:pt x="10968" y="17593"/>
                </a:cubicBezTo>
                <a:cubicBezTo>
                  <a:pt x="10968" y="17593"/>
                  <a:pt x="11000" y="17562"/>
                  <a:pt x="11000" y="17562"/>
                </a:cubicBezTo>
                <a:cubicBezTo>
                  <a:pt x="11031" y="17531"/>
                  <a:pt x="11062" y="17468"/>
                  <a:pt x="11125" y="17500"/>
                </a:cubicBezTo>
                <a:cubicBezTo>
                  <a:pt x="11156" y="17500"/>
                  <a:pt x="11156" y="17500"/>
                  <a:pt x="11156" y="17500"/>
                </a:cubicBezTo>
                <a:cubicBezTo>
                  <a:pt x="11156" y="17500"/>
                  <a:pt x="11156" y="17500"/>
                  <a:pt x="11156" y="17531"/>
                </a:cubicBezTo>
                <a:cubicBezTo>
                  <a:pt x="11156" y="17531"/>
                  <a:pt x="11156" y="17531"/>
                  <a:pt x="11156" y="17531"/>
                </a:cubicBezTo>
                <a:cubicBezTo>
                  <a:pt x="11187" y="17531"/>
                  <a:pt x="11187" y="17531"/>
                  <a:pt x="11218" y="17531"/>
                </a:cubicBezTo>
                <a:cubicBezTo>
                  <a:pt x="11218" y="17531"/>
                  <a:pt x="11218" y="17500"/>
                  <a:pt x="11218" y="17500"/>
                </a:cubicBezTo>
                <a:cubicBezTo>
                  <a:pt x="11218" y="17500"/>
                  <a:pt x="11218" y="17500"/>
                  <a:pt x="11218" y="17500"/>
                </a:cubicBezTo>
                <a:cubicBezTo>
                  <a:pt x="11218" y="17500"/>
                  <a:pt x="11218" y="17531"/>
                  <a:pt x="11218" y="17531"/>
                </a:cubicBezTo>
                <a:cubicBezTo>
                  <a:pt x="11062" y="17656"/>
                  <a:pt x="10906" y="17781"/>
                  <a:pt x="10781" y="17906"/>
                </a:cubicBezTo>
                <a:cubicBezTo>
                  <a:pt x="10750" y="17937"/>
                  <a:pt x="10718" y="17937"/>
                  <a:pt x="10750" y="17968"/>
                </a:cubicBezTo>
                <a:cubicBezTo>
                  <a:pt x="10750" y="18000"/>
                  <a:pt x="10781" y="17937"/>
                  <a:pt x="10812" y="17968"/>
                </a:cubicBezTo>
                <a:cubicBezTo>
                  <a:pt x="10812" y="17937"/>
                  <a:pt x="10843" y="17937"/>
                  <a:pt x="10843" y="17937"/>
                </a:cubicBezTo>
                <a:cubicBezTo>
                  <a:pt x="10843" y="17906"/>
                  <a:pt x="10843" y="17906"/>
                  <a:pt x="10843" y="17906"/>
                </a:cubicBezTo>
                <a:cubicBezTo>
                  <a:pt x="10875" y="17906"/>
                  <a:pt x="10875" y="17906"/>
                  <a:pt x="10875" y="17906"/>
                </a:cubicBezTo>
                <a:cubicBezTo>
                  <a:pt x="10875" y="17906"/>
                  <a:pt x="10875" y="17906"/>
                  <a:pt x="10875" y="17906"/>
                </a:cubicBezTo>
                <a:cubicBezTo>
                  <a:pt x="10875" y="17906"/>
                  <a:pt x="10875" y="17906"/>
                  <a:pt x="10875" y="17906"/>
                </a:cubicBezTo>
                <a:cubicBezTo>
                  <a:pt x="10906" y="17906"/>
                  <a:pt x="10906" y="17875"/>
                  <a:pt x="10906" y="17875"/>
                </a:cubicBezTo>
                <a:cubicBezTo>
                  <a:pt x="10906" y="17875"/>
                  <a:pt x="10937" y="17875"/>
                  <a:pt x="10937" y="17875"/>
                </a:cubicBezTo>
                <a:cubicBezTo>
                  <a:pt x="10937" y="17875"/>
                  <a:pt x="10937" y="17875"/>
                  <a:pt x="10937" y="17875"/>
                </a:cubicBezTo>
                <a:cubicBezTo>
                  <a:pt x="10906" y="17906"/>
                  <a:pt x="10906" y="17906"/>
                  <a:pt x="10875" y="17906"/>
                </a:cubicBezTo>
                <a:cubicBezTo>
                  <a:pt x="10875" y="17906"/>
                  <a:pt x="10875" y="17937"/>
                  <a:pt x="10843" y="17937"/>
                </a:cubicBezTo>
                <a:cubicBezTo>
                  <a:pt x="10843" y="17937"/>
                  <a:pt x="10843" y="17937"/>
                  <a:pt x="10843" y="17937"/>
                </a:cubicBezTo>
                <a:cubicBezTo>
                  <a:pt x="10843" y="17937"/>
                  <a:pt x="10843" y="17937"/>
                  <a:pt x="10843" y="17937"/>
                </a:cubicBezTo>
                <a:cubicBezTo>
                  <a:pt x="10843" y="17937"/>
                  <a:pt x="10843" y="17937"/>
                  <a:pt x="10843" y="17937"/>
                </a:cubicBezTo>
                <a:cubicBezTo>
                  <a:pt x="10843" y="17937"/>
                  <a:pt x="10843" y="17968"/>
                  <a:pt x="10812" y="17968"/>
                </a:cubicBezTo>
                <a:cubicBezTo>
                  <a:pt x="10812" y="17968"/>
                  <a:pt x="10812" y="17968"/>
                  <a:pt x="10812" y="17968"/>
                </a:cubicBezTo>
                <a:cubicBezTo>
                  <a:pt x="10781" y="18000"/>
                  <a:pt x="10750" y="18062"/>
                  <a:pt x="10687" y="18093"/>
                </a:cubicBezTo>
                <a:cubicBezTo>
                  <a:pt x="10687" y="18125"/>
                  <a:pt x="10656" y="18156"/>
                  <a:pt x="10625" y="18187"/>
                </a:cubicBezTo>
                <a:cubicBezTo>
                  <a:pt x="10593" y="18187"/>
                  <a:pt x="10562" y="18250"/>
                  <a:pt x="10531" y="18187"/>
                </a:cubicBezTo>
                <a:cubicBezTo>
                  <a:pt x="10468" y="18218"/>
                  <a:pt x="10406" y="18187"/>
                  <a:pt x="10375" y="18250"/>
                </a:cubicBezTo>
                <a:cubicBezTo>
                  <a:pt x="10281" y="18343"/>
                  <a:pt x="10156" y="18437"/>
                  <a:pt x="10031" y="18531"/>
                </a:cubicBezTo>
                <a:cubicBezTo>
                  <a:pt x="10000" y="18562"/>
                  <a:pt x="10000" y="18593"/>
                  <a:pt x="10031" y="18625"/>
                </a:cubicBezTo>
                <a:cubicBezTo>
                  <a:pt x="10031" y="18687"/>
                  <a:pt x="10000" y="18687"/>
                  <a:pt x="9968" y="18718"/>
                </a:cubicBezTo>
                <a:cubicBezTo>
                  <a:pt x="9875" y="18781"/>
                  <a:pt x="9843" y="18843"/>
                  <a:pt x="9750" y="18906"/>
                </a:cubicBezTo>
                <a:cubicBezTo>
                  <a:pt x="9531" y="19093"/>
                  <a:pt x="9312" y="19281"/>
                  <a:pt x="9093" y="19468"/>
                </a:cubicBezTo>
                <a:cubicBezTo>
                  <a:pt x="9250" y="19250"/>
                  <a:pt x="9468" y="19093"/>
                  <a:pt x="9656" y="18937"/>
                </a:cubicBezTo>
                <a:cubicBezTo>
                  <a:pt x="9625" y="18906"/>
                  <a:pt x="9593" y="18875"/>
                  <a:pt x="9531" y="18937"/>
                </a:cubicBezTo>
                <a:cubicBezTo>
                  <a:pt x="9468" y="19000"/>
                  <a:pt x="9375" y="19062"/>
                  <a:pt x="9343" y="19156"/>
                </a:cubicBezTo>
                <a:cubicBezTo>
                  <a:pt x="9312" y="19187"/>
                  <a:pt x="9281" y="19156"/>
                  <a:pt x="9250" y="19187"/>
                </a:cubicBezTo>
                <a:cubicBezTo>
                  <a:pt x="9093" y="19312"/>
                  <a:pt x="8937" y="19437"/>
                  <a:pt x="8812" y="19593"/>
                </a:cubicBezTo>
                <a:cubicBezTo>
                  <a:pt x="8750" y="19625"/>
                  <a:pt x="8687" y="19687"/>
                  <a:pt x="8625" y="19718"/>
                </a:cubicBezTo>
                <a:cubicBezTo>
                  <a:pt x="8562" y="19750"/>
                  <a:pt x="8562" y="19781"/>
                  <a:pt x="8531" y="19812"/>
                </a:cubicBezTo>
                <a:cubicBezTo>
                  <a:pt x="8468" y="19875"/>
                  <a:pt x="8406" y="19937"/>
                  <a:pt x="8312" y="19968"/>
                </a:cubicBezTo>
                <a:cubicBezTo>
                  <a:pt x="8187" y="20093"/>
                  <a:pt x="8031" y="20218"/>
                  <a:pt x="7875" y="20343"/>
                </a:cubicBezTo>
                <a:cubicBezTo>
                  <a:pt x="7843" y="20375"/>
                  <a:pt x="7843" y="20406"/>
                  <a:pt x="7812" y="20375"/>
                </a:cubicBezTo>
                <a:cubicBezTo>
                  <a:pt x="7812" y="20343"/>
                  <a:pt x="7781" y="20312"/>
                  <a:pt x="7812" y="20281"/>
                </a:cubicBezTo>
                <a:cubicBezTo>
                  <a:pt x="7875" y="20250"/>
                  <a:pt x="7875" y="20218"/>
                  <a:pt x="7906" y="20187"/>
                </a:cubicBezTo>
                <a:cubicBezTo>
                  <a:pt x="7937" y="20156"/>
                  <a:pt x="7937" y="20125"/>
                  <a:pt x="7968" y="20093"/>
                </a:cubicBezTo>
                <a:cubicBezTo>
                  <a:pt x="7968" y="20093"/>
                  <a:pt x="7968" y="20093"/>
                  <a:pt x="7968" y="20093"/>
                </a:cubicBezTo>
                <a:cubicBezTo>
                  <a:pt x="7968" y="20093"/>
                  <a:pt x="8000" y="20093"/>
                  <a:pt x="8000" y="20062"/>
                </a:cubicBezTo>
                <a:cubicBezTo>
                  <a:pt x="8000" y="20062"/>
                  <a:pt x="8000" y="20062"/>
                  <a:pt x="8000" y="20062"/>
                </a:cubicBezTo>
                <a:cubicBezTo>
                  <a:pt x="8000" y="20062"/>
                  <a:pt x="8000" y="20062"/>
                  <a:pt x="8000" y="20062"/>
                </a:cubicBezTo>
                <a:cubicBezTo>
                  <a:pt x="7968" y="20062"/>
                  <a:pt x="7968" y="20062"/>
                  <a:pt x="7968" y="20062"/>
                </a:cubicBezTo>
                <a:cubicBezTo>
                  <a:pt x="7968" y="20093"/>
                  <a:pt x="7968" y="20093"/>
                  <a:pt x="7968" y="20093"/>
                </a:cubicBezTo>
                <a:cubicBezTo>
                  <a:pt x="7968" y="20093"/>
                  <a:pt x="6906" y="20875"/>
                  <a:pt x="6062" y="21593"/>
                </a:cubicBezTo>
                <a:cubicBezTo>
                  <a:pt x="6093" y="21593"/>
                  <a:pt x="6093" y="21593"/>
                  <a:pt x="6125" y="21593"/>
                </a:cubicBezTo>
                <a:cubicBezTo>
                  <a:pt x="6156" y="21625"/>
                  <a:pt x="6093" y="21625"/>
                  <a:pt x="6093" y="21656"/>
                </a:cubicBezTo>
                <a:cubicBezTo>
                  <a:pt x="6062" y="21656"/>
                  <a:pt x="6000" y="21718"/>
                  <a:pt x="6031" y="21750"/>
                </a:cubicBezTo>
                <a:cubicBezTo>
                  <a:pt x="6062" y="21781"/>
                  <a:pt x="6093" y="21718"/>
                  <a:pt x="6125" y="21687"/>
                </a:cubicBezTo>
                <a:cubicBezTo>
                  <a:pt x="6468" y="21468"/>
                  <a:pt x="6750" y="21187"/>
                  <a:pt x="7062" y="20968"/>
                </a:cubicBezTo>
                <a:cubicBezTo>
                  <a:pt x="7125" y="20937"/>
                  <a:pt x="7156" y="20906"/>
                  <a:pt x="7187" y="20875"/>
                </a:cubicBezTo>
                <a:cubicBezTo>
                  <a:pt x="7312" y="20781"/>
                  <a:pt x="7437" y="20656"/>
                  <a:pt x="7593" y="20562"/>
                </a:cubicBezTo>
                <a:cubicBezTo>
                  <a:pt x="7593" y="20562"/>
                  <a:pt x="7593" y="20562"/>
                  <a:pt x="7593" y="20562"/>
                </a:cubicBezTo>
                <a:cubicBezTo>
                  <a:pt x="7625" y="20531"/>
                  <a:pt x="7625" y="20531"/>
                  <a:pt x="7625" y="20531"/>
                </a:cubicBezTo>
                <a:cubicBezTo>
                  <a:pt x="7625" y="20531"/>
                  <a:pt x="7656" y="20500"/>
                  <a:pt x="7656" y="20500"/>
                </a:cubicBezTo>
                <a:cubicBezTo>
                  <a:pt x="7687" y="20500"/>
                  <a:pt x="7687" y="20468"/>
                  <a:pt x="7718" y="20468"/>
                </a:cubicBezTo>
                <a:cubicBezTo>
                  <a:pt x="7687" y="20531"/>
                  <a:pt x="7687" y="20531"/>
                  <a:pt x="7625" y="20531"/>
                </a:cubicBezTo>
                <a:cubicBezTo>
                  <a:pt x="7625" y="20531"/>
                  <a:pt x="7625" y="20562"/>
                  <a:pt x="7625" y="20562"/>
                </a:cubicBezTo>
                <a:cubicBezTo>
                  <a:pt x="7625" y="20562"/>
                  <a:pt x="7593" y="20562"/>
                  <a:pt x="7593" y="20562"/>
                </a:cubicBezTo>
                <a:cubicBezTo>
                  <a:pt x="7562" y="20625"/>
                  <a:pt x="7500" y="20687"/>
                  <a:pt x="7468" y="20718"/>
                </a:cubicBezTo>
                <a:cubicBezTo>
                  <a:pt x="7406" y="20750"/>
                  <a:pt x="7343" y="20812"/>
                  <a:pt x="7312" y="20843"/>
                </a:cubicBezTo>
                <a:cubicBezTo>
                  <a:pt x="7281" y="20875"/>
                  <a:pt x="7218" y="20906"/>
                  <a:pt x="7250" y="20937"/>
                </a:cubicBezTo>
                <a:cubicBezTo>
                  <a:pt x="7281" y="21000"/>
                  <a:pt x="7312" y="20937"/>
                  <a:pt x="7343" y="20906"/>
                </a:cubicBezTo>
                <a:cubicBezTo>
                  <a:pt x="7375" y="20906"/>
                  <a:pt x="7375" y="20906"/>
                  <a:pt x="7375" y="20875"/>
                </a:cubicBezTo>
                <a:cubicBezTo>
                  <a:pt x="7406" y="20875"/>
                  <a:pt x="7406" y="20875"/>
                  <a:pt x="7406" y="20875"/>
                </a:cubicBezTo>
                <a:cubicBezTo>
                  <a:pt x="7406" y="20875"/>
                  <a:pt x="7406" y="20875"/>
                  <a:pt x="7437" y="20843"/>
                </a:cubicBezTo>
                <a:lnTo>
                  <a:pt x="7437" y="20843"/>
                </a:lnTo>
                <a:cubicBezTo>
                  <a:pt x="7406" y="20843"/>
                  <a:pt x="7406" y="20875"/>
                  <a:pt x="7375" y="20875"/>
                </a:cubicBezTo>
                <a:cubicBezTo>
                  <a:pt x="7343" y="20968"/>
                  <a:pt x="7250" y="21031"/>
                  <a:pt x="7156" y="21093"/>
                </a:cubicBezTo>
                <a:cubicBezTo>
                  <a:pt x="6843" y="21343"/>
                  <a:pt x="6531" y="21625"/>
                  <a:pt x="6218" y="21875"/>
                </a:cubicBezTo>
                <a:cubicBezTo>
                  <a:pt x="6156" y="21937"/>
                  <a:pt x="6093" y="22000"/>
                  <a:pt x="6000" y="22031"/>
                </a:cubicBezTo>
                <a:cubicBezTo>
                  <a:pt x="5937" y="22093"/>
                  <a:pt x="5906" y="22156"/>
                  <a:pt x="5843" y="22218"/>
                </a:cubicBezTo>
                <a:cubicBezTo>
                  <a:pt x="5843" y="22218"/>
                  <a:pt x="5843" y="22218"/>
                  <a:pt x="5843" y="22250"/>
                </a:cubicBezTo>
                <a:cubicBezTo>
                  <a:pt x="5843" y="22250"/>
                  <a:pt x="5843" y="22250"/>
                  <a:pt x="5843" y="22250"/>
                </a:cubicBezTo>
                <a:cubicBezTo>
                  <a:pt x="5875" y="22250"/>
                  <a:pt x="5906" y="22250"/>
                  <a:pt x="5906" y="22250"/>
                </a:cubicBezTo>
                <a:cubicBezTo>
                  <a:pt x="6312" y="22000"/>
                  <a:pt x="6687" y="21718"/>
                  <a:pt x="7031" y="21437"/>
                </a:cubicBezTo>
                <a:cubicBezTo>
                  <a:pt x="7093" y="21406"/>
                  <a:pt x="7156" y="21343"/>
                  <a:pt x="7218" y="21312"/>
                </a:cubicBezTo>
                <a:cubicBezTo>
                  <a:pt x="7281" y="21250"/>
                  <a:pt x="7375" y="21187"/>
                  <a:pt x="7437" y="21125"/>
                </a:cubicBezTo>
                <a:cubicBezTo>
                  <a:pt x="7437" y="21125"/>
                  <a:pt x="7437" y="21125"/>
                  <a:pt x="7437" y="21125"/>
                </a:cubicBezTo>
                <a:cubicBezTo>
                  <a:pt x="7468" y="21125"/>
                  <a:pt x="7468" y="21093"/>
                  <a:pt x="7500" y="21093"/>
                </a:cubicBezTo>
                <a:cubicBezTo>
                  <a:pt x="7531" y="21062"/>
                  <a:pt x="7562" y="21031"/>
                  <a:pt x="7625" y="20968"/>
                </a:cubicBezTo>
                <a:cubicBezTo>
                  <a:pt x="7625" y="20968"/>
                  <a:pt x="7625" y="20968"/>
                  <a:pt x="7625" y="20968"/>
                </a:cubicBezTo>
                <a:cubicBezTo>
                  <a:pt x="7656" y="20937"/>
                  <a:pt x="7656" y="20937"/>
                  <a:pt x="7687" y="20906"/>
                </a:cubicBezTo>
                <a:cubicBezTo>
                  <a:pt x="7718" y="20906"/>
                  <a:pt x="7750" y="20875"/>
                  <a:pt x="7781" y="20875"/>
                </a:cubicBezTo>
                <a:cubicBezTo>
                  <a:pt x="8281" y="20437"/>
                  <a:pt x="8781" y="20000"/>
                  <a:pt x="9281" y="19593"/>
                </a:cubicBezTo>
                <a:cubicBezTo>
                  <a:pt x="9687" y="19250"/>
                  <a:pt x="10093" y="18906"/>
                  <a:pt x="10500" y="18562"/>
                </a:cubicBezTo>
                <a:cubicBezTo>
                  <a:pt x="10625" y="18468"/>
                  <a:pt x="10718" y="18375"/>
                  <a:pt x="10843" y="18281"/>
                </a:cubicBezTo>
                <a:cubicBezTo>
                  <a:pt x="10843" y="18281"/>
                  <a:pt x="10875" y="18250"/>
                  <a:pt x="10906" y="18281"/>
                </a:cubicBezTo>
                <a:cubicBezTo>
                  <a:pt x="10906" y="18250"/>
                  <a:pt x="10906" y="18250"/>
                  <a:pt x="10906" y="18218"/>
                </a:cubicBezTo>
                <a:cubicBezTo>
                  <a:pt x="10937" y="18218"/>
                  <a:pt x="10937" y="18218"/>
                  <a:pt x="10968" y="18218"/>
                </a:cubicBezTo>
                <a:cubicBezTo>
                  <a:pt x="10968" y="18218"/>
                  <a:pt x="10968" y="18187"/>
                  <a:pt x="10968" y="18187"/>
                </a:cubicBezTo>
                <a:cubicBezTo>
                  <a:pt x="10968" y="18187"/>
                  <a:pt x="11000" y="18156"/>
                  <a:pt x="11031" y="18156"/>
                </a:cubicBezTo>
                <a:cubicBezTo>
                  <a:pt x="11062" y="18093"/>
                  <a:pt x="11156" y="18031"/>
                  <a:pt x="11218" y="18000"/>
                </a:cubicBezTo>
                <a:cubicBezTo>
                  <a:pt x="11218" y="17968"/>
                  <a:pt x="11250" y="17968"/>
                  <a:pt x="11250" y="17968"/>
                </a:cubicBezTo>
                <a:cubicBezTo>
                  <a:pt x="11281" y="17937"/>
                  <a:pt x="11312" y="17906"/>
                  <a:pt x="11343" y="17875"/>
                </a:cubicBezTo>
                <a:cubicBezTo>
                  <a:pt x="11406" y="17812"/>
                  <a:pt x="11500" y="17750"/>
                  <a:pt x="11593" y="17687"/>
                </a:cubicBezTo>
                <a:cubicBezTo>
                  <a:pt x="11593" y="17812"/>
                  <a:pt x="11500" y="17812"/>
                  <a:pt x="11437" y="17875"/>
                </a:cubicBezTo>
                <a:cubicBezTo>
                  <a:pt x="11312" y="17937"/>
                  <a:pt x="11218" y="18031"/>
                  <a:pt x="11093" y="18125"/>
                </a:cubicBezTo>
                <a:cubicBezTo>
                  <a:pt x="11093" y="18125"/>
                  <a:pt x="11093" y="18125"/>
                  <a:pt x="11093" y="18125"/>
                </a:cubicBezTo>
                <a:cubicBezTo>
                  <a:pt x="11093" y="18156"/>
                  <a:pt x="11062" y="18156"/>
                  <a:pt x="11031" y="18156"/>
                </a:cubicBezTo>
                <a:cubicBezTo>
                  <a:pt x="11031" y="18156"/>
                  <a:pt x="11031" y="18156"/>
                  <a:pt x="11031" y="18156"/>
                </a:cubicBezTo>
                <a:cubicBezTo>
                  <a:pt x="11031" y="18187"/>
                  <a:pt x="11000" y="18218"/>
                  <a:pt x="11000" y="18218"/>
                </a:cubicBezTo>
                <a:cubicBezTo>
                  <a:pt x="11000" y="18218"/>
                  <a:pt x="10968" y="18218"/>
                  <a:pt x="10968" y="18218"/>
                </a:cubicBezTo>
                <a:cubicBezTo>
                  <a:pt x="10968" y="18218"/>
                  <a:pt x="10968" y="18218"/>
                  <a:pt x="10968" y="18218"/>
                </a:cubicBezTo>
                <a:cubicBezTo>
                  <a:pt x="10968" y="18218"/>
                  <a:pt x="10968" y="18218"/>
                  <a:pt x="10968" y="18218"/>
                </a:cubicBezTo>
                <a:cubicBezTo>
                  <a:pt x="10968" y="18250"/>
                  <a:pt x="10968" y="18250"/>
                  <a:pt x="10937" y="18250"/>
                </a:cubicBezTo>
                <a:cubicBezTo>
                  <a:pt x="10937" y="18281"/>
                  <a:pt x="10906" y="18281"/>
                  <a:pt x="10906" y="18281"/>
                </a:cubicBezTo>
                <a:cubicBezTo>
                  <a:pt x="10906" y="18281"/>
                  <a:pt x="10906" y="18312"/>
                  <a:pt x="10875" y="18312"/>
                </a:cubicBezTo>
                <a:cubicBezTo>
                  <a:pt x="10875" y="18375"/>
                  <a:pt x="10812" y="18375"/>
                  <a:pt x="10781" y="18406"/>
                </a:cubicBezTo>
                <a:cubicBezTo>
                  <a:pt x="10781" y="18406"/>
                  <a:pt x="10781" y="18406"/>
                  <a:pt x="10781" y="18406"/>
                </a:cubicBezTo>
                <a:cubicBezTo>
                  <a:pt x="10468" y="18625"/>
                  <a:pt x="10218" y="18875"/>
                  <a:pt x="9937" y="19093"/>
                </a:cubicBezTo>
                <a:cubicBezTo>
                  <a:pt x="9625" y="19375"/>
                  <a:pt x="9281" y="19656"/>
                  <a:pt x="8968" y="19937"/>
                </a:cubicBezTo>
                <a:cubicBezTo>
                  <a:pt x="8656" y="20187"/>
                  <a:pt x="8312" y="20468"/>
                  <a:pt x="8000" y="20718"/>
                </a:cubicBezTo>
                <a:cubicBezTo>
                  <a:pt x="7843" y="20843"/>
                  <a:pt x="7687" y="20968"/>
                  <a:pt x="7531" y="21093"/>
                </a:cubicBezTo>
                <a:cubicBezTo>
                  <a:pt x="7531" y="21093"/>
                  <a:pt x="7531" y="21125"/>
                  <a:pt x="7531" y="21125"/>
                </a:cubicBezTo>
                <a:cubicBezTo>
                  <a:pt x="7500" y="21125"/>
                  <a:pt x="7500" y="21125"/>
                  <a:pt x="7500" y="21125"/>
                </a:cubicBezTo>
                <a:cubicBezTo>
                  <a:pt x="7500" y="21125"/>
                  <a:pt x="7468" y="21156"/>
                  <a:pt x="7468" y="21156"/>
                </a:cubicBezTo>
                <a:cubicBezTo>
                  <a:pt x="7468" y="21187"/>
                  <a:pt x="7437" y="21187"/>
                  <a:pt x="7437" y="21187"/>
                </a:cubicBezTo>
                <a:cubicBezTo>
                  <a:pt x="7437" y="21187"/>
                  <a:pt x="7406" y="21218"/>
                  <a:pt x="7406" y="21218"/>
                </a:cubicBezTo>
                <a:cubicBezTo>
                  <a:pt x="7406" y="21218"/>
                  <a:pt x="7375" y="21218"/>
                  <a:pt x="7375" y="21218"/>
                </a:cubicBezTo>
                <a:cubicBezTo>
                  <a:pt x="7281" y="21312"/>
                  <a:pt x="7218" y="21406"/>
                  <a:pt x="7093" y="21500"/>
                </a:cubicBezTo>
                <a:cubicBezTo>
                  <a:pt x="6875" y="21656"/>
                  <a:pt x="6656" y="21875"/>
                  <a:pt x="6437" y="22031"/>
                </a:cubicBezTo>
                <a:cubicBezTo>
                  <a:pt x="6250" y="22187"/>
                  <a:pt x="6062" y="22343"/>
                  <a:pt x="5875" y="22437"/>
                </a:cubicBezTo>
                <a:cubicBezTo>
                  <a:pt x="6000" y="22468"/>
                  <a:pt x="6093" y="22375"/>
                  <a:pt x="6187" y="22312"/>
                </a:cubicBezTo>
                <a:cubicBezTo>
                  <a:pt x="6437" y="22156"/>
                  <a:pt x="6718" y="22000"/>
                  <a:pt x="6937" y="21781"/>
                </a:cubicBezTo>
                <a:cubicBezTo>
                  <a:pt x="6937" y="21781"/>
                  <a:pt x="6968" y="21781"/>
                  <a:pt x="6968" y="21781"/>
                </a:cubicBezTo>
                <a:cubicBezTo>
                  <a:pt x="6968" y="21781"/>
                  <a:pt x="6968" y="21781"/>
                  <a:pt x="7000" y="21750"/>
                </a:cubicBezTo>
                <a:cubicBezTo>
                  <a:pt x="7062" y="21718"/>
                  <a:pt x="7125" y="21656"/>
                  <a:pt x="7187" y="21593"/>
                </a:cubicBezTo>
                <a:cubicBezTo>
                  <a:pt x="7250" y="21562"/>
                  <a:pt x="7312" y="21500"/>
                  <a:pt x="7375" y="21437"/>
                </a:cubicBezTo>
                <a:cubicBezTo>
                  <a:pt x="7750" y="21125"/>
                  <a:pt x="8093" y="20843"/>
                  <a:pt x="8468" y="20531"/>
                </a:cubicBezTo>
                <a:cubicBezTo>
                  <a:pt x="8500" y="20500"/>
                  <a:pt x="8500" y="20500"/>
                  <a:pt x="8531" y="20468"/>
                </a:cubicBezTo>
                <a:cubicBezTo>
                  <a:pt x="8562" y="20437"/>
                  <a:pt x="8593" y="20437"/>
                  <a:pt x="8593" y="20406"/>
                </a:cubicBezTo>
                <a:cubicBezTo>
                  <a:pt x="8656" y="20375"/>
                  <a:pt x="8687" y="20343"/>
                  <a:pt x="8718" y="20281"/>
                </a:cubicBezTo>
                <a:cubicBezTo>
                  <a:pt x="8718" y="20281"/>
                  <a:pt x="8718" y="20281"/>
                  <a:pt x="8718" y="20281"/>
                </a:cubicBezTo>
                <a:cubicBezTo>
                  <a:pt x="8718" y="20281"/>
                  <a:pt x="8750" y="20281"/>
                  <a:pt x="8750" y="20281"/>
                </a:cubicBezTo>
                <a:cubicBezTo>
                  <a:pt x="8750" y="20250"/>
                  <a:pt x="8781" y="20250"/>
                  <a:pt x="8781" y="20218"/>
                </a:cubicBezTo>
                <a:cubicBezTo>
                  <a:pt x="9031" y="20031"/>
                  <a:pt x="9281" y="19843"/>
                  <a:pt x="9531" y="19625"/>
                </a:cubicBezTo>
                <a:cubicBezTo>
                  <a:pt x="9781" y="19406"/>
                  <a:pt x="10031" y="19218"/>
                  <a:pt x="10281" y="19000"/>
                </a:cubicBezTo>
                <a:cubicBezTo>
                  <a:pt x="10406" y="18875"/>
                  <a:pt x="10562" y="18750"/>
                  <a:pt x="10718" y="18625"/>
                </a:cubicBezTo>
                <a:cubicBezTo>
                  <a:pt x="10718" y="18625"/>
                  <a:pt x="10718" y="18593"/>
                  <a:pt x="10750" y="18593"/>
                </a:cubicBezTo>
                <a:cubicBezTo>
                  <a:pt x="10750" y="18593"/>
                  <a:pt x="10750" y="18593"/>
                  <a:pt x="10750" y="18593"/>
                </a:cubicBezTo>
                <a:cubicBezTo>
                  <a:pt x="10750" y="18593"/>
                  <a:pt x="10750" y="18593"/>
                  <a:pt x="10781" y="18562"/>
                </a:cubicBezTo>
                <a:cubicBezTo>
                  <a:pt x="10781" y="18562"/>
                  <a:pt x="10781" y="18562"/>
                  <a:pt x="10781" y="18562"/>
                </a:cubicBezTo>
                <a:cubicBezTo>
                  <a:pt x="10812" y="18531"/>
                  <a:pt x="10812" y="18531"/>
                  <a:pt x="10843" y="18531"/>
                </a:cubicBezTo>
                <a:cubicBezTo>
                  <a:pt x="10843" y="18531"/>
                  <a:pt x="10843" y="18531"/>
                  <a:pt x="10843" y="18531"/>
                </a:cubicBezTo>
                <a:cubicBezTo>
                  <a:pt x="10843" y="18531"/>
                  <a:pt x="10843" y="18531"/>
                  <a:pt x="10843" y="18531"/>
                </a:cubicBezTo>
                <a:cubicBezTo>
                  <a:pt x="10843" y="18531"/>
                  <a:pt x="10843" y="18531"/>
                  <a:pt x="10843" y="18500"/>
                </a:cubicBezTo>
                <a:cubicBezTo>
                  <a:pt x="10843" y="18500"/>
                  <a:pt x="10843" y="18500"/>
                  <a:pt x="10843" y="18500"/>
                </a:cubicBezTo>
                <a:cubicBezTo>
                  <a:pt x="10843" y="18468"/>
                  <a:pt x="10875" y="18468"/>
                  <a:pt x="10906" y="18437"/>
                </a:cubicBezTo>
                <a:cubicBezTo>
                  <a:pt x="10968" y="18375"/>
                  <a:pt x="11031" y="18343"/>
                  <a:pt x="11125" y="18281"/>
                </a:cubicBezTo>
                <a:cubicBezTo>
                  <a:pt x="11343" y="18125"/>
                  <a:pt x="11562" y="17906"/>
                  <a:pt x="11812" y="17718"/>
                </a:cubicBezTo>
                <a:cubicBezTo>
                  <a:pt x="11843" y="17718"/>
                  <a:pt x="11843" y="17687"/>
                  <a:pt x="11875" y="17687"/>
                </a:cubicBezTo>
                <a:cubicBezTo>
                  <a:pt x="11875" y="17656"/>
                  <a:pt x="11906" y="17656"/>
                  <a:pt x="11937" y="17656"/>
                </a:cubicBezTo>
                <a:cubicBezTo>
                  <a:pt x="11937" y="17687"/>
                  <a:pt x="11906" y="17687"/>
                  <a:pt x="11875" y="17687"/>
                </a:cubicBezTo>
                <a:cubicBezTo>
                  <a:pt x="11875" y="17750"/>
                  <a:pt x="11812" y="17781"/>
                  <a:pt x="11781" y="17812"/>
                </a:cubicBezTo>
                <a:cubicBezTo>
                  <a:pt x="11625" y="17937"/>
                  <a:pt x="11468" y="18062"/>
                  <a:pt x="11312" y="18218"/>
                </a:cubicBezTo>
                <a:cubicBezTo>
                  <a:pt x="11281" y="18218"/>
                  <a:pt x="11281" y="18218"/>
                  <a:pt x="11281" y="18250"/>
                </a:cubicBezTo>
                <a:cubicBezTo>
                  <a:pt x="11250" y="18250"/>
                  <a:pt x="11250" y="18250"/>
                  <a:pt x="11250" y="18281"/>
                </a:cubicBezTo>
                <a:cubicBezTo>
                  <a:pt x="11281" y="18281"/>
                  <a:pt x="11312" y="18250"/>
                  <a:pt x="11343" y="18250"/>
                </a:cubicBezTo>
                <a:cubicBezTo>
                  <a:pt x="11343" y="18218"/>
                  <a:pt x="11375" y="18187"/>
                  <a:pt x="11406" y="18187"/>
                </a:cubicBezTo>
                <a:cubicBezTo>
                  <a:pt x="11468" y="18125"/>
                  <a:pt x="11562" y="18031"/>
                  <a:pt x="11656" y="17968"/>
                </a:cubicBezTo>
                <a:cubicBezTo>
                  <a:pt x="11531" y="18125"/>
                  <a:pt x="11375" y="18250"/>
                  <a:pt x="11218" y="18375"/>
                </a:cubicBezTo>
                <a:cubicBezTo>
                  <a:pt x="10781" y="18750"/>
                  <a:pt x="10343" y="19156"/>
                  <a:pt x="9937" y="19531"/>
                </a:cubicBezTo>
                <a:cubicBezTo>
                  <a:pt x="9375" y="20031"/>
                  <a:pt x="8812" y="20500"/>
                  <a:pt x="8218" y="21000"/>
                </a:cubicBezTo>
                <a:cubicBezTo>
                  <a:pt x="7937" y="21250"/>
                  <a:pt x="7625" y="21531"/>
                  <a:pt x="7312" y="21781"/>
                </a:cubicBezTo>
                <a:cubicBezTo>
                  <a:pt x="7093" y="22000"/>
                  <a:pt x="6875" y="22156"/>
                  <a:pt x="6625" y="22343"/>
                </a:cubicBezTo>
                <a:cubicBezTo>
                  <a:pt x="6406" y="22500"/>
                  <a:pt x="6187" y="22531"/>
                  <a:pt x="5937" y="22468"/>
                </a:cubicBezTo>
                <a:cubicBezTo>
                  <a:pt x="5875" y="22468"/>
                  <a:pt x="5843" y="22500"/>
                  <a:pt x="5812" y="22437"/>
                </a:cubicBezTo>
                <a:cubicBezTo>
                  <a:pt x="5812" y="22437"/>
                  <a:pt x="5781" y="22437"/>
                  <a:pt x="5781" y="22437"/>
                </a:cubicBezTo>
                <a:cubicBezTo>
                  <a:pt x="5781" y="22437"/>
                  <a:pt x="5750" y="22437"/>
                  <a:pt x="5750" y="22437"/>
                </a:cubicBezTo>
                <a:cubicBezTo>
                  <a:pt x="5593" y="22437"/>
                  <a:pt x="5437" y="22406"/>
                  <a:pt x="5281" y="22375"/>
                </a:cubicBezTo>
                <a:cubicBezTo>
                  <a:pt x="4875" y="22250"/>
                  <a:pt x="4625" y="22093"/>
                  <a:pt x="4437" y="21937"/>
                </a:cubicBezTo>
                <a:cubicBezTo>
                  <a:pt x="4093" y="21656"/>
                  <a:pt x="3781" y="21312"/>
                  <a:pt x="3593" y="20875"/>
                </a:cubicBezTo>
                <a:cubicBezTo>
                  <a:pt x="3531" y="20781"/>
                  <a:pt x="3468" y="20656"/>
                  <a:pt x="3468" y="20531"/>
                </a:cubicBezTo>
                <a:cubicBezTo>
                  <a:pt x="3437" y="20500"/>
                  <a:pt x="3468" y="20468"/>
                  <a:pt x="3468" y="20468"/>
                </a:cubicBezTo>
                <a:cubicBezTo>
                  <a:pt x="3500" y="20437"/>
                  <a:pt x="3531" y="20437"/>
                  <a:pt x="3562" y="20406"/>
                </a:cubicBezTo>
                <a:cubicBezTo>
                  <a:pt x="3875" y="20281"/>
                  <a:pt x="4093" y="20000"/>
                  <a:pt x="4343" y="19781"/>
                </a:cubicBezTo>
                <a:cubicBezTo>
                  <a:pt x="4562" y="19593"/>
                  <a:pt x="4781" y="19375"/>
                  <a:pt x="5031" y="19187"/>
                </a:cubicBezTo>
                <a:cubicBezTo>
                  <a:pt x="5437" y="18875"/>
                  <a:pt x="5843" y="18500"/>
                  <a:pt x="6250" y="18125"/>
                </a:cubicBezTo>
                <a:cubicBezTo>
                  <a:pt x="6656" y="17718"/>
                  <a:pt x="7093" y="17343"/>
                  <a:pt x="7531" y="16968"/>
                </a:cubicBezTo>
                <a:cubicBezTo>
                  <a:pt x="7562" y="16906"/>
                  <a:pt x="7625" y="16875"/>
                  <a:pt x="7687" y="16812"/>
                </a:cubicBezTo>
                <a:cubicBezTo>
                  <a:pt x="7687" y="16812"/>
                  <a:pt x="7687" y="16812"/>
                  <a:pt x="7718" y="16812"/>
                </a:cubicBezTo>
                <a:cubicBezTo>
                  <a:pt x="7718" y="16812"/>
                  <a:pt x="7718" y="16781"/>
                  <a:pt x="7718" y="16781"/>
                </a:cubicBezTo>
                <a:cubicBezTo>
                  <a:pt x="7531" y="16906"/>
                  <a:pt x="7375" y="17031"/>
                  <a:pt x="7187" y="17156"/>
                </a:cubicBezTo>
                <a:cubicBezTo>
                  <a:pt x="6906" y="17375"/>
                  <a:pt x="6656" y="17625"/>
                  <a:pt x="6375" y="17875"/>
                </a:cubicBezTo>
                <a:cubicBezTo>
                  <a:pt x="5843" y="18312"/>
                  <a:pt x="5312" y="18781"/>
                  <a:pt x="4781" y="19250"/>
                </a:cubicBezTo>
                <a:cubicBezTo>
                  <a:pt x="4625" y="19406"/>
                  <a:pt x="4468" y="19531"/>
                  <a:pt x="4281" y="19687"/>
                </a:cubicBezTo>
                <a:cubicBezTo>
                  <a:pt x="4031" y="19906"/>
                  <a:pt x="3812" y="20156"/>
                  <a:pt x="3531" y="20343"/>
                </a:cubicBezTo>
                <a:cubicBezTo>
                  <a:pt x="3500" y="20375"/>
                  <a:pt x="3500" y="20375"/>
                  <a:pt x="3468" y="20406"/>
                </a:cubicBezTo>
                <a:cubicBezTo>
                  <a:pt x="3468" y="20406"/>
                  <a:pt x="3437" y="20406"/>
                  <a:pt x="3437" y="20406"/>
                </a:cubicBezTo>
                <a:cubicBezTo>
                  <a:pt x="3406" y="20375"/>
                  <a:pt x="3437" y="20375"/>
                  <a:pt x="3437" y="20343"/>
                </a:cubicBezTo>
                <a:cubicBezTo>
                  <a:pt x="3468" y="20218"/>
                  <a:pt x="3562" y="20156"/>
                  <a:pt x="3625" y="20062"/>
                </a:cubicBezTo>
                <a:cubicBezTo>
                  <a:pt x="3968" y="19562"/>
                  <a:pt x="4343" y="19125"/>
                  <a:pt x="4718" y="18656"/>
                </a:cubicBezTo>
                <a:cubicBezTo>
                  <a:pt x="5000" y="18281"/>
                  <a:pt x="5281" y="17906"/>
                  <a:pt x="5562" y="17531"/>
                </a:cubicBezTo>
                <a:cubicBezTo>
                  <a:pt x="5656" y="17375"/>
                  <a:pt x="5781" y="17187"/>
                  <a:pt x="5906" y="17031"/>
                </a:cubicBezTo>
                <a:cubicBezTo>
                  <a:pt x="5937" y="17000"/>
                  <a:pt x="5968" y="16937"/>
                  <a:pt x="6000" y="16875"/>
                </a:cubicBezTo>
                <a:cubicBezTo>
                  <a:pt x="5812" y="16843"/>
                  <a:pt x="5656" y="16875"/>
                  <a:pt x="5531" y="16968"/>
                </a:cubicBezTo>
                <a:cubicBezTo>
                  <a:pt x="5406" y="17000"/>
                  <a:pt x="5281" y="17031"/>
                  <a:pt x="5156" y="17062"/>
                </a:cubicBezTo>
                <a:cubicBezTo>
                  <a:pt x="5125" y="17093"/>
                  <a:pt x="5093" y="17093"/>
                  <a:pt x="5093" y="17031"/>
                </a:cubicBezTo>
                <a:cubicBezTo>
                  <a:pt x="5125" y="17000"/>
                  <a:pt x="5093" y="16968"/>
                  <a:pt x="5031" y="16968"/>
                </a:cubicBezTo>
                <a:cubicBezTo>
                  <a:pt x="4937" y="17000"/>
                  <a:pt x="4906" y="16968"/>
                  <a:pt x="4875" y="16875"/>
                </a:cubicBezTo>
                <a:cubicBezTo>
                  <a:pt x="4875" y="16843"/>
                  <a:pt x="4875" y="16843"/>
                  <a:pt x="4843" y="16812"/>
                </a:cubicBezTo>
                <a:cubicBezTo>
                  <a:pt x="4781" y="16781"/>
                  <a:pt x="4781" y="16750"/>
                  <a:pt x="4875" y="16718"/>
                </a:cubicBezTo>
                <a:cubicBezTo>
                  <a:pt x="4843" y="16750"/>
                  <a:pt x="4843" y="16781"/>
                  <a:pt x="4875" y="16812"/>
                </a:cubicBezTo>
                <a:cubicBezTo>
                  <a:pt x="4875" y="16781"/>
                  <a:pt x="4906" y="16781"/>
                  <a:pt x="4906" y="16750"/>
                </a:cubicBezTo>
                <a:cubicBezTo>
                  <a:pt x="4906" y="16718"/>
                  <a:pt x="4906" y="16687"/>
                  <a:pt x="4906" y="16656"/>
                </a:cubicBezTo>
                <a:cubicBezTo>
                  <a:pt x="4968" y="16750"/>
                  <a:pt x="5031" y="16812"/>
                  <a:pt x="5093" y="16875"/>
                </a:cubicBezTo>
                <a:cubicBezTo>
                  <a:pt x="5156" y="16937"/>
                  <a:pt x="5218" y="16968"/>
                  <a:pt x="5281" y="16906"/>
                </a:cubicBezTo>
                <a:cubicBezTo>
                  <a:pt x="5312" y="16906"/>
                  <a:pt x="5312" y="16906"/>
                  <a:pt x="5312" y="16875"/>
                </a:cubicBezTo>
                <a:cubicBezTo>
                  <a:pt x="5312" y="16843"/>
                  <a:pt x="5281" y="16812"/>
                  <a:pt x="5281" y="16812"/>
                </a:cubicBezTo>
                <a:cubicBezTo>
                  <a:pt x="5125" y="16875"/>
                  <a:pt x="5093" y="16750"/>
                  <a:pt x="5062" y="16687"/>
                </a:cubicBezTo>
                <a:cubicBezTo>
                  <a:pt x="5031" y="16625"/>
                  <a:pt x="5000" y="16593"/>
                  <a:pt x="5062" y="16562"/>
                </a:cubicBezTo>
                <a:cubicBezTo>
                  <a:pt x="5093" y="16562"/>
                  <a:pt x="5093" y="16531"/>
                  <a:pt x="5062" y="16500"/>
                </a:cubicBezTo>
                <a:cubicBezTo>
                  <a:pt x="5062" y="16468"/>
                  <a:pt x="5031" y="16468"/>
                  <a:pt x="5000" y="16500"/>
                </a:cubicBezTo>
                <a:cubicBezTo>
                  <a:pt x="4968" y="16500"/>
                  <a:pt x="4968" y="16531"/>
                  <a:pt x="4937" y="16500"/>
                </a:cubicBezTo>
                <a:cubicBezTo>
                  <a:pt x="4906" y="16468"/>
                  <a:pt x="4906" y="16437"/>
                  <a:pt x="4906" y="16375"/>
                </a:cubicBezTo>
                <a:cubicBezTo>
                  <a:pt x="5031" y="16187"/>
                  <a:pt x="5156" y="16000"/>
                  <a:pt x="5281" y="15781"/>
                </a:cubicBezTo>
                <a:cubicBezTo>
                  <a:pt x="5625" y="15312"/>
                  <a:pt x="6000" y="14906"/>
                  <a:pt x="6406" y="14468"/>
                </a:cubicBezTo>
                <a:cubicBezTo>
                  <a:pt x="6687" y="14156"/>
                  <a:pt x="7000" y="13843"/>
                  <a:pt x="7281" y="13562"/>
                </a:cubicBezTo>
                <a:cubicBezTo>
                  <a:pt x="7531" y="13312"/>
                  <a:pt x="7781" y="13062"/>
                  <a:pt x="8031" y="12843"/>
                </a:cubicBezTo>
                <a:cubicBezTo>
                  <a:pt x="8437" y="12437"/>
                  <a:pt x="8875" y="12062"/>
                  <a:pt x="9312" y="11687"/>
                </a:cubicBezTo>
                <a:cubicBezTo>
                  <a:pt x="9593" y="11437"/>
                  <a:pt x="9843" y="11218"/>
                  <a:pt x="10125" y="11000"/>
                </a:cubicBezTo>
                <a:cubicBezTo>
                  <a:pt x="10562" y="10625"/>
                  <a:pt x="11031" y="10281"/>
                  <a:pt x="11468" y="9937"/>
                </a:cubicBezTo>
                <a:cubicBezTo>
                  <a:pt x="11750" y="9718"/>
                  <a:pt x="12031" y="9531"/>
                  <a:pt x="12281" y="9343"/>
                </a:cubicBezTo>
                <a:cubicBezTo>
                  <a:pt x="12531" y="9125"/>
                  <a:pt x="12812" y="8937"/>
                  <a:pt x="13093" y="8750"/>
                </a:cubicBezTo>
                <a:cubicBezTo>
                  <a:pt x="13468" y="8500"/>
                  <a:pt x="13843" y="8250"/>
                  <a:pt x="14187" y="8031"/>
                </a:cubicBezTo>
                <a:cubicBezTo>
                  <a:pt x="14250" y="7968"/>
                  <a:pt x="14312" y="7937"/>
                  <a:pt x="14343" y="7906"/>
                </a:cubicBezTo>
                <a:cubicBezTo>
                  <a:pt x="14500" y="7812"/>
                  <a:pt x="14656" y="7718"/>
                  <a:pt x="14843" y="7625"/>
                </a:cubicBezTo>
                <a:cubicBezTo>
                  <a:pt x="14843" y="7625"/>
                  <a:pt x="14843" y="7625"/>
                  <a:pt x="14843" y="7625"/>
                </a:cubicBezTo>
                <a:cubicBezTo>
                  <a:pt x="14843" y="7625"/>
                  <a:pt x="14843" y="7625"/>
                  <a:pt x="14843" y="7625"/>
                </a:cubicBezTo>
                <a:cubicBezTo>
                  <a:pt x="14843" y="7625"/>
                  <a:pt x="14843" y="7625"/>
                  <a:pt x="14843" y="7625"/>
                </a:cubicBezTo>
                <a:cubicBezTo>
                  <a:pt x="14812" y="7625"/>
                  <a:pt x="14812" y="7625"/>
                  <a:pt x="14812" y="7625"/>
                </a:cubicBezTo>
                <a:cubicBezTo>
                  <a:pt x="14781" y="7625"/>
                  <a:pt x="14781" y="7625"/>
                  <a:pt x="14781" y="7625"/>
                </a:cubicBezTo>
                <a:cubicBezTo>
                  <a:pt x="14781" y="7625"/>
                  <a:pt x="14781" y="7625"/>
                  <a:pt x="14781" y="7625"/>
                </a:cubicBezTo>
                <a:cubicBezTo>
                  <a:pt x="14750" y="7593"/>
                  <a:pt x="14750" y="7625"/>
                  <a:pt x="14718" y="7625"/>
                </a:cubicBezTo>
                <a:cubicBezTo>
                  <a:pt x="14718" y="7625"/>
                  <a:pt x="14687" y="7656"/>
                  <a:pt x="14687" y="7656"/>
                </a:cubicBezTo>
                <a:cubicBezTo>
                  <a:pt x="14437" y="7812"/>
                  <a:pt x="14218" y="7937"/>
                  <a:pt x="13968" y="8093"/>
                </a:cubicBezTo>
                <a:cubicBezTo>
                  <a:pt x="13562" y="8375"/>
                  <a:pt x="13125" y="8625"/>
                  <a:pt x="12750" y="8937"/>
                </a:cubicBezTo>
                <a:cubicBezTo>
                  <a:pt x="12312" y="9250"/>
                  <a:pt x="11875" y="9562"/>
                  <a:pt x="11437" y="9875"/>
                </a:cubicBezTo>
                <a:cubicBezTo>
                  <a:pt x="10875" y="10312"/>
                  <a:pt x="10343" y="10750"/>
                  <a:pt x="9812" y="11187"/>
                </a:cubicBezTo>
                <a:cubicBezTo>
                  <a:pt x="9281" y="11625"/>
                  <a:pt x="8781" y="12062"/>
                  <a:pt x="8312" y="12500"/>
                </a:cubicBezTo>
                <a:cubicBezTo>
                  <a:pt x="8281" y="12531"/>
                  <a:pt x="8218" y="12593"/>
                  <a:pt x="8187" y="12625"/>
                </a:cubicBezTo>
                <a:cubicBezTo>
                  <a:pt x="8125" y="12656"/>
                  <a:pt x="8093" y="12687"/>
                  <a:pt x="8031" y="12750"/>
                </a:cubicBezTo>
                <a:cubicBezTo>
                  <a:pt x="8031" y="12750"/>
                  <a:pt x="8000" y="12781"/>
                  <a:pt x="7968" y="12812"/>
                </a:cubicBezTo>
                <a:cubicBezTo>
                  <a:pt x="7906" y="12875"/>
                  <a:pt x="7843" y="12906"/>
                  <a:pt x="7781" y="12968"/>
                </a:cubicBezTo>
                <a:cubicBezTo>
                  <a:pt x="7781" y="13000"/>
                  <a:pt x="7750" y="13031"/>
                  <a:pt x="7718" y="13031"/>
                </a:cubicBezTo>
                <a:cubicBezTo>
                  <a:pt x="7718" y="13062"/>
                  <a:pt x="7687" y="13062"/>
                  <a:pt x="7687" y="13093"/>
                </a:cubicBezTo>
                <a:cubicBezTo>
                  <a:pt x="7687" y="13093"/>
                  <a:pt x="7687" y="13093"/>
                  <a:pt x="7687" y="13093"/>
                </a:cubicBezTo>
                <a:cubicBezTo>
                  <a:pt x="7656" y="13093"/>
                  <a:pt x="7656" y="13093"/>
                  <a:pt x="7656" y="13093"/>
                </a:cubicBezTo>
                <a:cubicBezTo>
                  <a:pt x="7437" y="13343"/>
                  <a:pt x="7187" y="13562"/>
                  <a:pt x="6968" y="13812"/>
                </a:cubicBezTo>
                <a:cubicBezTo>
                  <a:pt x="6937" y="13812"/>
                  <a:pt x="6937" y="13843"/>
                  <a:pt x="6906" y="13843"/>
                </a:cubicBezTo>
                <a:cubicBezTo>
                  <a:pt x="6875" y="13875"/>
                  <a:pt x="6875" y="13906"/>
                  <a:pt x="6843" y="13937"/>
                </a:cubicBezTo>
                <a:cubicBezTo>
                  <a:pt x="6750" y="14031"/>
                  <a:pt x="6687" y="14125"/>
                  <a:pt x="6562" y="14218"/>
                </a:cubicBezTo>
                <a:cubicBezTo>
                  <a:pt x="6531" y="14250"/>
                  <a:pt x="6531" y="14281"/>
                  <a:pt x="6500" y="14312"/>
                </a:cubicBezTo>
                <a:cubicBezTo>
                  <a:pt x="6500" y="14312"/>
                  <a:pt x="6468" y="14312"/>
                  <a:pt x="6468" y="14343"/>
                </a:cubicBezTo>
                <a:cubicBezTo>
                  <a:pt x="6468" y="14343"/>
                  <a:pt x="6468" y="14343"/>
                  <a:pt x="6468" y="14343"/>
                </a:cubicBezTo>
                <a:cubicBezTo>
                  <a:pt x="6468" y="14343"/>
                  <a:pt x="6468" y="14343"/>
                  <a:pt x="6468" y="14343"/>
                </a:cubicBezTo>
                <a:cubicBezTo>
                  <a:pt x="6468" y="14343"/>
                  <a:pt x="6468" y="14343"/>
                  <a:pt x="6468" y="14312"/>
                </a:cubicBezTo>
                <a:cubicBezTo>
                  <a:pt x="6468" y="14343"/>
                  <a:pt x="6468" y="14343"/>
                  <a:pt x="6468" y="14343"/>
                </a:cubicBezTo>
                <a:cubicBezTo>
                  <a:pt x="6437" y="14343"/>
                  <a:pt x="6437" y="14343"/>
                  <a:pt x="6437" y="14375"/>
                </a:cubicBezTo>
                <a:cubicBezTo>
                  <a:pt x="6437" y="14375"/>
                  <a:pt x="6437" y="14375"/>
                  <a:pt x="6437" y="14375"/>
                </a:cubicBezTo>
                <a:cubicBezTo>
                  <a:pt x="6375" y="14437"/>
                  <a:pt x="6312" y="14500"/>
                  <a:pt x="6250" y="14562"/>
                </a:cubicBezTo>
                <a:cubicBezTo>
                  <a:pt x="6156" y="14687"/>
                  <a:pt x="6062" y="14812"/>
                  <a:pt x="5937" y="14906"/>
                </a:cubicBezTo>
                <a:cubicBezTo>
                  <a:pt x="5937" y="14937"/>
                  <a:pt x="5906" y="14937"/>
                  <a:pt x="5906" y="14968"/>
                </a:cubicBezTo>
                <a:cubicBezTo>
                  <a:pt x="5906" y="14968"/>
                  <a:pt x="5875" y="15000"/>
                  <a:pt x="5875" y="15000"/>
                </a:cubicBezTo>
                <a:cubicBezTo>
                  <a:pt x="5875" y="15000"/>
                  <a:pt x="5843" y="15000"/>
                  <a:pt x="5843" y="15031"/>
                </a:cubicBezTo>
                <a:cubicBezTo>
                  <a:pt x="5843" y="15031"/>
                  <a:pt x="5843" y="15031"/>
                  <a:pt x="5843" y="15031"/>
                </a:cubicBezTo>
                <a:cubicBezTo>
                  <a:pt x="5843" y="15062"/>
                  <a:pt x="5843" y="15062"/>
                  <a:pt x="5812" y="15062"/>
                </a:cubicBezTo>
                <a:cubicBezTo>
                  <a:pt x="5812" y="15062"/>
                  <a:pt x="5812" y="15093"/>
                  <a:pt x="5781" y="15093"/>
                </a:cubicBezTo>
                <a:cubicBezTo>
                  <a:pt x="5781" y="15125"/>
                  <a:pt x="5750" y="15125"/>
                  <a:pt x="5750" y="15156"/>
                </a:cubicBezTo>
                <a:cubicBezTo>
                  <a:pt x="5593" y="15312"/>
                  <a:pt x="5593" y="15312"/>
                  <a:pt x="5437" y="15218"/>
                </a:cubicBezTo>
                <a:cubicBezTo>
                  <a:pt x="5375" y="15187"/>
                  <a:pt x="5312" y="15125"/>
                  <a:pt x="5250" y="15093"/>
                </a:cubicBezTo>
                <a:cubicBezTo>
                  <a:pt x="5250" y="15093"/>
                  <a:pt x="5218" y="15062"/>
                  <a:pt x="5218" y="15062"/>
                </a:cubicBezTo>
                <a:cubicBezTo>
                  <a:pt x="5187" y="15062"/>
                  <a:pt x="5187" y="15062"/>
                  <a:pt x="5156" y="15062"/>
                </a:cubicBezTo>
                <a:cubicBezTo>
                  <a:pt x="5156" y="15062"/>
                  <a:pt x="5156" y="15062"/>
                  <a:pt x="5156" y="15062"/>
                </a:cubicBezTo>
                <a:cubicBezTo>
                  <a:pt x="5062" y="15125"/>
                  <a:pt x="4937" y="15187"/>
                  <a:pt x="4843" y="15218"/>
                </a:cubicBezTo>
                <a:cubicBezTo>
                  <a:pt x="4812" y="15250"/>
                  <a:pt x="4812" y="15250"/>
                  <a:pt x="4781" y="15281"/>
                </a:cubicBezTo>
                <a:cubicBezTo>
                  <a:pt x="4781" y="15281"/>
                  <a:pt x="4781" y="15281"/>
                  <a:pt x="4750" y="15281"/>
                </a:cubicBezTo>
                <a:cubicBezTo>
                  <a:pt x="4750" y="15281"/>
                  <a:pt x="4750" y="15281"/>
                  <a:pt x="4750" y="15281"/>
                </a:cubicBezTo>
                <a:cubicBezTo>
                  <a:pt x="4687" y="15312"/>
                  <a:pt x="4625" y="15343"/>
                  <a:pt x="4562" y="15343"/>
                </a:cubicBezTo>
                <a:cubicBezTo>
                  <a:pt x="4468" y="15375"/>
                  <a:pt x="4375" y="15406"/>
                  <a:pt x="4281" y="15437"/>
                </a:cubicBezTo>
                <a:cubicBezTo>
                  <a:pt x="4156" y="15468"/>
                  <a:pt x="4031" y="15500"/>
                  <a:pt x="3875" y="15500"/>
                </a:cubicBezTo>
                <a:cubicBezTo>
                  <a:pt x="3625" y="15562"/>
                  <a:pt x="3375" y="15593"/>
                  <a:pt x="3093" y="15562"/>
                </a:cubicBezTo>
                <a:cubicBezTo>
                  <a:pt x="2843" y="15562"/>
                  <a:pt x="2562" y="15531"/>
                  <a:pt x="2312" y="15468"/>
                </a:cubicBezTo>
                <a:cubicBezTo>
                  <a:pt x="2218" y="15437"/>
                  <a:pt x="2125" y="15406"/>
                  <a:pt x="2000" y="15406"/>
                </a:cubicBezTo>
                <a:cubicBezTo>
                  <a:pt x="2000" y="15406"/>
                  <a:pt x="1968" y="15375"/>
                  <a:pt x="1968" y="15343"/>
                </a:cubicBezTo>
                <a:cubicBezTo>
                  <a:pt x="1968" y="15343"/>
                  <a:pt x="1968" y="15343"/>
                  <a:pt x="1937" y="15343"/>
                </a:cubicBezTo>
                <a:cubicBezTo>
                  <a:pt x="1937" y="15343"/>
                  <a:pt x="1937" y="15343"/>
                  <a:pt x="1906" y="15312"/>
                </a:cubicBezTo>
                <a:cubicBezTo>
                  <a:pt x="1781" y="15281"/>
                  <a:pt x="1656" y="15218"/>
                  <a:pt x="1562" y="15156"/>
                </a:cubicBezTo>
                <a:cubicBezTo>
                  <a:pt x="1500" y="15125"/>
                  <a:pt x="1468" y="15125"/>
                  <a:pt x="1406" y="15093"/>
                </a:cubicBezTo>
                <a:cubicBezTo>
                  <a:pt x="1406" y="15093"/>
                  <a:pt x="1406" y="15093"/>
                  <a:pt x="1406" y="15062"/>
                </a:cubicBezTo>
                <a:cubicBezTo>
                  <a:pt x="1406" y="15062"/>
                  <a:pt x="1406" y="15062"/>
                  <a:pt x="1406" y="15062"/>
                </a:cubicBezTo>
                <a:cubicBezTo>
                  <a:pt x="1468" y="15031"/>
                  <a:pt x="1500" y="15031"/>
                  <a:pt x="1468" y="14968"/>
                </a:cubicBezTo>
                <a:cubicBezTo>
                  <a:pt x="1437" y="14875"/>
                  <a:pt x="1500" y="14812"/>
                  <a:pt x="1562" y="14750"/>
                </a:cubicBezTo>
                <a:cubicBezTo>
                  <a:pt x="1625" y="14718"/>
                  <a:pt x="1656" y="14687"/>
                  <a:pt x="1562" y="14625"/>
                </a:cubicBezTo>
                <a:cubicBezTo>
                  <a:pt x="1437" y="14562"/>
                  <a:pt x="1375" y="14437"/>
                  <a:pt x="1312" y="14281"/>
                </a:cubicBezTo>
                <a:cubicBezTo>
                  <a:pt x="1281" y="14187"/>
                  <a:pt x="1343" y="14062"/>
                  <a:pt x="1437" y="14000"/>
                </a:cubicBezTo>
                <a:cubicBezTo>
                  <a:pt x="1593" y="13843"/>
                  <a:pt x="1781" y="13687"/>
                  <a:pt x="2000" y="13562"/>
                </a:cubicBezTo>
                <a:cubicBezTo>
                  <a:pt x="2281" y="13437"/>
                  <a:pt x="2531" y="13218"/>
                  <a:pt x="2781" y="13031"/>
                </a:cubicBezTo>
                <a:cubicBezTo>
                  <a:pt x="3062" y="12843"/>
                  <a:pt x="3281" y="12656"/>
                  <a:pt x="3531" y="12437"/>
                </a:cubicBezTo>
                <a:cubicBezTo>
                  <a:pt x="3718" y="12281"/>
                  <a:pt x="3906" y="12093"/>
                  <a:pt x="4062" y="11937"/>
                </a:cubicBezTo>
                <a:cubicBezTo>
                  <a:pt x="4375" y="11656"/>
                  <a:pt x="4656" y="11375"/>
                  <a:pt x="4937" y="11093"/>
                </a:cubicBezTo>
                <a:cubicBezTo>
                  <a:pt x="4937" y="11093"/>
                  <a:pt x="4937" y="11062"/>
                  <a:pt x="4937" y="11062"/>
                </a:cubicBezTo>
                <a:cubicBezTo>
                  <a:pt x="4906" y="10937"/>
                  <a:pt x="4781" y="10906"/>
                  <a:pt x="4656" y="10812"/>
                </a:cubicBezTo>
                <a:cubicBezTo>
                  <a:pt x="4656" y="10812"/>
                  <a:pt x="4656" y="10781"/>
                  <a:pt x="4625" y="10781"/>
                </a:cubicBezTo>
                <a:cubicBezTo>
                  <a:pt x="4593" y="10750"/>
                  <a:pt x="4531" y="10687"/>
                  <a:pt x="4468" y="10656"/>
                </a:cubicBezTo>
                <a:cubicBezTo>
                  <a:pt x="4500" y="10656"/>
                  <a:pt x="4531" y="10656"/>
                  <a:pt x="4562" y="10656"/>
                </a:cubicBezTo>
                <a:cubicBezTo>
                  <a:pt x="4468" y="10531"/>
                  <a:pt x="4312" y="10500"/>
                  <a:pt x="4187" y="10468"/>
                </a:cubicBezTo>
                <a:cubicBezTo>
                  <a:pt x="4156" y="10468"/>
                  <a:pt x="4125" y="10500"/>
                  <a:pt x="4093" y="10531"/>
                </a:cubicBezTo>
                <a:cubicBezTo>
                  <a:pt x="3781" y="10781"/>
                  <a:pt x="3437" y="11000"/>
                  <a:pt x="3125" y="11250"/>
                </a:cubicBezTo>
                <a:cubicBezTo>
                  <a:pt x="2781" y="11500"/>
                  <a:pt x="2406" y="11687"/>
                  <a:pt x="2031" y="11906"/>
                </a:cubicBezTo>
                <a:cubicBezTo>
                  <a:pt x="1843" y="12000"/>
                  <a:pt x="1625" y="12093"/>
                  <a:pt x="1406" y="12187"/>
                </a:cubicBezTo>
                <a:cubicBezTo>
                  <a:pt x="1312" y="12218"/>
                  <a:pt x="1218" y="12281"/>
                  <a:pt x="1093" y="12281"/>
                </a:cubicBezTo>
                <a:cubicBezTo>
                  <a:pt x="812" y="12250"/>
                  <a:pt x="531" y="12312"/>
                  <a:pt x="250" y="12250"/>
                </a:cubicBezTo>
                <a:cubicBezTo>
                  <a:pt x="156" y="12250"/>
                  <a:pt x="125" y="12187"/>
                  <a:pt x="62" y="12156"/>
                </a:cubicBezTo>
                <a:cubicBezTo>
                  <a:pt x="31" y="12156"/>
                  <a:pt x="0" y="12093"/>
                  <a:pt x="62" y="12062"/>
                </a:cubicBezTo>
                <a:cubicBezTo>
                  <a:pt x="125" y="12062"/>
                  <a:pt x="62" y="12031"/>
                  <a:pt x="93" y="12000"/>
                </a:cubicBezTo>
                <a:cubicBezTo>
                  <a:pt x="156" y="12062"/>
                  <a:pt x="125" y="12062"/>
                  <a:pt x="218" y="12000"/>
                </a:cubicBezTo>
                <a:cubicBezTo>
                  <a:pt x="250" y="12000"/>
                  <a:pt x="281" y="11937"/>
                  <a:pt x="312" y="11937"/>
                </a:cubicBezTo>
                <a:cubicBezTo>
                  <a:pt x="375" y="11937"/>
                  <a:pt x="406" y="11906"/>
                  <a:pt x="437" y="11843"/>
                </a:cubicBezTo>
                <a:cubicBezTo>
                  <a:pt x="437" y="11781"/>
                  <a:pt x="375" y="11812"/>
                  <a:pt x="343" y="11781"/>
                </a:cubicBezTo>
                <a:cubicBezTo>
                  <a:pt x="312" y="11718"/>
                  <a:pt x="218" y="11687"/>
                  <a:pt x="156" y="11625"/>
                </a:cubicBezTo>
                <a:cubicBezTo>
                  <a:pt x="187" y="11625"/>
                  <a:pt x="250" y="11687"/>
                  <a:pt x="250" y="11593"/>
                </a:cubicBezTo>
                <a:cubicBezTo>
                  <a:pt x="250" y="11562"/>
                  <a:pt x="281" y="11562"/>
                  <a:pt x="281" y="11593"/>
                </a:cubicBezTo>
                <a:cubicBezTo>
                  <a:pt x="468" y="11625"/>
                  <a:pt x="656" y="11656"/>
                  <a:pt x="843" y="11656"/>
                </a:cubicBezTo>
                <a:cubicBezTo>
                  <a:pt x="1062" y="11625"/>
                  <a:pt x="1281" y="11593"/>
                  <a:pt x="1500" y="11531"/>
                </a:cubicBezTo>
                <a:cubicBezTo>
                  <a:pt x="1875" y="11406"/>
                  <a:pt x="2218" y="11250"/>
                  <a:pt x="2531" y="11093"/>
                </a:cubicBezTo>
                <a:cubicBezTo>
                  <a:pt x="2750" y="10968"/>
                  <a:pt x="2968" y="10875"/>
                  <a:pt x="3156" y="10750"/>
                </a:cubicBezTo>
                <a:cubicBezTo>
                  <a:pt x="3343" y="10625"/>
                  <a:pt x="3531" y="10531"/>
                  <a:pt x="3687" y="10406"/>
                </a:cubicBezTo>
                <a:cubicBezTo>
                  <a:pt x="3718" y="10375"/>
                  <a:pt x="3781" y="10375"/>
                  <a:pt x="3750" y="10343"/>
                </a:cubicBezTo>
                <a:cubicBezTo>
                  <a:pt x="3750" y="10343"/>
                  <a:pt x="3750" y="10312"/>
                  <a:pt x="3750" y="10312"/>
                </a:cubicBezTo>
                <a:cubicBezTo>
                  <a:pt x="3718" y="10312"/>
                  <a:pt x="3687" y="10312"/>
                  <a:pt x="3656" y="10312"/>
                </a:cubicBezTo>
                <a:cubicBezTo>
                  <a:pt x="3656" y="10343"/>
                  <a:pt x="3625" y="10343"/>
                  <a:pt x="3625" y="10343"/>
                </a:cubicBezTo>
                <a:cubicBezTo>
                  <a:pt x="3406" y="10312"/>
                  <a:pt x="3187" y="10375"/>
                  <a:pt x="2968" y="10375"/>
                </a:cubicBezTo>
                <a:cubicBezTo>
                  <a:pt x="2937" y="10375"/>
                  <a:pt x="2906" y="10375"/>
                  <a:pt x="2906" y="10343"/>
                </a:cubicBezTo>
                <a:cubicBezTo>
                  <a:pt x="2906" y="10312"/>
                  <a:pt x="2937" y="10312"/>
                  <a:pt x="2968" y="10312"/>
                </a:cubicBezTo>
                <a:cubicBezTo>
                  <a:pt x="3125" y="10250"/>
                  <a:pt x="3281" y="10250"/>
                  <a:pt x="3468" y="10281"/>
                </a:cubicBezTo>
                <a:cubicBezTo>
                  <a:pt x="3531" y="10281"/>
                  <a:pt x="3593" y="10281"/>
                  <a:pt x="3656" y="10250"/>
                </a:cubicBezTo>
                <a:cubicBezTo>
                  <a:pt x="3656" y="10250"/>
                  <a:pt x="3687" y="10250"/>
                  <a:pt x="3687" y="10250"/>
                </a:cubicBezTo>
                <a:cubicBezTo>
                  <a:pt x="3718" y="10218"/>
                  <a:pt x="3718" y="10218"/>
                  <a:pt x="3750" y="10218"/>
                </a:cubicBezTo>
                <a:cubicBezTo>
                  <a:pt x="3906" y="10187"/>
                  <a:pt x="4062" y="10156"/>
                  <a:pt x="4187" y="10062"/>
                </a:cubicBezTo>
                <a:cubicBezTo>
                  <a:pt x="4468" y="9843"/>
                  <a:pt x="4750" y="9625"/>
                  <a:pt x="5062" y="9375"/>
                </a:cubicBezTo>
                <a:cubicBezTo>
                  <a:pt x="5187" y="9281"/>
                  <a:pt x="5343" y="9156"/>
                  <a:pt x="5468" y="9031"/>
                </a:cubicBezTo>
                <a:cubicBezTo>
                  <a:pt x="5406" y="9156"/>
                  <a:pt x="5500" y="9312"/>
                  <a:pt x="5437" y="9437"/>
                </a:cubicBezTo>
                <a:cubicBezTo>
                  <a:pt x="5406" y="9406"/>
                  <a:pt x="5437" y="9375"/>
                  <a:pt x="5406" y="9343"/>
                </a:cubicBezTo>
                <a:cubicBezTo>
                  <a:pt x="5250" y="9500"/>
                  <a:pt x="5093" y="9625"/>
                  <a:pt x="4937" y="9812"/>
                </a:cubicBezTo>
                <a:cubicBezTo>
                  <a:pt x="5093" y="9750"/>
                  <a:pt x="5218" y="9687"/>
                  <a:pt x="5375" y="9625"/>
                </a:cubicBezTo>
                <a:cubicBezTo>
                  <a:pt x="5406" y="9625"/>
                  <a:pt x="5437" y="9593"/>
                  <a:pt x="5437" y="9625"/>
                </a:cubicBezTo>
                <a:cubicBezTo>
                  <a:pt x="5468" y="9656"/>
                  <a:pt x="5468" y="9656"/>
                  <a:pt x="5468" y="9625"/>
                </a:cubicBezTo>
                <a:cubicBezTo>
                  <a:pt x="5531" y="9500"/>
                  <a:pt x="5687" y="9500"/>
                  <a:pt x="5781" y="9437"/>
                </a:cubicBezTo>
                <a:cubicBezTo>
                  <a:pt x="6000" y="9312"/>
                  <a:pt x="6250" y="9218"/>
                  <a:pt x="6500" y="9093"/>
                </a:cubicBezTo>
                <a:cubicBezTo>
                  <a:pt x="6500" y="9093"/>
                  <a:pt x="6531" y="9093"/>
                  <a:pt x="6562" y="9062"/>
                </a:cubicBezTo>
                <a:cubicBezTo>
                  <a:pt x="6593" y="9062"/>
                  <a:pt x="6656" y="9031"/>
                  <a:pt x="6718" y="8968"/>
                </a:cubicBezTo>
                <a:cubicBezTo>
                  <a:pt x="6812" y="8843"/>
                  <a:pt x="6937" y="8687"/>
                  <a:pt x="7031" y="8562"/>
                </a:cubicBezTo>
                <a:cubicBezTo>
                  <a:pt x="7093" y="8500"/>
                  <a:pt x="7125" y="8468"/>
                  <a:pt x="7156" y="8406"/>
                </a:cubicBezTo>
                <a:cubicBezTo>
                  <a:pt x="7375" y="8093"/>
                  <a:pt x="7593" y="7781"/>
                  <a:pt x="7781" y="7437"/>
                </a:cubicBezTo>
                <a:cubicBezTo>
                  <a:pt x="7781" y="7406"/>
                  <a:pt x="7812" y="7406"/>
                  <a:pt x="7812" y="7375"/>
                </a:cubicBezTo>
                <a:cubicBezTo>
                  <a:pt x="7812" y="7187"/>
                  <a:pt x="7843" y="7000"/>
                  <a:pt x="7843" y="6812"/>
                </a:cubicBezTo>
                <a:cubicBezTo>
                  <a:pt x="7843" y="6781"/>
                  <a:pt x="7875" y="6718"/>
                  <a:pt x="7875" y="6687"/>
                </a:cubicBezTo>
                <a:cubicBezTo>
                  <a:pt x="7875" y="6656"/>
                  <a:pt x="7906" y="6656"/>
                  <a:pt x="7875" y="6625"/>
                </a:cubicBezTo>
                <a:cubicBezTo>
                  <a:pt x="7843" y="6625"/>
                  <a:pt x="7843" y="6656"/>
                  <a:pt x="7812" y="6656"/>
                </a:cubicBezTo>
                <a:cubicBezTo>
                  <a:pt x="7718" y="6781"/>
                  <a:pt x="7593" y="6906"/>
                  <a:pt x="7500" y="7031"/>
                </a:cubicBezTo>
                <a:cubicBezTo>
                  <a:pt x="7125" y="7406"/>
                  <a:pt x="6812" y="7812"/>
                  <a:pt x="6468" y="8218"/>
                </a:cubicBezTo>
                <a:cubicBezTo>
                  <a:pt x="6218" y="8500"/>
                  <a:pt x="6000" y="8750"/>
                  <a:pt x="5750" y="9000"/>
                </a:cubicBezTo>
                <a:cubicBezTo>
                  <a:pt x="5718" y="9000"/>
                  <a:pt x="5718" y="9031"/>
                  <a:pt x="5656" y="9062"/>
                </a:cubicBezTo>
                <a:cubicBezTo>
                  <a:pt x="5750" y="8906"/>
                  <a:pt x="5718" y="8781"/>
                  <a:pt x="5843" y="8687"/>
                </a:cubicBezTo>
                <a:cubicBezTo>
                  <a:pt x="6031" y="8500"/>
                  <a:pt x="6218" y="8312"/>
                  <a:pt x="6406" y="8125"/>
                </a:cubicBezTo>
                <a:cubicBezTo>
                  <a:pt x="6656" y="7875"/>
                  <a:pt x="6906" y="7625"/>
                  <a:pt x="7125" y="7343"/>
                </a:cubicBezTo>
                <a:cubicBezTo>
                  <a:pt x="7125" y="7343"/>
                  <a:pt x="7156" y="7312"/>
                  <a:pt x="7156" y="7312"/>
                </a:cubicBezTo>
                <a:cubicBezTo>
                  <a:pt x="7187" y="7281"/>
                  <a:pt x="7218" y="7250"/>
                  <a:pt x="7218" y="7218"/>
                </a:cubicBezTo>
                <a:cubicBezTo>
                  <a:pt x="7375" y="7031"/>
                  <a:pt x="7500" y="6875"/>
                  <a:pt x="7625" y="6687"/>
                </a:cubicBezTo>
                <a:cubicBezTo>
                  <a:pt x="7656" y="6656"/>
                  <a:pt x="7656" y="6625"/>
                  <a:pt x="7687" y="6593"/>
                </a:cubicBezTo>
                <a:cubicBezTo>
                  <a:pt x="7687" y="6562"/>
                  <a:pt x="7718" y="6562"/>
                  <a:pt x="7718" y="6531"/>
                </a:cubicBezTo>
                <a:cubicBezTo>
                  <a:pt x="7750" y="6500"/>
                  <a:pt x="7750" y="6500"/>
                  <a:pt x="7750" y="6500"/>
                </a:cubicBezTo>
                <a:cubicBezTo>
                  <a:pt x="7781" y="6468"/>
                  <a:pt x="7781" y="6437"/>
                  <a:pt x="7812" y="6437"/>
                </a:cubicBezTo>
                <a:cubicBezTo>
                  <a:pt x="7812" y="6437"/>
                  <a:pt x="7812" y="6437"/>
                  <a:pt x="7812" y="6437"/>
                </a:cubicBezTo>
                <a:cubicBezTo>
                  <a:pt x="7875" y="6312"/>
                  <a:pt x="7937" y="6218"/>
                  <a:pt x="8000" y="6125"/>
                </a:cubicBezTo>
                <a:cubicBezTo>
                  <a:pt x="8093" y="5968"/>
                  <a:pt x="8156" y="5812"/>
                  <a:pt x="8218" y="5656"/>
                </a:cubicBezTo>
                <a:cubicBezTo>
                  <a:pt x="8250" y="5562"/>
                  <a:pt x="8281" y="5500"/>
                  <a:pt x="8312" y="5437"/>
                </a:cubicBezTo>
                <a:cubicBezTo>
                  <a:pt x="8343" y="5406"/>
                  <a:pt x="8343" y="5406"/>
                  <a:pt x="8375" y="5406"/>
                </a:cubicBezTo>
                <a:cubicBezTo>
                  <a:pt x="8250" y="5687"/>
                  <a:pt x="8406" y="5937"/>
                  <a:pt x="8468" y="6218"/>
                </a:cubicBezTo>
                <a:cubicBezTo>
                  <a:pt x="8593" y="5937"/>
                  <a:pt x="8750" y="5625"/>
                  <a:pt x="8843" y="5312"/>
                </a:cubicBezTo>
                <a:cubicBezTo>
                  <a:pt x="8875" y="5187"/>
                  <a:pt x="8906" y="5031"/>
                  <a:pt x="8968" y="4906"/>
                </a:cubicBezTo>
                <a:cubicBezTo>
                  <a:pt x="8968" y="4906"/>
                  <a:pt x="8968" y="4875"/>
                  <a:pt x="8968" y="4875"/>
                </a:cubicBezTo>
                <a:cubicBezTo>
                  <a:pt x="8937" y="4750"/>
                  <a:pt x="9031" y="4687"/>
                  <a:pt x="9093" y="4625"/>
                </a:cubicBezTo>
                <a:cubicBezTo>
                  <a:pt x="9375" y="4375"/>
                  <a:pt x="9656" y="4156"/>
                  <a:pt x="9937" y="3968"/>
                </a:cubicBezTo>
                <a:cubicBezTo>
                  <a:pt x="10062" y="3906"/>
                  <a:pt x="10218" y="3875"/>
                  <a:pt x="10343" y="3812"/>
                </a:cubicBezTo>
                <a:cubicBezTo>
                  <a:pt x="10468" y="3718"/>
                  <a:pt x="10625" y="3687"/>
                  <a:pt x="10781" y="3656"/>
                </a:cubicBezTo>
                <a:cubicBezTo>
                  <a:pt x="10875" y="3656"/>
                  <a:pt x="10968" y="3656"/>
                  <a:pt x="11031" y="3656"/>
                </a:cubicBezTo>
                <a:cubicBezTo>
                  <a:pt x="11062" y="3656"/>
                  <a:pt x="11093" y="3656"/>
                  <a:pt x="11093" y="3625"/>
                </a:cubicBezTo>
                <a:cubicBezTo>
                  <a:pt x="11093" y="3593"/>
                  <a:pt x="11062" y="3593"/>
                  <a:pt x="11031" y="3593"/>
                </a:cubicBezTo>
                <a:cubicBezTo>
                  <a:pt x="10812" y="3500"/>
                  <a:pt x="10562" y="3500"/>
                  <a:pt x="10312" y="3593"/>
                </a:cubicBezTo>
                <a:cubicBezTo>
                  <a:pt x="10156" y="3625"/>
                  <a:pt x="10000" y="3687"/>
                  <a:pt x="9843" y="3750"/>
                </a:cubicBezTo>
                <a:cubicBezTo>
                  <a:pt x="9781" y="3781"/>
                  <a:pt x="9718" y="3812"/>
                  <a:pt x="9656" y="3843"/>
                </a:cubicBezTo>
                <a:cubicBezTo>
                  <a:pt x="9625" y="3843"/>
                  <a:pt x="9625" y="3875"/>
                  <a:pt x="9593" y="3843"/>
                </a:cubicBezTo>
                <a:cubicBezTo>
                  <a:pt x="9593" y="3843"/>
                  <a:pt x="9593" y="3843"/>
                  <a:pt x="9593" y="3843"/>
                </a:cubicBezTo>
                <a:cubicBezTo>
                  <a:pt x="9593" y="3843"/>
                  <a:pt x="9593" y="3812"/>
                  <a:pt x="9593" y="3812"/>
                </a:cubicBezTo>
                <a:cubicBezTo>
                  <a:pt x="9593" y="3812"/>
                  <a:pt x="9593" y="3812"/>
                  <a:pt x="9625" y="3812"/>
                </a:cubicBezTo>
                <a:cubicBezTo>
                  <a:pt x="9625" y="3812"/>
                  <a:pt x="9625" y="3812"/>
                  <a:pt x="9625" y="3812"/>
                </a:cubicBezTo>
                <a:cubicBezTo>
                  <a:pt x="9625" y="3781"/>
                  <a:pt x="9625" y="3781"/>
                  <a:pt x="9625" y="3781"/>
                </a:cubicBezTo>
                <a:cubicBezTo>
                  <a:pt x="9593" y="3750"/>
                  <a:pt x="9593" y="3781"/>
                  <a:pt x="9593" y="3781"/>
                </a:cubicBezTo>
                <a:cubicBezTo>
                  <a:pt x="9500" y="3843"/>
                  <a:pt x="9406" y="3875"/>
                  <a:pt x="9343" y="3937"/>
                </a:cubicBezTo>
                <a:cubicBezTo>
                  <a:pt x="9312" y="3937"/>
                  <a:pt x="9281" y="3968"/>
                  <a:pt x="9250" y="3968"/>
                </a:cubicBezTo>
                <a:cubicBezTo>
                  <a:pt x="9156" y="3937"/>
                  <a:pt x="9125" y="4031"/>
                  <a:pt x="9031" y="4062"/>
                </a:cubicBezTo>
                <a:cubicBezTo>
                  <a:pt x="8968" y="4125"/>
                  <a:pt x="8906" y="4187"/>
                  <a:pt x="8812" y="4250"/>
                </a:cubicBezTo>
                <a:cubicBezTo>
                  <a:pt x="8750" y="4281"/>
                  <a:pt x="8718" y="4343"/>
                  <a:pt x="8656" y="4406"/>
                </a:cubicBezTo>
                <a:cubicBezTo>
                  <a:pt x="8562" y="4500"/>
                  <a:pt x="8500" y="4562"/>
                  <a:pt x="8406" y="4656"/>
                </a:cubicBezTo>
                <a:cubicBezTo>
                  <a:pt x="8406" y="4656"/>
                  <a:pt x="8375" y="4687"/>
                  <a:pt x="8343" y="4687"/>
                </a:cubicBezTo>
                <a:cubicBezTo>
                  <a:pt x="8375" y="4625"/>
                  <a:pt x="8437" y="4562"/>
                  <a:pt x="8468" y="4531"/>
                </a:cubicBezTo>
                <a:cubicBezTo>
                  <a:pt x="8593" y="4406"/>
                  <a:pt x="8687" y="4250"/>
                  <a:pt x="8843" y="4156"/>
                </a:cubicBezTo>
                <a:cubicBezTo>
                  <a:pt x="8843" y="4156"/>
                  <a:pt x="8843" y="4156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781" y="4125"/>
                  <a:pt x="8750" y="4156"/>
                  <a:pt x="8718" y="4187"/>
                </a:cubicBezTo>
                <a:cubicBezTo>
                  <a:pt x="8718" y="4187"/>
                  <a:pt x="8718" y="4187"/>
                  <a:pt x="8687" y="4187"/>
                </a:cubicBezTo>
                <a:cubicBezTo>
                  <a:pt x="8687" y="4218"/>
                  <a:pt x="8687" y="4218"/>
                  <a:pt x="8656" y="4218"/>
                </a:cubicBezTo>
                <a:cubicBezTo>
                  <a:pt x="8656" y="4250"/>
                  <a:pt x="8656" y="4250"/>
                  <a:pt x="8625" y="4250"/>
                </a:cubicBezTo>
                <a:cubicBezTo>
                  <a:pt x="8593" y="4281"/>
                  <a:pt x="8593" y="4312"/>
                  <a:pt x="8531" y="4312"/>
                </a:cubicBezTo>
                <a:cubicBezTo>
                  <a:pt x="8531" y="4343"/>
                  <a:pt x="8531" y="4375"/>
                  <a:pt x="8500" y="4375"/>
                </a:cubicBezTo>
                <a:cubicBezTo>
                  <a:pt x="8500" y="4375"/>
                  <a:pt x="8500" y="4375"/>
                  <a:pt x="8500" y="4343"/>
                </a:cubicBezTo>
                <a:cubicBezTo>
                  <a:pt x="8500" y="4343"/>
                  <a:pt x="8500" y="4343"/>
                  <a:pt x="8500" y="4343"/>
                </a:cubicBezTo>
                <a:cubicBezTo>
                  <a:pt x="8500" y="4343"/>
                  <a:pt x="8500" y="4312"/>
                  <a:pt x="8531" y="4312"/>
                </a:cubicBezTo>
                <a:cubicBezTo>
                  <a:pt x="8593" y="4218"/>
                  <a:pt x="8687" y="4156"/>
                  <a:pt x="8781" y="4093"/>
                </a:cubicBezTo>
                <a:cubicBezTo>
                  <a:pt x="8812" y="4062"/>
                  <a:pt x="8812" y="4031"/>
                  <a:pt x="8843" y="4000"/>
                </a:cubicBezTo>
                <a:cubicBezTo>
                  <a:pt x="8906" y="3968"/>
                  <a:pt x="8968" y="3937"/>
                  <a:pt x="8968" y="3875"/>
                </a:cubicBezTo>
                <a:cubicBezTo>
                  <a:pt x="9000" y="3843"/>
                  <a:pt x="9031" y="3812"/>
                  <a:pt x="9062" y="3812"/>
                </a:cubicBezTo>
                <a:cubicBezTo>
                  <a:pt x="9125" y="3812"/>
                  <a:pt x="9156" y="3781"/>
                  <a:pt x="9187" y="3718"/>
                </a:cubicBezTo>
                <a:cubicBezTo>
                  <a:pt x="9187" y="3718"/>
                  <a:pt x="9187" y="3718"/>
                  <a:pt x="9187" y="3718"/>
                </a:cubicBezTo>
                <a:cubicBezTo>
                  <a:pt x="9187" y="3718"/>
                  <a:pt x="9187" y="3718"/>
                  <a:pt x="9187" y="3718"/>
                </a:cubicBezTo>
                <a:cubicBezTo>
                  <a:pt x="9187" y="3718"/>
                  <a:pt x="9187" y="3718"/>
                  <a:pt x="9187" y="3718"/>
                </a:cubicBezTo>
                <a:cubicBezTo>
                  <a:pt x="9218" y="3718"/>
                  <a:pt x="9250" y="3718"/>
                  <a:pt x="9250" y="3718"/>
                </a:cubicBezTo>
                <a:cubicBezTo>
                  <a:pt x="9250" y="3687"/>
                  <a:pt x="9250" y="3687"/>
                  <a:pt x="9250" y="3656"/>
                </a:cubicBezTo>
                <a:cubicBezTo>
                  <a:pt x="9250" y="3656"/>
                  <a:pt x="9250" y="3656"/>
                  <a:pt x="9250" y="3656"/>
                </a:cubicBezTo>
                <a:cubicBezTo>
                  <a:pt x="9250" y="3656"/>
                  <a:pt x="9250" y="3656"/>
                  <a:pt x="9281" y="3656"/>
                </a:cubicBezTo>
                <a:cubicBezTo>
                  <a:pt x="9281" y="3656"/>
                  <a:pt x="9281" y="3656"/>
                  <a:pt x="9281" y="3656"/>
                </a:cubicBezTo>
                <a:cubicBezTo>
                  <a:pt x="9281" y="3656"/>
                  <a:pt x="9281" y="3656"/>
                  <a:pt x="9312" y="3656"/>
                </a:cubicBezTo>
                <a:cubicBezTo>
                  <a:pt x="9312" y="3656"/>
                  <a:pt x="9312" y="3656"/>
                  <a:pt x="9312" y="3656"/>
                </a:cubicBezTo>
                <a:cubicBezTo>
                  <a:pt x="9312" y="3656"/>
                  <a:pt x="9343" y="3656"/>
                  <a:pt x="9343" y="3656"/>
                </a:cubicBezTo>
                <a:cubicBezTo>
                  <a:pt x="9343" y="3656"/>
                  <a:pt x="9343" y="3656"/>
                  <a:pt x="9343" y="3656"/>
                </a:cubicBezTo>
                <a:cubicBezTo>
                  <a:pt x="9375" y="3625"/>
                  <a:pt x="9375" y="3625"/>
                  <a:pt x="9375" y="3562"/>
                </a:cubicBezTo>
                <a:cubicBezTo>
                  <a:pt x="9406" y="3531"/>
                  <a:pt x="9468" y="3531"/>
                  <a:pt x="9500" y="3500"/>
                </a:cubicBezTo>
                <a:cubicBezTo>
                  <a:pt x="9500" y="3468"/>
                  <a:pt x="9531" y="3468"/>
                  <a:pt x="9562" y="3468"/>
                </a:cubicBezTo>
                <a:cubicBezTo>
                  <a:pt x="9625" y="3437"/>
                  <a:pt x="9656" y="3406"/>
                  <a:pt x="9718" y="3343"/>
                </a:cubicBezTo>
                <a:cubicBezTo>
                  <a:pt x="9718" y="3343"/>
                  <a:pt x="9718" y="3343"/>
                  <a:pt x="9718" y="3343"/>
                </a:cubicBezTo>
                <a:cubicBezTo>
                  <a:pt x="9593" y="3375"/>
                  <a:pt x="9531" y="3406"/>
                  <a:pt x="9437" y="3468"/>
                </a:cubicBezTo>
                <a:cubicBezTo>
                  <a:pt x="9343" y="3531"/>
                  <a:pt x="9250" y="3562"/>
                  <a:pt x="9156" y="3625"/>
                </a:cubicBezTo>
                <a:cubicBezTo>
                  <a:pt x="9062" y="3687"/>
                  <a:pt x="8937" y="3781"/>
                  <a:pt x="8843" y="3843"/>
                </a:cubicBezTo>
                <a:cubicBezTo>
                  <a:pt x="8843" y="3875"/>
                  <a:pt x="8812" y="3875"/>
                  <a:pt x="8812" y="3906"/>
                </a:cubicBezTo>
                <a:cubicBezTo>
                  <a:pt x="8781" y="3906"/>
                  <a:pt x="8750" y="3906"/>
                  <a:pt x="8718" y="3906"/>
                </a:cubicBezTo>
                <a:cubicBezTo>
                  <a:pt x="8718" y="3937"/>
                  <a:pt x="8718" y="3968"/>
                  <a:pt x="8687" y="4000"/>
                </a:cubicBezTo>
                <a:cubicBezTo>
                  <a:pt x="8656" y="4000"/>
                  <a:pt x="8656" y="4000"/>
                  <a:pt x="8625" y="4000"/>
                </a:cubicBezTo>
                <a:cubicBezTo>
                  <a:pt x="8625" y="4031"/>
                  <a:pt x="8593" y="4062"/>
                  <a:pt x="8593" y="4062"/>
                </a:cubicBezTo>
                <a:cubicBezTo>
                  <a:pt x="8593" y="4062"/>
                  <a:pt x="8593" y="4031"/>
                  <a:pt x="8593" y="4031"/>
                </a:cubicBezTo>
                <a:cubicBezTo>
                  <a:pt x="8593" y="4031"/>
                  <a:pt x="8593" y="4031"/>
                  <a:pt x="8593" y="4031"/>
                </a:cubicBezTo>
                <a:cubicBezTo>
                  <a:pt x="8593" y="4031"/>
                  <a:pt x="8593" y="4031"/>
                  <a:pt x="8593" y="4031"/>
                </a:cubicBezTo>
                <a:cubicBezTo>
                  <a:pt x="8593" y="4000"/>
                  <a:pt x="8625" y="4000"/>
                  <a:pt x="8625" y="4000"/>
                </a:cubicBezTo>
                <a:cubicBezTo>
                  <a:pt x="8625" y="4000"/>
                  <a:pt x="8625" y="4000"/>
                  <a:pt x="8625" y="4000"/>
                </a:cubicBezTo>
                <a:cubicBezTo>
                  <a:pt x="8625" y="4000"/>
                  <a:pt x="8625" y="4000"/>
                  <a:pt x="8625" y="4000"/>
                </a:cubicBezTo>
                <a:cubicBezTo>
                  <a:pt x="8625" y="4000"/>
                  <a:pt x="8625" y="4000"/>
                  <a:pt x="8625" y="4000"/>
                </a:cubicBezTo>
                <a:cubicBezTo>
                  <a:pt x="8625" y="3968"/>
                  <a:pt x="8656" y="3968"/>
                  <a:pt x="8687" y="3937"/>
                </a:cubicBezTo>
                <a:cubicBezTo>
                  <a:pt x="8687" y="3937"/>
                  <a:pt x="8718" y="3906"/>
                  <a:pt x="8718" y="3906"/>
                </a:cubicBezTo>
                <a:cubicBezTo>
                  <a:pt x="8781" y="3812"/>
                  <a:pt x="8875" y="3781"/>
                  <a:pt x="8937" y="3718"/>
                </a:cubicBezTo>
                <a:cubicBezTo>
                  <a:pt x="9000" y="3656"/>
                  <a:pt x="9031" y="3625"/>
                  <a:pt x="9093" y="3593"/>
                </a:cubicBezTo>
                <a:cubicBezTo>
                  <a:pt x="9125" y="3562"/>
                  <a:pt x="9156" y="3531"/>
                  <a:pt x="9187" y="3500"/>
                </a:cubicBezTo>
                <a:cubicBezTo>
                  <a:pt x="8968" y="3593"/>
                  <a:pt x="8812" y="3750"/>
                  <a:pt x="8656" y="3906"/>
                </a:cubicBezTo>
                <a:cubicBezTo>
                  <a:pt x="8375" y="4125"/>
                  <a:pt x="8125" y="4375"/>
                  <a:pt x="7906" y="4625"/>
                </a:cubicBezTo>
                <a:cubicBezTo>
                  <a:pt x="7875" y="4625"/>
                  <a:pt x="7875" y="4625"/>
                  <a:pt x="7843" y="4625"/>
                </a:cubicBezTo>
                <a:cubicBezTo>
                  <a:pt x="7875" y="4656"/>
                  <a:pt x="7843" y="4687"/>
                  <a:pt x="7812" y="4687"/>
                </a:cubicBezTo>
                <a:cubicBezTo>
                  <a:pt x="7812" y="4687"/>
                  <a:pt x="7812" y="4687"/>
                  <a:pt x="7812" y="4656"/>
                </a:cubicBezTo>
                <a:cubicBezTo>
                  <a:pt x="7812" y="4656"/>
                  <a:pt x="7843" y="4625"/>
                  <a:pt x="7843" y="4625"/>
                </a:cubicBezTo>
                <a:cubicBezTo>
                  <a:pt x="7843" y="4625"/>
                  <a:pt x="7843" y="4593"/>
                  <a:pt x="7843" y="4593"/>
                </a:cubicBezTo>
                <a:cubicBezTo>
                  <a:pt x="7843" y="4593"/>
                  <a:pt x="7843" y="4562"/>
                  <a:pt x="7843" y="4562"/>
                </a:cubicBezTo>
                <a:cubicBezTo>
                  <a:pt x="8000" y="4468"/>
                  <a:pt x="8093" y="4312"/>
                  <a:pt x="8218" y="4218"/>
                </a:cubicBezTo>
                <a:cubicBezTo>
                  <a:pt x="8312" y="4125"/>
                  <a:pt x="8375" y="4031"/>
                  <a:pt x="8437" y="3937"/>
                </a:cubicBezTo>
                <a:cubicBezTo>
                  <a:pt x="8500" y="3843"/>
                  <a:pt x="8531" y="3781"/>
                  <a:pt x="8656" y="3750"/>
                </a:cubicBezTo>
                <a:cubicBezTo>
                  <a:pt x="8687" y="3750"/>
                  <a:pt x="8687" y="3718"/>
                  <a:pt x="8687" y="3687"/>
                </a:cubicBezTo>
                <a:cubicBezTo>
                  <a:pt x="8687" y="3656"/>
                  <a:pt x="8718" y="3625"/>
                  <a:pt x="8718" y="3656"/>
                </a:cubicBezTo>
                <a:cubicBezTo>
                  <a:pt x="8812" y="3656"/>
                  <a:pt x="8812" y="3625"/>
                  <a:pt x="8781" y="3562"/>
                </a:cubicBezTo>
                <a:cubicBezTo>
                  <a:pt x="8781" y="3531"/>
                  <a:pt x="8812" y="3531"/>
                  <a:pt x="8843" y="3562"/>
                </a:cubicBezTo>
                <a:cubicBezTo>
                  <a:pt x="8906" y="3562"/>
                  <a:pt x="8937" y="3562"/>
                  <a:pt x="8906" y="3500"/>
                </a:cubicBezTo>
                <a:cubicBezTo>
                  <a:pt x="8875" y="3437"/>
                  <a:pt x="8875" y="3437"/>
                  <a:pt x="8937" y="3468"/>
                </a:cubicBezTo>
                <a:cubicBezTo>
                  <a:pt x="9031" y="3500"/>
                  <a:pt x="9031" y="3406"/>
                  <a:pt x="9093" y="3375"/>
                </a:cubicBezTo>
                <a:cubicBezTo>
                  <a:pt x="9125" y="3375"/>
                  <a:pt x="9062" y="3312"/>
                  <a:pt x="9062" y="3281"/>
                </a:cubicBezTo>
                <a:cubicBezTo>
                  <a:pt x="9187" y="3375"/>
                  <a:pt x="9218" y="3250"/>
                  <a:pt x="9312" y="3218"/>
                </a:cubicBezTo>
                <a:cubicBezTo>
                  <a:pt x="9312" y="3187"/>
                  <a:pt x="9343" y="3156"/>
                  <a:pt x="9375" y="3156"/>
                </a:cubicBezTo>
                <a:cubicBezTo>
                  <a:pt x="9406" y="3125"/>
                  <a:pt x="9406" y="3125"/>
                  <a:pt x="9406" y="3093"/>
                </a:cubicBezTo>
                <a:cubicBezTo>
                  <a:pt x="9406" y="3031"/>
                  <a:pt x="9406" y="3031"/>
                  <a:pt x="9500" y="2968"/>
                </a:cubicBezTo>
                <a:cubicBezTo>
                  <a:pt x="9500" y="2968"/>
                  <a:pt x="9531" y="2937"/>
                  <a:pt x="9531" y="2937"/>
                </a:cubicBezTo>
                <a:cubicBezTo>
                  <a:pt x="9562" y="2937"/>
                  <a:pt x="9562" y="2937"/>
                  <a:pt x="9562" y="2937"/>
                </a:cubicBezTo>
                <a:cubicBezTo>
                  <a:pt x="9562" y="2937"/>
                  <a:pt x="9562" y="2937"/>
                  <a:pt x="9562" y="2937"/>
                </a:cubicBezTo>
                <a:cubicBezTo>
                  <a:pt x="9468" y="2937"/>
                  <a:pt x="9406" y="2937"/>
                  <a:pt x="9312" y="2937"/>
                </a:cubicBezTo>
                <a:cubicBezTo>
                  <a:pt x="9312" y="2906"/>
                  <a:pt x="9343" y="2906"/>
                  <a:pt x="9343" y="2906"/>
                </a:cubicBezTo>
                <a:cubicBezTo>
                  <a:pt x="9343" y="2906"/>
                  <a:pt x="9343" y="2906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250" y="2906"/>
                  <a:pt x="9125" y="2906"/>
                  <a:pt x="9031" y="3000"/>
                </a:cubicBezTo>
                <a:cubicBezTo>
                  <a:pt x="9031" y="3000"/>
                  <a:pt x="9031" y="3000"/>
                  <a:pt x="9031" y="3000"/>
                </a:cubicBezTo>
                <a:cubicBezTo>
                  <a:pt x="9000" y="3031"/>
                  <a:pt x="8968" y="3031"/>
                  <a:pt x="8937" y="2968"/>
                </a:cubicBezTo>
                <a:cubicBezTo>
                  <a:pt x="8875" y="3031"/>
                  <a:pt x="8781" y="3062"/>
                  <a:pt x="8718" y="3093"/>
                </a:cubicBezTo>
                <a:cubicBezTo>
                  <a:pt x="8718" y="3093"/>
                  <a:pt x="8687" y="3093"/>
                  <a:pt x="8687" y="3093"/>
                </a:cubicBezTo>
                <a:cubicBezTo>
                  <a:pt x="8562" y="3187"/>
                  <a:pt x="8468" y="3281"/>
                  <a:pt x="8343" y="3375"/>
                </a:cubicBezTo>
                <a:cubicBezTo>
                  <a:pt x="8312" y="3375"/>
                  <a:pt x="8312" y="3406"/>
                  <a:pt x="8250" y="3375"/>
                </a:cubicBezTo>
                <a:cubicBezTo>
                  <a:pt x="8250" y="3375"/>
                  <a:pt x="8218" y="3406"/>
                  <a:pt x="8218" y="3406"/>
                </a:cubicBezTo>
                <a:cubicBezTo>
                  <a:pt x="8125" y="3531"/>
                  <a:pt x="7968" y="3562"/>
                  <a:pt x="7875" y="3656"/>
                </a:cubicBezTo>
                <a:cubicBezTo>
                  <a:pt x="7812" y="3687"/>
                  <a:pt x="7781" y="3718"/>
                  <a:pt x="7718" y="3718"/>
                </a:cubicBezTo>
                <a:cubicBezTo>
                  <a:pt x="8000" y="3468"/>
                  <a:pt x="8281" y="3281"/>
                  <a:pt x="8593" y="3093"/>
                </a:cubicBezTo>
                <a:cubicBezTo>
                  <a:pt x="8593" y="3062"/>
                  <a:pt x="8593" y="3031"/>
                  <a:pt x="8625" y="3062"/>
                </a:cubicBezTo>
                <a:cubicBezTo>
                  <a:pt x="8625" y="3062"/>
                  <a:pt x="8625" y="3062"/>
                  <a:pt x="8625" y="3031"/>
                </a:cubicBezTo>
                <a:cubicBezTo>
                  <a:pt x="8656" y="3031"/>
                  <a:pt x="8656" y="3000"/>
                  <a:pt x="8687" y="3000"/>
                </a:cubicBezTo>
                <a:cubicBezTo>
                  <a:pt x="8687" y="2968"/>
                  <a:pt x="8656" y="2968"/>
                  <a:pt x="8656" y="2968"/>
                </a:cubicBezTo>
                <a:cubicBezTo>
                  <a:pt x="8656" y="2968"/>
                  <a:pt x="8656" y="2968"/>
                  <a:pt x="8656" y="2968"/>
                </a:cubicBezTo>
                <a:cubicBezTo>
                  <a:pt x="8656" y="2968"/>
                  <a:pt x="8625" y="2968"/>
                  <a:pt x="8625" y="2968"/>
                </a:cubicBezTo>
                <a:cubicBezTo>
                  <a:pt x="8625" y="2968"/>
                  <a:pt x="8625" y="2968"/>
                  <a:pt x="8625" y="2968"/>
                </a:cubicBezTo>
                <a:cubicBezTo>
                  <a:pt x="8625" y="2968"/>
                  <a:pt x="8625" y="3000"/>
                  <a:pt x="8625" y="3000"/>
                </a:cubicBezTo>
                <a:cubicBezTo>
                  <a:pt x="8625" y="3000"/>
                  <a:pt x="8625" y="3000"/>
                  <a:pt x="8625" y="3000"/>
                </a:cubicBezTo>
                <a:cubicBezTo>
                  <a:pt x="8625" y="3000"/>
                  <a:pt x="8593" y="3000"/>
                  <a:pt x="8593" y="3000"/>
                </a:cubicBezTo>
                <a:cubicBezTo>
                  <a:pt x="8593" y="3031"/>
                  <a:pt x="8593" y="3031"/>
                  <a:pt x="8593" y="3031"/>
                </a:cubicBezTo>
                <a:cubicBezTo>
                  <a:pt x="8562" y="3031"/>
                  <a:pt x="8562" y="3031"/>
                  <a:pt x="8531" y="3031"/>
                </a:cubicBezTo>
                <a:cubicBezTo>
                  <a:pt x="8562" y="3000"/>
                  <a:pt x="8593" y="3000"/>
                  <a:pt x="8625" y="3000"/>
                </a:cubicBezTo>
                <a:cubicBezTo>
                  <a:pt x="8625" y="3000"/>
                  <a:pt x="8625" y="3000"/>
                  <a:pt x="8625" y="2968"/>
                </a:cubicBezTo>
                <a:cubicBezTo>
                  <a:pt x="8625" y="2968"/>
                  <a:pt x="8625" y="2968"/>
                  <a:pt x="8625" y="2968"/>
                </a:cubicBezTo>
                <a:cubicBezTo>
                  <a:pt x="8625" y="2937"/>
                  <a:pt x="8656" y="2937"/>
                  <a:pt x="8687" y="2906"/>
                </a:cubicBezTo>
                <a:cubicBezTo>
                  <a:pt x="8718" y="2875"/>
                  <a:pt x="8750" y="2875"/>
                  <a:pt x="8812" y="2843"/>
                </a:cubicBezTo>
                <a:cubicBezTo>
                  <a:pt x="9062" y="2656"/>
                  <a:pt x="9343" y="2531"/>
                  <a:pt x="9593" y="2343"/>
                </a:cubicBezTo>
                <a:cubicBezTo>
                  <a:pt x="9468" y="2375"/>
                  <a:pt x="9406" y="2406"/>
                  <a:pt x="9312" y="2468"/>
                </a:cubicBezTo>
                <a:cubicBezTo>
                  <a:pt x="9093" y="2593"/>
                  <a:pt x="8843" y="2718"/>
                  <a:pt x="8625" y="2875"/>
                </a:cubicBezTo>
                <a:cubicBezTo>
                  <a:pt x="8406" y="3031"/>
                  <a:pt x="8218" y="3187"/>
                  <a:pt x="8000" y="3343"/>
                </a:cubicBezTo>
                <a:cubicBezTo>
                  <a:pt x="7968" y="3375"/>
                  <a:pt x="8000" y="3437"/>
                  <a:pt x="7906" y="3406"/>
                </a:cubicBezTo>
                <a:cubicBezTo>
                  <a:pt x="7906" y="3406"/>
                  <a:pt x="7875" y="3468"/>
                  <a:pt x="7875" y="3406"/>
                </a:cubicBezTo>
                <a:cubicBezTo>
                  <a:pt x="7875" y="3406"/>
                  <a:pt x="7812" y="3375"/>
                  <a:pt x="7875" y="3312"/>
                </a:cubicBezTo>
                <a:cubicBezTo>
                  <a:pt x="7875" y="3312"/>
                  <a:pt x="7906" y="3312"/>
                  <a:pt x="7906" y="3312"/>
                </a:cubicBezTo>
                <a:cubicBezTo>
                  <a:pt x="7937" y="3281"/>
                  <a:pt x="7937" y="3281"/>
                  <a:pt x="7937" y="3250"/>
                </a:cubicBezTo>
                <a:cubicBezTo>
                  <a:pt x="7937" y="3250"/>
                  <a:pt x="7937" y="3250"/>
                  <a:pt x="7937" y="3250"/>
                </a:cubicBezTo>
                <a:cubicBezTo>
                  <a:pt x="7937" y="3250"/>
                  <a:pt x="7937" y="3250"/>
                  <a:pt x="7937" y="3250"/>
                </a:cubicBezTo>
                <a:cubicBezTo>
                  <a:pt x="7906" y="3218"/>
                  <a:pt x="7875" y="3250"/>
                  <a:pt x="7843" y="3218"/>
                </a:cubicBezTo>
                <a:cubicBezTo>
                  <a:pt x="7937" y="3125"/>
                  <a:pt x="8031" y="3062"/>
                  <a:pt x="8093" y="2968"/>
                </a:cubicBezTo>
                <a:cubicBezTo>
                  <a:pt x="8406" y="2718"/>
                  <a:pt x="8750" y="2500"/>
                  <a:pt x="9093" y="2312"/>
                </a:cubicBezTo>
                <a:cubicBezTo>
                  <a:pt x="9156" y="2250"/>
                  <a:pt x="9218" y="2187"/>
                  <a:pt x="9281" y="2125"/>
                </a:cubicBezTo>
                <a:cubicBezTo>
                  <a:pt x="9375" y="2031"/>
                  <a:pt x="9531" y="2031"/>
                  <a:pt x="9625" y="1968"/>
                </a:cubicBezTo>
                <a:cubicBezTo>
                  <a:pt x="9656" y="1968"/>
                  <a:pt x="9656" y="1937"/>
                  <a:pt x="9687" y="1906"/>
                </a:cubicBezTo>
                <a:cubicBezTo>
                  <a:pt x="9593" y="1937"/>
                  <a:pt x="9531" y="1968"/>
                  <a:pt x="9468" y="1968"/>
                </a:cubicBezTo>
                <a:cubicBezTo>
                  <a:pt x="9343" y="2000"/>
                  <a:pt x="9218" y="2093"/>
                  <a:pt x="9062" y="2125"/>
                </a:cubicBezTo>
                <a:cubicBezTo>
                  <a:pt x="9062" y="2125"/>
                  <a:pt x="9062" y="2156"/>
                  <a:pt x="9062" y="2156"/>
                </a:cubicBezTo>
                <a:cubicBezTo>
                  <a:pt x="9062" y="2156"/>
                  <a:pt x="9031" y="2156"/>
                  <a:pt x="9031" y="2125"/>
                </a:cubicBezTo>
                <a:cubicBezTo>
                  <a:pt x="9031" y="2125"/>
                  <a:pt x="9062" y="2125"/>
                  <a:pt x="9062" y="2125"/>
                </a:cubicBezTo>
                <a:cubicBezTo>
                  <a:pt x="9093" y="2093"/>
                  <a:pt x="9125" y="2062"/>
                  <a:pt x="9187" y="2031"/>
                </a:cubicBezTo>
                <a:cubicBezTo>
                  <a:pt x="9187" y="2031"/>
                  <a:pt x="9218" y="2000"/>
                  <a:pt x="9250" y="2000"/>
                </a:cubicBezTo>
                <a:cubicBezTo>
                  <a:pt x="9250" y="2000"/>
                  <a:pt x="9250" y="2000"/>
                  <a:pt x="9250" y="2000"/>
                </a:cubicBezTo>
                <a:cubicBezTo>
                  <a:pt x="9218" y="1937"/>
                  <a:pt x="9187" y="1937"/>
                  <a:pt x="9156" y="1968"/>
                </a:cubicBezTo>
                <a:cubicBezTo>
                  <a:pt x="9125" y="2000"/>
                  <a:pt x="9125" y="2000"/>
                  <a:pt x="9062" y="2000"/>
                </a:cubicBezTo>
                <a:cubicBezTo>
                  <a:pt x="9312" y="1843"/>
                  <a:pt x="9562" y="1750"/>
                  <a:pt x="9812" y="1656"/>
                </a:cubicBezTo>
                <a:cubicBezTo>
                  <a:pt x="9718" y="1625"/>
                  <a:pt x="9656" y="1687"/>
                  <a:pt x="9562" y="1718"/>
                </a:cubicBezTo>
                <a:cubicBezTo>
                  <a:pt x="9375" y="1781"/>
                  <a:pt x="9187" y="1843"/>
                  <a:pt x="9000" y="1968"/>
                </a:cubicBezTo>
                <a:cubicBezTo>
                  <a:pt x="8531" y="2218"/>
                  <a:pt x="8093" y="2531"/>
                  <a:pt x="7687" y="2875"/>
                </a:cubicBezTo>
                <a:cubicBezTo>
                  <a:pt x="7437" y="3093"/>
                  <a:pt x="7187" y="3343"/>
                  <a:pt x="6968" y="3562"/>
                </a:cubicBezTo>
                <a:cubicBezTo>
                  <a:pt x="6843" y="3656"/>
                  <a:pt x="6781" y="3781"/>
                  <a:pt x="6656" y="3875"/>
                </a:cubicBezTo>
                <a:cubicBezTo>
                  <a:pt x="6656" y="3812"/>
                  <a:pt x="6687" y="3812"/>
                  <a:pt x="6718" y="3781"/>
                </a:cubicBezTo>
                <a:cubicBezTo>
                  <a:pt x="7062" y="3406"/>
                  <a:pt x="7375" y="3031"/>
                  <a:pt x="7781" y="2687"/>
                </a:cubicBezTo>
                <a:cubicBezTo>
                  <a:pt x="8000" y="2500"/>
                  <a:pt x="8250" y="2343"/>
                  <a:pt x="8500" y="2187"/>
                </a:cubicBezTo>
                <a:cubicBezTo>
                  <a:pt x="8687" y="2031"/>
                  <a:pt x="8875" y="1906"/>
                  <a:pt x="9093" y="1812"/>
                </a:cubicBezTo>
                <a:cubicBezTo>
                  <a:pt x="9312" y="1718"/>
                  <a:pt x="9531" y="1625"/>
                  <a:pt x="9781" y="1531"/>
                </a:cubicBezTo>
                <a:cubicBezTo>
                  <a:pt x="9812" y="1531"/>
                  <a:pt x="9875" y="1531"/>
                  <a:pt x="9906" y="1531"/>
                </a:cubicBezTo>
                <a:cubicBezTo>
                  <a:pt x="9875" y="1500"/>
                  <a:pt x="9843" y="1500"/>
                  <a:pt x="9812" y="1468"/>
                </a:cubicBezTo>
                <a:cubicBezTo>
                  <a:pt x="9875" y="1468"/>
                  <a:pt x="9906" y="1437"/>
                  <a:pt x="9937" y="1437"/>
                </a:cubicBezTo>
                <a:cubicBezTo>
                  <a:pt x="9968" y="1437"/>
                  <a:pt x="10000" y="1437"/>
                  <a:pt x="9968" y="1406"/>
                </a:cubicBezTo>
                <a:cubicBezTo>
                  <a:pt x="9968" y="1375"/>
                  <a:pt x="9968" y="1375"/>
                  <a:pt x="9937" y="1375"/>
                </a:cubicBezTo>
                <a:cubicBezTo>
                  <a:pt x="9906" y="1375"/>
                  <a:pt x="9906" y="1375"/>
                  <a:pt x="9875" y="1343"/>
                </a:cubicBezTo>
                <a:cubicBezTo>
                  <a:pt x="9937" y="1343"/>
                  <a:pt x="10000" y="1312"/>
                  <a:pt x="10031" y="1250"/>
                </a:cubicBezTo>
                <a:cubicBezTo>
                  <a:pt x="10062" y="1187"/>
                  <a:pt x="10125" y="1187"/>
                  <a:pt x="10187" y="1187"/>
                </a:cubicBezTo>
                <a:cubicBezTo>
                  <a:pt x="10468" y="1125"/>
                  <a:pt x="10750" y="1125"/>
                  <a:pt x="11031" y="1125"/>
                </a:cubicBezTo>
                <a:cubicBezTo>
                  <a:pt x="11062" y="1125"/>
                  <a:pt x="11093" y="1156"/>
                  <a:pt x="11125" y="1125"/>
                </a:cubicBezTo>
                <a:cubicBezTo>
                  <a:pt x="11000" y="1093"/>
                  <a:pt x="10843" y="1062"/>
                  <a:pt x="10687" y="1062"/>
                </a:cubicBezTo>
                <a:cubicBezTo>
                  <a:pt x="10812" y="1000"/>
                  <a:pt x="10937" y="1093"/>
                  <a:pt x="11062" y="1000"/>
                </a:cubicBezTo>
                <a:cubicBezTo>
                  <a:pt x="10937" y="1000"/>
                  <a:pt x="10875" y="968"/>
                  <a:pt x="10781" y="968"/>
                </a:cubicBezTo>
                <a:cubicBezTo>
                  <a:pt x="10468" y="968"/>
                  <a:pt x="10187" y="968"/>
                  <a:pt x="9906" y="1062"/>
                </a:cubicBezTo>
                <a:cubicBezTo>
                  <a:pt x="9468" y="1156"/>
                  <a:pt x="9062" y="1343"/>
                  <a:pt x="8687" y="1531"/>
                </a:cubicBezTo>
                <a:cubicBezTo>
                  <a:pt x="8593" y="1562"/>
                  <a:pt x="8531" y="1625"/>
                  <a:pt x="8437" y="1656"/>
                </a:cubicBezTo>
                <a:cubicBezTo>
                  <a:pt x="8406" y="1687"/>
                  <a:pt x="8406" y="1687"/>
                  <a:pt x="8375" y="1687"/>
                </a:cubicBezTo>
                <a:cubicBezTo>
                  <a:pt x="8406" y="1625"/>
                  <a:pt x="8437" y="1625"/>
                  <a:pt x="8468" y="1593"/>
                </a:cubicBezTo>
                <a:cubicBezTo>
                  <a:pt x="8656" y="1531"/>
                  <a:pt x="8812" y="1406"/>
                  <a:pt x="8968" y="1312"/>
                </a:cubicBezTo>
                <a:cubicBezTo>
                  <a:pt x="9125" y="1250"/>
                  <a:pt x="9281" y="1187"/>
                  <a:pt x="9437" y="1125"/>
                </a:cubicBezTo>
                <a:cubicBezTo>
                  <a:pt x="9656" y="1031"/>
                  <a:pt x="9906" y="968"/>
                  <a:pt x="10125" y="937"/>
                </a:cubicBezTo>
                <a:cubicBezTo>
                  <a:pt x="10281" y="906"/>
                  <a:pt x="10437" y="875"/>
                  <a:pt x="10593" y="875"/>
                </a:cubicBezTo>
                <a:cubicBezTo>
                  <a:pt x="10625" y="875"/>
                  <a:pt x="10656" y="875"/>
                  <a:pt x="10687" y="875"/>
                </a:cubicBezTo>
                <a:cubicBezTo>
                  <a:pt x="10718" y="844"/>
                  <a:pt x="10750" y="844"/>
                  <a:pt x="10781" y="844"/>
                </a:cubicBezTo>
                <a:cubicBezTo>
                  <a:pt x="10843" y="844"/>
                  <a:pt x="10906" y="844"/>
                  <a:pt x="10937" y="844"/>
                </a:cubicBezTo>
                <a:cubicBezTo>
                  <a:pt x="10937" y="844"/>
                  <a:pt x="10937" y="844"/>
                  <a:pt x="10968" y="844"/>
                </a:cubicBezTo>
                <a:cubicBezTo>
                  <a:pt x="10937" y="812"/>
                  <a:pt x="10968" y="781"/>
                  <a:pt x="11000" y="781"/>
                </a:cubicBezTo>
                <a:cubicBezTo>
                  <a:pt x="11062" y="781"/>
                  <a:pt x="11093" y="781"/>
                  <a:pt x="11125" y="781"/>
                </a:cubicBezTo>
                <a:cubicBezTo>
                  <a:pt x="10968" y="719"/>
                  <a:pt x="10812" y="719"/>
                  <a:pt x="10656" y="719"/>
                </a:cubicBezTo>
                <a:cubicBezTo>
                  <a:pt x="10468" y="750"/>
                  <a:pt x="10312" y="750"/>
                  <a:pt x="10156" y="781"/>
                </a:cubicBezTo>
                <a:cubicBezTo>
                  <a:pt x="10000" y="781"/>
                  <a:pt x="9843" y="844"/>
                  <a:pt x="9687" y="875"/>
                </a:cubicBezTo>
                <a:cubicBezTo>
                  <a:pt x="9375" y="968"/>
                  <a:pt x="9062" y="1062"/>
                  <a:pt x="8781" y="1218"/>
                </a:cubicBezTo>
                <a:cubicBezTo>
                  <a:pt x="8218" y="1500"/>
                  <a:pt x="7687" y="1843"/>
                  <a:pt x="7187" y="2281"/>
                </a:cubicBezTo>
                <a:cubicBezTo>
                  <a:pt x="6781" y="2593"/>
                  <a:pt x="6406" y="2968"/>
                  <a:pt x="6031" y="3343"/>
                </a:cubicBezTo>
                <a:cubicBezTo>
                  <a:pt x="5843" y="3500"/>
                  <a:pt x="5656" y="3687"/>
                  <a:pt x="5500" y="3875"/>
                </a:cubicBezTo>
                <a:cubicBezTo>
                  <a:pt x="5468" y="3906"/>
                  <a:pt x="5468" y="3906"/>
                  <a:pt x="5406" y="3937"/>
                </a:cubicBezTo>
                <a:cubicBezTo>
                  <a:pt x="6000" y="3218"/>
                  <a:pt x="6656" y="2593"/>
                  <a:pt x="7375" y="2031"/>
                </a:cubicBezTo>
                <a:cubicBezTo>
                  <a:pt x="8093" y="1468"/>
                  <a:pt x="8875" y="1062"/>
                  <a:pt x="9718" y="687"/>
                </a:cubicBezTo>
                <a:cubicBezTo>
                  <a:pt x="9531" y="719"/>
                  <a:pt x="9406" y="781"/>
                  <a:pt x="9250" y="812"/>
                </a:cubicBezTo>
                <a:cubicBezTo>
                  <a:pt x="8812" y="1000"/>
                  <a:pt x="8375" y="1218"/>
                  <a:pt x="7968" y="1500"/>
                </a:cubicBezTo>
                <a:cubicBezTo>
                  <a:pt x="7718" y="1656"/>
                  <a:pt x="7437" y="1843"/>
                  <a:pt x="7187" y="2062"/>
                </a:cubicBezTo>
                <a:cubicBezTo>
                  <a:pt x="6750" y="2406"/>
                  <a:pt x="6375" y="2750"/>
                  <a:pt x="6000" y="3125"/>
                </a:cubicBezTo>
                <a:cubicBezTo>
                  <a:pt x="5781" y="3375"/>
                  <a:pt x="5531" y="3593"/>
                  <a:pt x="5343" y="3843"/>
                </a:cubicBezTo>
                <a:cubicBezTo>
                  <a:pt x="5250" y="3937"/>
                  <a:pt x="5156" y="4062"/>
                  <a:pt x="5031" y="4187"/>
                </a:cubicBezTo>
                <a:cubicBezTo>
                  <a:pt x="5062" y="4125"/>
                  <a:pt x="5093" y="4093"/>
                  <a:pt x="5125" y="4062"/>
                </a:cubicBezTo>
                <a:cubicBezTo>
                  <a:pt x="5406" y="3656"/>
                  <a:pt x="5750" y="3281"/>
                  <a:pt x="6093" y="2906"/>
                </a:cubicBezTo>
                <a:cubicBezTo>
                  <a:pt x="6187" y="2843"/>
                  <a:pt x="6281" y="2781"/>
                  <a:pt x="6343" y="2687"/>
                </a:cubicBezTo>
                <a:cubicBezTo>
                  <a:pt x="6375" y="2656"/>
                  <a:pt x="6437" y="2625"/>
                  <a:pt x="6406" y="2562"/>
                </a:cubicBezTo>
                <a:cubicBezTo>
                  <a:pt x="6406" y="2562"/>
                  <a:pt x="6437" y="2531"/>
                  <a:pt x="6437" y="2500"/>
                </a:cubicBezTo>
                <a:cubicBezTo>
                  <a:pt x="6500" y="2500"/>
                  <a:pt x="6500" y="2468"/>
                  <a:pt x="6500" y="2437"/>
                </a:cubicBezTo>
                <a:cubicBezTo>
                  <a:pt x="6500" y="2437"/>
                  <a:pt x="6468" y="2468"/>
                  <a:pt x="6437" y="2468"/>
                </a:cubicBezTo>
                <a:cubicBezTo>
                  <a:pt x="6468" y="2437"/>
                  <a:pt x="6468" y="2406"/>
                  <a:pt x="6500" y="2406"/>
                </a:cubicBezTo>
                <a:cubicBezTo>
                  <a:pt x="6500" y="2406"/>
                  <a:pt x="6500" y="2406"/>
                  <a:pt x="6500" y="2406"/>
                </a:cubicBezTo>
                <a:cubicBezTo>
                  <a:pt x="6500" y="2406"/>
                  <a:pt x="6500" y="2406"/>
                  <a:pt x="6500" y="2406"/>
                </a:cubicBezTo>
                <a:cubicBezTo>
                  <a:pt x="6500" y="2375"/>
                  <a:pt x="6500" y="2375"/>
                  <a:pt x="6500" y="2375"/>
                </a:cubicBezTo>
                <a:cubicBezTo>
                  <a:pt x="6531" y="2375"/>
                  <a:pt x="6531" y="2375"/>
                  <a:pt x="6531" y="2343"/>
                </a:cubicBezTo>
                <a:cubicBezTo>
                  <a:pt x="6781" y="2156"/>
                  <a:pt x="7031" y="1906"/>
                  <a:pt x="7312" y="1718"/>
                </a:cubicBezTo>
                <a:cubicBezTo>
                  <a:pt x="7375" y="1656"/>
                  <a:pt x="7437" y="1593"/>
                  <a:pt x="7531" y="1593"/>
                </a:cubicBezTo>
                <a:cubicBezTo>
                  <a:pt x="7562" y="1562"/>
                  <a:pt x="7562" y="1531"/>
                  <a:pt x="7593" y="1531"/>
                </a:cubicBezTo>
                <a:cubicBezTo>
                  <a:pt x="7625" y="1500"/>
                  <a:pt x="7656" y="1500"/>
                  <a:pt x="7687" y="1468"/>
                </a:cubicBezTo>
                <a:cubicBezTo>
                  <a:pt x="7687" y="1468"/>
                  <a:pt x="7687" y="1468"/>
                  <a:pt x="7687" y="1468"/>
                </a:cubicBezTo>
                <a:cubicBezTo>
                  <a:pt x="7687" y="1468"/>
                  <a:pt x="7687" y="1468"/>
                  <a:pt x="7687" y="1468"/>
                </a:cubicBezTo>
                <a:cubicBezTo>
                  <a:pt x="7687" y="1468"/>
                  <a:pt x="7687" y="1468"/>
                  <a:pt x="7687" y="1468"/>
                </a:cubicBezTo>
                <a:cubicBezTo>
                  <a:pt x="7718" y="1437"/>
                  <a:pt x="7718" y="1406"/>
                  <a:pt x="7750" y="1406"/>
                </a:cubicBezTo>
                <a:cubicBezTo>
                  <a:pt x="7781" y="1406"/>
                  <a:pt x="7812" y="1375"/>
                  <a:pt x="7812" y="1375"/>
                </a:cubicBezTo>
                <a:cubicBezTo>
                  <a:pt x="7843" y="1343"/>
                  <a:pt x="7875" y="1312"/>
                  <a:pt x="7937" y="1281"/>
                </a:cubicBezTo>
                <a:cubicBezTo>
                  <a:pt x="7843" y="1281"/>
                  <a:pt x="7781" y="1375"/>
                  <a:pt x="7718" y="1375"/>
                </a:cubicBezTo>
                <a:cubicBezTo>
                  <a:pt x="7687" y="1406"/>
                  <a:pt x="7687" y="1406"/>
                  <a:pt x="7687" y="1437"/>
                </a:cubicBezTo>
                <a:cubicBezTo>
                  <a:pt x="7656" y="1468"/>
                  <a:pt x="7593" y="1468"/>
                  <a:pt x="7562" y="1500"/>
                </a:cubicBezTo>
                <a:cubicBezTo>
                  <a:pt x="7562" y="1500"/>
                  <a:pt x="7562" y="1500"/>
                  <a:pt x="7562" y="1500"/>
                </a:cubicBezTo>
                <a:cubicBezTo>
                  <a:pt x="7562" y="1500"/>
                  <a:pt x="7562" y="1500"/>
                  <a:pt x="7562" y="1500"/>
                </a:cubicBezTo>
                <a:cubicBezTo>
                  <a:pt x="7562" y="1500"/>
                  <a:pt x="7562" y="1500"/>
                  <a:pt x="7562" y="1500"/>
                </a:cubicBezTo>
                <a:cubicBezTo>
                  <a:pt x="7500" y="1531"/>
                  <a:pt x="7468" y="1562"/>
                  <a:pt x="7406" y="1593"/>
                </a:cubicBezTo>
                <a:cubicBezTo>
                  <a:pt x="7375" y="1625"/>
                  <a:pt x="7375" y="1625"/>
                  <a:pt x="7343" y="1625"/>
                </a:cubicBezTo>
                <a:cubicBezTo>
                  <a:pt x="7343" y="1625"/>
                  <a:pt x="7375" y="1593"/>
                  <a:pt x="7375" y="1593"/>
                </a:cubicBezTo>
                <a:cubicBezTo>
                  <a:pt x="7406" y="1562"/>
                  <a:pt x="7437" y="1531"/>
                  <a:pt x="7500" y="1500"/>
                </a:cubicBezTo>
                <a:cubicBezTo>
                  <a:pt x="7500" y="1500"/>
                  <a:pt x="7531" y="1500"/>
                  <a:pt x="7531" y="1468"/>
                </a:cubicBezTo>
                <a:cubicBezTo>
                  <a:pt x="7562" y="1468"/>
                  <a:pt x="7593" y="1437"/>
                  <a:pt x="7593" y="1437"/>
                </a:cubicBezTo>
                <a:cubicBezTo>
                  <a:pt x="7625" y="1406"/>
                  <a:pt x="7656" y="1375"/>
                  <a:pt x="7687" y="1375"/>
                </a:cubicBezTo>
                <a:cubicBezTo>
                  <a:pt x="7718" y="1343"/>
                  <a:pt x="7750" y="1312"/>
                  <a:pt x="7781" y="1312"/>
                </a:cubicBezTo>
                <a:cubicBezTo>
                  <a:pt x="7812" y="1281"/>
                  <a:pt x="7843" y="1281"/>
                  <a:pt x="7875" y="1250"/>
                </a:cubicBezTo>
                <a:cubicBezTo>
                  <a:pt x="7875" y="1250"/>
                  <a:pt x="7937" y="1218"/>
                  <a:pt x="7968" y="1218"/>
                </a:cubicBezTo>
                <a:cubicBezTo>
                  <a:pt x="7968" y="1156"/>
                  <a:pt x="8031" y="1156"/>
                  <a:pt x="8062" y="1125"/>
                </a:cubicBezTo>
                <a:cubicBezTo>
                  <a:pt x="8468" y="906"/>
                  <a:pt x="8875" y="687"/>
                  <a:pt x="9312" y="531"/>
                </a:cubicBezTo>
                <a:cubicBezTo>
                  <a:pt x="9468" y="437"/>
                  <a:pt x="9656" y="375"/>
                  <a:pt x="9812" y="344"/>
                </a:cubicBezTo>
                <a:cubicBezTo>
                  <a:pt x="9843" y="344"/>
                  <a:pt x="9875" y="312"/>
                  <a:pt x="9906" y="312"/>
                </a:cubicBezTo>
                <a:cubicBezTo>
                  <a:pt x="9781" y="312"/>
                  <a:pt x="9687" y="344"/>
                  <a:pt x="9562" y="375"/>
                </a:cubicBezTo>
                <a:cubicBezTo>
                  <a:pt x="9406" y="406"/>
                  <a:pt x="9250" y="469"/>
                  <a:pt x="9093" y="500"/>
                </a:cubicBezTo>
                <a:cubicBezTo>
                  <a:pt x="9093" y="531"/>
                  <a:pt x="9093" y="531"/>
                  <a:pt x="9062" y="531"/>
                </a:cubicBezTo>
                <a:cubicBezTo>
                  <a:pt x="9062" y="531"/>
                  <a:pt x="9062" y="500"/>
                  <a:pt x="9062" y="500"/>
                </a:cubicBezTo>
                <a:cubicBezTo>
                  <a:pt x="9062" y="500"/>
                  <a:pt x="9093" y="500"/>
                  <a:pt x="9093" y="500"/>
                </a:cubicBezTo>
                <a:cubicBezTo>
                  <a:pt x="9125" y="469"/>
                  <a:pt x="9156" y="469"/>
                  <a:pt x="9187" y="437"/>
                </a:cubicBezTo>
                <a:cubicBezTo>
                  <a:pt x="9187" y="437"/>
                  <a:pt x="9218" y="437"/>
                  <a:pt x="9218" y="437"/>
                </a:cubicBezTo>
                <a:cubicBezTo>
                  <a:pt x="9250" y="406"/>
                  <a:pt x="9312" y="406"/>
                  <a:pt x="9343" y="375"/>
                </a:cubicBezTo>
                <a:cubicBezTo>
                  <a:pt x="9406" y="344"/>
                  <a:pt x="9500" y="312"/>
                  <a:pt x="9593" y="312"/>
                </a:cubicBezTo>
                <a:cubicBezTo>
                  <a:pt x="9750" y="250"/>
                  <a:pt x="9937" y="187"/>
                  <a:pt x="10125" y="156"/>
                </a:cubicBezTo>
                <a:cubicBezTo>
                  <a:pt x="10531" y="62"/>
                  <a:pt x="10968" y="0"/>
                  <a:pt x="11406" y="62"/>
                </a:cubicBezTo>
                <a:cubicBezTo>
                  <a:pt x="11687" y="94"/>
                  <a:pt x="11937" y="156"/>
                  <a:pt x="12218" y="250"/>
                </a:cubicBezTo>
                <a:cubicBezTo>
                  <a:pt x="12500" y="344"/>
                  <a:pt x="12750" y="531"/>
                  <a:pt x="12968" y="719"/>
                </a:cubicBezTo>
                <a:cubicBezTo>
                  <a:pt x="13156" y="937"/>
                  <a:pt x="13343" y="1125"/>
                  <a:pt x="13468" y="1375"/>
                </a:cubicBezTo>
                <a:cubicBezTo>
                  <a:pt x="13562" y="1593"/>
                  <a:pt x="13656" y="1843"/>
                  <a:pt x="13750" y="2093"/>
                </a:cubicBezTo>
                <a:cubicBezTo>
                  <a:pt x="13812" y="2375"/>
                  <a:pt x="13875" y="2656"/>
                  <a:pt x="13906" y="2937"/>
                </a:cubicBezTo>
                <a:cubicBezTo>
                  <a:pt x="13968" y="3406"/>
                  <a:pt x="14000" y="3843"/>
                  <a:pt x="13968" y="4281"/>
                </a:cubicBezTo>
                <a:cubicBezTo>
                  <a:pt x="13937" y="4437"/>
                  <a:pt x="13937" y="4625"/>
                  <a:pt x="13937" y="4781"/>
                </a:cubicBezTo>
                <a:cubicBezTo>
                  <a:pt x="13906" y="4968"/>
                  <a:pt x="13875" y="5156"/>
                  <a:pt x="13843" y="5375"/>
                </a:cubicBezTo>
                <a:cubicBezTo>
                  <a:pt x="13812" y="5531"/>
                  <a:pt x="13781" y="5718"/>
                  <a:pt x="13781" y="5906"/>
                </a:cubicBezTo>
                <a:cubicBezTo>
                  <a:pt x="13812" y="5781"/>
                  <a:pt x="13843" y="5656"/>
                  <a:pt x="13843" y="5562"/>
                </a:cubicBezTo>
                <a:cubicBezTo>
                  <a:pt x="13906" y="5281"/>
                  <a:pt x="13937" y="5031"/>
                  <a:pt x="13968" y="4750"/>
                </a:cubicBezTo>
                <a:cubicBezTo>
                  <a:pt x="14000" y="4625"/>
                  <a:pt x="14000" y="4468"/>
                  <a:pt x="14031" y="4312"/>
                </a:cubicBezTo>
                <a:cubicBezTo>
                  <a:pt x="14093" y="4125"/>
                  <a:pt x="14062" y="3906"/>
                  <a:pt x="14062" y="3687"/>
                </a:cubicBezTo>
                <a:cubicBezTo>
                  <a:pt x="14093" y="3343"/>
                  <a:pt x="14062" y="3000"/>
                  <a:pt x="14000" y="2625"/>
                </a:cubicBezTo>
                <a:cubicBezTo>
                  <a:pt x="13937" y="2312"/>
                  <a:pt x="13875" y="1968"/>
                  <a:pt x="13750" y="1656"/>
                </a:cubicBezTo>
                <a:cubicBezTo>
                  <a:pt x="13593" y="1281"/>
                  <a:pt x="13375" y="968"/>
                  <a:pt x="13093" y="687"/>
                </a:cubicBezTo>
                <a:cubicBezTo>
                  <a:pt x="13031" y="625"/>
                  <a:pt x="12968" y="562"/>
                  <a:pt x="12906" y="531"/>
                </a:cubicBezTo>
                <a:cubicBezTo>
                  <a:pt x="12875" y="500"/>
                  <a:pt x="12843" y="437"/>
                  <a:pt x="12781" y="469"/>
                </a:cubicBezTo>
                <a:cubicBezTo>
                  <a:pt x="12750" y="469"/>
                  <a:pt x="12750" y="437"/>
                  <a:pt x="12718" y="406"/>
                </a:cubicBezTo>
                <a:cubicBezTo>
                  <a:pt x="12718" y="406"/>
                  <a:pt x="12718" y="375"/>
                  <a:pt x="12687" y="375"/>
                </a:cubicBezTo>
                <a:cubicBezTo>
                  <a:pt x="12593" y="312"/>
                  <a:pt x="12468" y="250"/>
                  <a:pt x="12312" y="187"/>
                </a:cubicBezTo>
                <a:cubicBezTo>
                  <a:pt x="12250" y="156"/>
                  <a:pt x="12156" y="156"/>
                  <a:pt x="12093" y="94"/>
                </a:cubicBezTo>
                <a:cubicBezTo>
                  <a:pt x="12062" y="94"/>
                  <a:pt x="12062" y="94"/>
                  <a:pt x="12031" y="62"/>
                </a:cubicBezTo>
                <a:cubicBezTo>
                  <a:pt x="12062" y="62"/>
                  <a:pt x="12062" y="62"/>
                  <a:pt x="12093" y="94"/>
                </a:cubicBezTo>
                <a:cubicBezTo>
                  <a:pt x="12156" y="62"/>
                  <a:pt x="12187" y="94"/>
                  <a:pt x="12250" y="125"/>
                </a:cubicBezTo>
                <a:cubicBezTo>
                  <a:pt x="12250" y="125"/>
                  <a:pt x="12281" y="125"/>
                  <a:pt x="12281" y="125"/>
                </a:cubicBezTo>
                <a:cubicBezTo>
                  <a:pt x="12312" y="125"/>
                  <a:pt x="12375" y="187"/>
                  <a:pt x="12343" y="94"/>
                </a:cubicBezTo>
                <a:cubicBezTo>
                  <a:pt x="12343" y="62"/>
                  <a:pt x="12375" y="94"/>
                  <a:pt x="12406" y="94"/>
                </a:cubicBezTo>
                <a:cubicBezTo>
                  <a:pt x="12406" y="62"/>
                  <a:pt x="12437" y="62"/>
                  <a:pt x="12437" y="94"/>
                </a:cubicBezTo>
                <a:cubicBezTo>
                  <a:pt x="12437" y="94"/>
                  <a:pt x="12468" y="94"/>
                  <a:pt x="12468" y="94"/>
                </a:cubicBezTo>
                <a:cubicBezTo>
                  <a:pt x="12468" y="94"/>
                  <a:pt x="12468" y="94"/>
                  <a:pt x="12500" y="94"/>
                </a:cubicBezTo>
                <a:cubicBezTo>
                  <a:pt x="12500" y="94"/>
                  <a:pt x="12500" y="94"/>
                  <a:pt x="12500" y="94"/>
                </a:cubicBezTo>
                <a:cubicBezTo>
                  <a:pt x="12562" y="125"/>
                  <a:pt x="12625" y="187"/>
                  <a:pt x="12687" y="94"/>
                </a:cubicBezTo>
                <a:cubicBezTo>
                  <a:pt x="12718" y="94"/>
                  <a:pt x="12718" y="94"/>
                  <a:pt x="12750" y="125"/>
                </a:cubicBezTo>
                <a:cubicBezTo>
                  <a:pt x="13062" y="281"/>
                  <a:pt x="13343" y="469"/>
                  <a:pt x="13562" y="750"/>
                </a:cubicBezTo>
                <a:cubicBezTo>
                  <a:pt x="13687" y="906"/>
                  <a:pt x="13843" y="1093"/>
                  <a:pt x="13937" y="1281"/>
                </a:cubicBezTo>
                <a:cubicBezTo>
                  <a:pt x="13937" y="1281"/>
                  <a:pt x="13937" y="1312"/>
                  <a:pt x="13968" y="1312"/>
                </a:cubicBezTo>
                <a:cubicBezTo>
                  <a:pt x="14093" y="1312"/>
                  <a:pt x="14062" y="1437"/>
                  <a:pt x="14093" y="1500"/>
                </a:cubicBezTo>
                <a:cubicBezTo>
                  <a:pt x="14125" y="1531"/>
                  <a:pt x="14156" y="1593"/>
                  <a:pt x="14156" y="1656"/>
                </a:cubicBezTo>
                <a:cubicBezTo>
                  <a:pt x="14187" y="1656"/>
                  <a:pt x="14187" y="1687"/>
                  <a:pt x="14187" y="1687"/>
                </a:cubicBezTo>
                <a:cubicBezTo>
                  <a:pt x="14218" y="1687"/>
                  <a:pt x="14218" y="1656"/>
                  <a:pt x="14218" y="1656"/>
                </a:cubicBezTo>
                <a:cubicBezTo>
                  <a:pt x="14218" y="1625"/>
                  <a:pt x="14187" y="1593"/>
                  <a:pt x="14218" y="1531"/>
                </a:cubicBezTo>
                <a:cubicBezTo>
                  <a:pt x="14406" y="2031"/>
                  <a:pt x="14531" y="2500"/>
                  <a:pt x="14562" y="3031"/>
                </a:cubicBezTo>
                <a:cubicBezTo>
                  <a:pt x="14531" y="3000"/>
                  <a:pt x="14531" y="2968"/>
                  <a:pt x="14531" y="2937"/>
                </a:cubicBezTo>
                <a:cubicBezTo>
                  <a:pt x="14531" y="2937"/>
                  <a:pt x="14531" y="2906"/>
                  <a:pt x="14531" y="2875"/>
                </a:cubicBezTo>
                <a:cubicBezTo>
                  <a:pt x="14531" y="2906"/>
                  <a:pt x="14531" y="2937"/>
                  <a:pt x="14500" y="2968"/>
                </a:cubicBezTo>
                <a:cubicBezTo>
                  <a:pt x="14500" y="3000"/>
                  <a:pt x="14531" y="3031"/>
                  <a:pt x="14468" y="3062"/>
                </a:cubicBezTo>
                <a:cubicBezTo>
                  <a:pt x="14468" y="3000"/>
                  <a:pt x="14468" y="2968"/>
                  <a:pt x="14468" y="2906"/>
                </a:cubicBezTo>
                <a:cubicBezTo>
                  <a:pt x="14437" y="2875"/>
                  <a:pt x="14468" y="2843"/>
                  <a:pt x="14406" y="2781"/>
                </a:cubicBezTo>
                <a:cubicBezTo>
                  <a:pt x="14437" y="3062"/>
                  <a:pt x="14437" y="3343"/>
                  <a:pt x="14531" y="3593"/>
                </a:cubicBezTo>
                <a:cubicBezTo>
                  <a:pt x="14531" y="3531"/>
                  <a:pt x="14531" y="3437"/>
                  <a:pt x="14531" y="3375"/>
                </a:cubicBezTo>
                <a:cubicBezTo>
                  <a:pt x="14531" y="3375"/>
                  <a:pt x="14531" y="3375"/>
                  <a:pt x="14562" y="3375"/>
                </a:cubicBezTo>
                <a:cubicBezTo>
                  <a:pt x="14593" y="3718"/>
                  <a:pt x="14593" y="4093"/>
                  <a:pt x="14625" y="4437"/>
                </a:cubicBezTo>
                <a:cubicBezTo>
                  <a:pt x="14625" y="4187"/>
                  <a:pt x="14625" y="3937"/>
                  <a:pt x="14625" y="3687"/>
                </a:cubicBezTo>
                <a:cubicBezTo>
                  <a:pt x="14656" y="3718"/>
                  <a:pt x="14625" y="3750"/>
                  <a:pt x="14625" y="3781"/>
                </a:cubicBezTo>
                <a:cubicBezTo>
                  <a:pt x="14656" y="4156"/>
                  <a:pt x="14625" y="4500"/>
                  <a:pt x="14625" y="4843"/>
                </a:cubicBezTo>
                <a:cubicBezTo>
                  <a:pt x="14593" y="5125"/>
                  <a:pt x="14562" y="5375"/>
                  <a:pt x="14531" y="5625"/>
                </a:cubicBezTo>
                <a:cubicBezTo>
                  <a:pt x="14500" y="5781"/>
                  <a:pt x="14468" y="5937"/>
                  <a:pt x="14468" y="6093"/>
                </a:cubicBezTo>
                <a:cubicBezTo>
                  <a:pt x="14468" y="6187"/>
                  <a:pt x="14437" y="6187"/>
                  <a:pt x="14343" y="6156"/>
                </a:cubicBezTo>
                <a:cubicBezTo>
                  <a:pt x="14218" y="6093"/>
                  <a:pt x="14093" y="6000"/>
                  <a:pt x="13937" y="6062"/>
                </a:cubicBezTo>
                <a:cubicBezTo>
                  <a:pt x="13906" y="6062"/>
                  <a:pt x="13875" y="6093"/>
                  <a:pt x="13843" y="6125"/>
                </a:cubicBezTo>
                <a:cubicBezTo>
                  <a:pt x="13937" y="6156"/>
                  <a:pt x="14031" y="6125"/>
                  <a:pt x="14125" y="6125"/>
                </a:cubicBezTo>
                <a:cubicBezTo>
                  <a:pt x="14093" y="6156"/>
                  <a:pt x="14031" y="6156"/>
                  <a:pt x="14000" y="6156"/>
                </a:cubicBezTo>
                <a:cubicBezTo>
                  <a:pt x="14031" y="6218"/>
                  <a:pt x="14062" y="6187"/>
                  <a:pt x="14093" y="6187"/>
                </a:cubicBezTo>
                <a:cubicBezTo>
                  <a:pt x="14062" y="6218"/>
                  <a:pt x="14000" y="6218"/>
                  <a:pt x="14000" y="6281"/>
                </a:cubicBezTo>
                <a:cubicBezTo>
                  <a:pt x="14156" y="6218"/>
                  <a:pt x="14343" y="6250"/>
                  <a:pt x="14531" y="6281"/>
                </a:cubicBezTo>
                <a:cubicBezTo>
                  <a:pt x="14625" y="6312"/>
                  <a:pt x="14687" y="6375"/>
                  <a:pt x="14781" y="6437"/>
                </a:cubicBezTo>
                <a:cubicBezTo>
                  <a:pt x="14718" y="6406"/>
                  <a:pt x="14687" y="6375"/>
                  <a:pt x="14625" y="6375"/>
                </a:cubicBezTo>
                <a:cubicBezTo>
                  <a:pt x="14625" y="6375"/>
                  <a:pt x="14593" y="6375"/>
                  <a:pt x="14593" y="6406"/>
                </a:cubicBezTo>
                <a:cubicBezTo>
                  <a:pt x="14593" y="6406"/>
                  <a:pt x="14625" y="6406"/>
                  <a:pt x="14625" y="6437"/>
                </a:cubicBezTo>
                <a:cubicBezTo>
                  <a:pt x="14531" y="6468"/>
                  <a:pt x="14406" y="6500"/>
                  <a:pt x="14312" y="6531"/>
                </a:cubicBezTo>
                <a:cubicBezTo>
                  <a:pt x="14406" y="6531"/>
                  <a:pt x="14500" y="6500"/>
                  <a:pt x="14562" y="6562"/>
                </a:cubicBezTo>
                <a:cubicBezTo>
                  <a:pt x="14718" y="6656"/>
                  <a:pt x="14906" y="6593"/>
                  <a:pt x="15062" y="6687"/>
                </a:cubicBezTo>
                <a:cubicBezTo>
                  <a:pt x="15062" y="6687"/>
                  <a:pt x="15093" y="6687"/>
                  <a:pt x="15093" y="6718"/>
                </a:cubicBezTo>
                <a:cubicBezTo>
                  <a:pt x="15187" y="6750"/>
                  <a:pt x="15250" y="6843"/>
                  <a:pt x="15312" y="6937"/>
                </a:cubicBezTo>
                <a:cubicBezTo>
                  <a:pt x="15312" y="6937"/>
                  <a:pt x="16500" y="6031"/>
                  <a:pt x="18406" y="5656"/>
                </a:cubicBezTo>
                <a:cubicBezTo>
                  <a:pt x="18406" y="5656"/>
                  <a:pt x="18406" y="5656"/>
                  <a:pt x="18406" y="5656"/>
                </a:cubicBezTo>
                <a:cubicBezTo>
                  <a:pt x="18656" y="5593"/>
                  <a:pt x="18906" y="5562"/>
                  <a:pt x="19156" y="5531"/>
                </a:cubicBezTo>
                <a:cubicBezTo>
                  <a:pt x="19406" y="5531"/>
                  <a:pt x="19656" y="5531"/>
                  <a:pt x="19906" y="5531"/>
                </a:cubicBezTo>
                <a:cubicBezTo>
                  <a:pt x="20187" y="5562"/>
                  <a:pt x="20468" y="5625"/>
                  <a:pt x="20718" y="5718"/>
                </a:cubicBezTo>
                <a:cubicBezTo>
                  <a:pt x="20875" y="5750"/>
                  <a:pt x="21000" y="5812"/>
                  <a:pt x="21156" y="5875"/>
                </a:cubicBezTo>
                <a:cubicBezTo>
                  <a:pt x="21156" y="5906"/>
                  <a:pt x="21187" y="5906"/>
                  <a:pt x="21187" y="5906"/>
                </a:cubicBezTo>
                <a:cubicBezTo>
                  <a:pt x="21187" y="5906"/>
                  <a:pt x="21187" y="5906"/>
                  <a:pt x="21187" y="5906"/>
                </a:cubicBezTo>
                <a:cubicBezTo>
                  <a:pt x="21187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50" y="5968"/>
                  <a:pt x="21250" y="5968"/>
                </a:cubicBezTo>
                <a:cubicBezTo>
                  <a:pt x="21250" y="5968"/>
                  <a:pt x="21281" y="5968"/>
                  <a:pt x="21281" y="5968"/>
                </a:cubicBezTo>
                <a:cubicBezTo>
                  <a:pt x="21281" y="6000"/>
                  <a:pt x="21281" y="6000"/>
                  <a:pt x="21312" y="6000"/>
                </a:cubicBezTo>
                <a:cubicBezTo>
                  <a:pt x="21312" y="6000"/>
                  <a:pt x="21312" y="6000"/>
                  <a:pt x="21312" y="6031"/>
                </a:cubicBezTo>
                <a:cubicBezTo>
                  <a:pt x="21562" y="6218"/>
                  <a:pt x="21656" y="6468"/>
                  <a:pt x="21718" y="6781"/>
                </a:cubicBezTo>
                <a:cubicBezTo>
                  <a:pt x="21718" y="6843"/>
                  <a:pt x="21687" y="6875"/>
                  <a:pt x="21687" y="6937"/>
                </a:cubicBezTo>
                <a:cubicBezTo>
                  <a:pt x="21687" y="6968"/>
                  <a:pt x="21687" y="6968"/>
                  <a:pt x="21656" y="6968"/>
                </a:cubicBezTo>
                <a:cubicBezTo>
                  <a:pt x="21500" y="7000"/>
                  <a:pt x="21343" y="7062"/>
                  <a:pt x="21187" y="6968"/>
                </a:cubicBezTo>
                <a:cubicBezTo>
                  <a:pt x="21187" y="6968"/>
                  <a:pt x="21187" y="6968"/>
                  <a:pt x="21187" y="6937"/>
                </a:cubicBezTo>
                <a:cubicBezTo>
                  <a:pt x="21093" y="6812"/>
                  <a:pt x="21000" y="6906"/>
                  <a:pt x="20875" y="6937"/>
                </a:cubicBezTo>
                <a:cubicBezTo>
                  <a:pt x="20750" y="6968"/>
                  <a:pt x="20625" y="7031"/>
                  <a:pt x="20500" y="7093"/>
                </a:cubicBezTo>
                <a:cubicBezTo>
                  <a:pt x="20500" y="7125"/>
                  <a:pt x="20468" y="7093"/>
                  <a:pt x="20437" y="7093"/>
                </a:cubicBezTo>
                <a:cubicBezTo>
                  <a:pt x="20500" y="7062"/>
                  <a:pt x="20500" y="7000"/>
                  <a:pt x="20562" y="6968"/>
                </a:cubicBezTo>
                <a:cubicBezTo>
                  <a:pt x="20593" y="6968"/>
                  <a:pt x="20593" y="6937"/>
                  <a:pt x="20593" y="6906"/>
                </a:cubicBezTo>
                <a:cubicBezTo>
                  <a:pt x="20562" y="6875"/>
                  <a:pt x="20562" y="6875"/>
                  <a:pt x="20562" y="6875"/>
                </a:cubicBezTo>
                <a:cubicBezTo>
                  <a:pt x="20531" y="6843"/>
                  <a:pt x="20531" y="6875"/>
                  <a:pt x="20531" y="6875"/>
                </a:cubicBezTo>
                <a:cubicBezTo>
                  <a:pt x="20500" y="7031"/>
                  <a:pt x="20437" y="6937"/>
                  <a:pt x="20406" y="6875"/>
                </a:cubicBezTo>
                <a:cubicBezTo>
                  <a:pt x="20343" y="6937"/>
                  <a:pt x="20312" y="7000"/>
                  <a:pt x="20250" y="7062"/>
                </a:cubicBezTo>
                <a:cubicBezTo>
                  <a:pt x="20281" y="7062"/>
                  <a:pt x="20312" y="7062"/>
                  <a:pt x="20343" y="7062"/>
                </a:cubicBezTo>
                <a:cubicBezTo>
                  <a:pt x="20375" y="7062"/>
                  <a:pt x="20406" y="7093"/>
                  <a:pt x="20406" y="7125"/>
                </a:cubicBezTo>
                <a:cubicBezTo>
                  <a:pt x="20406" y="7156"/>
                  <a:pt x="20375" y="7156"/>
                  <a:pt x="20343" y="7156"/>
                </a:cubicBezTo>
                <a:cubicBezTo>
                  <a:pt x="20218" y="7125"/>
                  <a:pt x="20093" y="7062"/>
                  <a:pt x="20031" y="6968"/>
                </a:cubicBezTo>
                <a:cubicBezTo>
                  <a:pt x="19937" y="6843"/>
                  <a:pt x="19937" y="6843"/>
                  <a:pt x="19812" y="6906"/>
                </a:cubicBezTo>
                <a:cubicBezTo>
                  <a:pt x="19718" y="6968"/>
                  <a:pt x="19625" y="6968"/>
                  <a:pt x="19531" y="6968"/>
                </a:cubicBezTo>
                <a:cubicBezTo>
                  <a:pt x="19437" y="6968"/>
                  <a:pt x="19437" y="7000"/>
                  <a:pt x="19437" y="7093"/>
                </a:cubicBezTo>
                <a:cubicBezTo>
                  <a:pt x="19437" y="7093"/>
                  <a:pt x="19437" y="7125"/>
                  <a:pt x="19406" y="7125"/>
                </a:cubicBezTo>
                <a:cubicBezTo>
                  <a:pt x="19375" y="7125"/>
                  <a:pt x="19375" y="7125"/>
                  <a:pt x="19343" y="7093"/>
                </a:cubicBezTo>
                <a:cubicBezTo>
                  <a:pt x="19312" y="7062"/>
                  <a:pt x="19281" y="7000"/>
                  <a:pt x="19250" y="6937"/>
                </a:cubicBezTo>
                <a:cubicBezTo>
                  <a:pt x="19218" y="6875"/>
                  <a:pt x="19125" y="6875"/>
                  <a:pt x="19062" y="6875"/>
                </a:cubicBezTo>
                <a:cubicBezTo>
                  <a:pt x="18937" y="6875"/>
                  <a:pt x="18812" y="6812"/>
                  <a:pt x="18718" y="6750"/>
                </a:cubicBezTo>
                <a:cubicBezTo>
                  <a:pt x="18687" y="6750"/>
                  <a:pt x="18656" y="6750"/>
                  <a:pt x="18625" y="6781"/>
                </a:cubicBezTo>
                <a:cubicBezTo>
                  <a:pt x="18500" y="6875"/>
                  <a:pt x="18437" y="7000"/>
                  <a:pt x="18312" y="7062"/>
                </a:cubicBezTo>
                <a:cubicBezTo>
                  <a:pt x="18250" y="7093"/>
                  <a:pt x="18187" y="7187"/>
                  <a:pt x="18093" y="7218"/>
                </a:cubicBezTo>
                <a:cubicBezTo>
                  <a:pt x="17906" y="7281"/>
                  <a:pt x="17687" y="7312"/>
                  <a:pt x="17468" y="7312"/>
                </a:cubicBezTo>
                <a:cubicBezTo>
                  <a:pt x="17312" y="7281"/>
                  <a:pt x="17156" y="7343"/>
                  <a:pt x="17000" y="7406"/>
                </a:cubicBezTo>
                <a:cubicBezTo>
                  <a:pt x="16593" y="7531"/>
                  <a:pt x="16281" y="7750"/>
                  <a:pt x="15906" y="7968"/>
                </a:cubicBezTo>
                <a:cubicBezTo>
                  <a:pt x="15531" y="8218"/>
                  <a:pt x="15187" y="8500"/>
                  <a:pt x="14843" y="8781"/>
                </a:cubicBezTo>
                <a:cubicBezTo>
                  <a:pt x="14750" y="8843"/>
                  <a:pt x="14656" y="8937"/>
                  <a:pt x="14562" y="9000"/>
                </a:cubicBezTo>
                <a:cubicBezTo>
                  <a:pt x="14562" y="9000"/>
                  <a:pt x="14531" y="9031"/>
                  <a:pt x="14562" y="9031"/>
                </a:cubicBezTo>
                <a:cubicBezTo>
                  <a:pt x="14562" y="9031"/>
                  <a:pt x="14593" y="9031"/>
                  <a:pt x="14593" y="9031"/>
                </a:cubicBezTo>
                <a:cubicBezTo>
                  <a:pt x="14593" y="9031"/>
                  <a:pt x="14593" y="9031"/>
                  <a:pt x="14593" y="9031"/>
                </a:cubicBezTo>
                <a:cubicBezTo>
                  <a:pt x="14625" y="9031"/>
                  <a:pt x="14656" y="9000"/>
                  <a:pt x="14687" y="8968"/>
                </a:cubicBezTo>
                <a:cubicBezTo>
                  <a:pt x="14718" y="8968"/>
                  <a:pt x="14718" y="8937"/>
                  <a:pt x="14718" y="8937"/>
                </a:cubicBezTo>
                <a:cubicBezTo>
                  <a:pt x="14875" y="8812"/>
                  <a:pt x="15031" y="8687"/>
                  <a:pt x="15187" y="8562"/>
                </a:cubicBezTo>
                <a:cubicBezTo>
                  <a:pt x="15187" y="8531"/>
                  <a:pt x="15218" y="8500"/>
                  <a:pt x="15250" y="8500"/>
                </a:cubicBezTo>
                <a:cubicBezTo>
                  <a:pt x="15250" y="8468"/>
                  <a:pt x="15281" y="8468"/>
                  <a:pt x="15281" y="8468"/>
                </a:cubicBezTo>
                <a:cubicBezTo>
                  <a:pt x="15281" y="8468"/>
                  <a:pt x="15312" y="8437"/>
                  <a:pt x="15312" y="8468"/>
                </a:cubicBezTo>
                <a:cubicBezTo>
                  <a:pt x="15406" y="8375"/>
                  <a:pt x="15531" y="8312"/>
                  <a:pt x="15625" y="8218"/>
                </a:cubicBezTo>
                <a:cubicBezTo>
                  <a:pt x="15687" y="8156"/>
                  <a:pt x="15750" y="8125"/>
                  <a:pt x="15843" y="8062"/>
                </a:cubicBezTo>
                <a:cubicBezTo>
                  <a:pt x="15843" y="8156"/>
                  <a:pt x="15875" y="8156"/>
                  <a:pt x="15937" y="8156"/>
                </a:cubicBezTo>
                <a:cubicBezTo>
                  <a:pt x="15968" y="8156"/>
                  <a:pt x="16000" y="8156"/>
                  <a:pt x="16031" y="8156"/>
                </a:cubicBezTo>
                <a:cubicBezTo>
                  <a:pt x="16031" y="8156"/>
                  <a:pt x="16031" y="8156"/>
                  <a:pt x="16031" y="8156"/>
                </a:cubicBezTo>
                <a:cubicBezTo>
                  <a:pt x="16031" y="8156"/>
                  <a:pt x="16031" y="8156"/>
                  <a:pt x="16031" y="8156"/>
                </a:cubicBezTo>
                <a:cubicBezTo>
                  <a:pt x="16093" y="8187"/>
                  <a:pt x="16156" y="8187"/>
                  <a:pt x="16187" y="8250"/>
                </a:cubicBezTo>
                <a:cubicBezTo>
                  <a:pt x="16187" y="8250"/>
                  <a:pt x="16187" y="8250"/>
                  <a:pt x="16187" y="8250"/>
                </a:cubicBezTo>
                <a:cubicBezTo>
                  <a:pt x="16218" y="8281"/>
                  <a:pt x="16250" y="8312"/>
                  <a:pt x="16250" y="8281"/>
                </a:cubicBezTo>
                <a:cubicBezTo>
                  <a:pt x="16281" y="8250"/>
                  <a:pt x="16312" y="8250"/>
                  <a:pt x="16312" y="8187"/>
                </a:cubicBezTo>
                <a:cubicBezTo>
                  <a:pt x="16281" y="8156"/>
                  <a:pt x="16218" y="8125"/>
                  <a:pt x="16156" y="8093"/>
                </a:cubicBezTo>
                <a:cubicBezTo>
                  <a:pt x="16125" y="8062"/>
                  <a:pt x="16093" y="8062"/>
                  <a:pt x="16093" y="8062"/>
                </a:cubicBezTo>
                <a:cubicBezTo>
                  <a:pt x="16062" y="8062"/>
                  <a:pt x="16031" y="8062"/>
                  <a:pt x="16031" y="8093"/>
                </a:cubicBezTo>
                <a:lnTo>
                  <a:pt x="16031" y="8093"/>
                </a:lnTo>
                <a:cubicBezTo>
                  <a:pt x="16031" y="8093"/>
                  <a:pt x="16062" y="8125"/>
                  <a:pt x="16093" y="8093"/>
                </a:cubicBezTo>
                <a:cubicBezTo>
                  <a:pt x="16125" y="8093"/>
                  <a:pt x="16156" y="8093"/>
                  <a:pt x="16156" y="8093"/>
                </a:cubicBezTo>
                <a:cubicBezTo>
                  <a:pt x="16218" y="8093"/>
                  <a:pt x="16281" y="8093"/>
                  <a:pt x="16312" y="8156"/>
                </a:cubicBezTo>
                <a:cubicBezTo>
                  <a:pt x="16406" y="8218"/>
                  <a:pt x="16437" y="8312"/>
                  <a:pt x="16437" y="8406"/>
                </a:cubicBezTo>
                <a:cubicBezTo>
                  <a:pt x="16437" y="8625"/>
                  <a:pt x="16375" y="8812"/>
                  <a:pt x="16343" y="8968"/>
                </a:cubicBezTo>
                <a:cubicBezTo>
                  <a:pt x="16343" y="9031"/>
                  <a:pt x="16312" y="9093"/>
                  <a:pt x="16312" y="9156"/>
                </a:cubicBezTo>
                <a:cubicBezTo>
                  <a:pt x="16250" y="9312"/>
                  <a:pt x="16187" y="9500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093" y="9718"/>
                  <a:pt x="16062" y="9781"/>
                  <a:pt x="16062" y="9843"/>
                </a:cubicBezTo>
                <a:cubicBezTo>
                  <a:pt x="16031" y="9843"/>
                  <a:pt x="16000" y="9875"/>
                  <a:pt x="16031" y="9906"/>
                </a:cubicBezTo>
                <a:cubicBezTo>
                  <a:pt x="16062" y="9906"/>
                  <a:pt x="16093" y="9875"/>
                  <a:pt x="16093" y="9875"/>
                </a:cubicBezTo>
                <a:cubicBezTo>
                  <a:pt x="16250" y="9750"/>
                  <a:pt x="16375" y="9625"/>
                  <a:pt x="16531" y="9531"/>
                </a:cubicBezTo>
                <a:cubicBezTo>
                  <a:pt x="16750" y="9343"/>
                  <a:pt x="16968" y="9187"/>
                  <a:pt x="17218" y="9093"/>
                </a:cubicBezTo>
                <a:cubicBezTo>
                  <a:pt x="17281" y="9062"/>
                  <a:pt x="17343" y="9062"/>
                  <a:pt x="17406" y="9062"/>
                </a:cubicBezTo>
                <a:cubicBezTo>
                  <a:pt x="17500" y="9093"/>
                  <a:pt x="17500" y="9218"/>
                  <a:pt x="17531" y="9281"/>
                </a:cubicBezTo>
                <a:cubicBezTo>
                  <a:pt x="17531" y="9375"/>
                  <a:pt x="17500" y="9500"/>
                  <a:pt x="17531" y="9593"/>
                </a:cubicBezTo>
                <a:cubicBezTo>
                  <a:pt x="17625" y="9781"/>
                  <a:pt x="17531" y="9843"/>
                  <a:pt x="17375" y="9937"/>
                </a:cubicBezTo>
                <a:cubicBezTo>
                  <a:pt x="17281" y="9968"/>
                  <a:pt x="17156" y="10031"/>
                  <a:pt x="17062" y="10093"/>
                </a:cubicBezTo>
                <a:cubicBezTo>
                  <a:pt x="16906" y="10187"/>
                  <a:pt x="16750" y="10281"/>
                  <a:pt x="16593" y="10375"/>
                </a:cubicBezTo>
                <a:cubicBezTo>
                  <a:pt x="16593" y="10375"/>
                  <a:pt x="16593" y="10375"/>
                  <a:pt x="16593" y="10375"/>
                </a:cubicBezTo>
                <a:cubicBezTo>
                  <a:pt x="16593" y="10375"/>
                  <a:pt x="16593" y="10375"/>
                  <a:pt x="16562" y="10375"/>
                </a:cubicBezTo>
                <a:cubicBezTo>
                  <a:pt x="16562" y="10375"/>
                  <a:pt x="16562" y="10375"/>
                  <a:pt x="16562" y="10375"/>
                </a:cubicBezTo>
                <a:cubicBezTo>
                  <a:pt x="16562" y="10375"/>
                  <a:pt x="16562" y="10375"/>
                  <a:pt x="16562" y="10375"/>
                </a:cubicBezTo>
                <a:cubicBezTo>
                  <a:pt x="16562" y="10406"/>
                  <a:pt x="16531" y="10437"/>
                  <a:pt x="16500" y="10437"/>
                </a:cubicBezTo>
                <a:cubicBezTo>
                  <a:pt x="16468" y="10468"/>
                  <a:pt x="16468" y="10468"/>
                  <a:pt x="16437" y="10500"/>
                </a:cubicBezTo>
                <a:cubicBezTo>
                  <a:pt x="16406" y="10500"/>
                  <a:pt x="16375" y="10531"/>
                  <a:pt x="16375" y="10531"/>
                </a:cubicBezTo>
                <a:cubicBezTo>
                  <a:pt x="16343" y="10531"/>
                  <a:pt x="16312" y="10562"/>
                  <a:pt x="16312" y="10562"/>
                </a:cubicBezTo>
                <a:cubicBezTo>
                  <a:pt x="16312" y="10562"/>
                  <a:pt x="16281" y="10593"/>
                  <a:pt x="16281" y="10593"/>
                </a:cubicBezTo>
                <a:cubicBezTo>
                  <a:pt x="16250" y="10593"/>
                  <a:pt x="16218" y="10625"/>
                  <a:pt x="16187" y="10656"/>
                </a:cubicBezTo>
                <a:cubicBezTo>
                  <a:pt x="16187" y="10656"/>
                  <a:pt x="16187" y="10687"/>
                  <a:pt x="16218" y="10687"/>
                </a:cubicBezTo>
                <a:cubicBezTo>
                  <a:pt x="16218" y="10687"/>
                  <a:pt x="16218" y="10687"/>
                  <a:pt x="16218" y="10687"/>
                </a:cubicBezTo>
                <a:cubicBezTo>
                  <a:pt x="16218" y="10687"/>
                  <a:pt x="16218" y="10687"/>
                  <a:pt x="16218" y="10687"/>
                </a:cubicBezTo>
                <a:cubicBezTo>
                  <a:pt x="16250" y="10656"/>
                  <a:pt x="16281" y="10656"/>
                  <a:pt x="16312" y="10625"/>
                </a:cubicBezTo>
                <a:cubicBezTo>
                  <a:pt x="16406" y="10562"/>
                  <a:pt x="16500" y="10500"/>
                  <a:pt x="16625" y="10437"/>
                </a:cubicBezTo>
                <a:cubicBezTo>
                  <a:pt x="16937" y="10250"/>
                  <a:pt x="17250" y="10031"/>
                  <a:pt x="17593" y="9875"/>
                </a:cubicBezTo>
                <a:cubicBezTo>
                  <a:pt x="17812" y="9781"/>
                  <a:pt x="18000" y="9656"/>
                  <a:pt x="18187" y="9562"/>
                </a:cubicBezTo>
                <a:cubicBezTo>
                  <a:pt x="18343" y="9500"/>
                  <a:pt x="18500" y="9437"/>
                  <a:pt x="18625" y="9343"/>
                </a:cubicBezTo>
                <a:cubicBezTo>
                  <a:pt x="18812" y="9281"/>
                  <a:pt x="18968" y="9218"/>
                  <a:pt x="19125" y="9125"/>
                </a:cubicBezTo>
                <a:cubicBezTo>
                  <a:pt x="19281" y="9062"/>
                  <a:pt x="19468" y="9000"/>
                  <a:pt x="19625" y="8937"/>
                </a:cubicBezTo>
                <a:cubicBezTo>
                  <a:pt x="19781" y="8875"/>
                  <a:pt x="19906" y="8812"/>
                  <a:pt x="20031" y="8750"/>
                </a:cubicBezTo>
                <a:cubicBezTo>
                  <a:pt x="20062" y="8750"/>
                  <a:pt x="20093" y="8718"/>
                  <a:pt x="20125" y="8750"/>
                </a:cubicBezTo>
                <a:cubicBezTo>
                  <a:pt x="20125" y="8781"/>
                  <a:pt x="20125" y="8812"/>
                  <a:pt x="20125" y="8843"/>
                </a:cubicBezTo>
                <a:cubicBezTo>
                  <a:pt x="20093" y="8843"/>
                  <a:pt x="20093" y="8843"/>
                  <a:pt x="20062" y="8843"/>
                </a:cubicBezTo>
                <a:cubicBezTo>
                  <a:pt x="20031" y="8843"/>
                  <a:pt x="20000" y="8843"/>
                  <a:pt x="20000" y="8875"/>
                </a:cubicBezTo>
                <a:cubicBezTo>
                  <a:pt x="20031" y="8937"/>
                  <a:pt x="19968" y="8937"/>
                  <a:pt x="19906" y="8968"/>
                </a:cubicBezTo>
                <a:cubicBezTo>
                  <a:pt x="19625" y="9062"/>
                  <a:pt x="19343" y="9156"/>
                  <a:pt x="19062" y="9312"/>
                </a:cubicBezTo>
                <a:cubicBezTo>
                  <a:pt x="19031" y="9343"/>
                  <a:pt x="19000" y="9343"/>
                  <a:pt x="19000" y="9343"/>
                </a:cubicBezTo>
                <a:cubicBezTo>
                  <a:pt x="18937" y="9343"/>
                  <a:pt x="18906" y="9375"/>
                  <a:pt x="18906" y="9437"/>
                </a:cubicBezTo>
                <a:cubicBezTo>
                  <a:pt x="19000" y="9406"/>
                  <a:pt x="19093" y="9375"/>
                  <a:pt x="19187" y="9312"/>
                </a:cubicBezTo>
                <a:cubicBezTo>
                  <a:pt x="19250" y="9281"/>
                  <a:pt x="19312" y="9281"/>
                  <a:pt x="19375" y="9218"/>
                </a:cubicBezTo>
                <a:cubicBezTo>
                  <a:pt x="19406" y="9218"/>
                  <a:pt x="19437" y="9218"/>
                  <a:pt x="19468" y="9218"/>
                </a:cubicBezTo>
                <a:cubicBezTo>
                  <a:pt x="19468" y="9218"/>
                  <a:pt x="19468" y="9187"/>
                  <a:pt x="19500" y="9187"/>
                </a:cubicBezTo>
                <a:cubicBezTo>
                  <a:pt x="19500" y="9156"/>
                  <a:pt x="19531" y="9187"/>
                  <a:pt x="19562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62" y="9156"/>
                  <a:pt x="19593" y="9125"/>
                  <a:pt x="19593" y="9125"/>
                </a:cubicBezTo>
                <a:cubicBezTo>
                  <a:pt x="19750" y="9093"/>
                  <a:pt x="19875" y="9000"/>
                  <a:pt x="20031" y="8968"/>
                </a:cubicBezTo>
                <a:cubicBezTo>
                  <a:pt x="20093" y="8937"/>
                  <a:pt x="20156" y="8937"/>
                  <a:pt x="20218" y="8906"/>
                </a:cubicBezTo>
                <a:cubicBezTo>
                  <a:pt x="20218" y="8875"/>
                  <a:pt x="20250" y="8875"/>
                  <a:pt x="20250" y="8843"/>
                </a:cubicBezTo>
                <a:cubicBezTo>
                  <a:pt x="20187" y="8718"/>
                  <a:pt x="20218" y="8625"/>
                  <a:pt x="20406" y="8656"/>
                </a:cubicBezTo>
                <a:cubicBezTo>
                  <a:pt x="20531" y="8656"/>
                  <a:pt x="20625" y="8593"/>
                  <a:pt x="20718" y="8593"/>
                </a:cubicBezTo>
                <a:cubicBezTo>
                  <a:pt x="20812" y="8562"/>
                  <a:pt x="20906" y="8531"/>
                  <a:pt x="21000" y="8500"/>
                </a:cubicBezTo>
                <a:cubicBezTo>
                  <a:pt x="21000" y="8500"/>
                  <a:pt x="20968" y="8500"/>
                  <a:pt x="20968" y="8500"/>
                </a:cubicBezTo>
                <a:cubicBezTo>
                  <a:pt x="20968" y="8500"/>
                  <a:pt x="20968" y="8500"/>
                  <a:pt x="20968" y="8468"/>
                </a:cubicBezTo>
                <a:cubicBezTo>
                  <a:pt x="20968" y="8468"/>
                  <a:pt x="20968" y="8468"/>
                  <a:pt x="21000" y="8468"/>
                </a:cubicBezTo>
                <a:cubicBezTo>
                  <a:pt x="21000" y="8468"/>
                  <a:pt x="21000" y="8500"/>
                  <a:pt x="21000" y="8500"/>
                </a:cubicBezTo>
                <a:cubicBezTo>
                  <a:pt x="21000" y="8500"/>
                  <a:pt x="21000" y="8500"/>
                  <a:pt x="21000" y="8500"/>
                </a:cubicBezTo>
                <a:cubicBezTo>
                  <a:pt x="21031" y="8468"/>
                  <a:pt x="21062" y="8500"/>
                  <a:pt x="21093" y="8500"/>
                </a:cubicBezTo>
                <a:cubicBezTo>
                  <a:pt x="21125" y="8500"/>
                  <a:pt x="21125" y="8500"/>
                  <a:pt x="21125" y="8500"/>
                </a:cubicBezTo>
                <a:cubicBezTo>
                  <a:pt x="21125" y="8468"/>
                  <a:pt x="21093" y="8500"/>
                  <a:pt x="21093" y="8468"/>
                </a:cubicBezTo>
                <a:cubicBezTo>
                  <a:pt x="21093" y="8468"/>
                  <a:pt x="21093" y="8468"/>
                  <a:pt x="21093" y="8468"/>
                </a:cubicBezTo>
                <a:cubicBezTo>
                  <a:pt x="21093" y="8468"/>
                  <a:pt x="21093" y="8468"/>
                  <a:pt x="21093" y="8468"/>
                </a:cubicBezTo>
                <a:cubicBezTo>
                  <a:pt x="21093" y="8468"/>
                  <a:pt x="21093" y="8468"/>
                  <a:pt x="21093" y="8468"/>
                </a:cubicBezTo>
                <a:cubicBezTo>
                  <a:pt x="21281" y="8468"/>
                  <a:pt x="21437" y="8406"/>
                  <a:pt x="21593" y="8375"/>
                </a:cubicBezTo>
                <a:cubicBezTo>
                  <a:pt x="21625" y="8375"/>
                  <a:pt x="21656" y="8343"/>
                  <a:pt x="21718" y="8343"/>
                </a:cubicBezTo>
                <a:cubicBezTo>
                  <a:pt x="21781" y="8343"/>
                  <a:pt x="21843" y="8343"/>
                  <a:pt x="21906" y="8343"/>
                </a:cubicBezTo>
                <a:cubicBezTo>
                  <a:pt x="22031" y="8343"/>
                  <a:pt x="22125" y="8343"/>
                  <a:pt x="22250" y="8343"/>
                </a:cubicBezTo>
                <a:cubicBezTo>
                  <a:pt x="22281" y="8375"/>
                  <a:pt x="22343" y="8375"/>
                  <a:pt x="22375" y="8375"/>
                </a:cubicBezTo>
                <a:cubicBezTo>
                  <a:pt x="22406" y="8375"/>
                  <a:pt x="22406" y="8406"/>
                  <a:pt x="22437" y="8406"/>
                </a:cubicBezTo>
                <a:cubicBezTo>
                  <a:pt x="22531" y="8437"/>
                  <a:pt x="22656" y="8468"/>
                  <a:pt x="22750" y="8562"/>
                </a:cubicBezTo>
                <a:cubicBezTo>
                  <a:pt x="22843" y="8625"/>
                  <a:pt x="22875" y="8687"/>
                  <a:pt x="22937" y="8750"/>
                </a:cubicBezTo>
                <a:cubicBezTo>
                  <a:pt x="22937" y="8812"/>
                  <a:pt x="22968" y="8875"/>
                  <a:pt x="22968" y="8906"/>
                </a:cubicBezTo>
                <a:cubicBezTo>
                  <a:pt x="23000" y="9000"/>
                  <a:pt x="23031" y="9093"/>
                  <a:pt x="23031" y="9187"/>
                </a:cubicBezTo>
                <a:lnTo>
                  <a:pt x="23031" y="9187"/>
                </a:lnTo>
                <a:cubicBezTo>
                  <a:pt x="23062" y="9312"/>
                  <a:pt x="23062" y="9437"/>
                  <a:pt x="23031" y="9531"/>
                </a:cubicBezTo>
                <a:cubicBezTo>
                  <a:pt x="23031" y="9562"/>
                  <a:pt x="23031" y="9593"/>
                  <a:pt x="23000" y="9625"/>
                </a:cubicBezTo>
                <a:cubicBezTo>
                  <a:pt x="23000" y="9687"/>
                  <a:pt x="23000" y="9718"/>
                  <a:pt x="22968" y="9750"/>
                </a:cubicBezTo>
                <a:cubicBezTo>
                  <a:pt x="22968" y="9843"/>
                  <a:pt x="22906" y="9968"/>
                  <a:pt x="22843" y="10062"/>
                </a:cubicBezTo>
                <a:cubicBezTo>
                  <a:pt x="22812" y="10093"/>
                  <a:pt x="22781" y="10156"/>
                  <a:pt x="22781" y="10218"/>
                </a:cubicBezTo>
                <a:cubicBezTo>
                  <a:pt x="22750" y="10281"/>
                  <a:pt x="22750" y="10343"/>
                  <a:pt x="22718" y="10375"/>
                </a:cubicBezTo>
                <a:cubicBezTo>
                  <a:pt x="22718" y="10406"/>
                  <a:pt x="22718" y="10437"/>
                  <a:pt x="22718" y="10468"/>
                </a:cubicBezTo>
                <a:cubicBezTo>
                  <a:pt x="22718" y="10468"/>
                  <a:pt x="22718" y="10468"/>
                  <a:pt x="22687" y="10500"/>
                </a:cubicBezTo>
                <a:cubicBezTo>
                  <a:pt x="22687" y="10500"/>
                  <a:pt x="22687" y="10500"/>
                  <a:pt x="22687" y="10500"/>
                </a:cubicBezTo>
                <a:cubicBezTo>
                  <a:pt x="22687" y="10500"/>
                  <a:pt x="22687" y="10500"/>
                  <a:pt x="22687" y="10500"/>
                </a:cubicBezTo>
                <a:cubicBezTo>
                  <a:pt x="22687" y="10500"/>
                  <a:pt x="22656" y="10500"/>
                  <a:pt x="22656" y="10500"/>
                </a:cubicBezTo>
                <a:cubicBezTo>
                  <a:pt x="22656" y="10500"/>
                  <a:pt x="22656" y="10500"/>
                  <a:pt x="22656" y="10500"/>
                </a:cubicBezTo>
                <a:cubicBezTo>
                  <a:pt x="22656" y="10500"/>
                  <a:pt x="22656" y="10500"/>
                  <a:pt x="22656" y="10500"/>
                </a:cubicBezTo>
                <a:cubicBezTo>
                  <a:pt x="22625" y="10468"/>
                  <a:pt x="22625" y="10468"/>
                  <a:pt x="22625" y="10468"/>
                </a:cubicBezTo>
                <a:cubicBezTo>
                  <a:pt x="22625" y="10468"/>
                  <a:pt x="22625" y="10500"/>
                  <a:pt x="22625" y="10500"/>
                </a:cubicBezTo>
                <a:cubicBezTo>
                  <a:pt x="22625" y="10531"/>
                  <a:pt x="22593" y="10531"/>
                  <a:pt x="22593" y="10562"/>
                </a:cubicBezTo>
                <a:cubicBezTo>
                  <a:pt x="22593" y="10562"/>
                  <a:pt x="22593" y="10562"/>
                  <a:pt x="22593" y="10562"/>
                </a:cubicBezTo>
                <a:cubicBezTo>
                  <a:pt x="22593" y="10562"/>
                  <a:pt x="22593" y="10531"/>
                  <a:pt x="22593" y="10500"/>
                </a:cubicBezTo>
                <a:cubicBezTo>
                  <a:pt x="22593" y="10437"/>
                  <a:pt x="22593" y="10375"/>
                  <a:pt x="22593" y="10312"/>
                </a:cubicBezTo>
                <a:cubicBezTo>
                  <a:pt x="22593" y="10312"/>
                  <a:pt x="22593" y="10281"/>
                  <a:pt x="22593" y="10250"/>
                </a:cubicBezTo>
                <a:cubicBezTo>
                  <a:pt x="22593" y="10125"/>
                  <a:pt x="22562" y="10031"/>
                  <a:pt x="22531" y="9937"/>
                </a:cubicBezTo>
                <a:cubicBezTo>
                  <a:pt x="22437" y="9812"/>
                  <a:pt x="22343" y="9718"/>
                  <a:pt x="22187" y="9687"/>
                </a:cubicBezTo>
                <a:cubicBezTo>
                  <a:pt x="22125" y="9687"/>
                  <a:pt x="22093" y="9687"/>
                  <a:pt x="22062" y="9687"/>
                </a:cubicBezTo>
                <a:cubicBezTo>
                  <a:pt x="22031" y="9687"/>
                  <a:pt x="22031" y="9687"/>
                  <a:pt x="22031" y="9687"/>
                </a:cubicBezTo>
                <a:cubicBezTo>
                  <a:pt x="21875" y="9687"/>
                  <a:pt x="21718" y="9718"/>
                  <a:pt x="21593" y="9750"/>
                </a:cubicBezTo>
                <a:cubicBezTo>
                  <a:pt x="21375" y="9812"/>
                  <a:pt x="21156" y="9875"/>
                  <a:pt x="20968" y="9937"/>
                </a:cubicBezTo>
                <a:cubicBezTo>
                  <a:pt x="20906" y="9937"/>
                  <a:pt x="20843" y="9968"/>
                  <a:pt x="20750" y="10000"/>
                </a:cubicBezTo>
                <a:cubicBezTo>
                  <a:pt x="20468" y="10093"/>
                  <a:pt x="20187" y="10187"/>
                  <a:pt x="19937" y="10343"/>
                </a:cubicBezTo>
                <a:cubicBezTo>
                  <a:pt x="19718" y="10468"/>
                  <a:pt x="19500" y="10562"/>
                  <a:pt x="19281" y="10656"/>
                </a:cubicBezTo>
                <a:cubicBezTo>
                  <a:pt x="19062" y="10781"/>
                  <a:pt x="18843" y="10937"/>
                  <a:pt x="18625" y="11062"/>
                </a:cubicBezTo>
                <a:cubicBezTo>
                  <a:pt x="18375" y="11187"/>
                  <a:pt x="18125" y="11343"/>
                  <a:pt x="17875" y="11500"/>
                </a:cubicBezTo>
                <a:cubicBezTo>
                  <a:pt x="17656" y="11625"/>
                  <a:pt x="17437" y="11781"/>
                  <a:pt x="17218" y="11906"/>
                </a:cubicBezTo>
                <a:cubicBezTo>
                  <a:pt x="17125" y="11968"/>
                  <a:pt x="17031" y="12031"/>
                  <a:pt x="16937" y="12062"/>
                </a:cubicBezTo>
                <a:cubicBezTo>
                  <a:pt x="16968" y="12125"/>
                  <a:pt x="17000" y="12062"/>
                  <a:pt x="17062" y="12093"/>
                </a:cubicBezTo>
                <a:cubicBezTo>
                  <a:pt x="16968" y="12125"/>
                  <a:pt x="16937" y="12218"/>
                  <a:pt x="16843" y="12187"/>
                </a:cubicBezTo>
                <a:cubicBezTo>
                  <a:pt x="16812" y="12156"/>
                  <a:pt x="16781" y="12187"/>
                  <a:pt x="16750" y="12218"/>
                </a:cubicBezTo>
                <a:cubicBezTo>
                  <a:pt x="16406" y="12406"/>
                  <a:pt x="16062" y="12625"/>
                  <a:pt x="15718" y="12875"/>
                </a:cubicBezTo>
                <a:cubicBezTo>
                  <a:pt x="15718" y="12875"/>
                  <a:pt x="15718" y="12875"/>
                  <a:pt x="15718" y="12875"/>
                </a:cubicBezTo>
                <a:cubicBezTo>
                  <a:pt x="15718" y="12875"/>
                  <a:pt x="15718" y="12875"/>
                  <a:pt x="13593" y="14343"/>
                </a:cubicBezTo>
                <a:cubicBezTo>
                  <a:pt x="13593" y="14343"/>
                  <a:pt x="13593" y="14343"/>
                  <a:pt x="13593" y="14343"/>
                </a:cubicBezTo>
                <a:cubicBezTo>
                  <a:pt x="13593" y="14343"/>
                  <a:pt x="13593" y="14343"/>
                  <a:pt x="13437" y="14468"/>
                </a:cubicBezTo>
                <a:cubicBezTo>
                  <a:pt x="13250" y="14593"/>
                  <a:pt x="13093" y="14718"/>
                  <a:pt x="12937" y="14843"/>
                </a:cubicBezTo>
                <a:cubicBezTo>
                  <a:pt x="12875" y="14906"/>
                  <a:pt x="12750" y="14937"/>
                  <a:pt x="12718" y="15031"/>
                </a:cubicBezTo>
                <a:cubicBezTo>
                  <a:pt x="12750" y="15062"/>
                  <a:pt x="12781" y="15000"/>
                  <a:pt x="12812" y="15031"/>
                </a:cubicBezTo>
                <a:cubicBezTo>
                  <a:pt x="12812" y="15062"/>
                  <a:pt x="12750" y="15093"/>
                  <a:pt x="12750" y="15125"/>
                </a:cubicBezTo>
                <a:cubicBezTo>
                  <a:pt x="12750" y="15125"/>
                  <a:pt x="12718" y="15125"/>
                  <a:pt x="12718" y="15125"/>
                </a:cubicBezTo>
                <a:cubicBezTo>
                  <a:pt x="12718" y="15156"/>
                  <a:pt x="12718" y="15156"/>
                  <a:pt x="12718" y="15156"/>
                </a:cubicBezTo>
                <a:cubicBezTo>
                  <a:pt x="12718" y="15156"/>
                  <a:pt x="12750" y="15156"/>
                  <a:pt x="12750" y="15156"/>
                </a:cubicBezTo>
                <a:cubicBezTo>
                  <a:pt x="12750" y="15156"/>
                  <a:pt x="12750" y="15156"/>
                  <a:pt x="12750" y="15156"/>
                </a:cubicBezTo>
                <a:cubicBezTo>
                  <a:pt x="12750" y="15156"/>
                  <a:pt x="12750" y="15156"/>
                  <a:pt x="12718" y="15156"/>
                </a:cubicBezTo>
                <a:cubicBezTo>
                  <a:pt x="12718" y="15156"/>
                  <a:pt x="12718" y="15156"/>
                  <a:pt x="12718" y="15156"/>
                </a:cubicBezTo>
                <a:cubicBezTo>
                  <a:pt x="12718" y="15218"/>
                  <a:pt x="12687" y="15281"/>
                  <a:pt x="12593" y="15281"/>
                </a:cubicBezTo>
                <a:cubicBezTo>
                  <a:pt x="12593" y="15312"/>
                  <a:pt x="12593" y="15343"/>
                  <a:pt x="12562" y="15375"/>
                </a:cubicBezTo>
                <a:cubicBezTo>
                  <a:pt x="12531" y="15375"/>
                  <a:pt x="12531" y="15375"/>
                  <a:pt x="12500" y="15375"/>
                </a:cubicBezTo>
                <a:cubicBezTo>
                  <a:pt x="12500" y="15406"/>
                  <a:pt x="12468" y="15437"/>
                  <a:pt x="12437" y="15437"/>
                </a:cubicBezTo>
                <a:cubicBezTo>
                  <a:pt x="12437" y="15406"/>
                  <a:pt x="12437" y="15406"/>
                  <a:pt x="12468" y="15406"/>
                </a:cubicBezTo>
                <a:cubicBezTo>
                  <a:pt x="12468" y="15375"/>
                  <a:pt x="12500" y="15375"/>
                  <a:pt x="12500" y="15375"/>
                </a:cubicBezTo>
                <a:cubicBezTo>
                  <a:pt x="12531" y="15343"/>
                  <a:pt x="12562" y="15312"/>
                  <a:pt x="12593" y="15281"/>
                </a:cubicBezTo>
                <a:cubicBezTo>
                  <a:pt x="12593" y="15250"/>
                  <a:pt x="12562" y="15250"/>
                  <a:pt x="12531" y="15281"/>
                </a:cubicBezTo>
                <a:cubicBezTo>
                  <a:pt x="12500" y="15281"/>
                  <a:pt x="12468" y="15281"/>
                  <a:pt x="12437" y="15281"/>
                </a:cubicBezTo>
                <a:cubicBezTo>
                  <a:pt x="12437" y="15312"/>
                  <a:pt x="12406" y="15343"/>
                  <a:pt x="12375" y="15375"/>
                </a:cubicBezTo>
                <a:cubicBezTo>
                  <a:pt x="12375" y="15375"/>
                  <a:pt x="12375" y="15375"/>
                  <a:pt x="12375" y="15375"/>
                </a:cubicBezTo>
                <a:cubicBezTo>
                  <a:pt x="12343" y="15375"/>
                  <a:pt x="12343" y="15375"/>
                  <a:pt x="12343" y="15375"/>
                </a:cubicBezTo>
                <a:cubicBezTo>
                  <a:pt x="12312" y="15406"/>
                  <a:pt x="12312" y="15406"/>
                  <a:pt x="12281" y="15406"/>
                </a:cubicBezTo>
                <a:cubicBezTo>
                  <a:pt x="12281" y="15437"/>
                  <a:pt x="12281" y="15437"/>
                  <a:pt x="12250" y="15437"/>
                </a:cubicBezTo>
                <a:cubicBezTo>
                  <a:pt x="12250" y="15437"/>
                  <a:pt x="12250" y="15468"/>
                  <a:pt x="12218" y="15468"/>
                </a:cubicBezTo>
                <a:cubicBezTo>
                  <a:pt x="12218" y="15468"/>
                  <a:pt x="12218" y="15468"/>
                  <a:pt x="12218" y="15468"/>
                </a:cubicBezTo>
                <a:cubicBezTo>
                  <a:pt x="12218" y="15468"/>
                  <a:pt x="12218" y="15468"/>
                  <a:pt x="12218" y="15468"/>
                </a:cubicBezTo>
                <a:cubicBezTo>
                  <a:pt x="12218" y="15468"/>
                  <a:pt x="12218" y="15468"/>
                  <a:pt x="12218" y="15468"/>
                </a:cubicBezTo>
                <a:cubicBezTo>
                  <a:pt x="12218" y="15437"/>
                  <a:pt x="12250" y="15437"/>
                  <a:pt x="12250" y="15437"/>
                </a:cubicBezTo>
                <a:cubicBezTo>
                  <a:pt x="12281" y="15406"/>
                  <a:pt x="12281" y="15406"/>
                  <a:pt x="12281" y="15406"/>
                </a:cubicBezTo>
                <a:cubicBezTo>
                  <a:pt x="12281" y="15406"/>
                  <a:pt x="12281" y="15375"/>
                  <a:pt x="12281" y="15375"/>
                </a:cubicBezTo>
                <a:cubicBezTo>
                  <a:pt x="12312" y="15375"/>
                  <a:pt x="12312" y="15375"/>
                  <a:pt x="12343" y="15375"/>
                </a:cubicBezTo>
                <a:cubicBezTo>
                  <a:pt x="12343" y="15375"/>
                  <a:pt x="12343" y="15375"/>
                  <a:pt x="12343" y="15375"/>
                </a:cubicBezTo>
                <a:cubicBezTo>
                  <a:pt x="12343" y="15375"/>
                  <a:pt x="12343" y="15375"/>
                  <a:pt x="12343" y="15375"/>
                </a:cubicBezTo>
                <a:cubicBezTo>
                  <a:pt x="12343" y="15375"/>
                  <a:pt x="12343" y="15343"/>
                  <a:pt x="12375" y="15343"/>
                </a:cubicBezTo>
                <a:cubicBezTo>
                  <a:pt x="12406" y="15312"/>
                  <a:pt x="12437" y="15312"/>
                  <a:pt x="12437" y="15281"/>
                </a:cubicBezTo>
                <a:cubicBezTo>
                  <a:pt x="12500" y="15250"/>
                  <a:pt x="12562" y="15218"/>
                  <a:pt x="12625" y="15156"/>
                </a:cubicBezTo>
                <a:cubicBezTo>
                  <a:pt x="12625" y="15125"/>
                  <a:pt x="12656" y="15093"/>
                  <a:pt x="12656" y="15062"/>
                </a:cubicBezTo>
                <a:cubicBezTo>
                  <a:pt x="12562" y="15093"/>
                  <a:pt x="12500" y="15156"/>
                  <a:pt x="12468" y="15187"/>
                </a:cubicBezTo>
                <a:cubicBezTo>
                  <a:pt x="12343" y="15281"/>
                  <a:pt x="12250" y="15343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375"/>
                  <a:pt x="12125" y="15375"/>
                </a:cubicBezTo>
                <a:cubicBezTo>
                  <a:pt x="12125" y="15375"/>
                  <a:pt x="12125" y="15375"/>
                  <a:pt x="12125" y="15406"/>
                </a:cubicBezTo>
                <a:cubicBezTo>
                  <a:pt x="12093" y="15437"/>
                  <a:pt x="12062" y="15468"/>
                  <a:pt x="12000" y="15468"/>
                </a:cubicBezTo>
                <a:cubicBezTo>
                  <a:pt x="11968" y="15500"/>
                  <a:pt x="11937" y="15562"/>
                  <a:pt x="11906" y="15468"/>
                </a:cubicBezTo>
                <a:cubicBezTo>
                  <a:pt x="11906" y="15468"/>
                  <a:pt x="11906" y="15468"/>
                  <a:pt x="11875" y="15468"/>
                </a:cubicBezTo>
                <a:cubicBezTo>
                  <a:pt x="11875" y="15500"/>
                  <a:pt x="11843" y="15531"/>
                  <a:pt x="11812" y="15531"/>
                </a:cubicBezTo>
                <a:cubicBezTo>
                  <a:pt x="11812" y="15531"/>
                  <a:pt x="11812" y="15531"/>
                  <a:pt x="11812" y="15531"/>
                </a:cubicBezTo>
                <a:cubicBezTo>
                  <a:pt x="11812" y="15531"/>
                  <a:pt x="11812" y="15531"/>
                  <a:pt x="11812" y="15531"/>
                </a:cubicBezTo>
                <a:cubicBezTo>
                  <a:pt x="11812" y="15531"/>
                  <a:pt x="11812" y="15531"/>
                  <a:pt x="11812" y="15531"/>
                </a:cubicBezTo>
                <a:cubicBezTo>
                  <a:pt x="11781" y="15562"/>
                  <a:pt x="11781" y="15562"/>
                  <a:pt x="11781" y="15593"/>
                </a:cubicBezTo>
                <a:cubicBezTo>
                  <a:pt x="11781" y="15593"/>
                  <a:pt x="11781" y="15593"/>
                  <a:pt x="11812" y="15593"/>
                </a:cubicBezTo>
                <a:cubicBezTo>
                  <a:pt x="11812" y="15593"/>
                  <a:pt x="11843" y="15593"/>
                  <a:pt x="11812" y="15625"/>
                </a:cubicBezTo>
                <a:cubicBezTo>
                  <a:pt x="11781" y="15656"/>
                  <a:pt x="11750" y="15656"/>
                  <a:pt x="11718" y="15687"/>
                </a:cubicBezTo>
                <a:cubicBezTo>
                  <a:pt x="11687" y="15718"/>
                  <a:pt x="11656" y="15718"/>
                  <a:pt x="11625" y="15750"/>
                </a:cubicBezTo>
                <a:cubicBezTo>
                  <a:pt x="11625" y="15750"/>
                  <a:pt x="11625" y="15750"/>
                  <a:pt x="11625" y="15750"/>
                </a:cubicBezTo>
                <a:cubicBezTo>
                  <a:pt x="11625" y="15750"/>
                  <a:pt x="11625" y="15750"/>
                  <a:pt x="11625" y="15750"/>
                </a:cubicBezTo>
                <a:cubicBezTo>
                  <a:pt x="11625" y="15750"/>
                  <a:pt x="11625" y="15781"/>
                  <a:pt x="11625" y="15781"/>
                </a:cubicBezTo>
                <a:cubicBezTo>
                  <a:pt x="11625" y="15781"/>
                  <a:pt x="11593" y="15781"/>
                  <a:pt x="11593" y="15812"/>
                </a:cubicBezTo>
                <a:cubicBezTo>
                  <a:pt x="11562" y="15812"/>
                  <a:pt x="11562" y="15812"/>
                  <a:pt x="11562" y="15843"/>
                </a:cubicBezTo>
                <a:cubicBezTo>
                  <a:pt x="11500" y="15937"/>
                  <a:pt x="11375" y="16000"/>
                  <a:pt x="11312" y="16093"/>
                </a:cubicBezTo>
                <a:cubicBezTo>
                  <a:pt x="11218" y="16156"/>
                  <a:pt x="11156" y="16187"/>
                  <a:pt x="11062" y="16250"/>
                </a:cubicBezTo>
                <a:cubicBezTo>
                  <a:pt x="11062" y="16250"/>
                  <a:pt x="11031" y="16281"/>
                  <a:pt x="11031" y="16281"/>
                </a:cubicBezTo>
                <a:cubicBezTo>
                  <a:pt x="11000" y="16312"/>
                  <a:pt x="10937" y="16375"/>
                  <a:pt x="10906" y="16406"/>
                </a:cubicBezTo>
                <a:cubicBezTo>
                  <a:pt x="10906" y="16406"/>
                  <a:pt x="10906" y="16406"/>
                  <a:pt x="10906" y="16406"/>
                </a:cubicBezTo>
                <a:cubicBezTo>
                  <a:pt x="10906" y="16406"/>
                  <a:pt x="10906" y="16406"/>
                  <a:pt x="10906" y="16406"/>
                </a:cubicBezTo>
                <a:cubicBezTo>
                  <a:pt x="10906" y="16406"/>
                  <a:pt x="10906" y="16406"/>
                  <a:pt x="10906" y="16406"/>
                </a:cubicBezTo>
                <a:cubicBezTo>
                  <a:pt x="10968" y="16406"/>
                  <a:pt x="11000" y="16375"/>
                  <a:pt x="11031" y="16343"/>
                </a:cubicBezTo>
                <a:cubicBezTo>
                  <a:pt x="11062" y="16343"/>
                  <a:pt x="11062" y="16312"/>
                  <a:pt x="11125" y="16312"/>
                </a:cubicBezTo>
                <a:cubicBezTo>
                  <a:pt x="11000" y="16468"/>
                  <a:pt x="10812" y="16593"/>
                  <a:pt x="10625" y="16750"/>
                </a:cubicBezTo>
                <a:cubicBezTo>
                  <a:pt x="10625" y="16687"/>
                  <a:pt x="10625" y="16656"/>
                  <a:pt x="10625" y="16625"/>
                </a:cubicBezTo>
                <a:cubicBezTo>
                  <a:pt x="10437" y="16718"/>
                  <a:pt x="10281" y="16906"/>
                  <a:pt x="10093" y="17031"/>
                </a:cubicBezTo>
                <a:cubicBezTo>
                  <a:pt x="10250" y="16968"/>
                  <a:pt x="10375" y="16843"/>
                  <a:pt x="10562" y="16750"/>
                </a:cubicBezTo>
                <a:cubicBezTo>
                  <a:pt x="10531" y="16812"/>
                  <a:pt x="10500" y="16843"/>
                  <a:pt x="10468" y="16843"/>
                </a:cubicBezTo>
                <a:cubicBezTo>
                  <a:pt x="10406" y="16875"/>
                  <a:pt x="10406" y="16906"/>
                  <a:pt x="10437" y="16937"/>
                </a:cubicBezTo>
                <a:cubicBezTo>
                  <a:pt x="10468" y="16937"/>
                  <a:pt x="10468" y="16937"/>
                  <a:pt x="10500" y="16937"/>
                </a:cubicBezTo>
                <a:cubicBezTo>
                  <a:pt x="10531" y="16843"/>
                  <a:pt x="10656" y="16812"/>
                  <a:pt x="10718" y="16718"/>
                </a:cubicBezTo>
                <a:cubicBezTo>
                  <a:pt x="10718" y="16718"/>
                  <a:pt x="10750" y="16718"/>
                  <a:pt x="10750" y="16718"/>
                </a:cubicBezTo>
                <a:cubicBezTo>
                  <a:pt x="10750" y="16750"/>
                  <a:pt x="10750" y="16750"/>
                  <a:pt x="10750" y="16750"/>
                </a:cubicBezTo>
                <a:cubicBezTo>
                  <a:pt x="10718" y="16781"/>
                  <a:pt x="10687" y="16812"/>
                  <a:pt x="10656" y="16812"/>
                </a:cubicBezTo>
                <a:cubicBezTo>
                  <a:pt x="10625" y="16875"/>
                  <a:pt x="10562" y="16937"/>
                  <a:pt x="10500" y="16937"/>
                </a:cubicBezTo>
                <a:cubicBezTo>
                  <a:pt x="10500" y="16937"/>
                  <a:pt x="10500" y="16937"/>
                  <a:pt x="10500" y="16937"/>
                </a:cubicBezTo>
                <a:cubicBezTo>
                  <a:pt x="10500" y="16937"/>
                  <a:pt x="10500" y="16937"/>
                  <a:pt x="10500" y="16937"/>
                </a:cubicBezTo>
                <a:cubicBezTo>
                  <a:pt x="10500" y="16937"/>
                  <a:pt x="10500" y="16937"/>
                  <a:pt x="10500" y="16937"/>
                </a:cubicBezTo>
                <a:cubicBezTo>
                  <a:pt x="10500" y="16937"/>
                  <a:pt x="10468" y="16968"/>
                  <a:pt x="10468" y="16968"/>
                </a:cubicBezTo>
                <a:cubicBezTo>
                  <a:pt x="10468" y="16968"/>
                  <a:pt x="10468" y="16968"/>
                  <a:pt x="10468" y="16968"/>
                </a:cubicBezTo>
                <a:cubicBezTo>
                  <a:pt x="10437" y="17000"/>
                  <a:pt x="10437" y="17000"/>
                  <a:pt x="10468" y="17031"/>
                </a:cubicBezTo>
                <a:cubicBezTo>
                  <a:pt x="10468" y="16968"/>
                  <a:pt x="10500" y="16968"/>
                  <a:pt x="10562" y="16968"/>
                </a:cubicBezTo>
                <a:cubicBezTo>
                  <a:pt x="10562" y="16968"/>
                  <a:pt x="10531" y="16968"/>
                  <a:pt x="10531" y="16968"/>
                </a:cubicBezTo>
                <a:cubicBezTo>
                  <a:pt x="10531" y="17000"/>
                  <a:pt x="10500" y="17031"/>
                  <a:pt x="10468" y="17031"/>
                </a:cubicBezTo>
                <a:cubicBezTo>
                  <a:pt x="10406" y="17125"/>
                  <a:pt x="10312" y="17187"/>
                  <a:pt x="10218" y="17250"/>
                </a:cubicBezTo>
                <a:cubicBezTo>
                  <a:pt x="10218" y="17250"/>
                  <a:pt x="10187" y="17250"/>
                  <a:pt x="10187" y="17281"/>
                </a:cubicBezTo>
                <a:cubicBezTo>
                  <a:pt x="10156" y="17281"/>
                  <a:pt x="10156" y="17312"/>
                  <a:pt x="10125" y="17312"/>
                </a:cubicBezTo>
                <a:cubicBezTo>
                  <a:pt x="10093" y="17343"/>
                  <a:pt x="10062" y="17375"/>
                  <a:pt x="10031" y="17343"/>
                </a:cubicBezTo>
                <a:cubicBezTo>
                  <a:pt x="10000" y="17312"/>
                  <a:pt x="10031" y="17281"/>
                  <a:pt x="10031" y="17250"/>
                </a:cubicBezTo>
                <a:cubicBezTo>
                  <a:pt x="9937" y="17281"/>
                  <a:pt x="9875" y="17343"/>
                  <a:pt x="9812" y="17406"/>
                </a:cubicBezTo>
                <a:cubicBezTo>
                  <a:pt x="9812" y="17406"/>
                  <a:pt x="9781" y="17437"/>
                  <a:pt x="9812" y="17437"/>
                </a:cubicBezTo>
                <a:cubicBezTo>
                  <a:pt x="9812" y="17468"/>
                  <a:pt x="9843" y="17468"/>
                  <a:pt x="9843" y="17437"/>
                </a:cubicBezTo>
                <a:cubicBezTo>
                  <a:pt x="9906" y="17437"/>
                  <a:pt x="9906" y="17437"/>
                  <a:pt x="9906" y="17500"/>
                </a:cubicBezTo>
                <a:cubicBezTo>
                  <a:pt x="9937" y="17500"/>
                  <a:pt x="9937" y="17500"/>
                  <a:pt x="9937" y="17500"/>
                </a:cubicBezTo>
                <a:cubicBezTo>
                  <a:pt x="9968" y="17500"/>
                  <a:pt x="10000" y="17500"/>
                  <a:pt x="10000" y="17468"/>
                </a:cubicBezTo>
                <a:cubicBezTo>
                  <a:pt x="10031" y="17468"/>
                  <a:pt x="10031" y="17437"/>
                  <a:pt x="10031" y="17437"/>
                </a:cubicBezTo>
                <a:cubicBezTo>
                  <a:pt x="10062" y="17375"/>
                  <a:pt x="10125" y="17343"/>
                  <a:pt x="10187" y="17343"/>
                </a:cubicBezTo>
                <a:cubicBezTo>
                  <a:pt x="10250" y="17312"/>
                  <a:pt x="10312" y="17250"/>
                  <a:pt x="10343" y="17218"/>
                </a:cubicBezTo>
                <a:cubicBezTo>
                  <a:pt x="10500" y="17093"/>
                  <a:pt x="10687" y="16968"/>
                  <a:pt x="10875" y="16812"/>
                </a:cubicBezTo>
                <a:cubicBezTo>
                  <a:pt x="11062" y="16687"/>
                  <a:pt x="11218" y="16531"/>
                  <a:pt x="11406" y="16375"/>
                </a:cubicBezTo>
                <a:cubicBezTo>
                  <a:pt x="11562" y="16281"/>
                  <a:pt x="11687" y="16187"/>
                  <a:pt x="11843" y="16062"/>
                </a:cubicBezTo>
                <a:cubicBezTo>
                  <a:pt x="11843" y="16062"/>
                  <a:pt x="11843" y="16062"/>
                  <a:pt x="11843" y="16062"/>
                </a:cubicBezTo>
                <a:cubicBezTo>
                  <a:pt x="11906" y="15968"/>
                  <a:pt x="12000" y="15937"/>
                  <a:pt x="12062" y="15906"/>
                </a:cubicBezTo>
                <a:cubicBezTo>
                  <a:pt x="12156" y="15843"/>
                  <a:pt x="12218" y="15750"/>
                  <a:pt x="12312" y="15687"/>
                </a:cubicBezTo>
                <a:cubicBezTo>
                  <a:pt x="12468" y="15593"/>
                  <a:pt x="12625" y="15468"/>
                  <a:pt x="12781" y="15375"/>
                </a:cubicBezTo>
                <a:cubicBezTo>
                  <a:pt x="12843" y="15312"/>
                  <a:pt x="12906" y="15218"/>
                  <a:pt x="13000" y="15156"/>
                </a:cubicBezTo>
                <a:cubicBezTo>
                  <a:pt x="13218" y="15031"/>
                  <a:pt x="13437" y="14843"/>
                  <a:pt x="13656" y="14687"/>
                </a:cubicBezTo>
                <a:cubicBezTo>
                  <a:pt x="13906" y="14531"/>
                  <a:pt x="14156" y="14343"/>
                  <a:pt x="14406" y="14156"/>
                </a:cubicBezTo>
                <a:cubicBezTo>
                  <a:pt x="14656" y="13968"/>
                  <a:pt x="14937" y="13781"/>
                  <a:pt x="15187" y="13593"/>
                </a:cubicBezTo>
                <a:cubicBezTo>
                  <a:pt x="15468" y="13406"/>
                  <a:pt x="15718" y="13218"/>
                  <a:pt x="16000" y="13062"/>
                </a:cubicBezTo>
                <a:cubicBezTo>
                  <a:pt x="16218" y="12937"/>
                  <a:pt x="16406" y="12781"/>
                  <a:pt x="16593" y="12656"/>
                </a:cubicBezTo>
                <a:cubicBezTo>
                  <a:pt x="16781" y="12531"/>
                  <a:pt x="17000" y="12406"/>
                  <a:pt x="17187" y="12281"/>
                </a:cubicBezTo>
                <a:cubicBezTo>
                  <a:pt x="17343" y="12156"/>
                  <a:pt x="17531" y="12093"/>
                  <a:pt x="17687" y="11968"/>
                </a:cubicBezTo>
                <a:cubicBezTo>
                  <a:pt x="17812" y="11843"/>
                  <a:pt x="17968" y="11750"/>
                  <a:pt x="18093" y="11656"/>
                </a:cubicBezTo>
                <a:cubicBezTo>
                  <a:pt x="18312" y="11500"/>
                  <a:pt x="18562" y="11375"/>
                  <a:pt x="18812" y="11250"/>
                </a:cubicBezTo>
                <a:cubicBezTo>
                  <a:pt x="19125" y="11062"/>
                  <a:pt x="19437" y="10875"/>
                  <a:pt x="19781" y="10718"/>
                </a:cubicBezTo>
                <a:cubicBezTo>
                  <a:pt x="20000" y="10625"/>
                  <a:pt x="20187" y="10500"/>
                  <a:pt x="20406" y="10406"/>
                </a:cubicBezTo>
                <a:cubicBezTo>
                  <a:pt x="20562" y="10375"/>
                  <a:pt x="20687" y="10312"/>
                  <a:pt x="20812" y="10250"/>
                </a:cubicBezTo>
                <a:cubicBezTo>
                  <a:pt x="20968" y="10187"/>
                  <a:pt x="21125" y="10156"/>
                  <a:pt x="21250" y="10125"/>
                </a:cubicBezTo>
                <a:cubicBezTo>
                  <a:pt x="21312" y="10093"/>
                  <a:pt x="21375" y="10093"/>
                  <a:pt x="21406" y="10093"/>
                </a:cubicBezTo>
                <a:cubicBezTo>
                  <a:pt x="21468" y="10062"/>
                  <a:pt x="21531" y="10062"/>
                  <a:pt x="21562" y="10062"/>
                </a:cubicBezTo>
                <a:cubicBezTo>
                  <a:pt x="21593" y="10062"/>
                  <a:pt x="21625" y="10062"/>
                  <a:pt x="21625" y="10062"/>
                </a:cubicBezTo>
                <a:cubicBezTo>
                  <a:pt x="21656" y="10062"/>
                  <a:pt x="21656" y="10062"/>
                  <a:pt x="21687" y="10062"/>
                </a:cubicBezTo>
                <a:cubicBezTo>
                  <a:pt x="21750" y="10062"/>
                  <a:pt x="21781" y="10062"/>
                  <a:pt x="21843" y="10062"/>
                </a:cubicBezTo>
                <a:cubicBezTo>
                  <a:pt x="21937" y="10062"/>
                  <a:pt x="22031" y="10093"/>
                  <a:pt x="22093" y="10125"/>
                </a:cubicBezTo>
                <a:cubicBezTo>
                  <a:pt x="22187" y="10187"/>
                  <a:pt x="22250" y="10250"/>
                  <a:pt x="22281" y="10343"/>
                </a:cubicBezTo>
                <a:cubicBezTo>
                  <a:pt x="22281" y="10343"/>
                  <a:pt x="22281" y="10343"/>
                  <a:pt x="22281" y="10343"/>
                </a:cubicBezTo>
                <a:cubicBezTo>
                  <a:pt x="22281" y="10375"/>
                  <a:pt x="22281" y="10375"/>
                  <a:pt x="22281" y="10375"/>
                </a:cubicBezTo>
                <a:cubicBezTo>
                  <a:pt x="22281" y="10375"/>
                  <a:pt x="22281" y="10375"/>
                  <a:pt x="22281" y="10375"/>
                </a:cubicBezTo>
                <a:cubicBezTo>
                  <a:pt x="22281" y="10375"/>
                  <a:pt x="22281" y="10375"/>
                  <a:pt x="22281" y="10375"/>
                </a:cubicBezTo>
                <a:cubicBezTo>
                  <a:pt x="22281" y="10406"/>
                  <a:pt x="22281" y="10406"/>
                  <a:pt x="22281" y="10406"/>
                </a:cubicBezTo>
                <a:cubicBezTo>
                  <a:pt x="22281" y="10500"/>
                  <a:pt x="22312" y="10593"/>
                  <a:pt x="22281" y="10718"/>
                </a:cubicBezTo>
                <a:cubicBezTo>
                  <a:pt x="22281" y="10687"/>
                  <a:pt x="22250" y="10656"/>
                  <a:pt x="22250" y="10625"/>
                </a:cubicBezTo>
                <a:cubicBezTo>
                  <a:pt x="22250" y="10593"/>
                  <a:pt x="22218" y="10562"/>
                  <a:pt x="22218" y="10531"/>
                </a:cubicBezTo>
                <a:cubicBezTo>
                  <a:pt x="22187" y="10531"/>
                  <a:pt x="22187" y="10500"/>
                  <a:pt x="22156" y="10468"/>
                </a:cubicBezTo>
                <a:cubicBezTo>
                  <a:pt x="22156" y="10468"/>
                  <a:pt x="22156" y="10437"/>
                  <a:pt x="22125" y="10437"/>
                </a:cubicBezTo>
                <a:cubicBezTo>
                  <a:pt x="22062" y="10375"/>
                  <a:pt x="22000" y="10312"/>
                  <a:pt x="21906" y="10281"/>
                </a:cubicBezTo>
                <a:cubicBezTo>
                  <a:pt x="21843" y="10250"/>
                  <a:pt x="21750" y="10218"/>
                  <a:pt x="21656" y="10218"/>
                </a:cubicBezTo>
                <a:cubicBezTo>
                  <a:pt x="21625" y="10218"/>
                  <a:pt x="21593" y="10218"/>
                  <a:pt x="21531" y="10218"/>
                </a:cubicBezTo>
                <a:cubicBezTo>
                  <a:pt x="21531" y="10218"/>
                  <a:pt x="21500" y="10218"/>
                  <a:pt x="21500" y="10250"/>
                </a:cubicBezTo>
                <a:cubicBezTo>
                  <a:pt x="21468" y="10250"/>
                  <a:pt x="21406" y="10250"/>
                  <a:pt x="21375" y="10250"/>
                </a:cubicBezTo>
                <a:cubicBezTo>
                  <a:pt x="21281" y="10281"/>
                  <a:pt x="21187" y="10312"/>
                  <a:pt x="21062" y="10343"/>
                </a:cubicBezTo>
                <a:cubicBezTo>
                  <a:pt x="21062" y="10343"/>
                  <a:pt x="21062" y="10343"/>
                  <a:pt x="21062" y="10343"/>
                </a:cubicBezTo>
                <a:cubicBezTo>
                  <a:pt x="21062" y="10343"/>
                  <a:pt x="21062" y="10343"/>
                  <a:pt x="21062" y="10343"/>
                </a:cubicBezTo>
                <a:cubicBezTo>
                  <a:pt x="21031" y="10343"/>
                  <a:pt x="21031" y="10343"/>
                  <a:pt x="21031" y="10343"/>
                </a:cubicBezTo>
                <a:cubicBezTo>
                  <a:pt x="21031" y="10343"/>
                  <a:pt x="21000" y="10375"/>
                  <a:pt x="21000" y="10375"/>
                </a:cubicBezTo>
                <a:cubicBezTo>
                  <a:pt x="21125" y="10343"/>
                  <a:pt x="21218" y="10312"/>
                  <a:pt x="21312" y="10312"/>
                </a:cubicBezTo>
                <a:cubicBezTo>
                  <a:pt x="21343" y="10312"/>
                  <a:pt x="21406" y="10312"/>
                  <a:pt x="21437" y="10312"/>
                </a:cubicBezTo>
                <a:cubicBezTo>
                  <a:pt x="21468" y="10281"/>
                  <a:pt x="21500" y="10281"/>
                  <a:pt x="21531" y="10281"/>
                </a:cubicBezTo>
                <a:cubicBezTo>
                  <a:pt x="21562" y="10281"/>
                  <a:pt x="21593" y="10281"/>
                  <a:pt x="21625" y="10312"/>
                </a:cubicBezTo>
                <a:cubicBezTo>
                  <a:pt x="21687" y="10312"/>
                  <a:pt x="21781" y="10312"/>
                  <a:pt x="21843" y="10343"/>
                </a:cubicBezTo>
                <a:cubicBezTo>
                  <a:pt x="21843" y="10375"/>
                  <a:pt x="21812" y="10375"/>
                  <a:pt x="21812" y="10375"/>
                </a:cubicBezTo>
                <a:cubicBezTo>
                  <a:pt x="21812" y="10375"/>
                  <a:pt x="21812" y="10375"/>
                  <a:pt x="21781" y="10375"/>
                </a:cubicBezTo>
                <a:cubicBezTo>
                  <a:pt x="21781" y="10375"/>
                  <a:pt x="21781" y="10375"/>
                  <a:pt x="21781" y="10375"/>
                </a:cubicBezTo>
                <a:cubicBezTo>
                  <a:pt x="21781" y="10375"/>
                  <a:pt x="21781" y="10375"/>
                  <a:pt x="21781" y="10375"/>
                </a:cubicBezTo>
                <a:cubicBezTo>
                  <a:pt x="21687" y="10375"/>
                  <a:pt x="21625" y="10375"/>
                  <a:pt x="21562" y="10375"/>
                </a:cubicBezTo>
                <a:cubicBezTo>
                  <a:pt x="21468" y="10375"/>
                  <a:pt x="21375" y="10375"/>
                  <a:pt x="21312" y="10406"/>
                </a:cubicBezTo>
                <a:cubicBezTo>
                  <a:pt x="21218" y="10406"/>
                  <a:pt x="21156" y="10437"/>
                  <a:pt x="21093" y="10437"/>
                </a:cubicBezTo>
                <a:cubicBezTo>
                  <a:pt x="20968" y="10500"/>
                  <a:pt x="20843" y="10531"/>
                  <a:pt x="20750" y="10562"/>
                </a:cubicBezTo>
                <a:cubicBezTo>
                  <a:pt x="20687" y="10593"/>
                  <a:pt x="20656" y="10593"/>
                  <a:pt x="20625" y="10625"/>
                </a:cubicBezTo>
                <a:cubicBezTo>
                  <a:pt x="20593" y="10625"/>
                  <a:pt x="20593" y="10656"/>
                  <a:pt x="20562" y="10656"/>
                </a:cubicBezTo>
                <a:cubicBezTo>
                  <a:pt x="20562" y="10687"/>
                  <a:pt x="20562" y="10687"/>
                  <a:pt x="20562" y="10687"/>
                </a:cubicBezTo>
                <a:cubicBezTo>
                  <a:pt x="20531" y="10687"/>
                  <a:pt x="20531" y="10687"/>
                  <a:pt x="20500" y="10687"/>
                </a:cubicBezTo>
                <a:cubicBezTo>
                  <a:pt x="20500" y="10687"/>
                  <a:pt x="20500" y="10687"/>
                  <a:pt x="20500" y="10687"/>
                </a:cubicBezTo>
                <a:cubicBezTo>
                  <a:pt x="20406" y="10781"/>
                  <a:pt x="20250" y="10843"/>
                  <a:pt x="20125" y="10875"/>
                </a:cubicBezTo>
                <a:cubicBezTo>
                  <a:pt x="20062" y="10875"/>
                  <a:pt x="19968" y="10906"/>
                  <a:pt x="19937" y="10937"/>
                </a:cubicBezTo>
                <a:cubicBezTo>
                  <a:pt x="19781" y="11062"/>
                  <a:pt x="19593" y="11125"/>
                  <a:pt x="19437" y="11218"/>
                </a:cubicBezTo>
                <a:cubicBezTo>
                  <a:pt x="19187" y="11375"/>
                  <a:pt x="18906" y="11531"/>
                  <a:pt x="18687" y="11687"/>
                </a:cubicBezTo>
                <a:cubicBezTo>
                  <a:pt x="18562" y="11750"/>
                  <a:pt x="18468" y="11843"/>
                  <a:pt x="18343" y="11906"/>
                </a:cubicBezTo>
                <a:cubicBezTo>
                  <a:pt x="18218" y="12000"/>
                  <a:pt x="18125" y="12062"/>
                  <a:pt x="18000" y="12125"/>
                </a:cubicBezTo>
                <a:cubicBezTo>
                  <a:pt x="17937" y="12156"/>
                  <a:pt x="17906" y="12218"/>
                  <a:pt x="17843" y="12218"/>
                </a:cubicBezTo>
                <a:cubicBezTo>
                  <a:pt x="17843" y="12250"/>
                  <a:pt x="17812" y="12250"/>
                  <a:pt x="17812" y="12250"/>
                </a:cubicBezTo>
                <a:cubicBezTo>
                  <a:pt x="17812" y="12250"/>
                  <a:pt x="17812" y="12250"/>
                  <a:pt x="17812" y="12250"/>
                </a:cubicBezTo>
                <a:cubicBezTo>
                  <a:pt x="17812" y="12250"/>
                  <a:pt x="17812" y="12250"/>
                  <a:pt x="17812" y="12250"/>
                </a:cubicBezTo>
                <a:cubicBezTo>
                  <a:pt x="17812" y="12250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8093" y="12156"/>
                  <a:pt x="18312" y="12000"/>
                  <a:pt x="18562" y="11843"/>
                </a:cubicBezTo>
                <a:cubicBezTo>
                  <a:pt x="18593" y="11843"/>
                  <a:pt x="18625" y="11812"/>
                  <a:pt x="18656" y="11781"/>
                </a:cubicBezTo>
                <a:cubicBezTo>
                  <a:pt x="19031" y="11593"/>
                  <a:pt x="19375" y="11375"/>
                  <a:pt x="19718" y="11187"/>
                </a:cubicBezTo>
                <a:cubicBezTo>
                  <a:pt x="19906" y="11093"/>
                  <a:pt x="20093" y="11000"/>
                  <a:pt x="20281" y="10906"/>
                </a:cubicBezTo>
                <a:cubicBezTo>
                  <a:pt x="20500" y="10812"/>
                  <a:pt x="20687" y="10718"/>
                  <a:pt x="20906" y="10656"/>
                </a:cubicBezTo>
                <a:cubicBezTo>
                  <a:pt x="21000" y="10656"/>
                  <a:pt x="21093" y="10593"/>
                  <a:pt x="21218" y="10593"/>
                </a:cubicBezTo>
                <a:cubicBezTo>
                  <a:pt x="21406" y="10531"/>
                  <a:pt x="21593" y="10531"/>
                  <a:pt x="21750" y="10687"/>
                </a:cubicBezTo>
                <a:cubicBezTo>
                  <a:pt x="21781" y="10687"/>
                  <a:pt x="21781" y="10687"/>
                  <a:pt x="21781" y="10687"/>
                </a:cubicBezTo>
                <a:cubicBezTo>
                  <a:pt x="21875" y="10875"/>
                  <a:pt x="21875" y="11062"/>
                  <a:pt x="21750" y="11250"/>
                </a:cubicBezTo>
                <a:cubicBezTo>
                  <a:pt x="21750" y="11250"/>
                  <a:pt x="21750" y="11250"/>
                  <a:pt x="21750" y="11250"/>
                </a:cubicBezTo>
                <a:cubicBezTo>
                  <a:pt x="21750" y="11281"/>
                  <a:pt x="21750" y="11312"/>
                  <a:pt x="21781" y="11281"/>
                </a:cubicBezTo>
                <a:cubicBezTo>
                  <a:pt x="21812" y="11281"/>
                  <a:pt x="21875" y="11281"/>
                  <a:pt x="21875" y="11250"/>
                </a:cubicBezTo>
                <a:cubicBezTo>
                  <a:pt x="21875" y="11125"/>
                  <a:pt x="21968" y="11093"/>
                  <a:pt x="22031" y="11031"/>
                </a:cubicBezTo>
                <a:cubicBezTo>
                  <a:pt x="21968" y="11187"/>
                  <a:pt x="21906" y="11343"/>
                  <a:pt x="21718" y="11437"/>
                </a:cubicBezTo>
                <a:cubicBezTo>
                  <a:pt x="21593" y="11500"/>
                  <a:pt x="21500" y="11562"/>
                  <a:pt x="21375" y="11593"/>
                </a:cubicBezTo>
                <a:cubicBezTo>
                  <a:pt x="21343" y="11625"/>
                  <a:pt x="21312" y="11656"/>
                  <a:pt x="21281" y="11625"/>
                </a:cubicBezTo>
                <a:cubicBezTo>
                  <a:pt x="21250" y="11593"/>
                  <a:pt x="21281" y="11562"/>
                  <a:pt x="21312" y="11531"/>
                </a:cubicBezTo>
                <a:cubicBezTo>
                  <a:pt x="21343" y="11468"/>
                  <a:pt x="21375" y="11375"/>
                  <a:pt x="21468" y="11343"/>
                </a:cubicBezTo>
                <a:cubicBezTo>
                  <a:pt x="21500" y="11343"/>
                  <a:pt x="21468" y="11312"/>
                  <a:pt x="21500" y="11281"/>
                </a:cubicBezTo>
                <a:cubicBezTo>
                  <a:pt x="21531" y="11281"/>
                  <a:pt x="21500" y="11312"/>
                  <a:pt x="21531" y="11343"/>
                </a:cubicBezTo>
                <a:cubicBezTo>
                  <a:pt x="21562" y="11312"/>
                  <a:pt x="21593" y="11250"/>
                  <a:pt x="21562" y="11187"/>
                </a:cubicBezTo>
                <a:cubicBezTo>
                  <a:pt x="21531" y="11218"/>
                  <a:pt x="21562" y="11250"/>
                  <a:pt x="21531" y="11250"/>
                </a:cubicBezTo>
                <a:cubicBezTo>
                  <a:pt x="21531" y="11156"/>
                  <a:pt x="21531" y="11062"/>
                  <a:pt x="21437" y="10968"/>
                </a:cubicBezTo>
                <a:cubicBezTo>
                  <a:pt x="21406" y="10937"/>
                  <a:pt x="21375" y="10937"/>
                  <a:pt x="21343" y="10937"/>
                </a:cubicBezTo>
                <a:cubicBezTo>
                  <a:pt x="21281" y="10937"/>
                  <a:pt x="21250" y="10906"/>
                  <a:pt x="21187" y="10906"/>
                </a:cubicBezTo>
                <a:cubicBezTo>
                  <a:pt x="21062" y="10906"/>
                  <a:pt x="20906" y="10937"/>
                  <a:pt x="20781" y="11000"/>
                </a:cubicBezTo>
                <a:cubicBezTo>
                  <a:pt x="20437" y="11125"/>
                  <a:pt x="20093" y="11250"/>
                  <a:pt x="19781" y="11437"/>
                </a:cubicBezTo>
                <a:cubicBezTo>
                  <a:pt x="19656" y="11531"/>
                  <a:pt x="19531" y="11625"/>
                  <a:pt x="19406" y="11687"/>
                </a:cubicBezTo>
                <a:cubicBezTo>
                  <a:pt x="19218" y="11812"/>
                  <a:pt x="19031" y="11937"/>
                  <a:pt x="18843" y="12031"/>
                </a:cubicBezTo>
                <a:cubicBezTo>
                  <a:pt x="18593" y="12187"/>
                  <a:pt x="18343" y="12343"/>
                  <a:pt x="18093" y="12500"/>
                </a:cubicBezTo>
                <a:cubicBezTo>
                  <a:pt x="17812" y="12687"/>
                  <a:pt x="17562" y="12875"/>
                  <a:pt x="17312" y="13031"/>
                </a:cubicBezTo>
                <a:cubicBezTo>
                  <a:pt x="17031" y="13218"/>
                  <a:pt x="16781" y="13437"/>
                  <a:pt x="16500" y="13625"/>
                </a:cubicBezTo>
                <a:cubicBezTo>
                  <a:pt x="16312" y="13750"/>
                  <a:pt x="16156" y="13875"/>
                  <a:pt x="15968" y="14000"/>
                </a:cubicBezTo>
                <a:cubicBezTo>
                  <a:pt x="15781" y="14125"/>
                  <a:pt x="15625" y="14250"/>
                  <a:pt x="15468" y="14375"/>
                </a:cubicBezTo>
                <a:cubicBezTo>
                  <a:pt x="15406" y="14406"/>
                  <a:pt x="15343" y="14375"/>
                  <a:pt x="15281" y="14375"/>
                </a:cubicBezTo>
                <a:cubicBezTo>
                  <a:pt x="15312" y="14343"/>
                  <a:pt x="15343" y="14312"/>
                  <a:pt x="15375" y="14312"/>
                </a:cubicBezTo>
                <a:cubicBezTo>
                  <a:pt x="15406" y="14281"/>
                  <a:pt x="15437" y="14250"/>
                  <a:pt x="15468" y="14187"/>
                </a:cubicBezTo>
                <a:cubicBezTo>
                  <a:pt x="15500" y="14156"/>
                  <a:pt x="15468" y="14125"/>
                  <a:pt x="15437" y="14125"/>
                </a:cubicBezTo>
                <a:cubicBezTo>
                  <a:pt x="15375" y="14125"/>
                  <a:pt x="15312" y="14125"/>
                  <a:pt x="15281" y="14156"/>
                </a:cubicBezTo>
                <a:cubicBezTo>
                  <a:pt x="15250" y="14187"/>
                  <a:pt x="15218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343" y="14062"/>
                  <a:pt x="15500" y="13937"/>
                  <a:pt x="15687" y="13812"/>
                </a:cubicBezTo>
                <a:cubicBezTo>
                  <a:pt x="15718" y="13781"/>
                  <a:pt x="15781" y="13718"/>
                  <a:pt x="15843" y="13687"/>
                </a:cubicBezTo>
                <a:cubicBezTo>
                  <a:pt x="16250" y="13406"/>
                  <a:pt x="16625" y="13156"/>
                  <a:pt x="17031" y="12875"/>
                </a:cubicBezTo>
                <a:cubicBezTo>
                  <a:pt x="17156" y="12781"/>
                  <a:pt x="17250" y="12718"/>
                  <a:pt x="17343" y="12656"/>
                </a:cubicBezTo>
                <a:cubicBezTo>
                  <a:pt x="17500" y="12531"/>
                  <a:pt x="17656" y="12437"/>
                  <a:pt x="17812" y="12343"/>
                </a:cubicBezTo>
                <a:cubicBezTo>
                  <a:pt x="17812" y="12343"/>
                  <a:pt x="17812" y="12343"/>
                  <a:pt x="17812" y="12343"/>
                </a:cubicBezTo>
                <a:cubicBezTo>
                  <a:pt x="17812" y="12312"/>
                  <a:pt x="17812" y="12312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625" y="12343"/>
                  <a:pt x="17531" y="12437"/>
                  <a:pt x="17406" y="12500"/>
                </a:cubicBezTo>
                <a:cubicBezTo>
                  <a:pt x="17343" y="12562"/>
                  <a:pt x="17281" y="12593"/>
                  <a:pt x="17187" y="12625"/>
                </a:cubicBezTo>
                <a:cubicBezTo>
                  <a:pt x="17062" y="12656"/>
                  <a:pt x="17000" y="12750"/>
                  <a:pt x="16906" y="12812"/>
                </a:cubicBezTo>
                <a:cubicBezTo>
                  <a:pt x="16656" y="12937"/>
                  <a:pt x="16437" y="13093"/>
                  <a:pt x="16218" y="13250"/>
                </a:cubicBezTo>
                <a:cubicBezTo>
                  <a:pt x="15906" y="13468"/>
                  <a:pt x="15593" y="13687"/>
                  <a:pt x="15312" y="13906"/>
                </a:cubicBezTo>
                <a:cubicBezTo>
                  <a:pt x="15031" y="14125"/>
                  <a:pt x="14750" y="14312"/>
                  <a:pt x="14468" y="14500"/>
                </a:cubicBezTo>
                <a:cubicBezTo>
                  <a:pt x="14250" y="14656"/>
                  <a:pt x="14062" y="14812"/>
                  <a:pt x="13843" y="14968"/>
                </a:cubicBezTo>
                <a:cubicBezTo>
                  <a:pt x="13843" y="15062"/>
                  <a:pt x="13750" y="15093"/>
                  <a:pt x="13687" y="15156"/>
                </a:cubicBezTo>
                <a:cubicBezTo>
                  <a:pt x="13687" y="15187"/>
                  <a:pt x="13656" y="15187"/>
                  <a:pt x="13625" y="15218"/>
                </a:cubicBezTo>
                <a:cubicBezTo>
                  <a:pt x="13531" y="15250"/>
                  <a:pt x="13531" y="15312"/>
                  <a:pt x="13468" y="15375"/>
                </a:cubicBezTo>
                <a:cubicBezTo>
                  <a:pt x="13406" y="15437"/>
                  <a:pt x="13406" y="15437"/>
                  <a:pt x="13375" y="15500"/>
                </a:cubicBezTo>
                <a:cubicBezTo>
                  <a:pt x="13312" y="15531"/>
                  <a:pt x="13250" y="15562"/>
                  <a:pt x="13281" y="15625"/>
                </a:cubicBezTo>
                <a:cubicBezTo>
                  <a:pt x="13281" y="15656"/>
                  <a:pt x="13250" y="15656"/>
                  <a:pt x="13250" y="15687"/>
                </a:cubicBezTo>
                <a:cubicBezTo>
                  <a:pt x="13187" y="15718"/>
                  <a:pt x="13093" y="15781"/>
                  <a:pt x="13031" y="15843"/>
                </a:cubicBezTo>
                <a:cubicBezTo>
                  <a:pt x="13000" y="15843"/>
                  <a:pt x="13000" y="15875"/>
                  <a:pt x="12968" y="15875"/>
                </a:cubicBezTo>
                <a:cubicBezTo>
                  <a:pt x="12968" y="15875"/>
                  <a:pt x="12968" y="15875"/>
                  <a:pt x="12968" y="15875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875" y="15875"/>
                  <a:pt x="12812" y="15906"/>
                  <a:pt x="12750" y="15968"/>
                </a:cubicBezTo>
                <a:cubicBezTo>
                  <a:pt x="12593" y="16093"/>
                  <a:pt x="12406" y="16218"/>
                  <a:pt x="12250" y="16343"/>
                </a:cubicBezTo>
                <a:cubicBezTo>
                  <a:pt x="12250" y="16375"/>
                  <a:pt x="12218" y="16375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lnTo>
                  <a:pt x="12218" y="16406"/>
                </a:ln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lose/>
                <a:moveTo>
                  <a:pt x="8062" y="19343"/>
                </a:moveTo>
                <a:cubicBezTo>
                  <a:pt x="8062" y="19343"/>
                  <a:pt x="8062" y="19343"/>
                  <a:pt x="8062" y="19343"/>
                </a:cubicBezTo>
                <a:cubicBezTo>
                  <a:pt x="8062" y="19343"/>
                  <a:pt x="8031" y="19375"/>
                  <a:pt x="8031" y="19375"/>
                </a:cubicBezTo>
                <a:cubicBezTo>
                  <a:pt x="8031" y="19375"/>
                  <a:pt x="8031" y="19375"/>
                  <a:pt x="8031" y="19375"/>
                </a:cubicBezTo>
                <a:cubicBezTo>
                  <a:pt x="8000" y="19375"/>
                  <a:pt x="8000" y="19375"/>
                  <a:pt x="8000" y="19375"/>
                </a:cubicBezTo>
                <a:cubicBezTo>
                  <a:pt x="8000" y="19375"/>
                  <a:pt x="8000" y="19375"/>
                  <a:pt x="8000" y="19375"/>
                </a:cubicBezTo>
                <a:cubicBezTo>
                  <a:pt x="7968" y="19406"/>
                  <a:pt x="7968" y="19406"/>
                  <a:pt x="7968" y="19406"/>
                </a:cubicBezTo>
                <a:cubicBezTo>
                  <a:pt x="7968" y="19406"/>
                  <a:pt x="7968" y="19406"/>
                  <a:pt x="7968" y="19406"/>
                </a:cubicBezTo>
                <a:cubicBezTo>
                  <a:pt x="7937" y="19406"/>
                  <a:pt x="7937" y="19406"/>
                  <a:pt x="7937" y="19437"/>
                </a:cubicBezTo>
                <a:cubicBezTo>
                  <a:pt x="7937" y="19437"/>
                  <a:pt x="7937" y="19437"/>
                  <a:pt x="7906" y="19437"/>
                </a:cubicBezTo>
                <a:cubicBezTo>
                  <a:pt x="7906" y="19437"/>
                  <a:pt x="7906" y="19437"/>
                  <a:pt x="7906" y="19437"/>
                </a:cubicBezTo>
                <a:cubicBezTo>
                  <a:pt x="7906" y="19437"/>
                  <a:pt x="7875" y="19437"/>
                  <a:pt x="7875" y="19468"/>
                </a:cubicBezTo>
                <a:cubicBezTo>
                  <a:pt x="7875" y="19468"/>
                  <a:pt x="7875" y="19468"/>
                  <a:pt x="7875" y="19468"/>
                </a:cubicBezTo>
                <a:cubicBezTo>
                  <a:pt x="7875" y="19468"/>
                  <a:pt x="7843" y="19468"/>
                  <a:pt x="7843" y="19468"/>
                </a:cubicBezTo>
                <a:cubicBezTo>
                  <a:pt x="7843" y="19500"/>
                  <a:pt x="7843" y="19500"/>
                  <a:pt x="7843" y="19500"/>
                </a:cubicBezTo>
                <a:cubicBezTo>
                  <a:pt x="7843" y="19500"/>
                  <a:pt x="7812" y="19500"/>
                  <a:pt x="7812" y="19531"/>
                </a:cubicBezTo>
                <a:cubicBezTo>
                  <a:pt x="7843" y="19531"/>
                  <a:pt x="7875" y="19500"/>
                  <a:pt x="7906" y="19500"/>
                </a:cubicBezTo>
                <a:cubicBezTo>
                  <a:pt x="7906" y="19500"/>
                  <a:pt x="7906" y="19500"/>
                  <a:pt x="7906" y="19500"/>
                </a:cubicBezTo>
                <a:cubicBezTo>
                  <a:pt x="7875" y="19531"/>
                  <a:pt x="7843" y="19562"/>
                  <a:pt x="7812" y="19593"/>
                </a:cubicBezTo>
                <a:cubicBezTo>
                  <a:pt x="7812" y="19625"/>
                  <a:pt x="7781" y="19625"/>
                  <a:pt x="7781" y="19656"/>
                </a:cubicBezTo>
                <a:cubicBezTo>
                  <a:pt x="7718" y="19687"/>
                  <a:pt x="7656" y="19718"/>
                  <a:pt x="7625" y="19750"/>
                </a:cubicBezTo>
                <a:cubicBezTo>
                  <a:pt x="7281" y="20031"/>
                  <a:pt x="7031" y="20093"/>
                  <a:pt x="7375" y="19812"/>
                </a:cubicBezTo>
                <a:cubicBezTo>
                  <a:pt x="7375" y="19812"/>
                  <a:pt x="7406" y="19781"/>
                  <a:pt x="7406" y="19781"/>
                </a:cubicBezTo>
                <a:cubicBezTo>
                  <a:pt x="7437" y="19750"/>
                  <a:pt x="7500" y="19718"/>
                  <a:pt x="7562" y="19656"/>
                </a:cubicBezTo>
                <a:cubicBezTo>
                  <a:pt x="7593" y="19625"/>
                  <a:pt x="7625" y="19625"/>
                  <a:pt x="7656" y="19593"/>
                </a:cubicBezTo>
                <a:cubicBezTo>
                  <a:pt x="7750" y="19500"/>
                  <a:pt x="7875" y="19437"/>
                  <a:pt x="7937" y="19343"/>
                </a:cubicBezTo>
                <a:cubicBezTo>
                  <a:pt x="8000" y="19281"/>
                  <a:pt x="8125" y="19218"/>
                  <a:pt x="8218" y="19156"/>
                </a:cubicBezTo>
                <a:cubicBezTo>
                  <a:pt x="8187" y="19218"/>
                  <a:pt x="8156" y="19250"/>
                  <a:pt x="8093" y="19281"/>
                </a:cubicBezTo>
                <a:cubicBezTo>
                  <a:pt x="8093" y="19312"/>
                  <a:pt x="8062" y="19312"/>
                  <a:pt x="8062" y="19343"/>
                </a:cubicBezTo>
                <a:close/>
                <a:moveTo>
                  <a:pt x="10062" y="18093"/>
                </a:moveTo>
                <a:cubicBezTo>
                  <a:pt x="10062" y="18125"/>
                  <a:pt x="10062" y="18125"/>
                  <a:pt x="10093" y="18125"/>
                </a:cubicBezTo>
                <a:cubicBezTo>
                  <a:pt x="10093" y="18125"/>
                  <a:pt x="10093" y="18125"/>
                  <a:pt x="10093" y="18125"/>
                </a:cubicBezTo>
                <a:cubicBezTo>
                  <a:pt x="10062" y="18125"/>
                  <a:pt x="10062" y="18156"/>
                  <a:pt x="10062" y="18156"/>
                </a:cubicBezTo>
                <a:cubicBezTo>
                  <a:pt x="9906" y="18281"/>
                  <a:pt x="9750" y="18406"/>
                  <a:pt x="9593" y="18531"/>
                </a:cubicBezTo>
                <a:cubicBezTo>
                  <a:pt x="9531" y="18562"/>
                  <a:pt x="9468" y="18625"/>
                  <a:pt x="9437" y="18656"/>
                </a:cubicBezTo>
                <a:cubicBezTo>
                  <a:pt x="9437" y="18656"/>
                  <a:pt x="9437" y="18656"/>
                  <a:pt x="9437" y="18656"/>
                </a:cubicBezTo>
                <a:cubicBezTo>
                  <a:pt x="9437" y="18687"/>
                  <a:pt x="9406" y="18687"/>
                  <a:pt x="9437" y="18687"/>
                </a:cubicBezTo>
                <a:cubicBezTo>
                  <a:pt x="9437" y="18687"/>
                  <a:pt x="9437" y="18687"/>
                  <a:pt x="9437" y="18687"/>
                </a:cubicBezTo>
                <a:cubicBezTo>
                  <a:pt x="9437" y="18718"/>
                  <a:pt x="9437" y="18687"/>
                  <a:pt x="9468" y="18687"/>
                </a:cubicBezTo>
                <a:cubicBezTo>
                  <a:pt x="9500" y="18687"/>
                  <a:pt x="9500" y="18625"/>
                  <a:pt x="9531" y="18656"/>
                </a:cubicBezTo>
                <a:cubicBezTo>
                  <a:pt x="9562" y="18750"/>
                  <a:pt x="9500" y="18812"/>
                  <a:pt x="9437" y="18875"/>
                </a:cubicBezTo>
                <a:cubicBezTo>
                  <a:pt x="9343" y="18937"/>
                  <a:pt x="9250" y="18968"/>
                  <a:pt x="9156" y="19062"/>
                </a:cubicBezTo>
                <a:cubicBezTo>
                  <a:pt x="9156" y="19062"/>
                  <a:pt x="9125" y="19093"/>
                  <a:pt x="9125" y="19062"/>
                </a:cubicBezTo>
                <a:cubicBezTo>
                  <a:pt x="9062" y="19000"/>
                  <a:pt x="9031" y="19062"/>
                  <a:pt x="9000" y="19093"/>
                </a:cubicBezTo>
                <a:cubicBezTo>
                  <a:pt x="8906" y="19156"/>
                  <a:pt x="8875" y="19250"/>
                  <a:pt x="8781" y="19312"/>
                </a:cubicBezTo>
                <a:cubicBezTo>
                  <a:pt x="8906" y="19343"/>
                  <a:pt x="8875" y="19156"/>
                  <a:pt x="9000" y="19218"/>
                </a:cubicBezTo>
                <a:cubicBezTo>
                  <a:pt x="8968" y="19250"/>
                  <a:pt x="8937" y="19281"/>
                  <a:pt x="8906" y="19312"/>
                </a:cubicBezTo>
                <a:cubicBezTo>
                  <a:pt x="8843" y="19343"/>
                  <a:pt x="8781" y="19375"/>
                  <a:pt x="8687" y="19406"/>
                </a:cubicBezTo>
                <a:cubicBezTo>
                  <a:pt x="8562" y="19437"/>
                  <a:pt x="8468" y="19531"/>
                  <a:pt x="8375" y="19593"/>
                </a:cubicBezTo>
                <a:cubicBezTo>
                  <a:pt x="8312" y="19625"/>
                  <a:pt x="8312" y="19656"/>
                  <a:pt x="8312" y="19718"/>
                </a:cubicBezTo>
                <a:cubicBezTo>
                  <a:pt x="8312" y="19718"/>
                  <a:pt x="8312" y="19718"/>
                  <a:pt x="8312" y="19718"/>
                </a:cubicBezTo>
                <a:cubicBezTo>
                  <a:pt x="8312" y="19718"/>
                  <a:pt x="8312" y="19687"/>
                  <a:pt x="8281" y="19687"/>
                </a:cubicBezTo>
                <a:cubicBezTo>
                  <a:pt x="8250" y="19687"/>
                  <a:pt x="8250" y="19718"/>
                  <a:pt x="8218" y="19718"/>
                </a:cubicBezTo>
                <a:cubicBezTo>
                  <a:pt x="8125" y="19781"/>
                  <a:pt x="8062" y="19875"/>
                  <a:pt x="8031" y="19937"/>
                </a:cubicBezTo>
                <a:cubicBezTo>
                  <a:pt x="8000" y="19968"/>
                  <a:pt x="8000" y="19968"/>
                  <a:pt x="8000" y="19968"/>
                </a:cubicBezTo>
                <a:cubicBezTo>
                  <a:pt x="8031" y="19906"/>
                  <a:pt x="8031" y="19781"/>
                  <a:pt x="8031" y="19718"/>
                </a:cubicBezTo>
                <a:cubicBezTo>
                  <a:pt x="8125" y="19625"/>
                  <a:pt x="8250" y="19531"/>
                  <a:pt x="8343" y="19437"/>
                </a:cubicBezTo>
                <a:cubicBezTo>
                  <a:pt x="8468" y="19343"/>
                  <a:pt x="8593" y="19250"/>
                  <a:pt x="8718" y="19156"/>
                </a:cubicBezTo>
                <a:cubicBezTo>
                  <a:pt x="8906" y="19031"/>
                  <a:pt x="9062" y="18906"/>
                  <a:pt x="9250" y="18750"/>
                </a:cubicBezTo>
                <a:cubicBezTo>
                  <a:pt x="9375" y="18625"/>
                  <a:pt x="9562" y="18562"/>
                  <a:pt x="9656" y="18406"/>
                </a:cubicBezTo>
                <a:cubicBezTo>
                  <a:pt x="9781" y="18250"/>
                  <a:pt x="9937" y="18187"/>
                  <a:pt x="10062" y="18093"/>
                </a:cubicBezTo>
                <a:close/>
                <a:moveTo>
                  <a:pt x="11937" y="15406"/>
                </a:moveTo>
                <a:cubicBezTo>
                  <a:pt x="11937" y="15406"/>
                  <a:pt x="11937" y="15406"/>
                  <a:pt x="11937" y="15406"/>
                </a:cubicBezTo>
                <a:cubicBezTo>
                  <a:pt x="11906" y="15406"/>
                  <a:pt x="11906" y="15437"/>
                  <a:pt x="11875" y="15468"/>
                </a:cubicBezTo>
                <a:cubicBezTo>
                  <a:pt x="11875" y="15468"/>
                  <a:pt x="11875" y="15468"/>
                  <a:pt x="11875" y="15468"/>
                </a:cubicBezTo>
                <a:cubicBezTo>
                  <a:pt x="11843" y="15468"/>
                  <a:pt x="11843" y="15468"/>
                  <a:pt x="11812" y="15500"/>
                </a:cubicBezTo>
                <a:cubicBezTo>
                  <a:pt x="11812" y="15500"/>
                  <a:pt x="11812" y="15500"/>
                  <a:pt x="11781" y="15531"/>
                </a:cubicBezTo>
                <a:cubicBezTo>
                  <a:pt x="11781" y="15531"/>
                  <a:pt x="11781" y="15531"/>
                  <a:pt x="11750" y="15531"/>
                </a:cubicBezTo>
                <a:cubicBezTo>
                  <a:pt x="11750" y="15531"/>
                  <a:pt x="11750" y="15562"/>
                  <a:pt x="11750" y="15562"/>
                </a:cubicBezTo>
                <a:cubicBezTo>
                  <a:pt x="11718" y="15562"/>
                  <a:pt x="11718" y="15562"/>
                  <a:pt x="11718" y="15593"/>
                </a:cubicBezTo>
                <a:cubicBezTo>
                  <a:pt x="11656" y="15593"/>
                  <a:pt x="11593" y="15656"/>
                  <a:pt x="11531" y="15718"/>
                </a:cubicBezTo>
                <a:cubicBezTo>
                  <a:pt x="11250" y="15937"/>
                  <a:pt x="10906" y="16125"/>
                  <a:pt x="10625" y="16375"/>
                </a:cubicBezTo>
                <a:cubicBezTo>
                  <a:pt x="10562" y="16437"/>
                  <a:pt x="10500" y="16468"/>
                  <a:pt x="10437" y="16500"/>
                </a:cubicBezTo>
                <a:cubicBezTo>
                  <a:pt x="10437" y="16500"/>
                  <a:pt x="10437" y="16500"/>
                  <a:pt x="10437" y="16500"/>
                </a:cubicBezTo>
                <a:cubicBezTo>
                  <a:pt x="10437" y="16500"/>
                  <a:pt x="10437" y="16500"/>
                  <a:pt x="10437" y="16500"/>
                </a:cubicBezTo>
                <a:cubicBezTo>
                  <a:pt x="10437" y="16500"/>
                  <a:pt x="10437" y="16500"/>
                  <a:pt x="10437" y="16468"/>
                </a:cubicBezTo>
                <a:cubicBezTo>
                  <a:pt x="10437" y="16468"/>
                  <a:pt x="10468" y="16468"/>
                  <a:pt x="10468" y="16468"/>
                </a:cubicBezTo>
                <a:cubicBezTo>
                  <a:pt x="10593" y="16343"/>
                  <a:pt x="10750" y="16250"/>
                  <a:pt x="10875" y="16125"/>
                </a:cubicBezTo>
                <a:cubicBezTo>
                  <a:pt x="11218" y="15875"/>
                  <a:pt x="11531" y="15625"/>
                  <a:pt x="11843" y="15375"/>
                </a:cubicBezTo>
                <a:cubicBezTo>
                  <a:pt x="12250" y="15093"/>
                  <a:pt x="12625" y="14812"/>
                  <a:pt x="13031" y="14500"/>
                </a:cubicBezTo>
                <a:cubicBezTo>
                  <a:pt x="13093" y="14500"/>
                  <a:pt x="13093" y="14500"/>
                  <a:pt x="13093" y="14500"/>
                </a:cubicBezTo>
                <a:cubicBezTo>
                  <a:pt x="12718" y="14812"/>
                  <a:pt x="12343" y="15093"/>
                  <a:pt x="11937" y="15406"/>
                </a:cubicBezTo>
                <a:close/>
                <a:moveTo>
                  <a:pt x="8531" y="3062"/>
                </a:moveTo>
                <a:cubicBezTo>
                  <a:pt x="8531" y="3062"/>
                  <a:pt x="8531" y="3062"/>
                  <a:pt x="8531" y="3062"/>
                </a:cubicBezTo>
                <a:cubicBezTo>
                  <a:pt x="8500" y="3062"/>
                  <a:pt x="8500" y="3062"/>
                  <a:pt x="8500" y="3062"/>
                </a:cubicBezTo>
                <a:cubicBezTo>
                  <a:pt x="8500" y="3062"/>
                  <a:pt x="8500" y="3062"/>
                  <a:pt x="8500" y="3062"/>
                </a:cubicBezTo>
                <a:cubicBezTo>
                  <a:pt x="8531" y="3062"/>
                  <a:pt x="8531" y="3062"/>
                  <a:pt x="8531" y="3062"/>
                </a:cubicBezTo>
                <a:close/>
                <a:moveTo>
                  <a:pt x="7718" y="20437"/>
                </a:moveTo>
                <a:cubicBezTo>
                  <a:pt x="7750" y="20437"/>
                  <a:pt x="7750" y="20437"/>
                  <a:pt x="7750" y="20437"/>
                </a:cubicBezTo>
                <a:cubicBezTo>
                  <a:pt x="7750" y="20437"/>
                  <a:pt x="7750" y="20437"/>
                  <a:pt x="7750" y="20437"/>
                </a:cubicBezTo>
                <a:cubicBezTo>
                  <a:pt x="7750" y="20437"/>
                  <a:pt x="7750" y="20437"/>
                  <a:pt x="7750" y="20437"/>
                </a:cubicBezTo>
                <a:cubicBezTo>
                  <a:pt x="7750" y="20437"/>
                  <a:pt x="7750" y="20437"/>
                  <a:pt x="7718" y="20437"/>
                </a:cubicBezTo>
                <a:close/>
                <a:moveTo>
                  <a:pt x="8718" y="19843"/>
                </a:moveTo>
                <a:cubicBezTo>
                  <a:pt x="8687" y="19843"/>
                  <a:pt x="8656" y="19875"/>
                  <a:pt x="8625" y="19906"/>
                </a:cubicBezTo>
                <a:cubicBezTo>
                  <a:pt x="8656" y="19906"/>
                  <a:pt x="8656" y="19906"/>
                  <a:pt x="8656" y="19906"/>
                </a:cubicBezTo>
                <a:cubicBezTo>
                  <a:pt x="8687" y="19906"/>
                  <a:pt x="8718" y="19875"/>
                  <a:pt x="8718" y="19843"/>
                </a:cubicBezTo>
                <a:cubicBezTo>
                  <a:pt x="8750" y="19843"/>
                  <a:pt x="8750" y="19843"/>
                  <a:pt x="8750" y="19812"/>
                </a:cubicBezTo>
                <a:cubicBezTo>
                  <a:pt x="8750" y="19812"/>
                  <a:pt x="8750" y="19812"/>
                  <a:pt x="8750" y="19812"/>
                </a:cubicBezTo>
                <a:cubicBezTo>
                  <a:pt x="8718" y="19812"/>
                  <a:pt x="8718" y="19843"/>
                  <a:pt x="8718" y="19843"/>
                </a:cubicBezTo>
                <a:close/>
                <a:moveTo>
                  <a:pt x="9375" y="19312"/>
                </a:moveTo>
                <a:cubicBezTo>
                  <a:pt x="9375" y="19312"/>
                  <a:pt x="9375" y="19312"/>
                  <a:pt x="9343" y="19312"/>
                </a:cubicBezTo>
                <a:cubicBezTo>
                  <a:pt x="9343" y="19312"/>
                  <a:pt x="9343" y="19312"/>
                  <a:pt x="9343" y="19312"/>
                </a:cubicBezTo>
                <a:cubicBezTo>
                  <a:pt x="9343" y="19312"/>
                  <a:pt x="9312" y="19343"/>
                  <a:pt x="9312" y="19343"/>
                </a:cubicBezTo>
                <a:cubicBezTo>
                  <a:pt x="9250" y="19375"/>
                  <a:pt x="9187" y="19437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062" y="19500"/>
                  <a:pt x="9000" y="19562"/>
                  <a:pt x="8968" y="19656"/>
                </a:cubicBezTo>
                <a:cubicBezTo>
                  <a:pt x="9031" y="19593"/>
                  <a:pt x="9093" y="19562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187" y="19468"/>
                  <a:pt x="9218" y="19468"/>
                  <a:pt x="9250" y="19437"/>
                </a:cubicBezTo>
                <a:cubicBezTo>
                  <a:pt x="9250" y="19437"/>
                  <a:pt x="9250" y="19437"/>
                  <a:pt x="9250" y="19406"/>
                </a:cubicBezTo>
                <a:cubicBezTo>
                  <a:pt x="9281" y="19406"/>
                  <a:pt x="9312" y="19375"/>
                  <a:pt x="9312" y="19343"/>
                </a:cubicBezTo>
                <a:cubicBezTo>
                  <a:pt x="9312" y="19343"/>
                  <a:pt x="9343" y="19343"/>
                  <a:pt x="9343" y="19343"/>
                </a:cubicBezTo>
                <a:cubicBezTo>
                  <a:pt x="9343" y="19343"/>
                  <a:pt x="9343" y="19343"/>
                  <a:pt x="9343" y="19343"/>
                </a:cubicBezTo>
                <a:cubicBezTo>
                  <a:pt x="9343" y="19343"/>
                  <a:pt x="9343" y="19343"/>
                  <a:pt x="9343" y="19312"/>
                </a:cubicBezTo>
                <a:cubicBezTo>
                  <a:pt x="9343" y="19312"/>
                  <a:pt x="9343" y="19312"/>
                  <a:pt x="9343" y="19312"/>
                </a:cubicBezTo>
                <a:cubicBezTo>
                  <a:pt x="9343" y="19312"/>
                  <a:pt x="9343" y="19312"/>
                  <a:pt x="9343" y="19312"/>
                </a:cubicBezTo>
                <a:cubicBezTo>
                  <a:pt x="9343" y="19312"/>
                  <a:pt x="9375" y="19312"/>
                  <a:pt x="9375" y="19312"/>
                </a:cubicBezTo>
                <a:close/>
                <a:moveTo>
                  <a:pt x="12343" y="15437"/>
                </a:moveTo>
                <a:lnTo>
                  <a:pt x="12343" y="15437"/>
                </a:lnTo>
                <a:lnTo>
                  <a:pt x="12343" y="15437"/>
                </a:lnTo>
                <a:close/>
                <a:moveTo>
                  <a:pt x="15562" y="15125"/>
                </a:moveTo>
                <a:cubicBezTo>
                  <a:pt x="15562" y="15125"/>
                  <a:pt x="15562" y="15125"/>
                  <a:pt x="15593" y="15125"/>
                </a:cubicBezTo>
                <a:cubicBezTo>
                  <a:pt x="15593" y="15125"/>
                  <a:pt x="15593" y="15125"/>
                  <a:pt x="15593" y="15125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625" y="15093"/>
                  <a:pt x="15625" y="15093"/>
                </a:cubicBezTo>
                <a:cubicBezTo>
                  <a:pt x="15625" y="15062"/>
                  <a:pt x="15625" y="15062"/>
                  <a:pt x="15625" y="15062"/>
                </a:cubicBezTo>
                <a:cubicBezTo>
                  <a:pt x="15625" y="15031"/>
                  <a:pt x="15656" y="15031"/>
                  <a:pt x="15656" y="15000"/>
                </a:cubicBezTo>
                <a:cubicBezTo>
                  <a:pt x="15656" y="15000"/>
                  <a:pt x="15656" y="15000"/>
                  <a:pt x="15656" y="15000"/>
                </a:cubicBezTo>
                <a:cubicBezTo>
                  <a:pt x="15656" y="15000"/>
                  <a:pt x="15656" y="15000"/>
                  <a:pt x="15656" y="15000"/>
                </a:cubicBezTo>
                <a:lnTo>
                  <a:pt x="15656" y="15000"/>
                </a:lnTo>
                <a:cubicBezTo>
                  <a:pt x="15656" y="15000"/>
                  <a:pt x="15656" y="15000"/>
                  <a:pt x="15656" y="15000"/>
                </a:cubicBezTo>
                <a:cubicBezTo>
                  <a:pt x="15656" y="15031"/>
                  <a:pt x="15656" y="15062"/>
                  <a:pt x="15625" y="15062"/>
                </a:cubicBezTo>
                <a:cubicBezTo>
                  <a:pt x="15593" y="15062"/>
                  <a:pt x="15593" y="15062"/>
                  <a:pt x="15593" y="15062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125"/>
                </a:cubicBezTo>
                <a:cubicBezTo>
                  <a:pt x="15593" y="15125"/>
                  <a:pt x="15593" y="15125"/>
                  <a:pt x="15593" y="15125"/>
                </a:cubicBezTo>
                <a:cubicBezTo>
                  <a:pt x="15562" y="15125"/>
                  <a:pt x="15562" y="15125"/>
                  <a:pt x="15562" y="15125"/>
                </a:cubicBezTo>
                <a:cubicBezTo>
                  <a:pt x="15562" y="15125"/>
                  <a:pt x="15562" y="15125"/>
                  <a:pt x="15562" y="15125"/>
                </a:cubicBezTo>
                <a:close/>
                <a:moveTo>
                  <a:pt x="12250" y="15562"/>
                </a:moveTo>
                <a:cubicBezTo>
                  <a:pt x="12250" y="15562"/>
                  <a:pt x="12250" y="15562"/>
                  <a:pt x="12250" y="15562"/>
                </a:cubicBezTo>
                <a:cubicBezTo>
                  <a:pt x="12250" y="15562"/>
                  <a:pt x="12250" y="15562"/>
                  <a:pt x="12250" y="15562"/>
                </a:cubicBezTo>
                <a:cubicBezTo>
                  <a:pt x="12250" y="15562"/>
                  <a:pt x="12250" y="15562"/>
                  <a:pt x="12250" y="15562"/>
                </a:cubicBezTo>
                <a:cubicBezTo>
                  <a:pt x="12250" y="15562"/>
                  <a:pt x="12250" y="15562"/>
                  <a:pt x="12250" y="15562"/>
                </a:cubicBezTo>
                <a:close/>
                <a:moveTo>
                  <a:pt x="11656" y="17093"/>
                </a:moveTo>
                <a:cubicBezTo>
                  <a:pt x="11656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56" y="17093"/>
                </a:cubicBezTo>
                <a:cubicBezTo>
                  <a:pt x="11656" y="17093"/>
                  <a:pt x="11656" y="17093"/>
                  <a:pt x="11656" y="17093"/>
                </a:cubicBezTo>
                <a:close/>
                <a:moveTo>
                  <a:pt x="8406" y="4468"/>
                </a:moveTo>
                <a:cubicBezTo>
                  <a:pt x="8375" y="4468"/>
                  <a:pt x="8375" y="4468"/>
                  <a:pt x="8375" y="4468"/>
                </a:cubicBezTo>
                <a:cubicBezTo>
                  <a:pt x="8343" y="4468"/>
                  <a:pt x="8343" y="4500"/>
                  <a:pt x="8343" y="4500"/>
                </a:cubicBezTo>
                <a:cubicBezTo>
                  <a:pt x="8343" y="4500"/>
                  <a:pt x="8312" y="4500"/>
                  <a:pt x="8312" y="4531"/>
                </a:cubicBezTo>
                <a:cubicBezTo>
                  <a:pt x="8281" y="4531"/>
                  <a:pt x="8281" y="4562"/>
                  <a:pt x="8250" y="4593"/>
                </a:cubicBezTo>
                <a:cubicBezTo>
                  <a:pt x="8250" y="4593"/>
                  <a:pt x="8250" y="4593"/>
                  <a:pt x="8250" y="4625"/>
                </a:cubicBezTo>
                <a:cubicBezTo>
                  <a:pt x="8281" y="4625"/>
                  <a:pt x="8281" y="4593"/>
                  <a:pt x="8281" y="4593"/>
                </a:cubicBezTo>
                <a:cubicBezTo>
                  <a:pt x="8312" y="4593"/>
                  <a:pt x="8312" y="4562"/>
                  <a:pt x="8312" y="4531"/>
                </a:cubicBezTo>
                <a:cubicBezTo>
                  <a:pt x="8312" y="4531"/>
                  <a:pt x="8312" y="4531"/>
                  <a:pt x="8312" y="4531"/>
                </a:cubicBezTo>
                <a:cubicBezTo>
                  <a:pt x="8343" y="4531"/>
                  <a:pt x="8375" y="4500"/>
                  <a:pt x="8375" y="4468"/>
                </a:cubicBezTo>
                <a:cubicBezTo>
                  <a:pt x="8375" y="4468"/>
                  <a:pt x="8375" y="4468"/>
                  <a:pt x="8375" y="4468"/>
                </a:cubicBezTo>
                <a:cubicBezTo>
                  <a:pt x="8375" y="4468"/>
                  <a:pt x="8406" y="4468"/>
                  <a:pt x="8406" y="4468"/>
                </a:cubicBezTo>
                <a:cubicBezTo>
                  <a:pt x="8406" y="4468"/>
                  <a:pt x="8406" y="4468"/>
                  <a:pt x="8406" y="4468"/>
                </a:cubicBezTo>
                <a:close/>
                <a:moveTo>
                  <a:pt x="8906" y="19687"/>
                </a:moveTo>
                <a:cubicBezTo>
                  <a:pt x="8937" y="19687"/>
                  <a:pt x="8937" y="19687"/>
                  <a:pt x="8937" y="19687"/>
                </a:cubicBezTo>
                <a:cubicBezTo>
                  <a:pt x="8937" y="19687"/>
                  <a:pt x="8906" y="19656"/>
                  <a:pt x="8906" y="19656"/>
                </a:cubicBezTo>
                <a:cubicBezTo>
                  <a:pt x="8875" y="19687"/>
                  <a:pt x="8875" y="19687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875" y="19718"/>
                  <a:pt x="8875" y="19718"/>
                  <a:pt x="8843" y="19718"/>
                </a:cubicBezTo>
                <a:cubicBezTo>
                  <a:pt x="8843" y="19718"/>
                  <a:pt x="8812" y="19750"/>
                  <a:pt x="8812" y="19781"/>
                </a:cubicBezTo>
                <a:cubicBezTo>
                  <a:pt x="8812" y="19781"/>
                  <a:pt x="8812" y="19781"/>
                  <a:pt x="8812" y="19781"/>
                </a:cubicBezTo>
                <a:cubicBezTo>
                  <a:pt x="8812" y="19750"/>
                  <a:pt x="8812" y="19781"/>
                  <a:pt x="8781" y="19781"/>
                </a:cubicBezTo>
                <a:cubicBezTo>
                  <a:pt x="8781" y="19781"/>
                  <a:pt x="8781" y="19781"/>
                  <a:pt x="8781" y="19812"/>
                </a:cubicBezTo>
                <a:cubicBezTo>
                  <a:pt x="8812" y="19812"/>
                  <a:pt x="8812" y="19781"/>
                  <a:pt x="8812" y="19781"/>
                </a:cubicBezTo>
                <a:cubicBezTo>
                  <a:pt x="8843" y="19781"/>
                  <a:pt x="8875" y="19750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906" y="19718"/>
                  <a:pt x="8906" y="19718"/>
                  <a:pt x="8906" y="19687"/>
                </a:cubicBezTo>
                <a:close/>
                <a:moveTo>
                  <a:pt x="11718" y="17593"/>
                </a:moveTo>
                <a:cubicBezTo>
                  <a:pt x="11718" y="17593"/>
                  <a:pt x="11718" y="17593"/>
                  <a:pt x="11718" y="17593"/>
                </a:cubicBezTo>
                <a:cubicBezTo>
                  <a:pt x="11687" y="17625"/>
                  <a:pt x="11687" y="17625"/>
                  <a:pt x="11656" y="17656"/>
                </a:cubicBezTo>
                <a:cubicBezTo>
                  <a:pt x="11625" y="17656"/>
                  <a:pt x="11625" y="17656"/>
                  <a:pt x="11625" y="17687"/>
                </a:cubicBezTo>
                <a:cubicBezTo>
                  <a:pt x="11625" y="17687"/>
                  <a:pt x="11625" y="17687"/>
                  <a:pt x="11625" y="17718"/>
                </a:cubicBezTo>
                <a:cubicBezTo>
                  <a:pt x="11625" y="17687"/>
                  <a:pt x="11656" y="17687"/>
                  <a:pt x="11656" y="17656"/>
                </a:cubicBezTo>
                <a:cubicBezTo>
                  <a:pt x="11687" y="17656"/>
                  <a:pt x="11718" y="17656"/>
                  <a:pt x="11718" y="17593"/>
                </a:cubicBezTo>
                <a:close/>
                <a:moveTo>
                  <a:pt x="5062" y="3750"/>
                </a:moveTo>
                <a:cubicBezTo>
                  <a:pt x="5093" y="3718"/>
                  <a:pt x="5093" y="3718"/>
                  <a:pt x="5125" y="3687"/>
                </a:cubicBezTo>
                <a:cubicBezTo>
                  <a:pt x="5125" y="3687"/>
                  <a:pt x="5125" y="3687"/>
                  <a:pt x="5125" y="3656"/>
                </a:cubicBezTo>
                <a:cubicBezTo>
                  <a:pt x="5125" y="3656"/>
                  <a:pt x="5156" y="3656"/>
                  <a:pt x="5156" y="3656"/>
                </a:cubicBezTo>
                <a:cubicBezTo>
                  <a:pt x="5156" y="3625"/>
                  <a:pt x="5187" y="3625"/>
                  <a:pt x="5187" y="3625"/>
                </a:cubicBezTo>
                <a:cubicBezTo>
                  <a:pt x="5218" y="3593"/>
                  <a:pt x="5218" y="3593"/>
                  <a:pt x="5218" y="3562"/>
                </a:cubicBezTo>
                <a:cubicBezTo>
                  <a:pt x="5218" y="3562"/>
                  <a:pt x="5218" y="3562"/>
                  <a:pt x="5218" y="3562"/>
                </a:cubicBezTo>
                <a:cubicBezTo>
                  <a:pt x="5218" y="3562"/>
                  <a:pt x="5218" y="3562"/>
                  <a:pt x="5250" y="3562"/>
                </a:cubicBezTo>
                <a:cubicBezTo>
                  <a:pt x="5250" y="3531"/>
                  <a:pt x="5250" y="3531"/>
                  <a:pt x="5250" y="3531"/>
                </a:cubicBezTo>
                <a:cubicBezTo>
                  <a:pt x="5281" y="3531"/>
                  <a:pt x="5281" y="3500"/>
                  <a:pt x="5281" y="3500"/>
                </a:cubicBezTo>
                <a:cubicBezTo>
                  <a:pt x="5281" y="3500"/>
                  <a:pt x="5312" y="3500"/>
                  <a:pt x="5312" y="3468"/>
                </a:cubicBezTo>
                <a:cubicBezTo>
                  <a:pt x="5312" y="3468"/>
                  <a:pt x="5312" y="3468"/>
                  <a:pt x="5312" y="3437"/>
                </a:cubicBezTo>
                <a:cubicBezTo>
                  <a:pt x="5281" y="3468"/>
                  <a:pt x="5281" y="3468"/>
                  <a:pt x="5281" y="3500"/>
                </a:cubicBezTo>
                <a:cubicBezTo>
                  <a:pt x="5250" y="3500"/>
                  <a:pt x="5250" y="3500"/>
                  <a:pt x="5250" y="3531"/>
                </a:cubicBezTo>
                <a:cubicBezTo>
                  <a:pt x="5250" y="3531"/>
                  <a:pt x="5250" y="3531"/>
                  <a:pt x="5250" y="3531"/>
                </a:cubicBezTo>
                <a:cubicBezTo>
                  <a:pt x="5250" y="3531"/>
                  <a:pt x="5250" y="3531"/>
                  <a:pt x="5250" y="3531"/>
                </a:cubicBezTo>
                <a:cubicBezTo>
                  <a:pt x="5218" y="3562"/>
                  <a:pt x="5218" y="3562"/>
                  <a:pt x="5218" y="3562"/>
                </a:cubicBezTo>
                <a:cubicBezTo>
                  <a:pt x="5218" y="3562"/>
                  <a:pt x="5218" y="3562"/>
                  <a:pt x="5218" y="3562"/>
                </a:cubicBezTo>
                <a:cubicBezTo>
                  <a:pt x="5187" y="3593"/>
                  <a:pt x="5156" y="3625"/>
                  <a:pt x="5156" y="3656"/>
                </a:cubicBezTo>
                <a:cubicBezTo>
                  <a:pt x="5156" y="3656"/>
                  <a:pt x="5156" y="3656"/>
                  <a:pt x="5156" y="3656"/>
                </a:cubicBezTo>
                <a:cubicBezTo>
                  <a:pt x="5125" y="3656"/>
                  <a:pt x="5125" y="3656"/>
                  <a:pt x="5125" y="3656"/>
                </a:cubicBezTo>
                <a:cubicBezTo>
                  <a:pt x="5125" y="3687"/>
                  <a:pt x="5125" y="3687"/>
                  <a:pt x="5125" y="3687"/>
                </a:cubicBezTo>
                <a:cubicBezTo>
                  <a:pt x="5093" y="3687"/>
                  <a:pt x="5093" y="3687"/>
                  <a:pt x="5093" y="3687"/>
                </a:cubicBezTo>
                <a:cubicBezTo>
                  <a:pt x="5062" y="3718"/>
                  <a:pt x="5062" y="3718"/>
                  <a:pt x="5062" y="3750"/>
                </a:cubicBezTo>
                <a:cubicBezTo>
                  <a:pt x="5062" y="3750"/>
                  <a:pt x="5062" y="3750"/>
                  <a:pt x="5062" y="3750"/>
                </a:cubicBezTo>
                <a:cubicBezTo>
                  <a:pt x="5062" y="3750"/>
                  <a:pt x="5031" y="3750"/>
                  <a:pt x="5031" y="3781"/>
                </a:cubicBezTo>
                <a:cubicBezTo>
                  <a:pt x="5031" y="3781"/>
                  <a:pt x="5031" y="3781"/>
                  <a:pt x="5031" y="3812"/>
                </a:cubicBezTo>
                <a:cubicBezTo>
                  <a:pt x="5031" y="3781"/>
                  <a:pt x="5062" y="3781"/>
                  <a:pt x="5062" y="3750"/>
                </a:cubicBezTo>
                <a:close/>
                <a:moveTo>
                  <a:pt x="17125" y="12031"/>
                </a:moveTo>
                <a:cubicBezTo>
                  <a:pt x="17125" y="12031"/>
                  <a:pt x="17125" y="12062"/>
                  <a:pt x="17125" y="12062"/>
                </a:cubicBezTo>
                <a:cubicBezTo>
                  <a:pt x="17156" y="12062"/>
                  <a:pt x="17156" y="12062"/>
                  <a:pt x="17187" y="12031"/>
                </a:cubicBezTo>
                <a:cubicBezTo>
                  <a:pt x="17281" y="12000"/>
                  <a:pt x="17343" y="11937"/>
                  <a:pt x="17406" y="11875"/>
                </a:cubicBezTo>
                <a:cubicBezTo>
                  <a:pt x="17406" y="11875"/>
                  <a:pt x="17375" y="11906"/>
                  <a:pt x="17343" y="11906"/>
                </a:cubicBezTo>
                <a:cubicBezTo>
                  <a:pt x="17281" y="11937"/>
                  <a:pt x="17218" y="11937"/>
                  <a:pt x="17187" y="12031"/>
                </a:cubicBezTo>
                <a:cubicBezTo>
                  <a:pt x="17187" y="12031"/>
                  <a:pt x="17187" y="12031"/>
                  <a:pt x="17187" y="12031"/>
                </a:cubicBezTo>
                <a:cubicBezTo>
                  <a:pt x="17156" y="12000"/>
                  <a:pt x="17156" y="12031"/>
                  <a:pt x="17125" y="12031"/>
                </a:cubicBezTo>
                <a:close/>
                <a:moveTo>
                  <a:pt x="12281" y="15562"/>
                </a:moveTo>
                <a:cubicBezTo>
                  <a:pt x="12312" y="15500"/>
                  <a:pt x="12312" y="15500"/>
                  <a:pt x="12343" y="15468"/>
                </a:cubicBezTo>
                <a:cubicBezTo>
                  <a:pt x="12281" y="15468"/>
                  <a:pt x="12250" y="15500"/>
                  <a:pt x="12281" y="15562"/>
                </a:cubicBezTo>
                <a:close/>
                <a:moveTo>
                  <a:pt x="14500" y="14593"/>
                </a:moveTo>
                <a:cubicBezTo>
                  <a:pt x="14593" y="14562"/>
                  <a:pt x="14593" y="14562"/>
                  <a:pt x="14593" y="14500"/>
                </a:cubicBezTo>
                <a:cubicBezTo>
                  <a:pt x="14562" y="14531"/>
                  <a:pt x="14531" y="14531"/>
                  <a:pt x="14500" y="14593"/>
                </a:cubicBezTo>
                <a:close/>
                <a:moveTo>
                  <a:pt x="14531" y="3312"/>
                </a:moveTo>
                <a:cubicBezTo>
                  <a:pt x="14531" y="3250"/>
                  <a:pt x="14531" y="3187"/>
                  <a:pt x="14500" y="3093"/>
                </a:cubicBezTo>
                <a:cubicBezTo>
                  <a:pt x="14500" y="3187"/>
                  <a:pt x="14500" y="3250"/>
                  <a:pt x="14531" y="3312"/>
                </a:cubicBezTo>
                <a:close/>
                <a:moveTo>
                  <a:pt x="17718" y="16750"/>
                </a:moveTo>
                <a:cubicBezTo>
                  <a:pt x="17656" y="16781"/>
                  <a:pt x="17593" y="16812"/>
                  <a:pt x="17562" y="16875"/>
                </a:cubicBezTo>
                <a:cubicBezTo>
                  <a:pt x="17625" y="16843"/>
                  <a:pt x="17687" y="16812"/>
                  <a:pt x="17718" y="16750"/>
                </a:cubicBezTo>
                <a:close/>
                <a:moveTo>
                  <a:pt x="21156" y="8406"/>
                </a:moveTo>
                <a:cubicBezTo>
                  <a:pt x="21250" y="8406"/>
                  <a:pt x="21312" y="8375"/>
                  <a:pt x="21406" y="8375"/>
                </a:cubicBezTo>
                <a:cubicBezTo>
                  <a:pt x="21312" y="8343"/>
                  <a:pt x="21250" y="8406"/>
                  <a:pt x="21156" y="8406"/>
                </a:cubicBezTo>
                <a:close/>
                <a:moveTo>
                  <a:pt x="17593" y="11750"/>
                </a:moveTo>
                <a:cubicBezTo>
                  <a:pt x="17500" y="11781"/>
                  <a:pt x="17500" y="11781"/>
                  <a:pt x="17468" y="11875"/>
                </a:cubicBezTo>
                <a:cubicBezTo>
                  <a:pt x="17500" y="11843"/>
                  <a:pt x="17562" y="11812"/>
                  <a:pt x="17593" y="11750"/>
                </a:cubicBezTo>
                <a:close/>
                <a:moveTo>
                  <a:pt x="9406" y="18781"/>
                </a:moveTo>
                <a:cubicBezTo>
                  <a:pt x="9343" y="18781"/>
                  <a:pt x="9312" y="18812"/>
                  <a:pt x="9281" y="18875"/>
                </a:cubicBezTo>
                <a:cubicBezTo>
                  <a:pt x="9281" y="18875"/>
                  <a:pt x="9312" y="18906"/>
                  <a:pt x="9343" y="18906"/>
                </a:cubicBezTo>
                <a:cubicBezTo>
                  <a:pt x="9375" y="18875"/>
                  <a:pt x="9406" y="18843"/>
                  <a:pt x="9406" y="18812"/>
                </a:cubicBezTo>
                <a:cubicBezTo>
                  <a:pt x="9437" y="18781"/>
                  <a:pt x="9406" y="18781"/>
                  <a:pt x="9406" y="18781"/>
                </a:cubicBezTo>
                <a:close/>
                <a:moveTo>
                  <a:pt x="12531" y="16218"/>
                </a:moveTo>
                <a:cubicBezTo>
                  <a:pt x="12593" y="16187"/>
                  <a:pt x="12656" y="16125"/>
                  <a:pt x="12687" y="16093"/>
                </a:cubicBezTo>
                <a:cubicBezTo>
                  <a:pt x="12625" y="16125"/>
                  <a:pt x="12562" y="16125"/>
                  <a:pt x="12531" y="16218"/>
                </a:cubicBezTo>
                <a:close/>
                <a:moveTo>
                  <a:pt x="11625" y="16906"/>
                </a:moveTo>
                <a:cubicBezTo>
                  <a:pt x="11625" y="16906"/>
                  <a:pt x="11625" y="16906"/>
                  <a:pt x="11625" y="16937"/>
                </a:cubicBezTo>
                <a:cubicBezTo>
                  <a:pt x="11625" y="16937"/>
                  <a:pt x="11593" y="16937"/>
                  <a:pt x="11593" y="16937"/>
                </a:cubicBezTo>
                <a:cubicBezTo>
                  <a:pt x="11468" y="17031"/>
                  <a:pt x="11343" y="17125"/>
                  <a:pt x="11218" y="17218"/>
                </a:cubicBezTo>
                <a:cubicBezTo>
                  <a:pt x="11187" y="17250"/>
                  <a:pt x="11187" y="17250"/>
                  <a:pt x="11218" y="17281"/>
                </a:cubicBezTo>
                <a:cubicBezTo>
                  <a:pt x="11218" y="17281"/>
                  <a:pt x="11250" y="17281"/>
                  <a:pt x="11250" y="17250"/>
                </a:cubicBezTo>
                <a:cubicBezTo>
                  <a:pt x="11312" y="17187"/>
                  <a:pt x="11406" y="17156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125"/>
                  <a:pt x="11468" y="17125"/>
                </a:cubicBezTo>
                <a:cubicBezTo>
                  <a:pt x="11468" y="17156"/>
                  <a:pt x="11468" y="17156"/>
                  <a:pt x="11468" y="17156"/>
                </a:cubicBezTo>
                <a:cubicBezTo>
                  <a:pt x="11500" y="17187"/>
                  <a:pt x="11500" y="17187"/>
                  <a:pt x="11531" y="17187"/>
                </a:cubicBezTo>
                <a:cubicBezTo>
                  <a:pt x="11562" y="17187"/>
                  <a:pt x="11562" y="17156"/>
                  <a:pt x="11593" y="17156"/>
                </a:cubicBezTo>
                <a:cubicBezTo>
                  <a:pt x="11593" y="17125"/>
                  <a:pt x="11562" y="17125"/>
                  <a:pt x="11562" y="17125"/>
                </a:cubicBezTo>
                <a:cubicBezTo>
                  <a:pt x="11562" y="17125"/>
                  <a:pt x="11562" y="17125"/>
                  <a:pt x="11562" y="17125"/>
                </a:cubicBezTo>
                <a:cubicBezTo>
                  <a:pt x="11562" y="17093"/>
                  <a:pt x="11562" y="17062"/>
                  <a:pt x="11562" y="17062"/>
                </a:cubicBezTo>
                <a:cubicBezTo>
                  <a:pt x="11531" y="17062"/>
                  <a:pt x="11531" y="17062"/>
                  <a:pt x="11531" y="17062"/>
                </a:cubicBezTo>
                <a:cubicBezTo>
                  <a:pt x="11500" y="17062"/>
                  <a:pt x="11500" y="17062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62"/>
                  <a:pt x="11468" y="17062"/>
                  <a:pt x="11468" y="17062"/>
                </a:cubicBezTo>
                <a:cubicBezTo>
                  <a:pt x="11531" y="17000"/>
                  <a:pt x="11593" y="17000"/>
                  <a:pt x="11625" y="16937"/>
                </a:cubicBezTo>
                <a:cubicBezTo>
                  <a:pt x="11656" y="16906"/>
                  <a:pt x="11687" y="16906"/>
                  <a:pt x="11718" y="16875"/>
                </a:cubicBezTo>
                <a:cubicBezTo>
                  <a:pt x="11750" y="16875"/>
                  <a:pt x="11781" y="16843"/>
                  <a:pt x="11781" y="16812"/>
                </a:cubicBezTo>
                <a:cubicBezTo>
                  <a:pt x="11718" y="16812"/>
                  <a:pt x="11687" y="16843"/>
                  <a:pt x="11625" y="16906"/>
                </a:cubicBezTo>
                <a:close/>
                <a:moveTo>
                  <a:pt x="3812" y="6968"/>
                </a:moveTo>
                <a:cubicBezTo>
                  <a:pt x="3812" y="6937"/>
                  <a:pt x="3843" y="6906"/>
                  <a:pt x="3843" y="6843"/>
                </a:cubicBezTo>
                <a:cubicBezTo>
                  <a:pt x="3781" y="6875"/>
                  <a:pt x="3781" y="6937"/>
                  <a:pt x="3781" y="6968"/>
                </a:cubicBezTo>
                <a:cubicBezTo>
                  <a:pt x="3750" y="7000"/>
                  <a:pt x="3718" y="7000"/>
                  <a:pt x="3750" y="7062"/>
                </a:cubicBezTo>
                <a:cubicBezTo>
                  <a:pt x="3781" y="7031"/>
                  <a:pt x="3781" y="7000"/>
                  <a:pt x="3781" y="6968"/>
                </a:cubicBezTo>
                <a:cubicBezTo>
                  <a:pt x="3781" y="6968"/>
                  <a:pt x="3781" y="6968"/>
                  <a:pt x="3812" y="6968"/>
                </a:cubicBezTo>
                <a:close/>
                <a:moveTo>
                  <a:pt x="14625" y="3250"/>
                </a:moveTo>
                <a:cubicBezTo>
                  <a:pt x="14593" y="3250"/>
                  <a:pt x="14593" y="3250"/>
                  <a:pt x="14593" y="3250"/>
                </a:cubicBezTo>
                <a:cubicBezTo>
                  <a:pt x="14562" y="3375"/>
                  <a:pt x="14593" y="3468"/>
                  <a:pt x="14625" y="3593"/>
                </a:cubicBezTo>
                <a:cubicBezTo>
                  <a:pt x="14625" y="3468"/>
                  <a:pt x="14625" y="3375"/>
                  <a:pt x="14625" y="3250"/>
                </a:cubicBezTo>
                <a:close/>
                <a:moveTo>
                  <a:pt x="17093" y="15593"/>
                </a:moveTo>
                <a:cubicBezTo>
                  <a:pt x="17156" y="15531"/>
                  <a:pt x="17250" y="15468"/>
                  <a:pt x="17312" y="15406"/>
                </a:cubicBezTo>
                <a:cubicBezTo>
                  <a:pt x="17218" y="15437"/>
                  <a:pt x="17156" y="15500"/>
                  <a:pt x="17093" y="15593"/>
                </a:cubicBezTo>
                <a:close/>
                <a:moveTo>
                  <a:pt x="12437" y="16468"/>
                </a:moveTo>
                <a:cubicBezTo>
                  <a:pt x="12406" y="16468"/>
                  <a:pt x="12375" y="16500"/>
                  <a:pt x="12375" y="16500"/>
                </a:cubicBezTo>
                <a:cubicBezTo>
                  <a:pt x="12281" y="16562"/>
                  <a:pt x="12218" y="16593"/>
                  <a:pt x="12187" y="16656"/>
                </a:cubicBezTo>
                <a:cubicBezTo>
                  <a:pt x="12156" y="16687"/>
                  <a:pt x="12093" y="16718"/>
                  <a:pt x="12062" y="16718"/>
                </a:cubicBezTo>
                <a:cubicBezTo>
                  <a:pt x="12031" y="16750"/>
                  <a:pt x="12000" y="16781"/>
                  <a:pt x="12000" y="16812"/>
                </a:cubicBezTo>
                <a:cubicBezTo>
                  <a:pt x="12062" y="16812"/>
                  <a:pt x="12156" y="16750"/>
                  <a:pt x="12187" y="16656"/>
                </a:cubicBezTo>
                <a:cubicBezTo>
                  <a:pt x="12187" y="16656"/>
                  <a:pt x="12218" y="16656"/>
                  <a:pt x="12218" y="16656"/>
                </a:cubicBezTo>
                <a:cubicBezTo>
                  <a:pt x="12343" y="16593"/>
                  <a:pt x="12406" y="16500"/>
                  <a:pt x="12500" y="16406"/>
                </a:cubicBezTo>
                <a:cubicBezTo>
                  <a:pt x="12500" y="16406"/>
                  <a:pt x="12500" y="16406"/>
                  <a:pt x="12500" y="16406"/>
                </a:cubicBezTo>
                <a:cubicBezTo>
                  <a:pt x="12531" y="16406"/>
                  <a:pt x="12562" y="16406"/>
                  <a:pt x="12562" y="16375"/>
                </a:cubicBezTo>
                <a:cubicBezTo>
                  <a:pt x="12562" y="16375"/>
                  <a:pt x="12562" y="16375"/>
                  <a:pt x="12562" y="16375"/>
                </a:cubicBezTo>
                <a:cubicBezTo>
                  <a:pt x="12531" y="16375"/>
                  <a:pt x="12531" y="16406"/>
                  <a:pt x="12500" y="16406"/>
                </a:cubicBezTo>
                <a:cubicBezTo>
                  <a:pt x="12468" y="16437"/>
                  <a:pt x="12437" y="16437"/>
                  <a:pt x="12437" y="16468"/>
                </a:cubicBezTo>
                <a:close/>
                <a:moveTo>
                  <a:pt x="7781" y="20500"/>
                </a:moveTo>
                <a:cubicBezTo>
                  <a:pt x="7781" y="20500"/>
                  <a:pt x="7781" y="20531"/>
                  <a:pt x="7781" y="20531"/>
                </a:cubicBezTo>
                <a:cubicBezTo>
                  <a:pt x="7781" y="20562"/>
                  <a:pt x="7812" y="20562"/>
                  <a:pt x="7812" y="20531"/>
                </a:cubicBezTo>
                <a:cubicBezTo>
                  <a:pt x="7875" y="20500"/>
                  <a:pt x="7937" y="20437"/>
                  <a:pt x="7968" y="20406"/>
                </a:cubicBezTo>
                <a:cubicBezTo>
                  <a:pt x="7968" y="20375"/>
                  <a:pt x="7968" y="20375"/>
                  <a:pt x="7968" y="20375"/>
                </a:cubicBezTo>
                <a:cubicBezTo>
                  <a:pt x="7937" y="20406"/>
                  <a:pt x="7875" y="20406"/>
                  <a:pt x="7843" y="20437"/>
                </a:cubicBezTo>
                <a:cubicBezTo>
                  <a:pt x="7812" y="20468"/>
                  <a:pt x="7781" y="20468"/>
                  <a:pt x="7781" y="20500"/>
                </a:cubicBezTo>
                <a:close/>
                <a:moveTo>
                  <a:pt x="15187" y="18562"/>
                </a:moveTo>
                <a:cubicBezTo>
                  <a:pt x="15312" y="18593"/>
                  <a:pt x="15437" y="18593"/>
                  <a:pt x="15562" y="18531"/>
                </a:cubicBezTo>
                <a:cubicBezTo>
                  <a:pt x="15437" y="18500"/>
                  <a:pt x="15343" y="18531"/>
                  <a:pt x="15250" y="18468"/>
                </a:cubicBezTo>
                <a:cubicBezTo>
                  <a:pt x="15250" y="18531"/>
                  <a:pt x="15281" y="18531"/>
                  <a:pt x="15281" y="18531"/>
                </a:cubicBezTo>
                <a:cubicBezTo>
                  <a:pt x="15250" y="18562"/>
                  <a:pt x="15218" y="18562"/>
                  <a:pt x="15187" y="18562"/>
                </a:cubicBezTo>
                <a:close/>
                <a:moveTo>
                  <a:pt x="16437" y="15718"/>
                </a:moveTo>
                <a:cubicBezTo>
                  <a:pt x="16437" y="15718"/>
                  <a:pt x="16500" y="15718"/>
                  <a:pt x="16531" y="15718"/>
                </a:cubicBezTo>
                <a:cubicBezTo>
                  <a:pt x="16531" y="15718"/>
                  <a:pt x="16593" y="15687"/>
                  <a:pt x="16593" y="15656"/>
                </a:cubicBezTo>
                <a:cubicBezTo>
                  <a:pt x="16562" y="15656"/>
                  <a:pt x="16562" y="15625"/>
                  <a:pt x="16562" y="15625"/>
                </a:cubicBezTo>
                <a:cubicBezTo>
                  <a:pt x="16593" y="15625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62"/>
                  <a:pt x="16656" y="15562"/>
                </a:cubicBezTo>
                <a:cubicBezTo>
                  <a:pt x="16625" y="15562"/>
                  <a:pt x="16625" y="15562"/>
                  <a:pt x="16625" y="15562"/>
                </a:cubicBezTo>
                <a:cubicBezTo>
                  <a:pt x="16625" y="15562"/>
                  <a:pt x="16625" y="15562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593" y="15593"/>
                  <a:pt x="16562" y="15593"/>
                  <a:pt x="16531" y="15593"/>
                </a:cubicBezTo>
                <a:cubicBezTo>
                  <a:pt x="16468" y="15593"/>
                  <a:pt x="16468" y="15625"/>
                  <a:pt x="16468" y="15656"/>
                </a:cubicBezTo>
                <a:cubicBezTo>
                  <a:pt x="16468" y="15656"/>
                  <a:pt x="16468" y="15687"/>
                  <a:pt x="16468" y="15687"/>
                </a:cubicBezTo>
                <a:cubicBezTo>
                  <a:pt x="16468" y="15687"/>
                  <a:pt x="16406" y="15687"/>
                  <a:pt x="16437" y="15718"/>
                </a:cubicBezTo>
                <a:close/>
                <a:moveTo>
                  <a:pt x="15468" y="19625"/>
                </a:moveTo>
                <a:cubicBezTo>
                  <a:pt x="15343" y="19625"/>
                  <a:pt x="15187" y="19625"/>
                  <a:pt x="15062" y="19656"/>
                </a:cubicBezTo>
                <a:cubicBezTo>
                  <a:pt x="15187" y="19718"/>
                  <a:pt x="15343" y="19656"/>
                  <a:pt x="15468" y="19625"/>
                </a:cubicBezTo>
                <a:close/>
                <a:moveTo>
                  <a:pt x="6156" y="2656"/>
                </a:moveTo>
                <a:cubicBezTo>
                  <a:pt x="6250" y="2562"/>
                  <a:pt x="6343" y="2468"/>
                  <a:pt x="6437" y="2406"/>
                </a:cubicBezTo>
                <a:cubicBezTo>
                  <a:pt x="6437" y="2375"/>
                  <a:pt x="6437" y="2375"/>
                  <a:pt x="6437" y="2375"/>
                </a:cubicBezTo>
                <a:cubicBezTo>
                  <a:pt x="6500" y="2312"/>
                  <a:pt x="6562" y="2281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56" y="2218"/>
                  <a:pt x="6656" y="2187"/>
                </a:cubicBezTo>
                <a:cubicBezTo>
                  <a:pt x="6656" y="2187"/>
                  <a:pt x="6656" y="2187"/>
                  <a:pt x="6656" y="2187"/>
                </a:cubicBezTo>
                <a:cubicBezTo>
                  <a:pt x="6718" y="2125"/>
                  <a:pt x="6781" y="2093"/>
                  <a:pt x="6843" y="2031"/>
                </a:cubicBezTo>
                <a:cubicBezTo>
                  <a:pt x="6906" y="1968"/>
                  <a:pt x="7000" y="1937"/>
                  <a:pt x="7062" y="1843"/>
                </a:cubicBezTo>
                <a:cubicBezTo>
                  <a:pt x="7062" y="1843"/>
                  <a:pt x="7062" y="1843"/>
                  <a:pt x="7062" y="1843"/>
                </a:cubicBezTo>
                <a:cubicBezTo>
                  <a:pt x="7062" y="1843"/>
                  <a:pt x="7062" y="1843"/>
                  <a:pt x="7062" y="1843"/>
                </a:cubicBezTo>
                <a:cubicBezTo>
                  <a:pt x="7062" y="1843"/>
                  <a:pt x="7062" y="1843"/>
                  <a:pt x="7062" y="1843"/>
                </a:cubicBezTo>
                <a:cubicBezTo>
                  <a:pt x="7093" y="1843"/>
                  <a:pt x="7125" y="1843"/>
                  <a:pt x="7125" y="1781"/>
                </a:cubicBezTo>
                <a:cubicBezTo>
                  <a:pt x="7093" y="1781"/>
                  <a:pt x="7062" y="1812"/>
                  <a:pt x="7031" y="1843"/>
                </a:cubicBezTo>
                <a:cubicBezTo>
                  <a:pt x="6937" y="1906"/>
                  <a:pt x="6875" y="1968"/>
                  <a:pt x="6781" y="2031"/>
                </a:cubicBezTo>
                <a:cubicBezTo>
                  <a:pt x="6718" y="2093"/>
                  <a:pt x="6656" y="2125"/>
                  <a:pt x="6625" y="2218"/>
                </a:cubicBezTo>
                <a:cubicBezTo>
                  <a:pt x="6593" y="2218"/>
                  <a:pt x="6593" y="2218"/>
                  <a:pt x="6562" y="2218"/>
                </a:cubicBezTo>
                <a:cubicBezTo>
                  <a:pt x="6468" y="2312"/>
                  <a:pt x="6343" y="2437"/>
                  <a:pt x="6218" y="2531"/>
                </a:cubicBezTo>
                <a:cubicBezTo>
                  <a:pt x="6187" y="2593"/>
                  <a:pt x="6125" y="2625"/>
                  <a:pt x="6093" y="2656"/>
                </a:cubicBezTo>
                <a:cubicBezTo>
                  <a:pt x="6125" y="2687"/>
                  <a:pt x="6156" y="2656"/>
                  <a:pt x="6156" y="2656"/>
                </a:cubicBezTo>
                <a:close/>
                <a:moveTo>
                  <a:pt x="12031" y="15593"/>
                </a:moveTo>
                <a:cubicBezTo>
                  <a:pt x="12000" y="15625"/>
                  <a:pt x="11968" y="15656"/>
                  <a:pt x="11906" y="15687"/>
                </a:cubicBezTo>
                <a:cubicBezTo>
                  <a:pt x="11906" y="15687"/>
                  <a:pt x="11875" y="15687"/>
                  <a:pt x="11906" y="15718"/>
                </a:cubicBezTo>
                <a:cubicBezTo>
                  <a:pt x="11906" y="15750"/>
                  <a:pt x="11937" y="15750"/>
                  <a:pt x="11937" y="15718"/>
                </a:cubicBezTo>
                <a:cubicBezTo>
                  <a:pt x="12031" y="15687"/>
                  <a:pt x="12125" y="15625"/>
                  <a:pt x="12187" y="15531"/>
                </a:cubicBezTo>
                <a:cubicBezTo>
                  <a:pt x="12125" y="15500"/>
                  <a:pt x="12062" y="15500"/>
                  <a:pt x="12031" y="15593"/>
                </a:cubicBezTo>
                <a:close/>
                <a:moveTo>
                  <a:pt x="10687" y="19156"/>
                </a:moveTo>
                <a:cubicBezTo>
                  <a:pt x="10625" y="19187"/>
                  <a:pt x="10562" y="19250"/>
                  <a:pt x="10531" y="19312"/>
                </a:cubicBezTo>
                <a:cubicBezTo>
                  <a:pt x="10531" y="19312"/>
                  <a:pt x="10531" y="19312"/>
                  <a:pt x="10531" y="19312"/>
                </a:cubicBezTo>
                <a:cubicBezTo>
                  <a:pt x="10500" y="19312"/>
                  <a:pt x="10500" y="19312"/>
                  <a:pt x="10500" y="19312"/>
                </a:cubicBezTo>
                <a:cubicBezTo>
                  <a:pt x="10031" y="19750"/>
                  <a:pt x="9562" y="20187"/>
                  <a:pt x="9093" y="20625"/>
                </a:cubicBezTo>
                <a:cubicBezTo>
                  <a:pt x="8625" y="21031"/>
                  <a:pt x="8156" y="21468"/>
                  <a:pt x="7687" y="21875"/>
                </a:cubicBezTo>
                <a:cubicBezTo>
                  <a:pt x="7625" y="21906"/>
                  <a:pt x="7593" y="21937"/>
                  <a:pt x="7562" y="21968"/>
                </a:cubicBezTo>
                <a:cubicBezTo>
                  <a:pt x="7468" y="22062"/>
                  <a:pt x="7343" y="22156"/>
                  <a:pt x="7218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50"/>
                  <a:pt x="7218" y="22250"/>
                  <a:pt x="7187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81"/>
                  <a:pt x="7250" y="22281"/>
                  <a:pt x="7250" y="22250"/>
                </a:cubicBezTo>
                <a:cubicBezTo>
                  <a:pt x="7437" y="22187"/>
                  <a:pt x="7625" y="22093"/>
                  <a:pt x="7812" y="21937"/>
                </a:cubicBezTo>
                <a:cubicBezTo>
                  <a:pt x="8125" y="21687"/>
                  <a:pt x="8437" y="21406"/>
                  <a:pt x="8718" y="21125"/>
                </a:cubicBezTo>
                <a:cubicBezTo>
                  <a:pt x="9218" y="20625"/>
                  <a:pt x="9718" y="20125"/>
                  <a:pt x="10218" y="19625"/>
                </a:cubicBezTo>
                <a:cubicBezTo>
                  <a:pt x="10312" y="19562"/>
                  <a:pt x="10406" y="19468"/>
                  <a:pt x="10468" y="19406"/>
                </a:cubicBezTo>
                <a:cubicBezTo>
                  <a:pt x="10500" y="19375"/>
                  <a:pt x="10531" y="19343"/>
                  <a:pt x="10531" y="19312"/>
                </a:cubicBezTo>
                <a:cubicBezTo>
                  <a:pt x="10593" y="19281"/>
                  <a:pt x="10625" y="19250"/>
                  <a:pt x="10656" y="19218"/>
                </a:cubicBezTo>
                <a:cubicBezTo>
                  <a:pt x="10781" y="19093"/>
                  <a:pt x="10875" y="18968"/>
                  <a:pt x="11000" y="18875"/>
                </a:cubicBezTo>
                <a:cubicBezTo>
                  <a:pt x="10906" y="18937"/>
                  <a:pt x="10781" y="19031"/>
                  <a:pt x="10687" y="19125"/>
                </a:cubicBezTo>
                <a:cubicBezTo>
                  <a:pt x="10687" y="19125"/>
                  <a:pt x="10687" y="19156"/>
                  <a:pt x="10687" y="19156"/>
                </a:cubicBezTo>
                <a:close/>
                <a:moveTo>
                  <a:pt x="531" y="12343"/>
                </a:moveTo>
                <a:cubicBezTo>
                  <a:pt x="468" y="12343"/>
                  <a:pt x="406" y="12343"/>
                  <a:pt x="343" y="12343"/>
                </a:cubicBezTo>
                <a:cubicBezTo>
                  <a:pt x="312" y="12343"/>
                  <a:pt x="312" y="12312"/>
                  <a:pt x="312" y="12343"/>
                </a:cubicBezTo>
                <a:cubicBezTo>
                  <a:pt x="281" y="12375"/>
                  <a:pt x="312" y="12375"/>
                  <a:pt x="343" y="12375"/>
                </a:cubicBezTo>
                <a:cubicBezTo>
                  <a:pt x="562" y="12375"/>
                  <a:pt x="781" y="12406"/>
                  <a:pt x="1000" y="12312"/>
                </a:cubicBezTo>
                <a:cubicBezTo>
                  <a:pt x="843" y="12343"/>
                  <a:pt x="687" y="12343"/>
                  <a:pt x="531" y="12343"/>
                </a:cubicBezTo>
                <a:close/>
                <a:moveTo>
                  <a:pt x="19250" y="9000"/>
                </a:moveTo>
                <a:cubicBezTo>
                  <a:pt x="18968" y="9093"/>
                  <a:pt x="18718" y="9250"/>
                  <a:pt x="18468" y="9343"/>
                </a:cubicBezTo>
                <a:cubicBezTo>
                  <a:pt x="18750" y="9250"/>
                  <a:pt x="19000" y="9125"/>
                  <a:pt x="19250" y="9000"/>
                </a:cubicBezTo>
                <a:close/>
                <a:moveTo>
                  <a:pt x="11968" y="18031"/>
                </a:moveTo>
                <a:cubicBezTo>
                  <a:pt x="11906" y="18031"/>
                  <a:pt x="11843" y="18062"/>
                  <a:pt x="11812" y="18125"/>
                </a:cubicBezTo>
                <a:cubicBezTo>
                  <a:pt x="12000" y="18156"/>
                  <a:pt x="12156" y="18093"/>
                  <a:pt x="12343" y="18031"/>
                </a:cubicBezTo>
                <a:cubicBezTo>
                  <a:pt x="12218" y="18062"/>
                  <a:pt x="12093" y="18093"/>
                  <a:pt x="11968" y="18031"/>
                </a:cubicBezTo>
                <a:close/>
                <a:moveTo>
                  <a:pt x="20406" y="8562"/>
                </a:moveTo>
                <a:cubicBezTo>
                  <a:pt x="20125" y="8656"/>
                  <a:pt x="19843" y="8750"/>
                  <a:pt x="19562" y="8875"/>
                </a:cubicBezTo>
                <a:cubicBezTo>
                  <a:pt x="19843" y="8812"/>
                  <a:pt x="20125" y="8687"/>
                  <a:pt x="20406" y="8562"/>
                </a:cubicBezTo>
                <a:close/>
                <a:moveTo>
                  <a:pt x="11781" y="17093"/>
                </a:moveTo>
                <a:cubicBezTo>
                  <a:pt x="11750" y="17093"/>
                  <a:pt x="11718" y="17062"/>
                  <a:pt x="11718" y="17093"/>
                </a:cubicBezTo>
                <a:cubicBezTo>
                  <a:pt x="11593" y="17187"/>
                  <a:pt x="11468" y="17281"/>
                  <a:pt x="11343" y="17406"/>
                </a:cubicBezTo>
                <a:cubicBezTo>
                  <a:pt x="11437" y="17375"/>
                  <a:pt x="11406" y="17406"/>
                  <a:pt x="11406" y="17437"/>
                </a:cubicBezTo>
                <a:cubicBezTo>
                  <a:pt x="11375" y="17468"/>
                  <a:pt x="11375" y="17468"/>
                  <a:pt x="11343" y="17500"/>
                </a:cubicBezTo>
                <a:cubicBezTo>
                  <a:pt x="11343" y="17500"/>
                  <a:pt x="11312" y="17531"/>
                  <a:pt x="11312" y="17531"/>
                </a:cubicBezTo>
                <a:cubicBezTo>
                  <a:pt x="11312" y="17531"/>
                  <a:pt x="11312" y="17531"/>
                  <a:pt x="11312" y="17531"/>
                </a:cubicBezTo>
                <a:cubicBezTo>
                  <a:pt x="11312" y="17531"/>
                  <a:pt x="11312" y="17531"/>
                  <a:pt x="11312" y="17531"/>
                </a:cubicBezTo>
                <a:cubicBezTo>
                  <a:pt x="11281" y="17531"/>
                  <a:pt x="11281" y="17531"/>
                  <a:pt x="11281" y="17562"/>
                </a:cubicBezTo>
                <a:cubicBezTo>
                  <a:pt x="11250" y="17562"/>
                  <a:pt x="11250" y="17562"/>
                  <a:pt x="11250" y="17562"/>
                </a:cubicBezTo>
                <a:cubicBezTo>
                  <a:pt x="11218" y="17593"/>
                  <a:pt x="11218" y="17625"/>
                  <a:pt x="11187" y="17656"/>
                </a:cubicBezTo>
                <a:cubicBezTo>
                  <a:pt x="11125" y="17656"/>
                  <a:pt x="11093" y="17718"/>
                  <a:pt x="11062" y="17750"/>
                </a:cubicBezTo>
                <a:cubicBezTo>
                  <a:pt x="11062" y="17750"/>
                  <a:pt x="11062" y="17750"/>
                  <a:pt x="11062" y="17750"/>
                </a:cubicBezTo>
                <a:cubicBezTo>
                  <a:pt x="11062" y="17750"/>
                  <a:pt x="11062" y="17750"/>
                  <a:pt x="11062" y="17750"/>
                </a:cubicBezTo>
                <a:cubicBezTo>
                  <a:pt x="11125" y="17750"/>
                  <a:pt x="11156" y="17687"/>
                  <a:pt x="11187" y="17656"/>
                </a:cubicBezTo>
                <a:cubicBezTo>
                  <a:pt x="11218" y="17625"/>
                  <a:pt x="11281" y="17625"/>
                  <a:pt x="11281" y="17593"/>
                </a:cubicBezTo>
                <a:cubicBezTo>
                  <a:pt x="11312" y="17562"/>
                  <a:pt x="11312" y="17562"/>
                  <a:pt x="11312" y="17531"/>
                </a:cubicBezTo>
                <a:cubicBezTo>
                  <a:pt x="11406" y="17531"/>
                  <a:pt x="11468" y="17437"/>
                  <a:pt x="11531" y="17406"/>
                </a:cubicBezTo>
                <a:cubicBezTo>
                  <a:pt x="11593" y="17343"/>
                  <a:pt x="11687" y="17281"/>
                  <a:pt x="11750" y="17218"/>
                </a:cubicBezTo>
                <a:cubicBezTo>
                  <a:pt x="11781" y="17187"/>
                  <a:pt x="11781" y="17125"/>
                  <a:pt x="11781" y="17093"/>
                </a:cubicBezTo>
                <a:close/>
                <a:moveTo>
                  <a:pt x="12812" y="16312"/>
                </a:moveTo>
                <a:cubicBezTo>
                  <a:pt x="12781" y="16343"/>
                  <a:pt x="12718" y="16375"/>
                  <a:pt x="12687" y="16406"/>
                </a:cubicBezTo>
                <a:cubicBezTo>
                  <a:pt x="12531" y="16531"/>
                  <a:pt x="12375" y="16656"/>
                  <a:pt x="12218" y="16781"/>
                </a:cubicBezTo>
                <a:cubicBezTo>
                  <a:pt x="12156" y="16812"/>
                  <a:pt x="12125" y="16875"/>
                  <a:pt x="12093" y="16937"/>
                </a:cubicBezTo>
                <a:cubicBezTo>
                  <a:pt x="12125" y="16937"/>
                  <a:pt x="12125" y="16906"/>
                  <a:pt x="12156" y="16906"/>
                </a:cubicBezTo>
                <a:cubicBezTo>
                  <a:pt x="12281" y="16812"/>
                  <a:pt x="12375" y="16718"/>
                  <a:pt x="12500" y="16625"/>
                </a:cubicBezTo>
                <a:cubicBezTo>
                  <a:pt x="12781" y="16406"/>
                  <a:pt x="13093" y="16156"/>
                  <a:pt x="13375" y="15937"/>
                </a:cubicBezTo>
                <a:cubicBezTo>
                  <a:pt x="13500" y="15812"/>
                  <a:pt x="13625" y="15718"/>
                  <a:pt x="13750" y="15593"/>
                </a:cubicBezTo>
                <a:cubicBezTo>
                  <a:pt x="13812" y="15562"/>
                  <a:pt x="13812" y="15531"/>
                  <a:pt x="13781" y="15500"/>
                </a:cubicBezTo>
                <a:cubicBezTo>
                  <a:pt x="13750" y="15468"/>
                  <a:pt x="13718" y="15500"/>
                  <a:pt x="13687" y="15531"/>
                </a:cubicBezTo>
                <a:cubicBezTo>
                  <a:pt x="13656" y="15531"/>
                  <a:pt x="13656" y="15562"/>
                  <a:pt x="13625" y="15593"/>
                </a:cubicBezTo>
                <a:cubicBezTo>
                  <a:pt x="13625" y="15687"/>
                  <a:pt x="13531" y="15750"/>
                  <a:pt x="13500" y="15718"/>
                </a:cubicBezTo>
                <a:cubicBezTo>
                  <a:pt x="13500" y="15718"/>
                  <a:pt x="13468" y="15718"/>
                  <a:pt x="13468" y="15718"/>
                </a:cubicBezTo>
                <a:cubicBezTo>
                  <a:pt x="13500" y="15687"/>
                  <a:pt x="13500" y="15687"/>
                  <a:pt x="13531" y="15656"/>
                </a:cubicBezTo>
                <a:cubicBezTo>
                  <a:pt x="13531" y="15656"/>
                  <a:pt x="13531" y="15656"/>
                  <a:pt x="13531" y="15656"/>
                </a:cubicBezTo>
                <a:cubicBezTo>
                  <a:pt x="13562" y="15625"/>
                  <a:pt x="13562" y="15593"/>
                  <a:pt x="13562" y="15593"/>
                </a:cubicBezTo>
                <a:cubicBezTo>
                  <a:pt x="13531" y="15562"/>
                  <a:pt x="13531" y="15593"/>
                  <a:pt x="13500" y="15593"/>
                </a:cubicBezTo>
                <a:cubicBezTo>
                  <a:pt x="13500" y="15593"/>
                  <a:pt x="13468" y="15625"/>
                  <a:pt x="13468" y="15625"/>
                </a:cubicBezTo>
                <a:cubicBezTo>
                  <a:pt x="13437" y="15625"/>
                  <a:pt x="13437" y="15593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406" y="15562"/>
                  <a:pt x="13406" y="15562"/>
                  <a:pt x="13406" y="15562"/>
                </a:cubicBezTo>
                <a:cubicBezTo>
                  <a:pt x="13437" y="15531"/>
                  <a:pt x="13437" y="15531"/>
                  <a:pt x="13437" y="15500"/>
                </a:cubicBezTo>
                <a:cubicBezTo>
                  <a:pt x="13375" y="15531"/>
                  <a:pt x="13312" y="15562"/>
                  <a:pt x="13312" y="15625"/>
                </a:cubicBezTo>
                <a:cubicBezTo>
                  <a:pt x="13343" y="15593"/>
                  <a:pt x="13375" y="15562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312" y="15750"/>
                  <a:pt x="13156" y="15875"/>
                  <a:pt x="13000" y="15968"/>
                </a:cubicBezTo>
                <a:cubicBezTo>
                  <a:pt x="12968" y="16000"/>
                  <a:pt x="12968" y="16062"/>
                  <a:pt x="12937" y="16062"/>
                </a:cubicBezTo>
                <a:cubicBezTo>
                  <a:pt x="12812" y="16031"/>
                  <a:pt x="12812" y="16156"/>
                  <a:pt x="12750" y="16187"/>
                </a:cubicBezTo>
                <a:cubicBezTo>
                  <a:pt x="12781" y="16218"/>
                  <a:pt x="12843" y="16187"/>
                  <a:pt x="12843" y="16218"/>
                </a:cubicBezTo>
                <a:cubicBezTo>
                  <a:pt x="12875" y="16281"/>
                  <a:pt x="12812" y="16281"/>
                  <a:pt x="12812" y="16312"/>
                </a:cubicBezTo>
                <a:close/>
                <a:moveTo>
                  <a:pt x="20906" y="11093"/>
                </a:moveTo>
                <a:cubicBezTo>
                  <a:pt x="20906" y="11093"/>
                  <a:pt x="20906" y="11093"/>
                  <a:pt x="20906" y="11093"/>
                </a:cubicBezTo>
                <a:cubicBezTo>
                  <a:pt x="20656" y="11156"/>
                  <a:pt x="20468" y="11218"/>
                  <a:pt x="20250" y="11343"/>
                </a:cubicBezTo>
                <a:cubicBezTo>
                  <a:pt x="20062" y="11437"/>
                  <a:pt x="19843" y="11531"/>
                  <a:pt x="19625" y="11656"/>
                </a:cubicBezTo>
                <a:cubicBezTo>
                  <a:pt x="19406" y="11812"/>
                  <a:pt x="19156" y="11937"/>
                  <a:pt x="18906" y="12093"/>
                </a:cubicBezTo>
                <a:cubicBezTo>
                  <a:pt x="18562" y="12343"/>
                  <a:pt x="18187" y="12593"/>
                  <a:pt x="17812" y="12843"/>
                </a:cubicBezTo>
                <a:cubicBezTo>
                  <a:pt x="17312" y="13187"/>
                  <a:pt x="16843" y="13562"/>
                  <a:pt x="16343" y="13937"/>
                </a:cubicBezTo>
                <a:cubicBezTo>
                  <a:pt x="16281" y="14000"/>
                  <a:pt x="16187" y="14093"/>
                  <a:pt x="16093" y="14156"/>
                </a:cubicBezTo>
                <a:cubicBezTo>
                  <a:pt x="16062" y="14187"/>
                  <a:pt x="16031" y="14218"/>
                  <a:pt x="16000" y="14250"/>
                </a:cubicBezTo>
                <a:cubicBezTo>
                  <a:pt x="16000" y="14250"/>
                  <a:pt x="16000" y="14250"/>
                  <a:pt x="16000" y="14250"/>
                </a:cubicBezTo>
                <a:cubicBezTo>
                  <a:pt x="16000" y="14250"/>
                  <a:pt x="16000" y="14281"/>
                  <a:pt x="16000" y="14281"/>
                </a:cubicBezTo>
                <a:cubicBezTo>
                  <a:pt x="16000" y="14281"/>
                  <a:pt x="16000" y="14281"/>
                  <a:pt x="16000" y="14281"/>
                </a:cubicBezTo>
                <a:cubicBezTo>
                  <a:pt x="16031" y="14281"/>
                  <a:pt x="16000" y="14281"/>
                  <a:pt x="16000" y="14250"/>
                </a:cubicBezTo>
                <a:cubicBezTo>
                  <a:pt x="16031" y="14250"/>
                  <a:pt x="16062" y="14250"/>
                  <a:pt x="16093" y="14218"/>
                </a:cubicBezTo>
                <a:cubicBezTo>
                  <a:pt x="16187" y="14156"/>
                  <a:pt x="16281" y="14062"/>
                  <a:pt x="16406" y="13968"/>
                </a:cubicBezTo>
                <a:cubicBezTo>
                  <a:pt x="16687" y="13750"/>
                  <a:pt x="16968" y="13562"/>
                  <a:pt x="17250" y="13343"/>
                </a:cubicBezTo>
                <a:cubicBezTo>
                  <a:pt x="17625" y="13062"/>
                  <a:pt x="17968" y="12781"/>
                  <a:pt x="18343" y="12531"/>
                </a:cubicBezTo>
                <a:cubicBezTo>
                  <a:pt x="18562" y="12375"/>
                  <a:pt x="18781" y="12250"/>
                  <a:pt x="18968" y="12093"/>
                </a:cubicBezTo>
                <a:cubicBezTo>
                  <a:pt x="19187" y="11968"/>
                  <a:pt x="19375" y="11843"/>
                  <a:pt x="19593" y="11718"/>
                </a:cubicBezTo>
                <a:cubicBezTo>
                  <a:pt x="19625" y="11687"/>
                  <a:pt x="19656" y="11687"/>
                  <a:pt x="19687" y="11750"/>
                </a:cubicBezTo>
                <a:cubicBezTo>
                  <a:pt x="19750" y="11812"/>
                  <a:pt x="19843" y="11812"/>
                  <a:pt x="19875" y="11781"/>
                </a:cubicBezTo>
                <a:cubicBezTo>
                  <a:pt x="19937" y="11687"/>
                  <a:pt x="20031" y="11625"/>
                  <a:pt x="20031" y="11531"/>
                </a:cubicBezTo>
                <a:cubicBezTo>
                  <a:pt x="20062" y="11500"/>
                  <a:pt x="20031" y="11500"/>
                  <a:pt x="20062" y="11468"/>
                </a:cubicBezTo>
                <a:cubicBezTo>
                  <a:pt x="20125" y="11406"/>
                  <a:pt x="20218" y="11375"/>
                  <a:pt x="20312" y="11343"/>
                </a:cubicBezTo>
                <a:cubicBezTo>
                  <a:pt x="20343" y="11375"/>
                  <a:pt x="20406" y="11343"/>
                  <a:pt x="20437" y="11375"/>
                </a:cubicBezTo>
                <a:cubicBezTo>
                  <a:pt x="20562" y="11375"/>
                  <a:pt x="20593" y="11437"/>
                  <a:pt x="20531" y="11562"/>
                </a:cubicBezTo>
                <a:cubicBezTo>
                  <a:pt x="20468" y="11656"/>
                  <a:pt x="20406" y="11718"/>
                  <a:pt x="20312" y="11781"/>
                </a:cubicBezTo>
                <a:cubicBezTo>
                  <a:pt x="20375" y="11781"/>
                  <a:pt x="20406" y="11750"/>
                  <a:pt x="20437" y="11750"/>
                </a:cubicBezTo>
                <a:cubicBezTo>
                  <a:pt x="20468" y="11718"/>
                  <a:pt x="20468" y="11718"/>
                  <a:pt x="20500" y="11750"/>
                </a:cubicBezTo>
                <a:cubicBezTo>
                  <a:pt x="20531" y="11812"/>
                  <a:pt x="20625" y="11812"/>
                  <a:pt x="20656" y="11781"/>
                </a:cubicBezTo>
                <a:cubicBezTo>
                  <a:pt x="20656" y="11750"/>
                  <a:pt x="20656" y="11750"/>
                  <a:pt x="20687" y="11718"/>
                </a:cubicBezTo>
                <a:cubicBezTo>
                  <a:pt x="20718" y="11687"/>
                  <a:pt x="20781" y="11718"/>
                  <a:pt x="20812" y="11718"/>
                </a:cubicBezTo>
                <a:cubicBezTo>
                  <a:pt x="20843" y="11718"/>
                  <a:pt x="20875" y="11718"/>
                  <a:pt x="20906" y="11687"/>
                </a:cubicBezTo>
                <a:cubicBezTo>
                  <a:pt x="20906" y="11687"/>
                  <a:pt x="20906" y="11687"/>
                  <a:pt x="20906" y="11687"/>
                </a:cubicBezTo>
                <a:cubicBezTo>
                  <a:pt x="21000" y="11625"/>
                  <a:pt x="21093" y="11531"/>
                  <a:pt x="21156" y="11406"/>
                </a:cubicBezTo>
                <a:cubicBezTo>
                  <a:pt x="21187" y="11343"/>
                  <a:pt x="21218" y="11250"/>
                  <a:pt x="21156" y="11156"/>
                </a:cubicBezTo>
                <a:cubicBezTo>
                  <a:pt x="21125" y="11062"/>
                  <a:pt x="21000" y="11093"/>
                  <a:pt x="20906" y="11093"/>
                </a:cubicBezTo>
                <a:close/>
                <a:moveTo>
                  <a:pt x="18625" y="16812"/>
                </a:moveTo>
                <a:cubicBezTo>
                  <a:pt x="18593" y="16843"/>
                  <a:pt x="18562" y="16875"/>
                  <a:pt x="18531" y="16906"/>
                </a:cubicBezTo>
                <a:cubicBezTo>
                  <a:pt x="18218" y="17250"/>
                  <a:pt x="17875" y="17562"/>
                  <a:pt x="17500" y="17875"/>
                </a:cubicBezTo>
                <a:cubicBezTo>
                  <a:pt x="17281" y="18062"/>
                  <a:pt x="17031" y="18250"/>
                  <a:pt x="16781" y="18406"/>
                </a:cubicBezTo>
                <a:cubicBezTo>
                  <a:pt x="16531" y="18625"/>
                  <a:pt x="16218" y="18781"/>
                  <a:pt x="15906" y="18875"/>
                </a:cubicBezTo>
                <a:cubicBezTo>
                  <a:pt x="15812" y="18906"/>
                  <a:pt x="15687" y="18968"/>
                  <a:pt x="15562" y="18968"/>
                </a:cubicBezTo>
                <a:cubicBezTo>
                  <a:pt x="15593" y="18906"/>
                  <a:pt x="15625" y="18875"/>
                  <a:pt x="15687" y="18875"/>
                </a:cubicBezTo>
                <a:cubicBezTo>
                  <a:pt x="15687" y="18875"/>
                  <a:pt x="15687" y="18875"/>
                  <a:pt x="15687" y="18843"/>
                </a:cubicBezTo>
                <a:cubicBezTo>
                  <a:pt x="15687" y="18843"/>
                  <a:pt x="15656" y="18843"/>
                  <a:pt x="15656" y="18843"/>
                </a:cubicBezTo>
                <a:cubicBezTo>
                  <a:pt x="15718" y="18843"/>
                  <a:pt x="15812" y="18843"/>
                  <a:pt x="15875" y="18781"/>
                </a:cubicBezTo>
                <a:cubicBezTo>
                  <a:pt x="15875" y="18781"/>
                  <a:pt x="15906" y="18781"/>
                  <a:pt x="15937" y="18781"/>
                </a:cubicBezTo>
                <a:cubicBezTo>
                  <a:pt x="15968" y="18781"/>
                  <a:pt x="15968" y="18781"/>
                  <a:pt x="15968" y="18781"/>
                </a:cubicBezTo>
                <a:cubicBezTo>
                  <a:pt x="16000" y="18781"/>
                  <a:pt x="16031" y="18781"/>
                  <a:pt x="16031" y="18781"/>
                </a:cubicBezTo>
                <a:cubicBezTo>
                  <a:pt x="16156" y="18718"/>
                  <a:pt x="16281" y="18656"/>
                  <a:pt x="16375" y="18625"/>
                </a:cubicBezTo>
                <a:cubicBezTo>
                  <a:pt x="16625" y="18500"/>
                  <a:pt x="16812" y="18343"/>
                  <a:pt x="17031" y="18187"/>
                </a:cubicBezTo>
                <a:cubicBezTo>
                  <a:pt x="17062" y="18187"/>
                  <a:pt x="17062" y="18156"/>
                  <a:pt x="17093" y="18125"/>
                </a:cubicBezTo>
                <a:cubicBezTo>
                  <a:pt x="17156" y="18093"/>
                  <a:pt x="17187" y="18062"/>
                  <a:pt x="17218" y="18000"/>
                </a:cubicBezTo>
                <a:cubicBezTo>
                  <a:pt x="17218" y="18000"/>
                  <a:pt x="17218" y="18000"/>
                  <a:pt x="17218" y="18000"/>
                </a:cubicBezTo>
                <a:cubicBezTo>
                  <a:pt x="17218" y="18000"/>
                  <a:pt x="17218" y="18000"/>
                  <a:pt x="17218" y="18000"/>
                </a:cubicBezTo>
                <a:cubicBezTo>
                  <a:pt x="17218" y="18000"/>
                  <a:pt x="17218" y="18000"/>
                  <a:pt x="17187" y="18000"/>
                </a:cubicBezTo>
                <a:cubicBezTo>
                  <a:pt x="17187" y="18000"/>
                  <a:pt x="17156" y="18031"/>
                  <a:pt x="17156" y="18000"/>
                </a:cubicBezTo>
                <a:cubicBezTo>
                  <a:pt x="17156" y="18000"/>
                  <a:pt x="17156" y="18000"/>
                  <a:pt x="17187" y="17968"/>
                </a:cubicBezTo>
                <a:cubicBezTo>
                  <a:pt x="17187" y="17968"/>
                  <a:pt x="17218" y="17937"/>
                  <a:pt x="17250" y="17906"/>
                </a:cubicBezTo>
                <a:cubicBezTo>
                  <a:pt x="17250" y="17906"/>
                  <a:pt x="17250" y="17906"/>
                  <a:pt x="17250" y="17906"/>
                </a:cubicBezTo>
                <a:cubicBezTo>
                  <a:pt x="17281" y="17906"/>
                  <a:pt x="17281" y="17906"/>
                  <a:pt x="17281" y="17875"/>
                </a:cubicBezTo>
                <a:cubicBezTo>
                  <a:pt x="17281" y="17875"/>
                  <a:pt x="17281" y="17875"/>
                  <a:pt x="17312" y="17843"/>
                </a:cubicBezTo>
                <a:cubicBezTo>
                  <a:pt x="17250" y="17875"/>
                  <a:pt x="17250" y="17875"/>
                  <a:pt x="17218" y="17906"/>
                </a:cubicBezTo>
                <a:cubicBezTo>
                  <a:pt x="17187" y="17906"/>
                  <a:pt x="17156" y="17937"/>
                  <a:pt x="17156" y="17937"/>
                </a:cubicBezTo>
                <a:cubicBezTo>
                  <a:pt x="17125" y="17968"/>
                  <a:pt x="17093" y="17968"/>
                  <a:pt x="17093" y="17937"/>
                </a:cubicBezTo>
                <a:cubicBezTo>
                  <a:pt x="17125" y="17875"/>
                  <a:pt x="17062" y="17906"/>
                  <a:pt x="17062" y="17906"/>
                </a:cubicBezTo>
                <a:cubicBezTo>
                  <a:pt x="17000" y="17937"/>
                  <a:pt x="16968" y="18000"/>
                  <a:pt x="16906" y="18000"/>
                </a:cubicBezTo>
                <a:cubicBezTo>
                  <a:pt x="16843" y="18000"/>
                  <a:pt x="16812" y="18000"/>
                  <a:pt x="16781" y="18031"/>
                </a:cubicBezTo>
                <a:cubicBezTo>
                  <a:pt x="16593" y="18156"/>
                  <a:pt x="16406" y="18250"/>
                  <a:pt x="16218" y="18343"/>
                </a:cubicBezTo>
                <a:cubicBezTo>
                  <a:pt x="16187" y="18343"/>
                  <a:pt x="16156" y="18343"/>
                  <a:pt x="16187" y="18375"/>
                </a:cubicBezTo>
                <a:cubicBezTo>
                  <a:pt x="16187" y="18375"/>
                  <a:pt x="16187" y="18375"/>
                  <a:pt x="16187" y="18406"/>
                </a:cubicBezTo>
                <a:cubicBezTo>
                  <a:pt x="16187" y="18406"/>
                  <a:pt x="16187" y="18406"/>
                  <a:pt x="16187" y="18406"/>
                </a:cubicBezTo>
                <a:cubicBezTo>
                  <a:pt x="16156" y="18437"/>
                  <a:pt x="16125" y="18500"/>
                  <a:pt x="16093" y="18500"/>
                </a:cubicBezTo>
                <a:cubicBezTo>
                  <a:pt x="16062" y="18531"/>
                  <a:pt x="16031" y="18531"/>
                  <a:pt x="16031" y="18531"/>
                </a:cubicBezTo>
                <a:cubicBezTo>
                  <a:pt x="16000" y="18531"/>
                  <a:pt x="16000" y="18531"/>
                  <a:pt x="16000" y="18562"/>
                </a:cubicBezTo>
                <a:cubicBezTo>
                  <a:pt x="16000" y="18562"/>
                  <a:pt x="15968" y="18562"/>
                  <a:pt x="16000" y="18593"/>
                </a:cubicBezTo>
                <a:cubicBezTo>
                  <a:pt x="16000" y="18593"/>
                  <a:pt x="16000" y="18593"/>
                  <a:pt x="16031" y="18593"/>
                </a:cubicBezTo>
                <a:cubicBezTo>
                  <a:pt x="16093" y="18593"/>
                  <a:pt x="16156" y="18593"/>
                  <a:pt x="16218" y="18562"/>
                </a:cubicBezTo>
                <a:cubicBezTo>
                  <a:pt x="16250" y="18531"/>
                  <a:pt x="16312" y="18500"/>
                  <a:pt x="16375" y="18468"/>
                </a:cubicBezTo>
                <a:cubicBezTo>
                  <a:pt x="16406" y="18468"/>
                  <a:pt x="16406" y="18468"/>
                  <a:pt x="16437" y="18500"/>
                </a:cubicBezTo>
                <a:cubicBezTo>
                  <a:pt x="16437" y="18500"/>
                  <a:pt x="16406" y="18531"/>
                  <a:pt x="16406" y="18531"/>
                </a:cubicBezTo>
                <a:cubicBezTo>
                  <a:pt x="16312" y="18562"/>
                  <a:pt x="16250" y="18593"/>
                  <a:pt x="16156" y="18656"/>
                </a:cubicBezTo>
                <a:cubicBezTo>
                  <a:pt x="16125" y="18656"/>
                  <a:pt x="16093" y="18656"/>
                  <a:pt x="16093" y="18687"/>
                </a:cubicBezTo>
                <a:cubicBezTo>
                  <a:pt x="16000" y="18687"/>
                  <a:pt x="15937" y="18718"/>
                  <a:pt x="15843" y="18781"/>
                </a:cubicBezTo>
                <a:cubicBezTo>
                  <a:pt x="15843" y="18781"/>
                  <a:pt x="15843" y="18781"/>
                  <a:pt x="15843" y="18781"/>
                </a:cubicBezTo>
                <a:cubicBezTo>
                  <a:pt x="15781" y="18781"/>
                  <a:pt x="15718" y="18781"/>
                  <a:pt x="15656" y="18843"/>
                </a:cubicBezTo>
                <a:cubicBezTo>
                  <a:pt x="15656" y="18843"/>
                  <a:pt x="15625" y="18843"/>
                  <a:pt x="15625" y="18843"/>
                </a:cubicBezTo>
                <a:cubicBezTo>
                  <a:pt x="15593" y="18843"/>
                  <a:pt x="15593" y="18843"/>
                  <a:pt x="15562" y="18843"/>
                </a:cubicBezTo>
                <a:cubicBezTo>
                  <a:pt x="15687" y="18750"/>
                  <a:pt x="15812" y="18718"/>
                  <a:pt x="15906" y="18656"/>
                </a:cubicBezTo>
                <a:cubicBezTo>
                  <a:pt x="15937" y="18625"/>
                  <a:pt x="15968" y="18625"/>
                  <a:pt x="15968" y="18593"/>
                </a:cubicBezTo>
                <a:cubicBezTo>
                  <a:pt x="15937" y="18562"/>
                  <a:pt x="15906" y="18593"/>
                  <a:pt x="15906" y="18593"/>
                </a:cubicBezTo>
                <a:cubicBezTo>
                  <a:pt x="15812" y="18625"/>
                  <a:pt x="15750" y="18656"/>
                  <a:pt x="15656" y="18687"/>
                </a:cubicBezTo>
                <a:cubicBezTo>
                  <a:pt x="15593" y="18718"/>
                  <a:pt x="15500" y="18656"/>
                  <a:pt x="15437" y="18718"/>
                </a:cubicBezTo>
                <a:cubicBezTo>
                  <a:pt x="15406" y="18718"/>
                  <a:pt x="15375" y="18718"/>
                  <a:pt x="15375" y="18687"/>
                </a:cubicBezTo>
                <a:cubicBezTo>
                  <a:pt x="15375" y="18656"/>
                  <a:pt x="15375" y="18625"/>
                  <a:pt x="15406" y="18625"/>
                </a:cubicBezTo>
                <a:cubicBezTo>
                  <a:pt x="15343" y="18625"/>
                  <a:pt x="15281" y="18625"/>
                  <a:pt x="15218" y="18625"/>
                </a:cubicBezTo>
                <a:cubicBezTo>
                  <a:pt x="15156" y="18625"/>
                  <a:pt x="15125" y="18593"/>
                  <a:pt x="15125" y="18531"/>
                </a:cubicBezTo>
                <a:cubicBezTo>
                  <a:pt x="15125" y="18500"/>
                  <a:pt x="15187" y="18562"/>
                  <a:pt x="15187" y="18500"/>
                </a:cubicBezTo>
                <a:cubicBezTo>
                  <a:pt x="15125" y="18468"/>
                  <a:pt x="15062" y="18562"/>
                  <a:pt x="15000" y="18468"/>
                </a:cubicBezTo>
                <a:cubicBezTo>
                  <a:pt x="15125" y="18437"/>
                  <a:pt x="15218" y="18437"/>
                  <a:pt x="15312" y="18437"/>
                </a:cubicBezTo>
                <a:cubicBezTo>
                  <a:pt x="15312" y="18437"/>
                  <a:pt x="15312" y="18437"/>
                  <a:pt x="15312" y="18437"/>
                </a:cubicBezTo>
                <a:cubicBezTo>
                  <a:pt x="15250" y="18437"/>
                  <a:pt x="15156" y="18437"/>
                  <a:pt x="15093" y="18437"/>
                </a:cubicBezTo>
                <a:cubicBezTo>
                  <a:pt x="15093" y="18406"/>
                  <a:pt x="15093" y="18406"/>
                  <a:pt x="15093" y="18406"/>
                </a:cubicBezTo>
                <a:cubicBezTo>
                  <a:pt x="15125" y="18406"/>
                  <a:pt x="15156" y="18406"/>
                  <a:pt x="15218" y="18406"/>
                </a:cubicBezTo>
                <a:cubicBezTo>
                  <a:pt x="15093" y="18375"/>
                  <a:pt x="15000" y="18406"/>
                  <a:pt x="14875" y="18312"/>
                </a:cubicBezTo>
                <a:cubicBezTo>
                  <a:pt x="15000" y="18312"/>
                  <a:pt x="15125" y="18312"/>
                  <a:pt x="15250" y="18312"/>
                </a:cubicBezTo>
                <a:cubicBezTo>
                  <a:pt x="15250" y="18281"/>
                  <a:pt x="15218" y="18312"/>
                  <a:pt x="15187" y="18281"/>
                </a:cubicBezTo>
                <a:cubicBezTo>
                  <a:pt x="15250" y="18250"/>
                  <a:pt x="15312" y="18250"/>
                  <a:pt x="15375" y="18218"/>
                </a:cubicBezTo>
                <a:cubicBezTo>
                  <a:pt x="15343" y="18218"/>
                  <a:pt x="15312" y="18218"/>
                  <a:pt x="15250" y="18218"/>
                </a:cubicBezTo>
                <a:cubicBezTo>
                  <a:pt x="15343" y="18156"/>
                  <a:pt x="15437" y="18156"/>
                  <a:pt x="15500" y="18156"/>
                </a:cubicBezTo>
                <a:cubicBezTo>
                  <a:pt x="15593" y="18125"/>
                  <a:pt x="15625" y="18062"/>
                  <a:pt x="15718" y="18093"/>
                </a:cubicBezTo>
                <a:cubicBezTo>
                  <a:pt x="15718" y="18093"/>
                  <a:pt x="15718" y="18062"/>
                  <a:pt x="15718" y="18062"/>
                </a:cubicBezTo>
                <a:cubicBezTo>
                  <a:pt x="15781" y="18031"/>
                  <a:pt x="15812" y="18031"/>
                  <a:pt x="15875" y="18000"/>
                </a:cubicBezTo>
                <a:cubicBezTo>
                  <a:pt x="15906" y="18000"/>
                  <a:pt x="15968" y="18031"/>
                  <a:pt x="16031" y="18000"/>
                </a:cubicBezTo>
                <a:cubicBezTo>
                  <a:pt x="16187" y="17937"/>
                  <a:pt x="16375" y="17843"/>
                  <a:pt x="16531" y="17750"/>
                </a:cubicBezTo>
                <a:cubicBezTo>
                  <a:pt x="16562" y="17718"/>
                  <a:pt x="16593" y="17656"/>
                  <a:pt x="16625" y="17656"/>
                </a:cubicBezTo>
                <a:cubicBezTo>
                  <a:pt x="16687" y="17593"/>
                  <a:pt x="16781" y="17625"/>
                  <a:pt x="16812" y="17531"/>
                </a:cubicBezTo>
                <a:cubicBezTo>
                  <a:pt x="16812" y="17500"/>
                  <a:pt x="16812" y="17500"/>
                  <a:pt x="16812" y="17500"/>
                </a:cubicBezTo>
                <a:cubicBezTo>
                  <a:pt x="16937" y="17468"/>
                  <a:pt x="17000" y="17406"/>
                  <a:pt x="17062" y="17343"/>
                </a:cubicBezTo>
                <a:cubicBezTo>
                  <a:pt x="17156" y="17281"/>
                  <a:pt x="17281" y="17187"/>
                  <a:pt x="17375" y="17125"/>
                </a:cubicBezTo>
                <a:cubicBezTo>
                  <a:pt x="17437" y="17093"/>
                  <a:pt x="17500" y="17062"/>
                  <a:pt x="17562" y="16968"/>
                </a:cubicBezTo>
                <a:cubicBezTo>
                  <a:pt x="17468" y="17000"/>
                  <a:pt x="17437" y="17062"/>
                  <a:pt x="17375" y="17062"/>
                </a:cubicBezTo>
                <a:cubicBezTo>
                  <a:pt x="17375" y="17031"/>
                  <a:pt x="17375" y="17031"/>
                  <a:pt x="17375" y="17031"/>
                </a:cubicBezTo>
                <a:cubicBezTo>
                  <a:pt x="17343" y="17031"/>
                  <a:pt x="17343" y="17031"/>
                  <a:pt x="17343" y="17031"/>
                </a:cubicBezTo>
                <a:cubicBezTo>
                  <a:pt x="17312" y="17031"/>
                  <a:pt x="17281" y="17000"/>
                  <a:pt x="17281" y="17031"/>
                </a:cubicBezTo>
                <a:cubicBezTo>
                  <a:pt x="17250" y="17031"/>
                  <a:pt x="17250" y="17031"/>
                  <a:pt x="17218" y="17062"/>
                </a:cubicBezTo>
                <a:cubicBezTo>
                  <a:pt x="17187" y="17093"/>
                  <a:pt x="17156" y="17031"/>
                  <a:pt x="17125" y="17062"/>
                </a:cubicBezTo>
                <a:cubicBezTo>
                  <a:pt x="17125" y="17062"/>
                  <a:pt x="17125" y="17062"/>
                  <a:pt x="17125" y="17062"/>
                </a:cubicBezTo>
                <a:cubicBezTo>
                  <a:pt x="17125" y="17062"/>
                  <a:pt x="17125" y="17062"/>
                  <a:pt x="17125" y="17062"/>
                </a:cubicBezTo>
                <a:cubicBezTo>
                  <a:pt x="17125" y="17031"/>
                  <a:pt x="17125" y="17031"/>
                  <a:pt x="17125" y="17031"/>
                </a:cubicBezTo>
                <a:cubicBezTo>
                  <a:pt x="17125" y="17031"/>
                  <a:pt x="17156" y="17031"/>
                  <a:pt x="17156" y="17031"/>
                </a:cubicBezTo>
                <a:cubicBezTo>
                  <a:pt x="17156" y="17031"/>
                  <a:pt x="17156" y="17031"/>
                  <a:pt x="17125" y="17031"/>
                </a:cubicBezTo>
                <a:cubicBezTo>
                  <a:pt x="17125" y="17031"/>
                  <a:pt x="17125" y="17031"/>
                  <a:pt x="17125" y="17031"/>
                </a:cubicBezTo>
                <a:cubicBezTo>
                  <a:pt x="17093" y="17031"/>
                  <a:pt x="17062" y="17031"/>
                  <a:pt x="17031" y="17062"/>
                </a:cubicBezTo>
                <a:cubicBezTo>
                  <a:pt x="17000" y="17156"/>
                  <a:pt x="16906" y="17187"/>
                  <a:pt x="16843" y="17218"/>
                </a:cubicBezTo>
                <a:cubicBezTo>
                  <a:pt x="16812" y="17250"/>
                  <a:pt x="16781" y="17250"/>
                  <a:pt x="16750" y="17281"/>
                </a:cubicBezTo>
                <a:cubicBezTo>
                  <a:pt x="16718" y="17312"/>
                  <a:pt x="16687" y="17312"/>
                  <a:pt x="16656" y="17343"/>
                </a:cubicBezTo>
                <a:cubicBezTo>
                  <a:pt x="16625" y="17343"/>
                  <a:pt x="16625" y="17343"/>
                  <a:pt x="16593" y="17343"/>
                </a:cubicBezTo>
                <a:cubicBezTo>
                  <a:pt x="16593" y="17343"/>
                  <a:pt x="16593" y="17343"/>
                  <a:pt x="16562" y="17343"/>
                </a:cubicBezTo>
                <a:cubicBezTo>
                  <a:pt x="16812" y="17218"/>
                  <a:pt x="17062" y="17031"/>
                  <a:pt x="17281" y="16812"/>
                </a:cubicBezTo>
                <a:cubicBezTo>
                  <a:pt x="17781" y="16250"/>
                  <a:pt x="16093" y="17250"/>
                  <a:pt x="16843" y="16593"/>
                </a:cubicBezTo>
                <a:cubicBezTo>
                  <a:pt x="17562" y="15937"/>
                  <a:pt x="16656" y="16343"/>
                  <a:pt x="16937" y="16156"/>
                </a:cubicBezTo>
                <a:cubicBezTo>
                  <a:pt x="17156" y="16062"/>
                  <a:pt x="17312" y="15937"/>
                  <a:pt x="17500" y="15812"/>
                </a:cubicBezTo>
                <a:cubicBezTo>
                  <a:pt x="17500" y="15812"/>
                  <a:pt x="17500" y="15812"/>
                  <a:pt x="17531" y="15812"/>
                </a:cubicBezTo>
                <a:cubicBezTo>
                  <a:pt x="17531" y="15781"/>
                  <a:pt x="17562" y="15781"/>
                  <a:pt x="17562" y="15750"/>
                </a:cubicBezTo>
                <a:cubicBezTo>
                  <a:pt x="17562" y="15750"/>
                  <a:pt x="17562" y="15750"/>
                  <a:pt x="17562" y="15750"/>
                </a:cubicBezTo>
                <a:cubicBezTo>
                  <a:pt x="17562" y="15750"/>
                  <a:pt x="17562" y="15750"/>
                  <a:pt x="17562" y="15750"/>
                </a:cubicBezTo>
                <a:cubicBezTo>
                  <a:pt x="17562" y="15750"/>
                  <a:pt x="17562" y="15750"/>
                  <a:pt x="17562" y="15750"/>
                </a:cubicBezTo>
                <a:cubicBezTo>
                  <a:pt x="17562" y="15750"/>
                  <a:pt x="17562" y="15718"/>
                  <a:pt x="17562" y="15718"/>
                </a:cubicBezTo>
                <a:cubicBezTo>
                  <a:pt x="17562" y="15718"/>
                  <a:pt x="17562" y="15750"/>
                  <a:pt x="17562" y="15750"/>
                </a:cubicBezTo>
                <a:cubicBezTo>
                  <a:pt x="17406" y="15843"/>
                  <a:pt x="17250" y="15937"/>
                  <a:pt x="17093" y="16031"/>
                </a:cubicBezTo>
                <a:cubicBezTo>
                  <a:pt x="17031" y="16062"/>
                  <a:pt x="16968" y="16093"/>
                  <a:pt x="16906" y="16125"/>
                </a:cubicBezTo>
                <a:cubicBezTo>
                  <a:pt x="16843" y="16125"/>
                  <a:pt x="16687" y="16156"/>
                  <a:pt x="16531" y="16187"/>
                </a:cubicBezTo>
                <a:cubicBezTo>
                  <a:pt x="16656" y="16125"/>
                  <a:pt x="16781" y="16062"/>
                  <a:pt x="16906" y="16000"/>
                </a:cubicBezTo>
                <a:cubicBezTo>
                  <a:pt x="16906" y="15968"/>
                  <a:pt x="16937" y="15968"/>
                  <a:pt x="16937" y="15968"/>
                </a:cubicBezTo>
                <a:cubicBezTo>
                  <a:pt x="17031" y="15937"/>
                  <a:pt x="17125" y="15906"/>
                  <a:pt x="17156" y="15812"/>
                </a:cubicBezTo>
                <a:cubicBezTo>
                  <a:pt x="17156" y="15812"/>
                  <a:pt x="17156" y="15812"/>
                  <a:pt x="17156" y="15812"/>
                </a:cubicBezTo>
                <a:cubicBezTo>
                  <a:pt x="17218" y="15781"/>
                  <a:pt x="17312" y="15750"/>
                  <a:pt x="17375" y="15687"/>
                </a:cubicBezTo>
                <a:cubicBezTo>
                  <a:pt x="17437" y="15656"/>
                  <a:pt x="17500" y="15593"/>
                  <a:pt x="17531" y="15531"/>
                </a:cubicBezTo>
                <a:cubicBezTo>
                  <a:pt x="17406" y="15625"/>
                  <a:pt x="17281" y="15687"/>
                  <a:pt x="17156" y="15812"/>
                </a:cubicBezTo>
                <a:cubicBezTo>
                  <a:pt x="17031" y="15875"/>
                  <a:pt x="16906" y="15937"/>
                  <a:pt x="16750" y="16031"/>
                </a:cubicBezTo>
                <a:cubicBezTo>
                  <a:pt x="16593" y="16125"/>
                  <a:pt x="16406" y="16187"/>
                  <a:pt x="16250" y="16281"/>
                </a:cubicBezTo>
                <a:cubicBezTo>
                  <a:pt x="16156" y="16281"/>
                  <a:pt x="16093" y="16312"/>
                  <a:pt x="16000" y="16343"/>
                </a:cubicBezTo>
                <a:cubicBezTo>
                  <a:pt x="16000" y="16312"/>
                  <a:pt x="16031" y="16312"/>
                  <a:pt x="16062" y="16312"/>
                </a:cubicBezTo>
                <a:cubicBezTo>
                  <a:pt x="16156" y="16218"/>
                  <a:pt x="16250" y="16156"/>
                  <a:pt x="16343" y="16093"/>
                </a:cubicBezTo>
                <a:cubicBezTo>
                  <a:pt x="16312" y="16062"/>
                  <a:pt x="16250" y="16093"/>
                  <a:pt x="16218" y="16093"/>
                </a:cubicBezTo>
                <a:cubicBezTo>
                  <a:pt x="16468" y="15906"/>
                  <a:pt x="16781" y="15812"/>
                  <a:pt x="17062" y="15593"/>
                </a:cubicBezTo>
                <a:cubicBezTo>
                  <a:pt x="17031" y="15593"/>
                  <a:pt x="17031" y="15593"/>
                  <a:pt x="17031" y="15593"/>
                </a:cubicBezTo>
                <a:cubicBezTo>
                  <a:pt x="16875" y="15687"/>
                  <a:pt x="16750" y="15750"/>
                  <a:pt x="16625" y="15812"/>
                </a:cubicBezTo>
                <a:cubicBezTo>
                  <a:pt x="16406" y="15937"/>
                  <a:pt x="16218" y="16031"/>
                  <a:pt x="16031" y="16125"/>
                </a:cubicBezTo>
                <a:cubicBezTo>
                  <a:pt x="16031" y="16093"/>
                  <a:pt x="16000" y="16093"/>
                  <a:pt x="16000" y="16093"/>
                </a:cubicBezTo>
                <a:cubicBezTo>
                  <a:pt x="16000" y="16062"/>
                  <a:pt x="16000" y="16031"/>
                  <a:pt x="16031" y="16031"/>
                </a:cubicBezTo>
                <a:cubicBezTo>
                  <a:pt x="16031" y="16031"/>
                  <a:pt x="16031" y="16031"/>
                  <a:pt x="16031" y="16031"/>
                </a:cubicBezTo>
                <a:cubicBezTo>
                  <a:pt x="16062" y="16000"/>
                  <a:pt x="16062" y="16000"/>
                  <a:pt x="16062" y="16031"/>
                </a:cubicBezTo>
                <a:cubicBezTo>
                  <a:pt x="16125" y="16031"/>
                  <a:pt x="16156" y="16000"/>
                  <a:pt x="16156" y="16000"/>
                </a:cubicBezTo>
                <a:cubicBezTo>
                  <a:pt x="16187" y="15937"/>
                  <a:pt x="16218" y="15937"/>
                  <a:pt x="16250" y="15906"/>
                </a:cubicBezTo>
                <a:cubicBezTo>
                  <a:pt x="16281" y="15843"/>
                  <a:pt x="16343" y="15812"/>
                  <a:pt x="16375" y="15750"/>
                </a:cubicBezTo>
                <a:cubicBezTo>
                  <a:pt x="16281" y="15812"/>
                  <a:pt x="16156" y="15750"/>
                  <a:pt x="16062" y="15812"/>
                </a:cubicBezTo>
                <a:cubicBezTo>
                  <a:pt x="16062" y="15812"/>
                  <a:pt x="16031" y="15843"/>
                  <a:pt x="16000" y="15812"/>
                </a:cubicBezTo>
                <a:cubicBezTo>
                  <a:pt x="16000" y="15781"/>
                  <a:pt x="16031" y="15781"/>
                  <a:pt x="16031" y="15750"/>
                </a:cubicBezTo>
                <a:cubicBezTo>
                  <a:pt x="16031" y="15750"/>
                  <a:pt x="16062" y="15750"/>
                  <a:pt x="16031" y="15718"/>
                </a:cubicBezTo>
                <a:cubicBezTo>
                  <a:pt x="15656" y="16000"/>
                  <a:pt x="15187" y="16031"/>
                  <a:pt x="14781" y="16250"/>
                </a:cubicBezTo>
                <a:cubicBezTo>
                  <a:pt x="14781" y="16250"/>
                  <a:pt x="14781" y="16250"/>
                  <a:pt x="14781" y="16218"/>
                </a:cubicBezTo>
                <a:cubicBezTo>
                  <a:pt x="15000" y="16093"/>
                  <a:pt x="15218" y="15968"/>
                  <a:pt x="15437" y="15843"/>
                </a:cubicBezTo>
                <a:cubicBezTo>
                  <a:pt x="15312" y="15875"/>
                  <a:pt x="15218" y="15906"/>
                  <a:pt x="15125" y="15968"/>
                </a:cubicBezTo>
                <a:cubicBezTo>
                  <a:pt x="15125" y="15968"/>
                  <a:pt x="15125" y="15968"/>
                  <a:pt x="15125" y="15968"/>
                </a:cubicBezTo>
                <a:cubicBezTo>
                  <a:pt x="15093" y="15968"/>
                  <a:pt x="15093" y="16000"/>
                  <a:pt x="15093" y="16000"/>
                </a:cubicBezTo>
                <a:cubicBezTo>
                  <a:pt x="15062" y="16000"/>
                  <a:pt x="15062" y="16000"/>
                  <a:pt x="15062" y="16000"/>
                </a:cubicBezTo>
                <a:cubicBezTo>
                  <a:pt x="15062" y="16000"/>
                  <a:pt x="15062" y="15968"/>
                  <a:pt x="15031" y="15968"/>
                </a:cubicBezTo>
                <a:cubicBezTo>
                  <a:pt x="15125" y="15906"/>
                  <a:pt x="15187" y="15812"/>
                  <a:pt x="15281" y="15718"/>
                </a:cubicBezTo>
                <a:cubicBezTo>
                  <a:pt x="15312" y="15687"/>
                  <a:pt x="15343" y="15656"/>
                  <a:pt x="15343" y="15625"/>
                </a:cubicBezTo>
                <a:cubicBezTo>
                  <a:pt x="15281" y="15625"/>
                  <a:pt x="15281" y="15687"/>
                  <a:pt x="15250" y="15687"/>
                </a:cubicBezTo>
                <a:cubicBezTo>
                  <a:pt x="15250" y="15687"/>
                  <a:pt x="15250" y="15687"/>
                  <a:pt x="15250" y="15687"/>
                </a:cubicBezTo>
                <a:cubicBezTo>
                  <a:pt x="15375" y="15531"/>
                  <a:pt x="15500" y="15343"/>
                  <a:pt x="15656" y="15187"/>
                </a:cubicBezTo>
                <a:cubicBezTo>
                  <a:pt x="15687" y="15156"/>
                  <a:pt x="15687" y="15125"/>
                  <a:pt x="15718" y="15093"/>
                </a:cubicBezTo>
                <a:cubicBezTo>
                  <a:pt x="15625" y="15093"/>
                  <a:pt x="15625" y="15156"/>
                  <a:pt x="15593" y="15187"/>
                </a:cubicBezTo>
                <a:cubicBezTo>
                  <a:pt x="15562" y="15187"/>
                  <a:pt x="15531" y="15250"/>
                  <a:pt x="15531" y="15187"/>
                </a:cubicBezTo>
                <a:cubicBezTo>
                  <a:pt x="15531" y="15125"/>
                  <a:pt x="15531" y="15156"/>
                  <a:pt x="15500" y="15156"/>
                </a:cubicBezTo>
                <a:cubicBezTo>
                  <a:pt x="15437" y="15187"/>
                  <a:pt x="15406" y="15250"/>
                  <a:pt x="15343" y="15250"/>
                </a:cubicBezTo>
                <a:cubicBezTo>
                  <a:pt x="15375" y="15156"/>
                  <a:pt x="15468" y="15093"/>
                  <a:pt x="15531" y="15031"/>
                </a:cubicBezTo>
                <a:cubicBezTo>
                  <a:pt x="15562" y="14968"/>
                  <a:pt x="15562" y="14937"/>
                  <a:pt x="15500" y="14937"/>
                </a:cubicBezTo>
                <a:cubicBezTo>
                  <a:pt x="15468" y="14937"/>
                  <a:pt x="15468" y="14937"/>
                  <a:pt x="15468" y="14937"/>
                </a:cubicBezTo>
                <a:cubicBezTo>
                  <a:pt x="15437" y="14843"/>
                  <a:pt x="15406" y="14906"/>
                  <a:pt x="15375" y="14937"/>
                </a:cubicBezTo>
                <a:cubicBezTo>
                  <a:pt x="15281" y="15000"/>
                  <a:pt x="15187" y="15125"/>
                  <a:pt x="15093" y="15218"/>
                </a:cubicBezTo>
                <a:cubicBezTo>
                  <a:pt x="14781" y="15562"/>
                  <a:pt x="14437" y="15906"/>
                  <a:pt x="14093" y="16250"/>
                </a:cubicBezTo>
                <a:cubicBezTo>
                  <a:pt x="14093" y="16281"/>
                  <a:pt x="14062" y="16281"/>
                  <a:pt x="14062" y="16312"/>
                </a:cubicBezTo>
                <a:cubicBezTo>
                  <a:pt x="14062" y="16312"/>
                  <a:pt x="14031" y="16312"/>
                  <a:pt x="14062" y="16343"/>
                </a:cubicBezTo>
                <a:cubicBezTo>
                  <a:pt x="14031" y="16406"/>
                  <a:pt x="14031" y="16500"/>
                  <a:pt x="14000" y="16562"/>
                </a:cubicBezTo>
                <a:cubicBezTo>
                  <a:pt x="14000" y="16656"/>
                  <a:pt x="14000" y="16718"/>
                  <a:pt x="14000" y="16812"/>
                </a:cubicBezTo>
                <a:cubicBezTo>
                  <a:pt x="13968" y="16718"/>
                  <a:pt x="13968" y="16656"/>
                  <a:pt x="13968" y="16562"/>
                </a:cubicBezTo>
                <a:cubicBezTo>
                  <a:pt x="13968" y="16593"/>
                  <a:pt x="13937" y="16656"/>
                  <a:pt x="13937" y="16687"/>
                </a:cubicBezTo>
                <a:cubicBezTo>
                  <a:pt x="13937" y="16687"/>
                  <a:pt x="13937" y="16687"/>
                  <a:pt x="13937" y="16687"/>
                </a:cubicBezTo>
                <a:cubicBezTo>
                  <a:pt x="13937" y="16593"/>
                  <a:pt x="13906" y="16468"/>
                  <a:pt x="13906" y="16343"/>
                </a:cubicBezTo>
                <a:cubicBezTo>
                  <a:pt x="13906" y="16343"/>
                  <a:pt x="13906" y="16343"/>
                  <a:pt x="13906" y="16343"/>
                </a:cubicBezTo>
                <a:cubicBezTo>
                  <a:pt x="13906" y="16468"/>
                  <a:pt x="13906" y="16562"/>
                  <a:pt x="13906" y="16687"/>
                </a:cubicBezTo>
                <a:cubicBezTo>
                  <a:pt x="13875" y="16562"/>
                  <a:pt x="13843" y="16468"/>
                  <a:pt x="13812" y="16343"/>
                </a:cubicBezTo>
                <a:cubicBezTo>
                  <a:pt x="13781" y="16312"/>
                  <a:pt x="13781" y="16312"/>
                  <a:pt x="13750" y="16343"/>
                </a:cubicBezTo>
                <a:cubicBezTo>
                  <a:pt x="13500" y="16562"/>
                  <a:pt x="13250" y="16781"/>
                  <a:pt x="13031" y="17000"/>
                </a:cubicBezTo>
                <a:cubicBezTo>
                  <a:pt x="13062" y="17031"/>
                  <a:pt x="13125" y="17031"/>
                  <a:pt x="13187" y="17062"/>
                </a:cubicBezTo>
                <a:cubicBezTo>
                  <a:pt x="13218" y="17093"/>
                  <a:pt x="13218" y="17093"/>
                  <a:pt x="13187" y="17156"/>
                </a:cubicBezTo>
                <a:cubicBezTo>
                  <a:pt x="12968" y="17375"/>
                  <a:pt x="12718" y="17562"/>
                  <a:pt x="12468" y="17750"/>
                </a:cubicBezTo>
                <a:cubicBezTo>
                  <a:pt x="12343" y="17812"/>
                  <a:pt x="12250" y="17875"/>
                  <a:pt x="12156" y="17968"/>
                </a:cubicBezTo>
                <a:cubicBezTo>
                  <a:pt x="12343" y="17968"/>
                  <a:pt x="12531" y="17906"/>
                  <a:pt x="12718" y="17812"/>
                </a:cubicBezTo>
                <a:cubicBezTo>
                  <a:pt x="12968" y="17718"/>
                  <a:pt x="13187" y="17562"/>
                  <a:pt x="13406" y="17406"/>
                </a:cubicBezTo>
                <a:cubicBezTo>
                  <a:pt x="13531" y="17312"/>
                  <a:pt x="13531" y="17312"/>
                  <a:pt x="13687" y="17437"/>
                </a:cubicBezTo>
                <a:cubicBezTo>
                  <a:pt x="13937" y="17625"/>
                  <a:pt x="14125" y="17875"/>
                  <a:pt x="14250" y="18156"/>
                </a:cubicBezTo>
                <a:cubicBezTo>
                  <a:pt x="14281" y="18187"/>
                  <a:pt x="14312" y="18218"/>
                  <a:pt x="14312" y="18250"/>
                </a:cubicBezTo>
                <a:cubicBezTo>
                  <a:pt x="14343" y="18375"/>
                  <a:pt x="14406" y="18468"/>
                  <a:pt x="14437" y="18562"/>
                </a:cubicBezTo>
                <a:cubicBezTo>
                  <a:pt x="14468" y="18656"/>
                  <a:pt x="14468" y="18718"/>
                  <a:pt x="14500" y="18812"/>
                </a:cubicBezTo>
                <a:cubicBezTo>
                  <a:pt x="14500" y="18843"/>
                  <a:pt x="14500" y="18875"/>
                  <a:pt x="14500" y="18906"/>
                </a:cubicBezTo>
                <a:cubicBezTo>
                  <a:pt x="14531" y="19062"/>
                  <a:pt x="14562" y="19187"/>
                  <a:pt x="14625" y="19343"/>
                </a:cubicBezTo>
                <a:cubicBezTo>
                  <a:pt x="14625" y="19343"/>
                  <a:pt x="14656" y="19375"/>
                  <a:pt x="14656" y="19343"/>
                </a:cubicBezTo>
                <a:cubicBezTo>
                  <a:pt x="14687" y="19343"/>
                  <a:pt x="14656" y="19343"/>
                  <a:pt x="14656" y="19312"/>
                </a:cubicBezTo>
                <a:cubicBezTo>
                  <a:pt x="14656" y="19281"/>
                  <a:pt x="14625" y="19281"/>
                  <a:pt x="14656" y="19250"/>
                </a:cubicBezTo>
                <a:cubicBezTo>
                  <a:pt x="14687" y="19218"/>
                  <a:pt x="14687" y="19250"/>
                  <a:pt x="14718" y="19281"/>
                </a:cubicBezTo>
                <a:cubicBezTo>
                  <a:pt x="14812" y="19343"/>
                  <a:pt x="14906" y="19406"/>
                  <a:pt x="15000" y="19406"/>
                </a:cubicBezTo>
                <a:cubicBezTo>
                  <a:pt x="15187" y="19406"/>
                  <a:pt x="15343" y="19406"/>
                  <a:pt x="15531" y="19312"/>
                </a:cubicBezTo>
                <a:cubicBezTo>
                  <a:pt x="15593" y="19250"/>
                  <a:pt x="15687" y="19218"/>
                  <a:pt x="15750" y="19187"/>
                </a:cubicBezTo>
                <a:cubicBezTo>
                  <a:pt x="15906" y="19125"/>
                  <a:pt x="16093" y="19062"/>
                  <a:pt x="16250" y="18968"/>
                </a:cubicBezTo>
                <a:cubicBezTo>
                  <a:pt x="16500" y="18843"/>
                  <a:pt x="16750" y="18656"/>
                  <a:pt x="16968" y="18468"/>
                </a:cubicBezTo>
                <a:cubicBezTo>
                  <a:pt x="17250" y="18250"/>
                  <a:pt x="17531" y="18000"/>
                  <a:pt x="17781" y="17781"/>
                </a:cubicBezTo>
                <a:cubicBezTo>
                  <a:pt x="18093" y="17500"/>
                  <a:pt x="18406" y="17187"/>
                  <a:pt x="18687" y="16875"/>
                </a:cubicBezTo>
                <a:cubicBezTo>
                  <a:pt x="18687" y="16843"/>
                  <a:pt x="18718" y="16843"/>
                  <a:pt x="18687" y="16812"/>
                </a:cubicBezTo>
                <a:cubicBezTo>
                  <a:pt x="18656" y="16812"/>
                  <a:pt x="18656" y="16812"/>
                  <a:pt x="18625" y="16812"/>
                </a:cubicBezTo>
                <a:close/>
                <a:moveTo>
                  <a:pt x="15843" y="17750"/>
                </a:moveTo>
                <a:cubicBezTo>
                  <a:pt x="15843" y="17750"/>
                  <a:pt x="15843" y="17718"/>
                  <a:pt x="15875" y="17718"/>
                </a:cubicBezTo>
                <a:cubicBezTo>
                  <a:pt x="15875" y="17750"/>
                  <a:pt x="15843" y="17750"/>
                  <a:pt x="15843" y="17750"/>
                </a:cubicBezTo>
                <a:close/>
                <a:moveTo>
                  <a:pt x="8437" y="4406"/>
                </a:move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37" y="4406"/>
                </a:cubicBezTo>
                <a:close/>
                <a:moveTo>
                  <a:pt x="5843" y="2937"/>
                </a:moveTo>
                <a:cubicBezTo>
                  <a:pt x="5843" y="2937"/>
                  <a:pt x="5843" y="2906"/>
                  <a:pt x="5843" y="2906"/>
                </a:cubicBezTo>
                <a:cubicBezTo>
                  <a:pt x="5843" y="2906"/>
                  <a:pt x="5843" y="2906"/>
                  <a:pt x="5843" y="2906"/>
                </a:cubicBezTo>
                <a:cubicBezTo>
                  <a:pt x="5875" y="2906"/>
                  <a:pt x="5875" y="2906"/>
                  <a:pt x="5875" y="2875"/>
                </a:cubicBezTo>
                <a:cubicBezTo>
                  <a:pt x="5875" y="2875"/>
                  <a:pt x="5875" y="2875"/>
                  <a:pt x="5875" y="2875"/>
                </a:cubicBezTo>
                <a:cubicBezTo>
                  <a:pt x="5875" y="2875"/>
                  <a:pt x="5875" y="2875"/>
                  <a:pt x="5843" y="2906"/>
                </a:cubicBezTo>
                <a:cubicBezTo>
                  <a:pt x="5843" y="2906"/>
                  <a:pt x="5843" y="2906"/>
                  <a:pt x="5843" y="2937"/>
                </a:cubicBezTo>
                <a:cubicBezTo>
                  <a:pt x="5781" y="2937"/>
                  <a:pt x="5750" y="2968"/>
                  <a:pt x="5718" y="3031"/>
                </a:cubicBezTo>
                <a:cubicBezTo>
                  <a:pt x="5687" y="3031"/>
                  <a:pt x="5656" y="3062"/>
                  <a:pt x="5625" y="3125"/>
                </a:cubicBezTo>
                <a:cubicBezTo>
                  <a:pt x="5625" y="3125"/>
                  <a:pt x="5593" y="3156"/>
                  <a:pt x="5593" y="3187"/>
                </a:cubicBezTo>
                <a:cubicBezTo>
                  <a:pt x="5656" y="3125"/>
                  <a:pt x="5687" y="3093"/>
                  <a:pt x="5750" y="3031"/>
                </a:cubicBezTo>
                <a:cubicBezTo>
                  <a:pt x="5781" y="3000"/>
                  <a:pt x="5812" y="2968"/>
                  <a:pt x="5843" y="293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46182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91">
            <a:extLst>
              <a:ext uri="{FF2B5EF4-FFF2-40B4-BE49-F238E27FC236}">
                <a16:creationId xmlns:a16="http://schemas.microsoft.com/office/drawing/2014/main" id="{6F6FA0D2-BA14-9244-AD17-F0A6C4FB2385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 flipH="1">
            <a:off x="5329973" y="1305010"/>
            <a:ext cx="6875869" cy="4887365"/>
          </a:xfrm>
          <a:custGeom>
            <a:avLst/>
            <a:gdLst>
              <a:gd name="T0" fmla="*/ 8094 w 25625"/>
              <a:gd name="T1" fmla="*/ 3625 h 13531"/>
              <a:gd name="T2" fmla="*/ 24781 w 25625"/>
              <a:gd name="T3" fmla="*/ 7531 h 13531"/>
              <a:gd name="T4" fmla="*/ 22313 w 25625"/>
              <a:gd name="T5" fmla="*/ 8500 h 13531"/>
              <a:gd name="T6" fmla="*/ 19500 w 25625"/>
              <a:gd name="T7" fmla="*/ 9718 h 13531"/>
              <a:gd name="T8" fmla="*/ 13219 w 25625"/>
              <a:gd name="T9" fmla="*/ 10343 h 13531"/>
              <a:gd name="T10" fmla="*/ 14594 w 25625"/>
              <a:gd name="T11" fmla="*/ 10093 h 13531"/>
              <a:gd name="T12" fmla="*/ 16938 w 25625"/>
              <a:gd name="T13" fmla="*/ 9562 h 13531"/>
              <a:gd name="T14" fmla="*/ 12281 w 25625"/>
              <a:gd name="T15" fmla="*/ 9531 h 13531"/>
              <a:gd name="T16" fmla="*/ 9750 w 25625"/>
              <a:gd name="T17" fmla="*/ 8406 h 13531"/>
              <a:gd name="T18" fmla="*/ 6688 w 25625"/>
              <a:gd name="T19" fmla="*/ 5187 h 13531"/>
              <a:gd name="T20" fmla="*/ 8969 w 25625"/>
              <a:gd name="T21" fmla="*/ 7343 h 13531"/>
              <a:gd name="T22" fmla="*/ 9844 w 25625"/>
              <a:gd name="T23" fmla="*/ 7156 h 13531"/>
              <a:gd name="T24" fmla="*/ 12438 w 25625"/>
              <a:gd name="T25" fmla="*/ 7562 h 13531"/>
              <a:gd name="T26" fmla="*/ 9469 w 25625"/>
              <a:gd name="T27" fmla="*/ 5500 h 13531"/>
              <a:gd name="T28" fmla="*/ 10156 w 25625"/>
              <a:gd name="T29" fmla="*/ 5562 h 13531"/>
              <a:gd name="T30" fmla="*/ 9375 w 25625"/>
              <a:gd name="T31" fmla="*/ 4500 h 13531"/>
              <a:gd name="T32" fmla="*/ 8125 w 25625"/>
              <a:gd name="T33" fmla="*/ 3687 h 13531"/>
              <a:gd name="T34" fmla="*/ 8375 w 25625"/>
              <a:gd name="T35" fmla="*/ 1781 h 13531"/>
              <a:gd name="T36" fmla="*/ 8875 w 25625"/>
              <a:gd name="T37" fmla="*/ 1937 h 13531"/>
              <a:gd name="T38" fmla="*/ 8969 w 25625"/>
              <a:gd name="T39" fmla="*/ 125 h 13531"/>
              <a:gd name="T40" fmla="*/ 7188 w 25625"/>
              <a:gd name="T41" fmla="*/ 812 h 13531"/>
              <a:gd name="T42" fmla="*/ 4469 w 25625"/>
              <a:gd name="T43" fmla="*/ 1593 h 13531"/>
              <a:gd name="T44" fmla="*/ 3375 w 25625"/>
              <a:gd name="T45" fmla="*/ 3093 h 13531"/>
              <a:gd name="T46" fmla="*/ 4469 w 25625"/>
              <a:gd name="T47" fmla="*/ 4562 h 13531"/>
              <a:gd name="T48" fmla="*/ 3688 w 25625"/>
              <a:gd name="T49" fmla="*/ 4218 h 13531"/>
              <a:gd name="T50" fmla="*/ 2844 w 25625"/>
              <a:gd name="T51" fmla="*/ 4187 h 13531"/>
              <a:gd name="T52" fmla="*/ 2781 w 25625"/>
              <a:gd name="T53" fmla="*/ 5031 h 13531"/>
              <a:gd name="T54" fmla="*/ 5594 w 25625"/>
              <a:gd name="T55" fmla="*/ 9406 h 13531"/>
              <a:gd name="T56" fmla="*/ 4344 w 25625"/>
              <a:gd name="T57" fmla="*/ 8656 h 13531"/>
              <a:gd name="T58" fmla="*/ 4688 w 25625"/>
              <a:gd name="T59" fmla="*/ 9343 h 13531"/>
              <a:gd name="T60" fmla="*/ 10188 w 25625"/>
              <a:gd name="T61" fmla="*/ 12437 h 13531"/>
              <a:gd name="T62" fmla="*/ 11313 w 25625"/>
              <a:gd name="T63" fmla="*/ 12250 h 13531"/>
              <a:gd name="T64" fmla="*/ 20688 w 25625"/>
              <a:gd name="T65" fmla="*/ 11343 h 13531"/>
              <a:gd name="T66" fmla="*/ 24469 w 25625"/>
              <a:gd name="T67" fmla="*/ 8750 h 13531"/>
              <a:gd name="T68" fmla="*/ 8531 w 25625"/>
              <a:gd name="T69" fmla="*/ 3656 h 13531"/>
              <a:gd name="T70" fmla="*/ 9188 w 25625"/>
              <a:gd name="T71" fmla="*/ 2156 h 13531"/>
              <a:gd name="T72" fmla="*/ 9563 w 25625"/>
              <a:gd name="T73" fmla="*/ 2718 h 13531"/>
              <a:gd name="T74" fmla="*/ 11094 w 25625"/>
              <a:gd name="T75" fmla="*/ 2875 h 13531"/>
              <a:gd name="T76" fmla="*/ 10563 w 25625"/>
              <a:gd name="T77" fmla="*/ 3593 h 13531"/>
              <a:gd name="T78" fmla="*/ 11750 w 25625"/>
              <a:gd name="T79" fmla="*/ 4343 h 13531"/>
              <a:gd name="T80" fmla="*/ 9125 w 25625"/>
              <a:gd name="T81" fmla="*/ 3281 h 13531"/>
              <a:gd name="T82" fmla="*/ 10281 w 25625"/>
              <a:gd name="T83" fmla="*/ 4000 h 13531"/>
              <a:gd name="T84" fmla="*/ 10281 w 25625"/>
              <a:gd name="T85" fmla="*/ 5000 h 13531"/>
              <a:gd name="T86" fmla="*/ 12719 w 25625"/>
              <a:gd name="T87" fmla="*/ 13000 h 13531"/>
              <a:gd name="T88" fmla="*/ 19438 w 25625"/>
              <a:gd name="T89" fmla="*/ 12812 h 13531"/>
              <a:gd name="T90" fmla="*/ 11406 w 25625"/>
              <a:gd name="T91" fmla="*/ 12500 h 13531"/>
              <a:gd name="T92" fmla="*/ 14063 w 25625"/>
              <a:gd name="T93" fmla="*/ 13437 h 13531"/>
              <a:gd name="T94" fmla="*/ 1906 w 25625"/>
              <a:gd name="T95" fmla="*/ 2906 h 13531"/>
              <a:gd name="T96" fmla="*/ 3906 w 25625"/>
              <a:gd name="T97" fmla="*/ 9031 h 13531"/>
              <a:gd name="T98" fmla="*/ 7688 w 25625"/>
              <a:gd name="T99" fmla="*/ 12031 h 13531"/>
              <a:gd name="T100" fmla="*/ 15594 w 25625"/>
              <a:gd name="T101" fmla="*/ 5312 h 13531"/>
              <a:gd name="T102" fmla="*/ 13000 w 25625"/>
              <a:gd name="T103" fmla="*/ 8875 h 13531"/>
              <a:gd name="T104" fmla="*/ 15750 w 25625"/>
              <a:gd name="T105" fmla="*/ 4812 h 13531"/>
              <a:gd name="T106" fmla="*/ 15688 w 25625"/>
              <a:gd name="T107" fmla="*/ 5000 h 13531"/>
              <a:gd name="T108" fmla="*/ 17844 w 25625"/>
              <a:gd name="T109" fmla="*/ 8687 h 13531"/>
              <a:gd name="T110" fmla="*/ 12875 w 25625"/>
              <a:gd name="T111" fmla="*/ 8656 h 13531"/>
              <a:gd name="T112" fmla="*/ 18000 w 25625"/>
              <a:gd name="T113" fmla="*/ 8718 h 13531"/>
              <a:gd name="T114" fmla="*/ 14281 w 25625"/>
              <a:gd name="T115" fmla="*/ 8437 h 13531"/>
              <a:gd name="T116" fmla="*/ 13656 w 25625"/>
              <a:gd name="T117" fmla="*/ 7843 h 13531"/>
              <a:gd name="T118" fmla="*/ 14313 w 25625"/>
              <a:gd name="T119" fmla="*/ 7531 h 13531"/>
              <a:gd name="T120" fmla="*/ 14094 w 25625"/>
              <a:gd name="T121" fmla="*/ 2250 h 13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5625" h="13531">
                <a:moveTo>
                  <a:pt x="13688" y="4843"/>
                </a:moveTo>
                <a:cubicBezTo>
                  <a:pt x="13625" y="4750"/>
                  <a:pt x="13563" y="4750"/>
                  <a:pt x="13469" y="4781"/>
                </a:cubicBezTo>
                <a:cubicBezTo>
                  <a:pt x="13531" y="4875"/>
                  <a:pt x="13594" y="4875"/>
                  <a:pt x="13688" y="4843"/>
                </a:cubicBezTo>
                <a:close/>
                <a:moveTo>
                  <a:pt x="3094" y="3468"/>
                </a:moveTo>
                <a:cubicBezTo>
                  <a:pt x="3188" y="3343"/>
                  <a:pt x="3188" y="3343"/>
                  <a:pt x="3156" y="3250"/>
                </a:cubicBezTo>
                <a:cubicBezTo>
                  <a:pt x="3188" y="3312"/>
                  <a:pt x="3094" y="3343"/>
                  <a:pt x="3094" y="3468"/>
                </a:cubicBezTo>
                <a:close/>
                <a:moveTo>
                  <a:pt x="10375" y="7531"/>
                </a:moveTo>
                <a:cubicBezTo>
                  <a:pt x="10406" y="7656"/>
                  <a:pt x="10563" y="7625"/>
                  <a:pt x="10625" y="7750"/>
                </a:cubicBezTo>
                <a:cubicBezTo>
                  <a:pt x="10656" y="7562"/>
                  <a:pt x="10500" y="7562"/>
                  <a:pt x="10375" y="7531"/>
                </a:cubicBezTo>
                <a:close/>
                <a:moveTo>
                  <a:pt x="11313" y="7656"/>
                </a:moveTo>
                <a:cubicBezTo>
                  <a:pt x="11219" y="7531"/>
                  <a:pt x="11094" y="7562"/>
                  <a:pt x="11000" y="7531"/>
                </a:cubicBezTo>
                <a:cubicBezTo>
                  <a:pt x="11094" y="7593"/>
                  <a:pt x="11156" y="7687"/>
                  <a:pt x="11313" y="7656"/>
                </a:cubicBezTo>
                <a:close/>
                <a:moveTo>
                  <a:pt x="8094" y="3656"/>
                </a:moveTo>
                <a:cubicBezTo>
                  <a:pt x="8094" y="3656"/>
                  <a:pt x="8094" y="3656"/>
                  <a:pt x="8125" y="3656"/>
                </a:cubicBezTo>
                <a:cubicBezTo>
                  <a:pt x="8125" y="3656"/>
                  <a:pt x="8125" y="3656"/>
                  <a:pt x="8125" y="3656"/>
                </a:cubicBezTo>
                <a:cubicBezTo>
                  <a:pt x="8125" y="3656"/>
                  <a:pt x="8125" y="3656"/>
                  <a:pt x="8094" y="3625"/>
                </a:cubicBezTo>
                <a:cubicBezTo>
                  <a:pt x="8094" y="3656"/>
                  <a:pt x="8094" y="3656"/>
                  <a:pt x="8094" y="3656"/>
                </a:cubicBezTo>
                <a:close/>
                <a:moveTo>
                  <a:pt x="16688" y="10093"/>
                </a:moveTo>
                <a:cubicBezTo>
                  <a:pt x="16500" y="10125"/>
                  <a:pt x="16344" y="10125"/>
                  <a:pt x="16188" y="10156"/>
                </a:cubicBezTo>
                <a:cubicBezTo>
                  <a:pt x="16188" y="10156"/>
                  <a:pt x="16188" y="10156"/>
                  <a:pt x="16188" y="10156"/>
                </a:cubicBezTo>
                <a:cubicBezTo>
                  <a:pt x="16406" y="10156"/>
                  <a:pt x="16656" y="10156"/>
                  <a:pt x="16875" y="10156"/>
                </a:cubicBezTo>
                <a:cubicBezTo>
                  <a:pt x="17094" y="10125"/>
                  <a:pt x="17313" y="10125"/>
                  <a:pt x="17500" y="10031"/>
                </a:cubicBezTo>
                <a:cubicBezTo>
                  <a:pt x="17375" y="10062"/>
                  <a:pt x="17250" y="10062"/>
                  <a:pt x="17125" y="10062"/>
                </a:cubicBezTo>
                <a:cubicBezTo>
                  <a:pt x="16969" y="10062"/>
                  <a:pt x="16813" y="10062"/>
                  <a:pt x="16688" y="10093"/>
                </a:cubicBezTo>
                <a:close/>
                <a:moveTo>
                  <a:pt x="25531" y="7562"/>
                </a:moveTo>
                <a:cubicBezTo>
                  <a:pt x="25563" y="7531"/>
                  <a:pt x="25594" y="7500"/>
                  <a:pt x="25625" y="7437"/>
                </a:cubicBezTo>
                <a:cubicBezTo>
                  <a:pt x="25313" y="7625"/>
                  <a:pt x="25094" y="7843"/>
                  <a:pt x="24781" y="7875"/>
                </a:cubicBezTo>
                <a:cubicBezTo>
                  <a:pt x="25000" y="7625"/>
                  <a:pt x="25313" y="7500"/>
                  <a:pt x="25563" y="7250"/>
                </a:cubicBezTo>
                <a:cubicBezTo>
                  <a:pt x="25500" y="7250"/>
                  <a:pt x="25469" y="7250"/>
                  <a:pt x="25438" y="7281"/>
                </a:cubicBezTo>
                <a:cubicBezTo>
                  <a:pt x="25281" y="7406"/>
                  <a:pt x="25063" y="7531"/>
                  <a:pt x="24875" y="7625"/>
                </a:cubicBezTo>
                <a:cubicBezTo>
                  <a:pt x="24813" y="7656"/>
                  <a:pt x="24781" y="7687"/>
                  <a:pt x="24750" y="7656"/>
                </a:cubicBezTo>
                <a:cubicBezTo>
                  <a:pt x="24719" y="7593"/>
                  <a:pt x="24750" y="7562"/>
                  <a:pt x="24781" y="7531"/>
                </a:cubicBezTo>
                <a:cubicBezTo>
                  <a:pt x="24844" y="7437"/>
                  <a:pt x="24969" y="7406"/>
                  <a:pt x="25031" y="7343"/>
                </a:cubicBezTo>
                <a:cubicBezTo>
                  <a:pt x="25094" y="7281"/>
                  <a:pt x="25219" y="7250"/>
                  <a:pt x="25219" y="7125"/>
                </a:cubicBezTo>
                <a:cubicBezTo>
                  <a:pt x="25156" y="7125"/>
                  <a:pt x="25125" y="7218"/>
                  <a:pt x="25063" y="7250"/>
                </a:cubicBezTo>
                <a:cubicBezTo>
                  <a:pt x="24875" y="7250"/>
                  <a:pt x="24750" y="7437"/>
                  <a:pt x="24594" y="7468"/>
                </a:cubicBezTo>
                <a:cubicBezTo>
                  <a:pt x="24594" y="7468"/>
                  <a:pt x="24563" y="7437"/>
                  <a:pt x="24531" y="7437"/>
                </a:cubicBezTo>
                <a:cubicBezTo>
                  <a:pt x="24563" y="7312"/>
                  <a:pt x="24656" y="7281"/>
                  <a:pt x="24719" y="7250"/>
                </a:cubicBezTo>
                <a:cubicBezTo>
                  <a:pt x="24844" y="7156"/>
                  <a:pt x="24969" y="7031"/>
                  <a:pt x="25094" y="6937"/>
                </a:cubicBezTo>
                <a:cubicBezTo>
                  <a:pt x="24844" y="7031"/>
                  <a:pt x="24656" y="7218"/>
                  <a:pt x="24469" y="7343"/>
                </a:cubicBezTo>
                <a:cubicBezTo>
                  <a:pt x="24188" y="7468"/>
                  <a:pt x="23969" y="7718"/>
                  <a:pt x="23656" y="7843"/>
                </a:cubicBezTo>
                <a:cubicBezTo>
                  <a:pt x="23438" y="7906"/>
                  <a:pt x="23250" y="8093"/>
                  <a:pt x="23063" y="8250"/>
                </a:cubicBezTo>
                <a:cubicBezTo>
                  <a:pt x="23063" y="8187"/>
                  <a:pt x="23063" y="8156"/>
                  <a:pt x="23063" y="8093"/>
                </a:cubicBezTo>
                <a:cubicBezTo>
                  <a:pt x="22969" y="8156"/>
                  <a:pt x="22906" y="8250"/>
                  <a:pt x="22844" y="8312"/>
                </a:cubicBezTo>
                <a:cubicBezTo>
                  <a:pt x="22625" y="8500"/>
                  <a:pt x="22438" y="8750"/>
                  <a:pt x="22156" y="8875"/>
                </a:cubicBezTo>
                <a:cubicBezTo>
                  <a:pt x="22188" y="8718"/>
                  <a:pt x="22344" y="8687"/>
                  <a:pt x="22375" y="8593"/>
                </a:cubicBezTo>
                <a:cubicBezTo>
                  <a:pt x="22406" y="8562"/>
                  <a:pt x="22563" y="8593"/>
                  <a:pt x="22500" y="8468"/>
                </a:cubicBezTo>
                <a:cubicBezTo>
                  <a:pt x="22406" y="8375"/>
                  <a:pt x="22375" y="8468"/>
                  <a:pt x="22313" y="8500"/>
                </a:cubicBezTo>
                <a:cubicBezTo>
                  <a:pt x="22031" y="8718"/>
                  <a:pt x="21750" y="8937"/>
                  <a:pt x="21469" y="9125"/>
                </a:cubicBezTo>
                <a:cubicBezTo>
                  <a:pt x="21250" y="9250"/>
                  <a:pt x="21031" y="9375"/>
                  <a:pt x="20813" y="9437"/>
                </a:cubicBezTo>
                <a:cubicBezTo>
                  <a:pt x="20813" y="9437"/>
                  <a:pt x="20813" y="9437"/>
                  <a:pt x="20813" y="9437"/>
                </a:cubicBezTo>
                <a:cubicBezTo>
                  <a:pt x="20813" y="9406"/>
                  <a:pt x="20813" y="9406"/>
                  <a:pt x="20813" y="9406"/>
                </a:cubicBezTo>
                <a:cubicBezTo>
                  <a:pt x="20813" y="9406"/>
                  <a:pt x="20813" y="9406"/>
                  <a:pt x="20813" y="9437"/>
                </a:cubicBezTo>
                <a:cubicBezTo>
                  <a:pt x="20781" y="9437"/>
                  <a:pt x="20750" y="9437"/>
                  <a:pt x="20719" y="9437"/>
                </a:cubicBezTo>
                <a:cubicBezTo>
                  <a:pt x="20719" y="9437"/>
                  <a:pt x="20719" y="9437"/>
                  <a:pt x="20750" y="9437"/>
                </a:cubicBezTo>
                <a:cubicBezTo>
                  <a:pt x="20750" y="9468"/>
                  <a:pt x="20781" y="9468"/>
                  <a:pt x="20781" y="9437"/>
                </a:cubicBezTo>
                <a:cubicBezTo>
                  <a:pt x="20781" y="9468"/>
                  <a:pt x="20781" y="9500"/>
                  <a:pt x="20719" y="9531"/>
                </a:cubicBezTo>
                <a:cubicBezTo>
                  <a:pt x="20469" y="9625"/>
                  <a:pt x="20219" y="9781"/>
                  <a:pt x="19906" y="9875"/>
                </a:cubicBezTo>
                <a:cubicBezTo>
                  <a:pt x="19844" y="9718"/>
                  <a:pt x="19906" y="9625"/>
                  <a:pt x="20094" y="9625"/>
                </a:cubicBezTo>
                <a:cubicBezTo>
                  <a:pt x="20156" y="9625"/>
                  <a:pt x="20188" y="9562"/>
                  <a:pt x="20250" y="9531"/>
                </a:cubicBezTo>
                <a:cubicBezTo>
                  <a:pt x="20281" y="9500"/>
                  <a:pt x="20313" y="9500"/>
                  <a:pt x="20344" y="9500"/>
                </a:cubicBezTo>
                <a:cubicBezTo>
                  <a:pt x="20313" y="9468"/>
                  <a:pt x="20281" y="9468"/>
                  <a:pt x="20219" y="9500"/>
                </a:cubicBezTo>
                <a:cubicBezTo>
                  <a:pt x="20031" y="9500"/>
                  <a:pt x="19844" y="9593"/>
                  <a:pt x="19688" y="9656"/>
                </a:cubicBezTo>
                <a:cubicBezTo>
                  <a:pt x="19625" y="9687"/>
                  <a:pt x="19531" y="9656"/>
                  <a:pt x="19500" y="9718"/>
                </a:cubicBezTo>
                <a:cubicBezTo>
                  <a:pt x="19469" y="9812"/>
                  <a:pt x="19625" y="9750"/>
                  <a:pt x="19594" y="9843"/>
                </a:cubicBezTo>
                <a:cubicBezTo>
                  <a:pt x="19531" y="9843"/>
                  <a:pt x="19469" y="9875"/>
                  <a:pt x="19438" y="9875"/>
                </a:cubicBezTo>
                <a:cubicBezTo>
                  <a:pt x="19250" y="9937"/>
                  <a:pt x="19094" y="10031"/>
                  <a:pt x="18906" y="10031"/>
                </a:cubicBezTo>
                <a:cubicBezTo>
                  <a:pt x="18750" y="10062"/>
                  <a:pt x="18594" y="10093"/>
                  <a:pt x="18438" y="10156"/>
                </a:cubicBezTo>
                <a:cubicBezTo>
                  <a:pt x="18250" y="10187"/>
                  <a:pt x="18094" y="10281"/>
                  <a:pt x="17906" y="10250"/>
                </a:cubicBezTo>
                <a:cubicBezTo>
                  <a:pt x="17625" y="10218"/>
                  <a:pt x="17344" y="10312"/>
                  <a:pt x="17063" y="10343"/>
                </a:cubicBezTo>
                <a:cubicBezTo>
                  <a:pt x="16813" y="10375"/>
                  <a:pt x="16531" y="10468"/>
                  <a:pt x="16281" y="10468"/>
                </a:cubicBezTo>
                <a:cubicBezTo>
                  <a:pt x="16031" y="10468"/>
                  <a:pt x="15750" y="10593"/>
                  <a:pt x="15500" y="10406"/>
                </a:cubicBezTo>
                <a:cubicBezTo>
                  <a:pt x="15375" y="10343"/>
                  <a:pt x="15188" y="10375"/>
                  <a:pt x="15063" y="10375"/>
                </a:cubicBezTo>
                <a:cubicBezTo>
                  <a:pt x="14938" y="10375"/>
                  <a:pt x="14844" y="10281"/>
                  <a:pt x="14750" y="10343"/>
                </a:cubicBezTo>
                <a:cubicBezTo>
                  <a:pt x="14563" y="10437"/>
                  <a:pt x="14375" y="10406"/>
                  <a:pt x="14219" y="10531"/>
                </a:cubicBezTo>
                <a:cubicBezTo>
                  <a:pt x="14188" y="10562"/>
                  <a:pt x="14094" y="10625"/>
                  <a:pt x="14094" y="10562"/>
                </a:cubicBezTo>
                <a:cubicBezTo>
                  <a:pt x="14000" y="10312"/>
                  <a:pt x="13813" y="10437"/>
                  <a:pt x="13688" y="10406"/>
                </a:cubicBezTo>
                <a:cubicBezTo>
                  <a:pt x="13656" y="10406"/>
                  <a:pt x="13656" y="10406"/>
                  <a:pt x="13625" y="10406"/>
                </a:cubicBezTo>
                <a:cubicBezTo>
                  <a:pt x="13594" y="10406"/>
                  <a:pt x="13563" y="10406"/>
                  <a:pt x="13531" y="10406"/>
                </a:cubicBezTo>
                <a:cubicBezTo>
                  <a:pt x="13438" y="10375"/>
                  <a:pt x="13313" y="10375"/>
                  <a:pt x="13219" y="10343"/>
                </a:cubicBezTo>
                <a:cubicBezTo>
                  <a:pt x="13094" y="10312"/>
                  <a:pt x="12938" y="10406"/>
                  <a:pt x="12844" y="10281"/>
                </a:cubicBezTo>
                <a:cubicBezTo>
                  <a:pt x="12844" y="10250"/>
                  <a:pt x="12844" y="10250"/>
                  <a:pt x="12844" y="10218"/>
                </a:cubicBezTo>
                <a:cubicBezTo>
                  <a:pt x="12875" y="10218"/>
                  <a:pt x="12938" y="10218"/>
                  <a:pt x="12969" y="10218"/>
                </a:cubicBezTo>
                <a:cubicBezTo>
                  <a:pt x="13063" y="10312"/>
                  <a:pt x="13125" y="10250"/>
                  <a:pt x="13219" y="10250"/>
                </a:cubicBezTo>
                <a:cubicBezTo>
                  <a:pt x="13156" y="10218"/>
                  <a:pt x="13125" y="10125"/>
                  <a:pt x="13031" y="10156"/>
                </a:cubicBezTo>
                <a:cubicBezTo>
                  <a:pt x="12719" y="10187"/>
                  <a:pt x="12438" y="10062"/>
                  <a:pt x="12125" y="10031"/>
                </a:cubicBezTo>
                <a:cubicBezTo>
                  <a:pt x="11813" y="10000"/>
                  <a:pt x="11469" y="9906"/>
                  <a:pt x="11188" y="9781"/>
                </a:cubicBezTo>
                <a:cubicBezTo>
                  <a:pt x="10781" y="9625"/>
                  <a:pt x="10375" y="9500"/>
                  <a:pt x="9969" y="9406"/>
                </a:cubicBezTo>
                <a:cubicBezTo>
                  <a:pt x="10000" y="9343"/>
                  <a:pt x="10000" y="9281"/>
                  <a:pt x="9938" y="9218"/>
                </a:cubicBezTo>
                <a:cubicBezTo>
                  <a:pt x="10125" y="9343"/>
                  <a:pt x="10344" y="9343"/>
                  <a:pt x="10531" y="9437"/>
                </a:cubicBezTo>
                <a:cubicBezTo>
                  <a:pt x="10844" y="9562"/>
                  <a:pt x="11156" y="9625"/>
                  <a:pt x="11438" y="9718"/>
                </a:cubicBezTo>
                <a:cubicBezTo>
                  <a:pt x="11719" y="9781"/>
                  <a:pt x="12000" y="9843"/>
                  <a:pt x="12250" y="9906"/>
                </a:cubicBezTo>
                <a:cubicBezTo>
                  <a:pt x="12563" y="9968"/>
                  <a:pt x="12875" y="10031"/>
                  <a:pt x="13219" y="10000"/>
                </a:cubicBezTo>
                <a:cubicBezTo>
                  <a:pt x="13313" y="10031"/>
                  <a:pt x="13406" y="10031"/>
                  <a:pt x="13500" y="10062"/>
                </a:cubicBezTo>
                <a:cubicBezTo>
                  <a:pt x="13563" y="10062"/>
                  <a:pt x="13594" y="10093"/>
                  <a:pt x="13656" y="10062"/>
                </a:cubicBezTo>
                <a:cubicBezTo>
                  <a:pt x="13969" y="10062"/>
                  <a:pt x="14281" y="10156"/>
                  <a:pt x="14594" y="10093"/>
                </a:cubicBezTo>
                <a:cubicBezTo>
                  <a:pt x="14906" y="10187"/>
                  <a:pt x="15250" y="10218"/>
                  <a:pt x="15563" y="10156"/>
                </a:cubicBezTo>
                <a:cubicBezTo>
                  <a:pt x="16125" y="10031"/>
                  <a:pt x="16688" y="10062"/>
                  <a:pt x="17250" y="9937"/>
                </a:cubicBezTo>
                <a:cubicBezTo>
                  <a:pt x="17344" y="9906"/>
                  <a:pt x="17438" y="9906"/>
                  <a:pt x="17531" y="9781"/>
                </a:cubicBezTo>
                <a:cubicBezTo>
                  <a:pt x="17406" y="9812"/>
                  <a:pt x="17344" y="9843"/>
                  <a:pt x="17250" y="9843"/>
                </a:cubicBezTo>
                <a:cubicBezTo>
                  <a:pt x="17219" y="9843"/>
                  <a:pt x="17188" y="9843"/>
                  <a:pt x="17156" y="9843"/>
                </a:cubicBezTo>
                <a:cubicBezTo>
                  <a:pt x="17094" y="9843"/>
                  <a:pt x="17031" y="9875"/>
                  <a:pt x="16969" y="9906"/>
                </a:cubicBezTo>
                <a:cubicBezTo>
                  <a:pt x="16813" y="9875"/>
                  <a:pt x="16656" y="9937"/>
                  <a:pt x="16500" y="9843"/>
                </a:cubicBezTo>
                <a:cubicBezTo>
                  <a:pt x="16500" y="9843"/>
                  <a:pt x="16531" y="9812"/>
                  <a:pt x="16531" y="9781"/>
                </a:cubicBezTo>
                <a:cubicBezTo>
                  <a:pt x="16625" y="9781"/>
                  <a:pt x="16688" y="9781"/>
                  <a:pt x="16781" y="9781"/>
                </a:cubicBezTo>
                <a:cubicBezTo>
                  <a:pt x="16781" y="9781"/>
                  <a:pt x="16813" y="9781"/>
                  <a:pt x="16813" y="9781"/>
                </a:cubicBezTo>
                <a:cubicBezTo>
                  <a:pt x="16844" y="9781"/>
                  <a:pt x="16906" y="9750"/>
                  <a:pt x="16938" y="9750"/>
                </a:cubicBezTo>
                <a:cubicBezTo>
                  <a:pt x="17000" y="9750"/>
                  <a:pt x="17094" y="9812"/>
                  <a:pt x="17188" y="9750"/>
                </a:cubicBezTo>
                <a:cubicBezTo>
                  <a:pt x="17375" y="9562"/>
                  <a:pt x="17625" y="9687"/>
                  <a:pt x="17875" y="9531"/>
                </a:cubicBezTo>
                <a:cubicBezTo>
                  <a:pt x="17594" y="9562"/>
                  <a:pt x="17344" y="9562"/>
                  <a:pt x="17094" y="9562"/>
                </a:cubicBezTo>
                <a:cubicBezTo>
                  <a:pt x="17125" y="9500"/>
                  <a:pt x="17188" y="9531"/>
                  <a:pt x="17188" y="9500"/>
                </a:cubicBezTo>
                <a:cubicBezTo>
                  <a:pt x="17094" y="9437"/>
                  <a:pt x="17031" y="9562"/>
                  <a:pt x="16938" y="9562"/>
                </a:cubicBezTo>
                <a:cubicBezTo>
                  <a:pt x="16938" y="9625"/>
                  <a:pt x="16969" y="9656"/>
                  <a:pt x="16875" y="9687"/>
                </a:cubicBezTo>
                <a:cubicBezTo>
                  <a:pt x="16594" y="9750"/>
                  <a:pt x="16281" y="9718"/>
                  <a:pt x="16000" y="9812"/>
                </a:cubicBezTo>
                <a:cubicBezTo>
                  <a:pt x="15938" y="9781"/>
                  <a:pt x="15906" y="9812"/>
                  <a:pt x="15875" y="9843"/>
                </a:cubicBezTo>
                <a:cubicBezTo>
                  <a:pt x="15781" y="9843"/>
                  <a:pt x="15719" y="9843"/>
                  <a:pt x="15625" y="9843"/>
                </a:cubicBezTo>
                <a:cubicBezTo>
                  <a:pt x="15313" y="9843"/>
                  <a:pt x="14969" y="9875"/>
                  <a:pt x="14656" y="9781"/>
                </a:cubicBezTo>
                <a:cubicBezTo>
                  <a:pt x="14563" y="9718"/>
                  <a:pt x="14500" y="9781"/>
                  <a:pt x="14406" y="9781"/>
                </a:cubicBezTo>
                <a:cubicBezTo>
                  <a:pt x="14344" y="9750"/>
                  <a:pt x="14281" y="9781"/>
                  <a:pt x="14219" y="9781"/>
                </a:cubicBezTo>
                <a:cubicBezTo>
                  <a:pt x="14094" y="9781"/>
                  <a:pt x="13969" y="9750"/>
                  <a:pt x="13844" y="9781"/>
                </a:cubicBezTo>
                <a:cubicBezTo>
                  <a:pt x="13750" y="9750"/>
                  <a:pt x="13688" y="9750"/>
                  <a:pt x="13594" y="9750"/>
                </a:cubicBezTo>
                <a:cubicBezTo>
                  <a:pt x="13375" y="9718"/>
                  <a:pt x="13156" y="9656"/>
                  <a:pt x="12938" y="9625"/>
                </a:cubicBezTo>
                <a:cubicBezTo>
                  <a:pt x="12750" y="9593"/>
                  <a:pt x="12563" y="9562"/>
                  <a:pt x="12375" y="9531"/>
                </a:cubicBezTo>
                <a:cubicBezTo>
                  <a:pt x="12375" y="9531"/>
                  <a:pt x="12375" y="9531"/>
                  <a:pt x="12375" y="9531"/>
                </a:cubicBezTo>
                <a:cubicBezTo>
                  <a:pt x="12406" y="9531"/>
                  <a:pt x="12469" y="9531"/>
                  <a:pt x="12563" y="9500"/>
                </a:cubicBezTo>
                <a:cubicBezTo>
                  <a:pt x="12500" y="9468"/>
                  <a:pt x="12406" y="9468"/>
                  <a:pt x="12344" y="9468"/>
                </a:cubicBezTo>
                <a:cubicBezTo>
                  <a:pt x="12313" y="9468"/>
                  <a:pt x="12281" y="9468"/>
                  <a:pt x="12281" y="9500"/>
                </a:cubicBezTo>
                <a:cubicBezTo>
                  <a:pt x="12281" y="9531"/>
                  <a:pt x="12281" y="9531"/>
                  <a:pt x="12281" y="9531"/>
                </a:cubicBezTo>
                <a:cubicBezTo>
                  <a:pt x="12125" y="9500"/>
                  <a:pt x="11969" y="9468"/>
                  <a:pt x="11813" y="9437"/>
                </a:cubicBezTo>
                <a:cubicBezTo>
                  <a:pt x="11781" y="9406"/>
                  <a:pt x="11719" y="9406"/>
                  <a:pt x="11656" y="9406"/>
                </a:cubicBezTo>
                <a:cubicBezTo>
                  <a:pt x="11563" y="9406"/>
                  <a:pt x="11500" y="9375"/>
                  <a:pt x="11406" y="9312"/>
                </a:cubicBezTo>
                <a:cubicBezTo>
                  <a:pt x="11469" y="9312"/>
                  <a:pt x="11531" y="9281"/>
                  <a:pt x="11625" y="9281"/>
                </a:cubicBezTo>
                <a:cubicBezTo>
                  <a:pt x="11406" y="9156"/>
                  <a:pt x="11188" y="9156"/>
                  <a:pt x="11063" y="8937"/>
                </a:cubicBezTo>
                <a:cubicBezTo>
                  <a:pt x="11063" y="8906"/>
                  <a:pt x="11000" y="8875"/>
                  <a:pt x="10938" y="8906"/>
                </a:cubicBezTo>
                <a:cubicBezTo>
                  <a:pt x="10875" y="8937"/>
                  <a:pt x="10781" y="8875"/>
                  <a:pt x="10719" y="8875"/>
                </a:cubicBezTo>
                <a:cubicBezTo>
                  <a:pt x="10438" y="8781"/>
                  <a:pt x="10219" y="8562"/>
                  <a:pt x="9938" y="8468"/>
                </a:cubicBezTo>
                <a:cubicBezTo>
                  <a:pt x="9906" y="8468"/>
                  <a:pt x="9813" y="8375"/>
                  <a:pt x="9813" y="8468"/>
                </a:cubicBezTo>
                <a:cubicBezTo>
                  <a:pt x="9813" y="8562"/>
                  <a:pt x="9750" y="8562"/>
                  <a:pt x="9719" y="8531"/>
                </a:cubicBezTo>
                <a:cubicBezTo>
                  <a:pt x="9625" y="8468"/>
                  <a:pt x="9500" y="8437"/>
                  <a:pt x="9438" y="8343"/>
                </a:cubicBezTo>
                <a:cubicBezTo>
                  <a:pt x="9469" y="8312"/>
                  <a:pt x="9531" y="8343"/>
                  <a:pt x="9563" y="8375"/>
                </a:cubicBezTo>
                <a:cubicBezTo>
                  <a:pt x="9594" y="8375"/>
                  <a:pt x="9625" y="8406"/>
                  <a:pt x="9625" y="8375"/>
                </a:cubicBezTo>
                <a:cubicBezTo>
                  <a:pt x="9625" y="8406"/>
                  <a:pt x="9625" y="8406"/>
                  <a:pt x="9625" y="8406"/>
                </a:cubicBezTo>
                <a:cubicBezTo>
                  <a:pt x="9656" y="8437"/>
                  <a:pt x="9656" y="8437"/>
                  <a:pt x="9688" y="8437"/>
                </a:cubicBezTo>
                <a:cubicBezTo>
                  <a:pt x="9719" y="8437"/>
                  <a:pt x="9750" y="8437"/>
                  <a:pt x="9750" y="8406"/>
                </a:cubicBezTo>
                <a:cubicBezTo>
                  <a:pt x="9750" y="8375"/>
                  <a:pt x="9719" y="8375"/>
                  <a:pt x="9719" y="8375"/>
                </a:cubicBezTo>
                <a:cubicBezTo>
                  <a:pt x="9688" y="8375"/>
                  <a:pt x="9656" y="8375"/>
                  <a:pt x="9656" y="8375"/>
                </a:cubicBezTo>
                <a:cubicBezTo>
                  <a:pt x="9656" y="8218"/>
                  <a:pt x="9719" y="8343"/>
                  <a:pt x="9781" y="8343"/>
                </a:cubicBezTo>
                <a:cubicBezTo>
                  <a:pt x="9813" y="8343"/>
                  <a:pt x="9844" y="8375"/>
                  <a:pt x="9875" y="8312"/>
                </a:cubicBezTo>
                <a:cubicBezTo>
                  <a:pt x="9875" y="8281"/>
                  <a:pt x="9844" y="8250"/>
                  <a:pt x="9813" y="8250"/>
                </a:cubicBezTo>
                <a:cubicBezTo>
                  <a:pt x="9625" y="8187"/>
                  <a:pt x="9500" y="8000"/>
                  <a:pt x="9281" y="8031"/>
                </a:cubicBezTo>
                <a:cubicBezTo>
                  <a:pt x="9250" y="8031"/>
                  <a:pt x="9219" y="7968"/>
                  <a:pt x="9219" y="7968"/>
                </a:cubicBezTo>
                <a:cubicBezTo>
                  <a:pt x="9188" y="7875"/>
                  <a:pt x="9219" y="7718"/>
                  <a:pt x="9063" y="7843"/>
                </a:cubicBezTo>
                <a:cubicBezTo>
                  <a:pt x="9031" y="7843"/>
                  <a:pt x="9000" y="7812"/>
                  <a:pt x="9000" y="7781"/>
                </a:cubicBezTo>
                <a:cubicBezTo>
                  <a:pt x="9031" y="7687"/>
                  <a:pt x="8969" y="7687"/>
                  <a:pt x="8906" y="7687"/>
                </a:cubicBezTo>
                <a:cubicBezTo>
                  <a:pt x="8813" y="7687"/>
                  <a:pt x="8688" y="7593"/>
                  <a:pt x="8688" y="7562"/>
                </a:cubicBezTo>
                <a:cubicBezTo>
                  <a:pt x="8656" y="7375"/>
                  <a:pt x="8531" y="7375"/>
                  <a:pt x="8438" y="7312"/>
                </a:cubicBezTo>
                <a:cubicBezTo>
                  <a:pt x="8156" y="7093"/>
                  <a:pt x="7906" y="6812"/>
                  <a:pt x="7688" y="6531"/>
                </a:cubicBezTo>
                <a:cubicBezTo>
                  <a:pt x="7531" y="6312"/>
                  <a:pt x="7375" y="6062"/>
                  <a:pt x="7156" y="5875"/>
                </a:cubicBezTo>
                <a:cubicBezTo>
                  <a:pt x="6969" y="5687"/>
                  <a:pt x="6875" y="5468"/>
                  <a:pt x="6688" y="5250"/>
                </a:cubicBezTo>
                <a:cubicBezTo>
                  <a:pt x="6688" y="5218"/>
                  <a:pt x="6656" y="5187"/>
                  <a:pt x="6688" y="5187"/>
                </a:cubicBezTo>
                <a:cubicBezTo>
                  <a:pt x="6719" y="5156"/>
                  <a:pt x="6781" y="5187"/>
                  <a:pt x="6781" y="5218"/>
                </a:cubicBezTo>
                <a:cubicBezTo>
                  <a:pt x="6875" y="5437"/>
                  <a:pt x="7094" y="5593"/>
                  <a:pt x="7250" y="5781"/>
                </a:cubicBezTo>
                <a:cubicBezTo>
                  <a:pt x="7594" y="6250"/>
                  <a:pt x="8000" y="6625"/>
                  <a:pt x="8406" y="7031"/>
                </a:cubicBezTo>
                <a:cubicBezTo>
                  <a:pt x="8531" y="7156"/>
                  <a:pt x="8719" y="7218"/>
                  <a:pt x="8813" y="7375"/>
                </a:cubicBezTo>
                <a:cubicBezTo>
                  <a:pt x="9000" y="7625"/>
                  <a:pt x="9313" y="7718"/>
                  <a:pt x="9531" y="7906"/>
                </a:cubicBezTo>
                <a:cubicBezTo>
                  <a:pt x="9594" y="7968"/>
                  <a:pt x="9656" y="8031"/>
                  <a:pt x="9750" y="8000"/>
                </a:cubicBezTo>
                <a:cubicBezTo>
                  <a:pt x="9719" y="7937"/>
                  <a:pt x="9656" y="7906"/>
                  <a:pt x="9688" y="7843"/>
                </a:cubicBezTo>
                <a:cubicBezTo>
                  <a:pt x="9750" y="7781"/>
                  <a:pt x="9813" y="7843"/>
                  <a:pt x="9844" y="7875"/>
                </a:cubicBezTo>
                <a:cubicBezTo>
                  <a:pt x="9875" y="7875"/>
                  <a:pt x="9938" y="7875"/>
                  <a:pt x="9969" y="7906"/>
                </a:cubicBezTo>
                <a:cubicBezTo>
                  <a:pt x="10031" y="7937"/>
                  <a:pt x="10094" y="7968"/>
                  <a:pt x="10188" y="8000"/>
                </a:cubicBezTo>
                <a:cubicBezTo>
                  <a:pt x="10219" y="8000"/>
                  <a:pt x="10219" y="8000"/>
                  <a:pt x="10250" y="8000"/>
                </a:cubicBezTo>
                <a:cubicBezTo>
                  <a:pt x="10438" y="8125"/>
                  <a:pt x="10656" y="8156"/>
                  <a:pt x="10844" y="8218"/>
                </a:cubicBezTo>
                <a:cubicBezTo>
                  <a:pt x="10844" y="8218"/>
                  <a:pt x="10844" y="8187"/>
                  <a:pt x="10875" y="8187"/>
                </a:cubicBezTo>
                <a:cubicBezTo>
                  <a:pt x="10625" y="8093"/>
                  <a:pt x="10406" y="8000"/>
                  <a:pt x="10188" y="7906"/>
                </a:cubicBezTo>
                <a:cubicBezTo>
                  <a:pt x="9813" y="7812"/>
                  <a:pt x="9500" y="7625"/>
                  <a:pt x="9156" y="7437"/>
                </a:cubicBezTo>
                <a:cubicBezTo>
                  <a:pt x="9094" y="7406"/>
                  <a:pt x="9000" y="7375"/>
                  <a:pt x="8969" y="7343"/>
                </a:cubicBezTo>
                <a:cubicBezTo>
                  <a:pt x="8875" y="7093"/>
                  <a:pt x="8656" y="6937"/>
                  <a:pt x="8469" y="6750"/>
                </a:cubicBezTo>
                <a:cubicBezTo>
                  <a:pt x="8250" y="6562"/>
                  <a:pt x="8000" y="6375"/>
                  <a:pt x="7875" y="6062"/>
                </a:cubicBezTo>
                <a:cubicBezTo>
                  <a:pt x="7906" y="6062"/>
                  <a:pt x="7906" y="6031"/>
                  <a:pt x="7938" y="6031"/>
                </a:cubicBezTo>
                <a:cubicBezTo>
                  <a:pt x="8000" y="5968"/>
                  <a:pt x="8094" y="5937"/>
                  <a:pt x="8188" y="6062"/>
                </a:cubicBezTo>
                <a:cubicBezTo>
                  <a:pt x="8156" y="5906"/>
                  <a:pt x="8031" y="5875"/>
                  <a:pt x="8000" y="5750"/>
                </a:cubicBezTo>
                <a:cubicBezTo>
                  <a:pt x="8125" y="5718"/>
                  <a:pt x="8125" y="5906"/>
                  <a:pt x="8281" y="5875"/>
                </a:cubicBezTo>
                <a:cubicBezTo>
                  <a:pt x="8156" y="5812"/>
                  <a:pt x="8125" y="5656"/>
                  <a:pt x="8031" y="5625"/>
                </a:cubicBezTo>
                <a:cubicBezTo>
                  <a:pt x="8063" y="5531"/>
                  <a:pt x="8094" y="5500"/>
                  <a:pt x="8156" y="5562"/>
                </a:cubicBezTo>
                <a:cubicBezTo>
                  <a:pt x="8219" y="5625"/>
                  <a:pt x="8313" y="5687"/>
                  <a:pt x="8375" y="5718"/>
                </a:cubicBezTo>
                <a:cubicBezTo>
                  <a:pt x="8531" y="5875"/>
                  <a:pt x="8750" y="5937"/>
                  <a:pt x="8906" y="6156"/>
                </a:cubicBezTo>
                <a:cubicBezTo>
                  <a:pt x="9000" y="6312"/>
                  <a:pt x="9156" y="6406"/>
                  <a:pt x="9313" y="6531"/>
                </a:cubicBezTo>
                <a:cubicBezTo>
                  <a:pt x="9500" y="6656"/>
                  <a:pt x="9688" y="6812"/>
                  <a:pt x="9875" y="7000"/>
                </a:cubicBezTo>
                <a:cubicBezTo>
                  <a:pt x="9688" y="6968"/>
                  <a:pt x="9563" y="6906"/>
                  <a:pt x="9500" y="6812"/>
                </a:cubicBezTo>
                <a:cubicBezTo>
                  <a:pt x="9375" y="6656"/>
                  <a:pt x="9219" y="6718"/>
                  <a:pt x="9094" y="6687"/>
                </a:cubicBezTo>
                <a:cubicBezTo>
                  <a:pt x="9344" y="6843"/>
                  <a:pt x="9563" y="7000"/>
                  <a:pt x="9813" y="7125"/>
                </a:cubicBezTo>
                <a:cubicBezTo>
                  <a:pt x="9844" y="7156"/>
                  <a:pt x="9844" y="7156"/>
                  <a:pt x="9844" y="7156"/>
                </a:cubicBezTo>
                <a:cubicBezTo>
                  <a:pt x="9844" y="7250"/>
                  <a:pt x="9906" y="7250"/>
                  <a:pt x="9969" y="7218"/>
                </a:cubicBezTo>
                <a:cubicBezTo>
                  <a:pt x="10000" y="7250"/>
                  <a:pt x="10000" y="7250"/>
                  <a:pt x="10031" y="7250"/>
                </a:cubicBezTo>
                <a:cubicBezTo>
                  <a:pt x="10250" y="7375"/>
                  <a:pt x="10500" y="7468"/>
                  <a:pt x="10813" y="7406"/>
                </a:cubicBezTo>
                <a:cubicBezTo>
                  <a:pt x="10719" y="7343"/>
                  <a:pt x="10625" y="7312"/>
                  <a:pt x="10531" y="7312"/>
                </a:cubicBezTo>
                <a:cubicBezTo>
                  <a:pt x="10344" y="7312"/>
                  <a:pt x="10281" y="7250"/>
                  <a:pt x="10250" y="7093"/>
                </a:cubicBezTo>
                <a:cubicBezTo>
                  <a:pt x="10313" y="7062"/>
                  <a:pt x="10406" y="7093"/>
                  <a:pt x="10469" y="7125"/>
                </a:cubicBezTo>
                <a:cubicBezTo>
                  <a:pt x="10625" y="7156"/>
                  <a:pt x="10750" y="7250"/>
                  <a:pt x="10938" y="7250"/>
                </a:cubicBezTo>
                <a:cubicBezTo>
                  <a:pt x="11125" y="7375"/>
                  <a:pt x="11313" y="7343"/>
                  <a:pt x="11531" y="7468"/>
                </a:cubicBezTo>
                <a:cubicBezTo>
                  <a:pt x="11438" y="7281"/>
                  <a:pt x="11250" y="7343"/>
                  <a:pt x="11156" y="7250"/>
                </a:cubicBezTo>
                <a:cubicBezTo>
                  <a:pt x="11156" y="7250"/>
                  <a:pt x="11156" y="7218"/>
                  <a:pt x="11156" y="7218"/>
                </a:cubicBezTo>
                <a:cubicBezTo>
                  <a:pt x="11250" y="7218"/>
                  <a:pt x="11344" y="7218"/>
                  <a:pt x="11406" y="7218"/>
                </a:cubicBezTo>
                <a:cubicBezTo>
                  <a:pt x="11563" y="7250"/>
                  <a:pt x="11688" y="7218"/>
                  <a:pt x="11813" y="7343"/>
                </a:cubicBezTo>
                <a:cubicBezTo>
                  <a:pt x="11750" y="7375"/>
                  <a:pt x="11719" y="7343"/>
                  <a:pt x="11656" y="7375"/>
                </a:cubicBezTo>
                <a:cubicBezTo>
                  <a:pt x="11938" y="7531"/>
                  <a:pt x="12219" y="7593"/>
                  <a:pt x="12531" y="7687"/>
                </a:cubicBezTo>
                <a:lnTo>
                  <a:pt x="12531" y="7687"/>
                </a:lnTo>
                <a:cubicBezTo>
                  <a:pt x="12500" y="7593"/>
                  <a:pt x="12500" y="7562"/>
                  <a:pt x="12438" y="7562"/>
                </a:cubicBezTo>
                <a:cubicBezTo>
                  <a:pt x="12313" y="7531"/>
                  <a:pt x="12188" y="7500"/>
                  <a:pt x="12063" y="7468"/>
                </a:cubicBezTo>
                <a:cubicBezTo>
                  <a:pt x="11969" y="7437"/>
                  <a:pt x="11875" y="7468"/>
                  <a:pt x="11813" y="7343"/>
                </a:cubicBezTo>
                <a:cubicBezTo>
                  <a:pt x="11969" y="7343"/>
                  <a:pt x="12125" y="7343"/>
                  <a:pt x="12281" y="7375"/>
                </a:cubicBezTo>
                <a:cubicBezTo>
                  <a:pt x="12688" y="7468"/>
                  <a:pt x="13094" y="7531"/>
                  <a:pt x="13500" y="7562"/>
                </a:cubicBezTo>
                <a:cubicBezTo>
                  <a:pt x="13469" y="7500"/>
                  <a:pt x="13438" y="7468"/>
                  <a:pt x="13406" y="7468"/>
                </a:cubicBezTo>
                <a:cubicBezTo>
                  <a:pt x="13094" y="7500"/>
                  <a:pt x="12781" y="7375"/>
                  <a:pt x="12469" y="7343"/>
                </a:cubicBezTo>
                <a:cubicBezTo>
                  <a:pt x="12281" y="7343"/>
                  <a:pt x="12094" y="7312"/>
                  <a:pt x="11938" y="7125"/>
                </a:cubicBezTo>
                <a:cubicBezTo>
                  <a:pt x="12469" y="7218"/>
                  <a:pt x="12969" y="7375"/>
                  <a:pt x="13469" y="7375"/>
                </a:cubicBezTo>
                <a:cubicBezTo>
                  <a:pt x="13438" y="7312"/>
                  <a:pt x="13406" y="7312"/>
                  <a:pt x="13344" y="7281"/>
                </a:cubicBezTo>
                <a:cubicBezTo>
                  <a:pt x="13063" y="7250"/>
                  <a:pt x="12781" y="7250"/>
                  <a:pt x="12500" y="7125"/>
                </a:cubicBezTo>
                <a:cubicBezTo>
                  <a:pt x="12344" y="7093"/>
                  <a:pt x="12188" y="7062"/>
                  <a:pt x="12063" y="7031"/>
                </a:cubicBezTo>
                <a:cubicBezTo>
                  <a:pt x="11625" y="6937"/>
                  <a:pt x="11188" y="6875"/>
                  <a:pt x="10875" y="6562"/>
                </a:cubicBezTo>
                <a:cubicBezTo>
                  <a:pt x="10813" y="6500"/>
                  <a:pt x="10750" y="6437"/>
                  <a:pt x="10688" y="6406"/>
                </a:cubicBezTo>
                <a:cubicBezTo>
                  <a:pt x="10438" y="6281"/>
                  <a:pt x="10188" y="6125"/>
                  <a:pt x="10000" y="5906"/>
                </a:cubicBezTo>
                <a:cubicBezTo>
                  <a:pt x="9938" y="5843"/>
                  <a:pt x="9875" y="5781"/>
                  <a:pt x="9813" y="5750"/>
                </a:cubicBezTo>
                <a:cubicBezTo>
                  <a:pt x="9688" y="5656"/>
                  <a:pt x="9594" y="5593"/>
                  <a:pt x="9469" y="5500"/>
                </a:cubicBezTo>
                <a:cubicBezTo>
                  <a:pt x="9406" y="5437"/>
                  <a:pt x="9438" y="5312"/>
                  <a:pt x="9313" y="5281"/>
                </a:cubicBezTo>
                <a:cubicBezTo>
                  <a:pt x="9250" y="5281"/>
                  <a:pt x="9188" y="5218"/>
                  <a:pt x="9156" y="5156"/>
                </a:cubicBezTo>
                <a:cubicBezTo>
                  <a:pt x="9031" y="4968"/>
                  <a:pt x="8938" y="4781"/>
                  <a:pt x="8813" y="4593"/>
                </a:cubicBezTo>
                <a:cubicBezTo>
                  <a:pt x="8781" y="4531"/>
                  <a:pt x="8750" y="4437"/>
                  <a:pt x="8781" y="4343"/>
                </a:cubicBezTo>
                <a:cubicBezTo>
                  <a:pt x="8813" y="4343"/>
                  <a:pt x="8844" y="4375"/>
                  <a:pt x="8844" y="4406"/>
                </a:cubicBezTo>
                <a:cubicBezTo>
                  <a:pt x="8938" y="4593"/>
                  <a:pt x="9094" y="4781"/>
                  <a:pt x="9250" y="4937"/>
                </a:cubicBezTo>
                <a:cubicBezTo>
                  <a:pt x="9594" y="5343"/>
                  <a:pt x="9938" y="5718"/>
                  <a:pt x="10375" y="6031"/>
                </a:cubicBezTo>
                <a:cubicBezTo>
                  <a:pt x="10438" y="6062"/>
                  <a:pt x="10500" y="6125"/>
                  <a:pt x="10594" y="6125"/>
                </a:cubicBezTo>
                <a:cubicBezTo>
                  <a:pt x="10688" y="6093"/>
                  <a:pt x="10813" y="6093"/>
                  <a:pt x="10844" y="6250"/>
                </a:cubicBezTo>
                <a:cubicBezTo>
                  <a:pt x="10844" y="6281"/>
                  <a:pt x="10906" y="6281"/>
                  <a:pt x="10938" y="6281"/>
                </a:cubicBezTo>
                <a:cubicBezTo>
                  <a:pt x="11063" y="6250"/>
                  <a:pt x="11156" y="6281"/>
                  <a:pt x="11250" y="6312"/>
                </a:cubicBezTo>
                <a:cubicBezTo>
                  <a:pt x="11281" y="6437"/>
                  <a:pt x="11375" y="6343"/>
                  <a:pt x="11438" y="6375"/>
                </a:cubicBezTo>
                <a:cubicBezTo>
                  <a:pt x="11375" y="6343"/>
                  <a:pt x="11313" y="6312"/>
                  <a:pt x="11250" y="6281"/>
                </a:cubicBezTo>
                <a:cubicBezTo>
                  <a:pt x="11250" y="6250"/>
                  <a:pt x="11219" y="6218"/>
                  <a:pt x="11219" y="6218"/>
                </a:cubicBezTo>
                <a:cubicBezTo>
                  <a:pt x="11000" y="6093"/>
                  <a:pt x="10750" y="6000"/>
                  <a:pt x="10563" y="5843"/>
                </a:cubicBezTo>
                <a:cubicBezTo>
                  <a:pt x="10438" y="5718"/>
                  <a:pt x="10281" y="5656"/>
                  <a:pt x="10156" y="5562"/>
                </a:cubicBezTo>
                <a:cubicBezTo>
                  <a:pt x="10031" y="5437"/>
                  <a:pt x="9813" y="5406"/>
                  <a:pt x="9719" y="5250"/>
                </a:cubicBezTo>
                <a:cubicBezTo>
                  <a:pt x="9594" y="5125"/>
                  <a:pt x="9469" y="5000"/>
                  <a:pt x="9344" y="4875"/>
                </a:cubicBezTo>
                <a:cubicBezTo>
                  <a:pt x="9281" y="4750"/>
                  <a:pt x="9125" y="4656"/>
                  <a:pt x="9094" y="4500"/>
                </a:cubicBezTo>
                <a:cubicBezTo>
                  <a:pt x="9094" y="4468"/>
                  <a:pt x="9094" y="4468"/>
                  <a:pt x="9125" y="4437"/>
                </a:cubicBezTo>
                <a:cubicBezTo>
                  <a:pt x="9281" y="4625"/>
                  <a:pt x="9406" y="4750"/>
                  <a:pt x="9531" y="4937"/>
                </a:cubicBezTo>
                <a:cubicBezTo>
                  <a:pt x="9594" y="5031"/>
                  <a:pt x="9688" y="5125"/>
                  <a:pt x="9750" y="5187"/>
                </a:cubicBezTo>
                <a:cubicBezTo>
                  <a:pt x="9781" y="5218"/>
                  <a:pt x="9781" y="5250"/>
                  <a:pt x="9813" y="5250"/>
                </a:cubicBezTo>
                <a:cubicBezTo>
                  <a:pt x="9813" y="5250"/>
                  <a:pt x="9813" y="5250"/>
                  <a:pt x="9844" y="5281"/>
                </a:cubicBezTo>
                <a:cubicBezTo>
                  <a:pt x="9844" y="5281"/>
                  <a:pt x="9875" y="5281"/>
                  <a:pt x="9875" y="5281"/>
                </a:cubicBezTo>
                <a:cubicBezTo>
                  <a:pt x="9906" y="5281"/>
                  <a:pt x="9875" y="5250"/>
                  <a:pt x="9875" y="5218"/>
                </a:cubicBezTo>
                <a:cubicBezTo>
                  <a:pt x="9906" y="5156"/>
                  <a:pt x="9906" y="5093"/>
                  <a:pt x="9813" y="5093"/>
                </a:cubicBezTo>
                <a:cubicBezTo>
                  <a:pt x="9813" y="5093"/>
                  <a:pt x="9813" y="5093"/>
                  <a:pt x="9813" y="5093"/>
                </a:cubicBezTo>
                <a:cubicBezTo>
                  <a:pt x="9781" y="5062"/>
                  <a:pt x="9750" y="5031"/>
                  <a:pt x="9750" y="5000"/>
                </a:cubicBezTo>
                <a:cubicBezTo>
                  <a:pt x="9719" y="5000"/>
                  <a:pt x="9719" y="4968"/>
                  <a:pt x="9719" y="4968"/>
                </a:cubicBezTo>
                <a:cubicBezTo>
                  <a:pt x="9688" y="4937"/>
                  <a:pt x="9656" y="4906"/>
                  <a:pt x="9625" y="4906"/>
                </a:cubicBezTo>
                <a:cubicBezTo>
                  <a:pt x="9500" y="4781"/>
                  <a:pt x="9438" y="4656"/>
                  <a:pt x="9375" y="4500"/>
                </a:cubicBezTo>
                <a:cubicBezTo>
                  <a:pt x="9125" y="4187"/>
                  <a:pt x="8750" y="4000"/>
                  <a:pt x="8531" y="3656"/>
                </a:cubicBezTo>
                <a:cubicBezTo>
                  <a:pt x="8375" y="3625"/>
                  <a:pt x="8313" y="3500"/>
                  <a:pt x="8281" y="3375"/>
                </a:cubicBezTo>
                <a:cubicBezTo>
                  <a:pt x="8281" y="3312"/>
                  <a:pt x="8250" y="3250"/>
                  <a:pt x="8219" y="3156"/>
                </a:cubicBezTo>
                <a:cubicBezTo>
                  <a:pt x="8219" y="3125"/>
                  <a:pt x="8188" y="3062"/>
                  <a:pt x="8250" y="3031"/>
                </a:cubicBezTo>
                <a:cubicBezTo>
                  <a:pt x="8313" y="3000"/>
                  <a:pt x="8313" y="3093"/>
                  <a:pt x="8344" y="3125"/>
                </a:cubicBezTo>
                <a:lnTo>
                  <a:pt x="8344" y="3125"/>
                </a:lnTo>
                <a:cubicBezTo>
                  <a:pt x="8375" y="3281"/>
                  <a:pt x="8406" y="3437"/>
                  <a:pt x="8469" y="3593"/>
                </a:cubicBezTo>
                <a:cubicBezTo>
                  <a:pt x="8469" y="3625"/>
                  <a:pt x="8500" y="3656"/>
                  <a:pt x="8531" y="3656"/>
                </a:cubicBezTo>
                <a:cubicBezTo>
                  <a:pt x="8500" y="3781"/>
                  <a:pt x="8625" y="3843"/>
                  <a:pt x="8656" y="3937"/>
                </a:cubicBezTo>
                <a:cubicBezTo>
                  <a:pt x="8688" y="4031"/>
                  <a:pt x="8781" y="4125"/>
                  <a:pt x="8688" y="4156"/>
                </a:cubicBezTo>
                <a:cubicBezTo>
                  <a:pt x="8625" y="4218"/>
                  <a:pt x="8500" y="4125"/>
                  <a:pt x="8438" y="4031"/>
                </a:cubicBezTo>
                <a:cubicBezTo>
                  <a:pt x="8406" y="3968"/>
                  <a:pt x="8375" y="3906"/>
                  <a:pt x="8344" y="3843"/>
                </a:cubicBezTo>
                <a:cubicBezTo>
                  <a:pt x="8344" y="3812"/>
                  <a:pt x="8344" y="3781"/>
                  <a:pt x="8281" y="3781"/>
                </a:cubicBezTo>
                <a:cubicBezTo>
                  <a:pt x="8281" y="3781"/>
                  <a:pt x="8281" y="3781"/>
                  <a:pt x="8281" y="3781"/>
                </a:cubicBezTo>
                <a:cubicBezTo>
                  <a:pt x="8281" y="3781"/>
                  <a:pt x="8281" y="3781"/>
                  <a:pt x="8281" y="3781"/>
                </a:cubicBezTo>
                <a:cubicBezTo>
                  <a:pt x="8125" y="3875"/>
                  <a:pt x="8188" y="3687"/>
                  <a:pt x="8125" y="3687"/>
                </a:cubicBezTo>
                <a:cubicBezTo>
                  <a:pt x="8094" y="3718"/>
                  <a:pt x="8063" y="3750"/>
                  <a:pt x="8000" y="3781"/>
                </a:cubicBezTo>
                <a:cubicBezTo>
                  <a:pt x="7969" y="3750"/>
                  <a:pt x="7938" y="3750"/>
                  <a:pt x="7906" y="3718"/>
                </a:cubicBezTo>
                <a:cubicBezTo>
                  <a:pt x="7813" y="3468"/>
                  <a:pt x="7688" y="3218"/>
                  <a:pt x="7719" y="2937"/>
                </a:cubicBezTo>
                <a:cubicBezTo>
                  <a:pt x="7844" y="2906"/>
                  <a:pt x="7750" y="2781"/>
                  <a:pt x="7813" y="2750"/>
                </a:cubicBezTo>
                <a:cubicBezTo>
                  <a:pt x="7906" y="3000"/>
                  <a:pt x="7938" y="3312"/>
                  <a:pt x="8094" y="3562"/>
                </a:cubicBezTo>
                <a:cubicBezTo>
                  <a:pt x="8094" y="3468"/>
                  <a:pt x="8031" y="3406"/>
                  <a:pt x="8063" y="3375"/>
                </a:cubicBezTo>
                <a:cubicBezTo>
                  <a:pt x="8156" y="3281"/>
                  <a:pt x="8094" y="3218"/>
                  <a:pt x="8063" y="3125"/>
                </a:cubicBezTo>
                <a:cubicBezTo>
                  <a:pt x="8031" y="2843"/>
                  <a:pt x="7969" y="2562"/>
                  <a:pt x="7906" y="2250"/>
                </a:cubicBezTo>
                <a:cubicBezTo>
                  <a:pt x="7844" y="1812"/>
                  <a:pt x="8125" y="1468"/>
                  <a:pt x="8313" y="1093"/>
                </a:cubicBezTo>
                <a:cubicBezTo>
                  <a:pt x="8375" y="1062"/>
                  <a:pt x="8406" y="1093"/>
                  <a:pt x="8438" y="1156"/>
                </a:cubicBezTo>
                <a:cubicBezTo>
                  <a:pt x="8406" y="1312"/>
                  <a:pt x="8313" y="1437"/>
                  <a:pt x="8281" y="1593"/>
                </a:cubicBezTo>
                <a:cubicBezTo>
                  <a:pt x="8219" y="1843"/>
                  <a:pt x="8344" y="2062"/>
                  <a:pt x="8344" y="2281"/>
                </a:cubicBezTo>
                <a:cubicBezTo>
                  <a:pt x="8344" y="2312"/>
                  <a:pt x="8344" y="2312"/>
                  <a:pt x="8344" y="2343"/>
                </a:cubicBezTo>
                <a:cubicBezTo>
                  <a:pt x="8375" y="2312"/>
                  <a:pt x="8375" y="2312"/>
                  <a:pt x="8375" y="2281"/>
                </a:cubicBezTo>
                <a:cubicBezTo>
                  <a:pt x="8375" y="2125"/>
                  <a:pt x="8375" y="1968"/>
                  <a:pt x="8375" y="1812"/>
                </a:cubicBezTo>
                <a:cubicBezTo>
                  <a:pt x="8375" y="1781"/>
                  <a:pt x="8375" y="1781"/>
                  <a:pt x="8375" y="1781"/>
                </a:cubicBezTo>
                <a:cubicBezTo>
                  <a:pt x="8375" y="1781"/>
                  <a:pt x="8375" y="1750"/>
                  <a:pt x="8375" y="1750"/>
                </a:cubicBezTo>
                <a:cubicBezTo>
                  <a:pt x="8406" y="1687"/>
                  <a:pt x="8406" y="1625"/>
                  <a:pt x="8438" y="1562"/>
                </a:cubicBezTo>
                <a:cubicBezTo>
                  <a:pt x="8500" y="1687"/>
                  <a:pt x="8500" y="1812"/>
                  <a:pt x="8469" y="1968"/>
                </a:cubicBezTo>
                <a:cubicBezTo>
                  <a:pt x="8438" y="2156"/>
                  <a:pt x="8500" y="2343"/>
                  <a:pt x="8438" y="2593"/>
                </a:cubicBezTo>
                <a:cubicBezTo>
                  <a:pt x="8531" y="2500"/>
                  <a:pt x="8563" y="2468"/>
                  <a:pt x="8563" y="2375"/>
                </a:cubicBezTo>
                <a:cubicBezTo>
                  <a:pt x="8563" y="2375"/>
                  <a:pt x="8563" y="2343"/>
                  <a:pt x="8531" y="2343"/>
                </a:cubicBezTo>
                <a:cubicBezTo>
                  <a:pt x="8531" y="2281"/>
                  <a:pt x="8531" y="2250"/>
                  <a:pt x="8563" y="2250"/>
                </a:cubicBezTo>
                <a:cubicBezTo>
                  <a:pt x="8563" y="2250"/>
                  <a:pt x="8563" y="2250"/>
                  <a:pt x="8594" y="2250"/>
                </a:cubicBezTo>
                <a:cubicBezTo>
                  <a:pt x="8594" y="2250"/>
                  <a:pt x="8594" y="2250"/>
                  <a:pt x="8594" y="2250"/>
                </a:cubicBezTo>
                <a:lnTo>
                  <a:pt x="8594" y="2250"/>
                </a:lnTo>
                <a:cubicBezTo>
                  <a:pt x="8594" y="2250"/>
                  <a:pt x="8594" y="2250"/>
                  <a:pt x="8563" y="2250"/>
                </a:cubicBezTo>
                <a:cubicBezTo>
                  <a:pt x="8531" y="2187"/>
                  <a:pt x="8563" y="2156"/>
                  <a:pt x="8594" y="2125"/>
                </a:cubicBezTo>
                <a:cubicBezTo>
                  <a:pt x="8594" y="2062"/>
                  <a:pt x="8625" y="2062"/>
                  <a:pt x="8656" y="2062"/>
                </a:cubicBezTo>
                <a:cubicBezTo>
                  <a:pt x="8781" y="2218"/>
                  <a:pt x="8781" y="2093"/>
                  <a:pt x="8813" y="2031"/>
                </a:cubicBezTo>
                <a:cubicBezTo>
                  <a:pt x="8844" y="2000"/>
                  <a:pt x="8844" y="1968"/>
                  <a:pt x="8875" y="1937"/>
                </a:cubicBezTo>
                <a:cubicBezTo>
                  <a:pt x="8875" y="1937"/>
                  <a:pt x="8875" y="1937"/>
                  <a:pt x="8875" y="1937"/>
                </a:cubicBezTo>
                <a:cubicBezTo>
                  <a:pt x="9063" y="1781"/>
                  <a:pt x="9313" y="1281"/>
                  <a:pt x="9281" y="1125"/>
                </a:cubicBezTo>
                <a:cubicBezTo>
                  <a:pt x="9219" y="1125"/>
                  <a:pt x="9188" y="1218"/>
                  <a:pt x="9156" y="1250"/>
                </a:cubicBezTo>
                <a:cubicBezTo>
                  <a:pt x="9094" y="1312"/>
                  <a:pt x="9063" y="1343"/>
                  <a:pt x="9000" y="1281"/>
                </a:cubicBezTo>
                <a:cubicBezTo>
                  <a:pt x="9000" y="1250"/>
                  <a:pt x="9000" y="1218"/>
                  <a:pt x="9000" y="1187"/>
                </a:cubicBezTo>
                <a:cubicBezTo>
                  <a:pt x="9094" y="1000"/>
                  <a:pt x="9156" y="812"/>
                  <a:pt x="9281" y="656"/>
                </a:cubicBezTo>
                <a:cubicBezTo>
                  <a:pt x="9188" y="656"/>
                  <a:pt x="9156" y="718"/>
                  <a:pt x="9094" y="750"/>
                </a:cubicBezTo>
                <a:cubicBezTo>
                  <a:pt x="9000" y="843"/>
                  <a:pt x="8969" y="968"/>
                  <a:pt x="8906" y="1031"/>
                </a:cubicBezTo>
                <a:cubicBezTo>
                  <a:pt x="8875" y="1062"/>
                  <a:pt x="8813" y="1093"/>
                  <a:pt x="8781" y="1062"/>
                </a:cubicBezTo>
                <a:cubicBezTo>
                  <a:pt x="8750" y="1031"/>
                  <a:pt x="8781" y="1000"/>
                  <a:pt x="8813" y="968"/>
                </a:cubicBezTo>
                <a:cubicBezTo>
                  <a:pt x="8969" y="812"/>
                  <a:pt x="9000" y="562"/>
                  <a:pt x="9188" y="437"/>
                </a:cubicBezTo>
                <a:cubicBezTo>
                  <a:pt x="9250" y="406"/>
                  <a:pt x="9281" y="406"/>
                  <a:pt x="9281" y="343"/>
                </a:cubicBezTo>
                <a:cubicBezTo>
                  <a:pt x="9219" y="343"/>
                  <a:pt x="9125" y="343"/>
                  <a:pt x="9125" y="406"/>
                </a:cubicBezTo>
                <a:cubicBezTo>
                  <a:pt x="9063" y="500"/>
                  <a:pt x="9000" y="531"/>
                  <a:pt x="8906" y="562"/>
                </a:cubicBezTo>
                <a:cubicBezTo>
                  <a:pt x="8875" y="531"/>
                  <a:pt x="8875" y="531"/>
                  <a:pt x="8875" y="500"/>
                </a:cubicBezTo>
                <a:cubicBezTo>
                  <a:pt x="8844" y="406"/>
                  <a:pt x="8875" y="312"/>
                  <a:pt x="8906" y="218"/>
                </a:cubicBezTo>
                <a:cubicBezTo>
                  <a:pt x="8906" y="187"/>
                  <a:pt x="9000" y="187"/>
                  <a:pt x="8969" y="125"/>
                </a:cubicBezTo>
                <a:cubicBezTo>
                  <a:pt x="8938" y="93"/>
                  <a:pt x="8875" y="93"/>
                  <a:pt x="8844" y="93"/>
                </a:cubicBezTo>
                <a:cubicBezTo>
                  <a:pt x="8781" y="125"/>
                  <a:pt x="8750" y="125"/>
                  <a:pt x="8688" y="156"/>
                </a:cubicBezTo>
                <a:cubicBezTo>
                  <a:pt x="8625" y="187"/>
                  <a:pt x="8563" y="250"/>
                  <a:pt x="8500" y="187"/>
                </a:cubicBezTo>
                <a:cubicBezTo>
                  <a:pt x="8469" y="125"/>
                  <a:pt x="8563" y="93"/>
                  <a:pt x="8563" y="31"/>
                </a:cubicBezTo>
                <a:cubicBezTo>
                  <a:pt x="8531" y="31"/>
                  <a:pt x="8531" y="0"/>
                  <a:pt x="8531" y="0"/>
                </a:cubicBezTo>
                <a:cubicBezTo>
                  <a:pt x="8500" y="31"/>
                  <a:pt x="8469" y="31"/>
                  <a:pt x="8469" y="62"/>
                </a:cubicBezTo>
                <a:cubicBezTo>
                  <a:pt x="8375" y="187"/>
                  <a:pt x="8281" y="250"/>
                  <a:pt x="8156" y="125"/>
                </a:cubicBezTo>
                <a:cubicBezTo>
                  <a:pt x="8094" y="93"/>
                  <a:pt x="8031" y="62"/>
                  <a:pt x="8031" y="125"/>
                </a:cubicBezTo>
                <a:cubicBezTo>
                  <a:pt x="8000" y="218"/>
                  <a:pt x="7906" y="281"/>
                  <a:pt x="7906" y="406"/>
                </a:cubicBezTo>
                <a:cubicBezTo>
                  <a:pt x="7875" y="562"/>
                  <a:pt x="7688" y="531"/>
                  <a:pt x="7594" y="593"/>
                </a:cubicBezTo>
                <a:cubicBezTo>
                  <a:pt x="7594" y="562"/>
                  <a:pt x="7625" y="562"/>
                  <a:pt x="7625" y="531"/>
                </a:cubicBezTo>
                <a:cubicBezTo>
                  <a:pt x="7719" y="375"/>
                  <a:pt x="7750" y="218"/>
                  <a:pt x="7875" y="62"/>
                </a:cubicBezTo>
                <a:cubicBezTo>
                  <a:pt x="7688" y="187"/>
                  <a:pt x="7500" y="312"/>
                  <a:pt x="7469" y="562"/>
                </a:cubicBezTo>
                <a:cubicBezTo>
                  <a:pt x="7469" y="562"/>
                  <a:pt x="7469" y="562"/>
                  <a:pt x="7469" y="562"/>
                </a:cubicBezTo>
                <a:cubicBezTo>
                  <a:pt x="7438" y="625"/>
                  <a:pt x="7438" y="687"/>
                  <a:pt x="7406" y="718"/>
                </a:cubicBezTo>
                <a:cubicBezTo>
                  <a:pt x="7344" y="750"/>
                  <a:pt x="7250" y="750"/>
                  <a:pt x="7188" y="812"/>
                </a:cubicBezTo>
                <a:cubicBezTo>
                  <a:pt x="7156" y="843"/>
                  <a:pt x="7094" y="875"/>
                  <a:pt x="7031" y="843"/>
                </a:cubicBezTo>
                <a:cubicBezTo>
                  <a:pt x="6906" y="781"/>
                  <a:pt x="6844" y="843"/>
                  <a:pt x="6781" y="937"/>
                </a:cubicBezTo>
                <a:cubicBezTo>
                  <a:pt x="6719" y="1062"/>
                  <a:pt x="6625" y="1187"/>
                  <a:pt x="6438" y="1062"/>
                </a:cubicBezTo>
                <a:cubicBezTo>
                  <a:pt x="6406" y="1031"/>
                  <a:pt x="6344" y="1062"/>
                  <a:pt x="6281" y="1125"/>
                </a:cubicBezTo>
                <a:cubicBezTo>
                  <a:pt x="6219" y="1218"/>
                  <a:pt x="6094" y="1187"/>
                  <a:pt x="6000" y="1156"/>
                </a:cubicBezTo>
                <a:cubicBezTo>
                  <a:pt x="5938" y="1125"/>
                  <a:pt x="6063" y="1062"/>
                  <a:pt x="6063" y="1000"/>
                </a:cubicBezTo>
                <a:cubicBezTo>
                  <a:pt x="6063" y="968"/>
                  <a:pt x="6063" y="937"/>
                  <a:pt x="6094" y="906"/>
                </a:cubicBezTo>
                <a:cubicBezTo>
                  <a:pt x="6125" y="812"/>
                  <a:pt x="6063" y="812"/>
                  <a:pt x="6031" y="812"/>
                </a:cubicBezTo>
                <a:cubicBezTo>
                  <a:pt x="5969" y="812"/>
                  <a:pt x="5906" y="843"/>
                  <a:pt x="5875" y="906"/>
                </a:cubicBezTo>
                <a:cubicBezTo>
                  <a:pt x="5781" y="875"/>
                  <a:pt x="5719" y="1000"/>
                  <a:pt x="5594" y="968"/>
                </a:cubicBezTo>
                <a:cubicBezTo>
                  <a:pt x="5469" y="906"/>
                  <a:pt x="5344" y="968"/>
                  <a:pt x="5250" y="1062"/>
                </a:cubicBezTo>
                <a:cubicBezTo>
                  <a:pt x="5125" y="1187"/>
                  <a:pt x="4969" y="1343"/>
                  <a:pt x="4750" y="1343"/>
                </a:cubicBezTo>
                <a:cubicBezTo>
                  <a:pt x="4719" y="1343"/>
                  <a:pt x="4594" y="1375"/>
                  <a:pt x="4656" y="1500"/>
                </a:cubicBezTo>
                <a:cubicBezTo>
                  <a:pt x="4656" y="1531"/>
                  <a:pt x="4625" y="1562"/>
                  <a:pt x="4625" y="1593"/>
                </a:cubicBezTo>
                <a:cubicBezTo>
                  <a:pt x="4625" y="1750"/>
                  <a:pt x="4438" y="1843"/>
                  <a:pt x="4219" y="1812"/>
                </a:cubicBezTo>
                <a:cubicBezTo>
                  <a:pt x="4250" y="1718"/>
                  <a:pt x="4406" y="1718"/>
                  <a:pt x="4469" y="1593"/>
                </a:cubicBezTo>
                <a:cubicBezTo>
                  <a:pt x="4375" y="1531"/>
                  <a:pt x="4281" y="1562"/>
                  <a:pt x="4219" y="1625"/>
                </a:cubicBezTo>
                <a:cubicBezTo>
                  <a:pt x="4156" y="1718"/>
                  <a:pt x="4094" y="1687"/>
                  <a:pt x="4031" y="1625"/>
                </a:cubicBezTo>
                <a:cubicBezTo>
                  <a:pt x="3969" y="1531"/>
                  <a:pt x="3938" y="1562"/>
                  <a:pt x="3906" y="1656"/>
                </a:cubicBezTo>
                <a:cubicBezTo>
                  <a:pt x="3875" y="1750"/>
                  <a:pt x="3781" y="1781"/>
                  <a:pt x="3719" y="1812"/>
                </a:cubicBezTo>
                <a:cubicBezTo>
                  <a:pt x="3375" y="1937"/>
                  <a:pt x="3094" y="2062"/>
                  <a:pt x="2875" y="2343"/>
                </a:cubicBezTo>
                <a:cubicBezTo>
                  <a:pt x="2875" y="2375"/>
                  <a:pt x="2844" y="2375"/>
                  <a:pt x="2844" y="2375"/>
                </a:cubicBezTo>
                <a:cubicBezTo>
                  <a:pt x="2719" y="2312"/>
                  <a:pt x="2656" y="2468"/>
                  <a:pt x="2594" y="2468"/>
                </a:cubicBezTo>
                <a:cubicBezTo>
                  <a:pt x="2375" y="2531"/>
                  <a:pt x="2594" y="2625"/>
                  <a:pt x="2563" y="2687"/>
                </a:cubicBezTo>
                <a:cubicBezTo>
                  <a:pt x="2531" y="2750"/>
                  <a:pt x="2531" y="2781"/>
                  <a:pt x="2500" y="2843"/>
                </a:cubicBezTo>
                <a:cubicBezTo>
                  <a:pt x="2656" y="2781"/>
                  <a:pt x="2750" y="2656"/>
                  <a:pt x="2844" y="2562"/>
                </a:cubicBezTo>
                <a:cubicBezTo>
                  <a:pt x="3000" y="2437"/>
                  <a:pt x="3031" y="2437"/>
                  <a:pt x="3156" y="2562"/>
                </a:cubicBezTo>
                <a:cubicBezTo>
                  <a:pt x="3188" y="2593"/>
                  <a:pt x="3250" y="2656"/>
                  <a:pt x="3281" y="2531"/>
                </a:cubicBezTo>
                <a:cubicBezTo>
                  <a:pt x="3313" y="2468"/>
                  <a:pt x="3344" y="2343"/>
                  <a:pt x="3469" y="2375"/>
                </a:cubicBezTo>
                <a:cubicBezTo>
                  <a:pt x="3531" y="2437"/>
                  <a:pt x="3438" y="2468"/>
                  <a:pt x="3438" y="2531"/>
                </a:cubicBezTo>
                <a:cubicBezTo>
                  <a:pt x="3375" y="2625"/>
                  <a:pt x="3219" y="2687"/>
                  <a:pt x="3313" y="2875"/>
                </a:cubicBezTo>
                <a:cubicBezTo>
                  <a:pt x="3344" y="2906"/>
                  <a:pt x="3313" y="3000"/>
                  <a:pt x="3375" y="3093"/>
                </a:cubicBezTo>
                <a:cubicBezTo>
                  <a:pt x="3344" y="2812"/>
                  <a:pt x="3563" y="2656"/>
                  <a:pt x="3625" y="2468"/>
                </a:cubicBezTo>
                <a:cubicBezTo>
                  <a:pt x="3625" y="2406"/>
                  <a:pt x="3719" y="2375"/>
                  <a:pt x="3688" y="2312"/>
                </a:cubicBezTo>
                <a:cubicBezTo>
                  <a:pt x="3625" y="2250"/>
                  <a:pt x="3594" y="2375"/>
                  <a:pt x="3531" y="2343"/>
                </a:cubicBezTo>
                <a:cubicBezTo>
                  <a:pt x="3500" y="2312"/>
                  <a:pt x="3500" y="2312"/>
                  <a:pt x="3531" y="2281"/>
                </a:cubicBezTo>
                <a:cubicBezTo>
                  <a:pt x="3688" y="2125"/>
                  <a:pt x="3844" y="1968"/>
                  <a:pt x="4000" y="1843"/>
                </a:cubicBezTo>
                <a:cubicBezTo>
                  <a:pt x="4031" y="1812"/>
                  <a:pt x="4094" y="1750"/>
                  <a:pt x="4125" y="1812"/>
                </a:cubicBezTo>
                <a:cubicBezTo>
                  <a:pt x="4063" y="1968"/>
                  <a:pt x="4094" y="2156"/>
                  <a:pt x="4031" y="2312"/>
                </a:cubicBezTo>
                <a:cubicBezTo>
                  <a:pt x="3969" y="2468"/>
                  <a:pt x="4031" y="2656"/>
                  <a:pt x="3844" y="2812"/>
                </a:cubicBezTo>
                <a:cubicBezTo>
                  <a:pt x="3969" y="2812"/>
                  <a:pt x="4000" y="2687"/>
                  <a:pt x="4063" y="2812"/>
                </a:cubicBezTo>
                <a:cubicBezTo>
                  <a:pt x="4063" y="2843"/>
                  <a:pt x="4063" y="2875"/>
                  <a:pt x="4031" y="2906"/>
                </a:cubicBezTo>
                <a:cubicBezTo>
                  <a:pt x="4000" y="2968"/>
                  <a:pt x="4000" y="3062"/>
                  <a:pt x="4000" y="3125"/>
                </a:cubicBezTo>
                <a:cubicBezTo>
                  <a:pt x="4000" y="3312"/>
                  <a:pt x="4000" y="3500"/>
                  <a:pt x="4000" y="3656"/>
                </a:cubicBezTo>
                <a:cubicBezTo>
                  <a:pt x="4031" y="3781"/>
                  <a:pt x="4063" y="3906"/>
                  <a:pt x="4063" y="4031"/>
                </a:cubicBezTo>
                <a:cubicBezTo>
                  <a:pt x="4094" y="4125"/>
                  <a:pt x="4125" y="4125"/>
                  <a:pt x="4219" y="4093"/>
                </a:cubicBezTo>
                <a:cubicBezTo>
                  <a:pt x="4250" y="4250"/>
                  <a:pt x="4219" y="4468"/>
                  <a:pt x="4469" y="4500"/>
                </a:cubicBezTo>
                <a:cubicBezTo>
                  <a:pt x="4500" y="4500"/>
                  <a:pt x="4469" y="4531"/>
                  <a:pt x="4469" y="4562"/>
                </a:cubicBezTo>
                <a:cubicBezTo>
                  <a:pt x="4313" y="4718"/>
                  <a:pt x="4469" y="4843"/>
                  <a:pt x="4469" y="4968"/>
                </a:cubicBezTo>
                <a:cubicBezTo>
                  <a:pt x="4500" y="5031"/>
                  <a:pt x="4531" y="5093"/>
                  <a:pt x="4594" y="5093"/>
                </a:cubicBezTo>
                <a:cubicBezTo>
                  <a:pt x="4688" y="5125"/>
                  <a:pt x="4594" y="5000"/>
                  <a:pt x="4656" y="4968"/>
                </a:cubicBezTo>
                <a:cubicBezTo>
                  <a:pt x="4688" y="5093"/>
                  <a:pt x="4781" y="5156"/>
                  <a:pt x="4750" y="5312"/>
                </a:cubicBezTo>
                <a:cubicBezTo>
                  <a:pt x="4750" y="5156"/>
                  <a:pt x="4594" y="5218"/>
                  <a:pt x="4531" y="5156"/>
                </a:cubicBezTo>
                <a:cubicBezTo>
                  <a:pt x="4375" y="5031"/>
                  <a:pt x="4219" y="4875"/>
                  <a:pt x="4219" y="4656"/>
                </a:cubicBezTo>
                <a:cubicBezTo>
                  <a:pt x="4188" y="4468"/>
                  <a:pt x="4063" y="4312"/>
                  <a:pt x="4000" y="4125"/>
                </a:cubicBezTo>
                <a:cubicBezTo>
                  <a:pt x="3969" y="3968"/>
                  <a:pt x="3906" y="3812"/>
                  <a:pt x="3938" y="3625"/>
                </a:cubicBezTo>
                <a:cubicBezTo>
                  <a:pt x="3938" y="3593"/>
                  <a:pt x="3938" y="3562"/>
                  <a:pt x="3906" y="3562"/>
                </a:cubicBezTo>
                <a:cubicBezTo>
                  <a:pt x="3844" y="3562"/>
                  <a:pt x="3844" y="3593"/>
                  <a:pt x="3844" y="3625"/>
                </a:cubicBezTo>
                <a:cubicBezTo>
                  <a:pt x="3813" y="3875"/>
                  <a:pt x="3875" y="4093"/>
                  <a:pt x="3969" y="4343"/>
                </a:cubicBezTo>
                <a:cubicBezTo>
                  <a:pt x="3969" y="4375"/>
                  <a:pt x="3969" y="4406"/>
                  <a:pt x="3969" y="4468"/>
                </a:cubicBezTo>
                <a:cubicBezTo>
                  <a:pt x="3938" y="4500"/>
                  <a:pt x="3906" y="4531"/>
                  <a:pt x="3875" y="4562"/>
                </a:cubicBezTo>
                <a:cubicBezTo>
                  <a:pt x="3813" y="4531"/>
                  <a:pt x="3844" y="4437"/>
                  <a:pt x="3781" y="4437"/>
                </a:cubicBezTo>
                <a:cubicBezTo>
                  <a:pt x="3781" y="4406"/>
                  <a:pt x="3781" y="4343"/>
                  <a:pt x="3781" y="4312"/>
                </a:cubicBezTo>
                <a:cubicBezTo>
                  <a:pt x="3781" y="4281"/>
                  <a:pt x="3750" y="4218"/>
                  <a:pt x="3688" y="4218"/>
                </a:cubicBezTo>
                <a:cubicBezTo>
                  <a:pt x="3656" y="4281"/>
                  <a:pt x="3719" y="4343"/>
                  <a:pt x="3719" y="4406"/>
                </a:cubicBezTo>
                <a:cubicBezTo>
                  <a:pt x="3750" y="4468"/>
                  <a:pt x="3813" y="4531"/>
                  <a:pt x="3688" y="4562"/>
                </a:cubicBezTo>
                <a:cubicBezTo>
                  <a:pt x="3625" y="4500"/>
                  <a:pt x="3625" y="4406"/>
                  <a:pt x="3563" y="4312"/>
                </a:cubicBezTo>
                <a:cubicBezTo>
                  <a:pt x="3531" y="4375"/>
                  <a:pt x="3563" y="4468"/>
                  <a:pt x="3469" y="4437"/>
                </a:cubicBezTo>
                <a:cubicBezTo>
                  <a:pt x="3438" y="4437"/>
                  <a:pt x="3406" y="4375"/>
                  <a:pt x="3406" y="4312"/>
                </a:cubicBezTo>
                <a:cubicBezTo>
                  <a:pt x="3406" y="4281"/>
                  <a:pt x="3406" y="4250"/>
                  <a:pt x="3406" y="4218"/>
                </a:cubicBezTo>
                <a:cubicBezTo>
                  <a:pt x="3375" y="4000"/>
                  <a:pt x="3313" y="3781"/>
                  <a:pt x="3344" y="3562"/>
                </a:cubicBezTo>
                <a:cubicBezTo>
                  <a:pt x="3281" y="3593"/>
                  <a:pt x="3250" y="3656"/>
                  <a:pt x="3250" y="3687"/>
                </a:cubicBezTo>
                <a:cubicBezTo>
                  <a:pt x="3219" y="3843"/>
                  <a:pt x="3219" y="3968"/>
                  <a:pt x="3250" y="4093"/>
                </a:cubicBezTo>
                <a:cubicBezTo>
                  <a:pt x="3250" y="4156"/>
                  <a:pt x="3281" y="4187"/>
                  <a:pt x="3219" y="4218"/>
                </a:cubicBezTo>
                <a:cubicBezTo>
                  <a:pt x="3156" y="4218"/>
                  <a:pt x="3125" y="4187"/>
                  <a:pt x="3125" y="4125"/>
                </a:cubicBezTo>
                <a:cubicBezTo>
                  <a:pt x="3125" y="4062"/>
                  <a:pt x="3094" y="4000"/>
                  <a:pt x="3125" y="3968"/>
                </a:cubicBezTo>
                <a:cubicBezTo>
                  <a:pt x="3125" y="3875"/>
                  <a:pt x="3094" y="3875"/>
                  <a:pt x="3063" y="3843"/>
                </a:cubicBezTo>
                <a:cubicBezTo>
                  <a:pt x="2938" y="4312"/>
                  <a:pt x="3094" y="4718"/>
                  <a:pt x="3188" y="5156"/>
                </a:cubicBezTo>
                <a:cubicBezTo>
                  <a:pt x="3156" y="5187"/>
                  <a:pt x="3125" y="5187"/>
                  <a:pt x="3125" y="5187"/>
                </a:cubicBezTo>
                <a:cubicBezTo>
                  <a:pt x="2969" y="4875"/>
                  <a:pt x="2969" y="4531"/>
                  <a:pt x="2844" y="4187"/>
                </a:cubicBezTo>
                <a:cubicBezTo>
                  <a:pt x="2813" y="4156"/>
                  <a:pt x="2844" y="4093"/>
                  <a:pt x="2781" y="4093"/>
                </a:cubicBezTo>
                <a:cubicBezTo>
                  <a:pt x="2750" y="4093"/>
                  <a:pt x="2719" y="4156"/>
                  <a:pt x="2719" y="4187"/>
                </a:cubicBezTo>
                <a:cubicBezTo>
                  <a:pt x="2688" y="4343"/>
                  <a:pt x="2688" y="4468"/>
                  <a:pt x="2719" y="4593"/>
                </a:cubicBezTo>
                <a:cubicBezTo>
                  <a:pt x="2656" y="4656"/>
                  <a:pt x="2594" y="4687"/>
                  <a:pt x="2594" y="4562"/>
                </a:cubicBezTo>
                <a:cubicBezTo>
                  <a:pt x="2594" y="4500"/>
                  <a:pt x="2594" y="4406"/>
                  <a:pt x="2594" y="4312"/>
                </a:cubicBezTo>
                <a:cubicBezTo>
                  <a:pt x="2594" y="4312"/>
                  <a:pt x="2594" y="4281"/>
                  <a:pt x="2563" y="4281"/>
                </a:cubicBezTo>
                <a:cubicBezTo>
                  <a:pt x="2531" y="4281"/>
                  <a:pt x="2500" y="4281"/>
                  <a:pt x="2500" y="4312"/>
                </a:cubicBezTo>
                <a:cubicBezTo>
                  <a:pt x="2531" y="4468"/>
                  <a:pt x="2531" y="4562"/>
                  <a:pt x="2469" y="4687"/>
                </a:cubicBezTo>
                <a:cubicBezTo>
                  <a:pt x="2406" y="4843"/>
                  <a:pt x="2469" y="5093"/>
                  <a:pt x="2625" y="5312"/>
                </a:cubicBezTo>
                <a:cubicBezTo>
                  <a:pt x="2688" y="5156"/>
                  <a:pt x="2594" y="5031"/>
                  <a:pt x="2594" y="4906"/>
                </a:cubicBezTo>
                <a:cubicBezTo>
                  <a:pt x="2563" y="4812"/>
                  <a:pt x="2563" y="4750"/>
                  <a:pt x="2719" y="4750"/>
                </a:cubicBezTo>
                <a:cubicBezTo>
                  <a:pt x="2688" y="4843"/>
                  <a:pt x="2750" y="4906"/>
                  <a:pt x="2781" y="4968"/>
                </a:cubicBezTo>
                <a:cubicBezTo>
                  <a:pt x="2781" y="4968"/>
                  <a:pt x="2813" y="4968"/>
                  <a:pt x="2813" y="4968"/>
                </a:cubicBezTo>
                <a:cubicBezTo>
                  <a:pt x="2813" y="4968"/>
                  <a:pt x="2781" y="5000"/>
                  <a:pt x="2781" y="5000"/>
                </a:cubicBezTo>
                <a:cubicBezTo>
                  <a:pt x="2781" y="5000"/>
                  <a:pt x="2781" y="5000"/>
                  <a:pt x="2781" y="5031"/>
                </a:cubicBezTo>
                <a:lnTo>
                  <a:pt x="2781" y="5031"/>
                </a:lnTo>
                <a:cubicBezTo>
                  <a:pt x="2781" y="5031"/>
                  <a:pt x="2813" y="5031"/>
                  <a:pt x="2813" y="5000"/>
                </a:cubicBezTo>
                <a:cubicBezTo>
                  <a:pt x="2813" y="5000"/>
                  <a:pt x="2813" y="5000"/>
                  <a:pt x="2813" y="4968"/>
                </a:cubicBezTo>
                <a:cubicBezTo>
                  <a:pt x="2813" y="4968"/>
                  <a:pt x="2844" y="4968"/>
                  <a:pt x="2844" y="4968"/>
                </a:cubicBezTo>
                <a:cubicBezTo>
                  <a:pt x="2875" y="5125"/>
                  <a:pt x="3031" y="5343"/>
                  <a:pt x="2969" y="5437"/>
                </a:cubicBezTo>
                <a:cubicBezTo>
                  <a:pt x="2906" y="5562"/>
                  <a:pt x="2969" y="5593"/>
                  <a:pt x="3000" y="5687"/>
                </a:cubicBezTo>
                <a:cubicBezTo>
                  <a:pt x="3125" y="5968"/>
                  <a:pt x="3219" y="6281"/>
                  <a:pt x="3469" y="6500"/>
                </a:cubicBezTo>
                <a:cubicBezTo>
                  <a:pt x="3500" y="6531"/>
                  <a:pt x="3531" y="6562"/>
                  <a:pt x="3531" y="6625"/>
                </a:cubicBezTo>
                <a:cubicBezTo>
                  <a:pt x="3531" y="6718"/>
                  <a:pt x="3594" y="6781"/>
                  <a:pt x="3625" y="6875"/>
                </a:cubicBezTo>
                <a:cubicBezTo>
                  <a:pt x="3781" y="7093"/>
                  <a:pt x="3938" y="7312"/>
                  <a:pt x="4125" y="7531"/>
                </a:cubicBezTo>
                <a:cubicBezTo>
                  <a:pt x="4469" y="7906"/>
                  <a:pt x="4750" y="8343"/>
                  <a:pt x="5188" y="8656"/>
                </a:cubicBezTo>
                <a:cubicBezTo>
                  <a:pt x="5313" y="8718"/>
                  <a:pt x="5438" y="8781"/>
                  <a:pt x="5500" y="8906"/>
                </a:cubicBezTo>
                <a:cubicBezTo>
                  <a:pt x="5688" y="9187"/>
                  <a:pt x="5938" y="9406"/>
                  <a:pt x="6156" y="9656"/>
                </a:cubicBezTo>
                <a:cubicBezTo>
                  <a:pt x="6313" y="9781"/>
                  <a:pt x="6500" y="9875"/>
                  <a:pt x="6594" y="10062"/>
                </a:cubicBezTo>
                <a:cubicBezTo>
                  <a:pt x="6594" y="10093"/>
                  <a:pt x="6594" y="10125"/>
                  <a:pt x="6563" y="10093"/>
                </a:cubicBezTo>
                <a:cubicBezTo>
                  <a:pt x="6438" y="10031"/>
                  <a:pt x="6313" y="9968"/>
                  <a:pt x="6219" y="9875"/>
                </a:cubicBezTo>
                <a:cubicBezTo>
                  <a:pt x="6031" y="9718"/>
                  <a:pt x="5813" y="9531"/>
                  <a:pt x="5594" y="9406"/>
                </a:cubicBezTo>
                <a:cubicBezTo>
                  <a:pt x="5594" y="9375"/>
                  <a:pt x="5563" y="9343"/>
                  <a:pt x="5563" y="9343"/>
                </a:cubicBezTo>
                <a:cubicBezTo>
                  <a:pt x="5313" y="9156"/>
                  <a:pt x="5125" y="8937"/>
                  <a:pt x="4938" y="8718"/>
                </a:cubicBezTo>
                <a:cubicBezTo>
                  <a:pt x="4750" y="8531"/>
                  <a:pt x="4500" y="8343"/>
                  <a:pt x="4375" y="8062"/>
                </a:cubicBezTo>
                <a:cubicBezTo>
                  <a:pt x="4281" y="7906"/>
                  <a:pt x="4156" y="7750"/>
                  <a:pt x="4000" y="7656"/>
                </a:cubicBezTo>
                <a:cubicBezTo>
                  <a:pt x="3938" y="7625"/>
                  <a:pt x="3938" y="7593"/>
                  <a:pt x="3938" y="7531"/>
                </a:cubicBezTo>
                <a:lnTo>
                  <a:pt x="3938" y="7531"/>
                </a:lnTo>
                <a:cubicBezTo>
                  <a:pt x="4000" y="7531"/>
                  <a:pt x="4031" y="7593"/>
                  <a:pt x="4000" y="7656"/>
                </a:cubicBezTo>
                <a:cubicBezTo>
                  <a:pt x="4000" y="7781"/>
                  <a:pt x="4094" y="7906"/>
                  <a:pt x="4156" y="7968"/>
                </a:cubicBezTo>
                <a:cubicBezTo>
                  <a:pt x="4531" y="8406"/>
                  <a:pt x="4875" y="8843"/>
                  <a:pt x="5281" y="9218"/>
                </a:cubicBezTo>
                <a:cubicBezTo>
                  <a:pt x="5219" y="9250"/>
                  <a:pt x="5188" y="9281"/>
                  <a:pt x="5188" y="9343"/>
                </a:cubicBezTo>
                <a:cubicBezTo>
                  <a:pt x="4969" y="9156"/>
                  <a:pt x="4750" y="8937"/>
                  <a:pt x="4531" y="8750"/>
                </a:cubicBezTo>
                <a:cubicBezTo>
                  <a:pt x="4500" y="8687"/>
                  <a:pt x="4469" y="8625"/>
                  <a:pt x="4375" y="8625"/>
                </a:cubicBezTo>
                <a:cubicBezTo>
                  <a:pt x="4344" y="8625"/>
                  <a:pt x="4344" y="8625"/>
                  <a:pt x="4344" y="8625"/>
                </a:cubicBezTo>
                <a:lnTo>
                  <a:pt x="4344" y="8625"/>
                </a:lnTo>
                <a:cubicBezTo>
                  <a:pt x="4344" y="8625"/>
                  <a:pt x="4344" y="8625"/>
                  <a:pt x="4375" y="8625"/>
                </a:cubicBezTo>
                <a:cubicBezTo>
                  <a:pt x="4344" y="8625"/>
                  <a:pt x="4344" y="8656"/>
                  <a:pt x="4344" y="8656"/>
                </a:cubicBezTo>
                <a:cubicBezTo>
                  <a:pt x="4344" y="8750"/>
                  <a:pt x="4500" y="8750"/>
                  <a:pt x="4438" y="8875"/>
                </a:cubicBezTo>
                <a:cubicBezTo>
                  <a:pt x="4313" y="8843"/>
                  <a:pt x="4281" y="8687"/>
                  <a:pt x="4188" y="8656"/>
                </a:cubicBezTo>
                <a:cubicBezTo>
                  <a:pt x="4125" y="8562"/>
                  <a:pt x="4031" y="8468"/>
                  <a:pt x="3969" y="8406"/>
                </a:cubicBezTo>
                <a:cubicBezTo>
                  <a:pt x="3875" y="8312"/>
                  <a:pt x="3781" y="8218"/>
                  <a:pt x="3719" y="8093"/>
                </a:cubicBezTo>
                <a:cubicBezTo>
                  <a:pt x="3719" y="8093"/>
                  <a:pt x="3719" y="8093"/>
                  <a:pt x="3688" y="8093"/>
                </a:cubicBezTo>
                <a:cubicBezTo>
                  <a:pt x="3594" y="7875"/>
                  <a:pt x="3438" y="7687"/>
                  <a:pt x="3250" y="7531"/>
                </a:cubicBezTo>
                <a:cubicBezTo>
                  <a:pt x="3375" y="7718"/>
                  <a:pt x="3469" y="7968"/>
                  <a:pt x="3688" y="8125"/>
                </a:cubicBezTo>
                <a:cubicBezTo>
                  <a:pt x="3688" y="8125"/>
                  <a:pt x="3688" y="8125"/>
                  <a:pt x="3688" y="8156"/>
                </a:cubicBezTo>
                <a:cubicBezTo>
                  <a:pt x="3813" y="8343"/>
                  <a:pt x="3969" y="8562"/>
                  <a:pt x="4156" y="8718"/>
                </a:cubicBezTo>
                <a:cubicBezTo>
                  <a:pt x="4313" y="8875"/>
                  <a:pt x="4406" y="9093"/>
                  <a:pt x="4625" y="9187"/>
                </a:cubicBezTo>
                <a:cubicBezTo>
                  <a:pt x="4625" y="9093"/>
                  <a:pt x="4531" y="9062"/>
                  <a:pt x="4531" y="8968"/>
                </a:cubicBezTo>
                <a:cubicBezTo>
                  <a:pt x="4781" y="9093"/>
                  <a:pt x="4906" y="9343"/>
                  <a:pt x="5156" y="9500"/>
                </a:cubicBezTo>
                <a:cubicBezTo>
                  <a:pt x="5000" y="9531"/>
                  <a:pt x="4938" y="9468"/>
                  <a:pt x="4906" y="9406"/>
                </a:cubicBezTo>
                <a:cubicBezTo>
                  <a:pt x="4875" y="9343"/>
                  <a:pt x="4813" y="9312"/>
                  <a:pt x="4781" y="9281"/>
                </a:cubicBezTo>
                <a:cubicBezTo>
                  <a:pt x="4719" y="9250"/>
                  <a:pt x="4688" y="9187"/>
                  <a:pt x="4656" y="9250"/>
                </a:cubicBezTo>
                <a:cubicBezTo>
                  <a:pt x="4625" y="9281"/>
                  <a:pt x="4656" y="9312"/>
                  <a:pt x="4688" y="9343"/>
                </a:cubicBezTo>
                <a:cubicBezTo>
                  <a:pt x="4719" y="9375"/>
                  <a:pt x="4750" y="9375"/>
                  <a:pt x="4750" y="9406"/>
                </a:cubicBezTo>
                <a:cubicBezTo>
                  <a:pt x="5125" y="9750"/>
                  <a:pt x="5500" y="10093"/>
                  <a:pt x="5875" y="10437"/>
                </a:cubicBezTo>
                <a:cubicBezTo>
                  <a:pt x="5844" y="10437"/>
                  <a:pt x="5844" y="10468"/>
                  <a:pt x="5844" y="10500"/>
                </a:cubicBezTo>
                <a:cubicBezTo>
                  <a:pt x="5813" y="10468"/>
                  <a:pt x="5781" y="10468"/>
                  <a:pt x="5688" y="10468"/>
                </a:cubicBezTo>
                <a:cubicBezTo>
                  <a:pt x="6063" y="10718"/>
                  <a:pt x="6375" y="10968"/>
                  <a:pt x="6719" y="11218"/>
                </a:cubicBezTo>
                <a:cubicBezTo>
                  <a:pt x="6938" y="11375"/>
                  <a:pt x="7188" y="11562"/>
                  <a:pt x="7438" y="11687"/>
                </a:cubicBezTo>
                <a:cubicBezTo>
                  <a:pt x="7531" y="11843"/>
                  <a:pt x="7750" y="11875"/>
                  <a:pt x="7906" y="11968"/>
                </a:cubicBezTo>
                <a:cubicBezTo>
                  <a:pt x="8594" y="12375"/>
                  <a:pt x="9250" y="12625"/>
                  <a:pt x="9438" y="12593"/>
                </a:cubicBezTo>
                <a:cubicBezTo>
                  <a:pt x="9250" y="12500"/>
                  <a:pt x="9063" y="12437"/>
                  <a:pt x="8906" y="12343"/>
                </a:cubicBezTo>
                <a:cubicBezTo>
                  <a:pt x="9094" y="12343"/>
                  <a:pt x="9219" y="12406"/>
                  <a:pt x="9375" y="12468"/>
                </a:cubicBezTo>
                <a:cubicBezTo>
                  <a:pt x="9406" y="12468"/>
                  <a:pt x="9438" y="12468"/>
                  <a:pt x="9469" y="12500"/>
                </a:cubicBezTo>
                <a:cubicBezTo>
                  <a:pt x="9469" y="12500"/>
                  <a:pt x="9500" y="12500"/>
                  <a:pt x="9531" y="12500"/>
                </a:cubicBezTo>
                <a:cubicBezTo>
                  <a:pt x="9875" y="12562"/>
                  <a:pt x="10219" y="12687"/>
                  <a:pt x="10563" y="12750"/>
                </a:cubicBezTo>
                <a:cubicBezTo>
                  <a:pt x="10344" y="12656"/>
                  <a:pt x="10094" y="12562"/>
                  <a:pt x="9875" y="12500"/>
                </a:cubicBezTo>
                <a:cubicBezTo>
                  <a:pt x="9750" y="12468"/>
                  <a:pt x="9625" y="12500"/>
                  <a:pt x="9625" y="12312"/>
                </a:cubicBezTo>
                <a:cubicBezTo>
                  <a:pt x="9813" y="12312"/>
                  <a:pt x="10000" y="12375"/>
                  <a:pt x="10188" y="12437"/>
                </a:cubicBezTo>
                <a:cubicBezTo>
                  <a:pt x="10156" y="12343"/>
                  <a:pt x="10094" y="12343"/>
                  <a:pt x="10031" y="12312"/>
                </a:cubicBezTo>
                <a:cubicBezTo>
                  <a:pt x="9844" y="12250"/>
                  <a:pt x="9594" y="12250"/>
                  <a:pt x="9406" y="12125"/>
                </a:cubicBezTo>
                <a:cubicBezTo>
                  <a:pt x="9313" y="12093"/>
                  <a:pt x="9250" y="12031"/>
                  <a:pt x="9156" y="12000"/>
                </a:cubicBezTo>
                <a:cubicBezTo>
                  <a:pt x="8844" y="11937"/>
                  <a:pt x="8531" y="11812"/>
                  <a:pt x="8250" y="11625"/>
                </a:cubicBezTo>
                <a:cubicBezTo>
                  <a:pt x="7719" y="11312"/>
                  <a:pt x="7188" y="10968"/>
                  <a:pt x="6688" y="10593"/>
                </a:cubicBezTo>
                <a:cubicBezTo>
                  <a:pt x="6500" y="10468"/>
                  <a:pt x="6281" y="10375"/>
                  <a:pt x="6156" y="10156"/>
                </a:cubicBezTo>
                <a:cubicBezTo>
                  <a:pt x="6250" y="10125"/>
                  <a:pt x="6344" y="10250"/>
                  <a:pt x="6438" y="10156"/>
                </a:cubicBezTo>
                <a:cubicBezTo>
                  <a:pt x="6438" y="10187"/>
                  <a:pt x="6438" y="10187"/>
                  <a:pt x="6469" y="10187"/>
                </a:cubicBezTo>
                <a:cubicBezTo>
                  <a:pt x="6469" y="10218"/>
                  <a:pt x="6500" y="10218"/>
                  <a:pt x="6500" y="10218"/>
                </a:cubicBezTo>
                <a:cubicBezTo>
                  <a:pt x="6500" y="10250"/>
                  <a:pt x="6531" y="10250"/>
                  <a:pt x="6531" y="10281"/>
                </a:cubicBezTo>
                <a:cubicBezTo>
                  <a:pt x="6719" y="10437"/>
                  <a:pt x="6938" y="10500"/>
                  <a:pt x="7125" y="10656"/>
                </a:cubicBezTo>
                <a:cubicBezTo>
                  <a:pt x="7438" y="10843"/>
                  <a:pt x="7719" y="11093"/>
                  <a:pt x="8094" y="11156"/>
                </a:cubicBezTo>
                <a:cubicBezTo>
                  <a:pt x="8500" y="11250"/>
                  <a:pt x="8781" y="11562"/>
                  <a:pt x="9188" y="11625"/>
                </a:cubicBezTo>
                <a:cubicBezTo>
                  <a:pt x="9438" y="11687"/>
                  <a:pt x="9688" y="11781"/>
                  <a:pt x="9938" y="11875"/>
                </a:cubicBezTo>
                <a:cubicBezTo>
                  <a:pt x="10375" y="12000"/>
                  <a:pt x="10781" y="12156"/>
                  <a:pt x="11219" y="12218"/>
                </a:cubicBezTo>
                <a:cubicBezTo>
                  <a:pt x="11250" y="12250"/>
                  <a:pt x="11250" y="12281"/>
                  <a:pt x="11313" y="12250"/>
                </a:cubicBezTo>
                <a:cubicBezTo>
                  <a:pt x="11344" y="12250"/>
                  <a:pt x="11375" y="12250"/>
                  <a:pt x="11406" y="12250"/>
                </a:cubicBezTo>
                <a:cubicBezTo>
                  <a:pt x="11500" y="12281"/>
                  <a:pt x="11594" y="12281"/>
                  <a:pt x="11688" y="12312"/>
                </a:cubicBezTo>
                <a:cubicBezTo>
                  <a:pt x="11781" y="12343"/>
                  <a:pt x="11875" y="12375"/>
                  <a:pt x="11969" y="12375"/>
                </a:cubicBezTo>
                <a:cubicBezTo>
                  <a:pt x="12406" y="12437"/>
                  <a:pt x="12813" y="12500"/>
                  <a:pt x="13250" y="12562"/>
                </a:cubicBezTo>
                <a:cubicBezTo>
                  <a:pt x="13938" y="12687"/>
                  <a:pt x="14594" y="12656"/>
                  <a:pt x="15281" y="12656"/>
                </a:cubicBezTo>
                <a:cubicBezTo>
                  <a:pt x="15906" y="12656"/>
                  <a:pt x="16531" y="12656"/>
                  <a:pt x="17156" y="12500"/>
                </a:cubicBezTo>
                <a:cubicBezTo>
                  <a:pt x="17500" y="12437"/>
                  <a:pt x="17875" y="12343"/>
                  <a:pt x="18250" y="12312"/>
                </a:cubicBezTo>
                <a:cubicBezTo>
                  <a:pt x="18281" y="12312"/>
                  <a:pt x="18344" y="12281"/>
                  <a:pt x="18406" y="12250"/>
                </a:cubicBezTo>
                <a:cubicBezTo>
                  <a:pt x="18156" y="12187"/>
                  <a:pt x="17938" y="12281"/>
                  <a:pt x="17688" y="12312"/>
                </a:cubicBezTo>
                <a:cubicBezTo>
                  <a:pt x="17250" y="12406"/>
                  <a:pt x="17156" y="12406"/>
                  <a:pt x="17031" y="12343"/>
                </a:cubicBezTo>
                <a:cubicBezTo>
                  <a:pt x="17156" y="12312"/>
                  <a:pt x="17281" y="12250"/>
                  <a:pt x="17406" y="12218"/>
                </a:cubicBezTo>
                <a:cubicBezTo>
                  <a:pt x="17906" y="12187"/>
                  <a:pt x="18375" y="12093"/>
                  <a:pt x="18875" y="11968"/>
                </a:cubicBezTo>
                <a:cubicBezTo>
                  <a:pt x="19219" y="11906"/>
                  <a:pt x="19563" y="11750"/>
                  <a:pt x="19906" y="11656"/>
                </a:cubicBezTo>
                <a:cubicBezTo>
                  <a:pt x="20094" y="11593"/>
                  <a:pt x="20313" y="11593"/>
                  <a:pt x="20500" y="11468"/>
                </a:cubicBezTo>
                <a:cubicBezTo>
                  <a:pt x="20563" y="11468"/>
                  <a:pt x="20594" y="11437"/>
                  <a:pt x="20625" y="11375"/>
                </a:cubicBezTo>
                <a:cubicBezTo>
                  <a:pt x="20625" y="11343"/>
                  <a:pt x="20656" y="11312"/>
                  <a:pt x="20688" y="11343"/>
                </a:cubicBezTo>
                <a:cubicBezTo>
                  <a:pt x="20719" y="11375"/>
                  <a:pt x="20750" y="11375"/>
                  <a:pt x="20781" y="11343"/>
                </a:cubicBezTo>
                <a:cubicBezTo>
                  <a:pt x="20719" y="11281"/>
                  <a:pt x="20781" y="11250"/>
                  <a:pt x="20750" y="11218"/>
                </a:cubicBezTo>
                <a:cubicBezTo>
                  <a:pt x="20750" y="11187"/>
                  <a:pt x="20719" y="11187"/>
                  <a:pt x="20656" y="11218"/>
                </a:cubicBezTo>
                <a:cubicBezTo>
                  <a:pt x="20625" y="11250"/>
                  <a:pt x="20531" y="11250"/>
                  <a:pt x="20469" y="11250"/>
                </a:cubicBezTo>
                <a:cubicBezTo>
                  <a:pt x="20406" y="11250"/>
                  <a:pt x="20344" y="11250"/>
                  <a:pt x="20281" y="11281"/>
                </a:cubicBezTo>
                <a:cubicBezTo>
                  <a:pt x="20125" y="11343"/>
                  <a:pt x="19969" y="11437"/>
                  <a:pt x="19813" y="11468"/>
                </a:cubicBezTo>
                <a:cubicBezTo>
                  <a:pt x="19656" y="11468"/>
                  <a:pt x="19469" y="11468"/>
                  <a:pt x="19313" y="11531"/>
                </a:cubicBezTo>
                <a:cubicBezTo>
                  <a:pt x="19313" y="11500"/>
                  <a:pt x="19281" y="11500"/>
                  <a:pt x="19281" y="11468"/>
                </a:cubicBezTo>
                <a:cubicBezTo>
                  <a:pt x="19313" y="11468"/>
                  <a:pt x="19375" y="11468"/>
                  <a:pt x="19406" y="11437"/>
                </a:cubicBezTo>
                <a:cubicBezTo>
                  <a:pt x="19656" y="11375"/>
                  <a:pt x="19906" y="11281"/>
                  <a:pt x="20156" y="11218"/>
                </a:cubicBezTo>
                <a:cubicBezTo>
                  <a:pt x="20406" y="11156"/>
                  <a:pt x="20656" y="11093"/>
                  <a:pt x="20906" y="11000"/>
                </a:cubicBezTo>
                <a:cubicBezTo>
                  <a:pt x="21281" y="10843"/>
                  <a:pt x="21688" y="10656"/>
                  <a:pt x="22063" y="10500"/>
                </a:cubicBezTo>
                <a:cubicBezTo>
                  <a:pt x="22438" y="10343"/>
                  <a:pt x="22813" y="10218"/>
                  <a:pt x="23188" y="10062"/>
                </a:cubicBezTo>
                <a:cubicBezTo>
                  <a:pt x="23594" y="9906"/>
                  <a:pt x="23969" y="9718"/>
                  <a:pt x="24281" y="9406"/>
                </a:cubicBezTo>
                <a:cubicBezTo>
                  <a:pt x="24531" y="9312"/>
                  <a:pt x="24469" y="9000"/>
                  <a:pt x="24594" y="8812"/>
                </a:cubicBezTo>
                <a:cubicBezTo>
                  <a:pt x="24563" y="8781"/>
                  <a:pt x="24469" y="8875"/>
                  <a:pt x="24469" y="8750"/>
                </a:cubicBezTo>
                <a:cubicBezTo>
                  <a:pt x="24688" y="8562"/>
                  <a:pt x="24875" y="8343"/>
                  <a:pt x="25125" y="8250"/>
                </a:cubicBezTo>
                <a:cubicBezTo>
                  <a:pt x="25313" y="8156"/>
                  <a:pt x="25344" y="7968"/>
                  <a:pt x="25438" y="7812"/>
                </a:cubicBezTo>
                <a:cubicBezTo>
                  <a:pt x="25438" y="7812"/>
                  <a:pt x="25469" y="7781"/>
                  <a:pt x="25469" y="7781"/>
                </a:cubicBezTo>
                <a:cubicBezTo>
                  <a:pt x="25313" y="7656"/>
                  <a:pt x="25500" y="7625"/>
                  <a:pt x="25531" y="7562"/>
                </a:cubicBezTo>
                <a:close/>
                <a:moveTo>
                  <a:pt x="9813" y="7593"/>
                </a:moveTo>
                <a:cubicBezTo>
                  <a:pt x="9938" y="7625"/>
                  <a:pt x="10063" y="7656"/>
                  <a:pt x="10219" y="7718"/>
                </a:cubicBezTo>
                <a:cubicBezTo>
                  <a:pt x="10094" y="7562"/>
                  <a:pt x="9969" y="7500"/>
                  <a:pt x="9813" y="7593"/>
                </a:cubicBezTo>
                <a:close/>
                <a:moveTo>
                  <a:pt x="8250" y="5937"/>
                </a:moveTo>
                <a:cubicBezTo>
                  <a:pt x="8250" y="5937"/>
                  <a:pt x="8250" y="5937"/>
                  <a:pt x="8250" y="5906"/>
                </a:cubicBezTo>
                <a:cubicBezTo>
                  <a:pt x="8250" y="5906"/>
                  <a:pt x="8250" y="5906"/>
                  <a:pt x="8250" y="5906"/>
                </a:cubicBezTo>
                <a:cubicBezTo>
                  <a:pt x="8250" y="5906"/>
                  <a:pt x="8250" y="5906"/>
                  <a:pt x="8250" y="5937"/>
                </a:cubicBezTo>
                <a:cubicBezTo>
                  <a:pt x="8250" y="5937"/>
                  <a:pt x="8250" y="5937"/>
                  <a:pt x="8250" y="5937"/>
                </a:cubicBezTo>
                <a:close/>
                <a:moveTo>
                  <a:pt x="8531" y="3656"/>
                </a:moveTo>
                <a:cubicBezTo>
                  <a:pt x="8531" y="3656"/>
                  <a:pt x="8531" y="3656"/>
                  <a:pt x="8531" y="3656"/>
                </a:cubicBezTo>
                <a:cubicBezTo>
                  <a:pt x="8531" y="3656"/>
                  <a:pt x="8531" y="3656"/>
                  <a:pt x="8531" y="3656"/>
                </a:cubicBezTo>
                <a:lnTo>
                  <a:pt x="8531" y="3656"/>
                </a:lnTo>
                <a:cubicBezTo>
                  <a:pt x="8531" y="3656"/>
                  <a:pt x="8531" y="3656"/>
                  <a:pt x="8531" y="3656"/>
                </a:cubicBezTo>
                <a:close/>
                <a:moveTo>
                  <a:pt x="156" y="3656"/>
                </a:moveTo>
                <a:cubicBezTo>
                  <a:pt x="94" y="3687"/>
                  <a:pt x="94" y="3781"/>
                  <a:pt x="31" y="3781"/>
                </a:cubicBezTo>
                <a:cubicBezTo>
                  <a:pt x="0" y="3812"/>
                  <a:pt x="31" y="3843"/>
                  <a:pt x="31" y="3875"/>
                </a:cubicBezTo>
                <a:cubicBezTo>
                  <a:pt x="125" y="3906"/>
                  <a:pt x="281" y="3968"/>
                  <a:pt x="281" y="3937"/>
                </a:cubicBezTo>
                <a:cubicBezTo>
                  <a:pt x="406" y="3781"/>
                  <a:pt x="531" y="3843"/>
                  <a:pt x="688" y="3812"/>
                </a:cubicBezTo>
                <a:cubicBezTo>
                  <a:pt x="781" y="3812"/>
                  <a:pt x="813" y="3718"/>
                  <a:pt x="875" y="3656"/>
                </a:cubicBezTo>
                <a:cubicBezTo>
                  <a:pt x="938" y="3562"/>
                  <a:pt x="906" y="3437"/>
                  <a:pt x="969" y="3343"/>
                </a:cubicBezTo>
                <a:cubicBezTo>
                  <a:pt x="1156" y="3375"/>
                  <a:pt x="1313" y="3281"/>
                  <a:pt x="1406" y="3125"/>
                </a:cubicBezTo>
                <a:cubicBezTo>
                  <a:pt x="1250" y="3187"/>
                  <a:pt x="1063" y="3218"/>
                  <a:pt x="938" y="3343"/>
                </a:cubicBezTo>
                <a:cubicBezTo>
                  <a:pt x="688" y="3468"/>
                  <a:pt x="438" y="3625"/>
                  <a:pt x="156" y="3656"/>
                </a:cubicBezTo>
                <a:close/>
                <a:moveTo>
                  <a:pt x="11406" y="3656"/>
                </a:moveTo>
                <a:cubicBezTo>
                  <a:pt x="11375" y="3531"/>
                  <a:pt x="11219" y="3562"/>
                  <a:pt x="11156" y="3468"/>
                </a:cubicBezTo>
                <a:cubicBezTo>
                  <a:pt x="11188" y="3593"/>
                  <a:pt x="11281" y="3625"/>
                  <a:pt x="11406" y="3656"/>
                </a:cubicBezTo>
                <a:close/>
                <a:moveTo>
                  <a:pt x="9219" y="2250"/>
                </a:moveTo>
                <a:cubicBezTo>
                  <a:pt x="9188" y="2250"/>
                  <a:pt x="9188" y="2187"/>
                  <a:pt x="9188" y="2156"/>
                </a:cubicBezTo>
                <a:cubicBezTo>
                  <a:pt x="9188" y="1968"/>
                  <a:pt x="9156" y="1781"/>
                  <a:pt x="9281" y="1625"/>
                </a:cubicBezTo>
                <a:cubicBezTo>
                  <a:pt x="9188" y="1750"/>
                  <a:pt x="9125" y="1843"/>
                  <a:pt x="9094" y="2000"/>
                </a:cubicBezTo>
                <a:cubicBezTo>
                  <a:pt x="9094" y="2187"/>
                  <a:pt x="9063" y="2343"/>
                  <a:pt x="9063" y="2531"/>
                </a:cubicBezTo>
                <a:cubicBezTo>
                  <a:pt x="9094" y="2750"/>
                  <a:pt x="9000" y="2968"/>
                  <a:pt x="9250" y="3125"/>
                </a:cubicBezTo>
                <a:cubicBezTo>
                  <a:pt x="9344" y="3218"/>
                  <a:pt x="9438" y="3250"/>
                  <a:pt x="9531" y="3250"/>
                </a:cubicBezTo>
                <a:cubicBezTo>
                  <a:pt x="9563" y="3250"/>
                  <a:pt x="9563" y="3250"/>
                  <a:pt x="9563" y="3250"/>
                </a:cubicBezTo>
                <a:cubicBezTo>
                  <a:pt x="9563" y="3406"/>
                  <a:pt x="9688" y="3437"/>
                  <a:pt x="9750" y="3562"/>
                </a:cubicBezTo>
                <a:cubicBezTo>
                  <a:pt x="9781" y="3593"/>
                  <a:pt x="9844" y="3656"/>
                  <a:pt x="9781" y="3687"/>
                </a:cubicBezTo>
                <a:cubicBezTo>
                  <a:pt x="9719" y="3718"/>
                  <a:pt x="9656" y="3687"/>
                  <a:pt x="9656" y="3593"/>
                </a:cubicBezTo>
                <a:lnTo>
                  <a:pt x="9656" y="3593"/>
                </a:lnTo>
                <a:cubicBezTo>
                  <a:pt x="9563" y="3500"/>
                  <a:pt x="9469" y="3406"/>
                  <a:pt x="9563" y="3250"/>
                </a:cubicBezTo>
                <a:cubicBezTo>
                  <a:pt x="9563" y="3250"/>
                  <a:pt x="9531" y="3250"/>
                  <a:pt x="9531" y="3250"/>
                </a:cubicBezTo>
                <a:cubicBezTo>
                  <a:pt x="9531" y="3156"/>
                  <a:pt x="9531" y="3093"/>
                  <a:pt x="9531" y="3000"/>
                </a:cubicBezTo>
                <a:cubicBezTo>
                  <a:pt x="9469" y="2875"/>
                  <a:pt x="9375" y="2781"/>
                  <a:pt x="9438" y="2656"/>
                </a:cubicBezTo>
                <a:cubicBezTo>
                  <a:pt x="9469" y="2656"/>
                  <a:pt x="9469" y="2687"/>
                  <a:pt x="9500" y="2718"/>
                </a:cubicBezTo>
                <a:cubicBezTo>
                  <a:pt x="9531" y="2718"/>
                  <a:pt x="9531" y="2750"/>
                  <a:pt x="9563" y="2718"/>
                </a:cubicBezTo>
                <a:cubicBezTo>
                  <a:pt x="9594" y="2656"/>
                  <a:pt x="9594" y="2593"/>
                  <a:pt x="9531" y="2500"/>
                </a:cubicBezTo>
                <a:cubicBezTo>
                  <a:pt x="9500" y="2437"/>
                  <a:pt x="9531" y="2343"/>
                  <a:pt x="9500" y="2281"/>
                </a:cubicBezTo>
                <a:cubicBezTo>
                  <a:pt x="9563" y="2156"/>
                  <a:pt x="9500" y="2062"/>
                  <a:pt x="9531" y="1937"/>
                </a:cubicBezTo>
                <a:cubicBezTo>
                  <a:pt x="9594" y="1843"/>
                  <a:pt x="9500" y="1687"/>
                  <a:pt x="9625" y="1625"/>
                </a:cubicBezTo>
                <a:cubicBezTo>
                  <a:pt x="9719" y="1593"/>
                  <a:pt x="9656" y="1500"/>
                  <a:pt x="9688" y="1437"/>
                </a:cubicBezTo>
                <a:cubicBezTo>
                  <a:pt x="9719" y="1406"/>
                  <a:pt x="9688" y="1406"/>
                  <a:pt x="9656" y="1437"/>
                </a:cubicBezTo>
                <a:cubicBezTo>
                  <a:pt x="9625" y="1593"/>
                  <a:pt x="9438" y="1687"/>
                  <a:pt x="9375" y="1875"/>
                </a:cubicBezTo>
                <a:cubicBezTo>
                  <a:pt x="9344" y="1968"/>
                  <a:pt x="9313" y="2062"/>
                  <a:pt x="9313" y="2156"/>
                </a:cubicBezTo>
                <a:cubicBezTo>
                  <a:pt x="9313" y="2218"/>
                  <a:pt x="9281" y="2250"/>
                  <a:pt x="9219" y="2250"/>
                </a:cubicBezTo>
                <a:close/>
                <a:moveTo>
                  <a:pt x="9688" y="2250"/>
                </a:moveTo>
                <a:cubicBezTo>
                  <a:pt x="9844" y="2312"/>
                  <a:pt x="9844" y="2406"/>
                  <a:pt x="9844" y="2531"/>
                </a:cubicBezTo>
                <a:cubicBezTo>
                  <a:pt x="9844" y="2593"/>
                  <a:pt x="9875" y="2625"/>
                  <a:pt x="9938" y="2656"/>
                </a:cubicBezTo>
                <a:cubicBezTo>
                  <a:pt x="10000" y="2406"/>
                  <a:pt x="9750" y="2250"/>
                  <a:pt x="9719" y="2031"/>
                </a:cubicBezTo>
                <a:cubicBezTo>
                  <a:pt x="9719" y="2125"/>
                  <a:pt x="9563" y="2218"/>
                  <a:pt x="9688" y="2250"/>
                </a:cubicBezTo>
                <a:close/>
                <a:moveTo>
                  <a:pt x="11063" y="2875"/>
                </a:moveTo>
                <a:cubicBezTo>
                  <a:pt x="11063" y="2875"/>
                  <a:pt x="11094" y="2875"/>
                  <a:pt x="11094" y="2875"/>
                </a:cubicBezTo>
                <a:cubicBezTo>
                  <a:pt x="11094" y="2843"/>
                  <a:pt x="11125" y="2812"/>
                  <a:pt x="11063" y="2781"/>
                </a:cubicBezTo>
                <a:cubicBezTo>
                  <a:pt x="11031" y="2656"/>
                  <a:pt x="11031" y="2531"/>
                  <a:pt x="10875" y="2406"/>
                </a:cubicBezTo>
                <a:cubicBezTo>
                  <a:pt x="10906" y="2562"/>
                  <a:pt x="10938" y="2687"/>
                  <a:pt x="11031" y="2812"/>
                </a:cubicBezTo>
                <a:cubicBezTo>
                  <a:pt x="11063" y="2843"/>
                  <a:pt x="11063" y="2875"/>
                  <a:pt x="11063" y="2875"/>
                </a:cubicBezTo>
                <a:close/>
                <a:moveTo>
                  <a:pt x="10000" y="2875"/>
                </a:moveTo>
                <a:cubicBezTo>
                  <a:pt x="10000" y="2843"/>
                  <a:pt x="9969" y="2843"/>
                  <a:pt x="9969" y="2843"/>
                </a:cubicBezTo>
                <a:cubicBezTo>
                  <a:pt x="9969" y="2843"/>
                  <a:pt x="9969" y="2843"/>
                  <a:pt x="9969" y="2875"/>
                </a:cubicBezTo>
                <a:cubicBezTo>
                  <a:pt x="9969" y="2875"/>
                  <a:pt x="9969" y="2875"/>
                  <a:pt x="10000" y="2875"/>
                </a:cubicBezTo>
                <a:cubicBezTo>
                  <a:pt x="10000" y="2875"/>
                  <a:pt x="10000" y="2875"/>
                  <a:pt x="10000" y="2875"/>
                </a:cubicBezTo>
                <a:close/>
                <a:moveTo>
                  <a:pt x="10469" y="875"/>
                </a:moveTo>
                <a:cubicBezTo>
                  <a:pt x="10219" y="968"/>
                  <a:pt x="10031" y="1125"/>
                  <a:pt x="9969" y="1375"/>
                </a:cubicBezTo>
                <a:cubicBezTo>
                  <a:pt x="10094" y="1218"/>
                  <a:pt x="10375" y="1125"/>
                  <a:pt x="10469" y="875"/>
                </a:cubicBezTo>
                <a:close/>
                <a:moveTo>
                  <a:pt x="10406" y="3000"/>
                </a:moveTo>
                <a:cubicBezTo>
                  <a:pt x="10406" y="3093"/>
                  <a:pt x="10406" y="3156"/>
                  <a:pt x="10406" y="3187"/>
                </a:cubicBezTo>
                <a:cubicBezTo>
                  <a:pt x="10344" y="3250"/>
                  <a:pt x="10313" y="3250"/>
                  <a:pt x="10375" y="3343"/>
                </a:cubicBezTo>
                <a:cubicBezTo>
                  <a:pt x="10438" y="3406"/>
                  <a:pt x="10500" y="3531"/>
                  <a:pt x="10563" y="3593"/>
                </a:cubicBezTo>
                <a:cubicBezTo>
                  <a:pt x="10656" y="3656"/>
                  <a:pt x="10688" y="3718"/>
                  <a:pt x="10625" y="3812"/>
                </a:cubicBezTo>
                <a:cubicBezTo>
                  <a:pt x="10563" y="3875"/>
                  <a:pt x="10531" y="3812"/>
                  <a:pt x="10500" y="3781"/>
                </a:cubicBezTo>
                <a:cubicBezTo>
                  <a:pt x="10406" y="3625"/>
                  <a:pt x="10250" y="3468"/>
                  <a:pt x="10188" y="3281"/>
                </a:cubicBezTo>
                <a:cubicBezTo>
                  <a:pt x="10156" y="3250"/>
                  <a:pt x="10156" y="3187"/>
                  <a:pt x="10063" y="3187"/>
                </a:cubicBezTo>
                <a:cubicBezTo>
                  <a:pt x="10125" y="3437"/>
                  <a:pt x="10281" y="3593"/>
                  <a:pt x="10344" y="3812"/>
                </a:cubicBezTo>
                <a:cubicBezTo>
                  <a:pt x="10438" y="3781"/>
                  <a:pt x="10531" y="3937"/>
                  <a:pt x="10625" y="3812"/>
                </a:cubicBezTo>
                <a:cubicBezTo>
                  <a:pt x="10688" y="3843"/>
                  <a:pt x="10750" y="3843"/>
                  <a:pt x="10719" y="3968"/>
                </a:cubicBezTo>
                <a:cubicBezTo>
                  <a:pt x="10719" y="3968"/>
                  <a:pt x="10719" y="3968"/>
                  <a:pt x="10719" y="3968"/>
                </a:cubicBezTo>
                <a:cubicBezTo>
                  <a:pt x="10719" y="3968"/>
                  <a:pt x="10719" y="3968"/>
                  <a:pt x="10719" y="3968"/>
                </a:cubicBezTo>
                <a:cubicBezTo>
                  <a:pt x="10781" y="4031"/>
                  <a:pt x="10813" y="4093"/>
                  <a:pt x="10875" y="4156"/>
                </a:cubicBezTo>
                <a:cubicBezTo>
                  <a:pt x="10938" y="4250"/>
                  <a:pt x="11000" y="4281"/>
                  <a:pt x="11094" y="4281"/>
                </a:cubicBezTo>
                <a:cubicBezTo>
                  <a:pt x="11094" y="4281"/>
                  <a:pt x="11125" y="4281"/>
                  <a:pt x="11125" y="4281"/>
                </a:cubicBezTo>
                <a:cubicBezTo>
                  <a:pt x="11125" y="4187"/>
                  <a:pt x="11094" y="4093"/>
                  <a:pt x="11031" y="4000"/>
                </a:cubicBezTo>
                <a:cubicBezTo>
                  <a:pt x="11031" y="3937"/>
                  <a:pt x="11094" y="3937"/>
                  <a:pt x="11125" y="3906"/>
                </a:cubicBezTo>
                <a:cubicBezTo>
                  <a:pt x="11281" y="4093"/>
                  <a:pt x="11469" y="4281"/>
                  <a:pt x="11688" y="4406"/>
                </a:cubicBezTo>
                <a:cubicBezTo>
                  <a:pt x="11750" y="4437"/>
                  <a:pt x="11750" y="4375"/>
                  <a:pt x="11750" y="4343"/>
                </a:cubicBezTo>
                <a:cubicBezTo>
                  <a:pt x="11781" y="4312"/>
                  <a:pt x="11813" y="4281"/>
                  <a:pt x="11813" y="4250"/>
                </a:cubicBezTo>
                <a:cubicBezTo>
                  <a:pt x="11875" y="4281"/>
                  <a:pt x="11969" y="4312"/>
                  <a:pt x="12000" y="4375"/>
                </a:cubicBezTo>
                <a:cubicBezTo>
                  <a:pt x="12031" y="4375"/>
                  <a:pt x="12031" y="4406"/>
                  <a:pt x="12063" y="4406"/>
                </a:cubicBezTo>
                <a:lnTo>
                  <a:pt x="12063" y="4406"/>
                </a:lnTo>
                <a:cubicBezTo>
                  <a:pt x="12031" y="4406"/>
                  <a:pt x="12031" y="4375"/>
                  <a:pt x="12000" y="4375"/>
                </a:cubicBezTo>
                <a:cubicBezTo>
                  <a:pt x="12000" y="4312"/>
                  <a:pt x="12031" y="4250"/>
                  <a:pt x="12000" y="4250"/>
                </a:cubicBezTo>
                <a:cubicBezTo>
                  <a:pt x="11844" y="4093"/>
                  <a:pt x="11688" y="3937"/>
                  <a:pt x="11438" y="3937"/>
                </a:cubicBezTo>
                <a:cubicBezTo>
                  <a:pt x="11375" y="3937"/>
                  <a:pt x="11313" y="3906"/>
                  <a:pt x="11281" y="3843"/>
                </a:cubicBezTo>
                <a:cubicBezTo>
                  <a:pt x="11156" y="3656"/>
                  <a:pt x="11000" y="3531"/>
                  <a:pt x="10844" y="3406"/>
                </a:cubicBezTo>
                <a:cubicBezTo>
                  <a:pt x="10844" y="3375"/>
                  <a:pt x="10813" y="3343"/>
                  <a:pt x="10781" y="3343"/>
                </a:cubicBezTo>
                <a:cubicBezTo>
                  <a:pt x="10719" y="3343"/>
                  <a:pt x="10750" y="3406"/>
                  <a:pt x="10750" y="3437"/>
                </a:cubicBezTo>
                <a:cubicBezTo>
                  <a:pt x="10781" y="3468"/>
                  <a:pt x="10781" y="3531"/>
                  <a:pt x="10719" y="3562"/>
                </a:cubicBezTo>
                <a:cubicBezTo>
                  <a:pt x="10656" y="3593"/>
                  <a:pt x="10594" y="3531"/>
                  <a:pt x="10594" y="3500"/>
                </a:cubicBezTo>
                <a:cubicBezTo>
                  <a:pt x="10656" y="3281"/>
                  <a:pt x="10469" y="3218"/>
                  <a:pt x="10406" y="3000"/>
                </a:cubicBezTo>
                <a:close/>
                <a:moveTo>
                  <a:pt x="9125" y="3156"/>
                </a:moveTo>
                <a:cubicBezTo>
                  <a:pt x="9063" y="3156"/>
                  <a:pt x="9094" y="3250"/>
                  <a:pt x="9125" y="3281"/>
                </a:cubicBezTo>
                <a:cubicBezTo>
                  <a:pt x="9188" y="3468"/>
                  <a:pt x="9313" y="3625"/>
                  <a:pt x="9406" y="3781"/>
                </a:cubicBezTo>
                <a:cubicBezTo>
                  <a:pt x="9438" y="3812"/>
                  <a:pt x="9438" y="3812"/>
                  <a:pt x="9438" y="3843"/>
                </a:cubicBezTo>
                <a:cubicBezTo>
                  <a:pt x="9469" y="3812"/>
                  <a:pt x="9469" y="3781"/>
                  <a:pt x="9469" y="3781"/>
                </a:cubicBezTo>
                <a:cubicBezTo>
                  <a:pt x="9375" y="3593"/>
                  <a:pt x="9313" y="3406"/>
                  <a:pt x="9219" y="3218"/>
                </a:cubicBezTo>
                <a:cubicBezTo>
                  <a:pt x="9219" y="3187"/>
                  <a:pt x="9219" y="3125"/>
                  <a:pt x="9125" y="3156"/>
                </a:cubicBezTo>
                <a:close/>
                <a:moveTo>
                  <a:pt x="10469" y="4093"/>
                </a:moveTo>
                <a:cubicBezTo>
                  <a:pt x="10406" y="4000"/>
                  <a:pt x="10344" y="3906"/>
                  <a:pt x="10250" y="3875"/>
                </a:cubicBezTo>
                <a:cubicBezTo>
                  <a:pt x="10188" y="3875"/>
                  <a:pt x="10219" y="3937"/>
                  <a:pt x="10219" y="3968"/>
                </a:cubicBezTo>
                <a:cubicBezTo>
                  <a:pt x="10188" y="3968"/>
                  <a:pt x="10188" y="3968"/>
                  <a:pt x="10188" y="4000"/>
                </a:cubicBezTo>
                <a:cubicBezTo>
                  <a:pt x="10156" y="4125"/>
                  <a:pt x="10281" y="4156"/>
                  <a:pt x="10344" y="4218"/>
                </a:cubicBezTo>
                <a:lnTo>
                  <a:pt x="10344" y="4218"/>
                </a:lnTo>
                <a:cubicBezTo>
                  <a:pt x="10375" y="4281"/>
                  <a:pt x="10438" y="4343"/>
                  <a:pt x="10469" y="4437"/>
                </a:cubicBezTo>
                <a:cubicBezTo>
                  <a:pt x="10313" y="4281"/>
                  <a:pt x="10156" y="4156"/>
                  <a:pt x="9938" y="4000"/>
                </a:cubicBezTo>
                <a:cubicBezTo>
                  <a:pt x="10031" y="4000"/>
                  <a:pt x="10094" y="4000"/>
                  <a:pt x="10188" y="4000"/>
                </a:cubicBezTo>
                <a:cubicBezTo>
                  <a:pt x="10219" y="4000"/>
                  <a:pt x="10219" y="3968"/>
                  <a:pt x="10219" y="3968"/>
                </a:cubicBezTo>
                <a:cubicBezTo>
                  <a:pt x="10250" y="3968"/>
                  <a:pt x="10250" y="4000"/>
                  <a:pt x="10281" y="4000"/>
                </a:cubicBezTo>
                <a:cubicBezTo>
                  <a:pt x="10344" y="4031"/>
                  <a:pt x="10375" y="4125"/>
                  <a:pt x="10469" y="4093"/>
                </a:cubicBezTo>
                <a:close/>
                <a:moveTo>
                  <a:pt x="11000" y="5968"/>
                </a:moveTo>
                <a:cubicBezTo>
                  <a:pt x="11094" y="6000"/>
                  <a:pt x="11156" y="6062"/>
                  <a:pt x="11250" y="6031"/>
                </a:cubicBezTo>
                <a:cubicBezTo>
                  <a:pt x="11125" y="5968"/>
                  <a:pt x="11125" y="5968"/>
                  <a:pt x="11000" y="5968"/>
                </a:cubicBezTo>
                <a:close/>
                <a:moveTo>
                  <a:pt x="10563" y="4343"/>
                </a:moveTo>
                <a:cubicBezTo>
                  <a:pt x="10656" y="4500"/>
                  <a:pt x="10750" y="4625"/>
                  <a:pt x="10938" y="4687"/>
                </a:cubicBezTo>
                <a:cubicBezTo>
                  <a:pt x="10875" y="4531"/>
                  <a:pt x="10719" y="4437"/>
                  <a:pt x="10563" y="4343"/>
                </a:cubicBezTo>
                <a:close/>
                <a:moveTo>
                  <a:pt x="10313" y="5062"/>
                </a:moveTo>
                <a:cubicBezTo>
                  <a:pt x="10313" y="5062"/>
                  <a:pt x="10313" y="5062"/>
                  <a:pt x="10344" y="5062"/>
                </a:cubicBezTo>
                <a:cubicBezTo>
                  <a:pt x="10313" y="5062"/>
                  <a:pt x="10313" y="5031"/>
                  <a:pt x="10313" y="5031"/>
                </a:cubicBezTo>
                <a:cubicBezTo>
                  <a:pt x="10313" y="5031"/>
                  <a:pt x="10313" y="5062"/>
                  <a:pt x="10313" y="5062"/>
                </a:cubicBezTo>
                <a:cubicBezTo>
                  <a:pt x="10313" y="5062"/>
                  <a:pt x="10313" y="5062"/>
                  <a:pt x="10313" y="5062"/>
                </a:cubicBezTo>
                <a:close/>
                <a:moveTo>
                  <a:pt x="10125" y="4843"/>
                </a:moveTo>
                <a:cubicBezTo>
                  <a:pt x="10156" y="4843"/>
                  <a:pt x="10156" y="4843"/>
                  <a:pt x="10156" y="4843"/>
                </a:cubicBezTo>
                <a:cubicBezTo>
                  <a:pt x="10156" y="4843"/>
                  <a:pt x="10156" y="4875"/>
                  <a:pt x="10156" y="4875"/>
                </a:cubicBezTo>
                <a:cubicBezTo>
                  <a:pt x="10125" y="4968"/>
                  <a:pt x="10156" y="5031"/>
                  <a:pt x="10281" y="5000"/>
                </a:cubicBezTo>
                <a:lnTo>
                  <a:pt x="10281" y="5000"/>
                </a:lnTo>
                <a:cubicBezTo>
                  <a:pt x="10250" y="4906"/>
                  <a:pt x="10219" y="4875"/>
                  <a:pt x="10156" y="4875"/>
                </a:cubicBezTo>
                <a:cubicBezTo>
                  <a:pt x="10156" y="4843"/>
                  <a:pt x="10156" y="4843"/>
                  <a:pt x="10156" y="4843"/>
                </a:cubicBezTo>
                <a:cubicBezTo>
                  <a:pt x="10156" y="4843"/>
                  <a:pt x="10156" y="4843"/>
                  <a:pt x="10125" y="4843"/>
                </a:cubicBezTo>
                <a:cubicBezTo>
                  <a:pt x="10031" y="4718"/>
                  <a:pt x="9875" y="4625"/>
                  <a:pt x="9719" y="4531"/>
                </a:cubicBezTo>
                <a:lnTo>
                  <a:pt x="9719" y="4531"/>
                </a:lnTo>
                <a:cubicBezTo>
                  <a:pt x="9844" y="4812"/>
                  <a:pt x="9938" y="4875"/>
                  <a:pt x="10125" y="4843"/>
                </a:cubicBezTo>
                <a:close/>
                <a:moveTo>
                  <a:pt x="10281" y="2312"/>
                </a:moveTo>
                <a:cubicBezTo>
                  <a:pt x="10250" y="2031"/>
                  <a:pt x="10250" y="2031"/>
                  <a:pt x="10188" y="1968"/>
                </a:cubicBezTo>
                <a:cubicBezTo>
                  <a:pt x="10219" y="2093"/>
                  <a:pt x="10094" y="2218"/>
                  <a:pt x="10281" y="2312"/>
                </a:cubicBezTo>
                <a:close/>
                <a:moveTo>
                  <a:pt x="10719" y="12531"/>
                </a:moveTo>
                <a:cubicBezTo>
                  <a:pt x="10719" y="12531"/>
                  <a:pt x="10719" y="12531"/>
                  <a:pt x="10719" y="12562"/>
                </a:cubicBezTo>
                <a:cubicBezTo>
                  <a:pt x="10719" y="12625"/>
                  <a:pt x="10781" y="12656"/>
                  <a:pt x="10844" y="12656"/>
                </a:cubicBezTo>
                <a:cubicBezTo>
                  <a:pt x="11063" y="12687"/>
                  <a:pt x="11281" y="12718"/>
                  <a:pt x="11469" y="12750"/>
                </a:cubicBezTo>
                <a:cubicBezTo>
                  <a:pt x="11500" y="12812"/>
                  <a:pt x="11531" y="12812"/>
                  <a:pt x="11594" y="12781"/>
                </a:cubicBezTo>
                <a:cubicBezTo>
                  <a:pt x="11969" y="12875"/>
                  <a:pt x="12344" y="12937"/>
                  <a:pt x="12719" y="13000"/>
                </a:cubicBezTo>
                <a:cubicBezTo>
                  <a:pt x="13375" y="13093"/>
                  <a:pt x="14063" y="13156"/>
                  <a:pt x="14719" y="13187"/>
                </a:cubicBezTo>
                <a:cubicBezTo>
                  <a:pt x="14750" y="13250"/>
                  <a:pt x="14750" y="13281"/>
                  <a:pt x="14688" y="13281"/>
                </a:cubicBezTo>
                <a:cubicBezTo>
                  <a:pt x="14688" y="13281"/>
                  <a:pt x="14688" y="13281"/>
                  <a:pt x="14656" y="13281"/>
                </a:cubicBezTo>
                <a:cubicBezTo>
                  <a:pt x="14656" y="13281"/>
                  <a:pt x="14656" y="13281"/>
                  <a:pt x="14656" y="13281"/>
                </a:cubicBezTo>
                <a:lnTo>
                  <a:pt x="14656" y="13281"/>
                </a:lnTo>
                <a:cubicBezTo>
                  <a:pt x="14656" y="13281"/>
                  <a:pt x="14656" y="13281"/>
                  <a:pt x="14688" y="13281"/>
                </a:cubicBezTo>
                <a:cubicBezTo>
                  <a:pt x="15031" y="13312"/>
                  <a:pt x="15344" y="13406"/>
                  <a:pt x="15656" y="13312"/>
                </a:cubicBezTo>
                <a:cubicBezTo>
                  <a:pt x="15469" y="13312"/>
                  <a:pt x="15250" y="13312"/>
                  <a:pt x="15031" y="13312"/>
                </a:cubicBezTo>
                <a:cubicBezTo>
                  <a:pt x="15094" y="13218"/>
                  <a:pt x="15156" y="13218"/>
                  <a:pt x="15219" y="13218"/>
                </a:cubicBezTo>
                <a:cubicBezTo>
                  <a:pt x="15375" y="13218"/>
                  <a:pt x="15531" y="13250"/>
                  <a:pt x="15719" y="13187"/>
                </a:cubicBezTo>
                <a:cubicBezTo>
                  <a:pt x="15781" y="13187"/>
                  <a:pt x="15844" y="13187"/>
                  <a:pt x="15906" y="13218"/>
                </a:cubicBezTo>
                <a:cubicBezTo>
                  <a:pt x="15938" y="13250"/>
                  <a:pt x="16000" y="13250"/>
                  <a:pt x="16031" y="13218"/>
                </a:cubicBezTo>
                <a:cubicBezTo>
                  <a:pt x="16375" y="13187"/>
                  <a:pt x="16688" y="13187"/>
                  <a:pt x="17031" y="13125"/>
                </a:cubicBezTo>
                <a:cubicBezTo>
                  <a:pt x="17281" y="13093"/>
                  <a:pt x="17563" y="13093"/>
                  <a:pt x="17844" y="13062"/>
                </a:cubicBezTo>
                <a:cubicBezTo>
                  <a:pt x="18313" y="13000"/>
                  <a:pt x="18781" y="12906"/>
                  <a:pt x="19281" y="12843"/>
                </a:cubicBezTo>
                <a:cubicBezTo>
                  <a:pt x="19313" y="12843"/>
                  <a:pt x="19375" y="12812"/>
                  <a:pt x="19438" y="12812"/>
                </a:cubicBezTo>
                <a:cubicBezTo>
                  <a:pt x="19438" y="12812"/>
                  <a:pt x="19469" y="12812"/>
                  <a:pt x="19500" y="12812"/>
                </a:cubicBezTo>
                <a:cubicBezTo>
                  <a:pt x="19563" y="12812"/>
                  <a:pt x="19625" y="12843"/>
                  <a:pt x="19656" y="12718"/>
                </a:cubicBezTo>
                <a:cubicBezTo>
                  <a:pt x="19656" y="12718"/>
                  <a:pt x="19688" y="12687"/>
                  <a:pt x="19688" y="12687"/>
                </a:cubicBezTo>
                <a:cubicBezTo>
                  <a:pt x="19781" y="12625"/>
                  <a:pt x="19938" y="12687"/>
                  <a:pt x="20000" y="12531"/>
                </a:cubicBezTo>
                <a:cubicBezTo>
                  <a:pt x="19875" y="12593"/>
                  <a:pt x="19750" y="12593"/>
                  <a:pt x="19656" y="12656"/>
                </a:cubicBezTo>
                <a:cubicBezTo>
                  <a:pt x="19375" y="12656"/>
                  <a:pt x="19063" y="12750"/>
                  <a:pt x="18781" y="12812"/>
                </a:cubicBezTo>
                <a:lnTo>
                  <a:pt x="18781" y="12812"/>
                </a:lnTo>
                <a:cubicBezTo>
                  <a:pt x="18375" y="12843"/>
                  <a:pt x="17969" y="12968"/>
                  <a:pt x="17563" y="12968"/>
                </a:cubicBezTo>
                <a:cubicBezTo>
                  <a:pt x="17250" y="12968"/>
                  <a:pt x="16938" y="13031"/>
                  <a:pt x="16625" y="13031"/>
                </a:cubicBezTo>
                <a:cubicBezTo>
                  <a:pt x="16125" y="13031"/>
                  <a:pt x="15625" y="13093"/>
                  <a:pt x="15125" y="13093"/>
                </a:cubicBezTo>
                <a:cubicBezTo>
                  <a:pt x="14500" y="13062"/>
                  <a:pt x="13844" y="13031"/>
                  <a:pt x="13219" y="12937"/>
                </a:cubicBezTo>
                <a:cubicBezTo>
                  <a:pt x="12750" y="12843"/>
                  <a:pt x="12281" y="12875"/>
                  <a:pt x="11844" y="12718"/>
                </a:cubicBezTo>
                <a:cubicBezTo>
                  <a:pt x="11844" y="12593"/>
                  <a:pt x="11750" y="12562"/>
                  <a:pt x="11656" y="12562"/>
                </a:cubicBezTo>
                <a:cubicBezTo>
                  <a:pt x="11625" y="12562"/>
                  <a:pt x="11594" y="12593"/>
                  <a:pt x="11594" y="12593"/>
                </a:cubicBezTo>
                <a:cubicBezTo>
                  <a:pt x="11563" y="12531"/>
                  <a:pt x="11500" y="12562"/>
                  <a:pt x="11438" y="12531"/>
                </a:cubicBezTo>
                <a:cubicBezTo>
                  <a:pt x="11438" y="12531"/>
                  <a:pt x="11406" y="12531"/>
                  <a:pt x="11406" y="12500"/>
                </a:cubicBezTo>
                <a:cubicBezTo>
                  <a:pt x="11344" y="12437"/>
                  <a:pt x="11250" y="12437"/>
                  <a:pt x="11156" y="12437"/>
                </a:cubicBezTo>
                <a:lnTo>
                  <a:pt x="11156" y="12437"/>
                </a:lnTo>
                <a:cubicBezTo>
                  <a:pt x="11031" y="12375"/>
                  <a:pt x="10500" y="12281"/>
                  <a:pt x="10469" y="12312"/>
                </a:cubicBezTo>
                <a:cubicBezTo>
                  <a:pt x="10656" y="12468"/>
                  <a:pt x="10906" y="12375"/>
                  <a:pt x="11125" y="12500"/>
                </a:cubicBezTo>
                <a:cubicBezTo>
                  <a:pt x="11219" y="12562"/>
                  <a:pt x="11313" y="12531"/>
                  <a:pt x="11406" y="12531"/>
                </a:cubicBezTo>
                <a:cubicBezTo>
                  <a:pt x="11406" y="12531"/>
                  <a:pt x="11438" y="12531"/>
                  <a:pt x="11438" y="12531"/>
                </a:cubicBezTo>
                <a:cubicBezTo>
                  <a:pt x="11500" y="12562"/>
                  <a:pt x="11531" y="12593"/>
                  <a:pt x="11594" y="12593"/>
                </a:cubicBezTo>
                <a:cubicBezTo>
                  <a:pt x="11594" y="12593"/>
                  <a:pt x="11594" y="12593"/>
                  <a:pt x="11594" y="12625"/>
                </a:cubicBezTo>
                <a:cubicBezTo>
                  <a:pt x="11594" y="12718"/>
                  <a:pt x="11469" y="12687"/>
                  <a:pt x="11375" y="12687"/>
                </a:cubicBezTo>
                <a:cubicBezTo>
                  <a:pt x="11344" y="12687"/>
                  <a:pt x="11313" y="12687"/>
                  <a:pt x="11281" y="12656"/>
                </a:cubicBezTo>
                <a:cubicBezTo>
                  <a:pt x="11094" y="12625"/>
                  <a:pt x="10906" y="12593"/>
                  <a:pt x="10719" y="12562"/>
                </a:cubicBezTo>
                <a:cubicBezTo>
                  <a:pt x="10719" y="12531"/>
                  <a:pt x="10719" y="12531"/>
                  <a:pt x="10719" y="12531"/>
                </a:cubicBezTo>
                <a:cubicBezTo>
                  <a:pt x="10719" y="12531"/>
                  <a:pt x="10719" y="12531"/>
                  <a:pt x="10688" y="12531"/>
                </a:cubicBezTo>
                <a:lnTo>
                  <a:pt x="10688" y="12531"/>
                </a:lnTo>
                <a:cubicBezTo>
                  <a:pt x="10719" y="12531"/>
                  <a:pt x="10719" y="12531"/>
                  <a:pt x="10719" y="12531"/>
                </a:cubicBezTo>
                <a:close/>
                <a:moveTo>
                  <a:pt x="14063" y="13437"/>
                </a:moveTo>
                <a:cubicBezTo>
                  <a:pt x="14188" y="13468"/>
                  <a:pt x="14344" y="13531"/>
                  <a:pt x="14531" y="13500"/>
                </a:cubicBezTo>
                <a:cubicBezTo>
                  <a:pt x="14344" y="13406"/>
                  <a:pt x="14188" y="13437"/>
                  <a:pt x="14063" y="13437"/>
                </a:cubicBezTo>
                <a:cubicBezTo>
                  <a:pt x="14031" y="13437"/>
                  <a:pt x="14000" y="13437"/>
                  <a:pt x="13938" y="13437"/>
                </a:cubicBezTo>
                <a:lnTo>
                  <a:pt x="13938" y="13437"/>
                </a:lnTo>
                <a:cubicBezTo>
                  <a:pt x="13969" y="13437"/>
                  <a:pt x="14031" y="13437"/>
                  <a:pt x="14063" y="13437"/>
                </a:cubicBezTo>
                <a:close/>
                <a:moveTo>
                  <a:pt x="11438" y="3250"/>
                </a:moveTo>
                <a:cubicBezTo>
                  <a:pt x="11563" y="3343"/>
                  <a:pt x="11688" y="3375"/>
                  <a:pt x="11844" y="3468"/>
                </a:cubicBezTo>
                <a:cubicBezTo>
                  <a:pt x="11719" y="3375"/>
                  <a:pt x="11625" y="3250"/>
                  <a:pt x="11500" y="3125"/>
                </a:cubicBezTo>
                <a:cubicBezTo>
                  <a:pt x="11469" y="3093"/>
                  <a:pt x="11438" y="3062"/>
                  <a:pt x="11406" y="3125"/>
                </a:cubicBezTo>
                <a:cubicBezTo>
                  <a:pt x="11375" y="3156"/>
                  <a:pt x="11375" y="3187"/>
                  <a:pt x="11438" y="3250"/>
                </a:cubicBezTo>
                <a:close/>
                <a:moveTo>
                  <a:pt x="2125" y="3343"/>
                </a:moveTo>
                <a:cubicBezTo>
                  <a:pt x="2125" y="3406"/>
                  <a:pt x="2000" y="3437"/>
                  <a:pt x="2094" y="3500"/>
                </a:cubicBezTo>
                <a:cubicBezTo>
                  <a:pt x="2250" y="3343"/>
                  <a:pt x="2094" y="3156"/>
                  <a:pt x="2188" y="2968"/>
                </a:cubicBezTo>
                <a:cubicBezTo>
                  <a:pt x="2188" y="2937"/>
                  <a:pt x="2125" y="2875"/>
                  <a:pt x="2094" y="2875"/>
                </a:cubicBezTo>
                <a:cubicBezTo>
                  <a:pt x="1938" y="2968"/>
                  <a:pt x="1969" y="2812"/>
                  <a:pt x="1906" y="2750"/>
                </a:cubicBezTo>
                <a:cubicBezTo>
                  <a:pt x="1938" y="2812"/>
                  <a:pt x="1938" y="2843"/>
                  <a:pt x="1906" y="2906"/>
                </a:cubicBezTo>
                <a:cubicBezTo>
                  <a:pt x="1875" y="2906"/>
                  <a:pt x="1844" y="2937"/>
                  <a:pt x="1875" y="2937"/>
                </a:cubicBezTo>
                <a:cubicBezTo>
                  <a:pt x="2063" y="3031"/>
                  <a:pt x="1938" y="3062"/>
                  <a:pt x="1875" y="3156"/>
                </a:cubicBezTo>
                <a:cubicBezTo>
                  <a:pt x="1813" y="3218"/>
                  <a:pt x="1688" y="3281"/>
                  <a:pt x="1688" y="3437"/>
                </a:cubicBezTo>
                <a:cubicBezTo>
                  <a:pt x="1750" y="3375"/>
                  <a:pt x="1813" y="3312"/>
                  <a:pt x="1844" y="3343"/>
                </a:cubicBezTo>
                <a:cubicBezTo>
                  <a:pt x="1969" y="3375"/>
                  <a:pt x="1781" y="3468"/>
                  <a:pt x="1875" y="3531"/>
                </a:cubicBezTo>
                <a:cubicBezTo>
                  <a:pt x="1969" y="3500"/>
                  <a:pt x="1938" y="3343"/>
                  <a:pt x="2063" y="3343"/>
                </a:cubicBezTo>
                <a:cubicBezTo>
                  <a:pt x="2063" y="3343"/>
                  <a:pt x="2094" y="3343"/>
                  <a:pt x="2125" y="3343"/>
                </a:cubicBezTo>
                <a:close/>
                <a:moveTo>
                  <a:pt x="2531" y="3406"/>
                </a:moveTo>
                <a:cubicBezTo>
                  <a:pt x="2563" y="3281"/>
                  <a:pt x="2594" y="3187"/>
                  <a:pt x="2688" y="3093"/>
                </a:cubicBezTo>
                <a:cubicBezTo>
                  <a:pt x="2688" y="3062"/>
                  <a:pt x="2688" y="3031"/>
                  <a:pt x="2656" y="3031"/>
                </a:cubicBezTo>
                <a:cubicBezTo>
                  <a:pt x="2625" y="3000"/>
                  <a:pt x="2594" y="3000"/>
                  <a:pt x="2563" y="3031"/>
                </a:cubicBezTo>
                <a:cubicBezTo>
                  <a:pt x="2531" y="3125"/>
                  <a:pt x="2469" y="3187"/>
                  <a:pt x="2438" y="3250"/>
                </a:cubicBezTo>
                <a:cubicBezTo>
                  <a:pt x="2406" y="3281"/>
                  <a:pt x="2438" y="3343"/>
                  <a:pt x="2469" y="3406"/>
                </a:cubicBezTo>
                <a:cubicBezTo>
                  <a:pt x="2469" y="3437"/>
                  <a:pt x="2500" y="3406"/>
                  <a:pt x="2531" y="3406"/>
                </a:cubicBezTo>
                <a:close/>
                <a:moveTo>
                  <a:pt x="3969" y="9000"/>
                </a:moveTo>
                <a:cubicBezTo>
                  <a:pt x="3938" y="9000"/>
                  <a:pt x="3938" y="9000"/>
                  <a:pt x="3906" y="9031"/>
                </a:cubicBezTo>
                <a:cubicBezTo>
                  <a:pt x="4000" y="9218"/>
                  <a:pt x="4219" y="9375"/>
                  <a:pt x="4344" y="9531"/>
                </a:cubicBezTo>
                <a:cubicBezTo>
                  <a:pt x="4344" y="9562"/>
                  <a:pt x="4375" y="9625"/>
                  <a:pt x="4438" y="9593"/>
                </a:cubicBezTo>
                <a:cubicBezTo>
                  <a:pt x="4469" y="9562"/>
                  <a:pt x="4438" y="9500"/>
                  <a:pt x="4406" y="9468"/>
                </a:cubicBezTo>
                <a:cubicBezTo>
                  <a:pt x="4250" y="9312"/>
                  <a:pt x="4125" y="9156"/>
                  <a:pt x="3969" y="9000"/>
                </a:cubicBezTo>
                <a:close/>
                <a:moveTo>
                  <a:pt x="2250" y="3750"/>
                </a:moveTo>
                <a:cubicBezTo>
                  <a:pt x="2219" y="3718"/>
                  <a:pt x="2250" y="3937"/>
                  <a:pt x="2125" y="3781"/>
                </a:cubicBezTo>
                <a:cubicBezTo>
                  <a:pt x="2125" y="3781"/>
                  <a:pt x="2063" y="3781"/>
                  <a:pt x="2063" y="3843"/>
                </a:cubicBezTo>
                <a:cubicBezTo>
                  <a:pt x="2031" y="3906"/>
                  <a:pt x="2031" y="4000"/>
                  <a:pt x="2094" y="4093"/>
                </a:cubicBezTo>
                <a:cubicBezTo>
                  <a:pt x="2188" y="4218"/>
                  <a:pt x="2219" y="4406"/>
                  <a:pt x="2281" y="4562"/>
                </a:cubicBezTo>
                <a:cubicBezTo>
                  <a:pt x="2281" y="4625"/>
                  <a:pt x="2313" y="4687"/>
                  <a:pt x="2406" y="4687"/>
                </a:cubicBezTo>
                <a:cubicBezTo>
                  <a:pt x="2250" y="4375"/>
                  <a:pt x="2438" y="4031"/>
                  <a:pt x="2250" y="3750"/>
                </a:cubicBezTo>
                <a:close/>
                <a:moveTo>
                  <a:pt x="3031" y="7531"/>
                </a:moveTo>
                <a:cubicBezTo>
                  <a:pt x="3031" y="7625"/>
                  <a:pt x="3125" y="7687"/>
                  <a:pt x="3156" y="7781"/>
                </a:cubicBezTo>
                <a:cubicBezTo>
                  <a:pt x="3156" y="7625"/>
                  <a:pt x="3156" y="7593"/>
                  <a:pt x="3031" y="7531"/>
                </a:cubicBezTo>
                <a:close/>
                <a:moveTo>
                  <a:pt x="7719" y="11968"/>
                </a:moveTo>
                <a:cubicBezTo>
                  <a:pt x="7688" y="11968"/>
                  <a:pt x="7656" y="12000"/>
                  <a:pt x="7688" y="12031"/>
                </a:cubicBezTo>
                <a:cubicBezTo>
                  <a:pt x="7781" y="12156"/>
                  <a:pt x="8125" y="12281"/>
                  <a:pt x="8250" y="12250"/>
                </a:cubicBezTo>
                <a:cubicBezTo>
                  <a:pt x="8094" y="12187"/>
                  <a:pt x="7969" y="12125"/>
                  <a:pt x="7844" y="12000"/>
                </a:cubicBezTo>
                <a:cubicBezTo>
                  <a:pt x="7813" y="12000"/>
                  <a:pt x="7750" y="11968"/>
                  <a:pt x="7719" y="11968"/>
                </a:cubicBezTo>
                <a:close/>
                <a:moveTo>
                  <a:pt x="19406" y="4250"/>
                </a:moveTo>
                <a:cubicBezTo>
                  <a:pt x="19594" y="4156"/>
                  <a:pt x="19750" y="4031"/>
                  <a:pt x="19875" y="3875"/>
                </a:cubicBezTo>
                <a:cubicBezTo>
                  <a:pt x="19688" y="3968"/>
                  <a:pt x="19531" y="4093"/>
                  <a:pt x="19406" y="4250"/>
                </a:cubicBezTo>
                <a:close/>
                <a:moveTo>
                  <a:pt x="14344" y="5343"/>
                </a:moveTo>
                <a:cubicBezTo>
                  <a:pt x="14313" y="5343"/>
                  <a:pt x="14313" y="5343"/>
                  <a:pt x="14281" y="5343"/>
                </a:cubicBezTo>
                <a:cubicBezTo>
                  <a:pt x="14281" y="5312"/>
                  <a:pt x="14250" y="5343"/>
                  <a:pt x="14219" y="5375"/>
                </a:cubicBezTo>
                <a:cubicBezTo>
                  <a:pt x="14219" y="5375"/>
                  <a:pt x="14219" y="5375"/>
                  <a:pt x="14219" y="5375"/>
                </a:cubicBezTo>
                <a:cubicBezTo>
                  <a:pt x="14219" y="5375"/>
                  <a:pt x="14219" y="5375"/>
                  <a:pt x="14219" y="5375"/>
                </a:cubicBezTo>
                <a:cubicBezTo>
                  <a:pt x="14250" y="5343"/>
                  <a:pt x="14313" y="5343"/>
                  <a:pt x="14344" y="5343"/>
                </a:cubicBezTo>
                <a:cubicBezTo>
                  <a:pt x="14375" y="5343"/>
                  <a:pt x="14406" y="5375"/>
                  <a:pt x="14438" y="5375"/>
                </a:cubicBezTo>
                <a:cubicBezTo>
                  <a:pt x="14688" y="5406"/>
                  <a:pt x="14906" y="5312"/>
                  <a:pt x="15125" y="5343"/>
                </a:cubicBezTo>
                <a:cubicBezTo>
                  <a:pt x="15188" y="5343"/>
                  <a:pt x="15250" y="5343"/>
                  <a:pt x="15313" y="5343"/>
                </a:cubicBezTo>
                <a:cubicBezTo>
                  <a:pt x="15406" y="5312"/>
                  <a:pt x="15500" y="5343"/>
                  <a:pt x="15594" y="5312"/>
                </a:cubicBezTo>
                <a:cubicBezTo>
                  <a:pt x="15719" y="5250"/>
                  <a:pt x="15844" y="5312"/>
                  <a:pt x="15938" y="5281"/>
                </a:cubicBezTo>
                <a:cubicBezTo>
                  <a:pt x="15938" y="5187"/>
                  <a:pt x="15969" y="5187"/>
                  <a:pt x="16031" y="5187"/>
                </a:cubicBezTo>
                <a:cubicBezTo>
                  <a:pt x="16313" y="5156"/>
                  <a:pt x="16563" y="5156"/>
                  <a:pt x="16813" y="5093"/>
                </a:cubicBezTo>
                <a:cubicBezTo>
                  <a:pt x="16844" y="5093"/>
                  <a:pt x="16875" y="5125"/>
                  <a:pt x="16938" y="5125"/>
                </a:cubicBezTo>
                <a:cubicBezTo>
                  <a:pt x="16719" y="5187"/>
                  <a:pt x="16500" y="5250"/>
                  <a:pt x="16281" y="5281"/>
                </a:cubicBezTo>
                <a:cubicBezTo>
                  <a:pt x="16156" y="5281"/>
                  <a:pt x="16094" y="5406"/>
                  <a:pt x="15938" y="5375"/>
                </a:cubicBezTo>
                <a:cubicBezTo>
                  <a:pt x="15844" y="5406"/>
                  <a:pt x="15750" y="5406"/>
                  <a:pt x="15625" y="5406"/>
                </a:cubicBezTo>
                <a:cubicBezTo>
                  <a:pt x="15500" y="5468"/>
                  <a:pt x="15375" y="5437"/>
                  <a:pt x="15219" y="5406"/>
                </a:cubicBezTo>
                <a:cubicBezTo>
                  <a:pt x="15219" y="5406"/>
                  <a:pt x="15188" y="5406"/>
                  <a:pt x="15156" y="5406"/>
                </a:cubicBezTo>
                <a:lnTo>
                  <a:pt x="15156" y="5406"/>
                </a:lnTo>
                <a:cubicBezTo>
                  <a:pt x="14938" y="5500"/>
                  <a:pt x="14688" y="5437"/>
                  <a:pt x="14469" y="5375"/>
                </a:cubicBezTo>
                <a:cubicBezTo>
                  <a:pt x="14469" y="5375"/>
                  <a:pt x="14438" y="5375"/>
                  <a:pt x="14438" y="5375"/>
                </a:cubicBezTo>
                <a:cubicBezTo>
                  <a:pt x="14406" y="5375"/>
                  <a:pt x="14375" y="5375"/>
                  <a:pt x="14344" y="5343"/>
                </a:cubicBezTo>
                <a:close/>
                <a:moveTo>
                  <a:pt x="13000" y="8875"/>
                </a:moveTo>
                <a:cubicBezTo>
                  <a:pt x="13094" y="9000"/>
                  <a:pt x="13219" y="9000"/>
                  <a:pt x="13344" y="8968"/>
                </a:cubicBezTo>
                <a:cubicBezTo>
                  <a:pt x="13250" y="8843"/>
                  <a:pt x="13125" y="8875"/>
                  <a:pt x="13000" y="8875"/>
                </a:cubicBezTo>
                <a:close/>
                <a:moveTo>
                  <a:pt x="17156" y="5062"/>
                </a:moveTo>
                <a:cubicBezTo>
                  <a:pt x="17281" y="5062"/>
                  <a:pt x="17375" y="5031"/>
                  <a:pt x="17469" y="5000"/>
                </a:cubicBezTo>
                <a:cubicBezTo>
                  <a:pt x="17781" y="4968"/>
                  <a:pt x="18063" y="4812"/>
                  <a:pt x="18313" y="4656"/>
                </a:cubicBezTo>
                <a:cubicBezTo>
                  <a:pt x="18375" y="4656"/>
                  <a:pt x="18438" y="4593"/>
                  <a:pt x="18406" y="4562"/>
                </a:cubicBezTo>
                <a:cubicBezTo>
                  <a:pt x="18375" y="4500"/>
                  <a:pt x="18313" y="4531"/>
                  <a:pt x="18250" y="4562"/>
                </a:cubicBezTo>
                <a:cubicBezTo>
                  <a:pt x="18031" y="4718"/>
                  <a:pt x="17750" y="4781"/>
                  <a:pt x="17500" y="4875"/>
                </a:cubicBezTo>
                <a:cubicBezTo>
                  <a:pt x="17375" y="4937"/>
                  <a:pt x="17219" y="4937"/>
                  <a:pt x="17156" y="5062"/>
                </a:cubicBezTo>
                <a:close/>
                <a:moveTo>
                  <a:pt x="17781" y="8906"/>
                </a:moveTo>
                <a:cubicBezTo>
                  <a:pt x="17781" y="8875"/>
                  <a:pt x="17781" y="8875"/>
                  <a:pt x="17781" y="8875"/>
                </a:cubicBezTo>
                <a:cubicBezTo>
                  <a:pt x="17750" y="8875"/>
                  <a:pt x="17750" y="8875"/>
                  <a:pt x="17719" y="8875"/>
                </a:cubicBezTo>
                <a:cubicBezTo>
                  <a:pt x="17719" y="8875"/>
                  <a:pt x="17719" y="8875"/>
                  <a:pt x="17719" y="8875"/>
                </a:cubicBezTo>
                <a:cubicBezTo>
                  <a:pt x="17750" y="8875"/>
                  <a:pt x="17750" y="8906"/>
                  <a:pt x="17781" y="8906"/>
                </a:cubicBezTo>
                <a:close/>
                <a:moveTo>
                  <a:pt x="14688" y="4062"/>
                </a:moveTo>
                <a:cubicBezTo>
                  <a:pt x="14813" y="4093"/>
                  <a:pt x="14906" y="4125"/>
                  <a:pt x="15031" y="4125"/>
                </a:cubicBezTo>
                <a:cubicBezTo>
                  <a:pt x="14938" y="4093"/>
                  <a:pt x="14813" y="4031"/>
                  <a:pt x="14688" y="4062"/>
                </a:cubicBezTo>
                <a:close/>
                <a:moveTo>
                  <a:pt x="15750" y="4812"/>
                </a:moveTo>
                <a:cubicBezTo>
                  <a:pt x="15844" y="4812"/>
                  <a:pt x="15844" y="4812"/>
                  <a:pt x="15844" y="4906"/>
                </a:cubicBezTo>
                <a:cubicBezTo>
                  <a:pt x="15844" y="4906"/>
                  <a:pt x="15875" y="4906"/>
                  <a:pt x="15875" y="4906"/>
                </a:cubicBezTo>
                <a:cubicBezTo>
                  <a:pt x="16313" y="4875"/>
                  <a:pt x="16750" y="4781"/>
                  <a:pt x="17156" y="4687"/>
                </a:cubicBezTo>
                <a:cubicBezTo>
                  <a:pt x="17250" y="4656"/>
                  <a:pt x="17344" y="4625"/>
                  <a:pt x="17469" y="4656"/>
                </a:cubicBezTo>
                <a:cubicBezTo>
                  <a:pt x="17594" y="4656"/>
                  <a:pt x="17750" y="4687"/>
                  <a:pt x="17844" y="4531"/>
                </a:cubicBezTo>
                <a:cubicBezTo>
                  <a:pt x="17813" y="4531"/>
                  <a:pt x="17813" y="4531"/>
                  <a:pt x="17781" y="4531"/>
                </a:cubicBezTo>
                <a:cubicBezTo>
                  <a:pt x="17438" y="4468"/>
                  <a:pt x="17094" y="4625"/>
                  <a:pt x="16719" y="4562"/>
                </a:cubicBezTo>
                <a:cubicBezTo>
                  <a:pt x="16719" y="4562"/>
                  <a:pt x="16688" y="4593"/>
                  <a:pt x="16656" y="4593"/>
                </a:cubicBezTo>
                <a:cubicBezTo>
                  <a:pt x="16500" y="4625"/>
                  <a:pt x="16375" y="4656"/>
                  <a:pt x="16219" y="4687"/>
                </a:cubicBezTo>
                <a:cubicBezTo>
                  <a:pt x="16094" y="4687"/>
                  <a:pt x="15938" y="4687"/>
                  <a:pt x="15844" y="4718"/>
                </a:cubicBezTo>
                <a:cubicBezTo>
                  <a:pt x="15625" y="4843"/>
                  <a:pt x="15375" y="4750"/>
                  <a:pt x="15156" y="4750"/>
                </a:cubicBezTo>
                <a:cubicBezTo>
                  <a:pt x="14938" y="4781"/>
                  <a:pt x="14719" y="4750"/>
                  <a:pt x="14500" y="4750"/>
                </a:cubicBezTo>
                <a:cubicBezTo>
                  <a:pt x="14563" y="4781"/>
                  <a:pt x="14625" y="4781"/>
                  <a:pt x="14688" y="4781"/>
                </a:cubicBezTo>
                <a:cubicBezTo>
                  <a:pt x="15031" y="4812"/>
                  <a:pt x="15375" y="4843"/>
                  <a:pt x="15750" y="4812"/>
                </a:cubicBezTo>
                <a:close/>
                <a:moveTo>
                  <a:pt x="15000" y="5000"/>
                </a:moveTo>
                <a:cubicBezTo>
                  <a:pt x="15250" y="5062"/>
                  <a:pt x="15469" y="5093"/>
                  <a:pt x="15688" y="5000"/>
                </a:cubicBezTo>
                <a:cubicBezTo>
                  <a:pt x="15469" y="4937"/>
                  <a:pt x="15250" y="4968"/>
                  <a:pt x="15000" y="5000"/>
                </a:cubicBezTo>
                <a:close/>
                <a:moveTo>
                  <a:pt x="18813" y="4000"/>
                </a:moveTo>
                <a:cubicBezTo>
                  <a:pt x="18875" y="4031"/>
                  <a:pt x="18875" y="4125"/>
                  <a:pt x="18969" y="4031"/>
                </a:cubicBezTo>
                <a:cubicBezTo>
                  <a:pt x="19250" y="3843"/>
                  <a:pt x="19531" y="3625"/>
                  <a:pt x="19844" y="3500"/>
                </a:cubicBezTo>
                <a:cubicBezTo>
                  <a:pt x="19625" y="3375"/>
                  <a:pt x="19500" y="3468"/>
                  <a:pt x="19344" y="3656"/>
                </a:cubicBezTo>
                <a:cubicBezTo>
                  <a:pt x="19281" y="3750"/>
                  <a:pt x="19188" y="3812"/>
                  <a:pt x="19063" y="3843"/>
                </a:cubicBezTo>
                <a:cubicBezTo>
                  <a:pt x="19063" y="3812"/>
                  <a:pt x="19094" y="3750"/>
                  <a:pt x="19031" y="3718"/>
                </a:cubicBezTo>
                <a:cubicBezTo>
                  <a:pt x="19000" y="3718"/>
                  <a:pt x="18969" y="3750"/>
                  <a:pt x="18938" y="3781"/>
                </a:cubicBezTo>
                <a:cubicBezTo>
                  <a:pt x="18906" y="3812"/>
                  <a:pt x="18875" y="3843"/>
                  <a:pt x="18844" y="3875"/>
                </a:cubicBezTo>
                <a:cubicBezTo>
                  <a:pt x="18813" y="3906"/>
                  <a:pt x="18719" y="3968"/>
                  <a:pt x="18813" y="4000"/>
                </a:cubicBezTo>
                <a:close/>
                <a:moveTo>
                  <a:pt x="19281" y="4718"/>
                </a:moveTo>
                <a:cubicBezTo>
                  <a:pt x="19344" y="4625"/>
                  <a:pt x="19500" y="4656"/>
                  <a:pt x="19563" y="4531"/>
                </a:cubicBezTo>
                <a:cubicBezTo>
                  <a:pt x="19469" y="4625"/>
                  <a:pt x="19281" y="4531"/>
                  <a:pt x="19281" y="4718"/>
                </a:cubicBezTo>
                <a:close/>
                <a:moveTo>
                  <a:pt x="18000" y="8718"/>
                </a:moveTo>
                <a:cubicBezTo>
                  <a:pt x="18000" y="8656"/>
                  <a:pt x="17969" y="8656"/>
                  <a:pt x="17938" y="8656"/>
                </a:cubicBezTo>
                <a:cubicBezTo>
                  <a:pt x="17906" y="8656"/>
                  <a:pt x="17875" y="8656"/>
                  <a:pt x="17844" y="8687"/>
                </a:cubicBezTo>
                <a:cubicBezTo>
                  <a:pt x="17594" y="8718"/>
                  <a:pt x="17375" y="8812"/>
                  <a:pt x="17125" y="8750"/>
                </a:cubicBezTo>
                <a:cubicBezTo>
                  <a:pt x="16938" y="8656"/>
                  <a:pt x="16719" y="8656"/>
                  <a:pt x="16500" y="8656"/>
                </a:cubicBezTo>
                <a:cubicBezTo>
                  <a:pt x="16438" y="8656"/>
                  <a:pt x="16375" y="8750"/>
                  <a:pt x="16281" y="8718"/>
                </a:cubicBezTo>
                <a:cubicBezTo>
                  <a:pt x="16000" y="8656"/>
                  <a:pt x="15688" y="8687"/>
                  <a:pt x="15406" y="8656"/>
                </a:cubicBezTo>
                <a:cubicBezTo>
                  <a:pt x="15188" y="8625"/>
                  <a:pt x="15000" y="8781"/>
                  <a:pt x="14781" y="8718"/>
                </a:cubicBezTo>
                <a:cubicBezTo>
                  <a:pt x="14781" y="8718"/>
                  <a:pt x="14750" y="8718"/>
                  <a:pt x="14719" y="8687"/>
                </a:cubicBezTo>
                <a:cubicBezTo>
                  <a:pt x="14625" y="8656"/>
                  <a:pt x="14531" y="8656"/>
                  <a:pt x="14438" y="8687"/>
                </a:cubicBezTo>
                <a:cubicBezTo>
                  <a:pt x="14344" y="8687"/>
                  <a:pt x="14281" y="8687"/>
                  <a:pt x="14188" y="8687"/>
                </a:cubicBezTo>
                <a:cubicBezTo>
                  <a:pt x="13813" y="8625"/>
                  <a:pt x="13469" y="8687"/>
                  <a:pt x="13094" y="8625"/>
                </a:cubicBezTo>
                <a:cubicBezTo>
                  <a:pt x="12906" y="8656"/>
                  <a:pt x="12719" y="8500"/>
                  <a:pt x="12500" y="8625"/>
                </a:cubicBezTo>
                <a:cubicBezTo>
                  <a:pt x="12500" y="8625"/>
                  <a:pt x="12469" y="8625"/>
                  <a:pt x="12469" y="8593"/>
                </a:cubicBezTo>
                <a:cubicBezTo>
                  <a:pt x="12313" y="8406"/>
                  <a:pt x="12094" y="8531"/>
                  <a:pt x="11938" y="8500"/>
                </a:cubicBezTo>
                <a:cubicBezTo>
                  <a:pt x="11875" y="8500"/>
                  <a:pt x="11750" y="8468"/>
                  <a:pt x="11719" y="8593"/>
                </a:cubicBezTo>
                <a:cubicBezTo>
                  <a:pt x="12094" y="8718"/>
                  <a:pt x="12500" y="8718"/>
                  <a:pt x="12875" y="8843"/>
                </a:cubicBezTo>
                <a:cubicBezTo>
                  <a:pt x="12813" y="8750"/>
                  <a:pt x="12688" y="8718"/>
                  <a:pt x="12594" y="8656"/>
                </a:cubicBezTo>
                <a:cubicBezTo>
                  <a:pt x="12688" y="8656"/>
                  <a:pt x="12781" y="8656"/>
                  <a:pt x="12875" y="8656"/>
                </a:cubicBezTo>
                <a:cubicBezTo>
                  <a:pt x="12969" y="8687"/>
                  <a:pt x="13063" y="8812"/>
                  <a:pt x="13156" y="8718"/>
                </a:cubicBezTo>
                <a:cubicBezTo>
                  <a:pt x="13250" y="8687"/>
                  <a:pt x="13313" y="8687"/>
                  <a:pt x="13375" y="8718"/>
                </a:cubicBezTo>
                <a:cubicBezTo>
                  <a:pt x="13531" y="8718"/>
                  <a:pt x="13688" y="8750"/>
                  <a:pt x="13813" y="8750"/>
                </a:cubicBezTo>
                <a:cubicBezTo>
                  <a:pt x="13906" y="8750"/>
                  <a:pt x="13969" y="8750"/>
                  <a:pt x="14031" y="8781"/>
                </a:cubicBezTo>
                <a:cubicBezTo>
                  <a:pt x="14125" y="8781"/>
                  <a:pt x="14219" y="8812"/>
                  <a:pt x="14344" y="8781"/>
                </a:cubicBezTo>
                <a:cubicBezTo>
                  <a:pt x="14375" y="8781"/>
                  <a:pt x="14406" y="8781"/>
                  <a:pt x="14438" y="8781"/>
                </a:cubicBezTo>
                <a:cubicBezTo>
                  <a:pt x="14469" y="8812"/>
                  <a:pt x="14500" y="8812"/>
                  <a:pt x="14531" y="8781"/>
                </a:cubicBezTo>
                <a:cubicBezTo>
                  <a:pt x="14625" y="8812"/>
                  <a:pt x="14688" y="8812"/>
                  <a:pt x="14750" y="8812"/>
                </a:cubicBezTo>
                <a:cubicBezTo>
                  <a:pt x="14813" y="8812"/>
                  <a:pt x="14875" y="8781"/>
                  <a:pt x="14906" y="8812"/>
                </a:cubicBezTo>
                <a:cubicBezTo>
                  <a:pt x="15188" y="8906"/>
                  <a:pt x="15469" y="8843"/>
                  <a:pt x="15750" y="8843"/>
                </a:cubicBezTo>
                <a:cubicBezTo>
                  <a:pt x="15813" y="8875"/>
                  <a:pt x="15844" y="8875"/>
                  <a:pt x="15906" y="8843"/>
                </a:cubicBezTo>
                <a:cubicBezTo>
                  <a:pt x="16000" y="8812"/>
                  <a:pt x="16125" y="8875"/>
                  <a:pt x="16188" y="8750"/>
                </a:cubicBezTo>
                <a:cubicBezTo>
                  <a:pt x="16219" y="8718"/>
                  <a:pt x="16344" y="8750"/>
                  <a:pt x="16438" y="8781"/>
                </a:cubicBezTo>
                <a:cubicBezTo>
                  <a:pt x="16406" y="8843"/>
                  <a:pt x="16313" y="8781"/>
                  <a:pt x="16313" y="8843"/>
                </a:cubicBezTo>
                <a:cubicBezTo>
                  <a:pt x="16875" y="8906"/>
                  <a:pt x="17406" y="8781"/>
                  <a:pt x="17938" y="8750"/>
                </a:cubicBezTo>
                <a:cubicBezTo>
                  <a:pt x="17969" y="8750"/>
                  <a:pt x="18000" y="8750"/>
                  <a:pt x="18000" y="8718"/>
                </a:cubicBezTo>
                <a:close/>
                <a:moveTo>
                  <a:pt x="18844" y="4718"/>
                </a:moveTo>
                <a:cubicBezTo>
                  <a:pt x="18969" y="4687"/>
                  <a:pt x="19063" y="4656"/>
                  <a:pt x="19125" y="4593"/>
                </a:cubicBezTo>
                <a:cubicBezTo>
                  <a:pt x="19156" y="4562"/>
                  <a:pt x="19063" y="4531"/>
                  <a:pt x="19000" y="4531"/>
                </a:cubicBezTo>
                <a:cubicBezTo>
                  <a:pt x="18969" y="4593"/>
                  <a:pt x="18813" y="4500"/>
                  <a:pt x="18781" y="4656"/>
                </a:cubicBezTo>
                <a:cubicBezTo>
                  <a:pt x="18750" y="4687"/>
                  <a:pt x="18781" y="4718"/>
                  <a:pt x="18844" y="4718"/>
                </a:cubicBezTo>
                <a:close/>
                <a:moveTo>
                  <a:pt x="23969" y="6718"/>
                </a:moveTo>
                <a:cubicBezTo>
                  <a:pt x="24094" y="6687"/>
                  <a:pt x="24094" y="6687"/>
                  <a:pt x="24250" y="6562"/>
                </a:cubicBezTo>
                <a:cubicBezTo>
                  <a:pt x="24094" y="6625"/>
                  <a:pt x="24094" y="6625"/>
                  <a:pt x="23969" y="6718"/>
                </a:cubicBezTo>
                <a:close/>
                <a:moveTo>
                  <a:pt x="18375" y="8656"/>
                </a:moveTo>
                <a:cubicBezTo>
                  <a:pt x="18250" y="8750"/>
                  <a:pt x="18094" y="8812"/>
                  <a:pt x="17938" y="8843"/>
                </a:cubicBezTo>
                <a:cubicBezTo>
                  <a:pt x="18344" y="8875"/>
                  <a:pt x="18375" y="8843"/>
                  <a:pt x="18375" y="8656"/>
                </a:cubicBezTo>
                <a:close/>
                <a:moveTo>
                  <a:pt x="15031" y="8093"/>
                </a:moveTo>
                <a:cubicBezTo>
                  <a:pt x="15219" y="8125"/>
                  <a:pt x="15344" y="8093"/>
                  <a:pt x="15469" y="8062"/>
                </a:cubicBezTo>
                <a:cubicBezTo>
                  <a:pt x="15313" y="8000"/>
                  <a:pt x="15188" y="8031"/>
                  <a:pt x="15031" y="8093"/>
                </a:cubicBezTo>
                <a:close/>
                <a:moveTo>
                  <a:pt x="13156" y="8500"/>
                </a:moveTo>
                <a:cubicBezTo>
                  <a:pt x="13531" y="8500"/>
                  <a:pt x="13906" y="8562"/>
                  <a:pt x="14281" y="8437"/>
                </a:cubicBezTo>
                <a:cubicBezTo>
                  <a:pt x="13906" y="8437"/>
                  <a:pt x="13531" y="8437"/>
                  <a:pt x="13156" y="8437"/>
                </a:cubicBezTo>
                <a:cubicBezTo>
                  <a:pt x="13156" y="8468"/>
                  <a:pt x="13156" y="8468"/>
                  <a:pt x="13156" y="8500"/>
                </a:cubicBezTo>
                <a:close/>
                <a:moveTo>
                  <a:pt x="13656" y="7843"/>
                </a:moveTo>
                <a:cubicBezTo>
                  <a:pt x="13438" y="7875"/>
                  <a:pt x="13219" y="7875"/>
                  <a:pt x="13000" y="7750"/>
                </a:cubicBezTo>
                <a:cubicBezTo>
                  <a:pt x="12938" y="7687"/>
                  <a:pt x="12844" y="7656"/>
                  <a:pt x="12688" y="7718"/>
                </a:cubicBezTo>
                <a:cubicBezTo>
                  <a:pt x="13000" y="7906"/>
                  <a:pt x="13313" y="7875"/>
                  <a:pt x="13594" y="7906"/>
                </a:cubicBezTo>
                <a:cubicBezTo>
                  <a:pt x="13875" y="7968"/>
                  <a:pt x="14125" y="8125"/>
                  <a:pt x="14438" y="8062"/>
                </a:cubicBezTo>
                <a:cubicBezTo>
                  <a:pt x="14375" y="8062"/>
                  <a:pt x="14344" y="8031"/>
                  <a:pt x="14375" y="7968"/>
                </a:cubicBezTo>
                <a:cubicBezTo>
                  <a:pt x="14375" y="7906"/>
                  <a:pt x="14438" y="7906"/>
                  <a:pt x="14500" y="7906"/>
                </a:cubicBezTo>
                <a:cubicBezTo>
                  <a:pt x="14688" y="7937"/>
                  <a:pt x="14906" y="7968"/>
                  <a:pt x="15094" y="7906"/>
                </a:cubicBezTo>
                <a:cubicBezTo>
                  <a:pt x="15219" y="7906"/>
                  <a:pt x="15313" y="7906"/>
                  <a:pt x="15438" y="7875"/>
                </a:cubicBezTo>
                <a:cubicBezTo>
                  <a:pt x="15500" y="7875"/>
                  <a:pt x="15469" y="7843"/>
                  <a:pt x="15438" y="7843"/>
                </a:cubicBezTo>
                <a:cubicBezTo>
                  <a:pt x="15375" y="7781"/>
                  <a:pt x="15344" y="7812"/>
                  <a:pt x="15281" y="7843"/>
                </a:cubicBezTo>
                <a:cubicBezTo>
                  <a:pt x="15125" y="7843"/>
                  <a:pt x="14969" y="7843"/>
                  <a:pt x="14813" y="7843"/>
                </a:cubicBezTo>
                <a:cubicBezTo>
                  <a:pt x="14438" y="7812"/>
                  <a:pt x="14063" y="7937"/>
                  <a:pt x="13719" y="7812"/>
                </a:cubicBezTo>
                <a:cubicBezTo>
                  <a:pt x="13688" y="7812"/>
                  <a:pt x="13688" y="7812"/>
                  <a:pt x="13656" y="7843"/>
                </a:cubicBezTo>
                <a:close/>
                <a:moveTo>
                  <a:pt x="18531" y="4750"/>
                </a:moveTo>
                <a:cubicBezTo>
                  <a:pt x="18375" y="4750"/>
                  <a:pt x="18219" y="4812"/>
                  <a:pt x="18094" y="4875"/>
                </a:cubicBezTo>
                <a:cubicBezTo>
                  <a:pt x="18250" y="4937"/>
                  <a:pt x="18375" y="4843"/>
                  <a:pt x="18531" y="4750"/>
                </a:cubicBezTo>
                <a:close/>
                <a:moveTo>
                  <a:pt x="12469" y="6812"/>
                </a:moveTo>
                <a:cubicBezTo>
                  <a:pt x="12438" y="6781"/>
                  <a:pt x="12375" y="6781"/>
                  <a:pt x="12344" y="6781"/>
                </a:cubicBezTo>
                <a:cubicBezTo>
                  <a:pt x="12281" y="6718"/>
                  <a:pt x="12219" y="6656"/>
                  <a:pt x="12094" y="6718"/>
                </a:cubicBezTo>
                <a:cubicBezTo>
                  <a:pt x="12156" y="6812"/>
                  <a:pt x="12250" y="6781"/>
                  <a:pt x="12344" y="6781"/>
                </a:cubicBezTo>
                <a:cubicBezTo>
                  <a:pt x="12375" y="6812"/>
                  <a:pt x="12406" y="6843"/>
                  <a:pt x="12469" y="6812"/>
                </a:cubicBezTo>
                <a:close/>
                <a:moveTo>
                  <a:pt x="12219" y="4468"/>
                </a:moveTo>
                <a:cubicBezTo>
                  <a:pt x="12344" y="4593"/>
                  <a:pt x="12500" y="4625"/>
                  <a:pt x="12719" y="4625"/>
                </a:cubicBezTo>
                <a:cubicBezTo>
                  <a:pt x="12563" y="4500"/>
                  <a:pt x="12375" y="4531"/>
                  <a:pt x="12219" y="4468"/>
                </a:cubicBezTo>
                <a:close/>
                <a:moveTo>
                  <a:pt x="14906" y="5187"/>
                </a:moveTo>
                <a:cubicBezTo>
                  <a:pt x="15094" y="5250"/>
                  <a:pt x="15313" y="5218"/>
                  <a:pt x="15531" y="5218"/>
                </a:cubicBezTo>
                <a:cubicBezTo>
                  <a:pt x="15313" y="5156"/>
                  <a:pt x="15094" y="5156"/>
                  <a:pt x="14906" y="5187"/>
                </a:cubicBezTo>
                <a:close/>
                <a:moveTo>
                  <a:pt x="13813" y="7437"/>
                </a:moveTo>
                <a:cubicBezTo>
                  <a:pt x="13969" y="7500"/>
                  <a:pt x="14156" y="7437"/>
                  <a:pt x="14313" y="7531"/>
                </a:cubicBezTo>
                <a:cubicBezTo>
                  <a:pt x="14281" y="7562"/>
                  <a:pt x="14281" y="7562"/>
                  <a:pt x="14281" y="7562"/>
                </a:cubicBezTo>
                <a:cubicBezTo>
                  <a:pt x="14250" y="7593"/>
                  <a:pt x="14219" y="7593"/>
                  <a:pt x="14188" y="7593"/>
                </a:cubicBezTo>
                <a:cubicBezTo>
                  <a:pt x="14188" y="7593"/>
                  <a:pt x="14188" y="7593"/>
                  <a:pt x="14156" y="7593"/>
                </a:cubicBezTo>
                <a:lnTo>
                  <a:pt x="14156" y="7593"/>
                </a:lnTo>
                <a:cubicBezTo>
                  <a:pt x="14188" y="7593"/>
                  <a:pt x="14188" y="7593"/>
                  <a:pt x="14188" y="7593"/>
                </a:cubicBezTo>
                <a:cubicBezTo>
                  <a:pt x="14219" y="7593"/>
                  <a:pt x="14219" y="7656"/>
                  <a:pt x="14250" y="7625"/>
                </a:cubicBezTo>
                <a:cubicBezTo>
                  <a:pt x="14344" y="7562"/>
                  <a:pt x="14406" y="7531"/>
                  <a:pt x="14500" y="7531"/>
                </a:cubicBezTo>
                <a:cubicBezTo>
                  <a:pt x="14281" y="7437"/>
                  <a:pt x="14063" y="7437"/>
                  <a:pt x="13813" y="7437"/>
                </a:cubicBezTo>
                <a:close/>
                <a:moveTo>
                  <a:pt x="14563" y="7218"/>
                </a:moveTo>
                <a:cubicBezTo>
                  <a:pt x="14594" y="7218"/>
                  <a:pt x="14563" y="7156"/>
                  <a:pt x="14563" y="7156"/>
                </a:cubicBezTo>
                <a:cubicBezTo>
                  <a:pt x="14469" y="7125"/>
                  <a:pt x="14406" y="7125"/>
                  <a:pt x="14313" y="7250"/>
                </a:cubicBezTo>
                <a:cubicBezTo>
                  <a:pt x="14438" y="7218"/>
                  <a:pt x="14500" y="7281"/>
                  <a:pt x="14563" y="7218"/>
                </a:cubicBezTo>
                <a:close/>
                <a:moveTo>
                  <a:pt x="14656" y="7062"/>
                </a:moveTo>
                <a:cubicBezTo>
                  <a:pt x="14906" y="7062"/>
                  <a:pt x="15156" y="7062"/>
                  <a:pt x="15438" y="7062"/>
                </a:cubicBezTo>
                <a:cubicBezTo>
                  <a:pt x="15156" y="7031"/>
                  <a:pt x="14906" y="6906"/>
                  <a:pt x="14656" y="7062"/>
                </a:cubicBezTo>
                <a:close/>
                <a:moveTo>
                  <a:pt x="14094" y="2250"/>
                </a:moveTo>
                <a:cubicBezTo>
                  <a:pt x="13875" y="2187"/>
                  <a:pt x="13719" y="2156"/>
                  <a:pt x="13594" y="2156"/>
                </a:cubicBezTo>
                <a:cubicBezTo>
                  <a:pt x="13719" y="2187"/>
                  <a:pt x="13844" y="2281"/>
                  <a:pt x="14094" y="225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351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Freeform 82">
            <a:extLst>
              <a:ext uri="{FF2B5EF4-FFF2-40B4-BE49-F238E27FC236}">
                <a16:creationId xmlns:a16="http://schemas.microsoft.com/office/drawing/2014/main" id="{D151849A-7C7F-3644-AA43-24A310A8E637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0" y="1161011"/>
            <a:ext cx="8111961" cy="4959364"/>
          </a:xfrm>
          <a:custGeom>
            <a:avLst/>
            <a:gdLst>
              <a:gd name="T0" fmla="*/ 29469 w 39125"/>
              <a:gd name="T1" fmla="*/ 6250 h 15125"/>
              <a:gd name="T2" fmla="*/ 29656 w 39125"/>
              <a:gd name="T3" fmla="*/ 5593 h 15125"/>
              <a:gd name="T4" fmla="*/ 27563 w 39125"/>
              <a:gd name="T5" fmla="*/ 5125 h 15125"/>
              <a:gd name="T6" fmla="*/ 25938 w 39125"/>
              <a:gd name="T7" fmla="*/ 5125 h 15125"/>
              <a:gd name="T8" fmla="*/ 30188 w 39125"/>
              <a:gd name="T9" fmla="*/ 3187 h 15125"/>
              <a:gd name="T10" fmla="*/ 30531 w 39125"/>
              <a:gd name="T11" fmla="*/ 2406 h 15125"/>
              <a:gd name="T12" fmla="*/ 32250 w 39125"/>
              <a:gd name="T13" fmla="*/ 1531 h 15125"/>
              <a:gd name="T14" fmla="*/ 30031 w 39125"/>
              <a:gd name="T15" fmla="*/ 1718 h 15125"/>
              <a:gd name="T16" fmla="*/ 25438 w 39125"/>
              <a:gd name="T17" fmla="*/ 3062 h 15125"/>
              <a:gd name="T18" fmla="*/ 20938 w 39125"/>
              <a:gd name="T19" fmla="*/ 3125 h 15125"/>
              <a:gd name="T20" fmla="*/ 20375 w 39125"/>
              <a:gd name="T21" fmla="*/ 1781 h 15125"/>
              <a:gd name="T22" fmla="*/ 20375 w 39125"/>
              <a:gd name="T23" fmla="*/ 1718 h 15125"/>
              <a:gd name="T24" fmla="*/ 14719 w 39125"/>
              <a:gd name="T25" fmla="*/ 1781 h 15125"/>
              <a:gd name="T26" fmla="*/ 12313 w 39125"/>
              <a:gd name="T27" fmla="*/ 2125 h 15125"/>
              <a:gd name="T28" fmla="*/ 9875 w 39125"/>
              <a:gd name="T29" fmla="*/ 1968 h 15125"/>
              <a:gd name="T30" fmla="*/ 7594 w 39125"/>
              <a:gd name="T31" fmla="*/ 2718 h 15125"/>
              <a:gd name="T32" fmla="*/ 6594 w 39125"/>
              <a:gd name="T33" fmla="*/ 1750 h 15125"/>
              <a:gd name="T34" fmla="*/ 5719 w 39125"/>
              <a:gd name="T35" fmla="*/ 1968 h 15125"/>
              <a:gd name="T36" fmla="*/ 3656 w 39125"/>
              <a:gd name="T37" fmla="*/ 3906 h 15125"/>
              <a:gd name="T38" fmla="*/ 3375 w 39125"/>
              <a:gd name="T39" fmla="*/ 6500 h 15125"/>
              <a:gd name="T40" fmla="*/ 3219 w 39125"/>
              <a:gd name="T41" fmla="*/ 8375 h 15125"/>
              <a:gd name="T42" fmla="*/ 3781 w 39125"/>
              <a:gd name="T43" fmla="*/ 9437 h 15125"/>
              <a:gd name="T44" fmla="*/ 5719 w 39125"/>
              <a:gd name="T45" fmla="*/ 11406 h 15125"/>
              <a:gd name="T46" fmla="*/ 7906 w 39125"/>
              <a:gd name="T47" fmla="*/ 12875 h 15125"/>
              <a:gd name="T48" fmla="*/ 7375 w 39125"/>
              <a:gd name="T49" fmla="*/ 14781 h 15125"/>
              <a:gd name="T50" fmla="*/ 12125 w 39125"/>
              <a:gd name="T51" fmla="*/ 14281 h 15125"/>
              <a:gd name="T52" fmla="*/ 15875 w 39125"/>
              <a:gd name="T53" fmla="*/ 13031 h 15125"/>
              <a:gd name="T54" fmla="*/ 21438 w 39125"/>
              <a:gd name="T55" fmla="*/ 11000 h 15125"/>
              <a:gd name="T56" fmla="*/ 18813 w 39125"/>
              <a:gd name="T57" fmla="*/ 12375 h 15125"/>
              <a:gd name="T58" fmla="*/ 32000 w 39125"/>
              <a:gd name="T59" fmla="*/ 7562 h 15125"/>
              <a:gd name="T60" fmla="*/ 16063 w 39125"/>
              <a:gd name="T61" fmla="*/ 12875 h 15125"/>
              <a:gd name="T62" fmla="*/ 2313 w 39125"/>
              <a:gd name="T63" fmla="*/ 6875 h 15125"/>
              <a:gd name="T64" fmla="*/ 10344 w 39125"/>
              <a:gd name="T65" fmla="*/ 1562 h 15125"/>
              <a:gd name="T66" fmla="*/ 15500 w 39125"/>
              <a:gd name="T67" fmla="*/ 718 h 15125"/>
              <a:gd name="T68" fmla="*/ 0 w 39125"/>
              <a:gd name="T69" fmla="*/ 8031 h 15125"/>
              <a:gd name="T70" fmla="*/ 31656 w 39125"/>
              <a:gd name="T71" fmla="*/ 7531 h 15125"/>
              <a:gd name="T72" fmla="*/ 30344 w 39125"/>
              <a:gd name="T73" fmla="*/ 7812 h 15125"/>
              <a:gd name="T74" fmla="*/ 31344 w 39125"/>
              <a:gd name="T75" fmla="*/ 3000 h 15125"/>
              <a:gd name="T76" fmla="*/ 29781 w 39125"/>
              <a:gd name="T77" fmla="*/ 5250 h 15125"/>
              <a:gd name="T78" fmla="*/ 29750 w 39125"/>
              <a:gd name="T79" fmla="*/ 4906 h 15125"/>
              <a:gd name="T80" fmla="*/ 32719 w 39125"/>
              <a:gd name="T81" fmla="*/ 7750 h 15125"/>
              <a:gd name="T82" fmla="*/ 30813 w 39125"/>
              <a:gd name="T83" fmla="*/ 7875 h 15125"/>
              <a:gd name="T84" fmla="*/ 31781 w 39125"/>
              <a:gd name="T85" fmla="*/ 2687 h 15125"/>
              <a:gd name="T86" fmla="*/ 32188 w 39125"/>
              <a:gd name="T87" fmla="*/ 5375 h 15125"/>
              <a:gd name="T88" fmla="*/ 33781 w 39125"/>
              <a:gd name="T89" fmla="*/ 7562 h 15125"/>
              <a:gd name="T90" fmla="*/ 34906 w 39125"/>
              <a:gd name="T91" fmla="*/ 7000 h 15125"/>
              <a:gd name="T92" fmla="*/ 34750 w 39125"/>
              <a:gd name="T93" fmla="*/ 5187 h 15125"/>
              <a:gd name="T94" fmla="*/ 31469 w 39125"/>
              <a:gd name="T95" fmla="*/ 6656 h 15125"/>
              <a:gd name="T96" fmla="*/ 36219 w 39125"/>
              <a:gd name="T97" fmla="*/ 6125 h 15125"/>
              <a:gd name="T98" fmla="*/ 27844 w 39125"/>
              <a:gd name="T99" fmla="*/ 4875 h 15125"/>
              <a:gd name="T100" fmla="*/ 29531 w 39125"/>
              <a:gd name="T101" fmla="*/ 8125 h 15125"/>
              <a:gd name="T102" fmla="*/ 28125 w 39125"/>
              <a:gd name="T103" fmla="*/ 8031 h 15125"/>
              <a:gd name="T104" fmla="*/ 32156 w 39125"/>
              <a:gd name="T105" fmla="*/ 4625 h 15125"/>
              <a:gd name="T106" fmla="*/ 33000 w 39125"/>
              <a:gd name="T107" fmla="*/ 375 h 15125"/>
              <a:gd name="T108" fmla="*/ 31625 w 39125"/>
              <a:gd name="T109" fmla="*/ 1156 h 15125"/>
              <a:gd name="T110" fmla="*/ 34594 w 39125"/>
              <a:gd name="T111" fmla="*/ 6093 h 15125"/>
              <a:gd name="T112" fmla="*/ 33563 w 39125"/>
              <a:gd name="T113" fmla="*/ 3781 h 15125"/>
              <a:gd name="T114" fmla="*/ 33031 w 39125"/>
              <a:gd name="T115" fmla="*/ 4062 h 15125"/>
              <a:gd name="T116" fmla="*/ 29219 w 39125"/>
              <a:gd name="T117" fmla="*/ 4125 h 15125"/>
              <a:gd name="T118" fmla="*/ 28625 w 39125"/>
              <a:gd name="T119" fmla="*/ 4343 h 15125"/>
              <a:gd name="T120" fmla="*/ 38625 w 39125"/>
              <a:gd name="T121" fmla="*/ 6750 h 15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125" h="15125">
                <a:moveTo>
                  <a:pt x="30656" y="7000"/>
                </a:moveTo>
                <a:cubicBezTo>
                  <a:pt x="30656" y="7000"/>
                  <a:pt x="30688" y="7000"/>
                  <a:pt x="30688" y="7000"/>
                </a:cubicBezTo>
                <a:cubicBezTo>
                  <a:pt x="30750" y="7000"/>
                  <a:pt x="30781" y="7031"/>
                  <a:pt x="30813" y="7000"/>
                </a:cubicBezTo>
                <a:cubicBezTo>
                  <a:pt x="30844" y="7000"/>
                  <a:pt x="30875" y="7000"/>
                  <a:pt x="30938" y="7000"/>
                </a:cubicBezTo>
                <a:cubicBezTo>
                  <a:pt x="30969" y="7000"/>
                  <a:pt x="31000" y="7000"/>
                  <a:pt x="31031" y="6968"/>
                </a:cubicBezTo>
                <a:cubicBezTo>
                  <a:pt x="31031" y="6968"/>
                  <a:pt x="31063" y="6968"/>
                  <a:pt x="31094" y="6937"/>
                </a:cubicBezTo>
                <a:cubicBezTo>
                  <a:pt x="31000" y="6937"/>
                  <a:pt x="30875" y="6937"/>
                  <a:pt x="30781" y="6937"/>
                </a:cubicBezTo>
                <a:cubicBezTo>
                  <a:pt x="30625" y="6906"/>
                  <a:pt x="30469" y="6906"/>
                  <a:pt x="30313" y="6843"/>
                </a:cubicBezTo>
                <a:cubicBezTo>
                  <a:pt x="30281" y="6843"/>
                  <a:pt x="30281" y="6843"/>
                  <a:pt x="30250" y="6843"/>
                </a:cubicBezTo>
                <a:cubicBezTo>
                  <a:pt x="30125" y="6843"/>
                  <a:pt x="29969" y="6906"/>
                  <a:pt x="29906" y="6812"/>
                </a:cubicBezTo>
                <a:cubicBezTo>
                  <a:pt x="29813" y="6625"/>
                  <a:pt x="29688" y="6843"/>
                  <a:pt x="29563" y="6781"/>
                </a:cubicBezTo>
                <a:cubicBezTo>
                  <a:pt x="29500" y="6718"/>
                  <a:pt x="29406" y="6781"/>
                  <a:pt x="29375" y="6656"/>
                </a:cubicBezTo>
                <a:cubicBezTo>
                  <a:pt x="29375" y="6625"/>
                  <a:pt x="29344" y="6593"/>
                  <a:pt x="29313" y="6625"/>
                </a:cubicBezTo>
                <a:cubicBezTo>
                  <a:pt x="29219" y="6718"/>
                  <a:pt x="29156" y="6593"/>
                  <a:pt x="29094" y="6562"/>
                </a:cubicBezTo>
                <a:cubicBezTo>
                  <a:pt x="29094" y="6656"/>
                  <a:pt x="29094" y="6750"/>
                  <a:pt x="29000" y="6718"/>
                </a:cubicBezTo>
                <a:cubicBezTo>
                  <a:pt x="28906" y="6718"/>
                  <a:pt x="28844" y="6718"/>
                  <a:pt x="28781" y="6781"/>
                </a:cubicBezTo>
                <a:cubicBezTo>
                  <a:pt x="28719" y="6812"/>
                  <a:pt x="28688" y="6781"/>
                  <a:pt x="28688" y="6718"/>
                </a:cubicBezTo>
                <a:cubicBezTo>
                  <a:pt x="28656" y="6656"/>
                  <a:pt x="28688" y="6656"/>
                  <a:pt x="28750" y="6656"/>
                </a:cubicBezTo>
                <a:cubicBezTo>
                  <a:pt x="28813" y="6656"/>
                  <a:pt x="28844" y="6656"/>
                  <a:pt x="28875" y="6593"/>
                </a:cubicBezTo>
                <a:cubicBezTo>
                  <a:pt x="28969" y="6375"/>
                  <a:pt x="29281" y="6406"/>
                  <a:pt x="29438" y="6218"/>
                </a:cubicBezTo>
                <a:cubicBezTo>
                  <a:pt x="29438" y="6218"/>
                  <a:pt x="29438" y="6218"/>
                  <a:pt x="29469" y="6250"/>
                </a:cubicBezTo>
                <a:cubicBezTo>
                  <a:pt x="29563" y="6375"/>
                  <a:pt x="29594" y="6281"/>
                  <a:pt x="29656" y="6218"/>
                </a:cubicBezTo>
                <a:cubicBezTo>
                  <a:pt x="29750" y="6156"/>
                  <a:pt x="29844" y="6156"/>
                  <a:pt x="29875" y="6031"/>
                </a:cubicBezTo>
                <a:cubicBezTo>
                  <a:pt x="29875" y="5968"/>
                  <a:pt x="29938" y="6000"/>
                  <a:pt x="30000" y="6000"/>
                </a:cubicBezTo>
                <a:cubicBezTo>
                  <a:pt x="30000" y="6000"/>
                  <a:pt x="30000" y="6000"/>
                  <a:pt x="30031" y="6000"/>
                </a:cubicBezTo>
                <a:cubicBezTo>
                  <a:pt x="30031" y="6000"/>
                  <a:pt x="30031" y="6000"/>
                  <a:pt x="30031" y="6000"/>
                </a:cubicBezTo>
                <a:cubicBezTo>
                  <a:pt x="30063" y="6000"/>
                  <a:pt x="30063" y="6000"/>
                  <a:pt x="30094" y="6031"/>
                </a:cubicBezTo>
                <a:cubicBezTo>
                  <a:pt x="30094" y="6031"/>
                  <a:pt x="30094" y="6031"/>
                  <a:pt x="30125" y="6031"/>
                </a:cubicBezTo>
                <a:cubicBezTo>
                  <a:pt x="30125" y="6031"/>
                  <a:pt x="30156" y="6031"/>
                  <a:pt x="30156" y="6031"/>
                </a:cubicBezTo>
                <a:cubicBezTo>
                  <a:pt x="30219" y="6031"/>
                  <a:pt x="30250" y="6000"/>
                  <a:pt x="30250" y="5906"/>
                </a:cubicBezTo>
                <a:cubicBezTo>
                  <a:pt x="30250" y="5906"/>
                  <a:pt x="30250" y="5906"/>
                  <a:pt x="30250" y="5906"/>
                </a:cubicBezTo>
                <a:cubicBezTo>
                  <a:pt x="30281" y="5875"/>
                  <a:pt x="30313" y="5875"/>
                  <a:pt x="30313" y="5875"/>
                </a:cubicBezTo>
                <a:cubicBezTo>
                  <a:pt x="30438" y="5843"/>
                  <a:pt x="30563" y="5781"/>
                  <a:pt x="30656" y="5718"/>
                </a:cubicBezTo>
                <a:cubicBezTo>
                  <a:pt x="30781" y="5656"/>
                  <a:pt x="30875" y="5593"/>
                  <a:pt x="31000" y="5531"/>
                </a:cubicBezTo>
                <a:cubicBezTo>
                  <a:pt x="30969" y="5500"/>
                  <a:pt x="30938" y="5500"/>
                  <a:pt x="30906" y="5500"/>
                </a:cubicBezTo>
                <a:cubicBezTo>
                  <a:pt x="30813" y="5468"/>
                  <a:pt x="30719" y="5468"/>
                  <a:pt x="30656" y="5562"/>
                </a:cubicBezTo>
                <a:cubicBezTo>
                  <a:pt x="30656" y="5593"/>
                  <a:pt x="30656" y="5593"/>
                  <a:pt x="30625" y="5593"/>
                </a:cubicBezTo>
                <a:cubicBezTo>
                  <a:pt x="30625" y="5625"/>
                  <a:pt x="30594" y="5625"/>
                  <a:pt x="30563" y="5625"/>
                </a:cubicBezTo>
                <a:cubicBezTo>
                  <a:pt x="30531" y="5625"/>
                  <a:pt x="30500" y="5656"/>
                  <a:pt x="30469" y="5656"/>
                </a:cubicBezTo>
                <a:cubicBezTo>
                  <a:pt x="30406" y="5656"/>
                  <a:pt x="30344" y="5687"/>
                  <a:pt x="30281" y="5687"/>
                </a:cubicBezTo>
                <a:cubicBezTo>
                  <a:pt x="30125" y="5687"/>
                  <a:pt x="29938" y="5687"/>
                  <a:pt x="29781" y="5687"/>
                </a:cubicBezTo>
                <a:cubicBezTo>
                  <a:pt x="29719" y="5687"/>
                  <a:pt x="29688" y="5625"/>
                  <a:pt x="29656" y="5593"/>
                </a:cubicBezTo>
                <a:cubicBezTo>
                  <a:pt x="29594" y="5531"/>
                  <a:pt x="29500" y="5531"/>
                  <a:pt x="29438" y="5593"/>
                </a:cubicBezTo>
                <a:cubicBezTo>
                  <a:pt x="29375" y="5687"/>
                  <a:pt x="29250" y="5687"/>
                  <a:pt x="29156" y="5718"/>
                </a:cubicBezTo>
                <a:cubicBezTo>
                  <a:pt x="29031" y="5750"/>
                  <a:pt x="28844" y="5812"/>
                  <a:pt x="28750" y="5625"/>
                </a:cubicBezTo>
                <a:cubicBezTo>
                  <a:pt x="28750" y="5562"/>
                  <a:pt x="28719" y="5562"/>
                  <a:pt x="28688" y="5593"/>
                </a:cubicBezTo>
                <a:cubicBezTo>
                  <a:pt x="28594" y="5718"/>
                  <a:pt x="28531" y="5656"/>
                  <a:pt x="28469" y="5562"/>
                </a:cubicBezTo>
                <a:cubicBezTo>
                  <a:pt x="28438" y="5531"/>
                  <a:pt x="28406" y="5406"/>
                  <a:pt x="28281" y="5500"/>
                </a:cubicBezTo>
                <a:cubicBezTo>
                  <a:pt x="28250" y="5531"/>
                  <a:pt x="28219" y="5562"/>
                  <a:pt x="28156" y="5531"/>
                </a:cubicBezTo>
                <a:cubicBezTo>
                  <a:pt x="28125" y="5500"/>
                  <a:pt x="28156" y="5468"/>
                  <a:pt x="28156" y="5437"/>
                </a:cubicBezTo>
                <a:cubicBezTo>
                  <a:pt x="28188" y="5375"/>
                  <a:pt x="28250" y="5312"/>
                  <a:pt x="28281" y="5343"/>
                </a:cubicBezTo>
                <a:cubicBezTo>
                  <a:pt x="28438" y="5468"/>
                  <a:pt x="28531" y="5343"/>
                  <a:pt x="28625" y="5281"/>
                </a:cubicBezTo>
                <a:cubicBezTo>
                  <a:pt x="28719" y="5250"/>
                  <a:pt x="28719" y="5218"/>
                  <a:pt x="28781" y="5312"/>
                </a:cubicBezTo>
                <a:cubicBezTo>
                  <a:pt x="28844" y="5406"/>
                  <a:pt x="28938" y="5343"/>
                  <a:pt x="28938" y="5281"/>
                </a:cubicBezTo>
                <a:cubicBezTo>
                  <a:pt x="28969" y="5093"/>
                  <a:pt x="29063" y="5062"/>
                  <a:pt x="29219" y="5093"/>
                </a:cubicBezTo>
                <a:cubicBezTo>
                  <a:pt x="29281" y="5093"/>
                  <a:pt x="29313" y="5062"/>
                  <a:pt x="29375" y="5000"/>
                </a:cubicBezTo>
                <a:cubicBezTo>
                  <a:pt x="29438" y="4906"/>
                  <a:pt x="29281" y="4968"/>
                  <a:pt x="29313" y="4906"/>
                </a:cubicBezTo>
                <a:cubicBezTo>
                  <a:pt x="29375" y="4718"/>
                  <a:pt x="29250" y="4781"/>
                  <a:pt x="29156" y="4781"/>
                </a:cubicBezTo>
                <a:cubicBezTo>
                  <a:pt x="29125" y="4812"/>
                  <a:pt x="29063" y="4812"/>
                  <a:pt x="29031" y="4812"/>
                </a:cubicBezTo>
                <a:cubicBezTo>
                  <a:pt x="28781" y="4781"/>
                  <a:pt x="28625" y="4968"/>
                  <a:pt x="28438" y="5093"/>
                </a:cubicBezTo>
                <a:cubicBezTo>
                  <a:pt x="28344" y="5156"/>
                  <a:pt x="28313" y="5312"/>
                  <a:pt x="28188" y="5156"/>
                </a:cubicBezTo>
                <a:cubicBezTo>
                  <a:pt x="28188" y="5125"/>
                  <a:pt x="28156" y="5125"/>
                  <a:pt x="28125" y="5156"/>
                </a:cubicBezTo>
                <a:cubicBezTo>
                  <a:pt x="27969" y="5250"/>
                  <a:pt x="27781" y="5218"/>
                  <a:pt x="27563" y="5125"/>
                </a:cubicBezTo>
                <a:cubicBezTo>
                  <a:pt x="27594" y="5187"/>
                  <a:pt x="27625" y="5187"/>
                  <a:pt x="27625" y="5218"/>
                </a:cubicBezTo>
                <a:cubicBezTo>
                  <a:pt x="27688" y="5281"/>
                  <a:pt x="27719" y="5406"/>
                  <a:pt x="27625" y="5437"/>
                </a:cubicBezTo>
                <a:cubicBezTo>
                  <a:pt x="27531" y="5468"/>
                  <a:pt x="27375" y="5656"/>
                  <a:pt x="27281" y="5437"/>
                </a:cubicBezTo>
                <a:cubicBezTo>
                  <a:pt x="27250" y="5406"/>
                  <a:pt x="27250" y="5406"/>
                  <a:pt x="27219" y="5406"/>
                </a:cubicBezTo>
                <a:cubicBezTo>
                  <a:pt x="27125" y="5468"/>
                  <a:pt x="27000" y="5500"/>
                  <a:pt x="26906" y="5500"/>
                </a:cubicBezTo>
                <a:cubicBezTo>
                  <a:pt x="26844" y="5531"/>
                  <a:pt x="26813" y="5531"/>
                  <a:pt x="26813" y="5593"/>
                </a:cubicBezTo>
                <a:cubicBezTo>
                  <a:pt x="26781" y="5718"/>
                  <a:pt x="26719" y="5781"/>
                  <a:pt x="26563" y="5812"/>
                </a:cubicBezTo>
                <a:cubicBezTo>
                  <a:pt x="26594" y="5625"/>
                  <a:pt x="26469" y="5656"/>
                  <a:pt x="26375" y="5687"/>
                </a:cubicBezTo>
                <a:cubicBezTo>
                  <a:pt x="26188" y="5687"/>
                  <a:pt x="26031" y="5718"/>
                  <a:pt x="25844" y="5781"/>
                </a:cubicBezTo>
                <a:cubicBezTo>
                  <a:pt x="25781" y="5812"/>
                  <a:pt x="25656" y="5812"/>
                  <a:pt x="25563" y="5718"/>
                </a:cubicBezTo>
                <a:cubicBezTo>
                  <a:pt x="25469" y="5625"/>
                  <a:pt x="25375" y="5625"/>
                  <a:pt x="25281" y="5656"/>
                </a:cubicBezTo>
                <a:cubicBezTo>
                  <a:pt x="25281" y="5656"/>
                  <a:pt x="25281" y="5656"/>
                  <a:pt x="25281" y="5656"/>
                </a:cubicBezTo>
                <a:cubicBezTo>
                  <a:pt x="25156" y="5687"/>
                  <a:pt x="25031" y="5656"/>
                  <a:pt x="24906" y="5625"/>
                </a:cubicBezTo>
                <a:cubicBezTo>
                  <a:pt x="24844" y="5625"/>
                  <a:pt x="24781" y="5593"/>
                  <a:pt x="24719" y="5562"/>
                </a:cubicBezTo>
                <a:cubicBezTo>
                  <a:pt x="24656" y="5531"/>
                  <a:pt x="24594" y="5562"/>
                  <a:pt x="24563" y="5593"/>
                </a:cubicBezTo>
                <a:cubicBezTo>
                  <a:pt x="24438" y="5750"/>
                  <a:pt x="24313" y="5781"/>
                  <a:pt x="24125" y="5718"/>
                </a:cubicBezTo>
                <a:cubicBezTo>
                  <a:pt x="24156" y="5718"/>
                  <a:pt x="24156" y="5687"/>
                  <a:pt x="24188" y="5687"/>
                </a:cubicBezTo>
                <a:cubicBezTo>
                  <a:pt x="24313" y="5656"/>
                  <a:pt x="24313" y="5468"/>
                  <a:pt x="24469" y="5500"/>
                </a:cubicBezTo>
                <a:cubicBezTo>
                  <a:pt x="24438" y="5406"/>
                  <a:pt x="24500" y="5375"/>
                  <a:pt x="24594" y="5375"/>
                </a:cubicBezTo>
                <a:cubicBezTo>
                  <a:pt x="24844" y="5375"/>
                  <a:pt x="25094" y="5250"/>
                  <a:pt x="25313" y="5156"/>
                </a:cubicBezTo>
                <a:cubicBezTo>
                  <a:pt x="25500" y="5062"/>
                  <a:pt x="25688" y="4937"/>
                  <a:pt x="25938" y="5125"/>
                </a:cubicBezTo>
                <a:cubicBezTo>
                  <a:pt x="25938" y="5125"/>
                  <a:pt x="25969" y="5125"/>
                  <a:pt x="26000" y="5093"/>
                </a:cubicBezTo>
                <a:cubicBezTo>
                  <a:pt x="25906" y="5000"/>
                  <a:pt x="25906" y="4937"/>
                  <a:pt x="26063" y="4875"/>
                </a:cubicBezTo>
                <a:cubicBezTo>
                  <a:pt x="26188" y="4843"/>
                  <a:pt x="26281" y="4906"/>
                  <a:pt x="26375" y="4781"/>
                </a:cubicBezTo>
                <a:cubicBezTo>
                  <a:pt x="26469" y="4656"/>
                  <a:pt x="26625" y="4687"/>
                  <a:pt x="26750" y="4625"/>
                </a:cubicBezTo>
                <a:cubicBezTo>
                  <a:pt x="26906" y="4562"/>
                  <a:pt x="27000" y="4687"/>
                  <a:pt x="27125" y="4718"/>
                </a:cubicBezTo>
                <a:cubicBezTo>
                  <a:pt x="27125" y="4750"/>
                  <a:pt x="27156" y="4750"/>
                  <a:pt x="27156" y="4781"/>
                </a:cubicBezTo>
                <a:cubicBezTo>
                  <a:pt x="27375" y="4906"/>
                  <a:pt x="27531" y="4875"/>
                  <a:pt x="27688" y="4687"/>
                </a:cubicBezTo>
                <a:cubicBezTo>
                  <a:pt x="27438" y="4812"/>
                  <a:pt x="27219" y="4718"/>
                  <a:pt x="27000" y="4625"/>
                </a:cubicBezTo>
                <a:cubicBezTo>
                  <a:pt x="27156" y="4531"/>
                  <a:pt x="27250" y="4343"/>
                  <a:pt x="27438" y="4468"/>
                </a:cubicBezTo>
                <a:cubicBezTo>
                  <a:pt x="27438" y="4468"/>
                  <a:pt x="27469" y="4468"/>
                  <a:pt x="27469" y="4437"/>
                </a:cubicBezTo>
                <a:cubicBezTo>
                  <a:pt x="27750" y="4218"/>
                  <a:pt x="28125" y="4250"/>
                  <a:pt x="28438" y="4125"/>
                </a:cubicBezTo>
                <a:cubicBezTo>
                  <a:pt x="28563" y="4062"/>
                  <a:pt x="28719" y="4093"/>
                  <a:pt x="28844" y="4062"/>
                </a:cubicBezTo>
                <a:cubicBezTo>
                  <a:pt x="29094" y="3968"/>
                  <a:pt x="29344" y="3843"/>
                  <a:pt x="29563" y="3718"/>
                </a:cubicBezTo>
                <a:cubicBezTo>
                  <a:pt x="29656" y="3656"/>
                  <a:pt x="29750" y="3593"/>
                  <a:pt x="29844" y="3562"/>
                </a:cubicBezTo>
                <a:cubicBezTo>
                  <a:pt x="29969" y="3500"/>
                  <a:pt x="30063" y="3437"/>
                  <a:pt x="30156" y="3406"/>
                </a:cubicBezTo>
                <a:cubicBezTo>
                  <a:pt x="30188" y="3406"/>
                  <a:pt x="30219" y="3375"/>
                  <a:pt x="30250" y="3375"/>
                </a:cubicBezTo>
                <a:cubicBezTo>
                  <a:pt x="30250" y="3343"/>
                  <a:pt x="30250" y="3343"/>
                  <a:pt x="30250" y="3343"/>
                </a:cubicBezTo>
                <a:cubicBezTo>
                  <a:pt x="30281" y="3343"/>
                  <a:pt x="30281" y="3312"/>
                  <a:pt x="30313" y="3312"/>
                </a:cubicBezTo>
                <a:cubicBezTo>
                  <a:pt x="30313" y="3281"/>
                  <a:pt x="30313" y="3281"/>
                  <a:pt x="30281" y="3250"/>
                </a:cubicBezTo>
                <a:cubicBezTo>
                  <a:pt x="30281" y="3250"/>
                  <a:pt x="30250" y="3218"/>
                  <a:pt x="30219" y="3218"/>
                </a:cubicBezTo>
                <a:cubicBezTo>
                  <a:pt x="30219" y="3218"/>
                  <a:pt x="30219" y="3187"/>
                  <a:pt x="30188" y="3187"/>
                </a:cubicBezTo>
                <a:cubicBezTo>
                  <a:pt x="30188" y="3187"/>
                  <a:pt x="30188" y="3187"/>
                  <a:pt x="30188" y="3187"/>
                </a:cubicBezTo>
                <a:cubicBezTo>
                  <a:pt x="30156" y="3156"/>
                  <a:pt x="30094" y="3156"/>
                  <a:pt x="30125" y="3125"/>
                </a:cubicBezTo>
                <a:cubicBezTo>
                  <a:pt x="30125" y="3093"/>
                  <a:pt x="30125" y="3093"/>
                  <a:pt x="30125" y="3093"/>
                </a:cubicBezTo>
                <a:cubicBezTo>
                  <a:pt x="30125" y="3093"/>
                  <a:pt x="30125" y="3093"/>
                  <a:pt x="30125" y="3093"/>
                </a:cubicBezTo>
                <a:cubicBezTo>
                  <a:pt x="30156" y="3062"/>
                  <a:pt x="30188" y="3031"/>
                  <a:pt x="30219" y="3031"/>
                </a:cubicBezTo>
                <a:cubicBezTo>
                  <a:pt x="30281" y="2968"/>
                  <a:pt x="30375" y="2937"/>
                  <a:pt x="30438" y="2937"/>
                </a:cubicBezTo>
                <a:cubicBezTo>
                  <a:pt x="30438" y="2906"/>
                  <a:pt x="30438" y="2906"/>
                  <a:pt x="30469" y="2937"/>
                </a:cubicBezTo>
                <a:cubicBezTo>
                  <a:pt x="30500" y="2937"/>
                  <a:pt x="30531" y="2937"/>
                  <a:pt x="30563" y="2937"/>
                </a:cubicBezTo>
                <a:cubicBezTo>
                  <a:pt x="30656" y="2937"/>
                  <a:pt x="30719" y="2937"/>
                  <a:pt x="30781" y="2906"/>
                </a:cubicBezTo>
                <a:cubicBezTo>
                  <a:pt x="30781" y="2875"/>
                  <a:pt x="30781" y="2875"/>
                  <a:pt x="30813" y="2875"/>
                </a:cubicBezTo>
                <a:cubicBezTo>
                  <a:pt x="30875" y="2843"/>
                  <a:pt x="30938" y="2781"/>
                  <a:pt x="31000" y="2718"/>
                </a:cubicBezTo>
                <a:cubicBezTo>
                  <a:pt x="31000" y="2687"/>
                  <a:pt x="31031" y="2656"/>
                  <a:pt x="31063" y="2625"/>
                </a:cubicBezTo>
                <a:cubicBezTo>
                  <a:pt x="30938" y="2656"/>
                  <a:pt x="30844" y="2625"/>
                  <a:pt x="30813" y="2531"/>
                </a:cubicBezTo>
                <a:cubicBezTo>
                  <a:pt x="30750" y="2593"/>
                  <a:pt x="30688" y="2562"/>
                  <a:pt x="30594" y="2531"/>
                </a:cubicBezTo>
                <a:cubicBezTo>
                  <a:pt x="30594" y="2531"/>
                  <a:pt x="30594" y="2531"/>
                  <a:pt x="30563" y="2531"/>
                </a:cubicBezTo>
                <a:cubicBezTo>
                  <a:pt x="30531" y="2531"/>
                  <a:pt x="30500" y="2531"/>
                  <a:pt x="30500" y="2562"/>
                </a:cubicBezTo>
                <a:cubicBezTo>
                  <a:pt x="30469" y="2562"/>
                  <a:pt x="30469" y="2593"/>
                  <a:pt x="30469" y="2593"/>
                </a:cubicBezTo>
                <a:cubicBezTo>
                  <a:pt x="30438" y="2593"/>
                  <a:pt x="30438" y="2593"/>
                  <a:pt x="30406" y="2562"/>
                </a:cubicBezTo>
                <a:cubicBezTo>
                  <a:pt x="30375" y="2531"/>
                  <a:pt x="30406" y="2500"/>
                  <a:pt x="30438" y="2468"/>
                </a:cubicBezTo>
                <a:cubicBezTo>
                  <a:pt x="30438" y="2468"/>
                  <a:pt x="30438" y="2437"/>
                  <a:pt x="30469" y="2437"/>
                </a:cubicBezTo>
                <a:cubicBezTo>
                  <a:pt x="30469" y="2437"/>
                  <a:pt x="30500" y="2406"/>
                  <a:pt x="30531" y="2406"/>
                </a:cubicBezTo>
                <a:cubicBezTo>
                  <a:pt x="30594" y="2406"/>
                  <a:pt x="30625" y="2406"/>
                  <a:pt x="30688" y="2406"/>
                </a:cubicBezTo>
                <a:cubicBezTo>
                  <a:pt x="30938" y="2375"/>
                  <a:pt x="31031" y="2312"/>
                  <a:pt x="31094" y="2093"/>
                </a:cubicBezTo>
                <a:cubicBezTo>
                  <a:pt x="31094" y="2093"/>
                  <a:pt x="31094" y="2093"/>
                  <a:pt x="31094" y="2062"/>
                </a:cubicBezTo>
                <a:cubicBezTo>
                  <a:pt x="31125" y="2031"/>
                  <a:pt x="31156" y="2000"/>
                  <a:pt x="31188" y="2000"/>
                </a:cubicBezTo>
                <a:cubicBezTo>
                  <a:pt x="31250" y="1968"/>
                  <a:pt x="31281" y="1968"/>
                  <a:pt x="31313" y="1968"/>
                </a:cubicBezTo>
                <a:cubicBezTo>
                  <a:pt x="31406" y="1968"/>
                  <a:pt x="31500" y="1968"/>
                  <a:pt x="31563" y="1906"/>
                </a:cubicBezTo>
                <a:cubicBezTo>
                  <a:pt x="31563" y="1906"/>
                  <a:pt x="31594" y="1906"/>
                  <a:pt x="31594" y="1875"/>
                </a:cubicBezTo>
                <a:cubicBezTo>
                  <a:pt x="31625" y="1843"/>
                  <a:pt x="31625" y="1843"/>
                  <a:pt x="31625" y="1812"/>
                </a:cubicBezTo>
                <a:cubicBezTo>
                  <a:pt x="31625" y="1812"/>
                  <a:pt x="31656" y="1812"/>
                  <a:pt x="31656" y="1812"/>
                </a:cubicBezTo>
                <a:cubicBezTo>
                  <a:pt x="31656" y="1812"/>
                  <a:pt x="31656" y="1812"/>
                  <a:pt x="31656" y="1812"/>
                </a:cubicBezTo>
                <a:cubicBezTo>
                  <a:pt x="31688" y="1812"/>
                  <a:pt x="31688" y="1812"/>
                  <a:pt x="31688" y="1812"/>
                </a:cubicBezTo>
                <a:cubicBezTo>
                  <a:pt x="31719" y="1812"/>
                  <a:pt x="31719" y="1843"/>
                  <a:pt x="31750" y="1843"/>
                </a:cubicBezTo>
                <a:cubicBezTo>
                  <a:pt x="31813" y="1875"/>
                  <a:pt x="31875" y="1843"/>
                  <a:pt x="31938" y="1843"/>
                </a:cubicBezTo>
                <a:cubicBezTo>
                  <a:pt x="31969" y="1843"/>
                  <a:pt x="32000" y="1812"/>
                  <a:pt x="32000" y="1812"/>
                </a:cubicBezTo>
                <a:cubicBezTo>
                  <a:pt x="32031" y="1812"/>
                  <a:pt x="32031" y="1812"/>
                  <a:pt x="32031" y="1812"/>
                </a:cubicBezTo>
                <a:cubicBezTo>
                  <a:pt x="32094" y="1781"/>
                  <a:pt x="32156" y="1750"/>
                  <a:pt x="32188" y="1718"/>
                </a:cubicBezTo>
                <a:cubicBezTo>
                  <a:pt x="32219" y="1718"/>
                  <a:pt x="32250" y="1718"/>
                  <a:pt x="32250" y="1687"/>
                </a:cubicBezTo>
                <a:cubicBezTo>
                  <a:pt x="32281" y="1687"/>
                  <a:pt x="32281" y="1656"/>
                  <a:pt x="32281" y="1656"/>
                </a:cubicBezTo>
                <a:cubicBezTo>
                  <a:pt x="32281" y="1656"/>
                  <a:pt x="32281" y="1625"/>
                  <a:pt x="32281" y="1625"/>
                </a:cubicBezTo>
                <a:cubicBezTo>
                  <a:pt x="32313" y="1625"/>
                  <a:pt x="32313" y="1593"/>
                  <a:pt x="32281" y="1593"/>
                </a:cubicBezTo>
                <a:cubicBezTo>
                  <a:pt x="32281" y="1562"/>
                  <a:pt x="32281" y="1531"/>
                  <a:pt x="32250" y="1531"/>
                </a:cubicBezTo>
                <a:cubicBezTo>
                  <a:pt x="32219" y="1500"/>
                  <a:pt x="32188" y="1500"/>
                  <a:pt x="32125" y="1500"/>
                </a:cubicBezTo>
                <a:cubicBezTo>
                  <a:pt x="32094" y="1531"/>
                  <a:pt x="32031" y="1531"/>
                  <a:pt x="32000" y="1531"/>
                </a:cubicBezTo>
                <a:cubicBezTo>
                  <a:pt x="31906" y="1531"/>
                  <a:pt x="31844" y="1531"/>
                  <a:pt x="31781" y="1562"/>
                </a:cubicBezTo>
                <a:cubicBezTo>
                  <a:pt x="31750" y="1562"/>
                  <a:pt x="31750" y="1562"/>
                  <a:pt x="31719" y="1593"/>
                </a:cubicBezTo>
                <a:cubicBezTo>
                  <a:pt x="31688" y="1593"/>
                  <a:pt x="31625" y="1625"/>
                  <a:pt x="31594" y="1656"/>
                </a:cubicBezTo>
                <a:cubicBezTo>
                  <a:pt x="31563" y="1687"/>
                  <a:pt x="31531" y="1687"/>
                  <a:pt x="31469" y="1718"/>
                </a:cubicBezTo>
                <a:cubicBezTo>
                  <a:pt x="31469" y="1718"/>
                  <a:pt x="31469" y="1718"/>
                  <a:pt x="31438" y="1718"/>
                </a:cubicBezTo>
                <a:cubicBezTo>
                  <a:pt x="31438" y="1718"/>
                  <a:pt x="31438" y="1718"/>
                  <a:pt x="31406" y="1718"/>
                </a:cubicBezTo>
                <a:cubicBezTo>
                  <a:pt x="31406" y="1718"/>
                  <a:pt x="31406" y="1718"/>
                  <a:pt x="31375" y="1718"/>
                </a:cubicBezTo>
                <a:cubicBezTo>
                  <a:pt x="31375" y="1718"/>
                  <a:pt x="31375" y="1718"/>
                  <a:pt x="31344" y="1718"/>
                </a:cubicBezTo>
                <a:cubicBezTo>
                  <a:pt x="31250" y="1718"/>
                  <a:pt x="31125" y="1718"/>
                  <a:pt x="31031" y="1750"/>
                </a:cubicBezTo>
                <a:cubicBezTo>
                  <a:pt x="30969" y="1750"/>
                  <a:pt x="30938" y="1750"/>
                  <a:pt x="30875" y="1750"/>
                </a:cubicBezTo>
                <a:cubicBezTo>
                  <a:pt x="30813" y="1750"/>
                  <a:pt x="30750" y="1750"/>
                  <a:pt x="30719" y="1750"/>
                </a:cubicBezTo>
                <a:cubicBezTo>
                  <a:pt x="30688" y="1750"/>
                  <a:pt x="30688" y="1750"/>
                  <a:pt x="30656" y="1750"/>
                </a:cubicBezTo>
                <a:cubicBezTo>
                  <a:pt x="30625" y="1750"/>
                  <a:pt x="30625" y="1750"/>
                  <a:pt x="30594" y="1750"/>
                </a:cubicBezTo>
                <a:cubicBezTo>
                  <a:pt x="30594" y="1750"/>
                  <a:pt x="30563" y="1750"/>
                  <a:pt x="30563" y="1750"/>
                </a:cubicBezTo>
                <a:cubicBezTo>
                  <a:pt x="30531" y="1781"/>
                  <a:pt x="30500" y="1781"/>
                  <a:pt x="30500" y="1781"/>
                </a:cubicBezTo>
                <a:cubicBezTo>
                  <a:pt x="30469" y="1812"/>
                  <a:pt x="30469" y="1812"/>
                  <a:pt x="30438" y="1812"/>
                </a:cubicBezTo>
                <a:cubicBezTo>
                  <a:pt x="30375" y="1843"/>
                  <a:pt x="30313" y="1843"/>
                  <a:pt x="30281" y="1843"/>
                </a:cubicBezTo>
                <a:cubicBezTo>
                  <a:pt x="30219" y="1843"/>
                  <a:pt x="30156" y="1812"/>
                  <a:pt x="30094" y="1781"/>
                </a:cubicBezTo>
                <a:cubicBezTo>
                  <a:pt x="30094" y="1750"/>
                  <a:pt x="30063" y="1750"/>
                  <a:pt x="30031" y="1718"/>
                </a:cubicBezTo>
                <a:cubicBezTo>
                  <a:pt x="30031" y="1781"/>
                  <a:pt x="30063" y="1812"/>
                  <a:pt x="30063" y="1843"/>
                </a:cubicBezTo>
                <a:cubicBezTo>
                  <a:pt x="30063" y="1875"/>
                  <a:pt x="30063" y="1906"/>
                  <a:pt x="30063" y="1937"/>
                </a:cubicBezTo>
                <a:cubicBezTo>
                  <a:pt x="30063" y="1968"/>
                  <a:pt x="30063" y="1968"/>
                  <a:pt x="30063" y="2000"/>
                </a:cubicBezTo>
                <a:cubicBezTo>
                  <a:pt x="30031" y="2000"/>
                  <a:pt x="30031" y="2000"/>
                  <a:pt x="30000" y="2031"/>
                </a:cubicBezTo>
                <a:cubicBezTo>
                  <a:pt x="30000" y="2031"/>
                  <a:pt x="29969" y="2031"/>
                  <a:pt x="29938" y="2031"/>
                </a:cubicBezTo>
                <a:cubicBezTo>
                  <a:pt x="29813" y="2062"/>
                  <a:pt x="29688" y="2062"/>
                  <a:pt x="29563" y="2031"/>
                </a:cubicBezTo>
                <a:cubicBezTo>
                  <a:pt x="29625" y="2093"/>
                  <a:pt x="29656" y="2125"/>
                  <a:pt x="29563" y="2187"/>
                </a:cubicBezTo>
                <a:cubicBezTo>
                  <a:pt x="29406" y="2281"/>
                  <a:pt x="29250" y="2250"/>
                  <a:pt x="29094" y="2281"/>
                </a:cubicBezTo>
                <a:cubicBezTo>
                  <a:pt x="28844" y="2343"/>
                  <a:pt x="28594" y="2406"/>
                  <a:pt x="28344" y="2468"/>
                </a:cubicBezTo>
                <a:cubicBezTo>
                  <a:pt x="28063" y="2562"/>
                  <a:pt x="27781" y="2593"/>
                  <a:pt x="27500" y="2625"/>
                </a:cubicBezTo>
                <a:cubicBezTo>
                  <a:pt x="27594" y="2750"/>
                  <a:pt x="27563" y="2875"/>
                  <a:pt x="27531" y="3000"/>
                </a:cubicBezTo>
                <a:cubicBezTo>
                  <a:pt x="27469" y="3125"/>
                  <a:pt x="27344" y="3125"/>
                  <a:pt x="27250" y="3125"/>
                </a:cubicBezTo>
                <a:cubicBezTo>
                  <a:pt x="27156" y="3125"/>
                  <a:pt x="27125" y="3093"/>
                  <a:pt x="27094" y="3000"/>
                </a:cubicBezTo>
                <a:cubicBezTo>
                  <a:pt x="27094" y="2937"/>
                  <a:pt x="27156" y="2906"/>
                  <a:pt x="27219" y="2906"/>
                </a:cubicBezTo>
                <a:cubicBezTo>
                  <a:pt x="27313" y="2906"/>
                  <a:pt x="27344" y="2875"/>
                  <a:pt x="27344" y="2781"/>
                </a:cubicBezTo>
                <a:cubicBezTo>
                  <a:pt x="27344" y="2656"/>
                  <a:pt x="27250" y="2687"/>
                  <a:pt x="27188" y="2687"/>
                </a:cubicBezTo>
                <a:cubicBezTo>
                  <a:pt x="26844" y="2781"/>
                  <a:pt x="26500" y="2843"/>
                  <a:pt x="26156" y="2906"/>
                </a:cubicBezTo>
                <a:cubicBezTo>
                  <a:pt x="26094" y="2906"/>
                  <a:pt x="26031" y="2937"/>
                  <a:pt x="26031" y="2875"/>
                </a:cubicBezTo>
                <a:cubicBezTo>
                  <a:pt x="26000" y="2687"/>
                  <a:pt x="25906" y="2750"/>
                  <a:pt x="25813" y="2812"/>
                </a:cubicBezTo>
                <a:cubicBezTo>
                  <a:pt x="25719" y="2843"/>
                  <a:pt x="25563" y="2843"/>
                  <a:pt x="25531" y="3000"/>
                </a:cubicBezTo>
                <a:cubicBezTo>
                  <a:pt x="25531" y="3031"/>
                  <a:pt x="25469" y="3031"/>
                  <a:pt x="25438" y="3062"/>
                </a:cubicBezTo>
                <a:cubicBezTo>
                  <a:pt x="25219" y="3125"/>
                  <a:pt x="25000" y="3125"/>
                  <a:pt x="24781" y="3156"/>
                </a:cubicBezTo>
                <a:cubicBezTo>
                  <a:pt x="24750" y="3156"/>
                  <a:pt x="24688" y="3156"/>
                  <a:pt x="24656" y="3125"/>
                </a:cubicBezTo>
                <a:cubicBezTo>
                  <a:pt x="24469" y="2968"/>
                  <a:pt x="24281" y="3031"/>
                  <a:pt x="24094" y="3125"/>
                </a:cubicBezTo>
                <a:cubicBezTo>
                  <a:pt x="23969" y="3187"/>
                  <a:pt x="23594" y="3093"/>
                  <a:pt x="23531" y="3000"/>
                </a:cubicBezTo>
                <a:cubicBezTo>
                  <a:pt x="23500" y="2968"/>
                  <a:pt x="23500" y="2906"/>
                  <a:pt x="23469" y="2937"/>
                </a:cubicBezTo>
                <a:cubicBezTo>
                  <a:pt x="23406" y="2937"/>
                  <a:pt x="23438" y="3000"/>
                  <a:pt x="23469" y="3031"/>
                </a:cubicBezTo>
                <a:cubicBezTo>
                  <a:pt x="23500" y="3062"/>
                  <a:pt x="23500" y="3093"/>
                  <a:pt x="23438" y="3125"/>
                </a:cubicBezTo>
                <a:cubicBezTo>
                  <a:pt x="23375" y="3125"/>
                  <a:pt x="23344" y="3125"/>
                  <a:pt x="23313" y="3062"/>
                </a:cubicBezTo>
                <a:cubicBezTo>
                  <a:pt x="23313" y="3031"/>
                  <a:pt x="23313" y="2968"/>
                  <a:pt x="23313" y="2937"/>
                </a:cubicBezTo>
                <a:cubicBezTo>
                  <a:pt x="23313" y="2875"/>
                  <a:pt x="23250" y="2843"/>
                  <a:pt x="23219" y="2812"/>
                </a:cubicBezTo>
                <a:cubicBezTo>
                  <a:pt x="23156" y="2812"/>
                  <a:pt x="23156" y="2875"/>
                  <a:pt x="23125" y="2906"/>
                </a:cubicBezTo>
                <a:cubicBezTo>
                  <a:pt x="23094" y="3031"/>
                  <a:pt x="22969" y="3031"/>
                  <a:pt x="22844" y="3062"/>
                </a:cubicBezTo>
                <a:cubicBezTo>
                  <a:pt x="22750" y="3062"/>
                  <a:pt x="22625" y="3031"/>
                  <a:pt x="22531" y="3093"/>
                </a:cubicBezTo>
                <a:cubicBezTo>
                  <a:pt x="22500" y="3125"/>
                  <a:pt x="22469" y="3125"/>
                  <a:pt x="22406" y="3093"/>
                </a:cubicBezTo>
                <a:cubicBezTo>
                  <a:pt x="22344" y="3062"/>
                  <a:pt x="22281" y="3062"/>
                  <a:pt x="22188" y="3062"/>
                </a:cubicBezTo>
                <a:cubicBezTo>
                  <a:pt x="22063" y="3093"/>
                  <a:pt x="22125" y="2937"/>
                  <a:pt x="22063" y="2937"/>
                </a:cubicBezTo>
                <a:cubicBezTo>
                  <a:pt x="21969" y="2843"/>
                  <a:pt x="22000" y="3031"/>
                  <a:pt x="21906" y="3031"/>
                </a:cubicBezTo>
                <a:cubicBezTo>
                  <a:pt x="21906" y="3031"/>
                  <a:pt x="21875" y="3031"/>
                  <a:pt x="21875" y="3031"/>
                </a:cubicBezTo>
                <a:cubicBezTo>
                  <a:pt x="21813" y="2937"/>
                  <a:pt x="21813" y="3000"/>
                  <a:pt x="21781" y="3031"/>
                </a:cubicBezTo>
                <a:cubicBezTo>
                  <a:pt x="21719" y="3093"/>
                  <a:pt x="21688" y="3125"/>
                  <a:pt x="21625" y="3125"/>
                </a:cubicBezTo>
                <a:cubicBezTo>
                  <a:pt x="21375" y="3187"/>
                  <a:pt x="21156" y="3000"/>
                  <a:pt x="20938" y="3125"/>
                </a:cubicBezTo>
                <a:cubicBezTo>
                  <a:pt x="20938" y="3125"/>
                  <a:pt x="20906" y="3125"/>
                  <a:pt x="20906" y="3125"/>
                </a:cubicBezTo>
                <a:cubicBezTo>
                  <a:pt x="20781" y="2968"/>
                  <a:pt x="20625" y="3000"/>
                  <a:pt x="20469" y="3125"/>
                </a:cubicBezTo>
                <a:cubicBezTo>
                  <a:pt x="20469" y="3125"/>
                  <a:pt x="20438" y="3125"/>
                  <a:pt x="20438" y="3125"/>
                </a:cubicBezTo>
                <a:cubicBezTo>
                  <a:pt x="20313" y="3031"/>
                  <a:pt x="20125" y="3062"/>
                  <a:pt x="20031" y="2937"/>
                </a:cubicBezTo>
                <a:cubicBezTo>
                  <a:pt x="19938" y="2843"/>
                  <a:pt x="19781" y="2843"/>
                  <a:pt x="19719" y="2750"/>
                </a:cubicBezTo>
                <a:cubicBezTo>
                  <a:pt x="19656" y="2625"/>
                  <a:pt x="19594" y="2625"/>
                  <a:pt x="19500" y="2625"/>
                </a:cubicBezTo>
                <a:cubicBezTo>
                  <a:pt x="19375" y="2625"/>
                  <a:pt x="19219" y="2656"/>
                  <a:pt x="19125" y="2593"/>
                </a:cubicBezTo>
                <a:cubicBezTo>
                  <a:pt x="18875" y="2468"/>
                  <a:pt x="18594" y="2500"/>
                  <a:pt x="18344" y="2437"/>
                </a:cubicBezTo>
                <a:cubicBezTo>
                  <a:pt x="17969" y="2343"/>
                  <a:pt x="17594" y="2343"/>
                  <a:pt x="17219" y="2281"/>
                </a:cubicBezTo>
                <a:cubicBezTo>
                  <a:pt x="17188" y="2281"/>
                  <a:pt x="17156" y="2281"/>
                  <a:pt x="17156" y="2250"/>
                </a:cubicBezTo>
                <a:cubicBezTo>
                  <a:pt x="17250" y="2156"/>
                  <a:pt x="17469" y="2250"/>
                  <a:pt x="17469" y="2031"/>
                </a:cubicBezTo>
                <a:cubicBezTo>
                  <a:pt x="17469" y="2031"/>
                  <a:pt x="17500" y="2031"/>
                  <a:pt x="17500" y="2031"/>
                </a:cubicBezTo>
                <a:cubicBezTo>
                  <a:pt x="17625" y="2000"/>
                  <a:pt x="17781" y="1968"/>
                  <a:pt x="17906" y="1937"/>
                </a:cubicBezTo>
                <a:cubicBezTo>
                  <a:pt x="18344" y="1937"/>
                  <a:pt x="18750" y="2000"/>
                  <a:pt x="19188" y="1968"/>
                </a:cubicBezTo>
                <a:cubicBezTo>
                  <a:pt x="19344" y="1937"/>
                  <a:pt x="19563" y="1875"/>
                  <a:pt x="19719" y="2000"/>
                </a:cubicBezTo>
                <a:cubicBezTo>
                  <a:pt x="19750" y="2031"/>
                  <a:pt x="19781" y="2031"/>
                  <a:pt x="19813" y="2000"/>
                </a:cubicBezTo>
                <a:cubicBezTo>
                  <a:pt x="19844" y="1812"/>
                  <a:pt x="19969" y="1906"/>
                  <a:pt x="20031" y="1968"/>
                </a:cubicBezTo>
                <a:cubicBezTo>
                  <a:pt x="20125" y="2031"/>
                  <a:pt x="20188" y="2000"/>
                  <a:pt x="20281" y="2000"/>
                </a:cubicBezTo>
                <a:cubicBezTo>
                  <a:pt x="20188" y="1968"/>
                  <a:pt x="20063" y="2000"/>
                  <a:pt x="20094" y="1875"/>
                </a:cubicBezTo>
                <a:cubicBezTo>
                  <a:pt x="20094" y="1781"/>
                  <a:pt x="20219" y="1812"/>
                  <a:pt x="20281" y="1812"/>
                </a:cubicBezTo>
                <a:cubicBezTo>
                  <a:pt x="20313" y="1812"/>
                  <a:pt x="20344" y="1812"/>
                  <a:pt x="20375" y="1781"/>
                </a:cubicBezTo>
                <a:cubicBezTo>
                  <a:pt x="20406" y="1781"/>
                  <a:pt x="20406" y="1781"/>
                  <a:pt x="20406" y="1781"/>
                </a:cubicBezTo>
                <a:cubicBezTo>
                  <a:pt x="20438" y="1781"/>
                  <a:pt x="20469" y="1781"/>
                  <a:pt x="20500" y="1781"/>
                </a:cubicBezTo>
                <a:cubicBezTo>
                  <a:pt x="20563" y="1781"/>
                  <a:pt x="20625" y="1750"/>
                  <a:pt x="20688" y="1750"/>
                </a:cubicBezTo>
                <a:cubicBezTo>
                  <a:pt x="20719" y="1750"/>
                  <a:pt x="20719" y="1750"/>
                  <a:pt x="20719" y="1750"/>
                </a:cubicBezTo>
                <a:cubicBezTo>
                  <a:pt x="20750" y="1750"/>
                  <a:pt x="20781" y="1750"/>
                  <a:pt x="20813" y="1750"/>
                </a:cubicBezTo>
                <a:lnTo>
                  <a:pt x="20813" y="1750"/>
                </a:lnTo>
                <a:cubicBezTo>
                  <a:pt x="20813" y="1750"/>
                  <a:pt x="20781" y="1750"/>
                  <a:pt x="20750" y="1750"/>
                </a:cubicBezTo>
                <a:cubicBezTo>
                  <a:pt x="20750" y="1750"/>
                  <a:pt x="20719" y="1750"/>
                  <a:pt x="20688" y="1750"/>
                </a:cubicBezTo>
                <a:cubicBezTo>
                  <a:pt x="20688" y="1750"/>
                  <a:pt x="20656" y="1750"/>
                  <a:pt x="20656" y="1750"/>
                </a:cubicBezTo>
                <a:cubicBezTo>
                  <a:pt x="20656" y="1750"/>
                  <a:pt x="20656" y="1750"/>
                  <a:pt x="20656" y="1750"/>
                </a:cubicBezTo>
                <a:cubicBezTo>
                  <a:pt x="20625" y="1781"/>
                  <a:pt x="20594" y="1781"/>
                  <a:pt x="20563" y="1781"/>
                </a:cubicBezTo>
                <a:lnTo>
                  <a:pt x="20563" y="1781"/>
                </a:lnTo>
                <a:cubicBezTo>
                  <a:pt x="20563" y="1781"/>
                  <a:pt x="20563" y="1781"/>
                  <a:pt x="20563" y="1781"/>
                </a:cubicBezTo>
                <a:cubicBezTo>
                  <a:pt x="20531" y="1781"/>
                  <a:pt x="20531" y="1781"/>
                  <a:pt x="20500" y="1781"/>
                </a:cubicBezTo>
                <a:cubicBezTo>
                  <a:pt x="20500" y="1781"/>
                  <a:pt x="20469" y="1781"/>
                  <a:pt x="20438" y="1750"/>
                </a:cubicBezTo>
                <a:cubicBezTo>
                  <a:pt x="20438" y="1750"/>
                  <a:pt x="20438" y="1750"/>
                  <a:pt x="20438" y="1750"/>
                </a:cubicBezTo>
                <a:cubicBezTo>
                  <a:pt x="20438" y="1750"/>
                  <a:pt x="20438" y="1750"/>
                  <a:pt x="20406" y="1750"/>
                </a:cubicBezTo>
                <a:cubicBezTo>
                  <a:pt x="20406" y="1750"/>
                  <a:pt x="20406" y="1750"/>
                  <a:pt x="20406" y="1750"/>
                </a:cubicBezTo>
                <a:cubicBezTo>
                  <a:pt x="20406" y="1750"/>
                  <a:pt x="20406" y="1750"/>
                  <a:pt x="20406" y="1750"/>
                </a:cubicBezTo>
                <a:cubicBezTo>
                  <a:pt x="20375" y="1750"/>
                  <a:pt x="20375" y="1718"/>
                  <a:pt x="20375" y="1718"/>
                </a:cubicBezTo>
                <a:cubicBezTo>
                  <a:pt x="20375" y="1718"/>
                  <a:pt x="20375" y="1718"/>
                  <a:pt x="20375" y="1718"/>
                </a:cubicBezTo>
                <a:cubicBezTo>
                  <a:pt x="20375" y="1718"/>
                  <a:pt x="20344" y="1718"/>
                  <a:pt x="20344" y="1718"/>
                </a:cubicBezTo>
                <a:cubicBezTo>
                  <a:pt x="20344" y="1718"/>
                  <a:pt x="20344" y="1687"/>
                  <a:pt x="20344" y="1687"/>
                </a:cubicBezTo>
                <a:cubicBezTo>
                  <a:pt x="20344" y="1687"/>
                  <a:pt x="20344" y="1687"/>
                  <a:pt x="20344" y="1687"/>
                </a:cubicBezTo>
                <a:cubicBezTo>
                  <a:pt x="20313" y="1687"/>
                  <a:pt x="20313" y="1656"/>
                  <a:pt x="20313" y="1656"/>
                </a:cubicBezTo>
                <a:cubicBezTo>
                  <a:pt x="20313" y="1656"/>
                  <a:pt x="20313" y="1656"/>
                  <a:pt x="20313" y="1656"/>
                </a:cubicBezTo>
                <a:cubicBezTo>
                  <a:pt x="20313" y="1625"/>
                  <a:pt x="20281" y="1625"/>
                  <a:pt x="20281" y="1593"/>
                </a:cubicBezTo>
                <a:cubicBezTo>
                  <a:pt x="20281" y="1562"/>
                  <a:pt x="20219" y="1562"/>
                  <a:pt x="20188" y="1562"/>
                </a:cubicBezTo>
                <a:cubicBezTo>
                  <a:pt x="19938" y="1406"/>
                  <a:pt x="19656" y="1468"/>
                  <a:pt x="19406" y="1343"/>
                </a:cubicBezTo>
                <a:cubicBezTo>
                  <a:pt x="19188" y="1218"/>
                  <a:pt x="18906" y="1250"/>
                  <a:pt x="18656" y="1187"/>
                </a:cubicBezTo>
                <a:cubicBezTo>
                  <a:pt x="18125" y="1062"/>
                  <a:pt x="17594" y="937"/>
                  <a:pt x="17031" y="968"/>
                </a:cubicBezTo>
                <a:cubicBezTo>
                  <a:pt x="16781" y="1000"/>
                  <a:pt x="16563" y="968"/>
                  <a:pt x="16313" y="1062"/>
                </a:cubicBezTo>
                <a:cubicBezTo>
                  <a:pt x="16094" y="1187"/>
                  <a:pt x="15875" y="1312"/>
                  <a:pt x="15625" y="1375"/>
                </a:cubicBezTo>
                <a:cubicBezTo>
                  <a:pt x="15438" y="1437"/>
                  <a:pt x="15281" y="1500"/>
                  <a:pt x="15156" y="1625"/>
                </a:cubicBezTo>
                <a:cubicBezTo>
                  <a:pt x="15094" y="1750"/>
                  <a:pt x="14906" y="1812"/>
                  <a:pt x="14906" y="1968"/>
                </a:cubicBezTo>
                <a:cubicBezTo>
                  <a:pt x="14938" y="2000"/>
                  <a:pt x="14875" y="2031"/>
                  <a:pt x="14875" y="2000"/>
                </a:cubicBezTo>
                <a:cubicBezTo>
                  <a:pt x="14656" y="1906"/>
                  <a:pt x="14438" y="2031"/>
                  <a:pt x="14250" y="1968"/>
                </a:cubicBezTo>
                <a:cubicBezTo>
                  <a:pt x="14188" y="1937"/>
                  <a:pt x="14125" y="1906"/>
                  <a:pt x="14063" y="1843"/>
                </a:cubicBezTo>
                <a:cubicBezTo>
                  <a:pt x="14063" y="1812"/>
                  <a:pt x="14031" y="1781"/>
                  <a:pt x="14063" y="1750"/>
                </a:cubicBezTo>
                <a:cubicBezTo>
                  <a:pt x="14094" y="1750"/>
                  <a:pt x="14125" y="1750"/>
                  <a:pt x="14125" y="1750"/>
                </a:cubicBezTo>
                <a:cubicBezTo>
                  <a:pt x="14313" y="1875"/>
                  <a:pt x="14500" y="1781"/>
                  <a:pt x="14656" y="1843"/>
                </a:cubicBezTo>
                <a:cubicBezTo>
                  <a:pt x="14688" y="1843"/>
                  <a:pt x="14750" y="1781"/>
                  <a:pt x="14719" y="1781"/>
                </a:cubicBezTo>
                <a:cubicBezTo>
                  <a:pt x="14625" y="1750"/>
                  <a:pt x="14563" y="1593"/>
                  <a:pt x="14438" y="1656"/>
                </a:cubicBezTo>
                <a:cubicBezTo>
                  <a:pt x="14313" y="1750"/>
                  <a:pt x="14219" y="1656"/>
                  <a:pt x="14188" y="1562"/>
                </a:cubicBezTo>
                <a:cubicBezTo>
                  <a:pt x="14125" y="1375"/>
                  <a:pt x="14031" y="1375"/>
                  <a:pt x="13875" y="1406"/>
                </a:cubicBezTo>
                <a:cubicBezTo>
                  <a:pt x="13750" y="1437"/>
                  <a:pt x="13625" y="1468"/>
                  <a:pt x="13563" y="1312"/>
                </a:cubicBezTo>
                <a:cubicBezTo>
                  <a:pt x="13531" y="1250"/>
                  <a:pt x="13500" y="1218"/>
                  <a:pt x="13438" y="1250"/>
                </a:cubicBezTo>
                <a:cubicBezTo>
                  <a:pt x="13406" y="1281"/>
                  <a:pt x="13344" y="1281"/>
                  <a:pt x="13313" y="1250"/>
                </a:cubicBezTo>
                <a:cubicBezTo>
                  <a:pt x="13063" y="1125"/>
                  <a:pt x="12813" y="1062"/>
                  <a:pt x="12531" y="1000"/>
                </a:cubicBezTo>
                <a:cubicBezTo>
                  <a:pt x="12344" y="968"/>
                  <a:pt x="12250" y="1031"/>
                  <a:pt x="12219" y="1187"/>
                </a:cubicBezTo>
                <a:cubicBezTo>
                  <a:pt x="12219" y="1218"/>
                  <a:pt x="12031" y="1500"/>
                  <a:pt x="12344" y="1375"/>
                </a:cubicBezTo>
                <a:cubicBezTo>
                  <a:pt x="12375" y="1375"/>
                  <a:pt x="12438" y="1406"/>
                  <a:pt x="12406" y="1468"/>
                </a:cubicBezTo>
                <a:cubicBezTo>
                  <a:pt x="12344" y="1625"/>
                  <a:pt x="12469" y="1593"/>
                  <a:pt x="12563" y="1625"/>
                </a:cubicBezTo>
                <a:cubicBezTo>
                  <a:pt x="12719" y="1625"/>
                  <a:pt x="12875" y="1656"/>
                  <a:pt x="13000" y="1750"/>
                </a:cubicBezTo>
                <a:cubicBezTo>
                  <a:pt x="13125" y="1875"/>
                  <a:pt x="13219" y="2062"/>
                  <a:pt x="13438" y="1875"/>
                </a:cubicBezTo>
                <a:cubicBezTo>
                  <a:pt x="13563" y="1968"/>
                  <a:pt x="13719" y="1906"/>
                  <a:pt x="13875" y="1937"/>
                </a:cubicBezTo>
                <a:cubicBezTo>
                  <a:pt x="13906" y="1968"/>
                  <a:pt x="13969" y="1968"/>
                  <a:pt x="14000" y="2031"/>
                </a:cubicBezTo>
                <a:cubicBezTo>
                  <a:pt x="14000" y="2062"/>
                  <a:pt x="13938" y="2125"/>
                  <a:pt x="13906" y="2125"/>
                </a:cubicBezTo>
                <a:cubicBezTo>
                  <a:pt x="13688" y="2125"/>
                  <a:pt x="13531" y="2187"/>
                  <a:pt x="13344" y="2281"/>
                </a:cubicBezTo>
                <a:cubicBezTo>
                  <a:pt x="13250" y="2312"/>
                  <a:pt x="13063" y="2250"/>
                  <a:pt x="12938" y="2250"/>
                </a:cubicBezTo>
                <a:cubicBezTo>
                  <a:pt x="12781" y="2250"/>
                  <a:pt x="12688" y="2187"/>
                  <a:pt x="12531" y="2125"/>
                </a:cubicBezTo>
                <a:cubicBezTo>
                  <a:pt x="12625" y="2062"/>
                  <a:pt x="12688" y="2093"/>
                  <a:pt x="12750" y="2062"/>
                </a:cubicBezTo>
                <a:cubicBezTo>
                  <a:pt x="12563" y="1875"/>
                  <a:pt x="12438" y="2000"/>
                  <a:pt x="12313" y="2125"/>
                </a:cubicBezTo>
                <a:cubicBezTo>
                  <a:pt x="12188" y="2218"/>
                  <a:pt x="12031" y="2125"/>
                  <a:pt x="11906" y="2250"/>
                </a:cubicBezTo>
                <a:cubicBezTo>
                  <a:pt x="11906" y="2250"/>
                  <a:pt x="11875" y="2218"/>
                  <a:pt x="11875" y="2218"/>
                </a:cubicBezTo>
                <a:cubicBezTo>
                  <a:pt x="11844" y="2062"/>
                  <a:pt x="11688" y="2093"/>
                  <a:pt x="11594" y="2062"/>
                </a:cubicBezTo>
                <a:cubicBezTo>
                  <a:pt x="11469" y="2062"/>
                  <a:pt x="11313" y="2000"/>
                  <a:pt x="11188" y="2062"/>
                </a:cubicBezTo>
                <a:cubicBezTo>
                  <a:pt x="11125" y="2093"/>
                  <a:pt x="11063" y="2093"/>
                  <a:pt x="11094" y="2156"/>
                </a:cubicBezTo>
                <a:cubicBezTo>
                  <a:pt x="11094" y="2218"/>
                  <a:pt x="11156" y="2187"/>
                  <a:pt x="11188" y="2187"/>
                </a:cubicBezTo>
                <a:cubicBezTo>
                  <a:pt x="11375" y="2187"/>
                  <a:pt x="11469" y="2218"/>
                  <a:pt x="11438" y="2437"/>
                </a:cubicBezTo>
                <a:cubicBezTo>
                  <a:pt x="11438" y="2562"/>
                  <a:pt x="11594" y="2562"/>
                  <a:pt x="11656" y="2687"/>
                </a:cubicBezTo>
                <a:cubicBezTo>
                  <a:pt x="11688" y="2750"/>
                  <a:pt x="11750" y="2656"/>
                  <a:pt x="11781" y="2625"/>
                </a:cubicBezTo>
                <a:cubicBezTo>
                  <a:pt x="11813" y="2625"/>
                  <a:pt x="11844" y="2625"/>
                  <a:pt x="11844" y="2625"/>
                </a:cubicBezTo>
                <a:cubicBezTo>
                  <a:pt x="11875" y="2656"/>
                  <a:pt x="11844" y="2687"/>
                  <a:pt x="11844" y="2718"/>
                </a:cubicBezTo>
                <a:cubicBezTo>
                  <a:pt x="11781" y="2843"/>
                  <a:pt x="11563" y="2875"/>
                  <a:pt x="11406" y="2812"/>
                </a:cubicBezTo>
                <a:cubicBezTo>
                  <a:pt x="11250" y="2750"/>
                  <a:pt x="11125" y="2687"/>
                  <a:pt x="11000" y="2562"/>
                </a:cubicBezTo>
                <a:cubicBezTo>
                  <a:pt x="10969" y="2656"/>
                  <a:pt x="11000" y="2687"/>
                  <a:pt x="11063" y="2718"/>
                </a:cubicBezTo>
                <a:cubicBezTo>
                  <a:pt x="11125" y="2750"/>
                  <a:pt x="11156" y="2812"/>
                  <a:pt x="11094" y="2843"/>
                </a:cubicBezTo>
                <a:cubicBezTo>
                  <a:pt x="11031" y="2906"/>
                  <a:pt x="11000" y="2906"/>
                  <a:pt x="10969" y="2843"/>
                </a:cubicBezTo>
                <a:cubicBezTo>
                  <a:pt x="10906" y="2781"/>
                  <a:pt x="10813" y="2750"/>
                  <a:pt x="10719" y="2687"/>
                </a:cubicBezTo>
                <a:cubicBezTo>
                  <a:pt x="10625" y="2625"/>
                  <a:pt x="10469" y="2625"/>
                  <a:pt x="10406" y="2531"/>
                </a:cubicBezTo>
                <a:cubicBezTo>
                  <a:pt x="10344" y="2406"/>
                  <a:pt x="10250" y="2312"/>
                  <a:pt x="10094" y="2250"/>
                </a:cubicBezTo>
                <a:cubicBezTo>
                  <a:pt x="10063" y="2250"/>
                  <a:pt x="10031" y="2218"/>
                  <a:pt x="10031" y="2156"/>
                </a:cubicBezTo>
                <a:cubicBezTo>
                  <a:pt x="10094" y="2000"/>
                  <a:pt x="9938" y="2000"/>
                  <a:pt x="9875" y="1968"/>
                </a:cubicBezTo>
                <a:cubicBezTo>
                  <a:pt x="9781" y="1937"/>
                  <a:pt x="9781" y="2031"/>
                  <a:pt x="9781" y="2093"/>
                </a:cubicBezTo>
                <a:cubicBezTo>
                  <a:pt x="9781" y="2156"/>
                  <a:pt x="9750" y="2187"/>
                  <a:pt x="9688" y="2187"/>
                </a:cubicBezTo>
                <a:cubicBezTo>
                  <a:pt x="9625" y="2187"/>
                  <a:pt x="9594" y="2250"/>
                  <a:pt x="9563" y="2281"/>
                </a:cubicBezTo>
                <a:cubicBezTo>
                  <a:pt x="9500" y="2406"/>
                  <a:pt x="9375" y="2531"/>
                  <a:pt x="9438" y="2687"/>
                </a:cubicBezTo>
                <a:cubicBezTo>
                  <a:pt x="9500" y="2843"/>
                  <a:pt x="9625" y="2812"/>
                  <a:pt x="9750" y="2781"/>
                </a:cubicBezTo>
                <a:cubicBezTo>
                  <a:pt x="9844" y="2781"/>
                  <a:pt x="9969" y="2781"/>
                  <a:pt x="9938" y="2968"/>
                </a:cubicBezTo>
                <a:cubicBezTo>
                  <a:pt x="9906" y="3062"/>
                  <a:pt x="9844" y="3031"/>
                  <a:pt x="9781" y="3031"/>
                </a:cubicBezTo>
                <a:cubicBezTo>
                  <a:pt x="9625" y="3031"/>
                  <a:pt x="9469" y="3062"/>
                  <a:pt x="9406" y="3250"/>
                </a:cubicBezTo>
                <a:cubicBezTo>
                  <a:pt x="9375" y="3375"/>
                  <a:pt x="9281" y="3468"/>
                  <a:pt x="9125" y="3437"/>
                </a:cubicBezTo>
                <a:cubicBezTo>
                  <a:pt x="9000" y="3437"/>
                  <a:pt x="8938" y="3437"/>
                  <a:pt x="8938" y="3312"/>
                </a:cubicBezTo>
                <a:cubicBezTo>
                  <a:pt x="8844" y="3375"/>
                  <a:pt x="8750" y="3375"/>
                  <a:pt x="8688" y="3343"/>
                </a:cubicBezTo>
                <a:cubicBezTo>
                  <a:pt x="8656" y="3343"/>
                  <a:pt x="8625" y="3312"/>
                  <a:pt x="8625" y="3281"/>
                </a:cubicBezTo>
                <a:cubicBezTo>
                  <a:pt x="8500" y="3156"/>
                  <a:pt x="8469" y="3000"/>
                  <a:pt x="8500" y="2843"/>
                </a:cubicBezTo>
                <a:cubicBezTo>
                  <a:pt x="8531" y="2812"/>
                  <a:pt x="8563" y="2718"/>
                  <a:pt x="8500" y="2718"/>
                </a:cubicBezTo>
                <a:cubicBezTo>
                  <a:pt x="8438" y="2687"/>
                  <a:pt x="8406" y="2781"/>
                  <a:pt x="8375" y="2812"/>
                </a:cubicBezTo>
                <a:cubicBezTo>
                  <a:pt x="8313" y="2906"/>
                  <a:pt x="8281" y="3062"/>
                  <a:pt x="8125" y="3031"/>
                </a:cubicBezTo>
                <a:cubicBezTo>
                  <a:pt x="8063" y="3031"/>
                  <a:pt x="8000" y="3031"/>
                  <a:pt x="7938" y="3093"/>
                </a:cubicBezTo>
                <a:cubicBezTo>
                  <a:pt x="7875" y="3156"/>
                  <a:pt x="7813" y="3156"/>
                  <a:pt x="7750" y="3031"/>
                </a:cubicBezTo>
                <a:cubicBezTo>
                  <a:pt x="7719" y="2968"/>
                  <a:pt x="7688" y="2843"/>
                  <a:pt x="7594" y="2843"/>
                </a:cubicBezTo>
                <a:cubicBezTo>
                  <a:pt x="7531" y="2843"/>
                  <a:pt x="7469" y="2843"/>
                  <a:pt x="7469" y="2781"/>
                </a:cubicBezTo>
                <a:cubicBezTo>
                  <a:pt x="7469" y="2718"/>
                  <a:pt x="7531" y="2718"/>
                  <a:pt x="7594" y="2718"/>
                </a:cubicBezTo>
                <a:cubicBezTo>
                  <a:pt x="7656" y="2687"/>
                  <a:pt x="7719" y="2656"/>
                  <a:pt x="7719" y="2593"/>
                </a:cubicBezTo>
                <a:cubicBezTo>
                  <a:pt x="7688" y="2500"/>
                  <a:pt x="7625" y="2468"/>
                  <a:pt x="7563" y="2468"/>
                </a:cubicBezTo>
                <a:cubicBezTo>
                  <a:pt x="7469" y="2500"/>
                  <a:pt x="7406" y="2468"/>
                  <a:pt x="7344" y="2437"/>
                </a:cubicBezTo>
                <a:cubicBezTo>
                  <a:pt x="7281" y="2406"/>
                  <a:pt x="7063" y="2343"/>
                  <a:pt x="7313" y="2250"/>
                </a:cubicBezTo>
                <a:cubicBezTo>
                  <a:pt x="7344" y="2218"/>
                  <a:pt x="7344" y="2156"/>
                  <a:pt x="7313" y="2125"/>
                </a:cubicBezTo>
                <a:cubicBezTo>
                  <a:pt x="7281" y="2062"/>
                  <a:pt x="7250" y="2125"/>
                  <a:pt x="7219" y="2156"/>
                </a:cubicBezTo>
                <a:cubicBezTo>
                  <a:pt x="7188" y="2187"/>
                  <a:pt x="7156" y="2187"/>
                  <a:pt x="7125" y="2156"/>
                </a:cubicBezTo>
                <a:cubicBezTo>
                  <a:pt x="7094" y="2125"/>
                  <a:pt x="7094" y="2093"/>
                  <a:pt x="7125" y="2062"/>
                </a:cubicBezTo>
                <a:cubicBezTo>
                  <a:pt x="7375" y="1937"/>
                  <a:pt x="7125" y="1718"/>
                  <a:pt x="7250" y="1562"/>
                </a:cubicBezTo>
                <a:cubicBezTo>
                  <a:pt x="7250" y="1562"/>
                  <a:pt x="7250" y="1531"/>
                  <a:pt x="7219" y="1531"/>
                </a:cubicBezTo>
                <a:cubicBezTo>
                  <a:pt x="7063" y="1500"/>
                  <a:pt x="7031" y="1343"/>
                  <a:pt x="6938" y="1250"/>
                </a:cubicBezTo>
                <a:cubicBezTo>
                  <a:pt x="6906" y="1187"/>
                  <a:pt x="6844" y="1062"/>
                  <a:pt x="6750" y="1093"/>
                </a:cubicBezTo>
                <a:cubicBezTo>
                  <a:pt x="6719" y="1125"/>
                  <a:pt x="6625" y="1093"/>
                  <a:pt x="6594" y="1187"/>
                </a:cubicBezTo>
                <a:cubicBezTo>
                  <a:pt x="6594" y="1281"/>
                  <a:pt x="6563" y="1406"/>
                  <a:pt x="6563" y="1500"/>
                </a:cubicBezTo>
                <a:cubicBezTo>
                  <a:pt x="6563" y="1562"/>
                  <a:pt x="6563" y="1593"/>
                  <a:pt x="6594" y="1593"/>
                </a:cubicBezTo>
                <a:cubicBezTo>
                  <a:pt x="6656" y="1625"/>
                  <a:pt x="6656" y="1593"/>
                  <a:pt x="6656" y="1562"/>
                </a:cubicBezTo>
                <a:cubicBezTo>
                  <a:pt x="6750" y="1500"/>
                  <a:pt x="6781" y="1500"/>
                  <a:pt x="6813" y="1593"/>
                </a:cubicBezTo>
                <a:cubicBezTo>
                  <a:pt x="6844" y="1625"/>
                  <a:pt x="6875" y="1687"/>
                  <a:pt x="6875" y="1718"/>
                </a:cubicBezTo>
                <a:cubicBezTo>
                  <a:pt x="6906" y="1750"/>
                  <a:pt x="6938" y="1812"/>
                  <a:pt x="6875" y="1843"/>
                </a:cubicBezTo>
                <a:cubicBezTo>
                  <a:pt x="6844" y="1875"/>
                  <a:pt x="6813" y="1843"/>
                  <a:pt x="6781" y="1812"/>
                </a:cubicBezTo>
                <a:cubicBezTo>
                  <a:pt x="6750" y="1718"/>
                  <a:pt x="6656" y="1687"/>
                  <a:pt x="6594" y="1750"/>
                </a:cubicBezTo>
                <a:cubicBezTo>
                  <a:pt x="6500" y="1781"/>
                  <a:pt x="6531" y="1875"/>
                  <a:pt x="6563" y="1937"/>
                </a:cubicBezTo>
                <a:cubicBezTo>
                  <a:pt x="6563" y="2031"/>
                  <a:pt x="6625" y="2093"/>
                  <a:pt x="6719" y="2093"/>
                </a:cubicBezTo>
                <a:cubicBezTo>
                  <a:pt x="6813" y="2062"/>
                  <a:pt x="6875" y="2093"/>
                  <a:pt x="6875" y="2187"/>
                </a:cubicBezTo>
                <a:cubicBezTo>
                  <a:pt x="6875" y="2250"/>
                  <a:pt x="6875" y="2281"/>
                  <a:pt x="6938" y="2281"/>
                </a:cubicBezTo>
                <a:cubicBezTo>
                  <a:pt x="7031" y="2343"/>
                  <a:pt x="7063" y="2437"/>
                  <a:pt x="6938" y="2531"/>
                </a:cubicBezTo>
                <a:cubicBezTo>
                  <a:pt x="7000" y="2562"/>
                  <a:pt x="7031" y="2562"/>
                  <a:pt x="7063" y="2593"/>
                </a:cubicBezTo>
                <a:cubicBezTo>
                  <a:pt x="7094" y="2625"/>
                  <a:pt x="7156" y="2656"/>
                  <a:pt x="7156" y="2718"/>
                </a:cubicBezTo>
                <a:cubicBezTo>
                  <a:pt x="7156" y="2812"/>
                  <a:pt x="7063" y="2750"/>
                  <a:pt x="7031" y="2781"/>
                </a:cubicBezTo>
                <a:cubicBezTo>
                  <a:pt x="6938" y="2843"/>
                  <a:pt x="6844" y="2875"/>
                  <a:pt x="6750" y="2937"/>
                </a:cubicBezTo>
                <a:cubicBezTo>
                  <a:pt x="6500" y="3093"/>
                  <a:pt x="6500" y="3093"/>
                  <a:pt x="6344" y="2968"/>
                </a:cubicBezTo>
                <a:cubicBezTo>
                  <a:pt x="6344" y="3000"/>
                  <a:pt x="6313" y="3031"/>
                  <a:pt x="6313" y="3062"/>
                </a:cubicBezTo>
                <a:cubicBezTo>
                  <a:pt x="6313" y="3093"/>
                  <a:pt x="6313" y="3156"/>
                  <a:pt x="6250" y="3156"/>
                </a:cubicBezTo>
                <a:cubicBezTo>
                  <a:pt x="6188" y="3156"/>
                  <a:pt x="6219" y="3093"/>
                  <a:pt x="6188" y="3062"/>
                </a:cubicBezTo>
                <a:cubicBezTo>
                  <a:pt x="6188" y="3031"/>
                  <a:pt x="6188" y="2968"/>
                  <a:pt x="6156" y="2968"/>
                </a:cubicBezTo>
                <a:cubicBezTo>
                  <a:pt x="5969" y="2906"/>
                  <a:pt x="5969" y="2656"/>
                  <a:pt x="5813" y="2593"/>
                </a:cubicBezTo>
                <a:cubicBezTo>
                  <a:pt x="5875" y="2531"/>
                  <a:pt x="6031" y="2625"/>
                  <a:pt x="6031" y="2500"/>
                </a:cubicBezTo>
                <a:cubicBezTo>
                  <a:pt x="6063" y="2375"/>
                  <a:pt x="6094" y="2250"/>
                  <a:pt x="6063" y="2093"/>
                </a:cubicBezTo>
                <a:cubicBezTo>
                  <a:pt x="6031" y="2062"/>
                  <a:pt x="6063" y="1968"/>
                  <a:pt x="6000" y="1968"/>
                </a:cubicBezTo>
                <a:cubicBezTo>
                  <a:pt x="5875" y="1968"/>
                  <a:pt x="5969" y="2062"/>
                  <a:pt x="5969" y="2125"/>
                </a:cubicBezTo>
                <a:cubicBezTo>
                  <a:pt x="5969" y="2125"/>
                  <a:pt x="5938" y="2125"/>
                  <a:pt x="5938" y="2156"/>
                </a:cubicBezTo>
                <a:cubicBezTo>
                  <a:pt x="5875" y="2093"/>
                  <a:pt x="5781" y="2031"/>
                  <a:pt x="5719" y="1968"/>
                </a:cubicBezTo>
                <a:cubicBezTo>
                  <a:pt x="5719" y="1937"/>
                  <a:pt x="5656" y="1906"/>
                  <a:pt x="5656" y="1937"/>
                </a:cubicBezTo>
                <a:cubicBezTo>
                  <a:pt x="5594" y="2062"/>
                  <a:pt x="5250" y="2031"/>
                  <a:pt x="5438" y="2281"/>
                </a:cubicBezTo>
                <a:cubicBezTo>
                  <a:pt x="5438" y="2312"/>
                  <a:pt x="5438" y="2343"/>
                  <a:pt x="5406" y="2343"/>
                </a:cubicBezTo>
                <a:cubicBezTo>
                  <a:pt x="5344" y="2406"/>
                  <a:pt x="5344" y="2468"/>
                  <a:pt x="5344" y="2562"/>
                </a:cubicBezTo>
                <a:cubicBezTo>
                  <a:pt x="5344" y="2625"/>
                  <a:pt x="5250" y="2625"/>
                  <a:pt x="5219" y="2593"/>
                </a:cubicBezTo>
                <a:cubicBezTo>
                  <a:pt x="5156" y="2593"/>
                  <a:pt x="5094" y="2562"/>
                  <a:pt x="5031" y="2531"/>
                </a:cubicBezTo>
                <a:cubicBezTo>
                  <a:pt x="5188" y="2500"/>
                  <a:pt x="5188" y="2468"/>
                  <a:pt x="5156" y="2375"/>
                </a:cubicBezTo>
                <a:cubicBezTo>
                  <a:pt x="5031" y="2187"/>
                  <a:pt x="4781" y="2156"/>
                  <a:pt x="4625" y="2281"/>
                </a:cubicBezTo>
                <a:cubicBezTo>
                  <a:pt x="4563" y="2281"/>
                  <a:pt x="4563" y="2343"/>
                  <a:pt x="4500" y="2375"/>
                </a:cubicBezTo>
                <a:cubicBezTo>
                  <a:pt x="4438" y="2406"/>
                  <a:pt x="4375" y="2406"/>
                  <a:pt x="4375" y="2312"/>
                </a:cubicBezTo>
                <a:cubicBezTo>
                  <a:pt x="4375" y="2187"/>
                  <a:pt x="4250" y="2031"/>
                  <a:pt x="4375" y="1906"/>
                </a:cubicBezTo>
                <a:cubicBezTo>
                  <a:pt x="4438" y="1812"/>
                  <a:pt x="4344" y="1812"/>
                  <a:pt x="4313" y="1781"/>
                </a:cubicBezTo>
                <a:cubicBezTo>
                  <a:pt x="4250" y="1718"/>
                  <a:pt x="4188" y="1718"/>
                  <a:pt x="4188" y="1781"/>
                </a:cubicBezTo>
                <a:cubicBezTo>
                  <a:pt x="4156" y="1937"/>
                  <a:pt x="4094" y="2031"/>
                  <a:pt x="4063" y="2156"/>
                </a:cubicBezTo>
                <a:cubicBezTo>
                  <a:pt x="3938" y="2437"/>
                  <a:pt x="4000" y="2718"/>
                  <a:pt x="4000" y="3000"/>
                </a:cubicBezTo>
                <a:cubicBezTo>
                  <a:pt x="4000" y="3062"/>
                  <a:pt x="3969" y="3125"/>
                  <a:pt x="3906" y="3125"/>
                </a:cubicBezTo>
                <a:cubicBezTo>
                  <a:pt x="3813" y="3156"/>
                  <a:pt x="3844" y="3093"/>
                  <a:pt x="3844" y="3031"/>
                </a:cubicBezTo>
                <a:cubicBezTo>
                  <a:pt x="3844" y="3000"/>
                  <a:pt x="3813" y="2968"/>
                  <a:pt x="3781" y="2968"/>
                </a:cubicBezTo>
                <a:cubicBezTo>
                  <a:pt x="3719" y="3031"/>
                  <a:pt x="3750" y="3093"/>
                  <a:pt x="3719" y="3156"/>
                </a:cubicBezTo>
                <a:cubicBezTo>
                  <a:pt x="3594" y="3375"/>
                  <a:pt x="3500" y="3593"/>
                  <a:pt x="3656" y="3843"/>
                </a:cubicBezTo>
                <a:cubicBezTo>
                  <a:pt x="3688" y="3843"/>
                  <a:pt x="3688" y="3906"/>
                  <a:pt x="3656" y="3906"/>
                </a:cubicBezTo>
                <a:cubicBezTo>
                  <a:pt x="3563" y="4031"/>
                  <a:pt x="3531" y="4218"/>
                  <a:pt x="3406" y="4312"/>
                </a:cubicBezTo>
                <a:cubicBezTo>
                  <a:pt x="3313" y="4375"/>
                  <a:pt x="3250" y="4468"/>
                  <a:pt x="3250" y="4593"/>
                </a:cubicBezTo>
                <a:cubicBezTo>
                  <a:pt x="3250" y="4687"/>
                  <a:pt x="3344" y="4812"/>
                  <a:pt x="3156" y="4812"/>
                </a:cubicBezTo>
                <a:cubicBezTo>
                  <a:pt x="3094" y="4812"/>
                  <a:pt x="3125" y="4875"/>
                  <a:pt x="3094" y="4937"/>
                </a:cubicBezTo>
                <a:cubicBezTo>
                  <a:pt x="3094" y="5000"/>
                  <a:pt x="3125" y="5093"/>
                  <a:pt x="3156" y="5187"/>
                </a:cubicBezTo>
                <a:cubicBezTo>
                  <a:pt x="2938" y="5093"/>
                  <a:pt x="2906" y="4937"/>
                  <a:pt x="2875" y="4781"/>
                </a:cubicBezTo>
                <a:cubicBezTo>
                  <a:pt x="2813" y="4562"/>
                  <a:pt x="3000" y="4500"/>
                  <a:pt x="3125" y="4406"/>
                </a:cubicBezTo>
                <a:cubicBezTo>
                  <a:pt x="3125" y="4343"/>
                  <a:pt x="3063" y="4343"/>
                  <a:pt x="3031" y="4343"/>
                </a:cubicBezTo>
                <a:cubicBezTo>
                  <a:pt x="2688" y="4375"/>
                  <a:pt x="2375" y="4218"/>
                  <a:pt x="2063" y="4125"/>
                </a:cubicBezTo>
                <a:cubicBezTo>
                  <a:pt x="1844" y="4093"/>
                  <a:pt x="1656" y="3968"/>
                  <a:pt x="1438" y="4000"/>
                </a:cubicBezTo>
                <a:cubicBezTo>
                  <a:pt x="1313" y="4000"/>
                  <a:pt x="1219" y="3937"/>
                  <a:pt x="1156" y="3843"/>
                </a:cubicBezTo>
                <a:cubicBezTo>
                  <a:pt x="1094" y="3687"/>
                  <a:pt x="1031" y="3781"/>
                  <a:pt x="1000" y="3875"/>
                </a:cubicBezTo>
                <a:cubicBezTo>
                  <a:pt x="844" y="4093"/>
                  <a:pt x="938" y="4500"/>
                  <a:pt x="1156" y="4656"/>
                </a:cubicBezTo>
                <a:cubicBezTo>
                  <a:pt x="1531" y="4968"/>
                  <a:pt x="1969" y="5156"/>
                  <a:pt x="2344" y="5406"/>
                </a:cubicBezTo>
                <a:cubicBezTo>
                  <a:pt x="2375" y="5437"/>
                  <a:pt x="2438" y="5468"/>
                  <a:pt x="2438" y="5437"/>
                </a:cubicBezTo>
                <a:cubicBezTo>
                  <a:pt x="2500" y="5312"/>
                  <a:pt x="2594" y="5343"/>
                  <a:pt x="2688" y="5343"/>
                </a:cubicBezTo>
                <a:cubicBezTo>
                  <a:pt x="2750" y="5312"/>
                  <a:pt x="2844" y="5312"/>
                  <a:pt x="2875" y="5375"/>
                </a:cubicBezTo>
                <a:cubicBezTo>
                  <a:pt x="2906" y="5468"/>
                  <a:pt x="2844" y="5500"/>
                  <a:pt x="2781" y="5562"/>
                </a:cubicBezTo>
                <a:cubicBezTo>
                  <a:pt x="2625" y="5750"/>
                  <a:pt x="2656" y="5843"/>
                  <a:pt x="2813" y="6031"/>
                </a:cubicBezTo>
                <a:cubicBezTo>
                  <a:pt x="2969" y="6218"/>
                  <a:pt x="3281" y="6187"/>
                  <a:pt x="3344" y="6468"/>
                </a:cubicBezTo>
                <a:cubicBezTo>
                  <a:pt x="3344" y="6468"/>
                  <a:pt x="3375" y="6500"/>
                  <a:pt x="3375" y="6500"/>
                </a:cubicBezTo>
                <a:cubicBezTo>
                  <a:pt x="3469" y="6593"/>
                  <a:pt x="3563" y="6687"/>
                  <a:pt x="3656" y="6750"/>
                </a:cubicBezTo>
                <a:cubicBezTo>
                  <a:pt x="3719" y="6781"/>
                  <a:pt x="3750" y="6843"/>
                  <a:pt x="3719" y="6906"/>
                </a:cubicBezTo>
                <a:cubicBezTo>
                  <a:pt x="3688" y="6968"/>
                  <a:pt x="3625" y="6968"/>
                  <a:pt x="3563" y="6937"/>
                </a:cubicBezTo>
                <a:cubicBezTo>
                  <a:pt x="3469" y="6937"/>
                  <a:pt x="3344" y="6937"/>
                  <a:pt x="3250" y="6968"/>
                </a:cubicBezTo>
                <a:cubicBezTo>
                  <a:pt x="3313" y="7062"/>
                  <a:pt x="3375" y="7062"/>
                  <a:pt x="3469" y="7062"/>
                </a:cubicBezTo>
                <a:cubicBezTo>
                  <a:pt x="3563" y="7093"/>
                  <a:pt x="3469" y="7218"/>
                  <a:pt x="3531" y="7281"/>
                </a:cubicBezTo>
                <a:cubicBezTo>
                  <a:pt x="3563" y="7281"/>
                  <a:pt x="3563" y="7281"/>
                  <a:pt x="3563" y="7281"/>
                </a:cubicBezTo>
                <a:cubicBezTo>
                  <a:pt x="3625" y="7312"/>
                  <a:pt x="3656" y="7375"/>
                  <a:pt x="3625" y="7437"/>
                </a:cubicBezTo>
                <a:cubicBezTo>
                  <a:pt x="3563" y="7500"/>
                  <a:pt x="3500" y="7468"/>
                  <a:pt x="3438" y="7437"/>
                </a:cubicBezTo>
                <a:cubicBezTo>
                  <a:pt x="3344" y="7343"/>
                  <a:pt x="3219" y="7343"/>
                  <a:pt x="3094" y="7312"/>
                </a:cubicBezTo>
                <a:cubicBezTo>
                  <a:pt x="3031" y="7281"/>
                  <a:pt x="3000" y="7312"/>
                  <a:pt x="2969" y="7375"/>
                </a:cubicBezTo>
                <a:cubicBezTo>
                  <a:pt x="2844" y="7750"/>
                  <a:pt x="2844" y="7750"/>
                  <a:pt x="2969" y="8093"/>
                </a:cubicBezTo>
                <a:cubicBezTo>
                  <a:pt x="2969" y="8125"/>
                  <a:pt x="2969" y="8125"/>
                  <a:pt x="3000" y="8156"/>
                </a:cubicBezTo>
                <a:cubicBezTo>
                  <a:pt x="3031" y="8156"/>
                  <a:pt x="3031" y="8125"/>
                  <a:pt x="3031" y="8093"/>
                </a:cubicBezTo>
                <a:cubicBezTo>
                  <a:pt x="3031" y="7906"/>
                  <a:pt x="3094" y="7875"/>
                  <a:pt x="3219" y="8031"/>
                </a:cubicBezTo>
                <a:cubicBezTo>
                  <a:pt x="3219" y="8062"/>
                  <a:pt x="3250" y="8062"/>
                  <a:pt x="3281" y="8062"/>
                </a:cubicBezTo>
                <a:cubicBezTo>
                  <a:pt x="3438" y="7968"/>
                  <a:pt x="3531" y="8093"/>
                  <a:pt x="3594" y="8187"/>
                </a:cubicBezTo>
                <a:cubicBezTo>
                  <a:pt x="3625" y="8281"/>
                  <a:pt x="3781" y="8375"/>
                  <a:pt x="3688" y="8468"/>
                </a:cubicBezTo>
                <a:cubicBezTo>
                  <a:pt x="3656" y="8531"/>
                  <a:pt x="3531" y="8531"/>
                  <a:pt x="3438" y="8562"/>
                </a:cubicBezTo>
                <a:cubicBezTo>
                  <a:pt x="3375" y="8562"/>
                  <a:pt x="3313" y="8531"/>
                  <a:pt x="3313" y="8468"/>
                </a:cubicBezTo>
                <a:cubicBezTo>
                  <a:pt x="3313" y="8406"/>
                  <a:pt x="3281" y="8375"/>
                  <a:pt x="3219" y="8375"/>
                </a:cubicBezTo>
                <a:cubicBezTo>
                  <a:pt x="3188" y="8375"/>
                  <a:pt x="3188" y="8375"/>
                  <a:pt x="3156" y="8406"/>
                </a:cubicBezTo>
                <a:cubicBezTo>
                  <a:pt x="3156" y="8562"/>
                  <a:pt x="3063" y="8500"/>
                  <a:pt x="3000" y="8468"/>
                </a:cubicBezTo>
                <a:cubicBezTo>
                  <a:pt x="2906" y="8406"/>
                  <a:pt x="2813" y="8375"/>
                  <a:pt x="2781" y="8218"/>
                </a:cubicBezTo>
                <a:cubicBezTo>
                  <a:pt x="2781" y="8187"/>
                  <a:pt x="2750" y="8156"/>
                  <a:pt x="2719" y="8187"/>
                </a:cubicBezTo>
                <a:cubicBezTo>
                  <a:pt x="2594" y="8218"/>
                  <a:pt x="2500" y="8187"/>
                  <a:pt x="2406" y="8156"/>
                </a:cubicBezTo>
                <a:cubicBezTo>
                  <a:pt x="2344" y="8156"/>
                  <a:pt x="2281" y="8187"/>
                  <a:pt x="2281" y="8218"/>
                </a:cubicBezTo>
                <a:cubicBezTo>
                  <a:pt x="2219" y="8343"/>
                  <a:pt x="2344" y="8468"/>
                  <a:pt x="2281" y="8593"/>
                </a:cubicBezTo>
                <a:cubicBezTo>
                  <a:pt x="2438" y="8656"/>
                  <a:pt x="2406" y="8875"/>
                  <a:pt x="2531" y="8968"/>
                </a:cubicBezTo>
                <a:cubicBezTo>
                  <a:pt x="2594" y="9031"/>
                  <a:pt x="2625" y="9093"/>
                  <a:pt x="2656" y="9187"/>
                </a:cubicBezTo>
                <a:cubicBezTo>
                  <a:pt x="2688" y="9281"/>
                  <a:pt x="2719" y="9500"/>
                  <a:pt x="2906" y="9406"/>
                </a:cubicBezTo>
                <a:cubicBezTo>
                  <a:pt x="3000" y="9375"/>
                  <a:pt x="3031" y="9406"/>
                  <a:pt x="3094" y="9437"/>
                </a:cubicBezTo>
                <a:cubicBezTo>
                  <a:pt x="3219" y="9531"/>
                  <a:pt x="3313" y="9468"/>
                  <a:pt x="3344" y="9312"/>
                </a:cubicBezTo>
                <a:cubicBezTo>
                  <a:pt x="3344" y="9281"/>
                  <a:pt x="3344" y="9250"/>
                  <a:pt x="3344" y="9218"/>
                </a:cubicBezTo>
                <a:cubicBezTo>
                  <a:pt x="3375" y="9187"/>
                  <a:pt x="3406" y="9156"/>
                  <a:pt x="3469" y="9156"/>
                </a:cubicBezTo>
                <a:cubicBezTo>
                  <a:pt x="3563" y="9156"/>
                  <a:pt x="3500" y="9218"/>
                  <a:pt x="3500" y="9250"/>
                </a:cubicBezTo>
                <a:cubicBezTo>
                  <a:pt x="3531" y="9312"/>
                  <a:pt x="3500" y="9406"/>
                  <a:pt x="3563" y="9437"/>
                </a:cubicBezTo>
                <a:cubicBezTo>
                  <a:pt x="3625" y="9500"/>
                  <a:pt x="3594" y="9531"/>
                  <a:pt x="3500" y="9562"/>
                </a:cubicBezTo>
                <a:cubicBezTo>
                  <a:pt x="3500" y="9562"/>
                  <a:pt x="3438" y="9562"/>
                  <a:pt x="3469" y="9593"/>
                </a:cubicBezTo>
                <a:cubicBezTo>
                  <a:pt x="3469" y="9625"/>
                  <a:pt x="3500" y="9656"/>
                  <a:pt x="3531" y="9656"/>
                </a:cubicBezTo>
                <a:cubicBezTo>
                  <a:pt x="3594" y="9656"/>
                  <a:pt x="3688" y="9625"/>
                  <a:pt x="3688" y="9531"/>
                </a:cubicBezTo>
                <a:cubicBezTo>
                  <a:pt x="3656" y="9437"/>
                  <a:pt x="3719" y="9437"/>
                  <a:pt x="3781" y="9437"/>
                </a:cubicBezTo>
                <a:cubicBezTo>
                  <a:pt x="4000" y="9406"/>
                  <a:pt x="4188" y="9500"/>
                  <a:pt x="4375" y="9500"/>
                </a:cubicBezTo>
                <a:cubicBezTo>
                  <a:pt x="4438" y="9500"/>
                  <a:pt x="4438" y="9531"/>
                  <a:pt x="4469" y="9562"/>
                </a:cubicBezTo>
                <a:cubicBezTo>
                  <a:pt x="4469" y="9593"/>
                  <a:pt x="4469" y="9625"/>
                  <a:pt x="4406" y="9656"/>
                </a:cubicBezTo>
                <a:cubicBezTo>
                  <a:pt x="4344" y="9656"/>
                  <a:pt x="4375" y="9718"/>
                  <a:pt x="4375" y="9750"/>
                </a:cubicBezTo>
                <a:cubicBezTo>
                  <a:pt x="4406" y="9812"/>
                  <a:pt x="4438" y="9812"/>
                  <a:pt x="4500" y="9781"/>
                </a:cubicBezTo>
                <a:cubicBezTo>
                  <a:pt x="4625" y="9750"/>
                  <a:pt x="4813" y="9812"/>
                  <a:pt x="4938" y="9656"/>
                </a:cubicBezTo>
                <a:cubicBezTo>
                  <a:pt x="4938" y="9656"/>
                  <a:pt x="4969" y="9656"/>
                  <a:pt x="4969" y="9656"/>
                </a:cubicBezTo>
                <a:cubicBezTo>
                  <a:pt x="5125" y="9750"/>
                  <a:pt x="5313" y="9750"/>
                  <a:pt x="5469" y="9781"/>
                </a:cubicBezTo>
                <a:cubicBezTo>
                  <a:pt x="5469" y="9812"/>
                  <a:pt x="5438" y="9843"/>
                  <a:pt x="5438" y="9875"/>
                </a:cubicBezTo>
                <a:cubicBezTo>
                  <a:pt x="5438" y="10031"/>
                  <a:pt x="5375" y="10062"/>
                  <a:pt x="5250" y="10031"/>
                </a:cubicBezTo>
                <a:cubicBezTo>
                  <a:pt x="5156" y="10000"/>
                  <a:pt x="5063" y="10031"/>
                  <a:pt x="4969" y="10062"/>
                </a:cubicBezTo>
                <a:cubicBezTo>
                  <a:pt x="4875" y="10093"/>
                  <a:pt x="4906" y="10187"/>
                  <a:pt x="4875" y="10250"/>
                </a:cubicBezTo>
                <a:cubicBezTo>
                  <a:pt x="4875" y="10312"/>
                  <a:pt x="4938" y="10312"/>
                  <a:pt x="4969" y="10281"/>
                </a:cubicBezTo>
                <a:cubicBezTo>
                  <a:pt x="5156" y="10156"/>
                  <a:pt x="5156" y="10312"/>
                  <a:pt x="5188" y="10437"/>
                </a:cubicBezTo>
                <a:cubicBezTo>
                  <a:pt x="5250" y="10593"/>
                  <a:pt x="5250" y="10750"/>
                  <a:pt x="5500" y="10718"/>
                </a:cubicBezTo>
                <a:cubicBezTo>
                  <a:pt x="5531" y="10718"/>
                  <a:pt x="5594" y="10687"/>
                  <a:pt x="5594" y="10781"/>
                </a:cubicBezTo>
                <a:cubicBezTo>
                  <a:pt x="5594" y="10843"/>
                  <a:pt x="5563" y="10875"/>
                  <a:pt x="5469" y="10906"/>
                </a:cubicBezTo>
                <a:cubicBezTo>
                  <a:pt x="5438" y="10906"/>
                  <a:pt x="5406" y="10906"/>
                  <a:pt x="5375" y="10906"/>
                </a:cubicBezTo>
                <a:cubicBezTo>
                  <a:pt x="5250" y="10937"/>
                  <a:pt x="5156" y="11000"/>
                  <a:pt x="5188" y="11125"/>
                </a:cubicBezTo>
                <a:cubicBezTo>
                  <a:pt x="5188" y="11250"/>
                  <a:pt x="5250" y="11343"/>
                  <a:pt x="5375" y="11375"/>
                </a:cubicBezTo>
                <a:cubicBezTo>
                  <a:pt x="5500" y="11375"/>
                  <a:pt x="5594" y="11406"/>
                  <a:pt x="5719" y="11406"/>
                </a:cubicBezTo>
                <a:cubicBezTo>
                  <a:pt x="5781" y="11406"/>
                  <a:pt x="5813" y="11437"/>
                  <a:pt x="5844" y="11468"/>
                </a:cubicBezTo>
                <a:cubicBezTo>
                  <a:pt x="5844" y="11593"/>
                  <a:pt x="5719" y="11718"/>
                  <a:pt x="5781" y="11843"/>
                </a:cubicBezTo>
                <a:cubicBezTo>
                  <a:pt x="5781" y="11843"/>
                  <a:pt x="5750" y="11843"/>
                  <a:pt x="5750" y="11843"/>
                </a:cubicBezTo>
                <a:cubicBezTo>
                  <a:pt x="5531" y="11718"/>
                  <a:pt x="5531" y="11843"/>
                  <a:pt x="5531" y="12000"/>
                </a:cubicBezTo>
                <a:cubicBezTo>
                  <a:pt x="5531" y="12031"/>
                  <a:pt x="5500" y="12062"/>
                  <a:pt x="5469" y="12062"/>
                </a:cubicBezTo>
                <a:cubicBezTo>
                  <a:pt x="5438" y="12093"/>
                  <a:pt x="5406" y="12125"/>
                  <a:pt x="5406" y="12125"/>
                </a:cubicBezTo>
                <a:cubicBezTo>
                  <a:pt x="5563" y="12250"/>
                  <a:pt x="5563" y="12468"/>
                  <a:pt x="5781" y="12468"/>
                </a:cubicBezTo>
                <a:cubicBezTo>
                  <a:pt x="5906" y="12500"/>
                  <a:pt x="6031" y="12500"/>
                  <a:pt x="6156" y="12531"/>
                </a:cubicBezTo>
                <a:cubicBezTo>
                  <a:pt x="6188" y="12531"/>
                  <a:pt x="6250" y="12531"/>
                  <a:pt x="6219" y="12437"/>
                </a:cubicBezTo>
                <a:cubicBezTo>
                  <a:pt x="6219" y="12343"/>
                  <a:pt x="6250" y="12250"/>
                  <a:pt x="6438" y="12281"/>
                </a:cubicBezTo>
                <a:cubicBezTo>
                  <a:pt x="6656" y="12312"/>
                  <a:pt x="6875" y="12281"/>
                  <a:pt x="7094" y="12281"/>
                </a:cubicBezTo>
                <a:cubicBezTo>
                  <a:pt x="7375" y="12281"/>
                  <a:pt x="7656" y="12156"/>
                  <a:pt x="7938" y="12156"/>
                </a:cubicBezTo>
                <a:cubicBezTo>
                  <a:pt x="8000" y="12156"/>
                  <a:pt x="8094" y="12250"/>
                  <a:pt x="8156" y="12156"/>
                </a:cubicBezTo>
                <a:cubicBezTo>
                  <a:pt x="8188" y="12093"/>
                  <a:pt x="8219" y="12093"/>
                  <a:pt x="8250" y="12125"/>
                </a:cubicBezTo>
                <a:cubicBezTo>
                  <a:pt x="8313" y="12187"/>
                  <a:pt x="8281" y="12250"/>
                  <a:pt x="8188" y="12250"/>
                </a:cubicBezTo>
                <a:cubicBezTo>
                  <a:pt x="8125" y="12250"/>
                  <a:pt x="8125" y="12312"/>
                  <a:pt x="8125" y="12375"/>
                </a:cubicBezTo>
                <a:cubicBezTo>
                  <a:pt x="8125" y="12406"/>
                  <a:pt x="8156" y="12437"/>
                  <a:pt x="8188" y="12437"/>
                </a:cubicBezTo>
                <a:cubicBezTo>
                  <a:pt x="8250" y="12468"/>
                  <a:pt x="8250" y="12500"/>
                  <a:pt x="8281" y="12500"/>
                </a:cubicBezTo>
                <a:cubicBezTo>
                  <a:pt x="8375" y="12531"/>
                  <a:pt x="8375" y="12593"/>
                  <a:pt x="8313" y="12625"/>
                </a:cubicBezTo>
                <a:cubicBezTo>
                  <a:pt x="8188" y="12687"/>
                  <a:pt x="8156" y="12875"/>
                  <a:pt x="7969" y="12812"/>
                </a:cubicBezTo>
                <a:cubicBezTo>
                  <a:pt x="7938" y="12812"/>
                  <a:pt x="7938" y="12843"/>
                  <a:pt x="7906" y="12875"/>
                </a:cubicBezTo>
                <a:cubicBezTo>
                  <a:pt x="7750" y="12937"/>
                  <a:pt x="7656" y="13093"/>
                  <a:pt x="7469" y="13031"/>
                </a:cubicBezTo>
                <a:cubicBezTo>
                  <a:pt x="7406" y="13000"/>
                  <a:pt x="7313" y="13031"/>
                  <a:pt x="7344" y="13125"/>
                </a:cubicBezTo>
                <a:cubicBezTo>
                  <a:pt x="7344" y="13218"/>
                  <a:pt x="7438" y="13250"/>
                  <a:pt x="7500" y="13218"/>
                </a:cubicBezTo>
                <a:cubicBezTo>
                  <a:pt x="7531" y="13218"/>
                  <a:pt x="7563" y="13156"/>
                  <a:pt x="7594" y="13218"/>
                </a:cubicBezTo>
                <a:cubicBezTo>
                  <a:pt x="7594" y="13218"/>
                  <a:pt x="7594" y="13218"/>
                  <a:pt x="7594" y="13250"/>
                </a:cubicBezTo>
                <a:cubicBezTo>
                  <a:pt x="7563" y="13281"/>
                  <a:pt x="7531" y="13250"/>
                  <a:pt x="7500" y="13250"/>
                </a:cubicBezTo>
                <a:cubicBezTo>
                  <a:pt x="7375" y="13218"/>
                  <a:pt x="7219" y="13218"/>
                  <a:pt x="7094" y="13281"/>
                </a:cubicBezTo>
                <a:cubicBezTo>
                  <a:pt x="7000" y="13375"/>
                  <a:pt x="7125" y="13468"/>
                  <a:pt x="7125" y="13562"/>
                </a:cubicBezTo>
                <a:cubicBezTo>
                  <a:pt x="7125" y="13562"/>
                  <a:pt x="7125" y="13593"/>
                  <a:pt x="7125" y="13593"/>
                </a:cubicBezTo>
                <a:cubicBezTo>
                  <a:pt x="7094" y="13656"/>
                  <a:pt x="7094" y="13687"/>
                  <a:pt x="7156" y="13687"/>
                </a:cubicBezTo>
                <a:cubicBezTo>
                  <a:pt x="7188" y="13687"/>
                  <a:pt x="7219" y="13656"/>
                  <a:pt x="7219" y="13625"/>
                </a:cubicBezTo>
                <a:cubicBezTo>
                  <a:pt x="7219" y="13468"/>
                  <a:pt x="7344" y="13500"/>
                  <a:pt x="7438" y="13531"/>
                </a:cubicBezTo>
                <a:cubicBezTo>
                  <a:pt x="7531" y="13531"/>
                  <a:pt x="7625" y="13593"/>
                  <a:pt x="7719" y="13593"/>
                </a:cubicBezTo>
                <a:cubicBezTo>
                  <a:pt x="7813" y="13593"/>
                  <a:pt x="7813" y="13687"/>
                  <a:pt x="7781" y="13750"/>
                </a:cubicBezTo>
                <a:cubicBezTo>
                  <a:pt x="7781" y="13812"/>
                  <a:pt x="7719" y="13750"/>
                  <a:pt x="7688" y="13750"/>
                </a:cubicBezTo>
                <a:cubicBezTo>
                  <a:pt x="7656" y="13718"/>
                  <a:pt x="7313" y="13875"/>
                  <a:pt x="7281" y="13906"/>
                </a:cubicBezTo>
                <a:cubicBezTo>
                  <a:pt x="7281" y="13906"/>
                  <a:pt x="7281" y="13937"/>
                  <a:pt x="7281" y="13937"/>
                </a:cubicBezTo>
                <a:cubicBezTo>
                  <a:pt x="7313" y="14062"/>
                  <a:pt x="7250" y="14187"/>
                  <a:pt x="7219" y="14281"/>
                </a:cubicBezTo>
                <a:cubicBezTo>
                  <a:pt x="7219" y="14343"/>
                  <a:pt x="7219" y="14406"/>
                  <a:pt x="7281" y="14437"/>
                </a:cubicBezTo>
                <a:cubicBezTo>
                  <a:pt x="7344" y="14468"/>
                  <a:pt x="7375" y="14500"/>
                  <a:pt x="7344" y="14593"/>
                </a:cubicBezTo>
                <a:cubicBezTo>
                  <a:pt x="7313" y="14656"/>
                  <a:pt x="7188" y="14750"/>
                  <a:pt x="7375" y="14781"/>
                </a:cubicBezTo>
                <a:cubicBezTo>
                  <a:pt x="7469" y="14781"/>
                  <a:pt x="7406" y="14968"/>
                  <a:pt x="7563" y="14906"/>
                </a:cubicBezTo>
                <a:cubicBezTo>
                  <a:pt x="7563" y="14906"/>
                  <a:pt x="7625" y="14906"/>
                  <a:pt x="7625" y="14937"/>
                </a:cubicBezTo>
                <a:cubicBezTo>
                  <a:pt x="7656" y="15000"/>
                  <a:pt x="7625" y="15000"/>
                  <a:pt x="7563" y="15000"/>
                </a:cubicBezTo>
                <a:cubicBezTo>
                  <a:pt x="7531" y="15031"/>
                  <a:pt x="7500" y="15031"/>
                  <a:pt x="7531" y="15093"/>
                </a:cubicBezTo>
                <a:cubicBezTo>
                  <a:pt x="7563" y="15125"/>
                  <a:pt x="7594" y="15093"/>
                  <a:pt x="7594" y="15062"/>
                </a:cubicBezTo>
                <a:cubicBezTo>
                  <a:pt x="7656" y="15000"/>
                  <a:pt x="7750" y="15000"/>
                  <a:pt x="7813" y="15031"/>
                </a:cubicBezTo>
                <a:cubicBezTo>
                  <a:pt x="7969" y="15125"/>
                  <a:pt x="8125" y="15093"/>
                  <a:pt x="8250" y="15062"/>
                </a:cubicBezTo>
                <a:cubicBezTo>
                  <a:pt x="8500" y="15031"/>
                  <a:pt x="8750" y="14968"/>
                  <a:pt x="9000" y="15000"/>
                </a:cubicBezTo>
                <a:cubicBezTo>
                  <a:pt x="9125" y="15000"/>
                  <a:pt x="9250" y="15093"/>
                  <a:pt x="9406" y="15093"/>
                </a:cubicBezTo>
                <a:cubicBezTo>
                  <a:pt x="9750" y="15062"/>
                  <a:pt x="10063" y="15031"/>
                  <a:pt x="10406" y="14937"/>
                </a:cubicBezTo>
                <a:cubicBezTo>
                  <a:pt x="10719" y="14843"/>
                  <a:pt x="11063" y="14781"/>
                  <a:pt x="11375" y="14750"/>
                </a:cubicBezTo>
                <a:cubicBezTo>
                  <a:pt x="11656" y="14718"/>
                  <a:pt x="11906" y="14718"/>
                  <a:pt x="12156" y="14625"/>
                </a:cubicBezTo>
                <a:cubicBezTo>
                  <a:pt x="12313" y="14531"/>
                  <a:pt x="12469" y="14468"/>
                  <a:pt x="12656" y="14468"/>
                </a:cubicBezTo>
                <a:cubicBezTo>
                  <a:pt x="12844" y="14468"/>
                  <a:pt x="13063" y="14437"/>
                  <a:pt x="13250" y="14343"/>
                </a:cubicBezTo>
                <a:cubicBezTo>
                  <a:pt x="13250" y="14343"/>
                  <a:pt x="13250" y="14312"/>
                  <a:pt x="13281" y="14312"/>
                </a:cubicBezTo>
                <a:cubicBezTo>
                  <a:pt x="13250" y="14250"/>
                  <a:pt x="13188" y="14312"/>
                  <a:pt x="13156" y="14250"/>
                </a:cubicBezTo>
                <a:cubicBezTo>
                  <a:pt x="13250" y="14125"/>
                  <a:pt x="13406" y="14156"/>
                  <a:pt x="13531" y="14093"/>
                </a:cubicBezTo>
                <a:cubicBezTo>
                  <a:pt x="13406" y="14062"/>
                  <a:pt x="13313" y="14062"/>
                  <a:pt x="13219" y="14093"/>
                </a:cubicBezTo>
                <a:cubicBezTo>
                  <a:pt x="13156" y="14125"/>
                  <a:pt x="13094" y="14125"/>
                  <a:pt x="13031" y="14156"/>
                </a:cubicBezTo>
                <a:cubicBezTo>
                  <a:pt x="12750" y="14187"/>
                  <a:pt x="12500" y="14312"/>
                  <a:pt x="12219" y="14250"/>
                </a:cubicBezTo>
                <a:cubicBezTo>
                  <a:pt x="12188" y="14250"/>
                  <a:pt x="12156" y="14281"/>
                  <a:pt x="12125" y="14281"/>
                </a:cubicBezTo>
                <a:cubicBezTo>
                  <a:pt x="11906" y="14375"/>
                  <a:pt x="11688" y="14500"/>
                  <a:pt x="11406" y="14406"/>
                </a:cubicBezTo>
                <a:cubicBezTo>
                  <a:pt x="11406" y="14406"/>
                  <a:pt x="11375" y="14406"/>
                  <a:pt x="11375" y="14406"/>
                </a:cubicBezTo>
                <a:cubicBezTo>
                  <a:pt x="11156" y="14468"/>
                  <a:pt x="10906" y="14468"/>
                  <a:pt x="10688" y="14500"/>
                </a:cubicBezTo>
                <a:cubicBezTo>
                  <a:pt x="10469" y="14562"/>
                  <a:pt x="10219" y="14500"/>
                  <a:pt x="9969" y="14562"/>
                </a:cubicBezTo>
                <a:cubicBezTo>
                  <a:pt x="9938" y="14562"/>
                  <a:pt x="9906" y="14562"/>
                  <a:pt x="9875" y="14500"/>
                </a:cubicBezTo>
                <a:cubicBezTo>
                  <a:pt x="10063" y="14468"/>
                  <a:pt x="10250" y="14406"/>
                  <a:pt x="10469" y="14375"/>
                </a:cubicBezTo>
                <a:cubicBezTo>
                  <a:pt x="10375" y="14312"/>
                  <a:pt x="10281" y="14375"/>
                  <a:pt x="10188" y="14312"/>
                </a:cubicBezTo>
                <a:cubicBezTo>
                  <a:pt x="10281" y="14250"/>
                  <a:pt x="10406" y="14281"/>
                  <a:pt x="10469" y="14250"/>
                </a:cubicBezTo>
                <a:cubicBezTo>
                  <a:pt x="10656" y="14093"/>
                  <a:pt x="10906" y="14093"/>
                  <a:pt x="11125" y="14093"/>
                </a:cubicBezTo>
                <a:cubicBezTo>
                  <a:pt x="11500" y="14062"/>
                  <a:pt x="11844" y="14031"/>
                  <a:pt x="12188" y="14031"/>
                </a:cubicBezTo>
                <a:cubicBezTo>
                  <a:pt x="12656" y="14062"/>
                  <a:pt x="13063" y="13875"/>
                  <a:pt x="13500" y="13875"/>
                </a:cubicBezTo>
                <a:cubicBezTo>
                  <a:pt x="13531" y="13875"/>
                  <a:pt x="13563" y="13843"/>
                  <a:pt x="13563" y="13843"/>
                </a:cubicBezTo>
                <a:cubicBezTo>
                  <a:pt x="13750" y="13687"/>
                  <a:pt x="14031" y="13750"/>
                  <a:pt x="14219" y="13562"/>
                </a:cubicBezTo>
                <a:cubicBezTo>
                  <a:pt x="14281" y="13500"/>
                  <a:pt x="14375" y="13500"/>
                  <a:pt x="14438" y="13468"/>
                </a:cubicBezTo>
                <a:cubicBezTo>
                  <a:pt x="14688" y="13468"/>
                  <a:pt x="14938" y="13406"/>
                  <a:pt x="15125" y="13250"/>
                </a:cubicBezTo>
                <a:cubicBezTo>
                  <a:pt x="15219" y="13187"/>
                  <a:pt x="15313" y="13062"/>
                  <a:pt x="15406" y="13000"/>
                </a:cubicBezTo>
                <a:cubicBezTo>
                  <a:pt x="15500" y="12937"/>
                  <a:pt x="15500" y="12906"/>
                  <a:pt x="15438" y="12843"/>
                </a:cubicBezTo>
                <a:cubicBezTo>
                  <a:pt x="15406" y="12812"/>
                  <a:pt x="15375" y="12781"/>
                  <a:pt x="15406" y="12750"/>
                </a:cubicBezTo>
                <a:cubicBezTo>
                  <a:pt x="15469" y="12718"/>
                  <a:pt x="15500" y="12750"/>
                  <a:pt x="15531" y="12781"/>
                </a:cubicBezTo>
                <a:cubicBezTo>
                  <a:pt x="15594" y="12843"/>
                  <a:pt x="15656" y="12937"/>
                  <a:pt x="15750" y="13031"/>
                </a:cubicBezTo>
                <a:cubicBezTo>
                  <a:pt x="15781" y="13062"/>
                  <a:pt x="15844" y="13093"/>
                  <a:pt x="15875" y="13031"/>
                </a:cubicBezTo>
                <a:cubicBezTo>
                  <a:pt x="15906" y="12968"/>
                  <a:pt x="15906" y="12906"/>
                  <a:pt x="15844" y="12875"/>
                </a:cubicBezTo>
                <a:cubicBezTo>
                  <a:pt x="15750" y="12843"/>
                  <a:pt x="15719" y="12781"/>
                  <a:pt x="15781" y="12718"/>
                </a:cubicBezTo>
                <a:cubicBezTo>
                  <a:pt x="15844" y="12625"/>
                  <a:pt x="15906" y="12593"/>
                  <a:pt x="16031" y="12625"/>
                </a:cubicBezTo>
                <a:cubicBezTo>
                  <a:pt x="16125" y="12687"/>
                  <a:pt x="16188" y="12750"/>
                  <a:pt x="16250" y="12843"/>
                </a:cubicBezTo>
                <a:cubicBezTo>
                  <a:pt x="16313" y="12906"/>
                  <a:pt x="16375" y="12937"/>
                  <a:pt x="16469" y="12875"/>
                </a:cubicBezTo>
                <a:cubicBezTo>
                  <a:pt x="16813" y="12750"/>
                  <a:pt x="17125" y="12625"/>
                  <a:pt x="17438" y="12500"/>
                </a:cubicBezTo>
                <a:cubicBezTo>
                  <a:pt x="17813" y="12375"/>
                  <a:pt x="18156" y="12187"/>
                  <a:pt x="18531" y="12187"/>
                </a:cubicBezTo>
                <a:cubicBezTo>
                  <a:pt x="18563" y="12187"/>
                  <a:pt x="18594" y="12156"/>
                  <a:pt x="18625" y="12156"/>
                </a:cubicBezTo>
                <a:cubicBezTo>
                  <a:pt x="18938" y="12031"/>
                  <a:pt x="19250" y="11875"/>
                  <a:pt x="19563" y="11781"/>
                </a:cubicBezTo>
                <a:cubicBezTo>
                  <a:pt x="19875" y="11687"/>
                  <a:pt x="20156" y="11562"/>
                  <a:pt x="20438" y="11406"/>
                </a:cubicBezTo>
                <a:cubicBezTo>
                  <a:pt x="20531" y="11375"/>
                  <a:pt x="20656" y="11312"/>
                  <a:pt x="20750" y="11312"/>
                </a:cubicBezTo>
                <a:cubicBezTo>
                  <a:pt x="20813" y="11281"/>
                  <a:pt x="20844" y="11281"/>
                  <a:pt x="20875" y="11312"/>
                </a:cubicBezTo>
                <a:cubicBezTo>
                  <a:pt x="20906" y="11375"/>
                  <a:pt x="20844" y="11375"/>
                  <a:pt x="20813" y="11406"/>
                </a:cubicBezTo>
                <a:cubicBezTo>
                  <a:pt x="20563" y="11656"/>
                  <a:pt x="20281" y="11781"/>
                  <a:pt x="19969" y="11906"/>
                </a:cubicBezTo>
                <a:cubicBezTo>
                  <a:pt x="19906" y="11906"/>
                  <a:pt x="19844" y="11906"/>
                  <a:pt x="19813" y="11968"/>
                </a:cubicBezTo>
                <a:cubicBezTo>
                  <a:pt x="19938" y="12000"/>
                  <a:pt x="20031" y="11937"/>
                  <a:pt x="20125" y="11906"/>
                </a:cubicBezTo>
                <a:cubicBezTo>
                  <a:pt x="20219" y="11875"/>
                  <a:pt x="20313" y="11781"/>
                  <a:pt x="20406" y="11843"/>
                </a:cubicBezTo>
                <a:cubicBezTo>
                  <a:pt x="20500" y="11906"/>
                  <a:pt x="20344" y="11968"/>
                  <a:pt x="20375" y="12093"/>
                </a:cubicBezTo>
                <a:cubicBezTo>
                  <a:pt x="20500" y="11968"/>
                  <a:pt x="20656" y="11875"/>
                  <a:pt x="20719" y="11718"/>
                </a:cubicBezTo>
                <a:cubicBezTo>
                  <a:pt x="20781" y="11562"/>
                  <a:pt x="21063" y="11625"/>
                  <a:pt x="21000" y="11375"/>
                </a:cubicBezTo>
                <a:cubicBezTo>
                  <a:pt x="21156" y="11250"/>
                  <a:pt x="21250" y="11062"/>
                  <a:pt x="21438" y="11000"/>
                </a:cubicBezTo>
                <a:cubicBezTo>
                  <a:pt x="21594" y="10968"/>
                  <a:pt x="21719" y="10906"/>
                  <a:pt x="21844" y="10812"/>
                </a:cubicBezTo>
                <a:cubicBezTo>
                  <a:pt x="21906" y="10781"/>
                  <a:pt x="22000" y="10718"/>
                  <a:pt x="22063" y="10781"/>
                </a:cubicBezTo>
                <a:cubicBezTo>
                  <a:pt x="22125" y="10875"/>
                  <a:pt x="22188" y="10812"/>
                  <a:pt x="22219" y="10781"/>
                </a:cubicBezTo>
                <a:cubicBezTo>
                  <a:pt x="22375" y="10531"/>
                  <a:pt x="22625" y="10437"/>
                  <a:pt x="22906" y="10375"/>
                </a:cubicBezTo>
                <a:cubicBezTo>
                  <a:pt x="23156" y="10281"/>
                  <a:pt x="23438" y="10125"/>
                  <a:pt x="23688" y="10000"/>
                </a:cubicBezTo>
                <a:cubicBezTo>
                  <a:pt x="24344" y="9656"/>
                  <a:pt x="25031" y="9375"/>
                  <a:pt x="25656" y="9000"/>
                </a:cubicBezTo>
                <a:cubicBezTo>
                  <a:pt x="25750" y="8937"/>
                  <a:pt x="25844" y="8906"/>
                  <a:pt x="25938" y="8968"/>
                </a:cubicBezTo>
                <a:cubicBezTo>
                  <a:pt x="25969" y="9000"/>
                  <a:pt x="26063" y="9031"/>
                  <a:pt x="26031" y="8937"/>
                </a:cubicBezTo>
                <a:cubicBezTo>
                  <a:pt x="26000" y="8843"/>
                  <a:pt x="26063" y="8812"/>
                  <a:pt x="26125" y="8750"/>
                </a:cubicBezTo>
                <a:cubicBezTo>
                  <a:pt x="26219" y="8625"/>
                  <a:pt x="26375" y="8593"/>
                  <a:pt x="26500" y="8500"/>
                </a:cubicBezTo>
                <a:cubicBezTo>
                  <a:pt x="26813" y="8250"/>
                  <a:pt x="27156" y="8093"/>
                  <a:pt x="27500" y="7906"/>
                </a:cubicBezTo>
                <a:cubicBezTo>
                  <a:pt x="27906" y="7750"/>
                  <a:pt x="28281" y="7593"/>
                  <a:pt x="28688" y="7406"/>
                </a:cubicBezTo>
                <a:cubicBezTo>
                  <a:pt x="28813" y="7343"/>
                  <a:pt x="28938" y="7250"/>
                  <a:pt x="29094" y="7250"/>
                </a:cubicBezTo>
                <a:cubicBezTo>
                  <a:pt x="29219" y="7218"/>
                  <a:pt x="29375" y="7156"/>
                  <a:pt x="29406" y="7062"/>
                </a:cubicBezTo>
                <a:cubicBezTo>
                  <a:pt x="29469" y="6906"/>
                  <a:pt x="29563" y="6937"/>
                  <a:pt x="29688" y="6968"/>
                </a:cubicBezTo>
                <a:cubicBezTo>
                  <a:pt x="29719" y="6968"/>
                  <a:pt x="29781" y="6968"/>
                  <a:pt x="29844" y="6968"/>
                </a:cubicBezTo>
                <a:cubicBezTo>
                  <a:pt x="30031" y="6906"/>
                  <a:pt x="30250" y="6937"/>
                  <a:pt x="30438" y="6968"/>
                </a:cubicBezTo>
                <a:cubicBezTo>
                  <a:pt x="30500" y="6968"/>
                  <a:pt x="30563" y="7000"/>
                  <a:pt x="30656" y="7000"/>
                </a:cubicBezTo>
                <a:close/>
                <a:moveTo>
                  <a:pt x="18594" y="12500"/>
                </a:moveTo>
                <a:cubicBezTo>
                  <a:pt x="18594" y="12531"/>
                  <a:pt x="18625" y="12531"/>
                  <a:pt x="18656" y="12531"/>
                </a:cubicBezTo>
                <a:cubicBezTo>
                  <a:pt x="18750" y="12531"/>
                  <a:pt x="18750" y="12468"/>
                  <a:pt x="18813" y="12375"/>
                </a:cubicBezTo>
                <a:cubicBezTo>
                  <a:pt x="18719" y="12406"/>
                  <a:pt x="18625" y="12406"/>
                  <a:pt x="18594" y="12500"/>
                </a:cubicBezTo>
                <a:close/>
                <a:moveTo>
                  <a:pt x="19625" y="12093"/>
                </a:moveTo>
                <a:cubicBezTo>
                  <a:pt x="19625" y="12093"/>
                  <a:pt x="19625" y="12125"/>
                  <a:pt x="19625" y="12125"/>
                </a:cubicBezTo>
                <a:cubicBezTo>
                  <a:pt x="19656" y="12125"/>
                  <a:pt x="19656" y="12093"/>
                  <a:pt x="19656" y="12093"/>
                </a:cubicBezTo>
                <a:cubicBezTo>
                  <a:pt x="19656" y="12093"/>
                  <a:pt x="19656" y="12093"/>
                  <a:pt x="19656" y="12093"/>
                </a:cubicBezTo>
                <a:cubicBezTo>
                  <a:pt x="19625" y="12093"/>
                  <a:pt x="19625" y="12093"/>
                  <a:pt x="19625" y="12093"/>
                </a:cubicBezTo>
                <a:close/>
                <a:moveTo>
                  <a:pt x="22375" y="2562"/>
                </a:moveTo>
                <a:cubicBezTo>
                  <a:pt x="22406" y="2562"/>
                  <a:pt x="22438" y="2531"/>
                  <a:pt x="22438" y="2500"/>
                </a:cubicBezTo>
                <a:cubicBezTo>
                  <a:pt x="22438" y="2437"/>
                  <a:pt x="22438" y="2375"/>
                  <a:pt x="22375" y="2375"/>
                </a:cubicBezTo>
                <a:cubicBezTo>
                  <a:pt x="22313" y="2375"/>
                  <a:pt x="22250" y="2406"/>
                  <a:pt x="22281" y="2468"/>
                </a:cubicBezTo>
                <a:cubicBezTo>
                  <a:pt x="22281" y="2500"/>
                  <a:pt x="22313" y="2531"/>
                  <a:pt x="22375" y="2562"/>
                </a:cubicBezTo>
                <a:close/>
                <a:moveTo>
                  <a:pt x="21125" y="11406"/>
                </a:moveTo>
                <a:cubicBezTo>
                  <a:pt x="21125" y="11437"/>
                  <a:pt x="21156" y="11437"/>
                  <a:pt x="21156" y="11437"/>
                </a:cubicBezTo>
                <a:cubicBezTo>
                  <a:pt x="21156" y="11437"/>
                  <a:pt x="21188" y="11437"/>
                  <a:pt x="21188" y="11406"/>
                </a:cubicBezTo>
                <a:cubicBezTo>
                  <a:pt x="21188" y="11406"/>
                  <a:pt x="21156" y="11406"/>
                  <a:pt x="21156" y="11406"/>
                </a:cubicBezTo>
                <a:cubicBezTo>
                  <a:pt x="21156" y="11406"/>
                  <a:pt x="21125" y="11406"/>
                  <a:pt x="21125" y="11406"/>
                </a:cubicBezTo>
                <a:close/>
                <a:moveTo>
                  <a:pt x="32969" y="7531"/>
                </a:moveTo>
                <a:cubicBezTo>
                  <a:pt x="32844" y="7531"/>
                  <a:pt x="32688" y="7531"/>
                  <a:pt x="32563" y="7531"/>
                </a:cubicBezTo>
                <a:cubicBezTo>
                  <a:pt x="32438" y="7531"/>
                  <a:pt x="32281" y="7531"/>
                  <a:pt x="32156" y="7531"/>
                </a:cubicBezTo>
                <a:cubicBezTo>
                  <a:pt x="32125" y="7531"/>
                  <a:pt x="32094" y="7531"/>
                  <a:pt x="32063" y="7531"/>
                </a:cubicBezTo>
                <a:cubicBezTo>
                  <a:pt x="32031" y="7531"/>
                  <a:pt x="32000" y="7531"/>
                  <a:pt x="32000" y="7562"/>
                </a:cubicBezTo>
                <a:cubicBezTo>
                  <a:pt x="31969" y="7562"/>
                  <a:pt x="31969" y="7562"/>
                  <a:pt x="31969" y="7562"/>
                </a:cubicBezTo>
                <a:cubicBezTo>
                  <a:pt x="31969" y="7656"/>
                  <a:pt x="32031" y="7625"/>
                  <a:pt x="32094" y="7625"/>
                </a:cubicBezTo>
                <a:cubicBezTo>
                  <a:pt x="32094" y="7625"/>
                  <a:pt x="32125" y="7625"/>
                  <a:pt x="32156" y="7625"/>
                </a:cubicBezTo>
                <a:cubicBezTo>
                  <a:pt x="32219" y="7625"/>
                  <a:pt x="32313" y="7625"/>
                  <a:pt x="32375" y="7625"/>
                </a:cubicBezTo>
                <a:cubicBezTo>
                  <a:pt x="32469" y="7625"/>
                  <a:pt x="32531" y="7625"/>
                  <a:pt x="32594" y="7625"/>
                </a:cubicBezTo>
                <a:cubicBezTo>
                  <a:pt x="32813" y="7625"/>
                  <a:pt x="33031" y="7593"/>
                  <a:pt x="33250" y="7562"/>
                </a:cubicBezTo>
                <a:cubicBezTo>
                  <a:pt x="33250" y="7562"/>
                  <a:pt x="33250" y="7531"/>
                  <a:pt x="33250" y="7531"/>
                </a:cubicBezTo>
                <a:cubicBezTo>
                  <a:pt x="33156" y="7531"/>
                  <a:pt x="33063" y="7531"/>
                  <a:pt x="32969" y="7531"/>
                </a:cubicBezTo>
                <a:close/>
                <a:moveTo>
                  <a:pt x="15938" y="12750"/>
                </a:moveTo>
                <a:cubicBezTo>
                  <a:pt x="15906" y="12750"/>
                  <a:pt x="15875" y="12750"/>
                  <a:pt x="15875" y="12781"/>
                </a:cubicBezTo>
                <a:cubicBezTo>
                  <a:pt x="15875" y="12812"/>
                  <a:pt x="15906" y="12843"/>
                  <a:pt x="15938" y="12812"/>
                </a:cubicBezTo>
                <a:cubicBezTo>
                  <a:pt x="15938" y="12812"/>
                  <a:pt x="15969" y="12781"/>
                  <a:pt x="15969" y="12781"/>
                </a:cubicBezTo>
                <a:cubicBezTo>
                  <a:pt x="15969" y="12750"/>
                  <a:pt x="15938" y="12718"/>
                  <a:pt x="15938" y="12750"/>
                </a:cubicBezTo>
                <a:close/>
                <a:moveTo>
                  <a:pt x="16875" y="13093"/>
                </a:moveTo>
                <a:cubicBezTo>
                  <a:pt x="16719" y="13125"/>
                  <a:pt x="16531" y="13125"/>
                  <a:pt x="16375" y="13281"/>
                </a:cubicBezTo>
                <a:cubicBezTo>
                  <a:pt x="16594" y="13312"/>
                  <a:pt x="16750" y="13218"/>
                  <a:pt x="16875" y="13093"/>
                </a:cubicBezTo>
                <a:close/>
                <a:moveTo>
                  <a:pt x="16063" y="12875"/>
                </a:moveTo>
                <a:cubicBezTo>
                  <a:pt x="16031" y="12875"/>
                  <a:pt x="16000" y="12906"/>
                  <a:pt x="16000" y="12937"/>
                </a:cubicBezTo>
                <a:cubicBezTo>
                  <a:pt x="16000" y="13000"/>
                  <a:pt x="16031" y="13000"/>
                  <a:pt x="16063" y="13031"/>
                </a:cubicBezTo>
                <a:cubicBezTo>
                  <a:pt x="16094" y="13000"/>
                  <a:pt x="16156" y="12968"/>
                  <a:pt x="16156" y="12906"/>
                </a:cubicBezTo>
                <a:cubicBezTo>
                  <a:pt x="16156" y="12875"/>
                  <a:pt x="16125" y="12843"/>
                  <a:pt x="16063" y="12875"/>
                </a:cubicBezTo>
                <a:close/>
                <a:moveTo>
                  <a:pt x="15531" y="13031"/>
                </a:moveTo>
                <a:cubicBezTo>
                  <a:pt x="15531" y="13031"/>
                  <a:pt x="15531" y="13062"/>
                  <a:pt x="15531" y="13062"/>
                </a:cubicBezTo>
                <a:cubicBezTo>
                  <a:pt x="15500" y="13093"/>
                  <a:pt x="15531" y="13125"/>
                  <a:pt x="15563" y="13125"/>
                </a:cubicBezTo>
                <a:cubicBezTo>
                  <a:pt x="15563" y="13125"/>
                  <a:pt x="15594" y="13093"/>
                  <a:pt x="15594" y="13062"/>
                </a:cubicBezTo>
                <a:cubicBezTo>
                  <a:pt x="15594" y="13062"/>
                  <a:pt x="15563" y="13031"/>
                  <a:pt x="15531" y="13031"/>
                </a:cubicBezTo>
                <a:close/>
                <a:moveTo>
                  <a:pt x="6563" y="12593"/>
                </a:moveTo>
                <a:cubicBezTo>
                  <a:pt x="6531" y="12593"/>
                  <a:pt x="6500" y="12625"/>
                  <a:pt x="6500" y="12687"/>
                </a:cubicBezTo>
                <a:cubicBezTo>
                  <a:pt x="6531" y="12781"/>
                  <a:pt x="6594" y="12750"/>
                  <a:pt x="6656" y="12750"/>
                </a:cubicBezTo>
                <a:cubicBezTo>
                  <a:pt x="6688" y="12781"/>
                  <a:pt x="6719" y="12750"/>
                  <a:pt x="6719" y="12687"/>
                </a:cubicBezTo>
                <a:cubicBezTo>
                  <a:pt x="6688" y="12625"/>
                  <a:pt x="6625" y="12593"/>
                  <a:pt x="6563" y="12593"/>
                </a:cubicBezTo>
                <a:close/>
                <a:moveTo>
                  <a:pt x="6500" y="2656"/>
                </a:moveTo>
                <a:cubicBezTo>
                  <a:pt x="6594" y="2656"/>
                  <a:pt x="6500" y="2500"/>
                  <a:pt x="6594" y="2468"/>
                </a:cubicBezTo>
                <a:cubicBezTo>
                  <a:pt x="6625" y="2468"/>
                  <a:pt x="6563" y="2375"/>
                  <a:pt x="6500" y="2375"/>
                </a:cubicBezTo>
                <a:cubicBezTo>
                  <a:pt x="6438" y="2375"/>
                  <a:pt x="6406" y="2406"/>
                  <a:pt x="6438" y="2437"/>
                </a:cubicBezTo>
                <a:cubicBezTo>
                  <a:pt x="6469" y="2500"/>
                  <a:pt x="6375" y="2625"/>
                  <a:pt x="6500" y="2656"/>
                </a:cubicBezTo>
                <a:close/>
                <a:moveTo>
                  <a:pt x="2313" y="6875"/>
                </a:moveTo>
                <a:cubicBezTo>
                  <a:pt x="2594" y="6843"/>
                  <a:pt x="2875" y="6812"/>
                  <a:pt x="3188" y="6781"/>
                </a:cubicBezTo>
                <a:cubicBezTo>
                  <a:pt x="2875" y="6750"/>
                  <a:pt x="2594" y="6656"/>
                  <a:pt x="2281" y="6625"/>
                </a:cubicBezTo>
                <a:cubicBezTo>
                  <a:pt x="2250" y="6625"/>
                  <a:pt x="2219" y="6593"/>
                  <a:pt x="2188" y="6656"/>
                </a:cubicBezTo>
                <a:cubicBezTo>
                  <a:pt x="2188" y="6687"/>
                  <a:pt x="2188" y="6718"/>
                  <a:pt x="2250" y="6718"/>
                </a:cubicBezTo>
                <a:cubicBezTo>
                  <a:pt x="2344" y="6750"/>
                  <a:pt x="2313" y="6843"/>
                  <a:pt x="2313" y="6875"/>
                </a:cubicBezTo>
                <a:close/>
                <a:moveTo>
                  <a:pt x="4500" y="11750"/>
                </a:moveTo>
                <a:cubicBezTo>
                  <a:pt x="4469" y="11750"/>
                  <a:pt x="4469" y="11812"/>
                  <a:pt x="4469" y="11812"/>
                </a:cubicBezTo>
                <a:cubicBezTo>
                  <a:pt x="4563" y="11875"/>
                  <a:pt x="4625" y="11843"/>
                  <a:pt x="4750" y="11812"/>
                </a:cubicBezTo>
                <a:cubicBezTo>
                  <a:pt x="4625" y="11781"/>
                  <a:pt x="4563" y="11718"/>
                  <a:pt x="4500" y="11750"/>
                </a:cubicBezTo>
                <a:close/>
                <a:moveTo>
                  <a:pt x="3344" y="13375"/>
                </a:moveTo>
                <a:cubicBezTo>
                  <a:pt x="3281" y="13375"/>
                  <a:pt x="3250" y="13406"/>
                  <a:pt x="3250" y="13468"/>
                </a:cubicBezTo>
                <a:cubicBezTo>
                  <a:pt x="3250" y="13531"/>
                  <a:pt x="3250" y="13593"/>
                  <a:pt x="3344" y="13593"/>
                </a:cubicBezTo>
                <a:cubicBezTo>
                  <a:pt x="3406" y="13593"/>
                  <a:pt x="3469" y="13562"/>
                  <a:pt x="3469" y="13500"/>
                </a:cubicBezTo>
                <a:cubicBezTo>
                  <a:pt x="3469" y="13406"/>
                  <a:pt x="3406" y="13406"/>
                  <a:pt x="3344" y="13375"/>
                </a:cubicBezTo>
                <a:close/>
                <a:moveTo>
                  <a:pt x="4563" y="10750"/>
                </a:moveTo>
                <a:cubicBezTo>
                  <a:pt x="4531" y="10656"/>
                  <a:pt x="4469" y="10656"/>
                  <a:pt x="4375" y="10656"/>
                </a:cubicBezTo>
                <a:cubicBezTo>
                  <a:pt x="4344" y="10656"/>
                  <a:pt x="4344" y="10656"/>
                  <a:pt x="4344" y="10687"/>
                </a:cubicBezTo>
                <a:cubicBezTo>
                  <a:pt x="4406" y="10812"/>
                  <a:pt x="4500" y="10718"/>
                  <a:pt x="4563" y="10750"/>
                </a:cubicBezTo>
                <a:close/>
                <a:moveTo>
                  <a:pt x="4719" y="10250"/>
                </a:moveTo>
                <a:cubicBezTo>
                  <a:pt x="4625" y="10187"/>
                  <a:pt x="4625" y="10031"/>
                  <a:pt x="4500" y="10000"/>
                </a:cubicBezTo>
                <a:cubicBezTo>
                  <a:pt x="4406" y="9968"/>
                  <a:pt x="4375" y="10000"/>
                  <a:pt x="4406" y="10093"/>
                </a:cubicBezTo>
                <a:cubicBezTo>
                  <a:pt x="4438" y="10281"/>
                  <a:pt x="4594" y="10250"/>
                  <a:pt x="4719" y="10250"/>
                </a:cubicBezTo>
                <a:close/>
                <a:moveTo>
                  <a:pt x="10438" y="1687"/>
                </a:moveTo>
                <a:cubicBezTo>
                  <a:pt x="10469" y="1718"/>
                  <a:pt x="10531" y="1718"/>
                  <a:pt x="10594" y="1718"/>
                </a:cubicBezTo>
                <a:cubicBezTo>
                  <a:pt x="10563" y="1656"/>
                  <a:pt x="10531" y="1625"/>
                  <a:pt x="10500" y="1593"/>
                </a:cubicBezTo>
                <a:cubicBezTo>
                  <a:pt x="10469" y="1531"/>
                  <a:pt x="10406" y="1531"/>
                  <a:pt x="10344" y="1562"/>
                </a:cubicBezTo>
                <a:cubicBezTo>
                  <a:pt x="10313" y="1562"/>
                  <a:pt x="10313" y="1593"/>
                  <a:pt x="10313" y="1625"/>
                </a:cubicBezTo>
                <a:cubicBezTo>
                  <a:pt x="10344" y="1656"/>
                  <a:pt x="10375" y="1687"/>
                  <a:pt x="10438" y="1687"/>
                </a:cubicBezTo>
                <a:close/>
                <a:moveTo>
                  <a:pt x="5875" y="1968"/>
                </a:moveTo>
                <a:cubicBezTo>
                  <a:pt x="5906" y="1968"/>
                  <a:pt x="5906" y="1937"/>
                  <a:pt x="5906" y="1906"/>
                </a:cubicBezTo>
                <a:cubicBezTo>
                  <a:pt x="5906" y="1875"/>
                  <a:pt x="5906" y="1875"/>
                  <a:pt x="5875" y="1875"/>
                </a:cubicBezTo>
                <a:cubicBezTo>
                  <a:pt x="5813" y="1875"/>
                  <a:pt x="5813" y="1906"/>
                  <a:pt x="5813" y="1937"/>
                </a:cubicBezTo>
                <a:cubicBezTo>
                  <a:pt x="5813" y="1968"/>
                  <a:pt x="5844" y="1968"/>
                  <a:pt x="5875" y="1968"/>
                </a:cubicBezTo>
                <a:close/>
                <a:moveTo>
                  <a:pt x="2969" y="3375"/>
                </a:moveTo>
                <a:cubicBezTo>
                  <a:pt x="3031" y="3375"/>
                  <a:pt x="3063" y="3343"/>
                  <a:pt x="3063" y="3250"/>
                </a:cubicBezTo>
                <a:cubicBezTo>
                  <a:pt x="3000" y="3250"/>
                  <a:pt x="2938" y="3218"/>
                  <a:pt x="2875" y="3187"/>
                </a:cubicBezTo>
                <a:cubicBezTo>
                  <a:pt x="2844" y="3187"/>
                  <a:pt x="2844" y="3250"/>
                  <a:pt x="2844" y="3281"/>
                </a:cubicBezTo>
                <a:cubicBezTo>
                  <a:pt x="2844" y="3343"/>
                  <a:pt x="2906" y="3375"/>
                  <a:pt x="2969" y="3375"/>
                </a:cubicBezTo>
                <a:close/>
                <a:moveTo>
                  <a:pt x="2500" y="1531"/>
                </a:moveTo>
                <a:cubicBezTo>
                  <a:pt x="2531" y="1531"/>
                  <a:pt x="2563" y="1500"/>
                  <a:pt x="2531" y="1468"/>
                </a:cubicBezTo>
                <a:cubicBezTo>
                  <a:pt x="2531" y="1406"/>
                  <a:pt x="2469" y="1375"/>
                  <a:pt x="2406" y="1343"/>
                </a:cubicBezTo>
                <a:cubicBezTo>
                  <a:pt x="2375" y="1343"/>
                  <a:pt x="2375" y="1375"/>
                  <a:pt x="2375" y="1406"/>
                </a:cubicBezTo>
                <a:cubicBezTo>
                  <a:pt x="2375" y="1468"/>
                  <a:pt x="2438" y="1500"/>
                  <a:pt x="2500" y="1531"/>
                </a:cubicBezTo>
                <a:close/>
                <a:moveTo>
                  <a:pt x="15344" y="1093"/>
                </a:moveTo>
                <a:cubicBezTo>
                  <a:pt x="15375" y="1062"/>
                  <a:pt x="15438" y="1062"/>
                  <a:pt x="15469" y="1031"/>
                </a:cubicBezTo>
                <a:cubicBezTo>
                  <a:pt x="15531" y="968"/>
                  <a:pt x="15625" y="875"/>
                  <a:pt x="15656" y="812"/>
                </a:cubicBezTo>
                <a:cubicBezTo>
                  <a:pt x="15688" y="781"/>
                  <a:pt x="15563" y="718"/>
                  <a:pt x="15500" y="718"/>
                </a:cubicBezTo>
                <a:cubicBezTo>
                  <a:pt x="15313" y="718"/>
                  <a:pt x="15250" y="843"/>
                  <a:pt x="15156" y="968"/>
                </a:cubicBezTo>
                <a:cubicBezTo>
                  <a:pt x="15125" y="1000"/>
                  <a:pt x="15125" y="1062"/>
                  <a:pt x="15188" y="1093"/>
                </a:cubicBezTo>
                <a:cubicBezTo>
                  <a:pt x="15250" y="1156"/>
                  <a:pt x="15281" y="1125"/>
                  <a:pt x="15344" y="1093"/>
                </a:cubicBezTo>
                <a:close/>
                <a:moveTo>
                  <a:pt x="1906" y="9781"/>
                </a:moveTo>
                <a:cubicBezTo>
                  <a:pt x="1875" y="9750"/>
                  <a:pt x="1813" y="9781"/>
                  <a:pt x="1813" y="9843"/>
                </a:cubicBezTo>
                <a:cubicBezTo>
                  <a:pt x="1844" y="9937"/>
                  <a:pt x="1875" y="10062"/>
                  <a:pt x="1969" y="10062"/>
                </a:cubicBezTo>
                <a:cubicBezTo>
                  <a:pt x="2094" y="10062"/>
                  <a:pt x="2219" y="10031"/>
                  <a:pt x="2313" y="9968"/>
                </a:cubicBezTo>
                <a:cubicBezTo>
                  <a:pt x="2344" y="9968"/>
                  <a:pt x="2344" y="9968"/>
                  <a:pt x="2344" y="9968"/>
                </a:cubicBezTo>
                <a:cubicBezTo>
                  <a:pt x="2313" y="9937"/>
                  <a:pt x="2313" y="9937"/>
                  <a:pt x="2313" y="9937"/>
                </a:cubicBezTo>
                <a:cubicBezTo>
                  <a:pt x="2188" y="9875"/>
                  <a:pt x="2063" y="9812"/>
                  <a:pt x="1906" y="9781"/>
                </a:cubicBezTo>
                <a:close/>
                <a:moveTo>
                  <a:pt x="8031" y="1781"/>
                </a:moveTo>
                <a:cubicBezTo>
                  <a:pt x="8063" y="1781"/>
                  <a:pt x="8063" y="1812"/>
                  <a:pt x="8063" y="1812"/>
                </a:cubicBezTo>
                <a:cubicBezTo>
                  <a:pt x="8125" y="1906"/>
                  <a:pt x="8188" y="1875"/>
                  <a:pt x="8250" y="1875"/>
                </a:cubicBezTo>
                <a:cubicBezTo>
                  <a:pt x="8313" y="1875"/>
                  <a:pt x="8281" y="1812"/>
                  <a:pt x="8281" y="1781"/>
                </a:cubicBezTo>
                <a:cubicBezTo>
                  <a:pt x="8250" y="1687"/>
                  <a:pt x="8219" y="1625"/>
                  <a:pt x="8156" y="1656"/>
                </a:cubicBezTo>
                <a:cubicBezTo>
                  <a:pt x="8000" y="1687"/>
                  <a:pt x="7969" y="1625"/>
                  <a:pt x="7906" y="1500"/>
                </a:cubicBezTo>
                <a:cubicBezTo>
                  <a:pt x="7969" y="1625"/>
                  <a:pt x="7781" y="1625"/>
                  <a:pt x="7813" y="1687"/>
                </a:cubicBezTo>
                <a:cubicBezTo>
                  <a:pt x="7844" y="1781"/>
                  <a:pt x="7969" y="1718"/>
                  <a:pt x="8031" y="1781"/>
                </a:cubicBezTo>
                <a:close/>
                <a:moveTo>
                  <a:pt x="1063" y="8281"/>
                </a:moveTo>
                <a:cubicBezTo>
                  <a:pt x="906" y="8062"/>
                  <a:pt x="688" y="7937"/>
                  <a:pt x="406" y="7968"/>
                </a:cubicBezTo>
                <a:cubicBezTo>
                  <a:pt x="281" y="8000"/>
                  <a:pt x="125" y="7968"/>
                  <a:pt x="0" y="8031"/>
                </a:cubicBezTo>
                <a:cubicBezTo>
                  <a:pt x="0" y="8062"/>
                  <a:pt x="0" y="8125"/>
                  <a:pt x="0" y="8187"/>
                </a:cubicBezTo>
                <a:cubicBezTo>
                  <a:pt x="63" y="8156"/>
                  <a:pt x="94" y="8156"/>
                  <a:pt x="125" y="8187"/>
                </a:cubicBezTo>
                <a:cubicBezTo>
                  <a:pt x="125" y="8312"/>
                  <a:pt x="188" y="8375"/>
                  <a:pt x="313" y="8375"/>
                </a:cubicBezTo>
                <a:cubicBezTo>
                  <a:pt x="406" y="8375"/>
                  <a:pt x="469" y="8406"/>
                  <a:pt x="594" y="8375"/>
                </a:cubicBezTo>
                <a:cubicBezTo>
                  <a:pt x="719" y="8343"/>
                  <a:pt x="844" y="8500"/>
                  <a:pt x="1000" y="8406"/>
                </a:cubicBezTo>
                <a:cubicBezTo>
                  <a:pt x="1000" y="8375"/>
                  <a:pt x="1031" y="8437"/>
                  <a:pt x="1063" y="8437"/>
                </a:cubicBezTo>
                <a:cubicBezTo>
                  <a:pt x="1156" y="8468"/>
                  <a:pt x="1219" y="8500"/>
                  <a:pt x="1313" y="8437"/>
                </a:cubicBezTo>
                <a:cubicBezTo>
                  <a:pt x="1219" y="8375"/>
                  <a:pt x="1125" y="8375"/>
                  <a:pt x="1063" y="8281"/>
                </a:cubicBezTo>
                <a:close/>
                <a:moveTo>
                  <a:pt x="30844" y="7531"/>
                </a:moveTo>
                <a:cubicBezTo>
                  <a:pt x="30875" y="7468"/>
                  <a:pt x="30875" y="7468"/>
                  <a:pt x="30875" y="7468"/>
                </a:cubicBezTo>
                <a:cubicBezTo>
                  <a:pt x="30906" y="7406"/>
                  <a:pt x="30969" y="7375"/>
                  <a:pt x="30906" y="7343"/>
                </a:cubicBezTo>
                <a:cubicBezTo>
                  <a:pt x="30906" y="7312"/>
                  <a:pt x="30875" y="7312"/>
                  <a:pt x="30875" y="7312"/>
                </a:cubicBezTo>
                <a:cubicBezTo>
                  <a:pt x="30844" y="7312"/>
                  <a:pt x="30844" y="7343"/>
                  <a:pt x="30813" y="7343"/>
                </a:cubicBezTo>
                <a:cubicBezTo>
                  <a:pt x="30813" y="7375"/>
                  <a:pt x="30813" y="7375"/>
                  <a:pt x="30813" y="7375"/>
                </a:cubicBezTo>
                <a:cubicBezTo>
                  <a:pt x="30750" y="7468"/>
                  <a:pt x="30656" y="7531"/>
                  <a:pt x="30531" y="7562"/>
                </a:cubicBezTo>
                <a:cubicBezTo>
                  <a:pt x="30625" y="7593"/>
                  <a:pt x="30719" y="7593"/>
                  <a:pt x="30813" y="7593"/>
                </a:cubicBezTo>
                <a:cubicBezTo>
                  <a:pt x="30875" y="7593"/>
                  <a:pt x="30906" y="7593"/>
                  <a:pt x="30969" y="7593"/>
                </a:cubicBezTo>
                <a:cubicBezTo>
                  <a:pt x="31063" y="7625"/>
                  <a:pt x="31156" y="7625"/>
                  <a:pt x="31250" y="7625"/>
                </a:cubicBezTo>
                <a:cubicBezTo>
                  <a:pt x="31344" y="7593"/>
                  <a:pt x="31438" y="7593"/>
                  <a:pt x="31531" y="7593"/>
                </a:cubicBezTo>
                <a:cubicBezTo>
                  <a:pt x="31594" y="7593"/>
                  <a:pt x="31625" y="7593"/>
                  <a:pt x="31688" y="7562"/>
                </a:cubicBezTo>
                <a:cubicBezTo>
                  <a:pt x="31688" y="7562"/>
                  <a:pt x="31656" y="7531"/>
                  <a:pt x="31656" y="7531"/>
                </a:cubicBezTo>
                <a:cubicBezTo>
                  <a:pt x="31406" y="7531"/>
                  <a:pt x="31125" y="7531"/>
                  <a:pt x="30844" y="7531"/>
                </a:cubicBezTo>
                <a:close/>
                <a:moveTo>
                  <a:pt x="30594" y="7968"/>
                </a:moveTo>
                <a:cubicBezTo>
                  <a:pt x="30594" y="7968"/>
                  <a:pt x="30594" y="7937"/>
                  <a:pt x="30563" y="7937"/>
                </a:cubicBezTo>
                <a:cubicBezTo>
                  <a:pt x="30563" y="7937"/>
                  <a:pt x="30531" y="7937"/>
                  <a:pt x="30500" y="7937"/>
                </a:cubicBezTo>
                <a:cubicBezTo>
                  <a:pt x="30469" y="7937"/>
                  <a:pt x="30406" y="7906"/>
                  <a:pt x="30344" y="7906"/>
                </a:cubicBezTo>
                <a:cubicBezTo>
                  <a:pt x="30344" y="7906"/>
                  <a:pt x="30313" y="7906"/>
                  <a:pt x="30313" y="7906"/>
                </a:cubicBezTo>
                <a:cubicBezTo>
                  <a:pt x="30313" y="7906"/>
                  <a:pt x="30281" y="7906"/>
                  <a:pt x="30281" y="7906"/>
                </a:cubicBezTo>
                <a:cubicBezTo>
                  <a:pt x="30250" y="7906"/>
                  <a:pt x="30219" y="7906"/>
                  <a:pt x="30188" y="7937"/>
                </a:cubicBezTo>
                <a:cubicBezTo>
                  <a:pt x="30219" y="7937"/>
                  <a:pt x="30219" y="7968"/>
                  <a:pt x="30219" y="7968"/>
                </a:cubicBezTo>
                <a:cubicBezTo>
                  <a:pt x="30250" y="8000"/>
                  <a:pt x="30281" y="8031"/>
                  <a:pt x="30313" y="8031"/>
                </a:cubicBezTo>
                <a:cubicBezTo>
                  <a:pt x="30344" y="8031"/>
                  <a:pt x="30375" y="8031"/>
                  <a:pt x="30406" y="8000"/>
                </a:cubicBezTo>
                <a:cubicBezTo>
                  <a:pt x="30406" y="8000"/>
                  <a:pt x="30438" y="7968"/>
                  <a:pt x="30469" y="7968"/>
                </a:cubicBezTo>
                <a:cubicBezTo>
                  <a:pt x="30469" y="7968"/>
                  <a:pt x="30469" y="7968"/>
                  <a:pt x="30469" y="7968"/>
                </a:cubicBezTo>
                <a:cubicBezTo>
                  <a:pt x="30500" y="7937"/>
                  <a:pt x="30500" y="7968"/>
                  <a:pt x="30500" y="7968"/>
                </a:cubicBezTo>
                <a:cubicBezTo>
                  <a:pt x="30531" y="8000"/>
                  <a:pt x="30531" y="8000"/>
                  <a:pt x="30563" y="8031"/>
                </a:cubicBezTo>
                <a:cubicBezTo>
                  <a:pt x="30563" y="8031"/>
                  <a:pt x="30594" y="8031"/>
                  <a:pt x="30625" y="8031"/>
                </a:cubicBezTo>
                <a:cubicBezTo>
                  <a:pt x="30625" y="8031"/>
                  <a:pt x="30625" y="7968"/>
                  <a:pt x="30625" y="7968"/>
                </a:cubicBezTo>
                <a:cubicBezTo>
                  <a:pt x="30625" y="7968"/>
                  <a:pt x="30625" y="7968"/>
                  <a:pt x="30594" y="7968"/>
                </a:cubicBezTo>
                <a:close/>
                <a:moveTo>
                  <a:pt x="30375" y="7718"/>
                </a:moveTo>
                <a:cubicBezTo>
                  <a:pt x="30344" y="7718"/>
                  <a:pt x="30344" y="7718"/>
                  <a:pt x="30313" y="7750"/>
                </a:cubicBezTo>
                <a:cubicBezTo>
                  <a:pt x="30313" y="7781"/>
                  <a:pt x="30344" y="7812"/>
                  <a:pt x="30344" y="7812"/>
                </a:cubicBezTo>
                <a:cubicBezTo>
                  <a:pt x="30375" y="7812"/>
                  <a:pt x="30375" y="7812"/>
                  <a:pt x="30375" y="7812"/>
                </a:cubicBezTo>
                <a:cubicBezTo>
                  <a:pt x="30406" y="7812"/>
                  <a:pt x="30438" y="7812"/>
                  <a:pt x="30469" y="7812"/>
                </a:cubicBezTo>
                <a:cubicBezTo>
                  <a:pt x="30563" y="7812"/>
                  <a:pt x="30625" y="7812"/>
                  <a:pt x="30719" y="7750"/>
                </a:cubicBezTo>
                <a:cubicBezTo>
                  <a:pt x="30594" y="7750"/>
                  <a:pt x="30500" y="7718"/>
                  <a:pt x="30406" y="7718"/>
                </a:cubicBezTo>
                <a:cubicBezTo>
                  <a:pt x="30375" y="7718"/>
                  <a:pt x="30375" y="7718"/>
                  <a:pt x="30375" y="7718"/>
                </a:cubicBezTo>
                <a:close/>
                <a:moveTo>
                  <a:pt x="31125" y="3187"/>
                </a:moveTo>
                <a:cubicBezTo>
                  <a:pt x="31156" y="3187"/>
                  <a:pt x="31156" y="3187"/>
                  <a:pt x="31156" y="3187"/>
                </a:cubicBezTo>
                <a:cubicBezTo>
                  <a:pt x="31188" y="3156"/>
                  <a:pt x="31188" y="3156"/>
                  <a:pt x="31219" y="3156"/>
                </a:cubicBezTo>
                <a:cubicBezTo>
                  <a:pt x="31219" y="3156"/>
                  <a:pt x="31250" y="3156"/>
                  <a:pt x="31250" y="3156"/>
                </a:cubicBezTo>
                <a:cubicBezTo>
                  <a:pt x="31250" y="3156"/>
                  <a:pt x="31281" y="3156"/>
                  <a:pt x="31281" y="3156"/>
                </a:cubicBezTo>
                <a:cubicBezTo>
                  <a:pt x="31313" y="3156"/>
                  <a:pt x="31344" y="3156"/>
                  <a:pt x="31375" y="3156"/>
                </a:cubicBezTo>
                <a:cubicBezTo>
                  <a:pt x="31406" y="3156"/>
                  <a:pt x="31406" y="3156"/>
                  <a:pt x="31438" y="3125"/>
                </a:cubicBezTo>
                <a:cubicBezTo>
                  <a:pt x="31438" y="3125"/>
                  <a:pt x="31438" y="3125"/>
                  <a:pt x="31469" y="3125"/>
                </a:cubicBezTo>
                <a:cubicBezTo>
                  <a:pt x="31469" y="3125"/>
                  <a:pt x="31469" y="3093"/>
                  <a:pt x="31469" y="3093"/>
                </a:cubicBezTo>
                <a:cubicBezTo>
                  <a:pt x="31469" y="3093"/>
                  <a:pt x="31469" y="3093"/>
                  <a:pt x="31469" y="3062"/>
                </a:cubicBezTo>
                <a:cubicBezTo>
                  <a:pt x="31469" y="3062"/>
                  <a:pt x="31469" y="3062"/>
                  <a:pt x="31469" y="3031"/>
                </a:cubicBezTo>
                <a:cubicBezTo>
                  <a:pt x="31469" y="3031"/>
                  <a:pt x="31469" y="3031"/>
                  <a:pt x="31469" y="3000"/>
                </a:cubicBezTo>
                <a:cubicBezTo>
                  <a:pt x="31469" y="3000"/>
                  <a:pt x="31469" y="3000"/>
                  <a:pt x="31469" y="2968"/>
                </a:cubicBezTo>
                <a:cubicBezTo>
                  <a:pt x="31469" y="2968"/>
                  <a:pt x="31438" y="2968"/>
                  <a:pt x="31438" y="2968"/>
                </a:cubicBezTo>
                <a:cubicBezTo>
                  <a:pt x="31438" y="2968"/>
                  <a:pt x="31406" y="2968"/>
                  <a:pt x="31406" y="2968"/>
                </a:cubicBezTo>
                <a:cubicBezTo>
                  <a:pt x="31406" y="3000"/>
                  <a:pt x="31375" y="3000"/>
                  <a:pt x="31344" y="3000"/>
                </a:cubicBezTo>
                <a:cubicBezTo>
                  <a:pt x="31281" y="3062"/>
                  <a:pt x="31188" y="3093"/>
                  <a:pt x="31094" y="3093"/>
                </a:cubicBezTo>
                <a:cubicBezTo>
                  <a:pt x="31000" y="3125"/>
                  <a:pt x="30938" y="3156"/>
                  <a:pt x="30875" y="3187"/>
                </a:cubicBezTo>
                <a:cubicBezTo>
                  <a:pt x="30781" y="3218"/>
                  <a:pt x="30719" y="3281"/>
                  <a:pt x="30625" y="3187"/>
                </a:cubicBezTo>
                <a:cubicBezTo>
                  <a:pt x="30594" y="3187"/>
                  <a:pt x="30594" y="3187"/>
                  <a:pt x="30563" y="3187"/>
                </a:cubicBezTo>
                <a:cubicBezTo>
                  <a:pt x="30563" y="3187"/>
                  <a:pt x="30531" y="3187"/>
                  <a:pt x="30531" y="3218"/>
                </a:cubicBezTo>
                <a:cubicBezTo>
                  <a:pt x="30500" y="3250"/>
                  <a:pt x="30500" y="3281"/>
                  <a:pt x="30531" y="3281"/>
                </a:cubicBezTo>
                <a:cubicBezTo>
                  <a:pt x="30531" y="3312"/>
                  <a:pt x="30531" y="3343"/>
                  <a:pt x="30594" y="3343"/>
                </a:cubicBezTo>
                <a:cubicBezTo>
                  <a:pt x="30594" y="3343"/>
                  <a:pt x="30594" y="3375"/>
                  <a:pt x="30625" y="3375"/>
                </a:cubicBezTo>
                <a:cubicBezTo>
                  <a:pt x="30656" y="3375"/>
                  <a:pt x="30688" y="3406"/>
                  <a:pt x="30719" y="3406"/>
                </a:cubicBezTo>
                <a:cubicBezTo>
                  <a:pt x="30750" y="3406"/>
                  <a:pt x="30781" y="3406"/>
                  <a:pt x="30813" y="3406"/>
                </a:cubicBezTo>
                <a:cubicBezTo>
                  <a:pt x="30813" y="3406"/>
                  <a:pt x="30813" y="3406"/>
                  <a:pt x="30813" y="3406"/>
                </a:cubicBezTo>
                <a:cubicBezTo>
                  <a:pt x="30813" y="3375"/>
                  <a:pt x="30844" y="3343"/>
                  <a:pt x="30844" y="3312"/>
                </a:cubicBezTo>
                <a:cubicBezTo>
                  <a:pt x="30844" y="3312"/>
                  <a:pt x="30875" y="3281"/>
                  <a:pt x="30875" y="3281"/>
                </a:cubicBezTo>
                <a:cubicBezTo>
                  <a:pt x="30906" y="3281"/>
                  <a:pt x="30906" y="3281"/>
                  <a:pt x="30938" y="3281"/>
                </a:cubicBezTo>
                <a:cubicBezTo>
                  <a:pt x="30969" y="3281"/>
                  <a:pt x="31000" y="3281"/>
                  <a:pt x="31063" y="3312"/>
                </a:cubicBezTo>
                <a:cubicBezTo>
                  <a:pt x="31063" y="3312"/>
                  <a:pt x="31063" y="3312"/>
                  <a:pt x="31094" y="3312"/>
                </a:cubicBezTo>
                <a:cubicBezTo>
                  <a:pt x="31094" y="3312"/>
                  <a:pt x="31094" y="3312"/>
                  <a:pt x="31094" y="3281"/>
                </a:cubicBezTo>
                <a:cubicBezTo>
                  <a:pt x="31094" y="3281"/>
                  <a:pt x="31094" y="3281"/>
                  <a:pt x="31094" y="3281"/>
                </a:cubicBezTo>
                <a:cubicBezTo>
                  <a:pt x="31094" y="3281"/>
                  <a:pt x="31063" y="3281"/>
                  <a:pt x="31063" y="3281"/>
                </a:cubicBezTo>
                <a:cubicBezTo>
                  <a:pt x="31094" y="3218"/>
                  <a:pt x="31094" y="3187"/>
                  <a:pt x="31125" y="3187"/>
                </a:cubicBezTo>
                <a:close/>
                <a:moveTo>
                  <a:pt x="29781" y="5250"/>
                </a:moveTo>
                <a:cubicBezTo>
                  <a:pt x="29781" y="5250"/>
                  <a:pt x="29844" y="5281"/>
                  <a:pt x="29938" y="5250"/>
                </a:cubicBezTo>
                <a:cubicBezTo>
                  <a:pt x="30031" y="5250"/>
                  <a:pt x="30094" y="5250"/>
                  <a:pt x="30125" y="5218"/>
                </a:cubicBezTo>
                <a:cubicBezTo>
                  <a:pt x="30125" y="5187"/>
                  <a:pt x="30156" y="5156"/>
                  <a:pt x="30188" y="5125"/>
                </a:cubicBezTo>
                <a:cubicBezTo>
                  <a:pt x="30188" y="5125"/>
                  <a:pt x="30188" y="5125"/>
                  <a:pt x="30188" y="5093"/>
                </a:cubicBezTo>
                <a:cubicBezTo>
                  <a:pt x="30188" y="5093"/>
                  <a:pt x="30219" y="5093"/>
                  <a:pt x="30219" y="5093"/>
                </a:cubicBezTo>
                <a:cubicBezTo>
                  <a:pt x="30219" y="5093"/>
                  <a:pt x="30219" y="5093"/>
                  <a:pt x="30219" y="5093"/>
                </a:cubicBezTo>
                <a:cubicBezTo>
                  <a:pt x="30250" y="5093"/>
                  <a:pt x="30250" y="5062"/>
                  <a:pt x="30250" y="5062"/>
                </a:cubicBezTo>
                <a:cubicBezTo>
                  <a:pt x="30250" y="5062"/>
                  <a:pt x="30281" y="5062"/>
                  <a:pt x="30281" y="5062"/>
                </a:cubicBezTo>
                <a:cubicBezTo>
                  <a:pt x="30281" y="5093"/>
                  <a:pt x="30281" y="5093"/>
                  <a:pt x="30281" y="5093"/>
                </a:cubicBezTo>
                <a:cubicBezTo>
                  <a:pt x="30313" y="5093"/>
                  <a:pt x="30344" y="5093"/>
                  <a:pt x="30406" y="5125"/>
                </a:cubicBezTo>
                <a:cubicBezTo>
                  <a:pt x="30438" y="5125"/>
                  <a:pt x="30500" y="5125"/>
                  <a:pt x="30531" y="5125"/>
                </a:cubicBezTo>
                <a:cubicBezTo>
                  <a:pt x="30563" y="5125"/>
                  <a:pt x="30625" y="5125"/>
                  <a:pt x="30656" y="5125"/>
                </a:cubicBezTo>
                <a:cubicBezTo>
                  <a:pt x="30656" y="5125"/>
                  <a:pt x="30688" y="5125"/>
                  <a:pt x="30688" y="5093"/>
                </a:cubicBezTo>
                <a:cubicBezTo>
                  <a:pt x="30719" y="5093"/>
                  <a:pt x="30719" y="5093"/>
                  <a:pt x="30719" y="5093"/>
                </a:cubicBezTo>
                <a:cubicBezTo>
                  <a:pt x="30719" y="5093"/>
                  <a:pt x="30719" y="5062"/>
                  <a:pt x="30719" y="5062"/>
                </a:cubicBezTo>
                <a:cubicBezTo>
                  <a:pt x="30719" y="5062"/>
                  <a:pt x="30688" y="5031"/>
                  <a:pt x="30688" y="5031"/>
                </a:cubicBezTo>
                <a:cubicBezTo>
                  <a:pt x="30594" y="5031"/>
                  <a:pt x="30531" y="5031"/>
                  <a:pt x="30469" y="5000"/>
                </a:cubicBezTo>
                <a:cubicBezTo>
                  <a:pt x="30344" y="4968"/>
                  <a:pt x="30250" y="4906"/>
                  <a:pt x="30125" y="4906"/>
                </a:cubicBezTo>
                <a:cubicBezTo>
                  <a:pt x="30000" y="4906"/>
                  <a:pt x="29906" y="4875"/>
                  <a:pt x="29844" y="4812"/>
                </a:cubicBezTo>
                <a:cubicBezTo>
                  <a:pt x="29719" y="4750"/>
                  <a:pt x="29594" y="4750"/>
                  <a:pt x="29500" y="4906"/>
                </a:cubicBezTo>
                <a:cubicBezTo>
                  <a:pt x="29594" y="4906"/>
                  <a:pt x="29688" y="4906"/>
                  <a:pt x="29750" y="4906"/>
                </a:cubicBezTo>
                <a:cubicBezTo>
                  <a:pt x="29813" y="4906"/>
                  <a:pt x="29844" y="4937"/>
                  <a:pt x="29875" y="5000"/>
                </a:cubicBezTo>
                <a:cubicBezTo>
                  <a:pt x="29875" y="5093"/>
                  <a:pt x="29813" y="5093"/>
                  <a:pt x="29750" y="5093"/>
                </a:cubicBezTo>
                <a:cubicBezTo>
                  <a:pt x="29688" y="5125"/>
                  <a:pt x="29625" y="5125"/>
                  <a:pt x="29563" y="5125"/>
                </a:cubicBezTo>
                <a:cubicBezTo>
                  <a:pt x="29531" y="5156"/>
                  <a:pt x="29469" y="5125"/>
                  <a:pt x="29469" y="5187"/>
                </a:cubicBezTo>
                <a:cubicBezTo>
                  <a:pt x="29438" y="5218"/>
                  <a:pt x="29469" y="5250"/>
                  <a:pt x="29500" y="5281"/>
                </a:cubicBezTo>
                <a:cubicBezTo>
                  <a:pt x="29531" y="5312"/>
                  <a:pt x="29594" y="5343"/>
                  <a:pt x="29563" y="5375"/>
                </a:cubicBezTo>
                <a:cubicBezTo>
                  <a:pt x="29563" y="5406"/>
                  <a:pt x="29531" y="5406"/>
                  <a:pt x="29500" y="5406"/>
                </a:cubicBezTo>
                <a:cubicBezTo>
                  <a:pt x="29438" y="5406"/>
                  <a:pt x="29438" y="5375"/>
                  <a:pt x="29406" y="5312"/>
                </a:cubicBezTo>
                <a:cubicBezTo>
                  <a:pt x="29406" y="5250"/>
                  <a:pt x="29094" y="5218"/>
                  <a:pt x="29094" y="5250"/>
                </a:cubicBezTo>
                <a:cubicBezTo>
                  <a:pt x="29125" y="5437"/>
                  <a:pt x="28969" y="5406"/>
                  <a:pt x="28875" y="5500"/>
                </a:cubicBezTo>
                <a:cubicBezTo>
                  <a:pt x="29031" y="5531"/>
                  <a:pt x="29094" y="5406"/>
                  <a:pt x="29219" y="5437"/>
                </a:cubicBezTo>
                <a:cubicBezTo>
                  <a:pt x="29375" y="5468"/>
                  <a:pt x="29500" y="5437"/>
                  <a:pt x="29656" y="5437"/>
                </a:cubicBezTo>
                <a:cubicBezTo>
                  <a:pt x="29688" y="5437"/>
                  <a:pt x="29719" y="5437"/>
                  <a:pt x="29750" y="5406"/>
                </a:cubicBezTo>
                <a:cubicBezTo>
                  <a:pt x="29781" y="5343"/>
                  <a:pt x="29719" y="5343"/>
                  <a:pt x="29688" y="5343"/>
                </a:cubicBezTo>
                <a:cubicBezTo>
                  <a:pt x="29625" y="5312"/>
                  <a:pt x="29625" y="5281"/>
                  <a:pt x="29656" y="5218"/>
                </a:cubicBezTo>
                <a:cubicBezTo>
                  <a:pt x="29719" y="5187"/>
                  <a:pt x="29719" y="5156"/>
                  <a:pt x="29781" y="5250"/>
                </a:cubicBezTo>
                <a:close/>
                <a:moveTo>
                  <a:pt x="32719" y="7750"/>
                </a:moveTo>
                <a:cubicBezTo>
                  <a:pt x="32750" y="7750"/>
                  <a:pt x="32781" y="7750"/>
                  <a:pt x="32813" y="7750"/>
                </a:cubicBezTo>
                <a:cubicBezTo>
                  <a:pt x="32844" y="7750"/>
                  <a:pt x="32906" y="7718"/>
                  <a:pt x="32969" y="7718"/>
                </a:cubicBezTo>
                <a:cubicBezTo>
                  <a:pt x="32844" y="7718"/>
                  <a:pt x="32750" y="7718"/>
                  <a:pt x="32625" y="7718"/>
                </a:cubicBezTo>
                <a:cubicBezTo>
                  <a:pt x="32656" y="7718"/>
                  <a:pt x="32688" y="7750"/>
                  <a:pt x="32719" y="7750"/>
                </a:cubicBezTo>
                <a:close/>
                <a:moveTo>
                  <a:pt x="32594" y="7875"/>
                </a:moveTo>
                <a:cubicBezTo>
                  <a:pt x="32563" y="7875"/>
                  <a:pt x="32531" y="7875"/>
                  <a:pt x="32469" y="7875"/>
                </a:cubicBezTo>
                <a:cubicBezTo>
                  <a:pt x="32438" y="7843"/>
                  <a:pt x="32375" y="7843"/>
                  <a:pt x="32313" y="7843"/>
                </a:cubicBezTo>
                <a:cubicBezTo>
                  <a:pt x="32250" y="7875"/>
                  <a:pt x="32219" y="7875"/>
                  <a:pt x="32156" y="7875"/>
                </a:cubicBezTo>
                <a:cubicBezTo>
                  <a:pt x="32094" y="7906"/>
                  <a:pt x="32031" y="7906"/>
                  <a:pt x="32000" y="7937"/>
                </a:cubicBezTo>
                <a:cubicBezTo>
                  <a:pt x="32125" y="8000"/>
                  <a:pt x="32281" y="7906"/>
                  <a:pt x="32406" y="7968"/>
                </a:cubicBezTo>
                <a:cubicBezTo>
                  <a:pt x="32406" y="7968"/>
                  <a:pt x="32438" y="8000"/>
                  <a:pt x="32438" y="8000"/>
                </a:cubicBezTo>
                <a:cubicBezTo>
                  <a:pt x="32469" y="8031"/>
                  <a:pt x="32469" y="8031"/>
                  <a:pt x="32469" y="8031"/>
                </a:cubicBezTo>
                <a:cubicBezTo>
                  <a:pt x="32469" y="8031"/>
                  <a:pt x="32469" y="8031"/>
                  <a:pt x="32469" y="8031"/>
                </a:cubicBezTo>
                <a:cubicBezTo>
                  <a:pt x="32469" y="8031"/>
                  <a:pt x="32469" y="8031"/>
                  <a:pt x="32469" y="8031"/>
                </a:cubicBezTo>
                <a:cubicBezTo>
                  <a:pt x="32469" y="8031"/>
                  <a:pt x="32500" y="8031"/>
                  <a:pt x="32500" y="8031"/>
                </a:cubicBezTo>
                <a:cubicBezTo>
                  <a:pt x="32500" y="8031"/>
                  <a:pt x="32500" y="8031"/>
                  <a:pt x="32531" y="8031"/>
                </a:cubicBezTo>
                <a:cubicBezTo>
                  <a:pt x="32531" y="8031"/>
                  <a:pt x="32531" y="8031"/>
                  <a:pt x="32531" y="8031"/>
                </a:cubicBezTo>
                <a:cubicBezTo>
                  <a:pt x="32563" y="7906"/>
                  <a:pt x="32656" y="7968"/>
                  <a:pt x="32750" y="7937"/>
                </a:cubicBezTo>
                <a:cubicBezTo>
                  <a:pt x="32719" y="7937"/>
                  <a:pt x="32688" y="7906"/>
                  <a:pt x="32688" y="7906"/>
                </a:cubicBezTo>
                <a:cubicBezTo>
                  <a:pt x="32656" y="7906"/>
                  <a:pt x="32625" y="7875"/>
                  <a:pt x="32594" y="7875"/>
                </a:cubicBezTo>
                <a:close/>
                <a:moveTo>
                  <a:pt x="31313" y="7968"/>
                </a:moveTo>
                <a:cubicBezTo>
                  <a:pt x="31250" y="8000"/>
                  <a:pt x="31188" y="8031"/>
                  <a:pt x="31125" y="8031"/>
                </a:cubicBezTo>
                <a:cubicBezTo>
                  <a:pt x="31094" y="8031"/>
                  <a:pt x="31063" y="8031"/>
                  <a:pt x="31031" y="8031"/>
                </a:cubicBezTo>
                <a:cubicBezTo>
                  <a:pt x="30969" y="8031"/>
                  <a:pt x="30906" y="8031"/>
                  <a:pt x="30875" y="7968"/>
                </a:cubicBezTo>
                <a:cubicBezTo>
                  <a:pt x="30844" y="7937"/>
                  <a:pt x="30813" y="7937"/>
                  <a:pt x="30813" y="7875"/>
                </a:cubicBezTo>
                <a:cubicBezTo>
                  <a:pt x="30813" y="7875"/>
                  <a:pt x="30813" y="7875"/>
                  <a:pt x="30813" y="7875"/>
                </a:cubicBezTo>
                <a:cubicBezTo>
                  <a:pt x="30781" y="7875"/>
                  <a:pt x="30750" y="7875"/>
                  <a:pt x="30750" y="7875"/>
                </a:cubicBezTo>
                <a:cubicBezTo>
                  <a:pt x="30750" y="7875"/>
                  <a:pt x="30750" y="7875"/>
                  <a:pt x="30750" y="7875"/>
                </a:cubicBezTo>
                <a:cubicBezTo>
                  <a:pt x="30750" y="7875"/>
                  <a:pt x="30719" y="7906"/>
                  <a:pt x="30719" y="7906"/>
                </a:cubicBezTo>
                <a:cubicBezTo>
                  <a:pt x="30719" y="7906"/>
                  <a:pt x="30719" y="7906"/>
                  <a:pt x="30750" y="7906"/>
                </a:cubicBezTo>
                <a:cubicBezTo>
                  <a:pt x="30781" y="7937"/>
                  <a:pt x="30781" y="7968"/>
                  <a:pt x="30781" y="8000"/>
                </a:cubicBezTo>
                <a:cubicBezTo>
                  <a:pt x="30813" y="8031"/>
                  <a:pt x="30844" y="8062"/>
                  <a:pt x="30875" y="8062"/>
                </a:cubicBezTo>
                <a:cubicBezTo>
                  <a:pt x="30938" y="8062"/>
                  <a:pt x="30969" y="8062"/>
                  <a:pt x="31031" y="8062"/>
                </a:cubicBezTo>
                <a:cubicBezTo>
                  <a:pt x="31063" y="8062"/>
                  <a:pt x="31125" y="8062"/>
                  <a:pt x="31156" y="8062"/>
                </a:cubicBezTo>
                <a:cubicBezTo>
                  <a:pt x="31250" y="8062"/>
                  <a:pt x="31344" y="8062"/>
                  <a:pt x="31438" y="8062"/>
                </a:cubicBezTo>
                <a:cubicBezTo>
                  <a:pt x="31438" y="7937"/>
                  <a:pt x="31375" y="7968"/>
                  <a:pt x="31313" y="7968"/>
                </a:cubicBezTo>
                <a:close/>
                <a:moveTo>
                  <a:pt x="31531" y="2593"/>
                </a:moveTo>
                <a:cubicBezTo>
                  <a:pt x="31469" y="2593"/>
                  <a:pt x="31406" y="2593"/>
                  <a:pt x="31344" y="2593"/>
                </a:cubicBezTo>
                <a:cubicBezTo>
                  <a:pt x="31313" y="2593"/>
                  <a:pt x="31250" y="2593"/>
                  <a:pt x="31188" y="2593"/>
                </a:cubicBezTo>
                <a:cubicBezTo>
                  <a:pt x="31281" y="2593"/>
                  <a:pt x="31375" y="2593"/>
                  <a:pt x="31406" y="2750"/>
                </a:cubicBezTo>
                <a:cubicBezTo>
                  <a:pt x="31406" y="2750"/>
                  <a:pt x="31406" y="2750"/>
                  <a:pt x="31406" y="2750"/>
                </a:cubicBezTo>
                <a:cubicBezTo>
                  <a:pt x="31406" y="2750"/>
                  <a:pt x="31438" y="2781"/>
                  <a:pt x="31438" y="2781"/>
                </a:cubicBezTo>
                <a:cubicBezTo>
                  <a:pt x="31438" y="2781"/>
                  <a:pt x="31438" y="2781"/>
                  <a:pt x="31469" y="2781"/>
                </a:cubicBezTo>
                <a:cubicBezTo>
                  <a:pt x="31469" y="2781"/>
                  <a:pt x="31469" y="2781"/>
                  <a:pt x="31469" y="2781"/>
                </a:cubicBezTo>
                <a:cubicBezTo>
                  <a:pt x="31531" y="2718"/>
                  <a:pt x="31594" y="2718"/>
                  <a:pt x="31656" y="2687"/>
                </a:cubicBezTo>
                <a:cubicBezTo>
                  <a:pt x="31688" y="2687"/>
                  <a:pt x="31719" y="2687"/>
                  <a:pt x="31781" y="2687"/>
                </a:cubicBezTo>
                <a:cubicBezTo>
                  <a:pt x="31813" y="2656"/>
                  <a:pt x="31844" y="2656"/>
                  <a:pt x="31875" y="2625"/>
                </a:cubicBezTo>
                <a:cubicBezTo>
                  <a:pt x="31750" y="2593"/>
                  <a:pt x="31656" y="2593"/>
                  <a:pt x="31531" y="2593"/>
                </a:cubicBezTo>
                <a:close/>
                <a:moveTo>
                  <a:pt x="31219" y="2812"/>
                </a:moveTo>
                <a:cubicBezTo>
                  <a:pt x="31219" y="2812"/>
                  <a:pt x="31250" y="2812"/>
                  <a:pt x="31250" y="2781"/>
                </a:cubicBezTo>
                <a:cubicBezTo>
                  <a:pt x="31250" y="2781"/>
                  <a:pt x="31250" y="2781"/>
                  <a:pt x="31219" y="2750"/>
                </a:cubicBezTo>
                <a:cubicBezTo>
                  <a:pt x="31219" y="2750"/>
                  <a:pt x="31219" y="2750"/>
                  <a:pt x="31219" y="2750"/>
                </a:cubicBezTo>
                <a:cubicBezTo>
                  <a:pt x="31219" y="2750"/>
                  <a:pt x="31219" y="2750"/>
                  <a:pt x="31188" y="2750"/>
                </a:cubicBezTo>
                <a:cubicBezTo>
                  <a:pt x="31188" y="2750"/>
                  <a:pt x="31188" y="2750"/>
                  <a:pt x="31188" y="2781"/>
                </a:cubicBezTo>
                <a:cubicBezTo>
                  <a:pt x="31188" y="2781"/>
                  <a:pt x="31188" y="2781"/>
                  <a:pt x="31188" y="2781"/>
                </a:cubicBezTo>
                <a:cubicBezTo>
                  <a:pt x="31188" y="2781"/>
                  <a:pt x="31188" y="2781"/>
                  <a:pt x="31188" y="2781"/>
                </a:cubicBezTo>
                <a:cubicBezTo>
                  <a:pt x="31188" y="2781"/>
                  <a:pt x="31188" y="2781"/>
                  <a:pt x="31188" y="2781"/>
                </a:cubicBezTo>
                <a:cubicBezTo>
                  <a:pt x="31188" y="2812"/>
                  <a:pt x="31188" y="2812"/>
                  <a:pt x="31219" y="2812"/>
                </a:cubicBezTo>
                <a:close/>
                <a:moveTo>
                  <a:pt x="32219" y="7000"/>
                </a:moveTo>
                <a:cubicBezTo>
                  <a:pt x="32250" y="7031"/>
                  <a:pt x="32281" y="7062"/>
                  <a:pt x="32344" y="7062"/>
                </a:cubicBezTo>
                <a:cubicBezTo>
                  <a:pt x="32344" y="7062"/>
                  <a:pt x="32375" y="7062"/>
                  <a:pt x="32406" y="7062"/>
                </a:cubicBezTo>
                <a:cubicBezTo>
                  <a:pt x="32469" y="7062"/>
                  <a:pt x="32531" y="7062"/>
                  <a:pt x="32594" y="7062"/>
                </a:cubicBezTo>
                <a:cubicBezTo>
                  <a:pt x="32625" y="7031"/>
                  <a:pt x="32688" y="7031"/>
                  <a:pt x="32719" y="7031"/>
                </a:cubicBezTo>
                <a:cubicBezTo>
                  <a:pt x="32250" y="6875"/>
                  <a:pt x="31750" y="6968"/>
                  <a:pt x="31250" y="6968"/>
                </a:cubicBezTo>
                <a:cubicBezTo>
                  <a:pt x="31563" y="7031"/>
                  <a:pt x="31844" y="7187"/>
                  <a:pt x="32156" y="7000"/>
                </a:cubicBezTo>
                <a:cubicBezTo>
                  <a:pt x="32188" y="6968"/>
                  <a:pt x="32188" y="7000"/>
                  <a:pt x="32219" y="7000"/>
                </a:cubicBezTo>
                <a:close/>
                <a:moveTo>
                  <a:pt x="32188" y="5375"/>
                </a:moveTo>
                <a:cubicBezTo>
                  <a:pt x="32281" y="5375"/>
                  <a:pt x="32344" y="5406"/>
                  <a:pt x="32406" y="5406"/>
                </a:cubicBezTo>
                <a:cubicBezTo>
                  <a:pt x="32469" y="5437"/>
                  <a:pt x="32531" y="5437"/>
                  <a:pt x="32594" y="5437"/>
                </a:cubicBezTo>
                <a:cubicBezTo>
                  <a:pt x="32625" y="5437"/>
                  <a:pt x="32656" y="5437"/>
                  <a:pt x="32688" y="5437"/>
                </a:cubicBezTo>
                <a:cubicBezTo>
                  <a:pt x="32781" y="5437"/>
                  <a:pt x="32875" y="5437"/>
                  <a:pt x="32938" y="5406"/>
                </a:cubicBezTo>
                <a:cubicBezTo>
                  <a:pt x="32875" y="5406"/>
                  <a:pt x="32813" y="5406"/>
                  <a:pt x="32719" y="5375"/>
                </a:cubicBezTo>
                <a:cubicBezTo>
                  <a:pt x="32563" y="5343"/>
                  <a:pt x="32406" y="5281"/>
                  <a:pt x="32188" y="5375"/>
                </a:cubicBezTo>
                <a:close/>
                <a:moveTo>
                  <a:pt x="31688" y="3031"/>
                </a:moveTo>
                <a:cubicBezTo>
                  <a:pt x="31719" y="3062"/>
                  <a:pt x="31781" y="3031"/>
                  <a:pt x="31813" y="2968"/>
                </a:cubicBezTo>
                <a:cubicBezTo>
                  <a:pt x="31750" y="2968"/>
                  <a:pt x="31656" y="3000"/>
                  <a:pt x="31594" y="3000"/>
                </a:cubicBezTo>
                <a:cubicBezTo>
                  <a:pt x="31594" y="3000"/>
                  <a:pt x="31594" y="3000"/>
                  <a:pt x="31625" y="3031"/>
                </a:cubicBezTo>
                <a:cubicBezTo>
                  <a:pt x="31656" y="3031"/>
                  <a:pt x="31656" y="3031"/>
                  <a:pt x="31688" y="3031"/>
                </a:cubicBezTo>
                <a:close/>
                <a:moveTo>
                  <a:pt x="33719" y="7500"/>
                </a:moveTo>
                <a:cubicBezTo>
                  <a:pt x="33688" y="7500"/>
                  <a:pt x="33625" y="7500"/>
                  <a:pt x="33594" y="7500"/>
                </a:cubicBezTo>
                <a:cubicBezTo>
                  <a:pt x="33594" y="7500"/>
                  <a:pt x="33563" y="7500"/>
                  <a:pt x="33563" y="7500"/>
                </a:cubicBezTo>
                <a:cubicBezTo>
                  <a:pt x="33563" y="7500"/>
                  <a:pt x="33563" y="7500"/>
                  <a:pt x="33531" y="7531"/>
                </a:cubicBezTo>
                <a:cubicBezTo>
                  <a:pt x="33531" y="7531"/>
                  <a:pt x="33531" y="7531"/>
                  <a:pt x="33531" y="7531"/>
                </a:cubicBezTo>
                <a:cubicBezTo>
                  <a:pt x="33531" y="7531"/>
                  <a:pt x="33531" y="7531"/>
                  <a:pt x="33531" y="7531"/>
                </a:cubicBezTo>
                <a:cubicBezTo>
                  <a:pt x="33531" y="7562"/>
                  <a:pt x="33531" y="7562"/>
                  <a:pt x="33563" y="7562"/>
                </a:cubicBezTo>
                <a:cubicBezTo>
                  <a:pt x="33563" y="7562"/>
                  <a:pt x="33563" y="7562"/>
                  <a:pt x="33563" y="7562"/>
                </a:cubicBezTo>
                <a:cubicBezTo>
                  <a:pt x="33625" y="7562"/>
                  <a:pt x="33688" y="7593"/>
                  <a:pt x="33750" y="7593"/>
                </a:cubicBezTo>
                <a:cubicBezTo>
                  <a:pt x="33750" y="7593"/>
                  <a:pt x="33781" y="7593"/>
                  <a:pt x="33781" y="7562"/>
                </a:cubicBezTo>
                <a:cubicBezTo>
                  <a:pt x="33813" y="7562"/>
                  <a:pt x="33813" y="7562"/>
                  <a:pt x="33813" y="7562"/>
                </a:cubicBezTo>
                <a:cubicBezTo>
                  <a:pt x="33844" y="7531"/>
                  <a:pt x="33875" y="7531"/>
                  <a:pt x="33875" y="7500"/>
                </a:cubicBezTo>
                <a:cubicBezTo>
                  <a:pt x="33844" y="7500"/>
                  <a:pt x="33813" y="7500"/>
                  <a:pt x="33813" y="7500"/>
                </a:cubicBezTo>
                <a:cubicBezTo>
                  <a:pt x="33781" y="7500"/>
                  <a:pt x="33750" y="7500"/>
                  <a:pt x="33719" y="7500"/>
                </a:cubicBezTo>
                <a:close/>
                <a:moveTo>
                  <a:pt x="31844" y="4843"/>
                </a:moveTo>
                <a:cubicBezTo>
                  <a:pt x="31781" y="4812"/>
                  <a:pt x="31688" y="4781"/>
                  <a:pt x="31594" y="4812"/>
                </a:cubicBezTo>
                <a:cubicBezTo>
                  <a:pt x="31563" y="4812"/>
                  <a:pt x="31563" y="4843"/>
                  <a:pt x="31531" y="4843"/>
                </a:cubicBezTo>
                <a:cubicBezTo>
                  <a:pt x="31688" y="4843"/>
                  <a:pt x="31750" y="4843"/>
                  <a:pt x="31844" y="4843"/>
                </a:cubicBezTo>
                <a:close/>
                <a:moveTo>
                  <a:pt x="34813" y="6968"/>
                </a:moveTo>
                <a:cubicBezTo>
                  <a:pt x="34781" y="6968"/>
                  <a:pt x="34750" y="7000"/>
                  <a:pt x="34750" y="7000"/>
                </a:cubicBezTo>
                <a:cubicBezTo>
                  <a:pt x="34750" y="7000"/>
                  <a:pt x="34750" y="7000"/>
                  <a:pt x="34750" y="7000"/>
                </a:cubicBezTo>
                <a:cubicBezTo>
                  <a:pt x="34719" y="7000"/>
                  <a:pt x="34719" y="7031"/>
                  <a:pt x="34719" y="7031"/>
                </a:cubicBezTo>
                <a:cubicBezTo>
                  <a:pt x="34719" y="7031"/>
                  <a:pt x="34719" y="7031"/>
                  <a:pt x="34719" y="7031"/>
                </a:cubicBezTo>
                <a:cubicBezTo>
                  <a:pt x="34750" y="7062"/>
                  <a:pt x="34781" y="7062"/>
                  <a:pt x="34781" y="7062"/>
                </a:cubicBezTo>
                <a:cubicBezTo>
                  <a:pt x="34813" y="7093"/>
                  <a:pt x="34844" y="7062"/>
                  <a:pt x="34875" y="7062"/>
                </a:cubicBezTo>
                <a:cubicBezTo>
                  <a:pt x="34906" y="7062"/>
                  <a:pt x="34906" y="7062"/>
                  <a:pt x="34938" y="7062"/>
                </a:cubicBezTo>
                <a:cubicBezTo>
                  <a:pt x="34938" y="7062"/>
                  <a:pt x="34969" y="7062"/>
                  <a:pt x="34969" y="7062"/>
                </a:cubicBezTo>
                <a:cubicBezTo>
                  <a:pt x="34969" y="7062"/>
                  <a:pt x="34969" y="7062"/>
                  <a:pt x="34969" y="7062"/>
                </a:cubicBezTo>
                <a:cubicBezTo>
                  <a:pt x="35000" y="7062"/>
                  <a:pt x="35000" y="7031"/>
                  <a:pt x="35000" y="7031"/>
                </a:cubicBezTo>
                <a:cubicBezTo>
                  <a:pt x="35031" y="7031"/>
                  <a:pt x="35031" y="7031"/>
                  <a:pt x="35031" y="7031"/>
                </a:cubicBezTo>
                <a:cubicBezTo>
                  <a:pt x="35000" y="7000"/>
                  <a:pt x="34938" y="7000"/>
                  <a:pt x="34906" y="7000"/>
                </a:cubicBezTo>
                <a:cubicBezTo>
                  <a:pt x="34875" y="6968"/>
                  <a:pt x="34844" y="6968"/>
                  <a:pt x="34813" y="6968"/>
                </a:cubicBezTo>
                <a:close/>
                <a:moveTo>
                  <a:pt x="36937" y="5437"/>
                </a:moveTo>
                <a:cubicBezTo>
                  <a:pt x="36937" y="5406"/>
                  <a:pt x="36906" y="5406"/>
                  <a:pt x="36906" y="5406"/>
                </a:cubicBezTo>
                <a:cubicBezTo>
                  <a:pt x="36844" y="5375"/>
                  <a:pt x="36812" y="5375"/>
                  <a:pt x="36750" y="5375"/>
                </a:cubicBezTo>
                <a:cubicBezTo>
                  <a:pt x="36719" y="5375"/>
                  <a:pt x="36719" y="5375"/>
                  <a:pt x="36719" y="5375"/>
                </a:cubicBezTo>
                <a:cubicBezTo>
                  <a:pt x="36687" y="5375"/>
                  <a:pt x="36656" y="5375"/>
                  <a:pt x="36625" y="5375"/>
                </a:cubicBezTo>
                <a:cubicBezTo>
                  <a:pt x="36625" y="5375"/>
                  <a:pt x="36625" y="5375"/>
                  <a:pt x="36594" y="5375"/>
                </a:cubicBezTo>
                <a:cubicBezTo>
                  <a:pt x="36563" y="5375"/>
                  <a:pt x="36500" y="5375"/>
                  <a:pt x="36469" y="5343"/>
                </a:cubicBezTo>
                <a:cubicBezTo>
                  <a:pt x="36375" y="5218"/>
                  <a:pt x="36250" y="5187"/>
                  <a:pt x="36156" y="5187"/>
                </a:cubicBezTo>
                <a:cubicBezTo>
                  <a:pt x="36094" y="5187"/>
                  <a:pt x="36031" y="5218"/>
                  <a:pt x="35969" y="5218"/>
                </a:cubicBezTo>
                <a:cubicBezTo>
                  <a:pt x="35938" y="5218"/>
                  <a:pt x="35906" y="5218"/>
                  <a:pt x="35875" y="5218"/>
                </a:cubicBezTo>
                <a:cubicBezTo>
                  <a:pt x="35875" y="5218"/>
                  <a:pt x="35844" y="5218"/>
                  <a:pt x="35844" y="5218"/>
                </a:cubicBezTo>
                <a:cubicBezTo>
                  <a:pt x="35813" y="5218"/>
                  <a:pt x="35813" y="5218"/>
                  <a:pt x="35813" y="5218"/>
                </a:cubicBezTo>
                <a:cubicBezTo>
                  <a:pt x="35750" y="5218"/>
                  <a:pt x="35688" y="5218"/>
                  <a:pt x="35625" y="5218"/>
                </a:cubicBezTo>
                <a:cubicBezTo>
                  <a:pt x="35531" y="5250"/>
                  <a:pt x="35438" y="5250"/>
                  <a:pt x="35344" y="5218"/>
                </a:cubicBezTo>
                <a:cubicBezTo>
                  <a:pt x="35281" y="5218"/>
                  <a:pt x="35188" y="5187"/>
                  <a:pt x="35094" y="5156"/>
                </a:cubicBezTo>
                <a:cubicBezTo>
                  <a:pt x="35094" y="5156"/>
                  <a:pt x="35094" y="5156"/>
                  <a:pt x="35094" y="5156"/>
                </a:cubicBezTo>
                <a:cubicBezTo>
                  <a:pt x="35063" y="5125"/>
                  <a:pt x="35063" y="5125"/>
                  <a:pt x="35031" y="5156"/>
                </a:cubicBezTo>
                <a:cubicBezTo>
                  <a:pt x="35031" y="5156"/>
                  <a:pt x="35031" y="5156"/>
                  <a:pt x="35031" y="5156"/>
                </a:cubicBezTo>
                <a:cubicBezTo>
                  <a:pt x="35000" y="5156"/>
                  <a:pt x="34969" y="5156"/>
                  <a:pt x="34938" y="5156"/>
                </a:cubicBezTo>
                <a:cubicBezTo>
                  <a:pt x="34875" y="5187"/>
                  <a:pt x="34813" y="5187"/>
                  <a:pt x="34750" y="5187"/>
                </a:cubicBezTo>
                <a:cubicBezTo>
                  <a:pt x="34625" y="5187"/>
                  <a:pt x="34531" y="5187"/>
                  <a:pt x="34438" y="5156"/>
                </a:cubicBezTo>
                <a:cubicBezTo>
                  <a:pt x="34438" y="5156"/>
                  <a:pt x="34438" y="5156"/>
                  <a:pt x="34438" y="5156"/>
                </a:cubicBezTo>
                <a:cubicBezTo>
                  <a:pt x="34406" y="5156"/>
                  <a:pt x="34406" y="5125"/>
                  <a:pt x="34375" y="5156"/>
                </a:cubicBezTo>
                <a:cubicBezTo>
                  <a:pt x="34375" y="5156"/>
                  <a:pt x="34344" y="5187"/>
                  <a:pt x="34344" y="5218"/>
                </a:cubicBezTo>
                <a:cubicBezTo>
                  <a:pt x="34719" y="5312"/>
                  <a:pt x="35125" y="5375"/>
                  <a:pt x="35500" y="5375"/>
                </a:cubicBezTo>
                <a:cubicBezTo>
                  <a:pt x="35844" y="5406"/>
                  <a:pt x="36156" y="5406"/>
                  <a:pt x="36500" y="5437"/>
                </a:cubicBezTo>
                <a:cubicBezTo>
                  <a:pt x="36656" y="5437"/>
                  <a:pt x="36844" y="5468"/>
                  <a:pt x="37000" y="5468"/>
                </a:cubicBezTo>
                <a:cubicBezTo>
                  <a:pt x="36969" y="5468"/>
                  <a:pt x="36969" y="5437"/>
                  <a:pt x="36937" y="5437"/>
                </a:cubicBezTo>
                <a:close/>
                <a:moveTo>
                  <a:pt x="34906" y="6718"/>
                </a:moveTo>
                <a:cubicBezTo>
                  <a:pt x="34906" y="6718"/>
                  <a:pt x="34906" y="6718"/>
                  <a:pt x="34906" y="6718"/>
                </a:cubicBezTo>
                <a:cubicBezTo>
                  <a:pt x="34875" y="6718"/>
                  <a:pt x="34875" y="6718"/>
                  <a:pt x="34875" y="6718"/>
                </a:cubicBezTo>
                <a:cubicBezTo>
                  <a:pt x="34781" y="6718"/>
                  <a:pt x="34719" y="6718"/>
                  <a:pt x="34656" y="6718"/>
                </a:cubicBezTo>
                <a:cubicBezTo>
                  <a:pt x="34500" y="6718"/>
                  <a:pt x="34344" y="6718"/>
                  <a:pt x="34219" y="6687"/>
                </a:cubicBezTo>
                <a:cubicBezTo>
                  <a:pt x="34125" y="6687"/>
                  <a:pt x="34063" y="6687"/>
                  <a:pt x="34000" y="6687"/>
                </a:cubicBezTo>
                <a:cubicBezTo>
                  <a:pt x="33750" y="6656"/>
                  <a:pt x="33500" y="6656"/>
                  <a:pt x="33250" y="6656"/>
                </a:cubicBezTo>
                <a:cubicBezTo>
                  <a:pt x="33000" y="6656"/>
                  <a:pt x="32750" y="6656"/>
                  <a:pt x="32500" y="6656"/>
                </a:cubicBezTo>
                <a:cubicBezTo>
                  <a:pt x="32469" y="6656"/>
                  <a:pt x="32406" y="6656"/>
                  <a:pt x="32344" y="6656"/>
                </a:cubicBezTo>
                <a:cubicBezTo>
                  <a:pt x="32250" y="6656"/>
                  <a:pt x="32156" y="6656"/>
                  <a:pt x="32063" y="6656"/>
                </a:cubicBezTo>
                <a:cubicBezTo>
                  <a:pt x="31906" y="6625"/>
                  <a:pt x="31781" y="6625"/>
                  <a:pt x="31625" y="6625"/>
                </a:cubicBezTo>
                <a:cubicBezTo>
                  <a:pt x="31594" y="6593"/>
                  <a:pt x="31563" y="6625"/>
                  <a:pt x="31563" y="6625"/>
                </a:cubicBezTo>
                <a:cubicBezTo>
                  <a:pt x="31531" y="6625"/>
                  <a:pt x="31500" y="6625"/>
                  <a:pt x="31469" y="6656"/>
                </a:cubicBezTo>
                <a:cubicBezTo>
                  <a:pt x="31469" y="6656"/>
                  <a:pt x="31438" y="6656"/>
                  <a:pt x="31438" y="6656"/>
                </a:cubicBezTo>
                <a:cubicBezTo>
                  <a:pt x="31438" y="6656"/>
                  <a:pt x="31406" y="6687"/>
                  <a:pt x="31406" y="6687"/>
                </a:cubicBezTo>
                <a:cubicBezTo>
                  <a:pt x="31406" y="6687"/>
                  <a:pt x="31406" y="6687"/>
                  <a:pt x="31406" y="6687"/>
                </a:cubicBezTo>
                <a:cubicBezTo>
                  <a:pt x="31406" y="6718"/>
                  <a:pt x="31406" y="6718"/>
                  <a:pt x="31406" y="6718"/>
                </a:cubicBezTo>
                <a:cubicBezTo>
                  <a:pt x="31406" y="6750"/>
                  <a:pt x="31406" y="6750"/>
                  <a:pt x="31406" y="6750"/>
                </a:cubicBezTo>
                <a:cubicBezTo>
                  <a:pt x="31406" y="6750"/>
                  <a:pt x="31438" y="6750"/>
                  <a:pt x="31438" y="6750"/>
                </a:cubicBezTo>
                <a:cubicBezTo>
                  <a:pt x="31438" y="6750"/>
                  <a:pt x="31438" y="6781"/>
                  <a:pt x="31469" y="6781"/>
                </a:cubicBezTo>
                <a:cubicBezTo>
                  <a:pt x="31469" y="6781"/>
                  <a:pt x="31469" y="6781"/>
                  <a:pt x="31469" y="6781"/>
                </a:cubicBezTo>
                <a:cubicBezTo>
                  <a:pt x="31469" y="6781"/>
                  <a:pt x="31469" y="6781"/>
                  <a:pt x="31500" y="6781"/>
                </a:cubicBezTo>
                <a:cubicBezTo>
                  <a:pt x="31500" y="6781"/>
                  <a:pt x="31500" y="6781"/>
                  <a:pt x="31500" y="6781"/>
                </a:cubicBezTo>
                <a:cubicBezTo>
                  <a:pt x="31656" y="6781"/>
                  <a:pt x="31813" y="6781"/>
                  <a:pt x="31969" y="6781"/>
                </a:cubicBezTo>
                <a:cubicBezTo>
                  <a:pt x="32094" y="6812"/>
                  <a:pt x="32188" y="6812"/>
                  <a:pt x="32281" y="6812"/>
                </a:cubicBezTo>
                <a:cubicBezTo>
                  <a:pt x="32438" y="6812"/>
                  <a:pt x="32594" y="6843"/>
                  <a:pt x="32750" y="6843"/>
                </a:cubicBezTo>
                <a:cubicBezTo>
                  <a:pt x="32906" y="6843"/>
                  <a:pt x="33063" y="6812"/>
                  <a:pt x="33188" y="6812"/>
                </a:cubicBezTo>
                <a:cubicBezTo>
                  <a:pt x="33500" y="6812"/>
                  <a:pt x="33781" y="6812"/>
                  <a:pt x="34063" y="6812"/>
                </a:cubicBezTo>
                <a:cubicBezTo>
                  <a:pt x="34219" y="6812"/>
                  <a:pt x="34344" y="6812"/>
                  <a:pt x="34500" y="6812"/>
                </a:cubicBezTo>
                <a:cubicBezTo>
                  <a:pt x="34688" y="6812"/>
                  <a:pt x="34875" y="6781"/>
                  <a:pt x="35094" y="6750"/>
                </a:cubicBezTo>
                <a:cubicBezTo>
                  <a:pt x="35063" y="6750"/>
                  <a:pt x="35063" y="6750"/>
                  <a:pt x="35063" y="6750"/>
                </a:cubicBezTo>
                <a:cubicBezTo>
                  <a:pt x="35000" y="6718"/>
                  <a:pt x="34969" y="6718"/>
                  <a:pt x="34906" y="6718"/>
                </a:cubicBezTo>
                <a:close/>
                <a:moveTo>
                  <a:pt x="36313" y="6093"/>
                </a:moveTo>
                <a:cubicBezTo>
                  <a:pt x="36281" y="6125"/>
                  <a:pt x="36250" y="6125"/>
                  <a:pt x="36219" y="6125"/>
                </a:cubicBezTo>
                <a:cubicBezTo>
                  <a:pt x="36281" y="6156"/>
                  <a:pt x="36344" y="6156"/>
                  <a:pt x="36406" y="6156"/>
                </a:cubicBezTo>
                <a:cubicBezTo>
                  <a:pt x="36438" y="6156"/>
                  <a:pt x="36469" y="6156"/>
                  <a:pt x="36500" y="6156"/>
                </a:cubicBezTo>
                <a:cubicBezTo>
                  <a:pt x="36625" y="6156"/>
                  <a:pt x="36750" y="6125"/>
                  <a:pt x="36875" y="6093"/>
                </a:cubicBezTo>
                <a:cubicBezTo>
                  <a:pt x="36906" y="6093"/>
                  <a:pt x="36937" y="6093"/>
                  <a:pt x="36969" y="6093"/>
                </a:cubicBezTo>
                <a:cubicBezTo>
                  <a:pt x="36906" y="6093"/>
                  <a:pt x="36844" y="6093"/>
                  <a:pt x="36781" y="6062"/>
                </a:cubicBezTo>
                <a:cubicBezTo>
                  <a:pt x="36625" y="6062"/>
                  <a:pt x="36469" y="6062"/>
                  <a:pt x="36313" y="6093"/>
                </a:cubicBezTo>
                <a:close/>
                <a:moveTo>
                  <a:pt x="38469" y="1093"/>
                </a:moveTo>
                <a:cubicBezTo>
                  <a:pt x="38500" y="1093"/>
                  <a:pt x="38531" y="1093"/>
                  <a:pt x="38531" y="1093"/>
                </a:cubicBezTo>
                <a:cubicBezTo>
                  <a:pt x="38562" y="1093"/>
                  <a:pt x="38594" y="1093"/>
                  <a:pt x="38625" y="1093"/>
                </a:cubicBezTo>
                <a:cubicBezTo>
                  <a:pt x="38625" y="1062"/>
                  <a:pt x="38656" y="1062"/>
                  <a:pt x="38687" y="1062"/>
                </a:cubicBezTo>
                <a:cubicBezTo>
                  <a:pt x="38719" y="1031"/>
                  <a:pt x="38719" y="1031"/>
                  <a:pt x="38750" y="1031"/>
                </a:cubicBezTo>
                <a:cubicBezTo>
                  <a:pt x="38750" y="1000"/>
                  <a:pt x="38750" y="1000"/>
                  <a:pt x="38750" y="968"/>
                </a:cubicBezTo>
                <a:cubicBezTo>
                  <a:pt x="38719" y="968"/>
                  <a:pt x="38719" y="968"/>
                  <a:pt x="38719" y="968"/>
                </a:cubicBezTo>
                <a:cubicBezTo>
                  <a:pt x="38687" y="968"/>
                  <a:pt x="38656" y="968"/>
                  <a:pt x="38625" y="968"/>
                </a:cubicBezTo>
                <a:cubicBezTo>
                  <a:pt x="38594" y="968"/>
                  <a:pt x="38562" y="968"/>
                  <a:pt x="38531" y="968"/>
                </a:cubicBezTo>
                <a:cubicBezTo>
                  <a:pt x="38500" y="1000"/>
                  <a:pt x="38469" y="1000"/>
                  <a:pt x="38469" y="1031"/>
                </a:cubicBezTo>
                <a:cubicBezTo>
                  <a:pt x="38437" y="1031"/>
                  <a:pt x="38437" y="1062"/>
                  <a:pt x="38437" y="1062"/>
                </a:cubicBezTo>
                <a:cubicBezTo>
                  <a:pt x="38469" y="1062"/>
                  <a:pt x="38469" y="1062"/>
                  <a:pt x="38469" y="1093"/>
                </a:cubicBezTo>
                <a:close/>
                <a:moveTo>
                  <a:pt x="28031" y="5062"/>
                </a:moveTo>
                <a:cubicBezTo>
                  <a:pt x="28031" y="4875"/>
                  <a:pt x="28125" y="4812"/>
                  <a:pt x="28250" y="4750"/>
                </a:cubicBezTo>
                <a:cubicBezTo>
                  <a:pt x="28063" y="4718"/>
                  <a:pt x="27969" y="4812"/>
                  <a:pt x="27844" y="4875"/>
                </a:cubicBezTo>
                <a:cubicBezTo>
                  <a:pt x="27906" y="4937"/>
                  <a:pt x="27938" y="5000"/>
                  <a:pt x="28031" y="5062"/>
                </a:cubicBezTo>
                <a:close/>
                <a:moveTo>
                  <a:pt x="27000" y="5000"/>
                </a:moveTo>
                <a:cubicBezTo>
                  <a:pt x="27000" y="4937"/>
                  <a:pt x="26969" y="4875"/>
                  <a:pt x="26875" y="4968"/>
                </a:cubicBezTo>
                <a:cubicBezTo>
                  <a:pt x="26813" y="5000"/>
                  <a:pt x="26719" y="4968"/>
                  <a:pt x="26688" y="5031"/>
                </a:cubicBezTo>
                <a:cubicBezTo>
                  <a:pt x="26688" y="5218"/>
                  <a:pt x="26531" y="5281"/>
                  <a:pt x="26469" y="5468"/>
                </a:cubicBezTo>
                <a:cubicBezTo>
                  <a:pt x="26625" y="5406"/>
                  <a:pt x="26781" y="5343"/>
                  <a:pt x="26906" y="5312"/>
                </a:cubicBezTo>
                <a:cubicBezTo>
                  <a:pt x="27063" y="5312"/>
                  <a:pt x="27125" y="5281"/>
                  <a:pt x="27156" y="5125"/>
                </a:cubicBezTo>
                <a:cubicBezTo>
                  <a:pt x="27188" y="4937"/>
                  <a:pt x="27031" y="5093"/>
                  <a:pt x="27000" y="5000"/>
                </a:cubicBezTo>
                <a:close/>
                <a:moveTo>
                  <a:pt x="29781" y="7718"/>
                </a:moveTo>
                <a:cubicBezTo>
                  <a:pt x="29625" y="7687"/>
                  <a:pt x="29469" y="7687"/>
                  <a:pt x="29313" y="7718"/>
                </a:cubicBezTo>
                <a:cubicBezTo>
                  <a:pt x="29469" y="7718"/>
                  <a:pt x="29625" y="7750"/>
                  <a:pt x="29781" y="7718"/>
                </a:cubicBezTo>
                <a:close/>
                <a:moveTo>
                  <a:pt x="28875" y="7843"/>
                </a:moveTo>
                <a:cubicBezTo>
                  <a:pt x="28875" y="7843"/>
                  <a:pt x="28844" y="7875"/>
                  <a:pt x="28844" y="7906"/>
                </a:cubicBezTo>
                <a:cubicBezTo>
                  <a:pt x="28844" y="7937"/>
                  <a:pt x="28875" y="7968"/>
                  <a:pt x="28906" y="7968"/>
                </a:cubicBezTo>
                <a:cubicBezTo>
                  <a:pt x="29063" y="7968"/>
                  <a:pt x="29219" y="7968"/>
                  <a:pt x="29406" y="7968"/>
                </a:cubicBezTo>
                <a:cubicBezTo>
                  <a:pt x="29375" y="7906"/>
                  <a:pt x="29375" y="7906"/>
                  <a:pt x="29375" y="7875"/>
                </a:cubicBezTo>
                <a:cubicBezTo>
                  <a:pt x="29219" y="7812"/>
                  <a:pt x="29031" y="7875"/>
                  <a:pt x="28875" y="7843"/>
                </a:cubicBezTo>
                <a:close/>
                <a:moveTo>
                  <a:pt x="29719" y="7875"/>
                </a:moveTo>
                <a:cubicBezTo>
                  <a:pt x="29688" y="7875"/>
                  <a:pt x="29594" y="7875"/>
                  <a:pt x="29625" y="7937"/>
                </a:cubicBezTo>
                <a:cubicBezTo>
                  <a:pt x="29656" y="8000"/>
                  <a:pt x="29625" y="8031"/>
                  <a:pt x="29594" y="8062"/>
                </a:cubicBezTo>
                <a:cubicBezTo>
                  <a:pt x="29563" y="8062"/>
                  <a:pt x="29531" y="8093"/>
                  <a:pt x="29531" y="8125"/>
                </a:cubicBezTo>
                <a:cubicBezTo>
                  <a:pt x="29563" y="8187"/>
                  <a:pt x="29625" y="8156"/>
                  <a:pt x="29656" y="8156"/>
                </a:cubicBezTo>
                <a:cubicBezTo>
                  <a:pt x="29781" y="8156"/>
                  <a:pt x="29813" y="8062"/>
                  <a:pt x="29844" y="7968"/>
                </a:cubicBezTo>
                <a:cubicBezTo>
                  <a:pt x="29844" y="7937"/>
                  <a:pt x="29938" y="7968"/>
                  <a:pt x="29875" y="7906"/>
                </a:cubicBezTo>
                <a:cubicBezTo>
                  <a:pt x="29844" y="7843"/>
                  <a:pt x="29781" y="7843"/>
                  <a:pt x="29719" y="7875"/>
                </a:cubicBezTo>
                <a:close/>
                <a:moveTo>
                  <a:pt x="25750" y="5593"/>
                </a:moveTo>
                <a:cubicBezTo>
                  <a:pt x="25844" y="5593"/>
                  <a:pt x="25813" y="5500"/>
                  <a:pt x="25813" y="5468"/>
                </a:cubicBezTo>
                <a:cubicBezTo>
                  <a:pt x="25844" y="5437"/>
                  <a:pt x="25844" y="5406"/>
                  <a:pt x="25875" y="5375"/>
                </a:cubicBezTo>
                <a:cubicBezTo>
                  <a:pt x="25875" y="5343"/>
                  <a:pt x="25906" y="5312"/>
                  <a:pt x="25875" y="5281"/>
                </a:cubicBezTo>
                <a:cubicBezTo>
                  <a:pt x="25844" y="5218"/>
                  <a:pt x="25781" y="5250"/>
                  <a:pt x="25750" y="5250"/>
                </a:cubicBezTo>
                <a:cubicBezTo>
                  <a:pt x="25625" y="5312"/>
                  <a:pt x="25500" y="5437"/>
                  <a:pt x="25344" y="5437"/>
                </a:cubicBezTo>
                <a:cubicBezTo>
                  <a:pt x="25313" y="5437"/>
                  <a:pt x="25281" y="5437"/>
                  <a:pt x="25281" y="5468"/>
                </a:cubicBezTo>
                <a:cubicBezTo>
                  <a:pt x="25313" y="5500"/>
                  <a:pt x="25344" y="5500"/>
                  <a:pt x="25375" y="5500"/>
                </a:cubicBezTo>
                <a:cubicBezTo>
                  <a:pt x="25469" y="5468"/>
                  <a:pt x="25563" y="5468"/>
                  <a:pt x="25656" y="5437"/>
                </a:cubicBezTo>
                <a:cubicBezTo>
                  <a:pt x="25688" y="5437"/>
                  <a:pt x="25750" y="5406"/>
                  <a:pt x="25750" y="5468"/>
                </a:cubicBezTo>
                <a:cubicBezTo>
                  <a:pt x="25750" y="5500"/>
                  <a:pt x="25688" y="5593"/>
                  <a:pt x="25750" y="5593"/>
                </a:cubicBezTo>
                <a:close/>
                <a:moveTo>
                  <a:pt x="28375" y="8406"/>
                </a:moveTo>
                <a:cubicBezTo>
                  <a:pt x="28156" y="8343"/>
                  <a:pt x="27938" y="8375"/>
                  <a:pt x="27688" y="8375"/>
                </a:cubicBezTo>
                <a:cubicBezTo>
                  <a:pt x="27844" y="8375"/>
                  <a:pt x="28000" y="8343"/>
                  <a:pt x="28094" y="8500"/>
                </a:cubicBezTo>
                <a:cubicBezTo>
                  <a:pt x="28156" y="8593"/>
                  <a:pt x="28344" y="8593"/>
                  <a:pt x="28406" y="8500"/>
                </a:cubicBezTo>
                <a:cubicBezTo>
                  <a:pt x="28438" y="8437"/>
                  <a:pt x="28438" y="8406"/>
                  <a:pt x="28375" y="8406"/>
                </a:cubicBezTo>
                <a:close/>
                <a:moveTo>
                  <a:pt x="28125" y="8031"/>
                </a:moveTo>
                <a:cubicBezTo>
                  <a:pt x="28094" y="7937"/>
                  <a:pt x="28031" y="7968"/>
                  <a:pt x="27969" y="7968"/>
                </a:cubicBezTo>
                <a:cubicBezTo>
                  <a:pt x="27844" y="7937"/>
                  <a:pt x="27813" y="8031"/>
                  <a:pt x="27781" y="8156"/>
                </a:cubicBezTo>
                <a:cubicBezTo>
                  <a:pt x="27875" y="8125"/>
                  <a:pt x="27969" y="8125"/>
                  <a:pt x="28031" y="8156"/>
                </a:cubicBezTo>
                <a:cubicBezTo>
                  <a:pt x="28125" y="8156"/>
                  <a:pt x="28156" y="8093"/>
                  <a:pt x="28125" y="8031"/>
                </a:cubicBezTo>
                <a:close/>
                <a:moveTo>
                  <a:pt x="28625" y="7843"/>
                </a:moveTo>
                <a:cubicBezTo>
                  <a:pt x="28500" y="7812"/>
                  <a:pt x="28344" y="7843"/>
                  <a:pt x="28219" y="7843"/>
                </a:cubicBezTo>
                <a:cubicBezTo>
                  <a:pt x="28188" y="7843"/>
                  <a:pt x="28156" y="7843"/>
                  <a:pt x="28156" y="7875"/>
                </a:cubicBezTo>
                <a:cubicBezTo>
                  <a:pt x="28125" y="7906"/>
                  <a:pt x="28156" y="7937"/>
                  <a:pt x="28188" y="7937"/>
                </a:cubicBezTo>
                <a:cubicBezTo>
                  <a:pt x="28188" y="7968"/>
                  <a:pt x="28250" y="7968"/>
                  <a:pt x="28250" y="8000"/>
                </a:cubicBezTo>
                <a:cubicBezTo>
                  <a:pt x="28313" y="8156"/>
                  <a:pt x="28375" y="8187"/>
                  <a:pt x="28438" y="8000"/>
                </a:cubicBezTo>
                <a:cubicBezTo>
                  <a:pt x="28438" y="7968"/>
                  <a:pt x="28469" y="7968"/>
                  <a:pt x="28500" y="7968"/>
                </a:cubicBezTo>
                <a:cubicBezTo>
                  <a:pt x="28531" y="7968"/>
                  <a:pt x="28531" y="8000"/>
                  <a:pt x="28531" y="8000"/>
                </a:cubicBezTo>
                <a:cubicBezTo>
                  <a:pt x="28375" y="8218"/>
                  <a:pt x="28594" y="8156"/>
                  <a:pt x="28688" y="8187"/>
                </a:cubicBezTo>
                <a:cubicBezTo>
                  <a:pt x="28719" y="8156"/>
                  <a:pt x="28906" y="8156"/>
                  <a:pt x="28844" y="8125"/>
                </a:cubicBezTo>
                <a:cubicBezTo>
                  <a:pt x="28781" y="8031"/>
                  <a:pt x="28750" y="7843"/>
                  <a:pt x="28625" y="7843"/>
                </a:cubicBezTo>
                <a:close/>
                <a:moveTo>
                  <a:pt x="32250" y="4562"/>
                </a:moveTo>
                <a:cubicBezTo>
                  <a:pt x="32250" y="4562"/>
                  <a:pt x="32250" y="4562"/>
                  <a:pt x="32250" y="4562"/>
                </a:cubicBezTo>
                <a:cubicBezTo>
                  <a:pt x="32219" y="4562"/>
                  <a:pt x="32219" y="4531"/>
                  <a:pt x="32188" y="4562"/>
                </a:cubicBezTo>
                <a:cubicBezTo>
                  <a:pt x="32188" y="4562"/>
                  <a:pt x="32188" y="4562"/>
                  <a:pt x="32188" y="4562"/>
                </a:cubicBezTo>
                <a:cubicBezTo>
                  <a:pt x="32156" y="4562"/>
                  <a:pt x="32156" y="4562"/>
                  <a:pt x="32156" y="4562"/>
                </a:cubicBezTo>
                <a:cubicBezTo>
                  <a:pt x="32156" y="4593"/>
                  <a:pt x="32156" y="4593"/>
                  <a:pt x="32156" y="4625"/>
                </a:cubicBezTo>
                <a:cubicBezTo>
                  <a:pt x="32156" y="4656"/>
                  <a:pt x="32188" y="4687"/>
                  <a:pt x="32219" y="4687"/>
                </a:cubicBezTo>
                <a:cubicBezTo>
                  <a:pt x="32250" y="4687"/>
                  <a:pt x="32250" y="4687"/>
                  <a:pt x="32281" y="4687"/>
                </a:cubicBezTo>
                <a:cubicBezTo>
                  <a:pt x="32281" y="4687"/>
                  <a:pt x="32313" y="4687"/>
                  <a:pt x="32313" y="4687"/>
                </a:cubicBezTo>
                <a:cubicBezTo>
                  <a:pt x="32313" y="4687"/>
                  <a:pt x="32344" y="4687"/>
                  <a:pt x="32344" y="4687"/>
                </a:cubicBezTo>
                <a:cubicBezTo>
                  <a:pt x="32375" y="4687"/>
                  <a:pt x="32375" y="4656"/>
                  <a:pt x="32406" y="4656"/>
                </a:cubicBezTo>
                <a:cubicBezTo>
                  <a:pt x="32406" y="4656"/>
                  <a:pt x="32438" y="4656"/>
                  <a:pt x="32438" y="4625"/>
                </a:cubicBezTo>
                <a:cubicBezTo>
                  <a:pt x="32438" y="4625"/>
                  <a:pt x="32438" y="4625"/>
                  <a:pt x="32438" y="4625"/>
                </a:cubicBezTo>
                <a:cubicBezTo>
                  <a:pt x="32438" y="4593"/>
                  <a:pt x="32438" y="4593"/>
                  <a:pt x="32438" y="4593"/>
                </a:cubicBezTo>
                <a:cubicBezTo>
                  <a:pt x="32438" y="4562"/>
                  <a:pt x="32438" y="4531"/>
                  <a:pt x="32406" y="4531"/>
                </a:cubicBezTo>
                <a:cubicBezTo>
                  <a:pt x="32406" y="4531"/>
                  <a:pt x="32375" y="4531"/>
                  <a:pt x="32375" y="4562"/>
                </a:cubicBezTo>
                <a:cubicBezTo>
                  <a:pt x="32344" y="4562"/>
                  <a:pt x="32344" y="4562"/>
                  <a:pt x="32313" y="4562"/>
                </a:cubicBezTo>
                <a:cubicBezTo>
                  <a:pt x="32313" y="4562"/>
                  <a:pt x="32281" y="4562"/>
                  <a:pt x="32281" y="4562"/>
                </a:cubicBezTo>
                <a:cubicBezTo>
                  <a:pt x="32281" y="4562"/>
                  <a:pt x="32250" y="4562"/>
                  <a:pt x="32250" y="4562"/>
                </a:cubicBezTo>
                <a:close/>
                <a:moveTo>
                  <a:pt x="29406" y="375"/>
                </a:moveTo>
                <a:cubicBezTo>
                  <a:pt x="29469" y="375"/>
                  <a:pt x="29469" y="343"/>
                  <a:pt x="29500" y="312"/>
                </a:cubicBezTo>
                <a:cubicBezTo>
                  <a:pt x="29594" y="218"/>
                  <a:pt x="29563" y="125"/>
                  <a:pt x="29500" y="0"/>
                </a:cubicBezTo>
                <a:cubicBezTo>
                  <a:pt x="29438" y="93"/>
                  <a:pt x="29406" y="187"/>
                  <a:pt x="29406" y="250"/>
                </a:cubicBezTo>
                <a:cubicBezTo>
                  <a:pt x="29375" y="312"/>
                  <a:pt x="29344" y="343"/>
                  <a:pt x="29406" y="375"/>
                </a:cubicBezTo>
                <a:close/>
                <a:moveTo>
                  <a:pt x="32906" y="375"/>
                </a:moveTo>
                <a:cubicBezTo>
                  <a:pt x="32938" y="375"/>
                  <a:pt x="32938" y="375"/>
                  <a:pt x="32969" y="375"/>
                </a:cubicBezTo>
                <a:cubicBezTo>
                  <a:pt x="32969" y="375"/>
                  <a:pt x="33000" y="375"/>
                  <a:pt x="33000" y="375"/>
                </a:cubicBezTo>
                <a:cubicBezTo>
                  <a:pt x="33031" y="375"/>
                  <a:pt x="33063" y="375"/>
                  <a:pt x="33094" y="343"/>
                </a:cubicBezTo>
                <a:cubicBezTo>
                  <a:pt x="33125" y="343"/>
                  <a:pt x="33156" y="343"/>
                  <a:pt x="33188" y="343"/>
                </a:cubicBezTo>
                <a:cubicBezTo>
                  <a:pt x="33281" y="343"/>
                  <a:pt x="33344" y="312"/>
                  <a:pt x="33438" y="281"/>
                </a:cubicBezTo>
                <a:cubicBezTo>
                  <a:pt x="33469" y="281"/>
                  <a:pt x="33500" y="281"/>
                  <a:pt x="33531" y="281"/>
                </a:cubicBezTo>
                <a:cubicBezTo>
                  <a:pt x="33656" y="250"/>
                  <a:pt x="33781" y="187"/>
                  <a:pt x="33906" y="156"/>
                </a:cubicBezTo>
                <a:cubicBezTo>
                  <a:pt x="34000" y="125"/>
                  <a:pt x="34094" y="93"/>
                  <a:pt x="34188" y="93"/>
                </a:cubicBezTo>
                <a:cubicBezTo>
                  <a:pt x="33875" y="93"/>
                  <a:pt x="33563" y="156"/>
                  <a:pt x="33250" y="218"/>
                </a:cubicBezTo>
                <a:cubicBezTo>
                  <a:pt x="33063" y="250"/>
                  <a:pt x="32875" y="281"/>
                  <a:pt x="32688" y="312"/>
                </a:cubicBezTo>
                <a:cubicBezTo>
                  <a:pt x="32719" y="343"/>
                  <a:pt x="32781" y="343"/>
                  <a:pt x="32813" y="343"/>
                </a:cubicBezTo>
                <a:cubicBezTo>
                  <a:pt x="32844" y="375"/>
                  <a:pt x="32875" y="375"/>
                  <a:pt x="32906" y="375"/>
                </a:cubicBezTo>
                <a:close/>
                <a:moveTo>
                  <a:pt x="31906" y="1125"/>
                </a:moveTo>
                <a:cubicBezTo>
                  <a:pt x="31906" y="1125"/>
                  <a:pt x="31938" y="1125"/>
                  <a:pt x="31938" y="1125"/>
                </a:cubicBezTo>
                <a:cubicBezTo>
                  <a:pt x="31938" y="1125"/>
                  <a:pt x="31969" y="1125"/>
                  <a:pt x="31969" y="1125"/>
                </a:cubicBezTo>
                <a:cubicBezTo>
                  <a:pt x="31969" y="1125"/>
                  <a:pt x="31969" y="1093"/>
                  <a:pt x="31969" y="1093"/>
                </a:cubicBezTo>
                <a:cubicBezTo>
                  <a:pt x="31969" y="1093"/>
                  <a:pt x="31969" y="1093"/>
                  <a:pt x="31969" y="1093"/>
                </a:cubicBezTo>
                <a:cubicBezTo>
                  <a:pt x="31969" y="1062"/>
                  <a:pt x="31969" y="1062"/>
                  <a:pt x="31969" y="1062"/>
                </a:cubicBezTo>
                <a:cubicBezTo>
                  <a:pt x="31969" y="1031"/>
                  <a:pt x="31938" y="1031"/>
                  <a:pt x="31906" y="1031"/>
                </a:cubicBezTo>
                <a:cubicBezTo>
                  <a:pt x="31906" y="1031"/>
                  <a:pt x="31906" y="1031"/>
                  <a:pt x="31906" y="1031"/>
                </a:cubicBezTo>
                <a:cubicBezTo>
                  <a:pt x="31844" y="1062"/>
                  <a:pt x="31781" y="1062"/>
                  <a:pt x="31719" y="1093"/>
                </a:cubicBezTo>
                <a:cubicBezTo>
                  <a:pt x="31656" y="1093"/>
                  <a:pt x="31594" y="1093"/>
                  <a:pt x="31531" y="1125"/>
                </a:cubicBezTo>
                <a:cubicBezTo>
                  <a:pt x="31563" y="1125"/>
                  <a:pt x="31594" y="1156"/>
                  <a:pt x="31625" y="1156"/>
                </a:cubicBezTo>
                <a:cubicBezTo>
                  <a:pt x="31750" y="1156"/>
                  <a:pt x="31813" y="1125"/>
                  <a:pt x="31906" y="1125"/>
                </a:cubicBezTo>
                <a:close/>
                <a:moveTo>
                  <a:pt x="32969" y="2562"/>
                </a:moveTo>
                <a:cubicBezTo>
                  <a:pt x="32938" y="2593"/>
                  <a:pt x="32906" y="2593"/>
                  <a:pt x="32906" y="2625"/>
                </a:cubicBezTo>
                <a:cubicBezTo>
                  <a:pt x="32875" y="2625"/>
                  <a:pt x="32875" y="2656"/>
                  <a:pt x="32906" y="2687"/>
                </a:cubicBezTo>
                <a:cubicBezTo>
                  <a:pt x="32938" y="2718"/>
                  <a:pt x="32969" y="2718"/>
                  <a:pt x="33031" y="2687"/>
                </a:cubicBezTo>
                <a:cubicBezTo>
                  <a:pt x="33125" y="2687"/>
                  <a:pt x="33188" y="2625"/>
                  <a:pt x="33250" y="2593"/>
                </a:cubicBezTo>
                <a:cubicBezTo>
                  <a:pt x="33625" y="2468"/>
                  <a:pt x="34000" y="2375"/>
                  <a:pt x="34375" y="2250"/>
                </a:cubicBezTo>
                <a:cubicBezTo>
                  <a:pt x="34469" y="2187"/>
                  <a:pt x="34563" y="2156"/>
                  <a:pt x="34656" y="2093"/>
                </a:cubicBezTo>
                <a:cubicBezTo>
                  <a:pt x="34719" y="2093"/>
                  <a:pt x="34813" y="2062"/>
                  <a:pt x="34875" y="2062"/>
                </a:cubicBezTo>
                <a:cubicBezTo>
                  <a:pt x="34813" y="2031"/>
                  <a:pt x="34781" y="2000"/>
                  <a:pt x="34719" y="2000"/>
                </a:cubicBezTo>
                <a:cubicBezTo>
                  <a:pt x="34656" y="2000"/>
                  <a:pt x="34625" y="2031"/>
                  <a:pt x="34563" y="2031"/>
                </a:cubicBezTo>
                <a:cubicBezTo>
                  <a:pt x="34531" y="2062"/>
                  <a:pt x="34500" y="2062"/>
                  <a:pt x="34500" y="2062"/>
                </a:cubicBezTo>
                <a:cubicBezTo>
                  <a:pt x="34406" y="2093"/>
                  <a:pt x="34344" y="2125"/>
                  <a:pt x="34281" y="2156"/>
                </a:cubicBezTo>
                <a:cubicBezTo>
                  <a:pt x="33969" y="2218"/>
                  <a:pt x="33656" y="2312"/>
                  <a:pt x="33344" y="2437"/>
                </a:cubicBezTo>
                <a:cubicBezTo>
                  <a:pt x="33219" y="2500"/>
                  <a:pt x="33094" y="2468"/>
                  <a:pt x="32969" y="2562"/>
                </a:cubicBezTo>
                <a:close/>
                <a:moveTo>
                  <a:pt x="24000" y="2000"/>
                </a:moveTo>
                <a:cubicBezTo>
                  <a:pt x="24188" y="1906"/>
                  <a:pt x="24125" y="1750"/>
                  <a:pt x="24094" y="1593"/>
                </a:cubicBezTo>
                <a:cubicBezTo>
                  <a:pt x="23875" y="1687"/>
                  <a:pt x="23813" y="1781"/>
                  <a:pt x="23906" y="1968"/>
                </a:cubicBezTo>
                <a:cubicBezTo>
                  <a:pt x="23938" y="2031"/>
                  <a:pt x="23938" y="2031"/>
                  <a:pt x="24000" y="2000"/>
                </a:cubicBezTo>
                <a:close/>
                <a:moveTo>
                  <a:pt x="34563" y="6093"/>
                </a:moveTo>
                <a:cubicBezTo>
                  <a:pt x="34563" y="6093"/>
                  <a:pt x="34594" y="6093"/>
                  <a:pt x="34594" y="6093"/>
                </a:cubicBezTo>
                <a:cubicBezTo>
                  <a:pt x="34750" y="6062"/>
                  <a:pt x="34875" y="6062"/>
                  <a:pt x="35031" y="6062"/>
                </a:cubicBezTo>
                <a:cubicBezTo>
                  <a:pt x="35031" y="6031"/>
                  <a:pt x="35031" y="6031"/>
                  <a:pt x="35031" y="6000"/>
                </a:cubicBezTo>
                <a:cubicBezTo>
                  <a:pt x="35000" y="6000"/>
                  <a:pt x="34938" y="6000"/>
                  <a:pt x="34906" y="6000"/>
                </a:cubicBezTo>
                <a:cubicBezTo>
                  <a:pt x="34844" y="6000"/>
                  <a:pt x="34781" y="5968"/>
                  <a:pt x="34719" y="5968"/>
                </a:cubicBezTo>
                <a:cubicBezTo>
                  <a:pt x="34656" y="5968"/>
                  <a:pt x="34625" y="5968"/>
                  <a:pt x="34594" y="5968"/>
                </a:cubicBezTo>
                <a:cubicBezTo>
                  <a:pt x="34594" y="5968"/>
                  <a:pt x="34563" y="5968"/>
                  <a:pt x="34563" y="5968"/>
                </a:cubicBezTo>
                <a:cubicBezTo>
                  <a:pt x="34531" y="5968"/>
                  <a:pt x="34469" y="5968"/>
                  <a:pt x="34469" y="6031"/>
                </a:cubicBezTo>
                <a:cubicBezTo>
                  <a:pt x="34469" y="6062"/>
                  <a:pt x="34469" y="6062"/>
                  <a:pt x="34500" y="6062"/>
                </a:cubicBezTo>
                <a:cubicBezTo>
                  <a:pt x="34500" y="6093"/>
                  <a:pt x="34531" y="6093"/>
                  <a:pt x="34563" y="6093"/>
                </a:cubicBezTo>
                <a:close/>
                <a:moveTo>
                  <a:pt x="23406" y="2812"/>
                </a:moveTo>
                <a:cubicBezTo>
                  <a:pt x="23469" y="2812"/>
                  <a:pt x="23531" y="2750"/>
                  <a:pt x="23469" y="2656"/>
                </a:cubicBezTo>
                <a:cubicBezTo>
                  <a:pt x="23438" y="2687"/>
                  <a:pt x="23438" y="2687"/>
                  <a:pt x="23406" y="2718"/>
                </a:cubicBezTo>
                <a:cubicBezTo>
                  <a:pt x="23313" y="2781"/>
                  <a:pt x="23313" y="2843"/>
                  <a:pt x="23406" y="2812"/>
                </a:cubicBezTo>
                <a:close/>
                <a:moveTo>
                  <a:pt x="30625" y="3093"/>
                </a:moveTo>
                <a:cubicBezTo>
                  <a:pt x="30625" y="3093"/>
                  <a:pt x="30625" y="3093"/>
                  <a:pt x="30625" y="3062"/>
                </a:cubicBezTo>
                <a:cubicBezTo>
                  <a:pt x="30625" y="3093"/>
                  <a:pt x="30594" y="3093"/>
                  <a:pt x="30594" y="3093"/>
                </a:cubicBezTo>
                <a:cubicBezTo>
                  <a:pt x="30594" y="3093"/>
                  <a:pt x="30594" y="3093"/>
                  <a:pt x="30594" y="3093"/>
                </a:cubicBezTo>
                <a:cubicBezTo>
                  <a:pt x="30625" y="3093"/>
                  <a:pt x="30625" y="3093"/>
                  <a:pt x="30625" y="3093"/>
                </a:cubicBezTo>
                <a:cubicBezTo>
                  <a:pt x="30625" y="3125"/>
                  <a:pt x="30625" y="3093"/>
                  <a:pt x="30625" y="3093"/>
                </a:cubicBezTo>
                <a:close/>
                <a:moveTo>
                  <a:pt x="33500" y="3781"/>
                </a:moveTo>
                <a:cubicBezTo>
                  <a:pt x="33500" y="3781"/>
                  <a:pt x="33531" y="3781"/>
                  <a:pt x="33563" y="3781"/>
                </a:cubicBezTo>
                <a:cubicBezTo>
                  <a:pt x="33563" y="3781"/>
                  <a:pt x="33563" y="3781"/>
                  <a:pt x="33563" y="3781"/>
                </a:cubicBezTo>
                <a:cubicBezTo>
                  <a:pt x="33563" y="3781"/>
                  <a:pt x="33594" y="3781"/>
                  <a:pt x="33594" y="3781"/>
                </a:cubicBezTo>
                <a:cubicBezTo>
                  <a:pt x="33594" y="3781"/>
                  <a:pt x="33594" y="3781"/>
                  <a:pt x="33594" y="3781"/>
                </a:cubicBezTo>
                <a:cubicBezTo>
                  <a:pt x="33594" y="3781"/>
                  <a:pt x="33594" y="3781"/>
                  <a:pt x="33594" y="3750"/>
                </a:cubicBezTo>
                <a:cubicBezTo>
                  <a:pt x="33594" y="3750"/>
                  <a:pt x="33594" y="3750"/>
                  <a:pt x="33594" y="3750"/>
                </a:cubicBezTo>
                <a:cubicBezTo>
                  <a:pt x="33625" y="3750"/>
                  <a:pt x="33625" y="3750"/>
                  <a:pt x="33625" y="3750"/>
                </a:cubicBezTo>
                <a:cubicBezTo>
                  <a:pt x="33625" y="3750"/>
                  <a:pt x="33625" y="3750"/>
                  <a:pt x="33625" y="3750"/>
                </a:cubicBezTo>
                <a:cubicBezTo>
                  <a:pt x="33625" y="3750"/>
                  <a:pt x="33625" y="3718"/>
                  <a:pt x="33656" y="3718"/>
                </a:cubicBezTo>
                <a:cubicBezTo>
                  <a:pt x="33563" y="3687"/>
                  <a:pt x="33500" y="3687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469" y="3781"/>
                </a:cubicBezTo>
                <a:cubicBezTo>
                  <a:pt x="33469" y="3781"/>
                  <a:pt x="33469" y="3781"/>
                  <a:pt x="33469" y="3781"/>
                </a:cubicBezTo>
                <a:cubicBezTo>
                  <a:pt x="33438" y="3781"/>
                  <a:pt x="33406" y="3781"/>
                  <a:pt x="33375" y="3781"/>
                </a:cubicBezTo>
                <a:cubicBezTo>
                  <a:pt x="33375" y="3781"/>
                  <a:pt x="33406" y="3781"/>
                  <a:pt x="33406" y="3781"/>
                </a:cubicBezTo>
                <a:cubicBezTo>
                  <a:pt x="33438" y="3812"/>
                  <a:pt x="33469" y="3812"/>
                  <a:pt x="33469" y="3781"/>
                </a:cubicBezTo>
                <a:cubicBezTo>
                  <a:pt x="33469" y="3781"/>
                  <a:pt x="33469" y="3781"/>
                  <a:pt x="33469" y="3781"/>
                </a:cubicBezTo>
                <a:cubicBezTo>
                  <a:pt x="33469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lose/>
                <a:moveTo>
                  <a:pt x="33031" y="4062"/>
                </a:moveTo>
                <a:cubicBezTo>
                  <a:pt x="33031" y="4062"/>
                  <a:pt x="33031" y="4093"/>
                  <a:pt x="33031" y="4093"/>
                </a:cubicBezTo>
                <a:cubicBezTo>
                  <a:pt x="33000" y="4125"/>
                  <a:pt x="33000" y="4125"/>
                  <a:pt x="33031" y="4156"/>
                </a:cubicBezTo>
                <a:cubicBezTo>
                  <a:pt x="33031" y="4156"/>
                  <a:pt x="33031" y="4156"/>
                  <a:pt x="33031" y="4156"/>
                </a:cubicBezTo>
                <a:cubicBezTo>
                  <a:pt x="33063" y="4156"/>
                  <a:pt x="33063" y="4156"/>
                  <a:pt x="33063" y="4156"/>
                </a:cubicBezTo>
                <a:cubicBezTo>
                  <a:pt x="33125" y="4156"/>
                  <a:pt x="33125" y="4125"/>
                  <a:pt x="33156" y="4093"/>
                </a:cubicBezTo>
                <a:cubicBezTo>
                  <a:pt x="33156" y="4093"/>
                  <a:pt x="33188" y="4062"/>
                  <a:pt x="33188" y="4062"/>
                </a:cubicBezTo>
                <a:cubicBezTo>
                  <a:pt x="33156" y="4062"/>
                  <a:pt x="33125" y="4062"/>
                  <a:pt x="33125" y="4062"/>
                </a:cubicBezTo>
                <a:cubicBezTo>
                  <a:pt x="33094" y="4062"/>
                  <a:pt x="33094" y="4062"/>
                  <a:pt x="33063" y="4062"/>
                </a:cubicBezTo>
                <a:cubicBezTo>
                  <a:pt x="33063" y="4062"/>
                  <a:pt x="33031" y="4062"/>
                  <a:pt x="33031" y="4062"/>
                </a:cubicBezTo>
                <a:close/>
                <a:moveTo>
                  <a:pt x="30656" y="6656"/>
                </a:moveTo>
                <a:cubicBezTo>
                  <a:pt x="30750" y="6718"/>
                  <a:pt x="30875" y="6718"/>
                  <a:pt x="30969" y="6687"/>
                </a:cubicBezTo>
                <a:cubicBezTo>
                  <a:pt x="30969" y="6656"/>
                  <a:pt x="30938" y="6656"/>
                  <a:pt x="30906" y="6656"/>
                </a:cubicBezTo>
                <a:cubicBezTo>
                  <a:pt x="30813" y="6625"/>
                  <a:pt x="30719" y="6625"/>
                  <a:pt x="30594" y="6625"/>
                </a:cubicBezTo>
                <a:cubicBezTo>
                  <a:pt x="30594" y="6625"/>
                  <a:pt x="30625" y="6656"/>
                  <a:pt x="30656" y="6656"/>
                </a:cubicBezTo>
                <a:close/>
                <a:moveTo>
                  <a:pt x="28906" y="4312"/>
                </a:moveTo>
                <a:cubicBezTo>
                  <a:pt x="28906" y="4312"/>
                  <a:pt x="28906" y="4312"/>
                  <a:pt x="28906" y="4312"/>
                </a:cubicBezTo>
                <a:cubicBezTo>
                  <a:pt x="29125" y="4343"/>
                  <a:pt x="29313" y="4281"/>
                  <a:pt x="29500" y="4156"/>
                </a:cubicBezTo>
                <a:cubicBezTo>
                  <a:pt x="29531" y="4156"/>
                  <a:pt x="29563" y="4125"/>
                  <a:pt x="29594" y="4125"/>
                </a:cubicBezTo>
                <a:cubicBezTo>
                  <a:pt x="29438" y="4125"/>
                  <a:pt x="29375" y="4093"/>
                  <a:pt x="29281" y="4125"/>
                </a:cubicBezTo>
                <a:cubicBezTo>
                  <a:pt x="29281" y="4125"/>
                  <a:pt x="29250" y="4125"/>
                  <a:pt x="29250" y="4125"/>
                </a:cubicBezTo>
                <a:cubicBezTo>
                  <a:pt x="29219" y="4125"/>
                  <a:pt x="29219" y="4125"/>
                  <a:pt x="29219" y="4125"/>
                </a:cubicBezTo>
                <a:cubicBezTo>
                  <a:pt x="29188" y="4125"/>
                  <a:pt x="29188" y="4125"/>
                  <a:pt x="29188" y="4156"/>
                </a:cubicBezTo>
                <a:cubicBezTo>
                  <a:pt x="29156" y="4156"/>
                  <a:pt x="29156" y="4156"/>
                  <a:pt x="29156" y="4156"/>
                </a:cubicBezTo>
                <a:cubicBezTo>
                  <a:pt x="29125" y="4156"/>
                  <a:pt x="29125" y="4156"/>
                  <a:pt x="29125" y="4156"/>
                </a:cubicBezTo>
                <a:cubicBezTo>
                  <a:pt x="29125" y="4156"/>
                  <a:pt x="29094" y="4187"/>
                  <a:pt x="29094" y="4187"/>
                </a:cubicBezTo>
                <a:cubicBezTo>
                  <a:pt x="29094" y="4187"/>
                  <a:pt x="29094" y="4187"/>
                  <a:pt x="29094" y="4187"/>
                </a:cubicBezTo>
                <a:cubicBezTo>
                  <a:pt x="29063" y="4187"/>
                  <a:pt x="29063" y="4187"/>
                  <a:pt x="29031" y="4218"/>
                </a:cubicBezTo>
                <a:cubicBezTo>
                  <a:pt x="29031" y="4218"/>
                  <a:pt x="29031" y="4218"/>
                  <a:pt x="29031" y="4218"/>
                </a:cubicBezTo>
                <a:cubicBezTo>
                  <a:pt x="29031" y="4218"/>
                  <a:pt x="29000" y="4218"/>
                  <a:pt x="29000" y="4250"/>
                </a:cubicBezTo>
                <a:cubicBezTo>
                  <a:pt x="29000" y="4250"/>
                  <a:pt x="29000" y="4250"/>
                  <a:pt x="29000" y="4250"/>
                </a:cubicBezTo>
                <a:cubicBezTo>
                  <a:pt x="28969" y="4250"/>
                  <a:pt x="28969" y="4281"/>
                  <a:pt x="28969" y="4281"/>
                </a:cubicBezTo>
                <a:cubicBezTo>
                  <a:pt x="28969" y="4281"/>
                  <a:pt x="28969" y="4281"/>
                  <a:pt x="28938" y="4281"/>
                </a:cubicBezTo>
                <a:cubicBezTo>
                  <a:pt x="28938" y="4281"/>
                  <a:pt x="28938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844" y="4343"/>
                  <a:pt x="28750" y="4312"/>
                  <a:pt x="28688" y="4312"/>
                </a:cubicBezTo>
                <a:cubicBezTo>
                  <a:pt x="28688" y="4312"/>
                  <a:pt x="28688" y="4312"/>
                  <a:pt x="28688" y="4312"/>
                </a:cubicBezTo>
                <a:cubicBezTo>
                  <a:pt x="28656" y="4312"/>
                  <a:pt x="28656" y="4312"/>
                  <a:pt x="28656" y="4343"/>
                </a:cubicBezTo>
                <a:cubicBezTo>
                  <a:pt x="28656" y="4343"/>
                  <a:pt x="28656" y="4343"/>
                  <a:pt x="28656" y="4343"/>
                </a:cubicBezTo>
                <a:cubicBezTo>
                  <a:pt x="28656" y="4343"/>
                  <a:pt x="28625" y="4343"/>
                  <a:pt x="28625" y="4343"/>
                </a:cubicBezTo>
                <a:cubicBezTo>
                  <a:pt x="28625" y="4343"/>
                  <a:pt x="28625" y="4343"/>
                  <a:pt x="28625" y="4343"/>
                </a:cubicBezTo>
                <a:cubicBezTo>
                  <a:pt x="28625" y="4343"/>
                  <a:pt x="28594" y="4343"/>
                  <a:pt x="28594" y="4343"/>
                </a:cubicBezTo>
                <a:cubicBezTo>
                  <a:pt x="28594" y="4343"/>
                  <a:pt x="28594" y="4343"/>
                  <a:pt x="28594" y="4343"/>
                </a:cubicBezTo>
                <a:cubicBezTo>
                  <a:pt x="28594" y="4343"/>
                  <a:pt x="28594" y="4343"/>
                  <a:pt x="28563" y="4343"/>
                </a:cubicBezTo>
                <a:cubicBezTo>
                  <a:pt x="28563" y="4375"/>
                  <a:pt x="28563" y="4375"/>
                  <a:pt x="28563" y="4375"/>
                </a:cubicBezTo>
                <a:cubicBezTo>
                  <a:pt x="28563" y="4375"/>
                  <a:pt x="28563" y="4375"/>
                  <a:pt x="28563" y="4375"/>
                </a:cubicBezTo>
                <a:cubicBezTo>
                  <a:pt x="28531" y="4375"/>
                  <a:pt x="28531" y="4375"/>
                  <a:pt x="28531" y="4375"/>
                </a:cubicBezTo>
                <a:cubicBezTo>
                  <a:pt x="28531" y="4375"/>
                  <a:pt x="28531" y="4406"/>
                  <a:pt x="28531" y="4406"/>
                </a:cubicBezTo>
                <a:cubicBezTo>
                  <a:pt x="28531" y="4406"/>
                  <a:pt x="28531" y="4406"/>
                  <a:pt x="28531" y="4406"/>
                </a:cubicBezTo>
                <a:cubicBezTo>
                  <a:pt x="28500" y="4406"/>
                  <a:pt x="28500" y="4406"/>
                  <a:pt x="28500" y="4437"/>
                </a:cubicBezTo>
                <a:cubicBezTo>
                  <a:pt x="28500" y="4437"/>
                  <a:pt x="28500" y="4437"/>
                  <a:pt x="28500" y="4437"/>
                </a:cubicBezTo>
                <a:cubicBezTo>
                  <a:pt x="28500" y="4437"/>
                  <a:pt x="28469" y="4468"/>
                  <a:pt x="28469" y="4468"/>
                </a:cubicBezTo>
                <a:cubicBezTo>
                  <a:pt x="28500" y="4468"/>
                  <a:pt x="28500" y="4468"/>
                  <a:pt x="28531" y="4468"/>
                </a:cubicBezTo>
                <a:cubicBezTo>
                  <a:pt x="28563" y="4468"/>
                  <a:pt x="28563" y="4468"/>
                  <a:pt x="28594" y="4468"/>
                </a:cubicBezTo>
                <a:cubicBezTo>
                  <a:pt x="28594" y="4468"/>
                  <a:pt x="28594" y="4468"/>
                  <a:pt x="28594" y="4468"/>
                </a:cubicBezTo>
                <a:cubicBezTo>
                  <a:pt x="28719" y="4437"/>
                  <a:pt x="28813" y="4406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lose/>
                <a:moveTo>
                  <a:pt x="38625" y="6750"/>
                </a:moveTo>
                <a:cubicBezTo>
                  <a:pt x="38531" y="6750"/>
                  <a:pt x="38469" y="6750"/>
                  <a:pt x="38406" y="6781"/>
                </a:cubicBezTo>
                <a:cubicBezTo>
                  <a:pt x="38344" y="6781"/>
                  <a:pt x="38281" y="6812"/>
                  <a:pt x="38250" y="6843"/>
                </a:cubicBezTo>
                <a:cubicBezTo>
                  <a:pt x="38406" y="6906"/>
                  <a:pt x="38531" y="6937"/>
                  <a:pt x="38687" y="6937"/>
                </a:cubicBezTo>
                <a:cubicBezTo>
                  <a:pt x="38844" y="6937"/>
                  <a:pt x="38969" y="6906"/>
                  <a:pt x="39125" y="6843"/>
                </a:cubicBezTo>
                <a:cubicBezTo>
                  <a:pt x="38969" y="6781"/>
                  <a:pt x="38781" y="6750"/>
                  <a:pt x="38625" y="675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445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50">
            <a:extLst>
              <a:ext uri="{FF2B5EF4-FFF2-40B4-BE49-F238E27FC236}">
                <a16:creationId xmlns:a16="http://schemas.microsoft.com/office/drawing/2014/main" id="{B33ABD81-527D-8345-A4AD-8055B91BA14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auto">
          <a:xfrm>
            <a:off x="5484011" y="1197010"/>
            <a:ext cx="6419994" cy="4671366"/>
          </a:xfrm>
          <a:custGeom>
            <a:avLst/>
            <a:gdLst>
              <a:gd name="T0" fmla="*/ 22281 w 23187"/>
              <a:gd name="T1" fmla="*/ 7250 h 12687"/>
              <a:gd name="T2" fmla="*/ 21062 w 23187"/>
              <a:gd name="T3" fmla="*/ 7156 h 12687"/>
              <a:gd name="T4" fmla="*/ 21968 w 23187"/>
              <a:gd name="T5" fmla="*/ 6750 h 12687"/>
              <a:gd name="T6" fmla="*/ 20718 w 23187"/>
              <a:gd name="T7" fmla="*/ 6500 h 12687"/>
              <a:gd name="T8" fmla="*/ 21312 w 23187"/>
              <a:gd name="T9" fmla="*/ 6125 h 12687"/>
              <a:gd name="T10" fmla="*/ 20937 w 23187"/>
              <a:gd name="T11" fmla="*/ 6000 h 12687"/>
              <a:gd name="T12" fmla="*/ 18625 w 23187"/>
              <a:gd name="T13" fmla="*/ 5812 h 12687"/>
              <a:gd name="T14" fmla="*/ 16781 w 23187"/>
              <a:gd name="T15" fmla="*/ 5531 h 12687"/>
              <a:gd name="T16" fmla="*/ 17906 w 23187"/>
              <a:gd name="T17" fmla="*/ 5156 h 12687"/>
              <a:gd name="T18" fmla="*/ 19593 w 23187"/>
              <a:gd name="T19" fmla="*/ 5062 h 12687"/>
              <a:gd name="T20" fmla="*/ 20531 w 23187"/>
              <a:gd name="T21" fmla="*/ 5000 h 12687"/>
              <a:gd name="T22" fmla="*/ 21656 w 23187"/>
              <a:gd name="T23" fmla="*/ 4875 h 12687"/>
              <a:gd name="T24" fmla="*/ 21656 w 23187"/>
              <a:gd name="T25" fmla="*/ 4594 h 12687"/>
              <a:gd name="T26" fmla="*/ 20281 w 23187"/>
              <a:gd name="T27" fmla="*/ 3937 h 12687"/>
              <a:gd name="T28" fmla="*/ 21750 w 23187"/>
              <a:gd name="T29" fmla="*/ 3125 h 12687"/>
              <a:gd name="T30" fmla="*/ 21312 w 23187"/>
              <a:gd name="T31" fmla="*/ 2562 h 12687"/>
              <a:gd name="T32" fmla="*/ 20468 w 23187"/>
              <a:gd name="T33" fmla="*/ 2031 h 12687"/>
              <a:gd name="T34" fmla="*/ 19843 w 23187"/>
              <a:gd name="T35" fmla="*/ 1250 h 12687"/>
              <a:gd name="T36" fmla="*/ 19312 w 23187"/>
              <a:gd name="T37" fmla="*/ 781 h 12687"/>
              <a:gd name="T38" fmla="*/ 17468 w 23187"/>
              <a:gd name="T39" fmla="*/ 500 h 12687"/>
              <a:gd name="T40" fmla="*/ 16593 w 23187"/>
              <a:gd name="T41" fmla="*/ 1062 h 12687"/>
              <a:gd name="T42" fmla="*/ 16281 w 23187"/>
              <a:gd name="T43" fmla="*/ 531 h 12687"/>
              <a:gd name="T44" fmla="*/ 16500 w 23187"/>
              <a:gd name="T45" fmla="*/ 0 h 12687"/>
              <a:gd name="T46" fmla="*/ 15812 w 23187"/>
              <a:gd name="T47" fmla="*/ 594 h 12687"/>
              <a:gd name="T48" fmla="*/ 15250 w 23187"/>
              <a:gd name="T49" fmla="*/ 906 h 12687"/>
              <a:gd name="T50" fmla="*/ 11968 w 23187"/>
              <a:gd name="T51" fmla="*/ 1187 h 12687"/>
              <a:gd name="T52" fmla="*/ 3031 w 23187"/>
              <a:gd name="T53" fmla="*/ 3062 h 12687"/>
              <a:gd name="T54" fmla="*/ 3250 w 23187"/>
              <a:gd name="T55" fmla="*/ 3344 h 12687"/>
              <a:gd name="T56" fmla="*/ 1468 w 23187"/>
              <a:gd name="T57" fmla="*/ 3719 h 12687"/>
              <a:gd name="T58" fmla="*/ 2093 w 23187"/>
              <a:gd name="T59" fmla="*/ 4000 h 12687"/>
              <a:gd name="T60" fmla="*/ 1343 w 23187"/>
              <a:gd name="T61" fmla="*/ 4406 h 12687"/>
              <a:gd name="T62" fmla="*/ 2468 w 23187"/>
              <a:gd name="T63" fmla="*/ 5187 h 12687"/>
              <a:gd name="T64" fmla="*/ 2562 w 23187"/>
              <a:gd name="T65" fmla="*/ 5250 h 12687"/>
              <a:gd name="T66" fmla="*/ 2406 w 23187"/>
              <a:gd name="T67" fmla="*/ 5344 h 12687"/>
              <a:gd name="T68" fmla="*/ 2531 w 23187"/>
              <a:gd name="T69" fmla="*/ 5344 h 12687"/>
              <a:gd name="T70" fmla="*/ 1718 w 23187"/>
              <a:gd name="T71" fmla="*/ 6000 h 12687"/>
              <a:gd name="T72" fmla="*/ 1562 w 23187"/>
              <a:gd name="T73" fmla="*/ 8344 h 12687"/>
              <a:gd name="T74" fmla="*/ 2906 w 23187"/>
              <a:gd name="T75" fmla="*/ 8906 h 12687"/>
              <a:gd name="T76" fmla="*/ 3093 w 23187"/>
              <a:gd name="T77" fmla="*/ 8875 h 12687"/>
              <a:gd name="T78" fmla="*/ 3093 w 23187"/>
              <a:gd name="T79" fmla="*/ 9187 h 12687"/>
              <a:gd name="T80" fmla="*/ 3218 w 23187"/>
              <a:gd name="T81" fmla="*/ 9469 h 12687"/>
              <a:gd name="T82" fmla="*/ 3406 w 23187"/>
              <a:gd name="T83" fmla="*/ 9750 h 12687"/>
              <a:gd name="T84" fmla="*/ 3250 w 23187"/>
              <a:gd name="T85" fmla="*/ 10187 h 12687"/>
              <a:gd name="T86" fmla="*/ 2781 w 23187"/>
              <a:gd name="T87" fmla="*/ 10937 h 12687"/>
              <a:gd name="T88" fmla="*/ 5031 w 23187"/>
              <a:gd name="T89" fmla="*/ 11969 h 12687"/>
              <a:gd name="T90" fmla="*/ 5531 w 23187"/>
              <a:gd name="T91" fmla="*/ 11219 h 12687"/>
              <a:gd name="T92" fmla="*/ 5906 w 23187"/>
              <a:gd name="T93" fmla="*/ 11469 h 12687"/>
              <a:gd name="T94" fmla="*/ 6531 w 23187"/>
              <a:gd name="T95" fmla="*/ 12031 h 12687"/>
              <a:gd name="T96" fmla="*/ 8562 w 23187"/>
              <a:gd name="T97" fmla="*/ 12625 h 12687"/>
              <a:gd name="T98" fmla="*/ 10906 w 23187"/>
              <a:gd name="T99" fmla="*/ 12344 h 12687"/>
              <a:gd name="T100" fmla="*/ 12406 w 23187"/>
              <a:gd name="T101" fmla="*/ 11719 h 12687"/>
              <a:gd name="T102" fmla="*/ 12968 w 23187"/>
              <a:gd name="T103" fmla="*/ 11594 h 12687"/>
              <a:gd name="T104" fmla="*/ 13812 w 23187"/>
              <a:gd name="T105" fmla="*/ 11406 h 12687"/>
              <a:gd name="T106" fmla="*/ 15937 w 23187"/>
              <a:gd name="T107" fmla="*/ 11000 h 12687"/>
              <a:gd name="T108" fmla="*/ 19187 w 23187"/>
              <a:gd name="T109" fmla="*/ 10344 h 12687"/>
              <a:gd name="T110" fmla="*/ 21562 w 23187"/>
              <a:gd name="T111" fmla="*/ 10000 h 12687"/>
              <a:gd name="T112" fmla="*/ 22406 w 23187"/>
              <a:gd name="T113" fmla="*/ 9625 h 12687"/>
              <a:gd name="T114" fmla="*/ 20437 w 23187"/>
              <a:gd name="T115" fmla="*/ 9250 h 12687"/>
              <a:gd name="T116" fmla="*/ 18656 w 23187"/>
              <a:gd name="T117" fmla="*/ 9250 h 12687"/>
              <a:gd name="T118" fmla="*/ 21437 w 23187"/>
              <a:gd name="T119" fmla="*/ 8812 h 12687"/>
              <a:gd name="T120" fmla="*/ 21500 w 23187"/>
              <a:gd name="T121" fmla="*/ 8062 h 12687"/>
              <a:gd name="T122" fmla="*/ 22531 w 23187"/>
              <a:gd name="T123" fmla="*/ 7500 h 126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187" h="12687">
                <a:moveTo>
                  <a:pt x="22812" y="7344"/>
                </a:moveTo>
                <a:cubicBezTo>
                  <a:pt x="22781" y="7344"/>
                  <a:pt x="22750" y="7344"/>
                  <a:pt x="22718" y="7344"/>
                </a:cubicBezTo>
                <a:cubicBezTo>
                  <a:pt x="22687" y="7344"/>
                  <a:pt x="22656" y="7344"/>
                  <a:pt x="22625" y="7344"/>
                </a:cubicBezTo>
                <a:cubicBezTo>
                  <a:pt x="22562" y="7344"/>
                  <a:pt x="22500" y="7344"/>
                  <a:pt x="22437" y="7344"/>
                </a:cubicBezTo>
                <a:cubicBezTo>
                  <a:pt x="22343" y="7375"/>
                  <a:pt x="22250" y="7375"/>
                  <a:pt x="22187" y="7375"/>
                </a:cubicBezTo>
                <a:cubicBezTo>
                  <a:pt x="22093" y="7375"/>
                  <a:pt x="22000" y="7375"/>
                  <a:pt x="21906" y="7406"/>
                </a:cubicBezTo>
                <a:cubicBezTo>
                  <a:pt x="21875" y="7406"/>
                  <a:pt x="21843" y="7406"/>
                  <a:pt x="21812" y="7375"/>
                </a:cubicBezTo>
                <a:cubicBezTo>
                  <a:pt x="21812" y="7375"/>
                  <a:pt x="21781" y="7344"/>
                  <a:pt x="21781" y="7344"/>
                </a:cubicBezTo>
                <a:cubicBezTo>
                  <a:pt x="21781" y="7312"/>
                  <a:pt x="21781" y="7312"/>
                  <a:pt x="21812" y="7281"/>
                </a:cubicBezTo>
                <a:cubicBezTo>
                  <a:pt x="21812" y="7281"/>
                  <a:pt x="21843" y="7281"/>
                  <a:pt x="21843" y="7281"/>
                </a:cubicBezTo>
                <a:cubicBezTo>
                  <a:pt x="21875" y="7281"/>
                  <a:pt x="21875" y="7281"/>
                  <a:pt x="21875" y="7281"/>
                </a:cubicBezTo>
                <a:cubicBezTo>
                  <a:pt x="21906" y="7281"/>
                  <a:pt x="21906" y="7281"/>
                  <a:pt x="21906" y="7281"/>
                </a:cubicBezTo>
                <a:cubicBezTo>
                  <a:pt x="21937" y="7281"/>
                  <a:pt x="21937" y="7281"/>
                  <a:pt x="21968" y="7281"/>
                </a:cubicBezTo>
                <a:cubicBezTo>
                  <a:pt x="22000" y="7281"/>
                  <a:pt x="22031" y="7281"/>
                  <a:pt x="22062" y="7281"/>
                </a:cubicBezTo>
                <a:cubicBezTo>
                  <a:pt x="22093" y="7281"/>
                  <a:pt x="22156" y="7281"/>
                  <a:pt x="22187" y="7250"/>
                </a:cubicBezTo>
                <a:cubicBezTo>
                  <a:pt x="22218" y="7250"/>
                  <a:pt x="22250" y="7250"/>
                  <a:pt x="22281" y="7250"/>
                </a:cubicBezTo>
                <a:cubicBezTo>
                  <a:pt x="22343" y="7219"/>
                  <a:pt x="22375" y="7219"/>
                  <a:pt x="22437" y="7219"/>
                </a:cubicBezTo>
                <a:cubicBezTo>
                  <a:pt x="22531" y="7219"/>
                  <a:pt x="22593" y="7219"/>
                  <a:pt x="22687" y="7219"/>
                </a:cubicBezTo>
                <a:cubicBezTo>
                  <a:pt x="22750" y="7250"/>
                  <a:pt x="22781" y="7250"/>
                  <a:pt x="22843" y="7250"/>
                </a:cubicBezTo>
                <a:cubicBezTo>
                  <a:pt x="22843" y="7219"/>
                  <a:pt x="22843" y="7219"/>
                  <a:pt x="22843" y="7187"/>
                </a:cubicBezTo>
                <a:cubicBezTo>
                  <a:pt x="22812" y="7125"/>
                  <a:pt x="22718" y="7094"/>
                  <a:pt x="22687" y="7031"/>
                </a:cubicBezTo>
                <a:cubicBezTo>
                  <a:pt x="22687" y="7031"/>
                  <a:pt x="22687" y="7000"/>
                  <a:pt x="22687" y="7000"/>
                </a:cubicBezTo>
                <a:cubicBezTo>
                  <a:pt x="22687" y="6969"/>
                  <a:pt x="22687" y="6969"/>
                  <a:pt x="22718" y="6937"/>
                </a:cubicBezTo>
                <a:cubicBezTo>
                  <a:pt x="22625" y="6937"/>
                  <a:pt x="22531" y="6937"/>
                  <a:pt x="22468" y="6937"/>
                </a:cubicBezTo>
                <a:cubicBezTo>
                  <a:pt x="22312" y="6937"/>
                  <a:pt x="22187" y="6937"/>
                  <a:pt x="22062" y="6969"/>
                </a:cubicBezTo>
                <a:cubicBezTo>
                  <a:pt x="21906" y="6969"/>
                  <a:pt x="21781" y="7000"/>
                  <a:pt x="21656" y="7031"/>
                </a:cubicBezTo>
                <a:cubicBezTo>
                  <a:pt x="21625" y="7062"/>
                  <a:pt x="21593" y="7062"/>
                  <a:pt x="21562" y="7062"/>
                </a:cubicBezTo>
                <a:cubicBezTo>
                  <a:pt x="21500" y="7062"/>
                  <a:pt x="21437" y="7031"/>
                  <a:pt x="21375" y="7031"/>
                </a:cubicBezTo>
                <a:cubicBezTo>
                  <a:pt x="21375" y="7031"/>
                  <a:pt x="21343" y="7062"/>
                  <a:pt x="21312" y="7062"/>
                </a:cubicBezTo>
                <a:cubicBezTo>
                  <a:pt x="21281" y="7062"/>
                  <a:pt x="21250" y="7062"/>
                  <a:pt x="21218" y="7094"/>
                </a:cubicBezTo>
                <a:cubicBezTo>
                  <a:pt x="21187" y="7094"/>
                  <a:pt x="21156" y="7125"/>
                  <a:pt x="21125" y="7156"/>
                </a:cubicBezTo>
                <a:cubicBezTo>
                  <a:pt x="21093" y="7156"/>
                  <a:pt x="21093" y="7156"/>
                  <a:pt x="21062" y="7156"/>
                </a:cubicBezTo>
                <a:cubicBezTo>
                  <a:pt x="21031" y="7156"/>
                  <a:pt x="21031" y="7156"/>
                  <a:pt x="21000" y="7156"/>
                </a:cubicBezTo>
                <a:cubicBezTo>
                  <a:pt x="21000" y="7156"/>
                  <a:pt x="20968" y="7156"/>
                  <a:pt x="20968" y="7156"/>
                </a:cubicBezTo>
                <a:cubicBezTo>
                  <a:pt x="20968" y="7125"/>
                  <a:pt x="20937" y="7125"/>
                  <a:pt x="20906" y="7125"/>
                </a:cubicBezTo>
                <a:cubicBezTo>
                  <a:pt x="20906" y="7125"/>
                  <a:pt x="20875" y="7125"/>
                  <a:pt x="20875" y="7094"/>
                </a:cubicBezTo>
                <a:cubicBezTo>
                  <a:pt x="20843" y="7094"/>
                  <a:pt x="20843" y="7062"/>
                  <a:pt x="20843" y="7031"/>
                </a:cubicBezTo>
                <a:cubicBezTo>
                  <a:pt x="20875" y="7031"/>
                  <a:pt x="20906" y="7000"/>
                  <a:pt x="20937" y="6969"/>
                </a:cubicBezTo>
                <a:cubicBezTo>
                  <a:pt x="20937" y="6969"/>
                  <a:pt x="20968" y="6937"/>
                  <a:pt x="20968" y="6937"/>
                </a:cubicBezTo>
                <a:cubicBezTo>
                  <a:pt x="20968" y="6937"/>
                  <a:pt x="20968" y="6937"/>
                  <a:pt x="20968" y="6906"/>
                </a:cubicBezTo>
                <a:cubicBezTo>
                  <a:pt x="21250" y="6937"/>
                  <a:pt x="21500" y="6906"/>
                  <a:pt x="21781" y="6844"/>
                </a:cubicBezTo>
                <a:cubicBezTo>
                  <a:pt x="21906" y="6844"/>
                  <a:pt x="22000" y="6812"/>
                  <a:pt x="22093" y="6781"/>
                </a:cubicBezTo>
                <a:cubicBezTo>
                  <a:pt x="22156" y="6781"/>
                  <a:pt x="22218" y="6781"/>
                  <a:pt x="22281" y="6781"/>
                </a:cubicBezTo>
                <a:cubicBezTo>
                  <a:pt x="22250" y="6781"/>
                  <a:pt x="22250" y="6750"/>
                  <a:pt x="22250" y="6750"/>
                </a:cubicBezTo>
                <a:cubicBezTo>
                  <a:pt x="22218" y="6750"/>
                  <a:pt x="22187" y="6750"/>
                  <a:pt x="22156" y="6750"/>
                </a:cubicBezTo>
                <a:cubicBezTo>
                  <a:pt x="22156" y="6750"/>
                  <a:pt x="22125" y="6750"/>
                  <a:pt x="22125" y="6750"/>
                </a:cubicBezTo>
                <a:cubicBezTo>
                  <a:pt x="22093" y="6750"/>
                  <a:pt x="22062" y="6750"/>
                  <a:pt x="22031" y="6750"/>
                </a:cubicBezTo>
                <a:cubicBezTo>
                  <a:pt x="22000" y="6750"/>
                  <a:pt x="22000" y="6750"/>
                  <a:pt x="21968" y="6750"/>
                </a:cubicBezTo>
                <a:cubicBezTo>
                  <a:pt x="21906" y="6750"/>
                  <a:pt x="21875" y="6781"/>
                  <a:pt x="21843" y="6781"/>
                </a:cubicBezTo>
                <a:cubicBezTo>
                  <a:pt x="21781" y="6812"/>
                  <a:pt x="21750" y="6844"/>
                  <a:pt x="21687" y="6844"/>
                </a:cubicBezTo>
                <a:cubicBezTo>
                  <a:pt x="21500" y="6812"/>
                  <a:pt x="21312" y="6844"/>
                  <a:pt x="21093" y="6844"/>
                </a:cubicBezTo>
                <a:cubicBezTo>
                  <a:pt x="21000" y="6844"/>
                  <a:pt x="20906" y="6844"/>
                  <a:pt x="20843" y="6875"/>
                </a:cubicBezTo>
                <a:cubicBezTo>
                  <a:pt x="20812" y="6875"/>
                  <a:pt x="20812" y="6906"/>
                  <a:pt x="20781" y="6906"/>
                </a:cubicBezTo>
                <a:cubicBezTo>
                  <a:pt x="20781" y="6937"/>
                  <a:pt x="20750" y="6969"/>
                  <a:pt x="20750" y="6969"/>
                </a:cubicBezTo>
                <a:cubicBezTo>
                  <a:pt x="20718" y="6969"/>
                  <a:pt x="20718" y="6969"/>
                  <a:pt x="20687" y="6937"/>
                </a:cubicBezTo>
                <a:cubicBezTo>
                  <a:pt x="20687" y="6937"/>
                  <a:pt x="20687" y="6937"/>
                  <a:pt x="20687" y="6906"/>
                </a:cubicBezTo>
                <a:cubicBezTo>
                  <a:pt x="20656" y="6906"/>
                  <a:pt x="20656" y="6875"/>
                  <a:pt x="20656" y="6875"/>
                </a:cubicBezTo>
                <a:cubicBezTo>
                  <a:pt x="20625" y="6844"/>
                  <a:pt x="20625" y="6844"/>
                  <a:pt x="20593" y="6844"/>
                </a:cubicBezTo>
                <a:cubicBezTo>
                  <a:pt x="20593" y="6844"/>
                  <a:pt x="20593" y="6844"/>
                  <a:pt x="20593" y="6844"/>
                </a:cubicBezTo>
                <a:cubicBezTo>
                  <a:pt x="20593" y="6844"/>
                  <a:pt x="20593" y="6844"/>
                  <a:pt x="20593" y="6844"/>
                </a:cubicBezTo>
                <a:cubicBezTo>
                  <a:pt x="20593" y="6844"/>
                  <a:pt x="20593" y="6844"/>
                  <a:pt x="20593" y="6844"/>
                </a:cubicBezTo>
                <a:cubicBezTo>
                  <a:pt x="20625" y="6750"/>
                  <a:pt x="20687" y="6687"/>
                  <a:pt x="20718" y="6594"/>
                </a:cubicBezTo>
                <a:cubicBezTo>
                  <a:pt x="20718" y="6594"/>
                  <a:pt x="20718" y="6562"/>
                  <a:pt x="20718" y="6531"/>
                </a:cubicBezTo>
                <a:cubicBezTo>
                  <a:pt x="20718" y="6500"/>
                  <a:pt x="20718" y="6500"/>
                  <a:pt x="20718" y="6500"/>
                </a:cubicBezTo>
                <a:cubicBezTo>
                  <a:pt x="20750" y="6406"/>
                  <a:pt x="20812" y="6375"/>
                  <a:pt x="20968" y="6344"/>
                </a:cubicBezTo>
                <a:cubicBezTo>
                  <a:pt x="20968" y="6344"/>
                  <a:pt x="21000" y="6344"/>
                  <a:pt x="21031" y="6344"/>
                </a:cubicBezTo>
                <a:cubicBezTo>
                  <a:pt x="21093" y="6344"/>
                  <a:pt x="21125" y="6344"/>
                  <a:pt x="21187" y="6312"/>
                </a:cubicBezTo>
                <a:cubicBezTo>
                  <a:pt x="21218" y="6312"/>
                  <a:pt x="21218" y="6281"/>
                  <a:pt x="21250" y="6281"/>
                </a:cubicBezTo>
                <a:cubicBezTo>
                  <a:pt x="21250" y="6281"/>
                  <a:pt x="21281" y="6281"/>
                  <a:pt x="21281" y="6281"/>
                </a:cubicBezTo>
                <a:cubicBezTo>
                  <a:pt x="21281" y="6281"/>
                  <a:pt x="21281" y="6281"/>
                  <a:pt x="21281" y="6281"/>
                </a:cubicBezTo>
                <a:cubicBezTo>
                  <a:pt x="21312" y="6281"/>
                  <a:pt x="21343" y="6281"/>
                  <a:pt x="21375" y="6281"/>
                </a:cubicBezTo>
                <a:cubicBezTo>
                  <a:pt x="21468" y="6281"/>
                  <a:pt x="21562" y="6250"/>
                  <a:pt x="21656" y="6250"/>
                </a:cubicBezTo>
                <a:cubicBezTo>
                  <a:pt x="21687" y="6250"/>
                  <a:pt x="21718" y="6219"/>
                  <a:pt x="21750" y="6219"/>
                </a:cubicBezTo>
                <a:cubicBezTo>
                  <a:pt x="21843" y="6219"/>
                  <a:pt x="21937" y="6187"/>
                  <a:pt x="22031" y="6156"/>
                </a:cubicBezTo>
                <a:cubicBezTo>
                  <a:pt x="22031" y="6156"/>
                  <a:pt x="22000" y="6156"/>
                  <a:pt x="22000" y="6156"/>
                </a:cubicBezTo>
                <a:cubicBezTo>
                  <a:pt x="21875" y="6125"/>
                  <a:pt x="21750" y="6156"/>
                  <a:pt x="21656" y="6156"/>
                </a:cubicBezTo>
                <a:cubicBezTo>
                  <a:pt x="21625" y="6187"/>
                  <a:pt x="21593" y="6187"/>
                  <a:pt x="21562" y="6187"/>
                </a:cubicBezTo>
                <a:cubicBezTo>
                  <a:pt x="21531" y="6187"/>
                  <a:pt x="21531" y="6187"/>
                  <a:pt x="21500" y="6187"/>
                </a:cubicBezTo>
                <a:cubicBezTo>
                  <a:pt x="21468" y="6187"/>
                  <a:pt x="21437" y="6187"/>
                  <a:pt x="21437" y="6156"/>
                </a:cubicBezTo>
                <a:cubicBezTo>
                  <a:pt x="21375" y="6156"/>
                  <a:pt x="21343" y="6156"/>
                  <a:pt x="21312" y="6125"/>
                </a:cubicBezTo>
                <a:cubicBezTo>
                  <a:pt x="21281" y="6094"/>
                  <a:pt x="21281" y="6062"/>
                  <a:pt x="21281" y="6062"/>
                </a:cubicBezTo>
                <a:cubicBezTo>
                  <a:pt x="21312" y="6031"/>
                  <a:pt x="21312" y="6031"/>
                  <a:pt x="21343" y="6031"/>
                </a:cubicBezTo>
                <a:cubicBezTo>
                  <a:pt x="21343" y="6031"/>
                  <a:pt x="21375" y="6031"/>
                  <a:pt x="21375" y="6031"/>
                </a:cubicBezTo>
                <a:cubicBezTo>
                  <a:pt x="21406" y="6031"/>
                  <a:pt x="21406" y="6031"/>
                  <a:pt x="21437" y="6000"/>
                </a:cubicBezTo>
                <a:cubicBezTo>
                  <a:pt x="21437" y="6000"/>
                  <a:pt x="21468" y="6000"/>
                  <a:pt x="21500" y="6000"/>
                </a:cubicBezTo>
                <a:cubicBezTo>
                  <a:pt x="21531" y="6000"/>
                  <a:pt x="21531" y="6000"/>
                  <a:pt x="21531" y="6000"/>
                </a:cubicBezTo>
                <a:cubicBezTo>
                  <a:pt x="21562" y="5969"/>
                  <a:pt x="21593" y="5969"/>
                  <a:pt x="21593" y="5969"/>
                </a:cubicBezTo>
                <a:cubicBezTo>
                  <a:pt x="21625" y="5937"/>
                  <a:pt x="21625" y="5906"/>
                  <a:pt x="21656" y="5906"/>
                </a:cubicBezTo>
                <a:cubicBezTo>
                  <a:pt x="21562" y="5906"/>
                  <a:pt x="21500" y="5906"/>
                  <a:pt x="21437" y="5906"/>
                </a:cubicBezTo>
                <a:cubicBezTo>
                  <a:pt x="21406" y="5906"/>
                  <a:pt x="21375" y="5906"/>
                  <a:pt x="21343" y="5906"/>
                </a:cubicBezTo>
                <a:cubicBezTo>
                  <a:pt x="21343" y="5906"/>
                  <a:pt x="21343" y="5875"/>
                  <a:pt x="21312" y="5875"/>
                </a:cubicBezTo>
                <a:cubicBezTo>
                  <a:pt x="21281" y="5875"/>
                  <a:pt x="21281" y="5844"/>
                  <a:pt x="21250" y="5844"/>
                </a:cubicBezTo>
                <a:cubicBezTo>
                  <a:pt x="21093" y="5750"/>
                  <a:pt x="21031" y="5781"/>
                  <a:pt x="20968" y="5906"/>
                </a:cubicBezTo>
                <a:cubicBezTo>
                  <a:pt x="20968" y="5937"/>
                  <a:pt x="20968" y="5937"/>
                  <a:pt x="20968" y="5937"/>
                </a:cubicBezTo>
                <a:cubicBezTo>
                  <a:pt x="20968" y="5969"/>
                  <a:pt x="20968" y="5969"/>
                  <a:pt x="20968" y="5969"/>
                </a:cubicBezTo>
                <a:cubicBezTo>
                  <a:pt x="20937" y="5969"/>
                  <a:pt x="20937" y="5969"/>
                  <a:pt x="20937" y="6000"/>
                </a:cubicBezTo>
                <a:cubicBezTo>
                  <a:pt x="20937" y="6000"/>
                  <a:pt x="20937" y="6000"/>
                  <a:pt x="20937" y="6000"/>
                </a:cubicBezTo>
                <a:cubicBezTo>
                  <a:pt x="20875" y="6031"/>
                  <a:pt x="20781" y="6031"/>
                  <a:pt x="20687" y="6031"/>
                </a:cubicBezTo>
                <a:cubicBezTo>
                  <a:pt x="20625" y="6031"/>
                  <a:pt x="20562" y="6031"/>
                  <a:pt x="20500" y="6031"/>
                </a:cubicBezTo>
                <a:cubicBezTo>
                  <a:pt x="20437" y="6000"/>
                  <a:pt x="20343" y="5969"/>
                  <a:pt x="20281" y="5937"/>
                </a:cubicBezTo>
                <a:cubicBezTo>
                  <a:pt x="20125" y="5844"/>
                  <a:pt x="19937" y="5750"/>
                  <a:pt x="19687" y="5750"/>
                </a:cubicBezTo>
                <a:cubicBezTo>
                  <a:pt x="19656" y="5750"/>
                  <a:pt x="19625" y="5750"/>
                  <a:pt x="19593" y="5750"/>
                </a:cubicBezTo>
                <a:cubicBezTo>
                  <a:pt x="19562" y="5750"/>
                  <a:pt x="19562" y="5750"/>
                  <a:pt x="19531" y="5750"/>
                </a:cubicBezTo>
                <a:cubicBezTo>
                  <a:pt x="19531" y="5750"/>
                  <a:pt x="19500" y="5750"/>
                  <a:pt x="19500" y="5750"/>
                </a:cubicBezTo>
                <a:cubicBezTo>
                  <a:pt x="19468" y="5719"/>
                  <a:pt x="19468" y="5687"/>
                  <a:pt x="19468" y="5656"/>
                </a:cubicBezTo>
                <a:cubicBezTo>
                  <a:pt x="19468" y="5594"/>
                  <a:pt x="19437" y="5562"/>
                  <a:pt x="19406" y="5562"/>
                </a:cubicBezTo>
                <a:cubicBezTo>
                  <a:pt x="19375" y="5531"/>
                  <a:pt x="19343" y="5531"/>
                  <a:pt x="19312" y="5531"/>
                </a:cubicBezTo>
                <a:cubicBezTo>
                  <a:pt x="19281" y="5531"/>
                  <a:pt x="19281" y="5531"/>
                  <a:pt x="19281" y="5531"/>
                </a:cubicBezTo>
                <a:cubicBezTo>
                  <a:pt x="19250" y="5531"/>
                  <a:pt x="19218" y="5531"/>
                  <a:pt x="19187" y="5531"/>
                </a:cubicBezTo>
                <a:cubicBezTo>
                  <a:pt x="19125" y="5531"/>
                  <a:pt x="19062" y="5562"/>
                  <a:pt x="19062" y="5594"/>
                </a:cubicBezTo>
                <a:cubicBezTo>
                  <a:pt x="19062" y="5625"/>
                  <a:pt x="19062" y="5625"/>
                  <a:pt x="19062" y="5625"/>
                </a:cubicBezTo>
                <a:cubicBezTo>
                  <a:pt x="19062" y="5844"/>
                  <a:pt x="18812" y="5812"/>
                  <a:pt x="18625" y="5812"/>
                </a:cubicBezTo>
                <a:cubicBezTo>
                  <a:pt x="18593" y="5812"/>
                  <a:pt x="18593" y="5812"/>
                  <a:pt x="18562" y="5812"/>
                </a:cubicBezTo>
                <a:cubicBezTo>
                  <a:pt x="18531" y="5812"/>
                  <a:pt x="18500" y="5812"/>
                  <a:pt x="18468" y="5812"/>
                </a:cubicBezTo>
                <a:cubicBezTo>
                  <a:pt x="18468" y="5812"/>
                  <a:pt x="18437" y="5812"/>
                  <a:pt x="18437" y="5812"/>
                </a:cubicBezTo>
                <a:cubicBezTo>
                  <a:pt x="18375" y="5812"/>
                  <a:pt x="18343" y="5812"/>
                  <a:pt x="18281" y="5812"/>
                </a:cubicBezTo>
                <a:cubicBezTo>
                  <a:pt x="18218" y="5812"/>
                  <a:pt x="18187" y="5812"/>
                  <a:pt x="18125" y="5781"/>
                </a:cubicBezTo>
                <a:cubicBezTo>
                  <a:pt x="18093" y="5781"/>
                  <a:pt x="18093" y="5781"/>
                  <a:pt x="18062" y="5750"/>
                </a:cubicBezTo>
                <a:cubicBezTo>
                  <a:pt x="18031" y="5719"/>
                  <a:pt x="18031" y="5687"/>
                  <a:pt x="18031" y="5687"/>
                </a:cubicBezTo>
                <a:cubicBezTo>
                  <a:pt x="18062" y="5625"/>
                  <a:pt x="18156" y="5594"/>
                  <a:pt x="18218" y="5594"/>
                </a:cubicBezTo>
                <a:cubicBezTo>
                  <a:pt x="18250" y="5594"/>
                  <a:pt x="18250" y="5562"/>
                  <a:pt x="18281" y="5562"/>
                </a:cubicBezTo>
                <a:cubicBezTo>
                  <a:pt x="18281" y="5562"/>
                  <a:pt x="18281" y="5562"/>
                  <a:pt x="18281" y="5562"/>
                </a:cubicBezTo>
                <a:cubicBezTo>
                  <a:pt x="18312" y="5562"/>
                  <a:pt x="18312" y="5531"/>
                  <a:pt x="18312" y="5531"/>
                </a:cubicBezTo>
                <a:cubicBezTo>
                  <a:pt x="18218" y="5531"/>
                  <a:pt x="18125" y="5500"/>
                  <a:pt x="18031" y="5500"/>
                </a:cubicBezTo>
                <a:cubicBezTo>
                  <a:pt x="17750" y="5500"/>
                  <a:pt x="17468" y="5562"/>
                  <a:pt x="17187" y="5562"/>
                </a:cubicBezTo>
                <a:cubicBezTo>
                  <a:pt x="17156" y="5562"/>
                  <a:pt x="17125" y="5562"/>
                  <a:pt x="17093" y="5562"/>
                </a:cubicBezTo>
                <a:cubicBezTo>
                  <a:pt x="17062" y="5562"/>
                  <a:pt x="17031" y="5562"/>
                  <a:pt x="17000" y="5562"/>
                </a:cubicBezTo>
                <a:cubicBezTo>
                  <a:pt x="16906" y="5562"/>
                  <a:pt x="16843" y="5562"/>
                  <a:pt x="16781" y="5531"/>
                </a:cubicBezTo>
                <a:cubicBezTo>
                  <a:pt x="17031" y="5500"/>
                  <a:pt x="17281" y="5437"/>
                  <a:pt x="17531" y="5406"/>
                </a:cubicBezTo>
                <a:cubicBezTo>
                  <a:pt x="17687" y="5375"/>
                  <a:pt x="17843" y="5344"/>
                  <a:pt x="18000" y="5344"/>
                </a:cubicBezTo>
                <a:cubicBezTo>
                  <a:pt x="18000" y="5312"/>
                  <a:pt x="18000" y="5312"/>
                  <a:pt x="17968" y="5312"/>
                </a:cubicBezTo>
                <a:cubicBezTo>
                  <a:pt x="17968" y="5312"/>
                  <a:pt x="17968" y="5281"/>
                  <a:pt x="17937" y="5281"/>
                </a:cubicBezTo>
                <a:cubicBezTo>
                  <a:pt x="17906" y="5281"/>
                  <a:pt x="17906" y="5281"/>
                  <a:pt x="17875" y="5281"/>
                </a:cubicBezTo>
                <a:cubicBezTo>
                  <a:pt x="17875" y="5281"/>
                  <a:pt x="17843" y="5281"/>
                  <a:pt x="17843" y="5281"/>
                </a:cubicBezTo>
                <a:cubicBezTo>
                  <a:pt x="17812" y="5281"/>
                  <a:pt x="17812" y="5281"/>
                  <a:pt x="17781" y="5281"/>
                </a:cubicBezTo>
                <a:cubicBezTo>
                  <a:pt x="17781" y="5281"/>
                  <a:pt x="17750" y="5281"/>
                  <a:pt x="17750" y="5281"/>
                </a:cubicBezTo>
                <a:cubicBezTo>
                  <a:pt x="17718" y="5250"/>
                  <a:pt x="17718" y="5250"/>
                  <a:pt x="17687" y="5250"/>
                </a:cubicBezTo>
                <a:cubicBezTo>
                  <a:pt x="17687" y="5250"/>
                  <a:pt x="17687" y="5250"/>
                  <a:pt x="17687" y="5219"/>
                </a:cubicBezTo>
                <a:cubicBezTo>
                  <a:pt x="17687" y="5219"/>
                  <a:pt x="17687" y="5219"/>
                  <a:pt x="17687" y="5219"/>
                </a:cubicBezTo>
                <a:cubicBezTo>
                  <a:pt x="17687" y="5187"/>
                  <a:pt x="17687" y="5187"/>
                  <a:pt x="17687" y="5187"/>
                </a:cubicBezTo>
                <a:cubicBezTo>
                  <a:pt x="17718" y="5156"/>
                  <a:pt x="17718" y="5156"/>
                  <a:pt x="17750" y="5156"/>
                </a:cubicBezTo>
                <a:cubicBezTo>
                  <a:pt x="17750" y="5156"/>
                  <a:pt x="17781" y="5156"/>
                  <a:pt x="17812" y="5156"/>
                </a:cubicBezTo>
                <a:cubicBezTo>
                  <a:pt x="17812" y="5156"/>
                  <a:pt x="17843" y="5156"/>
                  <a:pt x="17843" y="5156"/>
                </a:cubicBezTo>
                <a:cubicBezTo>
                  <a:pt x="17875" y="5156"/>
                  <a:pt x="17875" y="5156"/>
                  <a:pt x="17906" y="5156"/>
                </a:cubicBezTo>
                <a:cubicBezTo>
                  <a:pt x="18031" y="5156"/>
                  <a:pt x="18125" y="5187"/>
                  <a:pt x="18250" y="5187"/>
                </a:cubicBezTo>
                <a:cubicBezTo>
                  <a:pt x="18312" y="5187"/>
                  <a:pt x="18406" y="5187"/>
                  <a:pt x="18468" y="5156"/>
                </a:cubicBezTo>
                <a:cubicBezTo>
                  <a:pt x="18468" y="5156"/>
                  <a:pt x="18500" y="5156"/>
                  <a:pt x="18500" y="5156"/>
                </a:cubicBezTo>
                <a:cubicBezTo>
                  <a:pt x="18531" y="5156"/>
                  <a:pt x="18531" y="5156"/>
                  <a:pt x="18562" y="5156"/>
                </a:cubicBezTo>
                <a:cubicBezTo>
                  <a:pt x="18593" y="5187"/>
                  <a:pt x="18625" y="5187"/>
                  <a:pt x="18656" y="5250"/>
                </a:cubicBezTo>
                <a:cubicBezTo>
                  <a:pt x="18656" y="5281"/>
                  <a:pt x="18656" y="5281"/>
                  <a:pt x="18687" y="5312"/>
                </a:cubicBezTo>
                <a:cubicBezTo>
                  <a:pt x="18718" y="5344"/>
                  <a:pt x="18781" y="5344"/>
                  <a:pt x="18843" y="5375"/>
                </a:cubicBezTo>
                <a:cubicBezTo>
                  <a:pt x="18843" y="5375"/>
                  <a:pt x="18875" y="5375"/>
                  <a:pt x="18875" y="5375"/>
                </a:cubicBezTo>
                <a:cubicBezTo>
                  <a:pt x="18875" y="5375"/>
                  <a:pt x="18906" y="5375"/>
                  <a:pt x="18906" y="5375"/>
                </a:cubicBezTo>
                <a:cubicBezTo>
                  <a:pt x="18937" y="5375"/>
                  <a:pt x="18937" y="5375"/>
                  <a:pt x="18968" y="5375"/>
                </a:cubicBezTo>
                <a:cubicBezTo>
                  <a:pt x="19093" y="5344"/>
                  <a:pt x="19218" y="5344"/>
                  <a:pt x="19250" y="5250"/>
                </a:cubicBezTo>
                <a:cubicBezTo>
                  <a:pt x="19250" y="5219"/>
                  <a:pt x="19281" y="5187"/>
                  <a:pt x="19281" y="5187"/>
                </a:cubicBezTo>
                <a:cubicBezTo>
                  <a:pt x="19281" y="5156"/>
                  <a:pt x="19312" y="5156"/>
                  <a:pt x="19312" y="5125"/>
                </a:cubicBezTo>
                <a:cubicBezTo>
                  <a:pt x="19343" y="5125"/>
                  <a:pt x="19343" y="5094"/>
                  <a:pt x="19375" y="5094"/>
                </a:cubicBezTo>
                <a:cubicBezTo>
                  <a:pt x="19375" y="5094"/>
                  <a:pt x="19406" y="5094"/>
                  <a:pt x="19406" y="5094"/>
                </a:cubicBezTo>
                <a:cubicBezTo>
                  <a:pt x="19437" y="5062"/>
                  <a:pt x="19500" y="5062"/>
                  <a:pt x="19593" y="5062"/>
                </a:cubicBezTo>
                <a:cubicBezTo>
                  <a:pt x="19625" y="5062"/>
                  <a:pt x="19687" y="5062"/>
                  <a:pt x="19750" y="5062"/>
                </a:cubicBezTo>
                <a:cubicBezTo>
                  <a:pt x="19656" y="5125"/>
                  <a:pt x="19625" y="5187"/>
                  <a:pt x="19593" y="5250"/>
                </a:cubicBezTo>
                <a:cubicBezTo>
                  <a:pt x="19593" y="5312"/>
                  <a:pt x="19625" y="5406"/>
                  <a:pt x="19656" y="5437"/>
                </a:cubicBezTo>
                <a:cubicBezTo>
                  <a:pt x="19687" y="5469"/>
                  <a:pt x="19687" y="5469"/>
                  <a:pt x="19718" y="5469"/>
                </a:cubicBezTo>
                <a:cubicBezTo>
                  <a:pt x="19750" y="5500"/>
                  <a:pt x="19781" y="5531"/>
                  <a:pt x="19843" y="5562"/>
                </a:cubicBezTo>
                <a:cubicBezTo>
                  <a:pt x="19875" y="5562"/>
                  <a:pt x="19906" y="5562"/>
                  <a:pt x="19937" y="5562"/>
                </a:cubicBezTo>
                <a:cubicBezTo>
                  <a:pt x="19968" y="5562"/>
                  <a:pt x="20031" y="5562"/>
                  <a:pt x="20062" y="5531"/>
                </a:cubicBezTo>
                <a:cubicBezTo>
                  <a:pt x="20125" y="5531"/>
                  <a:pt x="20187" y="5500"/>
                  <a:pt x="20250" y="5469"/>
                </a:cubicBezTo>
                <a:cubicBezTo>
                  <a:pt x="20250" y="5469"/>
                  <a:pt x="20281" y="5437"/>
                  <a:pt x="20281" y="5437"/>
                </a:cubicBezTo>
                <a:cubicBezTo>
                  <a:pt x="20281" y="5437"/>
                  <a:pt x="20281" y="5437"/>
                  <a:pt x="20281" y="5406"/>
                </a:cubicBezTo>
                <a:cubicBezTo>
                  <a:pt x="20312" y="5344"/>
                  <a:pt x="20312" y="5250"/>
                  <a:pt x="20281" y="5156"/>
                </a:cubicBezTo>
                <a:cubicBezTo>
                  <a:pt x="20250" y="5125"/>
                  <a:pt x="20218" y="5062"/>
                  <a:pt x="20156" y="5031"/>
                </a:cubicBezTo>
                <a:cubicBezTo>
                  <a:pt x="20156" y="5031"/>
                  <a:pt x="20187" y="5031"/>
                  <a:pt x="20187" y="5031"/>
                </a:cubicBezTo>
                <a:cubicBezTo>
                  <a:pt x="20281" y="5062"/>
                  <a:pt x="20312" y="5062"/>
                  <a:pt x="20375" y="5062"/>
                </a:cubicBezTo>
                <a:cubicBezTo>
                  <a:pt x="20437" y="5062"/>
                  <a:pt x="20468" y="5031"/>
                  <a:pt x="20500" y="5000"/>
                </a:cubicBezTo>
                <a:cubicBezTo>
                  <a:pt x="20500" y="5000"/>
                  <a:pt x="20500" y="5000"/>
                  <a:pt x="20531" y="5000"/>
                </a:cubicBezTo>
                <a:cubicBezTo>
                  <a:pt x="20562" y="5000"/>
                  <a:pt x="20593" y="5000"/>
                  <a:pt x="20625" y="5000"/>
                </a:cubicBezTo>
                <a:cubicBezTo>
                  <a:pt x="20625" y="5000"/>
                  <a:pt x="20656" y="5000"/>
                  <a:pt x="20656" y="5000"/>
                </a:cubicBezTo>
                <a:cubicBezTo>
                  <a:pt x="20687" y="5031"/>
                  <a:pt x="20718" y="5062"/>
                  <a:pt x="20781" y="5031"/>
                </a:cubicBezTo>
                <a:cubicBezTo>
                  <a:pt x="20812" y="4969"/>
                  <a:pt x="20750" y="4937"/>
                  <a:pt x="20687" y="4906"/>
                </a:cubicBezTo>
                <a:cubicBezTo>
                  <a:pt x="20625" y="4906"/>
                  <a:pt x="20593" y="4906"/>
                  <a:pt x="20593" y="4812"/>
                </a:cubicBezTo>
                <a:cubicBezTo>
                  <a:pt x="20812" y="4875"/>
                  <a:pt x="21062" y="4875"/>
                  <a:pt x="21281" y="4875"/>
                </a:cubicBezTo>
                <a:cubicBezTo>
                  <a:pt x="21312" y="4875"/>
                  <a:pt x="21312" y="4875"/>
                  <a:pt x="21343" y="4875"/>
                </a:cubicBezTo>
                <a:cubicBezTo>
                  <a:pt x="21343" y="4875"/>
                  <a:pt x="21375" y="4875"/>
                  <a:pt x="21375" y="4875"/>
                </a:cubicBezTo>
                <a:cubicBezTo>
                  <a:pt x="21406" y="4875"/>
                  <a:pt x="21437" y="4875"/>
                  <a:pt x="21437" y="4906"/>
                </a:cubicBezTo>
                <a:cubicBezTo>
                  <a:pt x="21468" y="4906"/>
                  <a:pt x="21468" y="4937"/>
                  <a:pt x="21468" y="4969"/>
                </a:cubicBezTo>
                <a:cubicBezTo>
                  <a:pt x="21437" y="4969"/>
                  <a:pt x="21468" y="4969"/>
                  <a:pt x="21468" y="4969"/>
                </a:cubicBezTo>
                <a:cubicBezTo>
                  <a:pt x="21468" y="5000"/>
                  <a:pt x="21531" y="5000"/>
                  <a:pt x="21562" y="5000"/>
                </a:cubicBezTo>
                <a:cubicBezTo>
                  <a:pt x="21562" y="5000"/>
                  <a:pt x="21593" y="5000"/>
                  <a:pt x="21593" y="5000"/>
                </a:cubicBezTo>
                <a:cubicBezTo>
                  <a:pt x="21593" y="5000"/>
                  <a:pt x="21625" y="5000"/>
                  <a:pt x="21625" y="5000"/>
                </a:cubicBezTo>
                <a:cubicBezTo>
                  <a:pt x="21656" y="5000"/>
                  <a:pt x="21687" y="4969"/>
                  <a:pt x="21687" y="4937"/>
                </a:cubicBezTo>
                <a:cubicBezTo>
                  <a:pt x="21656" y="4906"/>
                  <a:pt x="21656" y="4906"/>
                  <a:pt x="21656" y="4875"/>
                </a:cubicBezTo>
                <a:cubicBezTo>
                  <a:pt x="21687" y="4844"/>
                  <a:pt x="21781" y="4812"/>
                  <a:pt x="21875" y="4781"/>
                </a:cubicBezTo>
                <a:cubicBezTo>
                  <a:pt x="21843" y="4781"/>
                  <a:pt x="21812" y="4781"/>
                  <a:pt x="21781" y="4781"/>
                </a:cubicBezTo>
                <a:cubicBezTo>
                  <a:pt x="21750" y="4781"/>
                  <a:pt x="21718" y="4781"/>
                  <a:pt x="21718" y="4781"/>
                </a:cubicBezTo>
                <a:cubicBezTo>
                  <a:pt x="21687" y="4781"/>
                  <a:pt x="21656" y="4781"/>
                  <a:pt x="21656" y="4781"/>
                </a:cubicBezTo>
                <a:cubicBezTo>
                  <a:pt x="21656" y="4781"/>
                  <a:pt x="21625" y="4781"/>
                  <a:pt x="21625" y="4781"/>
                </a:cubicBezTo>
                <a:cubicBezTo>
                  <a:pt x="21625" y="4781"/>
                  <a:pt x="21625" y="4781"/>
                  <a:pt x="21593" y="4750"/>
                </a:cubicBezTo>
                <a:cubicBezTo>
                  <a:pt x="21593" y="4750"/>
                  <a:pt x="21593" y="4750"/>
                  <a:pt x="21593" y="4719"/>
                </a:cubicBezTo>
                <a:cubicBezTo>
                  <a:pt x="21593" y="4719"/>
                  <a:pt x="21593" y="4719"/>
                  <a:pt x="21593" y="4719"/>
                </a:cubicBezTo>
                <a:cubicBezTo>
                  <a:pt x="21625" y="4656"/>
                  <a:pt x="21625" y="4656"/>
                  <a:pt x="21656" y="4656"/>
                </a:cubicBezTo>
                <a:cubicBezTo>
                  <a:pt x="21656" y="4625"/>
                  <a:pt x="21687" y="4656"/>
                  <a:pt x="21718" y="4656"/>
                </a:cubicBezTo>
                <a:cubicBezTo>
                  <a:pt x="21750" y="4687"/>
                  <a:pt x="21750" y="4687"/>
                  <a:pt x="21750" y="4687"/>
                </a:cubicBezTo>
                <a:cubicBezTo>
                  <a:pt x="21781" y="4687"/>
                  <a:pt x="21781" y="4656"/>
                  <a:pt x="21781" y="4656"/>
                </a:cubicBezTo>
                <a:cubicBezTo>
                  <a:pt x="21781" y="4656"/>
                  <a:pt x="21781" y="4656"/>
                  <a:pt x="21781" y="4625"/>
                </a:cubicBezTo>
                <a:cubicBezTo>
                  <a:pt x="21812" y="4625"/>
                  <a:pt x="21781" y="4625"/>
                  <a:pt x="21781" y="4594"/>
                </a:cubicBezTo>
                <a:cubicBezTo>
                  <a:pt x="21750" y="4594"/>
                  <a:pt x="21750" y="4594"/>
                  <a:pt x="21750" y="4594"/>
                </a:cubicBezTo>
                <a:cubicBezTo>
                  <a:pt x="21718" y="4594"/>
                  <a:pt x="21687" y="4594"/>
                  <a:pt x="21656" y="4594"/>
                </a:cubicBezTo>
                <a:cubicBezTo>
                  <a:pt x="21656" y="4594"/>
                  <a:pt x="21625" y="4594"/>
                  <a:pt x="21625" y="4594"/>
                </a:cubicBezTo>
                <a:cubicBezTo>
                  <a:pt x="21593" y="4594"/>
                  <a:pt x="21562" y="4562"/>
                  <a:pt x="21531" y="4531"/>
                </a:cubicBezTo>
                <a:cubicBezTo>
                  <a:pt x="21562" y="4531"/>
                  <a:pt x="21593" y="4531"/>
                  <a:pt x="21625" y="4531"/>
                </a:cubicBezTo>
                <a:cubicBezTo>
                  <a:pt x="21687" y="4531"/>
                  <a:pt x="21750" y="4500"/>
                  <a:pt x="21781" y="4469"/>
                </a:cubicBezTo>
                <a:cubicBezTo>
                  <a:pt x="21812" y="4437"/>
                  <a:pt x="21843" y="4406"/>
                  <a:pt x="21812" y="4406"/>
                </a:cubicBezTo>
                <a:cubicBezTo>
                  <a:pt x="21812" y="4375"/>
                  <a:pt x="21812" y="4375"/>
                  <a:pt x="21812" y="4375"/>
                </a:cubicBezTo>
                <a:cubicBezTo>
                  <a:pt x="21812" y="4344"/>
                  <a:pt x="21781" y="4344"/>
                  <a:pt x="21750" y="4344"/>
                </a:cubicBezTo>
                <a:cubicBezTo>
                  <a:pt x="21750" y="4344"/>
                  <a:pt x="21718" y="4344"/>
                  <a:pt x="21687" y="4344"/>
                </a:cubicBezTo>
                <a:cubicBezTo>
                  <a:pt x="21625" y="4312"/>
                  <a:pt x="21593" y="4312"/>
                  <a:pt x="21531" y="4312"/>
                </a:cubicBezTo>
                <a:cubicBezTo>
                  <a:pt x="21531" y="4312"/>
                  <a:pt x="21531" y="4312"/>
                  <a:pt x="21500" y="4312"/>
                </a:cubicBezTo>
                <a:cubicBezTo>
                  <a:pt x="21500" y="4312"/>
                  <a:pt x="21500" y="4312"/>
                  <a:pt x="21468" y="4312"/>
                </a:cubicBezTo>
                <a:cubicBezTo>
                  <a:pt x="21437" y="4312"/>
                  <a:pt x="21437" y="4281"/>
                  <a:pt x="21406" y="4281"/>
                </a:cubicBezTo>
                <a:cubicBezTo>
                  <a:pt x="21187" y="4187"/>
                  <a:pt x="20937" y="4156"/>
                  <a:pt x="20718" y="4125"/>
                </a:cubicBezTo>
                <a:cubicBezTo>
                  <a:pt x="20625" y="4125"/>
                  <a:pt x="20531" y="4125"/>
                  <a:pt x="20437" y="4094"/>
                </a:cubicBezTo>
                <a:cubicBezTo>
                  <a:pt x="20343" y="4094"/>
                  <a:pt x="20218" y="4094"/>
                  <a:pt x="20093" y="4062"/>
                </a:cubicBezTo>
                <a:cubicBezTo>
                  <a:pt x="20156" y="4031"/>
                  <a:pt x="20218" y="3969"/>
                  <a:pt x="20281" y="3937"/>
                </a:cubicBezTo>
                <a:cubicBezTo>
                  <a:pt x="20281" y="3906"/>
                  <a:pt x="20312" y="3844"/>
                  <a:pt x="20312" y="3812"/>
                </a:cubicBezTo>
                <a:cubicBezTo>
                  <a:pt x="20343" y="3781"/>
                  <a:pt x="20343" y="3750"/>
                  <a:pt x="20312" y="3719"/>
                </a:cubicBezTo>
                <a:cubicBezTo>
                  <a:pt x="20312" y="3687"/>
                  <a:pt x="20312" y="3656"/>
                  <a:pt x="20312" y="3656"/>
                </a:cubicBezTo>
                <a:cubicBezTo>
                  <a:pt x="20281" y="3594"/>
                  <a:pt x="20343" y="3594"/>
                  <a:pt x="20406" y="3562"/>
                </a:cubicBezTo>
                <a:cubicBezTo>
                  <a:pt x="20625" y="3500"/>
                  <a:pt x="20875" y="3469"/>
                  <a:pt x="21125" y="3406"/>
                </a:cubicBezTo>
                <a:cubicBezTo>
                  <a:pt x="21156" y="3406"/>
                  <a:pt x="21187" y="3406"/>
                  <a:pt x="21218" y="3406"/>
                </a:cubicBezTo>
                <a:cubicBezTo>
                  <a:pt x="21281" y="3375"/>
                  <a:pt x="21312" y="3344"/>
                  <a:pt x="21375" y="3344"/>
                </a:cubicBezTo>
                <a:cubicBezTo>
                  <a:pt x="21406" y="3344"/>
                  <a:pt x="21468" y="3344"/>
                  <a:pt x="21531" y="3375"/>
                </a:cubicBezTo>
                <a:cubicBezTo>
                  <a:pt x="21531" y="3375"/>
                  <a:pt x="21562" y="3375"/>
                  <a:pt x="21562" y="3406"/>
                </a:cubicBezTo>
                <a:cubicBezTo>
                  <a:pt x="21562" y="3406"/>
                  <a:pt x="21593" y="3406"/>
                  <a:pt x="21593" y="3406"/>
                </a:cubicBezTo>
                <a:cubicBezTo>
                  <a:pt x="21656" y="3406"/>
                  <a:pt x="21718" y="3375"/>
                  <a:pt x="21718" y="3312"/>
                </a:cubicBezTo>
                <a:cubicBezTo>
                  <a:pt x="21718" y="3312"/>
                  <a:pt x="21750" y="3281"/>
                  <a:pt x="21718" y="3281"/>
                </a:cubicBezTo>
                <a:cubicBezTo>
                  <a:pt x="21718" y="3250"/>
                  <a:pt x="21718" y="3219"/>
                  <a:pt x="21718" y="3219"/>
                </a:cubicBezTo>
                <a:cubicBezTo>
                  <a:pt x="21718" y="3187"/>
                  <a:pt x="21718" y="3187"/>
                  <a:pt x="21718" y="3187"/>
                </a:cubicBezTo>
                <a:cubicBezTo>
                  <a:pt x="21718" y="3187"/>
                  <a:pt x="21718" y="3156"/>
                  <a:pt x="21718" y="3156"/>
                </a:cubicBezTo>
                <a:cubicBezTo>
                  <a:pt x="21750" y="3125"/>
                  <a:pt x="21750" y="3125"/>
                  <a:pt x="21750" y="3125"/>
                </a:cubicBezTo>
                <a:cubicBezTo>
                  <a:pt x="21750" y="3094"/>
                  <a:pt x="21718" y="3062"/>
                  <a:pt x="21718" y="3062"/>
                </a:cubicBezTo>
                <a:cubicBezTo>
                  <a:pt x="21718" y="3031"/>
                  <a:pt x="21718" y="3000"/>
                  <a:pt x="21687" y="3000"/>
                </a:cubicBezTo>
                <a:cubicBezTo>
                  <a:pt x="21687" y="2969"/>
                  <a:pt x="21687" y="2969"/>
                  <a:pt x="21656" y="2937"/>
                </a:cubicBezTo>
                <a:cubicBezTo>
                  <a:pt x="21625" y="2906"/>
                  <a:pt x="21625" y="2906"/>
                  <a:pt x="21593" y="2906"/>
                </a:cubicBezTo>
                <a:cubicBezTo>
                  <a:pt x="21531" y="2844"/>
                  <a:pt x="21437" y="2844"/>
                  <a:pt x="21312" y="2812"/>
                </a:cubicBezTo>
                <a:cubicBezTo>
                  <a:pt x="21250" y="2812"/>
                  <a:pt x="21187" y="2812"/>
                  <a:pt x="21093" y="2812"/>
                </a:cubicBezTo>
                <a:cubicBezTo>
                  <a:pt x="21000" y="2781"/>
                  <a:pt x="20906" y="2781"/>
                  <a:pt x="20781" y="2750"/>
                </a:cubicBezTo>
                <a:cubicBezTo>
                  <a:pt x="20687" y="2750"/>
                  <a:pt x="20593" y="2750"/>
                  <a:pt x="20468" y="2750"/>
                </a:cubicBezTo>
                <a:cubicBezTo>
                  <a:pt x="20468" y="2656"/>
                  <a:pt x="20500" y="2625"/>
                  <a:pt x="20562" y="2594"/>
                </a:cubicBezTo>
                <a:cubicBezTo>
                  <a:pt x="20562" y="2594"/>
                  <a:pt x="20593" y="2562"/>
                  <a:pt x="20593" y="2562"/>
                </a:cubicBezTo>
                <a:cubicBezTo>
                  <a:pt x="20625" y="2562"/>
                  <a:pt x="20687" y="2562"/>
                  <a:pt x="20750" y="2562"/>
                </a:cubicBezTo>
                <a:cubicBezTo>
                  <a:pt x="20781" y="2562"/>
                  <a:pt x="20812" y="2562"/>
                  <a:pt x="20875" y="2562"/>
                </a:cubicBezTo>
                <a:cubicBezTo>
                  <a:pt x="20906" y="2562"/>
                  <a:pt x="20968" y="2562"/>
                  <a:pt x="21031" y="2562"/>
                </a:cubicBezTo>
                <a:cubicBezTo>
                  <a:pt x="21093" y="2562"/>
                  <a:pt x="21125" y="2562"/>
                  <a:pt x="21187" y="2594"/>
                </a:cubicBezTo>
                <a:cubicBezTo>
                  <a:pt x="21218" y="2594"/>
                  <a:pt x="21218" y="2594"/>
                  <a:pt x="21250" y="2562"/>
                </a:cubicBezTo>
                <a:cubicBezTo>
                  <a:pt x="21281" y="2562"/>
                  <a:pt x="21281" y="2562"/>
                  <a:pt x="21312" y="2562"/>
                </a:cubicBezTo>
                <a:cubicBezTo>
                  <a:pt x="21312" y="2562"/>
                  <a:pt x="21312" y="2562"/>
                  <a:pt x="21312" y="2562"/>
                </a:cubicBezTo>
                <a:cubicBezTo>
                  <a:pt x="21343" y="2531"/>
                  <a:pt x="21343" y="2531"/>
                  <a:pt x="21343" y="2531"/>
                </a:cubicBezTo>
                <a:cubicBezTo>
                  <a:pt x="21281" y="2437"/>
                  <a:pt x="21312" y="2437"/>
                  <a:pt x="21375" y="2437"/>
                </a:cubicBezTo>
                <a:cubicBezTo>
                  <a:pt x="21406" y="2406"/>
                  <a:pt x="21468" y="2406"/>
                  <a:pt x="21500" y="2406"/>
                </a:cubicBezTo>
                <a:cubicBezTo>
                  <a:pt x="21531" y="2406"/>
                  <a:pt x="21562" y="2406"/>
                  <a:pt x="21625" y="2406"/>
                </a:cubicBezTo>
                <a:cubicBezTo>
                  <a:pt x="21656" y="2406"/>
                  <a:pt x="21718" y="2406"/>
                  <a:pt x="21750" y="2375"/>
                </a:cubicBezTo>
                <a:cubicBezTo>
                  <a:pt x="21750" y="2344"/>
                  <a:pt x="21750" y="2312"/>
                  <a:pt x="21718" y="2312"/>
                </a:cubicBezTo>
                <a:cubicBezTo>
                  <a:pt x="21687" y="2250"/>
                  <a:pt x="21656" y="2187"/>
                  <a:pt x="21562" y="2187"/>
                </a:cubicBezTo>
                <a:cubicBezTo>
                  <a:pt x="21531" y="2187"/>
                  <a:pt x="21500" y="2187"/>
                  <a:pt x="21500" y="2187"/>
                </a:cubicBezTo>
                <a:cubicBezTo>
                  <a:pt x="21406" y="2156"/>
                  <a:pt x="21281" y="2094"/>
                  <a:pt x="21187" y="2062"/>
                </a:cubicBezTo>
                <a:cubicBezTo>
                  <a:pt x="21125" y="2031"/>
                  <a:pt x="21031" y="2000"/>
                  <a:pt x="20937" y="2000"/>
                </a:cubicBezTo>
                <a:cubicBezTo>
                  <a:pt x="20937" y="1969"/>
                  <a:pt x="20937" y="1969"/>
                  <a:pt x="20937" y="1969"/>
                </a:cubicBezTo>
                <a:cubicBezTo>
                  <a:pt x="20937" y="1937"/>
                  <a:pt x="20906" y="1906"/>
                  <a:pt x="20875" y="1906"/>
                </a:cubicBezTo>
                <a:cubicBezTo>
                  <a:pt x="20875" y="1906"/>
                  <a:pt x="20843" y="1906"/>
                  <a:pt x="20843" y="1906"/>
                </a:cubicBezTo>
                <a:cubicBezTo>
                  <a:pt x="20781" y="1937"/>
                  <a:pt x="20718" y="1969"/>
                  <a:pt x="20656" y="2000"/>
                </a:cubicBezTo>
                <a:cubicBezTo>
                  <a:pt x="20593" y="2000"/>
                  <a:pt x="20531" y="2000"/>
                  <a:pt x="20468" y="2031"/>
                </a:cubicBezTo>
                <a:cubicBezTo>
                  <a:pt x="20343" y="2031"/>
                  <a:pt x="20218" y="2031"/>
                  <a:pt x="20093" y="2062"/>
                </a:cubicBezTo>
                <a:cubicBezTo>
                  <a:pt x="20093" y="2062"/>
                  <a:pt x="20062" y="2062"/>
                  <a:pt x="20062" y="2062"/>
                </a:cubicBezTo>
                <a:cubicBezTo>
                  <a:pt x="20062" y="2062"/>
                  <a:pt x="20062" y="2094"/>
                  <a:pt x="20062" y="2094"/>
                </a:cubicBezTo>
                <a:cubicBezTo>
                  <a:pt x="20000" y="2094"/>
                  <a:pt x="19906" y="2094"/>
                  <a:pt x="19812" y="2094"/>
                </a:cubicBezTo>
                <a:cubicBezTo>
                  <a:pt x="19781" y="2094"/>
                  <a:pt x="19781" y="2094"/>
                  <a:pt x="19750" y="2094"/>
                </a:cubicBezTo>
                <a:cubicBezTo>
                  <a:pt x="19718" y="2094"/>
                  <a:pt x="19687" y="2094"/>
                  <a:pt x="19687" y="2094"/>
                </a:cubicBezTo>
                <a:cubicBezTo>
                  <a:pt x="19562" y="2094"/>
                  <a:pt x="19562" y="2062"/>
                  <a:pt x="19562" y="2000"/>
                </a:cubicBezTo>
                <a:cubicBezTo>
                  <a:pt x="19562" y="1969"/>
                  <a:pt x="19562" y="1969"/>
                  <a:pt x="19562" y="1969"/>
                </a:cubicBezTo>
                <a:cubicBezTo>
                  <a:pt x="19562" y="1844"/>
                  <a:pt x="19562" y="1750"/>
                  <a:pt x="19531" y="1656"/>
                </a:cubicBezTo>
                <a:cubicBezTo>
                  <a:pt x="19500" y="1594"/>
                  <a:pt x="19468" y="1531"/>
                  <a:pt x="19437" y="1469"/>
                </a:cubicBezTo>
                <a:cubicBezTo>
                  <a:pt x="19437" y="1469"/>
                  <a:pt x="19406" y="1469"/>
                  <a:pt x="19406" y="1469"/>
                </a:cubicBezTo>
                <a:cubicBezTo>
                  <a:pt x="19375" y="1406"/>
                  <a:pt x="19281" y="1406"/>
                  <a:pt x="19375" y="1344"/>
                </a:cubicBezTo>
                <a:cubicBezTo>
                  <a:pt x="19406" y="1281"/>
                  <a:pt x="19468" y="1250"/>
                  <a:pt x="19531" y="1250"/>
                </a:cubicBezTo>
                <a:cubicBezTo>
                  <a:pt x="19562" y="1219"/>
                  <a:pt x="19593" y="1219"/>
                  <a:pt x="19625" y="1219"/>
                </a:cubicBezTo>
                <a:cubicBezTo>
                  <a:pt x="19656" y="1219"/>
                  <a:pt x="19687" y="1250"/>
                  <a:pt x="19687" y="1250"/>
                </a:cubicBezTo>
                <a:cubicBezTo>
                  <a:pt x="19750" y="1250"/>
                  <a:pt x="19781" y="1250"/>
                  <a:pt x="19843" y="1250"/>
                </a:cubicBezTo>
                <a:cubicBezTo>
                  <a:pt x="19875" y="1281"/>
                  <a:pt x="19906" y="1281"/>
                  <a:pt x="19937" y="1281"/>
                </a:cubicBezTo>
                <a:cubicBezTo>
                  <a:pt x="19937" y="1281"/>
                  <a:pt x="19968" y="1281"/>
                  <a:pt x="19968" y="1281"/>
                </a:cubicBezTo>
                <a:cubicBezTo>
                  <a:pt x="20000" y="1281"/>
                  <a:pt x="20031" y="1281"/>
                  <a:pt x="20093" y="1281"/>
                </a:cubicBezTo>
                <a:cubicBezTo>
                  <a:pt x="20218" y="1250"/>
                  <a:pt x="20281" y="1187"/>
                  <a:pt x="20312" y="1125"/>
                </a:cubicBezTo>
                <a:cubicBezTo>
                  <a:pt x="20343" y="1062"/>
                  <a:pt x="20343" y="937"/>
                  <a:pt x="20281" y="906"/>
                </a:cubicBezTo>
                <a:cubicBezTo>
                  <a:pt x="20250" y="906"/>
                  <a:pt x="20187" y="906"/>
                  <a:pt x="20156" y="875"/>
                </a:cubicBezTo>
                <a:cubicBezTo>
                  <a:pt x="20125" y="875"/>
                  <a:pt x="20093" y="875"/>
                  <a:pt x="20093" y="844"/>
                </a:cubicBezTo>
                <a:cubicBezTo>
                  <a:pt x="20031" y="844"/>
                  <a:pt x="20000" y="844"/>
                  <a:pt x="19937" y="812"/>
                </a:cubicBezTo>
                <a:cubicBezTo>
                  <a:pt x="19906" y="812"/>
                  <a:pt x="19906" y="812"/>
                  <a:pt x="19875" y="812"/>
                </a:cubicBezTo>
                <a:cubicBezTo>
                  <a:pt x="19812" y="812"/>
                  <a:pt x="19781" y="781"/>
                  <a:pt x="19750" y="781"/>
                </a:cubicBezTo>
                <a:cubicBezTo>
                  <a:pt x="19750" y="781"/>
                  <a:pt x="19718" y="781"/>
                  <a:pt x="19718" y="781"/>
                </a:cubicBezTo>
                <a:cubicBezTo>
                  <a:pt x="19687" y="781"/>
                  <a:pt x="19656" y="781"/>
                  <a:pt x="19625" y="781"/>
                </a:cubicBezTo>
                <a:cubicBezTo>
                  <a:pt x="19625" y="781"/>
                  <a:pt x="19593" y="781"/>
                  <a:pt x="19593" y="781"/>
                </a:cubicBezTo>
                <a:cubicBezTo>
                  <a:pt x="19531" y="781"/>
                  <a:pt x="19500" y="781"/>
                  <a:pt x="19437" y="781"/>
                </a:cubicBezTo>
                <a:cubicBezTo>
                  <a:pt x="19437" y="781"/>
                  <a:pt x="19406" y="781"/>
                  <a:pt x="19406" y="781"/>
                </a:cubicBezTo>
                <a:cubicBezTo>
                  <a:pt x="19375" y="781"/>
                  <a:pt x="19343" y="781"/>
                  <a:pt x="19312" y="781"/>
                </a:cubicBezTo>
                <a:cubicBezTo>
                  <a:pt x="19250" y="812"/>
                  <a:pt x="19187" y="812"/>
                  <a:pt x="19125" y="875"/>
                </a:cubicBezTo>
                <a:cubicBezTo>
                  <a:pt x="19093" y="875"/>
                  <a:pt x="19093" y="875"/>
                  <a:pt x="19093" y="906"/>
                </a:cubicBezTo>
                <a:cubicBezTo>
                  <a:pt x="19062" y="906"/>
                  <a:pt x="19062" y="937"/>
                  <a:pt x="19031" y="937"/>
                </a:cubicBezTo>
                <a:cubicBezTo>
                  <a:pt x="19000" y="937"/>
                  <a:pt x="18968" y="969"/>
                  <a:pt x="18937" y="969"/>
                </a:cubicBezTo>
                <a:cubicBezTo>
                  <a:pt x="18875" y="969"/>
                  <a:pt x="18843" y="969"/>
                  <a:pt x="18781" y="969"/>
                </a:cubicBezTo>
                <a:cubicBezTo>
                  <a:pt x="18718" y="969"/>
                  <a:pt x="18656" y="969"/>
                  <a:pt x="18593" y="1000"/>
                </a:cubicBezTo>
                <a:cubicBezTo>
                  <a:pt x="18562" y="1000"/>
                  <a:pt x="18500" y="1000"/>
                  <a:pt x="18500" y="1000"/>
                </a:cubicBezTo>
                <a:cubicBezTo>
                  <a:pt x="18468" y="1000"/>
                  <a:pt x="18468" y="1000"/>
                  <a:pt x="18468" y="1000"/>
                </a:cubicBezTo>
                <a:cubicBezTo>
                  <a:pt x="18406" y="1000"/>
                  <a:pt x="18406" y="969"/>
                  <a:pt x="18468" y="906"/>
                </a:cubicBezTo>
                <a:cubicBezTo>
                  <a:pt x="18468" y="875"/>
                  <a:pt x="18468" y="844"/>
                  <a:pt x="18468" y="812"/>
                </a:cubicBezTo>
                <a:cubicBezTo>
                  <a:pt x="18468" y="781"/>
                  <a:pt x="18468" y="781"/>
                  <a:pt x="18468" y="781"/>
                </a:cubicBezTo>
                <a:cubicBezTo>
                  <a:pt x="18468" y="750"/>
                  <a:pt x="18437" y="719"/>
                  <a:pt x="18406" y="687"/>
                </a:cubicBezTo>
                <a:cubicBezTo>
                  <a:pt x="18406" y="687"/>
                  <a:pt x="18375" y="687"/>
                  <a:pt x="18343" y="656"/>
                </a:cubicBezTo>
                <a:cubicBezTo>
                  <a:pt x="18312" y="656"/>
                  <a:pt x="18281" y="625"/>
                  <a:pt x="18250" y="594"/>
                </a:cubicBezTo>
                <a:cubicBezTo>
                  <a:pt x="18218" y="594"/>
                  <a:pt x="18218" y="594"/>
                  <a:pt x="18187" y="594"/>
                </a:cubicBezTo>
                <a:cubicBezTo>
                  <a:pt x="17968" y="500"/>
                  <a:pt x="17718" y="562"/>
                  <a:pt x="17468" y="500"/>
                </a:cubicBezTo>
                <a:cubicBezTo>
                  <a:pt x="17468" y="500"/>
                  <a:pt x="17437" y="500"/>
                  <a:pt x="17437" y="500"/>
                </a:cubicBezTo>
                <a:cubicBezTo>
                  <a:pt x="17437" y="500"/>
                  <a:pt x="17406" y="531"/>
                  <a:pt x="17406" y="531"/>
                </a:cubicBezTo>
                <a:cubicBezTo>
                  <a:pt x="17406" y="531"/>
                  <a:pt x="17406" y="531"/>
                  <a:pt x="17406" y="562"/>
                </a:cubicBezTo>
                <a:cubicBezTo>
                  <a:pt x="17437" y="562"/>
                  <a:pt x="17437" y="594"/>
                  <a:pt x="17406" y="625"/>
                </a:cubicBezTo>
                <a:cubicBezTo>
                  <a:pt x="17406" y="656"/>
                  <a:pt x="17375" y="687"/>
                  <a:pt x="17375" y="750"/>
                </a:cubicBezTo>
                <a:cubicBezTo>
                  <a:pt x="17375" y="812"/>
                  <a:pt x="17343" y="844"/>
                  <a:pt x="17281" y="875"/>
                </a:cubicBezTo>
                <a:cubicBezTo>
                  <a:pt x="17218" y="875"/>
                  <a:pt x="17187" y="875"/>
                  <a:pt x="17125" y="906"/>
                </a:cubicBezTo>
                <a:cubicBezTo>
                  <a:pt x="17093" y="906"/>
                  <a:pt x="17062" y="906"/>
                  <a:pt x="17031" y="906"/>
                </a:cubicBezTo>
                <a:cubicBezTo>
                  <a:pt x="17031" y="906"/>
                  <a:pt x="17000" y="906"/>
                  <a:pt x="17000" y="906"/>
                </a:cubicBezTo>
                <a:cubicBezTo>
                  <a:pt x="16968" y="906"/>
                  <a:pt x="16968" y="906"/>
                  <a:pt x="16937" y="906"/>
                </a:cubicBezTo>
                <a:cubicBezTo>
                  <a:pt x="16875" y="906"/>
                  <a:pt x="16843" y="906"/>
                  <a:pt x="16781" y="844"/>
                </a:cubicBezTo>
                <a:cubicBezTo>
                  <a:pt x="16718" y="812"/>
                  <a:pt x="16687" y="812"/>
                  <a:pt x="16656" y="844"/>
                </a:cubicBezTo>
                <a:cubicBezTo>
                  <a:pt x="16656" y="844"/>
                  <a:pt x="16656" y="875"/>
                  <a:pt x="16625" y="875"/>
                </a:cubicBezTo>
                <a:cubicBezTo>
                  <a:pt x="16625" y="906"/>
                  <a:pt x="16625" y="906"/>
                  <a:pt x="16625" y="937"/>
                </a:cubicBezTo>
                <a:cubicBezTo>
                  <a:pt x="16656" y="969"/>
                  <a:pt x="16656" y="969"/>
                  <a:pt x="16656" y="1000"/>
                </a:cubicBezTo>
                <a:cubicBezTo>
                  <a:pt x="16656" y="1000"/>
                  <a:pt x="16625" y="1031"/>
                  <a:pt x="16593" y="1062"/>
                </a:cubicBezTo>
                <a:cubicBezTo>
                  <a:pt x="16593" y="1062"/>
                  <a:pt x="16562" y="1062"/>
                  <a:pt x="16562" y="1062"/>
                </a:cubicBezTo>
                <a:cubicBezTo>
                  <a:pt x="16500" y="1094"/>
                  <a:pt x="16500" y="1062"/>
                  <a:pt x="16468" y="1031"/>
                </a:cubicBezTo>
                <a:cubicBezTo>
                  <a:pt x="16468" y="1031"/>
                  <a:pt x="16437" y="1031"/>
                  <a:pt x="16437" y="1031"/>
                </a:cubicBezTo>
                <a:cubicBezTo>
                  <a:pt x="16437" y="1000"/>
                  <a:pt x="16437" y="1000"/>
                  <a:pt x="16437" y="1000"/>
                </a:cubicBezTo>
                <a:cubicBezTo>
                  <a:pt x="16437" y="1000"/>
                  <a:pt x="16406" y="1000"/>
                  <a:pt x="16406" y="1000"/>
                </a:cubicBezTo>
                <a:cubicBezTo>
                  <a:pt x="16375" y="1000"/>
                  <a:pt x="16343" y="1000"/>
                  <a:pt x="16343" y="1000"/>
                </a:cubicBezTo>
                <a:cubicBezTo>
                  <a:pt x="16312" y="1000"/>
                  <a:pt x="16312" y="1031"/>
                  <a:pt x="16281" y="1031"/>
                </a:cubicBezTo>
                <a:cubicBezTo>
                  <a:pt x="16250" y="1031"/>
                  <a:pt x="16218" y="1000"/>
                  <a:pt x="16218" y="1000"/>
                </a:cubicBezTo>
                <a:cubicBezTo>
                  <a:pt x="16187" y="1000"/>
                  <a:pt x="16187" y="1000"/>
                  <a:pt x="16187" y="1000"/>
                </a:cubicBezTo>
                <a:cubicBezTo>
                  <a:pt x="16156" y="1000"/>
                  <a:pt x="16156" y="1000"/>
                  <a:pt x="16125" y="969"/>
                </a:cubicBezTo>
                <a:cubicBezTo>
                  <a:pt x="16125" y="969"/>
                  <a:pt x="16125" y="969"/>
                  <a:pt x="16093" y="937"/>
                </a:cubicBezTo>
                <a:cubicBezTo>
                  <a:pt x="16062" y="906"/>
                  <a:pt x="16031" y="875"/>
                  <a:pt x="15968" y="875"/>
                </a:cubicBezTo>
                <a:cubicBezTo>
                  <a:pt x="15968" y="844"/>
                  <a:pt x="15968" y="844"/>
                  <a:pt x="15968" y="844"/>
                </a:cubicBezTo>
                <a:cubicBezTo>
                  <a:pt x="16000" y="812"/>
                  <a:pt x="16000" y="781"/>
                  <a:pt x="16000" y="750"/>
                </a:cubicBezTo>
                <a:cubicBezTo>
                  <a:pt x="16000" y="719"/>
                  <a:pt x="16031" y="687"/>
                  <a:pt x="16062" y="656"/>
                </a:cubicBezTo>
                <a:cubicBezTo>
                  <a:pt x="16125" y="625"/>
                  <a:pt x="16218" y="594"/>
                  <a:pt x="16281" y="531"/>
                </a:cubicBezTo>
                <a:cubicBezTo>
                  <a:pt x="16281" y="500"/>
                  <a:pt x="16312" y="469"/>
                  <a:pt x="16312" y="469"/>
                </a:cubicBezTo>
                <a:cubicBezTo>
                  <a:pt x="16312" y="437"/>
                  <a:pt x="16312" y="437"/>
                  <a:pt x="16343" y="437"/>
                </a:cubicBezTo>
                <a:cubicBezTo>
                  <a:pt x="16343" y="437"/>
                  <a:pt x="16343" y="437"/>
                  <a:pt x="16343" y="437"/>
                </a:cubicBezTo>
                <a:cubicBezTo>
                  <a:pt x="16375" y="437"/>
                  <a:pt x="16375" y="437"/>
                  <a:pt x="16375" y="469"/>
                </a:cubicBezTo>
                <a:cubicBezTo>
                  <a:pt x="16406" y="500"/>
                  <a:pt x="16468" y="500"/>
                  <a:pt x="16500" y="500"/>
                </a:cubicBezTo>
                <a:cubicBezTo>
                  <a:pt x="16531" y="500"/>
                  <a:pt x="16531" y="500"/>
                  <a:pt x="16562" y="500"/>
                </a:cubicBezTo>
                <a:cubicBezTo>
                  <a:pt x="16562" y="500"/>
                  <a:pt x="16593" y="500"/>
                  <a:pt x="16593" y="500"/>
                </a:cubicBezTo>
                <a:cubicBezTo>
                  <a:pt x="16656" y="469"/>
                  <a:pt x="16687" y="437"/>
                  <a:pt x="16750" y="437"/>
                </a:cubicBezTo>
                <a:cubicBezTo>
                  <a:pt x="16750" y="406"/>
                  <a:pt x="16781" y="406"/>
                  <a:pt x="16781" y="406"/>
                </a:cubicBezTo>
                <a:cubicBezTo>
                  <a:pt x="16812" y="375"/>
                  <a:pt x="16843" y="375"/>
                  <a:pt x="16875" y="344"/>
                </a:cubicBezTo>
                <a:cubicBezTo>
                  <a:pt x="16875" y="344"/>
                  <a:pt x="16906" y="312"/>
                  <a:pt x="16906" y="281"/>
                </a:cubicBezTo>
                <a:cubicBezTo>
                  <a:pt x="16937" y="250"/>
                  <a:pt x="16937" y="219"/>
                  <a:pt x="16906" y="156"/>
                </a:cubicBezTo>
                <a:cubicBezTo>
                  <a:pt x="16906" y="125"/>
                  <a:pt x="16875" y="125"/>
                  <a:pt x="16843" y="94"/>
                </a:cubicBezTo>
                <a:cubicBezTo>
                  <a:pt x="16843" y="94"/>
                  <a:pt x="16812" y="62"/>
                  <a:pt x="16812" y="62"/>
                </a:cubicBezTo>
                <a:cubicBezTo>
                  <a:pt x="16750" y="31"/>
                  <a:pt x="16656" y="0"/>
                  <a:pt x="16562" y="0"/>
                </a:cubicBezTo>
                <a:cubicBezTo>
                  <a:pt x="16562" y="0"/>
                  <a:pt x="16531" y="0"/>
                  <a:pt x="16500" y="0"/>
                </a:cubicBezTo>
                <a:cubicBezTo>
                  <a:pt x="16468" y="0"/>
                  <a:pt x="16437" y="0"/>
                  <a:pt x="16406" y="0"/>
                </a:cubicBezTo>
                <a:cubicBezTo>
                  <a:pt x="16281" y="31"/>
                  <a:pt x="16250" y="94"/>
                  <a:pt x="16218" y="156"/>
                </a:cubicBezTo>
                <a:cubicBezTo>
                  <a:pt x="16218" y="187"/>
                  <a:pt x="16218" y="219"/>
                  <a:pt x="16187" y="219"/>
                </a:cubicBezTo>
                <a:cubicBezTo>
                  <a:pt x="16156" y="250"/>
                  <a:pt x="16125" y="281"/>
                  <a:pt x="16062" y="281"/>
                </a:cubicBezTo>
                <a:cubicBezTo>
                  <a:pt x="16125" y="312"/>
                  <a:pt x="16156" y="312"/>
                  <a:pt x="16187" y="312"/>
                </a:cubicBezTo>
                <a:cubicBezTo>
                  <a:pt x="16250" y="312"/>
                  <a:pt x="16343" y="281"/>
                  <a:pt x="16343" y="375"/>
                </a:cubicBezTo>
                <a:cubicBezTo>
                  <a:pt x="16343" y="406"/>
                  <a:pt x="16312" y="406"/>
                  <a:pt x="16281" y="406"/>
                </a:cubicBezTo>
                <a:cubicBezTo>
                  <a:pt x="16250" y="406"/>
                  <a:pt x="16187" y="406"/>
                  <a:pt x="16156" y="406"/>
                </a:cubicBezTo>
                <a:cubicBezTo>
                  <a:pt x="16156" y="406"/>
                  <a:pt x="16156" y="406"/>
                  <a:pt x="16125" y="406"/>
                </a:cubicBezTo>
                <a:cubicBezTo>
                  <a:pt x="16093" y="406"/>
                  <a:pt x="16062" y="406"/>
                  <a:pt x="16031" y="406"/>
                </a:cubicBezTo>
                <a:cubicBezTo>
                  <a:pt x="16031" y="437"/>
                  <a:pt x="16000" y="437"/>
                  <a:pt x="16000" y="437"/>
                </a:cubicBezTo>
                <a:cubicBezTo>
                  <a:pt x="16000" y="469"/>
                  <a:pt x="16000" y="469"/>
                  <a:pt x="16000" y="500"/>
                </a:cubicBezTo>
                <a:cubicBezTo>
                  <a:pt x="16000" y="531"/>
                  <a:pt x="16000" y="562"/>
                  <a:pt x="15968" y="594"/>
                </a:cubicBezTo>
                <a:cubicBezTo>
                  <a:pt x="15968" y="594"/>
                  <a:pt x="15937" y="594"/>
                  <a:pt x="15906" y="594"/>
                </a:cubicBezTo>
                <a:cubicBezTo>
                  <a:pt x="15906" y="594"/>
                  <a:pt x="15906" y="594"/>
                  <a:pt x="15875" y="594"/>
                </a:cubicBezTo>
                <a:cubicBezTo>
                  <a:pt x="15843" y="594"/>
                  <a:pt x="15843" y="594"/>
                  <a:pt x="15812" y="594"/>
                </a:cubicBezTo>
                <a:cubicBezTo>
                  <a:pt x="15718" y="594"/>
                  <a:pt x="15656" y="594"/>
                  <a:pt x="15625" y="625"/>
                </a:cubicBezTo>
                <a:cubicBezTo>
                  <a:pt x="15562" y="656"/>
                  <a:pt x="15531" y="719"/>
                  <a:pt x="15500" y="750"/>
                </a:cubicBezTo>
                <a:cubicBezTo>
                  <a:pt x="15500" y="781"/>
                  <a:pt x="15500" y="781"/>
                  <a:pt x="15500" y="781"/>
                </a:cubicBezTo>
                <a:cubicBezTo>
                  <a:pt x="15468" y="844"/>
                  <a:pt x="15500" y="875"/>
                  <a:pt x="15531" y="875"/>
                </a:cubicBezTo>
                <a:cubicBezTo>
                  <a:pt x="15562" y="875"/>
                  <a:pt x="15562" y="875"/>
                  <a:pt x="15562" y="875"/>
                </a:cubicBezTo>
                <a:cubicBezTo>
                  <a:pt x="15625" y="875"/>
                  <a:pt x="15687" y="875"/>
                  <a:pt x="15718" y="875"/>
                </a:cubicBezTo>
                <a:cubicBezTo>
                  <a:pt x="15718" y="906"/>
                  <a:pt x="15687" y="937"/>
                  <a:pt x="15687" y="937"/>
                </a:cubicBezTo>
                <a:cubicBezTo>
                  <a:pt x="15656" y="969"/>
                  <a:pt x="15656" y="969"/>
                  <a:pt x="15656" y="969"/>
                </a:cubicBezTo>
                <a:cubicBezTo>
                  <a:pt x="15625" y="1000"/>
                  <a:pt x="15625" y="1000"/>
                  <a:pt x="15625" y="1000"/>
                </a:cubicBezTo>
                <a:cubicBezTo>
                  <a:pt x="15593" y="1031"/>
                  <a:pt x="15531" y="1062"/>
                  <a:pt x="15468" y="1062"/>
                </a:cubicBezTo>
                <a:cubicBezTo>
                  <a:pt x="15406" y="1062"/>
                  <a:pt x="15375" y="1062"/>
                  <a:pt x="15343" y="1031"/>
                </a:cubicBezTo>
                <a:cubicBezTo>
                  <a:pt x="15312" y="1031"/>
                  <a:pt x="15281" y="1031"/>
                  <a:pt x="15281" y="1031"/>
                </a:cubicBezTo>
                <a:cubicBezTo>
                  <a:pt x="15250" y="1000"/>
                  <a:pt x="15218" y="1000"/>
                  <a:pt x="15187" y="969"/>
                </a:cubicBezTo>
                <a:cubicBezTo>
                  <a:pt x="15187" y="969"/>
                  <a:pt x="15187" y="969"/>
                  <a:pt x="15218" y="969"/>
                </a:cubicBezTo>
                <a:cubicBezTo>
                  <a:pt x="15218" y="969"/>
                  <a:pt x="15218" y="969"/>
                  <a:pt x="15218" y="969"/>
                </a:cubicBezTo>
                <a:cubicBezTo>
                  <a:pt x="15250" y="937"/>
                  <a:pt x="15250" y="937"/>
                  <a:pt x="15250" y="906"/>
                </a:cubicBezTo>
                <a:cubicBezTo>
                  <a:pt x="15218" y="906"/>
                  <a:pt x="15218" y="906"/>
                  <a:pt x="15218" y="906"/>
                </a:cubicBezTo>
                <a:cubicBezTo>
                  <a:pt x="15218" y="906"/>
                  <a:pt x="15187" y="906"/>
                  <a:pt x="15187" y="906"/>
                </a:cubicBezTo>
                <a:cubicBezTo>
                  <a:pt x="15156" y="906"/>
                  <a:pt x="15156" y="906"/>
                  <a:pt x="15156" y="937"/>
                </a:cubicBezTo>
                <a:cubicBezTo>
                  <a:pt x="15156" y="937"/>
                  <a:pt x="15156" y="937"/>
                  <a:pt x="15156" y="937"/>
                </a:cubicBezTo>
                <a:cubicBezTo>
                  <a:pt x="14968" y="906"/>
                  <a:pt x="14875" y="1000"/>
                  <a:pt x="14843" y="1062"/>
                </a:cubicBezTo>
                <a:cubicBezTo>
                  <a:pt x="14812" y="1094"/>
                  <a:pt x="14781" y="1125"/>
                  <a:pt x="14718" y="1156"/>
                </a:cubicBezTo>
                <a:cubicBezTo>
                  <a:pt x="14718" y="1156"/>
                  <a:pt x="14687" y="1156"/>
                  <a:pt x="14656" y="1156"/>
                </a:cubicBezTo>
                <a:cubicBezTo>
                  <a:pt x="14625" y="1156"/>
                  <a:pt x="14593" y="1156"/>
                  <a:pt x="14562" y="1125"/>
                </a:cubicBezTo>
                <a:cubicBezTo>
                  <a:pt x="14531" y="1125"/>
                  <a:pt x="14531" y="1125"/>
                  <a:pt x="14500" y="1125"/>
                </a:cubicBezTo>
                <a:cubicBezTo>
                  <a:pt x="14437" y="1094"/>
                  <a:pt x="14406" y="1094"/>
                  <a:pt x="14343" y="1094"/>
                </a:cubicBezTo>
                <a:cubicBezTo>
                  <a:pt x="14281" y="1094"/>
                  <a:pt x="14250" y="1094"/>
                  <a:pt x="14187" y="1094"/>
                </a:cubicBezTo>
                <a:cubicBezTo>
                  <a:pt x="14187" y="1094"/>
                  <a:pt x="14156" y="1094"/>
                  <a:pt x="14125" y="1094"/>
                </a:cubicBezTo>
                <a:cubicBezTo>
                  <a:pt x="14000" y="1094"/>
                  <a:pt x="13875" y="1094"/>
                  <a:pt x="13750" y="1094"/>
                </a:cubicBezTo>
                <a:cubicBezTo>
                  <a:pt x="13625" y="1094"/>
                  <a:pt x="13500" y="1094"/>
                  <a:pt x="13375" y="1094"/>
                </a:cubicBezTo>
                <a:cubicBezTo>
                  <a:pt x="12937" y="1125"/>
                  <a:pt x="12500" y="1156"/>
                  <a:pt x="12062" y="1156"/>
                </a:cubicBezTo>
                <a:cubicBezTo>
                  <a:pt x="12031" y="1156"/>
                  <a:pt x="12000" y="1156"/>
                  <a:pt x="11968" y="1187"/>
                </a:cubicBezTo>
                <a:cubicBezTo>
                  <a:pt x="11437" y="1219"/>
                  <a:pt x="10937" y="1281"/>
                  <a:pt x="10437" y="1344"/>
                </a:cubicBezTo>
                <a:cubicBezTo>
                  <a:pt x="10250" y="1375"/>
                  <a:pt x="10093" y="1375"/>
                  <a:pt x="9906" y="1406"/>
                </a:cubicBezTo>
                <a:cubicBezTo>
                  <a:pt x="9750" y="1437"/>
                  <a:pt x="9562" y="1469"/>
                  <a:pt x="9406" y="1500"/>
                </a:cubicBezTo>
                <a:cubicBezTo>
                  <a:pt x="9312" y="1500"/>
                  <a:pt x="9218" y="1531"/>
                  <a:pt x="9125" y="1531"/>
                </a:cubicBezTo>
                <a:cubicBezTo>
                  <a:pt x="9000" y="1562"/>
                  <a:pt x="8875" y="1594"/>
                  <a:pt x="8750" y="1625"/>
                </a:cubicBezTo>
                <a:cubicBezTo>
                  <a:pt x="8593" y="1656"/>
                  <a:pt x="8468" y="1687"/>
                  <a:pt x="8343" y="1719"/>
                </a:cubicBezTo>
                <a:cubicBezTo>
                  <a:pt x="8187" y="1750"/>
                  <a:pt x="8031" y="1781"/>
                  <a:pt x="7875" y="1812"/>
                </a:cubicBezTo>
                <a:cubicBezTo>
                  <a:pt x="7468" y="1875"/>
                  <a:pt x="7093" y="1937"/>
                  <a:pt x="6687" y="2031"/>
                </a:cubicBezTo>
                <a:cubicBezTo>
                  <a:pt x="6625" y="2062"/>
                  <a:pt x="6531" y="2062"/>
                  <a:pt x="6468" y="2094"/>
                </a:cubicBezTo>
                <a:cubicBezTo>
                  <a:pt x="6375" y="2125"/>
                  <a:pt x="6281" y="2125"/>
                  <a:pt x="6218" y="2156"/>
                </a:cubicBezTo>
                <a:cubicBezTo>
                  <a:pt x="5875" y="2250"/>
                  <a:pt x="5531" y="2344"/>
                  <a:pt x="5218" y="2437"/>
                </a:cubicBezTo>
                <a:cubicBezTo>
                  <a:pt x="5031" y="2500"/>
                  <a:pt x="4875" y="2531"/>
                  <a:pt x="4718" y="2594"/>
                </a:cubicBezTo>
                <a:cubicBezTo>
                  <a:pt x="4625" y="2625"/>
                  <a:pt x="4562" y="2656"/>
                  <a:pt x="4468" y="2656"/>
                </a:cubicBezTo>
                <a:cubicBezTo>
                  <a:pt x="4406" y="2687"/>
                  <a:pt x="4343" y="2719"/>
                  <a:pt x="4281" y="2719"/>
                </a:cubicBezTo>
                <a:cubicBezTo>
                  <a:pt x="4156" y="2719"/>
                  <a:pt x="4031" y="2719"/>
                  <a:pt x="3937" y="2750"/>
                </a:cubicBezTo>
                <a:cubicBezTo>
                  <a:pt x="3625" y="2844"/>
                  <a:pt x="3343" y="2937"/>
                  <a:pt x="3031" y="3062"/>
                </a:cubicBezTo>
                <a:cubicBezTo>
                  <a:pt x="3000" y="3062"/>
                  <a:pt x="2968" y="3094"/>
                  <a:pt x="2937" y="3094"/>
                </a:cubicBezTo>
                <a:cubicBezTo>
                  <a:pt x="2906" y="3125"/>
                  <a:pt x="2937" y="3156"/>
                  <a:pt x="3000" y="3187"/>
                </a:cubicBezTo>
                <a:cubicBezTo>
                  <a:pt x="3031" y="3219"/>
                  <a:pt x="3031" y="3219"/>
                  <a:pt x="3062" y="3250"/>
                </a:cubicBezTo>
                <a:cubicBezTo>
                  <a:pt x="3093" y="3250"/>
                  <a:pt x="3093" y="3250"/>
                  <a:pt x="3125" y="3250"/>
                </a:cubicBezTo>
                <a:cubicBezTo>
                  <a:pt x="3156" y="3250"/>
                  <a:pt x="3156" y="3250"/>
                  <a:pt x="3156" y="3250"/>
                </a:cubicBezTo>
                <a:cubicBezTo>
                  <a:pt x="3187" y="3250"/>
                  <a:pt x="3187" y="3250"/>
                  <a:pt x="3187" y="3250"/>
                </a:cubicBezTo>
                <a:cubicBezTo>
                  <a:pt x="3218" y="3250"/>
                  <a:pt x="3218" y="3250"/>
                  <a:pt x="3218" y="3250"/>
                </a:cubicBezTo>
                <a:cubicBezTo>
                  <a:pt x="3312" y="3250"/>
                  <a:pt x="3343" y="3187"/>
                  <a:pt x="3343" y="3125"/>
                </a:cubicBezTo>
                <a:cubicBezTo>
                  <a:pt x="3343" y="3125"/>
                  <a:pt x="3343" y="3125"/>
                  <a:pt x="3343" y="3125"/>
                </a:cubicBezTo>
                <a:cubicBezTo>
                  <a:pt x="3343" y="3094"/>
                  <a:pt x="3343" y="3062"/>
                  <a:pt x="3406" y="3062"/>
                </a:cubicBezTo>
                <a:cubicBezTo>
                  <a:pt x="3406" y="3062"/>
                  <a:pt x="3406" y="3062"/>
                  <a:pt x="3406" y="3062"/>
                </a:cubicBezTo>
                <a:cubicBezTo>
                  <a:pt x="3406" y="3062"/>
                  <a:pt x="3437" y="3062"/>
                  <a:pt x="3437" y="3062"/>
                </a:cubicBezTo>
                <a:cubicBezTo>
                  <a:pt x="3500" y="3062"/>
                  <a:pt x="3500" y="3125"/>
                  <a:pt x="3500" y="3156"/>
                </a:cubicBezTo>
                <a:cubicBezTo>
                  <a:pt x="3500" y="3187"/>
                  <a:pt x="3468" y="3187"/>
                  <a:pt x="3468" y="3219"/>
                </a:cubicBezTo>
                <a:cubicBezTo>
                  <a:pt x="3437" y="3281"/>
                  <a:pt x="3375" y="3312"/>
                  <a:pt x="3312" y="3344"/>
                </a:cubicBezTo>
                <a:cubicBezTo>
                  <a:pt x="3281" y="3344"/>
                  <a:pt x="3281" y="3344"/>
                  <a:pt x="3250" y="3344"/>
                </a:cubicBezTo>
                <a:cubicBezTo>
                  <a:pt x="3218" y="3375"/>
                  <a:pt x="3187" y="3375"/>
                  <a:pt x="3156" y="3375"/>
                </a:cubicBezTo>
                <a:cubicBezTo>
                  <a:pt x="3093" y="3375"/>
                  <a:pt x="3031" y="3344"/>
                  <a:pt x="2968" y="3312"/>
                </a:cubicBezTo>
                <a:cubicBezTo>
                  <a:pt x="2968" y="3312"/>
                  <a:pt x="2937" y="3312"/>
                  <a:pt x="2937" y="3312"/>
                </a:cubicBezTo>
                <a:cubicBezTo>
                  <a:pt x="2875" y="3219"/>
                  <a:pt x="2812" y="3219"/>
                  <a:pt x="2718" y="3219"/>
                </a:cubicBezTo>
                <a:cubicBezTo>
                  <a:pt x="2656" y="3187"/>
                  <a:pt x="2562" y="3219"/>
                  <a:pt x="2500" y="3281"/>
                </a:cubicBezTo>
                <a:cubicBezTo>
                  <a:pt x="2406" y="3312"/>
                  <a:pt x="2312" y="3344"/>
                  <a:pt x="2218" y="3375"/>
                </a:cubicBezTo>
                <a:cubicBezTo>
                  <a:pt x="2187" y="3406"/>
                  <a:pt x="2156" y="3406"/>
                  <a:pt x="2125" y="3437"/>
                </a:cubicBezTo>
                <a:cubicBezTo>
                  <a:pt x="2125" y="3437"/>
                  <a:pt x="2125" y="3437"/>
                  <a:pt x="2125" y="3437"/>
                </a:cubicBezTo>
                <a:cubicBezTo>
                  <a:pt x="2125" y="3437"/>
                  <a:pt x="2125" y="3437"/>
                  <a:pt x="2125" y="3437"/>
                </a:cubicBezTo>
                <a:cubicBezTo>
                  <a:pt x="2062" y="3469"/>
                  <a:pt x="2031" y="3469"/>
                  <a:pt x="1968" y="3500"/>
                </a:cubicBezTo>
                <a:cubicBezTo>
                  <a:pt x="1906" y="3500"/>
                  <a:pt x="1875" y="3531"/>
                  <a:pt x="1843" y="3531"/>
                </a:cubicBezTo>
                <a:cubicBezTo>
                  <a:pt x="1781" y="3531"/>
                  <a:pt x="1750" y="3562"/>
                  <a:pt x="1718" y="3562"/>
                </a:cubicBezTo>
                <a:cubicBezTo>
                  <a:pt x="1687" y="3594"/>
                  <a:pt x="1656" y="3625"/>
                  <a:pt x="1625" y="3625"/>
                </a:cubicBezTo>
                <a:cubicBezTo>
                  <a:pt x="1593" y="3656"/>
                  <a:pt x="1562" y="3687"/>
                  <a:pt x="1531" y="3687"/>
                </a:cubicBezTo>
                <a:cubicBezTo>
                  <a:pt x="1531" y="3687"/>
                  <a:pt x="1531" y="3687"/>
                  <a:pt x="1531" y="3719"/>
                </a:cubicBezTo>
                <a:cubicBezTo>
                  <a:pt x="1500" y="3719"/>
                  <a:pt x="1500" y="3719"/>
                  <a:pt x="1468" y="3719"/>
                </a:cubicBezTo>
                <a:cubicBezTo>
                  <a:pt x="1468" y="3750"/>
                  <a:pt x="1468" y="3750"/>
                  <a:pt x="1437" y="3750"/>
                </a:cubicBezTo>
                <a:cubicBezTo>
                  <a:pt x="1437" y="3781"/>
                  <a:pt x="1437" y="3781"/>
                  <a:pt x="1437" y="3781"/>
                </a:cubicBezTo>
                <a:cubicBezTo>
                  <a:pt x="1468" y="3781"/>
                  <a:pt x="1468" y="3812"/>
                  <a:pt x="1468" y="3812"/>
                </a:cubicBezTo>
                <a:cubicBezTo>
                  <a:pt x="1500" y="3812"/>
                  <a:pt x="1500" y="3812"/>
                  <a:pt x="1531" y="3812"/>
                </a:cubicBezTo>
                <a:cubicBezTo>
                  <a:pt x="1531" y="3812"/>
                  <a:pt x="1531" y="3812"/>
                  <a:pt x="1531" y="3812"/>
                </a:cubicBezTo>
                <a:cubicBezTo>
                  <a:pt x="1562" y="3812"/>
                  <a:pt x="1625" y="3781"/>
                  <a:pt x="1656" y="3750"/>
                </a:cubicBezTo>
                <a:cubicBezTo>
                  <a:pt x="1687" y="3750"/>
                  <a:pt x="1718" y="3719"/>
                  <a:pt x="1718" y="3719"/>
                </a:cubicBezTo>
                <a:cubicBezTo>
                  <a:pt x="1750" y="3719"/>
                  <a:pt x="1750" y="3687"/>
                  <a:pt x="1781" y="3687"/>
                </a:cubicBezTo>
                <a:cubicBezTo>
                  <a:pt x="1781" y="3719"/>
                  <a:pt x="1781" y="3719"/>
                  <a:pt x="1812" y="3719"/>
                </a:cubicBezTo>
                <a:cubicBezTo>
                  <a:pt x="1812" y="3750"/>
                  <a:pt x="1812" y="3750"/>
                  <a:pt x="1843" y="3781"/>
                </a:cubicBezTo>
                <a:cubicBezTo>
                  <a:pt x="1843" y="3781"/>
                  <a:pt x="1875" y="3812"/>
                  <a:pt x="1875" y="3812"/>
                </a:cubicBezTo>
                <a:cubicBezTo>
                  <a:pt x="1937" y="3875"/>
                  <a:pt x="2000" y="3969"/>
                  <a:pt x="1812" y="4062"/>
                </a:cubicBezTo>
                <a:cubicBezTo>
                  <a:pt x="1812" y="4062"/>
                  <a:pt x="1843" y="4062"/>
                  <a:pt x="1875" y="4031"/>
                </a:cubicBezTo>
                <a:cubicBezTo>
                  <a:pt x="1875" y="4031"/>
                  <a:pt x="1875" y="4031"/>
                  <a:pt x="1906" y="4031"/>
                </a:cubicBezTo>
                <a:cubicBezTo>
                  <a:pt x="1937" y="4031"/>
                  <a:pt x="1968" y="4031"/>
                  <a:pt x="1968" y="4031"/>
                </a:cubicBezTo>
                <a:cubicBezTo>
                  <a:pt x="2031" y="4031"/>
                  <a:pt x="2062" y="4000"/>
                  <a:pt x="2093" y="4000"/>
                </a:cubicBezTo>
                <a:cubicBezTo>
                  <a:pt x="2156" y="4000"/>
                  <a:pt x="2218" y="4000"/>
                  <a:pt x="2281" y="4031"/>
                </a:cubicBezTo>
                <a:cubicBezTo>
                  <a:pt x="2281" y="4062"/>
                  <a:pt x="2312" y="4094"/>
                  <a:pt x="2343" y="4094"/>
                </a:cubicBezTo>
                <a:cubicBezTo>
                  <a:pt x="2343" y="4125"/>
                  <a:pt x="2343" y="4187"/>
                  <a:pt x="2343" y="4219"/>
                </a:cubicBezTo>
                <a:cubicBezTo>
                  <a:pt x="2312" y="4250"/>
                  <a:pt x="2281" y="4281"/>
                  <a:pt x="2218" y="4312"/>
                </a:cubicBezTo>
                <a:cubicBezTo>
                  <a:pt x="2187" y="4344"/>
                  <a:pt x="2156" y="4344"/>
                  <a:pt x="2125" y="4375"/>
                </a:cubicBezTo>
                <a:cubicBezTo>
                  <a:pt x="2031" y="4375"/>
                  <a:pt x="1968" y="4375"/>
                  <a:pt x="1937" y="4344"/>
                </a:cubicBezTo>
                <a:cubicBezTo>
                  <a:pt x="1875" y="4344"/>
                  <a:pt x="1843" y="4312"/>
                  <a:pt x="1812" y="4250"/>
                </a:cubicBezTo>
                <a:cubicBezTo>
                  <a:pt x="1812" y="4250"/>
                  <a:pt x="1812" y="4219"/>
                  <a:pt x="1812" y="4219"/>
                </a:cubicBezTo>
                <a:cubicBezTo>
                  <a:pt x="1750" y="4156"/>
                  <a:pt x="1593" y="4094"/>
                  <a:pt x="1468" y="4062"/>
                </a:cubicBezTo>
                <a:cubicBezTo>
                  <a:pt x="1437" y="4062"/>
                  <a:pt x="1437" y="4031"/>
                  <a:pt x="1406" y="4031"/>
                </a:cubicBezTo>
                <a:cubicBezTo>
                  <a:pt x="1406" y="4062"/>
                  <a:pt x="1375" y="4062"/>
                  <a:pt x="1375" y="4062"/>
                </a:cubicBezTo>
                <a:cubicBezTo>
                  <a:pt x="1375" y="4094"/>
                  <a:pt x="1375" y="4125"/>
                  <a:pt x="1343" y="4156"/>
                </a:cubicBezTo>
                <a:cubicBezTo>
                  <a:pt x="1343" y="4187"/>
                  <a:pt x="1312" y="4219"/>
                  <a:pt x="1312" y="4250"/>
                </a:cubicBezTo>
                <a:cubicBezTo>
                  <a:pt x="1312" y="4250"/>
                  <a:pt x="1312" y="4281"/>
                  <a:pt x="1343" y="4281"/>
                </a:cubicBezTo>
                <a:cubicBezTo>
                  <a:pt x="1343" y="4312"/>
                  <a:pt x="1343" y="4312"/>
                  <a:pt x="1343" y="4312"/>
                </a:cubicBezTo>
                <a:cubicBezTo>
                  <a:pt x="1343" y="4344"/>
                  <a:pt x="1343" y="4375"/>
                  <a:pt x="1343" y="4406"/>
                </a:cubicBezTo>
                <a:cubicBezTo>
                  <a:pt x="1343" y="4406"/>
                  <a:pt x="1343" y="4437"/>
                  <a:pt x="1343" y="4437"/>
                </a:cubicBezTo>
                <a:cubicBezTo>
                  <a:pt x="1343" y="4500"/>
                  <a:pt x="1312" y="4531"/>
                  <a:pt x="1312" y="4562"/>
                </a:cubicBezTo>
                <a:cubicBezTo>
                  <a:pt x="1312" y="4594"/>
                  <a:pt x="1343" y="4625"/>
                  <a:pt x="1406" y="4656"/>
                </a:cubicBezTo>
                <a:cubicBezTo>
                  <a:pt x="1437" y="4750"/>
                  <a:pt x="1468" y="4812"/>
                  <a:pt x="1531" y="4875"/>
                </a:cubicBezTo>
                <a:cubicBezTo>
                  <a:pt x="1562" y="4906"/>
                  <a:pt x="1625" y="4969"/>
                  <a:pt x="1656" y="5000"/>
                </a:cubicBezTo>
                <a:cubicBezTo>
                  <a:pt x="1718" y="5031"/>
                  <a:pt x="1781" y="5062"/>
                  <a:pt x="1843" y="5062"/>
                </a:cubicBezTo>
                <a:cubicBezTo>
                  <a:pt x="1875" y="5094"/>
                  <a:pt x="1937" y="5094"/>
                  <a:pt x="1968" y="5094"/>
                </a:cubicBezTo>
                <a:cubicBezTo>
                  <a:pt x="2000" y="5125"/>
                  <a:pt x="2031" y="5156"/>
                  <a:pt x="2062" y="5156"/>
                </a:cubicBezTo>
                <a:cubicBezTo>
                  <a:pt x="2062" y="5156"/>
                  <a:pt x="2093" y="5156"/>
                  <a:pt x="2093" y="5187"/>
                </a:cubicBezTo>
                <a:cubicBezTo>
                  <a:pt x="2125" y="5187"/>
                  <a:pt x="2187" y="5187"/>
                  <a:pt x="2218" y="5187"/>
                </a:cubicBezTo>
                <a:cubicBezTo>
                  <a:pt x="2250" y="5187"/>
                  <a:pt x="2312" y="5187"/>
                  <a:pt x="2343" y="5187"/>
                </a:cubicBezTo>
                <a:cubicBezTo>
                  <a:pt x="2343" y="5187"/>
                  <a:pt x="2375" y="5187"/>
                  <a:pt x="2375" y="5187"/>
                </a:cubicBezTo>
                <a:cubicBezTo>
                  <a:pt x="2375" y="5187"/>
                  <a:pt x="2406" y="5187"/>
                  <a:pt x="2406" y="5187"/>
                </a:cubicBezTo>
                <a:cubicBezTo>
                  <a:pt x="2406" y="5187"/>
                  <a:pt x="2406" y="5187"/>
                  <a:pt x="2437" y="5187"/>
                </a:cubicBezTo>
                <a:cubicBezTo>
                  <a:pt x="2437" y="5187"/>
                  <a:pt x="2437" y="5187"/>
                  <a:pt x="2437" y="5187"/>
                </a:cubicBezTo>
                <a:cubicBezTo>
                  <a:pt x="2437" y="5187"/>
                  <a:pt x="2437" y="5187"/>
                  <a:pt x="2468" y="5187"/>
                </a:cubicBezTo>
                <a:cubicBezTo>
                  <a:pt x="2468" y="5187"/>
                  <a:pt x="2468" y="5187"/>
                  <a:pt x="2468" y="5187"/>
                </a:cubicBezTo>
                <a:cubicBezTo>
                  <a:pt x="2468" y="5187"/>
                  <a:pt x="2468" y="5187"/>
                  <a:pt x="2468" y="5187"/>
                </a:cubicBezTo>
                <a:cubicBezTo>
                  <a:pt x="2468" y="5187"/>
                  <a:pt x="2500" y="5187"/>
                  <a:pt x="2500" y="5187"/>
                </a:cubicBezTo>
                <a:cubicBezTo>
                  <a:pt x="2500" y="5187"/>
                  <a:pt x="2500" y="5187"/>
                  <a:pt x="2500" y="5187"/>
                </a:cubicBezTo>
                <a:cubicBezTo>
                  <a:pt x="2500" y="5187"/>
                  <a:pt x="2500" y="5187"/>
                  <a:pt x="2500" y="5187"/>
                </a:cubicBezTo>
                <a:cubicBezTo>
                  <a:pt x="2500" y="5187"/>
                  <a:pt x="2500" y="5187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50"/>
                </a:cubicBezTo>
                <a:cubicBezTo>
                  <a:pt x="2531" y="5250"/>
                  <a:pt x="2531" y="5250"/>
                  <a:pt x="2531" y="5250"/>
                </a:cubicBezTo>
                <a:cubicBezTo>
                  <a:pt x="2531" y="5250"/>
                  <a:pt x="2531" y="5250"/>
                  <a:pt x="2562" y="5250"/>
                </a:cubicBezTo>
                <a:cubicBezTo>
                  <a:pt x="2562" y="5250"/>
                  <a:pt x="2562" y="5250"/>
                  <a:pt x="2562" y="5250"/>
                </a:cubicBezTo>
                <a:cubicBezTo>
                  <a:pt x="2562" y="5250"/>
                  <a:pt x="2562" y="5250"/>
                  <a:pt x="2562" y="5250"/>
                </a:cubicBezTo>
                <a:cubicBezTo>
                  <a:pt x="2562" y="5250"/>
                  <a:pt x="2562" y="5281"/>
                  <a:pt x="2562" y="5281"/>
                </a:cubicBezTo>
                <a:cubicBezTo>
                  <a:pt x="2562" y="5281"/>
                  <a:pt x="2562" y="5281"/>
                  <a:pt x="2562" y="5281"/>
                </a:cubicBezTo>
                <a:cubicBezTo>
                  <a:pt x="2562" y="5281"/>
                  <a:pt x="2562" y="5281"/>
                  <a:pt x="2562" y="5281"/>
                </a:cubicBezTo>
                <a:cubicBezTo>
                  <a:pt x="2531" y="5281"/>
                  <a:pt x="2531" y="5281"/>
                  <a:pt x="2531" y="5281"/>
                </a:cubicBezTo>
                <a:cubicBezTo>
                  <a:pt x="2531" y="5312"/>
                  <a:pt x="2531" y="5312"/>
                  <a:pt x="2531" y="5312"/>
                </a:cubicBezTo>
                <a:cubicBezTo>
                  <a:pt x="2531" y="5312"/>
                  <a:pt x="2531" y="5312"/>
                  <a:pt x="2531" y="5312"/>
                </a:cubicBezTo>
                <a:cubicBezTo>
                  <a:pt x="2531" y="5312"/>
                  <a:pt x="2531" y="5312"/>
                  <a:pt x="2531" y="5312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00" y="5344"/>
                  <a:pt x="2468" y="5344"/>
                  <a:pt x="2437" y="5312"/>
                </a:cubicBezTo>
                <a:cubicBezTo>
                  <a:pt x="2437" y="5312"/>
                  <a:pt x="2437" y="5312"/>
                  <a:pt x="2437" y="5312"/>
                </a:cubicBezTo>
                <a:cubicBezTo>
                  <a:pt x="2437" y="5312"/>
                  <a:pt x="2437" y="5312"/>
                  <a:pt x="2437" y="5312"/>
                </a:cubicBezTo>
                <a:cubicBezTo>
                  <a:pt x="2437" y="5312"/>
                  <a:pt x="2437" y="5312"/>
                  <a:pt x="2437" y="5344"/>
                </a:cubicBezTo>
                <a:cubicBezTo>
                  <a:pt x="2437" y="5344"/>
                  <a:pt x="2437" y="5344"/>
                  <a:pt x="2406" y="5344"/>
                </a:cubicBezTo>
                <a:cubicBezTo>
                  <a:pt x="2406" y="5344"/>
                  <a:pt x="2406" y="5344"/>
                  <a:pt x="2406" y="5344"/>
                </a:cubicBezTo>
                <a:cubicBezTo>
                  <a:pt x="2406" y="5344"/>
                  <a:pt x="2437" y="5344"/>
                  <a:pt x="2437" y="5375"/>
                </a:cubicBezTo>
                <a:cubicBezTo>
                  <a:pt x="2437" y="5375"/>
                  <a:pt x="2437" y="5375"/>
                  <a:pt x="2437" y="5375"/>
                </a:cubicBezTo>
                <a:cubicBezTo>
                  <a:pt x="2437" y="5375"/>
                  <a:pt x="2437" y="5375"/>
                  <a:pt x="2437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625" y="5344"/>
                  <a:pt x="2687" y="5312"/>
                  <a:pt x="2750" y="5312"/>
                </a:cubicBezTo>
                <a:cubicBezTo>
                  <a:pt x="2750" y="5312"/>
                  <a:pt x="2750" y="5312"/>
                  <a:pt x="2750" y="5312"/>
                </a:cubicBezTo>
                <a:cubicBezTo>
                  <a:pt x="2750" y="5312"/>
                  <a:pt x="2750" y="5312"/>
                  <a:pt x="2781" y="5312"/>
                </a:cubicBezTo>
                <a:cubicBezTo>
                  <a:pt x="2781" y="5312"/>
                  <a:pt x="2781" y="5312"/>
                  <a:pt x="2781" y="5312"/>
                </a:cubicBezTo>
                <a:cubicBezTo>
                  <a:pt x="2781" y="5312"/>
                  <a:pt x="2812" y="5312"/>
                  <a:pt x="2812" y="5312"/>
                </a:cubicBezTo>
                <a:cubicBezTo>
                  <a:pt x="2812" y="5312"/>
                  <a:pt x="2812" y="5312"/>
                  <a:pt x="2812" y="5312"/>
                </a:cubicBezTo>
                <a:cubicBezTo>
                  <a:pt x="2812" y="5312"/>
                  <a:pt x="2781" y="5344"/>
                  <a:pt x="2781" y="5344"/>
                </a:cubicBezTo>
                <a:cubicBezTo>
                  <a:pt x="2687" y="5437"/>
                  <a:pt x="2531" y="5500"/>
                  <a:pt x="2406" y="5594"/>
                </a:cubicBezTo>
                <a:cubicBezTo>
                  <a:pt x="2250" y="5687"/>
                  <a:pt x="2062" y="5812"/>
                  <a:pt x="1875" y="5906"/>
                </a:cubicBezTo>
                <a:cubicBezTo>
                  <a:pt x="1812" y="5937"/>
                  <a:pt x="1750" y="5969"/>
                  <a:pt x="1718" y="6000"/>
                </a:cubicBezTo>
                <a:cubicBezTo>
                  <a:pt x="1218" y="6312"/>
                  <a:pt x="750" y="6594"/>
                  <a:pt x="312" y="6906"/>
                </a:cubicBezTo>
                <a:cubicBezTo>
                  <a:pt x="281" y="6937"/>
                  <a:pt x="250" y="6969"/>
                  <a:pt x="218" y="7000"/>
                </a:cubicBezTo>
                <a:cubicBezTo>
                  <a:pt x="93" y="7094"/>
                  <a:pt x="31" y="7219"/>
                  <a:pt x="0" y="7344"/>
                </a:cubicBezTo>
                <a:cubicBezTo>
                  <a:pt x="0" y="7406"/>
                  <a:pt x="0" y="7500"/>
                  <a:pt x="62" y="7625"/>
                </a:cubicBezTo>
                <a:cubicBezTo>
                  <a:pt x="93" y="7719"/>
                  <a:pt x="125" y="7781"/>
                  <a:pt x="125" y="7875"/>
                </a:cubicBezTo>
                <a:cubicBezTo>
                  <a:pt x="156" y="7937"/>
                  <a:pt x="156" y="8000"/>
                  <a:pt x="218" y="8062"/>
                </a:cubicBezTo>
                <a:cubicBezTo>
                  <a:pt x="250" y="8094"/>
                  <a:pt x="281" y="8094"/>
                  <a:pt x="312" y="8125"/>
                </a:cubicBezTo>
                <a:cubicBezTo>
                  <a:pt x="343" y="8156"/>
                  <a:pt x="375" y="8156"/>
                  <a:pt x="437" y="8187"/>
                </a:cubicBezTo>
                <a:cubicBezTo>
                  <a:pt x="531" y="8219"/>
                  <a:pt x="625" y="8219"/>
                  <a:pt x="687" y="8219"/>
                </a:cubicBezTo>
                <a:cubicBezTo>
                  <a:pt x="812" y="8219"/>
                  <a:pt x="937" y="8187"/>
                  <a:pt x="1062" y="8125"/>
                </a:cubicBezTo>
                <a:cubicBezTo>
                  <a:pt x="1062" y="8094"/>
                  <a:pt x="1093" y="8094"/>
                  <a:pt x="1093" y="8094"/>
                </a:cubicBezTo>
                <a:cubicBezTo>
                  <a:pt x="1156" y="8062"/>
                  <a:pt x="1218" y="8062"/>
                  <a:pt x="1281" y="8094"/>
                </a:cubicBezTo>
                <a:cubicBezTo>
                  <a:pt x="1312" y="8094"/>
                  <a:pt x="1343" y="8094"/>
                  <a:pt x="1406" y="8094"/>
                </a:cubicBezTo>
                <a:cubicBezTo>
                  <a:pt x="1375" y="8156"/>
                  <a:pt x="1406" y="8187"/>
                  <a:pt x="1468" y="8250"/>
                </a:cubicBezTo>
                <a:cubicBezTo>
                  <a:pt x="1500" y="8250"/>
                  <a:pt x="1500" y="8281"/>
                  <a:pt x="1531" y="8281"/>
                </a:cubicBezTo>
                <a:cubicBezTo>
                  <a:pt x="1531" y="8312"/>
                  <a:pt x="1562" y="8312"/>
                  <a:pt x="1562" y="8344"/>
                </a:cubicBezTo>
                <a:cubicBezTo>
                  <a:pt x="1562" y="8437"/>
                  <a:pt x="1625" y="8469"/>
                  <a:pt x="1718" y="8469"/>
                </a:cubicBezTo>
                <a:cubicBezTo>
                  <a:pt x="1750" y="8469"/>
                  <a:pt x="1750" y="8469"/>
                  <a:pt x="1781" y="8469"/>
                </a:cubicBezTo>
                <a:cubicBezTo>
                  <a:pt x="1781" y="8469"/>
                  <a:pt x="1812" y="8469"/>
                  <a:pt x="1843" y="8437"/>
                </a:cubicBezTo>
                <a:cubicBezTo>
                  <a:pt x="1843" y="8437"/>
                  <a:pt x="1875" y="8437"/>
                  <a:pt x="1906" y="8437"/>
                </a:cubicBezTo>
                <a:cubicBezTo>
                  <a:pt x="1906" y="8437"/>
                  <a:pt x="1906" y="8437"/>
                  <a:pt x="1937" y="8437"/>
                </a:cubicBezTo>
                <a:cubicBezTo>
                  <a:pt x="1968" y="8437"/>
                  <a:pt x="1968" y="8437"/>
                  <a:pt x="2000" y="8500"/>
                </a:cubicBezTo>
                <a:cubicBezTo>
                  <a:pt x="2031" y="8531"/>
                  <a:pt x="2031" y="8562"/>
                  <a:pt x="2062" y="8594"/>
                </a:cubicBezTo>
                <a:cubicBezTo>
                  <a:pt x="2062" y="8625"/>
                  <a:pt x="2093" y="8656"/>
                  <a:pt x="2125" y="8687"/>
                </a:cubicBezTo>
                <a:cubicBezTo>
                  <a:pt x="2156" y="8750"/>
                  <a:pt x="2250" y="8781"/>
                  <a:pt x="2343" y="8844"/>
                </a:cubicBezTo>
                <a:cubicBezTo>
                  <a:pt x="2406" y="8844"/>
                  <a:pt x="2437" y="8875"/>
                  <a:pt x="2468" y="8875"/>
                </a:cubicBezTo>
                <a:cubicBezTo>
                  <a:pt x="2468" y="8875"/>
                  <a:pt x="2468" y="8875"/>
                  <a:pt x="2500" y="8875"/>
                </a:cubicBezTo>
                <a:cubicBezTo>
                  <a:pt x="2500" y="8844"/>
                  <a:pt x="2531" y="8844"/>
                  <a:pt x="2562" y="8844"/>
                </a:cubicBezTo>
                <a:cubicBezTo>
                  <a:pt x="2593" y="8812"/>
                  <a:pt x="2656" y="8781"/>
                  <a:pt x="2718" y="8781"/>
                </a:cubicBezTo>
                <a:cubicBezTo>
                  <a:pt x="2718" y="8781"/>
                  <a:pt x="2750" y="8781"/>
                  <a:pt x="2750" y="8812"/>
                </a:cubicBezTo>
                <a:cubicBezTo>
                  <a:pt x="2781" y="8812"/>
                  <a:pt x="2781" y="8812"/>
                  <a:pt x="2812" y="8812"/>
                </a:cubicBezTo>
                <a:cubicBezTo>
                  <a:pt x="2875" y="8844"/>
                  <a:pt x="2906" y="8875"/>
                  <a:pt x="2906" y="8906"/>
                </a:cubicBezTo>
                <a:cubicBezTo>
                  <a:pt x="2906" y="8906"/>
                  <a:pt x="2875" y="8906"/>
                  <a:pt x="2875" y="8937"/>
                </a:cubicBezTo>
                <a:cubicBezTo>
                  <a:pt x="2812" y="8937"/>
                  <a:pt x="2781" y="8969"/>
                  <a:pt x="2750" y="9000"/>
                </a:cubicBezTo>
                <a:cubicBezTo>
                  <a:pt x="2750" y="9000"/>
                  <a:pt x="2718" y="9031"/>
                  <a:pt x="2718" y="9031"/>
                </a:cubicBezTo>
                <a:cubicBezTo>
                  <a:pt x="2718" y="9031"/>
                  <a:pt x="2718" y="9031"/>
                  <a:pt x="2718" y="9031"/>
                </a:cubicBezTo>
                <a:cubicBezTo>
                  <a:pt x="2687" y="9031"/>
                  <a:pt x="2687" y="9062"/>
                  <a:pt x="2687" y="9062"/>
                </a:cubicBezTo>
                <a:cubicBezTo>
                  <a:pt x="2687" y="9094"/>
                  <a:pt x="2687" y="9094"/>
                  <a:pt x="2687" y="9094"/>
                </a:cubicBezTo>
                <a:cubicBezTo>
                  <a:pt x="2687" y="9094"/>
                  <a:pt x="2718" y="9094"/>
                  <a:pt x="2718" y="9094"/>
                </a:cubicBezTo>
                <a:cubicBezTo>
                  <a:pt x="2718" y="9094"/>
                  <a:pt x="2718" y="9094"/>
                  <a:pt x="2718" y="9125"/>
                </a:cubicBezTo>
                <a:cubicBezTo>
                  <a:pt x="2750" y="9125"/>
                  <a:pt x="2750" y="9125"/>
                  <a:pt x="2750" y="9125"/>
                </a:cubicBezTo>
                <a:cubicBezTo>
                  <a:pt x="2750" y="9125"/>
                  <a:pt x="2781" y="9125"/>
                  <a:pt x="2781" y="9125"/>
                </a:cubicBezTo>
                <a:cubicBezTo>
                  <a:pt x="2812" y="9094"/>
                  <a:pt x="2812" y="9094"/>
                  <a:pt x="2812" y="9062"/>
                </a:cubicBezTo>
                <a:cubicBezTo>
                  <a:pt x="2843" y="9031"/>
                  <a:pt x="2843" y="9031"/>
                  <a:pt x="2875" y="9000"/>
                </a:cubicBezTo>
                <a:cubicBezTo>
                  <a:pt x="2906" y="9000"/>
                  <a:pt x="2906" y="9000"/>
                  <a:pt x="2937" y="9000"/>
                </a:cubicBezTo>
                <a:cubicBezTo>
                  <a:pt x="2968" y="9000"/>
                  <a:pt x="2968" y="9000"/>
                  <a:pt x="2968" y="9000"/>
                </a:cubicBezTo>
                <a:cubicBezTo>
                  <a:pt x="3000" y="9000"/>
                  <a:pt x="3000" y="9000"/>
                  <a:pt x="3000" y="9000"/>
                </a:cubicBezTo>
                <a:cubicBezTo>
                  <a:pt x="3093" y="9000"/>
                  <a:pt x="3093" y="8937"/>
                  <a:pt x="3093" y="8875"/>
                </a:cubicBezTo>
                <a:cubicBezTo>
                  <a:pt x="3093" y="8875"/>
                  <a:pt x="3093" y="8875"/>
                  <a:pt x="3093" y="8875"/>
                </a:cubicBezTo>
                <a:cubicBezTo>
                  <a:pt x="3125" y="8875"/>
                  <a:pt x="3125" y="8875"/>
                  <a:pt x="3156" y="8875"/>
                </a:cubicBezTo>
                <a:cubicBezTo>
                  <a:pt x="3187" y="8875"/>
                  <a:pt x="3218" y="8844"/>
                  <a:pt x="3281" y="8844"/>
                </a:cubicBezTo>
                <a:cubicBezTo>
                  <a:pt x="3312" y="8844"/>
                  <a:pt x="3343" y="8812"/>
                  <a:pt x="3375" y="8812"/>
                </a:cubicBezTo>
                <a:cubicBezTo>
                  <a:pt x="3375" y="8812"/>
                  <a:pt x="3406" y="8812"/>
                  <a:pt x="3406" y="8844"/>
                </a:cubicBezTo>
                <a:cubicBezTo>
                  <a:pt x="3437" y="8875"/>
                  <a:pt x="3437" y="8875"/>
                  <a:pt x="3406" y="8906"/>
                </a:cubicBezTo>
                <a:cubicBezTo>
                  <a:pt x="3406" y="8937"/>
                  <a:pt x="3406" y="8937"/>
                  <a:pt x="3375" y="8969"/>
                </a:cubicBezTo>
                <a:cubicBezTo>
                  <a:pt x="3375" y="8969"/>
                  <a:pt x="3375" y="8969"/>
                  <a:pt x="3375" y="8969"/>
                </a:cubicBezTo>
                <a:cubicBezTo>
                  <a:pt x="3375" y="8969"/>
                  <a:pt x="3375" y="8969"/>
                  <a:pt x="3375" y="8969"/>
                </a:cubicBezTo>
                <a:cubicBezTo>
                  <a:pt x="3343" y="8969"/>
                  <a:pt x="3281" y="8969"/>
                  <a:pt x="3250" y="8969"/>
                </a:cubicBezTo>
                <a:cubicBezTo>
                  <a:pt x="3218" y="8969"/>
                  <a:pt x="3218" y="8969"/>
                  <a:pt x="3187" y="8969"/>
                </a:cubicBezTo>
                <a:cubicBezTo>
                  <a:pt x="3156" y="9000"/>
                  <a:pt x="3156" y="9094"/>
                  <a:pt x="3125" y="9125"/>
                </a:cubicBezTo>
                <a:cubicBezTo>
                  <a:pt x="3125" y="9156"/>
                  <a:pt x="3125" y="9156"/>
                  <a:pt x="3125" y="9156"/>
                </a:cubicBezTo>
                <a:cubicBezTo>
                  <a:pt x="3125" y="9156"/>
                  <a:pt x="3093" y="9156"/>
                  <a:pt x="3093" y="9187"/>
                </a:cubicBezTo>
                <a:cubicBezTo>
                  <a:pt x="3093" y="9187"/>
                  <a:pt x="3093" y="9187"/>
                  <a:pt x="3093" y="9187"/>
                </a:cubicBezTo>
                <a:cubicBezTo>
                  <a:pt x="3093" y="9187"/>
                  <a:pt x="3093" y="9187"/>
                  <a:pt x="3093" y="9187"/>
                </a:cubicBezTo>
                <a:cubicBezTo>
                  <a:pt x="3093" y="9219"/>
                  <a:pt x="3093" y="9219"/>
                  <a:pt x="3093" y="9219"/>
                </a:cubicBezTo>
                <a:cubicBezTo>
                  <a:pt x="3125" y="9219"/>
                  <a:pt x="3125" y="9219"/>
                  <a:pt x="3125" y="9219"/>
                </a:cubicBezTo>
                <a:cubicBezTo>
                  <a:pt x="3125" y="9219"/>
                  <a:pt x="3125" y="9219"/>
                  <a:pt x="3156" y="9219"/>
                </a:cubicBezTo>
                <a:cubicBezTo>
                  <a:pt x="3156" y="9219"/>
                  <a:pt x="3156" y="9219"/>
                  <a:pt x="3156" y="9219"/>
                </a:cubicBezTo>
                <a:cubicBezTo>
                  <a:pt x="3187" y="9219"/>
                  <a:pt x="3218" y="9187"/>
                  <a:pt x="3250" y="9156"/>
                </a:cubicBezTo>
                <a:cubicBezTo>
                  <a:pt x="3281" y="9156"/>
                  <a:pt x="3250" y="9125"/>
                  <a:pt x="3250" y="9094"/>
                </a:cubicBezTo>
                <a:cubicBezTo>
                  <a:pt x="3250" y="9094"/>
                  <a:pt x="3250" y="9062"/>
                  <a:pt x="3250" y="9062"/>
                </a:cubicBezTo>
                <a:cubicBezTo>
                  <a:pt x="3281" y="9062"/>
                  <a:pt x="3281" y="9000"/>
                  <a:pt x="3343" y="9000"/>
                </a:cubicBezTo>
                <a:cubicBezTo>
                  <a:pt x="3343" y="9000"/>
                  <a:pt x="3375" y="9000"/>
                  <a:pt x="3375" y="9000"/>
                </a:cubicBezTo>
                <a:cubicBezTo>
                  <a:pt x="3437" y="9000"/>
                  <a:pt x="3437" y="9031"/>
                  <a:pt x="3437" y="9062"/>
                </a:cubicBezTo>
                <a:cubicBezTo>
                  <a:pt x="3437" y="9062"/>
                  <a:pt x="3437" y="9062"/>
                  <a:pt x="3437" y="9062"/>
                </a:cubicBezTo>
                <a:cubicBezTo>
                  <a:pt x="3437" y="9062"/>
                  <a:pt x="3437" y="9094"/>
                  <a:pt x="3437" y="9094"/>
                </a:cubicBezTo>
                <a:cubicBezTo>
                  <a:pt x="3468" y="9187"/>
                  <a:pt x="3343" y="9219"/>
                  <a:pt x="3281" y="9281"/>
                </a:cubicBezTo>
                <a:cubicBezTo>
                  <a:pt x="3468" y="9281"/>
                  <a:pt x="3468" y="9312"/>
                  <a:pt x="3375" y="9375"/>
                </a:cubicBezTo>
                <a:cubicBezTo>
                  <a:pt x="3343" y="9406"/>
                  <a:pt x="3312" y="9406"/>
                  <a:pt x="3281" y="9437"/>
                </a:cubicBezTo>
                <a:cubicBezTo>
                  <a:pt x="3250" y="9437"/>
                  <a:pt x="3218" y="9437"/>
                  <a:pt x="3218" y="9469"/>
                </a:cubicBezTo>
                <a:cubicBezTo>
                  <a:pt x="3218" y="9469"/>
                  <a:pt x="3187" y="9469"/>
                  <a:pt x="3187" y="9500"/>
                </a:cubicBezTo>
                <a:cubicBezTo>
                  <a:pt x="3187" y="9500"/>
                  <a:pt x="3187" y="9500"/>
                  <a:pt x="3187" y="9500"/>
                </a:cubicBezTo>
                <a:cubicBezTo>
                  <a:pt x="3187" y="9500"/>
                  <a:pt x="3218" y="9531"/>
                  <a:pt x="3218" y="9562"/>
                </a:cubicBezTo>
                <a:cubicBezTo>
                  <a:pt x="3250" y="9562"/>
                  <a:pt x="3281" y="9562"/>
                  <a:pt x="3312" y="9594"/>
                </a:cubicBezTo>
                <a:cubicBezTo>
                  <a:pt x="3312" y="9594"/>
                  <a:pt x="3312" y="9594"/>
                  <a:pt x="3312" y="9594"/>
                </a:cubicBezTo>
                <a:cubicBezTo>
                  <a:pt x="3312" y="9594"/>
                  <a:pt x="3281" y="9625"/>
                  <a:pt x="3281" y="9625"/>
                </a:cubicBezTo>
                <a:cubicBezTo>
                  <a:pt x="3250" y="9625"/>
                  <a:pt x="3250" y="9656"/>
                  <a:pt x="3250" y="9656"/>
                </a:cubicBezTo>
                <a:cubicBezTo>
                  <a:pt x="3250" y="9687"/>
                  <a:pt x="3218" y="9687"/>
                  <a:pt x="3218" y="9719"/>
                </a:cubicBezTo>
                <a:cubicBezTo>
                  <a:pt x="3187" y="9719"/>
                  <a:pt x="3187" y="9719"/>
                  <a:pt x="3156" y="9719"/>
                </a:cubicBezTo>
                <a:cubicBezTo>
                  <a:pt x="3125" y="9719"/>
                  <a:pt x="3125" y="9719"/>
                  <a:pt x="3125" y="9719"/>
                </a:cubicBezTo>
                <a:cubicBezTo>
                  <a:pt x="3093" y="9719"/>
                  <a:pt x="3125" y="9750"/>
                  <a:pt x="3125" y="9781"/>
                </a:cubicBezTo>
                <a:cubicBezTo>
                  <a:pt x="3125" y="9781"/>
                  <a:pt x="3125" y="9781"/>
                  <a:pt x="3125" y="9781"/>
                </a:cubicBezTo>
                <a:cubicBezTo>
                  <a:pt x="3156" y="9812"/>
                  <a:pt x="3187" y="9812"/>
                  <a:pt x="3218" y="9812"/>
                </a:cubicBezTo>
                <a:cubicBezTo>
                  <a:pt x="3250" y="9812"/>
                  <a:pt x="3250" y="9812"/>
                  <a:pt x="3281" y="9812"/>
                </a:cubicBezTo>
                <a:cubicBezTo>
                  <a:pt x="3281" y="9812"/>
                  <a:pt x="3281" y="9812"/>
                  <a:pt x="3312" y="9781"/>
                </a:cubicBezTo>
                <a:cubicBezTo>
                  <a:pt x="3343" y="9781"/>
                  <a:pt x="3375" y="9750"/>
                  <a:pt x="3406" y="9750"/>
                </a:cubicBezTo>
                <a:cubicBezTo>
                  <a:pt x="3437" y="9750"/>
                  <a:pt x="3437" y="9750"/>
                  <a:pt x="3468" y="9781"/>
                </a:cubicBezTo>
                <a:cubicBezTo>
                  <a:pt x="3468" y="9781"/>
                  <a:pt x="3500" y="9781"/>
                  <a:pt x="3500" y="9781"/>
                </a:cubicBezTo>
                <a:cubicBezTo>
                  <a:pt x="3531" y="9781"/>
                  <a:pt x="3531" y="9781"/>
                  <a:pt x="3562" y="9812"/>
                </a:cubicBezTo>
                <a:cubicBezTo>
                  <a:pt x="3562" y="9812"/>
                  <a:pt x="3593" y="9812"/>
                  <a:pt x="3593" y="9812"/>
                </a:cubicBezTo>
                <a:cubicBezTo>
                  <a:pt x="3625" y="9875"/>
                  <a:pt x="3593" y="9906"/>
                  <a:pt x="3562" y="9937"/>
                </a:cubicBezTo>
                <a:cubicBezTo>
                  <a:pt x="3562" y="9969"/>
                  <a:pt x="3562" y="9969"/>
                  <a:pt x="3562" y="10000"/>
                </a:cubicBezTo>
                <a:cubicBezTo>
                  <a:pt x="3562" y="10000"/>
                  <a:pt x="3562" y="10000"/>
                  <a:pt x="3562" y="10000"/>
                </a:cubicBezTo>
                <a:cubicBezTo>
                  <a:pt x="3562" y="10031"/>
                  <a:pt x="3531" y="10031"/>
                  <a:pt x="3531" y="10031"/>
                </a:cubicBezTo>
                <a:cubicBezTo>
                  <a:pt x="3531" y="10031"/>
                  <a:pt x="3531" y="10031"/>
                  <a:pt x="3531" y="10031"/>
                </a:cubicBezTo>
                <a:cubicBezTo>
                  <a:pt x="3500" y="10062"/>
                  <a:pt x="3500" y="10062"/>
                  <a:pt x="3500" y="10062"/>
                </a:cubicBezTo>
                <a:cubicBezTo>
                  <a:pt x="3500" y="10062"/>
                  <a:pt x="3500" y="10062"/>
                  <a:pt x="3500" y="10062"/>
                </a:cubicBezTo>
                <a:cubicBezTo>
                  <a:pt x="3468" y="10062"/>
                  <a:pt x="3468" y="10094"/>
                  <a:pt x="3437" y="10094"/>
                </a:cubicBezTo>
                <a:cubicBezTo>
                  <a:pt x="3437" y="10094"/>
                  <a:pt x="3437" y="10094"/>
                  <a:pt x="3437" y="10094"/>
                </a:cubicBezTo>
                <a:cubicBezTo>
                  <a:pt x="3375" y="10125"/>
                  <a:pt x="3312" y="10156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18" y="10187"/>
                </a:cubicBezTo>
                <a:cubicBezTo>
                  <a:pt x="3218" y="10187"/>
                  <a:pt x="3218" y="10187"/>
                  <a:pt x="3218" y="10187"/>
                </a:cubicBezTo>
                <a:cubicBezTo>
                  <a:pt x="3218" y="10187"/>
                  <a:pt x="3218" y="10187"/>
                  <a:pt x="3218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219"/>
                  <a:pt x="3250" y="10281"/>
                  <a:pt x="3250" y="10312"/>
                </a:cubicBezTo>
                <a:cubicBezTo>
                  <a:pt x="3187" y="10406"/>
                  <a:pt x="3062" y="10500"/>
                  <a:pt x="2906" y="10562"/>
                </a:cubicBezTo>
                <a:cubicBezTo>
                  <a:pt x="2875" y="10562"/>
                  <a:pt x="2875" y="10562"/>
                  <a:pt x="2875" y="10562"/>
                </a:cubicBezTo>
                <a:cubicBezTo>
                  <a:pt x="2843" y="10562"/>
                  <a:pt x="2843" y="10562"/>
                  <a:pt x="2843" y="10562"/>
                </a:cubicBezTo>
                <a:cubicBezTo>
                  <a:pt x="2812" y="10594"/>
                  <a:pt x="2812" y="10594"/>
                  <a:pt x="2812" y="10594"/>
                </a:cubicBezTo>
                <a:cubicBezTo>
                  <a:pt x="2812" y="10594"/>
                  <a:pt x="2812" y="10594"/>
                  <a:pt x="2843" y="10594"/>
                </a:cubicBezTo>
                <a:cubicBezTo>
                  <a:pt x="2937" y="10656"/>
                  <a:pt x="2843" y="10687"/>
                  <a:pt x="2843" y="10750"/>
                </a:cubicBezTo>
                <a:cubicBezTo>
                  <a:pt x="2812" y="10750"/>
                  <a:pt x="2812" y="10750"/>
                  <a:pt x="2812" y="10750"/>
                </a:cubicBezTo>
                <a:cubicBezTo>
                  <a:pt x="2812" y="10812"/>
                  <a:pt x="2812" y="10875"/>
                  <a:pt x="2781" y="10937"/>
                </a:cubicBezTo>
                <a:cubicBezTo>
                  <a:pt x="2781" y="10969"/>
                  <a:pt x="2812" y="10969"/>
                  <a:pt x="2812" y="11000"/>
                </a:cubicBezTo>
                <a:cubicBezTo>
                  <a:pt x="2812" y="11031"/>
                  <a:pt x="2812" y="11031"/>
                  <a:pt x="2843" y="11031"/>
                </a:cubicBezTo>
                <a:cubicBezTo>
                  <a:pt x="2843" y="11062"/>
                  <a:pt x="2843" y="11062"/>
                  <a:pt x="2875" y="11062"/>
                </a:cubicBezTo>
                <a:cubicBezTo>
                  <a:pt x="3093" y="11219"/>
                  <a:pt x="3062" y="11344"/>
                  <a:pt x="3000" y="11469"/>
                </a:cubicBezTo>
                <a:cubicBezTo>
                  <a:pt x="2968" y="11531"/>
                  <a:pt x="2968" y="11562"/>
                  <a:pt x="2937" y="11594"/>
                </a:cubicBezTo>
                <a:cubicBezTo>
                  <a:pt x="2937" y="11594"/>
                  <a:pt x="2906" y="11625"/>
                  <a:pt x="2906" y="11656"/>
                </a:cubicBezTo>
                <a:cubicBezTo>
                  <a:pt x="2875" y="11750"/>
                  <a:pt x="2843" y="11844"/>
                  <a:pt x="2875" y="11937"/>
                </a:cubicBezTo>
                <a:cubicBezTo>
                  <a:pt x="2937" y="12031"/>
                  <a:pt x="3093" y="12125"/>
                  <a:pt x="3343" y="12156"/>
                </a:cubicBezTo>
                <a:cubicBezTo>
                  <a:pt x="3406" y="12187"/>
                  <a:pt x="3437" y="12187"/>
                  <a:pt x="3500" y="12187"/>
                </a:cubicBezTo>
                <a:cubicBezTo>
                  <a:pt x="3500" y="12219"/>
                  <a:pt x="3531" y="12219"/>
                  <a:pt x="3531" y="12219"/>
                </a:cubicBezTo>
                <a:cubicBezTo>
                  <a:pt x="3593" y="12219"/>
                  <a:pt x="3656" y="12250"/>
                  <a:pt x="3718" y="12219"/>
                </a:cubicBezTo>
                <a:cubicBezTo>
                  <a:pt x="3750" y="12219"/>
                  <a:pt x="3781" y="12219"/>
                  <a:pt x="3843" y="12219"/>
                </a:cubicBezTo>
                <a:cubicBezTo>
                  <a:pt x="3875" y="12219"/>
                  <a:pt x="3906" y="12187"/>
                  <a:pt x="3937" y="12187"/>
                </a:cubicBezTo>
                <a:cubicBezTo>
                  <a:pt x="4125" y="12125"/>
                  <a:pt x="4281" y="12031"/>
                  <a:pt x="4500" y="12031"/>
                </a:cubicBezTo>
                <a:cubicBezTo>
                  <a:pt x="4562" y="12031"/>
                  <a:pt x="4625" y="12031"/>
                  <a:pt x="4656" y="12031"/>
                </a:cubicBezTo>
                <a:cubicBezTo>
                  <a:pt x="4781" y="12031"/>
                  <a:pt x="4906" y="12000"/>
                  <a:pt x="5031" y="11969"/>
                </a:cubicBezTo>
                <a:cubicBezTo>
                  <a:pt x="5062" y="11969"/>
                  <a:pt x="5093" y="11969"/>
                  <a:pt x="5125" y="11937"/>
                </a:cubicBezTo>
                <a:cubicBezTo>
                  <a:pt x="5125" y="11937"/>
                  <a:pt x="5156" y="11937"/>
                  <a:pt x="5156" y="11937"/>
                </a:cubicBezTo>
                <a:cubicBezTo>
                  <a:pt x="5187" y="11937"/>
                  <a:pt x="5218" y="11937"/>
                  <a:pt x="5218" y="11906"/>
                </a:cubicBezTo>
                <a:cubicBezTo>
                  <a:pt x="5281" y="11875"/>
                  <a:pt x="5312" y="11844"/>
                  <a:pt x="5343" y="11781"/>
                </a:cubicBezTo>
                <a:cubicBezTo>
                  <a:pt x="5343" y="11719"/>
                  <a:pt x="5375" y="11625"/>
                  <a:pt x="5468" y="11594"/>
                </a:cubicBezTo>
                <a:cubicBezTo>
                  <a:pt x="5468" y="11594"/>
                  <a:pt x="5468" y="11594"/>
                  <a:pt x="5468" y="11594"/>
                </a:cubicBezTo>
                <a:cubicBezTo>
                  <a:pt x="5531" y="11562"/>
                  <a:pt x="5562" y="11562"/>
                  <a:pt x="5562" y="11562"/>
                </a:cubicBezTo>
                <a:cubicBezTo>
                  <a:pt x="5593" y="11531"/>
                  <a:pt x="5593" y="11531"/>
                  <a:pt x="5593" y="11531"/>
                </a:cubicBezTo>
                <a:cubicBezTo>
                  <a:pt x="5562" y="11500"/>
                  <a:pt x="5562" y="11469"/>
                  <a:pt x="5500" y="11469"/>
                </a:cubicBezTo>
                <a:cubicBezTo>
                  <a:pt x="5500" y="11469"/>
                  <a:pt x="5500" y="11469"/>
                  <a:pt x="5500" y="11469"/>
                </a:cubicBezTo>
                <a:cubicBezTo>
                  <a:pt x="5468" y="11469"/>
                  <a:pt x="5468" y="11469"/>
                  <a:pt x="5468" y="11469"/>
                </a:cubicBezTo>
                <a:cubicBezTo>
                  <a:pt x="5437" y="11469"/>
                  <a:pt x="5437" y="11469"/>
                  <a:pt x="5406" y="11469"/>
                </a:cubicBezTo>
                <a:cubicBezTo>
                  <a:pt x="5375" y="11469"/>
                  <a:pt x="5375" y="11437"/>
                  <a:pt x="5375" y="11406"/>
                </a:cubicBezTo>
                <a:cubicBezTo>
                  <a:pt x="5343" y="11406"/>
                  <a:pt x="5343" y="11406"/>
                  <a:pt x="5343" y="11375"/>
                </a:cubicBezTo>
                <a:cubicBezTo>
                  <a:pt x="5375" y="11344"/>
                  <a:pt x="5500" y="11281"/>
                  <a:pt x="5500" y="11250"/>
                </a:cubicBezTo>
                <a:cubicBezTo>
                  <a:pt x="5500" y="11250"/>
                  <a:pt x="5531" y="11250"/>
                  <a:pt x="5531" y="11219"/>
                </a:cubicBezTo>
                <a:cubicBezTo>
                  <a:pt x="5531" y="11219"/>
                  <a:pt x="5531" y="11219"/>
                  <a:pt x="5531" y="11219"/>
                </a:cubicBezTo>
                <a:cubicBezTo>
                  <a:pt x="5656" y="11219"/>
                  <a:pt x="5781" y="11250"/>
                  <a:pt x="5906" y="11250"/>
                </a:cubicBezTo>
                <a:cubicBezTo>
                  <a:pt x="5906" y="11250"/>
                  <a:pt x="5906" y="11250"/>
                  <a:pt x="5906" y="11250"/>
                </a:cubicBezTo>
                <a:cubicBezTo>
                  <a:pt x="5906" y="11250"/>
                  <a:pt x="5906" y="11250"/>
                  <a:pt x="5906" y="11250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37" y="11344"/>
                  <a:pt x="6062" y="11375"/>
                  <a:pt x="6000" y="11469"/>
                </a:cubicBezTo>
                <a:cubicBezTo>
                  <a:pt x="6000" y="11469"/>
                  <a:pt x="5968" y="11469"/>
                  <a:pt x="5968" y="11469"/>
                </a:cubicBezTo>
                <a:cubicBezTo>
                  <a:pt x="5968" y="11469"/>
                  <a:pt x="5968" y="11469"/>
                  <a:pt x="5968" y="11469"/>
                </a:cubicBezTo>
                <a:cubicBezTo>
                  <a:pt x="5937" y="11469"/>
                  <a:pt x="5937" y="11469"/>
                  <a:pt x="5937" y="11469"/>
                </a:cubicBezTo>
                <a:cubicBezTo>
                  <a:pt x="5937" y="11469"/>
                  <a:pt x="5937" y="11469"/>
                  <a:pt x="5937" y="11469"/>
                </a:cubicBezTo>
                <a:cubicBezTo>
                  <a:pt x="5937" y="11469"/>
                  <a:pt x="5906" y="11469"/>
                  <a:pt x="5906" y="11469"/>
                </a:cubicBezTo>
                <a:cubicBezTo>
                  <a:pt x="5906" y="11469"/>
                  <a:pt x="5906" y="11469"/>
                  <a:pt x="5906" y="11469"/>
                </a:cubicBezTo>
                <a:cubicBezTo>
                  <a:pt x="5906" y="11469"/>
                  <a:pt x="5906" y="11469"/>
                  <a:pt x="5906" y="11469"/>
                </a:cubicBezTo>
                <a:cubicBezTo>
                  <a:pt x="5906" y="11469"/>
                  <a:pt x="5906" y="11469"/>
                  <a:pt x="5906" y="11500"/>
                </a:cubicBezTo>
                <a:cubicBezTo>
                  <a:pt x="5906" y="11500"/>
                  <a:pt x="5906" y="11500"/>
                  <a:pt x="5906" y="11500"/>
                </a:cubicBezTo>
                <a:cubicBezTo>
                  <a:pt x="5906" y="11500"/>
                  <a:pt x="5875" y="11500"/>
                  <a:pt x="5875" y="11500"/>
                </a:cubicBezTo>
                <a:cubicBezTo>
                  <a:pt x="5875" y="11500"/>
                  <a:pt x="5875" y="11500"/>
                  <a:pt x="5875" y="11500"/>
                </a:cubicBezTo>
                <a:cubicBezTo>
                  <a:pt x="5875" y="11500"/>
                  <a:pt x="5875" y="11531"/>
                  <a:pt x="5906" y="11531"/>
                </a:cubicBezTo>
                <a:cubicBezTo>
                  <a:pt x="5906" y="11531"/>
                  <a:pt x="5906" y="11531"/>
                  <a:pt x="5906" y="11531"/>
                </a:cubicBezTo>
                <a:cubicBezTo>
                  <a:pt x="5906" y="11625"/>
                  <a:pt x="5843" y="11750"/>
                  <a:pt x="5843" y="11844"/>
                </a:cubicBezTo>
                <a:cubicBezTo>
                  <a:pt x="5843" y="11844"/>
                  <a:pt x="5843" y="11844"/>
                  <a:pt x="5875" y="11875"/>
                </a:cubicBezTo>
                <a:cubicBezTo>
                  <a:pt x="5875" y="11906"/>
                  <a:pt x="5906" y="11906"/>
                  <a:pt x="5937" y="11937"/>
                </a:cubicBezTo>
                <a:cubicBezTo>
                  <a:pt x="5968" y="11969"/>
                  <a:pt x="6031" y="11969"/>
                  <a:pt x="6062" y="11969"/>
                </a:cubicBezTo>
                <a:cubicBezTo>
                  <a:pt x="6062" y="11969"/>
                  <a:pt x="6062" y="12000"/>
                  <a:pt x="6093" y="12000"/>
                </a:cubicBezTo>
                <a:cubicBezTo>
                  <a:pt x="6093" y="12000"/>
                  <a:pt x="6093" y="12000"/>
                  <a:pt x="6093" y="12031"/>
                </a:cubicBezTo>
                <a:cubicBezTo>
                  <a:pt x="6093" y="12062"/>
                  <a:pt x="6125" y="12094"/>
                  <a:pt x="6187" y="12125"/>
                </a:cubicBezTo>
                <a:cubicBezTo>
                  <a:pt x="6218" y="12156"/>
                  <a:pt x="6281" y="12187"/>
                  <a:pt x="6343" y="12219"/>
                </a:cubicBezTo>
                <a:cubicBezTo>
                  <a:pt x="6343" y="12187"/>
                  <a:pt x="6343" y="12156"/>
                  <a:pt x="6375" y="12125"/>
                </a:cubicBezTo>
                <a:cubicBezTo>
                  <a:pt x="6406" y="12094"/>
                  <a:pt x="6468" y="12062"/>
                  <a:pt x="6531" y="12031"/>
                </a:cubicBezTo>
                <a:cubicBezTo>
                  <a:pt x="6562" y="12062"/>
                  <a:pt x="6593" y="12062"/>
                  <a:pt x="6625" y="12062"/>
                </a:cubicBezTo>
                <a:cubicBezTo>
                  <a:pt x="6625" y="12094"/>
                  <a:pt x="6625" y="12125"/>
                  <a:pt x="6625" y="12156"/>
                </a:cubicBezTo>
                <a:cubicBezTo>
                  <a:pt x="6656" y="12250"/>
                  <a:pt x="6718" y="12344"/>
                  <a:pt x="6843" y="12375"/>
                </a:cubicBezTo>
                <a:cubicBezTo>
                  <a:pt x="6875" y="12406"/>
                  <a:pt x="6875" y="12406"/>
                  <a:pt x="6906" y="12406"/>
                </a:cubicBezTo>
                <a:cubicBezTo>
                  <a:pt x="6968" y="12406"/>
                  <a:pt x="7031" y="12437"/>
                  <a:pt x="7093" y="12437"/>
                </a:cubicBezTo>
                <a:cubicBezTo>
                  <a:pt x="7187" y="12469"/>
                  <a:pt x="7312" y="12500"/>
                  <a:pt x="7406" y="12500"/>
                </a:cubicBezTo>
                <a:cubicBezTo>
                  <a:pt x="7437" y="12500"/>
                  <a:pt x="7437" y="12500"/>
                  <a:pt x="7468" y="12500"/>
                </a:cubicBezTo>
                <a:cubicBezTo>
                  <a:pt x="7625" y="12500"/>
                  <a:pt x="7750" y="12469"/>
                  <a:pt x="7906" y="12375"/>
                </a:cubicBezTo>
                <a:cubicBezTo>
                  <a:pt x="7906" y="12344"/>
                  <a:pt x="7937" y="12344"/>
                  <a:pt x="7937" y="12344"/>
                </a:cubicBezTo>
                <a:cubicBezTo>
                  <a:pt x="7968" y="12344"/>
                  <a:pt x="7968" y="12344"/>
                  <a:pt x="8000" y="12344"/>
                </a:cubicBezTo>
                <a:cubicBezTo>
                  <a:pt x="8000" y="12312"/>
                  <a:pt x="8031" y="12312"/>
                  <a:pt x="8062" y="12312"/>
                </a:cubicBezTo>
                <a:cubicBezTo>
                  <a:pt x="8062" y="12312"/>
                  <a:pt x="8062" y="12312"/>
                  <a:pt x="8093" y="12312"/>
                </a:cubicBezTo>
                <a:cubicBezTo>
                  <a:pt x="8125" y="12312"/>
                  <a:pt x="8125" y="12312"/>
                  <a:pt x="8156" y="12312"/>
                </a:cubicBezTo>
                <a:cubicBezTo>
                  <a:pt x="8218" y="12312"/>
                  <a:pt x="8250" y="12312"/>
                  <a:pt x="8281" y="12344"/>
                </a:cubicBezTo>
                <a:cubicBezTo>
                  <a:pt x="8312" y="12344"/>
                  <a:pt x="8312" y="12375"/>
                  <a:pt x="8312" y="12406"/>
                </a:cubicBezTo>
                <a:cubicBezTo>
                  <a:pt x="8312" y="12531"/>
                  <a:pt x="8437" y="12562"/>
                  <a:pt x="8562" y="12625"/>
                </a:cubicBezTo>
                <a:cubicBezTo>
                  <a:pt x="8593" y="12656"/>
                  <a:pt x="8656" y="12687"/>
                  <a:pt x="8687" y="12687"/>
                </a:cubicBezTo>
                <a:cubicBezTo>
                  <a:pt x="8718" y="12687"/>
                  <a:pt x="8750" y="12687"/>
                  <a:pt x="8812" y="12687"/>
                </a:cubicBezTo>
                <a:cubicBezTo>
                  <a:pt x="8812" y="12687"/>
                  <a:pt x="8843" y="12687"/>
                  <a:pt x="8875" y="12687"/>
                </a:cubicBezTo>
                <a:cubicBezTo>
                  <a:pt x="9187" y="12625"/>
                  <a:pt x="9468" y="12562"/>
                  <a:pt x="9781" y="12469"/>
                </a:cubicBezTo>
                <a:cubicBezTo>
                  <a:pt x="9812" y="12469"/>
                  <a:pt x="9875" y="12437"/>
                  <a:pt x="9937" y="12437"/>
                </a:cubicBezTo>
                <a:cubicBezTo>
                  <a:pt x="9968" y="12406"/>
                  <a:pt x="10031" y="12406"/>
                  <a:pt x="10062" y="12375"/>
                </a:cubicBezTo>
                <a:cubicBezTo>
                  <a:pt x="10187" y="12344"/>
                  <a:pt x="10281" y="12312"/>
                  <a:pt x="10375" y="12281"/>
                </a:cubicBezTo>
                <a:cubicBezTo>
                  <a:pt x="10406" y="12281"/>
                  <a:pt x="10468" y="12281"/>
                  <a:pt x="10500" y="12281"/>
                </a:cubicBezTo>
                <a:cubicBezTo>
                  <a:pt x="10500" y="12312"/>
                  <a:pt x="10531" y="12344"/>
                  <a:pt x="10531" y="12344"/>
                </a:cubicBezTo>
                <a:cubicBezTo>
                  <a:pt x="10531" y="12344"/>
                  <a:pt x="10531" y="12344"/>
                  <a:pt x="10531" y="12344"/>
                </a:cubicBezTo>
                <a:cubicBezTo>
                  <a:pt x="10531" y="12344"/>
                  <a:pt x="10531" y="12344"/>
                  <a:pt x="10531" y="12344"/>
                </a:cubicBezTo>
                <a:cubicBezTo>
                  <a:pt x="10562" y="12344"/>
                  <a:pt x="10593" y="12375"/>
                  <a:pt x="10625" y="12375"/>
                </a:cubicBezTo>
                <a:cubicBezTo>
                  <a:pt x="10656" y="12406"/>
                  <a:pt x="10687" y="12406"/>
                  <a:pt x="10718" y="12406"/>
                </a:cubicBezTo>
                <a:cubicBezTo>
                  <a:pt x="10718" y="12406"/>
                  <a:pt x="10718" y="12406"/>
                  <a:pt x="10750" y="12406"/>
                </a:cubicBezTo>
                <a:cubicBezTo>
                  <a:pt x="10781" y="12406"/>
                  <a:pt x="10812" y="12406"/>
                  <a:pt x="10843" y="12344"/>
                </a:cubicBezTo>
                <a:cubicBezTo>
                  <a:pt x="10875" y="12344"/>
                  <a:pt x="10906" y="12344"/>
                  <a:pt x="10906" y="12344"/>
                </a:cubicBezTo>
                <a:cubicBezTo>
                  <a:pt x="10968" y="12375"/>
                  <a:pt x="11000" y="12406"/>
                  <a:pt x="11062" y="12406"/>
                </a:cubicBezTo>
                <a:cubicBezTo>
                  <a:pt x="11062" y="12406"/>
                  <a:pt x="11093" y="12406"/>
                  <a:pt x="11125" y="12375"/>
                </a:cubicBezTo>
                <a:cubicBezTo>
                  <a:pt x="11125" y="12375"/>
                  <a:pt x="11125" y="12375"/>
                  <a:pt x="11156" y="12344"/>
                </a:cubicBezTo>
                <a:cubicBezTo>
                  <a:pt x="11156" y="12344"/>
                  <a:pt x="11156" y="12344"/>
                  <a:pt x="11156" y="12344"/>
                </a:cubicBezTo>
                <a:cubicBezTo>
                  <a:pt x="11187" y="12312"/>
                  <a:pt x="11250" y="12281"/>
                  <a:pt x="11218" y="12250"/>
                </a:cubicBezTo>
                <a:cubicBezTo>
                  <a:pt x="11187" y="12250"/>
                  <a:pt x="11187" y="12250"/>
                  <a:pt x="11156" y="12219"/>
                </a:cubicBezTo>
                <a:cubicBezTo>
                  <a:pt x="11156" y="12187"/>
                  <a:pt x="11156" y="12187"/>
                  <a:pt x="11156" y="12156"/>
                </a:cubicBezTo>
                <a:cubicBezTo>
                  <a:pt x="11218" y="12156"/>
                  <a:pt x="11250" y="12125"/>
                  <a:pt x="11312" y="12094"/>
                </a:cubicBezTo>
                <a:cubicBezTo>
                  <a:pt x="11343" y="12094"/>
                  <a:pt x="11375" y="12062"/>
                  <a:pt x="11437" y="12031"/>
                </a:cubicBezTo>
                <a:cubicBezTo>
                  <a:pt x="11562" y="11937"/>
                  <a:pt x="11687" y="11844"/>
                  <a:pt x="11875" y="11812"/>
                </a:cubicBezTo>
                <a:cubicBezTo>
                  <a:pt x="11937" y="11781"/>
                  <a:pt x="11968" y="11781"/>
                  <a:pt x="12031" y="11750"/>
                </a:cubicBezTo>
                <a:cubicBezTo>
                  <a:pt x="12062" y="11750"/>
                  <a:pt x="12093" y="11750"/>
                  <a:pt x="12093" y="11750"/>
                </a:cubicBezTo>
                <a:cubicBezTo>
                  <a:pt x="12125" y="11750"/>
                  <a:pt x="12156" y="11750"/>
                  <a:pt x="12187" y="11750"/>
                </a:cubicBezTo>
                <a:cubicBezTo>
                  <a:pt x="12218" y="11750"/>
                  <a:pt x="12250" y="11750"/>
                  <a:pt x="12312" y="11750"/>
                </a:cubicBezTo>
                <a:cubicBezTo>
                  <a:pt x="12312" y="11750"/>
                  <a:pt x="12343" y="11750"/>
                  <a:pt x="12343" y="11750"/>
                </a:cubicBezTo>
                <a:cubicBezTo>
                  <a:pt x="12375" y="11750"/>
                  <a:pt x="12406" y="11750"/>
                  <a:pt x="12406" y="11719"/>
                </a:cubicBezTo>
                <a:cubicBezTo>
                  <a:pt x="12437" y="11719"/>
                  <a:pt x="12468" y="11719"/>
                  <a:pt x="12500" y="11719"/>
                </a:cubicBezTo>
                <a:cubicBezTo>
                  <a:pt x="12500" y="11719"/>
                  <a:pt x="12500" y="11719"/>
                  <a:pt x="12531" y="11719"/>
                </a:cubicBezTo>
                <a:cubicBezTo>
                  <a:pt x="12531" y="11750"/>
                  <a:pt x="12531" y="11750"/>
                  <a:pt x="12562" y="11750"/>
                </a:cubicBezTo>
                <a:cubicBezTo>
                  <a:pt x="12562" y="11750"/>
                  <a:pt x="12593" y="11750"/>
                  <a:pt x="12593" y="11750"/>
                </a:cubicBezTo>
                <a:cubicBezTo>
                  <a:pt x="12625" y="11750"/>
                  <a:pt x="12656" y="11750"/>
                  <a:pt x="12656" y="11750"/>
                </a:cubicBezTo>
                <a:cubicBezTo>
                  <a:pt x="12687" y="11750"/>
                  <a:pt x="12687" y="11750"/>
                  <a:pt x="12718" y="11750"/>
                </a:cubicBezTo>
                <a:cubicBezTo>
                  <a:pt x="12750" y="11719"/>
                  <a:pt x="12750" y="11719"/>
                  <a:pt x="12781" y="11719"/>
                </a:cubicBezTo>
                <a:cubicBezTo>
                  <a:pt x="12781" y="11719"/>
                  <a:pt x="12781" y="11719"/>
                  <a:pt x="12781" y="11719"/>
                </a:cubicBezTo>
                <a:cubicBezTo>
                  <a:pt x="12812" y="11719"/>
                  <a:pt x="12812" y="11719"/>
                  <a:pt x="12812" y="11719"/>
                </a:cubicBezTo>
                <a:cubicBezTo>
                  <a:pt x="12812" y="11719"/>
                  <a:pt x="12812" y="11719"/>
                  <a:pt x="12843" y="11719"/>
                </a:cubicBezTo>
                <a:cubicBezTo>
                  <a:pt x="12843" y="11719"/>
                  <a:pt x="12843" y="11719"/>
                  <a:pt x="12843" y="11719"/>
                </a:cubicBezTo>
                <a:cubicBezTo>
                  <a:pt x="12875" y="11719"/>
                  <a:pt x="12906" y="11719"/>
                  <a:pt x="12906" y="11687"/>
                </a:cubicBezTo>
                <a:cubicBezTo>
                  <a:pt x="12906" y="11687"/>
                  <a:pt x="12875" y="11687"/>
                  <a:pt x="12875" y="11687"/>
                </a:cubicBezTo>
                <a:cubicBezTo>
                  <a:pt x="12843" y="11656"/>
                  <a:pt x="12812" y="11656"/>
                  <a:pt x="12781" y="11656"/>
                </a:cubicBezTo>
                <a:cubicBezTo>
                  <a:pt x="12812" y="11656"/>
                  <a:pt x="12843" y="11625"/>
                  <a:pt x="12875" y="11625"/>
                </a:cubicBezTo>
                <a:cubicBezTo>
                  <a:pt x="12906" y="11625"/>
                  <a:pt x="12937" y="11594"/>
                  <a:pt x="12968" y="11594"/>
                </a:cubicBezTo>
                <a:cubicBezTo>
                  <a:pt x="13000" y="11594"/>
                  <a:pt x="13031" y="11562"/>
                  <a:pt x="13031" y="11562"/>
                </a:cubicBezTo>
                <a:cubicBezTo>
                  <a:pt x="13093" y="11531"/>
                  <a:pt x="13125" y="11531"/>
                  <a:pt x="13156" y="11531"/>
                </a:cubicBezTo>
                <a:cubicBezTo>
                  <a:pt x="13187" y="11531"/>
                  <a:pt x="13218" y="11562"/>
                  <a:pt x="13281" y="11562"/>
                </a:cubicBezTo>
                <a:cubicBezTo>
                  <a:pt x="13281" y="11562"/>
                  <a:pt x="13281" y="11562"/>
                  <a:pt x="13281" y="11562"/>
                </a:cubicBezTo>
                <a:cubicBezTo>
                  <a:pt x="13312" y="11500"/>
                  <a:pt x="13343" y="11469"/>
                  <a:pt x="13343" y="11469"/>
                </a:cubicBezTo>
                <a:cubicBezTo>
                  <a:pt x="13343" y="11469"/>
                  <a:pt x="13375" y="11469"/>
                  <a:pt x="13375" y="11469"/>
                </a:cubicBezTo>
                <a:cubicBezTo>
                  <a:pt x="13375" y="11500"/>
                  <a:pt x="13406" y="11531"/>
                  <a:pt x="13406" y="11531"/>
                </a:cubicBezTo>
                <a:cubicBezTo>
                  <a:pt x="13406" y="11562"/>
                  <a:pt x="13406" y="11562"/>
                  <a:pt x="13437" y="11562"/>
                </a:cubicBezTo>
                <a:cubicBezTo>
                  <a:pt x="13437" y="11562"/>
                  <a:pt x="13437" y="11562"/>
                  <a:pt x="13437" y="11562"/>
                </a:cubicBezTo>
                <a:cubicBezTo>
                  <a:pt x="13468" y="11562"/>
                  <a:pt x="13468" y="11562"/>
                  <a:pt x="13500" y="11594"/>
                </a:cubicBezTo>
                <a:cubicBezTo>
                  <a:pt x="13531" y="11594"/>
                  <a:pt x="13531" y="11594"/>
                  <a:pt x="13562" y="11594"/>
                </a:cubicBezTo>
                <a:cubicBezTo>
                  <a:pt x="13750" y="11625"/>
                  <a:pt x="13875" y="11531"/>
                  <a:pt x="14062" y="11500"/>
                </a:cubicBezTo>
                <a:cubicBezTo>
                  <a:pt x="14031" y="11500"/>
                  <a:pt x="14000" y="11500"/>
                  <a:pt x="13968" y="11500"/>
                </a:cubicBezTo>
                <a:cubicBezTo>
                  <a:pt x="13937" y="11500"/>
                  <a:pt x="13937" y="11500"/>
                  <a:pt x="13906" y="11469"/>
                </a:cubicBezTo>
                <a:cubicBezTo>
                  <a:pt x="13906" y="11469"/>
                  <a:pt x="13875" y="11469"/>
                  <a:pt x="13875" y="11469"/>
                </a:cubicBezTo>
                <a:cubicBezTo>
                  <a:pt x="13843" y="11437"/>
                  <a:pt x="13843" y="11437"/>
                  <a:pt x="13812" y="11406"/>
                </a:cubicBezTo>
                <a:cubicBezTo>
                  <a:pt x="13843" y="11406"/>
                  <a:pt x="13875" y="11375"/>
                  <a:pt x="13906" y="11375"/>
                </a:cubicBezTo>
                <a:cubicBezTo>
                  <a:pt x="13968" y="11375"/>
                  <a:pt x="14031" y="11344"/>
                  <a:pt x="14093" y="11312"/>
                </a:cubicBezTo>
                <a:cubicBezTo>
                  <a:pt x="14125" y="11312"/>
                  <a:pt x="14156" y="11281"/>
                  <a:pt x="14156" y="11281"/>
                </a:cubicBezTo>
                <a:cubicBezTo>
                  <a:pt x="14187" y="11281"/>
                  <a:pt x="14187" y="11281"/>
                  <a:pt x="14187" y="11281"/>
                </a:cubicBezTo>
                <a:cubicBezTo>
                  <a:pt x="14218" y="11281"/>
                  <a:pt x="14218" y="11281"/>
                  <a:pt x="14250" y="11281"/>
                </a:cubicBezTo>
                <a:cubicBezTo>
                  <a:pt x="14312" y="11281"/>
                  <a:pt x="14375" y="11312"/>
                  <a:pt x="14406" y="11406"/>
                </a:cubicBezTo>
                <a:cubicBezTo>
                  <a:pt x="14406" y="11406"/>
                  <a:pt x="14437" y="11406"/>
                  <a:pt x="14437" y="11406"/>
                </a:cubicBezTo>
                <a:cubicBezTo>
                  <a:pt x="14437" y="11406"/>
                  <a:pt x="14437" y="11406"/>
                  <a:pt x="14437" y="11406"/>
                </a:cubicBezTo>
                <a:cubicBezTo>
                  <a:pt x="14437" y="11406"/>
                  <a:pt x="14468" y="11406"/>
                  <a:pt x="14468" y="11406"/>
                </a:cubicBezTo>
                <a:cubicBezTo>
                  <a:pt x="14468" y="11406"/>
                  <a:pt x="14500" y="11406"/>
                  <a:pt x="14500" y="11406"/>
                </a:cubicBezTo>
                <a:cubicBezTo>
                  <a:pt x="14562" y="11406"/>
                  <a:pt x="14593" y="11406"/>
                  <a:pt x="14625" y="11406"/>
                </a:cubicBezTo>
                <a:cubicBezTo>
                  <a:pt x="14656" y="11406"/>
                  <a:pt x="14687" y="11406"/>
                  <a:pt x="14718" y="11406"/>
                </a:cubicBezTo>
                <a:cubicBezTo>
                  <a:pt x="14781" y="11406"/>
                  <a:pt x="14812" y="11406"/>
                  <a:pt x="14843" y="11375"/>
                </a:cubicBezTo>
                <a:cubicBezTo>
                  <a:pt x="14968" y="11281"/>
                  <a:pt x="15125" y="11281"/>
                  <a:pt x="15281" y="11219"/>
                </a:cubicBezTo>
                <a:cubicBezTo>
                  <a:pt x="15468" y="11156"/>
                  <a:pt x="15625" y="11062"/>
                  <a:pt x="15812" y="11031"/>
                </a:cubicBezTo>
                <a:cubicBezTo>
                  <a:pt x="15843" y="11000"/>
                  <a:pt x="15875" y="11000"/>
                  <a:pt x="15937" y="11000"/>
                </a:cubicBezTo>
                <a:cubicBezTo>
                  <a:pt x="15968" y="10969"/>
                  <a:pt x="16000" y="10969"/>
                  <a:pt x="16031" y="10969"/>
                </a:cubicBezTo>
                <a:cubicBezTo>
                  <a:pt x="16093" y="10969"/>
                  <a:pt x="16156" y="10937"/>
                  <a:pt x="16218" y="10937"/>
                </a:cubicBezTo>
                <a:cubicBezTo>
                  <a:pt x="16687" y="10844"/>
                  <a:pt x="17187" y="10750"/>
                  <a:pt x="17687" y="10750"/>
                </a:cubicBezTo>
                <a:cubicBezTo>
                  <a:pt x="18031" y="10781"/>
                  <a:pt x="18343" y="10719"/>
                  <a:pt x="18625" y="10656"/>
                </a:cubicBezTo>
                <a:cubicBezTo>
                  <a:pt x="18718" y="10625"/>
                  <a:pt x="18812" y="10594"/>
                  <a:pt x="18906" y="10594"/>
                </a:cubicBezTo>
                <a:cubicBezTo>
                  <a:pt x="18937" y="10562"/>
                  <a:pt x="18968" y="10562"/>
                  <a:pt x="19000" y="10562"/>
                </a:cubicBezTo>
                <a:cubicBezTo>
                  <a:pt x="19062" y="10562"/>
                  <a:pt x="19125" y="10531"/>
                  <a:pt x="19187" y="10531"/>
                </a:cubicBezTo>
                <a:cubicBezTo>
                  <a:pt x="19187" y="10531"/>
                  <a:pt x="19218" y="10531"/>
                  <a:pt x="19218" y="10531"/>
                </a:cubicBezTo>
                <a:cubicBezTo>
                  <a:pt x="19281" y="10531"/>
                  <a:pt x="19343" y="10500"/>
                  <a:pt x="19406" y="10469"/>
                </a:cubicBezTo>
                <a:cubicBezTo>
                  <a:pt x="19406" y="10469"/>
                  <a:pt x="19406" y="10469"/>
                  <a:pt x="19406" y="10469"/>
                </a:cubicBezTo>
                <a:cubicBezTo>
                  <a:pt x="19375" y="10437"/>
                  <a:pt x="19343" y="10437"/>
                  <a:pt x="19281" y="10406"/>
                </a:cubicBezTo>
                <a:cubicBezTo>
                  <a:pt x="19250" y="10406"/>
                  <a:pt x="19187" y="10406"/>
                  <a:pt x="19156" y="10406"/>
                </a:cubicBezTo>
                <a:cubicBezTo>
                  <a:pt x="19125" y="10406"/>
                  <a:pt x="19093" y="10406"/>
                  <a:pt x="19062" y="10375"/>
                </a:cubicBezTo>
                <a:cubicBezTo>
                  <a:pt x="19093" y="10375"/>
                  <a:pt x="19125" y="10375"/>
                  <a:pt x="19125" y="10375"/>
                </a:cubicBezTo>
                <a:cubicBezTo>
                  <a:pt x="19156" y="10375"/>
                  <a:pt x="19156" y="10375"/>
                  <a:pt x="19156" y="10375"/>
                </a:cubicBezTo>
                <a:cubicBezTo>
                  <a:pt x="19187" y="10344"/>
                  <a:pt x="19187" y="10344"/>
                  <a:pt x="19187" y="10344"/>
                </a:cubicBezTo>
                <a:cubicBezTo>
                  <a:pt x="19187" y="10344"/>
                  <a:pt x="19187" y="10312"/>
                  <a:pt x="19156" y="10312"/>
                </a:cubicBezTo>
                <a:cubicBezTo>
                  <a:pt x="19156" y="10281"/>
                  <a:pt x="19093" y="10250"/>
                  <a:pt x="19093" y="10250"/>
                </a:cubicBezTo>
                <a:cubicBezTo>
                  <a:pt x="19093" y="10250"/>
                  <a:pt x="19093" y="10250"/>
                  <a:pt x="19125" y="10250"/>
                </a:cubicBezTo>
                <a:cubicBezTo>
                  <a:pt x="19218" y="10219"/>
                  <a:pt x="19312" y="10187"/>
                  <a:pt x="19343" y="10250"/>
                </a:cubicBezTo>
                <a:cubicBezTo>
                  <a:pt x="19343" y="10344"/>
                  <a:pt x="19437" y="10312"/>
                  <a:pt x="19500" y="10312"/>
                </a:cubicBezTo>
                <a:cubicBezTo>
                  <a:pt x="19593" y="10312"/>
                  <a:pt x="19687" y="10312"/>
                  <a:pt x="19781" y="10312"/>
                </a:cubicBezTo>
                <a:cubicBezTo>
                  <a:pt x="19812" y="10281"/>
                  <a:pt x="19875" y="10281"/>
                  <a:pt x="19937" y="10281"/>
                </a:cubicBezTo>
                <a:cubicBezTo>
                  <a:pt x="20031" y="10281"/>
                  <a:pt x="20125" y="10250"/>
                  <a:pt x="20218" y="10250"/>
                </a:cubicBezTo>
                <a:cubicBezTo>
                  <a:pt x="20281" y="10219"/>
                  <a:pt x="20343" y="10219"/>
                  <a:pt x="20406" y="10187"/>
                </a:cubicBezTo>
                <a:cubicBezTo>
                  <a:pt x="20531" y="10187"/>
                  <a:pt x="20656" y="10156"/>
                  <a:pt x="20781" y="10125"/>
                </a:cubicBezTo>
                <a:cubicBezTo>
                  <a:pt x="20843" y="10125"/>
                  <a:pt x="20906" y="10125"/>
                  <a:pt x="20968" y="10094"/>
                </a:cubicBezTo>
                <a:cubicBezTo>
                  <a:pt x="21093" y="10094"/>
                  <a:pt x="21187" y="10094"/>
                  <a:pt x="21312" y="10094"/>
                </a:cubicBezTo>
                <a:cubicBezTo>
                  <a:pt x="21343" y="10094"/>
                  <a:pt x="21375" y="10094"/>
                  <a:pt x="21406" y="10094"/>
                </a:cubicBezTo>
                <a:cubicBezTo>
                  <a:pt x="21500" y="10094"/>
                  <a:pt x="21593" y="10094"/>
                  <a:pt x="21687" y="10094"/>
                </a:cubicBezTo>
                <a:cubicBezTo>
                  <a:pt x="21687" y="10062"/>
                  <a:pt x="21687" y="10062"/>
                  <a:pt x="21656" y="10031"/>
                </a:cubicBezTo>
                <a:cubicBezTo>
                  <a:pt x="21656" y="10031"/>
                  <a:pt x="21625" y="10000"/>
                  <a:pt x="21562" y="10000"/>
                </a:cubicBezTo>
                <a:cubicBezTo>
                  <a:pt x="21531" y="9969"/>
                  <a:pt x="21500" y="9969"/>
                  <a:pt x="21468" y="9937"/>
                </a:cubicBezTo>
                <a:cubicBezTo>
                  <a:pt x="21468" y="9937"/>
                  <a:pt x="21468" y="9906"/>
                  <a:pt x="21468" y="9906"/>
                </a:cubicBezTo>
                <a:cubicBezTo>
                  <a:pt x="21531" y="9906"/>
                  <a:pt x="21625" y="9875"/>
                  <a:pt x="21718" y="9875"/>
                </a:cubicBezTo>
                <a:cubicBezTo>
                  <a:pt x="21718" y="9875"/>
                  <a:pt x="21750" y="9875"/>
                  <a:pt x="21781" y="9875"/>
                </a:cubicBezTo>
                <a:cubicBezTo>
                  <a:pt x="21812" y="9875"/>
                  <a:pt x="21843" y="9875"/>
                  <a:pt x="21906" y="9906"/>
                </a:cubicBezTo>
                <a:cubicBezTo>
                  <a:pt x="21906" y="9906"/>
                  <a:pt x="21937" y="9906"/>
                  <a:pt x="21968" y="9906"/>
                </a:cubicBezTo>
                <a:cubicBezTo>
                  <a:pt x="22000" y="9937"/>
                  <a:pt x="22093" y="9937"/>
                  <a:pt x="22156" y="9906"/>
                </a:cubicBezTo>
                <a:cubicBezTo>
                  <a:pt x="22187" y="9906"/>
                  <a:pt x="22187" y="9906"/>
                  <a:pt x="22218" y="9906"/>
                </a:cubicBezTo>
                <a:cubicBezTo>
                  <a:pt x="22218" y="9906"/>
                  <a:pt x="22218" y="9875"/>
                  <a:pt x="22250" y="9875"/>
                </a:cubicBezTo>
                <a:cubicBezTo>
                  <a:pt x="22250" y="9875"/>
                  <a:pt x="22281" y="9875"/>
                  <a:pt x="22281" y="9844"/>
                </a:cubicBezTo>
                <a:cubicBezTo>
                  <a:pt x="22281" y="9844"/>
                  <a:pt x="22281" y="9812"/>
                  <a:pt x="22281" y="9812"/>
                </a:cubicBezTo>
                <a:cubicBezTo>
                  <a:pt x="22312" y="9812"/>
                  <a:pt x="22312" y="9812"/>
                  <a:pt x="22343" y="9781"/>
                </a:cubicBezTo>
                <a:cubicBezTo>
                  <a:pt x="22343" y="9781"/>
                  <a:pt x="22343" y="9781"/>
                  <a:pt x="22375" y="9781"/>
                </a:cubicBezTo>
                <a:cubicBezTo>
                  <a:pt x="22437" y="9750"/>
                  <a:pt x="22531" y="9719"/>
                  <a:pt x="22468" y="9687"/>
                </a:cubicBezTo>
                <a:cubicBezTo>
                  <a:pt x="22437" y="9656"/>
                  <a:pt x="22406" y="9656"/>
                  <a:pt x="22343" y="9625"/>
                </a:cubicBezTo>
                <a:cubicBezTo>
                  <a:pt x="22375" y="9625"/>
                  <a:pt x="22375" y="9625"/>
                  <a:pt x="22406" y="9625"/>
                </a:cubicBezTo>
                <a:cubicBezTo>
                  <a:pt x="22437" y="9594"/>
                  <a:pt x="22437" y="9531"/>
                  <a:pt x="22437" y="9500"/>
                </a:cubicBezTo>
                <a:cubicBezTo>
                  <a:pt x="22468" y="9500"/>
                  <a:pt x="22437" y="9500"/>
                  <a:pt x="22437" y="9469"/>
                </a:cubicBezTo>
                <a:cubicBezTo>
                  <a:pt x="22406" y="9469"/>
                  <a:pt x="22375" y="9469"/>
                  <a:pt x="22375" y="9469"/>
                </a:cubicBezTo>
                <a:cubicBezTo>
                  <a:pt x="22343" y="9469"/>
                  <a:pt x="22312" y="9469"/>
                  <a:pt x="22312" y="9437"/>
                </a:cubicBezTo>
                <a:cubicBezTo>
                  <a:pt x="21875" y="9375"/>
                  <a:pt x="21406" y="9312"/>
                  <a:pt x="20937" y="9312"/>
                </a:cubicBezTo>
                <a:cubicBezTo>
                  <a:pt x="20875" y="9312"/>
                  <a:pt x="20812" y="9312"/>
                  <a:pt x="20750" y="9312"/>
                </a:cubicBezTo>
                <a:cubicBezTo>
                  <a:pt x="20750" y="9312"/>
                  <a:pt x="20750" y="9312"/>
                  <a:pt x="20750" y="9312"/>
                </a:cubicBezTo>
                <a:cubicBezTo>
                  <a:pt x="20656" y="9312"/>
                  <a:pt x="20531" y="9344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06" y="9250"/>
                  <a:pt x="20375" y="9250"/>
                  <a:pt x="20343" y="9250"/>
                </a:cubicBezTo>
                <a:cubicBezTo>
                  <a:pt x="20312" y="9250"/>
                  <a:pt x="20312" y="9250"/>
                  <a:pt x="20312" y="9250"/>
                </a:cubicBezTo>
                <a:cubicBezTo>
                  <a:pt x="20281" y="9250"/>
                  <a:pt x="20281" y="9250"/>
                  <a:pt x="20250" y="9250"/>
                </a:cubicBezTo>
                <a:cubicBezTo>
                  <a:pt x="20250" y="9250"/>
                  <a:pt x="20250" y="9250"/>
                  <a:pt x="20250" y="9250"/>
                </a:cubicBezTo>
                <a:cubicBezTo>
                  <a:pt x="20218" y="9250"/>
                  <a:pt x="20187" y="9281"/>
                  <a:pt x="20187" y="9281"/>
                </a:cubicBezTo>
                <a:cubicBezTo>
                  <a:pt x="20031" y="9312"/>
                  <a:pt x="19906" y="9344"/>
                  <a:pt x="19781" y="9344"/>
                </a:cubicBezTo>
                <a:cubicBezTo>
                  <a:pt x="19718" y="9344"/>
                  <a:pt x="19687" y="9344"/>
                  <a:pt x="19625" y="9344"/>
                </a:cubicBezTo>
                <a:cubicBezTo>
                  <a:pt x="19593" y="9344"/>
                  <a:pt x="19531" y="9344"/>
                  <a:pt x="19468" y="9344"/>
                </a:cubicBezTo>
                <a:cubicBezTo>
                  <a:pt x="19437" y="9344"/>
                  <a:pt x="19375" y="9344"/>
                  <a:pt x="19343" y="9344"/>
                </a:cubicBezTo>
                <a:cubicBezTo>
                  <a:pt x="19031" y="9344"/>
                  <a:pt x="18718" y="9344"/>
                  <a:pt x="18406" y="9375"/>
                </a:cubicBezTo>
                <a:cubicBezTo>
                  <a:pt x="18281" y="9406"/>
                  <a:pt x="18156" y="9469"/>
                  <a:pt x="18000" y="9437"/>
                </a:cubicBezTo>
                <a:cubicBezTo>
                  <a:pt x="18031" y="9375"/>
                  <a:pt x="18093" y="9375"/>
                  <a:pt x="18156" y="9344"/>
                </a:cubicBezTo>
                <a:cubicBezTo>
                  <a:pt x="18156" y="9344"/>
                  <a:pt x="18187" y="9344"/>
                  <a:pt x="18218" y="9344"/>
                </a:cubicBezTo>
                <a:cubicBezTo>
                  <a:pt x="18375" y="9344"/>
                  <a:pt x="18531" y="9312"/>
                  <a:pt x="18656" y="9250"/>
                </a:cubicBezTo>
                <a:cubicBezTo>
                  <a:pt x="18687" y="9250"/>
                  <a:pt x="18750" y="9219"/>
                  <a:pt x="18781" y="9219"/>
                </a:cubicBezTo>
                <a:cubicBezTo>
                  <a:pt x="18812" y="9187"/>
                  <a:pt x="18843" y="9187"/>
                  <a:pt x="18875" y="9187"/>
                </a:cubicBezTo>
                <a:cubicBezTo>
                  <a:pt x="19093" y="9125"/>
                  <a:pt x="19312" y="9094"/>
                  <a:pt x="19531" y="9062"/>
                </a:cubicBezTo>
                <a:cubicBezTo>
                  <a:pt x="19562" y="9062"/>
                  <a:pt x="19625" y="9062"/>
                  <a:pt x="19656" y="9062"/>
                </a:cubicBezTo>
                <a:cubicBezTo>
                  <a:pt x="19812" y="9062"/>
                  <a:pt x="19968" y="9094"/>
                  <a:pt x="20156" y="9094"/>
                </a:cubicBezTo>
                <a:cubicBezTo>
                  <a:pt x="20218" y="9094"/>
                  <a:pt x="20281" y="9094"/>
                  <a:pt x="20375" y="9094"/>
                </a:cubicBezTo>
                <a:cubicBezTo>
                  <a:pt x="20343" y="9094"/>
                  <a:pt x="20343" y="9062"/>
                  <a:pt x="20312" y="9062"/>
                </a:cubicBezTo>
                <a:cubicBezTo>
                  <a:pt x="20281" y="9031"/>
                  <a:pt x="20281" y="9000"/>
                  <a:pt x="20437" y="9000"/>
                </a:cubicBezTo>
                <a:cubicBezTo>
                  <a:pt x="20437" y="9000"/>
                  <a:pt x="20468" y="9000"/>
                  <a:pt x="20468" y="9000"/>
                </a:cubicBezTo>
                <a:cubicBezTo>
                  <a:pt x="20593" y="9000"/>
                  <a:pt x="20687" y="9031"/>
                  <a:pt x="20781" y="9000"/>
                </a:cubicBezTo>
                <a:cubicBezTo>
                  <a:pt x="20781" y="9000"/>
                  <a:pt x="20812" y="8969"/>
                  <a:pt x="20843" y="8969"/>
                </a:cubicBezTo>
                <a:cubicBezTo>
                  <a:pt x="20875" y="8937"/>
                  <a:pt x="20906" y="8937"/>
                  <a:pt x="20968" y="8937"/>
                </a:cubicBezTo>
                <a:cubicBezTo>
                  <a:pt x="20968" y="8937"/>
                  <a:pt x="21000" y="8906"/>
                  <a:pt x="21031" y="8906"/>
                </a:cubicBezTo>
                <a:cubicBezTo>
                  <a:pt x="21125" y="8906"/>
                  <a:pt x="21218" y="8875"/>
                  <a:pt x="21281" y="8875"/>
                </a:cubicBezTo>
                <a:cubicBezTo>
                  <a:pt x="21343" y="8844"/>
                  <a:pt x="21375" y="8844"/>
                  <a:pt x="21406" y="8844"/>
                </a:cubicBezTo>
                <a:cubicBezTo>
                  <a:pt x="21406" y="8812"/>
                  <a:pt x="21437" y="8812"/>
                  <a:pt x="21437" y="8812"/>
                </a:cubicBezTo>
                <a:cubicBezTo>
                  <a:pt x="21593" y="8781"/>
                  <a:pt x="21718" y="8719"/>
                  <a:pt x="21875" y="8687"/>
                </a:cubicBezTo>
                <a:cubicBezTo>
                  <a:pt x="21875" y="8687"/>
                  <a:pt x="21906" y="8687"/>
                  <a:pt x="21906" y="8687"/>
                </a:cubicBezTo>
                <a:cubicBezTo>
                  <a:pt x="21968" y="8687"/>
                  <a:pt x="22000" y="8687"/>
                  <a:pt x="22031" y="8687"/>
                </a:cubicBezTo>
                <a:cubicBezTo>
                  <a:pt x="22062" y="8687"/>
                  <a:pt x="22125" y="8687"/>
                  <a:pt x="22156" y="8687"/>
                </a:cubicBezTo>
                <a:cubicBezTo>
                  <a:pt x="22187" y="8687"/>
                  <a:pt x="22250" y="8656"/>
                  <a:pt x="22250" y="8625"/>
                </a:cubicBezTo>
                <a:cubicBezTo>
                  <a:pt x="22281" y="8625"/>
                  <a:pt x="22281" y="8594"/>
                  <a:pt x="22281" y="8594"/>
                </a:cubicBezTo>
                <a:cubicBezTo>
                  <a:pt x="22312" y="8500"/>
                  <a:pt x="22250" y="8375"/>
                  <a:pt x="22187" y="8312"/>
                </a:cubicBezTo>
                <a:cubicBezTo>
                  <a:pt x="22156" y="8281"/>
                  <a:pt x="22125" y="8281"/>
                  <a:pt x="22093" y="8281"/>
                </a:cubicBezTo>
                <a:cubicBezTo>
                  <a:pt x="22062" y="8250"/>
                  <a:pt x="22031" y="8250"/>
                  <a:pt x="22031" y="8250"/>
                </a:cubicBezTo>
                <a:cubicBezTo>
                  <a:pt x="21968" y="8219"/>
                  <a:pt x="21906" y="8219"/>
                  <a:pt x="21843" y="8219"/>
                </a:cubicBezTo>
                <a:cubicBezTo>
                  <a:pt x="21843" y="8219"/>
                  <a:pt x="21812" y="8219"/>
                  <a:pt x="21812" y="8219"/>
                </a:cubicBezTo>
                <a:cubicBezTo>
                  <a:pt x="21781" y="8219"/>
                  <a:pt x="21781" y="8219"/>
                  <a:pt x="21750" y="8219"/>
                </a:cubicBezTo>
                <a:cubicBezTo>
                  <a:pt x="21687" y="8219"/>
                  <a:pt x="21656" y="8219"/>
                  <a:pt x="21593" y="8187"/>
                </a:cubicBezTo>
                <a:cubicBezTo>
                  <a:pt x="21593" y="8187"/>
                  <a:pt x="21562" y="8156"/>
                  <a:pt x="21531" y="8156"/>
                </a:cubicBezTo>
                <a:cubicBezTo>
                  <a:pt x="21531" y="8125"/>
                  <a:pt x="21531" y="8125"/>
                  <a:pt x="21500" y="8094"/>
                </a:cubicBezTo>
                <a:cubicBezTo>
                  <a:pt x="21500" y="8094"/>
                  <a:pt x="21500" y="8062"/>
                  <a:pt x="21500" y="8062"/>
                </a:cubicBezTo>
                <a:cubicBezTo>
                  <a:pt x="21500" y="8031"/>
                  <a:pt x="21531" y="8000"/>
                  <a:pt x="21593" y="8031"/>
                </a:cubicBezTo>
                <a:cubicBezTo>
                  <a:pt x="21593" y="8031"/>
                  <a:pt x="21593" y="8031"/>
                  <a:pt x="21625" y="8031"/>
                </a:cubicBezTo>
                <a:cubicBezTo>
                  <a:pt x="21656" y="8031"/>
                  <a:pt x="21687" y="8031"/>
                  <a:pt x="21718" y="8031"/>
                </a:cubicBezTo>
                <a:cubicBezTo>
                  <a:pt x="21781" y="8031"/>
                  <a:pt x="21812" y="8031"/>
                  <a:pt x="21875" y="8031"/>
                </a:cubicBezTo>
                <a:cubicBezTo>
                  <a:pt x="21968" y="8031"/>
                  <a:pt x="22031" y="8000"/>
                  <a:pt x="22031" y="7906"/>
                </a:cubicBezTo>
                <a:cubicBezTo>
                  <a:pt x="22031" y="7875"/>
                  <a:pt x="22031" y="7875"/>
                  <a:pt x="22031" y="7875"/>
                </a:cubicBezTo>
                <a:cubicBezTo>
                  <a:pt x="22031" y="7875"/>
                  <a:pt x="22062" y="7844"/>
                  <a:pt x="22093" y="7844"/>
                </a:cubicBezTo>
                <a:cubicBezTo>
                  <a:pt x="22093" y="7844"/>
                  <a:pt x="22125" y="7844"/>
                  <a:pt x="22125" y="7844"/>
                </a:cubicBezTo>
                <a:cubicBezTo>
                  <a:pt x="22156" y="7844"/>
                  <a:pt x="22156" y="7844"/>
                  <a:pt x="22187" y="7812"/>
                </a:cubicBezTo>
                <a:cubicBezTo>
                  <a:pt x="22187" y="7812"/>
                  <a:pt x="22187" y="7812"/>
                  <a:pt x="22187" y="7812"/>
                </a:cubicBezTo>
                <a:cubicBezTo>
                  <a:pt x="22156" y="7781"/>
                  <a:pt x="22156" y="7781"/>
                  <a:pt x="22156" y="7750"/>
                </a:cubicBezTo>
                <a:cubicBezTo>
                  <a:pt x="22156" y="7750"/>
                  <a:pt x="22156" y="7750"/>
                  <a:pt x="22156" y="7750"/>
                </a:cubicBezTo>
                <a:cubicBezTo>
                  <a:pt x="22125" y="7687"/>
                  <a:pt x="22125" y="7656"/>
                  <a:pt x="22156" y="7625"/>
                </a:cubicBezTo>
                <a:cubicBezTo>
                  <a:pt x="22156" y="7594"/>
                  <a:pt x="22156" y="7562"/>
                  <a:pt x="22187" y="7562"/>
                </a:cubicBezTo>
                <a:cubicBezTo>
                  <a:pt x="22250" y="7531"/>
                  <a:pt x="22281" y="7500"/>
                  <a:pt x="22375" y="7500"/>
                </a:cubicBezTo>
                <a:cubicBezTo>
                  <a:pt x="22437" y="7500"/>
                  <a:pt x="22468" y="7500"/>
                  <a:pt x="22531" y="7500"/>
                </a:cubicBezTo>
                <a:cubicBezTo>
                  <a:pt x="22562" y="7500"/>
                  <a:pt x="22625" y="7500"/>
                  <a:pt x="22656" y="7500"/>
                </a:cubicBezTo>
                <a:cubicBezTo>
                  <a:pt x="22843" y="7500"/>
                  <a:pt x="23031" y="7469"/>
                  <a:pt x="23187" y="7375"/>
                </a:cubicBezTo>
                <a:cubicBezTo>
                  <a:pt x="23125" y="7344"/>
                  <a:pt x="23062" y="7344"/>
                  <a:pt x="23000" y="7344"/>
                </a:cubicBezTo>
                <a:cubicBezTo>
                  <a:pt x="22937" y="7344"/>
                  <a:pt x="22875" y="7344"/>
                  <a:pt x="22812" y="734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19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Freeform 3475">
            <a:extLst>
              <a:ext uri="{FF2B5EF4-FFF2-40B4-BE49-F238E27FC236}">
                <a16:creationId xmlns:a16="http://schemas.microsoft.com/office/drawing/2014/main" id="{0BD79601-D734-CA47-9DA5-193F9A8DC523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588105" y="441014"/>
            <a:ext cx="7091865" cy="6109116"/>
          </a:xfrm>
          <a:custGeom>
            <a:avLst/>
            <a:gdLst>
              <a:gd name="T0" fmla="*/ 1387 w 1450"/>
              <a:gd name="T1" fmla="*/ 260 h 788"/>
              <a:gd name="T2" fmla="*/ 962 w 1450"/>
              <a:gd name="T3" fmla="*/ 343 h 788"/>
              <a:gd name="T4" fmla="*/ 814 w 1450"/>
              <a:gd name="T5" fmla="*/ 422 h 788"/>
              <a:gd name="T6" fmla="*/ 1097 w 1450"/>
              <a:gd name="T7" fmla="*/ 263 h 788"/>
              <a:gd name="T8" fmla="*/ 1163 w 1450"/>
              <a:gd name="T9" fmla="*/ 213 h 788"/>
              <a:gd name="T10" fmla="*/ 1048 w 1450"/>
              <a:gd name="T11" fmla="*/ 208 h 788"/>
              <a:gd name="T12" fmla="*/ 920 w 1450"/>
              <a:gd name="T13" fmla="*/ 242 h 788"/>
              <a:gd name="T14" fmla="*/ 822 w 1450"/>
              <a:gd name="T15" fmla="*/ 254 h 788"/>
              <a:gd name="T16" fmla="*/ 824 w 1450"/>
              <a:gd name="T17" fmla="*/ 206 h 788"/>
              <a:gd name="T18" fmla="*/ 830 w 1450"/>
              <a:gd name="T19" fmla="*/ 176 h 788"/>
              <a:gd name="T20" fmla="*/ 817 w 1450"/>
              <a:gd name="T21" fmla="*/ 134 h 788"/>
              <a:gd name="T22" fmla="*/ 772 w 1450"/>
              <a:gd name="T23" fmla="*/ 124 h 788"/>
              <a:gd name="T24" fmla="*/ 682 w 1450"/>
              <a:gd name="T25" fmla="*/ 117 h 788"/>
              <a:gd name="T26" fmla="*/ 636 w 1450"/>
              <a:gd name="T27" fmla="*/ 106 h 788"/>
              <a:gd name="T28" fmla="*/ 554 w 1450"/>
              <a:gd name="T29" fmla="*/ 139 h 788"/>
              <a:gd name="T30" fmla="*/ 401 w 1450"/>
              <a:gd name="T31" fmla="*/ 204 h 788"/>
              <a:gd name="T32" fmla="*/ 310 w 1450"/>
              <a:gd name="T33" fmla="*/ 222 h 788"/>
              <a:gd name="T34" fmla="*/ 215 w 1450"/>
              <a:gd name="T35" fmla="*/ 271 h 788"/>
              <a:gd name="T36" fmla="*/ 245 w 1450"/>
              <a:gd name="T37" fmla="*/ 141 h 788"/>
              <a:gd name="T38" fmla="*/ 260 w 1450"/>
              <a:gd name="T39" fmla="*/ 118 h 788"/>
              <a:gd name="T40" fmla="*/ 245 w 1450"/>
              <a:gd name="T41" fmla="*/ 49 h 788"/>
              <a:gd name="T42" fmla="*/ 188 w 1450"/>
              <a:gd name="T43" fmla="*/ 79 h 788"/>
              <a:gd name="T44" fmla="*/ 124 w 1450"/>
              <a:gd name="T45" fmla="*/ 196 h 788"/>
              <a:gd name="T46" fmla="*/ 67 w 1450"/>
              <a:gd name="T47" fmla="*/ 262 h 788"/>
              <a:gd name="T48" fmla="*/ 93 w 1450"/>
              <a:gd name="T49" fmla="*/ 224 h 788"/>
              <a:gd name="T50" fmla="*/ 92 w 1450"/>
              <a:gd name="T51" fmla="*/ 259 h 788"/>
              <a:gd name="T52" fmla="*/ 80 w 1450"/>
              <a:gd name="T53" fmla="*/ 409 h 788"/>
              <a:gd name="T54" fmla="*/ 14 w 1450"/>
              <a:gd name="T55" fmla="*/ 526 h 788"/>
              <a:gd name="T56" fmla="*/ 3 w 1450"/>
              <a:gd name="T57" fmla="*/ 667 h 788"/>
              <a:gd name="T58" fmla="*/ 40 w 1450"/>
              <a:gd name="T59" fmla="*/ 669 h 788"/>
              <a:gd name="T60" fmla="*/ 89 w 1450"/>
              <a:gd name="T61" fmla="*/ 731 h 788"/>
              <a:gd name="T62" fmla="*/ 147 w 1450"/>
              <a:gd name="T63" fmla="*/ 683 h 788"/>
              <a:gd name="T64" fmla="*/ 285 w 1450"/>
              <a:gd name="T65" fmla="*/ 557 h 788"/>
              <a:gd name="T66" fmla="*/ 328 w 1450"/>
              <a:gd name="T67" fmla="*/ 630 h 788"/>
              <a:gd name="T68" fmla="*/ 380 w 1450"/>
              <a:gd name="T69" fmla="*/ 755 h 788"/>
              <a:gd name="T70" fmla="*/ 539 w 1450"/>
              <a:gd name="T71" fmla="*/ 612 h 788"/>
              <a:gd name="T72" fmla="*/ 804 w 1450"/>
              <a:gd name="T73" fmla="*/ 432 h 788"/>
              <a:gd name="T74" fmla="*/ 593 w 1450"/>
              <a:gd name="T75" fmla="*/ 633 h 788"/>
              <a:gd name="T76" fmla="*/ 658 w 1450"/>
              <a:gd name="T77" fmla="*/ 619 h 788"/>
              <a:gd name="T78" fmla="*/ 627 w 1450"/>
              <a:gd name="T79" fmla="*/ 716 h 788"/>
              <a:gd name="T80" fmla="*/ 1098 w 1450"/>
              <a:gd name="T81" fmla="*/ 433 h 788"/>
              <a:gd name="T82" fmla="*/ 1234 w 1450"/>
              <a:gd name="T83" fmla="*/ 355 h 788"/>
              <a:gd name="T84" fmla="*/ 80 w 1450"/>
              <a:gd name="T85" fmla="*/ 270 h 788"/>
              <a:gd name="T86" fmla="*/ 825 w 1450"/>
              <a:gd name="T87" fmla="*/ 141 h 788"/>
              <a:gd name="T88" fmla="*/ 244 w 1450"/>
              <a:gd name="T89" fmla="*/ 250 h 788"/>
              <a:gd name="T90" fmla="*/ 321 w 1450"/>
              <a:gd name="T91" fmla="*/ 217 h 788"/>
              <a:gd name="T92" fmla="*/ 237 w 1450"/>
              <a:gd name="T93" fmla="*/ 24 h 788"/>
              <a:gd name="T94" fmla="*/ 598 w 1450"/>
              <a:gd name="T95" fmla="*/ 603 h 788"/>
              <a:gd name="T96" fmla="*/ 261 w 1450"/>
              <a:gd name="T97" fmla="*/ 189 h 788"/>
              <a:gd name="T98" fmla="*/ 627 w 1450"/>
              <a:gd name="T99" fmla="*/ 636 h 788"/>
              <a:gd name="T100" fmla="*/ 870 w 1450"/>
              <a:gd name="T101" fmla="*/ 133 h 788"/>
              <a:gd name="T102" fmla="*/ 788 w 1450"/>
              <a:gd name="T103" fmla="*/ 117 h 788"/>
              <a:gd name="T104" fmla="*/ 873 w 1450"/>
              <a:gd name="T105" fmla="*/ 199 h 788"/>
              <a:gd name="T106" fmla="*/ 390 w 1450"/>
              <a:gd name="T107" fmla="*/ 149 h 788"/>
              <a:gd name="T108" fmla="*/ 1032 w 1450"/>
              <a:gd name="T109" fmla="*/ 310 h 788"/>
              <a:gd name="T110" fmla="*/ 745 w 1450"/>
              <a:gd name="T111" fmla="*/ 134 h 788"/>
              <a:gd name="T112" fmla="*/ 108 w 1450"/>
              <a:gd name="T113" fmla="*/ 317 h 788"/>
              <a:gd name="T114" fmla="*/ 107 w 1450"/>
              <a:gd name="T115" fmla="*/ 403 h 788"/>
              <a:gd name="T116" fmla="*/ 130 w 1450"/>
              <a:gd name="T117" fmla="*/ 298 h 788"/>
              <a:gd name="T118" fmla="*/ 365 w 1450"/>
              <a:gd name="T119" fmla="*/ 630 h 788"/>
              <a:gd name="T120" fmla="*/ 584 w 1450"/>
              <a:gd name="T121" fmla="*/ 146 h 788"/>
              <a:gd name="T122" fmla="*/ 426 w 1450"/>
              <a:gd name="T123" fmla="*/ 639 h 788"/>
              <a:gd name="T124" fmla="*/ 865 w 1450"/>
              <a:gd name="T125" fmla="*/ 528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0" h="788">
                <a:moveTo>
                  <a:pt x="1316" y="302"/>
                </a:moveTo>
                <a:lnTo>
                  <a:pt x="1297" y="304"/>
                </a:lnTo>
                <a:lnTo>
                  <a:pt x="1278" y="306"/>
                </a:lnTo>
                <a:lnTo>
                  <a:pt x="1260" y="309"/>
                </a:lnTo>
                <a:lnTo>
                  <a:pt x="1242" y="314"/>
                </a:lnTo>
                <a:lnTo>
                  <a:pt x="1234" y="315"/>
                </a:lnTo>
                <a:lnTo>
                  <a:pt x="1225" y="317"/>
                </a:lnTo>
                <a:lnTo>
                  <a:pt x="1222" y="318"/>
                </a:lnTo>
                <a:lnTo>
                  <a:pt x="1219" y="320"/>
                </a:lnTo>
                <a:lnTo>
                  <a:pt x="1217" y="320"/>
                </a:lnTo>
                <a:lnTo>
                  <a:pt x="1214" y="318"/>
                </a:lnTo>
                <a:lnTo>
                  <a:pt x="1213" y="320"/>
                </a:lnTo>
                <a:lnTo>
                  <a:pt x="1213" y="321"/>
                </a:lnTo>
                <a:lnTo>
                  <a:pt x="1212" y="318"/>
                </a:lnTo>
                <a:lnTo>
                  <a:pt x="1212" y="317"/>
                </a:lnTo>
                <a:lnTo>
                  <a:pt x="1213" y="316"/>
                </a:lnTo>
                <a:lnTo>
                  <a:pt x="1214" y="314"/>
                </a:lnTo>
                <a:lnTo>
                  <a:pt x="1225" y="312"/>
                </a:lnTo>
                <a:lnTo>
                  <a:pt x="1234" y="309"/>
                </a:lnTo>
                <a:lnTo>
                  <a:pt x="1252" y="304"/>
                </a:lnTo>
                <a:lnTo>
                  <a:pt x="1269" y="299"/>
                </a:lnTo>
                <a:lnTo>
                  <a:pt x="1286" y="295"/>
                </a:lnTo>
                <a:lnTo>
                  <a:pt x="1304" y="290"/>
                </a:lnTo>
                <a:lnTo>
                  <a:pt x="1312" y="288"/>
                </a:lnTo>
                <a:lnTo>
                  <a:pt x="1321" y="287"/>
                </a:lnTo>
                <a:lnTo>
                  <a:pt x="1330" y="285"/>
                </a:lnTo>
                <a:lnTo>
                  <a:pt x="1340" y="284"/>
                </a:lnTo>
                <a:lnTo>
                  <a:pt x="1348" y="284"/>
                </a:lnTo>
                <a:lnTo>
                  <a:pt x="1356" y="283"/>
                </a:lnTo>
                <a:lnTo>
                  <a:pt x="1362" y="281"/>
                </a:lnTo>
                <a:lnTo>
                  <a:pt x="1369" y="277"/>
                </a:lnTo>
                <a:lnTo>
                  <a:pt x="1361" y="276"/>
                </a:lnTo>
                <a:lnTo>
                  <a:pt x="1354" y="276"/>
                </a:lnTo>
                <a:lnTo>
                  <a:pt x="1351" y="276"/>
                </a:lnTo>
                <a:lnTo>
                  <a:pt x="1349" y="276"/>
                </a:lnTo>
                <a:lnTo>
                  <a:pt x="1348" y="275"/>
                </a:lnTo>
                <a:lnTo>
                  <a:pt x="1348" y="274"/>
                </a:lnTo>
                <a:lnTo>
                  <a:pt x="1349" y="273"/>
                </a:lnTo>
                <a:lnTo>
                  <a:pt x="1350" y="273"/>
                </a:lnTo>
                <a:lnTo>
                  <a:pt x="1352" y="272"/>
                </a:lnTo>
                <a:lnTo>
                  <a:pt x="1354" y="272"/>
                </a:lnTo>
                <a:lnTo>
                  <a:pt x="1370" y="270"/>
                </a:lnTo>
                <a:lnTo>
                  <a:pt x="1385" y="267"/>
                </a:lnTo>
                <a:lnTo>
                  <a:pt x="1402" y="266"/>
                </a:lnTo>
                <a:lnTo>
                  <a:pt x="1418" y="264"/>
                </a:lnTo>
                <a:lnTo>
                  <a:pt x="1434" y="263"/>
                </a:lnTo>
                <a:lnTo>
                  <a:pt x="1450" y="260"/>
                </a:lnTo>
                <a:lnTo>
                  <a:pt x="1445" y="258"/>
                </a:lnTo>
                <a:lnTo>
                  <a:pt x="1440" y="257"/>
                </a:lnTo>
                <a:lnTo>
                  <a:pt x="1435" y="256"/>
                </a:lnTo>
                <a:lnTo>
                  <a:pt x="1430" y="257"/>
                </a:lnTo>
                <a:lnTo>
                  <a:pt x="1422" y="259"/>
                </a:lnTo>
                <a:lnTo>
                  <a:pt x="1412" y="260"/>
                </a:lnTo>
                <a:lnTo>
                  <a:pt x="1409" y="259"/>
                </a:lnTo>
                <a:lnTo>
                  <a:pt x="1407" y="258"/>
                </a:lnTo>
                <a:lnTo>
                  <a:pt x="1404" y="257"/>
                </a:lnTo>
                <a:lnTo>
                  <a:pt x="1402" y="257"/>
                </a:lnTo>
                <a:lnTo>
                  <a:pt x="1400" y="257"/>
                </a:lnTo>
                <a:lnTo>
                  <a:pt x="1400" y="258"/>
                </a:lnTo>
                <a:lnTo>
                  <a:pt x="1395" y="259"/>
                </a:lnTo>
                <a:lnTo>
                  <a:pt x="1391" y="259"/>
                </a:lnTo>
                <a:lnTo>
                  <a:pt x="1387" y="260"/>
                </a:lnTo>
                <a:lnTo>
                  <a:pt x="1386" y="262"/>
                </a:lnTo>
                <a:lnTo>
                  <a:pt x="1385" y="262"/>
                </a:lnTo>
                <a:lnTo>
                  <a:pt x="1383" y="260"/>
                </a:lnTo>
                <a:lnTo>
                  <a:pt x="1378" y="259"/>
                </a:lnTo>
                <a:lnTo>
                  <a:pt x="1374" y="259"/>
                </a:lnTo>
                <a:lnTo>
                  <a:pt x="1369" y="260"/>
                </a:lnTo>
                <a:lnTo>
                  <a:pt x="1365" y="262"/>
                </a:lnTo>
                <a:lnTo>
                  <a:pt x="1352" y="264"/>
                </a:lnTo>
                <a:lnTo>
                  <a:pt x="1340" y="266"/>
                </a:lnTo>
                <a:lnTo>
                  <a:pt x="1328" y="268"/>
                </a:lnTo>
                <a:lnTo>
                  <a:pt x="1317" y="271"/>
                </a:lnTo>
                <a:lnTo>
                  <a:pt x="1311" y="271"/>
                </a:lnTo>
                <a:lnTo>
                  <a:pt x="1304" y="271"/>
                </a:lnTo>
                <a:lnTo>
                  <a:pt x="1299" y="270"/>
                </a:lnTo>
                <a:lnTo>
                  <a:pt x="1293" y="268"/>
                </a:lnTo>
                <a:lnTo>
                  <a:pt x="1311" y="263"/>
                </a:lnTo>
                <a:lnTo>
                  <a:pt x="1330" y="259"/>
                </a:lnTo>
                <a:lnTo>
                  <a:pt x="1349" y="257"/>
                </a:lnTo>
                <a:lnTo>
                  <a:pt x="1368" y="255"/>
                </a:lnTo>
                <a:lnTo>
                  <a:pt x="1366" y="254"/>
                </a:lnTo>
                <a:lnTo>
                  <a:pt x="1363" y="252"/>
                </a:lnTo>
                <a:lnTo>
                  <a:pt x="1360" y="251"/>
                </a:lnTo>
                <a:lnTo>
                  <a:pt x="1356" y="251"/>
                </a:lnTo>
                <a:lnTo>
                  <a:pt x="1348" y="252"/>
                </a:lnTo>
                <a:lnTo>
                  <a:pt x="1342" y="252"/>
                </a:lnTo>
                <a:lnTo>
                  <a:pt x="1327" y="254"/>
                </a:lnTo>
                <a:lnTo>
                  <a:pt x="1311" y="256"/>
                </a:lnTo>
                <a:lnTo>
                  <a:pt x="1296" y="259"/>
                </a:lnTo>
                <a:lnTo>
                  <a:pt x="1282" y="263"/>
                </a:lnTo>
                <a:lnTo>
                  <a:pt x="1267" y="266"/>
                </a:lnTo>
                <a:lnTo>
                  <a:pt x="1252" y="268"/>
                </a:lnTo>
                <a:lnTo>
                  <a:pt x="1238" y="272"/>
                </a:lnTo>
                <a:lnTo>
                  <a:pt x="1224" y="275"/>
                </a:lnTo>
                <a:lnTo>
                  <a:pt x="1209" y="276"/>
                </a:lnTo>
                <a:lnTo>
                  <a:pt x="1194" y="279"/>
                </a:lnTo>
                <a:lnTo>
                  <a:pt x="1190" y="280"/>
                </a:lnTo>
                <a:lnTo>
                  <a:pt x="1183" y="282"/>
                </a:lnTo>
                <a:lnTo>
                  <a:pt x="1179" y="282"/>
                </a:lnTo>
                <a:lnTo>
                  <a:pt x="1177" y="281"/>
                </a:lnTo>
                <a:lnTo>
                  <a:pt x="1176" y="280"/>
                </a:lnTo>
                <a:lnTo>
                  <a:pt x="1177" y="277"/>
                </a:lnTo>
                <a:lnTo>
                  <a:pt x="1183" y="274"/>
                </a:lnTo>
                <a:lnTo>
                  <a:pt x="1188" y="270"/>
                </a:lnTo>
                <a:lnTo>
                  <a:pt x="1172" y="272"/>
                </a:lnTo>
                <a:lnTo>
                  <a:pt x="1159" y="275"/>
                </a:lnTo>
                <a:lnTo>
                  <a:pt x="1144" y="279"/>
                </a:lnTo>
                <a:lnTo>
                  <a:pt x="1129" y="282"/>
                </a:lnTo>
                <a:lnTo>
                  <a:pt x="1114" y="287"/>
                </a:lnTo>
                <a:lnTo>
                  <a:pt x="1099" y="291"/>
                </a:lnTo>
                <a:lnTo>
                  <a:pt x="1085" y="296"/>
                </a:lnTo>
                <a:lnTo>
                  <a:pt x="1070" y="301"/>
                </a:lnTo>
                <a:lnTo>
                  <a:pt x="1056" y="306"/>
                </a:lnTo>
                <a:lnTo>
                  <a:pt x="1043" y="313"/>
                </a:lnTo>
                <a:lnTo>
                  <a:pt x="1029" y="318"/>
                </a:lnTo>
                <a:lnTo>
                  <a:pt x="1015" y="324"/>
                </a:lnTo>
                <a:lnTo>
                  <a:pt x="1002" y="329"/>
                </a:lnTo>
                <a:lnTo>
                  <a:pt x="987" y="334"/>
                </a:lnTo>
                <a:lnTo>
                  <a:pt x="974" y="339"/>
                </a:lnTo>
                <a:lnTo>
                  <a:pt x="963" y="345"/>
                </a:lnTo>
                <a:lnTo>
                  <a:pt x="963" y="343"/>
                </a:lnTo>
                <a:lnTo>
                  <a:pt x="962" y="342"/>
                </a:lnTo>
                <a:lnTo>
                  <a:pt x="962" y="343"/>
                </a:lnTo>
                <a:lnTo>
                  <a:pt x="962" y="345"/>
                </a:lnTo>
                <a:lnTo>
                  <a:pt x="961" y="345"/>
                </a:lnTo>
                <a:lnTo>
                  <a:pt x="959" y="343"/>
                </a:lnTo>
                <a:lnTo>
                  <a:pt x="961" y="342"/>
                </a:lnTo>
                <a:lnTo>
                  <a:pt x="962" y="341"/>
                </a:lnTo>
                <a:lnTo>
                  <a:pt x="964" y="340"/>
                </a:lnTo>
                <a:lnTo>
                  <a:pt x="966" y="339"/>
                </a:lnTo>
                <a:lnTo>
                  <a:pt x="970" y="337"/>
                </a:lnTo>
                <a:lnTo>
                  <a:pt x="972" y="335"/>
                </a:lnTo>
                <a:lnTo>
                  <a:pt x="974" y="333"/>
                </a:lnTo>
                <a:lnTo>
                  <a:pt x="977" y="330"/>
                </a:lnTo>
                <a:lnTo>
                  <a:pt x="972" y="331"/>
                </a:lnTo>
                <a:lnTo>
                  <a:pt x="967" y="333"/>
                </a:lnTo>
                <a:lnTo>
                  <a:pt x="965" y="334"/>
                </a:lnTo>
                <a:lnTo>
                  <a:pt x="963" y="337"/>
                </a:lnTo>
                <a:lnTo>
                  <a:pt x="959" y="338"/>
                </a:lnTo>
                <a:lnTo>
                  <a:pt x="956" y="338"/>
                </a:lnTo>
                <a:lnTo>
                  <a:pt x="954" y="340"/>
                </a:lnTo>
                <a:lnTo>
                  <a:pt x="953" y="341"/>
                </a:lnTo>
                <a:lnTo>
                  <a:pt x="947" y="345"/>
                </a:lnTo>
                <a:lnTo>
                  <a:pt x="941" y="347"/>
                </a:lnTo>
                <a:lnTo>
                  <a:pt x="939" y="348"/>
                </a:lnTo>
                <a:lnTo>
                  <a:pt x="937" y="349"/>
                </a:lnTo>
                <a:lnTo>
                  <a:pt x="934" y="351"/>
                </a:lnTo>
                <a:lnTo>
                  <a:pt x="933" y="354"/>
                </a:lnTo>
                <a:lnTo>
                  <a:pt x="939" y="353"/>
                </a:lnTo>
                <a:lnTo>
                  <a:pt x="944" y="350"/>
                </a:lnTo>
                <a:lnTo>
                  <a:pt x="946" y="350"/>
                </a:lnTo>
                <a:lnTo>
                  <a:pt x="947" y="350"/>
                </a:lnTo>
                <a:lnTo>
                  <a:pt x="947" y="353"/>
                </a:lnTo>
                <a:lnTo>
                  <a:pt x="945" y="354"/>
                </a:lnTo>
                <a:lnTo>
                  <a:pt x="938" y="358"/>
                </a:lnTo>
                <a:lnTo>
                  <a:pt x="930" y="360"/>
                </a:lnTo>
                <a:lnTo>
                  <a:pt x="928" y="360"/>
                </a:lnTo>
                <a:lnTo>
                  <a:pt x="928" y="359"/>
                </a:lnTo>
                <a:lnTo>
                  <a:pt x="929" y="359"/>
                </a:lnTo>
                <a:lnTo>
                  <a:pt x="929" y="357"/>
                </a:lnTo>
                <a:lnTo>
                  <a:pt x="930" y="356"/>
                </a:lnTo>
                <a:lnTo>
                  <a:pt x="929" y="355"/>
                </a:lnTo>
                <a:lnTo>
                  <a:pt x="926" y="355"/>
                </a:lnTo>
                <a:lnTo>
                  <a:pt x="924" y="355"/>
                </a:lnTo>
                <a:lnTo>
                  <a:pt x="923" y="358"/>
                </a:lnTo>
                <a:lnTo>
                  <a:pt x="923" y="363"/>
                </a:lnTo>
                <a:lnTo>
                  <a:pt x="920" y="366"/>
                </a:lnTo>
                <a:lnTo>
                  <a:pt x="916" y="368"/>
                </a:lnTo>
                <a:lnTo>
                  <a:pt x="912" y="370"/>
                </a:lnTo>
                <a:lnTo>
                  <a:pt x="908" y="372"/>
                </a:lnTo>
                <a:lnTo>
                  <a:pt x="893" y="379"/>
                </a:lnTo>
                <a:lnTo>
                  <a:pt x="879" y="387"/>
                </a:lnTo>
                <a:lnTo>
                  <a:pt x="864" y="395"/>
                </a:lnTo>
                <a:lnTo>
                  <a:pt x="850" y="403"/>
                </a:lnTo>
                <a:lnTo>
                  <a:pt x="840" y="409"/>
                </a:lnTo>
                <a:lnTo>
                  <a:pt x="829" y="418"/>
                </a:lnTo>
                <a:lnTo>
                  <a:pt x="827" y="420"/>
                </a:lnTo>
                <a:lnTo>
                  <a:pt x="825" y="421"/>
                </a:lnTo>
                <a:lnTo>
                  <a:pt x="823" y="420"/>
                </a:lnTo>
                <a:lnTo>
                  <a:pt x="821" y="418"/>
                </a:lnTo>
                <a:lnTo>
                  <a:pt x="818" y="420"/>
                </a:lnTo>
                <a:lnTo>
                  <a:pt x="816" y="422"/>
                </a:lnTo>
                <a:lnTo>
                  <a:pt x="815" y="424"/>
                </a:lnTo>
                <a:lnTo>
                  <a:pt x="815" y="426"/>
                </a:lnTo>
                <a:lnTo>
                  <a:pt x="814" y="422"/>
                </a:lnTo>
                <a:lnTo>
                  <a:pt x="814" y="418"/>
                </a:lnTo>
                <a:lnTo>
                  <a:pt x="816" y="415"/>
                </a:lnTo>
                <a:lnTo>
                  <a:pt x="818" y="413"/>
                </a:lnTo>
                <a:lnTo>
                  <a:pt x="826" y="407"/>
                </a:lnTo>
                <a:lnTo>
                  <a:pt x="833" y="403"/>
                </a:lnTo>
                <a:lnTo>
                  <a:pt x="841" y="398"/>
                </a:lnTo>
                <a:lnTo>
                  <a:pt x="850" y="395"/>
                </a:lnTo>
                <a:lnTo>
                  <a:pt x="857" y="389"/>
                </a:lnTo>
                <a:lnTo>
                  <a:pt x="864" y="384"/>
                </a:lnTo>
                <a:lnTo>
                  <a:pt x="872" y="379"/>
                </a:lnTo>
                <a:lnTo>
                  <a:pt x="881" y="374"/>
                </a:lnTo>
                <a:lnTo>
                  <a:pt x="890" y="368"/>
                </a:lnTo>
                <a:lnTo>
                  <a:pt x="899" y="364"/>
                </a:lnTo>
                <a:lnTo>
                  <a:pt x="908" y="358"/>
                </a:lnTo>
                <a:lnTo>
                  <a:pt x="917" y="353"/>
                </a:lnTo>
                <a:lnTo>
                  <a:pt x="928" y="348"/>
                </a:lnTo>
                <a:lnTo>
                  <a:pt x="937" y="343"/>
                </a:lnTo>
                <a:lnTo>
                  <a:pt x="941" y="341"/>
                </a:lnTo>
                <a:lnTo>
                  <a:pt x="946" y="339"/>
                </a:lnTo>
                <a:lnTo>
                  <a:pt x="949" y="338"/>
                </a:lnTo>
                <a:lnTo>
                  <a:pt x="951" y="337"/>
                </a:lnTo>
                <a:lnTo>
                  <a:pt x="953" y="335"/>
                </a:lnTo>
                <a:lnTo>
                  <a:pt x="953" y="334"/>
                </a:lnTo>
                <a:lnTo>
                  <a:pt x="956" y="332"/>
                </a:lnTo>
                <a:lnTo>
                  <a:pt x="958" y="331"/>
                </a:lnTo>
                <a:lnTo>
                  <a:pt x="963" y="331"/>
                </a:lnTo>
                <a:lnTo>
                  <a:pt x="966" y="329"/>
                </a:lnTo>
                <a:lnTo>
                  <a:pt x="973" y="324"/>
                </a:lnTo>
                <a:lnTo>
                  <a:pt x="982" y="321"/>
                </a:lnTo>
                <a:lnTo>
                  <a:pt x="989" y="316"/>
                </a:lnTo>
                <a:lnTo>
                  <a:pt x="996" y="313"/>
                </a:lnTo>
                <a:lnTo>
                  <a:pt x="1003" y="310"/>
                </a:lnTo>
                <a:lnTo>
                  <a:pt x="1011" y="308"/>
                </a:lnTo>
                <a:lnTo>
                  <a:pt x="1013" y="306"/>
                </a:lnTo>
                <a:lnTo>
                  <a:pt x="1015" y="304"/>
                </a:lnTo>
                <a:lnTo>
                  <a:pt x="1020" y="301"/>
                </a:lnTo>
                <a:lnTo>
                  <a:pt x="1024" y="301"/>
                </a:lnTo>
                <a:lnTo>
                  <a:pt x="1033" y="298"/>
                </a:lnTo>
                <a:lnTo>
                  <a:pt x="1041" y="293"/>
                </a:lnTo>
                <a:lnTo>
                  <a:pt x="1048" y="290"/>
                </a:lnTo>
                <a:lnTo>
                  <a:pt x="1056" y="288"/>
                </a:lnTo>
                <a:lnTo>
                  <a:pt x="1063" y="285"/>
                </a:lnTo>
                <a:lnTo>
                  <a:pt x="1070" y="284"/>
                </a:lnTo>
                <a:lnTo>
                  <a:pt x="1074" y="282"/>
                </a:lnTo>
                <a:lnTo>
                  <a:pt x="1078" y="280"/>
                </a:lnTo>
                <a:lnTo>
                  <a:pt x="1081" y="280"/>
                </a:lnTo>
                <a:lnTo>
                  <a:pt x="1085" y="279"/>
                </a:lnTo>
                <a:lnTo>
                  <a:pt x="1086" y="277"/>
                </a:lnTo>
                <a:lnTo>
                  <a:pt x="1086" y="275"/>
                </a:lnTo>
                <a:lnTo>
                  <a:pt x="1086" y="274"/>
                </a:lnTo>
                <a:lnTo>
                  <a:pt x="1084" y="273"/>
                </a:lnTo>
                <a:lnTo>
                  <a:pt x="1079" y="275"/>
                </a:lnTo>
                <a:lnTo>
                  <a:pt x="1073" y="277"/>
                </a:lnTo>
                <a:lnTo>
                  <a:pt x="1070" y="279"/>
                </a:lnTo>
                <a:lnTo>
                  <a:pt x="1064" y="281"/>
                </a:lnTo>
                <a:lnTo>
                  <a:pt x="1062" y="282"/>
                </a:lnTo>
                <a:lnTo>
                  <a:pt x="1060" y="282"/>
                </a:lnTo>
                <a:lnTo>
                  <a:pt x="1057" y="281"/>
                </a:lnTo>
                <a:lnTo>
                  <a:pt x="1056" y="279"/>
                </a:lnTo>
                <a:lnTo>
                  <a:pt x="1073" y="273"/>
                </a:lnTo>
                <a:lnTo>
                  <a:pt x="1089" y="265"/>
                </a:lnTo>
                <a:lnTo>
                  <a:pt x="1097" y="263"/>
                </a:lnTo>
                <a:lnTo>
                  <a:pt x="1106" y="260"/>
                </a:lnTo>
                <a:lnTo>
                  <a:pt x="1114" y="258"/>
                </a:lnTo>
                <a:lnTo>
                  <a:pt x="1122" y="254"/>
                </a:lnTo>
                <a:lnTo>
                  <a:pt x="1127" y="249"/>
                </a:lnTo>
                <a:lnTo>
                  <a:pt x="1132" y="247"/>
                </a:lnTo>
                <a:lnTo>
                  <a:pt x="1139" y="246"/>
                </a:lnTo>
                <a:lnTo>
                  <a:pt x="1146" y="245"/>
                </a:lnTo>
                <a:lnTo>
                  <a:pt x="1153" y="242"/>
                </a:lnTo>
                <a:lnTo>
                  <a:pt x="1159" y="240"/>
                </a:lnTo>
                <a:lnTo>
                  <a:pt x="1161" y="239"/>
                </a:lnTo>
                <a:lnTo>
                  <a:pt x="1161" y="238"/>
                </a:lnTo>
                <a:lnTo>
                  <a:pt x="1161" y="237"/>
                </a:lnTo>
                <a:lnTo>
                  <a:pt x="1160" y="237"/>
                </a:lnTo>
                <a:lnTo>
                  <a:pt x="1157" y="235"/>
                </a:lnTo>
                <a:lnTo>
                  <a:pt x="1155" y="233"/>
                </a:lnTo>
                <a:lnTo>
                  <a:pt x="1165" y="231"/>
                </a:lnTo>
                <a:lnTo>
                  <a:pt x="1175" y="227"/>
                </a:lnTo>
                <a:lnTo>
                  <a:pt x="1179" y="226"/>
                </a:lnTo>
                <a:lnTo>
                  <a:pt x="1184" y="224"/>
                </a:lnTo>
                <a:lnTo>
                  <a:pt x="1185" y="223"/>
                </a:lnTo>
                <a:lnTo>
                  <a:pt x="1185" y="222"/>
                </a:lnTo>
                <a:lnTo>
                  <a:pt x="1184" y="219"/>
                </a:lnTo>
                <a:lnTo>
                  <a:pt x="1183" y="218"/>
                </a:lnTo>
                <a:lnTo>
                  <a:pt x="1180" y="219"/>
                </a:lnTo>
                <a:lnTo>
                  <a:pt x="1178" y="221"/>
                </a:lnTo>
                <a:lnTo>
                  <a:pt x="1177" y="221"/>
                </a:lnTo>
                <a:lnTo>
                  <a:pt x="1176" y="219"/>
                </a:lnTo>
                <a:lnTo>
                  <a:pt x="1176" y="217"/>
                </a:lnTo>
                <a:lnTo>
                  <a:pt x="1177" y="216"/>
                </a:lnTo>
                <a:lnTo>
                  <a:pt x="1181" y="215"/>
                </a:lnTo>
                <a:lnTo>
                  <a:pt x="1186" y="213"/>
                </a:lnTo>
                <a:lnTo>
                  <a:pt x="1188" y="213"/>
                </a:lnTo>
                <a:lnTo>
                  <a:pt x="1192" y="213"/>
                </a:lnTo>
                <a:lnTo>
                  <a:pt x="1194" y="214"/>
                </a:lnTo>
                <a:lnTo>
                  <a:pt x="1195" y="216"/>
                </a:lnTo>
                <a:lnTo>
                  <a:pt x="1196" y="213"/>
                </a:lnTo>
                <a:lnTo>
                  <a:pt x="1195" y="210"/>
                </a:lnTo>
                <a:lnTo>
                  <a:pt x="1198" y="209"/>
                </a:lnTo>
                <a:lnTo>
                  <a:pt x="1201" y="207"/>
                </a:lnTo>
                <a:lnTo>
                  <a:pt x="1200" y="206"/>
                </a:lnTo>
                <a:lnTo>
                  <a:pt x="1198" y="205"/>
                </a:lnTo>
                <a:lnTo>
                  <a:pt x="1196" y="204"/>
                </a:lnTo>
                <a:lnTo>
                  <a:pt x="1193" y="202"/>
                </a:lnTo>
                <a:lnTo>
                  <a:pt x="1189" y="202"/>
                </a:lnTo>
                <a:lnTo>
                  <a:pt x="1187" y="204"/>
                </a:lnTo>
                <a:lnTo>
                  <a:pt x="1183" y="204"/>
                </a:lnTo>
                <a:lnTo>
                  <a:pt x="1177" y="206"/>
                </a:lnTo>
                <a:lnTo>
                  <a:pt x="1173" y="206"/>
                </a:lnTo>
                <a:lnTo>
                  <a:pt x="1171" y="206"/>
                </a:lnTo>
                <a:lnTo>
                  <a:pt x="1169" y="207"/>
                </a:lnTo>
                <a:lnTo>
                  <a:pt x="1168" y="209"/>
                </a:lnTo>
                <a:lnTo>
                  <a:pt x="1171" y="209"/>
                </a:lnTo>
                <a:lnTo>
                  <a:pt x="1172" y="210"/>
                </a:lnTo>
                <a:lnTo>
                  <a:pt x="1172" y="213"/>
                </a:lnTo>
                <a:lnTo>
                  <a:pt x="1170" y="215"/>
                </a:lnTo>
                <a:lnTo>
                  <a:pt x="1164" y="217"/>
                </a:lnTo>
                <a:lnTo>
                  <a:pt x="1157" y="218"/>
                </a:lnTo>
                <a:lnTo>
                  <a:pt x="1156" y="217"/>
                </a:lnTo>
                <a:lnTo>
                  <a:pt x="1156" y="215"/>
                </a:lnTo>
                <a:lnTo>
                  <a:pt x="1157" y="214"/>
                </a:lnTo>
                <a:lnTo>
                  <a:pt x="1160" y="213"/>
                </a:lnTo>
                <a:lnTo>
                  <a:pt x="1163" y="213"/>
                </a:lnTo>
                <a:lnTo>
                  <a:pt x="1165" y="212"/>
                </a:lnTo>
                <a:lnTo>
                  <a:pt x="1168" y="210"/>
                </a:lnTo>
                <a:lnTo>
                  <a:pt x="1168" y="207"/>
                </a:lnTo>
                <a:lnTo>
                  <a:pt x="1160" y="208"/>
                </a:lnTo>
                <a:lnTo>
                  <a:pt x="1152" y="210"/>
                </a:lnTo>
                <a:lnTo>
                  <a:pt x="1144" y="213"/>
                </a:lnTo>
                <a:lnTo>
                  <a:pt x="1137" y="214"/>
                </a:lnTo>
                <a:lnTo>
                  <a:pt x="1129" y="216"/>
                </a:lnTo>
                <a:lnTo>
                  <a:pt x="1121" y="219"/>
                </a:lnTo>
                <a:lnTo>
                  <a:pt x="1118" y="221"/>
                </a:lnTo>
                <a:lnTo>
                  <a:pt x="1113" y="221"/>
                </a:lnTo>
                <a:lnTo>
                  <a:pt x="1109" y="221"/>
                </a:lnTo>
                <a:lnTo>
                  <a:pt x="1105" y="221"/>
                </a:lnTo>
                <a:lnTo>
                  <a:pt x="1109" y="217"/>
                </a:lnTo>
                <a:lnTo>
                  <a:pt x="1113" y="215"/>
                </a:lnTo>
                <a:lnTo>
                  <a:pt x="1120" y="213"/>
                </a:lnTo>
                <a:lnTo>
                  <a:pt x="1127" y="210"/>
                </a:lnTo>
                <a:lnTo>
                  <a:pt x="1130" y="210"/>
                </a:lnTo>
                <a:lnTo>
                  <a:pt x="1132" y="207"/>
                </a:lnTo>
                <a:lnTo>
                  <a:pt x="1132" y="205"/>
                </a:lnTo>
                <a:lnTo>
                  <a:pt x="1131" y="205"/>
                </a:lnTo>
                <a:lnTo>
                  <a:pt x="1130" y="205"/>
                </a:lnTo>
                <a:lnTo>
                  <a:pt x="1129" y="205"/>
                </a:lnTo>
                <a:lnTo>
                  <a:pt x="1117" y="208"/>
                </a:lnTo>
                <a:lnTo>
                  <a:pt x="1104" y="212"/>
                </a:lnTo>
                <a:lnTo>
                  <a:pt x="1095" y="213"/>
                </a:lnTo>
                <a:lnTo>
                  <a:pt x="1087" y="216"/>
                </a:lnTo>
                <a:lnTo>
                  <a:pt x="1076" y="221"/>
                </a:lnTo>
                <a:lnTo>
                  <a:pt x="1063" y="224"/>
                </a:lnTo>
                <a:lnTo>
                  <a:pt x="1058" y="225"/>
                </a:lnTo>
                <a:lnTo>
                  <a:pt x="1052" y="227"/>
                </a:lnTo>
                <a:lnTo>
                  <a:pt x="1045" y="229"/>
                </a:lnTo>
                <a:lnTo>
                  <a:pt x="1040" y="227"/>
                </a:lnTo>
                <a:lnTo>
                  <a:pt x="1039" y="226"/>
                </a:lnTo>
                <a:lnTo>
                  <a:pt x="1039" y="224"/>
                </a:lnTo>
                <a:lnTo>
                  <a:pt x="1040" y="224"/>
                </a:lnTo>
                <a:lnTo>
                  <a:pt x="1041" y="223"/>
                </a:lnTo>
                <a:lnTo>
                  <a:pt x="1045" y="222"/>
                </a:lnTo>
                <a:lnTo>
                  <a:pt x="1048" y="222"/>
                </a:lnTo>
                <a:lnTo>
                  <a:pt x="1054" y="221"/>
                </a:lnTo>
                <a:lnTo>
                  <a:pt x="1058" y="219"/>
                </a:lnTo>
                <a:lnTo>
                  <a:pt x="1060" y="219"/>
                </a:lnTo>
                <a:lnTo>
                  <a:pt x="1062" y="217"/>
                </a:lnTo>
                <a:lnTo>
                  <a:pt x="1063" y="216"/>
                </a:lnTo>
                <a:lnTo>
                  <a:pt x="1063" y="214"/>
                </a:lnTo>
                <a:lnTo>
                  <a:pt x="1063" y="215"/>
                </a:lnTo>
                <a:lnTo>
                  <a:pt x="1061" y="216"/>
                </a:lnTo>
                <a:lnTo>
                  <a:pt x="1058" y="217"/>
                </a:lnTo>
                <a:lnTo>
                  <a:pt x="1056" y="216"/>
                </a:lnTo>
                <a:lnTo>
                  <a:pt x="1055" y="214"/>
                </a:lnTo>
                <a:lnTo>
                  <a:pt x="1054" y="212"/>
                </a:lnTo>
                <a:lnTo>
                  <a:pt x="1052" y="210"/>
                </a:lnTo>
                <a:lnTo>
                  <a:pt x="1051" y="212"/>
                </a:lnTo>
                <a:lnTo>
                  <a:pt x="1047" y="213"/>
                </a:lnTo>
                <a:lnTo>
                  <a:pt x="1043" y="214"/>
                </a:lnTo>
                <a:lnTo>
                  <a:pt x="1041" y="214"/>
                </a:lnTo>
                <a:lnTo>
                  <a:pt x="1040" y="214"/>
                </a:lnTo>
                <a:lnTo>
                  <a:pt x="1040" y="213"/>
                </a:lnTo>
                <a:lnTo>
                  <a:pt x="1040" y="210"/>
                </a:lnTo>
                <a:lnTo>
                  <a:pt x="1043" y="209"/>
                </a:lnTo>
                <a:lnTo>
                  <a:pt x="1046" y="209"/>
                </a:lnTo>
                <a:lnTo>
                  <a:pt x="1048" y="208"/>
                </a:lnTo>
                <a:lnTo>
                  <a:pt x="1051" y="208"/>
                </a:lnTo>
                <a:lnTo>
                  <a:pt x="1052" y="206"/>
                </a:lnTo>
                <a:lnTo>
                  <a:pt x="1054" y="204"/>
                </a:lnTo>
                <a:lnTo>
                  <a:pt x="1062" y="201"/>
                </a:lnTo>
                <a:lnTo>
                  <a:pt x="1070" y="199"/>
                </a:lnTo>
                <a:lnTo>
                  <a:pt x="1073" y="197"/>
                </a:lnTo>
                <a:lnTo>
                  <a:pt x="1077" y="193"/>
                </a:lnTo>
                <a:lnTo>
                  <a:pt x="1077" y="192"/>
                </a:lnTo>
                <a:lnTo>
                  <a:pt x="1077" y="191"/>
                </a:lnTo>
                <a:lnTo>
                  <a:pt x="1078" y="191"/>
                </a:lnTo>
                <a:lnTo>
                  <a:pt x="1080" y="191"/>
                </a:lnTo>
                <a:lnTo>
                  <a:pt x="1081" y="190"/>
                </a:lnTo>
                <a:lnTo>
                  <a:pt x="1080" y="189"/>
                </a:lnTo>
                <a:lnTo>
                  <a:pt x="1077" y="189"/>
                </a:lnTo>
                <a:lnTo>
                  <a:pt x="1072" y="190"/>
                </a:lnTo>
                <a:lnTo>
                  <a:pt x="1064" y="194"/>
                </a:lnTo>
                <a:lnTo>
                  <a:pt x="1055" y="198"/>
                </a:lnTo>
                <a:lnTo>
                  <a:pt x="1046" y="201"/>
                </a:lnTo>
                <a:lnTo>
                  <a:pt x="1038" y="205"/>
                </a:lnTo>
                <a:lnTo>
                  <a:pt x="1029" y="209"/>
                </a:lnTo>
                <a:lnTo>
                  <a:pt x="1018" y="213"/>
                </a:lnTo>
                <a:lnTo>
                  <a:pt x="1007" y="217"/>
                </a:lnTo>
                <a:lnTo>
                  <a:pt x="996" y="222"/>
                </a:lnTo>
                <a:lnTo>
                  <a:pt x="984" y="226"/>
                </a:lnTo>
                <a:lnTo>
                  <a:pt x="973" y="232"/>
                </a:lnTo>
                <a:lnTo>
                  <a:pt x="963" y="235"/>
                </a:lnTo>
                <a:lnTo>
                  <a:pt x="953" y="239"/>
                </a:lnTo>
                <a:lnTo>
                  <a:pt x="941" y="245"/>
                </a:lnTo>
                <a:lnTo>
                  <a:pt x="931" y="249"/>
                </a:lnTo>
                <a:lnTo>
                  <a:pt x="920" y="255"/>
                </a:lnTo>
                <a:lnTo>
                  <a:pt x="908" y="259"/>
                </a:lnTo>
                <a:lnTo>
                  <a:pt x="898" y="264"/>
                </a:lnTo>
                <a:lnTo>
                  <a:pt x="887" y="270"/>
                </a:lnTo>
                <a:lnTo>
                  <a:pt x="875" y="275"/>
                </a:lnTo>
                <a:lnTo>
                  <a:pt x="863" y="281"/>
                </a:lnTo>
                <a:lnTo>
                  <a:pt x="851" y="287"/>
                </a:lnTo>
                <a:lnTo>
                  <a:pt x="840" y="292"/>
                </a:lnTo>
                <a:lnTo>
                  <a:pt x="829" y="299"/>
                </a:lnTo>
                <a:lnTo>
                  <a:pt x="817" y="306"/>
                </a:lnTo>
                <a:lnTo>
                  <a:pt x="812" y="309"/>
                </a:lnTo>
                <a:lnTo>
                  <a:pt x="805" y="312"/>
                </a:lnTo>
                <a:lnTo>
                  <a:pt x="799" y="313"/>
                </a:lnTo>
                <a:lnTo>
                  <a:pt x="792" y="314"/>
                </a:lnTo>
                <a:lnTo>
                  <a:pt x="792" y="312"/>
                </a:lnTo>
                <a:lnTo>
                  <a:pt x="793" y="310"/>
                </a:lnTo>
                <a:lnTo>
                  <a:pt x="796" y="308"/>
                </a:lnTo>
                <a:lnTo>
                  <a:pt x="798" y="307"/>
                </a:lnTo>
                <a:lnTo>
                  <a:pt x="802" y="306"/>
                </a:lnTo>
                <a:lnTo>
                  <a:pt x="806" y="305"/>
                </a:lnTo>
                <a:lnTo>
                  <a:pt x="815" y="299"/>
                </a:lnTo>
                <a:lnTo>
                  <a:pt x="824" y="293"/>
                </a:lnTo>
                <a:lnTo>
                  <a:pt x="834" y="288"/>
                </a:lnTo>
                <a:lnTo>
                  <a:pt x="845" y="282"/>
                </a:lnTo>
                <a:lnTo>
                  <a:pt x="856" y="276"/>
                </a:lnTo>
                <a:lnTo>
                  <a:pt x="866" y="271"/>
                </a:lnTo>
                <a:lnTo>
                  <a:pt x="876" y="265"/>
                </a:lnTo>
                <a:lnTo>
                  <a:pt x="887" y="260"/>
                </a:lnTo>
                <a:lnTo>
                  <a:pt x="898" y="255"/>
                </a:lnTo>
                <a:lnTo>
                  <a:pt x="908" y="249"/>
                </a:lnTo>
                <a:lnTo>
                  <a:pt x="912" y="247"/>
                </a:lnTo>
                <a:lnTo>
                  <a:pt x="916" y="243"/>
                </a:lnTo>
                <a:lnTo>
                  <a:pt x="920" y="242"/>
                </a:lnTo>
                <a:lnTo>
                  <a:pt x="923" y="242"/>
                </a:lnTo>
                <a:lnTo>
                  <a:pt x="925" y="240"/>
                </a:lnTo>
                <a:lnTo>
                  <a:pt x="928" y="237"/>
                </a:lnTo>
                <a:lnTo>
                  <a:pt x="929" y="234"/>
                </a:lnTo>
                <a:lnTo>
                  <a:pt x="930" y="233"/>
                </a:lnTo>
                <a:lnTo>
                  <a:pt x="932" y="233"/>
                </a:lnTo>
                <a:lnTo>
                  <a:pt x="936" y="232"/>
                </a:lnTo>
                <a:lnTo>
                  <a:pt x="940" y="231"/>
                </a:lnTo>
                <a:lnTo>
                  <a:pt x="942" y="227"/>
                </a:lnTo>
                <a:lnTo>
                  <a:pt x="948" y="225"/>
                </a:lnTo>
                <a:lnTo>
                  <a:pt x="954" y="223"/>
                </a:lnTo>
                <a:lnTo>
                  <a:pt x="965" y="219"/>
                </a:lnTo>
                <a:lnTo>
                  <a:pt x="977" y="216"/>
                </a:lnTo>
                <a:lnTo>
                  <a:pt x="988" y="213"/>
                </a:lnTo>
                <a:lnTo>
                  <a:pt x="998" y="208"/>
                </a:lnTo>
                <a:lnTo>
                  <a:pt x="1010" y="204"/>
                </a:lnTo>
                <a:lnTo>
                  <a:pt x="1021" y="199"/>
                </a:lnTo>
                <a:lnTo>
                  <a:pt x="1024" y="198"/>
                </a:lnTo>
                <a:lnTo>
                  <a:pt x="1028" y="196"/>
                </a:lnTo>
                <a:lnTo>
                  <a:pt x="1030" y="194"/>
                </a:lnTo>
                <a:lnTo>
                  <a:pt x="1030" y="192"/>
                </a:lnTo>
                <a:lnTo>
                  <a:pt x="1030" y="191"/>
                </a:lnTo>
                <a:lnTo>
                  <a:pt x="1028" y="190"/>
                </a:lnTo>
                <a:lnTo>
                  <a:pt x="1024" y="190"/>
                </a:lnTo>
                <a:lnTo>
                  <a:pt x="1021" y="191"/>
                </a:lnTo>
                <a:lnTo>
                  <a:pt x="1016" y="191"/>
                </a:lnTo>
                <a:lnTo>
                  <a:pt x="1011" y="191"/>
                </a:lnTo>
                <a:lnTo>
                  <a:pt x="1002" y="193"/>
                </a:lnTo>
                <a:lnTo>
                  <a:pt x="991" y="199"/>
                </a:lnTo>
                <a:lnTo>
                  <a:pt x="980" y="204"/>
                </a:lnTo>
                <a:lnTo>
                  <a:pt x="969" y="208"/>
                </a:lnTo>
                <a:lnTo>
                  <a:pt x="957" y="213"/>
                </a:lnTo>
                <a:lnTo>
                  <a:pt x="947" y="217"/>
                </a:lnTo>
                <a:lnTo>
                  <a:pt x="942" y="219"/>
                </a:lnTo>
                <a:lnTo>
                  <a:pt x="937" y="219"/>
                </a:lnTo>
                <a:lnTo>
                  <a:pt x="932" y="223"/>
                </a:lnTo>
                <a:lnTo>
                  <a:pt x="928" y="225"/>
                </a:lnTo>
                <a:lnTo>
                  <a:pt x="916" y="229"/>
                </a:lnTo>
                <a:lnTo>
                  <a:pt x="904" y="232"/>
                </a:lnTo>
                <a:lnTo>
                  <a:pt x="900" y="233"/>
                </a:lnTo>
                <a:lnTo>
                  <a:pt x="897" y="235"/>
                </a:lnTo>
                <a:lnTo>
                  <a:pt x="895" y="238"/>
                </a:lnTo>
                <a:lnTo>
                  <a:pt x="892" y="240"/>
                </a:lnTo>
                <a:lnTo>
                  <a:pt x="888" y="241"/>
                </a:lnTo>
                <a:lnTo>
                  <a:pt x="883" y="240"/>
                </a:lnTo>
                <a:lnTo>
                  <a:pt x="879" y="241"/>
                </a:lnTo>
                <a:lnTo>
                  <a:pt x="875" y="243"/>
                </a:lnTo>
                <a:lnTo>
                  <a:pt x="866" y="248"/>
                </a:lnTo>
                <a:lnTo>
                  <a:pt x="857" y="251"/>
                </a:lnTo>
                <a:lnTo>
                  <a:pt x="850" y="249"/>
                </a:lnTo>
                <a:lnTo>
                  <a:pt x="843" y="248"/>
                </a:lnTo>
                <a:lnTo>
                  <a:pt x="841" y="249"/>
                </a:lnTo>
                <a:lnTo>
                  <a:pt x="838" y="251"/>
                </a:lnTo>
                <a:lnTo>
                  <a:pt x="833" y="252"/>
                </a:lnTo>
                <a:lnTo>
                  <a:pt x="829" y="255"/>
                </a:lnTo>
                <a:lnTo>
                  <a:pt x="826" y="256"/>
                </a:lnTo>
                <a:lnTo>
                  <a:pt x="823" y="258"/>
                </a:lnTo>
                <a:lnTo>
                  <a:pt x="821" y="259"/>
                </a:lnTo>
                <a:lnTo>
                  <a:pt x="819" y="259"/>
                </a:lnTo>
                <a:lnTo>
                  <a:pt x="819" y="258"/>
                </a:lnTo>
                <a:lnTo>
                  <a:pt x="819" y="256"/>
                </a:lnTo>
                <a:lnTo>
                  <a:pt x="822" y="254"/>
                </a:lnTo>
                <a:lnTo>
                  <a:pt x="825" y="251"/>
                </a:lnTo>
                <a:lnTo>
                  <a:pt x="830" y="249"/>
                </a:lnTo>
                <a:lnTo>
                  <a:pt x="833" y="248"/>
                </a:lnTo>
                <a:lnTo>
                  <a:pt x="834" y="247"/>
                </a:lnTo>
                <a:lnTo>
                  <a:pt x="835" y="247"/>
                </a:lnTo>
                <a:lnTo>
                  <a:pt x="837" y="246"/>
                </a:lnTo>
                <a:lnTo>
                  <a:pt x="837" y="243"/>
                </a:lnTo>
                <a:lnTo>
                  <a:pt x="837" y="242"/>
                </a:lnTo>
                <a:lnTo>
                  <a:pt x="835" y="241"/>
                </a:lnTo>
                <a:lnTo>
                  <a:pt x="833" y="241"/>
                </a:lnTo>
                <a:lnTo>
                  <a:pt x="832" y="242"/>
                </a:lnTo>
                <a:lnTo>
                  <a:pt x="821" y="248"/>
                </a:lnTo>
                <a:lnTo>
                  <a:pt x="809" y="255"/>
                </a:lnTo>
                <a:lnTo>
                  <a:pt x="799" y="260"/>
                </a:lnTo>
                <a:lnTo>
                  <a:pt x="788" y="265"/>
                </a:lnTo>
                <a:lnTo>
                  <a:pt x="784" y="267"/>
                </a:lnTo>
                <a:lnTo>
                  <a:pt x="778" y="270"/>
                </a:lnTo>
                <a:lnTo>
                  <a:pt x="776" y="270"/>
                </a:lnTo>
                <a:lnTo>
                  <a:pt x="775" y="270"/>
                </a:lnTo>
                <a:lnTo>
                  <a:pt x="775" y="268"/>
                </a:lnTo>
                <a:lnTo>
                  <a:pt x="776" y="266"/>
                </a:lnTo>
                <a:lnTo>
                  <a:pt x="785" y="260"/>
                </a:lnTo>
                <a:lnTo>
                  <a:pt x="796" y="255"/>
                </a:lnTo>
                <a:lnTo>
                  <a:pt x="807" y="249"/>
                </a:lnTo>
                <a:lnTo>
                  <a:pt x="816" y="242"/>
                </a:lnTo>
                <a:lnTo>
                  <a:pt x="827" y="234"/>
                </a:lnTo>
                <a:lnTo>
                  <a:pt x="838" y="227"/>
                </a:lnTo>
                <a:lnTo>
                  <a:pt x="845" y="224"/>
                </a:lnTo>
                <a:lnTo>
                  <a:pt x="850" y="221"/>
                </a:lnTo>
                <a:lnTo>
                  <a:pt x="855" y="219"/>
                </a:lnTo>
                <a:lnTo>
                  <a:pt x="859" y="217"/>
                </a:lnTo>
                <a:lnTo>
                  <a:pt x="859" y="214"/>
                </a:lnTo>
                <a:lnTo>
                  <a:pt x="858" y="209"/>
                </a:lnTo>
                <a:lnTo>
                  <a:pt x="859" y="208"/>
                </a:lnTo>
                <a:lnTo>
                  <a:pt x="860" y="206"/>
                </a:lnTo>
                <a:lnTo>
                  <a:pt x="856" y="206"/>
                </a:lnTo>
                <a:lnTo>
                  <a:pt x="851" y="208"/>
                </a:lnTo>
                <a:lnTo>
                  <a:pt x="839" y="214"/>
                </a:lnTo>
                <a:lnTo>
                  <a:pt x="826" y="221"/>
                </a:lnTo>
                <a:lnTo>
                  <a:pt x="815" y="226"/>
                </a:lnTo>
                <a:lnTo>
                  <a:pt x="802" y="233"/>
                </a:lnTo>
                <a:lnTo>
                  <a:pt x="793" y="239"/>
                </a:lnTo>
                <a:lnTo>
                  <a:pt x="783" y="242"/>
                </a:lnTo>
                <a:lnTo>
                  <a:pt x="778" y="243"/>
                </a:lnTo>
                <a:lnTo>
                  <a:pt x="775" y="245"/>
                </a:lnTo>
                <a:lnTo>
                  <a:pt x="773" y="246"/>
                </a:lnTo>
                <a:lnTo>
                  <a:pt x="772" y="250"/>
                </a:lnTo>
                <a:lnTo>
                  <a:pt x="768" y="248"/>
                </a:lnTo>
                <a:lnTo>
                  <a:pt x="767" y="247"/>
                </a:lnTo>
                <a:lnTo>
                  <a:pt x="768" y="246"/>
                </a:lnTo>
                <a:lnTo>
                  <a:pt x="769" y="243"/>
                </a:lnTo>
                <a:lnTo>
                  <a:pt x="774" y="241"/>
                </a:lnTo>
                <a:lnTo>
                  <a:pt x="780" y="239"/>
                </a:lnTo>
                <a:lnTo>
                  <a:pt x="783" y="239"/>
                </a:lnTo>
                <a:lnTo>
                  <a:pt x="785" y="237"/>
                </a:lnTo>
                <a:lnTo>
                  <a:pt x="786" y="233"/>
                </a:lnTo>
                <a:lnTo>
                  <a:pt x="789" y="230"/>
                </a:lnTo>
                <a:lnTo>
                  <a:pt x="794" y="225"/>
                </a:lnTo>
                <a:lnTo>
                  <a:pt x="800" y="221"/>
                </a:lnTo>
                <a:lnTo>
                  <a:pt x="806" y="217"/>
                </a:lnTo>
                <a:lnTo>
                  <a:pt x="812" y="214"/>
                </a:lnTo>
                <a:lnTo>
                  <a:pt x="824" y="206"/>
                </a:lnTo>
                <a:lnTo>
                  <a:pt x="837" y="199"/>
                </a:lnTo>
                <a:lnTo>
                  <a:pt x="848" y="192"/>
                </a:lnTo>
                <a:lnTo>
                  <a:pt x="860" y="187"/>
                </a:lnTo>
                <a:lnTo>
                  <a:pt x="870" y="182"/>
                </a:lnTo>
                <a:lnTo>
                  <a:pt x="878" y="176"/>
                </a:lnTo>
                <a:lnTo>
                  <a:pt x="882" y="175"/>
                </a:lnTo>
                <a:lnTo>
                  <a:pt x="887" y="174"/>
                </a:lnTo>
                <a:lnTo>
                  <a:pt x="889" y="174"/>
                </a:lnTo>
                <a:lnTo>
                  <a:pt x="891" y="173"/>
                </a:lnTo>
                <a:lnTo>
                  <a:pt x="892" y="172"/>
                </a:lnTo>
                <a:lnTo>
                  <a:pt x="893" y="171"/>
                </a:lnTo>
                <a:lnTo>
                  <a:pt x="897" y="166"/>
                </a:lnTo>
                <a:lnTo>
                  <a:pt x="899" y="165"/>
                </a:lnTo>
                <a:lnTo>
                  <a:pt x="901" y="165"/>
                </a:lnTo>
                <a:lnTo>
                  <a:pt x="905" y="168"/>
                </a:lnTo>
                <a:lnTo>
                  <a:pt x="906" y="166"/>
                </a:lnTo>
                <a:lnTo>
                  <a:pt x="906" y="164"/>
                </a:lnTo>
                <a:lnTo>
                  <a:pt x="908" y="163"/>
                </a:lnTo>
                <a:lnTo>
                  <a:pt x="911" y="163"/>
                </a:lnTo>
                <a:lnTo>
                  <a:pt x="913" y="159"/>
                </a:lnTo>
                <a:lnTo>
                  <a:pt x="916" y="156"/>
                </a:lnTo>
                <a:lnTo>
                  <a:pt x="920" y="154"/>
                </a:lnTo>
                <a:lnTo>
                  <a:pt x="923" y="154"/>
                </a:lnTo>
                <a:lnTo>
                  <a:pt x="932" y="154"/>
                </a:lnTo>
                <a:lnTo>
                  <a:pt x="940" y="151"/>
                </a:lnTo>
                <a:lnTo>
                  <a:pt x="949" y="147"/>
                </a:lnTo>
                <a:lnTo>
                  <a:pt x="957" y="141"/>
                </a:lnTo>
                <a:lnTo>
                  <a:pt x="947" y="140"/>
                </a:lnTo>
                <a:lnTo>
                  <a:pt x="938" y="141"/>
                </a:lnTo>
                <a:lnTo>
                  <a:pt x="929" y="143"/>
                </a:lnTo>
                <a:lnTo>
                  <a:pt x="918" y="146"/>
                </a:lnTo>
                <a:lnTo>
                  <a:pt x="909" y="148"/>
                </a:lnTo>
                <a:lnTo>
                  <a:pt x="900" y="151"/>
                </a:lnTo>
                <a:lnTo>
                  <a:pt x="890" y="154"/>
                </a:lnTo>
                <a:lnTo>
                  <a:pt x="881" y="157"/>
                </a:lnTo>
                <a:lnTo>
                  <a:pt x="874" y="159"/>
                </a:lnTo>
                <a:lnTo>
                  <a:pt x="867" y="160"/>
                </a:lnTo>
                <a:lnTo>
                  <a:pt x="860" y="163"/>
                </a:lnTo>
                <a:lnTo>
                  <a:pt x="855" y="167"/>
                </a:lnTo>
                <a:lnTo>
                  <a:pt x="852" y="169"/>
                </a:lnTo>
                <a:lnTo>
                  <a:pt x="850" y="173"/>
                </a:lnTo>
                <a:lnTo>
                  <a:pt x="849" y="174"/>
                </a:lnTo>
                <a:lnTo>
                  <a:pt x="848" y="174"/>
                </a:lnTo>
                <a:lnTo>
                  <a:pt x="847" y="174"/>
                </a:lnTo>
                <a:lnTo>
                  <a:pt x="846" y="173"/>
                </a:lnTo>
                <a:lnTo>
                  <a:pt x="846" y="168"/>
                </a:lnTo>
                <a:lnTo>
                  <a:pt x="848" y="165"/>
                </a:lnTo>
                <a:lnTo>
                  <a:pt x="848" y="160"/>
                </a:lnTo>
                <a:lnTo>
                  <a:pt x="847" y="156"/>
                </a:lnTo>
                <a:lnTo>
                  <a:pt x="845" y="159"/>
                </a:lnTo>
                <a:lnTo>
                  <a:pt x="842" y="164"/>
                </a:lnTo>
                <a:lnTo>
                  <a:pt x="841" y="168"/>
                </a:lnTo>
                <a:lnTo>
                  <a:pt x="841" y="173"/>
                </a:lnTo>
                <a:lnTo>
                  <a:pt x="842" y="175"/>
                </a:lnTo>
                <a:lnTo>
                  <a:pt x="841" y="179"/>
                </a:lnTo>
                <a:lnTo>
                  <a:pt x="839" y="180"/>
                </a:lnTo>
                <a:lnTo>
                  <a:pt x="835" y="180"/>
                </a:lnTo>
                <a:lnTo>
                  <a:pt x="835" y="177"/>
                </a:lnTo>
                <a:lnTo>
                  <a:pt x="835" y="176"/>
                </a:lnTo>
                <a:lnTo>
                  <a:pt x="837" y="174"/>
                </a:lnTo>
                <a:lnTo>
                  <a:pt x="834" y="174"/>
                </a:lnTo>
                <a:lnTo>
                  <a:pt x="830" y="176"/>
                </a:lnTo>
                <a:lnTo>
                  <a:pt x="826" y="179"/>
                </a:lnTo>
                <a:lnTo>
                  <a:pt x="822" y="181"/>
                </a:lnTo>
                <a:lnTo>
                  <a:pt x="816" y="182"/>
                </a:lnTo>
                <a:lnTo>
                  <a:pt x="817" y="179"/>
                </a:lnTo>
                <a:lnTo>
                  <a:pt x="818" y="177"/>
                </a:lnTo>
                <a:lnTo>
                  <a:pt x="821" y="175"/>
                </a:lnTo>
                <a:lnTo>
                  <a:pt x="823" y="174"/>
                </a:lnTo>
                <a:lnTo>
                  <a:pt x="827" y="172"/>
                </a:lnTo>
                <a:lnTo>
                  <a:pt x="832" y="171"/>
                </a:lnTo>
                <a:lnTo>
                  <a:pt x="834" y="168"/>
                </a:lnTo>
                <a:lnTo>
                  <a:pt x="835" y="167"/>
                </a:lnTo>
                <a:lnTo>
                  <a:pt x="834" y="166"/>
                </a:lnTo>
                <a:lnTo>
                  <a:pt x="833" y="166"/>
                </a:lnTo>
                <a:lnTo>
                  <a:pt x="827" y="166"/>
                </a:lnTo>
                <a:lnTo>
                  <a:pt x="824" y="164"/>
                </a:lnTo>
                <a:lnTo>
                  <a:pt x="835" y="158"/>
                </a:lnTo>
                <a:lnTo>
                  <a:pt x="847" y="151"/>
                </a:lnTo>
                <a:lnTo>
                  <a:pt x="842" y="151"/>
                </a:lnTo>
                <a:lnTo>
                  <a:pt x="837" y="151"/>
                </a:lnTo>
                <a:lnTo>
                  <a:pt x="832" y="150"/>
                </a:lnTo>
                <a:lnTo>
                  <a:pt x="829" y="150"/>
                </a:lnTo>
                <a:lnTo>
                  <a:pt x="827" y="155"/>
                </a:lnTo>
                <a:lnTo>
                  <a:pt x="825" y="158"/>
                </a:lnTo>
                <a:lnTo>
                  <a:pt x="822" y="159"/>
                </a:lnTo>
                <a:lnTo>
                  <a:pt x="818" y="160"/>
                </a:lnTo>
                <a:lnTo>
                  <a:pt x="815" y="160"/>
                </a:lnTo>
                <a:lnTo>
                  <a:pt x="812" y="159"/>
                </a:lnTo>
                <a:lnTo>
                  <a:pt x="812" y="158"/>
                </a:lnTo>
                <a:lnTo>
                  <a:pt x="810" y="157"/>
                </a:lnTo>
                <a:lnTo>
                  <a:pt x="806" y="157"/>
                </a:lnTo>
                <a:lnTo>
                  <a:pt x="802" y="158"/>
                </a:lnTo>
                <a:lnTo>
                  <a:pt x="800" y="162"/>
                </a:lnTo>
                <a:lnTo>
                  <a:pt x="797" y="163"/>
                </a:lnTo>
                <a:lnTo>
                  <a:pt x="796" y="163"/>
                </a:lnTo>
                <a:lnTo>
                  <a:pt x="793" y="162"/>
                </a:lnTo>
                <a:lnTo>
                  <a:pt x="792" y="159"/>
                </a:lnTo>
                <a:lnTo>
                  <a:pt x="792" y="158"/>
                </a:lnTo>
                <a:lnTo>
                  <a:pt x="798" y="155"/>
                </a:lnTo>
                <a:lnTo>
                  <a:pt x="805" y="152"/>
                </a:lnTo>
                <a:lnTo>
                  <a:pt x="808" y="149"/>
                </a:lnTo>
                <a:lnTo>
                  <a:pt x="814" y="148"/>
                </a:lnTo>
                <a:lnTo>
                  <a:pt x="817" y="149"/>
                </a:lnTo>
                <a:lnTo>
                  <a:pt x="822" y="151"/>
                </a:lnTo>
                <a:lnTo>
                  <a:pt x="824" y="147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6" y="139"/>
                </a:lnTo>
                <a:lnTo>
                  <a:pt x="825" y="139"/>
                </a:lnTo>
                <a:lnTo>
                  <a:pt x="825" y="139"/>
                </a:lnTo>
                <a:lnTo>
                  <a:pt x="825" y="139"/>
                </a:lnTo>
                <a:lnTo>
                  <a:pt x="825" y="140"/>
                </a:lnTo>
                <a:lnTo>
                  <a:pt x="825" y="141"/>
                </a:lnTo>
                <a:lnTo>
                  <a:pt x="822" y="140"/>
                </a:lnTo>
                <a:lnTo>
                  <a:pt x="821" y="139"/>
                </a:lnTo>
                <a:lnTo>
                  <a:pt x="818" y="138"/>
                </a:lnTo>
                <a:lnTo>
                  <a:pt x="817" y="135"/>
                </a:lnTo>
                <a:lnTo>
                  <a:pt x="817" y="134"/>
                </a:lnTo>
                <a:lnTo>
                  <a:pt x="818" y="132"/>
                </a:lnTo>
                <a:lnTo>
                  <a:pt x="816" y="132"/>
                </a:lnTo>
                <a:lnTo>
                  <a:pt x="815" y="132"/>
                </a:lnTo>
                <a:lnTo>
                  <a:pt x="814" y="133"/>
                </a:lnTo>
                <a:lnTo>
                  <a:pt x="814" y="134"/>
                </a:lnTo>
                <a:lnTo>
                  <a:pt x="810" y="136"/>
                </a:lnTo>
                <a:lnTo>
                  <a:pt x="807" y="139"/>
                </a:lnTo>
                <a:lnTo>
                  <a:pt x="804" y="140"/>
                </a:lnTo>
                <a:lnTo>
                  <a:pt x="799" y="141"/>
                </a:lnTo>
                <a:lnTo>
                  <a:pt x="790" y="143"/>
                </a:lnTo>
                <a:lnTo>
                  <a:pt x="780" y="147"/>
                </a:lnTo>
                <a:lnTo>
                  <a:pt x="764" y="155"/>
                </a:lnTo>
                <a:lnTo>
                  <a:pt x="748" y="162"/>
                </a:lnTo>
                <a:lnTo>
                  <a:pt x="744" y="163"/>
                </a:lnTo>
                <a:lnTo>
                  <a:pt x="742" y="165"/>
                </a:lnTo>
                <a:lnTo>
                  <a:pt x="742" y="166"/>
                </a:lnTo>
                <a:lnTo>
                  <a:pt x="741" y="167"/>
                </a:lnTo>
                <a:lnTo>
                  <a:pt x="741" y="168"/>
                </a:lnTo>
                <a:lnTo>
                  <a:pt x="741" y="169"/>
                </a:lnTo>
                <a:lnTo>
                  <a:pt x="740" y="169"/>
                </a:lnTo>
                <a:lnTo>
                  <a:pt x="739" y="168"/>
                </a:lnTo>
                <a:lnTo>
                  <a:pt x="728" y="173"/>
                </a:lnTo>
                <a:lnTo>
                  <a:pt x="718" y="175"/>
                </a:lnTo>
                <a:lnTo>
                  <a:pt x="725" y="168"/>
                </a:lnTo>
                <a:lnTo>
                  <a:pt x="733" y="163"/>
                </a:lnTo>
                <a:lnTo>
                  <a:pt x="741" y="158"/>
                </a:lnTo>
                <a:lnTo>
                  <a:pt x="750" y="154"/>
                </a:lnTo>
                <a:lnTo>
                  <a:pt x="753" y="151"/>
                </a:lnTo>
                <a:lnTo>
                  <a:pt x="759" y="149"/>
                </a:lnTo>
                <a:lnTo>
                  <a:pt x="763" y="149"/>
                </a:lnTo>
                <a:lnTo>
                  <a:pt x="766" y="148"/>
                </a:lnTo>
                <a:lnTo>
                  <a:pt x="769" y="148"/>
                </a:lnTo>
                <a:lnTo>
                  <a:pt x="773" y="147"/>
                </a:lnTo>
                <a:lnTo>
                  <a:pt x="776" y="144"/>
                </a:lnTo>
                <a:lnTo>
                  <a:pt x="780" y="142"/>
                </a:lnTo>
                <a:lnTo>
                  <a:pt x="783" y="136"/>
                </a:lnTo>
                <a:lnTo>
                  <a:pt x="788" y="131"/>
                </a:lnTo>
                <a:lnTo>
                  <a:pt x="791" y="130"/>
                </a:lnTo>
                <a:lnTo>
                  <a:pt x="794" y="129"/>
                </a:lnTo>
                <a:lnTo>
                  <a:pt x="796" y="129"/>
                </a:lnTo>
                <a:lnTo>
                  <a:pt x="797" y="127"/>
                </a:lnTo>
                <a:lnTo>
                  <a:pt x="798" y="126"/>
                </a:lnTo>
                <a:lnTo>
                  <a:pt x="798" y="125"/>
                </a:lnTo>
                <a:lnTo>
                  <a:pt x="796" y="123"/>
                </a:lnTo>
                <a:lnTo>
                  <a:pt x="793" y="123"/>
                </a:lnTo>
                <a:lnTo>
                  <a:pt x="789" y="124"/>
                </a:lnTo>
                <a:lnTo>
                  <a:pt x="784" y="126"/>
                </a:lnTo>
                <a:lnTo>
                  <a:pt x="775" y="132"/>
                </a:lnTo>
                <a:lnTo>
                  <a:pt x="769" y="134"/>
                </a:lnTo>
                <a:lnTo>
                  <a:pt x="766" y="134"/>
                </a:lnTo>
                <a:lnTo>
                  <a:pt x="765" y="134"/>
                </a:lnTo>
                <a:lnTo>
                  <a:pt x="763" y="136"/>
                </a:lnTo>
                <a:lnTo>
                  <a:pt x="759" y="138"/>
                </a:lnTo>
                <a:lnTo>
                  <a:pt x="756" y="136"/>
                </a:lnTo>
                <a:lnTo>
                  <a:pt x="756" y="134"/>
                </a:lnTo>
                <a:lnTo>
                  <a:pt x="756" y="132"/>
                </a:lnTo>
                <a:lnTo>
                  <a:pt x="757" y="131"/>
                </a:lnTo>
                <a:lnTo>
                  <a:pt x="758" y="130"/>
                </a:lnTo>
                <a:lnTo>
                  <a:pt x="760" y="129"/>
                </a:lnTo>
                <a:lnTo>
                  <a:pt x="764" y="126"/>
                </a:lnTo>
                <a:lnTo>
                  <a:pt x="768" y="125"/>
                </a:lnTo>
                <a:lnTo>
                  <a:pt x="772" y="124"/>
                </a:lnTo>
                <a:lnTo>
                  <a:pt x="774" y="123"/>
                </a:lnTo>
                <a:lnTo>
                  <a:pt x="775" y="122"/>
                </a:lnTo>
                <a:lnTo>
                  <a:pt x="776" y="119"/>
                </a:lnTo>
                <a:lnTo>
                  <a:pt x="777" y="115"/>
                </a:lnTo>
                <a:lnTo>
                  <a:pt x="777" y="111"/>
                </a:lnTo>
                <a:lnTo>
                  <a:pt x="775" y="111"/>
                </a:lnTo>
                <a:lnTo>
                  <a:pt x="773" y="109"/>
                </a:lnTo>
                <a:lnTo>
                  <a:pt x="778" y="107"/>
                </a:lnTo>
                <a:lnTo>
                  <a:pt x="785" y="104"/>
                </a:lnTo>
                <a:lnTo>
                  <a:pt x="792" y="99"/>
                </a:lnTo>
                <a:lnTo>
                  <a:pt x="801" y="94"/>
                </a:lnTo>
                <a:lnTo>
                  <a:pt x="788" y="96"/>
                </a:lnTo>
                <a:lnTo>
                  <a:pt x="775" y="98"/>
                </a:lnTo>
                <a:lnTo>
                  <a:pt x="763" y="99"/>
                </a:lnTo>
                <a:lnTo>
                  <a:pt x="749" y="98"/>
                </a:lnTo>
                <a:lnTo>
                  <a:pt x="766" y="92"/>
                </a:lnTo>
                <a:lnTo>
                  <a:pt x="783" y="85"/>
                </a:lnTo>
                <a:lnTo>
                  <a:pt x="793" y="82"/>
                </a:lnTo>
                <a:lnTo>
                  <a:pt x="804" y="79"/>
                </a:lnTo>
                <a:lnTo>
                  <a:pt x="813" y="74"/>
                </a:lnTo>
                <a:lnTo>
                  <a:pt x="822" y="67"/>
                </a:lnTo>
                <a:lnTo>
                  <a:pt x="810" y="69"/>
                </a:lnTo>
                <a:lnTo>
                  <a:pt x="800" y="74"/>
                </a:lnTo>
                <a:lnTo>
                  <a:pt x="791" y="76"/>
                </a:lnTo>
                <a:lnTo>
                  <a:pt x="781" y="80"/>
                </a:lnTo>
                <a:lnTo>
                  <a:pt x="777" y="81"/>
                </a:lnTo>
                <a:lnTo>
                  <a:pt x="774" y="83"/>
                </a:lnTo>
                <a:lnTo>
                  <a:pt x="772" y="83"/>
                </a:lnTo>
                <a:lnTo>
                  <a:pt x="769" y="84"/>
                </a:lnTo>
                <a:lnTo>
                  <a:pt x="768" y="83"/>
                </a:lnTo>
                <a:lnTo>
                  <a:pt x="766" y="82"/>
                </a:lnTo>
                <a:lnTo>
                  <a:pt x="765" y="81"/>
                </a:lnTo>
                <a:lnTo>
                  <a:pt x="765" y="80"/>
                </a:lnTo>
                <a:lnTo>
                  <a:pt x="766" y="79"/>
                </a:lnTo>
                <a:lnTo>
                  <a:pt x="767" y="77"/>
                </a:lnTo>
                <a:lnTo>
                  <a:pt x="772" y="76"/>
                </a:lnTo>
                <a:lnTo>
                  <a:pt x="775" y="75"/>
                </a:lnTo>
                <a:lnTo>
                  <a:pt x="772" y="73"/>
                </a:lnTo>
                <a:lnTo>
                  <a:pt x="767" y="73"/>
                </a:lnTo>
                <a:lnTo>
                  <a:pt x="764" y="74"/>
                </a:lnTo>
                <a:lnTo>
                  <a:pt x="760" y="76"/>
                </a:lnTo>
                <a:lnTo>
                  <a:pt x="759" y="80"/>
                </a:lnTo>
                <a:lnTo>
                  <a:pt x="758" y="83"/>
                </a:lnTo>
                <a:lnTo>
                  <a:pt x="757" y="86"/>
                </a:lnTo>
                <a:lnTo>
                  <a:pt x="755" y="89"/>
                </a:lnTo>
                <a:lnTo>
                  <a:pt x="738" y="94"/>
                </a:lnTo>
                <a:lnTo>
                  <a:pt x="722" y="100"/>
                </a:lnTo>
                <a:lnTo>
                  <a:pt x="717" y="106"/>
                </a:lnTo>
                <a:lnTo>
                  <a:pt x="712" y="111"/>
                </a:lnTo>
                <a:lnTo>
                  <a:pt x="705" y="114"/>
                </a:lnTo>
                <a:lnTo>
                  <a:pt x="697" y="115"/>
                </a:lnTo>
                <a:lnTo>
                  <a:pt x="687" y="118"/>
                </a:lnTo>
                <a:lnTo>
                  <a:pt x="681" y="123"/>
                </a:lnTo>
                <a:lnTo>
                  <a:pt x="676" y="125"/>
                </a:lnTo>
                <a:lnTo>
                  <a:pt x="673" y="127"/>
                </a:lnTo>
                <a:lnTo>
                  <a:pt x="668" y="130"/>
                </a:lnTo>
                <a:lnTo>
                  <a:pt x="664" y="130"/>
                </a:lnTo>
                <a:lnTo>
                  <a:pt x="665" y="126"/>
                </a:lnTo>
                <a:lnTo>
                  <a:pt x="668" y="124"/>
                </a:lnTo>
                <a:lnTo>
                  <a:pt x="670" y="122"/>
                </a:lnTo>
                <a:lnTo>
                  <a:pt x="675" y="119"/>
                </a:lnTo>
                <a:lnTo>
                  <a:pt x="682" y="117"/>
                </a:lnTo>
                <a:lnTo>
                  <a:pt x="687" y="114"/>
                </a:lnTo>
                <a:lnTo>
                  <a:pt x="691" y="111"/>
                </a:lnTo>
                <a:lnTo>
                  <a:pt x="694" y="109"/>
                </a:lnTo>
                <a:lnTo>
                  <a:pt x="695" y="109"/>
                </a:lnTo>
                <a:lnTo>
                  <a:pt x="697" y="109"/>
                </a:lnTo>
                <a:lnTo>
                  <a:pt x="697" y="108"/>
                </a:lnTo>
                <a:lnTo>
                  <a:pt x="698" y="106"/>
                </a:lnTo>
                <a:lnTo>
                  <a:pt x="702" y="101"/>
                </a:lnTo>
                <a:lnTo>
                  <a:pt x="708" y="98"/>
                </a:lnTo>
                <a:lnTo>
                  <a:pt x="703" y="96"/>
                </a:lnTo>
                <a:lnTo>
                  <a:pt x="699" y="97"/>
                </a:lnTo>
                <a:lnTo>
                  <a:pt x="694" y="98"/>
                </a:lnTo>
                <a:lnTo>
                  <a:pt x="691" y="100"/>
                </a:lnTo>
                <a:lnTo>
                  <a:pt x="689" y="101"/>
                </a:lnTo>
                <a:lnTo>
                  <a:pt x="687" y="102"/>
                </a:lnTo>
                <a:lnTo>
                  <a:pt x="685" y="102"/>
                </a:lnTo>
                <a:lnTo>
                  <a:pt x="684" y="100"/>
                </a:lnTo>
                <a:lnTo>
                  <a:pt x="685" y="97"/>
                </a:lnTo>
                <a:lnTo>
                  <a:pt x="686" y="94"/>
                </a:lnTo>
                <a:lnTo>
                  <a:pt x="690" y="93"/>
                </a:lnTo>
                <a:lnTo>
                  <a:pt x="692" y="92"/>
                </a:lnTo>
                <a:lnTo>
                  <a:pt x="705" y="85"/>
                </a:lnTo>
                <a:lnTo>
                  <a:pt x="717" y="79"/>
                </a:lnTo>
                <a:lnTo>
                  <a:pt x="723" y="74"/>
                </a:lnTo>
                <a:lnTo>
                  <a:pt x="727" y="69"/>
                </a:lnTo>
                <a:lnTo>
                  <a:pt x="732" y="65"/>
                </a:lnTo>
                <a:lnTo>
                  <a:pt x="736" y="59"/>
                </a:lnTo>
                <a:lnTo>
                  <a:pt x="734" y="59"/>
                </a:lnTo>
                <a:lnTo>
                  <a:pt x="732" y="60"/>
                </a:lnTo>
                <a:lnTo>
                  <a:pt x="730" y="61"/>
                </a:lnTo>
                <a:lnTo>
                  <a:pt x="727" y="64"/>
                </a:lnTo>
                <a:lnTo>
                  <a:pt x="722" y="67"/>
                </a:lnTo>
                <a:lnTo>
                  <a:pt x="715" y="71"/>
                </a:lnTo>
                <a:lnTo>
                  <a:pt x="703" y="76"/>
                </a:lnTo>
                <a:lnTo>
                  <a:pt x="691" y="83"/>
                </a:lnTo>
                <a:lnTo>
                  <a:pt x="679" y="90"/>
                </a:lnTo>
                <a:lnTo>
                  <a:pt x="668" y="97"/>
                </a:lnTo>
                <a:lnTo>
                  <a:pt x="665" y="98"/>
                </a:lnTo>
                <a:lnTo>
                  <a:pt x="661" y="99"/>
                </a:lnTo>
                <a:lnTo>
                  <a:pt x="659" y="100"/>
                </a:lnTo>
                <a:lnTo>
                  <a:pt x="658" y="102"/>
                </a:lnTo>
                <a:lnTo>
                  <a:pt x="658" y="105"/>
                </a:lnTo>
                <a:lnTo>
                  <a:pt x="659" y="105"/>
                </a:lnTo>
                <a:lnTo>
                  <a:pt x="660" y="105"/>
                </a:lnTo>
                <a:lnTo>
                  <a:pt x="662" y="105"/>
                </a:lnTo>
                <a:lnTo>
                  <a:pt x="666" y="104"/>
                </a:lnTo>
                <a:lnTo>
                  <a:pt x="668" y="102"/>
                </a:lnTo>
                <a:lnTo>
                  <a:pt x="662" y="108"/>
                </a:lnTo>
                <a:lnTo>
                  <a:pt x="657" y="113"/>
                </a:lnTo>
                <a:lnTo>
                  <a:pt x="650" y="115"/>
                </a:lnTo>
                <a:lnTo>
                  <a:pt x="643" y="117"/>
                </a:lnTo>
                <a:lnTo>
                  <a:pt x="645" y="113"/>
                </a:lnTo>
                <a:lnTo>
                  <a:pt x="646" y="107"/>
                </a:lnTo>
                <a:lnTo>
                  <a:pt x="645" y="104"/>
                </a:lnTo>
                <a:lnTo>
                  <a:pt x="644" y="100"/>
                </a:lnTo>
                <a:lnTo>
                  <a:pt x="642" y="99"/>
                </a:lnTo>
                <a:lnTo>
                  <a:pt x="641" y="100"/>
                </a:lnTo>
                <a:lnTo>
                  <a:pt x="640" y="101"/>
                </a:lnTo>
                <a:lnTo>
                  <a:pt x="639" y="102"/>
                </a:lnTo>
                <a:lnTo>
                  <a:pt x="637" y="105"/>
                </a:lnTo>
                <a:lnTo>
                  <a:pt x="636" y="105"/>
                </a:lnTo>
                <a:lnTo>
                  <a:pt x="636" y="106"/>
                </a:lnTo>
                <a:lnTo>
                  <a:pt x="636" y="108"/>
                </a:lnTo>
                <a:lnTo>
                  <a:pt x="637" y="110"/>
                </a:lnTo>
                <a:lnTo>
                  <a:pt x="639" y="113"/>
                </a:lnTo>
                <a:lnTo>
                  <a:pt x="633" y="116"/>
                </a:lnTo>
                <a:lnTo>
                  <a:pt x="628" y="118"/>
                </a:lnTo>
                <a:lnTo>
                  <a:pt x="627" y="119"/>
                </a:lnTo>
                <a:lnTo>
                  <a:pt x="626" y="121"/>
                </a:lnTo>
                <a:lnTo>
                  <a:pt x="626" y="123"/>
                </a:lnTo>
                <a:lnTo>
                  <a:pt x="627" y="124"/>
                </a:lnTo>
                <a:lnTo>
                  <a:pt x="632" y="124"/>
                </a:lnTo>
                <a:lnTo>
                  <a:pt x="636" y="122"/>
                </a:lnTo>
                <a:lnTo>
                  <a:pt x="637" y="119"/>
                </a:lnTo>
                <a:lnTo>
                  <a:pt x="639" y="117"/>
                </a:lnTo>
                <a:lnTo>
                  <a:pt x="640" y="116"/>
                </a:lnTo>
                <a:lnTo>
                  <a:pt x="641" y="117"/>
                </a:lnTo>
                <a:lnTo>
                  <a:pt x="642" y="117"/>
                </a:lnTo>
                <a:lnTo>
                  <a:pt x="642" y="118"/>
                </a:lnTo>
                <a:lnTo>
                  <a:pt x="642" y="122"/>
                </a:lnTo>
                <a:lnTo>
                  <a:pt x="641" y="122"/>
                </a:lnTo>
                <a:lnTo>
                  <a:pt x="639" y="122"/>
                </a:lnTo>
                <a:lnTo>
                  <a:pt x="636" y="122"/>
                </a:lnTo>
                <a:lnTo>
                  <a:pt x="634" y="126"/>
                </a:lnTo>
                <a:lnTo>
                  <a:pt x="631" y="130"/>
                </a:lnTo>
                <a:lnTo>
                  <a:pt x="627" y="131"/>
                </a:lnTo>
                <a:lnTo>
                  <a:pt x="624" y="132"/>
                </a:lnTo>
                <a:lnTo>
                  <a:pt x="621" y="130"/>
                </a:lnTo>
                <a:lnTo>
                  <a:pt x="619" y="129"/>
                </a:lnTo>
                <a:lnTo>
                  <a:pt x="616" y="132"/>
                </a:lnTo>
                <a:lnTo>
                  <a:pt x="612" y="136"/>
                </a:lnTo>
                <a:lnTo>
                  <a:pt x="610" y="136"/>
                </a:lnTo>
                <a:lnTo>
                  <a:pt x="608" y="135"/>
                </a:lnTo>
                <a:lnTo>
                  <a:pt x="607" y="133"/>
                </a:lnTo>
                <a:lnTo>
                  <a:pt x="606" y="131"/>
                </a:lnTo>
                <a:lnTo>
                  <a:pt x="608" y="129"/>
                </a:lnTo>
                <a:lnTo>
                  <a:pt x="610" y="126"/>
                </a:lnTo>
                <a:lnTo>
                  <a:pt x="612" y="124"/>
                </a:lnTo>
                <a:lnTo>
                  <a:pt x="612" y="123"/>
                </a:lnTo>
                <a:lnTo>
                  <a:pt x="611" y="123"/>
                </a:lnTo>
                <a:lnTo>
                  <a:pt x="609" y="122"/>
                </a:lnTo>
                <a:lnTo>
                  <a:pt x="607" y="121"/>
                </a:lnTo>
                <a:lnTo>
                  <a:pt x="606" y="119"/>
                </a:lnTo>
                <a:lnTo>
                  <a:pt x="603" y="119"/>
                </a:lnTo>
                <a:lnTo>
                  <a:pt x="601" y="121"/>
                </a:lnTo>
                <a:lnTo>
                  <a:pt x="602" y="127"/>
                </a:lnTo>
                <a:lnTo>
                  <a:pt x="603" y="134"/>
                </a:lnTo>
                <a:lnTo>
                  <a:pt x="596" y="133"/>
                </a:lnTo>
                <a:lnTo>
                  <a:pt x="590" y="134"/>
                </a:lnTo>
                <a:lnTo>
                  <a:pt x="592" y="131"/>
                </a:lnTo>
                <a:lnTo>
                  <a:pt x="594" y="126"/>
                </a:lnTo>
                <a:lnTo>
                  <a:pt x="586" y="129"/>
                </a:lnTo>
                <a:lnTo>
                  <a:pt x="578" y="132"/>
                </a:lnTo>
                <a:lnTo>
                  <a:pt x="576" y="133"/>
                </a:lnTo>
                <a:lnTo>
                  <a:pt x="574" y="133"/>
                </a:lnTo>
                <a:lnTo>
                  <a:pt x="571" y="134"/>
                </a:lnTo>
                <a:lnTo>
                  <a:pt x="568" y="133"/>
                </a:lnTo>
                <a:lnTo>
                  <a:pt x="562" y="131"/>
                </a:lnTo>
                <a:lnTo>
                  <a:pt x="558" y="132"/>
                </a:lnTo>
                <a:lnTo>
                  <a:pt x="555" y="133"/>
                </a:lnTo>
                <a:lnTo>
                  <a:pt x="553" y="134"/>
                </a:lnTo>
                <a:lnTo>
                  <a:pt x="551" y="136"/>
                </a:lnTo>
                <a:lnTo>
                  <a:pt x="550" y="140"/>
                </a:lnTo>
                <a:lnTo>
                  <a:pt x="554" y="139"/>
                </a:lnTo>
                <a:lnTo>
                  <a:pt x="558" y="136"/>
                </a:lnTo>
                <a:lnTo>
                  <a:pt x="562" y="135"/>
                </a:lnTo>
                <a:lnTo>
                  <a:pt x="566" y="136"/>
                </a:lnTo>
                <a:lnTo>
                  <a:pt x="561" y="140"/>
                </a:lnTo>
                <a:lnTo>
                  <a:pt x="557" y="142"/>
                </a:lnTo>
                <a:lnTo>
                  <a:pt x="549" y="148"/>
                </a:lnTo>
                <a:lnTo>
                  <a:pt x="541" y="152"/>
                </a:lnTo>
                <a:lnTo>
                  <a:pt x="526" y="162"/>
                </a:lnTo>
                <a:lnTo>
                  <a:pt x="511" y="169"/>
                </a:lnTo>
                <a:lnTo>
                  <a:pt x="494" y="179"/>
                </a:lnTo>
                <a:lnTo>
                  <a:pt x="478" y="188"/>
                </a:lnTo>
                <a:lnTo>
                  <a:pt x="462" y="197"/>
                </a:lnTo>
                <a:lnTo>
                  <a:pt x="445" y="207"/>
                </a:lnTo>
                <a:lnTo>
                  <a:pt x="429" y="216"/>
                </a:lnTo>
                <a:lnTo>
                  <a:pt x="414" y="226"/>
                </a:lnTo>
                <a:lnTo>
                  <a:pt x="409" y="230"/>
                </a:lnTo>
                <a:lnTo>
                  <a:pt x="403" y="234"/>
                </a:lnTo>
                <a:lnTo>
                  <a:pt x="398" y="238"/>
                </a:lnTo>
                <a:lnTo>
                  <a:pt x="394" y="243"/>
                </a:lnTo>
                <a:lnTo>
                  <a:pt x="390" y="248"/>
                </a:lnTo>
                <a:lnTo>
                  <a:pt x="386" y="251"/>
                </a:lnTo>
                <a:lnTo>
                  <a:pt x="379" y="251"/>
                </a:lnTo>
                <a:lnTo>
                  <a:pt x="372" y="251"/>
                </a:lnTo>
                <a:lnTo>
                  <a:pt x="368" y="254"/>
                </a:lnTo>
                <a:lnTo>
                  <a:pt x="363" y="258"/>
                </a:lnTo>
                <a:lnTo>
                  <a:pt x="361" y="259"/>
                </a:lnTo>
                <a:lnTo>
                  <a:pt x="357" y="262"/>
                </a:lnTo>
                <a:lnTo>
                  <a:pt x="355" y="262"/>
                </a:lnTo>
                <a:lnTo>
                  <a:pt x="353" y="262"/>
                </a:lnTo>
                <a:lnTo>
                  <a:pt x="368" y="246"/>
                </a:lnTo>
                <a:lnTo>
                  <a:pt x="385" y="232"/>
                </a:lnTo>
                <a:lnTo>
                  <a:pt x="403" y="218"/>
                </a:lnTo>
                <a:lnTo>
                  <a:pt x="420" y="205"/>
                </a:lnTo>
                <a:lnTo>
                  <a:pt x="429" y="199"/>
                </a:lnTo>
                <a:lnTo>
                  <a:pt x="437" y="193"/>
                </a:lnTo>
                <a:lnTo>
                  <a:pt x="445" y="188"/>
                </a:lnTo>
                <a:lnTo>
                  <a:pt x="453" y="182"/>
                </a:lnTo>
                <a:lnTo>
                  <a:pt x="469" y="169"/>
                </a:lnTo>
                <a:lnTo>
                  <a:pt x="485" y="157"/>
                </a:lnTo>
                <a:lnTo>
                  <a:pt x="470" y="167"/>
                </a:lnTo>
                <a:lnTo>
                  <a:pt x="454" y="176"/>
                </a:lnTo>
                <a:lnTo>
                  <a:pt x="438" y="187"/>
                </a:lnTo>
                <a:lnTo>
                  <a:pt x="422" y="197"/>
                </a:lnTo>
                <a:lnTo>
                  <a:pt x="426" y="189"/>
                </a:lnTo>
                <a:lnTo>
                  <a:pt x="433" y="182"/>
                </a:lnTo>
                <a:lnTo>
                  <a:pt x="429" y="184"/>
                </a:lnTo>
                <a:lnTo>
                  <a:pt x="425" y="187"/>
                </a:lnTo>
                <a:lnTo>
                  <a:pt x="420" y="189"/>
                </a:lnTo>
                <a:lnTo>
                  <a:pt x="418" y="192"/>
                </a:lnTo>
                <a:lnTo>
                  <a:pt x="419" y="194"/>
                </a:lnTo>
                <a:lnTo>
                  <a:pt x="420" y="197"/>
                </a:lnTo>
                <a:lnTo>
                  <a:pt x="421" y="198"/>
                </a:lnTo>
                <a:lnTo>
                  <a:pt x="420" y="200"/>
                </a:lnTo>
                <a:lnTo>
                  <a:pt x="418" y="202"/>
                </a:lnTo>
                <a:lnTo>
                  <a:pt x="414" y="205"/>
                </a:lnTo>
                <a:lnTo>
                  <a:pt x="417" y="204"/>
                </a:lnTo>
                <a:lnTo>
                  <a:pt x="418" y="201"/>
                </a:lnTo>
                <a:lnTo>
                  <a:pt x="414" y="200"/>
                </a:lnTo>
                <a:lnTo>
                  <a:pt x="411" y="199"/>
                </a:lnTo>
                <a:lnTo>
                  <a:pt x="409" y="199"/>
                </a:lnTo>
                <a:lnTo>
                  <a:pt x="405" y="200"/>
                </a:lnTo>
                <a:lnTo>
                  <a:pt x="401" y="204"/>
                </a:lnTo>
                <a:lnTo>
                  <a:pt x="395" y="207"/>
                </a:lnTo>
                <a:lnTo>
                  <a:pt x="389" y="212"/>
                </a:lnTo>
                <a:lnTo>
                  <a:pt x="384" y="216"/>
                </a:lnTo>
                <a:lnTo>
                  <a:pt x="378" y="219"/>
                </a:lnTo>
                <a:lnTo>
                  <a:pt x="372" y="222"/>
                </a:lnTo>
                <a:lnTo>
                  <a:pt x="373" y="217"/>
                </a:lnTo>
                <a:lnTo>
                  <a:pt x="377" y="212"/>
                </a:lnTo>
                <a:lnTo>
                  <a:pt x="379" y="210"/>
                </a:lnTo>
                <a:lnTo>
                  <a:pt x="382" y="209"/>
                </a:lnTo>
                <a:lnTo>
                  <a:pt x="385" y="208"/>
                </a:lnTo>
                <a:lnTo>
                  <a:pt x="386" y="206"/>
                </a:lnTo>
                <a:lnTo>
                  <a:pt x="389" y="202"/>
                </a:lnTo>
                <a:lnTo>
                  <a:pt x="394" y="199"/>
                </a:lnTo>
                <a:lnTo>
                  <a:pt x="398" y="196"/>
                </a:lnTo>
                <a:lnTo>
                  <a:pt x="401" y="191"/>
                </a:lnTo>
                <a:lnTo>
                  <a:pt x="388" y="198"/>
                </a:lnTo>
                <a:lnTo>
                  <a:pt x="378" y="206"/>
                </a:lnTo>
                <a:lnTo>
                  <a:pt x="363" y="216"/>
                </a:lnTo>
                <a:lnTo>
                  <a:pt x="349" y="226"/>
                </a:lnTo>
                <a:lnTo>
                  <a:pt x="339" y="235"/>
                </a:lnTo>
                <a:lnTo>
                  <a:pt x="328" y="242"/>
                </a:lnTo>
                <a:lnTo>
                  <a:pt x="321" y="243"/>
                </a:lnTo>
                <a:lnTo>
                  <a:pt x="315" y="246"/>
                </a:lnTo>
                <a:lnTo>
                  <a:pt x="313" y="248"/>
                </a:lnTo>
                <a:lnTo>
                  <a:pt x="311" y="250"/>
                </a:lnTo>
                <a:lnTo>
                  <a:pt x="308" y="252"/>
                </a:lnTo>
                <a:lnTo>
                  <a:pt x="305" y="252"/>
                </a:lnTo>
                <a:lnTo>
                  <a:pt x="307" y="249"/>
                </a:lnTo>
                <a:lnTo>
                  <a:pt x="310" y="246"/>
                </a:lnTo>
                <a:lnTo>
                  <a:pt x="312" y="243"/>
                </a:lnTo>
                <a:lnTo>
                  <a:pt x="315" y="241"/>
                </a:lnTo>
                <a:lnTo>
                  <a:pt x="318" y="239"/>
                </a:lnTo>
                <a:lnTo>
                  <a:pt x="321" y="237"/>
                </a:lnTo>
                <a:lnTo>
                  <a:pt x="323" y="234"/>
                </a:lnTo>
                <a:lnTo>
                  <a:pt x="324" y="231"/>
                </a:lnTo>
                <a:lnTo>
                  <a:pt x="324" y="232"/>
                </a:lnTo>
                <a:lnTo>
                  <a:pt x="324" y="233"/>
                </a:lnTo>
                <a:lnTo>
                  <a:pt x="326" y="232"/>
                </a:lnTo>
                <a:lnTo>
                  <a:pt x="327" y="231"/>
                </a:lnTo>
                <a:lnTo>
                  <a:pt x="329" y="229"/>
                </a:lnTo>
                <a:lnTo>
                  <a:pt x="331" y="226"/>
                </a:lnTo>
                <a:lnTo>
                  <a:pt x="337" y="223"/>
                </a:lnTo>
                <a:lnTo>
                  <a:pt x="341" y="219"/>
                </a:lnTo>
                <a:lnTo>
                  <a:pt x="351" y="210"/>
                </a:lnTo>
                <a:lnTo>
                  <a:pt x="361" y="202"/>
                </a:lnTo>
                <a:lnTo>
                  <a:pt x="351" y="207"/>
                </a:lnTo>
                <a:lnTo>
                  <a:pt x="343" y="213"/>
                </a:lnTo>
                <a:lnTo>
                  <a:pt x="335" y="218"/>
                </a:lnTo>
                <a:lnTo>
                  <a:pt x="327" y="225"/>
                </a:lnTo>
                <a:lnTo>
                  <a:pt x="311" y="237"/>
                </a:lnTo>
                <a:lnTo>
                  <a:pt x="295" y="248"/>
                </a:lnTo>
                <a:lnTo>
                  <a:pt x="296" y="243"/>
                </a:lnTo>
                <a:lnTo>
                  <a:pt x="298" y="240"/>
                </a:lnTo>
                <a:lnTo>
                  <a:pt x="302" y="235"/>
                </a:lnTo>
                <a:lnTo>
                  <a:pt x="305" y="232"/>
                </a:lnTo>
                <a:lnTo>
                  <a:pt x="307" y="231"/>
                </a:lnTo>
                <a:lnTo>
                  <a:pt x="312" y="227"/>
                </a:lnTo>
                <a:lnTo>
                  <a:pt x="313" y="226"/>
                </a:lnTo>
                <a:lnTo>
                  <a:pt x="314" y="224"/>
                </a:lnTo>
                <a:lnTo>
                  <a:pt x="314" y="223"/>
                </a:lnTo>
                <a:lnTo>
                  <a:pt x="312" y="222"/>
                </a:lnTo>
                <a:lnTo>
                  <a:pt x="310" y="222"/>
                </a:lnTo>
                <a:lnTo>
                  <a:pt x="307" y="223"/>
                </a:lnTo>
                <a:lnTo>
                  <a:pt x="306" y="226"/>
                </a:lnTo>
                <a:lnTo>
                  <a:pt x="304" y="229"/>
                </a:lnTo>
                <a:lnTo>
                  <a:pt x="295" y="234"/>
                </a:lnTo>
                <a:lnTo>
                  <a:pt x="286" y="240"/>
                </a:lnTo>
                <a:lnTo>
                  <a:pt x="282" y="243"/>
                </a:lnTo>
                <a:lnTo>
                  <a:pt x="279" y="248"/>
                </a:lnTo>
                <a:lnTo>
                  <a:pt x="277" y="250"/>
                </a:lnTo>
                <a:lnTo>
                  <a:pt x="274" y="250"/>
                </a:lnTo>
                <a:lnTo>
                  <a:pt x="273" y="250"/>
                </a:lnTo>
                <a:lnTo>
                  <a:pt x="272" y="249"/>
                </a:lnTo>
                <a:lnTo>
                  <a:pt x="272" y="247"/>
                </a:lnTo>
                <a:lnTo>
                  <a:pt x="272" y="245"/>
                </a:lnTo>
                <a:lnTo>
                  <a:pt x="274" y="241"/>
                </a:lnTo>
                <a:lnTo>
                  <a:pt x="278" y="239"/>
                </a:lnTo>
                <a:lnTo>
                  <a:pt x="283" y="234"/>
                </a:lnTo>
                <a:lnTo>
                  <a:pt x="288" y="231"/>
                </a:lnTo>
                <a:lnTo>
                  <a:pt x="299" y="221"/>
                </a:lnTo>
                <a:lnTo>
                  <a:pt x="311" y="210"/>
                </a:lnTo>
                <a:lnTo>
                  <a:pt x="322" y="200"/>
                </a:lnTo>
                <a:lnTo>
                  <a:pt x="335" y="190"/>
                </a:lnTo>
                <a:lnTo>
                  <a:pt x="328" y="191"/>
                </a:lnTo>
                <a:lnTo>
                  <a:pt x="323" y="193"/>
                </a:lnTo>
                <a:lnTo>
                  <a:pt x="318" y="197"/>
                </a:lnTo>
                <a:lnTo>
                  <a:pt x="312" y="200"/>
                </a:lnTo>
                <a:lnTo>
                  <a:pt x="303" y="208"/>
                </a:lnTo>
                <a:lnTo>
                  <a:pt x="294" y="216"/>
                </a:lnTo>
                <a:lnTo>
                  <a:pt x="289" y="219"/>
                </a:lnTo>
                <a:lnTo>
                  <a:pt x="285" y="223"/>
                </a:lnTo>
                <a:lnTo>
                  <a:pt x="279" y="224"/>
                </a:lnTo>
                <a:lnTo>
                  <a:pt x="273" y="225"/>
                </a:lnTo>
                <a:lnTo>
                  <a:pt x="270" y="224"/>
                </a:lnTo>
                <a:lnTo>
                  <a:pt x="267" y="225"/>
                </a:lnTo>
                <a:lnTo>
                  <a:pt x="266" y="226"/>
                </a:lnTo>
                <a:lnTo>
                  <a:pt x="265" y="227"/>
                </a:lnTo>
                <a:lnTo>
                  <a:pt x="265" y="229"/>
                </a:lnTo>
                <a:lnTo>
                  <a:pt x="266" y="230"/>
                </a:lnTo>
                <a:lnTo>
                  <a:pt x="270" y="229"/>
                </a:lnTo>
                <a:lnTo>
                  <a:pt x="273" y="229"/>
                </a:lnTo>
                <a:lnTo>
                  <a:pt x="273" y="231"/>
                </a:lnTo>
                <a:lnTo>
                  <a:pt x="272" y="233"/>
                </a:lnTo>
                <a:lnTo>
                  <a:pt x="270" y="235"/>
                </a:lnTo>
                <a:lnTo>
                  <a:pt x="267" y="238"/>
                </a:lnTo>
                <a:lnTo>
                  <a:pt x="262" y="241"/>
                </a:lnTo>
                <a:lnTo>
                  <a:pt x="258" y="245"/>
                </a:lnTo>
                <a:lnTo>
                  <a:pt x="253" y="249"/>
                </a:lnTo>
                <a:lnTo>
                  <a:pt x="247" y="254"/>
                </a:lnTo>
                <a:lnTo>
                  <a:pt x="245" y="256"/>
                </a:lnTo>
                <a:lnTo>
                  <a:pt x="244" y="255"/>
                </a:lnTo>
                <a:lnTo>
                  <a:pt x="244" y="252"/>
                </a:lnTo>
                <a:lnTo>
                  <a:pt x="244" y="250"/>
                </a:lnTo>
                <a:lnTo>
                  <a:pt x="240" y="250"/>
                </a:lnTo>
                <a:lnTo>
                  <a:pt x="238" y="251"/>
                </a:lnTo>
                <a:lnTo>
                  <a:pt x="236" y="254"/>
                </a:lnTo>
                <a:lnTo>
                  <a:pt x="233" y="255"/>
                </a:lnTo>
                <a:lnTo>
                  <a:pt x="229" y="256"/>
                </a:lnTo>
                <a:lnTo>
                  <a:pt x="224" y="257"/>
                </a:lnTo>
                <a:lnTo>
                  <a:pt x="222" y="260"/>
                </a:lnTo>
                <a:lnTo>
                  <a:pt x="221" y="264"/>
                </a:lnTo>
                <a:lnTo>
                  <a:pt x="220" y="267"/>
                </a:lnTo>
                <a:lnTo>
                  <a:pt x="217" y="270"/>
                </a:lnTo>
                <a:lnTo>
                  <a:pt x="215" y="271"/>
                </a:lnTo>
                <a:lnTo>
                  <a:pt x="212" y="272"/>
                </a:lnTo>
                <a:lnTo>
                  <a:pt x="215" y="273"/>
                </a:lnTo>
                <a:lnTo>
                  <a:pt x="217" y="274"/>
                </a:lnTo>
                <a:lnTo>
                  <a:pt x="216" y="277"/>
                </a:lnTo>
                <a:lnTo>
                  <a:pt x="214" y="281"/>
                </a:lnTo>
                <a:lnTo>
                  <a:pt x="212" y="283"/>
                </a:lnTo>
                <a:lnTo>
                  <a:pt x="209" y="284"/>
                </a:lnTo>
                <a:lnTo>
                  <a:pt x="208" y="282"/>
                </a:lnTo>
                <a:lnTo>
                  <a:pt x="207" y="280"/>
                </a:lnTo>
                <a:lnTo>
                  <a:pt x="203" y="281"/>
                </a:lnTo>
                <a:lnTo>
                  <a:pt x="198" y="281"/>
                </a:lnTo>
                <a:lnTo>
                  <a:pt x="197" y="279"/>
                </a:lnTo>
                <a:lnTo>
                  <a:pt x="197" y="277"/>
                </a:lnTo>
                <a:lnTo>
                  <a:pt x="198" y="276"/>
                </a:lnTo>
                <a:lnTo>
                  <a:pt x="198" y="274"/>
                </a:lnTo>
                <a:lnTo>
                  <a:pt x="200" y="272"/>
                </a:lnTo>
                <a:lnTo>
                  <a:pt x="201" y="268"/>
                </a:lnTo>
                <a:lnTo>
                  <a:pt x="200" y="266"/>
                </a:lnTo>
                <a:lnTo>
                  <a:pt x="199" y="264"/>
                </a:lnTo>
                <a:lnTo>
                  <a:pt x="200" y="260"/>
                </a:lnTo>
                <a:lnTo>
                  <a:pt x="201" y="257"/>
                </a:lnTo>
                <a:lnTo>
                  <a:pt x="201" y="252"/>
                </a:lnTo>
                <a:lnTo>
                  <a:pt x="201" y="248"/>
                </a:lnTo>
                <a:lnTo>
                  <a:pt x="203" y="242"/>
                </a:lnTo>
                <a:lnTo>
                  <a:pt x="205" y="238"/>
                </a:lnTo>
                <a:lnTo>
                  <a:pt x="209" y="229"/>
                </a:lnTo>
                <a:lnTo>
                  <a:pt x="214" y="221"/>
                </a:lnTo>
                <a:lnTo>
                  <a:pt x="220" y="213"/>
                </a:lnTo>
                <a:lnTo>
                  <a:pt x="225" y="205"/>
                </a:lnTo>
                <a:lnTo>
                  <a:pt x="231" y="198"/>
                </a:lnTo>
                <a:lnTo>
                  <a:pt x="234" y="190"/>
                </a:lnTo>
                <a:lnTo>
                  <a:pt x="236" y="183"/>
                </a:lnTo>
                <a:lnTo>
                  <a:pt x="236" y="175"/>
                </a:lnTo>
                <a:lnTo>
                  <a:pt x="237" y="174"/>
                </a:lnTo>
                <a:lnTo>
                  <a:pt x="238" y="171"/>
                </a:lnTo>
                <a:lnTo>
                  <a:pt x="237" y="169"/>
                </a:lnTo>
                <a:lnTo>
                  <a:pt x="236" y="169"/>
                </a:lnTo>
                <a:lnTo>
                  <a:pt x="234" y="172"/>
                </a:lnTo>
                <a:lnTo>
                  <a:pt x="234" y="173"/>
                </a:lnTo>
                <a:lnTo>
                  <a:pt x="231" y="176"/>
                </a:lnTo>
                <a:lnTo>
                  <a:pt x="227" y="181"/>
                </a:lnTo>
                <a:lnTo>
                  <a:pt x="224" y="181"/>
                </a:lnTo>
                <a:lnTo>
                  <a:pt x="222" y="182"/>
                </a:lnTo>
                <a:lnTo>
                  <a:pt x="221" y="182"/>
                </a:lnTo>
                <a:lnTo>
                  <a:pt x="221" y="183"/>
                </a:lnTo>
                <a:lnTo>
                  <a:pt x="221" y="184"/>
                </a:lnTo>
                <a:lnTo>
                  <a:pt x="222" y="185"/>
                </a:lnTo>
                <a:lnTo>
                  <a:pt x="223" y="187"/>
                </a:lnTo>
                <a:lnTo>
                  <a:pt x="225" y="188"/>
                </a:lnTo>
                <a:lnTo>
                  <a:pt x="224" y="190"/>
                </a:lnTo>
                <a:lnTo>
                  <a:pt x="224" y="191"/>
                </a:lnTo>
                <a:lnTo>
                  <a:pt x="215" y="208"/>
                </a:lnTo>
                <a:lnTo>
                  <a:pt x="205" y="225"/>
                </a:lnTo>
                <a:lnTo>
                  <a:pt x="207" y="214"/>
                </a:lnTo>
                <a:lnTo>
                  <a:pt x="208" y="204"/>
                </a:lnTo>
                <a:lnTo>
                  <a:pt x="213" y="194"/>
                </a:lnTo>
                <a:lnTo>
                  <a:pt x="219" y="185"/>
                </a:lnTo>
                <a:lnTo>
                  <a:pt x="222" y="175"/>
                </a:lnTo>
                <a:lnTo>
                  <a:pt x="227" y="166"/>
                </a:lnTo>
                <a:lnTo>
                  <a:pt x="234" y="156"/>
                </a:lnTo>
                <a:lnTo>
                  <a:pt x="241" y="146"/>
                </a:lnTo>
                <a:lnTo>
                  <a:pt x="245" y="141"/>
                </a:lnTo>
                <a:lnTo>
                  <a:pt x="247" y="136"/>
                </a:lnTo>
                <a:lnTo>
                  <a:pt x="252" y="133"/>
                </a:lnTo>
                <a:lnTo>
                  <a:pt x="256" y="130"/>
                </a:lnTo>
                <a:lnTo>
                  <a:pt x="260" y="129"/>
                </a:lnTo>
                <a:lnTo>
                  <a:pt x="264" y="129"/>
                </a:lnTo>
                <a:lnTo>
                  <a:pt x="265" y="129"/>
                </a:lnTo>
                <a:lnTo>
                  <a:pt x="266" y="130"/>
                </a:lnTo>
                <a:lnTo>
                  <a:pt x="266" y="132"/>
                </a:lnTo>
                <a:lnTo>
                  <a:pt x="266" y="134"/>
                </a:lnTo>
                <a:lnTo>
                  <a:pt x="263" y="140"/>
                </a:lnTo>
                <a:lnTo>
                  <a:pt x="260" y="144"/>
                </a:lnTo>
                <a:lnTo>
                  <a:pt x="258" y="150"/>
                </a:lnTo>
                <a:lnTo>
                  <a:pt x="256" y="157"/>
                </a:lnTo>
                <a:lnTo>
                  <a:pt x="252" y="168"/>
                </a:lnTo>
                <a:lnTo>
                  <a:pt x="248" y="181"/>
                </a:lnTo>
                <a:lnTo>
                  <a:pt x="245" y="192"/>
                </a:lnTo>
                <a:lnTo>
                  <a:pt x="240" y="204"/>
                </a:lnTo>
                <a:lnTo>
                  <a:pt x="236" y="215"/>
                </a:lnTo>
                <a:lnTo>
                  <a:pt x="232" y="226"/>
                </a:lnTo>
                <a:lnTo>
                  <a:pt x="231" y="231"/>
                </a:lnTo>
                <a:lnTo>
                  <a:pt x="229" y="235"/>
                </a:lnTo>
                <a:lnTo>
                  <a:pt x="227" y="240"/>
                </a:lnTo>
                <a:lnTo>
                  <a:pt x="225" y="243"/>
                </a:lnTo>
                <a:lnTo>
                  <a:pt x="225" y="246"/>
                </a:lnTo>
                <a:lnTo>
                  <a:pt x="227" y="247"/>
                </a:lnTo>
                <a:lnTo>
                  <a:pt x="229" y="247"/>
                </a:lnTo>
                <a:lnTo>
                  <a:pt x="231" y="247"/>
                </a:lnTo>
                <a:lnTo>
                  <a:pt x="234" y="243"/>
                </a:lnTo>
                <a:lnTo>
                  <a:pt x="237" y="241"/>
                </a:lnTo>
                <a:lnTo>
                  <a:pt x="236" y="237"/>
                </a:lnTo>
                <a:lnTo>
                  <a:pt x="234" y="232"/>
                </a:lnTo>
                <a:lnTo>
                  <a:pt x="236" y="226"/>
                </a:lnTo>
                <a:lnTo>
                  <a:pt x="238" y="223"/>
                </a:lnTo>
                <a:lnTo>
                  <a:pt x="244" y="212"/>
                </a:lnTo>
                <a:lnTo>
                  <a:pt x="248" y="199"/>
                </a:lnTo>
                <a:lnTo>
                  <a:pt x="252" y="187"/>
                </a:lnTo>
                <a:lnTo>
                  <a:pt x="256" y="173"/>
                </a:lnTo>
                <a:lnTo>
                  <a:pt x="261" y="160"/>
                </a:lnTo>
                <a:lnTo>
                  <a:pt x="265" y="148"/>
                </a:lnTo>
                <a:lnTo>
                  <a:pt x="271" y="136"/>
                </a:lnTo>
                <a:lnTo>
                  <a:pt x="278" y="125"/>
                </a:lnTo>
                <a:lnTo>
                  <a:pt x="280" y="119"/>
                </a:lnTo>
                <a:lnTo>
                  <a:pt x="283" y="114"/>
                </a:lnTo>
                <a:lnTo>
                  <a:pt x="286" y="108"/>
                </a:lnTo>
                <a:lnTo>
                  <a:pt x="287" y="102"/>
                </a:lnTo>
                <a:lnTo>
                  <a:pt x="287" y="100"/>
                </a:lnTo>
                <a:lnTo>
                  <a:pt x="286" y="98"/>
                </a:lnTo>
                <a:lnTo>
                  <a:pt x="285" y="97"/>
                </a:lnTo>
                <a:lnTo>
                  <a:pt x="282" y="97"/>
                </a:lnTo>
                <a:lnTo>
                  <a:pt x="280" y="99"/>
                </a:lnTo>
                <a:lnTo>
                  <a:pt x="279" y="100"/>
                </a:lnTo>
                <a:lnTo>
                  <a:pt x="278" y="106"/>
                </a:lnTo>
                <a:lnTo>
                  <a:pt x="277" y="110"/>
                </a:lnTo>
                <a:lnTo>
                  <a:pt x="274" y="116"/>
                </a:lnTo>
                <a:lnTo>
                  <a:pt x="271" y="122"/>
                </a:lnTo>
                <a:lnTo>
                  <a:pt x="269" y="119"/>
                </a:lnTo>
                <a:lnTo>
                  <a:pt x="267" y="117"/>
                </a:lnTo>
                <a:lnTo>
                  <a:pt x="266" y="117"/>
                </a:lnTo>
                <a:lnTo>
                  <a:pt x="265" y="118"/>
                </a:lnTo>
                <a:lnTo>
                  <a:pt x="263" y="121"/>
                </a:lnTo>
                <a:lnTo>
                  <a:pt x="261" y="124"/>
                </a:lnTo>
                <a:lnTo>
                  <a:pt x="260" y="118"/>
                </a:lnTo>
                <a:lnTo>
                  <a:pt x="260" y="113"/>
                </a:lnTo>
                <a:lnTo>
                  <a:pt x="258" y="110"/>
                </a:lnTo>
                <a:lnTo>
                  <a:pt x="257" y="108"/>
                </a:lnTo>
                <a:lnTo>
                  <a:pt x="254" y="107"/>
                </a:lnTo>
                <a:lnTo>
                  <a:pt x="250" y="107"/>
                </a:lnTo>
                <a:lnTo>
                  <a:pt x="252" y="105"/>
                </a:lnTo>
                <a:lnTo>
                  <a:pt x="253" y="104"/>
                </a:lnTo>
                <a:lnTo>
                  <a:pt x="255" y="102"/>
                </a:lnTo>
                <a:lnTo>
                  <a:pt x="256" y="102"/>
                </a:lnTo>
                <a:lnTo>
                  <a:pt x="260" y="105"/>
                </a:lnTo>
                <a:lnTo>
                  <a:pt x="261" y="107"/>
                </a:lnTo>
                <a:lnTo>
                  <a:pt x="264" y="107"/>
                </a:lnTo>
                <a:lnTo>
                  <a:pt x="267" y="106"/>
                </a:lnTo>
                <a:lnTo>
                  <a:pt x="271" y="105"/>
                </a:lnTo>
                <a:lnTo>
                  <a:pt x="273" y="102"/>
                </a:lnTo>
                <a:lnTo>
                  <a:pt x="274" y="100"/>
                </a:lnTo>
                <a:lnTo>
                  <a:pt x="273" y="97"/>
                </a:lnTo>
                <a:lnTo>
                  <a:pt x="272" y="94"/>
                </a:lnTo>
                <a:lnTo>
                  <a:pt x="269" y="93"/>
                </a:lnTo>
                <a:lnTo>
                  <a:pt x="266" y="92"/>
                </a:lnTo>
                <a:lnTo>
                  <a:pt x="263" y="91"/>
                </a:lnTo>
                <a:lnTo>
                  <a:pt x="261" y="92"/>
                </a:lnTo>
                <a:lnTo>
                  <a:pt x="258" y="94"/>
                </a:lnTo>
                <a:lnTo>
                  <a:pt x="255" y="90"/>
                </a:lnTo>
                <a:lnTo>
                  <a:pt x="249" y="85"/>
                </a:lnTo>
                <a:lnTo>
                  <a:pt x="248" y="82"/>
                </a:lnTo>
                <a:lnTo>
                  <a:pt x="249" y="79"/>
                </a:lnTo>
                <a:lnTo>
                  <a:pt x="250" y="75"/>
                </a:lnTo>
                <a:lnTo>
                  <a:pt x="253" y="71"/>
                </a:lnTo>
                <a:lnTo>
                  <a:pt x="252" y="67"/>
                </a:lnTo>
                <a:lnTo>
                  <a:pt x="250" y="65"/>
                </a:lnTo>
                <a:lnTo>
                  <a:pt x="248" y="63"/>
                </a:lnTo>
                <a:lnTo>
                  <a:pt x="247" y="61"/>
                </a:lnTo>
                <a:lnTo>
                  <a:pt x="248" y="60"/>
                </a:lnTo>
                <a:lnTo>
                  <a:pt x="249" y="58"/>
                </a:lnTo>
                <a:lnTo>
                  <a:pt x="252" y="55"/>
                </a:lnTo>
                <a:lnTo>
                  <a:pt x="255" y="53"/>
                </a:lnTo>
                <a:lnTo>
                  <a:pt x="258" y="55"/>
                </a:lnTo>
                <a:lnTo>
                  <a:pt x="263" y="56"/>
                </a:lnTo>
                <a:lnTo>
                  <a:pt x="262" y="51"/>
                </a:lnTo>
                <a:lnTo>
                  <a:pt x="261" y="47"/>
                </a:lnTo>
                <a:lnTo>
                  <a:pt x="261" y="43"/>
                </a:lnTo>
                <a:lnTo>
                  <a:pt x="260" y="41"/>
                </a:lnTo>
                <a:lnTo>
                  <a:pt x="256" y="38"/>
                </a:lnTo>
                <a:lnTo>
                  <a:pt x="250" y="35"/>
                </a:lnTo>
                <a:lnTo>
                  <a:pt x="249" y="36"/>
                </a:lnTo>
                <a:lnTo>
                  <a:pt x="249" y="39"/>
                </a:lnTo>
                <a:lnTo>
                  <a:pt x="247" y="41"/>
                </a:lnTo>
                <a:lnTo>
                  <a:pt x="246" y="41"/>
                </a:lnTo>
                <a:lnTo>
                  <a:pt x="245" y="40"/>
                </a:lnTo>
                <a:lnTo>
                  <a:pt x="242" y="40"/>
                </a:lnTo>
                <a:lnTo>
                  <a:pt x="240" y="40"/>
                </a:lnTo>
                <a:lnTo>
                  <a:pt x="239" y="40"/>
                </a:lnTo>
                <a:lnTo>
                  <a:pt x="238" y="42"/>
                </a:lnTo>
                <a:lnTo>
                  <a:pt x="237" y="43"/>
                </a:lnTo>
                <a:lnTo>
                  <a:pt x="238" y="48"/>
                </a:lnTo>
                <a:lnTo>
                  <a:pt x="238" y="51"/>
                </a:lnTo>
                <a:lnTo>
                  <a:pt x="239" y="49"/>
                </a:lnTo>
                <a:lnTo>
                  <a:pt x="240" y="48"/>
                </a:lnTo>
                <a:lnTo>
                  <a:pt x="241" y="48"/>
                </a:lnTo>
                <a:lnTo>
                  <a:pt x="242" y="48"/>
                </a:lnTo>
                <a:lnTo>
                  <a:pt x="245" y="49"/>
                </a:lnTo>
                <a:lnTo>
                  <a:pt x="247" y="47"/>
                </a:lnTo>
                <a:lnTo>
                  <a:pt x="247" y="51"/>
                </a:lnTo>
                <a:lnTo>
                  <a:pt x="246" y="55"/>
                </a:lnTo>
                <a:lnTo>
                  <a:pt x="244" y="56"/>
                </a:lnTo>
                <a:lnTo>
                  <a:pt x="240" y="55"/>
                </a:lnTo>
                <a:lnTo>
                  <a:pt x="239" y="55"/>
                </a:lnTo>
                <a:lnTo>
                  <a:pt x="237" y="53"/>
                </a:lnTo>
                <a:lnTo>
                  <a:pt x="236" y="53"/>
                </a:lnTo>
                <a:lnTo>
                  <a:pt x="233" y="55"/>
                </a:lnTo>
                <a:lnTo>
                  <a:pt x="232" y="59"/>
                </a:lnTo>
                <a:lnTo>
                  <a:pt x="231" y="64"/>
                </a:lnTo>
                <a:lnTo>
                  <a:pt x="229" y="71"/>
                </a:lnTo>
                <a:lnTo>
                  <a:pt x="227" y="76"/>
                </a:lnTo>
                <a:lnTo>
                  <a:pt x="227" y="80"/>
                </a:lnTo>
                <a:lnTo>
                  <a:pt x="227" y="83"/>
                </a:lnTo>
                <a:lnTo>
                  <a:pt x="225" y="86"/>
                </a:lnTo>
                <a:lnTo>
                  <a:pt x="223" y="89"/>
                </a:lnTo>
                <a:lnTo>
                  <a:pt x="221" y="91"/>
                </a:lnTo>
                <a:lnTo>
                  <a:pt x="219" y="91"/>
                </a:lnTo>
                <a:lnTo>
                  <a:pt x="215" y="91"/>
                </a:lnTo>
                <a:lnTo>
                  <a:pt x="212" y="91"/>
                </a:lnTo>
                <a:lnTo>
                  <a:pt x="209" y="88"/>
                </a:lnTo>
                <a:lnTo>
                  <a:pt x="206" y="85"/>
                </a:lnTo>
                <a:lnTo>
                  <a:pt x="204" y="85"/>
                </a:lnTo>
                <a:lnTo>
                  <a:pt x="204" y="86"/>
                </a:lnTo>
                <a:lnTo>
                  <a:pt x="204" y="89"/>
                </a:lnTo>
                <a:lnTo>
                  <a:pt x="205" y="90"/>
                </a:lnTo>
                <a:lnTo>
                  <a:pt x="205" y="92"/>
                </a:lnTo>
                <a:lnTo>
                  <a:pt x="205" y="93"/>
                </a:lnTo>
                <a:lnTo>
                  <a:pt x="204" y="96"/>
                </a:lnTo>
                <a:lnTo>
                  <a:pt x="201" y="98"/>
                </a:lnTo>
                <a:lnTo>
                  <a:pt x="199" y="105"/>
                </a:lnTo>
                <a:lnTo>
                  <a:pt x="197" y="111"/>
                </a:lnTo>
                <a:lnTo>
                  <a:pt x="193" y="117"/>
                </a:lnTo>
                <a:lnTo>
                  <a:pt x="191" y="123"/>
                </a:lnTo>
                <a:lnTo>
                  <a:pt x="191" y="127"/>
                </a:lnTo>
                <a:lnTo>
                  <a:pt x="190" y="132"/>
                </a:lnTo>
                <a:lnTo>
                  <a:pt x="188" y="134"/>
                </a:lnTo>
                <a:lnTo>
                  <a:pt x="186" y="135"/>
                </a:lnTo>
                <a:lnTo>
                  <a:pt x="186" y="139"/>
                </a:lnTo>
                <a:lnTo>
                  <a:pt x="186" y="143"/>
                </a:lnTo>
                <a:lnTo>
                  <a:pt x="183" y="150"/>
                </a:lnTo>
                <a:lnTo>
                  <a:pt x="180" y="157"/>
                </a:lnTo>
                <a:lnTo>
                  <a:pt x="176" y="165"/>
                </a:lnTo>
                <a:lnTo>
                  <a:pt x="172" y="173"/>
                </a:lnTo>
                <a:lnTo>
                  <a:pt x="167" y="181"/>
                </a:lnTo>
                <a:lnTo>
                  <a:pt x="162" y="188"/>
                </a:lnTo>
                <a:lnTo>
                  <a:pt x="163" y="180"/>
                </a:lnTo>
                <a:lnTo>
                  <a:pt x="164" y="173"/>
                </a:lnTo>
                <a:lnTo>
                  <a:pt x="167" y="167"/>
                </a:lnTo>
                <a:lnTo>
                  <a:pt x="170" y="160"/>
                </a:lnTo>
                <a:lnTo>
                  <a:pt x="174" y="143"/>
                </a:lnTo>
                <a:lnTo>
                  <a:pt x="179" y="127"/>
                </a:lnTo>
                <a:lnTo>
                  <a:pt x="182" y="122"/>
                </a:lnTo>
                <a:lnTo>
                  <a:pt x="184" y="115"/>
                </a:lnTo>
                <a:lnTo>
                  <a:pt x="186" y="111"/>
                </a:lnTo>
                <a:lnTo>
                  <a:pt x="186" y="108"/>
                </a:lnTo>
                <a:lnTo>
                  <a:pt x="188" y="106"/>
                </a:lnTo>
                <a:lnTo>
                  <a:pt x="189" y="104"/>
                </a:lnTo>
                <a:lnTo>
                  <a:pt x="189" y="91"/>
                </a:lnTo>
                <a:lnTo>
                  <a:pt x="191" y="79"/>
                </a:lnTo>
                <a:lnTo>
                  <a:pt x="188" y="79"/>
                </a:lnTo>
                <a:lnTo>
                  <a:pt x="184" y="81"/>
                </a:lnTo>
                <a:lnTo>
                  <a:pt x="182" y="82"/>
                </a:lnTo>
                <a:lnTo>
                  <a:pt x="180" y="84"/>
                </a:lnTo>
                <a:lnTo>
                  <a:pt x="176" y="89"/>
                </a:lnTo>
                <a:lnTo>
                  <a:pt x="172" y="92"/>
                </a:lnTo>
                <a:lnTo>
                  <a:pt x="176" y="93"/>
                </a:lnTo>
                <a:lnTo>
                  <a:pt x="180" y="94"/>
                </a:lnTo>
                <a:lnTo>
                  <a:pt x="182" y="96"/>
                </a:lnTo>
                <a:lnTo>
                  <a:pt x="183" y="97"/>
                </a:lnTo>
                <a:lnTo>
                  <a:pt x="184" y="99"/>
                </a:lnTo>
                <a:lnTo>
                  <a:pt x="184" y="101"/>
                </a:lnTo>
                <a:lnTo>
                  <a:pt x="181" y="102"/>
                </a:lnTo>
                <a:lnTo>
                  <a:pt x="178" y="105"/>
                </a:lnTo>
                <a:lnTo>
                  <a:pt x="179" y="107"/>
                </a:lnTo>
                <a:lnTo>
                  <a:pt x="181" y="109"/>
                </a:lnTo>
                <a:lnTo>
                  <a:pt x="180" y="113"/>
                </a:lnTo>
                <a:lnTo>
                  <a:pt x="179" y="116"/>
                </a:lnTo>
                <a:lnTo>
                  <a:pt x="176" y="122"/>
                </a:lnTo>
                <a:lnTo>
                  <a:pt x="174" y="127"/>
                </a:lnTo>
                <a:lnTo>
                  <a:pt x="172" y="133"/>
                </a:lnTo>
                <a:lnTo>
                  <a:pt x="170" y="138"/>
                </a:lnTo>
                <a:lnTo>
                  <a:pt x="168" y="143"/>
                </a:lnTo>
                <a:lnTo>
                  <a:pt x="166" y="148"/>
                </a:lnTo>
                <a:lnTo>
                  <a:pt x="164" y="149"/>
                </a:lnTo>
                <a:lnTo>
                  <a:pt x="163" y="148"/>
                </a:lnTo>
                <a:lnTo>
                  <a:pt x="163" y="147"/>
                </a:lnTo>
                <a:lnTo>
                  <a:pt x="163" y="143"/>
                </a:lnTo>
                <a:lnTo>
                  <a:pt x="163" y="138"/>
                </a:lnTo>
                <a:lnTo>
                  <a:pt x="163" y="134"/>
                </a:lnTo>
                <a:lnTo>
                  <a:pt x="164" y="134"/>
                </a:lnTo>
                <a:lnTo>
                  <a:pt x="164" y="134"/>
                </a:lnTo>
                <a:lnTo>
                  <a:pt x="166" y="133"/>
                </a:lnTo>
                <a:lnTo>
                  <a:pt x="167" y="132"/>
                </a:lnTo>
                <a:lnTo>
                  <a:pt x="167" y="130"/>
                </a:lnTo>
                <a:lnTo>
                  <a:pt x="168" y="127"/>
                </a:lnTo>
                <a:lnTo>
                  <a:pt x="170" y="125"/>
                </a:lnTo>
                <a:lnTo>
                  <a:pt x="172" y="123"/>
                </a:lnTo>
                <a:lnTo>
                  <a:pt x="173" y="123"/>
                </a:lnTo>
                <a:lnTo>
                  <a:pt x="173" y="122"/>
                </a:lnTo>
                <a:lnTo>
                  <a:pt x="173" y="121"/>
                </a:lnTo>
                <a:lnTo>
                  <a:pt x="172" y="119"/>
                </a:lnTo>
                <a:lnTo>
                  <a:pt x="168" y="118"/>
                </a:lnTo>
                <a:lnTo>
                  <a:pt x="165" y="119"/>
                </a:lnTo>
                <a:lnTo>
                  <a:pt x="163" y="122"/>
                </a:lnTo>
                <a:lnTo>
                  <a:pt x="162" y="124"/>
                </a:lnTo>
                <a:lnTo>
                  <a:pt x="162" y="124"/>
                </a:lnTo>
                <a:lnTo>
                  <a:pt x="162" y="125"/>
                </a:lnTo>
                <a:lnTo>
                  <a:pt x="162" y="127"/>
                </a:lnTo>
                <a:lnTo>
                  <a:pt x="159" y="129"/>
                </a:lnTo>
                <a:lnTo>
                  <a:pt x="159" y="131"/>
                </a:lnTo>
                <a:lnTo>
                  <a:pt x="158" y="134"/>
                </a:lnTo>
                <a:lnTo>
                  <a:pt x="156" y="142"/>
                </a:lnTo>
                <a:lnTo>
                  <a:pt x="153" y="149"/>
                </a:lnTo>
                <a:lnTo>
                  <a:pt x="149" y="156"/>
                </a:lnTo>
                <a:lnTo>
                  <a:pt x="143" y="164"/>
                </a:lnTo>
                <a:lnTo>
                  <a:pt x="140" y="171"/>
                </a:lnTo>
                <a:lnTo>
                  <a:pt x="137" y="179"/>
                </a:lnTo>
                <a:lnTo>
                  <a:pt x="132" y="187"/>
                </a:lnTo>
                <a:lnTo>
                  <a:pt x="126" y="192"/>
                </a:lnTo>
                <a:lnTo>
                  <a:pt x="126" y="196"/>
                </a:lnTo>
                <a:lnTo>
                  <a:pt x="125" y="198"/>
                </a:lnTo>
                <a:lnTo>
                  <a:pt x="124" y="196"/>
                </a:lnTo>
                <a:lnTo>
                  <a:pt x="124" y="194"/>
                </a:lnTo>
                <a:lnTo>
                  <a:pt x="124" y="193"/>
                </a:lnTo>
                <a:lnTo>
                  <a:pt x="126" y="192"/>
                </a:lnTo>
                <a:lnTo>
                  <a:pt x="126" y="188"/>
                </a:lnTo>
                <a:lnTo>
                  <a:pt x="125" y="183"/>
                </a:lnTo>
                <a:lnTo>
                  <a:pt x="123" y="182"/>
                </a:lnTo>
                <a:lnTo>
                  <a:pt x="122" y="182"/>
                </a:lnTo>
                <a:lnTo>
                  <a:pt x="121" y="183"/>
                </a:lnTo>
                <a:lnTo>
                  <a:pt x="121" y="185"/>
                </a:lnTo>
                <a:lnTo>
                  <a:pt x="118" y="190"/>
                </a:lnTo>
                <a:lnTo>
                  <a:pt x="118" y="193"/>
                </a:lnTo>
                <a:lnTo>
                  <a:pt x="115" y="201"/>
                </a:lnTo>
                <a:lnTo>
                  <a:pt x="110" y="209"/>
                </a:lnTo>
                <a:lnTo>
                  <a:pt x="106" y="216"/>
                </a:lnTo>
                <a:lnTo>
                  <a:pt x="99" y="223"/>
                </a:lnTo>
                <a:lnTo>
                  <a:pt x="100" y="217"/>
                </a:lnTo>
                <a:lnTo>
                  <a:pt x="100" y="213"/>
                </a:lnTo>
                <a:lnTo>
                  <a:pt x="104" y="206"/>
                </a:lnTo>
                <a:lnTo>
                  <a:pt x="106" y="200"/>
                </a:lnTo>
                <a:lnTo>
                  <a:pt x="110" y="188"/>
                </a:lnTo>
                <a:lnTo>
                  <a:pt x="114" y="174"/>
                </a:lnTo>
                <a:lnTo>
                  <a:pt x="116" y="162"/>
                </a:lnTo>
                <a:lnTo>
                  <a:pt x="121" y="150"/>
                </a:lnTo>
                <a:lnTo>
                  <a:pt x="123" y="146"/>
                </a:lnTo>
                <a:lnTo>
                  <a:pt x="125" y="141"/>
                </a:lnTo>
                <a:lnTo>
                  <a:pt x="126" y="135"/>
                </a:lnTo>
                <a:lnTo>
                  <a:pt x="126" y="130"/>
                </a:lnTo>
                <a:lnTo>
                  <a:pt x="123" y="134"/>
                </a:lnTo>
                <a:lnTo>
                  <a:pt x="121" y="140"/>
                </a:lnTo>
                <a:lnTo>
                  <a:pt x="116" y="152"/>
                </a:lnTo>
                <a:lnTo>
                  <a:pt x="112" y="164"/>
                </a:lnTo>
                <a:lnTo>
                  <a:pt x="109" y="171"/>
                </a:lnTo>
                <a:lnTo>
                  <a:pt x="107" y="176"/>
                </a:lnTo>
                <a:lnTo>
                  <a:pt x="106" y="182"/>
                </a:lnTo>
                <a:lnTo>
                  <a:pt x="104" y="188"/>
                </a:lnTo>
                <a:lnTo>
                  <a:pt x="99" y="188"/>
                </a:lnTo>
                <a:lnTo>
                  <a:pt x="96" y="187"/>
                </a:lnTo>
                <a:lnTo>
                  <a:pt x="99" y="189"/>
                </a:lnTo>
                <a:lnTo>
                  <a:pt x="102" y="190"/>
                </a:lnTo>
                <a:lnTo>
                  <a:pt x="100" y="196"/>
                </a:lnTo>
                <a:lnTo>
                  <a:pt x="99" y="202"/>
                </a:lnTo>
                <a:lnTo>
                  <a:pt x="98" y="201"/>
                </a:lnTo>
                <a:lnTo>
                  <a:pt x="97" y="200"/>
                </a:lnTo>
                <a:lnTo>
                  <a:pt x="97" y="198"/>
                </a:lnTo>
                <a:lnTo>
                  <a:pt x="97" y="197"/>
                </a:lnTo>
                <a:lnTo>
                  <a:pt x="96" y="196"/>
                </a:lnTo>
                <a:lnTo>
                  <a:pt x="96" y="194"/>
                </a:lnTo>
                <a:lnTo>
                  <a:pt x="93" y="197"/>
                </a:lnTo>
                <a:lnTo>
                  <a:pt x="91" y="200"/>
                </a:lnTo>
                <a:lnTo>
                  <a:pt x="89" y="196"/>
                </a:lnTo>
                <a:lnTo>
                  <a:pt x="85" y="192"/>
                </a:lnTo>
                <a:lnTo>
                  <a:pt x="87" y="194"/>
                </a:lnTo>
                <a:lnTo>
                  <a:pt x="87" y="198"/>
                </a:lnTo>
                <a:lnTo>
                  <a:pt x="87" y="200"/>
                </a:lnTo>
                <a:lnTo>
                  <a:pt x="85" y="202"/>
                </a:lnTo>
                <a:lnTo>
                  <a:pt x="83" y="208"/>
                </a:lnTo>
                <a:lnTo>
                  <a:pt x="80" y="214"/>
                </a:lnTo>
                <a:lnTo>
                  <a:pt x="76" y="227"/>
                </a:lnTo>
                <a:lnTo>
                  <a:pt x="73" y="242"/>
                </a:lnTo>
                <a:lnTo>
                  <a:pt x="71" y="249"/>
                </a:lnTo>
                <a:lnTo>
                  <a:pt x="68" y="255"/>
                </a:lnTo>
                <a:lnTo>
                  <a:pt x="67" y="262"/>
                </a:lnTo>
                <a:lnTo>
                  <a:pt x="66" y="268"/>
                </a:lnTo>
                <a:lnTo>
                  <a:pt x="61" y="285"/>
                </a:lnTo>
                <a:lnTo>
                  <a:pt x="57" y="301"/>
                </a:lnTo>
                <a:lnTo>
                  <a:pt x="55" y="317"/>
                </a:lnTo>
                <a:lnTo>
                  <a:pt x="51" y="331"/>
                </a:lnTo>
                <a:lnTo>
                  <a:pt x="48" y="347"/>
                </a:lnTo>
                <a:lnTo>
                  <a:pt x="46" y="362"/>
                </a:lnTo>
                <a:lnTo>
                  <a:pt x="44" y="368"/>
                </a:lnTo>
                <a:lnTo>
                  <a:pt x="43" y="375"/>
                </a:lnTo>
                <a:lnTo>
                  <a:pt x="40" y="381"/>
                </a:lnTo>
                <a:lnTo>
                  <a:pt x="38" y="389"/>
                </a:lnTo>
                <a:lnTo>
                  <a:pt x="38" y="396"/>
                </a:lnTo>
                <a:lnTo>
                  <a:pt x="39" y="403"/>
                </a:lnTo>
                <a:lnTo>
                  <a:pt x="38" y="408"/>
                </a:lnTo>
                <a:lnTo>
                  <a:pt x="36" y="415"/>
                </a:lnTo>
                <a:lnTo>
                  <a:pt x="36" y="418"/>
                </a:lnTo>
                <a:lnTo>
                  <a:pt x="38" y="421"/>
                </a:lnTo>
                <a:lnTo>
                  <a:pt x="40" y="420"/>
                </a:lnTo>
                <a:lnTo>
                  <a:pt x="42" y="416"/>
                </a:lnTo>
                <a:lnTo>
                  <a:pt x="43" y="411"/>
                </a:lnTo>
                <a:lnTo>
                  <a:pt x="44" y="405"/>
                </a:lnTo>
                <a:lnTo>
                  <a:pt x="48" y="389"/>
                </a:lnTo>
                <a:lnTo>
                  <a:pt x="51" y="374"/>
                </a:lnTo>
                <a:lnTo>
                  <a:pt x="54" y="363"/>
                </a:lnTo>
                <a:lnTo>
                  <a:pt x="56" y="351"/>
                </a:lnTo>
                <a:lnTo>
                  <a:pt x="59" y="347"/>
                </a:lnTo>
                <a:lnTo>
                  <a:pt x="61" y="341"/>
                </a:lnTo>
                <a:lnTo>
                  <a:pt x="64" y="335"/>
                </a:lnTo>
                <a:lnTo>
                  <a:pt x="65" y="329"/>
                </a:lnTo>
                <a:lnTo>
                  <a:pt x="67" y="324"/>
                </a:lnTo>
                <a:lnTo>
                  <a:pt x="68" y="320"/>
                </a:lnTo>
                <a:lnTo>
                  <a:pt x="66" y="317"/>
                </a:lnTo>
                <a:lnTo>
                  <a:pt x="64" y="314"/>
                </a:lnTo>
                <a:lnTo>
                  <a:pt x="63" y="308"/>
                </a:lnTo>
                <a:lnTo>
                  <a:pt x="63" y="300"/>
                </a:lnTo>
                <a:lnTo>
                  <a:pt x="65" y="293"/>
                </a:lnTo>
                <a:lnTo>
                  <a:pt x="67" y="288"/>
                </a:lnTo>
                <a:lnTo>
                  <a:pt x="68" y="280"/>
                </a:lnTo>
                <a:lnTo>
                  <a:pt x="71" y="272"/>
                </a:lnTo>
                <a:lnTo>
                  <a:pt x="71" y="268"/>
                </a:lnTo>
                <a:lnTo>
                  <a:pt x="71" y="266"/>
                </a:lnTo>
                <a:lnTo>
                  <a:pt x="73" y="263"/>
                </a:lnTo>
                <a:lnTo>
                  <a:pt x="74" y="260"/>
                </a:lnTo>
                <a:lnTo>
                  <a:pt x="74" y="258"/>
                </a:lnTo>
                <a:lnTo>
                  <a:pt x="73" y="256"/>
                </a:lnTo>
                <a:lnTo>
                  <a:pt x="74" y="252"/>
                </a:lnTo>
                <a:lnTo>
                  <a:pt x="76" y="248"/>
                </a:lnTo>
                <a:lnTo>
                  <a:pt x="79" y="240"/>
                </a:lnTo>
                <a:lnTo>
                  <a:pt x="81" y="232"/>
                </a:lnTo>
                <a:lnTo>
                  <a:pt x="83" y="224"/>
                </a:lnTo>
                <a:lnTo>
                  <a:pt x="85" y="217"/>
                </a:lnTo>
                <a:lnTo>
                  <a:pt x="85" y="212"/>
                </a:lnTo>
                <a:lnTo>
                  <a:pt x="87" y="207"/>
                </a:lnTo>
                <a:lnTo>
                  <a:pt x="89" y="206"/>
                </a:lnTo>
                <a:lnTo>
                  <a:pt x="91" y="207"/>
                </a:lnTo>
                <a:lnTo>
                  <a:pt x="93" y="209"/>
                </a:lnTo>
                <a:lnTo>
                  <a:pt x="94" y="212"/>
                </a:lnTo>
                <a:lnTo>
                  <a:pt x="96" y="215"/>
                </a:lnTo>
                <a:lnTo>
                  <a:pt x="96" y="217"/>
                </a:lnTo>
                <a:lnTo>
                  <a:pt x="94" y="219"/>
                </a:lnTo>
                <a:lnTo>
                  <a:pt x="93" y="222"/>
                </a:lnTo>
                <a:lnTo>
                  <a:pt x="93" y="224"/>
                </a:lnTo>
                <a:lnTo>
                  <a:pt x="93" y="225"/>
                </a:lnTo>
                <a:lnTo>
                  <a:pt x="92" y="231"/>
                </a:lnTo>
                <a:lnTo>
                  <a:pt x="91" y="235"/>
                </a:lnTo>
                <a:lnTo>
                  <a:pt x="89" y="242"/>
                </a:lnTo>
                <a:lnTo>
                  <a:pt x="87" y="249"/>
                </a:lnTo>
                <a:lnTo>
                  <a:pt x="85" y="257"/>
                </a:lnTo>
                <a:lnTo>
                  <a:pt x="85" y="264"/>
                </a:lnTo>
                <a:lnTo>
                  <a:pt x="84" y="266"/>
                </a:lnTo>
                <a:lnTo>
                  <a:pt x="84" y="268"/>
                </a:lnTo>
                <a:lnTo>
                  <a:pt x="83" y="270"/>
                </a:lnTo>
                <a:lnTo>
                  <a:pt x="81" y="268"/>
                </a:lnTo>
                <a:lnTo>
                  <a:pt x="80" y="279"/>
                </a:lnTo>
                <a:lnTo>
                  <a:pt x="76" y="288"/>
                </a:lnTo>
                <a:lnTo>
                  <a:pt x="75" y="292"/>
                </a:lnTo>
                <a:lnTo>
                  <a:pt x="74" y="297"/>
                </a:lnTo>
                <a:lnTo>
                  <a:pt x="75" y="299"/>
                </a:lnTo>
                <a:lnTo>
                  <a:pt x="76" y="301"/>
                </a:lnTo>
                <a:lnTo>
                  <a:pt x="73" y="302"/>
                </a:lnTo>
                <a:lnTo>
                  <a:pt x="69" y="306"/>
                </a:lnTo>
                <a:lnTo>
                  <a:pt x="69" y="308"/>
                </a:lnTo>
                <a:lnTo>
                  <a:pt x="71" y="312"/>
                </a:lnTo>
                <a:lnTo>
                  <a:pt x="72" y="316"/>
                </a:lnTo>
                <a:lnTo>
                  <a:pt x="72" y="322"/>
                </a:lnTo>
                <a:lnTo>
                  <a:pt x="71" y="331"/>
                </a:lnTo>
                <a:lnTo>
                  <a:pt x="69" y="341"/>
                </a:lnTo>
                <a:lnTo>
                  <a:pt x="67" y="349"/>
                </a:lnTo>
                <a:lnTo>
                  <a:pt x="64" y="357"/>
                </a:lnTo>
                <a:lnTo>
                  <a:pt x="64" y="360"/>
                </a:lnTo>
                <a:lnTo>
                  <a:pt x="64" y="364"/>
                </a:lnTo>
                <a:lnTo>
                  <a:pt x="65" y="364"/>
                </a:lnTo>
                <a:lnTo>
                  <a:pt x="66" y="364"/>
                </a:lnTo>
                <a:lnTo>
                  <a:pt x="67" y="364"/>
                </a:lnTo>
                <a:lnTo>
                  <a:pt x="69" y="362"/>
                </a:lnTo>
                <a:lnTo>
                  <a:pt x="72" y="357"/>
                </a:lnTo>
                <a:lnTo>
                  <a:pt x="73" y="353"/>
                </a:lnTo>
                <a:lnTo>
                  <a:pt x="74" y="346"/>
                </a:lnTo>
                <a:lnTo>
                  <a:pt x="74" y="341"/>
                </a:lnTo>
                <a:lnTo>
                  <a:pt x="77" y="342"/>
                </a:lnTo>
                <a:lnTo>
                  <a:pt x="79" y="345"/>
                </a:lnTo>
                <a:lnTo>
                  <a:pt x="79" y="347"/>
                </a:lnTo>
                <a:lnTo>
                  <a:pt x="77" y="349"/>
                </a:lnTo>
                <a:lnTo>
                  <a:pt x="77" y="351"/>
                </a:lnTo>
                <a:lnTo>
                  <a:pt x="76" y="354"/>
                </a:lnTo>
                <a:lnTo>
                  <a:pt x="77" y="356"/>
                </a:lnTo>
                <a:lnTo>
                  <a:pt x="80" y="357"/>
                </a:lnTo>
                <a:lnTo>
                  <a:pt x="83" y="349"/>
                </a:lnTo>
                <a:lnTo>
                  <a:pt x="87" y="339"/>
                </a:lnTo>
                <a:lnTo>
                  <a:pt x="88" y="330"/>
                </a:lnTo>
                <a:lnTo>
                  <a:pt x="90" y="321"/>
                </a:lnTo>
                <a:lnTo>
                  <a:pt x="92" y="308"/>
                </a:lnTo>
                <a:lnTo>
                  <a:pt x="94" y="298"/>
                </a:lnTo>
                <a:lnTo>
                  <a:pt x="97" y="291"/>
                </a:lnTo>
                <a:lnTo>
                  <a:pt x="97" y="284"/>
                </a:lnTo>
                <a:lnTo>
                  <a:pt x="92" y="295"/>
                </a:lnTo>
                <a:lnTo>
                  <a:pt x="90" y="305"/>
                </a:lnTo>
                <a:lnTo>
                  <a:pt x="89" y="308"/>
                </a:lnTo>
                <a:lnTo>
                  <a:pt x="88" y="312"/>
                </a:lnTo>
                <a:lnTo>
                  <a:pt x="85" y="314"/>
                </a:lnTo>
                <a:lnTo>
                  <a:pt x="81" y="314"/>
                </a:lnTo>
                <a:lnTo>
                  <a:pt x="84" y="296"/>
                </a:lnTo>
                <a:lnTo>
                  <a:pt x="88" y="276"/>
                </a:lnTo>
                <a:lnTo>
                  <a:pt x="92" y="259"/>
                </a:lnTo>
                <a:lnTo>
                  <a:pt x="98" y="241"/>
                </a:lnTo>
                <a:lnTo>
                  <a:pt x="102" y="234"/>
                </a:lnTo>
                <a:lnTo>
                  <a:pt x="106" y="229"/>
                </a:lnTo>
                <a:lnTo>
                  <a:pt x="110" y="221"/>
                </a:lnTo>
                <a:lnTo>
                  <a:pt x="114" y="213"/>
                </a:lnTo>
                <a:lnTo>
                  <a:pt x="116" y="208"/>
                </a:lnTo>
                <a:lnTo>
                  <a:pt x="120" y="205"/>
                </a:lnTo>
                <a:lnTo>
                  <a:pt x="120" y="202"/>
                </a:lnTo>
                <a:lnTo>
                  <a:pt x="121" y="200"/>
                </a:lnTo>
                <a:lnTo>
                  <a:pt x="123" y="199"/>
                </a:lnTo>
                <a:lnTo>
                  <a:pt x="125" y="198"/>
                </a:lnTo>
                <a:lnTo>
                  <a:pt x="123" y="210"/>
                </a:lnTo>
                <a:lnTo>
                  <a:pt x="120" y="223"/>
                </a:lnTo>
                <a:lnTo>
                  <a:pt x="124" y="217"/>
                </a:lnTo>
                <a:lnTo>
                  <a:pt x="129" y="210"/>
                </a:lnTo>
                <a:lnTo>
                  <a:pt x="131" y="202"/>
                </a:lnTo>
                <a:lnTo>
                  <a:pt x="134" y="196"/>
                </a:lnTo>
                <a:lnTo>
                  <a:pt x="134" y="192"/>
                </a:lnTo>
                <a:lnTo>
                  <a:pt x="135" y="189"/>
                </a:lnTo>
                <a:lnTo>
                  <a:pt x="138" y="187"/>
                </a:lnTo>
                <a:lnTo>
                  <a:pt x="140" y="184"/>
                </a:lnTo>
                <a:lnTo>
                  <a:pt x="143" y="185"/>
                </a:lnTo>
                <a:lnTo>
                  <a:pt x="145" y="187"/>
                </a:lnTo>
                <a:lnTo>
                  <a:pt x="145" y="189"/>
                </a:lnTo>
                <a:lnTo>
                  <a:pt x="145" y="191"/>
                </a:lnTo>
                <a:lnTo>
                  <a:pt x="143" y="198"/>
                </a:lnTo>
                <a:lnTo>
                  <a:pt x="142" y="205"/>
                </a:lnTo>
                <a:lnTo>
                  <a:pt x="139" y="213"/>
                </a:lnTo>
                <a:lnTo>
                  <a:pt x="137" y="218"/>
                </a:lnTo>
                <a:lnTo>
                  <a:pt x="132" y="223"/>
                </a:lnTo>
                <a:lnTo>
                  <a:pt x="127" y="229"/>
                </a:lnTo>
                <a:lnTo>
                  <a:pt x="125" y="234"/>
                </a:lnTo>
                <a:lnTo>
                  <a:pt x="125" y="241"/>
                </a:lnTo>
                <a:lnTo>
                  <a:pt x="122" y="255"/>
                </a:lnTo>
                <a:lnTo>
                  <a:pt x="117" y="268"/>
                </a:lnTo>
                <a:lnTo>
                  <a:pt x="113" y="285"/>
                </a:lnTo>
                <a:lnTo>
                  <a:pt x="108" y="301"/>
                </a:lnTo>
                <a:lnTo>
                  <a:pt x="106" y="308"/>
                </a:lnTo>
                <a:lnTo>
                  <a:pt x="105" y="316"/>
                </a:lnTo>
                <a:lnTo>
                  <a:pt x="104" y="318"/>
                </a:lnTo>
                <a:lnTo>
                  <a:pt x="102" y="321"/>
                </a:lnTo>
                <a:lnTo>
                  <a:pt x="102" y="324"/>
                </a:lnTo>
                <a:lnTo>
                  <a:pt x="102" y="326"/>
                </a:lnTo>
                <a:lnTo>
                  <a:pt x="100" y="329"/>
                </a:lnTo>
                <a:lnTo>
                  <a:pt x="98" y="332"/>
                </a:lnTo>
                <a:lnTo>
                  <a:pt x="97" y="335"/>
                </a:lnTo>
                <a:lnTo>
                  <a:pt x="97" y="339"/>
                </a:lnTo>
                <a:lnTo>
                  <a:pt x="97" y="347"/>
                </a:lnTo>
                <a:lnTo>
                  <a:pt x="99" y="355"/>
                </a:lnTo>
                <a:lnTo>
                  <a:pt x="96" y="355"/>
                </a:lnTo>
                <a:lnTo>
                  <a:pt x="94" y="355"/>
                </a:lnTo>
                <a:lnTo>
                  <a:pt x="93" y="356"/>
                </a:lnTo>
                <a:lnTo>
                  <a:pt x="92" y="358"/>
                </a:lnTo>
                <a:lnTo>
                  <a:pt x="91" y="363"/>
                </a:lnTo>
                <a:lnTo>
                  <a:pt x="90" y="368"/>
                </a:lnTo>
                <a:lnTo>
                  <a:pt x="88" y="378"/>
                </a:lnTo>
                <a:lnTo>
                  <a:pt x="85" y="387"/>
                </a:lnTo>
                <a:lnTo>
                  <a:pt x="84" y="392"/>
                </a:lnTo>
                <a:lnTo>
                  <a:pt x="83" y="397"/>
                </a:lnTo>
                <a:lnTo>
                  <a:pt x="82" y="401"/>
                </a:lnTo>
                <a:lnTo>
                  <a:pt x="80" y="406"/>
                </a:lnTo>
                <a:lnTo>
                  <a:pt x="80" y="409"/>
                </a:lnTo>
                <a:lnTo>
                  <a:pt x="79" y="413"/>
                </a:lnTo>
                <a:lnTo>
                  <a:pt x="79" y="416"/>
                </a:lnTo>
                <a:lnTo>
                  <a:pt x="77" y="421"/>
                </a:lnTo>
                <a:lnTo>
                  <a:pt x="75" y="426"/>
                </a:lnTo>
                <a:lnTo>
                  <a:pt x="71" y="431"/>
                </a:lnTo>
                <a:lnTo>
                  <a:pt x="67" y="432"/>
                </a:lnTo>
                <a:lnTo>
                  <a:pt x="64" y="431"/>
                </a:lnTo>
                <a:lnTo>
                  <a:pt x="60" y="430"/>
                </a:lnTo>
                <a:lnTo>
                  <a:pt x="60" y="426"/>
                </a:lnTo>
                <a:lnTo>
                  <a:pt x="60" y="420"/>
                </a:lnTo>
                <a:lnTo>
                  <a:pt x="61" y="413"/>
                </a:lnTo>
                <a:lnTo>
                  <a:pt x="61" y="403"/>
                </a:lnTo>
                <a:lnTo>
                  <a:pt x="64" y="393"/>
                </a:lnTo>
                <a:lnTo>
                  <a:pt x="66" y="389"/>
                </a:lnTo>
                <a:lnTo>
                  <a:pt x="67" y="384"/>
                </a:lnTo>
                <a:lnTo>
                  <a:pt x="66" y="380"/>
                </a:lnTo>
                <a:lnTo>
                  <a:pt x="66" y="376"/>
                </a:lnTo>
                <a:lnTo>
                  <a:pt x="67" y="373"/>
                </a:lnTo>
                <a:lnTo>
                  <a:pt x="68" y="370"/>
                </a:lnTo>
                <a:lnTo>
                  <a:pt x="68" y="367"/>
                </a:lnTo>
                <a:lnTo>
                  <a:pt x="67" y="365"/>
                </a:lnTo>
                <a:lnTo>
                  <a:pt x="66" y="364"/>
                </a:lnTo>
                <a:lnTo>
                  <a:pt x="64" y="364"/>
                </a:lnTo>
                <a:lnTo>
                  <a:pt x="61" y="373"/>
                </a:lnTo>
                <a:lnTo>
                  <a:pt x="60" y="384"/>
                </a:lnTo>
                <a:lnTo>
                  <a:pt x="58" y="396"/>
                </a:lnTo>
                <a:lnTo>
                  <a:pt x="56" y="407"/>
                </a:lnTo>
                <a:lnTo>
                  <a:pt x="55" y="418"/>
                </a:lnTo>
                <a:lnTo>
                  <a:pt x="54" y="430"/>
                </a:lnTo>
                <a:lnTo>
                  <a:pt x="54" y="440"/>
                </a:lnTo>
                <a:lnTo>
                  <a:pt x="51" y="451"/>
                </a:lnTo>
                <a:lnTo>
                  <a:pt x="47" y="462"/>
                </a:lnTo>
                <a:lnTo>
                  <a:pt x="40" y="472"/>
                </a:lnTo>
                <a:lnTo>
                  <a:pt x="40" y="468"/>
                </a:lnTo>
                <a:lnTo>
                  <a:pt x="39" y="466"/>
                </a:lnTo>
                <a:lnTo>
                  <a:pt x="38" y="465"/>
                </a:lnTo>
                <a:lnTo>
                  <a:pt x="34" y="464"/>
                </a:lnTo>
                <a:lnTo>
                  <a:pt x="33" y="462"/>
                </a:lnTo>
                <a:lnTo>
                  <a:pt x="33" y="458"/>
                </a:lnTo>
                <a:lnTo>
                  <a:pt x="33" y="455"/>
                </a:lnTo>
                <a:lnTo>
                  <a:pt x="34" y="451"/>
                </a:lnTo>
                <a:lnTo>
                  <a:pt x="38" y="443"/>
                </a:lnTo>
                <a:lnTo>
                  <a:pt x="40" y="437"/>
                </a:lnTo>
                <a:lnTo>
                  <a:pt x="40" y="429"/>
                </a:lnTo>
                <a:lnTo>
                  <a:pt x="40" y="421"/>
                </a:lnTo>
                <a:lnTo>
                  <a:pt x="36" y="422"/>
                </a:lnTo>
                <a:lnTo>
                  <a:pt x="33" y="425"/>
                </a:lnTo>
                <a:lnTo>
                  <a:pt x="30" y="430"/>
                </a:lnTo>
                <a:lnTo>
                  <a:pt x="28" y="434"/>
                </a:lnTo>
                <a:lnTo>
                  <a:pt x="27" y="438"/>
                </a:lnTo>
                <a:lnTo>
                  <a:pt x="28" y="441"/>
                </a:lnTo>
                <a:lnTo>
                  <a:pt x="31" y="439"/>
                </a:lnTo>
                <a:lnTo>
                  <a:pt x="33" y="437"/>
                </a:lnTo>
                <a:lnTo>
                  <a:pt x="32" y="448"/>
                </a:lnTo>
                <a:lnTo>
                  <a:pt x="32" y="461"/>
                </a:lnTo>
                <a:lnTo>
                  <a:pt x="30" y="472"/>
                </a:lnTo>
                <a:lnTo>
                  <a:pt x="27" y="484"/>
                </a:lnTo>
                <a:lnTo>
                  <a:pt x="24" y="495"/>
                </a:lnTo>
                <a:lnTo>
                  <a:pt x="18" y="504"/>
                </a:lnTo>
                <a:lnTo>
                  <a:pt x="16" y="512"/>
                </a:lnTo>
                <a:lnTo>
                  <a:pt x="16" y="521"/>
                </a:lnTo>
                <a:lnTo>
                  <a:pt x="14" y="526"/>
                </a:lnTo>
                <a:lnTo>
                  <a:pt x="11" y="531"/>
                </a:lnTo>
                <a:lnTo>
                  <a:pt x="10" y="537"/>
                </a:lnTo>
                <a:lnTo>
                  <a:pt x="8" y="542"/>
                </a:lnTo>
                <a:lnTo>
                  <a:pt x="6" y="547"/>
                </a:lnTo>
                <a:lnTo>
                  <a:pt x="5" y="551"/>
                </a:lnTo>
                <a:lnTo>
                  <a:pt x="5" y="556"/>
                </a:lnTo>
                <a:lnTo>
                  <a:pt x="5" y="562"/>
                </a:lnTo>
                <a:lnTo>
                  <a:pt x="5" y="566"/>
                </a:lnTo>
                <a:lnTo>
                  <a:pt x="7" y="570"/>
                </a:lnTo>
                <a:lnTo>
                  <a:pt x="9" y="570"/>
                </a:lnTo>
                <a:lnTo>
                  <a:pt x="13" y="570"/>
                </a:lnTo>
                <a:lnTo>
                  <a:pt x="11" y="565"/>
                </a:lnTo>
                <a:lnTo>
                  <a:pt x="10" y="559"/>
                </a:lnTo>
                <a:lnTo>
                  <a:pt x="10" y="553"/>
                </a:lnTo>
                <a:lnTo>
                  <a:pt x="10" y="546"/>
                </a:lnTo>
                <a:lnTo>
                  <a:pt x="14" y="549"/>
                </a:lnTo>
                <a:lnTo>
                  <a:pt x="16" y="554"/>
                </a:lnTo>
                <a:lnTo>
                  <a:pt x="17" y="559"/>
                </a:lnTo>
                <a:lnTo>
                  <a:pt x="18" y="565"/>
                </a:lnTo>
                <a:lnTo>
                  <a:pt x="19" y="571"/>
                </a:lnTo>
                <a:lnTo>
                  <a:pt x="21" y="575"/>
                </a:lnTo>
                <a:lnTo>
                  <a:pt x="23" y="580"/>
                </a:lnTo>
                <a:lnTo>
                  <a:pt x="26" y="584"/>
                </a:lnTo>
                <a:lnTo>
                  <a:pt x="27" y="581"/>
                </a:lnTo>
                <a:lnTo>
                  <a:pt x="30" y="578"/>
                </a:lnTo>
                <a:lnTo>
                  <a:pt x="31" y="575"/>
                </a:lnTo>
                <a:lnTo>
                  <a:pt x="32" y="574"/>
                </a:lnTo>
                <a:lnTo>
                  <a:pt x="34" y="574"/>
                </a:lnTo>
                <a:lnTo>
                  <a:pt x="35" y="575"/>
                </a:lnTo>
                <a:lnTo>
                  <a:pt x="35" y="578"/>
                </a:lnTo>
                <a:lnTo>
                  <a:pt x="34" y="581"/>
                </a:lnTo>
                <a:lnTo>
                  <a:pt x="33" y="586"/>
                </a:lnTo>
                <a:lnTo>
                  <a:pt x="31" y="588"/>
                </a:lnTo>
                <a:lnTo>
                  <a:pt x="30" y="590"/>
                </a:lnTo>
                <a:lnTo>
                  <a:pt x="27" y="592"/>
                </a:lnTo>
                <a:lnTo>
                  <a:pt x="26" y="592"/>
                </a:lnTo>
                <a:lnTo>
                  <a:pt x="24" y="592"/>
                </a:lnTo>
                <a:lnTo>
                  <a:pt x="22" y="589"/>
                </a:lnTo>
                <a:lnTo>
                  <a:pt x="21" y="586"/>
                </a:lnTo>
                <a:lnTo>
                  <a:pt x="19" y="584"/>
                </a:lnTo>
                <a:lnTo>
                  <a:pt x="19" y="583"/>
                </a:lnTo>
                <a:lnTo>
                  <a:pt x="17" y="583"/>
                </a:lnTo>
                <a:lnTo>
                  <a:pt x="15" y="583"/>
                </a:lnTo>
                <a:lnTo>
                  <a:pt x="19" y="591"/>
                </a:lnTo>
                <a:lnTo>
                  <a:pt x="22" y="599"/>
                </a:lnTo>
                <a:lnTo>
                  <a:pt x="19" y="600"/>
                </a:lnTo>
                <a:lnTo>
                  <a:pt x="18" y="603"/>
                </a:lnTo>
                <a:lnTo>
                  <a:pt x="17" y="605"/>
                </a:lnTo>
                <a:lnTo>
                  <a:pt x="17" y="607"/>
                </a:lnTo>
                <a:lnTo>
                  <a:pt x="18" y="611"/>
                </a:lnTo>
                <a:lnTo>
                  <a:pt x="18" y="615"/>
                </a:lnTo>
                <a:lnTo>
                  <a:pt x="17" y="621"/>
                </a:lnTo>
                <a:lnTo>
                  <a:pt x="16" y="625"/>
                </a:lnTo>
                <a:lnTo>
                  <a:pt x="13" y="629"/>
                </a:lnTo>
                <a:lnTo>
                  <a:pt x="10" y="633"/>
                </a:lnTo>
                <a:lnTo>
                  <a:pt x="8" y="638"/>
                </a:lnTo>
                <a:lnTo>
                  <a:pt x="7" y="642"/>
                </a:lnTo>
                <a:lnTo>
                  <a:pt x="8" y="648"/>
                </a:lnTo>
                <a:lnTo>
                  <a:pt x="10" y="654"/>
                </a:lnTo>
                <a:lnTo>
                  <a:pt x="9" y="658"/>
                </a:lnTo>
                <a:lnTo>
                  <a:pt x="6" y="662"/>
                </a:lnTo>
                <a:lnTo>
                  <a:pt x="3" y="667"/>
                </a:lnTo>
                <a:lnTo>
                  <a:pt x="2" y="673"/>
                </a:lnTo>
                <a:lnTo>
                  <a:pt x="1" y="678"/>
                </a:lnTo>
                <a:lnTo>
                  <a:pt x="1" y="682"/>
                </a:lnTo>
                <a:lnTo>
                  <a:pt x="0" y="683"/>
                </a:lnTo>
                <a:lnTo>
                  <a:pt x="0" y="685"/>
                </a:lnTo>
                <a:lnTo>
                  <a:pt x="1" y="686"/>
                </a:lnTo>
                <a:lnTo>
                  <a:pt x="2" y="686"/>
                </a:lnTo>
                <a:lnTo>
                  <a:pt x="5" y="683"/>
                </a:lnTo>
                <a:lnTo>
                  <a:pt x="7" y="680"/>
                </a:lnTo>
                <a:lnTo>
                  <a:pt x="8" y="679"/>
                </a:lnTo>
                <a:lnTo>
                  <a:pt x="10" y="680"/>
                </a:lnTo>
                <a:lnTo>
                  <a:pt x="11" y="681"/>
                </a:lnTo>
                <a:lnTo>
                  <a:pt x="11" y="683"/>
                </a:lnTo>
                <a:lnTo>
                  <a:pt x="11" y="688"/>
                </a:lnTo>
                <a:lnTo>
                  <a:pt x="10" y="694"/>
                </a:lnTo>
                <a:lnTo>
                  <a:pt x="10" y="700"/>
                </a:lnTo>
                <a:lnTo>
                  <a:pt x="10" y="707"/>
                </a:lnTo>
                <a:lnTo>
                  <a:pt x="14" y="704"/>
                </a:lnTo>
                <a:lnTo>
                  <a:pt x="16" y="702"/>
                </a:lnTo>
                <a:lnTo>
                  <a:pt x="16" y="698"/>
                </a:lnTo>
                <a:lnTo>
                  <a:pt x="16" y="695"/>
                </a:lnTo>
                <a:lnTo>
                  <a:pt x="15" y="689"/>
                </a:lnTo>
                <a:lnTo>
                  <a:pt x="16" y="685"/>
                </a:lnTo>
                <a:lnTo>
                  <a:pt x="18" y="680"/>
                </a:lnTo>
                <a:lnTo>
                  <a:pt x="21" y="675"/>
                </a:lnTo>
                <a:lnTo>
                  <a:pt x="21" y="672"/>
                </a:lnTo>
                <a:lnTo>
                  <a:pt x="22" y="667"/>
                </a:lnTo>
                <a:lnTo>
                  <a:pt x="22" y="665"/>
                </a:lnTo>
                <a:lnTo>
                  <a:pt x="22" y="663"/>
                </a:lnTo>
                <a:lnTo>
                  <a:pt x="21" y="661"/>
                </a:lnTo>
                <a:lnTo>
                  <a:pt x="18" y="661"/>
                </a:lnTo>
                <a:lnTo>
                  <a:pt x="17" y="661"/>
                </a:lnTo>
                <a:lnTo>
                  <a:pt x="16" y="661"/>
                </a:lnTo>
                <a:lnTo>
                  <a:pt x="16" y="662"/>
                </a:lnTo>
                <a:lnTo>
                  <a:pt x="16" y="663"/>
                </a:lnTo>
                <a:lnTo>
                  <a:pt x="14" y="667"/>
                </a:lnTo>
                <a:lnTo>
                  <a:pt x="11" y="670"/>
                </a:lnTo>
                <a:lnTo>
                  <a:pt x="10" y="666"/>
                </a:lnTo>
                <a:lnTo>
                  <a:pt x="11" y="662"/>
                </a:lnTo>
                <a:lnTo>
                  <a:pt x="11" y="659"/>
                </a:lnTo>
                <a:lnTo>
                  <a:pt x="11" y="659"/>
                </a:lnTo>
                <a:lnTo>
                  <a:pt x="13" y="658"/>
                </a:lnTo>
                <a:lnTo>
                  <a:pt x="15" y="658"/>
                </a:lnTo>
                <a:lnTo>
                  <a:pt x="19" y="655"/>
                </a:lnTo>
                <a:lnTo>
                  <a:pt x="24" y="652"/>
                </a:lnTo>
                <a:lnTo>
                  <a:pt x="28" y="642"/>
                </a:lnTo>
                <a:lnTo>
                  <a:pt x="32" y="633"/>
                </a:lnTo>
                <a:lnTo>
                  <a:pt x="36" y="621"/>
                </a:lnTo>
                <a:lnTo>
                  <a:pt x="41" y="609"/>
                </a:lnTo>
                <a:lnTo>
                  <a:pt x="47" y="598"/>
                </a:lnTo>
                <a:lnTo>
                  <a:pt x="54" y="588"/>
                </a:lnTo>
                <a:lnTo>
                  <a:pt x="55" y="596"/>
                </a:lnTo>
                <a:lnTo>
                  <a:pt x="56" y="605"/>
                </a:lnTo>
                <a:lnTo>
                  <a:pt x="50" y="617"/>
                </a:lnTo>
                <a:lnTo>
                  <a:pt x="43" y="631"/>
                </a:lnTo>
                <a:lnTo>
                  <a:pt x="41" y="638"/>
                </a:lnTo>
                <a:lnTo>
                  <a:pt x="39" y="645"/>
                </a:lnTo>
                <a:lnTo>
                  <a:pt x="39" y="652"/>
                </a:lnTo>
                <a:lnTo>
                  <a:pt x="39" y="659"/>
                </a:lnTo>
                <a:lnTo>
                  <a:pt x="39" y="663"/>
                </a:lnTo>
                <a:lnTo>
                  <a:pt x="40" y="666"/>
                </a:lnTo>
                <a:lnTo>
                  <a:pt x="40" y="669"/>
                </a:lnTo>
                <a:lnTo>
                  <a:pt x="40" y="669"/>
                </a:lnTo>
                <a:lnTo>
                  <a:pt x="41" y="670"/>
                </a:lnTo>
                <a:lnTo>
                  <a:pt x="43" y="670"/>
                </a:lnTo>
                <a:lnTo>
                  <a:pt x="50" y="666"/>
                </a:lnTo>
                <a:lnTo>
                  <a:pt x="57" y="663"/>
                </a:lnTo>
                <a:lnTo>
                  <a:pt x="56" y="677"/>
                </a:lnTo>
                <a:lnTo>
                  <a:pt x="57" y="691"/>
                </a:lnTo>
                <a:lnTo>
                  <a:pt x="57" y="695"/>
                </a:lnTo>
                <a:lnTo>
                  <a:pt x="57" y="698"/>
                </a:lnTo>
                <a:lnTo>
                  <a:pt x="55" y="699"/>
                </a:lnTo>
                <a:lnTo>
                  <a:pt x="52" y="702"/>
                </a:lnTo>
                <a:lnTo>
                  <a:pt x="51" y="703"/>
                </a:lnTo>
                <a:lnTo>
                  <a:pt x="51" y="705"/>
                </a:lnTo>
                <a:lnTo>
                  <a:pt x="52" y="706"/>
                </a:lnTo>
                <a:lnTo>
                  <a:pt x="54" y="708"/>
                </a:lnTo>
                <a:lnTo>
                  <a:pt x="57" y="713"/>
                </a:lnTo>
                <a:lnTo>
                  <a:pt x="61" y="716"/>
                </a:lnTo>
                <a:lnTo>
                  <a:pt x="64" y="717"/>
                </a:lnTo>
                <a:lnTo>
                  <a:pt x="66" y="719"/>
                </a:lnTo>
                <a:lnTo>
                  <a:pt x="68" y="721"/>
                </a:lnTo>
                <a:lnTo>
                  <a:pt x="68" y="723"/>
                </a:lnTo>
                <a:lnTo>
                  <a:pt x="66" y="727"/>
                </a:lnTo>
                <a:lnTo>
                  <a:pt x="63" y="729"/>
                </a:lnTo>
                <a:lnTo>
                  <a:pt x="61" y="736"/>
                </a:lnTo>
                <a:lnTo>
                  <a:pt x="63" y="741"/>
                </a:lnTo>
                <a:lnTo>
                  <a:pt x="65" y="739"/>
                </a:lnTo>
                <a:lnTo>
                  <a:pt x="66" y="736"/>
                </a:lnTo>
                <a:lnTo>
                  <a:pt x="66" y="733"/>
                </a:lnTo>
                <a:lnTo>
                  <a:pt x="67" y="732"/>
                </a:lnTo>
                <a:lnTo>
                  <a:pt x="68" y="731"/>
                </a:lnTo>
                <a:lnTo>
                  <a:pt x="72" y="732"/>
                </a:lnTo>
                <a:lnTo>
                  <a:pt x="74" y="733"/>
                </a:lnTo>
                <a:lnTo>
                  <a:pt x="75" y="735"/>
                </a:lnTo>
                <a:lnTo>
                  <a:pt x="74" y="737"/>
                </a:lnTo>
                <a:lnTo>
                  <a:pt x="72" y="738"/>
                </a:lnTo>
                <a:lnTo>
                  <a:pt x="72" y="740"/>
                </a:lnTo>
                <a:lnTo>
                  <a:pt x="73" y="741"/>
                </a:lnTo>
                <a:lnTo>
                  <a:pt x="73" y="741"/>
                </a:lnTo>
                <a:lnTo>
                  <a:pt x="75" y="742"/>
                </a:lnTo>
                <a:lnTo>
                  <a:pt x="76" y="745"/>
                </a:lnTo>
                <a:lnTo>
                  <a:pt x="77" y="747"/>
                </a:lnTo>
                <a:lnTo>
                  <a:pt x="77" y="749"/>
                </a:lnTo>
                <a:lnTo>
                  <a:pt x="77" y="753"/>
                </a:lnTo>
                <a:lnTo>
                  <a:pt x="76" y="756"/>
                </a:lnTo>
                <a:lnTo>
                  <a:pt x="77" y="758"/>
                </a:lnTo>
                <a:lnTo>
                  <a:pt x="80" y="758"/>
                </a:lnTo>
                <a:lnTo>
                  <a:pt x="81" y="756"/>
                </a:lnTo>
                <a:lnTo>
                  <a:pt x="83" y="756"/>
                </a:lnTo>
                <a:lnTo>
                  <a:pt x="87" y="754"/>
                </a:lnTo>
                <a:lnTo>
                  <a:pt x="90" y="753"/>
                </a:lnTo>
                <a:lnTo>
                  <a:pt x="91" y="750"/>
                </a:lnTo>
                <a:lnTo>
                  <a:pt x="90" y="749"/>
                </a:lnTo>
                <a:lnTo>
                  <a:pt x="88" y="747"/>
                </a:lnTo>
                <a:lnTo>
                  <a:pt x="85" y="744"/>
                </a:lnTo>
                <a:lnTo>
                  <a:pt x="84" y="740"/>
                </a:lnTo>
                <a:lnTo>
                  <a:pt x="83" y="737"/>
                </a:lnTo>
                <a:lnTo>
                  <a:pt x="82" y="733"/>
                </a:lnTo>
                <a:lnTo>
                  <a:pt x="81" y="730"/>
                </a:lnTo>
                <a:lnTo>
                  <a:pt x="82" y="727"/>
                </a:lnTo>
                <a:lnTo>
                  <a:pt x="83" y="729"/>
                </a:lnTo>
                <a:lnTo>
                  <a:pt x="85" y="731"/>
                </a:lnTo>
                <a:lnTo>
                  <a:pt x="89" y="731"/>
                </a:lnTo>
                <a:lnTo>
                  <a:pt x="91" y="732"/>
                </a:lnTo>
                <a:lnTo>
                  <a:pt x="97" y="733"/>
                </a:lnTo>
                <a:lnTo>
                  <a:pt x="102" y="736"/>
                </a:lnTo>
                <a:lnTo>
                  <a:pt x="101" y="729"/>
                </a:lnTo>
                <a:lnTo>
                  <a:pt x="98" y="723"/>
                </a:lnTo>
                <a:lnTo>
                  <a:pt x="99" y="720"/>
                </a:lnTo>
                <a:lnTo>
                  <a:pt x="101" y="716"/>
                </a:lnTo>
                <a:lnTo>
                  <a:pt x="104" y="715"/>
                </a:lnTo>
                <a:lnTo>
                  <a:pt x="105" y="715"/>
                </a:lnTo>
                <a:lnTo>
                  <a:pt x="107" y="716"/>
                </a:lnTo>
                <a:lnTo>
                  <a:pt x="108" y="719"/>
                </a:lnTo>
                <a:lnTo>
                  <a:pt x="109" y="724"/>
                </a:lnTo>
                <a:lnTo>
                  <a:pt x="110" y="731"/>
                </a:lnTo>
                <a:lnTo>
                  <a:pt x="113" y="732"/>
                </a:lnTo>
                <a:lnTo>
                  <a:pt x="115" y="732"/>
                </a:lnTo>
                <a:lnTo>
                  <a:pt x="117" y="732"/>
                </a:lnTo>
                <a:lnTo>
                  <a:pt x="118" y="732"/>
                </a:lnTo>
                <a:lnTo>
                  <a:pt x="120" y="732"/>
                </a:lnTo>
                <a:lnTo>
                  <a:pt x="121" y="732"/>
                </a:lnTo>
                <a:lnTo>
                  <a:pt x="121" y="731"/>
                </a:lnTo>
                <a:lnTo>
                  <a:pt x="121" y="730"/>
                </a:lnTo>
                <a:lnTo>
                  <a:pt x="122" y="725"/>
                </a:lnTo>
                <a:lnTo>
                  <a:pt x="122" y="721"/>
                </a:lnTo>
                <a:lnTo>
                  <a:pt x="122" y="716"/>
                </a:lnTo>
                <a:lnTo>
                  <a:pt x="123" y="712"/>
                </a:lnTo>
                <a:lnTo>
                  <a:pt x="123" y="711"/>
                </a:lnTo>
                <a:lnTo>
                  <a:pt x="124" y="710"/>
                </a:lnTo>
                <a:lnTo>
                  <a:pt x="125" y="710"/>
                </a:lnTo>
                <a:lnTo>
                  <a:pt x="126" y="710"/>
                </a:lnTo>
                <a:lnTo>
                  <a:pt x="129" y="712"/>
                </a:lnTo>
                <a:lnTo>
                  <a:pt x="130" y="714"/>
                </a:lnTo>
                <a:lnTo>
                  <a:pt x="131" y="720"/>
                </a:lnTo>
                <a:lnTo>
                  <a:pt x="133" y="725"/>
                </a:lnTo>
                <a:lnTo>
                  <a:pt x="133" y="732"/>
                </a:lnTo>
                <a:lnTo>
                  <a:pt x="132" y="737"/>
                </a:lnTo>
                <a:lnTo>
                  <a:pt x="127" y="738"/>
                </a:lnTo>
                <a:lnTo>
                  <a:pt x="124" y="737"/>
                </a:lnTo>
                <a:lnTo>
                  <a:pt x="124" y="736"/>
                </a:lnTo>
                <a:lnTo>
                  <a:pt x="124" y="735"/>
                </a:lnTo>
                <a:lnTo>
                  <a:pt x="123" y="733"/>
                </a:lnTo>
                <a:lnTo>
                  <a:pt x="121" y="732"/>
                </a:lnTo>
                <a:lnTo>
                  <a:pt x="122" y="737"/>
                </a:lnTo>
                <a:lnTo>
                  <a:pt x="123" y="739"/>
                </a:lnTo>
                <a:lnTo>
                  <a:pt x="125" y="741"/>
                </a:lnTo>
                <a:lnTo>
                  <a:pt x="129" y="742"/>
                </a:lnTo>
                <a:lnTo>
                  <a:pt x="132" y="746"/>
                </a:lnTo>
                <a:lnTo>
                  <a:pt x="135" y="748"/>
                </a:lnTo>
                <a:lnTo>
                  <a:pt x="138" y="748"/>
                </a:lnTo>
                <a:lnTo>
                  <a:pt x="139" y="747"/>
                </a:lnTo>
                <a:lnTo>
                  <a:pt x="140" y="745"/>
                </a:lnTo>
                <a:lnTo>
                  <a:pt x="140" y="742"/>
                </a:lnTo>
                <a:lnTo>
                  <a:pt x="140" y="733"/>
                </a:lnTo>
                <a:lnTo>
                  <a:pt x="140" y="725"/>
                </a:lnTo>
                <a:lnTo>
                  <a:pt x="139" y="716"/>
                </a:lnTo>
                <a:lnTo>
                  <a:pt x="138" y="708"/>
                </a:lnTo>
                <a:lnTo>
                  <a:pt x="135" y="699"/>
                </a:lnTo>
                <a:lnTo>
                  <a:pt x="135" y="691"/>
                </a:lnTo>
                <a:lnTo>
                  <a:pt x="137" y="688"/>
                </a:lnTo>
                <a:lnTo>
                  <a:pt x="139" y="686"/>
                </a:lnTo>
                <a:lnTo>
                  <a:pt x="141" y="685"/>
                </a:lnTo>
                <a:lnTo>
                  <a:pt x="145" y="685"/>
                </a:lnTo>
                <a:lnTo>
                  <a:pt x="147" y="683"/>
                </a:lnTo>
                <a:lnTo>
                  <a:pt x="150" y="683"/>
                </a:lnTo>
                <a:lnTo>
                  <a:pt x="153" y="681"/>
                </a:lnTo>
                <a:lnTo>
                  <a:pt x="155" y="680"/>
                </a:lnTo>
                <a:lnTo>
                  <a:pt x="156" y="672"/>
                </a:lnTo>
                <a:lnTo>
                  <a:pt x="157" y="663"/>
                </a:lnTo>
                <a:lnTo>
                  <a:pt x="160" y="656"/>
                </a:lnTo>
                <a:lnTo>
                  <a:pt x="165" y="649"/>
                </a:lnTo>
                <a:lnTo>
                  <a:pt x="176" y="634"/>
                </a:lnTo>
                <a:lnTo>
                  <a:pt x="188" y="619"/>
                </a:lnTo>
                <a:lnTo>
                  <a:pt x="197" y="604"/>
                </a:lnTo>
                <a:lnTo>
                  <a:pt x="207" y="591"/>
                </a:lnTo>
                <a:lnTo>
                  <a:pt x="213" y="587"/>
                </a:lnTo>
                <a:lnTo>
                  <a:pt x="219" y="583"/>
                </a:lnTo>
                <a:lnTo>
                  <a:pt x="221" y="581"/>
                </a:lnTo>
                <a:lnTo>
                  <a:pt x="223" y="579"/>
                </a:lnTo>
                <a:lnTo>
                  <a:pt x="224" y="575"/>
                </a:lnTo>
                <a:lnTo>
                  <a:pt x="225" y="572"/>
                </a:lnTo>
                <a:lnTo>
                  <a:pt x="227" y="569"/>
                </a:lnTo>
                <a:lnTo>
                  <a:pt x="228" y="567"/>
                </a:lnTo>
                <a:lnTo>
                  <a:pt x="230" y="569"/>
                </a:lnTo>
                <a:lnTo>
                  <a:pt x="232" y="570"/>
                </a:lnTo>
                <a:lnTo>
                  <a:pt x="234" y="569"/>
                </a:lnTo>
                <a:lnTo>
                  <a:pt x="236" y="567"/>
                </a:lnTo>
                <a:lnTo>
                  <a:pt x="237" y="567"/>
                </a:lnTo>
                <a:lnTo>
                  <a:pt x="237" y="571"/>
                </a:lnTo>
                <a:lnTo>
                  <a:pt x="237" y="579"/>
                </a:lnTo>
                <a:lnTo>
                  <a:pt x="234" y="587"/>
                </a:lnTo>
                <a:lnTo>
                  <a:pt x="230" y="592"/>
                </a:lnTo>
                <a:lnTo>
                  <a:pt x="225" y="598"/>
                </a:lnTo>
                <a:lnTo>
                  <a:pt x="231" y="598"/>
                </a:lnTo>
                <a:lnTo>
                  <a:pt x="234" y="598"/>
                </a:lnTo>
                <a:lnTo>
                  <a:pt x="237" y="599"/>
                </a:lnTo>
                <a:lnTo>
                  <a:pt x="238" y="602"/>
                </a:lnTo>
                <a:lnTo>
                  <a:pt x="238" y="604"/>
                </a:lnTo>
                <a:lnTo>
                  <a:pt x="238" y="607"/>
                </a:lnTo>
                <a:lnTo>
                  <a:pt x="242" y="603"/>
                </a:lnTo>
                <a:lnTo>
                  <a:pt x="247" y="598"/>
                </a:lnTo>
                <a:lnTo>
                  <a:pt x="250" y="599"/>
                </a:lnTo>
                <a:lnTo>
                  <a:pt x="254" y="600"/>
                </a:lnTo>
                <a:lnTo>
                  <a:pt x="255" y="597"/>
                </a:lnTo>
                <a:lnTo>
                  <a:pt x="254" y="595"/>
                </a:lnTo>
                <a:lnTo>
                  <a:pt x="256" y="587"/>
                </a:lnTo>
                <a:lnTo>
                  <a:pt x="260" y="579"/>
                </a:lnTo>
                <a:lnTo>
                  <a:pt x="261" y="578"/>
                </a:lnTo>
                <a:lnTo>
                  <a:pt x="261" y="575"/>
                </a:lnTo>
                <a:lnTo>
                  <a:pt x="262" y="574"/>
                </a:lnTo>
                <a:lnTo>
                  <a:pt x="264" y="575"/>
                </a:lnTo>
                <a:lnTo>
                  <a:pt x="265" y="580"/>
                </a:lnTo>
                <a:lnTo>
                  <a:pt x="265" y="584"/>
                </a:lnTo>
                <a:lnTo>
                  <a:pt x="267" y="584"/>
                </a:lnTo>
                <a:lnTo>
                  <a:pt x="270" y="582"/>
                </a:lnTo>
                <a:lnTo>
                  <a:pt x="272" y="583"/>
                </a:lnTo>
                <a:lnTo>
                  <a:pt x="275" y="584"/>
                </a:lnTo>
                <a:lnTo>
                  <a:pt x="278" y="584"/>
                </a:lnTo>
                <a:lnTo>
                  <a:pt x="279" y="583"/>
                </a:lnTo>
                <a:lnTo>
                  <a:pt x="280" y="582"/>
                </a:lnTo>
                <a:lnTo>
                  <a:pt x="281" y="580"/>
                </a:lnTo>
                <a:lnTo>
                  <a:pt x="281" y="574"/>
                </a:lnTo>
                <a:lnTo>
                  <a:pt x="282" y="571"/>
                </a:lnTo>
                <a:lnTo>
                  <a:pt x="282" y="567"/>
                </a:lnTo>
                <a:lnTo>
                  <a:pt x="283" y="562"/>
                </a:lnTo>
                <a:lnTo>
                  <a:pt x="285" y="557"/>
                </a:lnTo>
                <a:lnTo>
                  <a:pt x="287" y="555"/>
                </a:lnTo>
                <a:lnTo>
                  <a:pt x="288" y="555"/>
                </a:lnTo>
                <a:lnTo>
                  <a:pt x="289" y="556"/>
                </a:lnTo>
                <a:lnTo>
                  <a:pt x="289" y="558"/>
                </a:lnTo>
                <a:lnTo>
                  <a:pt x="289" y="561"/>
                </a:lnTo>
                <a:lnTo>
                  <a:pt x="288" y="565"/>
                </a:lnTo>
                <a:lnTo>
                  <a:pt x="289" y="569"/>
                </a:lnTo>
                <a:lnTo>
                  <a:pt x="294" y="554"/>
                </a:lnTo>
                <a:lnTo>
                  <a:pt x="300" y="538"/>
                </a:lnTo>
                <a:lnTo>
                  <a:pt x="306" y="523"/>
                </a:lnTo>
                <a:lnTo>
                  <a:pt x="314" y="508"/>
                </a:lnTo>
                <a:lnTo>
                  <a:pt x="315" y="513"/>
                </a:lnTo>
                <a:lnTo>
                  <a:pt x="315" y="517"/>
                </a:lnTo>
                <a:lnTo>
                  <a:pt x="314" y="522"/>
                </a:lnTo>
                <a:lnTo>
                  <a:pt x="313" y="526"/>
                </a:lnTo>
                <a:lnTo>
                  <a:pt x="312" y="532"/>
                </a:lnTo>
                <a:lnTo>
                  <a:pt x="312" y="538"/>
                </a:lnTo>
                <a:lnTo>
                  <a:pt x="312" y="545"/>
                </a:lnTo>
                <a:lnTo>
                  <a:pt x="313" y="550"/>
                </a:lnTo>
                <a:lnTo>
                  <a:pt x="313" y="551"/>
                </a:lnTo>
                <a:lnTo>
                  <a:pt x="314" y="554"/>
                </a:lnTo>
                <a:lnTo>
                  <a:pt x="315" y="555"/>
                </a:lnTo>
                <a:lnTo>
                  <a:pt x="318" y="555"/>
                </a:lnTo>
                <a:lnTo>
                  <a:pt x="319" y="551"/>
                </a:lnTo>
                <a:lnTo>
                  <a:pt x="319" y="547"/>
                </a:lnTo>
                <a:lnTo>
                  <a:pt x="321" y="538"/>
                </a:lnTo>
                <a:lnTo>
                  <a:pt x="324" y="530"/>
                </a:lnTo>
                <a:lnTo>
                  <a:pt x="328" y="520"/>
                </a:lnTo>
                <a:lnTo>
                  <a:pt x="332" y="512"/>
                </a:lnTo>
                <a:lnTo>
                  <a:pt x="338" y="504"/>
                </a:lnTo>
                <a:lnTo>
                  <a:pt x="343" y="497"/>
                </a:lnTo>
                <a:lnTo>
                  <a:pt x="344" y="495"/>
                </a:lnTo>
                <a:lnTo>
                  <a:pt x="345" y="492"/>
                </a:lnTo>
                <a:lnTo>
                  <a:pt x="347" y="491"/>
                </a:lnTo>
                <a:lnTo>
                  <a:pt x="349" y="491"/>
                </a:lnTo>
                <a:lnTo>
                  <a:pt x="351" y="492"/>
                </a:lnTo>
                <a:lnTo>
                  <a:pt x="351" y="495"/>
                </a:lnTo>
                <a:lnTo>
                  <a:pt x="351" y="496"/>
                </a:lnTo>
                <a:lnTo>
                  <a:pt x="349" y="498"/>
                </a:lnTo>
                <a:lnTo>
                  <a:pt x="347" y="501"/>
                </a:lnTo>
                <a:lnTo>
                  <a:pt x="345" y="505"/>
                </a:lnTo>
                <a:lnTo>
                  <a:pt x="343" y="508"/>
                </a:lnTo>
                <a:lnTo>
                  <a:pt x="340" y="513"/>
                </a:lnTo>
                <a:lnTo>
                  <a:pt x="340" y="516"/>
                </a:lnTo>
                <a:lnTo>
                  <a:pt x="343" y="520"/>
                </a:lnTo>
                <a:lnTo>
                  <a:pt x="341" y="526"/>
                </a:lnTo>
                <a:lnTo>
                  <a:pt x="338" y="533"/>
                </a:lnTo>
                <a:lnTo>
                  <a:pt x="335" y="545"/>
                </a:lnTo>
                <a:lnTo>
                  <a:pt x="332" y="555"/>
                </a:lnTo>
                <a:lnTo>
                  <a:pt x="331" y="566"/>
                </a:lnTo>
                <a:lnTo>
                  <a:pt x="331" y="579"/>
                </a:lnTo>
                <a:lnTo>
                  <a:pt x="331" y="588"/>
                </a:lnTo>
                <a:lnTo>
                  <a:pt x="331" y="598"/>
                </a:lnTo>
                <a:lnTo>
                  <a:pt x="331" y="603"/>
                </a:lnTo>
                <a:lnTo>
                  <a:pt x="331" y="608"/>
                </a:lnTo>
                <a:lnTo>
                  <a:pt x="329" y="613"/>
                </a:lnTo>
                <a:lnTo>
                  <a:pt x="328" y="617"/>
                </a:lnTo>
                <a:lnTo>
                  <a:pt x="329" y="620"/>
                </a:lnTo>
                <a:lnTo>
                  <a:pt x="330" y="621"/>
                </a:lnTo>
                <a:lnTo>
                  <a:pt x="329" y="622"/>
                </a:lnTo>
                <a:lnTo>
                  <a:pt x="329" y="624"/>
                </a:lnTo>
                <a:lnTo>
                  <a:pt x="328" y="630"/>
                </a:lnTo>
                <a:lnTo>
                  <a:pt x="327" y="634"/>
                </a:lnTo>
                <a:lnTo>
                  <a:pt x="324" y="639"/>
                </a:lnTo>
                <a:lnTo>
                  <a:pt x="322" y="644"/>
                </a:lnTo>
                <a:lnTo>
                  <a:pt x="321" y="648"/>
                </a:lnTo>
                <a:lnTo>
                  <a:pt x="322" y="652"/>
                </a:lnTo>
                <a:lnTo>
                  <a:pt x="324" y="649"/>
                </a:lnTo>
                <a:lnTo>
                  <a:pt x="327" y="649"/>
                </a:lnTo>
                <a:lnTo>
                  <a:pt x="330" y="650"/>
                </a:lnTo>
                <a:lnTo>
                  <a:pt x="332" y="653"/>
                </a:lnTo>
                <a:lnTo>
                  <a:pt x="332" y="648"/>
                </a:lnTo>
                <a:lnTo>
                  <a:pt x="332" y="645"/>
                </a:lnTo>
                <a:lnTo>
                  <a:pt x="332" y="642"/>
                </a:lnTo>
                <a:lnTo>
                  <a:pt x="332" y="641"/>
                </a:lnTo>
                <a:lnTo>
                  <a:pt x="332" y="640"/>
                </a:lnTo>
                <a:lnTo>
                  <a:pt x="330" y="639"/>
                </a:lnTo>
                <a:lnTo>
                  <a:pt x="331" y="639"/>
                </a:lnTo>
                <a:lnTo>
                  <a:pt x="332" y="639"/>
                </a:lnTo>
                <a:lnTo>
                  <a:pt x="333" y="638"/>
                </a:lnTo>
                <a:lnTo>
                  <a:pt x="335" y="636"/>
                </a:lnTo>
                <a:lnTo>
                  <a:pt x="336" y="631"/>
                </a:lnTo>
                <a:lnTo>
                  <a:pt x="338" y="628"/>
                </a:lnTo>
                <a:lnTo>
                  <a:pt x="338" y="634"/>
                </a:lnTo>
                <a:lnTo>
                  <a:pt x="340" y="640"/>
                </a:lnTo>
                <a:lnTo>
                  <a:pt x="343" y="636"/>
                </a:lnTo>
                <a:lnTo>
                  <a:pt x="343" y="630"/>
                </a:lnTo>
                <a:lnTo>
                  <a:pt x="344" y="628"/>
                </a:lnTo>
                <a:lnTo>
                  <a:pt x="344" y="624"/>
                </a:lnTo>
                <a:lnTo>
                  <a:pt x="346" y="623"/>
                </a:lnTo>
                <a:lnTo>
                  <a:pt x="348" y="622"/>
                </a:lnTo>
                <a:lnTo>
                  <a:pt x="349" y="623"/>
                </a:lnTo>
                <a:lnTo>
                  <a:pt x="352" y="625"/>
                </a:lnTo>
                <a:lnTo>
                  <a:pt x="352" y="628"/>
                </a:lnTo>
                <a:lnTo>
                  <a:pt x="352" y="630"/>
                </a:lnTo>
                <a:lnTo>
                  <a:pt x="351" y="631"/>
                </a:lnTo>
                <a:lnTo>
                  <a:pt x="349" y="632"/>
                </a:lnTo>
                <a:lnTo>
                  <a:pt x="348" y="636"/>
                </a:lnTo>
                <a:lnTo>
                  <a:pt x="348" y="638"/>
                </a:lnTo>
                <a:lnTo>
                  <a:pt x="347" y="644"/>
                </a:lnTo>
                <a:lnTo>
                  <a:pt x="346" y="649"/>
                </a:lnTo>
                <a:lnTo>
                  <a:pt x="347" y="663"/>
                </a:lnTo>
                <a:lnTo>
                  <a:pt x="351" y="677"/>
                </a:lnTo>
                <a:lnTo>
                  <a:pt x="351" y="679"/>
                </a:lnTo>
                <a:lnTo>
                  <a:pt x="351" y="680"/>
                </a:lnTo>
                <a:lnTo>
                  <a:pt x="352" y="686"/>
                </a:lnTo>
                <a:lnTo>
                  <a:pt x="351" y="692"/>
                </a:lnTo>
                <a:lnTo>
                  <a:pt x="349" y="699"/>
                </a:lnTo>
                <a:lnTo>
                  <a:pt x="351" y="706"/>
                </a:lnTo>
                <a:lnTo>
                  <a:pt x="352" y="712"/>
                </a:lnTo>
                <a:lnTo>
                  <a:pt x="355" y="717"/>
                </a:lnTo>
                <a:lnTo>
                  <a:pt x="360" y="722"/>
                </a:lnTo>
                <a:lnTo>
                  <a:pt x="364" y="727"/>
                </a:lnTo>
                <a:lnTo>
                  <a:pt x="368" y="732"/>
                </a:lnTo>
                <a:lnTo>
                  <a:pt x="370" y="737"/>
                </a:lnTo>
                <a:lnTo>
                  <a:pt x="371" y="742"/>
                </a:lnTo>
                <a:lnTo>
                  <a:pt x="371" y="748"/>
                </a:lnTo>
                <a:lnTo>
                  <a:pt x="371" y="752"/>
                </a:lnTo>
                <a:lnTo>
                  <a:pt x="372" y="754"/>
                </a:lnTo>
                <a:lnTo>
                  <a:pt x="373" y="756"/>
                </a:lnTo>
                <a:lnTo>
                  <a:pt x="374" y="756"/>
                </a:lnTo>
                <a:lnTo>
                  <a:pt x="377" y="757"/>
                </a:lnTo>
                <a:lnTo>
                  <a:pt x="378" y="756"/>
                </a:lnTo>
                <a:lnTo>
                  <a:pt x="380" y="755"/>
                </a:lnTo>
                <a:lnTo>
                  <a:pt x="382" y="753"/>
                </a:lnTo>
                <a:lnTo>
                  <a:pt x="384" y="741"/>
                </a:lnTo>
                <a:lnTo>
                  <a:pt x="387" y="731"/>
                </a:lnTo>
                <a:lnTo>
                  <a:pt x="390" y="732"/>
                </a:lnTo>
                <a:lnTo>
                  <a:pt x="394" y="732"/>
                </a:lnTo>
                <a:lnTo>
                  <a:pt x="394" y="730"/>
                </a:lnTo>
                <a:lnTo>
                  <a:pt x="394" y="728"/>
                </a:lnTo>
                <a:lnTo>
                  <a:pt x="395" y="725"/>
                </a:lnTo>
                <a:lnTo>
                  <a:pt x="397" y="723"/>
                </a:lnTo>
                <a:lnTo>
                  <a:pt x="404" y="713"/>
                </a:lnTo>
                <a:lnTo>
                  <a:pt x="410" y="703"/>
                </a:lnTo>
                <a:lnTo>
                  <a:pt x="412" y="698"/>
                </a:lnTo>
                <a:lnTo>
                  <a:pt x="415" y="692"/>
                </a:lnTo>
                <a:lnTo>
                  <a:pt x="419" y="688"/>
                </a:lnTo>
                <a:lnTo>
                  <a:pt x="422" y="686"/>
                </a:lnTo>
                <a:lnTo>
                  <a:pt x="423" y="691"/>
                </a:lnTo>
                <a:lnTo>
                  <a:pt x="425" y="698"/>
                </a:lnTo>
                <a:lnTo>
                  <a:pt x="419" y="708"/>
                </a:lnTo>
                <a:lnTo>
                  <a:pt x="412" y="716"/>
                </a:lnTo>
                <a:lnTo>
                  <a:pt x="406" y="725"/>
                </a:lnTo>
                <a:lnTo>
                  <a:pt x="403" y="736"/>
                </a:lnTo>
                <a:lnTo>
                  <a:pt x="401" y="739"/>
                </a:lnTo>
                <a:lnTo>
                  <a:pt x="398" y="742"/>
                </a:lnTo>
                <a:lnTo>
                  <a:pt x="395" y="744"/>
                </a:lnTo>
                <a:lnTo>
                  <a:pt x="390" y="745"/>
                </a:lnTo>
                <a:lnTo>
                  <a:pt x="392" y="748"/>
                </a:lnTo>
                <a:lnTo>
                  <a:pt x="394" y="753"/>
                </a:lnTo>
                <a:lnTo>
                  <a:pt x="395" y="756"/>
                </a:lnTo>
                <a:lnTo>
                  <a:pt x="394" y="760"/>
                </a:lnTo>
                <a:lnTo>
                  <a:pt x="392" y="763"/>
                </a:lnTo>
                <a:lnTo>
                  <a:pt x="388" y="764"/>
                </a:lnTo>
                <a:lnTo>
                  <a:pt x="387" y="765"/>
                </a:lnTo>
                <a:lnTo>
                  <a:pt x="387" y="766"/>
                </a:lnTo>
                <a:lnTo>
                  <a:pt x="386" y="768"/>
                </a:lnTo>
                <a:lnTo>
                  <a:pt x="386" y="770"/>
                </a:lnTo>
                <a:lnTo>
                  <a:pt x="388" y="778"/>
                </a:lnTo>
                <a:lnTo>
                  <a:pt x="393" y="783"/>
                </a:lnTo>
                <a:lnTo>
                  <a:pt x="396" y="786"/>
                </a:lnTo>
                <a:lnTo>
                  <a:pt x="399" y="788"/>
                </a:lnTo>
                <a:lnTo>
                  <a:pt x="403" y="788"/>
                </a:lnTo>
                <a:lnTo>
                  <a:pt x="406" y="788"/>
                </a:lnTo>
                <a:lnTo>
                  <a:pt x="411" y="786"/>
                </a:lnTo>
                <a:lnTo>
                  <a:pt x="414" y="783"/>
                </a:lnTo>
                <a:lnTo>
                  <a:pt x="419" y="782"/>
                </a:lnTo>
                <a:lnTo>
                  <a:pt x="422" y="782"/>
                </a:lnTo>
                <a:lnTo>
                  <a:pt x="425" y="781"/>
                </a:lnTo>
                <a:lnTo>
                  <a:pt x="427" y="779"/>
                </a:lnTo>
                <a:lnTo>
                  <a:pt x="428" y="777"/>
                </a:lnTo>
                <a:lnTo>
                  <a:pt x="430" y="773"/>
                </a:lnTo>
                <a:lnTo>
                  <a:pt x="433" y="765"/>
                </a:lnTo>
                <a:lnTo>
                  <a:pt x="435" y="761"/>
                </a:lnTo>
                <a:lnTo>
                  <a:pt x="440" y="749"/>
                </a:lnTo>
                <a:lnTo>
                  <a:pt x="445" y="738"/>
                </a:lnTo>
                <a:lnTo>
                  <a:pt x="451" y="727"/>
                </a:lnTo>
                <a:lnTo>
                  <a:pt x="456" y="715"/>
                </a:lnTo>
                <a:lnTo>
                  <a:pt x="470" y="694"/>
                </a:lnTo>
                <a:lnTo>
                  <a:pt x="485" y="672"/>
                </a:lnTo>
                <a:lnTo>
                  <a:pt x="501" y="653"/>
                </a:lnTo>
                <a:lnTo>
                  <a:pt x="519" y="633"/>
                </a:lnTo>
                <a:lnTo>
                  <a:pt x="528" y="624"/>
                </a:lnTo>
                <a:lnTo>
                  <a:pt x="537" y="615"/>
                </a:lnTo>
                <a:lnTo>
                  <a:pt x="539" y="612"/>
                </a:lnTo>
                <a:lnTo>
                  <a:pt x="543" y="608"/>
                </a:lnTo>
                <a:lnTo>
                  <a:pt x="546" y="606"/>
                </a:lnTo>
                <a:lnTo>
                  <a:pt x="551" y="605"/>
                </a:lnTo>
                <a:lnTo>
                  <a:pt x="554" y="604"/>
                </a:lnTo>
                <a:lnTo>
                  <a:pt x="558" y="603"/>
                </a:lnTo>
                <a:lnTo>
                  <a:pt x="561" y="600"/>
                </a:lnTo>
                <a:lnTo>
                  <a:pt x="563" y="598"/>
                </a:lnTo>
                <a:lnTo>
                  <a:pt x="569" y="590"/>
                </a:lnTo>
                <a:lnTo>
                  <a:pt x="574" y="582"/>
                </a:lnTo>
                <a:lnTo>
                  <a:pt x="576" y="579"/>
                </a:lnTo>
                <a:lnTo>
                  <a:pt x="580" y="574"/>
                </a:lnTo>
                <a:lnTo>
                  <a:pt x="583" y="572"/>
                </a:lnTo>
                <a:lnTo>
                  <a:pt x="584" y="570"/>
                </a:lnTo>
                <a:lnTo>
                  <a:pt x="586" y="569"/>
                </a:lnTo>
                <a:lnTo>
                  <a:pt x="588" y="569"/>
                </a:lnTo>
                <a:lnTo>
                  <a:pt x="590" y="572"/>
                </a:lnTo>
                <a:lnTo>
                  <a:pt x="591" y="575"/>
                </a:lnTo>
                <a:lnTo>
                  <a:pt x="592" y="578"/>
                </a:lnTo>
                <a:lnTo>
                  <a:pt x="592" y="578"/>
                </a:lnTo>
                <a:lnTo>
                  <a:pt x="593" y="578"/>
                </a:lnTo>
                <a:lnTo>
                  <a:pt x="594" y="576"/>
                </a:lnTo>
                <a:lnTo>
                  <a:pt x="598" y="572"/>
                </a:lnTo>
                <a:lnTo>
                  <a:pt x="600" y="567"/>
                </a:lnTo>
                <a:lnTo>
                  <a:pt x="604" y="563"/>
                </a:lnTo>
                <a:lnTo>
                  <a:pt x="608" y="558"/>
                </a:lnTo>
                <a:lnTo>
                  <a:pt x="611" y="555"/>
                </a:lnTo>
                <a:lnTo>
                  <a:pt x="615" y="550"/>
                </a:lnTo>
                <a:lnTo>
                  <a:pt x="616" y="548"/>
                </a:lnTo>
                <a:lnTo>
                  <a:pt x="617" y="547"/>
                </a:lnTo>
                <a:lnTo>
                  <a:pt x="618" y="546"/>
                </a:lnTo>
                <a:lnTo>
                  <a:pt x="620" y="547"/>
                </a:lnTo>
                <a:lnTo>
                  <a:pt x="617" y="553"/>
                </a:lnTo>
                <a:lnTo>
                  <a:pt x="615" y="558"/>
                </a:lnTo>
                <a:lnTo>
                  <a:pt x="615" y="561"/>
                </a:lnTo>
                <a:lnTo>
                  <a:pt x="616" y="563"/>
                </a:lnTo>
                <a:lnTo>
                  <a:pt x="617" y="564"/>
                </a:lnTo>
                <a:lnTo>
                  <a:pt x="619" y="564"/>
                </a:lnTo>
                <a:lnTo>
                  <a:pt x="621" y="561"/>
                </a:lnTo>
                <a:lnTo>
                  <a:pt x="624" y="557"/>
                </a:lnTo>
                <a:lnTo>
                  <a:pt x="631" y="551"/>
                </a:lnTo>
                <a:lnTo>
                  <a:pt x="637" y="546"/>
                </a:lnTo>
                <a:lnTo>
                  <a:pt x="652" y="533"/>
                </a:lnTo>
                <a:lnTo>
                  <a:pt x="667" y="521"/>
                </a:lnTo>
                <a:lnTo>
                  <a:pt x="681" y="508"/>
                </a:lnTo>
                <a:lnTo>
                  <a:pt x="695" y="497"/>
                </a:lnTo>
                <a:lnTo>
                  <a:pt x="702" y="491"/>
                </a:lnTo>
                <a:lnTo>
                  <a:pt x="708" y="488"/>
                </a:lnTo>
                <a:lnTo>
                  <a:pt x="715" y="484"/>
                </a:lnTo>
                <a:lnTo>
                  <a:pt x="722" y="482"/>
                </a:lnTo>
                <a:lnTo>
                  <a:pt x="726" y="482"/>
                </a:lnTo>
                <a:lnTo>
                  <a:pt x="728" y="481"/>
                </a:lnTo>
                <a:lnTo>
                  <a:pt x="731" y="479"/>
                </a:lnTo>
                <a:lnTo>
                  <a:pt x="732" y="475"/>
                </a:lnTo>
                <a:lnTo>
                  <a:pt x="736" y="470"/>
                </a:lnTo>
                <a:lnTo>
                  <a:pt x="742" y="465"/>
                </a:lnTo>
                <a:lnTo>
                  <a:pt x="758" y="455"/>
                </a:lnTo>
                <a:lnTo>
                  <a:pt x="774" y="443"/>
                </a:lnTo>
                <a:lnTo>
                  <a:pt x="790" y="433"/>
                </a:lnTo>
                <a:lnTo>
                  <a:pt x="806" y="422"/>
                </a:lnTo>
                <a:lnTo>
                  <a:pt x="806" y="425"/>
                </a:lnTo>
                <a:lnTo>
                  <a:pt x="805" y="429"/>
                </a:lnTo>
                <a:lnTo>
                  <a:pt x="804" y="432"/>
                </a:lnTo>
                <a:lnTo>
                  <a:pt x="800" y="434"/>
                </a:lnTo>
                <a:lnTo>
                  <a:pt x="793" y="439"/>
                </a:lnTo>
                <a:lnTo>
                  <a:pt x="788" y="442"/>
                </a:lnTo>
                <a:lnTo>
                  <a:pt x="774" y="456"/>
                </a:lnTo>
                <a:lnTo>
                  <a:pt x="760" y="468"/>
                </a:lnTo>
                <a:lnTo>
                  <a:pt x="752" y="474"/>
                </a:lnTo>
                <a:lnTo>
                  <a:pt x="744" y="479"/>
                </a:lnTo>
                <a:lnTo>
                  <a:pt x="738" y="484"/>
                </a:lnTo>
                <a:lnTo>
                  <a:pt x="731" y="490"/>
                </a:lnTo>
                <a:lnTo>
                  <a:pt x="718" y="503"/>
                </a:lnTo>
                <a:lnTo>
                  <a:pt x="705" y="516"/>
                </a:lnTo>
                <a:lnTo>
                  <a:pt x="691" y="526"/>
                </a:lnTo>
                <a:lnTo>
                  <a:pt x="676" y="537"/>
                </a:lnTo>
                <a:lnTo>
                  <a:pt x="673" y="538"/>
                </a:lnTo>
                <a:lnTo>
                  <a:pt x="668" y="540"/>
                </a:lnTo>
                <a:lnTo>
                  <a:pt x="666" y="542"/>
                </a:lnTo>
                <a:lnTo>
                  <a:pt x="664" y="546"/>
                </a:lnTo>
                <a:lnTo>
                  <a:pt x="659" y="553"/>
                </a:lnTo>
                <a:lnTo>
                  <a:pt x="654" y="559"/>
                </a:lnTo>
                <a:lnTo>
                  <a:pt x="646" y="566"/>
                </a:lnTo>
                <a:lnTo>
                  <a:pt x="640" y="572"/>
                </a:lnTo>
                <a:lnTo>
                  <a:pt x="637" y="575"/>
                </a:lnTo>
                <a:lnTo>
                  <a:pt x="635" y="580"/>
                </a:lnTo>
                <a:lnTo>
                  <a:pt x="632" y="583"/>
                </a:lnTo>
                <a:lnTo>
                  <a:pt x="628" y="584"/>
                </a:lnTo>
                <a:lnTo>
                  <a:pt x="627" y="584"/>
                </a:lnTo>
                <a:lnTo>
                  <a:pt x="626" y="583"/>
                </a:lnTo>
                <a:lnTo>
                  <a:pt x="625" y="582"/>
                </a:lnTo>
                <a:lnTo>
                  <a:pt x="625" y="581"/>
                </a:lnTo>
                <a:lnTo>
                  <a:pt x="626" y="578"/>
                </a:lnTo>
                <a:lnTo>
                  <a:pt x="628" y="575"/>
                </a:lnTo>
                <a:lnTo>
                  <a:pt x="629" y="572"/>
                </a:lnTo>
                <a:lnTo>
                  <a:pt x="632" y="570"/>
                </a:lnTo>
                <a:lnTo>
                  <a:pt x="632" y="566"/>
                </a:lnTo>
                <a:lnTo>
                  <a:pt x="632" y="562"/>
                </a:lnTo>
                <a:lnTo>
                  <a:pt x="626" y="569"/>
                </a:lnTo>
                <a:lnTo>
                  <a:pt x="621" y="575"/>
                </a:lnTo>
                <a:lnTo>
                  <a:pt x="619" y="580"/>
                </a:lnTo>
                <a:lnTo>
                  <a:pt x="617" y="583"/>
                </a:lnTo>
                <a:lnTo>
                  <a:pt x="613" y="586"/>
                </a:lnTo>
                <a:lnTo>
                  <a:pt x="611" y="588"/>
                </a:lnTo>
                <a:lnTo>
                  <a:pt x="611" y="589"/>
                </a:lnTo>
                <a:lnTo>
                  <a:pt x="611" y="590"/>
                </a:lnTo>
                <a:lnTo>
                  <a:pt x="612" y="590"/>
                </a:lnTo>
                <a:lnTo>
                  <a:pt x="613" y="589"/>
                </a:lnTo>
                <a:lnTo>
                  <a:pt x="617" y="588"/>
                </a:lnTo>
                <a:lnTo>
                  <a:pt x="618" y="586"/>
                </a:lnTo>
                <a:lnTo>
                  <a:pt x="621" y="586"/>
                </a:lnTo>
                <a:lnTo>
                  <a:pt x="624" y="587"/>
                </a:lnTo>
                <a:lnTo>
                  <a:pt x="624" y="589"/>
                </a:lnTo>
                <a:lnTo>
                  <a:pt x="621" y="591"/>
                </a:lnTo>
                <a:lnTo>
                  <a:pt x="609" y="607"/>
                </a:lnTo>
                <a:lnTo>
                  <a:pt x="596" y="623"/>
                </a:lnTo>
                <a:lnTo>
                  <a:pt x="591" y="629"/>
                </a:lnTo>
                <a:lnTo>
                  <a:pt x="586" y="633"/>
                </a:lnTo>
                <a:lnTo>
                  <a:pt x="586" y="636"/>
                </a:lnTo>
                <a:lnTo>
                  <a:pt x="586" y="638"/>
                </a:lnTo>
                <a:lnTo>
                  <a:pt x="588" y="640"/>
                </a:lnTo>
                <a:lnTo>
                  <a:pt x="592" y="642"/>
                </a:lnTo>
                <a:lnTo>
                  <a:pt x="593" y="639"/>
                </a:lnTo>
                <a:lnTo>
                  <a:pt x="592" y="636"/>
                </a:lnTo>
                <a:lnTo>
                  <a:pt x="593" y="633"/>
                </a:lnTo>
                <a:lnTo>
                  <a:pt x="593" y="632"/>
                </a:lnTo>
                <a:lnTo>
                  <a:pt x="595" y="632"/>
                </a:lnTo>
                <a:lnTo>
                  <a:pt x="598" y="632"/>
                </a:lnTo>
                <a:lnTo>
                  <a:pt x="598" y="630"/>
                </a:lnTo>
                <a:lnTo>
                  <a:pt x="598" y="628"/>
                </a:lnTo>
                <a:lnTo>
                  <a:pt x="599" y="627"/>
                </a:lnTo>
                <a:lnTo>
                  <a:pt x="600" y="625"/>
                </a:lnTo>
                <a:lnTo>
                  <a:pt x="601" y="627"/>
                </a:lnTo>
                <a:lnTo>
                  <a:pt x="602" y="627"/>
                </a:lnTo>
                <a:lnTo>
                  <a:pt x="602" y="628"/>
                </a:lnTo>
                <a:lnTo>
                  <a:pt x="601" y="629"/>
                </a:lnTo>
                <a:lnTo>
                  <a:pt x="600" y="630"/>
                </a:lnTo>
                <a:lnTo>
                  <a:pt x="599" y="631"/>
                </a:lnTo>
                <a:lnTo>
                  <a:pt x="598" y="634"/>
                </a:lnTo>
                <a:lnTo>
                  <a:pt x="596" y="639"/>
                </a:lnTo>
                <a:lnTo>
                  <a:pt x="595" y="640"/>
                </a:lnTo>
                <a:lnTo>
                  <a:pt x="595" y="642"/>
                </a:lnTo>
                <a:lnTo>
                  <a:pt x="593" y="642"/>
                </a:lnTo>
                <a:lnTo>
                  <a:pt x="592" y="642"/>
                </a:lnTo>
                <a:lnTo>
                  <a:pt x="593" y="644"/>
                </a:lnTo>
                <a:lnTo>
                  <a:pt x="593" y="646"/>
                </a:lnTo>
                <a:lnTo>
                  <a:pt x="595" y="646"/>
                </a:lnTo>
                <a:lnTo>
                  <a:pt x="598" y="646"/>
                </a:lnTo>
                <a:lnTo>
                  <a:pt x="599" y="644"/>
                </a:lnTo>
                <a:lnTo>
                  <a:pt x="600" y="642"/>
                </a:lnTo>
                <a:lnTo>
                  <a:pt x="601" y="640"/>
                </a:lnTo>
                <a:lnTo>
                  <a:pt x="602" y="638"/>
                </a:lnTo>
                <a:lnTo>
                  <a:pt x="603" y="638"/>
                </a:lnTo>
                <a:lnTo>
                  <a:pt x="604" y="637"/>
                </a:lnTo>
                <a:lnTo>
                  <a:pt x="606" y="638"/>
                </a:lnTo>
                <a:lnTo>
                  <a:pt x="606" y="639"/>
                </a:lnTo>
                <a:lnTo>
                  <a:pt x="606" y="642"/>
                </a:lnTo>
                <a:lnTo>
                  <a:pt x="606" y="647"/>
                </a:lnTo>
                <a:lnTo>
                  <a:pt x="615" y="638"/>
                </a:lnTo>
                <a:lnTo>
                  <a:pt x="623" y="628"/>
                </a:lnTo>
                <a:lnTo>
                  <a:pt x="625" y="629"/>
                </a:lnTo>
                <a:lnTo>
                  <a:pt x="627" y="630"/>
                </a:lnTo>
                <a:lnTo>
                  <a:pt x="629" y="631"/>
                </a:lnTo>
                <a:lnTo>
                  <a:pt x="631" y="633"/>
                </a:lnTo>
                <a:lnTo>
                  <a:pt x="634" y="631"/>
                </a:lnTo>
                <a:lnTo>
                  <a:pt x="639" y="628"/>
                </a:lnTo>
                <a:lnTo>
                  <a:pt x="640" y="627"/>
                </a:lnTo>
                <a:lnTo>
                  <a:pt x="642" y="625"/>
                </a:lnTo>
                <a:lnTo>
                  <a:pt x="641" y="623"/>
                </a:lnTo>
                <a:lnTo>
                  <a:pt x="641" y="620"/>
                </a:lnTo>
                <a:lnTo>
                  <a:pt x="643" y="620"/>
                </a:lnTo>
                <a:lnTo>
                  <a:pt x="644" y="620"/>
                </a:lnTo>
                <a:lnTo>
                  <a:pt x="649" y="617"/>
                </a:lnTo>
                <a:lnTo>
                  <a:pt x="652" y="616"/>
                </a:lnTo>
                <a:lnTo>
                  <a:pt x="649" y="625"/>
                </a:lnTo>
                <a:lnTo>
                  <a:pt x="644" y="636"/>
                </a:lnTo>
                <a:lnTo>
                  <a:pt x="650" y="631"/>
                </a:lnTo>
                <a:lnTo>
                  <a:pt x="656" y="628"/>
                </a:lnTo>
                <a:lnTo>
                  <a:pt x="660" y="628"/>
                </a:lnTo>
                <a:lnTo>
                  <a:pt x="664" y="628"/>
                </a:lnTo>
                <a:lnTo>
                  <a:pt x="664" y="625"/>
                </a:lnTo>
                <a:lnTo>
                  <a:pt x="664" y="623"/>
                </a:lnTo>
                <a:lnTo>
                  <a:pt x="661" y="622"/>
                </a:lnTo>
                <a:lnTo>
                  <a:pt x="659" y="621"/>
                </a:lnTo>
                <a:lnTo>
                  <a:pt x="658" y="621"/>
                </a:lnTo>
                <a:lnTo>
                  <a:pt x="658" y="620"/>
                </a:lnTo>
                <a:lnTo>
                  <a:pt x="658" y="619"/>
                </a:lnTo>
                <a:lnTo>
                  <a:pt x="659" y="617"/>
                </a:lnTo>
                <a:lnTo>
                  <a:pt x="661" y="615"/>
                </a:lnTo>
                <a:lnTo>
                  <a:pt x="662" y="614"/>
                </a:lnTo>
                <a:lnTo>
                  <a:pt x="662" y="612"/>
                </a:lnTo>
                <a:lnTo>
                  <a:pt x="662" y="609"/>
                </a:lnTo>
                <a:lnTo>
                  <a:pt x="662" y="609"/>
                </a:lnTo>
                <a:lnTo>
                  <a:pt x="665" y="608"/>
                </a:lnTo>
                <a:lnTo>
                  <a:pt x="665" y="614"/>
                </a:lnTo>
                <a:lnTo>
                  <a:pt x="666" y="617"/>
                </a:lnTo>
                <a:lnTo>
                  <a:pt x="670" y="617"/>
                </a:lnTo>
                <a:lnTo>
                  <a:pt x="675" y="616"/>
                </a:lnTo>
                <a:lnTo>
                  <a:pt x="675" y="617"/>
                </a:lnTo>
                <a:lnTo>
                  <a:pt x="673" y="620"/>
                </a:lnTo>
                <a:lnTo>
                  <a:pt x="673" y="621"/>
                </a:lnTo>
                <a:lnTo>
                  <a:pt x="674" y="622"/>
                </a:lnTo>
                <a:lnTo>
                  <a:pt x="675" y="622"/>
                </a:lnTo>
                <a:lnTo>
                  <a:pt x="676" y="622"/>
                </a:lnTo>
                <a:lnTo>
                  <a:pt x="678" y="622"/>
                </a:lnTo>
                <a:lnTo>
                  <a:pt x="679" y="622"/>
                </a:lnTo>
                <a:lnTo>
                  <a:pt x="681" y="623"/>
                </a:lnTo>
                <a:lnTo>
                  <a:pt x="682" y="624"/>
                </a:lnTo>
                <a:lnTo>
                  <a:pt x="681" y="625"/>
                </a:lnTo>
                <a:lnTo>
                  <a:pt x="679" y="628"/>
                </a:lnTo>
                <a:lnTo>
                  <a:pt x="677" y="628"/>
                </a:lnTo>
                <a:lnTo>
                  <a:pt x="675" y="628"/>
                </a:lnTo>
                <a:lnTo>
                  <a:pt x="673" y="630"/>
                </a:lnTo>
                <a:lnTo>
                  <a:pt x="670" y="631"/>
                </a:lnTo>
                <a:lnTo>
                  <a:pt x="665" y="637"/>
                </a:lnTo>
                <a:lnTo>
                  <a:pt x="658" y="641"/>
                </a:lnTo>
                <a:lnTo>
                  <a:pt x="651" y="645"/>
                </a:lnTo>
                <a:lnTo>
                  <a:pt x="644" y="649"/>
                </a:lnTo>
                <a:lnTo>
                  <a:pt x="631" y="663"/>
                </a:lnTo>
                <a:lnTo>
                  <a:pt x="619" y="678"/>
                </a:lnTo>
                <a:lnTo>
                  <a:pt x="609" y="692"/>
                </a:lnTo>
                <a:lnTo>
                  <a:pt x="599" y="708"/>
                </a:lnTo>
                <a:lnTo>
                  <a:pt x="595" y="714"/>
                </a:lnTo>
                <a:lnTo>
                  <a:pt x="591" y="724"/>
                </a:lnTo>
                <a:lnTo>
                  <a:pt x="590" y="729"/>
                </a:lnTo>
                <a:lnTo>
                  <a:pt x="588" y="732"/>
                </a:lnTo>
                <a:lnTo>
                  <a:pt x="588" y="735"/>
                </a:lnTo>
                <a:lnTo>
                  <a:pt x="590" y="736"/>
                </a:lnTo>
                <a:lnTo>
                  <a:pt x="591" y="737"/>
                </a:lnTo>
                <a:lnTo>
                  <a:pt x="592" y="737"/>
                </a:lnTo>
                <a:lnTo>
                  <a:pt x="594" y="737"/>
                </a:lnTo>
                <a:lnTo>
                  <a:pt x="596" y="735"/>
                </a:lnTo>
                <a:lnTo>
                  <a:pt x="599" y="731"/>
                </a:lnTo>
                <a:lnTo>
                  <a:pt x="601" y="729"/>
                </a:lnTo>
                <a:lnTo>
                  <a:pt x="602" y="723"/>
                </a:lnTo>
                <a:lnTo>
                  <a:pt x="604" y="717"/>
                </a:lnTo>
                <a:lnTo>
                  <a:pt x="607" y="721"/>
                </a:lnTo>
                <a:lnTo>
                  <a:pt x="608" y="727"/>
                </a:lnTo>
                <a:lnTo>
                  <a:pt x="609" y="729"/>
                </a:lnTo>
                <a:lnTo>
                  <a:pt x="610" y="731"/>
                </a:lnTo>
                <a:lnTo>
                  <a:pt x="611" y="732"/>
                </a:lnTo>
                <a:lnTo>
                  <a:pt x="612" y="732"/>
                </a:lnTo>
                <a:lnTo>
                  <a:pt x="615" y="729"/>
                </a:lnTo>
                <a:lnTo>
                  <a:pt x="618" y="725"/>
                </a:lnTo>
                <a:lnTo>
                  <a:pt x="623" y="725"/>
                </a:lnTo>
                <a:lnTo>
                  <a:pt x="626" y="727"/>
                </a:lnTo>
                <a:lnTo>
                  <a:pt x="626" y="722"/>
                </a:lnTo>
                <a:lnTo>
                  <a:pt x="626" y="719"/>
                </a:lnTo>
                <a:lnTo>
                  <a:pt x="627" y="716"/>
                </a:lnTo>
                <a:lnTo>
                  <a:pt x="629" y="716"/>
                </a:lnTo>
                <a:lnTo>
                  <a:pt x="631" y="717"/>
                </a:lnTo>
                <a:lnTo>
                  <a:pt x="633" y="719"/>
                </a:lnTo>
                <a:lnTo>
                  <a:pt x="636" y="721"/>
                </a:lnTo>
                <a:lnTo>
                  <a:pt x="640" y="723"/>
                </a:lnTo>
                <a:lnTo>
                  <a:pt x="642" y="725"/>
                </a:lnTo>
                <a:lnTo>
                  <a:pt x="642" y="731"/>
                </a:lnTo>
                <a:lnTo>
                  <a:pt x="645" y="725"/>
                </a:lnTo>
                <a:lnTo>
                  <a:pt x="650" y="722"/>
                </a:lnTo>
                <a:lnTo>
                  <a:pt x="651" y="720"/>
                </a:lnTo>
                <a:lnTo>
                  <a:pt x="652" y="717"/>
                </a:lnTo>
                <a:lnTo>
                  <a:pt x="653" y="714"/>
                </a:lnTo>
                <a:lnTo>
                  <a:pt x="653" y="712"/>
                </a:lnTo>
                <a:lnTo>
                  <a:pt x="661" y="710"/>
                </a:lnTo>
                <a:lnTo>
                  <a:pt x="670" y="708"/>
                </a:lnTo>
                <a:lnTo>
                  <a:pt x="673" y="705"/>
                </a:lnTo>
                <a:lnTo>
                  <a:pt x="675" y="702"/>
                </a:lnTo>
                <a:lnTo>
                  <a:pt x="676" y="699"/>
                </a:lnTo>
                <a:lnTo>
                  <a:pt x="677" y="698"/>
                </a:lnTo>
                <a:lnTo>
                  <a:pt x="679" y="695"/>
                </a:lnTo>
                <a:lnTo>
                  <a:pt x="683" y="692"/>
                </a:lnTo>
                <a:lnTo>
                  <a:pt x="693" y="681"/>
                </a:lnTo>
                <a:lnTo>
                  <a:pt x="705" y="670"/>
                </a:lnTo>
                <a:lnTo>
                  <a:pt x="715" y="662"/>
                </a:lnTo>
                <a:lnTo>
                  <a:pt x="726" y="654"/>
                </a:lnTo>
                <a:lnTo>
                  <a:pt x="738" y="646"/>
                </a:lnTo>
                <a:lnTo>
                  <a:pt x="749" y="637"/>
                </a:lnTo>
                <a:lnTo>
                  <a:pt x="761" y="628"/>
                </a:lnTo>
                <a:lnTo>
                  <a:pt x="774" y="617"/>
                </a:lnTo>
                <a:lnTo>
                  <a:pt x="780" y="613"/>
                </a:lnTo>
                <a:lnTo>
                  <a:pt x="786" y="608"/>
                </a:lnTo>
                <a:lnTo>
                  <a:pt x="791" y="606"/>
                </a:lnTo>
                <a:lnTo>
                  <a:pt x="797" y="603"/>
                </a:lnTo>
                <a:lnTo>
                  <a:pt x="800" y="598"/>
                </a:lnTo>
                <a:lnTo>
                  <a:pt x="805" y="595"/>
                </a:lnTo>
                <a:lnTo>
                  <a:pt x="808" y="592"/>
                </a:lnTo>
                <a:lnTo>
                  <a:pt x="813" y="590"/>
                </a:lnTo>
                <a:lnTo>
                  <a:pt x="822" y="583"/>
                </a:lnTo>
                <a:lnTo>
                  <a:pt x="832" y="576"/>
                </a:lnTo>
                <a:lnTo>
                  <a:pt x="837" y="575"/>
                </a:lnTo>
                <a:lnTo>
                  <a:pt x="841" y="572"/>
                </a:lnTo>
                <a:lnTo>
                  <a:pt x="845" y="567"/>
                </a:lnTo>
                <a:lnTo>
                  <a:pt x="848" y="563"/>
                </a:lnTo>
                <a:lnTo>
                  <a:pt x="862" y="556"/>
                </a:lnTo>
                <a:lnTo>
                  <a:pt x="874" y="549"/>
                </a:lnTo>
                <a:lnTo>
                  <a:pt x="885" y="540"/>
                </a:lnTo>
                <a:lnTo>
                  <a:pt x="897" y="532"/>
                </a:lnTo>
                <a:lnTo>
                  <a:pt x="911" y="525"/>
                </a:lnTo>
                <a:lnTo>
                  <a:pt x="924" y="521"/>
                </a:lnTo>
                <a:lnTo>
                  <a:pt x="937" y="512"/>
                </a:lnTo>
                <a:lnTo>
                  <a:pt x="949" y="504"/>
                </a:lnTo>
                <a:lnTo>
                  <a:pt x="964" y="496"/>
                </a:lnTo>
                <a:lnTo>
                  <a:pt x="979" y="489"/>
                </a:lnTo>
                <a:lnTo>
                  <a:pt x="996" y="482"/>
                </a:lnTo>
                <a:lnTo>
                  <a:pt x="1012" y="474"/>
                </a:lnTo>
                <a:lnTo>
                  <a:pt x="1028" y="466"/>
                </a:lnTo>
                <a:lnTo>
                  <a:pt x="1043" y="457"/>
                </a:lnTo>
                <a:lnTo>
                  <a:pt x="1060" y="451"/>
                </a:lnTo>
                <a:lnTo>
                  <a:pt x="1076" y="445"/>
                </a:lnTo>
                <a:lnTo>
                  <a:pt x="1084" y="441"/>
                </a:lnTo>
                <a:lnTo>
                  <a:pt x="1090" y="437"/>
                </a:lnTo>
                <a:lnTo>
                  <a:pt x="1098" y="433"/>
                </a:lnTo>
                <a:lnTo>
                  <a:pt x="1106" y="432"/>
                </a:lnTo>
                <a:lnTo>
                  <a:pt x="1104" y="429"/>
                </a:lnTo>
                <a:lnTo>
                  <a:pt x="1103" y="428"/>
                </a:lnTo>
                <a:lnTo>
                  <a:pt x="1103" y="425"/>
                </a:lnTo>
                <a:lnTo>
                  <a:pt x="1104" y="424"/>
                </a:lnTo>
                <a:lnTo>
                  <a:pt x="1106" y="424"/>
                </a:lnTo>
                <a:lnTo>
                  <a:pt x="1107" y="424"/>
                </a:lnTo>
                <a:lnTo>
                  <a:pt x="1111" y="428"/>
                </a:lnTo>
                <a:lnTo>
                  <a:pt x="1113" y="430"/>
                </a:lnTo>
                <a:lnTo>
                  <a:pt x="1119" y="428"/>
                </a:lnTo>
                <a:lnTo>
                  <a:pt x="1126" y="423"/>
                </a:lnTo>
                <a:lnTo>
                  <a:pt x="1137" y="418"/>
                </a:lnTo>
                <a:lnTo>
                  <a:pt x="1150" y="414"/>
                </a:lnTo>
                <a:lnTo>
                  <a:pt x="1154" y="413"/>
                </a:lnTo>
                <a:lnTo>
                  <a:pt x="1159" y="411"/>
                </a:lnTo>
                <a:lnTo>
                  <a:pt x="1159" y="408"/>
                </a:lnTo>
                <a:lnTo>
                  <a:pt x="1159" y="407"/>
                </a:lnTo>
                <a:lnTo>
                  <a:pt x="1156" y="407"/>
                </a:lnTo>
                <a:lnTo>
                  <a:pt x="1155" y="409"/>
                </a:lnTo>
                <a:lnTo>
                  <a:pt x="1154" y="406"/>
                </a:lnTo>
                <a:lnTo>
                  <a:pt x="1152" y="404"/>
                </a:lnTo>
                <a:lnTo>
                  <a:pt x="1157" y="401"/>
                </a:lnTo>
                <a:lnTo>
                  <a:pt x="1162" y="400"/>
                </a:lnTo>
                <a:lnTo>
                  <a:pt x="1168" y="399"/>
                </a:lnTo>
                <a:lnTo>
                  <a:pt x="1173" y="398"/>
                </a:lnTo>
                <a:lnTo>
                  <a:pt x="1178" y="397"/>
                </a:lnTo>
                <a:lnTo>
                  <a:pt x="1183" y="395"/>
                </a:lnTo>
                <a:lnTo>
                  <a:pt x="1187" y="391"/>
                </a:lnTo>
                <a:lnTo>
                  <a:pt x="1190" y="387"/>
                </a:lnTo>
                <a:lnTo>
                  <a:pt x="1193" y="389"/>
                </a:lnTo>
                <a:lnTo>
                  <a:pt x="1196" y="389"/>
                </a:lnTo>
                <a:lnTo>
                  <a:pt x="1200" y="388"/>
                </a:lnTo>
                <a:lnTo>
                  <a:pt x="1203" y="384"/>
                </a:lnTo>
                <a:lnTo>
                  <a:pt x="1208" y="382"/>
                </a:lnTo>
                <a:lnTo>
                  <a:pt x="1212" y="380"/>
                </a:lnTo>
                <a:lnTo>
                  <a:pt x="1218" y="378"/>
                </a:lnTo>
                <a:lnTo>
                  <a:pt x="1224" y="376"/>
                </a:lnTo>
                <a:lnTo>
                  <a:pt x="1227" y="376"/>
                </a:lnTo>
                <a:lnTo>
                  <a:pt x="1230" y="376"/>
                </a:lnTo>
                <a:lnTo>
                  <a:pt x="1233" y="376"/>
                </a:lnTo>
                <a:lnTo>
                  <a:pt x="1237" y="374"/>
                </a:lnTo>
                <a:lnTo>
                  <a:pt x="1237" y="373"/>
                </a:lnTo>
                <a:lnTo>
                  <a:pt x="1237" y="373"/>
                </a:lnTo>
                <a:lnTo>
                  <a:pt x="1238" y="373"/>
                </a:lnTo>
                <a:lnTo>
                  <a:pt x="1239" y="373"/>
                </a:lnTo>
                <a:lnTo>
                  <a:pt x="1239" y="372"/>
                </a:lnTo>
                <a:lnTo>
                  <a:pt x="1241" y="371"/>
                </a:lnTo>
                <a:lnTo>
                  <a:pt x="1243" y="368"/>
                </a:lnTo>
                <a:lnTo>
                  <a:pt x="1244" y="366"/>
                </a:lnTo>
                <a:lnTo>
                  <a:pt x="1246" y="371"/>
                </a:lnTo>
                <a:lnTo>
                  <a:pt x="1249" y="372"/>
                </a:lnTo>
                <a:lnTo>
                  <a:pt x="1250" y="371"/>
                </a:lnTo>
                <a:lnTo>
                  <a:pt x="1252" y="370"/>
                </a:lnTo>
                <a:lnTo>
                  <a:pt x="1257" y="364"/>
                </a:lnTo>
                <a:lnTo>
                  <a:pt x="1262" y="360"/>
                </a:lnTo>
                <a:lnTo>
                  <a:pt x="1259" y="357"/>
                </a:lnTo>
                <a:lnTo>
                  <a:pt x="1254" y="356"/>
                </a:lnTo>
                <a:lnTo>
                  <a:pt x="1252" y="358"/>
                </a:lnTo>
                <a:lnTo>
                  <a:pt x="1249" y="359"/>
                </a:lnTo>
                <a:lnTo>
                  <a:pt x="1245" y="357"/>
                </a:lnTo>
                <a:lnTo>
                  <a:pt x="1243" y="355"/>
                </a:lnTo>
                <a:lnTo>
                  <a:pt x="1234" y="355"/>
                </a:lnTo>
                <a:lnTo>
                  <a:pt x="1225" y="357"/>
                </a:lnTo>
                <a:lnTo>
                  <a:pt x="1216" y="358"/>
                </a:lnTo>
                <a:lnTo>
                  <a:pt x="1208" y="360"/>
                </a:lnTo>
                <a:lnTo>
                  <a:pt x="1200" y="364"/>
                </a:lnTo>
                <a:lnTo>
                  <a:pt x="1192" y="366"/>
                </a:lnTo>
                <a:lnTo>
                  <a:pt x="1183" y="367"/>
                </a:lnTo>
                <a:lnTo>
                  <a:pt x="1173" y="370"/>
                </a:lnTo>
                <a:lnTo>
                  <a:pt x="1167" y="372"/>
                </a:lnTo>
                <a:lnTo>
                  <a:pt x="1160" y="373"/>
                </a:lnTo>
                <a:lnTo>
                  <a:pt x="1157" y="373"/>
                </a:lnTo>
                <a:lnTo>
                  <a:pt x="1156" y="371"/>
                </a:lnTo>
                <a:lnTo>
                  <a:pt x="1156" y="370"/>
                </a:lnTo>
                <a:lnTo>
                  <a:pt x="1156" y="368"/>
                </a:lnTo>
                <a:lnTo>
                  <a:pt x="1159" y="365"/>
                </a:lnTo>
                <a:lnTo>
                  <a:pt x="1162" y="363"/>
                </a:lnTo>
                <a:lnTo>
                  <a:pt x="1180" y="358"/>
                </a:lnTo>
                <a:lnTo>
                  <a:pt x="1197" y="351"/>
                </a:lnTo>
                <a:lnTo>
                  <a:pt x="1216" y="347"/>
                </a:lnTo>
                <a:lnTo>
                  <a:pt x="1234" y="342"/>
                </a:lnTo>
                <a:lnTo>
                  <a:pt x="1244" y="340"/>
                </a:lnTo>
                <a:lnTo>
                  <a:pt x="1254" y="337"/>
                </a:lnTo>
                <a:lnTo>
                  <a:pt x="1263" y="334"/>
                </a:lnTo>
                <a:lnTo>
                  <a:pt x="1274" y="331"/>
                </a:lnTo>
                <a:lnTo>
                  <a:pt x="1283" y="328"/>
                </a:lnTo>
                <a:lnTo>
                  <a:pt x="1292" y="324"/>
                </a:lnTo>
                <a:lnTo>
                  <a:pt x="1302" y="323"/>
                </a:lnTo>
                <a:lnTo>
                  <a:pt x="1313" y="321"/>
                </a:lnTo>
                <a:lnTo>
                  <a:pt x="1324" y="317"/>
                </a:lnTo>
                <a:lnTo>
                  <a:pt x="1334" y="313"/>
                </a:lnTo>
                <a:lnTo>
                  <a:pt x="1344" y="308"/>
                </a:lnTo>
                <a:lnTo>
                  <a:pt x="1354" y="305"/>
                </a:lnTo>
                <a:lnTo>
                  <a:pt x="1365" y="301"/>
                </a:lnTo>
                <a:lnTo>
                  <a:pt x="1376" y="299"/>
                </a:lnTo>
                <a:lnTo>
                  <a:pt x="1386" y="297"/>
                </a:lnTo>
                <a:lnTo>
                  <a:pt x="1396" y="291"/>
                </a:lnTo>
                <a:lnTo>
                  <a:pt x="1376" y="293"/>
                </a:lnTo>
                <a:lnTo>
                  <a:pt x="1356" y="297"/>
                </a:lnTo>
                <a:lnTo>
                  <a:pt x="1336" y="300"/>
                </a:lnTo>
                <a:lnTo>
                  <a:pt x="1316" y="302"/>
                </a:lnTo>
                <a:lnTo>
                  <a:pt x="1305" y="302"/>
                </a:lnTo>
                <a:lnTo>
                  <a:pt x="1311" y="302"/>
                </a:lnTo>
                <a:lnTo>
                  <a:pt x="1319" y="302"/>
                </a:lnTo>
                <a:lnTo>
                  <a:pt x="1316" y="302"/>
                </a:lnTo>
                <a:close/>
                <a:moveTo>
                  <a:pt x="139" y="314"/>
                </a:moveTo>
                <a:lnTo>
                  <a:pt x="138" y="313"/>
                </a:lnTo>
                <a:lnTo>
                  <a:pt x="137" y="314"/>
                </a:lnTo>
                <a:lnTo>
                  <a:pt x="138" y="314"/>
                </a:lnTo>
                <a:lnTo>
                  <a:pt x="139" y="314"/>
                </a:lnTo>
                <a:lnTo>
                  <a:pt x="138" y="313"/>
                </a:lnTo>
                <a:lnTo>
                  <a:pt x="139" y="314"/>
                </a:lnTo>
                <a:close/>
                <a:moveTo>
                  <a:pt x="80" y="270"/>
                </a:moveTo>
                <a:lnTo>
                  <a:pt x="80" y="270"/>
                </a:lnTo>
                <a:lnTo>
                  <a:pt x="80" y="270"/>
                </a:lnTo>
                <a:lnTo>
                  <a:pt x="81" y="270"/>
                </a:lnTo>
                <a:lnTo>
                  <a:pt x="80" y="270"/>
                </a:lnTo>
                <a:lnTo>
                  <a:pt x="80" y="268"/>
                </a:lnTo>
                <a:lnTo>
                  <a:pt x="80" y="270"/>
                </a:lnTo>
                <a:lnTo>
                  <a:pt x="80" y="270"/>
                </a:lnTo>
                <a:lnTo>
                  <a:pt x="80" y="270"/>
                </a:lnTo>
                <a:close/>
                <a:moveTo>
                  <a:pt x="80" y="270"/>
                </a:moveTo>
                <a:lnTo>
                  <a:pt x="81" y="270"/>
                </a:lnTo>
                <a:lnTo>
                  <a:pt x="80" y="270"/>
                </a:lnTo>
                <a:close/>
                <a:moveTo>
                  <a:pt x="123" y="231"/>
                </a:moveTo>
                <a:lnTo>
                  <a:pt x="122" y="229"/>
                </a:lnTo>
                <a:lnTo>
                  <a:pt x="120" y="227"/>
                </a:lnTo>
                <a:lnTo>
                  <a:pt x="117" y="229"/>
                </a:lnTo>
                <a:lnTo>
                  <a:pt x="115" y="231"/>
                </a:lnTo>
                <a:lnTo>
                  <a:pt x="112" y="239"/>
                </a:lnTo>
                <a:lnTo>
                  <a:pt x="110" y="247"/>
                </a:lnTo>
                <a:lnTo>
                  <a:pt x="116" y="238"/>
                </a:lnTo>
                <a:lnTo>
                  <a:pt x="123" y="231"/>
                </a:lnTo>
                <a:lnTo>
                  <a:pt x="120" y="232"/>
                </a:lnTo>
                <a:lnTo>
                  <a:pt x="123" y="23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711" y="105"/>
                </a:moveTo>
                <a:lnTo>
                  <a:pt x="710" y="106"/>
                </a:lnTo>
                <a:lnTo>
                  <a:pt x="709" y="106"/>
                </a:lnTo>
                <a:lnTo>
                  <a:pt x="710" y="108"/>
                </a:lnTo>
                <a:lnTo>
                  <a:pt x="711" y="108"/>
                </a:lnTo>
                <a:lnTo>
                  <a:pt x="714" y="109"/>
                </a:lnTo>
                <a:lnTo>
                  <a:pt x="714" y="107"/>
                </a:lnTo>
                <a:lnTo>
                  <a:pt x="714" y="106"/>
                </a:lnTo>
                <a:lnTo>
                  <a:pt x="711" y="105"/>
                </a:lnTo>
                <a:lnTo>
                  <a:pt x="711" y="105"/>
                </a:lnTo>
                <a:lnTo>
                  <a:pt x="711" y="105"/>
                </a:lnTo>
                <a:close/>
                <a:moveTo>
                  <a:pt x="121" y="732"/>
                </a:moveTo>
                <a:lnTo>
                  <a:pt x="121" y="732"/>
                </a:lnTo>
                <a:lnTo>
                  <a:pt x="121" y="732"/>
                </a:lnTo>
                <a:lnTo>
                  <a:pt x="121" y="732"/>
                </a:lnTo>
                <a:lnTo>
                  <a:pt x="121" y="732"/>
                </a:lnTo>
                <a:close/>
                <a:moveTo>
                  <a:pt x="491" y="150"/>
                </a:moveTo>
                <a:lnTo>
                  <a:pt x="489" y="150"/>
                </a:lnTo>
                <a:lnTo>
                  <a:pt x="489" y="151"/>
                </a:lnTo>
                <a:lnTo>
                  <a:pt x="491" y="151"/>
                </a:lnTo>
                <a:lnTo>
                  <a:pt x="491" y="150"/>
                </a:lnTo>
                <a:lnTo>
                  <a:pt x="491" y="150"/>
                </a:lnTo>
                <a:lnTo>
                  <a:pt x="491" y="150"/>
                </a:lnTo>
                <a:close/>
                <a:moveTo>
                  <a:pt x="703" y="108"/>
                </a:moveTo>
                <a:lnTo>
                  <a:pt x="705" y="110"/>
                </a:lnTo>
                <a:lnTo>
                  <a:pt x="707" y="110"/>
                </a:lnTo>
                <a:lnTo>
                  <a:pt x="709" y="109"/>
                </a:lnTo>
                <a:lnTo>
                  <a:pt x="709" y="108"/>
                </a:lnTo>
                <a:lnTo>
                  <a:pt x="708" y="106"/>
                </a:lnTo>
                <a:lnTo>
                  <a:pt x="706" y="106"/>
                </a:lnTo>
                <a:lnTo>
                  <a:pt x="703" y="106"/>
                </a:lnTo>
                <a:lnTo>
                  <a:pt x="703" y="108"/>
                </a:lnTo>
                <a:lnTo>
                  <a:pt x="703" y="108"/>
                </a:lnTo>
                <a:lnTo>
                  <a:pt x="703" y="108"/>
                </a:lnTo>
                <a:close/>
                <a:moveTo>
                  <a:pt x="247" y="235"/>
                </a:moveTo>
                <a:lnTo>
                  <a:pt x="245" y="243"/>
                </a:lnTo>
                <a:lnTo>
                  <a:pt x="244" y="250"/>
                </a:lnTo>
                <a:lnTo>
                  <a:pt x="242" y="250"/>
                </a:lnTo>
                <a:lnTo>
                  <a:pt x="244" y="250"/>
                </a:lnTo>
                <a:lnTo>
                  <a:pt x="246" y="249"/>
                </a:lnTo>
                <a:lnTo>
                  <a:pt x="247" y="248"/>
                </a:lnTo>
                <a:lnTo>
                  <a:pt x="248" y="247"/>
                </a:lnTo>
                <a:lnTo>
                  <a:pt x="248" y="245"/>
                </a:lnTo>
                <a:lnTo>
                  <a:pt x="248" y="240"/>
                </a:lnTo>
                <a:lnTo>
                  <a:pt x="247" y="235"/>
                </a:lnTo>
                <a:close/>
                <a:moveTo>
                  <a:pt x="244" y="250"/>
                </a:moveTo>
                <a:lnTo>
                  <a:pt x="244" y="250"/>
                </a:lnTo>
                <a:lnTo>
                  <a:pt x="244" y="250"/>
                </a:lnTo>
                <a:close/>
                <a:moveTo>
                  <a:pt x="227" y="31"/>
                </a:moveTo>
                <a:lnTo>
                  <a:pt x="224" y="33"/>
                </a:lnTo>
                <a:lnTo>
                  <a:pt x="223" y="35"/>
                </a:lnTo>
                <a:lnTo>
                  <a:pt x="223" y="38"/>
                </a:lnTo>
                <a:lnTo>
                  <a:pt x="223" y="40"/>
                </a:lnTo>
                <a:lnTo>
                  <a:pt x="222" y="42"/>
                </a:lnTo>
                <a:lnTo>
                  <a:pt x="221" y="43"/>
                </a:lnTo>
                <a:lnTo>
                  <a:pt x="222" y="42"/>
                </a:lnTo>
                <a:lnTo>
                  <a:pt x="223" y="40"/>
                </a:lnTo>
                <a:lnTo>
                  <a:pt x="224" y="36"/>
                </a:lnTo>
                <a:lnTo>
                  <a:pt x="227" y="31"/>
                </a:lnTo>
                <a:close/>
                <a:moveTo>
                  <a:pt x="921" y="565"/>
                </a:moveTo>
                <a:lnTo>
                  <a:pt x="918" y="565"/>
                </a:lnTo>
                <a:lnTo>
                  <a:pt x="916" y="567"/>
                </a:lnTo>
                <a:lnTo>
                  <a:pt x="915" y="570"/>
                </a:lnTo>
                <a:lnTo>
                  <a:pt x="915" y="572"/>
                </a:lnTo>
                <a:lnTo>
                  <a:pt x="917" y="571"/>
                </a:lnTo>
                <a:lnTo>
                  <a:pt x="921" y="569"/>
                </a:lnTo>
                <a:lnTo>
                  <a:pt x="921" y="567"/>
                </a:lnTo>
                <a:lnTo>
                  <a:pt x="922" y="566"/>
                </a:lnTo>
                <a:lnTo>
                  <a:pt x="922" y="565"/>
                </a:lnTo>
                <a:lnTo>
                  <a:pt x="921" y="565"/>
                </a:lnTo>
                <a:lnTo>
                  <a:pt x="920" y="565"/>
                </a:lnTo>
                <a:lnTo>
                  <a:pt x="921" y="565"/>
                </a:lnTo>
                <a:close/>
                <a:moveTo>
                  <a:pt x="892" y="555"/>
                </a:moveTo>
                <a:lnTo>
                  <a:pt x="889" y="556"/>
                </a:lnTo>
                <a:lnTo>
                  <a:pt x="887" y="558"/>
                </a:lnTo>
                <a:lnTo>
                  <a:pt x="887" y="561"/>
                </a:lnTo>
                <a:lnTo>
                  <a:pt x="887" y="562"/>
                </a:lnTo>
                <a:lnTo>
                  <a:pt x="888" y="563"/>
                </a:lnTo>
                <a:lnTo>
                  <a:pt x="890" y="563"/>
                </a:lnTo>
                <a:lnTo>
                  <a:pt x="891" y="563"/>
                </a:lnTo>
                <a:lnTo>
                  <a:pt x="892" y="563"/>
                </a:lnTo>
                <a:lnTo>
                  <a:pt x="893" y="561"/>
                </a:lnTo>
                <a:lnTo>
                  <a:pt x="895" y="559"/>
                </a:lnTo>
                <a:lnTo>
                  <a:pt x="895" y="557"/>
                </a:lnTo>
                <a:lnTo>
                  <a:pt x="895" y="556"/>
                </a:lnTo>
                <a:lnTo>
                  <a:pt x="893" y="555"/>
                </a:lnTo>
                <a:lnTo>
                  <a:pt x="892" y="555"/>
                </a:lnTo>
                <a:lnTo>
                  <a:pt x="892" y="555"/>
                </a:lnTo>
                <a:lnTo>
                  <a:pt x="892" y="555"/>
                </a:lnTo>
                <a:close/>
                <a:moveTo>
                  <a:pt x="846" y="584"/>
                </a:moveTo>
                <a:lnTo>
                  <a:pt x="843" y="586"/>
                </a:lnTo>
                <a:lnTo>
                  <a:pt x="839" y="588"/>
                </a:lnTo>
                <a:lnTo>
                  <a:pt x="837" y="588"/>
                </a:lnTo>
                <a:lnTo>
                  <a:pt x="835" y="589"/>
                </a:lnTo>
                <a:lnTo>
                  <a:pt x="837" y="590"/>
                </a:lnTo>
                <a:lnTo>
                  <a:pt x="838" y="592"/>
                </a:lnTo>
                <a:lnTo>
                  <a:pt x="841" y="592"/>
                </a:lnTo>
                <a:lnTo>
                  <a:pt x="845" y="591"/>
                </a:lnTo>
                <a:lnTo>
                  <a:pt x="847" y="589"/>
                </a:lnTo>
                <a:lnTo>
                  <a:pt x="848" y="587"/>
                </a:lnTo>
                <a:lnTo>
                  <a:pt x="848" y="586"/>
                </a:lnTo>
                <a:lnTo>
                  <a:pt x="848" y="584"/>
                </a:lnTo>
                <a:lnTo>
                  <a:pt x="847" y="584"/>
                </a:lnTo>
                <a:lnTo>
                  <a:pt x="846" y="584"/>
                </a:lnTo>
                <a:lnTo>
                  <a:pt x="846" y="586"/>
                </a:lnTo>
                <a:lnTo>
                  <a:pt x="846" y="584"/>
                </a:lnTo>
                <a:close/>
                <a:moveTo>
                  <a:pt x="328" y="210"/>
                </a:moveTo>
                <a:lnTo>
                  <a:pt x="324" y="212"/>
                </a:lnTo>
                <a:lnTo>
                  <a:pt x="322" y="214"/>
                </a:lnTo>
                <a:lnTo>
                  <a:pt x="321" y="217"/>
                </a:lnTo>
                <a:lnTo>
                  <a:pt x="319" y="221"/>
                </a:lnTo>
                <a:lnTo>
                  <a:pt x="322" y="218"/>
                </a:lnTo>
                <a:lnTo>
                  <a:pt x="324" y="217"/>
                </a:lnTo>
                <a:lnTo>
                  <a:pt x="327" y="214"/>
                </a:lnTo>
                <a:lnTo>
                  <a:pt x="328" y="210"/>
                </a:lnTo>
                <a:close/>
                <a:moveTo>
                  <a:pt x="957" y="99"/>
                </a:moveTo>
                <a:lnTo>
                  <a:pt x="958" y="98"/>
                </a:lnTo>
                <a:lnTo>
                  <a:pt x="958" y="94"/>
                </a:lnTo>
                <a:lnTo>
                  <a:pt x="957" y="93"/>
                </a:lnTo>
                <a:lnTo>
                  <a:pt x="956" y="92"/>
                </a:lnTo>
                <a:lnTo>
                  <a:pt x="951" y="92"/>
                </a:lnTo>
                <a:lnTo>
                  <a:pt x="947" y="92"/>
                </a:lnTo>
                <a:lnTo>
                  <a:pt x="948" y="96"/>
                </a:lnTo>
                <a:lnTo>
                  <a:pt x="950" y="98"/>
                </a:lnTo>
                <a:lnTo>
                  <a:pt x="954" y="99"/>
                </a:lnTo>
                <a:lnTo>
                  <a:pt x="957" y="99"/>
                </a:lnTo>
                <a:lnTo>
                  <a:pt x="956" y="99"/>
                </a:lnTo>
                <a:lnTo>
                  <a:pt x="957" y="99"/>
                </a:lnTo>
                <a:close/>
                <a:moveTo>
                  <a:pt x="1101" y="174"/>
                </a:moveTo>
                <a:lnTo>
                  <a:pt x="1103" y="174"/>
                </a:lnTo>
                <a:lnTo>
                  <a:pt x="1104" y="172"/>
                </a:lnTo>
                <a:lnTo>
                  <a:pt x="1103" y="169"/>
                </a:lnTo>
                <a:lnTo>
                  <a:pt x="1099" y="169"/>
                </a:lnTo>
                <a:lnTo>
                  <a:pt x="1097" y="171"/>
                </a:lnTo>
                <a:lnTo>
                  <a:pt x="1095" y="171"/>
                </a:lnTo>
                <a:lnTo>
                  <a:pt x="1090" y="173"/>
                </a:lnTo>
                <a:lnTo>
                  <a:pt x="1086" y="174"/>
                </a:lnTo>
                <a:lnTo>
                  <a:pt x="1093" y="175"/>
                </a:lnTo>
                <a:lnTo>
                  <a:pt x="1101" y="174"/>
                </a:lnTo>
                <a:lnTo>
                  <a:pt x="1099" y="175"/>
                </a:lnTo>
                <a:lnTo>
                  <a:pt x="1101" y="174"/>
                </a:lnTo>
                <a:close/>
                <a:moveTo>
                  <a:pt x="296" y="611"/>
                </a:moveTo>
                <a:lnTo>
                  <a:pt x="297" y="612"/>
                </a:lnTo>
                <a:lnTo>
                  <a:pt x="298" y="612"/>
                </a:lnTo>
                <a:lnTo>
                  <a:pt x="299" y="611"/>
                </a:lnTo>
                <a:lnTo>
                  <a:pt x="300" y="609"/>
                </a:lnTo>
                <a:lnTo>
                  <a:pt x="302" y="606"/>
                </a:lnTo>
                <a:lnTo>
                  <a:pt x="302" y="602"/>
                </a:lnTo>
                <a:lnTo>
                  <a:pt x="299" y="603"/>
                </a:lnTo>
                <a:lnTo>
                  <a:pt x="297" y="605"/>
                </a:lnTo>
                <a:lnTo>
                  <a:pt x="296" y="608"/>
                </a:lnTo>
                <a:lnTo>
                  <a:pt x="296" y="611"/>
                </a:lnTo>
                <a:close/>
                <a:moveTo>
                  <a:pt x="237" y="24"/>
                </a:moveTo>
                <a:lnTo>
                  <a:pt x="237" y="24"/>
                </a:lnTo>
                <a:lnTo>
                  <a:pt x="237" y="24"/>
                </a:lnTo>
                <a:lnTo>
                  <a:pt x="236" y="22"/>
                </a:lnTo>
                <a:lnTo>
                  <a:pt x="236" y="19"/>
                </a:lnTo>
                <a:lnTo>
                  <a:pt x="236" y="18"/>
                </a:lnTo>
                <a:lnTo>
                  <a:pt x="236" y="18"/>
                </a:lnTo>
                <a:lnTo>
                  <a:pt x="234" y="18"/>
                </a:lnTo>
                <a:lnTo>
                  <a:pt x="232" y="18"/>
                </a:lnTo>
                <a:lnTo>
                  <a:pt x="229" y="21"/>
                </a:lnTo>
                <a:lnTo>
                  <a:pt x="228" y="23"/>
                </a:lnTo>
                <a:lnTo>
                  <a:pt x="227" y="26"/>
                </a:lnTo>
                <a:lnTo>
                  <a:pt x="225" y="30"/>
                </a:lnTo>
                <a:lnTo>
                  <a:pt x="231" y="25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close/>
                <a:moveTo>
                  <a:pt x="237" y="24"/>
                </a:moveTo>
                <a:lnTo>
                  <a:pt x="233" y="22"/>
                </a:lnTo>
                <a:lnTo>
                  <a:pt x="237" y="24"/>
                </a:lnTo>
                <a:close/>
                <a:moveTo>
                  <a:pt x="236" y="36"/>
                </a:moveTo>
                <a:lnTo>
                  <a:pt x="238" y="34"/>
                </a:lnTo>
                <a:lnTo>
                  <a:pt x="241" y="30"/>
                </a:lnTo>
                <a:lnTo>
                  <a:pt x="241" y="27"/>
                </a:lnTo>
                <a:lnTo>
                  <a:pt x="242" y="26"/>
                </a:lnTo>
                <a:lnTo>
                  <a:pt x="241" y="24"/>
                </a:lnTo>
                <a:lnTo>
                  <a:pt x="239" y="24"/>
                </a:lnTo>
                <a:lnTo>
                  <a:pt x="238" y="25"/>
                </a:lnTo>
                <a:lnTo>
                  <a:pt x="236" y="28"/>
                </a:lnTo>
                <a:lnTo>
                  <a:pt x="234" y="33"/>
                </a:lnTo>
                <a:lnTo>
                  <a:pt x="236" y="36"/>
                </a:lnTo>
                <a:lnTo>
                  <a:pt x="236" y="34"/>
                </a:lnTo>
                <a:lnTo>
                  <a:pt x="236" y="36"/>
                </a:lnTo>
                <a:close/>
                <a:moveTo>
                  <a:pt x="237" y="24"/>
                </a:move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close/>
                <a:moveTo>
                  <a:pt x="252" y="17"/>
                </a:moveTo>
                <a:lnTo>
                  <a:pt x="254" y="15"/>
                </a:lnTo>
                <a:lnTo>
                  <a:pt x="257" y="11"/>
                </a:lnTo>
                <a:lnTo>
                  <a:pt x="258" y="9"/>
                </a:lnTo>
                <a:lnTo>
                  <a:pt x="258" y="8"/>
                </a:lnTo>
                <a:lnTo>
                  <a:pt x="258" y="8"/>
                </a:lnTo>
                <a:lnTo>
                  <a:pt x="255" y="8"/>
                </a:lnTo>
                <a:lnTo>
                  <a:pt x="253" y="9"/>
                </a:lnTo>
                <a:lnTo>
                  <a:pt x="250" y="13"/>
                </a:lnTo>
                <a:lnTo>
                  <a:pt x="249" y="15"/>
                </a:lnTo>
                <a:lnTo>
                  <a:pt x="249" y="16"/>
                </a:lnTo>
                <a:lnTo>
                  <a:pt x="249" y="17"/>
                </a:lnTo>
                <a:lnTo>
                  <a:pt x="252" y="17"/>
                </a:lnTo>
                <a:lnTo>
                  <a:pt x="252" y="17"/>
                </a:lnTo>
                <a:lnTo>
                  <a:pt x="252" y="17"/>
                </a:lnTo>
                <a:close/>
                <a:moveTo>
                  <a:pt x="609" y="594"/>
                </a:moveTo>
                <a:lnTo>
                  <a:pt x="608" y="592"/>
                </a:lnTo>
                <a:lnTo>
                  <a:pt x="606" y="594"/>
                </a:lnTo>
                <a:lnTo>
                  <a:pt x="603" y="595"/>
                </a:lnTo>
                <a:lnTo>
                  <a:pt x="601" y="597"/>
                </a:lnTo>
                <a:lnTo>
                  <a:pt x="598" y="603"/>
                </a:lnTo>
                <a:lnTo>
                  <a:pt x="596" y="607"/>
                </a:lnTo>
                <a:lnTo>
                  <a:pt x="599" y="605"/>
                </a:lnTo>
                <a:lnTo>
                  <a:pt x="604" y="600"/>
                </a:lnTo>
                <a:lnTo>
                  <a:pt x="608" y="597"/>
                </a:lnTo>
                <a:lnTo>
                  <a:pt x="609" y="594"/>
                </a:lnTo>
                <a:lnTo>
                  <a:pt x="609" y="594"/>
                </a:lnTo>
                <a:lnTo>
                  <a:pt x="609" y="594"/>
                </a:lnTo>
                <a:close/>
                <a:moveTo>
                  <a:pt x="208" y="69"/>
                </a:moveTo>
                <a:lnTo>
                  <a:pt x="211" y="71"/>
                </a:lnTo>
                <a:lnTo>
                  <a:pt x="214" y="71"/>
                </a:lnTo>
                <a:lnTo>
                  <a:pt x="216" y="71"/>
                </a:lnTo>
                <a:lnTo>
                  <a:pt x="220" y="69"/>
                </a:lnTo>
                <a:lnTo>
                  <a:pt x="215" y="65"/>
                </a:lnTo>
                <a:lnTo>
                  <a:pt x="212" y="65"/>
                </a:lnTo>
                <a:lnTo>
                  <a:pt x="209" y="66"/>
                </a:lnTo>
                <a:lnTo>
                  <a:pt x="208" y="69"/>
                </a:lnTo>
                <a:close/>
                <a:moveTo>
                  <a:pt x="463" y="99"/>
                </a:moveTo>
                <a:lnTo>
                  <a:pt x="464" y="97"/>
                </a:lnTo>
                <a:lnTo>
                  <a:pt x="467" y="96"/>
                </a:lnTo>
                <a:lnTo>
                  <a:pt x="467" y="94"/>
                </a:lnTo>
                <a:lnTo>
                  <a:pt x="466" y="93"/>
                </a:lnTo>
                <a:lnTo>
                  <a:pt x="466" y="93"/>
                </a:lnTo>
                <a:lnTo>
                  <a:pt x="463" y="93"/>
                </a:lnTo>
                <a:lnTo>
                  <a:pt x="460" y="97"/>
                </a:lnTo>
                <a:lnTo>
                  <a:pt x="456" y="101"/>
                </a:lnTo>
                <a:lnTo>
                  <a:pt x="456" y="102"/>
                </a:lnTo>
                <a:lnTo>
                  <a:pt x="456" y="105"/>
                </a:lnTo>
                <a:lnTo>
                  <a:pt x="458" y="106"/>
                </a:lnTo>
                <a:lnTo>
                  <a:pt x="460" y="106"/>
                </a:lnTo>
                <a:lnTo>
                  <a:pt x="461" y="102"/>
                </a:lnTo>
                <a:lnTo>
                  <a:pt x="463" y="99"/>
                </a:lnTo>
                <a:lnTo>
                  <a:pt x="463" y="99"/>
                </a:lnTo>
                <a:lnTo>
                  <a:pt x="463" y="99"/>
                </a:lnTo>
                <a:close/>
                <a:moveTo>
                  <a:pt x="256" y="209"/>
                </a:moveTo>
                <a:lnTo>
                  <a:pt x="257" y="205"/>
                </a:lnTo>
                <a:lnTo>
                  <a:pt x="260" y="201"/>
                </a:lnTo>
                <a:lnTo>
                  <a:pt x="260" y="197"/>
                </a:lnTo>
                <a:lnTo>
                  <a:pt x="260" y="191"/>
                </a:lnTo>
                <a:lnTo>
                  <a:pt x="257" y="196"/>
                </a:lnTo>
                <a:lnTo>
                  <a:pt x="255" y="200"/>
                </a:lnTo>
                <a:lnTo>
                  <a:pt x="254" y="201"/>
                </a:lnTo>
                <a:lnTo>
                  <a:pt x="254" y="204"/>
                </a:lnTo>
                <a:lnTo>
                  <a:pt x="254" y="206"/>
                </a:lnTo>
                <a:lnTo>
                  <a:pt x="256" y="209"/>
                </a:lnTo>
                <a:close/>
                <a:moveTo>
                  <a:pt x="871" y="51"/>
                </a:moveTo>
                <a:lnTo>
                  <a:pt x="867" y="50"/>
                </a:lnTo>
                <a:lnTo>
                  <a:pt x="863" y="52"/>
                </a:lnTo>
                <a:lnTo>
                  <a:pt x="857" y="56"/>
                </a:lnTo>
                <a:lnTo>
                  <a:pt x="854" y="58"/>
                </a:lnTo>
                <a:lnTo>
                  <a:pt x="858" y="58"/>
                </a:lnTo>
                <a:lnTo>
                  <a:pt x="864" y="56"/>
                </a:lnTo>
                <a:lnTo>
                  <a:pt x="867" y="56"/>
                </a:lnTo>
                <a:lnTo>
                  <a:pt x="870" y="55"/>
                </a:lnTo>
                <a:lnTo>
                  <a:pt x="871" y="52"/>
                </a:lnTo>
                <a:lnTo>
                  <a:pt x="871" y="51"/>
                </a:lnTo>
                <a:lnTo>
                  <a:pt x="871" y="51"/>
                </a:lnTo>
                <a:lnTo>
                  <a:pt x="871" y="51"/>
                </a:lnTo>
                <a:close/>
                <a:moveTo>
                  <a:pt x="267" y="168"/>
                </a:moveTo>
                <a:lnTo>
                  <a:pt x="265" y="173"/>
                </a:lnTo>
                <a:lnTo>
                  <a:pt x="262" y="177"/>
                </a:lnTo>
                <a:lnTo>
                  <a:pt x="261" y="183"/>
                </a:lnTo>
                <a:lnTo>
                  <a:pt x="261" y="189"/>
                </a:lnTo>
                <a:lnTo>
                  <a:pt x="263" y="187"/>
                </a:lnTo>
                <a:lnTo>
                  <a:pt x="264" y="184"/>
                </a:lnTo>
                <a:lnTo>
                  <a:pt x="265" y="182"/>
                </a:lnTo>
                <a:lnTo>
                  <a:pt x="265" y="179"/>
                </a:lnTo>
                <a:lnTo>
                  <a:pt x="266" y="174"/>
                </a:lnTo>
                <a:lnTo>
                  <a:pt x="267" y="168"/>
                </a:lnTo>
                <a:close/>
                <a:moveTo>
                  <a:pt x="174" y="694"/>
                </a:moveTo>
                <a:lnTo>
                  <a:pt x="174" y="702"/>
                </a:lnTo>
                <a:lnTo>
                  <a:pt x="178" y="708"/>
                </a:lnTo>
                <a:lnTo>
                  <a:pt x="178" y="711"/>
                </a:lnTo>
                <a:lnTo>
                  <a:pt x="179" y="714"/>
                </a:lnTo>
                <a:lnTo>
                  <a:pt x="179" y="717"/>
                </a:lnTo>
                <a:lnTo>
                  <a:pt x="179" y="720"/>
                </a:lnTo>
                <a:lnTo>
                  <a:pt x="181" y="721"/>
                </a:lnTo>
                <a:lnTo>
                  <a:pt x="182" y="721"/>
                </a:lnTo>
                <a:lnTo>
                  <a:pt x="183" y="721"/>
                </a:lnTo>
                <a:lnTo>
                  <a:pt x="183" y="719"/>
                </a:lnTo>
                <a:lnTo>
                  <a:pt x="183" y="715"/>
                </a:lnTo>
                <a:lnTo>
                  <a:pt x="183" y="712"/>
                </a:lnTo>
                <a:lnTo>
                  <a:pt x="182" y="707"/>
                </a:lnTo>
                <a:lnTo>
                  <a:pt x="180" y="703"/>
                </a:lnTo>
                <a:lnTo>
                  <a:pt x="178" y="698"/>
                </a:lnTo>
                <a:lnTo>
                  <a:pt x="174" y="694"/>
                </a:lnTo>
                <a:lnTo>
                  <a:pt x="175" y="700"/>
                </a:lnTo>
                <a:lnTo>
                  <a:pt x="174" y="694"/>
                </a:lnTo>
                <a:close/>
                <a:moveTo>
                  <a:pt x="1081" y="180"/>
                </a:moveTo>
                <a:lnTo>
                  <a:pt x="1082" y="177"/>
                </a:lnTo>
                <a:lnTo>
                  <a:pt x="1081" y="175"/>
                </a:lnTo>
                <a:lnTo>
                  <a:pt x="1078" y="175"/>
                </a:lnTo>
                <a:lnTo>
                  <a:pt x="1074" y="177"/>
                </a:lnTo>
                <a:lnTo>
                  <a:pt x="1065" y="181"/>
                </a:lnTo>
                <a:lnTo>
                  <a:pt x="1057" y="185"/>
                </a:lnTo>
                <a:lnTo>
                  <a:pt x="1070" y="182"/>
                </a:lnTo>
                <a:lnTo>
                  <a:pt x="1081" y="180"/>
                </a:lnTo>
                <a:lnTo>
                  <a:pt x="1078" y="180"/>
                </a:lnTo>
                <a:lnTo>
                  <a:pt x="1081" y="180"/>
                </a:lnTo>
                <a:close/>
                <a:moveTo>
                  <a:pt x="444" y="113"/>
                </a:moveTo>
                <a:lnTo>
                  <a:pt x="444" y="110"/>
                </a:lnTo>
                <a:lnTo>
                  <a:pt x="444" y="109"/>
                </a:lnTo>
                <a:lnTo>
                  <a:pt x="444" y="109"/>
                </a:lnTo>
                <a:lnTo>
                  <a:pt x="443" y="109"/>
                </a:lnTo>
                <a:lnTo>
                  <a:pt x="439" y="110"/>
                </a:lnTo>
                <a:lnTo>
                  <a:pt x="437" y="111"/>
                </a:lnTo>
                <a:lnTo>
                  <a:pt x="430" y="116"/>
                </a:lnTo>
                <a:lnTo>
                  <a:pt x="426" y="122"/>
                </a:lnTo>
                <a:lnTo>
                  <a:pt x="430" y="121"/>
                </a:lnTo>
                <a:lnTo>
                  <a:pt x="436" y="119"/>
                </a:lnTo>
                <a:lnTo>
                  <a:pt x="438" y="118"/>
                </a:lnTo>
                <a:lnTo>
                  <a:pt x="440" y="117"/>
                </a:lnTo>
                <a:lnTo>
                  <a:pt x="443" y="115"/>
                </a:lnTo>
                <a:lnTo>
                  <a:pt x="444" y="113"/>
                </a:lnTo>
                <a:lnTo>
                  <a:pt x="443" y="116"/>
                </a:lnTo>
                <a:lnTo>
                  <a:pt x="444" y="113"/>
                </a:lnTo>
                <a:close/>
                <a:moveTo>
                  <a:pt x="645" y="637"/>
                </a:moveTo>
                <a:lnTo>
                  <a:pt x="642" y="636"/>
                </a:lnTo>
                <a:lnTo>
                  <a:pt x="640" y="637"/>
                </a:lnTo>
                <a:lnTo>
                  <a:pt x="637" y="638"/>
                </a:lnTo>
                <a:lnTo>
                  <a:pt x="635" y="640"/>
                </a:lnTo>
                <a:lnTo>
                  <a:pt x="634" y="641"/>
                </a:lnTo>
                <a:lnTo>
                  <a:pt x="632" y="641"/>
                </a:lnTo>
                <a:lnTo>
                  <a:pt x="629" y="640"/>
                </a:lnTo>
                <a:lnTo>
                  <a:pt x="627" y="636"/>
                </a:lnTo>
                <a:lnTo>
                  <a:pt x="627" y="642"/>
                </a:lnTo>
                <a:lnTo>
                  <a:pt x="626" y="648"/>
                </a:lnTo>
                <a:lnTo>
                  <a:pt x="625" y="652"/>
                </a:lnTo>
                <a:lnTo>
                  <a:pt x="623" y="654"/>
                </a:lnTo>
                <a:lnTo>
                  <a:pt x="620" y="655"/>
                </a:lnTo>
                <a:lnTo>
                  <a:pt x="617" y="657"/>
                </a:lnTo>
                <a:lnTo>
                  <a:pt x="613" y="659"/>
                </a:lnTo>
                <a:lnTo>
                  <a:pt x="610" y="664"/>
                </a:lnTo>
                <a:lnTo>
                  <a:pt x="608" y="669"/>
                </a:lnTo>
                <a:lnTo>
                  <a:pt x="609" y="673"/>
                </a:lnTo>
                <a:lnTo>
                  <a:pt x="618" y="663"/>
                </a:lnTo>
                <a:lnTo>
                  <a:pt x="628" y="654"/>
                </a:lnTo>
                <a:lnTo>
                  <a:pt x="633" y="649"/>
                </a:lnTo>
                <a:lnTo>
                  <a:pt x="637" y="646"/>
                </a:lnTo>
                <a:lnTo>
                  <a:pt x="641" y="641"/>
                </a:lnTo>
                <a:lnTo>
                  <a:pt x="645" y="637"/>
                </a:lnTo>
                <a:lnTo>
                  <a:pt x="641" y="638"/>
                </a:lnTo>
                <a:lnTo>
                  <a:pt x="645" y="637"/>
                </a:lnTo>
                <a:close/>
                <a:moveTo>
                  <a:pt x="214" y="36"/>
                </a:moveTo>
                <a:lnTo>
                  <a:pt x="212" y="36"/>
                </a:lnTo>
                <a:lnTo>
                  <a:pt x="209" y="38"/>
                </a:lnTo>
                <a:lnTo>
                  <a:pt x="208" y="40"/>
                </a:lnTo>
                <a:lnTo>
                  <a:pt x="207" y="42"/>
                </a:lnTo>
                <a:lnTo>
                  <a:pt x="205" y="46"/>
                </a:lnTo>
                <a:lnTo>
                  <a:pt x="203" y="50"/>
                </a:lnTo>
                <a:lnTo>
                  <a:pt x="200" y="53"/>
                </a:lnTo>
                <a:lnTo>
                  <a:pt x="199" y="57"/>
                </a:lnTo>
                <a:lnTo>
                  <a:pt x="197" y="59"/>
                </a:lnTo>
                <a:lnTo>
                  <a:pt x="197" y="61"/>
                </a:lnTo>
                <a:lnTo>
                  <a:pt x="197" y="63"/>
                </a:lnTo>
                <a:lnTo>
                  <a:pt x="199" y="64"/>
                </a:lnTo>
                <a:lnTo>
                  <a:pt x="207" y="50"/>
                </a:lnTo>
                <a:lnTo>
                  <a:pt x="214" y="36"/>
                </a:lnTo>
                <a:lnTo>
                  <a:pt x="212" y="40"/>
                </a:lnTo>
                <a:lnTo>
                  <a:pt x="214" y="36"/>
                </a:lnTo>
                <a:close/>
                <a:moveTo>
                  <a:pt x="1068" y="111"/>
                </a:moveTo>
                <a:lnTo>
                  <a:pt x="1073" y="105"/>
                </a:lnTo>
                <a:lnTo>
                  <a:pt x="1080" y="99"/>
                </a:lnTo>
                <a:lnTo>
                  <a:pt x="1076" y="99"/>
                </a:lnTo>
                <a:lnTo>
                  <a:pt x="1071" y="100"/>
                </a:lnTo>
                <a:lnTo>
                  <a:pt x="1068" y="101"/>
                </a:lnTo>
                <a:lnTo>
                  <a:pt x="1064" y="102"/>
                </a:lnTo>
                <a:lnTo>
                  <a:pt x="1062" y="102"/>
                </a:lnTo>
                <a:lnTo>
                  <a:pt x="1058" y="101"/>
                </a:lnTo>
                <a:lnTo>
                  <a:pt x="1056" y="101"/>
                </a:lnTo>
                <a:lnTo>
                  <a:pt x="1055" y="100"/>
                </a:lnTo>
                <a:lnTo>
                  <a:pt x="1054" y="101"/>
                </a:lnTo>
                <a:lnTo>
                  <a:pt x="1054" y="102"/>
                </a:lnTo>
                <a:lnTo>
                  <a:pt x="1062" y="108"/>
                </a:lnTo>
                <a:lnTo>
                  <a:pt x="1068" y="111"/>
                </a:lnTo>
                <a:lnTo>
                  <a:pt x="1068" y="108"/>
                </a:lnTo>
                <a:lnTo>
                  <a:pt x="1068" y="111"/>
                </a:lnTo>
                <a:close/>
                <a:moveTo>
                  <a:pt x="857" y="147"/>
                </a:moveTo>
                <a:lnTo>
                  <a:pt x="860" y="147"/>
                </a:lnTo>
                <a:lnTo>
                  <a:pt x="865" y="146"/>
                </a:lnTo>
                <a:lnTo>
                  <a:pt x="867" y="144"/>
                </a:lnTo>
                <a:lnTo>
                  <a:pt x="870" y="144"/>
                </a:lnTo>
                <a:lnTo>
                  <a:pt x="871" y="142"/>
                </a:lnTo>
                <a:lnTo>
                  <a:pt x="872" y="140"/>
                </a:lnTo>
                <a:lnTo>
                  <a:pt x="872" y="138"/>
                </a:lnTo>
                <a:lnTo>
                  <a:pt x="871" y="135"/>
                </a:lnTo>
                <a:lnTo>
                  <a:pt x="870" y="133"/>
                </a:lnTo>
                <a:lnTo>
                  <a:pt x="866" y="133"/>
                </a:lnTo>
                <a:lnTo>
                  <a:pt x="864" y="132"/>
                </a:lnTo>
                <a:lnTo>
                  <a:pt x="862" y="132"/>
                </a:lnTo>
                <a:lnTo>
                  <a:pt x="859" y="133"/>
                </a:lnTo>
                <a:lnTo>
                  <a:pt x="857" y="134"/>
                </a:lnTo>
                <a:lnTo>
                  <a:pt x="860" y="135"/>
                </a:lnTo>
                <a:lnTo>
                  <a:pt x="865" y="134"/>
                </a:lnTo>
                <a:lnTo>
                  <a:pt x="866" y="135"/>
                </a:lnTo>
                <a:lnTo>
                  <a:pt x="867" y="136"/>
                </a:lnTo>
                <a:lnTo>
                  <a:pt x="868" y="138"/>
                </a:lnTo>
                <a:lnTo>
                  <a:pt x="867" y="140"/>
                </a:lnTo>
                <a:lnTo>
                  <a:pt x="862" y="143"/>
                </a:lnTo>
                <a:lnTo>
                  <a:pt x="857" y="147"/>
                </a:lnTo>
                <a:lnTo>
                  <a:pt x="859" y="144"/>
                </a:lnTo>
                <a:lnTo>
                  <a:pt x="857" y="147"/>
                </a:lnTo>
                <a:close/>
                <a:moveTo>
                  <a:pt x="975" y="135"/>
                </a:moveTo>
                <a:lnTo>
                  <a:pt x="977" y="138"/>
                </a:lnTo>
                <a:lnTo>
                  <a:pt x="979" y="139"/>
                </a:lnTo>
                <a:lnTo>
                  <a:pt x="981" y="140"/>
                </a:lnTo>
                <a:lnTo>
                  <a:pt x="983" y="140"/>
                </a:lnTo>
                <a:lnTo>
                  <a:pt x="986" y="140"/>
                </a:lnTo>
                <a:lnTo>
                  <a:pt x="987" y="139"/>
                </a:lnTo>
                <a:lnTo>
                  <a:pt x="986" y="138"/>
                </a:lnTo>
                <a:lnTo>
                  <a:pt x="984" y="136"/>
                </a:lnTo>
                <a:lnTo>
                  <a:pt x="983" y="134"/>
                </a:lnTo>
                <a:lnTo>
                  <a:pt x="983" y="132"/>
                </a:lnTo>
                <a:lnTo>
                  <a:pt x="987" y="132"/>
                </a:lnTo>
                <a:lnTo>
                  <a:pt x="990" y="134"/>
                </a:lnTo>
                <a:lnTo>
                  <a:pt x="988" y="130"/>
                </a:lnTo>
                <a:lnTo>
                  <a:pt x="984" y="129"/>
                </a:lnTo>
                <a:lnTo>
                  <a:pt x="981" y="129"/>
                </a:lnTo>
                <a:lnTo>
                  <a:pt x="977" y="129"/>
                </a:lnTo>
                <a:lnTo>
                  <a:pt x="969" y="127"/>
                </a:lnTo>
                <a:lnTo>
                  <a:pt x="961" y="126"/>
                </a:lnTo>
                <a:lnTo>
                  <a:pt x="967" y="132"/>
                </a:lnTo>
                <a:lnTo>
                  <a:pt x="975" y="135"/>
                </a:lnTo>
                <a:lnTo>
                  <a:pt x="975" y="135"/>
                </a:lnTo>
                <a:lnTo>
                  <a:pt x="975" y="135"/>
                </a:lnTo>
                <a:close/>
                <a:moveTo>
                  <a:pt x="966" y="536"/>
                </a:moveTo>
                <a:lnTo>
                  <a:pt x="957" y="541"/>
                </a:lnTo>
                <a:lnTo>
                  <a:pt x="948" y="547"/>
                </a:lnTo>
                <a:lnTo>
                  <a:pt x="940" y="553"/>
                </a:lnTo>
                <a:lnTo>
                  <a:pt x="932" y="559"/>
                </a:lnTo>
                <a:lnTo>
                  <a:pt x="941" y="556"/>
                </a:lnTo>
                <a:lnTo>
                  <a:pt x="951" y="550"/>
                </a:lnTo>
                <a:lnTo>
                  <a:pt x="955" y="547"/>
                </a:lnTo>
                <a:lnTo>
                  <a:pt x="959" y="544"/>
                </a:lnTo>
                <a:lnTo>
                  <a:pt x="963" y="540"/>
                </a:lnTo>
                <a:lnTo>
                  <a:pt x="966" y="536"/>
                </a:lnTo>
                <a:close/>
                <a:moveTo>
                  <a:pt x="814" y="106"/>
                </a:moveTo>
                <a:lnTo>
                  <a:pt x="815" y="104"/>
                </a:lnTo>
                <a:lnTo>
                  <a:pt x="816" y="102"/>
                </a:lnTo>
                <a:lnTo>
                  <a:pt x="815" y="101"/>
                </a:lnTo>
                <a:lnTo>
                  <a:pt x="812" y="101"/>
                </a:lnTo>
                <a:lnTo>
                  <a:pt x="806" y="104"/>
                </a:lnTo>
                <a:lnTo>
                  <a:pt x="799" y="106"/>
                </a:lnTo>
                <a:lnTo>
                  <a:pt x="793" y="107"/>
                </a:lnTo>
                <a:lnTo>
                  <a:pt x="789" y="108"/>
                </a:lnTo>
                <a:lnTo>
                  <a:pt x="785" y="111"/>
                </a:lnTo>
                <a:lnTo>
                  <a:pt x="782" y="115"/>
                </a:lnTo>
                <a:lnTo>
                  <a:pt x="784" y="117"/>
                </a:lnTo>
                <a:lnTo>
                  <a:pt x="788" y="117"/>
                </a:lnTo>
                <a:lnTo>
                  <a:pt x="790" y="116"/>
                </a:lnTo>
                <a:lnTo>
                  <a:pt x="793" y="115"/>
                </a:lnTo>
                <a:lnTo>
                  <a:pt x="796" y="114"/>
                </a:lnTo>
                <a:lnTo>
                  <a:pt x="798" y="113"/>
                </a:lnTo>
                <a:lnTo>
                  <a:pt x="801" y="114"/>
                </a:lnTo>
                <a:lnTo>
                  <a:pt x="804" y="117"/>
                </a:lnTo>
                <a:lnTo>
                  <a:pt x="804" y="114"/>
                </a:lnTo>
                <a:lnTo>
                  <a:pt x="804" y="113"/>
                </a:lnTo>
                <a:lnTo>
                  <a:pt x="805" y="110"/>
                </a:lnTo>
                <a:lnTo>
                  <a:pt x="806" y="109"/>
                </a:lnTo>
                <a:lnTo>
                  <a:pt x="809" y="108"/>
                </a:lnTo>
                <a:lnTo>
                  <a:pt x="814" y="106"/>
                </a:lnTo>
                <a:lnTo>
                  <a:pt x="813" y="106"/>
                </a:lnTo>
                <a:lnTo>
                  <a:pt x="814" y="106"/>
                </a:lnTo>
                <a:close/>
                <a:moveTo>
                  <a:pt x="221" y="602"/>
                </a:moveTo>
                <a:lnTo>
                  <a:pt x="216" y="608"/>
                </a:lnTo>
                <a:lnTo>
                  <a:pt x="212" y="614"/>
                </a:lnTo>
                <a:lnTo>
                  <a:pt x="207" y="617"/>
                </a:lnTo>
                <a:lnTo>
                  <a:pt x="204" y="621"/>
                </a:lnTo>
                <a:lnTo>
                  <a:pt x="203" y="623"/>
                </a:lnTo>
                <a:lnTo>
                  <a:pt x="204" y="624"/>
                </a:lnTo>
                <a:lnTo>
                  <a:pt x="205" y="625"/>
                </a:lnTo>
                <a:lnTo>
                  <a:pt x="207" y="627"/>
                </a:lnTo>
                <a:lnTo>
                  <a:pt x="211" y="625"/>
                </a:lnTo>
                <a:lnTo>
                  <a:pt x="215" y="623"/>
                </a:lnTo>
                <a:lnTo>
                  <a:pt x="216" y="622"/>
                </a:lnTo>
                <a:lnTo>
                  <a:pt x="217" y="622"/>
                </a:lnTo>
                <a:lnTo>
                  <a:pt x="219" y="621"/>
                </a:lnTo>
                <a:lnTo>
                  <a:pt x="219" y="620"/>
                </a:lnTo>
                <a:lnTo>
                  <a:pt x="217" y="616"/>
                </a:lnTo>
                <a:lnTo>
                  <a:pt x="217" y="614"/>
                </a:lnTo>
                <a:lnTo>
                  <a:pt x="219" y="612"/>
                </a:lnTo>
                <a:lnTo>
                  <a:pt x="220" y="609"/>
                </a:lnTo>
                <a:lnTo>
                  <a:pt x="223" y="606"/>
                </a:lnTo>
                <a:lnTo>
                  <a:pt x="225" y="603"/>
                </a:lnTo>
                <a:lnTo>
                  <a:pt x="225" y="599"/>
                </a:lnTo>
                <a:lnTo>
                  <a:pt x="224" y="599"/>
                </a:lnTo>
                <a:lnTo>
                  <a:pt x="222" y="599"/>
                </a:lnTo>
                <a:lnTo>
                  <a:pt x="221" y="602"/>
                </a:lnTo>
                <a:lnTo>
                  <a:pt x="220" y="604"/>
                </a:lnTo>
                <a:lnTo>
                  <a:pt x="221" y="602"/>
                </a:lnTo>
                <a:close/>
                <a:moveTo>
                  <a:pt x="225" y="599"/>
                </a:moveTo>
                <a:lnTo>
                  <a:pt x="225" y="599"/>
                </a:lnTo>
                <a:lnTo>
                  <a:pt x="225" y="599"/>
                </a:lnTo>
                <a:lnTo>
                  <a:pt x="225" y="599"/>
                </a:lnTo>
                <a:lnTo>
                  <a:pt x="225" y="599"/>
                </a:lnTo>
                <a:close/>
                <a:moveTo>
                  <a:pt x="871" y="202"/>
                </a:moveTo>
                <a:lnTo>
                  <a:pt x="879" y="200"/>
                </a:lnTo>
                <a:lnTo>
                  <a:pt x="888" y="197"/>
                </a:lnTo>
                <a:lnTo>
                  <a:pt x="891" y="196"/>
                </a:lnTo>
                <a:lnTo>
                  <a:pt x="895" y="193"/>
                </a:lnTo>
                <a:lnTo>
                  <a:pt x="898" y="191"/>
                </a:lnTo>
                <a:lnTo>
                  <a:pt x="900" y="187"/>
                </a:lnTo>
                <a:lnTo>
                  <a:pt x="897" y="187"/>
                </a:lnTo>
                <a:lnTo>
                  <a:pt x="892" y="188"/>
                </a:lnTo>
                <a:lnTo>
                  <a:pt x="887" y="190"/>
                </a:lnTo>
                <a:lnTo>
                  <a:pt x="883" y="191"/>
                </a:lnTo>
                <a:lnTo>
                  <a:pt x="880" y="194"/>
                </a:lnTo>
                <a:lnTo>
                  <a:pt x="875" y="197"/>
                </a:lnTo>
                <a:lnTo>
                  <a:pt x="875" y="198"/>
                </a:lnTo>
                <a:lnTo>
                  <a:pt x="874" y="200"/>
                </a:lnTo>
                <a:lnTo>
                  <a:pt x="873" y="199"/>
                </a:lnTo>
                <a:lnTo>
                  <a:pt x="872" y="199"/>
                </a:lnTo>
                <a:lnTo>
                  <a:pt x="870" y="199"/>
                </a:lnTo>
                <a:lnTo>
                  <a:pt x="867" y="199"/>
                </a:lnTo>
                <a:lnTo>
                  <a:pt x="865" y="200"/>
                </a:lnTo>
                <a:lnTo>
                  <a:pt x="863" y="202"/>
                </a:lnTo>
                <a:lnTo>
                  <a:pt x="863" y="205"/>
                </a:lnTo>
                <a:lnTo>
                  <a:pt x="864" y="207"/>
                </a:lnTo>
                <a:lnTo>
                  <a:pt x="866" y="208"/>
                </a:lnTo>
                <a:lnTo>
                  <a:pt x="868" y="209"/>
                </a:lnTo>
                <a:lnTo>
                  <a:pt x="870" y="212"/>
                </a:lnTo>
                <a:lnTo>
                  <a:pt x="871" y="213"/>
                </a:lnTo>
                <a:lnTo>
                  <a:pt x="870" y="209"/>
                </a:lnTo>
                <a:lnTo>
                  <a:pt x="868" y="207"/>
                </a:lnTo>
                <a:lnTo>
                  <a:pt x="868" y="206"/>
                </a:lnTo>
                <a:lnTo>
                  <a:pt x="868" y="205"/>
                </a:lnTo>
                <a:lnTo>
                  <a:pt x="870" y="204"/>
                </a:lnTo>
                <a:lnTo>
                  <a:pt x="871" y="202"/>
                </a:lnTo>
                <a:lnTo>
                  <a:pt x="871" y="202"/>
                </a:lnTo>
                <a:lnTo>
                  <a:pt x="871" y="202"/>
                </a:lnTo>
                <a:close/>
                <a:moveTo>
                  <a:pt x="272" y="24"/>
                </a:moveTo>
                <a:lnTo>
                  <a:pt x="273" y="24"/>
                </a:lnTo>
                <a:lnTo>
                  <a:pt x="275" y="24"/>
                </a:lnTo>
                <a:lnTo>
                  <a:pt x="277" y="23"/>
                </a:lnTo>
                <a:lnTo>
                  <a:pt x="279" y="22"/>
                </a:lnTo>
                <a:lnTo>
                  <a:pt x="282" y="17"/>
                </a:lnTo>
                <a:lnTo>
                  <a:pt x="286" y="13"/>
                </a:lnTo>
                <a:lnTo>
                  <a:pt x="288" y="7"/>
                </a:lnTo>
                <a:lnTo>
                  <a:pt x="288" y="3"/>
                </a:lnTo>
                <a:lnTo>
                  <a:pt x="287" y="1"/>
                </a:lnTo>
                <a:lnTo>
                  <a:pt x="285" y="0"/>
                </a:lnTo>
                <a:lnTo>
                  <a:pt x="282" y="0"/>
                </a:lnTo>
                <a:lnTo>
                  <a:pt x="279" y="1"/>
                </a:lnTo>
                <a:lnTo>
                  <a:pt x="277" y="2"/>
                </a:lnTo>
                <a:lnTo>
                  <a:pt x="274" y="3"/>
                </a:lnTo>
                <a:lnTo>
                  <a:pt x="273" y="6"/>
                </a:lnTo>
                <a:lnTo>
                  <a:pt x="272" y="9"/>
                </a:lnTo>
                <a:lnTo>
                  <a:pt x="271" y="17"/>
                </a:lnTo>
                <a:lnTo>
                  <a:pt x="272" y="24"/>
                </a:lnTo>
                <a:close/>
                <a:moveTo>
                  <a:pt x="392" y="151"/>
                </a:moveTo>
                <a:lnTo>
                  <a:pt x="405" y="143"/>
                </a:lnTo>
                <a:lnTo>
                  <a:pt x="417" y="133"/>
                </a:lnTo>
                <a:lnTo>
                  <a:pt x="419" y="132"/>
                </a:lnTo>
                <a:lnTo>
                  <a:pt x="421" y="129"/>
                </a:lnTo>
                <a:lnTo>
                  <a:pt x="423" y="126"/>
                </a:lnTo>
                <a:lnTo>
                  <a:pt x="422" y="124"/>
                </a:lnTo>
                <a:lnTo>
                  <a:pt x="420" y="123"/>
                </a:lnTo>
                <a:lnTo>
                  <a:pt x="419" y="123"/>
                </a:lnTo>
                <a:lnTo>
                  <a:pt x="418" y="124"/>
                </a:lnTo>
                <a:lnTo>
                  <a:pt x="417" y="125"/>
                </a:lnTo>
                <a:lnTo>
                  <a:pt x="414" y="129"/>
                </a:lnTo>
                <a:lnTo>
                  <a:pt x="413" y="132"/>
                </a:lnTo>
                <a:lnTo>
                  <a:pt x="411" y="134"/>
                </a:lnTo>
                <a:lnTo>
                  <a:pt x="410" y="135"/>
                </a:lnTo>
                <a:lnTo>
                  <a:pt x="407" y="134"/>
                </a:lnTo>
                <a:lnTo>
                  <a:pt x="404" y="134"/>
                </a:lnTo>
                <a:lnTo>
                  <a:pt x="401" y="135"/>
                </a:lnTo>
                <a:lnTo>
                  <a:pt x="397" y="138"/>
                </a:lnTo>
                <a:lnTo>
                  <a:pt x="394" y="141"/>
                </a:lnTo>
                <a:lnTo>
                  <a:pt x="390" y="144"/>
                </a:lnTo>
                <a:lnTo>
                  <a:pt x="389" y="146"/>
                </a:lnTo>
                <a:lnTo>
                  <a:pt x="389" y="148"/>
                </a:lnTo>
                <a:lnTo>
                  <a:pt x="390" y="149"/>
                </a:lnTo>
                <a:lnTo>
                  <a:pt x="392" y="151"/>
                </a:lnTo>
                <a:lnTo>
                  <a:pt x="393" y="150"/>
                </a:lnTo>
                <a:lnTo>
                  <a:pt x="392" y="151"/>
                </a:lnTo>
                <a:close/>
                <a:moveTo>
                  <a:pt x="359" y="174"/>
                </a:moveTo>
                <a:lnTo>
                  <a:pt x="369" y="167"/>
                </a:lnTo>
                <a:lnTo>
                  <a:pt x="378" y="160"/>
                </a:lnTo>
                <a:lnTo>
                  <a:pt x="381" y="158"/>
                </a:lnTo>
                <a:lnTo>
                  <a:pt x="384" y="155"/>
                </a:lnTo>
                <a:lnTo>
                  <a:pt x="385" y="151"/>
                </a:lnTo>
                <a:lnTo>
                  <a:pt x="385" y="147"/>
                </a:lnTo>
                <a:lnTo>
                  <a:pt x="380" y="151"/>
                </a:lnTo>
                <a:lnTo>
                  <a:pt x="374" y="155"/>
                </a:lnTo>
                <a:lnTo>
                  <a:pt x="369" y="158"/>
                </a:lnTo>
                <a:lnTo>
                  <a:pt x="363" y="162"/>
                </a:lnTo>
                <a:lnTo>
                  <a:pt x="359" y="165"/>
                </a:lnTo>
                <a:lnTo>
                  <a:pt x="354" y="171"/>
                </a:lnTo>
                <a:lnTo>
                  <a:pt x="353" y="173"/>
                </a:lnTo>
                <a:lnTo>
                  <a:pt x="354" y="175"/>
                </a:lnTo>
                <a:lnTo>
                  <a:pt x="356" y="175"/>
                </a:lnTo>
                <a:lnTo>
                  <a:pt x="359" y="174"/>
                </a:lnTo>
                <a:lnTo>
                  <a:pt x="361" y="173"/>
                </a:lnTo>
                <a:lnTo>
                  <a:pt x="359" y="174"/>
                </a:lnTo>
                <a:close/>
                <a:moveTo>
                  <a:pt x="1211" y="207"/>
                </a:moveTo>
                <a:lnTo>
                  <a:pt x="1214" y="205"/>
                </a:lnTo>
                <a:lnTo>
                  <a:pt x="1218" y="202"/>
                </a:lnTo>
                <a:lnTo>
                  <a:pt x="1224" y="202"/>
                </a:lnTo>
                <a:lnTo>
                  <a:pt x="1229" y="201"/>
                </a:lnTo>
                <a:lnTo>
                  <a:pt x="1242" y="199"/>
                </a:lnTo>
                <a:lnTo>
                  <a:pt x="1253" y="196"/>
                </a:lnTo>
                <a:lnTo>
                  <a:pt x="1257" y="196"/>
                </a:lnTo>
                <a:lnTo>
                  <a:pt x="1260" y="194"/>
                </a:lnTo>
                <a:lnTo>
                  <a:pt x="1261" y="193"/>
                </a:lnTo>
                <a:lnTo>
                  <a:pt x="1262" y="192"/>
                </a:lnTo>
                <a:lnTo>
                  <a:pt x="1261" y="191"/>
                </a:lnTo>
                <a:lnTo>
                  <a:pt x="1260" y="190"/>
                </a:lnTo>
                <a:lnTo>
                  <a:pt x="1257" y="189"/>
                </a:lnTo>
                <a:lnTo>
                  <a:pt x="1251" y="190"/>
                </a:lnTo>
                <a:lnTo>
                  <a:pt x="1245" y="192"/>
                </a:lnTo>
                <a:lnTo>
                  <a:pt x="1241" y="194"/>
                </a:lnTo>
                <a:lnTo>
                  <a:pt x="1241" y="192"/>
                </a:lnTo>
                <a:lnTo>
                  <a:pt x="1241" y="190"/>
                </a:lnTo>
                <a:lnTo>
                  <a:pt x="1235" y="194"/>
                </a:lnTo>
                <a:lnTo>
                  <a:pt x="1229" y="196"/>
                </a:lnTo>
                <a:lnTo>
                  <a:pt x="1224" y="197"/>
                </a:lnTo>
                <a:lnTo>
                  <a:pt x="1217" y="198"/>
                </a:lnTo>
                <a:lnTo>
                  <a:pt x="1211" y="199"/>
                </a:lnTo>
                <a:lnTo>
                  <a:pt x="1206" y="201"/>
                </a:lnTo>
                <a:lnTo>
                  <a:pt x="1205" y="204"/>
                </a:lnTo>
                <a:lnTo>
                  <a:pt x="1206" y="206"/>
                </a:lnTo>
                <a:lnTo>
                  <a:pt x="1209" y="207"/>
                </a:lnTo>
                <a:lnTo>
                  <a:pt x="1211" y="207"/>
                </a:lnTo>
                <a:lnTo>
                  <a:pt x="1212" y="207"/>
                </a:lnTo>
                <a:lnTo>
                  <a:pt x="1211" y="207"/>
                </a:lnTo>
                <a:close/>
                <a:moveTo>
                  <a:pt x="991" y="321"/>
                </a:moveTo>
                <a:lnTo>
                  <a:pt x="990" y="323"/>
                </a:lnTo>
                <a:lnTo>
                  <a:pt x="989" y="324"/>
                </a:lnTo>
                <a:lnTo>
                  <a:pt x="989" y="326"/>
                </a:lnTo>
                <a:lnTo>
                  <a:pt x="991" y="328"/>
                </a:lnTo>
                <a:lnTo>
                  <a:pt x="997" y="325"/>
                </a:lnTo>
                <a:lnTo>
                  <a:pt x="1003" y="322"/>
                </a:lnTo>
                <a:lnTo>
                  <a:pt x="1018" y="316"/>
                </a:lnTo>
                <a:lnTo>
                  <a:pt x="1032" y="310"/>
                </a:lnTo>
                <a:lnTo>
                  <a:pt x="1043" y="306"/>
                </a:lnTo>
                <a:lnTo>
                  <a:pt x="1053" y="302"/>
                </a:lnTo>
                <a:lnTo>
                  <a:pt x="1058" y="301"/>
                </a:lnTo>
                <a:lnTo>
                  <a:pt x="1064" y="298"/>
                </a:lnTo>
                <a:lnTo>
                  <a:pt x="1070" y="295"/>
                </a:lnTo>
                <a:lnTo>
                  <a:pt x="1074" y="290"/>
                </a:lnTo>
                <a:lnTo>
                  <a:pt x="1064" y="293"/>
                </a:lnTo>
                <a:lnTo>
                  <a:pt x="1054" y="297"/>
                </a:lnTo>
                <a:lnTo>
                  <a:pt x="1044" y="300"/>
                </a:lnTo>
                <a:lnTo>
                  <a:pt x="1033" y="304"/>
                </a:lnTo>
                <a:lnTo>
                  <a:pt x="1023" y="308"/>
                </a:lnTo>
                <a:lnTo>
                  <a:pt x="1013" y="313"/>
                </a:lnTo>
                <a:lnTo>
                  <a:pt x="1003" y="317"/>
                </a:lnTo>
                <a:lnTo>
                  <a:pt x="991" y="321"/>
                </a:lnTo>
                <a:lnTo>
                  <a:pt x="994" y="321"/>
                </a:lnTo>
                <a:lnTo>
                  <a:pt x="998" y="320"/>
                </a:lnTo>
                <a:lnTo>
                  <a:pt x="999" y="318"/>
                </a:lnTo>
                <a:lnTo>
                  <a:pt x="991" y="321"/>
                </a:lnTo>
                <a:close/>
                <a:moveTo>
                  <a:pt x="93" y="267"/>
                </a:moveTo>
                <a:lnTo>
                  <a:pt x="94" y="266"/>
                </a:lnTo>
                <a:lnTo>
                  <a:pt x="93" y="265"/>
                </a:lnTo>
                <a:lnTo>
                  <a:pt x="92" y="266"/>
                </a:lnTo>
                <a:lnTo>
                  <a:pt x="91" y="266"/>
                </a:lnTo>
                <a:lnTo>
                  <a:pt x="91" y="266"/>
                </a:lnTo>
                <a:lnTo>
                  <a:pt x="93" y="267"/>
                </a:lnTo>
                <a:lnTo>
                  <a:pt x="93" y="267"/>
                </a:lnTo>
                <a:lnTo>
                  <a:pt x="93" y="267"/>
                </a:lnTo>
                <a:close/>
                <a:moveTo>
                  <a:pt x="351" y="677"/>
                </a:moveTo>
                <a:lnTo>
                  <a:pt x="352" y="672"/>
                </a:lnTo>
                <a:lnTo>
                  <a:pt x="353" y="666"/>
                </a:lnTo>
                <a:lnTo>
                  <a:pt x="355" y="661"/>
                </a:lnTo>
                <a:lnTo>
                  <a:pt x="359" y="656"/>
                </a:lnTo>
                <a:lnTo>
                  <a:pt x="360" y="661"/>
                </a:lnTo>
                <a:lnTo>
                  <a:pt x="361" y="665"/>
                </a:lnTo>
                <a:lnTo>
                  <a:pt x="361" y="671"/>
                </a:lnTo>
                <a:lnTo>
                  <a:pt x="360" y="675"/>
                </a:lnTo>
                <a:lnTo>
                  <a:pt x="359" y="678"/>
                </a:lnTo>
                <a:lnTo>
                  <a:pt x="356" y="680"/>
                </a:lnTo>
                <a:lnTo>
                  <a:pt x="354" y="681"/>
                </a:lnTo>
                <a:lnTo>
                  <a:pt x="351" y="680"/>
                </a:lnTo>
                <a:lnTo>
                  <a:pt x="351" y="678"/>
                </a:lnTo>
                <a:lnTo>
                  <a:pt x="351" y="677"/>
                </a:lnTo>
                <a:close/>
                <a:moveTo>
                  <a:pt x="1036" y="289"/>
                </a:moveTo>
                <a:lnTo>
                  <a:pt x="1032" y="292"/>
                </a:lnTo>
                <a:lnTo>
                  <a:pt x="1030" y="296"/>
                </a:lnTo>
                <a:lnTo>
                  <a:pt x="1027" y="297"/>
                </a:lnTo>
                <a:lnTo>
                  <a:pt x="1022" y="297"/>
                </a:lnTo>
                <a:lnTo>
                  <a:pt x="1024" y="293"/>
                </a:lnTo>
                <a:lnTo>
                  <a:pt x="1028" y="291"/>
                </a:lnTo>
                <a:lnTo>
                  <a:pt x="1031" y="290"/>
                </a:lnTo>
                <a:lnTo>
                  <a:pt x="1036" y="289"/>
                </a:lnTo>
                <a:close/>
                <a:moveTo>
                  <a:pt x="827" y="167"/>
                </a:moveTo>
                <a:lnTo>
                  <a:pt x="823" y="169"/>
                </a:lnTo>
                <a:lnTo>
                  <a:pt x="818" y="169"/>
                </a:lnTo>
                <a:lnTo>
                  <a:pt x="821" y="167"/>
                </a:lnTo>
                <a:lnTo>
                  <a:pt x="823" y="166"/>
                </a:lnTo>
                <a:lnTo>
                  <a:pt x="825" y="166"/>
                </a:lnTo>
                <a:lnTo>
                  <a:pt x="827" y="167"/>
                </a:lnTo>
                <a:close/>
                <a:moveTo>
                  <a:pt x="740" y="142"/>
                </a:moveTo>
                <a:lnTo>
                  <a:pt x="741" y="139"/>
                </a:lnTo>
                <a:lnTo>
                  <a:pt x="743" y="136"/>
                </a:lnTo>
                <a:lnTo>
                  <a:pt x="745" y="134"/>
                </a:lnTo>
                <a:lnTo>
                  <a:pt x="749" y="134"/>
                </a:lnTo>
                <a:lnTo>
                  <a:pt x="752" y="138"/>
                </a:lnTo>
                <a:lnTo>
                  <a:pt x="755" y="141"/>
                </a:lnTo>
                <a:lnTo>
                  <a:pt x="752" y="142"/>
                </a:lnTo>
                <a:lnTo>
                  <a:pt x="750" y="144"/>
                </a:lnTo>
                <a:lnTo>
                  <a:pt x="748" y="146"/>
                </a:lnTo>
                <a:lnTo>
                  <a:pt x="744" y="147"/>
                </a:lnTo>
                <a:lnTo>
                  <a:pt x="743" y="147"/>
                </a:lnTo>
                <a:lnTo>
                  <a:pt x="741" y="146"/>
                </a:lnTo>
                <a:lnTo>
                  <a:pt x="740" y="144"/>
                </a:lnTo>
                <a:lnTo>
                  <a:pt x="740" y="142"/>
                </a:lnTo>
                <a:lnTo>
                  <a:pt x="740" y="142"/>
                </a:lnTo>
                <a:lnTo>
                  <a:pt x="740" y="142"/>
                </a:lnTo>
                <a:close/>
                <a:moveTo>
                  <a:pt x="223" y="146"/>
                </a:moveTo>
                <a:lnTo>
                  <a:pt x="222" y="151"/>
                </a:lnTo>
                <a:lnTo>
                  <a:pt x="221" y="156"/>
                </a:lnTo>
                <a:lnTo>
                  <a:pt x="217" y="159"/>
                </a:lnTo>
                <a:lnTo>
                  <a:pt x="214" y="164"/>
                </a:lnTo>
                <a:lnTo>
                  <a:pt x="215" y="158"/>
                </a:lnTo>
                <a:lnTo>
                  <a:pt x="217" y="154"/>
                </a:lnTo>
                <a:lnTo>
                  <a:pt x="220" y="150"/>
                </a:lnTo>
                <a:lnTo>
                  <a:pt x="223" y="146"/>
                </a:lnTo>
                <a:close/>
                <a:moveTo>
                  <a:pt x="183" y="89"/>
                </a:moveTo>
                <a:lnTo>
                  <a:pt x="182" y="88"/>
                </a:lnTo>
                <a:lnTo>
                  <a:pt x="184" y="86"/>
                </a:lnTo>
                <a:lnTo>
                  <a:pt x="184" y="88"/>
                </a:lnTo>
                <a:lnTo>
                  <a:pt x="183" y="89"/>
                </a:lnTo>
                <a:lnTo>
                  <a:pt x="183" y="89"/>
                </a:lnTo>
                <a:lnTo>
                  <a:pt x="183" y="89"/>
                </a:lnTo>
                <a:close/>
                <a:moveTo>
                  <a:pt x="82" y="314"/>
                </a:moveTo>
                <a:lnTo>
                  <a:pt x="83" y="320"/>
                </a:lnTo>
                <a:lnTo>
                  <a:pt x="83" y="325"/>
                </a:lnTo>
                <a:lnTo>
                  <a:pt x="82" y="328"/>
                </a:lnTo>
                <a:lnTo>
                  <a:pt x="81" y="330"/>
                </a:lnTo>
                <a:lnTo>
                  <a:pt x="80" y="331"/>
                </a:lnTo>
                <a:lnTo>
                  <a:pt x="77" y="331"/>
                </a:lnTo>
                <a:lnTo>
                  <a:pt x="77" y="326"/>
                </a:lnTo>
                <a:lnTo>
                  <a:pt x="77" y="322"/>
                </a:lnTo>
                <a:lnTo>
                  <a:pt x="80" y="318"/>
                </a:lnTo>
                <a:lnTo>
                  <a:pt x="82" y="314"/>
                </a:lnTo>
                <a:close/>
                <a:moveTo>
                  <a:pt x="90" y="205"/>
                </a:moveTo>
                <a:lnTo>
                  <a:pt x="91" y="205"/>
                </a:lnTo>
                <a:lnTo>
                  <a:pt x="92" y="204"/>
                </a:lnTo>
                <a:lnTo>
                  <a:pt x="91" y="205"/>
                </a:lnTo>
                <a:lnTo>
                  <a:pt x="90" y="205"/>
                </a:lnTo>
                <a:close/>
                <a:moveTo>
                  <a:pt x="18" y="508"/>
                </a:moveTo>
                <a:lnTo>
                  <a:pt x="18" y="507"/>
                </a:lnTo>
                <a:lnTo>
                  <a:pt x="18" y="507"/>
                </a:lnTo>
                <a:lnTo>
                  <a:pt x="21" y="505"/>
                </a:lnTo>
                <a:lnTo>
                  <a:pt x="22" y="506"/>
                </a:lnTo>
                <a:lnTo>
                  <a:pt x="21" y="508"/>
                </a:lnTo>
                <a:lnTo>
                  <a:pt x="18" y="508"/>
                </a:lnTo>
                <a:lnTo>
                  <a:pt x="19" y="508"/>
                </a:lnTo>
                <a:lnTo>
                  <a:pt x="18" y="508"/>
                </a:lnTo>
                <a:close/>
                <a:moveTo>
                  <a:pt x="56" y="588"/>
                </a:moveTo>
                <a:lnTo>
                  <a:pt x="55" y="587"/>
                </a:lnTo>
                <a:lnTo>
                  <a:pt x="56" y="586"/>
                </a:lnTo>
                <a:lnTo>
                  <a:pt x="56" y="584"/>
                </a:lnTo>
                <a:lnTo>
                  <a:pt x="58" y="587"/>
                </a:lnTo>
                <a:lnTo>
                  <a:pt x="57" y="587"/>
                </a:lnTo>
                <a:lnTo>
                  <a:pt x="56" y="588"/>
                </a:lnTo>
                <a:close/>
                <a:moveTo>
                  <a:pt x="108" y="317"/>
                </a:moveTo>
                <a:lnTo>
                  <a:pt x="107" y="318"/>
                </a:lnTo>
                <a:lnTo>
                  <a:pt x="106" y="318"/>
                </a:lnTo>
                <a:lnTo>
                  <a:pt x="107" y="318"/>
                </a:lnTo>
                <a:lnTo>
                  <a:pt x="108" y="317"/>
                </a:lnTo>
                <a:lnTo>
                  <a:pt x="107" y="317"/>
                </a:lnTo>
                <a:lnTo>
                  <a:pt x="108" y="317"/>
                </a:lnTo>
                <a:close/>
                <a:moveTo>
                  <a:pt x="104" y="372"/>
                </a:moveTo>
                <a:lnTo>
                  <a:pt x="105" y="368"/>
                </a:lnTo>
                <a:lnTo>
                  <a:pt x="106" y="364"/>
                </a:lnTo>
                <a:lnTo>
                  <a:pt x="106" y="359"/>
                </a:lnTo>
                <a:lnTo>
                  <a:pt x="106" y="355"/>
                </a:lnTo>
                <a:lnTo>
                  <a:pt x="108" y="350"/>
                </a:lnTo>
                <a:lnTo>
                  <a:pt x="109" y="347"/>
                </a:lnTo>
                <a:lnTo>
                  <a:pt x="108" y="342"/>
                </a:lnTo>
                <a:lnTo>
                  <a:pt x="106" y="340"/>
                </a:lnTo>
                <a:lnTo>
                  <a:pt x="107" y="342"/>
                </a:lnTo>
                <a:lnTo>
                  <a:pt x="109" y="345"/>
                </a:lnTo>
                <a:lnTo>
                  <a:pt x="110" y="345"/>
                </a:lnTo>
                <a:lnTo>
                  <a:pt x="110" y="343"/>
                </a:lnTo>
                <a:lnTo>
                  <a:pt x="112" y="345"/>
                </a:lnTo>
                <a:lnTo>
                  <a:pt x="112" y="346"/>
                </a:lnTo>
                <a:lnTo>
                  <a:pt x="113" y="347"/>
                </a:lnTo>
                <a:lnTo>
                  <a:pt x="113" y="349"/>
                </a:lnTo>
                <a:lnTo>
                  <a:pt x="113" y="357"/>
                </a:lnTo>
                <a:lnTo>
                  <a:pt x="110" y="364"/>
                </a:lnTo>
                <a:lnTo>
                  <a:pt x="109" y="367"/>
                </a:lnTo>
                <a:lnTo>
                  <a:pt x="109" y="372"/>
                </a:lnTo>
                <a:lnTo>
                  <a:pt x="108" y="376"/>
                </a:lnTo>
                <a:lnTo>
                  <a:pt x="107" y="378"/>
                </a:lnTo>
                <a:lnTo>
                  <a:pt x="105" y="378"/>
                </a:lnTo>
                <a:lnTo>
                  <a:pt x="104" y="376"/>
                </a:lnTo>
                <a:lnTo>
                  <a:pt x="104" y="374"/>
                </a:lnTo>
                <a:lnTo>
                  <a:pt x="104" y="372"/>
                </a:lnTo>
                <a:lnTo>
                  <a:pt x="104" y="372"/>
                </a:lnTo>
                <a:lnTo>
                  <a:pt x="104" y="372"/>
                </a:lnTo>
                <a:close/>
                <a:moveTo>
                  <a:pt x="114" y="380"/>
                </a:moveTo>
                <a:lnTo>
                  <a:pt x="110" y="378"/>
                </a:lnTo>
                <a:lnTo>
                  <a:pt x="108" y="379"/>
                </a:lnTo>
                <a:lnTo>
                  <a:pt x="107" y="381"/>
                </a:lnTo>
                <a:lnTo>
                  <a:pt x="105" y="384"/>
                </a:lnTo>
                <a:lnTo>
                  <a:pt x="106" y="381"/>
                </a:lnTo>
                <a:lnTo>
                  <a:pt x="108" y="379"/>
                </a:lnTo>
                <a:lnTo>
                  <a:pt x="110" y="378"/>
                </a:lnTo>
                <a:lnTo>
                  <a:pt x="114" y="380"/>
                </a:lnTo>
                <a:lnTo>
                  <a:pt x="113" y="379"/>
                </a:lnTo>
                <a:lnTo>
                  <a:pt x="114" y="380"/>
                </a:lnTo>
                <a:close/>
                <a:moveTo>
                  <a:pt x="108" y="401"/>
                </a:moveTo>
                <a:lnTo>
                  <a:pt x="102" y="409"/>
                </a:lnTo>
                <a:lnTo>
                  <a:pt x="96" y="417"/>
                </a:lnTo>
                <a:lnTo>
                  <a:pt x="94" y="417"/>
                </a:lnTo>
                <a:lnTo>
                  <a:pt x="93" y="418"/>
                </a:lnTo>
                <a:lnTo>
                  <a:pt x="92" y="418"/>
                </a:lnTo>
                <a:lnTo>
                  <a:pt x="92" y="416"/>
                </a:lnTo>
                <a:lnTo>
                  <a:pt x="92" y="414"/>
                </a:lnTo>
                <a:lnTo>
                  <a:pt x="94" y="412"/>
                </a:lnTo>
                <a:lnTo>
                  <a:pt x="97" y="407"/>
                </a:lnTo>
                <a:lnTo>
                  <a:pt x="99" y="403"/>
                </a:lnTo>
                <a:lnTo>
                  <a:pt x="105" y="401"/>
                </a:lnTo>
                <a:lnTo>
                  <a:pt x="110" y="399"/>
                </a:lnTo>
                <a:lnTo>
                  <a:pt x="109" y="400"/>
                </a:lnTo>
                <a:lnTo>
                  <a:pt x="108" y="401"/>
                </a:lnTo>
                <a:lnTo>
                  <a:pt x="107" y="403"/>
                </a:lnTo>
                <a:lnTo>
                  <a:pt x="108" y="401"/>
                </a:lnTo>
                <a:close/>
                <a:moveTo>
                  <a:pt x="158" y="270"/>
                </a:moveTo>
                <a:lnTo>
                  <a:pt x="154" y="276"/>
                </a:lnTo>
                <a:lnTo>
                  <a:pt x="151" y="284"/>
                </a:lnTo>
                <a:lnTo>
                  <a:pt x="150" y="290"/>
                </a:lnTo>
                <a:lnTo>
                  <a:pt x="148" y="295"/>
                </a:lnTo>
                <a:lnTo>
                  <a:pt x="146" y="295"/>
                </a:lnTo>
                <a:lnTo>
                  <a:pt x="145" y="293"/>
                </a:lnTo>
                <a:lnTo>
                  <a:pt x="145" y="291"/>
                </a:lnTo>
                <a:lnTo>
                  <a:pt x="145" y="289"/>
                </a:lnTo>
                <a:lnTo>
                  <a:pt x="146" y="287"/>
                </a:lnTo>
                <a:lnTo>
                  <a:pt x="147" y="284"/>
                </a:lnTo>
                <a:lnTo>
                  <a:pt x="147" y="282"/>
                </a:lnTo>
                <a:lnTo>
                  <a:pt x="146" y="279"/>
                </a:lnTo>
                <a:lnTo>
                  <a:pt x="143" y="282"/>
                </a:lnTo>
                <a:lnTo>
                  <a:pt x="141" y="285"/>
                </a:lnTo>
                <a:lnTo>
                  <a:pt x="139" y="290"/>
                </a:lnTo>
                <a:lnTo>
                  <a:pt x="139" y="296"/>
                </a:lnTo>
                <a:lnTo>
                  <a:pt x="138" y="301"/>
                </a:lnTo>
                <a:lnTo>
                  <a:pt x="137" y="306"/>
                </a:lnTo>
                <a:lnTo>
                  <a:pt x="137" y="308"/>
                </a:lnTo>
                <a:lnTo>
                  <a:pt x="138" y="309"/>
                </a:lnTo>
                <a:lnTo>
                  <a:pt x="139" y="312"/>
                </a:lnTo>
                <a:lnTo>
                  <a:pt x="142" y="312"/>
                </a:lnTo>
                <a:lnTo>
                  <a:pt x="141" y="314"/>
                </a:lnTo>
                <a:lnTo>
                  <a:pt x="139" y="318"/>
                </a:lnTo>
                <a:lnTo>
                  <a:pt x="139" y="322"/>
                </a:lnTo>
                <a:lnTo>
                  <a:pt x="139" y="325"/>
                </a:lnTo>
                <a:lnTo>
                  <a:pt x="138" y="323"/>
                </a:lnTo>
                <a:lnTo>
                  <a:pt x="138" y="321"/>
                </a:lnTo>
                <a:lnTo>
                  <a:pt x="137" y="320"/>
                </a:lnTo>
                <a:lnTo>
                  <a:pt x="133" y="320"/>
                </a:lnTo>
                <a:lnTo>
                  <a:pt x="132" y="324"/>
                </a:lnTo>
                <a:lnTo>
                  <a:pt x="131" y="329"/>
                </a:lnTo>
                <a:lnTo>
                  <a:pt x="130" y="332"/>
                </a:lnTo>
                <a:lnTo>
                  <a:pt x="129" y="335"/>
                </a:lnTo>
                <a:lnTo>
                  <a:pt x="127" y="339"/>
                </a:lnTo>
                <a:lnTo>
                  <a:pt x="126" y="342"/>
                </a:lnTo>
                <a:lnTo>
                  <a:pt x="127" y="345"/>
                </a:lnTo>
                <a:lnTo>
                  <a:pt x="130" y="346"/>
                </a:lnTo>
                <a:lnTo>
                  <a:pt x="131" y="347"/>
                </a:lnTo>
                <a:lnTo>
                  <a:pt x="131" y="349"/>
                </a:lnTo>
                <a:lnTo>
                  <a:pt x="129" y="351"/>
                </a:lnTo>
                <a:lnTo>
                  <a:pt x="126" y="354"/>
                </a:lnTo>
                <a:lnTo>
                  <a:pt x="126" y="355"/>
                </a:lnTo>
                <a:lnTo>
                  <a:pt x="125" y="357"/>
                </a:lnTo>
                <a:lnTo>
                  <a:pt x="124" y="359"/>
                </a:lnTo>
                <a:lnTo>
                  <a:pt x="122" y="360"/>
                </a:lnTo>
                <a:lnTo>
                  <a:pt x="120" y="360"/>
                </a:lnTo>
                <a:lnTo>
                  <a:pt x="118" y="359"/>
                </a:lnTo>
                <a:lnTo>
                  <a:pt x="116" y="357"/>
                </a:lnTo>
                <a:lnTo>
                  <a:pt x="116" y="353"/>
                </a:lnTo>
                <a:lnTo>
                  <a:pt x="117" y="348"/>
                </a:lnTo>
                <a:lnTo>
                  <a:pt x="118" y="345"/>
                </a:lnTo>
                <a:lnTo>
                  <a:pt x="121" y="334"/>
                </a:lnTo>
                <a:lnTo>
                  <a:pt x="123" y="324"/>
                </a:lnTo>
                <a:lnTo>
                  <a:pt x="123" y="320"/>
                </a:lnTo>
                <a:lnTo>
                  <a:pt x="124" y="315"/>
                </a:lnTo>
                <a:lnTo>
                  <a:pt x="125" y="312"/>
                </a:lnTo>
                <a:lnTo>
                  <a:pt x="127" y="309"/>
                </a:lnTo>
                <a:lnTo>
                  <a:pt x="130" y="304"/>
                </a:lnTo>
                <a:lnTo>
                  <a:pt x="130" y="298"/>
                </a:lnTo>
                <a:lnTo>
                  <a:pt x="132" y="289"/>
                </a:lnTo>
                <a:lnTo>
                  <a:pt x="134" y="281"/>
                </a:lnTo>
                <a:lnTo>
                  <a:pt x="137" y="271"/>
                </a:lnTo>
                <a:lnTo>
                  <a:pt x="139" y="262"/>
                </a:lnTo>
                <a:lnTo>
                  <a:pt x="141" y="252"/>
                </a:lnTo>
                <a:lnTo>
                  <a:pt x="145" y="243"/>
                </a:lnTo>
                <a:lnTo>
                  <a:pt x="147" y="234"/>
                </a:lnTo>
                <a:lnTo>
                  <a:pt x="149" y="226"/>
                </a:lnTo>
                <a:lnTo>
                  <a:pt x="150" y="223"/>
                </a:lnTo>
                <a:lnTo>
                  <a:pt x="150" y="221"/>
                </a:lnTo>
                <a:lnTo>
                  <a:pt x="153" y="217"/>
                </a:lnTo>
                <a:lnTo>
                  <a:pt x="156" y="216"/>
                </a:lnTo>
                <a:lnTo>
                  <a:pt x="157" y="221"/>
                </a:lnTo>
                <a:lnTo>
                  <a:pt x="158" y="225"/>
                </a:lnTo>
                <a:lnTo>
                  <a:pt x="156" y="233"/>
                </a:lnTo>
                <a:lnTo>
                  <a:pt x="154" y="242"/>
                </a:lnTo>
                <a:lnTo>
                  <a:pt x="151" y="250"/>
                </a:lnTo>
                <a:lnTo>
                  <a:pt x="149" y="258"/>
                </a:lnTo>
                <a:lnTo>
                  <a:pt x="148" y="267"/>
                </a:lnTo>
                <a:lnTo>
                  <a:pt x="148" y="275"/>
                </a:lnTo>
                <a:lnTo>
                  <a:pt x="150" y="270"/>
                </a:lnTo>
                <a:lnTo>
                  <a:pt x="153" y="264"/>
                </a:lnTo>
                <a:lnTo>
                  <a:pt x="154" y="263"/>
                </a:lnTo>
                <a:lnTo>
                  <a:pt x="155" y="263"/>
                </a:lnTo>
                <a:lnTo>
                  <a:pt x="157" y="264"/>
                </a:lnTo>
                <a:lnTo>
                  <a:pt x="158" y="265"/>
                </a:lnTo>
                <a:lnTo>
                  <a:pt x="158" y="267"/>
                </a:lnTo>
                <a:lnTo>
                  <a:pt x="158" y="270"/>
                </a:lnTo>
                <a:lnTo>
                  <a:pt x="157" y="271"/>
                </a:lnTo>
                <a:lnTo>
                  <a:pt x="158" y="270"/>
                </a:lnTo>
                <a:close/>
                <a:moveTo>
                  <a:pt x="156" y="215"/>
                </a:moveTo>
                <a:lnTo>
                  <a:pt x="156" y="212"/>
                </a:lnTo>
                <a:lnTo>
                  <a:pt x="157" y="209"/>
                </a:lnTo>
                <a:lnTo>
                  <a:pt x="159" y="207"/>
                </a:lnTo>
                <a:lnTo>
                  <a:pt x="160" y="204"/>
                </a:lnTo>
                <a:lnTo>
                  <a:pt x="158" y="201"/>
                </a:lnTo>
                <a:lnTo>
                  <a:pt x="156" y="198"/>
                </a:lnTo>
                <a:lnTo>
                  <a:pt x="159" y="196"/>
                </a:lnTo>
                <a:lnTo>
                  <a:pt x="164" y="193"/>
                </a:lnTo>
                <a:lnTo>
                  <a:pt x="163" y="199"/>
                </a:lnTo>
                <a:lnTo>
                  <a:pt x="163" y="206"/>
                </a:lnTo>
                <a:lnTo>
                  <a:pt x="162" y="208"/>
                </a:lnTo>
                <a:lnTo>
                  <a:pt x="160" y="212"/>
                </a:lnTo>
                <a:lnTo>
                  <a:pt x="158" y="214"/>
                </a:lnTo>
                <a:lnTo>
                  <a:pt x="156" y="215"/>
                </a:lnTo>
                <a:lnTo>
                  <a:pt x="159" y="213"/>
                </a:lnTo>
                <a:lnTo>
                  <a:pt x="156" y="215"/>
                </a:lnTo>
                <a:close/>
                <a:moveTo>
                  <a:pt x="264" y="574"/>
                </a:moveTo>
                <a:lnTo>
                  <a:pt x="263" y="572"/>
                </a:lnTo>
                <a:lnTo>
                  <a:pt x="263" y="571"/>
                </a:lnTo>
                <a:lnTo>
                  <a:pt x="264" y="569"/>
                </a:lnTo>
                <a:lnTo>
                  <a:pt x="265" y="566"/>
                </a:lnTo>
                <a:lnTo>
                  <a:pt x="266" y="569"/>
                </a:lnTo>
                <a:lnTo>
                  <a:pt x="266" y="571"/>
                </a:lnTo>
                <a:lnTo>
                  <a:pt x="266" y="572"/>
                </a:lnTo>
                <a:lnTo>
                  <a:pt x="264" y="574"/>
                </a:lnTo>
                <a:close/>
                <a:moveTo>
                  <a:pt x="360" y="641"/>
                </a:moveTo>
                <a:lnTo>
                  <a:pt x="359" y="637"/>
                </a:lnTo>
                <a:lnTo>
                  <a:pt x="360" y="633"/>
                </a:lnTo>
                <a:lnTo>
                  <a:pt x="361" y="629"/>
                </a:lnTo>
                <a:lnTo>
                  <a:pt x="364" y="625"/>
                </a:lnTo>
                <a:lnTo>
                  <a:pt x="365" y="630"/>
                </a:lnTo>
                <a:lnTo>
                  <a:pt x="366" y="634"/>
                </a:lnTo>
                <a:lnTo>
                  <a:pt x="365" y="637"/>
                </a:lnTo>
                <a:lnTo>
                  <a:pt x="364" y="639"/>
                </a:lnTo>
                <a:lnTo>
                  <a:pt x="363" y="640"/>
                </a:lnTo>
                <a:lnTo>
                  <a:pt x="360" y="641"/>
                </a:lnTo>
                <a:close/>
                <a:moveTo>
                  <a:pt x="710" y="169"/>
                </a:moveTo>
                <a:lnTo>
                  <a:pt x="707" y="173"/>
                </a:lnTo>
                <a:lnTo>
                  <a:pt x="703" y="176"/>
                </a:lnTo>
                <a:lnTo>
                  <a:pt x="700" y="181"/>
                </a:lnTo>
                <a:lnTo>
                  <a:pt x="694" y="183"/>
                </a:lnTo>
                <a:lnTo>
                  <a:pt x="698" y="179"/>
                </a:lnTo>
                <a:lnTo>
                  <a:pt x="701" y="173"/>
                </a:lnTo>
                <a:lnTo>
                  <a:pt x="702" y="172"/>
                </a:lnTo>
                <a:lnTo>
                  <a:pt x="705" y="171"/>
                </a:lnTo>
                <a:lnTo>
                  <a:pt x="707" y="169"/>
                </a:lnTo>
                <a:lnTo>
                  <a:pt x="710" y="169"/>
                </a:lnTo>
                <a:close/>
                <a:moveTo>
                  <a:pt x="668" y="222"/>
                </a:moveTo>
                <a:lnTo>
                  <a:pt x="667" y="223"/>
                </a:lnTo>
                <a:lnTo>
                  <a:pt x="666" y="224"/>
                </a:lnTo>
                <a:lnTo>
                  <a:pt x="667" y="223"/>
                </a:lnTo>
                <a:lnTo>
                  <a:pt x="668" y="222"/>
                </a:lnTo>
                <a:close/>
                <a:moveTo>
                  <a:pt x="606" y="138"/>
                </a:moveTo>
                <a:lnTo>
                  <a:pt x="607" y="138"/>
                </a:lnTo>
                <a:lnTo>
                  <a:pt x="609" y="138"/>
                </a:lnTo>
                <a:lnTo>
                  <a:pt x="609" y="139"/>
                </a:lnTo>
                <a:lnTo>
                  <a:pt x="608" y="140"/>
                </a:lnTo>
                <a:lnTo>
                  <a:pt x="606" y="140"/>
                </a:lnTo>
                <a:lnTo>
                  <a:pt x="604" y="140"/>
                </a:lnTo>
                <a:lnTo>
                  <a:pt x="604" y="139"/>
                </a:lnTo>
                <a:lnTo>
                  <a:pt x="606" y="138"/>
                </a:lnTo>
                <a:lnTo>
                  <a:pt x="606" y="138"/>
                </a:lnTo>
                <a:lnTo>
                  <a:pt x="606" y="138"/>
                </a:lnTo>
                <a:close/>
                <a:moveTo>
                  <a:pt x="602" y="267"/>
                </a:moveTo>
                <a:lnTo>
                  <a:pt x="617" y="254"/>
                </a:lnTo>
                <a:lnTo>
                  <a:pt x="633" y="241"/>
                </a:lnTo>
                <a:lnTo>
                  <a:pt x="640" y="235"/>
                </a:lnTo>
                <a:lnTo>
                  <a:pt x="648" y="231"/>
                </a:lnTo>
                <a:lnTo>
                  <a:pt x="656" y="227"/>
                </a:lnTo>
                <a:lnTo>
                  <a:pt x="664" y="225"/>
                </a:lnTo>
                <a:lnTo>
                  <a:pt x="653" y="232"/>
                </a:lnTo>
                <a:lnTo>
                  <a:pt x="643" y="239"/>
                </a:lnTo>
                <a:lnTo>
                  <a:pt x="634" y="247"/>
                </a:lnTo>
                <a:lnTo>
                  <a:pt x="624" y="255"/>
                </a:lnTo>
                <a:lnTo>
                  <a:pt x="616" y="262"/>
                </a:lnTo>
                <a:lnTo>
                  <a:pt x="607" y="270"/>
                </a:lnTo>
                <a:lnTo>
                  <a:pt x="604" y="271"/>
                </a:lnTo>
                <a:lnTo>
                  <a:pt x="602" y="273"/>
                </a:lnTo>
                <a:lnTo>
                  <a:pt x="600" y="274"/>
                </a:lnTo>
                <a:lnTo>
                  <a:pt x="598" y="273"/>
                </a:lnTo>
                <a:lnTo>
                  <a:pt x="598" y="271"/>
                </a:lnTo>
                <a:lnTo>
                  <a:pt x="599" y="270"/>
                </a:lnTo>
                <a:lnTo>
                  <a:pt x="600" y="268"/>
                </a:lnTo>
                <a:lnTo>
                  <a:pt x="602" y="267"/>
                </a:lnTo>
                <a:lnTo>
                  <a:pt x="606" y="264"/>
                </a:lnTo>
                <a:lnTo>
                  <a:pt x="602" y="267"/>
                </a:lnTo>
                <a:close/>
                <a:moveTo>
                  <a:pt x="582" y="141"/>
                </a:moveTo>
                <a:lnTo>
                  <a:pt x="583" y="140"/>
                </a:lnTo>
                <a:lnTo>
                  <a:pt x="584" y="140"/>
                </a:lnTo>
                <a:lnTo>
                  <a:pt x="586" y="140"/>
                </a:lnTo>
                <a:lnTo>
                  <a:pt x="586" y="141"/>
                </a:lnTo>
                <a:lnTo>
                  <a:pt x="586" y="144"/>
                </a:lnTo>
                <a:lnTo>
                  <a:pt x="584" y="146"/>
                </a:lnTo>
                <a:lnTo>
                  <a:pt x="583" y="148"/>
                </a:lnTo>
                <a:lnTo>
                  <a:pt x="580" y="150"/>
                </a:lnTo>
                <a:lnTo>
                  <a:pt x="577" y="151"/>
                </a:lnTo>
                <a:lnTo>
                  <a:pt x="574" y="151"/>
                </a:lnTo>
                <a:lnTo>
                  <a:pt x="578" y="147"/>
                </a:lnTo>
                <a:lnTo>
                  <a:pt x="582" y="141"/>
                </a:lnTo>
                <a:lnTo>
                  <a:pt x="582" y="142"/>
                </a:lnTo>
                <a:lnTo>
                  <a:pt x="582" y="141"/>
                </a:lnTo>
                <a:close/>
                <a:moveTo>
                  <a:pt x="561" y="159"/>
                </a:moveTo>
                <a:lnTo>
                  <a:pt x="567" y="155"/>
                </a:lnTo>
                <a:lnTo>
                  <a:pt x="574" y="151"/>
                </a:lnTo>
                <a:lnTo>
                  <a:pt x="574" y="155"/>
                </a:lnTo>
                <a:lnTo>
                  <a:pt x="572" y="157"/>
                </a:lnTo>
                <a:lnTo>
                  <a:pt x="570" y="158"/>
                </a:lnTo>
                <a:lnTo>
                  <a:pt x="568" y="160"/>
                </a:lnTo>
                <a:lnTo>
                  <a:pt x="563" y="164"/>
                </a:lnTo>
                <a:lnTo>
                  <a:pt x="559" y="167"/>
                </a:lnTo>
                <a:lnTo>
                  <a:pt x="557" y="168"/>
                </a:lnTo>
                <a:lnTo>
                  <a:pt x="554" y="168"/>
                </a:lnTo>
                <a:lnTo>
                  <a:pt x="553" y="168"/>
                </a:lnTo>
                <a:lnTo>
                  <a:pt x="552" y="168"/>
                </a:lnTo>
                <a:lnTo>
                  <a:pt x="552" y="167"/>
                </a:lnTo>
                <a:lnTo>
                  <a:pt x="552" y="166"/>
                </a:lnTo>
                <a:lnTo>
                  <a:pt x="557" y="162"/>
                </a:lnTo>
                <a:lnTo>
                  <a:pt x="561" y="159"/>
                </a:lnTo>
                <a:lnTo>
                  <a:pt x="561" y="159"/>
                </a:lnTo>
                <a:lnTo>
                  <a:pt x="561" y="159"/>
                </a:lnTo>
                <a:close/>
                <a:moveTo>
                  <a:pt x="425" y="685"/>
                </a:moveTo>
                <a:lnTo>
                  <a:pt x="423" y="682"/>
                </a:lnTo>
                <a:lnTo>
                  <a:pt x="423" y="679"/>
                </a:lnTo>
                <a:lnTo>
                  <a:pt x="425" y="678"/>
                </a:lnTo>
                <a:lnTo>
                  <a:pt x="425" y="678"/>
                </a:lnTo>
                <a:lnTo>
                  <a:pt x="426" y="678"/>
                </a:lnTo>
                <a:lnTo>
                  <a:pt x="427" y="678"/>
                </a:lnTo>
                <a:lnTo>
                  <a:pt x="428" y="680"/>
                </a:lnTo>
                <a:lnTo>
                  <a:pt x="428" y="681"/>
                </a:lnTo>
                <a:lnTo>
                  <a:pt x="426" y="682"/>
                </a:lnTo>
                <a:lnTo>
                  <a:pt x="425" y="685"/>
                </a:lnTo>
                <a:lnTo>
                  <a:pt x="425" y="682"/>
                </a:lnTo>
                <a:lnTo>
                  <a:pt x="425" y="685"/>
                </a:lnTo>
                <a:close/>
                <a:moveTo>
                  <a:pt x="429" y="637"/>
                </a:moveTo>
                <a:lnTo>
                  <a:pt x="422" y="648"/>
                </a:lnTo>
                <a:lnTo>
                  <a:pt x="419" y="659"/>
                </a:lnTo>
                <a:lnTo>
                  <a:pt x="413" y="666"/>
                </a:lnTo>
                <a:lnTo>
                  <a:pt x="407" y="674"/>
                </a:lnTo>
                <a:lnTo>
                  <a:pt x="405" y="677"/>
                </a:lnTo>
                <a:lnTo>
                  <a:pt x="403" y="679"/>
                </a:lnTo>
                <a:lnTo>
                  <a:pt x="402" y="680"/>
                </a:lnTo>
                <a:lnTo>
                  <a:pt x="401" y="680"/>
                </a:lnTo>
                <a:lnTo>
                  <a:pt x="399" y="679"/>
                </a:lnTo>
                <a:lnTo>
                  <a:pt x="399" y="677"/>
                </a:lnTo>
                <a:lnTo>
                  <a:pt x="401" y="670"/>
                </a:lnTo>
                <a:lnTo>
                  <a:pt x="404" y="662"/>
                </a:lnTo>
                <a:lnTo>
                  <a:pt x="409" y="654"/>
                </a:lnTo>
                <a:lnTo>
                  <a:pt x="413" y="646"/>
                </a:lnTo>
                <a:lnTo>
                  <a:pt x="418" y="639"/>
                </a:lnTo>
                <a:lnTo>
                  <a:pt x="423" y="632"/>
                </a:lnTo>
                <a:lnTo>
                  <a:pt x="427" y="632"/>
                </a:lnTo>
                <a:lnTo>
                  <a:pt x="429" y="633"/>
                </a:lnTo>
                <a:lnTo>
                  <a:pt x="430" y="636"/>
                </a:lnTo>
                <a:lnTo>
                  <a:pt x="429" y="637"/>
                </a:lnTo>
                <a:lnTo>
                  <a:pt x="426" y="639"/>
                </a:lnTo>
                <a:lnTo>
                  <a:pt x="429" y="637"/>
                </a:lnTo>
                <a:close/>
                <a:moveTo>
                  <a:pt x="435" y="680"/>
                </a:moveTo>
                <a:lnTo>
                  <a:pt x="437" y="672"/>
                </a:lnTo>
                <a:lnTo>
                  <a:pt x="440" y="665"/>
                </a:lnTo>
                <a:lnTo>
                  <a:pt x="445" y="658"/>
                </a:lnTo>
                <a:lnTo>
                  <a:pt x="450" y="653"/>
                </a:lnTo>
                <a:lnTo>
                  <a:pt x="460" y="640"/>
                </a:lnTo>
                <a:lnTo>
                  <a:pt x="470" y="629"/>
                </a:lnTo>
                <a:lnTo>
                  <a:pt x="462" y="642"/>
                </a:lnTo>
                <a:lnTo>
                  <a:pt x="454" y="656"/>
                </a:lnTo>
                <a:lnTo>
                  <a:pt x="444" y="667"/>
                </a:lnTo>
                <a:lnTo>
                  <a:pt x="435" y="680"/>
                </a:lnTo>
                <a:close/>
                <a:moveTo>
                  <a:pt x="650" y="524"/>
                </a:moveTo>
                <a:lnTo>
                  <a:pt x="649" y="526"/>
                </a:lnTo>
                <a:lnTo>
                  <a:pt x="645" y="526"/>
                </a:lnTo>
                <a:lnTo>
                  <a:pt x="643" y="526"/>
                </a:lnTo>
                <a:lnTo>
                  <a:pt x="641" y="525"/>
                </a:lnTo>
                <a:lnTo>
                  <a:pt x="643" y="522"/>
                </a:lnTo>
                <a:lnTo>
                  <a:pt x="646" y="520"/>
                </a:lnTo>
                <a:lnTo>
                  <a:pt x="649" y="520"/>
                </a:lnTo>
                <a:lnTo>
                  <a:pt x="650" y="521"/>
                </a:lnTo>
                <a:lnTo>
                  <a:pt x="651" y="522"/>
                </a:lnTo>
                <a:lnTo>
                  <a:pt x="650" y="524"/>
                </a:lnTo>
                <a:lnTo>
                  <a:pt x="650" y="524"/>
                </a:lnTo>
                <a:lnTo>
                  <a:pt x="650" y="524"/>
                </a:lnTo>
                <a:close/>
                <a:moveTo>
                  <a:pt x="743" y="208"/>
                </a:moveTo>
                <a:lnTo>
                  <a:pt x="736" y="213"/>
                </a:lnTo>
                <a:lnTo>
                  <a:pt x="730" y="215"/>
                </a:lnTo>
                <a:lnTo>
                  <a:pt x="722" y="217"/>
                </a:lnTo>
                <a:lnTo>
                  <a:pt x="714" y="218"/>
                </a:lnTo>
                <a:lnTo>
                  <a:pt x="726" y="208"/>
                </a:lnTo>
                <a:lnTo>
                  <a:pt x="740" y="199"/>
                </a:lnTo>
                <a:lnTo>
                  <a:pt x="745" y="196"/>
                </a:lnTo>
                <a:lnTo>
                  <a:pt x="751" y="192"/>
                </a:lnTo>
                <a:lnTo>
                  <a:pt x="756" y="191"/>
                </a:lnTo>
                <a:lnTo>
                  <a:pt x="761" y="190"/>
                </a:lnTo>
                <a:lnTo>
                  <a:pt x="765" y="188"/>
                </a:lnTo>
                <a:lnTo>
                  <a:pt x="768" y="184"/>
                </a:lnTo>
                <a:lnTo>
                  <a:pt x="774" y="180"/>
                </a:lnTo>
                <a:lnTo>
                  <a:pt x="781" y="176"/>
                </a:lnTo>
                <a:lnTo>
                  <a:pt x="788" y="173"/>
                </a:lnTo>
                <a:lnTo>
                  <a:pt x="796" y="169"/>
                </a:lnTo>
                <a:lnTo>
                  <a:pt x="799" y="167"/>
                </a:lnTo>
                <a:lnTo>
                  <a:pt x="802" y="166"/>
                </a:lnTo>
                <a:lnTo>
                  <a:pt x="807" y="166"/>
                </a:lnTo>
                <a:lnTo>
                  <a:pt x="810" y="167"/>
                </a:lnTo>
                <a:lnTo>
                  <a:pt x="808" y="169"/>
                </a:lnTo>
                <a:lnTo>
                  <a:pt x="806" y="173"/>
                </a:lnTo>
                <a:lnTo>
                  <a:pt x="802" y="174"/>
                </a:lnTo>
                <a:lnTo>
                  <a:pt x="799" y="176"/>
                </a:lnTo>
                <a:lnTo>
                  <a:pt x="790" y="182"/>
                </a:lnTo>
                <a:lnTo>
                  <a:pt x="780" y="187"/>
                </a:lnTo>
                <a:lnTo>
                  <a:pt x="771" y="192"/>
                </a:lnTo>
                <a:lnTo>
                  <a:pt x="761" y="197"/>
                </a:lnTo>
                <a:lnTo>
                  <a:pt x="752" y="202"/>
                </a:lnTo>
                <a:lnTo>
                  <a:pt x="743" y="208"/>
                </a:lnTo>
                <a:lnTo>
                  <a:pt x="742" y="208"/>
                </a:lnTo>
                <a:lnTo>
                  <a:pt x="748" y="206"/>
                </a:lnTo>
                <a:lnTo>
                  <a:pt x="750" y="204"/>
                </a:lnTo>
                <a:lnTo>
                  <a:pt x="743" y="208"/>
                </a:lnTo>
                <a:close/>
                <a:moveTo>
                  <a:pt x="865" y="531"/>
                </a:moveTo>
                <a:lnTo>
                  <a:pt x="865" y="528"/>
                </a:lnTo>
                <a:lnTo>
                  <a:pt x="866" y="525"/>
                </a:lnTo>
                <a:lnTo>
                  <a:pt x="867" y="524"/>
                </a:lnTo>
                <a:lnTo>
                  <a:pt x="868" y="523"/>
                </a:lnTo>
                <a:lnTo>
                  <a:pt x="873" y="523"/>
                </a:lnTo>
                <a:lnTo>
                  <a:pt x="879" y="523"/>
                </a:lnTo>
                <a:lnTo>
                  <a:pt x="872" y="529"/>
                </a:lnTo>
                <a:lnTo>
                  <a:pt x="865" y="531"/>
                </a:lnTo>
                <a:close/>
                <a:moveTo>
                  <a:pt x="1139" y="415"/>
                </a:moveTo>
                <a:lnTo>
                  <a:pt x="1139" y="414"/>
                </a:lnTo>
                <a:lnTo>
                  <a:pt x="1139" y="413"/>
                </a:lnTo>
                <a:lnTo>
                  <a:pt x="1140" y="414"/>
                </a:lnTo>
                <a:lnTo>
                  <a:pt x="1139" y="415"/>
                </a:lnTo>
                <a:lnTo>
                  <a:pt x="1139" y="415"/>
                </a:lnTo>
                <a:lnTo>
                  <a:pt x="1139" y="41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456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40">
            <a:extLst>
              <a:ext uri="{FF2B5EF4-FFF2-40B4-BE49-F238E27FC236}">
                <a16:creationId xmlns:a16="http://schemas.microsoft.com/office/drawing/2014/main" id="{1AFA6BE7-7035-A94D-908E-C9A60596DF61}"/>
              </a:ext>
            </a:extLst>
          </p:cNvPr>
          <p:cNvSpPr>
            <a:spLocks noGrp="1" noEditPoints="1"/>
          </p:cNvSpPr>
          <p:nvPr>
            <p:ph type="pic" sz="quarter" idx="31"/>
          </p:nvPr>
        </p:nvSpPr>
        <p:spPr bwMode="auto">
          <a:xfrm>
            <a:off x="5628009" y="747013"/>
            <a:ext cx="6191485" cy="5363975"/>
          </a:xfrm>
          <a:custGeom>
            <a:avLst/>
            <a:gdLst>
              <a:gd name="T0" fmla="*/ 1166 w 1335"/>
              <a:gd name="T1" fmla="*/ 206 h 634"/>
              <a:gd name="T2" fmla="*/ 1052 w 1335"/>
              <a:gd name="T3" fmla="*/ 216 h 634"/>
              <a:gd name="T4" fmla="*/ 1033 w 1335"/>
              <a:gd name="T5" fmla="*/ 206 h 634"/>
              <a:gd name="T6" fmla="*/ 1105 w 1335"/>
              <a:gd name="T7" fmla="*/ 173 h 634"/>
              <a:gd name="T8" fmla="*/ 1068 w 1335"/>
              <a:gd name="T9" fmla="*/ 179 h 634"/>
              <a:gd name="T10" fmla="*/ 1088 w 1335"/>
              <a:gd name="T11" fmla="*/ 166 h 634"/>
              <a:gd name="T12" fmla="*/ 1145 w 1335"/>
              <a:gd name="T13" fmla="*/ 154 h 634"/>
              <a:gd name="T14" fmla="*/ 1142 w 1335"/>
              <a:gd name="T15" fmla="*/ 174 h 634"/>
              <a:gd name="T16" fmla="*/ 1186 w 1335"/>
              <a:gd name="T17" fmla="*/ 159 h 634"/>
              <a:gd name="T18" fmla="*/ 1248 w 1335"/>
              <a:gd name="T19" fmla="*/ 130 h 634"/>
              <a:gd name="T20" fmla="*/ 1206 w 1335"/>
              <a:gd name="T21" fmla="*/ 73 h 634"/>
              <a:gd name="T22" fmla="*/ 1126 w 1335"/>
              <a:gd name="T23" fmla="*/ 68 h 634"/>
              <a:gd name="T24" fmla="*/ 1075 w 1335"/>
              <a:gd name="T25" fmla="*/ 53 h 634"/>
              <a:gd name="T26" fmla="*/ 1076 w 1335"/>
              <a:gd name="T27" fmla="*/ 20 h 634"/>
              <a:gd name="T28" fmla="*/ 1009 w 1335"/>
              <a:gd name="T29" fmla="*/ 0 h 634"/>
              <a:gd name="T30" fmla="*/ 701 w 1335"/>
              <a:gd name="T31" fmla="*/ 45 h 634"/>
              <a:gd name="T32" fmla="*/ 468 w 1335"/>
              <a:gd name="T33" fmla="*/ 113 h 634"/>
              <a:gd name="T34" fmla="*/ 230 w 1335"/>
              <a:gd name="T35" fmla="*/ 214 h 634"/>
              <a:gd name="T36" fmla="*/ 234 w 1335"/>
              <a:gd name="T37" fmla="*/ 303 h 634"/>
              <a:gd name="T38" fmla="*/ 12 w 1335"/>
              <a:gd name="T39" fmla="*/ 478 h 634"/>
              <a:gd name="T40" fmla="*/ 55 w 1335"/>
              <a:gd name="T41" fmla="*/ 537 h 634"/>
              <a:gd name="T42" fmla="*/ 69 w 1335"/>
              <a:gd name="T43" fmla="*/ 580 h 634"/>
              <a:gd name="T44" fmla="*/ 118 w 1335"/>
              <a:gd name="T45" fmla="*/ 630 h 634"/>
              <a:gd name="T46" fmla="*/ 320 w 1335"/>
              <a:gd name="T47" fmla="*/ 543 h 634"/>
              <a:gd name="T48" fmla="*/ 470 w 1335"/>
              <a:gd name="T49" fmla="*/ 493 h 634"/>
              <a:gd name="T50" fmla="*/ 417 w 1335"/>
              <a:gd name="T51" fmla="*/ 545 h 634"/>
              <a:gd name="T52" fmla="*/ 404 w 1335"/>
              <a:gd name="T53" fmla="*/ 624 h 634"/>
              <a:gd name="T54" fmla="*/ 557 w 1335"/>
              <a:gd name="T55" fmla="*/ 593 h 634"/>
              <a:gd name="T56" fmla="*/ 679 w 1335"/>
              <a:gd name="T57" fmla="*/ 555 h 634"/>
              <a:gd name="T58" fmla="*/ 718 w 1335"/>
              <a:gd name="T59" fmla="*/ 615 h 634"/>
              <a:gd name="T60" fmla="*/ 766 w 1335"/>
              <a:gd name="T61" fmla="*/ 613 h 634"/>
              <a:gd name="T62" fmla="*/ 837 w 1335"/>
              <a:gd name="T63" fmla="*/ 604 h 634"/>
              <a:gd name="T64" fmla="*/ 800 w 1335"/>
              <a:gd name="T65" fmla="*/ 585 h 634"/>
              <a:gd name="T66" fmla="*/ 970 w 1335"/>
              <a:gd name="T67" fmla="*/ 540 h 634"/>
              <a:gd name="T68" fmla="*/ 1092 w 1335"/>
              <a:gd name="T69" fmla="*/ 515 h 634"/>
              <a:gd name="T70" fmla="*/ 1283 w 1335"/>
              <a:gd name="T71" fmla="*/ 477 h 634"/>
              <a:gd name="T72" fmla="*/ 1150 w 1335"/>
              <a:gd name="T73" fmla="*/ 460 h 634"/>
              <a:gd name="T74" fmla="*/ 1019 w 1335"/>
              <a:gd name="T75" fmla="*/ 468 h 634"/>
              <a:gd name="T76" fmla="*/ 1124 w 1335"/>
              <a:gd name="T77" fmla="*/ 443 h 634"/>
              <a:gd name="T78" fmla="*/ 1258 w 1335"/>
              <a:gd name="T79" fmla="*/ 414 h 634"/>
              <a:gd name="T80" fmla="*/ 1221 w 1335"/>
              <a:gd name="T81" fmla="*/ 356 h 634"/>
              <a:gd name="T82" fmla="*/ 939 w 1335"/>
              <a:gd name="T83" fmla="*/ 395 h 634"/>
              <a:gd name="T84" fmla="*/ 831 w 1335"/>
              <a:gd name="T85" fmla="*/ 429 h 634"/>
              <a:gd name="T86" fmla="*/ 709 w 1335"/>
              <a:gd name="T87" fmla="*/ 473 h 634"/>
              <a:gd name="T88" fmla="*/ 671 w 1335"/>
              <a:gd name="T89" fmla="*/ 474 h 634"/>
              <a:gd name="T90" fmla="*/ 775 w 1335"/>
              <a:gd name="T91" fmla="*/ 429 h 634"/>
              <a:gd name="T92" fmla="*/ 841 w 1335"/>
              <a:gd name="T93" fmla="*/ 400 h 634"/>
              <a:gd name="T94" fmla="*/ 910 w 1335"/>
              <a:gd name="T95" fmla="*/ 374 h 634"/>
              <a:gd name="T96" fmla="*/ 975 w 1335"/>
              <a:gd name="T97" fmla="*/ 353 h 634"/>
              <a:gd name="T98" fmla="*/ 1095 w 1335"/>
              <a:gd name="T99" fmla="*/ 315 h 634"/>
              <a:gd name="T100" fmla="*/ 1298 w 1335"/>
              <a:gd name="T101" fmla="*/ 265 h 634"/>
              <a:gd name="T102" fmla="*/ 1332 w 1335"/>
              <a:gd name="T103" fmla="*/ 217 h 634"/>
              <a:gd name="T104" fmla="*/ 469 w 1335"/>
              <a:gd name="T105" fmla="*/ 394 h 634"/>
              <a:gd name="T106" fmla="*/ 590 w 1335"/>
              <a:gd name="T107" fmla="*/ 338 h 634"/>
              <a:gd name="T108" fmla="*/ 690 w 1335"/>
              <a:gd name="T109" fmla="*/ 541 h 634"/>
              <a:gd name="T110" fmla="*/ 660 w 1335"/>
              <a:gd name="T111" fmla="*/ 547 h 634"/>
              <a:gd name="T112" fmla="*/ 643 w 1335"/>
              <a:gd name="T113" fmla="*/ 313 h 634"/>
              <a:gd name="T114" fmla="*/ 717 w 1335"/>
              <a:gd name="T115" fmla="*/ 292 h 634"/>
              <a:gd name="T116" fmla="*/ 767 w 1335"/>
              <a:gd name="T117" fmla="*/ 275 h 634"/>
              <a:gd name="T118" fmla="*/ 1036 w 1335"/>
              <a:gd name="T119" fmla="*/ 126 h 634"/>
              <a:gd name="T120" fmla="*/ 1128 w 1335"/>
              <a:gd name="T121" fmla="*/ 120 h 634"/>
              <a:gd name="T122" fmla="*/ 1051 w 1335"/>
              <a:gd name="T123" fmla="*/ 140 h 634"/>
              <a:gd name="T124" fmla="*/ 946 w 1335"/>
              <a:gd name="T125" fmla="*/ 153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35" h="634">
                <a:moveTo>
                  <a:pt x="1330" y="216"/>
                </a:moveTo>
                <a:lnTo>
                  <a:pt x="1321" y="211"/>
                </a:lnTo>
                <a:lnTo>
                  <a:pt x="1310" y="205"/>
                </a:lnTo>
                <a:lnTo>
                  <a:pt x="1300" y="202"/>
                </a:lnTo>
                <a:lnTo>
                  <a:pt x="1290" y="199"/>
                </a:lnTo>
                <a:lnTo>
                  <a:pt x="1275" y="198"/>
                </a:lnTo>
                <a:lnTo>
                  <a:pt x="1261" y="198"/>
                </a:lnTo>
                <a:lnTo>
                  <a:pt x="1248" y="199"/>
                </a:lnTo>
                <a:lnTo>
                  <a:pt x="1234" y="200"/>
                </a:lnTo>
                <a:lnTo>
                  <a:pt x="1220" y="202"/>
                </a:lnTo>
                <a:lnTo>
                  <a:pt x="1207" y="203"/>
                </a:lnTo>
                <a:lnTo>
                  <a:pt x="1192" y="204"/>
                </a:lnTo>
                <a:lnTo>
                  <a:pt x="1178" y="205"/>
                </a:lnTo>
                <a:lnTo>
                  <a:pt x="1166" y="206"/>
                </a:lnTo>
                <a:lnTo>
                  <a:pt x="1153" y="207"/>
                </a:lnTo>
                <a:lnTo>
                  <a:pt x="1141" y="206"/>
                </a:lnTo>
                <a:lnTo>
                  <a:pt x="1128" y="207"/>
                </a:lnTo>
                <a:lnTo>
                  <a:pt x="1118" y="208"/>
                </a:lnTo>
                <a:lnTo>
                  <a:pt x="1108" y="208"/>
                </a:lnTo>
                <a:lnTo>
                  <a:pt x="1102" y="211"/>
                </a:lnTo>
                <a:lnTo>
                  <a:pt x="1097" y="213"/>
                </a:lnTo>
                <a:lnTo>
                  <a:pt x="1092" y="212"/>
                </a:lnTo>
                <a:lnTo>
                  <a:pt x="1087" y="211"/>
                </a:lnTo>
                <a:lnTo>
                  <a:pt x="1081" y="212"/>
                </a:lnTo>
                <a:lnTo>
                  <a:pt x="1076" y="214"/>
                </a:lnTo>
                <a:lnTo>
                  <a:pt x="1071" y="215"/>
                </a:lnTo>
                <a:lnTo>
                  <a:pt x="1066" y="215"/>
                </a:lnTo>
                <a:lnTo>
                  <a:pt x="1052" y="216"/>
                </a:lnTo>
                <a:lnTo>
                  <a:pt x="1038" y="217"/>
                </a:lnTo>
                <a:lnTo>
                  <a:pt x="1028" y="220"/>
                </a:lnTo>
                <a:lnTo>
                  <a:pt x="1017" y="222"/>
                </a:lnTo>
                <a:lnTo>
                  <a:pt x="1012" y="223"/>
                </a:lnTo>
                <a:lnTo>
                  <a:pt x="1006" y="224"/>
                </a:lnTo>
                <a:lnTo>
                  <a:pt x="1001" y="224"/>
                </a:lnTo>
                <a:lnTo>
                  <a:pt x="995" y="224"/>
                </a:lnTo>
                <a:lnTo>
                  <a:pt x="992" y="222"/>
                </a:lnTo>
                <a:lnTo>
                  <a:pt x="990" y="220"/>
                </a:lnTo>
                <a:lnTo>
                  <a:pt x="993" y="217"/>
                </a:lnTo>
                <a:lnTo>
                  <a:pt x="996" y="215"/>
                </a:lnTo>
                <a:lnTo>
                  <a:pt x="1008" y="212"/>
                </a:lnTo>
                <a:lnTo>
                  <a:pt x="1019" y="209"/>
                </a:lnTo>
                <a:lnTo>
                  <a:pt x="1033" y="206"/>
                </a:lnTo>
                <a:lnTo>
                  <a:pt x="1046" y="203"/>
                </a:lnTo>
                <a:lnTo>
                  <a:pt x="1061" y="198"/>
                </a:lnTo>
                <a:lnTo>
                  <a:pt x="1075" y="195"/>
                </a:lnTo>
                <a:lnTo>
                  <a:pt x="1085" y="194"/>
                </a:lnTo>
                <a:lnTo>
                  <a:pt x="1095" y="192"/>
                </a:lnTo>
                <a:lnTo>
                  <a:pt x="1100" y="191"/>
                </a:lnTo>
                <a:lnTo>
                  <a:pt x="1103" y="188"/>
                </a:lnTo>
                <a:lnTo>
                  <a:pt x="1105" y="187"/>
                </a:lnTo>
                <a:lnTo>
                  <a:pt x="1109" y="186"/>
                </a:lnTo>
                <a:lnTo>
                  <a:pt x="1112" y="186"/>
                </a:lnTo>
                <a:lnTo>
                  <a:pt x="1117" y="184"/>
                </a:lnTo>
                <a:lnTo>
                  <a:pt x="1112" y="180"/>
                </a:lnTo>
                <a:lnTo>
                  <a:pt x="1108" y="175"/>
                </a:lnTo>
                <a:lnTo>
                  <a:pt x="1105" y="173"/>
                </a:lnTo>
                <a:lnTo>
                  <a:pt x="1103" y="172"/>
                </a:lnTo>
                <a:lnTo>
                  <a:pt x="1100" y="171"/>
                </a:lnTo>
                <a:lnTo>
                  <a:pt x="1096" y="172"/>
                </a:lnTo>
                <a:lnTo>
                  <a:pt x="1093" y="173"/>
                </a:lnTo>
                <a:lnTo>
                  <a:pt x="1091" y="175"/>
                </a:lnTo>
                <a:lnTo>
                  <a:pt x="1086" y="176"/>
                </a:lnTo>
                <a:lnTo>
                  <a:pt x="1081" y="178"/>
                </a:lnTo>
                <a:lnTo>
                  <a:pt x="1079" y="180"/>
                </a:lnTo>
                <a:lnTo>
                  <a:pt x="1077" y="182"/>
                </a:lnTo>
                <a:lnTo>
                  <a:pt x="1076" y="186"/>
                </a:lnTo>
                <a:lnTo>
                  <a:pt x="1072" y="190"/>
                </a:lnTo>
                <a:lnTo>
                  <a:pt x="1077" y="184"/>
                </a:lnTo>
                <a:lnTo>
                  <a:pt x="1079" y="179"/>
                </a:lnTo>
                <a:lnTo>
                  <a:pt x="1068" y="179"/>
                </a:lnTo>
                <a:lnTo>
                  <a:pt x="1058" y="178"/>
                </a:lnTo>
                <a:lnTo>
                  <a:pt x="1054" y="178"/>
                </a:lnTo>
                <a:lnTo>
                  <a:pt x="1051" y="176"/>
                </a:lnTo>
                <a:lnTo>
                  <a:pt x="1048" y="175"/>
                </a:lnTo>
                <a:lnTo>
                  <a:pt x="1047" y="175"/>
                </a:lnTo>
                <a:lnTo>
                  <a:pt x="1047" y="173"/>
                </a:lnTo>
                <a:lnTo>
                  <a:pt x="1048" y="172"/>
                </a:lnTo>
                <a:lnTo>
                  <a:pt x="1051" y="171"/>
                </a:lnTo>
                <a:lnTo>
                  <a:pt x="1054" y="172"/>
                </a:lnTo>
                <a:lnTo>
                  <a:pt x="1059" y="171"/>
                </a:lnTo>
                <a:lnTo>
                  <a:pt x="1063" y="169"/>
                </a:lnTo>
                <a:lnTo>
                  <a:pt x="1072" y="167"/>
                </a:lnTo>
                <a:lnTo>
                  <a:pt x="1080" y="166"/>
                </a:lnTo>
                <a:lnTo>
                  <a:pt x="1088" y="166"/>
                </a:lnTo>
                <a:lnTo>
                  <a:pt x="1097" y="165"/>
                </a:lnTo>
                <a:lnTo>
                  <a:pt x="1102" y="163"/>
                </a:lnTo>
                <a:lnTo>
                  <a:pt x="1107" y="161"/>
                </a:lnTo>
                <a:lnTo>
                  <a:pt x="1111" y="161"/>
                </a:lnTo>
                <a:lnTo>
                  <a:pt x="1116" y="161"/>
                </a:lnTo>
                <a:lnTo>
                  <a:pt x="1126" y="161"/>
                </a:lnTo>
                <a:lnTo>
                  <a:pt x="1135" y="158"/>
                </a:lnTo>
                <a:lnTo>
                  <a:pt x="1141" y="157"/>
                </a:lnTo>
                <a:lnTo>
                  <a:pt x="1146" y="154"/>
                </a:lnTo>
                <a:lnTo>
                  <a:pt x="1150" y="151"/>
                </a:lnTo>
                <a:lnTo>
                  <a:pt x="1154" y="150"/>
                </a:lnTo>
                <a:lnTo>
                  <a:pt x="1151" y="151"/>
                </a:lnTo>
                <a:lnTo>
                  <a:pt x="1149" y="153"/>
                </a:lnTo>
                <a:lnTo>
                  <a:pt x="1145" y="154"/>
                </a:lnTo>
                <a:lnTo>
                  <a:pt x="1143" y="156"/>
                </a:lnTo>
                <a:lnTo>
                  <a:pt x="1157" y="157"/>
                </a:lnTo>
                <a:lnTo>
                  <a:pt x="1169" y="157"/>
                </a:lnTo>
                <a:lnTo>
                  <a:pt x="1161" y="161"/>
                </a:lnTo>
                <a:lnTo>
                  <a:pt x="1152" y="166"/>
                </a:lnTo>
                <a:lnTo>
                  <a:pt x="1148" y="167"/>
                </a:lnTo>
                <a:lnTo>
                  <a:pt x="1143" y="169"/>
                </a:lnTo>
                <a:lnTo>
                  <a:pt x="1137" y="169"/>
                </a:lnTo>
                <a:lnTo>
                  <a:pt x="1133" y="169"/>
                </a:lnTo>
                <a:lnTo>
                  <a:pt x="1136" y="170"/>
                </a:lnTo>
                <a:lnTo>
                  <a:pt x="1140" y="171"/>
                </a:lnTo>
                <a:lnTo>
                  <a:pt x="1141" y="172"/>
                </a:lnTo>
                <a:lnTo>
                  <a:pt x="1142" y="172"/>
                </a:lnTo>
                <a:lnTo>
                  <a:pt x="1142" y="174"/>
                </a:lnTo>
                <a:lnTo>
                  <a:pt x="1141" y="176"/>
                </a:lnTo>
                <a:lnTo>
                  <a:pt x="1149" y="176"/>
                </a:lnTo>
                <a:lnTo>
                  <a:pt x="1157" y="178"/>
                </a:lnTo>
                <a:lnTo>
                  <a:pt x="1155" y="174"/>
                </a:lnTo>
                <a:lnTo>
                  <a:pt x="1155" y="172"/>
                </a:lnTo>
                <a:lnTo>
                  <a:pt x="1157" y="171"/>
                </a:lnTo>
                <a:lnTo>
                  <a:pt x="1158" y="170"/>
                </a:lnTo>
                <a:lnTo>
                  <a:pt x="1161" y="169"/>
                </a:lnTo>
                <a:lnTo>
                  <a:pt x="1166" y="167"/>
                </a:lnTo>
                <a:lnTo>
                  <a:pt x="1171" y="164"/>
                </a:lnTo>
                <a:lnTo>
                  <a:pt x="1176" y="162"/>
                </a:lnTo>
                <a:lnTo>
                  <a:pt x="1181" y="159"/>
                </a:lnTo>
                <a:lnTo>
                  <a:pt x="1185" y="159"/>
                </a:lnTo>
                <a:lnTo>
                  <a:pt x="1186" y="159"/>
                </a:lnTo>
                <a:lnTo>
                  <a:pt x="1186" y="159"/>
                </a:lnTo>
                <a:lnTo>
                  <a:pt x="1188" y="159"/>
                </a:lnTo>
                <a:lnTo>
                  <a:pt x="1188" y="158"/>
                </a:lnTo>
                <a:lnTo>
                  <a:pt x="1196" y="157"/>
                </a:lnTo>
                <a:lnTo>
                  <a:pt x="1203" y="157"/>
                </a:lnTo>
                <a:lnTo>
                  <a:pt x="1210" y="156"/>
                </a:lnTo>
                <a:lnTo>
                  <a:pt x="1217" y="154"/>
                </a:lnTo>
                <a:lnTo>
                  <a:pt x="1223" y="149"/>
                </a:lnTo>
                <a:lnTo>
                  <a:pt x="1227" y="146"/>
                </a:lnTo>
                <a:lnTo>
                  <a:pt x="1233" y="142"/>
                </a:lnTo>
                <a:lnTo>
                  <a:pt x="1239" y="140"/>
                </a:lnTo>
                <a:lnTo>
                  <a:pt x="1243" y="138"/>
                </a:lnTo>
                <a:lnTo>
                  <a:pt x="1245" y="133"/>
                </a:lnTo>
                <a:lnTo>
                  <a:pt x="1248" y="130"/>
                </a:lnTo>
                <a:lnTo>
                  <a:pt x="1249" y="124"/>
                </a:lnTo>
                <a:lnTo>
                  <a:pt x="1251" y="114"/>
                </a:lnTo>
                <a:lnTo>
                  <a:pt x="1253" y="105"/>
                </a:lnTo>
                <a:lnTo>
                  <a:pt x="1254" y="101"/>
                </a:lnTo>
                <a:lnTo>
                  <a:pt x="1256" y="98"/>
                </a:lnTo>
                <a:lnTo>
                  <a:pt x="1257" y="93"/>
                </a:lnTo>
                <a:lnTo>
                  <a:pt x="1256" y="90"/>
                </a:lnTo>
                <a:lnTo>
                  <a:pt x="1253" y="88"/>
                </a:lnTo>
                <a:lnTo>
                  <a:pt x="1251" y="86"/>
                </a:lnTo>
                <a:lnTo>
                  <a:pt x="1247" y="84"/>
                </a:lnTo>
                <a:lnTo>
                  <a:pt x="1244" y="83"/>
                </a:lnTo>
                <a:lnTo>
                  <a:pt x="1229" y="79"/>
                </a:lnTo>
                <a:lnTo>
                  <a:pt x="1215" y="74"/>
                </a:lnTo>
                <a:lnTo>
                  <a:pt x="1206" y="73"/>
                </a:lnTo>
                <a:lnTo>
                  <a:pt x="1198" y="73"/>
                </a:lnTo>
                <a:lnTo>
                  <a:pt x="1188" y="73"/>
                </a:lnTo>
                <a:lnTo>
                  <a:pt x="1179" y="74"/>
                </a:lnTo>
                <a:lnTo>
                  <a:pt x="1163" y="73"/>
                </a:lnTo>
                <a:lnTo>
                  <a:pt x="1148" y="73"/>
                </a:lnTo>
                <a:lnTo>
                  <a:pt x="1140" y="73"/>
                </a:lnTo>
                <a:lnTo>
                  <a:pt x="1133" y="73"/>
                </a:lnTo>
                <a:lnTo>
                  <a:pt x="1127" y="72"/>
                </a:lnTo>
                <a:lnTo>
                  <a:pt x="1128" y="72"/>
                </a:lnTo>
                <a:lnTo>
                  <a:pt x="1129" y="73"/>
                </a:lnTo>
                <a:lnTo>
                  <a:pt x="1130" y="73"/>
                </a:lnTo>
                <a:lnTo>
                  <a:pt x="1130" y="72"/>
                </a:lnTo>
                <a:lnTo>
                  <a:pt x="1128" y="71"/>
                </a:lnTo>
                <a:lnTo>
                  <a:pt x="1126" y="68"/>
                </a:lnTo>
                <a:lnTo>
                  <a:pt x="1124" y="67"/>
                </a:lnTo>
                <a:lnTo>
                  <a:pt x="1118" y="67"/>
                </a:lnTo>
                <a:lnTo>
                  <a:pt x="1112" y="67"/>
                </a:lnTo>
                <a:lnTo>
                  <a:pt x="1104" y="67"/>
                </a:lnTo>
                <a:lnTo>
                  <a:pt x="1096" y="67"/>
                </a:lnTo>
                <a:lnTo>
                  <a:pt x="1089" y="67"/>
                </a:lnTo>
                <a:lnTo>
                  <a:pt x="1083" y="67"/>
                </a:lnTo>
                <a:lnTo>
                  <a:pt x="1080" y="66"/>
                </a:lnTo>
                <a:lnTo>
                  <a:pt x="1077" y="65"/>
                </a:lnTo>
                <a:lnTo>
                  <a:pt x="1075" y="63"/>
                </a:lnTo>
                <a:lnTo>
                  <a:pt x="1074" y="59"/>
                </a:lnTo>
                <a:lnTo>
                  <a:pt x="1074" y="57"/>
                </a:lnTo>
                <a:lnTo>
                  <a:pt x="1074" y="55"/>
                </a:lnTo>
                <a:lnTo>
                  <a:pt x="1075" y="53"/>
                </a:lnTo>
                <a:lnTo>
                  <a:pt x="1076" y="51"/>
                </a:lnTo>
                <a:lnTo>
                  <a:pt x="1080" y="50"/>
                </a:lnTo>
                <a:lnTo>
                  <a:pt x="1084" y="48"/>
                </a:lnTo>
                <a:lnTo>
                  <a:pt x="1087" y="47"/>
                </a:lnTo>
                <a:lnTo>
                  <a:pt x="1088" y="46"/>
                </a:lnTo>
                <a:lnTo>
                  <a:pt x="1088" y="43"/>
                </a:lnTo>
                <a:lnTo>
                  <a:pt x="1088" y="41"/>
                </a:lnTo>
                <a:lnTo>
                  <a:pt x="1086" y="38"/>
                </a:lnTo>
                <a:lnTo>
                  <a:pt x="1083" y="34"/>
                </a:lnTo>
                <a:lnTo>
                  <a:pt x="1080" y="32"/>
                </a:lnTo>
                <a:lnTo>
                  <a:pt x="1077" y="30"/>
                </a:lnTo>
                <a:lnTo>
                  <a:pt x="1074" y="28"/>
                </a:lnTo>
                <a:lnTo>
                  <a:pt x="1072" y="24"/>
                </a:lnTo>
                <a:lnTo>
                  <a:pt x="1076" y="20"/>
                </a:lnTo>
                <a:lnTo>
                  <a:pt x="1079" y="15"/>
                </a:lnTo>
                <a:lnTo>
                  <a:pt x="1079" y="14"/>
                </a:lnTo>
                <a:lnTo>
                  <a:pt x="1079" y="13"/>
                </a:lnTo>
                <a:lnTo>
                  <a:pt x="1078" y="12"/>
                </a:lnTo>
                <a:lnTo>
                  <a:pt x="1076" y="10"/>
                </a:lnTo>
                <a:lnTo>
                  <a:pt x="1072" y="9"/>
                </a:lnTo>
                <a:lnTo>
                  <a:pt x="1070" y="8"/>
                </a:lnTo>
                <a:lnTo>
                  <a:pt x="1062" y="6"/>
                </a:lnTo>
                <a:lnTo>
                  <a:pt x="1054" y="4"/>
                </a:lnTo>
                <a:lnTo>
                  <a:pt x="1046" y="1"/>
                </a:lnTo>
                <a:lnTo>
                  <a:pt x="1038" y="1"/>
                </a:lnTo>
                <a:lnTo>
                  <a:pt x="1028" y="0"/>
                </a:lnTo>
                <a:lnTo>
                  <a:pt x="1019" y="0"/>
                </a:lnTo>
                <a:lnTo>
                  <a:pt x="1009" y="0"/>
                </a:lnTo>
                <a:lnTo>
                  <a:pt x="1000" y="0"/>
                </a:lnTo>
                <a:lnTo>
                  <a:pt x="963" y="1"/>
                </a:lnTo>
                <a:lnTo>
                  <a:pt x="927" y="5"/>
                </a:lnTo>
                <a:lnTo>
                  <a:pt x="891" y="8"/>
                </a:lnTo>
                <a:lnTo>
                  <a:pt x="855" y="14"/>
                </a:lnTo>
                <a:lnTo>
                  <a:pt x="838" y="17"/>
                </a:lnTo>
                <a:lnTo>
                  <a:pt x="821" y="21"/>
                </a:lnTo>
                <a:lnTo>
                  <a:pt x="803" y="24"/>
                </a:lnTo>
                <a:lnTo>
                  <a:pt x="786" y="26"/>
                </a:lnTo>
                <a:lnTo>
                  <a:pt x="769" y="30"/>
                </a:lnTo>
                <a:lnTo>
                  <a:pt x="751" y="32"/>
                </a:lnTo>
                <a:lnTo>
                  <a:pt x="734" y="36"/>
                </a:lnTo>
                <a:lnTo>
                  <a:pt x="718" y="40"/>
                </a:lnTo>
                <a:lnTo>
                  <a:pt x="701" y="45"/>
                </a:lnTo>
                <a:lnTo>
                  <a:pt x="685" y="49"/>
                </a:lnTo>
                <a:lnTo>
                  <a:pt x="668" y="54"/>
                </a:lnTo>
                <a:lnTo>
                  <a:pt x="651" y="58"/>
                </a:lnTo>
                <a:lnTo>
                  <a:pt x="634" y="63"/>
                </a:lnTo>
                <a:lnTo>
                  <a:pt x="617" y="67"/>
                </a:lnTo>
                <a:lnTo>
                  <a:pt x="600" y="72"/>
                </a:lnTo>
                <a:lnTo>
                  <a:pt x="583" y="76"/>
                </a:lnTo>
                <a:lnTo>
                  <a:pt x="566" y="81"/>
                </a:lnTo>
                <a:lnTo>
                  <a:pt x="550" y="84"/>
                </a:lnTo>
                <a:lnTo>
                  <a:pt x="533" y="89"/>
                </a:lnTo>
                <a:lnTo>
                  <a:pt x="516" y="95"/>
                </a:lnTo>
                <a:lnTo>
                  <a:pt x="500" y="100"/>
                </a:lnTo>
                <a:lnTo>
                  <a:pt x="484" y="106"/>
                </a:lnTo>
                <a:lnTo>
                  <a:pt x="468" y="113"/>
                </a:lnTo>
                <a:lnTo>
                  <a:pt x="452" y="120"/>
                </a:lnTo>
                <a:lnTo>
                  <a:pt x="421" y="133"/>
                </a:lnTo>
                <a:lnTo>
                  <a:pt x="392" y="147"/>
                </a:lnTo>
                <a:lnTo>
                  <a:pt x="361" y="161"/>
                </a:lnTo>
                <a:lnTo>
                  <a:pt x="330" y="172"/>
                </a:lnTo>
                <a:lnTo>
                  <a:pt x="316" y="176"/>
                </a:lnTo>
                <a:lnTo>
                  <a:pt x="301" y="180"/>
                </a:lnTo>
                <a:lnTo>
                  <a:pt x="286" y="184"/>
                </a:lnTo>
                <a:lnTo>
                  <a:pt x="272" y="191"/>
                </a:lnTo>
                <a:lnTo>
                  <a:pt x="260" y="198"/>
                </a:lnTo>
                <a:lnTo>
                  <a:pt x="247" y="204"/>
                </a:lnTo>
                <a:lnTo>
                  <a:pt x="242" y="207"/>
                </a:lnTo>
                <a:lnTo>
                  <a:pt x="236" y="211"/>
                </a:lnTo>
                <a:lnTo>
                  <a:pt x="230" y="214"/>
                </a:lnTo>
                <a:lnTo>
                  <a:pt x="226" y="219"/>
                </a:lnTo>
                <a:lnTo>
                  <a:pt x="222" y="223"/>
                </a:lnTo>
                <a:lnTo>
                  <a:pt x="220" y="227"/>
                </a:lnTo>
                <a:lnTo>
                  <a:pt x="219" y="231"/>
                </a:lnTo>
                <a:lnTo>
                  <a:pt x="218" y="236"/>
                </a:lnTo>
                <a:lnTo>
                  <a:pt x="217" y="245"/>
                </a:lnTo>
                <a:lnTo>
                  <a:pt x="219" y="255"/>
                </a:lnTo>
                <a:lnTo>
                  <a:pt x="222" y="264"/>
                </a:lnTo>
                <a:lnTo>
                  <a:pt x="227" y="272"/>
                </a:lnTo>
                <a:lnTo>
                  <a:pt x="234" y="281"/>
                </a:lnTo>
                <a:lnTo>
                  <a:pt x="238" y="291"/>
                </a:lnTo>
                <a:lnTo>
                  <a:pt x="238" y="296"/>
                </a:lnTo>
                <a:lnTo>
                  <a:pt x="237" y="299"/>
                </a:lnTo>
                <a:lnTo>
                  <a:pt x="234" y="303"/>
                </a:lnTo>
                <a:lnTo>
                  <a:pt x="230" y="305"/>
                </a:lnTo>
                <a:lnTo>
                  <a:pt x="214" y="315"/>
                </a:lnTo>
                <a:lnTo>
                  <a:pt x="199" y="325"/>
                </a:lnTo>
                <a:lnTo>
                  <a:pt x="186" y="335"/>
                </a:lnTo>
                <a:lnTo>
                  <a:pt x="171" y="345"/>
                </a:lnTo>
                <a:lnTo>
                  <a:pt x="157" y="355"/>
                </a:lnTo>
                <a:lnTo>
                  <a:pt x="143" y="365"/>
                </a:lnTo>
                <a:lnTo>
                  <a:pt x="116" y="386"/>
                </a:lnTo>
                <a:lnTo>
                  <a:pt x="90" y="406"/>
                </a:lnTo>
                <a:lnTo>
                  <a:pt x="64" y="428"/>
                </a:lnTo>
                <a:lnTo>
                  <a:pt x="39" y="449"/>
                </a:lnTo>
                <a:lnTo>
                  <a:pt x="28" y="461"/>
                </a:lnTo>
                <a:lnTo>
                  <a:pt x="16" y="471"/>
                </a:lnTo>
                <a:lnTo>
                  <a:pt x="12" y="478"/>
                </a:lnTo>
                <a:lnTo>
                  <a:pt x="7" y="483"/>
                </a:lnTo>
                <a:lnTo>
                  <a:pt x="4" y="490"/>
                </a:lnTo>
                <a:lnTo>
                  <a:pt x="1" y="498"/>
                </a:lnTo>
                <a:lnTo>
                  <a:pt x="0" y="503"/>
                </a:lnTo>
                <a:lnTo>
                  <a:pt x="0" y="508"/>
                </a:lnTo>
                <a:lnTo>
                  <a:pt x="1" y="514"/>
                </a:lnTo>
                <a:lnTo>
                  <a:pt x="5" y="519"/>
                </a:lnTo>
                <a:lnTo>
                  <a:pt x="11" y="523"/>
                </a:lnTo>
                <a:lnTo>
                  <a:pt x="18" y="528"/>
                </a:lnTo>
                <a:lnTo>
                  <a:pt x="26" y="531"/>
                </a:lnTo>
                <a:lnTo>
                  <a:pt x="33" y="534"/>
                </a:lnTo>
                <a:lnTo>
                  <a:pt x="40" y="536"/>
                </a:lnTo>
                <a:lnTo>
                  <a:pt x="48" y="537"/>
                </a:lnTo>
                <a:lnTo>
                  <a:pt x="55" y="537"/>
                </a:lnTo>
                <a:lnTo>
                  <a:pt x="63" y="536"/>
                </a:lnTo>
                <a:lnTo>
                  <a:pt x="70" y="534"/>
                </a:lnTo>
                <a:lnTo>
                  <a:pt x="78" y="532"/>
                </a:lnTo>
                <a:lnTo>
                  <a:pt x="84" y="534"/>
                </a:lnTo>
                <a:lnTo>
                  <a:pt x="92" y="535"/>
                </a:lnTo>
                <a:lnTo>
                  <a:pt x="95" y="537"/>
                </a:lnTo>
                <a:lnTo>
                  <a:pt x="96" y="538"/>
                </a:lnTo>
                <a:lnTo>
                  <a:pt x="96" y="540"/>
                </a:lnTo>
                <a:lnTo>
                  <a:pt x="95" y="543"/>
                </a:lnTo>
                <a:lnTo>
                  <a:pt x="91" y="546"/>
                </a:lnTo>
                <a:lnTo>
                  <a:pt x="88" y="551"/>
                </a:lnTo>
                <a:lnTo>
                  <a:pt x="80" y="563"/>
                </a:lnTo>
                <a:lnTo>
                  <a:pt x="73" y="574"/>
                </a:lnTo>
                <a:lnTo>
                  <a:pt x="69" y="580"/>
                </a:lnTo>
                <a:lnTo>
                  <a:pt x="64" y="585"/>
                </a:lnTo>
                <a:lnTo>
                  <a:pt x="62" y="590"/>
                </a:lnTo>
                <a:lnTo>
                  <a:pt x="59" y="596"/>
                </a:lnTo>
                <a:lnTo>
                  <a:pt x="58" y="602"/>
                </a:lnTo>
                <a:lnTo>
                  <a:pt x="61" y="607"/>
                </a:lnTo>
                <a:lnTo>
                  <a:pt x="63" y="613"/>
                </a:lnTo>
                <a:lnTo>
                  <a:pt x="69" y="619"/>
                </a:lnTo>
                <a:lnTo>
                  <a:pt x="75" y="622"/>
                </a:lnTo>
                <a:lnTo>
                  <a:pt x="81" y="626"/>
                </a:lnTo>
                <a:lnTo>
                  <a:pt x="88" y="628"/>
                </a:lnTo>
                <a:lnTo>
                  <a:pt x="95" y="630"/>
                </a:lnTo>
                <a:lnTo>
                  <a:pt x="103" y="631"/>
                </a:lnTo>
                <a:lnTo>
                  <a:pt x="110" y="631"/>
                </a:lnTo>
                <a:lnTo>
                  <a:pt x="118" y="630"/>
                </a:lnTo>
                <a:lnTo>
                  <a:pt x="124" y="629"/>
                </a:lnTo>
                <a:lnTo>
                  <a:pt x="139" y="626"/>
                </a:lnTo>
                <a:lnTo>
                  <a:pt x="154" y="620"/>
                </a:lnTo>
                <a:lnTo>
                  <a:pt x="168" y="612"/>
                </a:lnTo>
                <a:lnTo>
                  <a:pt x="181" y="604"/>
                </a:lnTo>
                <a:lnTo>
                  <a:pt x="195" y="596"/>
                </a:lnTo>
                <a:lnTo>
                  <a:pt x="209" y="588"/>
                </a:lnTo>
                <a:lnTo>
                  <a:pt x="223" y="581"/>
                </a:lnTo>
                <a:lnTo>
                  <a:pt x="238" y="573"/>
                </a:lnTo>
                <a:lnTo>
                  <a:pt x="254" y="566"/>
                </a:lnTo>
                <a:lnTo>
                  <a:pt x="270" y="560"/>
                </a:lnTo>
                <a:lnTo>
                  <a:pt x="287" y="554"/>
                </a:lnTo>
                <a:lnTo>
                  <a:pt x="303" y="547"/>
                </a:lnTo>
                <a:lnTo>
                  <a:pt x="320" y="543"/>
                </a:lnTo>
                <a:lnTo>
                  <a:pt x="336" y="538"/>
                </a:lnTo>
                <a:lnTo>
                  <a:pt x="353" y="532"/>
                </a:lnTo>
                <a:lnTo>
                  <a:pt x="369" y="528"/>
                </a:lnTo>
                <a:lnTo>
                  <a:pt x="383" y="520"/>
                </a:lnTo>
                <a:lnTo>
                  <a:pt x="397" y="514"/>
                </a:lnTo>
                <a:lnTo>
                  <a:pt x="413" y="507"/>
                </a:lnTo>
                <a:lnTo>
                  <a:pt x="429" y="502"/>
                </a:lnTo>
                <a:lnTo>
                  <a:pt x="444" y="496"/>
                </a:lnTo>
                <a:lnTo>
                  <a:pt x="459" y="490"/>
                </a:lnTo>
                <a:lnTo>
                  <a:pt x="461" y="489"/>
                </a:lnTo>
                <a:lnTo>
                  <a:pt x="463" y="488"/>
                </a:lnTo>
                <a:lnTo>
                  <a:pt x="466" y="488"/>
                </a:lnTo>
                <a:lnTo>
                  <a:pt x="468" y="489"/>
                </a:lnTo>
                <a:lnTo>
                  <a:pt x="470" y="493"/>
                </a:lnTo>
                <a:lnTo>
                  <a:pt x="469" y="495"/>
                </a:lnTo>
                <a:lnTo>
                  <a:pt x="468" y="497"/>
                </a:lnTo>
                <a:lnTo>
                  <a:pt x="466" y="498"/>
                </a:lnTo>
                <a:lnTo>
                  <a:pt x="456" y="506"/>
                </a:lnTo>
                <a:lnTo>
                  <a:pt x="445" y="514"/>
                </a:lnTo>
                <a:lnTo>
                  <a:pt x="441" y="519"/>
                </a:lnTo>
                <a:lnTo>
                  <a:pt x="436" y="522"/>
                </a:lnTo>
                <a:lnTo>
                  <a:pt x="430" y="526"/>
                </a:lnTo>
                <a:lnTo>
                  <a:pt x="425" y="528"/>
                </a:lnTo>
                <a:lnTo>
                  <a:pt x="426" y="530"/>
                </a:lnTo>
                <a:lnTo>
                  <a:pt x="426" y="534"/>
                </a:lnTo>
                <a:lnTo>
                  <a:pt x="425" y="536"/>
                </a:lnTo>
                <a:lnTo>
                  <a:pt x="423" y="539"/>
                </a:lnTo>
                <a:lnTo>
                  <a:pt x="417" y="545"/>
                </a:lnTo>
                <a:lnTo>
                  <a:pt x="412" y="549"/>
                </a:lnTo>
                <a:lnTo>
                  <a:pt x="410" y="553"/>
                </a:lnTo>
                <a:lnTo>
                  <a:pt x="408" y="557"/>
                </a:lnTo>
                <a:lnTo>
                  <a:pt x="405" y="562"/>
                </a:lnTo>
                <a:lnTo>
                  <a:pt x="404" y="566"/>
                </a:lnTo>
                <a:lnTo>
                  <a:pt x="404" y="572"/>
                </a:lnTo>
                <a:lnTo>
                  <a:pt x="403" y="578"/>
                </a:lnTo>
                <a:lnTo>
                  <a:pt x="401" y="586"/>
                </a:lnTo>
                <a:lnTo>
                  <a:pt x="397" y="594"/>
                </a:lnTo>
                <a:lnTo>
                  <a:pt x="396" y="602"/>
                </a:lnTo>
                <a:lnTo>
                  <a:pt x="396" y="609"/>
                </a:lnTo>
                <a:lnTo>
                  <a:pt x="399" y="615"/>
                </a:lnTo>
                <a:lnTo>
                  <a:pt x="401" y="622"/>
                </a:lnTo>
                <a:lnTo>
                  <a:pt x="404" y="624"/>
                </a:lnTo>
                <a:lnTo>
                  <a:pt x="408" y="627"/>
                </a:lnTo>
                <a:lnTo>
                  <a:pt x="411" y="629"/>
                </a:lnTo>
                <a:lnTo>
                  <a:pt x="416" y="630"/>
                </a:lnTo>
                <a:lnTo>
                  <a:pt x="424" y="632"/>
                </a:lnTo>
                <a:lnTo>
                  <a:pt x="432" y="634"/>
                </a:lnTo>
                <a:lnTo>
                  <a:pt x="442" y="634"/>
                </a:lnTo>
                <a:lnTo>
                  <a:pt x="451" y="631"/>
                </a:lnTo>
                <a:lnTo>
                  <a:pt x="460" y="629"/>
                </a:lnTo>
                <a:lnTo>
                  <a:pt x="469" y="626"/>
                </a:lnTo>
                <a:lnTo>
                  <a:pt x="489" y="618"/>
                </a:lnTo>
                <a:lnTo>
                  <a:pt x="509" y="610"/>
                </a:lnTo>
                <a:lnTo>
                  <a:pt x="528" y="603"/>
                </a:lnTo>
                <a:lnTo>
                  <a:pt x="548" y="596"/>
                </a:lnTo>
                <a:lnTo>
                  <a:pt x="557" y="593"/>
                </a:lnTo>
                <a:lnTo>
                  <a:pt x="567" y="590"/>
                </a:lnTo>
                <a:lnTo>
                  <a:pt x="576" y="588"/>
                </a:lnTo>
                <a:lnTo>
                  <a:pt x="586" y="586"/>
                </a:lnTo>
                <a:lnTo>
                  <a:pt x="596" y="585"/>
                </a:lnTo>
                <a:lnTo>
                  <a:pt x="605" y="584"/>
                </a:lnTo>
                <a:lnTo>
                  <a:pt x="614" y="581"/>
                </a:lnTo>
                <a:lnTo>
                  <a:pt x="623" y="579"/>
                </a:lnTo>
                <a:lnTo>
                  <a:pt x="632" y="577"/>
                </a:lnTo>
                <a:lnTo>
                  <a:pt x="641" y="573"/>
                </a:lnTo>
                <a:lnTo>
                  <a:pt x="650" y="570"/>
                </a:lnTo>
                <a:lnTo>
                  <a:pt x="659" y="565"/>
                </a:lnTo>
                <a:lnTo>
                  <a:pt x="665" y="562"/>
                </a:lnTo>
                <a:lnTo>
                  <a:pt x="672" y="559"/>
                </a:lnTo>
                <a:lnTo>
                  <a:pt x="679" y="555"/>
                </a:lnTo>
                <a:lnTo>
                  <a:pt x="685" y="554"/>
                </a:lnTo>
                <a:lnTo>
                  <a:pt x="689" y="555"/>
                </a:lnTo>
                <a:lnTo>
                  <a:pt x="690" y="556"/>
                </a:lnTo>
                <a:lnTo>
                  <a:pt x="691" y="559"/>
                </a:lnTo>
                <a:lnTo>
                  <a:pt x="692" y="562"/>
                </a:lnTo>
                <a:lnTo>
                  <a:pt x="691" y="568"/>
                </a:lnTo>
                <a:lnTo>
                  <a:pt x="692" y="573"/>
                </a:lnTo>
                <a:lnTo>
                  <a:pt x="693" y="580"/>
                </a:lnTo>
                <a:lnTo>
                  <a:pt x="697" y="587"/>
                </a:lnTo>
                <a:lnTo>
                  <a:pt x="700" y="594"/>
                </a:lnTo>
                <a:lnTo>
                  <a:pt x="705" y="599"/>
                </a:lnTo>
                <a:lnTo>
                  <a:pt x="709" y="605"/>
                </a:lnTo>
                <a:lnTo>
                  <a:pt x="714" y="610"/>
                </a:lnTo>
                <a:lnTo>
                  <a:pt x="718" y="615"/>
                </a:lnTo>
                <a:lnTo>
                  <a:pt x="723" y="621"/>
                </a:lnTo>
                <a:lnTo>
                  <a:pt x="728" y="623"/>
                </a:lnTo>
                <a:lnTo>
                  <a:pt x="733" y="622"/>
                </a:lnTo>
                <a:lnTo>
                  <a:pt x="737" y="620"/>
                </a:lnTo>
                <a:lnTo>
                  <a:pt x="741" y="615"/>
                </a:lnTo>
                <a:lnTo>
                  <a:pt x="747" y="611"/>
                </a:lnTo>
                <a:lnTo>
                  <a:pt x="751" y="606"/>
                </a:lnTo>
                <a:lnTo>
                  <a:pt x="754" y="604"/>
                </a:lnTo>
                <a:lnTo>
                  <a:pt x="756" y="603"/>
                </a:lnTo>
                <a:lnTo>
                  <a:pt x="758" y="603"/>
                </a:lnTo>
                <a:lnTo>
                  <a:pt x="762" y="604"/>
                </a:lnTo>
                <a:lnTo>
                  <a:pt x="765" y="607"/>
                </a:lnTo>
                <a:lnTo>
                  <a:pt x="766" y="612"/>
                </a:lnTo>
                <a:lnTo>
                  <a:pt x="766" y="613"/>
                </a:lnTo>
                <a:lnTo>
                  <a:pt x="767" y="614"/>
                </a:lnTo>
                <a:lnTo>
                  <a:pt x="770" y="615"/>
                </a:lnTo>
                <a:lnTo>
                  <a:pt x="773" y="615"/>
                </a:lnTo>
                <a:lnTo>
                  <a:pt x="780" y="617"/>
                </a:lnTo>
                <a:lnTo>
                  <a:pt x="788" y="615"/>
                </a:lnTo>
                <a:lnTo>
                  <a:pt x="797" y="614"/>
                </a:lnTo>
                <a:lnTo>
                  <a:pt x="806" y="613"/>
                </a:lnTo>
                <a:lnTo>
                  <a:pt x="816" y="612"/>
                </a:lnTo>
                <a:lnTo>
                  <a:pt x="825" y="611"/>
                </a:lnTo>
                <a:lnTo>
                  <a:pt x="830" y="610"/>
                </a:lnTo>
                <a:lnTo>
                  <a:pt x="835" y="607"/>
                </a:lnTo>
                <a:lnTo>
                  <a:pt x="838" y="605"/>
                </a:lnTo>
                <a:lnTo>
                  <a:pt x="842" y="603"/>
                </a:lnTo>
                <a:lnTo>
                  <a:pt x="837" y="604"/>
                </a:lnTo>
                <a:lnTo>
                  <a:pt x="831" y="605"/>
                </a:lnTo>
                <a:lnTo>
                  <a:pt x="825" y="605"/>
                </a:lnTo>
                <a:lnTo>
                  <a:pt x="820" y="605"/>
                </a:lnTo>
                <a:lnTo>
                  <a:pt x="807" y="604"/>
                </a:lnTo>
                <a:lnTo>
                  <a:pt x="796" y="602"/>
                </a:lnTo>
                <a:lnTo>
                  <a:pt x="786" y="602"/>
                </a:lnTo>
                <a:lnTo>
                  <a:pt x="775" y="601"/>
                </a:lnTo>
                <a:lnTo>
                  <a:pt x="772" y="598"/>
                </a:lnTo>
                <a:lnTo>
                  <a:pt x="771" y="596"/>
                </a:lnTo>
                <a:lnTo>
                  <a:pt x="772" y="594"/>
                </a:lnTo>
                <a:lnTo>
                  <a:pt x="774" y="593"/>
                </a:lnTo>
                <a:lnTo>
                  <a:pt x="781" y="589"/>
                </a:lnTo>
                <a:lnTo>
                  <a:pt x="789" y="587"/>
                </a:lnTo>
                <a:lnTo>
                  <a:pt x="800" y="585"/>
                </a:lnTo>
                <a:lnTo>
                  <a:pt x="811" y="581"/>
                </a:lnTo>
                <a:lnTo>
                  <a:pt x="823" y="577"/>
                </a:lnTo>
                <a:lnTo>
                  <a:pt x="836" y="573"/>
                </a:lnTo>
                <a:lnTo>
                  <a:pt x="848" y="570"/>
                </a:lnTo>
                <a:lnTo>
                  <a:pt x="861" y="566"/>
                </a:lnTo>
                <a:lnTo>
                  <a:pt x="885" y="562"/>
                </a:lnTo>
                <a:lnTo>
                  <a:pt x="910" y="559"/>
                </a:lnTo>
                <a:lnTo>
                  <a:pt x="921" y="556"/>
                </a:lnTo>
                <a:lnTo>
                  <a:pt x="934" y="553"/>
                </a:lnTo>
                <a:lnTo>
                  <a:pt x="945" y="548"/>
                </a:lnTo>
                <a:lnTo>
                  <a:pt x="956" y="544"/>
                </a:lnTo>
                <a:lnTo>
                  <a:pt x="961" y="543"/>
                </a:lnTo>
                <a:lnTo>
                  <a:pt x="965" y="540"/>
                </a:lnTo>
                <a:lnTo>
                  <a:pt x="970" y="540"/>
                </a:lnTo>
                <a:lnTo>
                  <a:pt x="975" y="541"/>
                </a:lnTo>
                <a:lnTo>
                  <a:pt x="980" y="543"/>
                </a:lnTo>
                <a:lnTo>
                  <a:pt x="986" y="544"/>
                </a:lnTo>
                <a:lnTo>
                  <a:pt x="990" y="544"/>
                </a:lnTo>
                <a:lnTo>
                  <a:pt x="996" y="543"/>
                </a:lnTo>
                <a:lnTo>
                  <a:pt x="1006" y="538"/>
                </a:lnTo>
                <a:lnTo>
                  <a:pt x="1014" y="532"/>
                </a:lnTo>
                <a:lnTo>
                  <a:pt x="1023" y="527"/>
                </a:lnTo>
                <a:lnTo>
                  <a:pt x="1034" y="522"/>
                </a:lnTo>
                <a:lnTo>
                  <a:pt x="1045" y="520"/>
                </a:lnTo>
                <a:lnTo>
                  <a:pt x="1056" y="519"/>
                </a:lnTo>
                <a:lnTo>
                  <a:pt x="1068" y="518"/>
                </a:lnTo>
                <a:lnTo>
                  <a:pt x="1079" y="518"/>
                </a:lnTo>
                <a:lnTo>
                  <a:pt x="1092" y="515"/>
                </a:lnTo>
                <a:lnTo>
                  <a:pt x="1104" y="514"/>
                </a:lnTo>
                <a:lnTo>
                  <a:pt x="1116" y="511"/>
                </a:lnTo>
                <a:lnTo>
                  <a:pt x="1128" y="508"/>
                </a:lnTo>
                <a:lnTo>
                  <a:pt x="1153" y="502"/>
                </a:lnTo>
                <a:lnTo>
                  <a:pt x="1178" y="496"/>
                </a:lnTo>
                <a:lnTo>
                  <a:pt x="1203" y="490"/>
                </a:lnTo>
                <a:lnTo>
                  <a:pt x="1228" y="486"/>
                </a:lnTo>
                <a:lnTo>
                  <a:pt x="1240" y="483"/>
                </a:lnTo>
                <a:lnTo>
                  <a:pt x="1251" y="481"/>
                </a:lnTo>
                <a:lnTo>
                  <a:pt x="1264" y="480"/>
                </a:lnTo>
                <a:lnTo>
                  <a:pt x="1275" y="479"/>
                </a:lnTo>
                <a:lnTo>
                  <a:pt x="1277" y="479"/>
                </a:lnTo>
                <a:lnTo>
                  <a:pt x="1281" y="478"/>
                </a:lnTo>
                <a:lnTo>
                  <a:pt x="1283" y="477"/>
                </a:lnTo>
                <a:lnTo>
                  <a:pt x="1284" y="474"/>
                </a:lnTo>
                <a:lnTo>
                  <a:pt x="1283" y="471"/>
                </a:lnTo>
                <a:lnTo>
                  <a:pt x="1281" y="469"/>
                </a:lnTo>
                <a:lnTo>
                  <a:pt x="1277" y="468"/>
                </a:lnTo>
                <a:lnTo>
                  <a:pt x="1274" y="466"/>
                </a:lnTo>
                <a:lnTo>
                  <a:pt x="1265" y="464"/>
                </a:lnTo>
                <a:lnTo>
                  <a:pt x="1256" y="463"/>
                </a:lnTo>
                <a:lnTo>
                  <a:pt x="1241" y="462"/>
                </a:lnTo>
                <a:lnTo>
                  <a:pt x="1227" y="461"/>
                </a:lnTo>
                <a:lnTo>
                  <a:pt x="1215" y="460"/>
                </a:lnTo>
                <a:lnTo>
                  <a:pt x="1202" y="460"/>
                </a:lnTo>
                <a:lnTo>
                  <a:pt x="1190" y="458"/>
                </a:lnTo>
                <a:lnTo>
                  <a:pt x="1177" y="458"/>
                </a:lnTo>
                <a:lnTo>
                  <a:pt x="1150" y="460"/>
                </a:lnTo>
                <a:lnTo>
                  <a:pt x="1124" y="462"/>
                </a:lnTo>
                <a:lnTo>
                  <a:pt x="1097" y="464"/>
                </a:lnTo>
                <a:lnTo>
                  <a:pt x="1071" y="468"/>
                </a:lnTo>
                <a:lnTo>
                  <a:pt x="1059" y="470"/>
                </a:lnTo>
                <a:lnTo>
                  <a:pt x="1046" y="471"/>
                </a:lnTo>
                <a:lnTo>
                  <a:pt x="1041" y="471"/>
                </a:lnTo>
                <a:lnTo>
                  <a:pt x="1036" y="471"/>
                </a:lnTo>
                <a:lnTo>
                  <a:pt x="1031" y="473"/>
                </a:lnTo>
                <a:lnTo>
                  <a:pt x="1026" y="474"/>
                </a:lnTo>
                <a:lnTo>
                  <a:pt x="1021" y="474"/>
                </a:lnTo>
                <a:lnTo>
                  <a:pt x="1019" y="472"/>
                </a:lnTo>
                <a:lnTo>
                  <a:pt x="1019" y="471"/>
                </a:lnTo>
                <a:lnTo>
                  <a:pt x="1019" y="470"/>
                </a:lnTo>
                <a:lnTo>
                  <a:pt x="1019" y="468"/>
                </a:lnTo>
                <a:lnTo>
                  <a:pt x="1021" y="466"/>
                </a:lnTo>
                <a:lnTo>
                  <a:pt x="1030" y="464"/>
                </a:lnTo>
                <a:lnTo>
                  <a:pt x="1039" y="463"/>
                </a:lnTo>
                <a:lnTo>
                  <a:pt x="1042" y="462"/>
                </a:lnTo>
                <a:lnTo>
                  <a:pt x="1044" y="461"/>
                </a:lnTo>
                <a:lnTo>
                  <a:pt x="1047" y="461"/>
                </a:lnTo>
                <a:lnTo>
                  <a:pt x="1050" y="460"/>
                </a:lnTo>
                <a:lnTo>
                  <a:pt x="1055" y="460"/>
                </a:lnTo>
                <a:lnTo>
                  <a:pt x="1061" y="458"/>
                </a:lnTo>
                <a:lnTo>
                  <a:pt x="1075" y="456"/>
                </a:lnTo>
                <a:lnTo>
                  <a:pt x="1087" y="453"/>
                </a:lnTo>
                <a:lnTo>
                  <a:pt x="1099" y="449"/>
                </a:lnTo>
                <a:lnTo>
                  <a:pt x="1111" y="446"/>
                </a:lnTo>
                <a:lnTo>
                  <a:pt x="1124" y="443"/>
                </a:lnTo>
                <a:lnTo>
                  <a:pt x="1136" y="439"/>
                </a:lnTo>
                <a:lnTo>
                  <a:pt x="1149" y="438"/>
                </a:lnTo>
                <a:lnTo>
                  <a:pt x="1161" y="436"/>
                </a:lnTo>
                <a:lnTo>
                  <a:pt x="1174" y="433"/>
                </a:lnTo>
                <a:lnTo>
                  <a:pt x="1186" y="431"/>
                </a:lnTo>
                <a:lnTo>
                  <a:pt x="1196" y="428"/>
                </a:lnTo>
                <a:lnTo>
                  <a:pt x="1207" y="424"/>
                </a:lnTo>
                <a:lnTo>
                  <a:pt x="1217" y="423"/>
                </a:lnTo>
                <a:lnTo>
                  <a:pt x="1227" y="423"/>
                </a:lnTo>
                <a:lnTo>
                  <a:pt x="1237" y="423"/>
                </a:lnTo>
                <a:lnTo>
                  <a:pt x="1247" y="421"/>
                </a:lnTo>
                <a:lnTo>
                  <a:pt x="1251" y="420"/>
                </a:lnTo>
                <a:lnTo>
                  <a:pt x="1254" y="418"/>
                </a:lnTo>
                <a:lnTo>
                  <a:pt x="1258" y="414"/>
                </a:lnTo>
                <a:lnTo>
                  <a:pt x="1262" y="411"/>
                </a:lnTo>
                <a:lnTo>
                  <a:pt x="1269" y="404"/>
                </a:lnTo>
                <a:lnTo>
                  <a:pt x="1277" y="397"/>
                </a:lnTo>
                <a:lnTo>
                  <a:pt x="1284" y="389"/>
                </a:lnTo>
                <a:lnTo>
                  <a:pt x="1290" y="381"/>
                </a:lnTo>
                <a:lnTo>
                  <a:pt x="1290" y="377"/>
                </a:lnTo>
                <a:lnTo>
                  <a:pt x="1290" y="373"/>
                </a:lnTo>
                <a:lnTo>
                  <a:pt x="1287" y="371"/>
                </a:lnTo>
                <a:lnTo>
                  <a:pt x="1283" y="369"/>
                </a:lnTo>
                <a:lnTo>
                  <a:pt x="1272" y="364"/>
                </a:lnTo>
                <a:lnTo>
                  <a:pt x="1260" y="360"/>
                </a:lnTo>
                <a:lnTo>
                  <a:pt x="1248" y="357"/>
                </a:lnTo>
                <a:lnTo>
                  <a:pt x="1234" y="356"/>
                </a:lnTo>
                <a:lnTo>
                  <a:pt x="1221" y="356"/>
                </a:lnTo>
                <a:lnTo>
                  <a:pt x="1208" y="357"/>
                </a:lnTo>
                <a:lnTo>
                  <a:pt x="1182" y="361"/>
                </a:lnTo>
                <a:lnTo>
                  <a:pt x="1155" y="363"/>
                </a:lnTo>
                <a:lnTo>
                  <a:pt x="1129" y="365"/>
                </a:lnTo>
                <a:lnTo>
                  <a:pt x="1103" y="369"/>
                </a:lnTo>
                <a:lnTo>
                  <a:pt x="1077" y="373"/>
                </a:lnTo>
                <a:lnTo>
                  <a:pt x="1052" y="378"/>
                </a:lnTo>
                <a:lnTo>
                  <a:pt x="1027" y="382"/>
                </a:lnTo>
                <a:lnTo>
                  <a:pt x="1001" y="387"/>
                </a:lnTo>
                <a:lnTo>
                  <a:pt x="988" y="389"/>
                </a:lnTo>
                <a:lnTo>
                  <a:pt x="976" y="391"/>
                </a:lnTo>
                <a:lnTo>
                  <a:pt x="963" y="393"/>
                </a:lnTo>
                <a:lnTo>
                  <a:pt x="949" y="394"/>
                </a:lnTo>
                <a:lnTo>
                  <a:pt x="939" y="395"/>
                </a:lnTo>
                <a:lnTo>
                  <a:pt x="930" y="397"/>
                </a:lnTo>
                <a:lnTo>
                  <a:pt x="921" y="403"/>
                </a:lnTo>
                <a:lnTo>
                  <a:pt x="912" y="408"/>
                </a:lnTo>
                <a:lnTo>
                  <a:pt x="903" y="411"/>
                </a:lnTo>
                <a:lnTo>
                  <a:pt x="894" y="413"/>
                </a:lnTo>
                <a:lnTo>
                  <a:pt x="885" y="414"/>
                </a:lnTo>
                <a:lnTo>
                  <a:pt x="875" y="416"/>
                </a:lnTo>
                <a:lnTo>
                  <a:pt x="866" y="419"/>
                </a:lnTo>
                <a:lnTo>
                  <a:pt x="858" y="423"/>
                </a:lnTo>
                <a:lnTo>
                  <a:pt x="854" y="425"/>
                </a:lnTo>
                <a:lnTo>
                  <a:pt x="850" y="428"/>
                </a:lnTo>
                <a:lnTo>
                  <a:pt x="846" y="428"/>
                </a:lnTo>
                <a:lnTo>
                  <a:pt x="840" y="428"/>
                </a:lnTo>
                <a:lnTo>
                  <a:pt x="831" y="429"/>
                </a:lnTo>
                <a:lnTo>
                  <a:pt x="822" y="432"/>
                </a:lnTo>
                <a:lnTo>
                  <a:pt x="812" y="437"/>
                </a:lnTo>
                <a:lnTo>
                  <a:pt x="802" y="440"/>
                </a:lnTo>
                <a:lnTo>
                  <a:pt x="790" y="444"/>
                </a:lnTo>
                <a:lnTo>
                  <a:pt x="779" y="447"/>
                </a:lnTo>
                <a:lnTo>
                  <a:pt x="767" y="452"/>
                </a:lnTo>
                <a:lnTo>
                  <a:pt x="756" y="455"/>
                </a:lnTo>
                <a:lnTo>
                  <a:pt x="745" y="460"/>
                </a:lnTo>
                <a:lnTo>
                  <a:pt x="734" y="464"/>
                </a:lnTo>
                <a:lnTo>
                  <a:pt x="729" y="466"/>
                </a:lnTo>
                <a:lnTo>
                  <a:pt x="724" y="469"/>
                </a:lnTo>
                <a:lnTo>
                  <a:pt x="718" y="471"/>
                </a:lnTo>
                <a:lnTo>
                  <a:pt x="713" y="472"/>
                </a:lnTo>
                <a:lnTo>
                  <a:pt x="709" y="473"/>
                </a:lnTo>
                <a:lnTo>
                  <a:pt x="705" y="474"/>
                </a:lnTo>
                <a:lnTo>
                  <a:pt x="702" y="476"/>
                </a:lnTo>
                <a:lnTo>
                  <a:pt x="700" y="477"/>
                </a:lnTo>
                <a:lnTo>
                  <a:pt x="697" y="479"/>
                </a:lnTo>
                <a:lnTo>
                  <a:pt x="693" y="480"/>
                </a:lnTo>
                <a:lnTo>
                  <a:pt x="688" y="482"/>
                </a:lnTo>
                <a:lnTo>
                  <a:pt x="683" y="483"/>
                </a:lnTo>
                <a:lnTo>
                  <a:pt x="673" y="487"/>
                </a:lnTo>
                <a:lnTo>
                  <a:pt x="664" y="490"/>
                </a:lnTo>
                <a:lnTo>
                  <a:pt x="654" y="494"/>
                </a:lnTo>
                <a:lnTo>
                  <a:pt x="643" y="495"/>
                </a:lnTo>
                <a:lnTo>
                  <a:pt x="652" y="487"/>
                </a:lnTo>
                <a:lnTo>
                  <a:pt x="662" y="480"/>
                </a:lnTo>
                <a:lnTo>
                  <a:pt x="671" y="474"/>
                </a:lnTo>
                <a:lnTo>
                  <a:pt x="681" y="469"/>
                </a:lnTo>
                <a:lnTo>
                  <a:pt x="690" y="464"/>
                </a:lnTo>
                <a:lnTo>
                  <a:pt x="700" y="461"/>
                </a:lnTo>
                <a:lnTo>
                  <a:pt x="710" y="457"/>
                </a:lnTo>
                <a:lnTo>
                  <a:pt x="720" y="453"/>
                </a:lnTo>
                <a:lnTo>
                  <a:pt x="728" y="449"/>
                </a:lnTo>
                <a:lnTo>
                  <a:pt x="736" y="446"/>
                </a:lnTo>
                <a:lnTo>
                  <a:pt x="743" y="444"/>
                </a:lnTo>
                <a:lnTo>
                  <a:pt x="751" y="441"/>
                </a:lnTo>
                <a:lnTo>
                  <a:pt x="758" y="437"/>
                </a:lnTo>
                <a:lnTo>
                  <a:pt x="765" y="432"/>
                </a:lnTo>
                <a:lnTo>
                  <a:pt x="770" y="432"/>
                </a:lnTo>
                <a:lnTo>
                  <a:pt x="773" y="431"/>
                </a:lnTo>
                <a:lnTo>
                  <a:pt x="775" y="429"/>
                </a:lnTo>
                <a:lnTo>
                  <a:pt x="776" y="427"/>
                </a:lnTo>
                <a:lnTo>
                  <a:pt x="783" y="423"/>
                </a:lnTo>
                <a:lnTo>
                  <a:pt x="790" y="422"/>
                </a:lnTo>
                <a:lnTo>
                  <a:pt x="794" y="420"/>
                </a:lnTo>
                <a:lnTo>
                  <a:pt x="798" y="418"/>
                </a:lnTo>
                <a:lnTo>
                  <a:pt x="805" y="415"/>
                </a:lnTo>
                <a:lnTo>
                  <a:pt x="812" y="413"/>
                </a:lnTo>
                <a:lnTo>
                  <a:pt x="815" y="413"/>
                </a:lnTo>
                <a:lnTo>
                  <a:pt x="820" y="412"/>
                </a:lnTo>
                <a:lnTo>
                  <a:pt x="822" y="410"/>
                </a:lnTo>
                <a:lnTo>
                  <a:pt x="823" y="407"/>
                </a:lnTo>
                <a:lnTo>
                  <a:pt x="830" y="404"/>
                </a:lnTo>
                <a:lnTo>
                  <a:pt x="838" y="403"/>
                </a:lnTo>
                <a:lnTo>
                  <a:pt x="841" y="400"/>
                </a:lnTo>
                <a:lnTo>
                  <a:pt x="845" y="398"/>
                </a:lnTo>
                <a:lnTo>
                  <a:pt x="848" y="398"/>
                </a:lnTo>
                <a:lnTo>
                  <a:pt x="850" y="397"/>
                </a:lnTo>
                <a:lnTo>
                  <a:pt x="852" y="396"/>
                </a:lnTo>
                <a:lnTo>
                  <a:pt x="854" y="395"/>
                </a:lnTo>
                <a:lnTo>
                  <a:pt x="856" y="394"/>
                </a:lnTo>
                <a:lnTo>
                  <a:pt x="858" y="394"/>
                </a:lnTo>
                <a:lnTo>
                  <a:pt x="862" y="390"/>
                </a:lnTo>
                <a:lnTo>
                  <a:pt x="865" y="388"/>
                </a:lnTo>
                <a:lnTo>
                  <a:pt x="874" y="386"/>
                </a:lnTo>
                <a:lnTo>
                  <a:pt x="883" y="383"/>
                </a:lnTo>
                <a:lnTo>
                  <a:pt x="893" y="380"/>
                </a:lnTo>
                <a:lnTo>
                  <a:pt x="902" y="377"/>
                </a:lnTo>
                <a:lnTo>
                  <a:pt x="910" y="374"/>
                </a:lnTo>
                <a:lnTo>
                  <a:pt x="916" y="371"/>
                </a:lnTo>
                <a:lnTo>
                  <a:pt x="919" y="370"/>
                </a:lnTo>
                <a:lnTo>
                  <a:pt x="921" y="370"/>
                </a:lnTo>
                <a:lnTo>
                  <a:pt x="923" y="370"/>
                </a:lnTo>
                <a:lnTo>
                  <a:pt x="927" y="369"/>
                </a:lnTo>
                <a:lnTo>
                  <a:pt x="932" y="366"/>
                </a:lnTo>
                <a:lnTo>
                  <a:pt x="937" y="364"/>
                </a:lnTo>
                <a:lnTo>
                  <a:pt x="948" y="360"/>
                </a:lnTo>
                <a:lnTo>
                  <a:pt x="960" y="357"/>
                </a:lnTo>
                <a:lnTo>
                  <a:pt x="965" y="356"/>
                </a:lnTo>
                <a:lnTo>
                  <a:pt x="970" y="356"/>
                </a:lnTo>
                <a:lnTo>
                  <a:pt x="971" y="356"/>
                </a:lnTo>
                <a:lnTo>
                  <a:pt x="973" y="355"/>
                </a:lnTo>
                <a:lnTo>
                  <a:pt x="975" y="353"/>
                </a:lnTo>
                <a:lnTo>
                  <a:pt x="975" y="349"/>
                </a:lnTo>
                <a:lnTo>
                  <a:pt x="978" y="352"/>
                </a:lnTo>
                <a:lnTo>
                  <a:pt x="981" y="353"/>
                </a:lnTo>
                <a:lnTo>
                  <a:pt x="985" y="354"/>
                </a:lnTo>
                <a:lnTo>
                  <a:pt x="988" y="352"/>
                </a:lnTo>
                <a:lnTo>
                  <a:pt x="993" y="347"/>
                </a:lnTo>
                <a:lnTo>
                  <a:pt x="997" y="341"/>
                </a:lnTo>
                <a:lnTo>
                  <a:pt x="1003" y="341"/>
                </a:lnTo>
                <a:lnTo>
                  <a:pt x="1009" y="341"/>
                </a:lnTo>
                <a:lnTo>
                  <a:pt x="1019" y="337"/>
                </a:lnTo>
                <a:lnTo>
                  <a:pt x="1029" y="332"/>
                </a:lnTo>
                <a:lnTo>
                  <a:pt x="1051" y="325"/>
                </a:lnTo>
                <a:lnTo>
                  <a:pt x="1074" y="320"/>
                </a:lnTo>
                <a:lnTo>
                  <a:pt x="1095" y="315"/>
                </a:lnTo>
                <a:lnTo>
                  <a:pt x="1117" y="308"/>
                </a:lnTo>
                <a:lnTo>
                  <a:pt x="1138" y="300"/>
                </a:lnTo>
                <a:lnTo>
                  <a:pt x="1162" y="294"/>
                </a:lnTo>
                <a:lnTo>
                  <a:pt x="1186" y="289"/>
                </a:lnTo>
                <a:lnTo>
                  <a:pt x="1210" y="285"/>
                </a:lnTo>
                <a:lnTo>
                  <a:pt x="1221" y="282"/>
                </a:lnTo>
                <a:lnTo>
                  <a:pt x="1234" y="280"/>
                </a:lnTo>
                <a:lnTo>
                  <a:pt x="1245" y="278"/>
                </a:lnTo>
                <a:lnTo>
                  <a:pt x="1258" y="275"/>
                </a:lnTo>
                <a:lnTo>
                  <a:pt x="1267" y="273"/>
                </a:lnTo>
                <a:lnTo>
                  <a:pt x="1277" y="270"/>
                </a:lnTo>
                <a:lnTo>
                  <a:pt x="1285" y="269"/>
                </a:lnTo>
                <a:lnTo>
                  <a:pt x="1293" y="266"/>
                </a:lnTo>
                <a:lnTo>
                  <a:pt x="1298" y="265"/>
                </a:lnTo>
                <a:lnTo>
                  <a:pt x="1300" y="263"/>
                </a:lnTo>
                <a:lnTo>
                  <a:pt x="1302" y="259"/>
                </a:lnTo>
                <a:lnTo>
                  <a:pt x="1305" y="256"/>
                </a:lnTo>
                <a:lnTo>
                  <a:pt x="1307" y="252"/>
                </a:lnTo>
                <a:lnTo>
                  <a:pt x="1309" y="248"/>
                </a:lnTo>
                <a:lnTo>
                  <a:pt x="1313" y="245"/>
                </a:lnTo>
                <a:lnTo>
                  <a:pt x="1316" y="241"/>
                </a:lnTo>
                <a:lnTo>
                  <a:pt x="1323" y="237"/>
                </a:lnTo>
                <a:lnTo>
                  <a:pt x="1331" y="230"/>
                </a:lnTo>
                <a:lnTo>
                  <a:pt x="1334" y="227"/>
                </a:lnTo>
                <a:lnTo>
                  <a:pt x="1335" y="223"/>
                </a:lnTo>
                <a:lnTo>
                  <a:pt x="1335" y="221"/>
                </a:lnTo>
                <a:lnTo>
                  <a:pt x="1334" y="220"/>
                </a:lnTo>
                <a:lnTo>
                  <a:pt x="1332" y="217"/>
                </a:lnTo>
                <a:lnTo>
                  <a:pt x="1330" y="216"/>
                </a:lnTo>
                <a:lnTo>
                  <a:pt x="1325" y="214"/>
                </a:lnTo>
                <a:lnTo>
                  <a:pt x="1328" y="215"/>
                </a:lnTo>
                <a:lnTo>
                  <a:pt x="1332" y="216"/>
                </a:lnTo>
                <a:lnTo>
                  <a:pt x="1330" y="216"/>
                </a:lnTo>
                <a:close/>
                <a:moveTo>
                  <a:pt x="429" y="408"/>
                </a:moveTo>
                <a:lnTo>
                  <a:pt x="466" y="388"/>
                </a:lnTo>
                <a:lnTo>
                  <a:pt x="504" y="370"/>
                </a:lnTo>
                <a:lnTo>
                  <a:pt x="543" y="353"/>
                </a:lnTo>
                <a:lnTo>
                  <a:pt x="583" y="338"/>
                </a:lnTo>
                <a:lnTo>
                  <a:pt x="545" y="356"/>
                </a:lnTo>
                <a:lnTo>
                  <a:pt x="507" y="375"/>
                </a:lnTo>
                <a:lnTo>
                  <a:pt x="489" y="385"/>
                </a:lnTo>
                <a:lnTo>
                  <a:pt x="469" y="394"/>
                </a:lnTo>
                <a:lnTo>
                  <a:pt x="449" y="402"/>
                </a:lnTo>
                <a:lnTo>
                  <a:pt x="429" y="408"/>
                </a:lnTo>
                <a:close/>
                <a:moveTo>
                  <a:pt x="586" y="336"/>
                </a:moveTo>
                <a:lnTo>
                  <a:pt x="585" y="335"/>
                </a:lnTo>
                <a:lnTo>
                  <a:pt x="586" y="333"/>
                </a:lnTo>
                <a:lnTo>
                  <a:pt x="586" y="332"/>
                </a:lnTo>
                <a:lnTo>
                  <a:pt x="588" y="332"/>
                </a:lnTo>
                <a:lnTo>
                  <a:pt x="591" y="331"/>
                </a:lnTo>
                <a:lnTo>
                  <a:pt x="593" y="331"/>
                </a:lnTo>
                <a:lnTo>
                  <a:pt x="593" y="333"/>
                </a:lnTo>
                <a:lnTo>
                  <a:pt x="596" y="335"/>
                </a:lnTo>
                <a:lnTo>
                  <a:pt x="594" y="336"/>
                </a:lnTo>
                <a:lnTo>
                  <a:pt x="591" y="338"/>
                </a:lnTo>
                <a:lnTo>
                  <a:pt x="590" y="338"/>
                </a:lnTo>
                <a:lnTo>
                  <a:pt x="588" y="338"/>
                </a:lnTo>
                <a:lnTo>
                  <a:pt x="586" y="337"/>
                </a:lnTo>
                <a:lnTo>
                  <a:pt x="586" y="336"/>
                </a:lnTo>
                <a:lnTo>
                  <a:pt x="585" y="336"/>
                </a:lnTo>
                <a:lnTo>
                  <a:pt x="586" y="336"/>
                </a:lnTo>
                <a:close/>
                <a:moveTo>
                  <a:pt x="660" y="547"/>
                </a:moveTo>
                <a:lnTo>
                  <a:pt x="666" y="544"/>
                </a:lnTo>
                <a:lnTo>
                  <a:pt x="673" y="539"/>
                </a:lnTo>
                <a:lnTo>
                  <a:pt x="677" y="537"/>
                </a:lnTo>
                <a:lnTo>
                  <a:pt x="681" y="536"/>
                </a:lnTo>
                <a:lnTo>
                  <a:pt x="684" y="535"/>
                </a:lnTo>
                <a:lnTo>
                  <a:pt x="688" y="536"/>
                </a:lnTo>
                <a:lnTo>
                  <a:pt x="690" y="538"/>
                </a:lnTo>
                <a:lnTo>
                  <a:pt x="690" y="541"/>
                </a:lnTo>
                <a:lnTo>
                  <a:pt x="689" y="544"/>
                </a:lnTo>
                <a:lnTo>
                  <a:pt x="685" y="546"/>
                </a:lnTo>
                <a:lnTo>
                  <a:pt x="683" y="547"/>
                </a:lnTo>
                <a:lnTo>
                  <a:pt x="681" y="549"/>
                </a:lnTo>
                <a:lnTo>
                  <a:pt x="680" y="552"/>
                </a:lnTo>
                <a:lnTo>
                  <a:pt x="681" y="554"/>
                </a:lnTo>
                <a:lnTo>
                  <a:pt x="673" y="554"/>
                </a:lnTo>
                <a:lnTo>
                  <a:pt x="665" y="556"/>
                </a:lnTo>
                <a:lnTo>
                  <a:pt x="662" y="556"/>
                </a:lnTo>
                <a:lnTo>
                  <a:pt x="658" y="556"/>
                </a:lnTo>
                <a:lnTo>
                  <a:pt x="657" y="554"/>
                </a:lnTo>
                <a:lnTo>
                  <a:pt x="657" y="552"/>
                </a:lnTo>
                <a:lnTo>
                  <a:pt x="658" y="549"/>
                </a:lnTo>
                <a:lnTo>
                  <a:pt x="660" y="547"/>
                </a:lnTo>
                <a:lnTo>
                  <a:pt x="663" y="547"/>
                </a:lnTo>
                <a:lnTo>
                  <a:pt x="660" y="547"/>
                </a:lnTo>
                <a:close/>
                <a:moveTo>
                  <a:pt x="729" y="290"/>
                </a:moveTo>
                <a:lnTo>
                  <a:pt x="715" y="294"/>
                </a:lnTo>
                <a:lnTo>
                  <a:pt x="702" y="297"/>
                </a:lnTo>
                <a:lnTo>
                  <a:pt x="690" y="302"/>
                </a:lnTo>
                <a:lnTo>
                  <a:pt x="676" y="306"/>
                </a:lnTo>
                <a:lnTo>
                  <a:pt x="664" y="311"/>
                </a:lnTo>
                <a:lnTo>
                  <a:pt x="652" y="315"/>
                </a:lnTo>
                <a:lnTo>
                  <a:pt x="649" y="317"/>
                </a:lnTo>
                <a:lnTo>
                  <a:pt x="646" y="317"/>
                </a:lnTo>
                <a:lnTo>
                  <a:pt x="644" y="316"/>
                </a:lnTo>
                <a:lnTo>
                  <a:pt x="643" y="315"/>
                </a:lnTo>
                <a:lnTo>
                  <a:pt x="643" y="313"/>
                </a:lnTo>
                <a:lnTo>
                  <a:pt x="643" y="312"/>
                </a:lnTo>
                <a:lnTo>
                  <a:pt x="646" y="310"/>
                </a:lnTo>
                <a:lnTo>
                  <a:pt x="648" y="308"/>
                </a:lnTo>
                <a:lnTo>
                  <a:pt x="654" y="306"/>
                </a:lnTo>
                <a:lnTo>
                  <a:pt x="658" y="304"/>
                </a:lnTo>
                <a:lnTo>
                  <a:pt x="669" y="300"/>
                </a:lnTo>
                <a:lnTo>
                  <a:pt x="681" y="296"/>
                </a:lnTo>
                <a:lnTo>
                  <a:pt x="693" y="292"/>
                </a:lnTo>
                <a:lnTo>
                  <a:pt x="705" y="289"/>
                </a:lnTo>
                <a:lnTo>
                  <a:pt x="717" y="286"/>
                </a:lnTo>
                <a:lnTo>
                  <a:pt x="729" y="282"/>
                </a:lnTo>
                <a:lnTo>
                  <a:pt x="729" y="286"/>
                </a:lnTo>
                <a:lnTo>
                  <a:pt x="729" y="290"/>
                </a:lnTo>
                <a:lnTo>
                  <a:pt x="717" y="292"/>
                </a:lnTo>
                <a:lnTo>
                  <a:pt x="718" y="291"/>
                </a:lnTo>
                <a:lnTo>
                  <a:pt x="725" y="290"/>
                </a:lnTo>
                <a:lnTo>
                  <a:pt x="729" y="290"/>
                </a:lnTo>
                <a:close/>
                <a:moveTo>
                  <a:pt x="767" y="275"/>
                </a:moveTo>
                <a:lnTo>
                  <a:pt x="763" y="274"/>
                </a:lnTo>
                <a:lnTo>
                  <a:pt x="761" y="272"/>
                </a:lnTo>
                <a:lnTo>
                  <a:pt x="772" y="269"/>
                </a:lnTo>
                <a:lnTo>
                  <a:pt x="782" y="265"/>
                </a:lnTo>
                <a:lnTo>
                  <a:pt x="794" y="263"/>
                </a:lnTo>
                <a:lnTo>
                  <a:pt x="806" y="262"/>
                </a:lnTo>
                <a:lnTo>
                  <a:pt x="797" y="267"/>
                </a:lnTo>
                <a:lnTo>
                  <a:pt x="787" y="271"/>
                </a:lnTo>
                <a:lnTo>
                  <a:pt x="778" y="273"/>
                </a:lnTo>
                <a:lnTo>
                  <a:pt x="767" y="275"/>
                </a:lnTo>
                <a:lnTo>
                  <a:pt x="771" y="274"/>
                </a:lnTo>
                <a:lnTo>
                  <a:pt x="767" y="275"/>
                </a:lnTo>
                <a:close/>
                <a:moveTo>
                  <a:pt x="936" y="155"/>
                </a:moveTo>
                <a:lnTo>
                  <a:pt x="942" y="148"/>
                </a:lnTo>
                <a:lnTo>
                  <a:pt x="947" y="144"/>
                </a:lnTo>
                <a:lnTo>
                  <a:pt x="955" y="140"/>
                </a:lnTo>
                <a:lnTo>
                  <a:pt x="963" y="139"/>
                </a:lnTo>
                <a:lnTo>
                  <a:pt x="975" y="137"/>
                </a:lnTo>
                <a:lnTo>
                  <a:pt x="985" y="136"/>
                </a:lnTo>
                <a:lnTo>
                  <a:pt x="995" y="134"/>
                </a:lnTo>
                <a:lnTo>
                  <a:pt x="1005" y="133"/>
                </a:lnTo>
                <a:lnTo>
                  <a:pt x="1015" y="131"/>
                </a:lnTo>
                <a:lnTo>
                  <a:pt x="1026" y="129"/>
                </a:lnTo>
                <a:lnTo>
                  <a:pt x="1036" y="126"/>
                </a:lnTo>
                <a:lnTo>
                  <a:pt x="1047" y="124"/>
                </a:lnTo>
                <a:lnTo>
                  <a:pt x="1058" y="123"/>
                </a:lnTo>
                <a:lnTo>
                  <a:pt x="1068" y="121"/>
                </a:lnTo>
                <a:lnTo>
                  <a:pt x="1078" y="120"/>
                </a:lnTo>
                <a:lnTo>
                  <a:pt x="1089" y="119"/>
                </a:lnTo>
                <a:lnTo>
                  <a:pt x="1087" y="120"/>
                </a:lnTo>
                <a:lnTo>
                  <a:pt x="1087" y="121"/>
                </a:lnTo>
                <a:lnTo>
                  <a:pt x="1088" y="123"/>
                </a:lnTo>
                <a:lnTo>
                  <a:pt x="1089" y="124"/>
                </a:lnTo>
                <a:lnTo>
                  <a:pt x="1094" y="124"/>
                </a:lnTo>
                <a:lnTo>
                  <a:pt x="1099" y="123"/>
                </a:lnTo>
                <a:lnTo>
                  <a:pt x="1109" y="122"/>
                </a:lnTo>
                <a:lnTo>
                  <a:pt x="1119" y="121"/>
                </a:lnTo>
                <a:lnTo>
                  <a:pt x="1128" y="120"/>
                </a:lnTo>
                <a:lnTo>
                  <a:pt x="1138" y="122"/>
                </a:lnTo>
                <a:lnTo>
                  <a:pt x="1136" y="123"/>
                </a:lnTo>
                <a:lnTo>
                  <a:pt x="1136" y="125"/>
                </a:lnTo>
                <a:lnTo>
                  <a:pt x="1137" y="126"/>
                </a:lnTo>
                <a:lnTo>
                  <a:pt x="1137" y="129"/>
                </a:lnTo>
                <a:lnTo>
                  <a:pt x="1125" y="130"/>
                </a:lnTo>
                <a:lnTo>
                  <a:pt x="1112" y="131"/>
                </a:lnTo>
                <a:lnTo>
                  <a:pt x="1105" y="132"/>
                </a:lnTo>
                <a:lnTo>
                  <a:pt x="1101" y="133"/>
                </a:lnTo>
                <a:lnTo>
                  <a:pt x="1094" y="133"/>
                </a:lnTo>
                <a:lnTo>
                  <a:pt x="1087" y="132"/>
                </a:lnTo>
                <a:lnTo>
                  <a:pt x="1076" y="134"/>
                </a:lnTo>
                <a:lnTo>
                  <a:pt x="1063" y="137"/>
                </a:lnTo>
                <a:lnTo>
                  <a:pt x="1051" y="140"/>
                </a:lnTo>
                <a:lnTo>
                  <a:pt x="1038" y="141"/>
                </a:lnTo>
                <a:lnTo>
                  <a:pt x="1013" y="142"/>
                </a:lnTo>
                <a:lnTo>
                  <a:pt x="987" y="147"/>
                </a:lnTo>
                <a:lnTo>
                  <a:pt x="962" y="150"/>
                </a:lnTo>
                <a:lnTo>
                  <a:pt x="936" y="155"/>
                </a:lnTo>
                <a:lnTo>
                  <a:pt x="939" y="151"/>
                </a:lnTo>
                <a:lnTo>
                  <a:pt x="944" y="149"/>
                </a:lnTo>
                <a:lnTo>
                  <a:pt x="948" y="149"/>
                </a:lnTo>
                <a:lnTo>
                  <a:pt x="952" y="149"/>
                </a:lnTo>
                <a:lnTo>
                  <a:pt x="953" y="149"/>
                </a:lnTo>
                <a:lnTo>
                  <a:pt x="953" y="150"/>
                </a:lnTo>
                <a:lnTo>
                  <a:pt x="953" y="150"/>
                </a:lnTo>
                <a:lnTo>
                  <a:pt x="952" y="151"/>
                </a:lnTo>
                <a:lnTo>
                  <a:pt x="946" y="153"/>
                </a:lnTo>
                <a:lnTo>
                  <a:pt x="936" y="15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108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98">
            <a:extLst>
              <a:ext uri="{FF2B5EF4-FFF2-40B4-BE49-F238E27FC236}">
                <a16:creationId xmlns:a16="http://schemas.microsoft.com/office/drawing/2014/main" id="{BADD4D9C-C56A-C546-BB1F-658D6460C976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>
            <a:off x="0" y="1737008"/>
            <a:ext cx="12192000" cy="5120992"/>
          </a:xfrm>
          <a:custGeom>
            <a:avLst/>
            <a:gdLst>
              <a:gd name="T0" fmla="*/ 16406 w 32781"/>
              <a:gd name="T1" fmla="*/ 1062 h 16312"/>
              <a:gd name="T2" fmla="*/ 4500 w 32781"/>
              <a:gd name="T3" fmla="*/ 3656 h 16312"/>
              <a:gd name="T4" fmla="*/ 4312 w 32781"/>
              <a:gd name="T5" fmla="*/ 11906 h 16312"/>
              <a:gd name="T6" fmla="*/ 8906 w 32781"/>
              <a:gd name="T7" fmla="*/ 7687 h 16312"/>
              <a:gd name="T8" fmla="*/ 10406 w 32781"/>
              <a:gd name="T9" fmla="*/ 8062 h 16312"/>
              <a:gd name="T10" fmla="*/ 12625 w 32781"/>
              <a:gd name="T11" fmla="*/ 7656 h 16312"/>
              <a:gd name="T12" fmla="*/ 13906 w 32781"/>
              <a:gd name="T13" fmla="*/ 12656 h 16312"/>
              <a:gd name="T14" fmla="*/ 26094 w 32781"/>
              <a:gd name="T15" fmla="*/ 14562 h 16312"/>
              <a:gd name="T16" fmla="*/ 29531 w 32781"/>
              <a:gd name="T17" fmla="*/ 12312 h 16312"/>
              <a:gd name="T18" fmla="*/ 21531 w 32781"/>
              <a:gd name="T19" fmla="*/ 13906 h 16312"/>
              <a:gd name="T20" fmla="*/ 24531 w 32781"/>
              <a:gd name="T21" fmla="*/ 12656 h 16312"/>
              <a:gd name="T22" fmla="*/ 29844 w 32781"/>
              <a:gd name="T23" fmla="*/ 10562 h 16312"/>
              <a:gd name="T24" fmla="*/ 23906 w 32781"/>
              <a:gd name="T25" fmla="*/ 12156 h 16312"/>
              <a:gd name="T26" fmla="*/ 31719 w 32781"/>
              <a:gd name="T27" fmla="*/ 8812 h 16312"/>
              <a:gd name="T28" fmla="*/ 28562 w 32781"/>
              <a:gd name="T29" fmla="*/ 9218 h 16312"/>
              <a:gd name="T30" fmla="*/ 24722 w 32781"/>
              <a:gd name="T31" fmla="*/ 10531 h 16312"/>
              <a:gd name="T32" fmla="*/ 24693 w 32781"/>
              <a:gd name="T33" fmla="*/ 10531 h 16312"/>
              <a:gd name="T34" fmla="*/ 23281 w 32781"/>
              <a:gd name="T35" fmla="*/ 10906 h 16312"/>
              <a:gd name="T36" fmla="*/ 32437 w 32781"/>
              <a:gd name="T37" fmla="*/ 6750 h 16312"/>
              <a:gd name="T38" fmla="*/ 31312 w 32781"/>
              <a:gd name="T39" fmla="*/ 6125 h 16312"/>
              <a:gd name="T40" fmla="*/ 21375 w 32781"/>
              <a:gd name="T41" fmla="*/ 9812 h 16312"/>
              <a:gd name="T42" fmla="*/ 23562 w 32781"/>
              <a:gd name="T43" fmla="*/ 8312 h 16312"/>
              <a:gd name="T44" fmla="*/ 28469 w 32781"/>
              <a:gd name="T45" fmla="*/ 6062 h 16312"/>
              <a:gd name="T46" fmla="*/ 32781 w 32781"/>
              <a:gd name="T47" fmla="*/ 3500 h 16312"/>
              <a:gd name="T48" fmla="*/ 844 w 32781"/>
              <a:gd name="T49" fmla="*/ 7468 h 16312"/>
              <a:gd name="T50" fmla="*/ 9219 w 32781"/>
              <a:gd name="T51" fmla="*/ 5968 h 16312"/>
              <a:gd name="T52" fmla="*/ 7500 w 32781"/>
              <a:gd name="T53" fmla="*/ 7000 h 16312"/>
              <a:gd name="T54" fmla="*/ 2844 w 32781"/>
              <a:gd name="T55" fmla="*/ 5187 h 16312"/>
              <a:gd name="T56" fmla="*/ 2687 w 32781"/>
              <a:gd name="T57" fmla="*/ 10000 h 16312"/>
              <a:gd name="T58" fmla="*/ 4750 w 32781"/>
              <a:gd name="T59" fmla="*/ 8750 h 16312"/>
              <a:gd name="T60" fmla="*/ 3781 w 32781"/>
              <a:gd name="T61" fmla="*/ 9375 h 16312"/>
              <a:gd name="T62" fmla="*/ 4406 w 32781"/>
              <a:gd name="T63" fmla="*/ 8884 h 16312"/>
              <a:gd name="T64" fmla="*/ 5406 w 32781"/>
              <a:gd name="T65" fmla="*/ 8593 h 16312"/>
              <a:gd name="T66" fmla="*/ 11094 w 32781"/>
              <a:gd name="T67" fmla="*/ 4031 h 16312"/>
              <a:gd name="T68" fmla="*/ 14219 w 32781"/>
              <a:gd name="T69" fmla="*/ 2437 h 16312"/>
              <a:gd name="T70" fmla="*/ 15406 w 32781"/>
              <a:gd name="T71" fmla="*/ 1906 h 16312"/>
              <a:gd name="T72" fmla="*/ 16051 w 32781"/>
              <a:gd name="T73" fmla="*/ 1656 h 16312"/>
              <a:gd name="T74" fmla="*/ 16094 w 32781"/>
              <a:gd name="T75" fmla="*/ 1656 h 16312"/>
              <a:gd name="T76" fmla="*/ 25250 w 32781"/>
              <a:gd name="T77" fmla="*/ 13125 h 16312"/>
              <a:gd name="T78" fmla="*/ 23844 w 32781"/>
              <a:gd name="T79" fmla="*/ 14125 h 16312"/>
              <a:gd name="T80" fmla="*/ 22344 w 32781"/>
              <a:gd name="T81" fmla="*/ 14625 h 16312"/>
              <a:gd name="T82" fmla="*/ 28906 w 32781"/>
              <a:gd name="T83" fmla="*/ 9812 h 16312"/>
              <a:gd name="T84" fmla="*/ 20437 w 32781"/>
              <a:gd name="T85" fmla="*/ 11718 h 16312"/>
              <a:gd name="T86" fmla="*/ 23844 w 32781"/>
              <a:gd name="T87" fmla="*/ 10531 h 16312"/>
              <a:gd name="T88" fmla="*/ 29594 w 32781"/>
              <a:gd name="T89" fmla="*/ 8187 h 16312"/>
              <a:gd name="T90" fmla="*/ 31500 w 32781"/>
              <a:gd name="T91" fmla="*/ 7031 h 16312"/>
              <a:gd name="T92" fmla="*/ 31187 w 32781"/>
              <a:gd name="T93" fmla="*/ 7218 h 16312"/>
              <a:gd name="T94" fmla="*/ 31687 w 32781"/>
              <a:gd name="T95" fmla="*/ 7343 h 16312"/>
              <a:gd name="T96" fmla="*/ 20437 w 32781"/>
              <a:gd name="T97" fmla="*/ 11406 h 16312"/>
              <a:gd name="T98" fmla="*/ 21531 w 32781"/>
              <a:gd name="T99" fmla="*/ 9281 h 16312"/>
              <a:gd name="T100" fmla="*/ 21281 w 32781"/>
              <a:gd name="T101" fmla="*/ 8812 h 16312"/>
              <a:gd name="T102" fmla="*/ 23812 w 32781"/>
              <a:gd name="T103" fmla="*/ 8093 h 16312"/>
              <a:gd name="T104" fmla="*/ 23500 w 32781"/>
              <a:gd name="T105" fmla="*/ 8000 h 16312"/>
              <a:gd name="T106" fmla="*/ 25344 w 32781"/>
              <a:gd name="T107" fmla="*/ 6656 h 16312"/>
              <a:gd name="T108" fmla="*/ 29219 w 32781"/>
              <a:gd name="T109" fmla="*/ 5156 h 16312"/>
              <a:gd name="T110" fmla="*/ 9187 w 32781"/>
              <a:gd name="T111" fmla="*/ 9750 h 16312"/>
              <a:gd name="T112" fmla="*/ 11437 w 32781"/>
              <a:gd name="T113" fmla="*/ 8093 h 16312"/>
              <a:gd name="T114" fmla="*/ 16500 w 32781"/>
              <a:gd name="T115" fmla="*/ 2781 h 16312"/>
              <a:gd name="T116" fmla="*/ 25031 w 32781"/>
              <a:gd name="T117" fmla="*/ 8375 h 16312"/>
              <a:gd name="T118" fmla="*/ 32156 w 32781"/>
              <a:gd name="T119" fmla="*/ 8406 h 16312"/>
              <a:gd name="T120" fmla="*/ 30455 w 32781"/>
              <a:gd name="T121" fmla="*/ 8531 h 16312"/>
              <a:gd name="T122" fmla="*/ 30875 w 32781"/>
              <a:gd name="T123" fmla="*/ 11375 h 16312"/>
              <a:gd name="T124" fmla="*/ 26312 w 32781"/>
              <a:gd name="T125" fmla="*/ 8000 h 16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2781" h="16312">
                <a:moveTo>
                  <a:pt x="12906" y="10812"/>
                </a:moveTo>
                <a:cubicBezTo>
                  <a:pt x="12906" y="10812"/>
                  <a:pt x="12906" y="10812"/>
                  <a:pt x="12906" y="10812"/>
                </a:cubicBezTo>
                <a:cubicBezTo>
                  <a:pt x="12906" y="10812"/>
                  <a:pt x="12906" y="10812"/>
                  <a:pt x="12906" y="10812"/>
                </a:cubicBezTo>
                <a:cubicBezTo>
                  <a:pt x="12906" y="10812"/>
                  <a:pt x="12875" y="10812"/>
                  <a:pt x="12875" y="10812"/>
                </a:cubicBezTo>
                <a:cubicBezTo>
                  <a:pt x="12875" y="10812"/>
                  <a:pt x="12875" y="10812"/>
                  <a:pt x="12875" y="10812"/>
                </a:cubicBezTo>
                <a:cubicBezTo>
                  <a:pt x="12875" y="10812"/>
                  <a:pt x="12875" y="10812"/>
                  <a:pt x="12875" y="10812"/>
                </a:cubicBezTo>
                <a:cubicBezTo>
                  <a:pt x="12875" y="10812"/>
                  <a:pt x="12875" y="10812"/>
                  <a:pt x="12906" y="10812"/>
                </a:cubicBezTo>
                <a:cubicBezTo>
                  <a:pt x="12906" y="10812"/>
                  <a:pt x="12906" y="10812"/>
                  <a:pt x="12906" y="10812"/>
                </a:cubicBezTo>
                <a:close/>
                <a:moveTo>
                  <a:pt x="32312" y="3031"/>
                </a:moveTo>
                <a:cubicBezTo>
                  <a:pt x="31812" y="3250"/>
                  <a:pt x="31344" y="3437"/>
                  <a:pt x="30875" y="3656"/>
                </a:cubicBezTo>
                <a:cubicBezTo>
                  <a:pt x="30500" y="3812"/>
                  <a:pt x="30125" y="3968"/>
                  <a:pt x="29781" y="4125"/>
                </a:cubicBezTo>
                <a:cubicBezTo>
                  <a:pt x="29406" y="4281"/>
                  <a:pt x="29031" y="4437"/>
                  <a:pt x="28656" y="4593"/>
                </a:cubicBezTo>
                <a:cubicBezTo>
                  <a:pt x="28125" y="4812"/>
                  <a:pt x="27594" y="5062"/>
                  <a:pt x="27062" y="5281"/>
                </a:cubicBezTo>
                <a:cubicBezTo>
                  <a:pt x="26625" y="5437"/>
                  <a:pt x="26187" y="5625"/>
                  <a:pt x="25781" y="5812"/>
                </a:cubicBezTo>
                <a:cubicBezTo>
                  <a:pt x="25312" y="6000"/>
                  <a:pt x="24875" y="6187"/>
                  <a:pt x="24406" y="6375"/>
                </a:cubicBezTo>
                <a:cubicBezTo>
                  <a:pt x="24094" y="6500"/>
                  <a:pt x="23781" y="6625"/>
                  <a:pt x="23469" y="6750"/>
                </a:cubicBezTo>
                <a:cubicBezTo>
                  <a:pt x="22969" y="6968"/>
                  <a:pt x="22437" y="7156"/>
                  <a:pt x="21937" y="7375"/>
                </a:cubicBezTo>
                <a:cubicBezTo>
                  <a:pt x="21656" y="7468"/>
                  <a:pt x="21406" y="7562"/>
                  <a:pt x="21156" y="7656"/>
                </a:cubicBezTo>
                <a:cubicBezTo>
                  <a:pt x="20844" y="7781"/>
                  <a:pt x="20500" y="7906"/>
                  <a:pt x="20187" y="8031"/>
                </a:cubicBezTo>
                <a:cubicBezTo>
                  <a:pt x="20125" y="8062"/>
                  <a:pt x="20000" y="8062"/>
                  <a:pt x="19937" y="8156"/>
                </a:cubicBezTo>
                <a:cubicBezTo>
                  <a:pt x="19937" y="8187"/>
                  <a:pt x="19906" y="8187"/>
                  <a:pt x="19875" y="8187"/>
                </a:cubicBezTo>
                <a:cubicBezTo>
                  <a:pt x="19781" y="8187"/>
                  <a:pt x="19687" y="8218"/>
                  <a:pt x="19594" y="8250"/>
                </a:cubicBezTo>
                <a:cubicBezTo>
                  <a:pt x="19312" y="8375"/>
                  <a:pt x="19031" y="8468"/>
                  <a:pt x="18750" y="8562"/>
                </a:cubicBezTo>
                <a:cubicBezTo>
                  <a:pt x="18687" y="8593"/>
                  <a:pt x="18687" y="8562"/>
                  <a:pt x="18656" y="8531"/>
                </a:cubicBezTo>
                <a:cubicBezTo>
                  <a:pt x="18656" y="8562"/>
                  <a:pt x="18625" y="8562"/>
                  <a:pt x="18594" y="8593"/>
                </a:cubicBezTo>
                <a:cubicBezTo>
                  <a:pt x="18625" y="8562"/>
                  <a:pt x="18656" y="8562"/>
                  <a:pt x="18656" y="8531"/>
                </a:cubicBezTo>
                <a:cubicBezTo>
                  <a:pt x="18656" y="8500"/>
                  <a:pt x="18687" y="8500"/>
                  <a:pt x="18687" y="8468"/>
                </a:cubicBezTo>
                <a:cubicBezTo>
                  <a:pt x="18750" y="8437"/>
                  <a:pt x="18781" y="8406"/>
                  <a:pt x="18781" y="8343"/>
                </a:cubicBezTo>
                <a:cubicBezTo>
                  <a:pt x="18812" y="8312"/>
                  <a:pt x="18844" y="8281"/>
                  <a:pt x="18844" y="8218"/>
                </a:cubicBezTo>
                <a:cubicBezTo>
                  <a:pt x="18844" y="8218"/>
                  <a:pt x="18844" y="8218"/>
                  <a:pt x="18844" y="8218"/>
                </a:cubicBezTo>
                <a:cubicBezTo>
                  <a:pt x="18906" y="8156"/>
                  <a:pt x="18969" y="8093"/>
                  <a:pt x="19000" y="8000"/>
                </a:cubicBezTo>
                <a:cubicBezTo>
                  <a:pt x="19000" y="8000"/>
                  <a:pt x="19000" y="8000"/>
                  <a:pt x="19000" y="7968"/>
                </a:cubicBezTo>
                <a:cubicBezTo>
                  <a:pt x="19000" y="7968"/>
                  <a:pt x="19031" y="7968"/>
                  <a:pt x="19000" y="7968"/>
                </a:cubicBezTo>
                <a:cubicBezTo>
                  <a:pt x="19062" y="7875"/>
                  <a:pt x="19125" y="7812"/>
                  <a:pt x="19187" y="7718"/>
                </a:cubicBezTo>
                <a:cubicBezTo>
                  <a:pt x="19281" y="7500"/>
                  <a:pt x="19406" y="7281"/>
                  <a:pt x="19500" y="7062"/>
                </a:cubicBezTo>
                <a:cubicBezTo>
                  <a:pt x="19625" y="6812"/>
                  <a:pt x="19719" y="6562"/>
                  <a:pt x="19719" y="6281"/>
                </a:cubicBezTo>
                <a:cubicBezTo>
                  <a:pt x="19719" y="6218"/>
                  <a:pt x="19687" y="6187"/>
                  <a:pt x="19656" y="6156"/>
                </a:cubicBezTo>
                <a:cubicBezTo>
                  <a:pt x="19625" y="6156"/>
                  <a:pt x="19594" y="6250"/>
                  <a:pt x="19594" y="6156"/>
                </a:cubicBezTo>
                <a:cubicBezTo>
                  <a:pt x="19625" y="6031"/>
                  <a:pt x="19500" y="5937"/>
                  <a:pt x="19500" y="5812"/>
                </a:cubicBezTo>
                <a:cubicBezTo>
                  <a:pt x="19469" y="5781"/>
                  <a:pt x="19437" y="5718"/>
                  <a:pt x="19406" y="5750"/>
                </a:cubicBezTo>
                <a:cubicBezTo>
                  <a:pt x="19344" y="5781"/>
                  <a:pt x="19344" y="5750"/>
                  <a:pt x="19344" y="5687"/>
                </a:cubicBezTo>
                <a:cubicBezTo>
                  <a:pt x="19344" y="5656"/>
                  <a:pt x="19344" y="5625"/>
                  <a:pt x="19312" y="5625"/>
                </a:cubicBezTo>
                <a:cubicBezTo>
                  <a:pt x="19219" y="5625"/>
                  <a:pt x="19250" y="5593"/>
                  <a:pt x="19250" y="5562"/>
                </a:cubicBezTo>
                <a:cubicBezTo>
                  <a:pt x="19281" y="5468"/>
                  <a:pt x="19281" y="5375"/>
                  <a:pt x="19187" y="5343"/>
                </a:cubicBezTo>
                <a:cubicBezTo>
                  <a:pt x="19156" y="5343"/>
                  <a:pt x="19156" y="5312"/>
                  <a:pt x="19156" y="5281"/>
                </a:cubicBezTo>
                <a:cubicBezTo>
                  <a:pt x="19156" y="5218"/>
                  <a:pt x="19094" y="5250"/>
                  <a:pt x="19094" y="5218"/>
                </a:cubicBezTo>
                <a:cubicBezTo>
                  <a:pt x="18969" y="5312"/>
                  <a:pt x="19031" y="5187"/>
                  <a:pt x="19000" y="5156"/>
                </a:cubicBezTo>
                <a:cubicBezTo>
                  <a:pt x="18969" y="5156"/>
                  <a:pt x="19000" y="5125"/>
                  <a:pt x="19000" y="5093"/>
                </a:cubicBezTo>
                <a:cubicBezTo>
                  <a:pt x="18969" y="5000"/>
                  <a:pt x="18937" y="5125"/>
                  <a:pt x="18937" y="5093"/>
                </a:cubicBezTo>
                <a:cubicBezTo>
                  <a:pt x="18906" y="4937"/>
                  <a:pt x="18906" y="4937"/>
                  <a:pt x="18844" y="4968"/>
                </a:cubicBezTo>
                <a:cubicBezTo>
                  <a:pt x="18812" y="4875"/>
                  <a:pt x="18875" y="4781"/>
                  <a:pt x="18875" y="4656"/>
                </a:cubicBezTo>
                <a:cubicBezTo>
                  <a:pt x="18844" y="4718"/>
                  <a:pt x="18812" y="4781"/>
                  <a:pt x="18781" y="4843"/>
                </a:cubicBezTo>
                <a:cubicBezTo>
                  <a:pt x="18750" y="4781"/>
                  <a:pt x="18750" y="4750"/>
                  <a:pt x="18719" y="4687"/>
                </a:cubicBezTo>
                <a:cubicBezTo>
                  <a:pt x="18687" y="4625"/>
                  <a:pt x="18594" y="4562"/>
                  <a:pt x="18625" y="4468"/>
                </a:cubicBezTo>
                <a:cubicBezTo>
                  <a:pt x="18625" y="4375"/>
                  <a:pt x="18562" y="4343"/>
                  <a:pt x="18500" y="4406"/>
                </a:cubicBezTo>
                <a:cubicBezTo>
                  <a:pt x="18469" y="4343"/>
                  <a:pt x="18531" y="4281"/>
                  <a:pt x="18500" y="4250"/>
                </a:cubicBezTo>
                <a:cubicBezTo>
                  <a:pt x="18469" y="4250"/>
                  <a:pt x="18500" y="4312"/>
                  <a:pt x="18437" y="4250"/>
                </a:cubicBezTo>
                <a:cubicBezTo>
                  <a:pt x="18406" y="4250"/>
                  <a:pt x="18375" y="4218"/>
                  <a:pt x="18406" y="4156"/>
                </a:cubicBezTo>
                <a:cubicBezTo>
                  <a:pt x="18437" y="4125"/>
                  <a:pt x="18406" y="4062"/>
                  <a:pt x="18375" y="4031"/>
                </a:cubicBezTo>
                <a:cubicBezTo>
                  <a:pt x="18344" y="3968"/>
                  <a:pt x="18344" y="4062"/>
                  <a:pt x="18281" y="4062"/>
                </a:cubicBezTo>
                <a:cubicBezTo>
                  <a:pt x="18312" y="3906"/>
                  <a:pt x="18156" y="3843"/>
                  <a:pt x="18187" y="3687"/>
                </a:cubicBezTo>
                <a:cubicBezTo>
                  <a:pt x="18187" y="3656"/>
                  <a:pt x="18187" y="3656"/>
                  <a:pt x="18156" y="3656"/>
                </a:cubicBezTo>
                <a:cubicBezTo>
                  <a:pt x="18094" y="3687"/>
                  <a:pt x="18094" y="3687"/>
                  <a:pt x="18094" y="3625"/>
                </a:cubicBezTo>
                <a:cubicBezTo>
                  <a:pt x="18125" y="3593"/>
                  <a:pt x="18125" y="3531"/>
                  <a:pt x="18125" y="3500"/>
                </a:cubicBezTo>
                <a:cubicBezTo>
                  <a:pt x="18156" y="3437"/>
                  <a:pt x="18125" y="3406"/>
                  <a:pt x="18062" y="3437"/>
                </a:cubicBezTo>
                <a:cubicBezTo>
                  <a:pt x="18031" y="3437"/>
                  <a:pt x="18031" y="3500"/>
                  <a:pt x="18000" y="3468"/>
                </a:cubicBezTo>
                <a:cubicBezTo>
                  <a:pt x="17969" y="3437"/>
                  <a:pt x="17969" y="3375"/>
                  <a:pt x="17969" y="3343"/>
                </a:cubicBezTo>
                <a:cubicBezTo>
                  <a:pt x="17969" y="3250"/>
                  <a:pt x="17969" y="3125"/>
                  <a:pt x="17969" y="3031"/>
                </a:cubicBezTo>
                <a:cubicBezTo>
                  <a:pt x="17937" y="3031"/>
                  <a:pt x="17937" y="3062"/>
                  <a:pt x="17906" y="3093"/>
                </a:cubicBezTo>
                <a:cubicBezTo>
                  <a:pt x="17906" y="3031"/>
                  <a:pt x="17937" y="2968"/>
                  <a:pt x="17844" y="2937"/>
                </a:cubicBezTo>
                <a:cubicBezTo>
                  <a:pt x="17812" y="2968"/>
                  <a:pt x="17781" y="3031"/>
                  <a:pt x="17781" y="3062"/>
                </a:cubicBezTo>
                <a:cubicBezTo>
                  <a:pt x="17750" y="2968"/>
                  <a:pt x="17812" y="2875"/>
                  <a:pt x="17750" y="2781"/>
                </a:cubicBezTo>
                <a:cubicBezTo>
                  <a:pt x="17750" y="2750"/>
                  <a:pt x="17750" y="2718"/>
                  <a:pt x="17750" y="2687"/>
                </a:cubicBezTo>
                <a:cubicBezTo>
                  <a:pt x="17750" y="2593"/>
                  <a:pt x="17812" y="2531"/>
                  <a:pt x="17656" y="2531"/>
                </a:cubicBezTo>
                <a:cubicBezTo>
                  <a:pt x="17656" y="2531"/>
                  <a:pt x="17625" y="2500"/>
                  <a:pt x="17594" y="2531"/>
                </a:cubicBezTo>
                <a:cubicBezTo>
                  <a:pt x="17531" y="2562"/>
                  <a:pt x="17531" y="2531"/>
                  <a:pt x="17531" y="2500"/>
                </a:cubicBezTo>
                <a:cubicBezTo>
                  <a:pt x="17531" y="2437"/>
                  <a:pt x="17562" y="2343"/>
                  <a:pt x="17594" y="2281"/>
                </a:cubicBezTo>
                <a:cubicBezTo>
                  <a:pt x="17625" y="2187"/>
                  <a:pt x="17562" y="2125"/>
                  <a:pt x="17531" y="2062"/>
                </a:cubicBezTo>
                <a:cubicBezTo>
                  <a:pt x="17469" y="2031"/>
                  <a:pt x="17469" y="2125"/>
                  <a:pt x="17437" y="2156"/>
                </a:cubicBezTo>
                <a:cubicBezTo>
                  <a:pt x="17406" y="2156"/>
                  <a:pt x="17406" y="2156"/>
                  <a:pt x="17406" y="2156"/>
                </a:cubicBezTo>
                <a:cubicBezTo>
                  <a:pt x="17375" y="2093"/>
                  <a:pt x="17469" y="2062"/>
                  <a:pt x="17469" y="2000"/>
                </a:cubicBezTo>
                <a:cubicBezTo>
                  <a:pt x="17469" y="1968"/>
                  <a:pt x="17531" y="1875"/>
                  <a:pt x="17406" y="1906"/>
                </a:cubicBezTo>
                <a:cubicBezTo>
                  <a:pt x="17375" y="1906"/>
                  <a:pt x="17312" y="1875"/>
                  <a:pt x="17344" y="1812"/>
                </a:cubicBezTo>
                <a:cubicBezTo>
                  <a:pt x="17406" y="1687"/>
                  <a:pt x="17437" y="1562"/>
                  <a:pt x="17437" y="1437"/>
                </a:cubicBezTo>
                <a:cubicBezTo>
                  <a:pt x="17437" y="1281"/>
                  <a:pt x="17375" y="1187"/>
                  <a:pt x="17250" y="1093"/>
                </a:cubicBezTo>
                <a:cubicBezTo>
                  <a:pt x="17156" y="1031"/>
                  <a:pt x="17062" y="1031"/>
                  <a:pt x="16969" y="1031"/>
                </a:cubicBezTo>
                <a:cubicBezTo>
                  <a:pt x="16875" y="1031"/>
                  <a:pt x="16812" y="1031"/>
                  <a:pt x="16719" y="1031"/>
                </a:cubicBezTo>
                <a:cubicBezTo>
                  <a:pt x="16687" y="1031"/>
                  <a:pt x="16687" y="1031"/>
                  <a:pt x="16656" y="1031"/>
                </a:cubicBezTo>
                <a:cubicBezTo>
                  <a:pt x="16656" y="1031"/>
                  <a:pt x="16625" y="1031"/>
                  <a:pt x="16594" y="1062"/>
                </a:cubicBezTo>
                <a:cubicBezTo>
                  <a:pt x="16594" y="1062"/>
                  <a:pt x="16562" y="1062"/>
                  <a:pt x="16531" y="1062"/>
                </a:cubicBezTo>
                <a:cubicBezTo>
                  <a:pt x="16531" y="1062"/>
                  <a:pt x="16500" y="1062"/>
                  <a:pt x="16500" y="1062"/>
                </a:cubicBezTo>
                <a:cubicBezTo>
                  <a:pt x="16469" y="1062"/>
                  <a:pt x="16437" y="1062"/>
                  <a:pt x="16406" y="1062"/>
                </a:cubicBezTo>
                <a:cubicBezTo>
                  <a:pt x="16437" y="1062"/>
                  <a:pt x="16437" y="1062"/>
                  <a:pt x="16437" y="1093"/>
                </a:cubicBezTo>
                <a:cubicBezTo>
                  <a:pt x="16437" y="1062"/>
                  <a:pt x="16437" y="1062"/>
                  <a:pt x="16406" y="1062"/>
                </a:cubicBezTo>
                <a:cubicBezTo>
                  <a:pt x="16375" y="1093"/>
                  <a:pt x="16344" y="1093"/>
                  <a:pt x="16312" y="1093"/>
                </a:cubicBezTo>
                <a:cubicBezTo>
                  <a:pt x="16219" y="1125"/>
                  <a:pt x="16125" y="1125"/>
                  <a:pt x="16031" y="1156"/>
                </a:cubicBezTo>
                <a:cubicBezTo>
                  <a:pt x="16031" y="1187"/>
                  <a:pt x="16000" y="1187"/>
                  <a:pt x="15969" y="1187"/>
                </a:cubicBezTo>
                <a:cubicBezTo>
                  <a:pt x="15750" y="1218"/>
                  <a:pt x="15562" y="1312"/>
                  <a:pt x="15375" y="1406"/>
                </a:cubicBezTo>
                <a:cubicBezTo>
                  <a:pt x="15219" y="1437"/>
                  <a:pt x="15094" y="1468"/>
                  <a:pt x="15000" y="1593"/>
                </a:cubicBezTo>
                <a:cubicBezTo>
                  <a:pt x="15000" y="1593"/>
                  <a:pt x="15000" y="1593"/>
                  <a:pt x="14969" y="1593"/>
                </a:cubicBezTo>
                <a:cubicBezTo>
                  <a:pt x="14969" y="1562"/>
                  <a:pt x="14937" y="1562"/>
                  <a:pt x="14937" y="1593"/>
                </a:cubicBezTo>
                <a:cubicBezTo>
                  <a:pt x="14594" y="1718"/>
                  <a:pt x="14312" y="1906"/>
                  <a:pt x="14000" y="2062"/>
                </a:cubicBezTo>
                <a:cubicBezTo>
                  <a:pt x="13750" y="2187"/>
                  <a:pt x="13531" y="2343"/>
                  <a:pt x="13312" y="2500"/>
                </a:cubicBezTo>
                <a:cubicBezTo>
                  <a:pt x="13312" y="2531"/>
                  <a:pt x="13312" y="2562"/>
                  <a:pt x="13312" y="2562"/>
                </a:cubicBezTo>
                <a:cubicBezTo>
                  <a:pt x="13312" y="2562"/>
                  <a:pt x="13312" y="2531"/>
                  <a:pt x="13312" y="2500"/>
                </a:cubicBezTo>
                <a:cubicBezTo>
                  <a:pt x="13281" y="2500"/>
                  <a:pt x="13281" y="2500"/>
                  <a:pt x="13281" y="2500"/>
                </a:cubicBezTo>
                <a:cubicBezTo>
                  <a:pt x="13000" y="2656"/>
                  <a:pt x="12750" y="2812"/>
                  <a:pt x="12469" y="3000"/>
                </a:cubicBezTo>
                <a:cubicBezTo>
                  <a:pt x="12437" y="3000"/>
                  <a:pt x="12406" y="3031"/>
                  <a:pt x="12375" y="3062"/>
                </a:cubicBezTo>
                <a:cubicBezTo>
                  <a:pt x="12375" y="3062"/>
                  <a:pt x="12375" y="3062"/>
                  <a:pt x="12375" y="3062"/>
                </a:cubicBezTo>
                <a:cubicBezTo>
                  <a:pt x="12375" y="3062"/>
                  <a:pt x="12375" y="3062"/>
                  <a:pt x="12375" y="3062"/>
                </a:cubicBezTo>
                <a:cubicBezTo>
                  <a:pt x="12375" y="3062"/>
                  <a:pt x="12344" y="3062"/>
                  <a:pt x="12344" y="3062"/>
                </a:cubicBezTo>
                <a:cubicBezTo>
                  <a:pt x="12125" y="3187"/>
                  <a:pt x="11937" y="3312"/>
                  <a:pt x="11750" y="3437"/>
                </a:cubicBezTo>
                <a:cubicBezTo>
                  <a:pt x="11281" y="3750"/>
                  <a:pt x="10812" y="4062"/>
                  <a:pt x="10344" y="4343"/>
                </a:cubicBezTo>
                <a:cubicBezTo>
                  <a:pt x="10344" y="4343"/>
                  <a:pt x="10344" y="4343"/>
                  <a:pt x="10344" y="4343"/>
                </a:cubicBezTo>
                <a:cubicBezTo>
                  <a:pt x="10312" y="4343"/>
                  <a:pt x="10312" y="4312"/>
                  <a:pt x="10281" y="4281"/>
                </a:cubicBezTo>
                <a:cubicBezTo>
                  <a:pt x="10187" y="4093"/>
                  <a:pt x="10125" y="3875"/>
                  <a:pt x="9969" y="3718"/>
                </a:cubicBezTo>
                <a:cubicBezTo>
                  <a:pt x="9906" y="3687"/>
                  <a:pt x="9844" y="3625"/>
                  <a:pt x="9875" y="3562"/>
                </a:cubicBezTo>
                <a:cubicBezTo>
                  <a:pt x="9875" y="3500"/>
                  <a:pt x="9812" y="3468"/>
                  <a:pt x="9781" y="3437"/>
                </a:cubicBezTo>
                <a:cubicBezTo>
                  <a:pt x="9750" y="3468"/>
                  <a:pt x="9781" y="3500"/>
                  <a:pt x="9719" y="3500"/>
                </a:cubicBezTo>
                <a:cubicBezTo>
                  <a:pt x="9719" y="3468"/>
                  <a:pt x="9750" y="3406"/>
                  <a:pt x="9719" y="3343"/>
                </a:cubicBezTo>
                <a:cubicBezTo>
                  <a:pt x="9687" y="3375"/>
                  <a:pt x="9687" y="3406"/>
                  <a:pt x="9656" y="3437"/>
                </a:cubicBezTo>
                <a:cubicBezTo>
                  <a:pt x="9687" y="3343"/>
                  <a:pt x="9625" y="3250"/>
                  <a:pt x="9562" y="3187"/>
                </a:cubicBezTo>
                <a:cubicBezTo>
                  <a:pt x="9500" y="3125"/>
                  <a:pt x="9500" y="3000"/>
                  <a:pt x="9375" y="2937"/>
                </a:cubicBezTo>
                <a:cubicBezTo>
                  <a:pt x="9344" y="2906"/>
                  <a:pt x="9281" y="2843"/>
                  <a:pt x="9250" y="2781"/>
                </a:cubicBezTo>
                <a:cubicBezTo>
                  <a:pt x="9219" y="2718"/>
                  <a:pt x="9219" y="2593"/>
                  <a:pt x="9094" y="2562"/>
                </a:cubicBezTo>
                <a:cubicBezTo>
                  <a:pt x="9094" y="2562"/>
                  <a:pt x="9094" y="2531"/>
                  <a:pt x="9094" y="2531"/>
                </a:cubicBezTo>
                <a:cubicBezTo>
                  <a:pt x="9094" y="2500"/>
                  <a:pt x="9031" y="2468"/>
                  <a:pt x="9031" y="2468"/>
                </a:cubicBezTo>
                <a:cubicBezTo>
                  <a:pt x="8969" y="2375"/>
                  <a:pt x="8844" y="2343"/>
                  <a:pt x="8875" y="2187"/>
                </a:cubicBezTo>
                <a:cubicBezTo>
                  <a:pt x="8875" y="2156"/>
                  <a:pt x="8875" y="2125"/>
                  <a:pt x="8844" y="2156"/>
                </a:cubicBezTo>
                <a:cubicBezTo>
                  <a:pt x="8812" y="2187"/>
                  <a:pt x="8812" y="2187"/>
                  <a:pt x="8781" y="2156"/>
                </a:cubicBezTo>
                <a:cubicBezTo>
                  <a:pt x="8687" y="2062"/>
                  <a:pt x="8687" y="1906"/>
                  <a:pt x="8562" y="1875"/>
                </a:cubicBezTo>
                <a:cubicBezTo>
                  <a:pt x="8562" y="1750"/>
                  <a:pt x="8437" y="1750"/>
                  <a:pt x="8406" y="1656"/>
                </a:cubicBezTo>
                <a:cubicBezTo>
                  <a:pt x="8344" y="1531"/>
                  <a:pt x="8281" y="1437"/>
                  <a:pt x="8187" y="1375"/>
                </a:cubicBezTo>
                <a:cubicBezTo>
                  <a:pt x="8125" y="1343"/>
                  <a:pt x="8031" y="1281"/>
                  <a:pt x="8062" y="1187"/>
                </a:cubicBezTo>
                <a:cubicBezTo>
                  <a:pt x="8062" y="1156"/>
                  <a:pt x="8062" y="1156"/>
                  <a:pt x="8062" y="1156"/>
                </a:cubicBezTo>
                <a:cubicBezTo>
                  <a:pt x="7969" y="1187"/>
                  <a:pt x="7969" y="1062"/>
                  <a:pt x="7937" y="1031"/>
                </a:cubicBezTo>
                <a:cubicBezTo>
                  <a:pt x="7969" y="937"/>
                  <a:pt x="7875" y="1000"/>
                  <a:pt x="7844" y="937"/>
                </a:cubicBezTo>
                <a:cubicBezTo>
                  <a:pt x="7750" y="843"/>
                  <a:pt x="7687" y="718"/>
                  <a:pt x="7719" y="562"/>
                </a:cubicBezTo>
                <a:cubicBezTo>
                  <a:pt x="7750" y="500"/>
                  <a:pt x="7719" y="437"/>
                  <a:pt x="7656" y="375"/>
                </a:cubicBezTo>
                <a:cubicBezTo>
                  <a:pt x="7625" y="375"/>
                  <a:pt x="7594" y="343"/>
                  <a:pt x="7594" y="281"/>
                </a:cubicBezTo>
                <a:cubicBezTo>
                  <a:pt x="7594" y="250"/>
                  <a:pt x="7562" y="156"/>
                  <a:pt x="7500" y="125"/>
                </a:cubicBezTo>
                <a:cubicBezTo>
                  <a:pt x="7375" y="93"/>
                  <a:pt x="7219" y="31"/>
                  <a:pt x="7094" y="62"/>
                </a:cubicBezTo>
                <a:cubicBezTo>
                  <a:pt x="6687" y="0"/>
                  <a:pt x="6312" y="0"/>
                  <a:pt x="5906" y="62"/>
                </a:cubicBezTo>
                <a:cubicBezTo>
                  <a:pt x="5781" y="62"/>
                  <a:pt x="5656" y="31"/>
                  <a:pt x="5500" y="93"/>
                </a:cubicBezTo>
                <a:cubicBezTo>
                  <a:pt x="5500" y="93"/>
                  <a:pt x="5469" y="93"/>
                  <a:pt x="5469" y="93"/>
                </a:cubicBezTo>
                <a:cubicBezTo>
                  <a:pt x="5375" y="93"/>
                  <a:pt x="5312" y="93"/>
                  <a:pt x="5250" y="125"/>
                </a:cubicBezTo>
                <a:cubicBezTo>
                  <a:pt x="5094" y="93"/>
                  <a:pt x="4969" y="156"/>
                  <a:pt x="4844" y="156"/>
                </a:cubicBezTo>
                <a:cubicBezTo>
                  <a:pt x="4562" y="187"/>
                  <a:pt x="4344" y="250"/>
                  <a:pt x="4094" y="281"/>
                </a:cubicBezTo>
                <a:cubicBezTo>
                  <a:pt x="3937" y="343"/>
                  <a:pt x="3750" y="375"/>
                  <a:pt x="3594" y="375"/>
                </a:cubicBezTo>
                <a:cubicBezTo>
                  <a:pt x="3250" y="437"/>
                  <a:pt x="2875" y="531"/>
                  <a:pt x="2531" y="625"/>
                </a:cubicBezTo>
                <a:cubicBezTo>
                  <a:pt x="2187" y="687"/>
                  <a:pt x="1844" y="750"/>
                  <a:pt x="1500" y="843"/>
                </a:cubicBezTo>
                <a:cubicBezTo>
                  <a:pt x="1094" y="937"/>
                  <a:pt x="687" y="1062"/>
                  <a:pt x="281" y="1156"/>
                </a:cubicBezTo>
                <a:cubicBezTo>
                  <a:pt x="187" y="1187"/>
                  <a:pt x="94" y="1218"/>
                  <a:pt x="0" y="1250"/>
                </a:cubicBezTo>
                <a:cubicBezTo>
                  <a:pt x="0" y="1281"/>
                  <a:pt x="0" y="1281"/>
                  <a:pt x="0" y="1281"/>
                </a:cubicBezTo>
                <a:cubicBezTo>
                  <a:pt x="94" y="1250"/>
                  <a:pt x="219" y="1218"/>
                  <a:pt x="312" y="1187"/>
                </a:cubicBezTo>
                <a:cubicBezTo>
                  <a:pt x="719" y="1062"/>
                  <a:pt x="1125" y="968"/>
                  <a:pt x="1531" y="843"/>
                </a:cubicBezTo>
                <a:cubicBezTo>
                  <a:pt x="1875" y="781"/>
                  <a:pt x="2219" y="687"/>
                  <a:pt x="2562" y="625"/>
                </a:cubicBezTo>
                <a:cubicBezTo>
                  <a:pt x="2719" y="625"/>
                  <a:pt x="2844" y="593"/>
                  <a:pt x="3000" y="562"/>
                </a:cubicBezTo>
                <a:cubicBezTo>
                  <a:pt x="3219" y="531"/>
                  <a:pt x="3469" y="468"/>
                  <a:pt x="3687" y="437"/>
                </a:cubicBezTo>
                <a:cubicBezTo>
                  <a:pt x="3719" y="437"/>
                  <a:pt x="3750" y="406"/>
                  <a:pt x="3781" y="437"/>
                </a:cubicBezTo>
                <a:cubicBezTo>
                  <a:pt x="3781" y="468"/>
                  <a:pt x="3750" y="468"/>
                  <a:pt x="3719" y="500"/>
                </a:cubicBezTo>
                <a:cubicBezTo>
                  <a:pt x="4281" y="437"/>
                  <a:pt x="4812" y="312"/>
                  <a:pt x="5375" y="312"/>
                </a:cubicBezTo>
                <a:cubicBezTo>
                  <a:pt x="5094" y="343"/>
                  <a:pt x="4812" y="375"/>
                  <a:pt x="4531" y="437"/>
                </a:cubicBezTo>
                <a:cubicBezTo>
                  <a:pt x="4625" y="437"/>
                  <a:pt x="4687" y="531"/>
                  <a:pt x="4750" y="531"/>
                </a:cubicBezTo>
                <a:cubicBezTo>
                  <a:pt x="4875" y="500"/>
                  <a:pt x="4969" y="500"/>
                  <a:pt x="5094" y="468"/>
                </a:cubicBezTo>
                <a:cubicBezTo>
                  <a:pt x="5250" y="468"/>
                  <a:pt x="5406" y="406"/>
                  <a:pt x="5562" y="437"/>
                </a:cubicBezTo>
                <a:cubicBezTo>
                  <a:pt x="5281" y="468"/>
                  <a:pt x="5000" y="562"/>
                  <a:pt x="4687" y="593"/>
                </a:cubicBezTo>
                <a:cubicBezTo>
                  <a:pt x="5000" y="593"/>
                  <a:pt x="5281" y="500"/>
                  <a:pt x="5594" y="593"/>
                </a:cubicBezTo>
                <a:cubicBezTo>
                  <a:pt x="5375" y="593"/>
                  <a:pt x="5156" y="656"/>
                  <a:pt x="4937" y="718"/>
                </a:cubicBezTo>
                <a:cubicBezTo>
                  <a:pt x="5250" y="687"/>
                  <a:pt x="5562" y="625"/>
                  <a:pt x="5875" y="687"/>
                </a:cubicBezTo>
                <a:cubicBezTo>
                  <a:pt x="5719" y="718"/>
                  <a:pt x="5594" y="750"/>
                  <a:pt x="5437" y="812"/>
                </a:cubicBezTo>
                <a:cubicBezTo>
                  <a:pt x="5562" y="843"/>
                  <a:pt x="5687" y="781"/>
                  <a:pt x="5781" y="781"/>
                </a:cubicBezTo>
                <a:cubicBezTo>
                  <a:pt x="5969" y="781"/>
                  <a:pt x="6156" y="843"/>
                  <a:pt x="6344" y="843"/>
                </a:cubicBezTo>
                <a:cubicBezTo>
                  <a:pt x="6375" y="812"/>
                  <a:pt x="6406" y="843"/>
                  <a:pt x="6469" y="843"/>
                </a:cubicBezTo>
                <a:cubicBezTo>
                  <a:pt x="6250" y="906"/>
                  <a:pt x="6031" y="875"/>
                  <a:pt x="5844" y="968"/>
                </a:cubicBezTo>
                <a:cubicBezTo>
                  <a:pt x="6156" y="1000"/>
                  <a:pt x="6469" y="1062"/>
                  <a:pt x="6781" y="1062"/>
                </a:cubicBezTo>
                <a:cubicBezTo>
                  <a:pt x="6719" y="1125"/>
                  <a:pt x="6625" y="1093"/>
                  <a:pt x="6562" y="1125"/>
                </a:cubicBezTo>
                <a:cubicBezTo>
                  <a:pt x="6625" y="1156"/>
                  <a:pt x="6656" y="1156"/>
                  <a:pt x="6750" y="1156"/>
                </a:cubicBezTo>
                <a:cubicBezTo>
                  <a:pt x="6656" y="1187"/>
                  <a:pt x="6562" y="1156"/>
                  <a:pt x="6437" y="1218"/>
                </a:cubicBezTo>
                <a:cubicBezTo>
                  <a:pt x="6656" y="1218"/>
                  <a:pt x="6844" y="1218"/>
                  <a:pt x="7031" y="1218"/>
                </a:cubicBezTo>
                <a:cubicBezTo>
                  <a:pt x="6812" y="1250"/>
                  <a:pt x="6594" y="1281"/>
                  <a:pt x="6375" y="1312"/>
                </a:cubicBezTo>
                <a:cubicBezTo>
                  <a:pt x="6562" y="1343"/>
                  <a:pt x="6719" y="1312"/>
                  <a:pt x="6937" y="1343"/>
                </a:cubicBezTo>
                <a:cubicBezTo>
                  <a:pt x="6812" y="1375"/>
                  <a:pt x="6687" y="1312"/>
                  <a:pt x="6562" y="1406"/>
                </a:cubicBezTo>
                <a:cubicBezTo>
                  <a:pt x="6781" y="1406"/>
                  <a:pt x="6969" y="1406"/>
                  <a:pt x="7156" y="1437"/>
                </a:cubicBezTo>
                <a:cubicBezTo>
                  <a:pt x="7094" y="1531"/>
                  <a:pt x="6969" y="1625"/>
                  <a:pt x="6906" y="1687"/>
                </a:cubicBezTo>
                <a:cubicBezTo>
                  <a:pt x="6656" y="1906"/>
                  <a:pt x="6406" y="2125"/>
                  <a:pt x="6156" y="2343"/>
                </a:cubicBezTo>
                <a:cubicBezTo>
                  <a:pt x="5969" y="2500"/>
                  <a:pt x="5781" y="2656"/>
                  <a:pt x="5562" y="2812"/>
                </a:cubicBezTo>
                <a:cubicBezTo>
                  <a:pt x="5219" y="3093"/>
                  <a:pt x="4875" y="3375"/>
                  <a:pt x="4500" y="3656"/>
                </a:cubicBezTo>
                <a:cubicBezTo>
                  <a:pt x="4344" y="3781"/>
                  <a:pt x="4156" y="3906"/>
                  <a:pt x="4000" y="4062"/>
                </a:cubicBezTo>
                <a:cubicBezTo>
                  <a:pt x="3812" y="4187"/>
                  <a:pt x="3656" y="4312"/>
                  <a:pt x="3500" y="4437"/>
                </a:cubicBezTo>
                <a:cubicBezTo>
                  <a:pt x="3344" y="4500"/>
                  <a:pt x="3187" y="4531"/>
                  <a:pt x="3000" y="4562"/>
                </a:cubicBezTo>
                <a:cubicBezTo>
                  <a:pt x="2812" y="4625"/>
                  <a:pt x="2656" y="4656"/>
                  <a:pt x="2469" y="4718"/>
                </a:cubicBezTo>
                <a:cubicBezTo>
                  <a:pt x="2375" y="4750"/>
                  <a:pt x="2344" y="4781"/>
                  <a:pt x="2375" y="4875"/>
                </a:cubicBezTo>
                <a:cubicBezTo>
                  <a:pt x="2406" y="4937"/>
                  <a:pt x="2375" y="4968"/>
                  <a:pt x="2312" y="4906"/>
                </a:cubicBezTo>
                <a:cubicBezTo>
                  <a:pt x="2281" y="4906"/>
                  <a:pt x="2281" y="4906"/>
                  <a:pt x="2250" y="4906"/>
                </a:cubicBezTo>
                <a:cubicBezTo>
                  <a:pt x="2187" y="4968"/>
                  <a:pt x="2094" y="4937"/>
                  <a:pt x="2031" y="5000"/>
                </a:cubicBezTo>
                <a:cubicBezTo>
                  <a:pt x="2000" y="5000"/>
                  <a:pt x="1937" y="5000"/>
                  <a:pt x="2031" y="5062"/>
                </a:cubicBezTo>
                <a:cubicBezTo>
                  <a:pt x="2062" y="5093"/>
                  <a:pt x="2031" y="5125"/>
                  <a:pt x="2000" y="5125"/>
                </a:cubicBezTo>
                <a:cubicBezTo>
                  <a:pt x="1937" y="5093"/>
                  <a:pt x="1875" y="5187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750" y="5218"/>
                  <a:pt x="1656" y="5187"/>
                  <a:pt x="1594" y="5250"/>
                </a:cubicBezTo>
                <a:cubicBezTo>
                  <a:pt x="1625" y="5125"/>
                  <a:pt x="1719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75" y="5125"/>
                  <a:pt x="1875" y="5062"/>
                  <a:pt x="1906" y="5062"/>
                </a:cubicBezTo>
                <a:cubicBezTo>
                  <a:pt x="1937" y="5031"/>
                  <a:pt x="1906" y="5031"/>
                  <a:pt x="1906" y="5000"/>
                </a:cubicBezTo>
                <a:cubicBezTo>
                  <a:pt x="1875" y="5000"/>
                  <a:pt x="1875" y="5000"/>
                  <a:pt x="1875" y="5000"/>
                </a:cubicBezTo>
                <a:cubicBezTo>
                  <a:pt x="1781" y="5125"/>
                  <a:pt x="1656" y="5093"/>
                  <a:pt x="1531" y="5125"/>
                </a:cubicBezTo>
                <a:cubicBezTo>
                  <a:pt x="1500" y="5156"/>
                  <a:pt x="1437" y="5156"/>
                  <a:pt x="1531" y="5218"/>
                </a:cubicBezTo>
                <a:cubicBezTo>
                  <a:pt x="1562" y="5250"/>
                  <a:pt x="1531" y="5250"/>
                  <a:pt x="1469" y="5281"/>
                </a:cubicBezTo>
                <a:cubicBezTo>
                  <a:pt x="1312" y="5312"/>
                  <a:pt x="1125" y="5375"/>
                  <a:pt x="937" y="5437"/>
                </a:cubicBezTo>
                <a:cubicBezTo>
                  <a:pt x="906" y="5437"/>
                  <a:pt x="844" y="5406"/>
                  <a:pt x="844" y="5468"/>
                </a:cubicBezTo>
                <a:cubicBezTo>
                  <a:pt x="875" y="5531"/>
                  <a:pt x="906" y="5562"/>
                  <a:pt x="937" y="5562"/>
                </a:cubicBezTo>
                <a:cubicBezTo>
                  <a:pt x="969" y="5562"/>
                  <a:pt x="969" y="5562"/>
                  <a:pt x="1000" y="5562"/>
                </a:cubicBezTo>
                <a:cubicBezTo>
                  <a:pt x="1000" y="5562"/>
                  <a:pt x="1000" y="5562"/>
                  <a:pt x="1000" y="5562"/>
                </a:cubicBezTo>
                <a:cubicBezTo>
                  <a:pt x="1094" y="5531"/>
                  <a:pt x="1156" y="5468"/>
                  <a:pt x="1250" y="5468"/>
                </a:cubicBezTo>
                <a:cubicBezTo>
                  <a:pt x="1594" y="5406"/>
                  <a:pt x="1906" y="5281"/>
                  <a:pt x="2250" y="5187"/>
                </a:cubicBezTo>
                <a:cubicBezTo>
                  <a:pt x="2375" y="5156"/>
                  <a:pt x="2500" y="5093"/>
                  <a:pt x="2656" y="5125"/>
                </a:cubicBezTo>
                <a:cubicBezTo>
                  <a:pt x="2625" y="5156"/>
                  <a:pt x="2562" y="5156"/>
                  <a:pt x="2531" y="5187"/>
                </a:cubicBezTo>
                <a:cubicBezTo>
                  <a:pt x="2156" y="5468"/>
                  <a:pt x="1812" y="5812"/>
                  <a:pt x="1469" y="6156"/>
                </a:cubicBezTo>
                <a:cubicBezTo>
                  <a:pt x="1250" y="6375"/>
                  <a:pt x="1000" y="6593"/>
                  <a:pt x="812" y="6875"/>
                </a:cubicBezTo>
                <a:cubicBezTo>
                  <a:pt x="812" y="6875"/>
                  <a:pt x="812" y="6875"/>
                  <a:pt x="812" y="6875"/>
                </a:cubicBezTo>
                <a:cubicBezTo>
                  <a:pt x="719" y="6968"/>
                  <a:pt x="625" y="7093"/>
                  <a:pt x="562" y="7187"/>
                </a:cubicBezTo>
                <a:cubicBezTo>
                  <a:pt x="406" y="7437"/>
                  <a:pt x="250" y="7687"/>
                  <a:pt x="250" y="8000"/>
                </a:cubicBezTo>
                <a:cubicBezTo>
                  <a:pt x="219" y="8187"/>
                  <a:pt x="281" y="8343"/>
                  <a:pt x="437" y="8500"/>
                </a:cubicBezTo>
                <a:cubicBezTo>
                  <a:pt x="594" y="8656"/>
                  <a:pt x="812" y="8812"/>
                  <a:pt x="969" y="9000"/>
                </a:cubicBezTo>
                <a:cubicBezTo>
                  <a:pt x="1219" y="9218"/>
                  <a:pt x="1437" y="9468"/>
                  <a:pt x="1656" y="9718"/>
                </a:cubicBezTo>
                <a:cubicBezTo>
                  <a:pt x="2000" y="10093"/>
                  <a:pt x="2375" y="10468"/>
                  <a:pt x="2687" y="10875"/>
                </a:cubicBezTo>
                <a:cubicBezTo>
                  <a:pt x="2719" y="10937"/>
                  <a:pt x="2781" y="10968"/>
                  <a:pt x="2844" y="11031"/>
                </a:cubicBezTo>
                <a:cubicBezTo>
                  <a:pt x="2844" y="11062"/>
                  <a:pt x="2875" y="11062"/>
                  <a:pt x="2906" y="11062"/>
                </a:cubicBezTo>
                <a:cubicBezTo>
                  <a:pt x="3000" y="10968"/>
                  <a:pt x="3000" y="11062"/>
                  <a:pt x="3000" y="11125"/>
                </a:cubicBezTo>
                <a:cubicBezTo>
                  <a:pt x="3000" y="11250"/>
                  <a:pt x="3062" y="11343"/>
                  <a:pt x="3187" y="11375"/>
                </a:cubicBezTo>
                <a:cubicBezTo>
                  <a:pt x="3250" y="11406"/>
                  <a:pt x="3281" y="11437"/>
                  <a:pt x="3250" y="11468"/>
                </a:cubicBezTo>
                <a:cubicBezTo>
                  <a:pt x="3219" y="11531"/>
                  <a:pt x="3281" y="11531"/>
                  <a:pt x="3281" y="11593"/>
                </a:cubicBezTo>
                <a:cubicBezTo>
                  <a:pt x="3375" y="11718"/>
                  <a:pt x="3469" y="11781"/>
                  <a:pt x="3562" y="11906"/>
                </a:cubicBezTo>
                <a:cubicBezTo>
                  <a:pt x="3719" y="12125"/>
                  <a:pt x="3906" y="12375"/>
                  <a:pt x="4094" y="12593"/>
                </a:cubicBezTo>
                <a:cubicBezTo>
                  <a:pt x="4187" y="12718"/>
                  <a:pt x="4344" y="12843"/>
                  <a:pt x="4531" y="12875"/>
                </a:cubicBezTo>
                <a:cubicBezTo>
                  <a:pt x="4531" y="12812"/>
                  <a:pt x="4469" y="12812"/>
                  <a:pt x="4469" y="12750"/>
                </a:cubicBezTo>
                <a:cubicBezTo>
                  <a:pt x="4437" y="12750"/>
                  <a:pt x="4406" y="12750"/>
                  <a:pt x="4375" y="12718"/>
                </a:cubicBezTo>
                <a:cubicBezTo>
                  <a:pt x="4406" y="12750"/>
                  <a:pt x="4437" y="12750"/>
                  <a:pt x="4469" y="12750"/>
                </a:cubicBezTo>
                <a:cubicBezTo>
                  <a:pt x="4469" y="12812"/>
                  <a:pt x="4531" y="12812"/>
                  <a:pt x="4531" y="12875"/>
                </a:cubicBezTo>
                <a:cubicBezTo>
                  <a:pt x="4594" y="12875"/>
                  <a:pt x="4656" y="12906"/>
                  <a:pt x="4719" y="12906"/>
                </a:cubicBezTo>
                <a:cubicBezTo>
                  <a:pt x="4937" y="12968"/>
                  <a:pt x="5156" y="12937"/>
                  <a:pt x="5344" y="12937"/>
                </a:cubicBezTo>
                <a:cubicBezTo>
                  <a:pt x="5312" y="12906"/>
                  <a:pt x="5281" y="12906"/>
                  <a:pt x="5250" y="12906"/>
                </a:cubicBezTo>
                <a:cubicBezTo>
                  <a:pt x="5250" y="12906"/>
                  <a:pt x="5250" y="12906"/>
                  <a:pt x="5250" y="12906"/>
                </a:cubicBezTo>
                <a:cubicBezTo>
                  <a:pt x="5219" y="12906"/>
                  <a:pt x="5187" y="12906"/>
                  <a:pt x="5187" y="12906"/>
                </a:cubicBezTo>
                <a:cubicBezTo>
                  <a:pt x="5062" y="12906"/>
                  <a:pt x="4969" y="12906"/>
                  <a:pt x="4844" y="12906"/>
                </a:cubicBezTo>
                <a:cubicBezTo>
                  <a:pt x="4969" y="12906"/>
                  <a:pt x="5062" y="12906"/>
                  <a:pt x="5187" y="12906"/>
                </a:cubicBezTo>
                <a:cubicBezTo>
                  <a:pt x="5187" y="12906"/>
                  <a:pt x="5219" y="12906"/>
                  <a:pt x="5250" y="12906"/>
                </a:cubicBezTo>
                <a:cubicBezTo>
                  <a:pt x="5250" y="12812"/>
                  <a:pt x="5156" y="12812"/>
                  <a:pt x="5125" y="12812"/>
                </a:cubicBezTo>
                <a:cubicBezTo>
                  <a:pt x="5094" y="12812"/>
                  <a:pt x="5062" y="12812"/>
                  <a:pt x="5031" y="12781"/>
                </a:cubicBezTo>
                <a:cubicBezTo>
                  <a:pt x="5031" y="12750"/>
                  <a:pt x="5062" y="12750"/>
                  <a:pt x="5094" y="12718"/>
                </a:cubicBezTo>
                <a:cubicBezTo>
                  <a:pt x="5094" y="12687"/>
                  <a:pt x="5156" y="12687"/>
                  <a:pt x="5219" y="12656"/>
                </a:cubicBezTo>
                <a:cubicBezTo>
                  <a:pt x="5094" y="12625"/>
                  <a:pt x="4969" y="12687"/>
                  <a:pt x="4812" y="12593"/>
                </a:cubicBezTo>
                <a:cubicBezTo>
                  <a:pt x="4937" y="12625"/>
                  <a:pt x="5031" y="12562"/>
                  <a:pt x="5156" y="12531"/>
                </a:cubicBezTo>
                <a:cubicBezTo>
                  <a:pt x="5062" y="12531"/>
                  <a:pt x="4969" y="12531"/>
                  <a:pt x="4875" y="12531"/>
                </a:cubicBezTo>
                <a:cubicBezTo>
                  <a:pt x="4906" y="12468"/>
                  <a:pt x="4969" y="12500"/>
                  <a:pt x="5000" y="12468"/>
                </a:cubicBezTo>
                <a:cubicBezTo>
                  <a:pt x="4906" y="12468"/>
                  <a:pt x="4844" y="12468"/>
                  <a:pt x="4750" y="12437"/>
                </a:cubicBezTo>
                <a:cubicBezTo>
                  <a:pt x="4875" y="12375"/>
                  <a:pt x="5000" y="12437"/>
                  <a:pt x="5094" y="12375"/>
                </a:cubicBezTo>
                <a:cubicBezTo>
                  <a:pt x="4969" y="12312"/>
                  <a:pt x="4844" y="12375"/>
                  <a:pt x="4687" y="12375"/>
                </a:cubicBezTo>
                <a:cubicBezTo>
                  <a:pt x="4656" y="12375"/>
                  <a:pt x="4594" y="12375"/>
                  <a:pt x="4562" y="12375"/>
                </a:cubicBezTo>
                <a:cubicBezTo>
                  <a:pt x="4562" y="12375"/>
                  <a:pt x="4562" y="12375"/>
                  <a:pt x="4594" y="12375"/>
                </a:cubicBezTo>
                <a:cubicBezTo>
                  <a:pt x="4562" y="12375"/>
                  <a:pt x="4531" y="12375"/>
                  <a:pt x="4500" y="12375"/>
                </a:cubicBezTo>
                <a:cubicBezTo>
                  <a:pt x="4594" y="12343"/>
                  <a:pt x="4687" y="12281"/>
                  <a:pt x="4750" y="12218"/>
                </a:cubicBezTo>
                <a:cubicBezTo>
                  <a:pt x="4687" y="12281"/>
                  <a:pt x="4594" y="12343"/>
                  <a:pt x="4500" y="12375"/>
                </a:cubicBezTo>
                <a:cubicBezTo>
                  <a:pt x="4531" y="12375"/>
                  <a:pt x="4562" y="12375"/>
                  <a:pt x="4594" y="12375"/>
                </a:cubicBezTo>
                <a:cubicBezTo>
                  <a:pt x="4687" y="12343"/>
                  <a:pt x="4750" y="12281"/>
                  <a:pt x="4844" y="12218"/>
                </a:cubicBezTo>
                <a:cubicBezTo>
                  <a:pt x="4781" y="12187"/>
                  <a:pt x="4719" y="12218"/>
                  <a:pt x="4656" y="12187"/>
                </a:cubicBezTo>
                <a:cubicBezTo>
                  <a:pt x="4656" y="12156"/>
                  <a:pt x="4719" y="12187"/>
                  <a:pt x="4719" y="12125"/>
                </a:cubicBezTo>
                <a:cubicBezTo>
                  <a:pt x="4687" y="12125"/>
                  <a:pt x="4687" y="12093"/>
                  <a:pt x="4656" y="12093"/>
                </a:cubicBezTo>
                <a:cubicBezTo>
                  <a:pt x="4594" y="12093"/>
                  <a:pt x="4562" y="12093"/>
                  <a:pt x="4500" y="12093"/>
                </a:cubicBezTo>
                <a:cubicBezTo>
                  <a:pt x="4500" y="12093"/>
                  <a:pt x="4437" y="12093"/>
                  <a:pt x="4469" y="12062"/>
                </a:cubicBezTo>
                <a:cubicBezTo>
                  <a:pt x="4500" y="12062"/>
                  <a:pt x="4500" y="12062"/>
                  <a:pt x="4531" y="12031"/>
                </a:cubicBezTo>
                <a:cubicBezTo>
                  <a:pt x="4531" y="12031"/>
                  <a:pt x="4531" y="12031"/>
                  <a:pt x="4531" y="12031"/>
                </a:cubicBezTo>
                <a:cubicBezTo>
                  <a:pt x="4437" y="12031"/>
                  <a:pt x="4375" y="12031"/>
                  <a:pt x="4312" y="12031"/>
                </a:cubicBezTo>
                <a:cubicBezTo>
                  <a:pt x="4344" y="11968"/>
                  <a:pt x="4406" y="12000"/>
                  <a:pt x="4437" y="11968"/>
                </a:cubicBezTo>
                <a:cubicBezTo>
                  <a:pt x="4562" y="11968"/>
                  <a:pt x="4719" y="12000"/>
                  <a:pt x="4812" y="11875"/>
                </a:cubicBezTo>
                <a:cubicBezTo>
                  <a:pt x="4656" y="11875"/>
                  <a:pt x="4500" y="11906"/>
                  <a:pt x="4344" y="11906"/>
                </a:cubicBezTo>
                <a:cubicBezTo>
                  <a:pt x="4344" y="11906"/>
                  <a:pt x="4312" y="11906"/>
                  <a:pt x="4312" y="11906"/>
                </a:cubicBezTo>
                <a:cubicBezTo>
                  <a:pt x="4281" y="11906"/>
                  <a:pt x="4281" y="11906"/>
                  <a:pt x="4281" y="11906"/>
                </a:cubicBezTo>
                <a:cubicBezTo>
                  <a:pt x="4281" y="11906"/>
                  <a:pt x="4281" y="11906"/>
                  <a:pt x="4312" y="11906"/>
                </a:cubicBezTo>
                <a:cubicBezTo>
                  <a:pt x="4281" y="11906"/>
                  <a:pt x="4281" y="11906"/>
                  <a:pt x="4281" y="11906"/>
                </a:cubicBezTo>
                <a:cubicBezTo>
                  <a:pt x="4437" y="11843"/>
                  <a:pt x="4594" y="11812"/>
                  <a:pt x="4750" y="11781"/>
                </a:cubicBezTo>
                <a:cubicBezTo>
                  <a:pt x="4594" y="11781"/>
                  <a:pt x="4406" y="11843"/>
                  <a:pt x="4219" y="11812"/>
                </a:cubicBezTo>
                <a:cubicBezTo>
                  <a:pt x="4219" y="11812"/>
                  <a:pt x="4219" y="11812"/>
                  <a:pt x="4219" y="11812"/>
                </a:cubicBezTo>
                <a:cubicBezTo>
                  <a:pt x="4219" y="11812"/>
                  <a:pt x="4187" y="11781"/>
                  <a:pt x="4156" y="11781"/>
                </a:cubicBezTo>
                <a:cubicBezTo>
                  <a:pt x="4219" y="11750"/>
                  <a:pt x="4281" y="11750"/>
                  <a:pt x="4344" y="11750"/>
                </a:cubicBezTo>
                <a:cubicBezTo>
                  <a:pt x="4281" y="11750"/>
                  <a:pt x="4219" y="11750"/>
                  <a:pt x="4156" y="11781"/>
                </a:cubicBezTo>
                <a:cubicBezTo>
                  <a:pt x="4187" y="11781"/>
                  <a:pt x="4219" y="11812"/>
                  <a:pt x="4219" y="11812"/>
                </a:cubicBezTo>
                <a:cubicBezTo>
                  <a:pt x="4344" y="11750"/>
                  <a:pt x="4469" y="11750"/>
                  <a:pt x="4594" y="11718"/>
                </a:cubicBezTo>
                <a:cubicBezTo>
                  <a:pt x="4469" y="11656"/>
                  <a:pt x="4312" y="11718"/>
                  <a:pt x="4187" y="11687"/>
                </a:cubicBezTo>
                <a:cubicBezTo>
                  <a:pt x="4281" y="11687"/>
                  <a:pt x="4375" y="11625"/>
                  <a:pt x="4469" y="11593"/>
                </a:cubicBezTo>
                <a:cubicBezTo>
                  <a:pt x="4469" y="11562"/>
                  <a:pt x="4406" y="11593"/>
                  <a:pt x="4406" y="11562"/>
                </a:cubicBezTo>
                <a:cubicBezTo>
                  <a:pt x="4500" y="11500"/>
                  <a:pt x="4594" y="11531"/>
                  <a:pt x="4656" y="11468"/>
                </a:cubicBezTo>
                <a:cubicBezTo>
                  <a:pt x="4500" y="11437"/>
                  <a:pt x="4312" y="11500"/>
                  <a:pt x="4156" y="11531"/>
                </a:cubicBezTo>
                <a:cubicBezTo>
                  <a:pt x="4094" y="11531"/>
                  <a:pt x="4031" y="11531"/>
                  <a:pt x="3969" y="11531"/>
                </a:cubicBezTo>
                <a:cubicBezTo>
                  <a:pt x="3969" y="11531"/>
                  <a:pt x="3969" y="11500"/>
                  <a:pt x="3969" y="11500"/>
                </a:cubicBezTo>
                <a:cubicBezTo>
                  <a:pt x="3937" y="11500"/>
                  <a:pt x="3937" y="11500"/>
                  <a:pt x="3906" y="11500"/>
                </a:cubicBezTo>
                <a:cubicBezTo>
                  <a:pt x="3906" y="11500"/>
                  <a:pt x="3906" y="11500"/>
                  <a:pt x="3906" y="11500"/>
                </a:cubicBezTo>
                <a:cubicBezTo>
                  <a:pt x="3937" y="11500"/>
                  <a:pt x="3937" y="11500"/>
                  <a:pt x="3969" y="11500"/>
                </a:cubicBezTo>
                <a:cubicBezTo>
                  <a:pt x="3969" y="11437"/>
                  <a:pt x="4062" y="11500"/>
                  <a:pt x="4094" y="11437"/>
                </a:cubicBezTo>
                <a:cubicBezTo>
                  <a:pt x="4031" y="11437"/>
                  <a:pt x="3937" y="11437"/>
                  <a:pt x="3875" y="11437"/>
                </a:cubicBezTo>
                <a:cubicBezTo>
                  <a:pt x="3844" y="11437"/>
                  <a:pt x="3812" y="11468"/>
                  <a:pt x="3812" y="11406"/>
                </a:cubicBezTo>
                <a:cubicBezTo>
                  <a:pt x="3875" y="11406"/>
                  <a:pt x="3937" y="11406"/>
                  <a:pt x="4000" y="11406"/>
                </a:cubicBezTo>
                <a:cubicBezTo>
                  <a:pt x="4000" y="11375"/>
                  <a:pt x="3969" y="11375"/>
                  <a:pt x="3937" y="11375"/>
                </a:cubicBezTo>
                <a:cubicBezTo>
                  <a:pt x="3969" y="11343"/>
                  <a:pt x="4000" y="11343"/>
                  <a:pt x="4062" y="11312"/>
                </a:cubicBezTo>
                <a:cubicBezTo>
                  <a:pt x="4031" y="11250"/>
                  <a:pt x="3906" y="11281"/>
                  <a:pt x="3875" y="11218"/>
                </a:cubicBezTo>
                <a:cubicBezTo>
                  <a:pt x="4000" y="11156"/>
                  <a:pt x="4156" y="11125"/>
                  <a:pt x="4312" y="11093"/>
                </a:cubicBezTo>
                <a:cubicBezTo>
                  <a:pt x="4344" y="11093"/>
                  <a:pt x="4375" y="11062"/>
                  <a:pt x="4375" y="11062"/>
                </a:cubicBezTo>
                <a:cubicBezTo>
                  <a:pt x="4250" y="11000"/>
                  <a:pt x="4469" y="11031"/>
                  <a:pt x="4375" y="10968"/>
                </a:cubicBezTo>
                <a:cubicBezTo>
                  <a:pt x="4219" y="11062"/>
                  <a:pt x="4000" y="11062"/>
                  <a:pt x="3812" y="11093"/>
                </a:cubicBezTo>
                <a:cubicBezTo>
                  <a:pt x="3750" y="11093"/>
                  <a:pt x="3719" y="11093"/>
                  <a:pt x="3687" y="11093"/>
                </a:cubicBezTo>
                <a:cubicBezTo>
                  <a:pt x="3687" y="11062"/>
                  <a:pt x="3719" y="11031"/>
                  <a:pt x="3750" y="11031"/>
                </a:cubicBezTo>
                <a:cubicBezTo>
                  <a:pt x="3844" y="11031"/>
                  <a:pt x="3937" y="11000"/>
                  <a:pt x="4031" y="10968"/>
                </a:cubicBezTo>
                <a:cubicBezTo>
                  <a:pt x="4094" y="10968"/>
                  <a:pt x="4156" y="10968"/>
                  <a:pt x="4187" y="10875"/>
                </a:cubicBezTo>
                <a:cubicBezTo>
                  <a:pt x="4062" y="10875"/>
                  <a:pt x="3906" y="10875"/>
                  <a:pt x="3750" y="10875"/>
                </a:cubicBezTo>
                <a:cubicBezTo>
                  <a:pt x="3719" y="10875"/>
                  <a:pt x="3656" y="10875"/>
                  <a:pt x="3625" y="10875"/>
                </a:cubicBezTo>
                <a:cubicBezTo>
                  <a:pt x="3594" y="10875"/>
                  <a:pt x="3594" y="10875"/>
                  <a:pt x="3594" y="10875"/>
                </a:cubicBezTo>
                <a:cubicBezTo>
                  <a:pt x="3594" y="10875"/>
                  <a:pt x="3594" y="10875"/>
                  <a:pt x="3625" y="10875"/>
                </a:cubicBezTo>
                <a:cubicBezTo>
                  <a:pt x="3594" y="10875"/>
                  <a:pt x="3594" y="10875"/>
                  <a:pt x="3562" y="10843"/>
                </a:cubicBezTo>
                <a:cubicBezTo>
                  <a:pt x="3625" y="10812"/>
                  <a:pt x="3687" y="10843"/>
                  <a:pt x="3750" y="10812"/>
                </a:cubicBezTo>
                <a:cubicBezTo>
                  <a:pt x="4000" y="10781"/>
                  <a:pt x="4250" y="10718"/>
                  <a:pt x="4531" y="10656"/>
                </a:cubicBezTo>
                <a:cubicBezTo>
                  <a:pt x="4531" y="10593"/>
                  <a:pt x="4469" y="10625"/>
                  <a:pt x="4469" y="10593"/>
                </a:cubicBezTo>
                <a:cubicBezTo>
                  <a:pt x="4656" y="10531"/>
                  <a:pt x="4844" y="10468"/>
                  <a:pt x="5031" y="10375"/>
                </a:cubicBezTo>
                <a:cubicBezTo>
                  <a:pt x="5250" y="10312"/>
                  <a:pt x="5406" y="10250"/>
                  <a:pt x="5594" y="10156"/>
                </a:cubicBezTo>
                <a:cubicBezTo>
                  <a:pt x="5781" y="10093"/>
                  <a:pt x="6000" y="10000"/>
                  <a:pt x="6187" y="9906"/>
                </a:cubicBezTo>
                <a:cubicBezTo>
                  <a:pt x="6312" y="9875"/>
                  <a:pt x="6437" y="9812"/>
                  <a:pt x="6531" y="9718"/>
                </a:cubicBezTo>
                <a:cubicBezTo>
                  <a:pt x="6500" y="9718"/>
                  <a:pt x="6469" y="9718"/>
                  <a:pt x="6469" y="9750"/>
                </a:cubicBezTo>
                <a:cubicBezTo>
                  <a:pt x="6281" y="9812"/>
                  <a:pt x="6094" y="9906"/>
                  <a:pt x="5906" y="10000"/>
                </a:cubicBezTo>
                <a:cubicBezTo>
                  <a:pt x="5812" y="10031"/>
                  <a:pt x="5687" y="10062"/>
                  <a:pt x="5594" y="10156"/>
                </a:cubicBezTo>
                <a:cubicBezTo>
                  <a:pt x="5469" y="10156"/>
                  <a:pt x="5344" y="10218"/>
                  <a:pt x="5250" y="10281"/>
                </a:cubicBezTo>
                <a:cubicBezTo>
                  <a:pt x="5156" y="10312"/>
                  <a:pt x="5062" y="10281"/>
                  <a:pt x="5031" y="10375"/>
                </a:cubicBezTo>
                <a:cubicBezTo>
                  <a:pt x="5000" y="10375"/>
                  <a:pt x="4937" y="10375"/>
                  <a:pt x="4906" y="10406"/>
                </a:cubicBezTo>
                <a:cubicBezTo>
                  <a:pt x="4625" y="10468"/>
                  <a:pt x="4375" y="10562"/>
                  <a:pt x="4094" y="10625"/>
                </a:cubicBezTo>
                <a:cubicBezTo>
                  <a:pt x="4094" y="10625"/>
                  <a:pt x="4062" y="10656"/>
                  <a:pt x="4031" y="10656"/>
                </a:cubicBezTo>
                <a:cubicBezTo>
                  <a:pt x="3937" y="10656"/>
                  <a:pt x="3844" y="10687"/>
                  <a:pt x="3719" y="10687"/>
                </a:cubicBezTo>
                <a:cubicBezTo>
                  <a:pt x="3687" y="10687"/>
                  <a:pt x="3656" y="10718"/>
                  <a:pt x="3625" y="10656"/>
                </a:cubicBezTo>
                <a:cubicBezTo>
                  <a:pt x="3750" y="10656"/>
                  <a:pt x="3875" y="10593"/>
                  <a:pt x="4000" y="10593"/>
                </a:cubicBezTo>
                <a:cubicBezTo>
                  <a:pt x="4156" y="10562"/>
                  <a:pt x="4312" y="10500"/>
                  <a:pt x="4469" y="10437"/>
                </a:cubicBezTo>
                <a:cubicBezTo>
                  <a:pt x="4656" y="10375"/>
                  <a:pt x="4844" y="10343"/>
                  <a:pt x="5031" y="10250"/>
                </a:cubicBezTo>
                <a:cubicBezTo>
                  <a:pt x="5000" y="10218"/>
                  <a:pt x="4969" y="10218"/>
                  <a:pt x="4969" y="10250"/>
                </a:cubicBezTo>
                <a:cubicBezTo>
                  <a:pt x="4812" y="10281"/>
                  <a:pt x="4656" y="10343"/>
                  <a:pt x="4500" y="10375"/>
                </a:cubicBezTo>
                <a:cubicBezTo>
                  <a:pt x="4344" y="10437"/>
                  <a:pt x="4156" y="10500"/>
                  <a:pt x="3969" y="10531"/>
                </a:cubicBezTo>
                <a:cubicBezTo>
                  <a:pt x="3906" y="10531"/>
                  <a:pt x="3875" y="10562"/>
                  <a:pt x="3812" y="10562"/>
                </a:cubicBezTo>
                <a:cubicBezTo>
                  <a:pt x="3594" y="10593"/>
                  <a:pt x="3375" y="10625"/>
                  <a:pt x="3156" y="10593"/>
                </a:cubicBezTo>
                <a:cubicBezTo>
                  <a:pt x="3156" y="10593"/>
                  <a:pt x="3187" y="10593"/>
                  <a:pt x="3187" y="10593"/>
                </a:cubicBezTo>
                <a:cubicBezTo>
                  <a:pt x="3156" y="10593"/>
                  <a:pt x="3125" y="10593"/>
                  <a:pt x="3125" y="10593"/>
                </a:cubicBezTo>
                <a:cubicBezTo>
                  <a:pt x="3156" y="10593"/>
                  <a:pt x="3187" y="10593"/>
                  <a:pt x="3250" y="10562"/>
                </a:cubicBezTo>
                <a:cubicBezTo>
                  <a:pt x="3187" y="10593"/>
                  <a:pt x="3156" y="10593"/>
                  <a:pt x="3125" y="10593"/>
                </a:cubicBezTo>
                <a:cubicBezTo>
                  <a:pt x="3125" y="10593"/>
                  <a:pt x="3156" y="10593"/>
                  <a:pt x="3187" y="10593"/>
                </a:cubicBezTo>
                <a:cubicBezTo>
                  <a:pt x="3219" y="10593"/>
                  <a:pt x="3281" y="10593"/>
                  <a:pt x="3312" y="10593"/>
                </a:cubicBezTo>
                <a:cubicBezTo>
                  <a:pt x="3625" y="10531"/>
                  <a:pt x="3906" y="10500"/>
                  <a:pt x="4219" y="10375"/>
                </a:cubicBezTo>
                <a:cubicBezTo>
                  <a:pt x="4031" y="10406"/>
                  <a:pt x="3875" y="10406"/>
                  <a:pt x="3719" y="10406"/>
                </a:cubicBezTo>
                <a:cubicBezTo>
                  <a:pt x="3562" y="10406"/>
                  <a:pt x="3406" y="10500"/>
                  <a:pt x="3219" y="10437"/>
                </a:cubicBezTo>
                <a:cubicBezTo>
                  <a:pt x="3469" y="10281"/>
                  <a:pt x="3719" y="10312"/>
                  <a:pt x="3906" y="10218"/>
                </a:cubicBezTo>
                <a:cubicBezTo>
                  <a:pt x="3875" y="10125"/>
                  <a:pt x="3781" y="10187"/>
                  <a:pt x="3750" y="10125"/>
                </a:cubicBezTo>
                <a:cubicBezTo>
                  <a:pt x="3844" y="10093"/>
                  <a:pt x="3969" y="10093"/>
                  <a:pt x="4031" y="10000"/>
                </a:cubicBezTo>
                <a:cubicBezTo>
                  <a:pt x="3781" y="10062"/>
                  <a:pt x="3500" y="10125"/>
                  <a:pt x="3250" y="10156"/>
                </a:cubicBezTo>
                <a:cubicBezTo>
                  <a:pt x="3344" y="10125"/>
                  <a:pt x="3437" y="10093"/>
                  <a:pt x="3500" y="10093"/>
                </a:cubicBezTo>
                <a:cubicBezTo>
                  <a:pt x="3781" y="10000"/>
                  <a:pt x="4062" y="9906"/>
                  <a:pt x="4344" y="9812"/>
                </a:cubicBezTo>
                <a:cubicBezTo>
                  <a:pt x="4437" y="9812"/>
                  <a:pt x="4687" y="9750"/>
                  <a:pt x="5187" y="9625"/>
                </a:cubicBezTo>
                <a:cubicBezTo>
                  <a:pt x="5969" y="9437"/>
                  <a:pt x="6031" y="9343"/>
                  <a:pt x="6437" y="9031"/>
                </a:cubicBezTo>
                <a:cubicBezTo>
                  <a:pt x="6562" y="9031"/>
                  <a:pt x="6656" y="8968"/>
                  <a:pt x="6750" y="8906"/>
                </a:cubicBezTo>
                <a:cubicBezTo>
                  <a:pt x="7094" y="8750"/>
                  <a:pt x="7437" y="8562"/>
                  <a:pt x="7781" y="8375"/>
                </a:cubicBezTo>
                <a:cubicBezTo>
                  <a:pt x="8125" y="8187"/>
                  <a:pt x="8437" y="8000"/>
                  <a:pt x="8781" y="7843"/>
                </a:cubicBezTo>
                <a:cubicBezTo>
                  <a:pt x="8812" y="7812"/>
                  <a:pt x="8844" y="7781"/>
                  <a:pt x="8875" y="7781"/>
                </a:cubicBezTo>
                <a:cubicBezTo>
                  <a:pt x="8875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50"/>
                  <a:pt x="8906" y="7718"/>
                  <a:pt x="8906" y="7687"/>
                </a:cubicBezTo>
                <a:cubicBezTo>
                  <a:pt x="8906" y="7687"/>
                  <a:pt x="8906" y="7687"/>
                  <a:pt x="8906" y="7687"/>
                </a:cubicBezTo>
                <a:cubicBezTo>
                  <a:pt x="8906" y="7687"/>
                  <a:pt x="8906" y="7687"/>
                  <a:pt x="8906" y="7687"/>
                </a:cubicBezTo>
                <a:cubicBezTo>
                  <a:pt x="8750" y="7718"/>
                  <a:pt x="8625" y="7843"/>
                  <a:pt x="8469" y="7906"/>
                </a:cubicBezTo>
                <a:cubicBezTo>
                  <a:pt x="8437" y="7937"/>
                  <a:pt x="8406" y="7968"/>
                  <a:pt x="8344" y="7968"/>
                </a:cubicBezTo>
                <a:cubicBezTo>
                  <a:pt x="8344" y="7968"/>
                  <a:pt x="8312" y="7968"/>
                  <a:pt x="8312" y="7937"/>
                </a:cubicBezTo>
                <a:cubicBezTo>
                  <a:pt x="8906" y="7625"/>
                  <a:pt x="9469" y="7281"/>
                  <a:pt x="10031" y="6937"/>
                </a:cubicBezTo>
                <a:cubicBezTo>
                  <a:pt x="10062" y="6968"/>
                  <a:pt x="10062" y="6968"/>
                  <a:pt x="10062" y="6968"/>
                </a:cubicBezTo>
                <a:cubicBezTo>
                  <a:pt x="9906" y="7093"/>
                  <a:pt x="9719" y="7187"/>
                  <a:pt x="9562" y="7281"/>
                </a:cubicBezTo>
                <a:cubicBezTo>
                  <a:pt x="9344" y="7437"/>
                  <a:pt x="9094" y="7531"/>
                  <a:pt x="8906" y="7687"/>
                </a:cubicBezTo>
                <a:cubicBezTo>
                  <a:pt x="8906" y="7687"/>
                  <a:pt x="8906" y="7687"/>
                  <a:pt x="8906" y="7687"/>
                </a:cubicBezTo>
                <a:cubicBezTo>
                  <a:pt x="8969" y="7718"/>
                  <a:pt x="9000" y="7687"/>
                  <a:pt x="9062" y="7687"/>
                </a:cubicBezTo>
                <a:cubicBezTo>
                  <a:pt x="9000" y="7718"/>
                  <a:pt x="8937" y="7750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875" y="7781"/>
                </a:cubicBezTo>
                <a:cubicBezTo>
                  <a:pt x="8875" y="7812"/>
                  <a:pt x="8812" y="7812"/>
                  <a:pt x="8844" y="7843"/>
                </a:cubicBezTo>
                <a:cubicBezTo>
                  <a:pt x="8875" y="7875"/>
                  <a:pt x="8906" y="7875"/>
                  <a:pt x="8969" y="7875"/>
                </a:cubicBezTo>
                <a:cubicBezTo>
                  <a:pt x="9094" y="7812"/>
                  <a:pt x="9250" y="7687"/>
                  <a:pt x="9375" y="7625"/>
                </a:cubicBezTo>
                <a:cubicBezTo>
                  <a:pt x="9562" y="7562"/>
                  <a:pt x="9687" y="7406"/>
                  <a:pt x="9906" y="7343"/>
                </a:cubicBezTo>
                <a:cubicBezTo>
                  <a:pt x="9969" y="7312"/>
                  <a:pt x="10031" y="7250"/>
                  <a:pt x="10125" y="7281"/>
                </a:cubicBezTo>
                <a:cubicBezTo>
                  <a:pt x="10062" y="7343"/>
                  <a:pt x="9969" y="7375"/>
                  <a:pt x="9906" y="7437"/>
                </a:cubicBezTo>
                <a:cubicBezTo>
                  <a:pt x="9750" y="7562"/>
                  <a:pt x="9594" y="7625"/>
                  <a:pt x="9437" y="7718"/>
                </a:cubicBezTo>
                <a:cubicBezTo>
                  <a:pt x="9406" y="7750"/>
                  <a:pt x="9375" y="7750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406" y="7812"/>
                  <a:pt x="9406" y="7812"/>
                </a:cubicBezTo>
                <a:cubicBezTo>
                  <a:pt x="9406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43"/>
                  <a:pt x="9375" y="7843"/>
                  <a:pt x="9344" y="7843"/>
                </a:cubicBezTo>
                <a:cubicBezTo>
                  <a:pt x="9344" y="7843"/>
                  <a:pt x="9312" y="7843"/>
                  <a:pt x="9312" y="7843"/>
                </a:cubicBezTo>
                <a:cubicBezTo>
                  <a:pt x="9344" y="7812"/>
                  <a:pt x="9344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12" y="7812"/>
                  <a:pt x="9312" y="7812"/>
                  <a:pt x="9281" y="7875"/>
                </a:cubicBezTo>
                <a:cubicBezTo>
                  <a:pt x="9281" y="7906"/>
                  <a:pt x="9219" y="7937"/>
                  <a:pt x="9187" y="7968"/>
                </a:cubicBezTo>
                <a:cubicBezTo>
                  <a:pt x="8875" y="8156"/>
                  <a:pt x="8562" y="8343"/>
                  <a:pt x="8250" y="8531"/>
                </a:cubicBezTo>
                <a:cubicBezTo>
                  <a:pt x="8219" y="8531"/>
                  <a:pt x="8219" y="8531"/>
                  <a:pt x="8219" y="8562"/>
                </a:cubicBezTo>
                <a:cubicBezTo>
                  <a:pt x="8312" y="8531"/>
                  <a:pt x="8406" y="8468"/>
                  <a:pt x="8500" y="8437"/>
                </a:cubicBezTo>
                <a:cubicBezTo>
                  <a:pt x="9187" y="8031"/>
                  <a:pt x="9875" y="7625"/>
                  <a:pt x="10562" y="7218"/>
                </a:cubicBezTo>
                <a:cubicBezTo>
                  <a:pt x="10844" y="7062"/>
                  <a:pt x="11125" y="6875"/>
                  <a:pt x="11406" y="6687"/>
                </a:cubicBezTo>
                <a:cubicBezTo>
                  <a:pt x="11437" y="6687"/>
                  <a:pt x="11469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31" y="6593"/>
                  <a:pt x="11625" y="6562"/>
                  <a:pt x="11687" y="6531"/>
                </a:cubicBezTo>
                <a:cubicBezTo>
                  <a:pt x="11656" y="6593"/>
                  <a:pt x="11594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375" y="6781"/>
                  <a:pt x="11219" y="6843"/>
                  <a:pt x="11094" y="6937"/>
                </a:cubicBezTo>
                <a:cubicBezTo>
                  <a:pt x="10531" y="7281"/>
                  <a:pt x="9969" y="7656"/>
                  <a:pt x="9375" y="8000"/>
                </a:cubicBezTo>
                <a:cubicBezTo>
                  <a:pt x="8969" y="8250"/>
                  <a:pt x="8531" y="8500"/>
                  <a:pt x="8094" y="8750"/>
                </a:cubicBezTo>
                <a:cubicBezTo>
                  <a:pt x="8062" y="8750"/>
                  <a:pt x="8031" y="8750"/>
                  <a:pt x="8031" y="8812"/>
                </a:cubicBezTo>
                <a:cubicBezTo>
                  <a:pt x="9219" y="8187"/>
                  <a:pt x="10344" y="7500"/>
                  <a:pt x="11500" y="6843"/>
                </a:cubicBezTo>
                <a:cubicBezTo>
                  <a:pt x="11406" y="6875"/>
                  <a:pt x="11344" y="6937"/>
                  <a:pt x="11250" y="7000"/>
                </a:cubicBezTo>
                <a:cubicBezTo>
                  <a:pt x="11156" y="7031"/>
                  <a:pt x="11094" y="7093"/>
                  <a:pt x="11000" y="7156"/>
                </a:cubicBezTo>
                <a:cubicBezTo>
                  <a:pt x="10594" y="7406"/>
                  <a:pt x="10187" y="7656"/>
                  <a:pt x="9750" y="7906"/>
                </a:cubicBezTo>
                <a:cubicBezTo>
                  <a:pt x="9281" y="8187"/>
                  <a:pt x="8812" y="8468"/>
                  <a:pt x="8344" y="8750"/>
                </a:cubicBezTo>
                <a:cubicBezTo>
                  <a:pt x="8000" y="8937"/>
                  <a:pt x="7625" y="9125"/>
                  <a:pt x="7281" y="9343"/>
                </a:cubicBezTo>
                <a:cubicBezTo>
                  <a:pt x="7250" y="9343"/>
                  <a:pt x="7250" y="9343"/>
                  <a:pt x="7250" y="9375"/>
                </a:cubicBezTo>
                <a:cubicBezTo>
                  <a:pt x="7250" y="9375"/>
                  <a:pt x="7250" y="9375"/>
                  <a:pt x="7250" y="9375"/>
                </a:cubicBezTo>
                <a:cubicBezTo>
                  <a:pt x="7250" y="9375"/>
                  <a:pt x="7250" y="9375"/>
                  <a:pt x="7281" y="9375"/>
                </a:cubicBezTo>
                <a:cubicBezTo>
                  <a:pt x="7500" y="9281"/>
                  <a:pt x="7687" y="9156"/>
                  <a:pt x="7906" y="9062"/>
                </a:cubicBezTo>
                <a:cubicBezTo>
                  <a:pt x="8000" y="9000"/>
                  <a:pt x="8125" y="8906"/>
                  <a:pt x="8250" y="8906"/>
                </a:cubicBezTo>
                <a:cubicBezTo>
                  <a:pt x="8250" y="8906"/>
                  <a:pt x="8250" y="8937"/>
                  <a:pt x="8281" y="8937"/>
                </a:cubicBezTo>
                <a:cubicBezTo>
                  <a:pt x="8312" y="8937"/>
                  <a:pt x="8281" y="8906"/>
                  <a:pt x="8281" y="8906"/>
                </a:cubicBezTo>
                <a:cubicBezTo>
                  <a:pt x="8437" y="8875"/>
                  <a:pt x="8531" y="8781"/>
                  <a:pt x="8625" y="8718"/>
                </a:cubicBezTo>
                <a:cubicBezTo>
                  <a:pt x="8875" y="8593"/>
                  <a:pt x="9094" y="8468"/>
                  <a:pt x="9312" y="8312"/>
                </a:cubicBezTo>
                <a:cubicBezTo>
                  <a:pt x="9781" y="8062"/>
                  <a:pt x="10219" y="7781"/>
                  <a:pt x="10687" y="7500"/>
                </a:cubicBezTo>
                <a:cubicBezTo>
                  <a:pt x="10750" y="7468"/>
                  <a:pt x="10781" y="7468"/>
                  <a:pt x="10844" y="7531"/>
                </a:cubicBezTo>
                <a:cubicBezTo>
                  <a:pt x="10375" y="7812"/>
                  <a:pt x="9937" y="8125"/>
                  <a:pt x="9469" y="8437"/>
                </a:cubicBezTo>
                <a:cubicBezTo>
                  <a:pt x="9406" y="8468"/>
                  <a:pt x="9281" y="8500"/>
                  <a:pt x="9250" y="8593"/>
                </a:cubicBezTo>
                <a:cubicBezTo>
                  <a:pt x="9250" y="8593"/>
                  <a:pt x="9219" y="8593"/>
                  <a:pt x="9219" y="8593"/>
                </a:cubicBezTo>
                <a:cubicBezTo>
                  <a:pt x="9219" y="8593"/>
                  <a:pt x="9219" y="8593"/>
                  <a:pt x="9219" y="8593"/>
                </a:cubicBezTo>
                <a:cubicBezTo>
                  <a:pt x="9219" y="8593"/>
                  <a:pt x="9250" y="8593"/>
                  <a:pt x="9250" y="8593"/>
                </a:cubicBezTo>
                <a:cubicBezTo>
                  <a:pt x="9406" y="8531"/>
                  <a:pt x="9531" y="8437"/>
                  <a:pt x="9687" y="8343"/>
                </a:cubicBezTo>
                <a:cubicBezTo>
                  <a:pt x="10094" y="8093"/>
                  <a:pt x="10500" y="7843"/>
                  <a:pt x="10906" y="7593"/>
                </a:cubicBezTo>
                <a:cubicBezTo>
                  <a:pt x="11281" y="7375"/>
                  <a:pt x="11656" y="7125"/>
                  <a:pt x="12000" y="6906"/>
                </a:cubicBezTo>
                <a:cubicBezTo>
                  <a:pt x="12094" y="6875"/>
                  <a:pt x="12156" y="6781"/>
                  <a:pt x="12281" y="6781"/>
                </a:cubicBezTo>
                <a:cubicBezTo>
                  <a:pt x="11625" y="7250"/>
                  <a:pt x="10906" y="7656"/>
                  <a:pt x="10250" y="8093"/>
                </a:cubicBezTo>
                <a:cubicBezTo>
                  <a:pt x="10281" y="8125"/>
                  <a:pt x="10312" y="8093"/>
                  <a:pt x="10375" y="8093"/>
                </a:cubicBezTo>
                <a:cubicBezTo>
                  <a:pt x="10375" y="8062"/>
                  <a:pt x="10344" y="8062"/>
                  <a:pt x="10344" y="8062"/>
                </a:cubicBezTo>
                <a:cubicBezTo>
                  <a:pt x="10344" y="8062"/>
                  <a:pt x="10344" y="8062"/>
                  <a:pt x="10344" y="8062"/>
                </a:cubicBezTo>
                <a:cubicBezTo>
                  <a:pt x="10344" y="8062"/>
                  <a:pt x="10375" y="8062"/>
                  <a:pt x="10375" y="8093"/>
                </a:cubicBezTo>
                <a:cubicBezTo>
                  <a:pt x="10375" y="8062"/>
                  <a:pt x="10375" y="8062"/>
                  <a:pt x="10406" y="8093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93"/>
                </a:cubicBezTo>
                <a:cubicBezTo>
                  <a:pt x="10437" y="8125"/>
                  <a:pt x="10469" y="8062"/>
                  <a:pt x="10500" y="8062"/>
                </a:cubicBezTo>
                <a:cubicBezTo>
                  <a:pt x="11062" y="7718"/>
                  <a:pt x="11625" y="7375"/>
                  <a:pt x="12156" y="7031"/>
                </a:cubicBezTo>
                <a:cubicBezTo>
                  <a:pt x="12219" y="7000"/>
                  <a:pt x="12281" y="6937"/>
                  <a:pt x="12375" y="6937"/>
                </a:cubicBezTo>
                <a:cubicBezTo>
                  <a:pt x="12344" y="6875"/>
                  <a:pt x="12406" y="6875"/>
                  <a:pt x="12469" y="6875"/>
                </a:cubicBezTo>
                <a:cubicBezTo>
                  <a:pt x="12437" y="6906"/>
                  <a:pt x="12406" y="6937"/>
                  <a:pt x="12375" y="6968"/>
                </a:cubicBezTo>
                <a:cubicBezTo>
                  <a:pt x="12344" y="6968"/>
                  <a:pt x="12344" y="6968"/>
                  <a:pt x="12344" y="6968"/>
                </a:cubicBezTo>
                <a:cubicBezTo>
                  <a:pt x="12344" y="6968"/>
                  <a:pt x="12344" y="7000"/>
                  <a:pt x="12344" y="7000"/>
                </a:cubicBezTo>
                <a:cubicBezTo>
                  <a:pt x="12156" y="7093"/>
                  <a:pt x="12000" y="7187"/>
                  <a:pt x="11844" y="7312"/>
                </a:cubicBezTo>
                <a:cubicBezTo>
                  <a:pt x="11781" y="7343"/>
                  <a:pt x="11687" y="7375"/>
                  <a:pt x="11625" y="7468"/>
                </a:cubicBezTo>
                <a:cubicBezTo>
                  <a:pt x="11750" y="7437"/>
                  <a:pt x="11812" y="7406"/>
                  <a:pt x="11875" y="7312"/>
                </a:cubicBezTo>
                <a:cubicBezTo>
                  <a:pt x="11906" y="7312"/>
                  <a:pt x="11969" y="7281"/>
                  <a:pt x="12000" y="7281"/>
                </a:cubicBezTo>
                <a:cubicBezTo>
                  <a:pt x="12094" y="7187"/>
                  <a:pt x="12187" y="7125"/>
                  <a:pt x="12312" y="7062"/>
                </a:cubicBezTo>
                <a:cubicBezTo>
                  <a:pt x="12344" y="7093"/>
                  <a:pt x="12375" y="7093"/>
                  <a:pt x="12312" y="7156"/>
                </a:cubicBezTo>
                <a:cubicBezTo>
                  <a:pt x="12281" y="7156"/>
                  <a:pt x="12250" y="7187"/>
                  <a:pt x="12219" y="7218"/>
                </a:cubicBezTo>
                <a:cubicBezTo>
                  <a:pt x="12125" y="7281"/>
                  <a:pt x="12062" y="7312"/>
                  <a:pt x="12000" y="7375"/>
                </a:cubicBezTo>
                <a:cubicBezTo>
                  <a:pt x="11750" y="7531"/>
                  <a:pt x="11531" y="7718"/>
                  <a:pt x="11250" y="7843"/>
                </a:cubicBezTo>
                <a:cubicBezTo>
                  <a:pt x="11125" y="7937"/>
                  <a:pt x="11000" y="8031"/>
                  <a:pt x="10844" y="8125"/>
                </a:cubicBezTo>
                <a:cubicBezTo>
                  <a:pt x="10719" y="8218"/>
                  <a:pt x="10531" y="8250"/>
                  <a:pt x="10437" y="8406"/>
                </a:cubicBezTo>
                <a:cubicBezTo>
                  <a:pt x="10437" y="8406"/>
                  <a:pt x="10437" y="8437"/>
                  <a:pt x="10437" y="8468"/>
                </a:cubicBezTo>
                <a:cubicBezTo>
                  <a:pt x="10406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44" y="8437"/>
                  <a:pt x="10312" y="8468"/>
                  <a:pt x="10281" y="8468"/>
                </a:cubicBezTo>
                <a:lnTo>
                  <a:pt x="10281" y="8468"/>
                </a:lnTo>
                <a:cubicBezTo>
                  <a:pt x="10312" y="8468"/>
                  <a:pt x="10312" y="8500"/>
                  <a:pt x="10312" y="8500"/>
                </a:cubicBezTo>
                <a:cubicBezTo>
                  <a:pt x="10344" y="8531"/>
                  <a:pt x="10375" y="8500"/>
                  <a:pt x="10406" y="8468"/>
                </a:cubicBezTo>
                <a:cubicBezTo>
                  <a:pt x="10406" y="8468"/>
                  <a:pt x="10406" y="8468"/>
                  <a:pt x="10437" y="8468"/>
                </a:cubicBezTo>
                <a:cubicBezTo>
                  <a:pt x="10625" y="8343"/>
                  <a:pt x="10812" y="8250"/>
                  <a:pt x="11000" y="8125"/>
                </a:cubicBezTo>
                <a:cubicBezTo>
                  <a:pt x="11625" y="7718"/>
                  <a:pt x="12219" y="7343"/>
                  <a:pt x="12844" y="6937"/>
                </a:cubicBezTo>
                <a:cubicBezTo>
                  <a:pt x="13031" y="6812"/>
                  <a:pt x="13250" y="6718"/>
                  <a:pt x="13406" y="6562"/>
                </a:cubicBezTo>
                <a:cubicBezTo>
                  <a:pt x="13437" y="6531"/>
                  <a:pt x="13500" y="6500"/>
                  <a:pt x="13531" y="6500"/>
                </a:cubicBezTo>
                <a:cubicBezTo>
                  <a:pt x="13531" y="6468"/>
                  <a:pt x="13562" y="6468"/>
                  <a:pt x="13562" y="6437"/>
                </a:cubicBezTo>
                <a:cubicBezTo>
                  <a:pt x="13594" y="6406"/>
                  <a:pt x="13594" y="6375"/>
                  <a:pt x="13625" y="6375"/>
                </a:cubicBezTo>
                <a:cubicBezTo>
                  <a:pt x="13625" y="6375"/>
                  <a:pt x="13625" y="6375"/>
                  <a:pt x="13625" y="6375"/>
                </a:cubicBezTo>
                <a:cubicBezTo>
                  <a:pt x="13594" y="6375"/>
                  <a:pt x="13594" y="6406"/>
                  <a:pt x="13562" y="6437"/>
                </a:cubicBezTo>
                <a:cubicBezTo>
                  <a:pt x="13562" y="6468"/>
                  <a:pt x="13531" y="6468"/>
                  <a:pt x="13531" y="6500"/>
                </a:cubicBezTo>
                <a:cubicBezTo>
                  <a:pt x="13562" y="6468"/>
                  <a:pt x="13594" y="6468"/>
                  <a:pt x="13594" y="6468"/>
                </a:cubicBezTo>
                <a:cubicBezTo>
                  <a:pt x="13594" y="6500"/>
                  <a:pt x="13531" y="6531"/>
                  <a:pt x="13531" y="6562"/>
                </a:cubicBezTo>
                <a:cubicBezTo>
                  <a:pt x="13500" y="6562"/>
                  <a:pt x="13469" y="6562"/>
                  <a:pt x="13469" y="6593"/>
                </a:cubicBezTo>
                <a:cubicBezTo>
                  <a:pt x="13469" y="6593"/>
                  <a:pt x="13437" y="6593"/>
                  <a:pt x="13437" y="6625"/>
                </a:cubicBezTo>
                <a:cubicBezTo>
                  <a:pt x="13437" y="6625"/>
                  <a:pt x="13437" y="6625"/>
                  <a:pt x="13437" y="6625"/>
                </a:cubicBezTo>
                <a:cubicBezTo>
                  <a:pt x="12937" y="6937"/>
                  <a:pt x="12469" y="7250"/>
                  <a:pt x="12000" y="7562"/>
                </a:cubicBezTo>
                <a:cubicBezTo>
                  <a:pt x="11344" y="7968"/>
                  <a:pt x="10687" y="8406"/>
                  <a:pt x="10031" y="8812"/>
                </a:cubicBezTo>
                <a:cubicBezTo>
                  <a:pt x="9906" y="8906"/>
                  <a:pt x="9750" y="9000"/>
                  <a:pt x="9594" y="9093"/>
                </a:cubicBezTo>
                <a:cubicBezTo>
                  <a:pt x="9656" y="9093"/>
                  <a:pt x="9687" y="9093"/>
                  <a:pt x="9719" y="9062"/>
                </a:cubicBezTo>
                <a:cubicBezTo>
                  <a:pt x="9969" y="8937"/>
                  <a:pt x="10187" y="8781"/>
                  <a:pt x="10437" y="8625"/>
                </a:cubicBezTo>
                <a:cubicBezTo>
                  <a:pt x="10750" y="8437"/>
                  <a:pt x="11062" y="8218"/>
                  <a:pt x="11375" y="8031"/>
                </a:cubicBezTo>
                <a:cubicBezTo>
                  <a:pt x="11406" y="8031"/>
                  <a:pt x="11406" y="8000"/>
                  <a:pt x="11437" y="8000"/>
                </a:cubicBezTo>
                <a:cubicBezTo>
                  <a:pt x="11469" y="8000"/>
                  <a:pt x="11469" y="8000"/>
                  <a:pt x="11500" y="8031"/>
                </a:cubicBezTo>
                <a:cubicBezTo>
                  <a:pt x="11469" y="8031"/>
                  <a:pt x="11469" y="8031"/>
                  <a:pt x="11469" y="8062"/>
                </a:cubicBezTo>
                <a:lnTo>
                  <a:pt x="11469" y="8062"/>
                </a:lnTo>
                <a:cubicBezTo>
                  <a:pt x="11469" y="8062"/>
                  <a:pt x="11500" y="8062"/>
                  <a:pt x="11500" y="8031"/>
                </a:cubicBezTo>
                <a:cubicBezTo>
                  <a:pt x="11531" y="8031"/>
                  <a:pt x="11594" y="8031"/>
                  <a:pt x="11625" y="8000"/>
                </a:cubicBezTo>
                <a:cubicBezTo>
                  <a:pt x="11937" y="7781"/>
                  <a:pt x="12281" y="7562"/>
                  <a:pt x="12594" y="7343"/>
                </a:cubicBezTo>
                <a:cubicBezTo>
                  <a:pt x="12812" y="7218"/>
                  <a:pt x="13000" y="7062"/>
                  <a:pt x="13219" y="6968"/>
                </a:cubicBezTo>
                <a:cubicBezTo>
                  <a:pt x="13187" y="7031"/>
                  <a:pt x="13125" y="7093"/>
                  <a:pt x="13094" y="7125"/>
                </a:cubicBezTo>
                <a:cubicBezTo>
                  <a:pt x="12906" y="7187"/>
                  <a:pt x="12781" y="7312"/>
                  <a:pt x="12625" y="7406"/>
                </a:cubicBezTo>
                <a:cubicBezTo>
                  <a:pt x="12562" y="7437"/>
                  <a:pt x="12469" y="7500"/>
                  <a:pt x="12406" y="7562"/>
                </a:cubicBezTo>
                <a:cubicBezTo>
                  <a:pt x="12406" y="7562"/>
                  <a:pt x="12406" y="7562"/>
                  <a:pt x="12375" y="7562"/>
                </a:cubicBezTo>
                <a:cubicBezTo>
                  <a:pt x="12375" y="7562"/>
                  <a:pt x="12375" y="7562"/>
                  <a:pt x="12375" y="7562"/>
                </a:cubicBezTo>
                <a:cubicBezTo>
                  <a:pt x="12375" y="7562"/>
                  <a:pt x="12375" y="7562"/>
                  <a:pt x="12375" y="7562"/>
                </a:cubicBezTo>
                <a:cubicBezTo>
                  <a:pt x="12375" y="7562"/>
                  <a:pt x="12375" y="7562"/>
                  <a:pt x="12375" y="7562"/>
                </a:cubicBezTo>
                <a:cubicBezTo>
                  <a:pt x="12375" y="7562"/>
                  <a:pt x="12344" y="7593"/>
                  <a:pt x="12344" y="7593"/>
                </a:cubicBezTo>
                <a:cubicBezTo>
                  <a:pt x="12125" y="7718"/>
                  <a:pt x="11906" y="7875"/>
                  <a:pt x="11719" y="8031"/>
                </a:cubicBezTo>
                <a:cubicBezTo>
                  <a:pt x="11625" y="8062"/>
                  <a:pt x="11562" y="8093"/>
                  <a:pt x="11500" y="8156"/>
                </a:cubicBezTo>
                <a:cubicBezTo>
                  <a:pt x="11344" y="8250"/>
                  <a:pt x="11187" y="8343"/>
                  <a:pt x="11062" y="8468"/>
                </a:cubicBezTo>
                <a:cubicBezTo>
                  <a:pt x="10844" y="8562"/>
                  <a:pt x="10625" y="8718"/>
                  <a:pt x="10437" y="8875"/>
                </a:cubicBezTo>
                <a:cubicBezTo>
                  <a:pt x="10531" y="8843"/>
                  <a:pt x="10594" y="8781"/>
                  <a:pt x="10687" y="8718"/>
                </a:cubicBezTo>
                <a:cubicBezTo>
                  <a:pt x="10812" y="8656"/>
                  <a:pt x="10969" y="8562"/>
                  <a:pt x="11062" y="8468"/>
                </a:cubicBezTo>
                <a:cubicBezTo>
                  <a:pt x="11219" y="8375"/>
                  <a:pt x="11375" y="8312"/>
                  <a:pt x="11500" y="8187"/>
                </a:cubicBezTo>
                <a:cubicBezTo>
                  <a:pt x="11594" y="8156"/>
                  <a:pt x="11656" y="8093"/>
                  <a:pt x="11719" y="8031"/>
                </a:cubicBezTo>
                <a:cubicBezTo>
                  <a:pt x="11750" y="8031"/>
                  <a:pt x="11781" y="8031"/>
                  <a:pt x="11781" y="8031"/>
                </a:cubicBezTo>
                <a:cubicBezTo>
                  <a:pt x="12000" y="7875"/>
                  <a:pt x="12250" y="7750"/>
                  <a:pt x="12437" y="7593"/>
                </a:cubicBezTo>
                <a:cubicBezTo>
                  <a:pt x="12531" y="7562"/>
                  <a:pt x="12594" y="7500"/>
                  <a:pt x="12656" y="7437"/>
                </a:cubicBezTo>
                <a:cubicBezTo>
                  <a:pt x="12687" y="7437"/>
                  <a:pt x="12719" y="7437"/>
                  <a:pt x="12719" y="7406"/>
                </a:cubicBezTo>
                <a:cubicBezTo>
                  <a:pt x="12844" y="7343"/>
                  <a:pt x="12906" y="7250"/>
                  <a:pt x="13031" y="7218"/>
                </a:cubicBezTo>
                <a:cubicBezTo>
                  <a:pt x="13031" y="7250"/>
                  <a:pt x="13000" y="7281"/>
                  <a:pt x="12969" y="7312"/>
                </a:cubicBezTo>
                <a:cubicBezTo>
                  <a:pt x="12937" y="7312"/>
                  <a:pt x="12937" y="7312"/>
                  <a:pt x="12906" y="7343"/>
                </a:cubicBezTo>
                <a:cubicBezTo>
                  <a:pt x="12906" y="7343"/>
                  <a:pt x="12875" y="7343"/>
                  <a:pt x="12875" y="7375"/>
                </a:cubicBezTo>
                <a:cubicBezTo>
                  <a:pt x="12875" y="7343"/>
                  <a:pt x="12906" y="7343"/>
                  <a:pt x="12906" y="7343"/>
                </a:cubicBezTo>
                <a:cubicBezTo>
                  <a:pt x="12781" y="7375"/>
                  <a:pt x="12687" y="7468"/>
                  <a:pt x="12594" y="7531"/>
                </a:cubicBezTo>
                <a:cubicBezTo>
                  <a:pt x="11875" y="8031"/>
                  <a:pt x="11156" y="8500"/>
                  <a:pt x="10437" y="8968"/>
                </a:cubicBezTo>
                <a:cubicBezTo>
                  <a:pt x="10406" y="8968"/>
                  <a:pt x="10406" y="8968"/>
                  <a:pt x="10406" y="9000"/>
                </a:cubicBezTo>
                <a:cubicBezTo>
                  <a:pt x="10437" y="9000"/>
                  <a:pt x="10469" y="9000"/>
                  <a:pt x="10500" y="9000"/>
                </a:cubicBezTo>
                <a:cubicBezTo>
                  <a:pt x="10625" y="8906"/>
                  <a:pt x="10750" y="8812"/>
                  <a:pt x="10875" y="8750"/>
                </a:cubicBezTo>
                <a:cubicBezTo>
                  <a:pt x="11312" y="8468"/>
                  <a:pt x="11719" y="8187"/>
                  <a:pt x="12156" y="7906"/>
                </a:cubicBezTo>
                <a:cubicBezTo>
                  <a:pt x="12375" y="7750"/>
                  <a:pt x="12625" y="7593"/>
                  <a:pt x="12875" y="7437"/>
                </a:cubicBezTo>
                <a:cubicBezTo>
                  <a:pt x="12875" y="7468"/>
                  <a:pt x="12844" y="7500"/>
                  <a:pt x="12844" y="7531"/>
                </a:cubicBezTo>
                <a:cubicBezTo>
                  <a:pt x="12750" y="7562"/>
                  <a:pt x="12687" y="7625"/>
                  <a:pt x="12625" y="7656"/>
                </a:cubicBezTo>
                <a:cubicBezTo>
                  <a:pt x="12344" y="7843"/>
                  <a:pt x="12062" y="8031"/>
                  <a:pt x="11781" y="8250"/>
                </a:cubicBezTo>
                <a:cubicBezTo>
                  <a:pt x="11594" y="8343"/>
                  <a:pt x="11437" y="8437"/>
                  <a:pt x="11281" y="8562"/>
                </a:cubicBezTo>
                <a:cubicBezTo>
                  <a:pt x="11156" y="8656"/>
                  <a:pt x="11031" y="8687"/>
                  <a:pt x="10906" y="8812"/>
                </a:cubicBezTo>
                <a:cubicBezTo>
                  <a:pt x="10781" y="8875"/>
                  <a:pt x="10656" y="8968"/>
                  <a:pt x="10531" y="9031"/>
                </a:cubicBezTo>
                <a:cubicBezTo>
                  <a:pt x="10375" y="9156"/>
                  <a:pt x="10219" y="9250"/>
                  <a:pt x="10062" y="9375"/>
                </a:cubicBezTo>
                <a:cubicBezTo>
                  <a:pt x="10031" y="9375"/>
                  <a:pt x="10000" y="9375"/>
                  <a:pt x="10000" y="9437"/>
                </a:cubicBezTo>
                <a:cubicBezTo>
                  <a:pt x="10031" y="9437"/>
                  <a:pt x="10031" y="9406"/>
                  <a:pt x="10062" y="9375"/>
                </a:cubicBezTo>
                <a:cubicBezTo>
                  <a:pt x="10156" y="9375"/>
                  <a:pt x="10187" y="9250"/>
                  <a:pt x="10281" y="9312"/>
                </a:cubicBezTo>
                <a:cubicBezTo>
                  <a:pt x="10281" y="9312"/>
                  <a:pt x="10250" y="9406"/>
                  <a:pt x="10344" y="9343"/>
                </a:cubicBezTo>
                <a:cubicBezTo>
                  <a:pt x="10375" y="9312"/>
                  <a:pt x="10469" y="9281"/>
                  <a:pt x="10500" y="9218"/>
                </a:cubicBezTo>
                <a:cubicBezTo>
                  <a:pt x="10594" y="9187"/>
                  <a:pt x="10719" y="9125"/>
                  <a:pt x="10781" y="9031"/>
                </a:cubicBezTo>
                <a:cubicBezTo>
                  <a:pt x="10875" y="9031"/>
                  <a:pt x="10937" y="8968"/>
                  <a:pt x="11000" y="8906"/>
                </a:cubicBezTo>
                <a:cubicBezTo>
                  <a:pt x="11062" y="8906"/>
                  <a:pt x="11125" y="8843"/>
                  <a:pt x="11156" y="8812"/>
                </a:cubicBezTo>
                <a:cubicBezTo>
                  <a:pt x="11187" y="8812"/>
                  <a:pt x="11219" y="8812"/>
                  <a:pt x="11219" y="8781"/>
                </a:cubicBezTo>
                <a:lnTo>
                  <a:pt x="11219" y="8781"/>
                </a:lnTo>
                <a:cubicBezTo>
                  <a:pt x="11187" y="8718"/>
                  <a:pt x="11156" y="8750"/>
                  <a:pt x="11156" y="8750"/>
                </a:cubicBezTo>
                <a:cubicBezTo>
                  <a:pt x="11219" y="8625"/>
                  <a:pt x="11375" y="8562"/>
                  <a:pt x="11500" y="8500"/>
                </a:cubicBezTo>
                <a:cubicBezTo>
                  <a:pt x="11500" y="8562"/>
                  <a:pt x="11437" y="8562"/>
                  <a:pt x="11437" y="8625"/>
                </a:cubicBezTo>
                <a:cubicBezTo>
                  <a:pt x="11562" y="8562"/>
                  <a:pt x="11625" y="8500"/>
                  <a:pt x="11719" y="8437"/>
                </a:cubicBezTo>
                <a:cubicBezTo>
                  <a:pt x="11781" y="8406"/>
                  <a:pt x="11875" y="8375"/>
                  <a:pt x="11844" y="8343"/>
                </a:cubicBezTo>
                <a:lnTo>
                  <a:pt x="11844" y="8343"/>
                </a:lnTo>
                <a:cubicBezTo>
                  <a:pt x="11812" y="8281"/>
                  <a:pt x="11781" y="8406"/>
                  <a:pt x="11719" y="8375"/>
                </a:cubicBezTo>
                <a:cubicBezTo>
                  <a:pt x="11719" y="8312"/>
                  <a:pt x="11812" y="8312"/>
                  <a:pt x="11812" y="8250"/>
                </a:cubicBezTo>
                <a:cubicBezTo>
                  <a:pt x="11844" y="8250"/>
                  <a:pt x="11875" y="8218"/>
                  <a:pt x="11937" y="8187"/>
                </a:cubicBezTo>
                <a:cubicBezTo>
                  <a:pt x="12000" y="8156"/>
                  <a:pt x="12062" y="8093"/>
                  <a:pt x="12156" y="8062"/>
                </a:cubicBezTo>
                <a:cubicBezTo>
                  <a:pt x="12187" y="8000"/>
                  <a:pt x="12281" y="7937"/>
                  <a:pt x="12375" y="7937"/>
                </a:cubicBezTo>
                <a:cubicBezTo>
                  <a:pt x="12375" y="7875"/>
                  <a:pt x="12406" y="7875"/>
                  <a:pt x="12437" y="7875"/>
                </a:cubicBezTo>
                <a:cubicBezTo>
                  <a:pt x="12469" y="7812"/>
                  <a:pt x="12500" y="7812"/>
                  <a:pt x="12562" y="7781"/>
                </a:cubicBezTo>
                <a:cubicBezTo>
                  <a:pt x="12594" y="7750"/>
                  <a:pt x="12625" y="7718"/>
                  <a:pt x="12687" y="7687"/>
                </a:cubicBezTo>
                <a:cubicBezTo>
                  <a:pt x="12687" y="7687"/>
                  <a:pt x="12687" y="7687"/>
                  <a:pt x="12687" y="7656"/>
                </a:cubicBezTo>
                <a:cubicBezTo>
                  <a:pt x="12687" y="7656"/>
                  <a:pt x="12719" y="7625"/>
                  <a:pt x="12719" y="7625"/>
                </a:cubicBezTo>
                <a:cubicBezTo>
                  <a:pt x="12719" y="7625"/>
                  <a:pt x="12687" y="7656"/>
                  <a:pt x="12687" y="7656"/>
                </a:cubicBezTo>
                <a:cubicBezTo>
                  <a:pt x="12687" y="7687"/>
                  <a:pt x="12687" y="7687"/>
                  <a:pt x="12687" y="7687"/>
                </a:cubicBezTo>
                <a:cubicBezTo>
                  <a:pt x="12719" y="7687"/>
                  <a:pt x="12719" y="7687"/>
                  <a:pt x="12750" y="7656"/>
                </a:cubicBezTo>
                <a:cubicBezTo>
                  <a:pt x="12750" y="7718"/>
                  <a:pt x="12719" y="7718"/>
                  <a:pt x="12687" y="7750"/>
                </a:cubicBezTo>
                <a:cubicBezTo>
                  <a:pt x="12625" y="7718"/>
                  <a:pt x="12625" y="7812"/>
                  <a:pt x="12562" y="7781"/>
                </a:cubicBezTo>
                <a:cubicBezTo>
                  <a:pt x="12531" y="7843"/>
                  <a:pt x="12500" y="7875"/>
                  <a:pt x="12437" y="7875"/>
                </a:cubicBezTo>
                <a:cubicBezTo>
                  <a:pt x="12437" y="7937"/>
                  <a:pt x="12406" y="7937"/>
                  <a:pt x="12375" y="7937"/>
                </a:cubicBezTo>
                <a:cubicBezTo>
                  <a:pt x="12312" y="8000"/>
                  <a:pt x="12219" y="8031"/>
                  <a:pt x="12156" y="8062"/>
                </a:cubicBezTo>
                <a:cubicBezTo>
                  <a:pt x="12094" y="8187"/>
                  <a:pt x="11969" y="8187"/>
                  <a:pt x="11906" y="8281"/>
                </a:cubicBezTo>
                <a:cubicBezTo>
                  <a:pt x="11937" y="8312"/>
                  <a:pt x="11969" y="8281"/>
                  <a:pt x="12000" y="8250"/>
                </a:cubicBezTo>
                <a:cubicBezTo>
                  <a:pt x="12219" y="8125"/>
                  <a:pt x="12406" y="7968"/>
                  <a:pt x="12625" y="7843"/>
                </a:cubicBezTo>
                <a:cubicBezTo>
                  <a:pt x="12531" y="8031"/>
                  <a:pt x="12437" y="8218"/>
                  <a:pt x="12344" y="8437"/>
                </a:cubicBezTo>
                <a:cubicBezTo>
                  <a:pt x="12344" y="8437"/>
                  <a:pt x="12344" y="8468"/>
                  <a:pt x="12312" y="8468"/>
                </a:cubicBezTo>
                <a:cubicBezTo>
                  <a:pt x="12281" y="8500"/>
                  <a:pt x="12281" y="8500"/>
                  <a:pt x="12250" y="8531"/>
                </a:cubicBezTo>
                <a:cubicBezTo>
                  <a:pt x="12031" y="8656"/>
                  <a:pt x="11812" y="8812"/>
                  <a:pt x="11594" y="8968"/>
                </a:cubicBezTo>
                <a:lnTo>
                  <a:pt x="11594" y="8968"/>
                </a:lnTo>
                <a:cubicBezTo>
                  <a:pt x="11531" y="9031"/>
                  <a:pt x="11437" y="9062"/>
                  <a:pt x="11375" y="9156"/>
                </a:cubicBezTo>
                <a:cubicBezTo>
                  <a:pt x="11469" y="9093"/>
                  <a:pt x="11594" y="9062"/>
                  <a:pt x="11656" y="9000"/>
                </a:cubicBezTo>
                <a:cubicBezTo>
                  <a:pt x="11844" y="8843"/>
                  <a:pt x="12031" y="8718"/>
                  <a:pt x="12219" y="8593"/>
                </a:cubicBezTo>
                <a:cubicBezTo>
                  <a:pt x="12250" y="8593"/>
                  <a:pt x="12281" y="8562"/>
                  <a:pt x="12281" y="8562"/>
                </a:cubicBezTo>
                <a:cubicBezTo>
                  <a:pt x="12219" y="8812"/>
                  <a:pt x="12219" y="9062"/>
                  <a:pt x="12219" y="9312"/>
                </a:cubicBezTo>
                <a:cubicBezTo>
                  <a:pt x="12187" y="9343"/>
                  <a:pt x="12187" y="9343"/>
                  <a:pt x="12156" y="9343"/>
                </a:cubicBezTo>
                <a:cubicBezTo>
                  <a:pt x="12187" y="9437"/>
                  <a:pt x="12187" y="9531"/>
                  <a:pt x="12187" y="9593"/>
                </a:cubicBezTo>
                <a:cubicBezTo>
                  <a:pt x="12250" y="9843"/>
                  <a:pt x="12375" y="10031"/>
                  <a:pt x="12594" y="10156"/>
                </a:cubicBezTo>
                <a:cubicBezTo>
                  <a:pt x="12625" y="10156"/>
                  <a:pt x="12719" y="10156"/>
                  <a:pt x="12625" y="10250"/>
                </a:cubicBezTo>
                <a:cubicBezTo>
                  <a:pt x="12625" y="10281"/>
                  <a:pt x="12656" y="10281"/>
                  <a:pt x="12687" y="10312"/>
                </a:cubicBezTo>
                <a:cubicBezTo>
                  <a:pt x="12750" y="10375"/>
                  <a:pt x="12875" y="10343"/>
                  <a:pt x="12937" y="10406"/>
                </a:cubicBezTo>
                <a:cubicBezTo>
                  <a:pt x="12812" y="10437"/>
                  <a:pt x="12812" y="10437"/>
                  <a:pt x="12656" y="10406"/>
                </a:cubicBezTo>
                <a:cubicBezTo>
                  <a:pt x="12625" y="10375"/>
                  <a:pt x="12625" y="10406"/>
                  <a:pt x="12594" y="10406"/>
                </a:cubicBezTo>
                <a:cubicBezTo>
                  <a:pt x="12594" y="10406"/>
                  <a:pt x="12594" y="10437"/>
                  <a:pt x="12594" y="10437"/>
                </a:cubicBezTo>
                <a:cubicBezTo>
                  <a:pt x="12625" y="10468"/>
                  <a:pt x="12656" y="10500"/>
                  <a:pt x="12687" y="10500"/>
                </a:cubicBezTo>
                <a:cubicBezTo>
                  <a:pt x="12844" y="10562"/>
                  <a:pt x="13031" y="10656"/>
                  <a:pt x="13219" y="10656"/>
                </a:cubicBezTo>
                <a:cubicBezTo>
                  <a:pt x="13281" y="10656"/>
                  <a:pt x="13344" y="10656"/>
                  <a:pt x="13406" y="10718"/>
                </a:cubicBezTo>
                <a:cubicBezTo>
                  <a:pt x="13281" y="10718"/>
                  <a:pt x="13187" y="10718"/>
                  <a:pt x="13125" y="10750"/>
                </a:cubicBezTo>
                <a:cubicBezTo>
                  <a:pt x="13031" y="10750"/>
                  <a:pt x="12937" y="10812"/>
                  <a:pt x="12906" y="10906"/>
                </a:cubicBezTo>
                <a:cubicBezTo>
                  <a:pt x="12969" y="10843"/>
                  <a:pt x="12969" y="10906"/>
                  <a:pt x="13031" y="10937"/>
                </a:cubicBezTo>
                <a:cubicBezTo>
                  <a:pt x="13062" y="10968"/>
                  <a:pt x="13156" y="10968"/>
                  <a:pt x="13219" y="10968"/>
                </a:cubicBezTo>
                <a:cubicBezTo>
                  <a:pt x="13219" y="11000"/>
                  <a:pt x="13219" y="11000"/>
                  <a:pt x="13219" y="11000"/>
                </a:cubicBezTo>
                <a:cubicBezTo>
                  <a:pt x="13156" y="11000"/>
                  <a:pt x="13094" y="11000"/>
                  <a:pt x="13031" y="11000"/>
                </a:cubicBezTo>
                <a:cubicBezTo>
                  <a:pt x="13094" y="11062"/>
                  <a:pt x="13156" y="11093"/>
                  <a:pt x="13219" y="11093"/>
                </a:cubicBezTo>
                <a:cubicBezTo>
                  <a:pt x="13187" y="11125"/>
                  <a:pt x="13125" y="11093"/>
                  <a:pt x="13125" y="11156"/>
                </a:cubicBezTo>
                <a:cubicBezTo>
                  <a:pt x="13125" y="11218"/>
                  <a:pt x="13156" y="11187"/>
                  <a:pt x="13187" y="11187"/>
                </a:cubicBezTo>
                <a:cubicBezTo>
                  <a:pt x="13219" y="11187"/>
                  <a:pt x="13219" y="11218"/>
                  <a:pt x="13219" y="11218"/>
                </a:cubicBezTo>
                <a:cubicBezTo>
                  <a:pt x="13250" y="11375"/>
                  <a:pt x="13375" y="11375"/>
                  <a:pt x="13469" y="11468"/>
                </a:cubicBezTo>
                <a:cubicBezTo>
                  <a:pt x="13344" y="11468"/>
                  <a:pt x="13219" y="11437"/>
                  <a:pt x="13125" y="11375"/>
                </a:cubicBezTo>
                <a:cubicBezTo>
                  <a:pt x="13094" y="11375"/>
                  <a:pt x="13062" y="11343"/>
                  <a:pt x="13031" y="11406"/>
                </a:cubicBezTo>
                <a:cubicBezTo>
                  <a:pt x="13031" y="11406"/>
                  <a:pt x="13031" y="11437"/>
                  <a:pt x="13062" y="11437"/>
                </a:cubicBezTo>
                <a:cubicBezTo>
                  <a:pt x="13156" y="11562"/>
                  <a:pt x="13312" y="11562"/>
                  <a:pt x="13406" y="11718"/>
                </a:cubicBezTo>
                <a:cubicBezTo>
                  <a:pt x="13437" y="11750"/>
                  <a:pt x="13531" y="11687"/>
                  <a:pt x="13531" y="11781"/>
                </a:cubicBezTo>
                <a:cubicBezTo>
                  <a:pt x="13531" y="11781"/>
                  <a:pt x="13594" y="11781"/>
                  <a:pt x="13562" y="11843"/>
                </a:cubicBezTo>
                <a:cubicBezTo>
                  <a:pt x="13562" y="11906"/>
                  <a:pt x="13500" y="11843"/>
                  <a:pt x="13469" y="11906"/>
                </a:cubicBezTo>
                <a:cubicBezTo>
                  <a:pt x="13656" y="11937"/>
                  <a:pt x="13844" y="12031"/>
                  <a:pt x="14031" y="12062"/>
                </a:cubicBezTo>
                <a:cubicBezTo>
                  <a:pt x="13969" y="12093"/>
                  <a:pt x="13906" y="12062"/>
                  <a:pt x="13844" y="12093"/>
                </a:cubicBezTo>
                <a:cubicBezTo>
                  <a:pt x="13937" y="12093"/>
                  <a:pt x="13906" y="12218"/>
                  <a:pt x="14000" y="12187"/>
                </a:cubicBezTo>
                <a:cubicBezTo>
                  <a:pt x="13969" y="12250"/>
                  <a:pt x="13937" y="12218"/>
                  <a:pt x="13906" y="12250"/>
                </a:cubicBezTo>
                <a:cubicBezTo>
                  <a:pt x="13937" y="12281"/>
                  <a:pt x="14000" y="12218"/>
                  <a:pt x="14031" y="12281"/>
                </a:cubicBezTo>
                <a:cubicBezTo>
                  <a:pt x="13969" y="12312"/>
                  <a:pt x="13906" y="12281"/>
                  <a:pt x="13875" y="12312"/>
                </a:cubicBezTo>
                <a:cubicBezTo>
                  <a:pt x="13969" y="12343"/>
                  <a:pt x="14062" y="12375"/>
                  <a:pt x="14156" y="12375"/>
                </a:cubicBezTo>
                <a:cubicBezTo>
                  <a:pt x="14125" y="12406"/>
                  <a:pt x="14062" y="12375"/>
                  <a:pt x="14031" y="12437"/>
                </a:cubicBezTo>
                <a:cubicBezTo>
                  <a:pt x="14125" y="12468"/>
                  <a:pt x="14187" y="12500"/>
                  <a:pt x="14250" y="12531"/>
                </a:cubicBezTo>
                <a:cubicBezTo>
                  <a:pt x="14094" y="12562"/>
                  <a:pt x="13969" y="12500"/>
                  <a:pt x="13844" y="12500"/>
                </a:cubicBezTo>
                <a:cubicBezTo>
                  <a:pt x="14000" y="12593"/>
                  <a:pt x="14156" y="12625"/>
                  <a:pt x="14344" y="12687"/>
                </a:cubicBezTo>
                <a:cubicBezTo>
                  <a:pt x="14187" y="12687"/>
                  <a:pt x="14062" y="12687"/>
                  <a:pt x="13906" y="12656"/>
                </a:cubicBezTo>
                <a:cubicBezTo>
                  <a:pt x="14250" y="12812"/>
                  <a:pt x="14625" y="12843"/>
                  <a:pt x="15000" y="12906"/>
                </a:cubicBezTo>
                <a:cubicBezTo>
                  <a:pt x="15000" y="12906"/>
                  <a:pt x="15000" y="12906"/>
                  <a:pt x="15000" y="12906"/>
                </a:cubicBezTo>
                <a:cubicBezTo>
                  <a:pt x="14906" y="12906"/>
                  <a:pt x="14812" y="12906"/>
                  <a:pt x="14750" y="12906"/>
                </a:cubicBezTo>
                <a:cubicBezTo>
                  <a:pt x="14719" y="12906"/>
                  <a:pt x="14687" y="12875"/>
                  <a:pt x="14687" y="12906"/>
                </a:cubicBezTo>
                <a:cubicBezTo>
                  <a:pt x="14687" y="12968"/>
                  <a:pt x="14750" y="12937"/>
                  <a:pt x="14750" y="12968"/>
                </a:cubicBezTo>
                <a:cubicBezTo>
                  <a:pt x="14594" y="13000"/>
                  <a:pt x="14437" y="12937"/>
                  <a:pt x="14281" y="12937"/>
                </a:cubicBezTo>
                <a:cubicBezTo>
                  <a:pt x="14344" y="13062"/>
                  <a:pt x="14437" y="13125"/>
                  <a:pt x="14594" y="13187"/>
                </a:cubicBezTo>
                <a:cubicBezTo>
                  <a:pt x="14469" y="13218"/>
                  <a:pt x="14344" y="13156"/>
                  <a:pt x="14219" y="13187"/>
                </a:cubicBezTo>
                <a:cubicBezTo>
                  <a:pt x="14531" y="13312"/>
                  <a:pt x="14844" y="13343"/>
                  <a:pt x="15094" y="13375"/>
                </a:cubicBezTo>
                <a:cubicBezTo>
                  <a:pt x="14969" y="13375"/>
                  <a:pt x="14875" y="13500"/>
                  <a:pt x="14719" y="13468"/>
                </a:cubicBezTo>
                <a:cubicBezTo>
                  <a:pt x="14719" y="13468"/>
                  <a:pt x="14687" y="13500"/>
                  <a:pt x="14687" y="13500"/>
                </a:cubicBezTo>
                <a:cubicBezTo>
                  <a:pt x="14687" y="13531"/>
                  <a:pt x="14719" y="13562"/>
                  <a:pt x="14719" y="13531"/>
                </a:cubicBezTo>
                <a:cubicBezTo>
                  <a:pt x="14844" y="13531"/>
                  <a:pt x="14937" y="13625"/>
                  <a:pt x="15062" y="13593"/>
                </a:cubicBezTo>
                <a:cubicBezTo>
                  <a:pt x="15000" y="13625"/>
                  <a:pt x="14969" y="13625"/>
                  <a:pt x="14937" y="13625"/>
                </a:cubicBezTo>
                <a:cubicBezTo>
                  <a:pt x="14906" y="13625"/>
                  <a:pt x="14844" y="13593"/>
                  <a:pt x="14812" y="13656"/>
                </a:cubicBezTo>
                <a:cubicBezTo>
                  <a:pt x="14812" y="13750"/>
                  <a:pt x="14875" y="13718"/>
                  <a:pt x="14906" y="13750"/>
                </a:cubicBezTo>
                <a:cubicBezTo>
                  <a:pt x="14844" y="13781"/>
                  <a:pt x="14781" y="13718"/>
                  <a:pt x="14687" y="13750"/>
                </a:cubicBezTo>
                <a:cubicBezTo>
                  <a:pt x="14750" y="13843"/>
                  <a:pt x="14875" y="13781"/>
                  <a:pt x="14937" y="13843"/>
                </a:cubicBezTo>
                <a:cubicBezTo>
                  <a:pt x="14906" y="13906"/>
                  <a:pt x="14875" y="13843"/>
                  <a:pt x="14812" y="13906"/>
                </a:cubicBezTo>
                <a:cubicBezTo>
                  <a:pt x="15031" y="13968"/>
                  <a:pt x="15219" y="14000"/>
                  <a:pt x="15437" y="14031"/>
                </a:cubicBezTo>
                <a:cubicBezTo>
                  <a:pt x="15437" y="14062"/>
                  <a:pt x="15437" y="14062"/>
                  <a:pt x="15437" y="14062"/>
                </a:cubicBezTo>
                <a:cubicBezTo>
                  <a:pt x="15375" y="14125"/>
                  <a:pt x="15312" y="14062"/>
                  <a:pt x="15219" y="14125"/>
                </a:cubicBezTo>
                <a:cubicBezTo>
                  <a:pt x="15281" y="14125"/>
                  <a:pt x="15344" y="14156"/>
                  <a:pt x="15375" y="14187"/>
                </a:cubicBezTo>
                <a:cubicBezTo>
                  <a:pt x="15250" y="14218"/>
                  <a:pt x="15156" y="14156"/>
                  <a:pt x="15031" y="14187"/>
                </a:cubicBezTo>
                <a:cubicBezTo>
                  <a:pt x="15094" y="14218"/>
                  <a:pt x="15156" y="14250"/>
                  <a:pt x="15219" y="14312"/>
                </a:cubicBezTo>
                <a:cubicBezTo>
                  <a:pt x="15125" y="14343"/>
                  <a:pt x="15062" y="14250"/>
                  <a:pt x="14969" y="14250"/>
                </a:cubicBezTo>
                <a:cubicBezTo>
                  <a:pt x="14969" y="14250"/>
                  <a:pt x="14937" y="14250"/>
                  <a:pt x="14937" y="14250"/>
                </a:cubicBezTo>
                <a:lnTo>
                  <a:pt x="14937" y="14250"/>
                </a:lnTo>
                <a:cubicBezTo>
                  <a:pt x="14937" y="14250"/>
                  <a:pt x="14937" y="14250"/>
                  <a:pt x="14937" y="14250"/>
                </a:cubicBezTo>
                <a:cubicBezTo>
                  <a:pt x="14969" y="14250"/>
                  <a:pt x="14969" y="14250"/>
                  <a:pt x="14969" y="14250"/>
                </a:cubicBezTo>
                <a:cubicBezTo>
                  <a:pt x="15031" y="14343"/>
                  <a:pt x="15156" y="14343"/>
                  <a:pt x="15250" y="14406"/>
                </a:cubicBezTo>
                <a:cubicBezTo>
                  <a:pt x="15156" y="14437"/>
                  <a:pt x="15094" y="14375"/>
                  <a:pt x="15031" y="14406"/>
                </a:cubicBezTo>
                <a:cubicBezTo>
                  <a:pt x="15031" y="14437"/>
                  <a:pt x="15094" y="14437"/>
                  <a:pt x="15125" y="14468"/>
                </a:cubicBezTo>
                <a:cubicBezTo>
                  <a:pt x="15062" y="14500"/>
                  <a:pt x="15031" y="14468"/>
                  <a:pt x="14969" y="14500"/>
                </a:cubicBezTo>
                <a:cubicBezTo>
                  <a:pt x="15031" y="14531"/>
                  <a:pt x="15062" y="14500"/>
                  <a:pt x="15125" y="14500"/>
                </a:cubicBezTo>
                <a:cubicBezTo>
                  <a:pt x="15187" y="14500"/>
                  <a:pt x="15219" y="14531"/>
                  <a:pt x="15187" y="14593"/>
                </a:cubicBezTo>
                <a:cubicBezTo>
                  <a:pt x="15156" y="14625"/>
                  <a:pt x="15156" y="14656"/>
                  <a:pt x="15219" y="14687"/>
                </a:cubicBezTo>
                <a:cubicBezTo>
                  <a:pt x="15250" y="14687"/>
                  <a:pt x="15312" y="14718"/>
                  <a:pt x="15344" y="14750"/>
                </a:cubicBezTo>
                <a:cubicBezTo>
                  <a:pt x="15406" y="14812"/>
                  <a:pt x="15594" y="14750"/>
                  <a:pt x="15562" y="14937"/>
                </a:cubicBezTo>
                <a:cubicBezTo>
                  <a:pt x="15562" y="14937"/>
                  <a:pt x="15594" y="14968"/>
                  <a:pt x="15594" y="14968"/>
                </a:cubicBezTo>
                <a:cubicBezTo>
                  <a:pt x="15687" y="15000"/>
                  <a:pt x="15750" y="15000"/>
                  <a:pt x="15875" y="15062"/>
                </a:cubicBezTo>
                <a:cubicBezTo>
                  <a:pt x="15812" y="15031"/>
                  <a:pt x="15812" y="15093"/>
                  <a:pt x="15781" y="15125"/>
                </a:cubicBezTo>
                <a:cubicBezTo>
                  <a:pt x="15719" y="15125"/>
                  <a:pt x="15687" y="15093"/>
                  <a:pt x="15656" y="15093"/>
                </a:cubicBezTo>
                <a:cubicBezTo>
                  <a:pt x="15625" y="15093"/>
                  <a:pt x="15594" y="15093"/>
                  <a:pt x="15562" y="15125"/>
                </a:cubicBezTo>
                <a:cubicBezTo>
                  <a:pt x="15656" y="15187"/>
                  <a:pt x="15781" y="15187"/>
                  <a:pt x="15875" y="15250"/>
                </a:cubicBezTo>
                <a:cubicBezTo>
                  <a:pt x="15844" y="15281"/>
                  <a:pt x="15781" y="15250"/>
                  <a:pt x="15750" y="15281"/>
                </a:cubicBezTo>
                <a:cubicBezTo>
                  <a:pt x="15781" y="15375"/>
                  <a:pt x="15875" y="15437"/>
                  <a:pt x="15969" y="15468"/>
                </a:cubicBezTo>
                <a:cubicBezTo>
                  <a:pt x="15844" y="15500"/>
                  <a:pt x="15750" y="15437"/>
                  <a:pt x="15656" y="15406"/>
                </a:cubicBezTo>
                <a:cubicBezTo>
                  <a:pt x="15719" y="15500"/>
                  <a:pt x="15812" y="15531"/>
                  <a:pt x="15906" y="15593"/>
                </a:cubicBezTo>
                <a:cubicBezTo>
                  <a:pt x="15937" y="15625"/>
                  <a:pt x="16031" y="15625"/>
                  <a:pt x="15937" y="15687"/>
                </a:cubicBezTo>
                <a:cubicBezTo>
                  <a:pt x="15906" y="15718"/>
                  <a:pt x="15906" y="15718"/>
                  <a:pt x="15906" y="15750"/>
                </a:cubicBezTo>
                <a:cubicBezTo>
                  <a:pt x="16031" y="15812"/>
                  <a:pt x="16125" y="15843"/>
                  <a:pt x="16156" y="15968"/>
                </a:cubicBezTo>
                <a:cubicBezTo>
                  <a:pt x="16156" y="15968"/>
                  <a:pt x="16187" y="15968"/>
                  <a:pt x="16187" y="16000"/>
                </a:cubicBezTo>
                <a:cubicBezTo>
                  <a:pt x="16469" y="16156"/>
                  <a:pt x="16812" y="16187"/>
                  <a:pt x="17125" y="16250"/>
                </a:cubicBezTo>
                <a:cubicBezTo>
                  <a:pt x="17562" y="16312"/>
                  <a:pt x="18000" y="16281"/>
                  <a:pt x="18437" y="16281"/>
                </a:cubicBezTo>
                <a:cubicBezTo>
                  <a:pt x="18469" y="16281"/>
                  <a:pt x="18531" y="16281"/>
                  <a:pt x="18562" y="16250"/>
                </a:cubicBezTo>
                <a:cubicBezTo>
                  <a:pt x="18781" y="16250"/>
                  <a:pt x="19000" y="16218"/>
                  <a:pt x="19219" y="16187"/>
                </a:cubicBezTo>
                <a:cubicBezTo>
                  <a:pt x="19406" y="16187"/>
                  <a:pt x="19562" y="16156"/>
                  <a:pt x="19750" y="16125"/>
                </a:cubicBezTo>
                <a:cubicBezTo>
                  <a:pt x="19750" y="16125"/>
                  <a:pt x="19781" y="16125"/>
                  <a:pt x="19781" y="16093"/>
                </a:cubicBezTo>
                <a:cubicBezTo>
                  <a:pt x="19781" y="16062"/>
                  <a:pt x="19812" y="16093"/>
                  <a:pt x="19812" y="16062"/>
                </a:cubicBezTo>
                <a:cubicBezTo>
                  <a:pt x="19812" y="16062"/>
                  <a:pt x="19812" y="16062"/>
                  <a:pt x="19812" y="16062"/>
                </a:cubicBezTo>
                <a:cubicBezTo>
                  <a:pt x="19812" y="16093"/>
                  <a:pt x="19781" y="16062"/>
                  <a:pt x="19781" y="16093"/>
                </a:cubicBezTo>
                <a:cubicBezTo>
                  <a:pt x="19844" y="16125"/>
                  <a:pt x="19906" y="16125"/>
                  <a:pt x="19969" y="16093"/>
                </a:cubicBezTo>
                <a:cubicBezTo>
                  <a:pt x="19969" y="16093"/>
                  <a:pt x="19969" y="16093"/>
                  <a:pt x="19969" y="16093"/>
                </a:cubicBezTo>
                <a:cubicBezTo>
                  <a:pt x="19969" y="16093"/>
                  <a:pt x="19969" y="16093"/>
                  <a:pt x="19969" y="16093"/>
                </a:cubicBezTo>
                <a:cubicBezTo>
                  <a:pt x="20000" y="16093"/>
                  <a:pt x="20031" y="16062"/>
                  <a:pt x="20062" y="16062"/>
                </a:cubicBezTo>
                <a:cubicBezTo>
                  <a:pt x="20125" y="16062"/>
                  <a:pt x="20156" y="16062"/>
                  <a:pt x="20187" y="16031"/>
                </a:cubicBezTo>
                <a:cubicBezTo>
                  <a:pt x="20375" y="16000"/>
                  <a:pt x="20594" y="15968"/>
                  <a:pt x="20781" y="15937"/>
                </a:cubicBezTo>
                <a:cubicBezTo>
                  <a:pt x="21000" y="15906"/>
                  <a:pt x="21219" y="15812"/>
                  <a:pt x="21469" y="15812"/>
                </a:cubicBezTo>
                <a:cubicBezTo>
                  <a:pt x="21469" y="15812"/>
                  <a:pt x="21500" y="15781"/>
                  <a:pt x="21500" y="15781"/>
                </a:cubicBezTo>
                <a:cubicBezTo>
                  <a:pt x="21500" y="15781"/>
                  <a:pt x="21469" y="15812"/>
                  <a:pt x="21469" y="15812"/>
                </a:cubicBezTo>
                <a:cubicBezTo>
                  <a:pt x="21500" y="15812"/>
                  <a:pt x="21531" y="15812"/>
                  <a:pt x="21562" y="15781"/>
                </a:cubicBezTo>
                <a:cubicBezTo>
                  <a:pt x="21594" y="15781"/>
                  <a:pt x="21625" y="15781"/>
                  <a:pt x="21625" y="15750"/>
                </a:cubicBezTo>
                <a:cubicBezTo>
                  <a:pt x="21687" y="15750"/>
                  <a:pt x="21750" y="15750"/>
                  <a:pt x="21812" y="15750"/>
                </a:cubicBezTo>
                <a:cubicBezTo>
                  <a:pt x="21969" y="15687"/>
                  <a:pt x="22125" y="15687"/>
                  <a:pt x="22281" y="15593"/>
                </a:cubicBezTo>
                <a:cubicBezTo>
                  <a:pt x="22344" y="15593"/>
                  <a:pt x="22375" y="15593"/>
                  <a:pt x="22406" y="15562"/>
                </a:cubicBezTo>
                <a:cubicBezTo>
                  <a:pt x="22531" y="15531"/>
                  <a:pt x="22656" y="15562"/>
                  <a:pt x="22750" y="15500"/>
                </a:cubicBezTo>
                <a:cubicBezTo>
                  <a:pt x="22750" y="15500"/>
                  <a:pt x="22750" y="15500"/>
                  <a:pt x="22750" y="15500"/>
                </a:cubicBezTo>
                <a:cubicBezTo>
                  <a:pt x="23094" y="15406"/>
                  <a:pt x="23437" y="15312"/>
                  <a:pt x="23781" y="15250"/>
                </a:cubicBezTo>
                <a:cubicBezTo>
                  <a:pt x="23812" y="15218"/>
                  <a:pt x="23906" y="15218"/>
                  <a:pt x="23937" y="15156"/>
                </a:cubicBezTo>
                <a:cubicBezTo>
                  <a:pt x="23969" y="15156"/>
                  <a:pt x="24000" y="15156"/>
                  <a:pt x="24062" y="15125"/>
                </a:cubicBezTo>
                <a:cubicBezTo>
                  <a:pt x="24187" y="15093"/>
                  <a:pt x="24312" y="15062"/>
                  <a:pt x="24437" y="15031"/>
                </a:cubicBezTo>
                <a:cubicBezTo>
                  <a:pt x="24469" y="15031"/>
                  <a:pt x="24500" y="15031"/>
                  <a:pt x="24500" y="15031"/>
                </a:cubicBezTo>
                <a:cubicBezTo>
                  <a:pt x="24719" y="14968"/>
                  <a:pt x="24906" y="14906"/>
                  <a:pt x="25094" y="14843"/>
                </a:cubicBezTo>
                <a:cubicBezTo>
                  <a:pt x="25156" y="14843"/>
                  <a:pt x="25250" y="14843"/>
                  <a:pt x="25312" y="14781"/>
                </a:cubicBezTo>
                <a:cubicBezTo>
                  <a:pt x="25312" y="14781"/>
                  <a:pt x="25312" y="14781"/>
                  <a:pt x="25312" y="14781"/>
                </a:cubicBezTo>
                <a:cubicBezTo>
                  <a:pt x="25312" y="14781"/>
                  <a:pt x="25312" y="14781"/>
                  <a:pt x="25344" y="14781"/>
                </a:cubicBezTo>
                <a:cubicBezTo>
                  <a:pt x="25406" y="14781"/>
                  <a:pt x="25500" y="14750"/>
                  <a:pt x="25562" y="14718"/>
                </a:cubicBezTo>
                <a:cubicBezTo>
                  <a:pt x="25562" y="14718"/>
                  <a:pt x="25562" y="14718"/>
                  <a:pt x="25562" y="14718"/>
                </a:cubicBezTo>
                <a:cubicBezTo>
                  <a:pt x="25562" y="14718"/>
                  <a:pt x="25562" y="14718"/>
                  <a:pt x="25562" y="14718"/>
                </a:cubicBezTo>
                <a:cubicBezTo>
                  <a:pt x="25562" y="14718"/>
                  <a:pt x="25562" y="14718"/>
                  <a:pt x="25562" y="14718"/>
                </a:cubicBezTo>
                <a:cubicBezTo>
                  <a:pt x="25594" y="14687"/>
                  <a:pt x="25656" y="14718"/>
                  <a:pt x="25656" y="14687"/>
                </a:cubicBezTo>
                <a:cubicBezTo>
                  <a:pt x="25656" y="14687"/>
                  <a:pt x="25656" y="14687"/>
                  <a:pt x="25656" y="14687"/>
                </a:cubicBezTo>
                <a:cubicBezTo>
                  <a:pt x="25812" y="14656"/>
                  <a:pt x="25969" y="14625"/>
                  <a:pt x="26094" y="14562"/>
                </a:cubicBezTo>
                <a:cubicBezTo>
                  <a:pt x="26250" y="14562"/>
                  <a:pt x="26375" y="14437"/>
                  <a:pt x="26500" y="14406"/>
                </a:cubicBezTo>
                <a:cubicBezTo>
                  <a:pt x="26594" y="14437"/>
                  <a:pt x="26719" y="14406"/>
                  <a:pt x="26781" y="14343"/>
                </a:cubicBezTo>
                <a:cubicBezTo>
                  <a:pt x="26969" y="14312"/>
                  <a:pt x="27125" y="14218"/>
                  <a:pt x="27281" y="14187"/>
                </a:cubicBezTo>
                <a:cubicBezTo>
                  <a:pt x="27156" y="14187"/>
                  <a:pt x="27031" y="14250"/>
                  <a:pt x="26937" y="14250"/>
                </a:cubicBezTo>
                <a:cubicBezTo>
                  <a:pt x="26750" y="14250"/>
                  <a:pt x="26594" y="14343"/>
                  <a:pt x="26437" y="14375"/>
                </a:cubicBezTo>
                <a:cubicBezTo>
                  <a:pt x="26406" y="14406"/>
                  <a:pt x="26344" y="14437"/>
                  <a:pt x="26281" y="14375"/>
                </a:cubicBezTo>
                <a:cubicBezTo>
                  <a:pt x="26844" y="14187"/>
                  <a:pt x="27375" y="14000"/>
                  <a:pt x="27937" y="13843"/>
                </a:cubicBezTo>
                <a:cubicBezTo>
                  <a:pt x="27781" y="13781"/>
                  <a:pt x="27687" y="13875"/>
                  <a:pt x="27594" y="13906"/>
                </a:cubicBezTo>
                <a:cubicBezTo>
                  <a:pt x="27469" y="13906"/>
                  <a:pt x="27344" y="13937"/>
                  <a:pt x="27219" y="13968"/>
                </a:cubicBezTo>
                <a:cubicBezTo>
                  <a:pt x="26687" y="14125"/>
                  <a:pt x="26187" y="14281"/>
                  <a:pt x="25656" y="14406"/>
                </a:cubicBezTo>
                <a:cubicBezTo>
                  <a:pt x="25312" y="14531"/>
                  <a:pt x="24969" y="14625"/>
                  <a:pt x="24594" y="14718"/>
                </a:cubicBezTo>
                <a:cubicBezTo>
                  <a:pt x="24219" y="14843"/>
                  <a:pt x="23844" y="14937"/>
                  <a:pt x="23469" y="15031"/>
                </a:cubicBezTo>
                <a:cubicBezTo>
                  <a:pt x="23469" y="15031"/>
                  <a:pt x="23469" y="15000"/>
                  <a:pt x="23469" y="15000"/>
                </a:cubicBezTo>
                <a:cubicBezTo>
                  <a:pt x="23437" y="15000"/>
                  <a:pt x="23437" y="15000"/>
                  <a:pt x="23406" y="15031"/>
                </a:cubicBezTo>
                <a:cubicBezTo>
                  <a:pt x="23406" y="15031"/>
                  <a:pt x="23406" y="15031"/>
                  <a:pt x="23406" y="15031"/>
                </a:cubicBezTo>
                <a:cubicBezTo>
                  <a:pt x="23406" y="15031"/>
                  <a:pt x="23406" y="15031"/>
                  <a:pt x="23406" y="15031"/>
                </a:cubicBezTo>
                <a:cubicBezTo>
                  <a:pt x="23437" y="15000"/>
                  <a:pt x="23437" y="15000"/>
                  <a:pt x="23469" y="15000"/>
                </a:cubicBezTo>
                <a:cubicBezTo>
                  <a:pt x="23469" y="15000"/>
                  <a:pt x="23469" y="15000"/>
                  <a:pt x="23469" y="15000"/>
                </a:cubicBezTo>
                <a:cubicBezTo>
                  <a:pt x="23531" y="14968"/>
                  <a:pt x="23625" y="14937"/>
                  <a:pt x="23719" y="14906"/>
                </a:cubicBezTo>
                <a:cubicBezTo>
                  <a:pt x="24000" y="14812"/>
                  <a:pt x="24312" y="14750"/>
                  <a:pt x="24562" y="14593"/>
                </a:cubicBezTo>
                <a:cubicBezTo>
                  <a:pt x="24625" y="14562"/>
                  <a:pt x="24719" y="14562"/>
                  <a:pt x="24781" y="14500"/>
                </a:cubicBezTo>
                <a:cubicBezTo>
                  <a:pt x="24937" y="14437"/>
                  <a:pt x="25125" y="14375"/>
                  <a:pt x="25281" y="14312"/>
                </a:cubicBezTo>
                <a:cubicBezTo>
                  <a:pt x="25469" y="14281"/>
                  <a:pt x="25656" y="14218"/>
                  <a:pt x="25844" y="14156"/>
                </a:cubicBezTo>
                <a:cubicBezTo>
                  <a:pt x="26125" y="14062"/>
                  <a:pt x="26406" y="13968"/>
                  <a:pt x="26687" y="13875"/>
                </a:cubicBezTo>
                <a:cubicBezTo>
                  <a:pt x="26844" y="13812"/>
                  <a:pt x="27031" y="13812"/>
                  <a:pt x="27156" y="13687"/>
                </a:cubicBezTo>
                <a:cubicBezTo>
                  <a:pt x="27219" y="13656"/>
                  <a:pt x="27250" y="13625"/>
                  <a:pt x="27312" y="13593"/>
                </a:cubicBezTo>
                <a:cubicBezTo>
                  <a:pt x="27375" y="13593"/>
                  <a:pt x="27437" y="13531"/>
                  <a:pt x="27531" y="13531"/>
                </a:cubicBezTo>
                <a:cubicBezTo>
                  <a:pt x="27562" y="13531"/>
                  <a:pt x="27625" y="13531"/>
                  <a:pt x="27656" y="13468"/>
                </a:cubicBezTo>
                <a:cubicBezTo>
                  <a:pt x="27719" y="13468"/>
                  <a:pt x="27750" y="13468"/>
                  <a:pt x="27812" y="13437"/>
                </a:cubicBezTo>
                <a:cubicBezTo>
                  <a:pt x="28000" y="13375"/>
                  <a:pt x="28187" y="13312"/>
                  <a:pt x="28375" y="13250"/>
                </a:cubicBezTo>
                <a:cubicBezTo>
                  <a:pt x="28625" y="13156"/>
                  <a:pt x="28906" y="13093"/>
                  <a:pt x="29156" y="13000"/>
                </a:cubicBezTo>
                <a:cubicBezTo>
                  <a:pt x="29500" y="12875"/>
                  <a:pt x="29812" y="12781"/>
                  <a:pt x="30156" y="12656"/>
                </a:cubicBezTo>
                <a:cubicBezTo>
                  <a:pt x="30281" y="12625"/>
                  <a:pt x="30406" y="12625"/>
                  <a:pt x="30531" y="12531"/>
                </a:cubicBezTo>
                <a:cubicBezTo>
                  <a:pt x="30719" y="12531"/>
                  <a:pt x="30906" y="12437"/>
                  <a:pt x="31094" y="12375"/>
                </a:cubicBezTo>
                <a:cubicBezTo>
                  <a:pt x="31562" y="12218"/>
                  <a:pt x="32000" y="12062"/>
                  <a:pt x="32469" y="11906"/>
                </a:cubicBezTo>
                <a:cubicBezTo>
                  <a:pt x="32562" y="11875"/>
                  <a:pt x="32656" y="11812"/>
                  <a:pt x="32781" y="11812"/>
                </a:cubicBezTo>
                <a:cubicBezTo>
                  <a:pt x="32781" y="11812"/>
                  <a:pt x="32781" y="11812"/>
                  <a:pt x="32781" y="11812"/>
                </a:cubicBezTo>
                <a:cubicBezTo>
                  <a:pt x="32781" y="11781"/>
                  <a:pt x="32781" y="11781"/>
                  <a:pt x="32781" y="11750"/>
                </a:cubicBezTo>
                <a:cubicBezTo>
                  <a:pt x="32625" y="11812"/>
                  <a:pt x="32500" y="11843"/>
                  <a:pt x="32375" y="11875"/>
                </a:cubicBezTo>
                <a:cubicBezTo>
                  <a:pt x="32187" y="11937"/>
                  <a:pt x="32000" y="12000"/>
                  <a:pt x="31812" y="12062"/>
                </a:cubicBezTo>
                <a:cubicBezTo>
                  <a:pt x="31594" y="12156"/>
                  <a:pt x="31344" y="12250"/>
                  <a:pt x="31094" y="12312"/>
                </a:cubicBezTo>
                <a:cubicBezTo>
                  <a:pt x="30906" y="12343"/>
                  <a:pt x="30719" y="12437"/>
                  <a:pt x="30531" y="12500"/>
                </a:cubicBezTo>
                <a:cubicBezTo>
                  <a:pt x="30531" y="12500"/>
                  <a:pt x="30531" y="12500"/>
                  <a:pt x="30531" y="12531"/>
                </a:cubicBezTo>
                <a:cubicBezTo>
                  <a:pt x="30437" y="12500"/>
                  <a:pt x="30375" y="12531"/>
                  <a:pt x="30312" y="12562"/>
                </a:cubicBezTo>
                <a:cubicBezTo>
                  <a:pt x="30062" y="12656"/>
                  <a:pt x="29812" y="12718"/>
                  <a:pt x="29562" y="12812"/>
                </a:cubicBezTo>
                <a:cubicBezTo>
                  <a:pt x="29375" y="12875"/>
                  <a:pt x="29156" y="12937"/>
                  <a:pt x="28969" y="13000"/>
                </a:cubicBezTo>
                <a:cubicBezTo>
                  <a:pt x="28719" y="13093"/>
                  <a:pt x="28469" y="13156"/>
                  <a:pt x="28250" y="13250"/>
                </a:cubicBezTo>
                <a:cubicBezTo>
                  <a:pt x="28062" y="13312"/>
                  <a:pt x="27875" y="13375"/>
                  <a:pt x="27687" y="13406"/>
                </a:cubicBezTo>
                <a:cubicBezTo>
                  <a:pt x="27656" y="13437"/>
                  <a:pt x="27656" y="13437"/>
                  <a:pt x="27656" y="13468"/>
                </a:cubicBezTo>
                <a:cubicBezTo>
                  <a:pt x="27531" y="13437"/>
                  <a:pt x="27437" y="13500"/>
                  <a:pt x="27344" y="13531"/>
                </a:cubicBezTo>
                <a:cubicBezTo>
                  <a:pt x="27062" y="13625"/>
                  <a:pt x="26812" y="13687"/>
                  <a:pt x="26531" y="13781"/>
                </a:cubicBezTo>
                <a:cubicBezTo>
                  <a:pt x="26344" y="13843"/>
                  <a:pt x="26125" y="13906"/>
                  <a:pt x="25937" y="13968"/>
                </a:cubicBezTo>
                <a:cubicBezTo>
                  <a:pt x="25719" y="14031"/>
                  <a:pt x="25531" y="14093"/>
                  <a:pt x="25312" y="14156"/>
                </a:cubicBezTo>
                <a:cubicBezTo>
                  <a:pt x="25125" y="14218"/>
                  <a:pt x="24937" y="14281"/>
                  <a:pt x="24750" y="14312"/>
                </a:cubicBezTo>
                <a:cubicBezTo>
                  <a:pt x="24531" y="14375"/>
                  <a:pt x="24344" y="14437"/>
                  <a:pt x="24125" y="14500"/>
                </a:cubicBezTo>
                <a:cubicBezTo>
                  <a:pt x="24062" y="14531"/>
                  <a:pt x="24000" y="14531"/>
                  <a:pt x="23937" y="14562"/>
                </a:cubicBezTo>
                <a:cubicBezTo>
                  <a:pt x="23937" y="14531"/>
                  <a:pt x="23937" y="14500"/>
                  <a:pt x="23937" y="14468"/>
                </a:cubicBezTo>
                <a:cubicBezTo>
                  <a:pt x="23969" y="14468"/>
                  <a:pt x="24000" y="14468"/>
                  <a:pt x="24031" y="14468"/>
                </a:cubicBezTo>
                <a:cubicBezTo>
                  <a:pt x="24312" y="14375"/>
                  <a:pt x="24594" y="14281"/>
                  <a:pt x="24875" y="14187"/>
                </a:cubicBezTo>
                <a:cubicBezTo>
                  <a:pt x="25281" y="14062"/>
                  <a:pt x="25687" y="13937"/>
                  <a:pt x="26062" y="13812"/>
                </a:cubicBezTo>
                <a:cubicBezTo>
                  <a:pt x="26312" y="13750"/>
                  <a:pt x="26562" y="13656"/>
                  <a:pt x="26781" y="13593"/>
                </a:cubicBezTo>
                <a:cubicBezTo>
                  <a:pt x="27125" y="13468"/>
                  <a:pt x="27437" y="13343"/>
                  <a:pt x="27750" y="13250"/>
                </a:cubicBezTo>
                <a:cubicBezTo>
                  <a:pt x="28219" y="13093"/>
                  <a:pt x="28656" y="12937"/>
                  <a:pt x="29125" y="12781"/>
                </a:cubicBezTo>
                <a:cubicBezTo>
                  <a:pt x="29437" y="12687"/>
                  <a:pt x="29781" y="12562"/>
                  <a:pt x="30125" y="12437"/>
                </a:cubicBezTo>
                <a:cubicBezTo>
                  <a:pt x="30344" y="12375"/>
                  <a:pt x="30375" y="12375"/>
                  <a:pt x="30437" y="12312"/>
                </a:cubicBezTo>
                <a:cubicBezTo>
                  <a:pt x="30250" y="12312"/>
                  <a:pt x="30062" y="12406"/>
                  <a:pt x="29906" y="12468"/>
                </a:cubicBezTo>
                <a:cubicBezTo>
                  <a:pt x="29469" y="12593"/>
                  <a:pt x="29062" y="12718"/>
                  <a:pt x="28656" y="12843"/>
                </a:cubicBezTo>
                <a:cubicBezTo>
                  <a:pt x="28312" y="12968"/>
                  <a:pt x="27969" y="13093"/>
                  <a:pt x="27625" y="13187"/>
                </a:cubicBezTo>
                <a:cubicBezTo>
                  <a:pt x="27062" y="13343"/>
                  <a:pt x="26500" y="13562"/>
                  <a:pt x="25906" y="13718"/>
                </a:cubicBezTo>
                <a:cubicBezTo>
                  <a:pt x="25531" y="13812"/>
                  <a:pt x="25187" y="13937"/>
                  <a:pt x="24812" y="14031"/>
                </a:cubicBezTo>
                <a:cubicBezTo>
                  <a:pt x="24750" y="14031"/>
                  <a:pt x="24719" y="14031"/>
                  <a:pt x="24687" y="14000"/>
                </a:cubicBezTo>
                <a:cubicBezTo>
                  <a:pt x="24812" y="13968"/>
                  <a:pt x="24937" y="13937"/>
                  <a:pt x="25062" y="13875"/>
                </a:cubicBezTo>
                <a:cubicBezTo>
                  <a:pt x="25156" y="13843"/>
                  <a:pt x="25281" y="13875"/>
                  <a:pt x="25344" y="13781"/>
                </a:cubicBezTo>
                <a:cubicBezTo>
                  <a:pt x="25375" y="13781"/>
                  <a:pt x="25406" y="13781"/>
                  <a:pt x="25437" y="13781"/>
                </a:cubicBezTo>
                <a:cubicBezTo>
                  <a:pt x="25594" y="13718"/>
                  <a:pt x="25750" y="13656"/>
                  <a:pt x="25906" y="13625"/>
                </a:cubicBezTo>
                <a:cubicBezTo>
                  <a:pt x="26094" y="13562"/>
                  <a:pt x="26281" y="13468"/>
                  <a:pt x="26500" y="13437"/>
                </a:cubicBezTo>
                <a:cubicBezTo>
                  <a:pt x="26406" y="13406"/>
                  <a:pt x="26375" y="13406"/>
                  <a:pt x="26312" y="13437"/>
                </a:cubicBezTo>
                <a:cubicBezTo>
                  <a:pt x="26156" y="13500"/>
                  <a:pt x="26000" y="13531"/>
                  <a:pt x="25844" y="13593"/>
                </a:cubicBezTo>
                <a:cubicBezTo>
                  <a:pt x="25687" y="13656"/>
                  <a:pt x="25500" y="13656"/>
                  <a:pt x="25344" y="13750"/>
                </a:cubicBezTo>
                <a:cubicBezTo>
                  <a:pt x="25344" y="13750"/>
                  <a:pt x="25344" y="13750"/>
                  <a:pt x="25375" y="13750"/>
                </a:cubicBezTo>
                <a:cubicBezTo>
                  <a:pt x="25344" y="13750"/>
                  <a:pt x="25344" y="13750"/>
                  <a:pt x="25344" y="13750"/>
                </a:cubicBezTo>
                <a:cubicBezTo>
                  <a:pt x="25344" y="13781"/>
                  <a:pt x="25344" y="13781"/>
                  <a:pt x="25344" y="13781"/>
                </a:cubicBezTo>
                <a:cubicBezTo>
                  <a:pt x="25312" y="13781"/>
                  <a:pt x="25281" y="13781"/>
                  <a:pt x="25281" y="13781"/>
                </a:cubicBezTo>
                <a:cubicBezTo>
                  <a:pt x="25250" y="13812"/>
                  <a:pt x="25187" y="13843"/>
                  <a:pt x="25125" y="13843"/>
                </a:cubicBezTo>
                <a:cubicBezTo>
                  <a:pt x="25187" y="13843"/>
                  <a:pt x="25250" y="13812"/>
                  <a:pt x="25281" y="13781"/>
                </a:cubicBezTo>
                <a:cubicBezTo>
                  <a:pt x="25250" y="13781"/>
                  <a:pt x="25250" y="13781"/>
                  <a:pt x="25219" y="13781"/>
                </a:cubicBezTo>
                <a:cubicBezTo>
                  <a:pt x="25031" y="13843"/>
                  <a:pt x="24844" y="13906"/>
                  <a:pt x="24625" y="13968"/>
                </a:cubicBezTo>
                <a:cubicBezTo>
                  <a:pt x="24625" y="13906"/>
                  <a:pt x="24687" y="13906"/>
                  <a:pt x="24719" y="13843"/>
                </a:cubicBezTo>
                <a:cubicBezTo>
                  <a:pt x="24844" y="13843"/>
                  <a:pt x="24969" y="13781"/>
                  <a:pt x="25094" y="13750"/>
                </a:cubicBezTo>
                <a:cubicBezTo>
                  <a:pt x="25406" y="13656"/>
                  <a:pt x="25750" y="13562"/>
                  <a:pt x="26062" y="13437"/>
                </a:cubicBezTo>
                <a:cubicBezTo>
                  <a:pt x="26406" y="13343"/>
                  <a:pt x="26750" y="13218"/>
                  <a:pt x="27094" y="13093"/>
                </a:cubicBezTo>
                <a:cubicBezTo>
                  <a:pt x="27312" y="13031"/>
                  <a:pt x="27562" y="12968"/>
                  <a:pt x="27781" y="12875"/>
                </a:cubicBezTo>
                <a:cubicBezTo>
                  <a:pt x="28125" y="12750"/>
                  <a:pt x="28469" y="12656"/>
                  <a:pt x="28812" y="12531"/>
                </a:cubicBezTo>
                <a:cubicBezTo>
                  <a:pt x="29031" y="12468"/>
                  <a:pt x="29281" y="12375"/>
                  <a:pt x="29531" y="12312"/>
                </a:cubicBezTo>
                <a:cubicBezTo>
                  <a:pt x="29844" y="12187"/>
                  <a:pt x="30187" y="12062"/>
                  <a:pt x="30531" y="11968"/>
                </a:cubicBezTo>
                <a:cubicBezTo>
                  <a:pt x="30687" y="11906"/>
                  <a:pt x="30844" y="11843"/>
                  <a:pt x="31000" y="11812"/>
                </a:cubicBezTo>
                <a:cubicBezTo>
                  <a:pt x="31281" y="11718"/>
                  <a:pt x="31531" y="11625"/>
                  <a:pt x="31812" y="11531"/>
                </a:cubicBezTo>
                <a:cubicBezTo>
                  <a:pt x="31969" y="11468"/>
                  <a:pt x="32156" y="11406"/>
                  <a:pt x="32312" y="11343"/>
                </a:cubicBezTo>
                <a:cubicBezTo>
                  <a:pt x="32469" y="11312"/>
                  <a:pt x="32625" y="11250"/>
                  <a:pt x="32781" y="11218"/>
                </a:cubicBezTo>
                <a:cubicBezTo>
                  <a:pt x="32781" y="11187"/>
                  <a:pt x="32781" y="11187"/>
                  <a:pt x="32781" y="11187"/>
                </a:cubicBezTo>
                <a:cubicBezTo>
                  <a:pt x="32781" y="11156"/>
                  <a:pt x="32781" y="11125"/>
                  <a:pt x="32781" y="11093"/>
                </a:cubicBezTo>
                <a:cubicBezTo>
                  <a:pt x="32656" y="11125"/>
                  <a:pt x="32531" y="11156"/>
                  <a:pt x="32406" y="11187"/>
                </a:cubicBezTo>
                <a:cubicBezTo>
                  <a:pt x="32156" y="11281"/>
                  <a:pt x="31906" y="11375"/>
                  <a:pt x="31656" y="11437"/>
                </a:cubicBezTo>
                <a:cubicBezTo>
                  <a:pt x="31469" y="11500"/>
                  <a:pt x="31312" y="11562"/>
                  <a:pt x="31125" y="11625"/>
                </a:cubicBezTo>
                <a:cubicBezTo>
                  <a:pt x="30875" y="11718"/>
                  <a:pt x="30625" y="11812"/>
                  <a:pt x="30375" y="11875"/>
                </a:cubicBezTo>
                <a:cubicBezTo>
                  <a:pt x="30187" y="11937"/>
                  <a:pt x="29969" y="12000"/>
                  <a:pt x="29750" y="12093"/>
                </a:cubicBezTo>
                <a:cubicBezTo>
                  <a:pt x="29437" y="12187"/>
                  <a:pt x="29125" y="12312"/>
                  <a:pt x="28812" y="12406"/>
                </a:cubicBezTo>
                <a:cubicBezTo>
                  <a:pt x="28656" y="12468"/>
                  <a:pt x="28500" y="12500"/>
                  <a:pt x="28344" y="12562"/>
                </a:cubicBezTo>
                <a:cubicBezTo>
                  <a:pt x="28094" y="12656"/>
                  <a:pt x="27844" y="12718"/>
                  <a:pt x="27594" y="12812"/>
                </a:cubicBezTo>
                <a:cubicBezTo>
                  <a:pt x="27344" y="12906"/>
                  <a:pt x="27062" y="12968"/>
                  <a:pt x="26812" y="13062"/>
                </a:cubicBezTo>
                <a:cubicBezTo>
                  <a:pt x="26531" y="13156"/>
                  <a:pt x="26250" y="13250"/>
                  <a:pt x="25969" y="13343"/>
                </a:cubicBezTo>
                <a:cubicBezTo>
                  <a:pt x="25656" y="13437"/>
                  <a:pt x="25344" y="13531"/>
                  <a:pt x="25031" y="13625"/>
                </a:cubicBezTo>
                <a:cubicBezTo>
                  <a:pt x="24937" y="13687"/>
                  <a:pt x="24781" y="13656"/>
                  <a:pt x="24687" y="13750"/>
                </a:cubicBezTo>
                <a:cubicBezTo>
                  <a:pt x="24656" y="13750"/>
                  <a:pt x="24594" y="13750"/>
                  <a:pt x="24562" y="13781"/>
                </a:cubicBezTo>
                <a:cubicBezTo>
                  <a:pt x="24437" y="13812"/>
                  <a:pt x="24312" y="13843"/>
                  <a:pt x="24187" y="13875"/>
                </a:cubicBezTo>
                <a:cubicBezTo>
                  <a:pt x="24187" y="13875"/>
                  <a:pt x="24187" y="13875"/>
                  <a:pt x="24219" y="13843"/>
                </a:cubicBezTo>
                <a:cubicBezTo>
                  <a:pt x="24187" y="13875"/>
                  <a:pt x="24156" y="13875"/>
                  <a:pt x="24156" y="13875"/>
                </a:cubicBezTo>
                <a:cubicBezTo>
                  <a:pt x="24156" y="13875"/>
                  <a:pt x="24156" y="13875"/>
                  <a:pt x="24156" y="13875"/>
                </a:cubicBezTo>
                <a:cubicBezTo>
                  <a:pt x="24156" y="13875"/>
                  <a:pt x="24187" y="13875"/>
                  <a:pt x="24219" y="13843"/>
                </a:cubicBezTo>
                <a:cubicBezTo>
                  <a:pt x="24219" y="13843"/>
                  <a:pt x="24219" y="13812"/>
                  <a:pt x="24187" y="13781"/>
                </a:cubicBezTo>
                <a:cubicBezTo>
                  <a:pt x="24219" y="13781"/>
                  <a:pt x="24250" y="13781"/>
                  <a:pt x="24281" y="13781"/>
                </a:cubicBezTo>
                <a:cubicBezTo>
                  <a:pt x="24344" y="13750"/>
                  <a:pt x="24437" y="13750"/>
                  <a:pt x="24469" y="13656"/>
                </a:cubicBezTo>
                <a:cubicBezTo>
                  <a:pt x="24531" y="13656"/>
                  <a:pt x="24594" y="13625"/>
                  <a:pt x="24625" y="13625"/>
                </a:cubicBezTo>
                <a:cubicBezTo>
                  <a:pt x="24625" y="13625"/>
                  <a:pt x="24625" y="13625"/>
                  <a:pt x="24625" y="13625"/>
                </a:cubicBezTo>
                <a:cubicBezTo>
                  <a:pt x="24656" y="13656"/>
                  <a:pt x="24656" y="13656"/>
                  <a:pt x="24687" y="13625"/>
                </a:cubicBezTo>
                <a:cubicBezTo>
                  <a:pt x="24687" y="13625"/>
                  <a:pt x="24687" y="13625"/>
                  <a:pt x="24687" y="13625"/>
                </a:cubicBezTo>
                <a:cubicBezTo>
                  <a:pt x="24812" y="13593"/>
                  <a:pt x="25000" y="13531"/>
                  <a:pt x="25187" y="13468"/>
                </a:cubicBezTo>
                <a:cubicBezTo>
                  <a:pt x="25187" y="13468"/>
                  <a:pt x="25219" y="13468"/>
                  <a:pt x="25250" y="13468"/>
                </a:cubicBezTo>
                <a:cubicBezTo>
                  <a:pt x="25375" y="13406"/>
                  <a:pt x="25469" y="13375"/>
                  <a:pt x="25594" y="13343"/>
                </a:cubicBezTo>
                <a:cubicBezTo>
                  <a:pt x="25906" y="13250"/>
                  <a:pt x="26219" y="13125"/>
                  <a:pt x="26562" y="13031"/>
                </a:cubicBezTo>
                <a:cubicBezTo>
                  <a:pt x="26687" y="12968"/>
                  <a:pt x="26812" y="12937"/>
                  <a:pt x="26937" y="12843"/>
                </a:cubicBezTo>
                <a:cubicBezTo>
                  <a:pt x="26906" y="12843"/>
                  <a:pt x="26875" y="12843"/>
                  <a:pt x="26875" y="12843"/>
                </a:cubicBezTo>
                <a:cubicBezTo>
                  <a:pt x="26844" y="12843"/>
                  <a:pt x="26812" y="12875"/>
                  <a:pt x="26781" y="12843"/>
                </a:cubicBezTo>
                <a:cubicBezTo>
                  <a:pt x="26781" y="12812"/>
                  <a:pt x="26812" y="12812"/>
                  <a:pt x="26844" y="12781"/>
                </a:cubicBezTo>
                <a:cubicBezTo>
                  <a:pt x="26875" y="12781"/>
                  <a:pt x="26906" y="12750"/>
                  <a:pt x="26937" y="12750"/>
                </a:cubicBezTo>
                <a:cubicBezTo>
                  <a:pt x="27094" y="12687"/>
                  <a:pt x="27250" y="12656"/>
                  <a:pt x="27437" y="12593"/>
                </a:cubicBezTo>
                <a:cubicBezTo>
                  <a:pt x="27687" y="12500"/>
                  <a:pt x="27937" y="12406"/>
                  <a:pt x="28187" y="12312"/>
                </a:cubicBezTo>
                <a:cubicBezTo>
                  <a:pt x="28500" y="12218"/>
                  <a:pt x="28812" y="12125"/>
                  <a:pt x="29125" y="12000"/>
                </a:cubicBezTo>
                <a:cubicBezTo>
                  <a:pt x="29469" y="11906"/>
                  <a:pt x="29781" y="11781"/>
                  <a:pt x="30125" y="11656"/>
                </a:cubicBezTo>
                <a:cubicBezTo>
                  <a:pt x="30219" y="11625"/>
                  <a:pt x="30344" y="11625"/>
                  <a:pt x="30406" y="11531"/>
                </a:cubicBezTo>
                <a:cubicBezTo>
                  <a:pt x="30281" y="11531"/>
                  <a:pt x="30156" y="11593"/>
                  <a:pt x="30031" y="11625"/>
                </a:cubicBezTo>
                <a:cubicBezTo>
                  <a:pt x="29781" y="11718"/>
                  <a:pt x="29562" y="11812"/>
                  <a:pt x="29312" y="11875"/>
                </a:cubicBezTo>
                <a:cubicBezTo>
                  <a:pt x="29125" y="11937"/>
                  <a:pt x="28937" y="12000"/>
                  <a:pt x="28750" y="12062"/>
                </a:cubicBezTo>
                <a:cubicBezTo>
                  <a:pt x="28500" y="12156"/>
                  <a:pt x="28281" y="12218"/>
                  <a:pt x="28031" y="12312"/>
                </a:cubicBezTo>
                <a:cubicBezTo>
                  <a:pt x="27844" y="12375"/>
                  <a:pt x="27656" y="12437"/>
                  <a:pt x="27469" y="12500"/>
                </a:cubicBezTo>
                <a:cubicBezTo>
                  <a:pt x="27219" y="12593"/>
                  <a:pt x="26969" y="12656"/>
                  <a:pt x="26719" y="12750"/>
                </a:cubicBezTo>
                <a:cubicBezTo>
                  <a:pt x="26531" y="12812"/>
                  <a:pt x="26344" y="12875"/>
                  <a:pt x="26125" y="12937"/>
                </a:cubicBezTo>
                <a:cubicBezTo>
                  <a:pt x="26000" y="12968"/>
                  <a:pt x="25844" y="13062"/>
                  <a:pt x="25687" y="13062"/>
                </a:cubicBezTo>
                <a:cubicBezTo>
                  <a:pt x="25687" y="13062"/>
                  <a:pt x="25687" y="13031"/>
                  <a:pt x="25687" y="13031"/>
                </a:cubicBezTo>
                <a:cubicBezTo>
                  <a:pt x="25687" y="13031"/>
                  <a:pt x="25656" y="13031"/>
                  <a:pt x="25625" y="13031"/>
                </a:cubicBezTo>
                <a:cubicBezTo>
                  <a:pt x="25625" y="13031"/>
                  <a:pt x="25625" y="13031"/>
                  <a:pt x="25625" y="13031"/>
                </a:cubicBezTo>
                <a:cubicBezTo>
                  <a:pt x="25656" y="13031"/>
                  <a:pt x="25656" y="13031"/>
                  <a:pt x="25656" y="13031"/>
                </a:cubicBezTo>
                <a:cubicBezTo>
                  <a:pt x="25656" y="13031"/>
                  <a:pt x="25656" y="13031"/>
                  <a:pt x="25625" y="13031"/>
                </a:cubicBezTo>
                <a:cubicBezTo>
                  <a:pt x="25656" y="13031"/>
                  <a:pt x="25687" y="13031"/>
                  <a:pt x="25687" y="13031"/>
                </a:cubicBezTo>
                <a:cubicBezTo>
                  <a:pt x="25719" y="13031"/>
                  <a:pt x="25719" y="13031"/>
                  <a:pt x="25719" y="13000"/>
                </a:cubicBezTo>
                <a:cubicBezTo>
                  <a:pt x="25750" y="13000"/>
                  <a:pt x="25750" y="13000"/>
                  <a:pt x="25750" y="13000"/>
                </a:cubicBezTo>
                <a:cubicBezTo>
                  <a:pt x="26031" y="12937"/>
                  <a:pt x="26312" y="12812"/>
                  <a:pt x="26562" y="12718"/>
                </a:cubicBezTo>
                <a:cubicBezTo>
                  <a:pt x="26844" y="12656"/>
                  <a:pt x="27094" y="12562"/>
                  <a:pt x="27375" y="12468"/>
                </a:cubicBezTo>
                <a:cubicBezTo>
                  <a:pt x="27594" y="12375"/>
                  <a:pt x="27844" y="12312"/>
                  <a:pt x="28062" y="12218"/>
                </a:cubicBezTo>
                <a:cubicBezTo>
                  <a:pt x="28312" y="12125"/>
                  <a:pt x="28562" y="12031"/>
                  <a:pt x="28812" y="11968"/>
                </a:cubicBezTo>
                <a:cubicBezTo>
                  <a:pt x="29000" y="11906"/>
                  <a:pt x="29187" y="11843"/>
                  <a:pt x="29375" y="11750"/>
                </a:cubicBezTo>
                <a:cubicBezTo>
                  <a:pt x="29250" y="11781"/>
                  <a:pt x="29094" y="11812"/>
                  <a:pt x="28969" y="11843"/>
                </a:cubicBezTo>
                <a:cubicBezTo>
                  <a:pt x="28781" y="11906"/>
                  <a:pt x="28625" y="11968"/>
                  <a:pt x="28469" y="12031"/>
                </a:cubicBezTo>
                <a:cubicBezTo>
                  <a:pt x="28250" y="12093"/>
                  <a:pt x="28062" y="12156"/>
                  <a:pt x="27844" y="12218"/>
                </a:cubicBezTo>
                <a:cubicBezTo>
                  <a:pt x="27750" y="12250"/>
                  <a:pt x="27625" y="12343"/>
                  <a:pt x="27531" y="12312"/>
                </a:cubicBezTo>
                <a:cubicBezTo>
                  <a:pt x="27437" y="12281"/>
                  <a:pt x="27375" y="12281"/>
                  <a:pt x="27281" y="12312"/>
                </a:cubicBezTo>
                <a:cubicBezTo>
                  <a:pt x="27312" y="12343"/>
                  <a:pt x="27344" y="12312"/>
                  <a:pt x="27344" y="12375"/>
                </a:cubicBezTo>
                <a:cubicBezTo>
                  <a:pt x="27281" y="12437"/>
                  <a:pt x="27187" y="12343"/>
                  <a:pt x="27125" y="12375"/>
                </a:cubicBezTo>
                <a:cubicBezTo>
                  <a:pt x="26781" y="12500"/>
                  <a:pt x="26437" y="12593"/>
                  <a:pt x="26094" y="12718"/>
                </a:cubicBezTo>
                <a:cubicBezTo>
                  <a:pt x="25875" y="12781"/>
                  <a:pt x="25656" y="12875"/>
                  <a:pt x="25437" y="12937"/>
                </a:cubicBezTo>
                <a:cubicBezTo>
                  <a:pt x="25437" y="12937"/>
                  <a:pt x="25437" y="12937"/>
                  <a:pt x="25437" y="12937"/>
                </a:cubicBezTo>
                <a:cubicBezTo>
                  <a:pt x="25500" y="12968"/>
                  <a:pt x="25594" y="12968"/>
                  <a:pt x="25656" y="13000"/>
                </a:cubicBezTo>
                <a:cubicBezTo>
                  <a:pt x="25594" y="12968"/>
                  <a:pt x="25500" y="12968"/>
                  <a:pt x="25437" y="12937"/>
                </a:cubicBezTo>
                <a:cubicBezTo>
                  <a:pt x="25281" y="12937"/>
                  <a:pt x="25156" y="13000"/>
                  <a:pt x="25031" y="13062"/>
                </a:cubicBezTo>
                <a:cubicBezTo>
                  <a:pt x="24937" y="13093"/>
                  <a:pt x="24812" y="13125"/>
                  <a:pt x="24719" y="13156"/>
                </a:cubicBezTo>
                <a:cubicBezTo>
                  <a:pt x="24687" y="13156"/>
                  <a:pt x="24656" y="13156"/>
                  <a:pt x="24656" y="13187"/>
                </a:cubicBezTo>
                <a:cubicBezTo>
                  <a:pt x="24562" y="13218"/>
                  <a:pt x="24500" y="13218"/>
                  <a:pt x="24437" y="13250"/>
                </a:cubicBezTo>
                <a:cubicBezTo>
                  <a:pt x="24406" y="13250"/>
                  <a:pt x="24375" y="13250"/>
                  <a:pt x="24344" y="13250"/>
                </a:cubicBezTo>
                <a:cubicBezTo>
                  <a:pt x="24281" y="13281"/>
                  <a:pt x="24250" y="13312"/>
                  <a:pt x="24219" y="13312"/>
                </a:cubicBezTo>
                <a:cubicBezTo>
                  <a:pt x="23781" y="13437"/>
                  <a:pt x="23375" y="13562"/>
                  <a:pt x="22969" y="13687"/>
                </a:cubicBezTo>
                <a:cubicBezTo>
                  <a:pt x="22844" y="13718"/>
                  <a:pt x="22719" y="13750"/>
                  <a:pt x="22562" y="13750"/>
                </a:cubicBezTo>
                <a:cubicBezTo>
                  <a:pt x="22594" y="13718"/>
                  <a:pt x="22594" y="13687"/>
                  <a:pt x="22625" y="13687"/>
                </a:cubicBezTo>
                <a:cubicBezTo>
                  <a:pt x="22875" y="13625"/>
                  <a:pt x="23094" y="13500"/>
                  <a:pt x="23375" y="13468"/>
                </a:cubicBezTo>
                <a:cubicBezTo>
                  <a:pt x="23344" y="13437"/>
                  <a:pt x="23281" y="13406"/>
                  <a:pt x="23250" y="13437"/>
                </a:cubicBezTo>
                <a:cubicBezTo>
                  <a:pt x="23094" y="13468"/>
                  <a:pt x="22969" y="13531"/>
                  <a:pt x="22812" y="13562"/>
                </a:cubicBezTo>
                <a:cubicBezTo>
                  <a:pt x="22406" y="13687"/>
                  <a:pt x="21969" y="13812"/>
                  <a:pt x="21562" y="13906"/>
                </a:cubicBezTo>
                <a:cubicBezTo>
                  <a:pt x="21562" y="13906"/>
                  <a:pt x="21562" y="13906"/>
                  <a:pt x="21562" y="13875"/>
                </a:cubicBezTo>
                <a:cubicBezTo>
                  <a:pt x="21562" y="13906"/>
                  <a:pt x="21531" y="13906"/>
                  <a:pt x="21531" y="13906"/>
                </a:cubicBezTo>
                <a:cubicBezTo>
                  <a:pt x="21531" y="13906"/>
                  <a:pt x="21531" y="13906"/>
                  <a:pt x="21531" y="13906"/>
                </a:cubicBezTo>
                <a:cubicBezTo>
                  <a:pt x="21531" y="13906"/>
                  <a:pt x="21562" y="13906"/>
                  <a:pt x="21562" y="13875"/>
                </a:cubicBezTo>
                <a:cubicBezTo>
                  <a:pt x="21594" y="13875"/>
                  <a:pt x="21594" y="13843"/>
                  <a:pt x="21625" y="13843"/>
                </a:cubicBezTo>
                <a:cubicBezTo>
                  <a:pt x="21875" y="13781"/>
                  <a:pt x="22156" y="13687"/>
                  <a:pt x="22406" y="13625"/>
                </a:cubicBezTo>
                <a:cubicBezTo>
                  <a:pt x="22750" y="13500"/>
                  <a:pt x="23062" y="13406"/>
                  <a:pt x="23406" y="13312"/>
                </a:cubicBezTo>
                <a:cubicBezTo>
                  <a:pt x="23875" y="13156"/>
                  <a:pt x="24375" y="13000"/>
                  <a:pt x="24875" y="12812"/>
                </a:cubicBezTo>
                <a:cubicBezTo>
                  <a:pt x="24906" y="12843"/>
                  <a:pt x="24937" y="12875"/>
                  <a:pt x="24937" y="12906"/>
                </a:cubicBezTo>
                <a:cubicBezTo>
                  <a:pt x="24906" y="12906"/>
                  <a:pt x="24906" y="12906"/>
                  <a:pt x="24906" y="12906"/>
                </a:cubicBezTo>
                <a:cubicBezTo>
                  <a:pt x="24906" y="12906"/>
                  <a:pt x="24906" y="12937"/>
                  <a:pt x="24906" y="12937"/>
                </a:cubicBezTo>
                <a:cubicBezTo>
                  <a:pt x="24906" y="12937"/>
                  <a:pt x="24906" y="12906"/>
                  <a:pt x="24906" y="12906"/>
                </a:cubicBezTo>
                <a:cubicBezTo>
                  <a:pt x="24844" y="12937"/>
                  <a:pt x="24812" y="12937"/>
                  <a:pt x="24781" y="12968"/>
                </a:cubicBezTo>
                <a:cubicBezTo>
                  <a:pt x="24719" y="12968"/>
                  <a:pt x="24656" y="12968"/>
                  <a:pt x="24594" y="13031"/>
                </a:cubicBezTo>
                <a:cubicBezTo>
                  <a:pt x="24375" y="13062"/>
                  <a:pt x="24156" y="13156"/>
                  <a:pt x="23937" y="13218"/>
                </a:cubicBezTo>
                <a:cubicBezTo>
                  <a:pt x="23844" y="13250"/>
                  <a:pt x="23750" y="13250"/>
                  <a:pt x="23687" y="13312"/>
                </a:cubicBezTo>
                <a:cubicBezTo>
                  <a:pt x="23687" y="13312"/>
                  <a:pt x="23687" y="13312"/>
                  <a:pt x="23656" y="13312"/>
                </a:cubicBezTo>
                <a:cubicBezTo>
                  <a:pt x="23656" y="13312"/>
                  <a:pt x="23656" y="13343"/>
                  <a:pt x="23625" y="13343"/>
                </a:cubicBezTo>
                <a:cubicBezTo>
                  <a:pt x="23656" y="13343"/>
                  <a:pt x="23656" y="13312"/>
                  <a:pt x="23656" y="13312"/>
                </a:cubicBezTo>
                <a:cubicBezTo>
                  <a:pt x="23562" y="13312"/>
                  <a:pt x="23500" y="13343"/>
                  <a:pt x="23437" y="13437"/>
                </a:cubicBezTo>
                <a:cubicBezTo>
                  <a:pt x="23531" y="13406"/>
                  <a:pt x="23656" y="13375"/>
                  <a:pt x="23750" y="13312"/>
                </a:cubicBezTo>
                <a:cubicBezTo>
                  <a:pt x="23781" y="13312"/>
                  <a:pt x="23812" y="13312"/>
                  <a:pt x="23844" y="13312"/>
                </a:cubicBezTo>
                <a:cubicBezTo>
                  <a:pt x="24000" y="13250"/>
                  <a:pt x="24187" y="13218"/>
                  <a:pt x="24344" y="13156"/>
                </a:cubicBezTo>
                <a:cubicBezTo>
                  <a:pt x="24437" y="13125"/>
                  <a:pt x="24531" y="13125"/>
                  <a:pt x="24594" y="13062"/>
                </a:cubicBezTo>
                <a:cubicBezTo>
                  <a:pt x="24656" y="13031"/>
                  <a:pt x="24750" y="13062"/>
                  <a:pt x="24781" y="12968"/>
                </a:cubicBezTo>
                <a:cubicBezTo>
                  <a:pt x="24844" y="12968"/>
                  <a:pt x="24906" y="12968"/>
                  <a:pt x="24969" y="12937"/>
                </a:cubicBezTo>
                <a:cubicBezTo>
                  <a:pt x="25094" y="12906"/>
                  <a:pt x="25094" y="12906"/>
                  <a:pt x="25031" y="12812"/>
                </a:cubicBezTo>
                <a:cubicBezTo>
                  <a:pt x="25000" y="12812"/>
                  <a:pt x="25000" y="12781"/>
                  <a:pt x="25000" y="12781"/>
                </a:cubicBezTo>
                <a:cubicBezTo>
                  <a:pt x="25062" y="12750"/>
                  <a:pt x="25125" y="12750"/>
                  <a:pt x="25187" y="12687"/>
                </a:cubicBezTo>
                <a:cubicBezTo>
                  <a:pt x="25219" y="12687"/>
                  <a:pt x="25281" y="12718"/>
                  <a:pt x="25312" y="12656"/>
                </a:cubicBezTo>
                <a:cubicBezTo>
                  <a:pt x="25375" y="12687"/>
                  <a:pt x="25437" y="12625"/>
                  <a:pt x="25531" y="12593"/>
                </a:cubicBezTo>
                <a:cubicBezTo>
                  <a:pt x="25844" y="12500"/>
                  <a:pt x="26156" y="12406"/>
                  <a:pt x="26437" y="12312"/>
                </a:cubicBezTo>
                <a:cubicBezTo>
                  <a:pt x="26844" y="12156"/>
                  <a:pt x="27219" y="12031"/>
                  <a:pt x="27625" y="11906"/>
                </a:cubicBezTo>
                <a:cubicBezTo>
                  <a:pt x="27937" y="11781"/>
                  <a:pt x="28219" y="11656"/>
                  <a:pt x="28531" y="11562"/>
                </a:cubicBezTo>
                <a:cubicBezTo>
                  <a:pt x="28844" y="11468"/>
                  <a:pt x="29156" y="11343"/>
                  <a:pt x="29469" y="11250"/>
                </a:cubicBezTo>
                <a:cubicBezTo>
                  <a:pt x="29781" y="11125"/>
                  <a:pt x="30062" y="11031"/>
                  <a:pt x="30375" y="10937"/>
                </a:cubicBezTo>
                <a:cubicBezTo>
                  <a:pt x="30750" y="10812"/>
                  <a:pt x="31125" y="10656"/>
                  <a:pt x="31531" y="10531"/>
                </a:cubicBezTo>
                <a:cubicBezTo>
                  <a:pt x="31750" y="10437"/>
                  <a:pt x="32000" y="10343"/>
                  <a:pt x="32250" y="10281"/>
                </a:cubicBezTo>
                <a:cubicBezTo>
                  <a:pt x="32437" y="10218"/>
                  <a:pt x="32594" y="10125"/>
                  <a:pt x="32781" y="10093"/>
                </a:cubicBezTo>
                <a:cubicBezTo>
                  <a:pt x="32781" y="10093"/>
                  <a:pt x="32781" y="10093"/>
                  <a:pt x="32781" y="10062"/>
                </a:cubicBezTo>
                <a:cubicBezTo>
                  <a:pt x="32781" y="10031"/>
                  <a:pt x="32781" y="10000"/>
                  <a:pt x="32781" y="9968"/>
                </a:cubicBezTo>
                <a:cubicBezTo>
                  <a:pt x="32719" y="9968"/>
                  <a:pt x="32687" y="10000"/>
                  <a:pt x="32656" y="10031"/>
                </a:cubicBezTo>
                <a:cubicBezTo>
                  <a:pt x="32469" y="10062"/>
                  <a:pt x="32312" y="10125"/>
                  <a:pt x="32125" y="10187"/>
                </a:cubicBezTo>
                <a:cubicBezTo>
                  <a:pt x="31812" y="10312"/>
                  <a:pt x="31531" y="10406"/>
                  <a:pt x="31219" y="10531"/>
                </a:cubicBezTo>
                <a:cubicBezTo>
                  <a:pt x="31000" y="10593"/>
                  <a:pt x="30812" y="10625"/>
                  <a:pt x="30594" y="10718"/>
                </a:cubicBezTo>
                <a:cubicBezTo>
                  <a:pt x="30281" y="10843"/>
                  <a:pt x="29937" y="10968"/>
                  <a:pt x="29594" y="11093"/>
                </a:cubicBezTo>
                <a:cubicBezTo>
                  <a:pt x="29344" y="11187"/>
                  <a:pt x="29094" y="11250"/>
                  <a:pt x="28844" y="11343"/>
                </a:cubicBezTo>
                <a:cubicBezTo>
                  <a:pt x="28469" y="11500"/>
                  <a:pt x="28094" y="11593"/>
                  <a:pt x="27719" y="11718"/>
                </a:cubicBezTo>
                <a:cubicBezTo>
                  <a:pt x="27344" y="11875"/>
                  <a:pt x="26937" y="12000"/>
                  <a:pt x="26531" y="12125"/>
                </a:cubicBezTo>
                <a:cubicBezTo>
                  <a:pt x="26125" y="12250"/>
                  <a:pt x="25719" y="12406"/>
                  <a:pt x="25312" y="12531"/>
                </a:cubicBezTo>
                <a:cubicBezTo>
                  <a:pt x="25250" y="12531"/>
                  <a:pt x="25219" y="12562"/>
                  <a:pt x="25187" y="12593"/>
                </a:cubicBezTo>
                <a:cubicBezTo>
                  <a:pt x="25094" y="12593"/>
                  <a:pt x="25000" y="12625"/>
                  <a:pt x="24937" y="12687"/>
                </a:cubicBezTo>
                <a:cubicBezTo>
                  <a:pt x="24875" y="12687"/>
                  <a:pt x="24844" y="12687"/>
                  <a:pt x="24781" y="12718"/>
                </a:cubicBezTo>
                <a:cubicBezTo>
                  <a:pt x="24594" y="12781"/>
                  <a:pt x="24375" y="12843"/>
                  <a:pt x="24187" y="12906"/>
                </a:cubicBezTo>
                <a:cubicBezTo>
                  <a:pt x="24156" y="12906"/>
                  <a:pt x="24156" y="12906"/>
                  <a:pt x="24125" y="12906"/>
                </a:cubicBezTo>
                <a:cubicBezTo>
                  <a:pt x="23844" y="13000"/>
                  <a:pt x="23562" y="13093"/>
                  <a:pt x="23281" y="13187"/>
                </a:cubicBezTo>
                <a:cubicBezTo>
                  <a:pt x="23094" y="13250"/>
                  <a:pt x="22937" y="13281"/>
                  <a:pt x="22781" y="13343"/>
                </a:cubicBezTo>
                <a:cubicBezTo>
                  <a:pt x="22500" y="13406"/>
                  <a:pt x="22250" y="13500"/>
                  <a:pt x="21969" y="13562"/>
                </a:cubicBezTo>
                <a:cubicBezTo>
                  <a:pt x="21937" y="13562"/>
                  <a:pt x="21937" y="13562"/>
                  <a:pt x="21906" y="13562"/>
                </a:cubicBezTo>
                <a:cubicBezTo>
                  <a:pt x="21906" y="13562"/>
                  <a:pt x="21906" y="13562"/>
                  <a:pt x="21906" y="13562"/>
                </a:cubicBezTo>
                <a:cubicBezTo>
                  <a:pt x="21906" y="13562"/>
                  <a:pt x="21875" y="13531"/>
                  <a:pt x="21875" y="13531"/>
                </a:cubicBezTo>
                <a:cubicBezTo>
                  <a:pt x="21875" y="13531"/>
                  <a:pt x="21906" y="13562"/>
                  <a:pt x="21906" y="13562"/>
                </a:cubicBezTo>
                <a:cubicBezTo>
                  <a:pt x="21969" y="13500"/>
                  <a:pt x="22031" y="13500"/>
                  <a:pt x="22062" y="13468"/>
                </a:cubicBezTo>
                <a:cubicBezTo>
                  <a:pt x="22062" y="13468"/>
                  <a:pt x="22062" y="13468"/>
                  <a:pt x="22062" y="13468"/>
                </a:cubicBezTo>
                <a:cubicBezTo>
                  <a:pt x="22062" y="13468"/>
                  <a:pt x="22062" y="13468"/>
                  <a:pt x="22062" y="13468"/>
                </a:cubicBezTo>
                <a:cubicBezTo>
                  <a:pt x="22062" y="13468"/>
                  <a:pt x="22062" y="13468"/>
                  <a:pt x="22062" y="13468"/>
                </a:cubicBezTo>
                <a:cubicBezTo>
                  <a:pt x="22125" y="13468"/>
                  <a:pt x="22219" y="13437"/>
                  <a:pt x="22281" y="13406"/>
                </a:cubicBezTo>
                <a:cubicBezTo>
                  <a:pt x="22281" y="13406"/>
                  <a:pt x="22281" y="13406"/>
                  <a:pt x="22281" y="13406"/>
                </a:cubicBezTo>
                <a:cubicBezTo>
                  <a:pt x="22281" y="13406"/>
                  <a:pt x="22281" y="13406"/>
                  <a:pt x="22281" y="13406"/>
                </a:cubicBezTo>
                <a:cubicBezTo>
                  <a:pt x="22281" y="13406"/>
                  <a:pt x="22281" y="13406"/>
                  <a:pt x="22281" y="13406"/>
                </a:cubicBezTo>
                <a:cubicBezTo>
                  <a:pt x="22375" y="13437"/>
                  <a:pt x="22469" y="13343"/>
                  <a:pt x="22562" y="13312"/>
                </a:cubicBezTo>
                <a:cubicBezTo>
                  <a:pt x="22719" y="13281"/>
                  <a:pt x="22875" y="13250"/>
                  <a:pt x="23000" y="13187"/>
                </a:cubicBezTo>
                <a:cubicBezTo>
                  <a:pt x="23000" y="13187"/>
                  <a:pt x="23000" y="13187"/>
                  <a:pt x="23000" y="13187"/>
                </a:cubicBezTo>
                <a:cubicBezTo>
                  <a:pt x="23000" y="13187"/>
                  <a:pt x="23000" y="13187"/>
                  <a:pt x="23000" y="13187"/>
                </a:cubicBezTo>
                <a:cubicBezTo>
                  <a:pt x="23000" y="13187"/>
                  <a:pt x="23000" y="13187"/>
                  <a:pt x="23000" y="13187"/>
                </a:cubicBezTo>
                <a:cubicBezTo>
                  <a:pt x="23062" y="13187"/>
                  <a:pt x="23125" y="13156"/>
                  <a:pt x="23187" y="13093"/>
                </a:cubicBezTo>
                <a:cubicBezTo>
                  <a:pt x="23187" y="13093"/>
                  <a:pt x="23187" y="13093"/>
                  <a:pt x="23187" y="13093"/>
                </a:cubicBezTo>
                <a:cubicBezTo>
                  <a:pt x="23187" y="13093"/>
                  <a:pt x="23187" y="13093"/>
                  <a:pt x="23187" y="13093"/>
                </a:cubicBezTo>
                <a:cubicBezTo>
                  <a:pt x="23187" y="13093"/>
                  <a:pt x="23187" y="13093"/>
                  <a:pt x="23187" y="13093"/>
                </a:cubicBezTo>
                <a:cubicBezTo>
                  <a:pt x="23344" y="13093"/>
                  <a:pt x="23437" y="13031"/>
                  <a:pt x="23562" y="13000"/>
                </a:cubicBezTo>
                <a:cubicBezTo>
                  <a:pt x="23594" y="13000"/>
                  <a:pt x="23656" y="13000"/>
                  <a:pt x="23687" y="12937"/>
                </a:cubicBezTo>
                <a:cubicBezTo>
                  <a:pt x="23719" y="12937"/>
                  <a:pt x="23750" y="12937"/>
                  <a:pt x="23750" y="12906"/>
                </a:cubicBezTo>
                <a:cubicBezTo>
                  <a:pt x="23844" y="12906"/>
                  <a:pt x="23937" y="12937"/>
                  <a:pt x="24000" y="12843"/>
                </a:cubicBezTo>
                <a:cubicBezTo>
                  <a:pt x="24000" y="12843"/>
                  <a:pt x="24000" y="12843"/>
                  <a:pt x="24000" y="12843"/>
                </a:cubicBezTo>
                <a:cubicBezTo>
                  <a:pt x="24000" y="12843"/>
                  <a:pt x="24000" y="12843"/>
                  <a:pt x="24000" y="12843"/>
                </a:cubicBezTo>
                <a:cubicBezTo>
                  <a:pt x="24000" y="12843"/>
                  <a:pt x="24000" y="12843"/>
                  <a:pt x="24000" y="12843"/>
                </a:cubicBezTo>
                <a:cubicBezTo>
                  <a:pt x="24031" y="12843"/>
                  <a:pt x="24062" y="12843"/>
                  <a:pt x="24125" y="12812"/>
                </a:cubicBezTo>
                <a:cubicBezTo>
                  <a:pt x="24125" y="12812"/>
                  <a:pt x="24125" y="12812"/>
                  <a:pt x="24125" y="12812"/>
                </a:cubicBezTo>
                <a:cubicBezTo>
                  <a:pt x="24125" y="12812"/>
                  <a:pt x="24125" y="12812"/>
                  <a:pt x="24125" y="12812"/>
                </a:cubicBezTo>
                <a:cubicBezTo>
                  <a:pt x="24125" y="12812"/>
                  <a:pt x="24125" y="12812"/>
                  <a:pt x="24125" y="12812"/>
                </a:cubicBezTo>
                <a:cubicBezTo>
                  <a:pt x="24187" y="12843"/>
                  <a:pt x="24250" y="12781"/>
                  <a:pt x="24312" y="12750"/>
                </a:cubicBezTo>
                <a:cubicBezTo>
                  <a:pt x="24312" y="12750"/>
                  <a:pt x="24312" y="12750"/>
                  <a:pt x="24312" y="12750"/>
                </a:cubicBezTo>
                <a:cubicBezTo>
                  <a:pt x="24312" y="12750"/>
                  <a:pt x="24312" y="12750"/>
                  <a:pt x="24312" y="12750"/>
                </a:cubicBezTo>
                <a:cubicBezTo>
                  <a:pt x="24312" y="12750"/>
                  <a:pt x="24312" y="12750"/>
                  <a:pt x="24312" y="12750"/>
                </a:cubicBezTo>
                <a:cubicBezTo>
                  <a:pt x="24406" y="12750"/>
                  <a:pt x="24469" y="12687"/>
                  <a:pt x="24531" y="12656"/>
                </a:cubicBezTo>
                <a:cubicBezTo>
                  <a:pt x="24531" y="12656"/>
                  <a:pt x="24531" y="12656"/>
                  <a:pt x="24531" y="12656"/>
                </a:cubicBezTo>
                <a:cubicBezTo>
                  <a:pt x="24531" y="12656"/>
                  <a:pt x="24531" y="12656"/>
                  <a:pt x="24531" y="12656"/>
                </a:cubicBezTo>
                <a:cubicBezTo>
                  <a:pt x="24531" y="12656"/>
                  <a:pt x="24531" y="12656"/>
                  <a:pt x="24531" y="12656"/>
                </a:cubicBezTo>
                <a:cubicBezTo>
                  <a:pt x="24562" y="12656"/>
                  <a:pt x="24625" y="12687"/>
                  <a:pt x="24625" y="12625"/>
                </a:cubicBezTo>
                <a:cubicBezTo>
                  <a:pt x="24625" y="12625"/>
                  <a:pt x="24625" y="12625"/>
                  <a:pt x="24625" y="12625"/>
                </a:cubicBezTo>
                <a:cubicBezTo>
                  <a:pt x="24625" y="12625"/>
                  <a:pt x="24625" y="12625"/>
                  <a:pt x="24625" y="12625"/>
                </a:cubicBezTo>
                <a:cubicBezTo>
                  <a:pt x="24625" y="12625"/>
                  <a:pt x="24625" y="12625"/>
                  <a:pt x="24625" y="12625"/>
                </a:cubicBezTo>
                <a:cubicBezTo>
                  <a:pt x="24687" y="12625"/>
                  <a:pt x="24719" y="12625"/>
                  <a:pt x="24750" y="12593"/>
                </a:cubicBezTo>
                <a:cubicBezTo>
                  <a:pt x="25375" y="12375"/>
                  <a:pt x="26000" y="12187"/>
                  <a:pt x="26656" y="11968"/>
                </a:cubicBezTo>
                <a:cubicBezTo>
                  <a:pt x="26906" y="11875"/>
                  <a:pt x="27125" y="11812"/>
                  <a:pt x="27375" y="11718"/>
                </a:cubicBezTo>
                <a:cubicBezTo>
                  <a:pt x="27594" y="11625"/>
                  <a:pt x="27812" y="11531"/>
                  <a:pt x="28031" y="11500"/>
                </a:cubicBezTo>
                <a:cubicBezTo>
                  <a:pt x="28219" y="11437"/>
                  <a:pt x="28406" y="11343"/>
                  <a:pt x="28594" y="11281"/>
                </a:cubicBezTo>
                <a:cubicBezTo>
                  <a:pt x="28687" y="11281"/>
                  <a:pt x="28781" y="11281"/>
                  <a:pt x="28812" y="11187"/>
                </a:cubicBezTo>
                <a:cubicBezTo>
                  <a:pt x="28812" y="11187"/>
                  <a:pt x="28812" y="11187"/>
                  <a:pt x="28812" y="11187"/>
                </a:cubicBezTo>
                <a:cubicBezTo>
                  <a:pt x="28844" y="11187"/>
                  <a:pt x="28844" y="11187"/>
                  <a:pt x="28875" y="11187"/>
                </a:cubicBezTo>
                <a:cubicBezTo>
                  <a:pt x="28906" y="11187"/>
                  <a:pt x="28906" y="11187"/>
                  <a:pt x="28937" y="11156"/>
                </a:cubicBezTo>
                <a:cubicBezTo>
                  <a:pt x="29250" y="11062"/>
                  <a:pt x="29594" y="10937"/>
                  <a:pt x="29906" y="10812"/>
                </a:cubicBezTo>
                <a:cubicBezTo>
                  <a:pt x="30125" y="10750"/>
                  <a:pt x="30344" y="10687"/>
                  <a:pt x="30562" y="10593"/>
                </a:cubicBezTo>
                <a:cubicBezTo>
                  <a:pt x="30656" y="10562"/>
                  <a:pt x="30781" y="10562"/>
                  <a:pt x="30844" y="10468"/>
                </a:cubicBezTo>
                <a:cubicBezTo>
                  <a:pt x="31031" y="10437"/>
                  <a:pt x="31250" y="10375"/>
                  <a:pt x="31406" y="10281"/>
                </a:cubicBezTo>
                <a:cubicBezTo>
                  <a:pt x="31594" y="10250"/>
                  <a:pt x="31781" y="10187"/>
                  <a:pt x="31937" y="10125"/>
                </a:cubicBezTo>
                <a:cubicBezTo>
                  <a:pt x="32156" y="10031"/>
                  <a:pt x="32344" y="9968"/>
                  <a:pt x="32562" y="9906"/>
                </a:cubicBezTo>
                <a:cubicBezTo>
                  <a:pt x="32625" y="9875"/>
                  <a:pt x="32687" y="9843"/>
                  <a:pt x="32781" y="9812"/>
                </a:cubicBezTo>
                <a:cubicBezTo>
                  <a:pt x="32781" y="9812"/>
                  <a:pt x="32781" y="9812"/>
                  <a:pt x="32781" y="9812"/>
                </a:cubicBezTo>
                <a:cubicBezTo>
                  <a:pt x="32781" y="9781"/>
                  <a:pt x="32781" y="9781"/>
                  <a:pt x="32781" y="9750"/>
                </a:cubicBezTo>
                <a:cubicBezTo>
                  <a:pt x="32594" y="9812"/>
                  <a:pt x="32406" y="9875"/>
                  <a:pt x="32250" y="9937"/>
                </a:cubicBezTo>
                <a:cubicBezTo>
                  <a:pt x="31937" y="10031"/>
                  <a:pt x="31656" y="10125"/>
                  <a:pt x="31344" y="10250"/>
                </a:cubicBezTo>
                <a:lnTo>
                  <a:pt x="31344" y="10250"/>
                </a:lnTo>
                <a:cubicBezTo>
                  <a:pt x="31187" y="10312"/>
                  <a:pt x="31062" y="10343"/>
                  <a:pt x="30906" y="10406"/>
                </a:cubicBezTo>
                <a:cubicBezTo>
                  <a:pt x="30844" y="10406"/>
                  <a:pt x="30844" y="10437"/>
                  <a:pt x="30844" y="10468"/>
                </a:cubicBezTo>
                <a:cubicBezTo>
                  <a:pt x="30812" y="10468"/>
                  <a:pt x="30781" y="10437"/>
                  <a:pt x="30750" y="10437"/>
                </a:cubicBezTo>
                <a:cubicBezTo>
                  <a:pt x="30781" y="10468"/>
                  <a:pt x="30781" y="10468"/>
                  <a:pt x="30781" y="10468"/>
                </a:cubicBezTo>
                <a:cubicBezTo>
                  <a:pt x="30781" y="10468"/>
                  <a:pt x="30781" y="10468"/>
                  <a:pt x="30781" y="10468"/>
                </a:cubicBezTo>
                <a:cubicBezTo>
                  <a:pt x="30781" y="10468"/>
                  <a:pt x="30781" y="10468"/>
                  <a:pt x="30750" y="10437"/>
                </a:cubicBezTo>
                <a:cubicBezTo>
                  <a:pt x="30687" y="10437"/>
                  <a:pt x="30625" y="10500"/>
                  <a:pt x="30562" y="10531"/>
                </a:cubicBezTo>
                <a:cubicBezTo>
                  <a:pt x="30125" y="10656"/>
                  <a:pt x="29719" y="10812"/>
                  <a:pt x="29281" y="10968"/>
                </a:cubicBezTo>
                <a:cubicBezTo>
                  <a:pt x="29156" y="11000"/>
                  <a:pt x="29031" y="11031"/>
                  <a:pt x="28906" y="11125"/>
                </a:cubicBezTo>
                <a:cubicBezTo>
                  <a:pt x="28844" y="11093"/>
                  <a:pt x="28781" y="11156"/>
                  <a:pt x="28750" y="11156"/>
                </a:cubicBezTo>
                <a:cubicBezTo>
                  <a:pt x="28469" y="11218"/>
                  <a:pt x="28219" y="11312"/>
                  <a:pt x="27969" y="11406"/>
                </a:cubicBezTo>
                <a:cubicBezTo>
                  <a:pt x="27625" y="11531"/>
                  <a:pt x="27281" y="11656"/>
                  <a:pt x="26937" y="11750"/>
                </a:cubicBezTo>
                <a:cubicBezTo>
                  <a:pt x="26906" y="11781"/>
                  <a:pt x="26875" y="11781"/>
                  <a:pt x="26875" y="11812"/>
                </a:cubicBezTo>
                <a:cubicBezTo>
                  <a:pt x="26875" y="11812"/>
                  <a:pt x="26844" y="11812"/>
                  <a:pt x="26844" y="11812"/>
                </a:cubicBezTo>
                <a:cubicBezTo>
                  <a:pt x="26812" y="11812"/>
                  <a:pt x="26750" y="11812"/>
                  <a:pt x="26719" y="11843"/>
                </a:cubicBezTo>
                <a:cubicBezTo>
                  <a:pt x="26719" y="11843"/>
                  <a:pt x="26719" y="11843"/>
                  <a:pt x="26719" y="11843"/>
                </a:cubicBezTo>
                <a:cubicBezTo>
                  <a:pt x="26687" y="11843"/>
                  <a:pt x="26656" y="11843"/>
                  <a:pt x="26625" y="11875"/>
                </a:cubicBezTo>
                <a:cubicBezTo>
                  <a:pt x="26625" y="11875"/>
                  <a:pt x="26625" y="11875"/>
                  <a:pt x="26625" y="11875"/>
                </a:cubicBezTo>
                <a:cubicBezTo>
                  <a:pt x="26500" y="11875"/>
                  <a:pt x="26375" y="11937"/>
                  <a:pt x="26250" y="12000"/>
                </a:cubicBezTo>
                <a:cubicBezTo>
                  <a:pt x="26187" y="12031"/>
                  <a:pt x="26062" y="12000"/>
                  <a:pt x="26000" y="12093"/>
                </a:cubicBezTo>
                <a:cubicBezTo>
                  <a:pt x="26000" y="12093"/>
                  <a:pt x="26000" y="12093"/>
                  <a:pt x="26000" y="12093"/>
                </a:cubicBezTo>
                <a:cubicBezTo>
                  <a:pt x="25937" y="12093"/>
                  <a:pt x="25844" y="12093"/>
                  <a:pt x="25781" y="12156"/>
                </a:cubicBezTo>
                <a:cubicBezTo>
                  <a:pt x="25781" y="12156"/>
                  <a:pt x="25781" y="12156"/>
                  <a:pt x="25781" y="12156"/>
                </a:cubicBezTo>
                <a:cubicBezTo>
                  <a:pt x="25719" y="12156"/>
                  <a:pt x="25625" y="12156"/>
                  <a:pt x="25562" y="12250"/>
                </a:cubicBezTo>
                <a:cubicBezTo>
                  <a:pt x="25562" y="12250"/>
                  <a:pt x="25562" y="12250"/>
                  <a:pt x="25562" y="12250"/>
                </a:cubicBezTo>
                <a:cubicBezTo>
                  <a:pt x="25406" y="12250"/>
                  <a:pt x="25281" y="12312"/>
                  <a:pt x="25156" y="12343"/>
                </a:cubicBezTo>
                <a:cubicBezTo>
                  <a:pt x="25094" y="12375"/>
                  <a:pt x="24969" y="12375"/>
                  <a:pt x="24937" y="12468"/>
                </a:cubicBezTo>
                <a:cubicBezTo>
                  <a:pt x="24937" y="12468"/>
                  <a:pt x="24937" y="12468"/>
                  <a:pt x="24937" y="12468"/>
                </a:cubicBezTo>
                <a:cubicBezTo>
                  <a:pt x="24875" y="12437"/>
                  <a:pt x="24844" y="12437"/>
                  <a:pt x="24812" y="12468"/>
                </a:cubicBezTo>
                <a:cubicBezTo>
                  <a:pt x="24812" y="12468"/>
                  <a:pt x="24812" y="12468"/>
                  <a:pt x="24812" y="12468"/>
                </a:cubicBezTo>
                <a:cubicBezTo>
                  <a:pt x="24656" y="12500"/>
                  <a:pt x="24500" y="12562"/>
                  <a:pt x="24344" y="12625"/>
                </a:cubicBezTo>
                <a:cubicBezTo>
                  <a:pt x="24344" y="12625"/>
                  <a:pt x="24344" y="12625"/>
                  <a:pt x="24344" y="12625"/>
                </a:cubicBezTo>
                <a:cubicBezTo>
                  <a:pt x="24250" y="12656"/>
                  <a:pt x="24125" y="12656"/>
                  <a:pt x="24031" y="12750"/>
                </a:cubicBezTo>
                <a:cubicBezTo>
                  <a:pt x="24031" y="12750"/>
                  <a:pt x="24031" y="12750"/>
                  <a:pt x="24031" y="12750"/>
                </a:cubicBezTo>
                <a:cubicBezTo>
                  <a:pt x="23875" y="12750"/>
                  <a:pt x="23719" y="12812"/>
                  <a:pt x="23562" y="12875"/>
                </a:cubicBezTo>
                <a:cubicBezTo>
                  <a:pt x="23562" y="12875"/>
                  <a:pt x="23562" y="12875"/>
                  <a:pt x="23562" y="12875"/>
                </a:cubicBezTo>
                <a:cubicBezTo>
                  <a:pt x="23469" y="12875"/>
                  <a:pt x="23406" y="12906"/>
                  <a:pt x="23344" y="12968"/>
                </a:cubicBezTo>
                <a:cubicBezTo>
                  <a:pt x="23344" y="12968"/>
                  <a:pt x="23344" y="12968"/>
                  <a:pt x="23344" y="12968"/>
                </a:cubicBezTo>
                <a:cubicBezTo>
                  <a:pt x="23312" y="12937"/>
                  <a:pt x="23250" y="12968"/>
                  <a:pt x="23219" y="12968"/>
                </a:cubicBezTo>
                <a:cubicBezTo>
                  <a:pt x="22875" y="13062"/>
                  <a:pt x="22500" y="13187"/>
                  <a:pt x="22125" y="13312"/>
                </a:cubicBezTo>
                <a:cubicBezTo>
                  <a:pt x="22031" y="13343"/>
                  <a:pt x="21906" y="13343"/>
                  <a:pt x="21781" y="13406"/>
                </a:cubicBezTo>
                <a:cubicBezTo>
                  <a:pt x="21781" y="13343"/>
                  <a:pt x="21844" y="13343"/>
                  <a:pt x="21844" y="13312"/>
                </a:cubicBezTo>
                <a:cubicBezTo>
                  <a:pt x="21844" y="13312"/>
                  <a:pt x="21844" y="13312"/>
                  <a:pt x="21844" y="13312"/>
                </a:cubicBezTo>
                <a:cubicBezTo>
                  <a:pt x="21937" y="13343"/>
                  <a:pt x="22031" y="13281"/>
                  <a:pt x="22094" y="13250"/>
                </a:cubicBezTo>
                <a:cubicBezTo>
                  <a:pt x="22094" y="13250"/>
                  <a:pt x="22094" y="13250"/>
                  <a:pt x="22094" y="13250"/>
                </a:cubicBezTo>
                <a:cubicBezTo>
                  <a:pt x="22187" y="13250"/>
                  <a:pt x="22281" y="13218"/>
                  <a:pt x="22344" y="13187"/>
                </a:cubicBezTo>
                <a:cubicBezTo>
                  <a:pt x="22344" y="13187"/>
                  <a:pt x="22344" y="13187"/>
                  <a:pt x="22344" y="13187"/>
                </a:cubicBezTo>
                <a:cubicBezTo>
                  <a:pt x="22437" y="13187"/>
                  <a:pt x="22500" y="13156"/>
                  <a:pt x="22562" y="13093"/>
                </a:cubicBezTo>
                <a:cubicBezTo>
                  <a:pt x="22562" y="13093"/>
                  <a:pt x="22562" y="13093"/>
                  <a:pt x="22562" y="13093"/>
                </a:cubicBezTo>
                <a:cubicBezTo>
                  <a:pt x="22719" y="13093"/>
                  <a:pt x="22875" y="13031"/>
                  <a:pt x="23031" y="12968"/>
                </a:cubicBezTo>
                <a:cubicBezTo>
                  <a:pt x="23031" y="12968"/>
                  <a:pt x="23031" y="12968"/>
                  <a:pt x="23031" y="12968"/>
                </a:cubicBezTo>
                <a:cubicBezTo>
                  <a:pt x="23125" y="12968"/>
                  <a:pt x="23187" y="12937"/>
                  <a:pt x="23250" y="12875"/>
                </a:cubicBezTo>
                <a:cubicBezTo>
                  <a:pt x="23250" y="12875"/>
                  <a:pt x="23250" y="12875"/>
                  <a:pt x="23250" y="12875"/>
                </a:cubicBezTo>
                <a:cubicBezTo>
                  <a:pt x="23281" y="12875"/>
                  <a:pt x="23312" y="12875"/>
                  <a:pt x="23344" y="12875"/>
                </a:cubicBezTo>
                <a:cubicBezTo>
                  <a:pt x="23812" y="12718"/>
                  <a:pt x="24281" y="12562"/>
                  <a:pt x="24750" y="12406"/>
                </a:cubicBezTo>
                <a:cubicBezTo>
                  <a:pt x="25094" y="12281"/>
                  <a:pt x="25437" y="12156"/>
                  <a:pt x="25781" y="12062"/>
                </a:cubicBezTo>
                <a:cubicBezTo>
                  <a:pt x="26281" y="11906"/>
                  <a:pt x="26781" y="11718"/>
                  <a:pt x="27250" y="11531"/>
                </a:cubicBezTo>
                <a:cubicBezTo>
                  <a:pt x="27594" y="11437"/>
                  <a:pt x="27937" y="11312"/>
                  <a:pt x="28281" y="11187"/>
                </a:cubicBezTo>
                <a:cubicBezTo>
                  <a:pt x="28750" y="11031"/>
                  <a:pt x="29219" y="10875"/>
                  <a:pt x="29719" y="10687"/>
                </a:cubicBezTo>
                <a:cubicBezTo>
                  <a:pt x="30250" y="10500"/>
                  <a:pt x="30781" y="10312"/>
                  <a:pt x="31312" y="10125"/>
                </a:cubicBezTo>
                <a:cubicBezTo>
                  <a:pt x="31812" y="9937"/>
                  <a:pt x="32281" y="9781"/>
                  <a:pt x="32781" y="9593"/>
                </a:cubicBezTo>
                <a:cubicBezTo>
                  <a:pt x="32781" y="9593"/>
                  <a:pt x="32781" y="9593"/>
                  <a:pt x="32781" y="9562"/>
                </a:cubicBezTo>
                <a:cubicBezTo>
                  <a:pt x="32781" y="9562"/>
                  <a:pt x="32781" y="9531"/>
                  <a:pt x="32781" y="9531"/>
                </a:cubicBezTo>
                <a:cubicBezTo>
                  <a:pt x="32656" y="9562"/>
                  <a:pt x="32531" y="9625"/>
                  <a:pt x="32406" y="9656"/>
                </a:cubicBezTo>
                <a:cubicBezTo>
                  <a:pt x="32094" y="9750"/>
                  <a:pt x="31781" y="9875"/>
                  <a:pt x="31469" y="9968"/>
                </a:cubicBezTo>
                <a:cubicBezTo>
                  <a:pt x="31156" y="10093"/>
                  <a:pt x="30812" y="10218"/>
                  <a:pt x="30469" y="10312"/>
                </a:cubicBezTo>
                <a:cubicBezTo>
                  <a:pt x="30250" y="10406"/>
                  <a:pt x="30031" y="10468"/>
                  <a:pt x="29844" y="10562"/>
                </a:cubicBezTo>
                <a:cubicBezTo>
                  <a:pt x="29531" y="10656"/>
                  <a:pt x="29219" y="10781"/>
                  <a:pt x="28906" y="10875"/>
                </a:cubicBezTo>
                <a:cubicBezTo>
                  <a:pt x="28656" y="10968"/>
                  <a:pt x="28406" y="11031"/>
                  <a:pt x="28187" y="11125"/>
                </a:cubicBezTo>
                <a:cubicBezTo>
                  <a:pt x="27906" y="11218"/>
                  <a:pt x="27625" y="11343"/>
                  <a:pt x="27312" y="11437"/>
                </a:cubicBezTo>
                <a:cubicBezTo>
                  <a:pt x="26906" y="11562"/>
                  <a:pt x="26531" y="11718"/>
                  <a:pt x="26125" y="11843"/>
                </a:cubicBezTo>
                <a:cubicBezTo>
                  <a:pt x="25812" y="11937"/>
                  <a:pt x="25500" y="12062"/>
                  <a:pt x="25156" y="12156"/>
                </a:cubicBezTo>
                <a:cubicBezTo>
                  <a:pt x="24781" y="12312"/>
                  <a:pt x="24375" y="12406"/>
                  <a:pt x="23969" y="12562"/>
                </a:cubicBezTo>
                <a:cubicBezTo>
                  <a:pt x="23875" y="12593"/>
                  <a:pt x="23750" y="12593"/>
                  <a:pt x="23656" y="12656"/>
                </a:cubicBezTo>
                <a:cubicBezTo>
                  <a:pt x="23625" y="12687"/>
                  <a:pt x="23594" y="12656"/>
                  <a:pt x="23562" y="12687"/>
                </a:cubicBezTo>
                <a:cubicBezTo>
                  <a:pt x="23437" y="12718"/>
                  <a:pt x="23312" y="12750"/>
                  <a:pt x="23187" y="12812"/>
                </a:cubicBezTo>
                <a:cubicBezTo>
                  <a:pt x="23187" y="12812"/>
                  <a:pt x="23187" y="12812"/>
                  <a:pt x="23187" y="12812"/>
                </a:cubicBezTo>
                <a:cubicBezTo>
                  <a:pt x="23187" y="12812"/>
                  <a:pt x="23187" y="12812"/>
                  <a:pt x="23187" y="12812"/>
                </a:cubicBezTo>
                <a:cubicBezTo>
                  <a:pt x="23187" y="12812"/>
                  <a:pt x="23187" y="12812"/>
                  <a:pt x="23187" y="12812"/>
                </a:cubicBezTo>
                <a:cubicBezTo>
                  <a:pt x="23156" y="12812"/>
                  <a:pt x="23125" y="12812"/>
                  <a:pt x="23094" y="12843"/>
                </a:cubicBezTo>
                <a:cubicBezTo>
                  <a:pt x="23094" y="12843"/>
                  <a:pt x="23094" y="12843"/>
                  <a:pt x="23094" y="12843"/>
                </a:cubicBezTo>
                <a:cubicBezTo>
                  <a:pt x="23062" y="12843"/>
                  <a:pt x="23000" y="12843"/>
                  <a:pt x="22969" y="12875"/>
                </a:cubicBezTo>
                <a:cubicBezTo>
                  <a:pt x="22719" y="12968"/>
                  <a:pt x="22469" y="13062"/>
                  <a:pt x="22219" y="13093"/>
                </a:cubicBezTo>
                <a:cubicBezTo>
                  <a:pt x="22156" y="13125"/>
                  <a:pt x="22094" y="13125"/>
                  <a:pt x="22062" y="13156"/>
                </a:cubicBezTo>
                <a:cubicBezTo>
                  <a:pt x="22000" y="13187"/>
                  <a:pt x="21937" y="13156"/>
                  <a:pt x="21906" y="13187"/>
                </a:cubicBezTo>
                <a:cubicBezTo>
                  <a:pt x="21906" y="13187"/>
                  <a:pt x="21906" y="13187"/>
                  <a:pt x="21906" y="13187"/>
                </a:cubicBezTo>
                <a:cubicBezTo>
                  <a:pt x="21844" y="13187"/>
                  <a:pt x="21812" y="13187"/>
                  <a:pt x="21781" y="13250"/>
                </a:cubicBezTo>
                <a:cubicBezTo>
                  <a:pt x="21687" y="13250"/>
                  <a:pt x="21594" y="13250"/>
                  <a:pt x="21500" y="13312"/>
                </a:cubicBezTo>
                <a:cubicBezTo>
                  <a:pt x="21562" y="13312"/>
                  <a:pt x="21594" y="13312"/>
                  <a:pt x="21656" y="13312"/>
                </a:cubicBezTo>
                <a:cubicBezTo>
                  <a:pt x="21656" y="13281"/>
                  <a:pt x="21656" y="13281"/>
                  <a:pt x="21687" y="13281"/>
                </a:cubicBezTo>
                <a:cubicBezTo>
                  <a:pt x="21656" y="13281"/>
                  <a:pt x="21656" y="13281"/>
                  <a:pt x="21656" y="13312"/>
                </a:cubicBezTo>
                <a:cubicBezTo>
                  <a:pt x="21656" y="13312"/>
                  <a:pt x="21656" y="13312"/>
                  <a:pt x="21656" y="13312"/>
                </a:cubicBezTo>
                <a:cubicBezTo>
                  <a:pt x="21656" y="13312"/>
                  <a:pt x="21656" y="13312"/>
                  <a:pt x="21656" y="13312"/>
                </a:cubicBezTo>
                <a:cubicBezTo>
                  <a:pt x="21594" y="13312"/>
                  <a:pt x="21562" y="13312"/>
                  <a:pt x="21500" y="13312"/>
                </a:cubicBezTo>
                <a:cubicBezTo>
                  <a:pt x="21500" y="13343"/>
                  <a:pt x="21500" y="13343"/>
                  <a:pt x="21500" y="13343"/>
                </a:cubicBezTo>
                <a:cubicBezTo>
                  <a:pt x="21469" y="13343"/>
                  <a:pt x="21437" y="13343"/>
                  <a:pt x="21406" y="13343"/>
                </a:cubicBezTo>
                <a:cubicBezTo>
                  <a:pt x="21344" y="13343"/>
                  <a:pt x="21281" y="13312"/>
                  <a:pt x="21250" y="13406"/>
                </a:cubicBezTo>
                <a:cubicBezTo>
                  <a:pt x="21250" y="13406"/>
                  <a:pt x="21250" y="13406"/>
                  <a:pt x="21250" y="13406"/>
                </a:cubicBezTo>
                <a:cubicBezTo>
                  <a:pt x="21219" y="13375"/>
                  <a:pt x="21187" y="13375"/>
                  <a:pt x="21187" y="13406"/>
                </a:cubicBezTo>
                <a:cubicBezTo>
                  <a:pt x="21187" y="13406"/>
                  <a:pt x="21187" y="13406"/>
                  <a:pt x="21187" y="13406"/>
                </a:cubicBezTo>
                <a:cubicBezTo>
                  <a:pt x="21156" y="13375"/>
                  <a:pt x="21187" y="13343"/>
                  <a:pt x="21250" y="13312"/>
                </a:cubicBezTo>
                <a:cubicBezTo>
                  <a:pt x="21281" y="13312"/>
                  <a:pt x="21312" y="13312"/>
                  <a:pt x="21344" y="13312"/>
                </a:cubicBezTo>
                <a:cubicBezTo>
                  <a:pt x="21531" y="13218"/>
                  <a:pt x="21719" y="13156"/>
                  <a:pt x="21906" y="13093"/>
                </a:cubicBezTo>
                <a:cubicBezTo>
                  <a:pt x="22094" y="13000"/>
                  <a:pt x="22344" y="12968"/>
                  <a:pt x="22531" y="12906"/>
                </a:cubicBezTo>
                <a:cubicBezTo>
                  <a:pt x="22875" y="12781"/>
                  <a:pt x="23187" y="12687"/>
                  <a:pt x="23531" y="12593"/>
                </a:cubicBezTo>
                <a:cubicBezTo>
                  <a:pt x="23937" y="12437"/>
                  <a:pt x="24344" y="12312"/>
                  <a:pt x="24750" y="12156"/>
                </a:cubicBezTo>
                <a:cubicBezTo>
                  <a:pt x="24969" y="12093"/>
                  <a:pt x="25187" y="12031"/>
                  <a:pt x="25406" y="11937"/>
                </a:cubicBezTo>
                <a:cubicBezTo>
                  <a:pt x="25781" y="11812"/>
                  <a:pt x="26156" y="11687"/>
                  <a:pt x="26531" y="11562"/>
                </a:cubicBezTo>
                <a:cubicBezTo>
                  <a:pt x="26937" y="11406"/>
                  <a:pt x="27344" y="11281"/>
                  <a:pt x="27750" y="11125"/>
                </a:cubicBezTo>
                <a:cubicBezTo>
                  <a:pt x="28062" y="11000"/>
                  <a:pt x="28406" y="10906"/>
                  <a:pt x="28719" y="10781"/>
                </a:cubicBezTo>
                <a:cubicBezTo>
                  <a:pt x="29219" y="10593"/>
                  <a:pt x="29750" y="10406"/>
                  <a:pt x="30281" y="10218"/>
                </a:cubicBezTo>
                <a:cubicBezTo>
                  <a:pt x="30469" y="10156"/>
                  <a:pt x="30656" y="10125"/>
                  <a:pt x="30812" y="10000"/>
                </a:cubicBezTo>
                <a:cubicBezTo>
                  <a:pt x="30656" y="10000"/>
                  <a:pt x="30531" y="10062"/>
                  <a:pt x="30375" y="10125"/>
                </a:cubicBezTo>
                <a:cubicBezTo>
                  <a:pt x="30000" y="10250"/>
                  <a:pt x="29625" y="10406"/>
                  <a:pt x="29250" y="10500"/>
                </a:cubicBezTo>
                <a:cubicBezTo>
                  <a:pt x="28937" y="10625"/>
                  <a:pt x="28625" y="10750"/>
                  <a:pt x="28312" y="10843"/>
                </a:cubicBezTo>
                <a:cubicBezTo>
                  <a:pt x="28125" y="10906"/>
                  <a:pt x="27937" y="10968"/>
                  <a:pt x="27750" y="11031"/>
                </a:cubicBezTo>
                <a:cubicBezTo>
                  <a:pt x="27531" y="11125"/>
                  <a:pt x="27281" y="11218"/>
                  <a:pt x="27062" y="11281"/>
                </a:cubicBezTo>
                <a:cubicBezTo>
                  <a:pt x="27000" y="11312"/>
                  <a:pt x="26937" y="11343"/>
                  <a:pt x="26937" y="11218"/>
                </a:cubicBezTo>
                <a:cubicBezTo>
                  <a:pt x="26969" y="11218"/>
                  <a:pt x="27031" y="11187"/>
                  <a:pt x="27062" y="11187"/>
                </a:cubicBezTo>
                <a:cubicBezTo>
                  <a:pt x="27125" y="11218"/>
                  <a:pt x="27187" y="11187"/>
                  <a:pt x="27250" y="11156"/>
                </a:cubicBezTo>
                <a:cubicBezTo>
                  <a:pt x="27437" y="11093"/>
                  <a:pt x="27594" y="11031"/>
                  <a:pt x="27750" y="10968"/>
                </a:cubicBezTo>
                <a:cubicBezTo>
                  <a:pt x="28125" y="10843"/>
                  <a:pt x="28469" y="10687"/>
                  <a:pt x="28844" y="10562"/>
                </a:cubicBezTo>
                <a:cubicBezTo>
                  <a:pt x="29094" y="10468"/>
                  <a:pt x="29344" y="10375"/>
                  <a:pt x="29594" y="10281"/>
                </a:cubicBezTo>
                <a:cubicBezTo>
                  <a:pt x="29875" y="10187"/>
                  <a:pt x="30156" y="10093"/>
                  <a:pt x="30406" y="10000"/>
                </a:cubicBezTo>
                <a:cubicBezTo>
                  <a:pt x="30875" y="9843"/>
                  <a:pt x="31312" y="9687"/>
                  <a:pt x="31750" y="9531"/>
                </a:cubicBezTo>
                <a:cubicBezTo>
                  <a:pt x="31906" y="9468"/>
                  <a:pt x="32062" y="9406"/>
                  <a:pt x="32219" y="9343"/>
                </a:cubicBezTo>
                <a:cubicBezTo>
                  <a:pt x="32406" y="9281"/>
                  <a:pt x="32594" y="9187"/>
                  <a:pt x="32781" y="9156"/>
                </a:cubicBezTo>
                <a:cubicBezTo>
                  <a:pt x="32781" y="9156"/>
                  <a:pt x="32781" y="9156"/>
                  <a:pt x="32781" y="9156"/>
                </a:cubicBezTo>
                <a:cubicBezTo>
                  <a:pt x="32781" y="9093"/>
                  <a:pt x="32781" y="9062"/>
                  <a:pt x="32781" y="9031"/>
                </a:cubicBezTo>
                <a:cubicBezTo>
                  <a:pt x="32750" y="9031"/>
                  <a:pt x="32719" y="9031"/>
                  <a:pt x="32687" y="9062"/>
                </a:cubicBezTo>
                <a:cubicBezTo>
                  <a:pt x="32500" y="9187"/>
                  <a:pt x="32250" y="9218"/>
                  <a:pt x="32000" y="9312"/>
                </a:cubicBezTo>
                <a:cubicBezTo>
                  <a:pt x="31750" y="9437"/>
                  <a:pt x="31437" y="9500"/>
                  <a:pt x="31156" y="9625"/>
                </a:cubicBezTo>
                <a:cubicBezTo>
                  <a:pt x="31094" y="9593"/>
                  <a:pt x="31031" y="9656"/>
                  <a:pt x="30969" y="9687"/>
                </a:cubicBezTo>
                <a:cubicBezTo>
                  <a:pt x="30969" y="9687"/>
                  <a:pt x="30969" y="9687"/>
                  <a:pt x="30969" y="9687"/>
                </a:cubicBezTo>
                <a:cubicBezTo>
                  <a:pt x="30937" y="9687"/>
                  <a:pt x="30906" y="9687"/>
                  <a:pt x="30875" y="9718"/>
                </a:cubicBezTo>
                <a:cubicBezTo>
                  <a:pt x="30844" y="9718"/>
                  <a:pt x="30812" y="9718"/>
                  <a:pt x="30812" y="9750"/>
                </a:cubicBezTo>
                <a:cubicBezTo>
                  <a:pt x="30531" y="9843"/>
                  <a:pt x="30281" y="9937"/>
                  <a:pt x="30000" y="10031"/>
                </a:cubicBezTo>
                <a:cubicBezTo>
                  <a:pt x="29844" y="10062"/>
                  <a:pt x="29687" y="10156"/>
                  <a:pt x="29500" y="10218"/>
                </a:cubicBezTo>
                <a:cubicBezTo>
                  <a:pt x="29250" y="10281"/>
                  <a:pt x="29000" y="10375"/>
                  <a:pt x="28750" y="10468"/>
                </a:cubicBezTo>
                <a:cubicBezTo>
                  <a:pt x="28500" y="10562"/>
                  <a:pt x="28250" y="10625"/>
                  <a:pt x="28031" y="10750"/>
                </a:cubicBezTo>
                <a:cubicBezTo>
                  <a:pt x="27875" y="10812"/>
                  <a:pt x="27656" y="10843"/>
                  <a:pt x="27500" y="10937"/>
                </a:cubicBezTo>
                <a:cubicBezTo>
                  <a:pt x="27437" y="11000"/>
                  <a:pt x="27312" y="10937"/>
                  <a:pt x="27250" y="11031"/>
                </a:cubicBezTo>
                <a:cubicBezTo>
                  <a:pt x="27219" y="11031"/>
                  <a:pt x="27219" y="11031"/>
                  <a:pt x="27187" y="11031"/>
                </a:cubicBezTo>
                <a:cubicBezTo>
                  <a:pt x="27094" y="11062"/>
                  <a:pt x="27031" y="11093"/>
                  <a:pt x="26937" y="11125"/>
                </a:cubicBezTo>
                <a:cubicBezTo>
                  <a:pt x="26875" y="11093"/>
                  <a:pt x="26844" y="11187"/>
                  <a:pt x="26812" y="11187"/>
                </a:cubicBezTo>
                <a:cubicBezTo>
                  <a:pt x="26531" y="11218"/>
                  <a:pt x="26281" y="11343"/>
                  <a:pt x="26031" y="11437"/>
                </a:cubicBezTo>
                <a:cubicBezTo>
                  <a:pt x="25906" y="11500"/>
                  <a:pt x="25750" y="11500"/>
                  <a:pt x="25625" y="11562"/>
                </a:cubicBezTo>
                <a:cubicBezTo>
                  <a:pt x="25469" y="11656"/>
                  <a:pt x="25312" y="11687"/>
                  <a:pt x="25156" y="11750"/>
                </a:cubicBezTo>
                <a:cubicBezTo>
                  <a:pt x="25031" y="11812"/>
                  <a:pt x="24906" y="11843"/>
                  <a:pt x="24781" y="11875"/>
                </a:cubicBezTo>
                <a:cubicBezTo>
                  <a:pt x="24750" y="11875"/>
                  <a:pt x="24687" y="11875"/>
                  <a:pt x="24656" y="11906"/>
                </a:cubicBezTo>
                <a:cubicBezTo>
                  <a:pt x="24656" y="11906"/>
                  <a:pt x="24656" y="11906"/>
                  <a:pt x="24656" y="11906"/>
                </a:cubicBezTo>
                <a:cubicBezTo>
                  <a:pt x="24625" y="11906"/>
                  <a:pt x="24562" y="11906"/>
                  <a:pt x="24562" y="11937"/>
                </a:cubicBezTo>
                <a:cubicBezTo>
                  <a:pt x="24469" y="11937"/>
                  <a:pt x="24406" y="11968"/>
                  <a:pt x="24344" y="12000"/>
                </a:cubicBezTo>
                <a:cubicBezTo>
                  <a:pt x="24281" y="12031"/>
                  <a:pt x="24187" y="12031"/>
                  <a:pt x="24125" y="12093"/>
                </a:cubicBezTo>
                <a:cubicBezTo>
                  <a:pt x="24125" y="12093"/>
                  <a:pt x="24125" y="12093"/>
                  <a:pt x="24125" y="12093"/>
                </a:cubicBezTo>
                <a:cubicBezTo>
                  <a:pt x="24125" y="12093"/>
                  <a:pt x="24125" y="12093"/>
                  <a:pt x="24125" y="12093"/>
                </a:cubicBezTo>
                <a:cubicBezTo>
                  <a:pt x="24125" y="12093"/>
                  <a:pt x="24125" y="12093"/>
                  <a:pt x="24125" y="12093"/>
                </a:cubicBezTo>
                <a:cubicBezTo>
                  <a:pt x="24062" y="12093"/>
                  <a:pt x="23969" y="12093"/>
                  <a:pt x="23906" y="12156"/>
                </a:cubicBezTo>
                <a:cubicBezTo>
                  <a:pt x="23906" y="12156"/>
                  <a:pt x="23906" y="12156"/>
                  <a:pt x="23906" y="12156"/>
                </a:cubicBezTo>
                <a:cubicBezTo>
                  <a:pt x="23906" y="12156"/>
                  <a:pt x="23906" y="12156"/>
                  <a:pt x="23906" y="12156"/>
                </a:cubicBezTo>
                <a:cubicBezTo>
                  <a:pt x="23906" y="12156"/>
                  <a:pt x="23906" y="12156"/>
                  <a:pt x="23906" y="12156"/>
                </a:cubicBezTo>
                <a:cubicBezTo>
                  <a:pt x="23844" y="12187"/>
                  <a:pt x="23750" y="12156"/>
                  <a:pt x="23687" y="12250"/>
                </a:cubicBezTo>
                <a:cubicBezTo>
                  <a:pt x="23687" y="12250"/>
                  <a:pt x="23719" y="12250"/>
                  <a:pt x="23719" y="12250"/>
                </a:cubicBezTo>
                <a:cubicBezTo>
                  <a:pt x="23687" y="12250"/>
                  <a:pt x="23687" y="12250"/>
                  <a:pt x="23687" y="12250"/>
                </a:cubicBezTo>
                <a:cubicBezTo>
                  <a:pt x="23687" y="12250"/>
                  <a:pt x="23687" y="12250"/>
                  <a:pt x="23687" y="12250"/>
                </a:cubicBezTo>
                <a:cubicBezTo>
                  <a:pt x="23594" y="12218"/>
                  <a:pt x="23531" y="12281"/>
                  <a:pt x="23437" y="12312"/>
                </a:cubicBezTo>
                <a:cubicBezTo>
                  <a:pt x="23187" y="12375"/>
                  <a:pt x="22937" y="12468"/>
                  <a:pt x="22687" y="12562"/>
                </a:cubicBezTo>
                <a:cubicBezTo>
                  <a:pt x="22687" y="12562"/>
                  <a:pt x="22687" y="12562"/>
                  <a:pt x="22687" y="12562"/>
                </a:cubicBezTo>
                <a:cubicBezTo>
                  <a:pt x="22656" y="12562"/>
                  <a:pt x="22594" y="12562"/>
                  <a:pt x="22562" y="12593"/>
                </a:cubicBezTo>
                <a:cubicBezTo>
                  <a:pt x="22531" y="12593"/>
                  <a:pt x="22531" y="12625"/>
                  <a:pt x="22500" y="12625"/>
                </a:cubicBezTo>
                <a:cubicBezTo>
                  <a:pt x="22500" y="12593"/>
                  <a:pt x="22469" y="12593"/>
                  <a:pt x="22469" y="12625"/>
                </a:cubicBezTo>
                <a:cubicBezTo>
                  <a:pt x="22469" y="12625"/>
                  <a:pt x="22469" y="12625"/>
                  <a:pt x="22469" y="12625"/>
                </a:cubicBezTo>
                <a:cubicBezTo>
                  <a:pt x="22437" y="12656"/>
                  <a:pt x="22375" y="12687"/>
                  <a:pt x="22344" y="12687"/>
                </a:cubicBezTo>
                <a:cubicBezTo>
                  <a:pt x="22375" y="12687"/>
                  <a:pt x="22437" y="12656"/>
                  <a:pt x="22469" y="12625"/>
                </a:cubicBezTo>
                <a:cubicBezTo>
                  <a:pt x="22312" y="12656"/>
                  <a:pt x="22156" y="12718"/>
                  <a:pt x="22000" y="12750"/>
                </a:cubicBezTo>
                <a:cubicBezTo>
                  <a:pt x="21719" y="12843"/>
                  <a:pt x="21469" y="12937"/>
                  <a:pt x="21187" y="13000"/>
                </a:cubicBezTo>
                <a:cubicBezTo>
                  <a:pt x="21187" y="12968"/>
                  <a:pt x="21156" y="12968"/>
                  <a:pt x="21187" y="12968"/>
                </a:cubicBezTo>
                <a:cubicBezTo>
                  <a:pt x="21344" y="12875"/>
                  <a:pt x="21500" y="12843"/>
                  <a:pt x="21656" y="12781"/>
                </a:cubicBezTo>
                <a:cubicBezTo>
                  <a:pt x="21906" y="12718"/>
                  <a:pt x="22156" y="12625"/>
                  <a:pt x="22406" y="12531"/>
                </a:cubicBezTo>
                <a:cubicBezTo>
                  <a:pt x="22625" y="12468"/>
                  <a:pt x="22812" y="12437"/>
                  <a:pt x="23000" y="12343"/>
                </a:cubicBezTo>
                <a:cubicBezTo>
                  <a:pt x="23406" y="12218"/>
                  <a:pt x="23781" y="12093"/>
                  <a:pt x="24187" y="11937"/>
                </a:cubicBezTo>
                <a:cubicBezTo>
                  <a:pt x="24469" y="11843"/>
                  <a:pt x="24750" y="11750"/>
                  <a:pt x="25031" y="11656"/>
                </a:cubicBezTo>
                <a:cubicBezTo>
                  <a:pt x="25437" y="11500"/>
                  <a:pt x="25812" y="11375"/>
                  <a:pt x="26187" y="11250"/>
                </a:cubicBezTo>
                <a:cubicBezTo>
                  <a:pt x="26344" y="11187"/>
                  <a:pt x="26469" y="11125"/>
                  <a:pt x="26625" y="11062"/>
                </a:cubicBezTo>
                <a:cubicBezTo>
                  <a:pt x="26406" y="11125"/>
                  <a:pt x="26187" y="11187"/>
                  <a:pt x="25969" y="11281"/>
                </a:cubicBezTo>
                <a:cubicBezTo>
                  <a:pt x="25750" y="11343"/>
                  <a:pt x="25531" y="11437"/>
                  <a:pt x="25281" y="11531"/>
                </a:cubicBezTo>
                <a:cubicBezTo>
                  <a:pt x="24875" y="11656"/>
                  <a:pt x="24469" y="11812"/>
                  <a:pt x="24031" y="11937"/>
                </a:cubicBezTo>
                <a:cubicBezTo>
                  <a:pt x="23937" y="11968"/>
                  <a:pt x="23844" y="12031"/>
                  <a:pt x="23750" y="12062"/>
                </a:cubicBezTo>
                <a:cubicBezTo>
                  <a:pt x="23656" y="12062"/>
                  <a:pt x="23562" y="12093"/>
                  <a:pt x="23437" y="12125"/>
                </a:cubicBezTo>
                <a:cubicBezTo>
                  <a:pt x="23094" y="12250"/>
                  <a:pt x="22750" y="12375"/>
                  <a:pt x="22406" y="12468"/>
                </a:cubicBezTo>
                <a:cubicBezTo>
                  <a:pt x="22094" y="12562"/>
                  <a:pt x="21781" y="12656"/>
                  <a:pt x="21469" y="12750"/>
                </a:cubicBezTo>
                <a:cubicBezTo>
                  <a:pt x="21281" y="12812"/>
                  <a:pt x="21031" y="12875"/>
                  <a:pt x="20844" y="12937"/>
                </a:cubicBezTo>
                <a:cubicBezTo>
                  <a:pt x="20781" y="12968"/>
                  <a:pt x="20719" y="13000"/>
                  <a:pt x="20656" y="12937"/>
                </a:cubicBezTo>
                <a:cubicBezTo>
                  <a:pt x="20687" y="12906"/>
                  <a:pt x="20719" y="12906"/>
                  <a:pt x="20719" y="12906"/>
                </a:cubicBezTo>
                <a:cubicBezTo>
                  <a:pt x="20750" y="12937"/>
                  <a:pt x="20781" y="12937"/>
                  <a:pt x="20812" y="12875"/>
                </a:cubicBezTo>
                <a:cubicBezTo>
                  <a:pt x="20844" y="12875"/>
                  <a:pt x="20844" y="12875"/>
                  <a:pt x="20875" y="12843"/>
                </a:cubicBezTo>
                <a:cubicBezTo>
                  <a:pt x="21094" y="12812"/>
                  <a:pt x="21312" y="12718"/>
                  <a:pt x="21531" y="12656"/>
                </a:cubicBezTo>
                <a:cubicBezTo>
                  <a:pt x="21750" y="12593"/>
                  <a:pt x="21937" y="12531"/>
                  <a:pt x="22156" y="12468"/>
                </a:cubicBezTo>
                <a:cubicBezTo>
                  <a:pt x="22406" y="12437"/>
                  <a:pt x="22656" y="12281"/>
                  <a:pt x="22906" y="12218"/>
                </a:cubicBezTo>
                <a:cubicBezTo>
                  <a:pt x="23219" y="12156"/>
                  <a:pt x="23531" y="12000"/>
                  <a:pt x="23844" y="11906"/>
                </a:cubicBezTo>
                <a:cubicBezTo>
                  <a:pt x="24094" y="11812"/>
                  <a:pt x="24344" y="11750"/>
                  <a:pt x="24594" y="11656"/>
                </a:cubicBezTo>
                <a:cubicBezTo>
                  <a:pt x="24969" y="11531"/>
                  <a:pt x="25312" y="11406"/>
                  <a:pt x="25687" y="11250"/>
                </a:cubicBezTo>
                <a:cubicBezTo>
                  <a:pt x="25937" y="11187"/>
                  <a:pt x="26187" y="11093"/>
                  <a:pt x="26437" y="11000"/>
                </a:cubicBezTo>
                <a:cubicBezTo>
                  <a:pt x="26906" y="10843"/>
                  <a:pt x="27375" y="10687"/>
                  <a:pt x="27812" y="10500"/>
                </a:cubicBezTo>
                <a:cubicBezTo>
                  <a:pt x="27937" y="10468"/>
                  <a:pt x="28062" y="10468"/>
                  <a:pt x="28156" y="10375"/>
                </a:cubicBezTo>
                <a:cubicBezTo>
                  <a:pt x="28250" y="10406"/>
                  <a:pt x="28312" y="10343"/>
                  <a:pt x="28375" y="10312"/>
                </a:cubicBezTo>
                <a:cubicBezTo>
                  <a:pt x="28594" y="10250"/>
                  <a:pt x="28812" y="10156"/>
                  <a:pt x="29062" y="10062"/>
                </a:cubicBezTo>
                <a:cubicBezTo>
                  <a:pt x="29437" y="9937"/>
                  <a:pt x="29812" y="9781"/>
                  <a:pt x="30219" y="9656"/>
                </a:cubicBezTo>
                <a:cubicBezTo>
                  <a:pt x="30406" y="9593"/>
                  <a:pt x="30625" y="9500"/>
                  <a:pt x="30844" y="9437"/>
                </a:cubicBezTo>
                <a:cubicBezTo>
                  <a:pt x="31156" y="9312"/>
                  <a:pt x="31469" y="9187"/>
                  <a:pt x="31812" y="9093"/>
                </a:cubicBezTo>
                <a:cubicBezTo>
                  <a:pt x="31937" y="9031"/>
                  <a:pt x="32094" y="8937"/>
                  <a:pt x="32250" y="8906"/>
                </a:cubicBezTo>
                <a:cubicBezTo>
                  <a:pt x="32437" y="8843"/>
                  <a:pt x="32594" y="8781"/>
                  <a:pt x="32781" y="8718"/>
                </a:cubicBezTo>
                <a:cubicBezTo>
                  <a:pt x="32781" y="8718"/>
                  <a:pt x="32781" y="8718"/>
                  <a:pt x="32781" y="8718"/>
                </a:cubicBezTo>
                <a:cubicBezTo>
                  <a:pt x="32781" y="8718"/>
                  <a:pt x="32781" y="8687"/>
                  <a:pt x="32781" y="8687"/>
                </a:cubicBezTo>
                <a:cubicBezTo>
                  <a:pt x="32656" y="8718"/>
                  <a:pt x="32562" y="8750"/>
                  <a:pt x="32469" y="8781"/>
                </a:cubicBezTo>
                <a:cubicBezTo>
                  <a:pt x="32250" y="8875"/>
                  <a:pt x="32000" y="8968"/>
                  <a:pt x="31781" y="9031"/>
                </a:cubicBezTo>
                <a:cubicBezTo>
                  <a:pt x="31469" y="9156"/>
                  <a:pt x="31156" y="9281"/>
                  <a:pt x="30844" y="9375"/>
                </a:cubicBezTo>
                <a:cubicBezTo>
                  <a:pt x="30406" y="9562"/>
                  <a:pt x="29969" y="9687"/>
                  <a:pt x="29531" y="9875"/>
                </a:cubicBezTo>
                <a:cubicBezTo>
                  <a:pt x="29187" y="10000"/>
                  <a:pt x="28812" y="10125"/>
                  <a:pt x="28469" y="10250"/>
                </a:cubicBezTo>
                <a:cubicBezTo>
                  <a:pt x="28344" y="10281"/>
                  <a:pt x="28250" y="10281"/>
                  <a:pt x="28156" y="10375"/>
                </a:cubicBezTo>
                <a:cubicBezTo>
                  <a:pt x="28125" y="10375"/>
                  <a:pt x="28125" y="10375"/>
                  <a:pt x="28094" y="10375"/>
                </a:cubicBezTo>
                <a:cubicBezTo>
                  <a:pt x="28062" y="10406"/>
                  <a:pt x="28062" y="10406"/>
                  <a:pt x="28031" y="10406"/>
                </a:cubicBezTo>
                <a:cubicBezTo>
                  <a:pt x="28062" y="10406"/>
                  <a:pt x="28062" y="10406"/>
                  <a:pt x="28094" y="10375"/>
                </a:cubicBezTo>
                <a:cubicBezTo>
                  <a:pt x="28062" y="10375"/>
                  <a:pt x="28031" y="10406"/>
                  <a:pt x="28000" y="10406"/>
                </a:cubicBezTo>
                <a:cubicBezTo>
                  <a:pt x="27719" y="10500"/>
                  <a:pt x="27437" y="10625"/>
                  <a:pt x="27125" y="10718"/>
                </a:cubicBezTo>
                <a:cubicBezTo>
                  <a:pt x="26719" y="10875"/>
                  <a:pt x="26312" y="11031"/>
                  <a:pt x="25906" y="11156"/>
                </a:cubicBezTo>
                <a:cubicBezTo>
                  <a:pt x="25406" y="11312"/>
                  <a:pt x="24937" y="11500"/>
                  <a:pt x="24469" y="11656"/>
                </a:cubicBezTo>
                <a:cubicBezTo>
                  <a:pt x="24094" y="11781"/>
                  <a:pt x="23750" y="11906"/>
                  <a:pt x="23406" y="12031"/>
                </a:cubicBezTo>
                <a:cubicBezTo>
                  <a:pt x="22969" y="12156"/>
                  <a:pt x="22531" y="12281"/>
                  <a:pt x="22094" y="12437"/>
                </a:cubicBezTo>
                <a:cubicBezTo>
                  <a:pt x="22094" y="12437"/>
                  <a:pt x="22094" y="12437"/>
                  <a:pt x="22094" y="12437"/>
                </a:cubicBezTo>
                <a:cubicBezTo>
                  <a:pt x="22094" y="12437"/>
                  <a:pt x="22094" y="12437"/>
                  <a:pt x="22094" y="12437"/>
                </a:cubicBezTo>
                <a:cubicBezTo>
                  <a:pt x="22312" y="12437"/>
                  <a:pt x="22469" y="12343"/>
                  <a:pt x="22656" y="12281"/>
                </a:cubicBezTo>
                <a:cubicBezTo>
                  <a:pt x="22469" y="12343"/>
                  <a:pt x="22312" y="12437"/>
                  <a:pt x="22094" y="12437"/>
                </a:cubicBezTo>
                <a:cubicBezTo>
                  <a:pt x="21906" y="12500"/>
                  <a:pt x="21687" y="12593"/>
                  <a:pt x="21469" y="12656"/>
                </a:cubicBezTo>
                <a:cubicBezTo>
                  <a:pt x="21687" y="12593"/>
                  <a:pt x="21906" y="12500"/>
                  <a:pt x="22094" y="12437"/>
                </a:cubicBezTo>
                <a:cubicBezTo>
                  <a:pt x="22094" y="12437"/>
                  <a:pt x="22094" y="12437"/>
                  <a:pt x="22094" y="12437"/>
                </a:cubicBezTo>
                <a:cubicBezTo>
                  <a:pt x="22031" y="12468"/>
                  <a:pt x="21937" y="12468"/>
                  <a:pt x="21875" y="12500"/>
                </a:cubicBezTo>
                <a:cubicBezTo>
                  <a:pt x="21875" y="12500"/>
                  <a:pt x="21844" y="12468"/>
                  <a:pt x="21812" y="12468"/>
                </a:cubicBezTo>
                <a:cubicBezTo>
                  <a:pt x="22687" y="12156"/>
                  <a:pt x="23562" y="11906"/>
                  <a:pt x="24406" y="11562"/>
                </a:cubicBezTo>
                <a:cubicBezTo>
                  <a:pt x="24375" y="11531"/>
                  <a:pt x="24344" y="11562"/>
                  <a:pt x="24344" y="11562"/>
                </a:cubicBezTo>
                <a:cubicBezTo>
                  <a:pt x="23969" y="11687"/>
                  <a:pt x="23625" y="11781"/>
                  <a:pt x="23281" y="11906"/>
                </a:cubicBezTo>
                <a:cubicBezTo>
                  <a:pt x="23219" y="11906"/>
                  <a:pt x="23187" y="11937"/>
                  <a:pt x="23156" y="11875"/>
                </a:cubicBezTo>
                <a:cubicBezTo>
                  <a:pt x="23281" y="11843"/>
                  <a:pt x="23437" y="11781"/>
                  <a:pt x="23562" y="11750"/>
                </a:cubicBezTo>
                <a:cubicBezTo>
                  <a:pt x="23812" y="11656"/>
                  <a:pt x="24031" y="11593"/>
                  <a:pt x="24250" y="11500"/>
                </a:cubicBezTo>
                <a:cubicBezTo>
                  <a:pt x="24562" y="11406"/>
                  <a:pt x="24875" y="11281"/>
                  <a:pt x="25187" y="11187"/>
                </a:cubicBezTo>
                <a:cubicBezTo>
                  <a:pt x="25406" y="11093"/>
                  <a:pt x="25656" y="11031"/>
                  <a:pt x="25906" y="10937"/>
                </a:cubicBezTo>
                <a:cubicBezTo>
                  <a:pt x="26187" y="10843"/>
                  <a:pt x="26500" y="10718"/>
                  <a:pt x="26781" y="10593"/>
                </a:cubicBezTo>
                <a:cubicBezTo>
                  <a:pt x="27031" y="10531"/>
                  <a:pt x="27250" y="10437"/>
                  <a:pt x="27469" y="10375"/>
                </a:cubicBezTo>
                <a:cubicBezTo>
                  <a:pt x="27875" y="10218"/>
                  <a:pt x="28250" y="10093"/>
                  <a:pt x="28656" y="9937"/>
                </a:cubicBezTo>
                <a:cubicBezTo>
                  <a:pt x="28687" y="9968"/>
                  <a:pt x="28719" y="9968"/>
                  <a:pt x="28750" y="9968"/>
                </a:cubicBezTo>
                <a:cubicBezTo>
                  <a:pt x="28812" y="9906"/>
                  <a:pt x="28875" y="9875"/>
                  <a:pt x="28969" y="9812"/>
                </a:cubicBezTo>
                <a:cubicBezTo>
                  <a:pt x="29000" y="9812"/>
                  <a:pt x="29031" y="9812"/>
                  <a:pt x="29062" y="9781"/>
                </a:cubicBezTo>
                <a:cubicBezTo>
                  <a:pt x="29375" y="9656"/>
                  <a:pt x="29687" y="9562"/>
                  <a:pt x="30031" y="9437"/>
                </a:cubicBezTo>
                <a:cubicBezTo>
                  <a:pt x="30219" y="9375"/>
                  <a:pt x="30437" y="9281"/>
                  <a:pt x="30656" y="9218"/>
                </a:cubicBezTo>
                <a:cubicBezTo>
                  <a:pt x="31000" y="9062"/>
                  <a:pt x="31375" y="8937"/>
                  <a:pt x="31719" y="8812"/>
                </a:cubicBezTo>
                <a:cubicBezTo>
                  <a:pt x="31969" y="8718"/>
                  <a:pt x="32219" y="8625"/>
                  <a:pt x="32469" y="8531"/>
                </a:cubicBezTo>
                <a:cubicBezTo>
                  <a:pt x="32562" y="8500"/>
                  <a:pt x="32656" y="8437"/>
                  <a:pt x="32781" y="8437"/>
                </a:cubicBezTo>
                <a:cubicBezTo>
                  <a:pt x="32781" y="8437"/>
                  <a:pt x="32781" y="8437"/>
                  <a:pt x="32781" y="8437"/>
                </a:cubicBezTo>
                <a:cubicBezTo>
                  <a:pt x="32781" y="8406"/>
                  <a:pt x="32781" y="8406"/>
                  <a:pt x="32781" y="8375"/>
                </a:cubicBezTo>
                <a:cubicBezTo>
                  <a:pt x="32594" y="8437"/>
                  <a:pt x="32437" y="8531"/>
                  <a:pt x="32281" y="8562"/>
                </a:cubicBezTo>
                <a:cubicBezTo>
                  <a:pt x="32031" y="8656"/>
                  <a:pt x="31781" y="8750"/>
                  <a:pt x="31562" y="8812"/>
                </a:cubicBezTo>
                <a:cubicBezTo>
                  <a:pt x="31187" y="8968"/>
                  <a:pt x="30844" y="9093"/>
                  <a:pt x="30469" y="9218"/>
                </a:cubicBezTo>
                <a:cubicBezTo>
                  <a:pt x="30250" y="9312"/>
                  <a:pt x="30000" y="9406"/>
                  <a:pt x="29781" y="9468"/>
                </a:cubicBezTo>
                <a:cubicBezTo>
                  <a:pt x="29500" y="9593"/>
                  <a:pt x="29250" y="9687"/>
                  <a:pt x="29000" y="9750"/>
                </a:cubicBezTo>
                <a:cubicBezTo>
                  <a:pt x="28875" y="9812"/>
                  <a:pt x="28750" y="9843"/>
                  <a:pt x="28625" y="9906"/>
                </a:cubicBezTo>
                <a:cubicBezTo>
                  <a:pt x="28562" y="9937"/>
                  <a:pt x="28469" y="9937"/>
                  <a:pt x="28406" y="9968"/>
                </a:cubicBezTo>
                <a:cubicBezTo>
                  <a:pt x="28031" y="10125"/>
                  <a:pt x="27687" y="10250"/>
                  <a:pt x="27312" y="10375"/>
                </a:cubicBezTo>
                <a:cubicBezTo>
                  <a:pt x="27062" y="10468"/>
                  <a:pt x="26844" y="10531"/>
                  <a:pt x="26594" y="10625"/>
                </a:cubicBezTo>
                <a:cubicBezTo>
                  <a:pt x="26312" y="10750"/>
                  <a:pt x="26000" y="10843"/>
                  <a:pt x="25719" y="10937"/>
                </a:cubicBezTo>
                <a:cubicBezTo>
                  <a:pt x="25469" y="11031"/>
                  <a:pt x="25219" y="11125"/>
                  <a:pt x="24969" y="11218"/>
                </a:cubicBezTo>
                <a:cubicBezTo>
                  <a:pt x="24687" y="11312"/>
                  <a:pt x="24375" y="11406"/>
                  <a:pt x="24094" y="11531"/>
                </a:cubicBezTo>
                <a:cubicBezTo>
                  <a:pt x="23812" y="11593"/>
                  <a:pt x="23562" y="11687"/>
                  <a:pt x="23312" y="11781"/>
                </a:cubicBezTo>
                <a:cubicBezTo>
                  <a:pt x="22937" y="11906"/>
                  <a:pt x="22562" y="12031"/>
                  <a:pt x="22219" y="12125"/>
                </a:cubicBezTo>
                <a:cubicBezTo>
                  <a:pt x="22187" y="12125"/>
                  <a:pt x="22156" y="12125"/>
                  <a:pt x="22156" y="12156"/>
                </a:cubicBezTo>
                <a:cubicBezTo>
                  <a:pt x="22094" y="12187"/>
                  <a:pt x="22031" y="12187"/>
                  <a:pt x="21969" y="12187"/>
                </a:cubicBezTo>
                <a:cubicBezTo>
                  <a:pt x="21969" y="12187"/>
                  <a:pt x="21937" y="12187"/>
                  <a:pt x="21906" y="12187"/>
                </a:cubicBezTo>
                <a:cubicBezTo>
                  <a:pt x="21906" y="12187"/>
                  <a:pt x="21906" y="12187"/>
                  <a:pt x="21906" y="12187"/>
                </a:cubicBezTo>
                <a:cubicBezTo>
                  <a:pt x="21906" y="12187"/>
                  <a:pt x="21906" y="12187"/>
                  <a:pt x="21875" y="12187"/>
                </a:cubicBezTo>
                <a:cubicBezTo>
                  <a:pt x="21906" y="12187"/>
                  <a:pt x="21906" y="12187"/>
                  <a:pt x="21906" y="12187"/>
                </a:cubicBezTo>
                <a:cubicBezTo>
                  <a:pt x="24219" y="11312"/>
                  <a:pt x="26562" y="10500"/>
                  <a:pt x="28844" y="9656"/>
                </a:cubicBezTo>
                <a:cubicBezTo>
                  <a:pt x="28906" y="9656"/>
                  <a:pt x="28937" y="9593"/>
                  <a:pt x="29000" y="9593"/>
                </a:cubicBezTo>
                <a:cubicBezTo>
                  <a:pt x="29000" y="9593"/>
                  <a:pt x="29062" y="9593"/>
                  <a:pt x="29062" y="9562"/>
                </a:cubicBezTo>
                <a:cubicBezTo>
                  <a:pt x="29125" y="9531"/>
                  <a:pt x="29156" y="9562"/>
                  <a:pt x="29219" y="9500"/>
                </a:cubicBezTo>
                <a:cubicBezTo>
                  <a:pt x="29281" y="9500"/>
                  <a:pt x="29375" y="9468"/>
                  <a:pt x="29469" y="9406"/>
                </a:cubicBezTo>
                <a:cubicBezTo>
                  <a:pt x="29469" y="9406"/>
                  <a:pt x="29500" y="9406"/>
                  <a:pt x="29531" y="9375"/>
                </a:cubicBezTo>
                <a:cubicBezTo>
                  <a:pt x="29594" y="9406"/>
                  <a:pt x="29656" y="9343"/>
                  <a:pt x="29750" y="9312"/>
                </a:cubicBezTo>
                <a:cubicBezTo>
                  <a:pt x="29875" y="9281"/>
                  <a:pt x="30031" y="9218"/>
                  <a:pt x="30187" y="9156"/>
                </a:cubicBezTo>
                <a:cubicBezTo>
                  <a:pt x="30219" y="9125"/>
                  <a:pt x="30250" y="9125"/>
                  <a:pt x="30250" y="9093"/>
                </a:cubicBezTo>
                <a:cubicBezTo>
                  <a:pt x="30250" y="9093"/>
                  <a:pt x="30250" y="9093"/>
                  <a:pt x="30219" y="9093"/>
                </a:cubicBezTo>
                <a:cubicBezTo>
                  <a:pt x="30250" y="9093"/>
                  <a:pt x="30250" y="9093"/>
                  <a:pt x="30250" y="9093"/>
                </a:cubicBezTo>
                <a:cubicBezTo>
                  <a:pt x="30250" y="9093"/>
                  <a:pt x="30250" y="9093"/>
                  <a:pt x="30250" y="9062"/>
                </a:cubicBezTo>
                <a:cubicBezTo>
                  <a:pt x="30219" y="9062"/>
                  <a:pt x="30187" y="9031"/>
                  <a:pt x="30187" y="9031"/>
                </a:cubicBezTo>
                <a:cubicBezTo>
                  <a:pt x="30125" y="9125"/>
                  <a:pt x="30062" y="9093"/>
                  <a:pt x="30000" y="9125"/>
                </a:cubicBezTo>
                <a:cubicBezTo>
                  <a:pt x="29844" y="9187"/>
                  <a:pt x="29719" y="9250"/>
                  <a:pt x="29562" y="9281"/>
                </a:cubicBezTo>
                <a:cubicBezTo>
                  <a:pt x="29562" y="9281"/>
                  <a:pt x="29531" y="9281"/>
                  <a:pt x="29531" y="9250"/>
                </a:cubicBezTo>
                <a:cubicBezTo>
                  <a:pt x="29531" y="9250"/>
                  <a:pt x="29531" y="9281"/>
                  <a:pt x="29500" y="9281"/>
                </a:cubicBezTo>
                <a:cubicBezTo>
                  <a:pt x="29500" y="9312"/>
                  <a:pt x="29500" y="9312"/>
                  <a:pt x="29500" y="9343"/>
                </a:cubicBezTo>
                <a:cubicBezTo>
                  <a:pt x="29500" y="9312"/>
                  <a:pt x="29500" y="9312"/>
                  <a:pt x="29500" y="9281"/>
                </a:cubicBezTo>
                <a:cubicBezTo>
                  <a:pt x="29531" y="9281"/>
                  <a:pt x="29531" y="9250"/>
                  <a:pt x="29531" y="9250"/>
                </a:cubicBezTo>
                <a:cubicBezTo>
                  <a:pt x="29469" y="9218"/>
                  <a:pt x="29406" y="9218"/>
                  <a:pt x="29312" y="9250"/>
                </a:cubicBezTo>
                <a:cubicBezTo>
                  <a:pt x="29312" y="9250"/>
                  <a:pt x="29281" y="9281"/>
                  <a:pt x="29312" y="9281"/>
                </a:cubicBezTo>
                <a:cubicBezTo>
                  <a:pt x="29312" y="9281"/>
                  <a:pt x="29312" y="9281"/>
                  <a:pt x="29312" y="9281"/>
                </a:cubicBezTo>
                <a:cubicBezTo>
                  <a:pt x="29312" y="9281"/>
                  <a:pt x="29312" y="9281"/>
                  <a:pt x="29312" y="9281"/>
                </a:cubicBezTo>
                <a:cubicBezTo>
                  <a:pt x="29312" y="9281"/>
                  <a:pt x="29312" y="9281"/>
                  <a:pt x="29312" y="9281"/>
                </a:cubicBezTo>
                <a:cubicBezTo>
                  <a:pt x="29281" y="9281"/>
                  <a:pt x="29250" y="9281"/>
                  <a:pt x="29219" y="9312"/>
                </a:cubicBezTo>
                <a:cubicBezTo>
                  <a:pt x="29219" y="9312"/>
                  <a:pt x="29219" y="9312"/>
                  <a:pt x="29219" y="9312"/>
                </a:cubicBezTo>
                <a:cubicBezTo>
                  <a:pt x="29219" y="9312"/>
                  <a:pt x="29219" y="9312"/>
                  <a:pt x="29219" y="9312"/>
                </a:cubicBezTo>
                <a:cubicBezTo>
                  <a:pt x="29187" y="9312"/>
                  <a:pt x="29125" y="9312"/>
                  <a:pt x="29094" y="9343"/>
                </a:cubicBezTo>
                <a:cubicBezTo>
                  <a:pt x="29031" y="9343"/>
                  <a:pt x="28969" y="9375"/>
                  <a:pt x="28906" y="9406"/>
                </a:cubicBezTo>
                <a:cubicBezTo>
                  <a:pt x="28875" y="9406"/>
                  <a:pt x="28875" y="9437"/>
                  <a:pt x="28875" y="9468"/>
                </a:cubicBezTo>
                <a:cubicBezTo>
                  <a:pt x="28687" y="9468"/>
                  <a:pt x="28531" y="9562"/>
                  <a:pt x="28344" y="9625"/>
                </a:cubicBezTo>
                <a:cubicBezTo>
                  <a:pt x="28312" y="9687"/>
                  <a:pt x="28219" y="9687"/>
                  <a:pt x="28156" y="9718"/>
                </a:cubicBezTo>
                <a:cubicBezTo>
                  <a:pt x="28062" y="9718"/>
                  <a:pt x="28000" y="9718"/>
                  <a:pt x="27937" y="9781"/>
                </a:cubicBezTo>
                <a:cubicBezTo>
                  <a:pt x="27875" y="9843"/>
                  <a:pt x="27812" y="9812"/>
                  <a:pt x="27750" y="9843"/>
                </a:cubicBezTo>
                <a:cubicBezTo>
                  <a:pt x="27719" y="9843"/>
                  <a:pt x="27687" y="9875"/>
                  <a:pt x="27656" y="9875"/>
                </a:cubicBezTo>
                <a:cubicBezTo>
                  <a:pt x="27500" y="9937"/>
                  <a:pt x="27312" y="9968"/>
                  <a:pt x="27125" y="10093"/>
                </a:cubicBezTo>
                <a:cubicBezTo>
                  <a:pt x="27125" y="10093"/>
                  <a:pt x="27094" y="10125"/>
                  <a:pt x="27094" y="10093"/>
                </a:cubicBezTo>
                <a:cubicBezTo>
                  <a:pt x="27062" y="10093"/>
                  <a:pt x="27031" y="10093"/>
                  <a:pt x="27031" y="10093"/>
                </a:cubicBezTo>
                <a:cubicBezTo>
                  <a:pt x="26906" y="10187"/>
                  <a:pt x="26750" y="10187"/>
                  <a:pt x="26656" y="10250"/>
                </a:cubicBezTo>
                <a:cubicBezTo>
                  <a:pt x="26656" y="10250"/>
                  <a:pt x="26656" y="10250"/>
                  <a:pt x="26656" y="10250"/>
                </a:cubicBezTo>
                <a:cubicBezTo>
                  <a:pt x="26531" y="10281"/>
                  <a:pt x="26437" y="10312"/>
                  <a:pt x="26344" y="10375"/>
                </a:cubicBezTo>
                <a:cubicBezTo>
                  <a:pt x="26312" y="10375"/>
                  <a:pt x="26312" y="10375"/>
                  <a:pt x="26281" y="10406"/>
                </a:cubicBezTo>
                <a:cubicBezTo>
                  <a:pt x="26250" y="10406"/>
                  <a:pt x="26250" y="10406"/>
                  <a:pt x="26219" y="10406"/>
                </a:cubicBezTo>
                <a:cubicBezTo>
                  <a:pt x="25937" y="10500"/>
                  <a:pt x="25656" y="10593"/>
                  <a:pt x="25344" y="10718"/>
                </a:cubicBezTo>
                <a:cubicBezTo>
                  <a:pt x="25281" y="10750"/>
                  <a:pt x="25187" y="10718"/>
                  <a:pt x="25125" y="10812"/>
                </a:cubicBezTo>
                <a:cubicBezTo>
                  <a:pt x="25125" y="10812"/>
                  <a:pt x="25125" y="10812"/>
                  <a:pt x="25125" y="10812"/>
                </a:cubicBezTo>
                <a:cubicBezTo>
                  <a:pt x="25125" y="10812"/>
                  <a:pt x="25125" y="10812"/>
                  <a:pt x="25125" y="10812"/>
                </a:cubicBezTo>
                <a:cubicBezTo>
                  <a:pt x="25125" y="10812"/>
                  <a:pt x="25125" y="10812"/>
                  <a:pt x="25125" y="10812"/>
                </a:cubicBezTo>
                <a:cubicBezTo>
                  <a:pt x="24937" y="10812"/>
                  <a:pt x="24781" y="10937"/>
                  <a:pt x="24594" y="10968"/>
                </a:cubicBezTo>
                <a:cubicBezTo>
                  <a:pt x="24594" y="10968"/>
                  <a:pt x="24562" y="11000"/>
                  <a:pt x="24562" y="11000"/>
                </a:cubicBezTo>
                <a:cubicBezTo>
                  <a:pt x="24500" y="11031"/>
                  <a:pt x="24437" y="11000"/>
                  <a:pt x="24406" y="11062"/>
                </a:cubicBezTo>
                <a:cubicBezTo>
                  <a:pt x="24219" y="11125"/>
                  <a:pt x="24031" y="11187"/>
                  <a:pt x="23875" y="11250"/>
                </a:cubicBezTo>
                <a:cubicBezTo>
                  <a:pt x="23562" y="11343"/>
                  <a:pt x="23281" y="11437"/>
                  <a:pt x="23000" y="11531"/>
                </a:cubicBezTo>
                <a:cubicBezTo>
                  <a:pt x="23000" y="11531"/>
                  <a:pt x="23000" y="11531"/>
                  <a:pt x="23000" y="11531"/>
                </a:cubicBezTo>
                <a:cubicBezTo>
                  <a:pt x="22875" y="11562"/>
                  <a:pt x="22750" y="11625"/>
                  <a:pt x="22625" y="11656"/>
                </a:cubicBezTo>
                <a:cubicBezTo>
                  <a:pt x="22625" y="11656"/>
                  <a:pt x="22594" y="11687"/>
                  <a:pt x="22594" y="11687"/>
                </a:cubicBezTo>
                <a:cubicBezTo>
                  <a:pt x="22562" y="11656"/>
                  <a:pt x="22562" y="11687"/>
                  <a:pt x="22531" y="11687"/>
                </a:cubicBezTo>
                <a:cubicBezTo>
                  <a:pt x="22406" y="11718"/>
                  <a:pt x="22312" y="11781"/>
                  <a:pt x="22187" y="11781"/>
                </a:cubicBezTo>
                <a:cubicBezTo>
                  <a:pt x="22375" y="11656"/>
                  <a:pt x="22562" y="11625"/>
                  <a:pt x="22750" y="11531"/>
                </a:cubicBezTo>
                <a:cubicBezTo>
                  <a:pt x="23187" y="11312"/>
                  <a:pt x="23656" y="11187"/>
                  <a:pt x="24094" y="11031"/>
                </a:cubicBezTo>
                <a:cubicBezTo>
                  <a:pt x="24406" y="10906"/>
                  <a:pt x="24719" y="10812"/>
                  <a:pt x="25031" y="10687"/>
                </a:cubicBezTo>
                <a:cubicBezTo>
                  <a:pt x="25312" y="10562"/>
                  <a:pt x="25594" y="10468"/>
                  <a:pt x="25906" y="10343"/>
                </a:cubicBezTo>
                <a:cubicBezTo>
                  <a:pt x="26156" y="10250"/>
                  <a:pt x="26437" y="10187"/>
                  <a:pt x="26719" y="10093"/>
                </a:cubicBezTo>
                <a:cubicBezTo>
                  <a:pt x="27094" y="9937"/>
                  <a:pt x="27437" y="9812"/>
                  <a:pt x="27812" y="9656"/>
                </a:cubicBezTo>
                <a:cubicBezTo>
                  <a:pt x="28000" y="9593"/>
                  <a:pt x="28187" y="9531"/>
                  <a:pt x="28344" y="9468"/>
                </a:cubicBezTo>
                <a:cubicBezTo>
                  <a:pt x="28469" y="9437"/>
                  <a:pt x="28594" y="9375"/>
                  <a:pt x="28687" y="9312"/>
                </a:cubicBezTo>
                <a:cubicBezTo>
                  <a:pt x="28750" y="9312"/>
                  <a:pt x="28812" y="9312"/>
                  <a:pt x="28844" y="9250"/>
                </a:cubicBezTo>
                <a:cubicBezTo>
                  <a:pt x="28844" y="9218"/>
                  <a:pt x="28750" y="9156"/>
                  <a:pt x="28719" y="9156"/>
                </a:cubicBezTo>
                <a:cubicBezTo>
                  <a:pt x="28656" y="9156"/>
                  <a:pt x="28562" y="9125"/>
                  <a:pt x="28562" y="9218"/>
                </a:cubicBezTo>
                <a:cubicBezTo>
                  <a:pt x="28562" y="9250"/>
                  <a:pt x="28531" y="9250"/>
                  <a:pt x="28531" y="9250"/>
                </a:cubicBezTo>
                <a:cubicBezTo>
                  <a:pt x="28469" y="9187"/>
                  <a:pt x="28406" y="9250"/>
                  <a:pt x="28375" y="9250"/>
                </a:cubicBezTo>
                <a:cubicBezTo>
                  <a:pt x="28125" y="9343"/>
                  <a:pt x="27906" y="9437"/>
                  <a:pt x="27687" y="9500"/>
                </a:cubicBezTo>
                <a:cubicBezTo>
                  <a:pt x="27375" y="9625"/>
                  <a:pt x="27062" y="9750"/>
                  <a:pt x="26750" y="9843"/>
                </a:cubicBezTo>
                <a:cubicBezTo>
                  <a:pt x="26594" y="9906"/>
                  <a:pt x="26437" y="10000"/>
                  <a:pt x="26281" y="10000"/>
                </a:cubicBezTo>
                <a:cubicBezTo>
                  <a:pt x="26312" y="9906"/>
                  <a:pt x="26437" y="9937"/>
                  <a:pt x="26469" y="9875"/>
                </a:cubicBezTo>
                <a:cubicBezTo>
                  <a:pt x="26312" y="9875"/>
                  <a:pt x="26219" y="9968"/>
                  <a:pt x="26062" y="10031"/>
                </a:cubicBezTo>
                <a:cubicBezTo>
                  <a:pt x="26125" y="10031"/>
                  <a:pt x="26156" y="10000"/>
                  <a:pt x="26219" y="10000"/>
                </a:cubicBezTo>
                <a:cubicBezTo>
                  <a:pt x="26219" y="10000"/>
                  <a:pt x="26219" y="10000"/>
                  <a:pt x="26219" y="9968"/>
                </a:cubicBezTo>
                <a:cubicBezTo>
                  <a:pt x="26219" y="9968"/>
                  <a:pt x="26219" y="9968"/>
                  <a:pt x="26219" y="9968"/>
                </a:cubicBezTo>
                <a:cubicBezTo>
                  <a:pt x="26219" y="9968"/>
                  <a:pt x="26219" y="9968"/>
                  <a:pt x="26219" y="9968"/>
                </a:cubicBezTo>
                <a:cubicBezTo>
                  <a:pt x="26219" y="10000"/>
                  <a:pt x="26219" y="10000"/>
                  <a:pt x="26219" y="10000"/>
                </a:cubicBezTo>
                <a:cubicBezTo>
                  <a:pt x="26219" y="10000"/>
                  <a:pt x="26250" y="10000"/>
                  <a:pt x="26281" y="10000"/>
                </a:cubicBezTo>
                <a:cubicBezTo>
                  <a:pt x="26250" y="10031"/>
                  <a:pt x="26219" y="10062"/>
                  <a:pt x="26187" y="10062"/>
                </a:cubicBezTo>
                <a:cubicBezTo>
                  <a:pt x="25781" y="10218"/>
                  <a:pt x="25375" y="10375"/>
                  <a:pt x="24969" y="10500"/>
                </a:cubicBezTo>
                <a:cubicBezTo>
                  <a:pt x="24906" y="10531"/>
                  <a:pt x="24812" y="10562"/>
                  <a:pt x="24750" y="10531"/>
                </a:cubicBezTo>
                <a:lnTo>
                  <a:pt x="24750" y="10531"/>
                </a:lnTo>
                <a:lnTo>
                  <a:pt x="24750" y="10531"/>
                </a:lnTo>
                <a:lnTo>
                  <a:pt x="24750" y="10531"/>
                </a:lnTo>
                <a:lnTo>
                  <a:pt x="24749" y="10531"/>
                </a:lnTo>
                <a:lnTo>
                  <a:pt x="24749" y="10531"/>
                </a:lnTo>
                <a:lnTo>
                  <a:pt x="24749" y="10531"/>
                </a:lnTo>
                <a:lnTo>
                  <a:pt x="24749" y="10531"/>
                </a:lnTo>
                <a:lnTo>
                  <a:pt x="24748" y="10531"/>
                </a:lnTo>
                <a:lnTo>
                  <a:pt x="24748" y="10531"/>
                </a:lnTo>
                <a:lnTo>
                  <a:pt x="24748" y="10531"/>
                </a:lnTo>
                <a:lnTo>
                  <a:pt x="24748" y="10531"/>
                </a:lnTo>
                <a:lnTo>
                  <a:pt x="24747" y="10531"/>
                </a:lnTo>
                <a:lnTo>
                  <a:pt x="24747" y="10531"/>
                </a:lnTo>
                <a:lnTo>
                  <a:pt x="24747" y="10531"/>
                </a:lnTo>
                <a:lnTo>
                  <a:pt x="24746" y="10531"/>
                </a:lnTo>
                <a:lnTo>
                  <a:pt x="24746" y="10531"/>
                </a:lnTo>
                <a:lnTo>
                  <a:pt x="24746" y="10531"/>
                </a:lnTo>
                <a:lnTo>
                  <a:pt x="24745" y="10531"/>
                </a:lnTo>
                <a:lnTo>
                  <a:pt x="24745" y="10531"/>
                </a:lnTo>
                <a:lnTo>
                  <a:pt x="24744" y="10531"/>
                </a:lnTo>
                <a:lnTo>
                  <a:pt x="24744" y="10531"/>
                </a:lnTo>
                <a:lnTo>
                  <a:pt x="24744" y="10531"/>
                </a:lnTo>
                <a:lnTo>
                  <a:pt x="24743" y="10531"/>
                </a:lnTo>
                <a:lnTo>
                  <a:pt x="24743" y="10531"/>
                </a:lnTo>
                <a:lnTo>
                  <a:pt x="24743" y="10531"/>
                </a:lnTo>
                <a:lnTo>
                  <a:pt x="24742" y="10531"/>
                </a:lnTo>
                <a:lnTo>
                  <a:pt x="24742" y="10531"/>
                </a:lnTo>
                <a:lnTo>
                  <a:pt x="24741" y="10531"/>
                </a:lnTo>
                <a:lnTo>
                  <a:pt x="24741" y="10531"/>
                </a:lnTo>
                <a:lnTo>
                  <a:pt x="24740" y="10531"/>
                </a:lnTo>
                <a:lnTo>
                  <a:pt x="24739" y="10531"/>
                </a:lnTo>
                <a:lnTo>
                  <a:pt x="24739" y="10531"/>
                </a:lnTo>
                <a:lnTo>
                  <a:pt x="24739" y="10531"/>
                </a:lnTo>
                <a:lnTo>
                  <a:pt x="24738" y="10531"/>
                </a:lnTo>
                <a:lnTo>
                  <a:pt x="24738" y="10531"/>
                </a:lnTo>
                <a:lnTo>
                  <a:pt x="24737" y="10531"/>
                </a:lnTo>
                <a:lnTo>
                  <a:pt x="24737" y="10531"/>
                </a:lnTo>
                <a:lnTo>
                  <a:pt x="24736" y="10531"/>
                </a:lnTo>
                <a:lnTo>
                  <a:pt x="24736" y="10531"/>
                </a:lnTo>
                <a:lnTo>
                  <a:pt x="24736" y="10531"/>
                </a:lnTo>
                <a:lnTo>
                  <a:pt x="24735" y="10531"/>
                </a:lnTo>
                <a:lnTo>
                  <a:pt x="24735" y="10531"/>
                </a:lnTo>
                <a:lnTo>
                  <a:pt x="24734" y="10531"/>
                </a:lnTo>
                <a:lnTo>
                  <a:pt x="24734" y="10531"/>
                </a:lnTo>
                <a:lnTo>
                  <a:pt x="24733" y="10531"/>
                </a:lnTo>
                <a:lnTo>
                  <a:pt x="24733" y="10531"/>
                </a:lnTo>
                <a:lnTo>
                  <a:pt x="24733" y="10531"/>
                </a:lnTo>
                <a:lnTo>
                  <a:pt x="24732" y="10531"/>
                </a:lnTo>
                <a:lnTo>
                  <a:pt x="24732" y="10531"/>
                </a:lnTo>
                <a:lnTo>
                  <a:pt x="24731" y="10531"/>
                </a:lnTo>
                <a:lnTo>
                  <a:pt x="24731" y="10531"/>
                </a:lnTo>
                <a:lnTo>
                  <a:pt x="24731" y="10531"/>
                </a:lnTo>
                <a:lnTo>
                  <a:pt x="24730" y="10531"/>
                </a:lnTo>
                <a:lnTo>
                  <a:pt x="24730" y="10531"/>
                </a:lnTo>
                <a:lnTo>
                  <a:pt x="24729" y="10531"/>
                </a:lnTo>
                <a:lnTo>
                  <a:pt x="24729" y="10531"/>
                </a:lnTo>
                <a:lnTo>
                  <a:pt x="24729" y="10531"/>
                </a:lnTo>
                <a:lnTo>
                  <a:pt x="24728" y="10531"/>
                </a:lnTo>
                <a:lnTo>
                  <a:pt x="24728" y="10531"/>
                </a:lnTo>
                <a:lnTo>
                  <a:pt x="24728" y="10531"/>
                </a:lnTo>
                <a:lnTo>
                  <a:pt x="24727" y="10531"/>
                </a:lnTo>
                <a:lnTo>
                  <a:pt x="24727" y="10531"/>
                </a:lnTo>
                <a:lnTo>
                  <a:pt x="24726" y="10531"/>
                </a:lnTo>
                <a:lnTo>
                  <a:pt x="24726" y="10531"/>
                </a:lnTo>
                <a:lnTo>
                  <a:pt x="24726" y="10531"/>
                </a:lnTo>
                <a:lnTo>
                  <a:pt x="24725" y="10531"/>
                </a:lnTo>
                <a:lnTo>
                  <a:pt x="24725" y="10531"/>
                </a:lnTo>
                <a:lnTo>
                  <a:pt x="24725" y="10531"/>
                </a:lnTo>
                <a:lnTo>
                  <a:pt x="24725" y="10531"/>
                </a:lnTo>
                <a:lnTo>
                  <a:pt x="24724" y="10531"/>
                </a:lnTo>
                <a:lnTo>
                  <a:pt x="24724" y="10531"/>
                </a:lnTo>
                <a:lnTo>
                  <a:pt x="24723" y="10531"/>
                </a:lnTo>
                <a:lnTo>
                  <a:pt x="24723" y="10531"/>
                </a:lnTo>
                <a:lnTo>
                  <a:pt x="24723" y="10531"/>
                </a:lnTo>
                <a:lnTo>
                  <a:pt x="24722" y="10531"/>
                </a:lnTo>
                <a:lnTo>
                  <a:pt x="24722" y="10531"/>
                </a:lnTo>
                <a:lnTo>
                  <a:pt x="24722" y="10531"/>
                </a:lnTo>
                <a:lnTo>
                  <a:pt x="24722" y="10531"/>
                </a:lnTo>
                <a:lnTo>
                  <a:pt x="24721" y="10531"/>
                </a:lnTo>
                <a:lnTo>
                  <a:pt x="24721" y="10531"/>
                </a:lnTo>
                <a:lnTo>
                  <a:pt x="24721" y="10531"/>
                </a:lnTo>
                <a:lnTo>
                  <a:pt x="24721" y="10531"/>
                </a:lnTo>
                <a:lnTo>
                  <a:pt x="24720" y="10531"/>
                </a:lnTo>
                <a:lnTo>
                  <a:pt x="24720" y="10531"/>
                </a:lnTo>
                <a:lnTo>
                  <a:pt x="24720" y="10531"/>
                </a:lnTo>
                <a:lnTo>
                  <a:pt x="24720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cubicBezTo>
                  <a:pt x="24719" y="10531"/>
                  <a:pt x="24719" y="10531"/>
                  <a:pt x="24719" y="10531"/>
                </a:cubicBezTo>
                <a:cubicBezTo>
                  <a:pt x="24719" y="10531"/>
                  <a:pt x="24719" y="10531"/>
                  <a:pt x="24719" y="10531"/>
                </a:cubicBezTo>
                <a:cubicBezTo>
                  <a:pt x="24719" y="10500"/>
                  <a:pt x="24719" y="10500"/>
                  <a:pt x="24719" y="10500"/>
                </a:cubicBezTo>
                <a:cubicBezTo>
                  <a:pt x="24750" y="10468"/>
                  <a:pt x="24781" y="10468"/>
                  <a:pt x="24812" y="10468"/>
                </a:cubicBezTo>
                <a:cubicBezTo>
                  <a:pt x="24844" y="10437"/>
                  <a:pt x="24875" y="10437"/>
                  <a:pt x="24906" y="10437"/>
                </a:cubicBezTo>
                <a:cubicBezTo>
                  <a:pt x="25031" y="10375"/>
                  <a:pt x="25187" y="10312"/>
                  <a:pt x="25344" y="10281"/>
                </a:cubicBezTo>
                <a:cubicBezTo>
                  <a:pt x="25312" y="10281"/>
                  <a:pt x="25312" y="10312"/>
                  <a:pt x="25281" y="10312"/>
                </a:cubicBezTo>
                <a:cubicBezTo>
                  <a:pt x="25312" y="10312"/>
                  <a:pt x="25312" y="10281"/>
                  <a:pt x="25344" y="10281"/>
                </a:cubicBezTo>
                <a:cubicBezTo>
                  <a:pt x="25375" y="10281"/>
                  <a:pt x="25406" y="10250"/>
                  <a:pt x="25437" y="10250"/>
                </a:cubicBezTo>
                <a:cubicBezTo>
                  <a:pt x="25437" y="10250"/>
                  <a:pt x="25469" y="10250"/>
                  <a:pt x="25469" y="10218"/>
                </a:cubicBezTo>
                <a:cubicBezTo>
                  <a:pt x="25531" y="10187"/>
                  <a:pt x="25562" y="10187"/>
                  <a:pt x="25625" y="10156"/>
                </a:cubicBezTo>
                <a:cubicBezTo>
                  <a:pt x="25656" y="10156"/>
                  <a:pt x="25687" y="10156"/>
                  <a:pt x="25719" y="10156"/>
                </a:cubicBezTo>
                <a:cubicBezTo>
                  <a:pt x="25750" y="10125"/>
                  <a:pt x="25750" y="10125"/>
                  <a:pt x="25781" y="10125"/>
                </a:cubicBezTo>
                <a:cubicBezTo>
                  <a:pt x="25812" y="10093"/>
                  <a:pt x="25875" y="10062"/>
                  <a:pt x="25937" y="10062"/>
                </a:cubicBezTo>
                <a:cubicBezTo>
                  <a:pt x="25875" y="10062"/>
                  <a:pt x="25812" y="10093"/>
                  <a:pt x="25781" y="10125"/>
                </a:cubicBezTo>
                <a:cubicBezTo>
                  <a:pt x="25844" y="10062"/>
                  <a:pt x="25906" y="10062"/>
                  <a:pt x="25969" y="10031"/>
                </a:cubicBezTo>
                <a:cubicBezTo>
                  <a:pt x="26000" y="10062"/>
                  <a:pt x="26000" y="10062"/>
                  <a:pt x="26000" y="10062"/>
                </a:cubicBezTo>
                <a:cubicBezTo>
                  <a:pt x="25906" y="10093"/>
                  <a:pt x="25812" y="10125"/>
                  <a:pt x="25719" y="10156"/>
                </a:cubicBezTo>
                <a:cubicBezTo>
                  <a:pt x="25625" y="10187"/>
                  <a:pt x="25531" y="10250"/>
                  <a:pt x="25437" y="10250"/>
                </a:cubicBezTo>
                <a:cubicBezTo>
                  <a:pt x="25375" y="10343"/>
                  <a:pt x="25281" y="10312"/>
                  <a:pt x="25219" y="10343"/>
                </a:cubicBezTo>
                <a:cubicBezTo>
                  <a:pt x="25125" y="10406"/>
                  <a:pt x="25031" y="10468"/>
                  <a:pt x="24906" y="10437"/>
                </a:cubicBezTo>
                <a:cubicBezTo>
                  <a:pt x="24844" y="10500"/>
                  <a:pt x="24781" y="10531"/>
                  <a:pt x="24719" y="10531"/>
                </a:cubicBezTo>
                <a:cubicBezTo>
                  <a:pt x="24719" y="10531"/>
                  <a:pt x="24719" y="10531"/>
                  <a:pt x="24719" y="10531"/>
                </a:cubicBezTo>
                <a:lnTo>
                  <a:pt x="24718" y="10531"/>
                </a:lnTo>
                <a:lnTo>
                  <a:pt x="24717" y="10531"/>
                </a:lnTo>
                <a:lnTo>
                  <a:pt x="24717" y="10531"/>
                </a:lnTo>
                <a:lnTo>
                  <a:pt x="24716" y="10531"/>
                </a:lnTo>
                <a:lnTo>
                  <a:pt x="24716" y="10531"/>
                </a:lnTo>
                <a:lnTo>
                  <a:pt x="24716" y="10531"/>
                </a:lnTo>
                <a:lnTo>
                  <a:pt x="24715" y="10531"/>
                </a:lnTo>
                <a:lnTo>
                  <a:pt x="24714" y="10531"/>
                </a:lnTo>
                <a:lnTo>
                  <a:pt x="24714" y="10531"/>
                </a:lnTo>
                <a:lnTo>
                  <a:pt x="24713" y="10531"/>
                </a:lnTo>
                <a:lnTo>
                  <a:pt x="24713" y="10531"/>
                </a:lnTo>
                <a:lnTo>
                  <a:pt x="24713" y="10531"/>
                </a:lnTo>
                <a:lnTo>
                  <a:pt x="24712" y="10531"/>
                </a:lnTo>
                <a:lnTo>
                  <a:pt x="24711" y="10531"/>
                </a:lnTo>
                <a:lnTo>
                  <a:pt x="24711" y="10531"/>
                </a:lnTo>
                <a:lnTo>
                  <a:pt x="24710" y="10531"/>
                </a:lnTo>
                <a:lnTo>
                  <a:pt x="24709" y="10531"/>
                </a:lnTo>
                <a:lnTo>
                  <a:pt x="24709" y="10531"/>
                </a:lnTo>
                <a:lnTo>
                  <a:pt x="24709" y="10531"/>
                </a:lnTo>
                <a:lnTo>
                  <a:pt x="24708" y="10531"/>
                </a:lnTo>
                <a:lnTo>
                  <a:pt x="24708" y="10531"/>
                </a:lnTo>
                <a:lnTo>
                  <a:pt x="24707" y="10531"/>
                </a:lnTo>
                <a:lnTo>
                  <a:pt x="24707" y="10531"/>
                </a:lnTo>
                <a:lnTo>
                  <a:pt x="24706" y="10531"/>
                </a:lnTo>
                <a:lnTo>
                  <a:pt x="24706" y="10531"/>
                </a:lnTo>
                <a:lnTo>
                  <a:pt x="24705" y="10531"/>
                </a:lnTo>
                <a:lnTo>
                  <a:pt x="24705" y="10531"/>
                </a:lnTo>
                <a:lnTo>
                  <a:pt x="24704" y="10531"/>
                </a:lnTo>
                <a:lnTo>
                  <a:pt x="24704" y="10531"/>
                </a:lnTo>
                <a:lnTo>
                  <a:pt x="24703" y="10531"/>
                </a:lnTo>
                <a:lnTo>
                  <a:pt x="24703" y="10531"/>
                </a:lnTo>
                <a:lnTo>
                  <a:pt x="24702" y="10531"/>
                </a:lnTo>
                <a:lnTo>
                  <a:pt x="24702" y="10531"/>
                </a:lnTo>
                <a:lnTo>
                  <a:pt x="24701" y="10531"/>
                </a:lnTo>
                <a:lnTo>
                  <a:pt x="24701" y="10531"/>
                </a:lnTo>
                <a:lnTo>
                  <a:pt x="24701" y="10531"/>
                </a:lnTo>
                <a:lnTo>
                  <a:pt x="24700" y="10531"/>
                </a:lnTo>
                <a:lnTo>
                  <a:pt x="24700" y="10531"/>
                </a:lnTo>
                <a:lnTo>
                  <a:pt x="24699" y="10531"/>
                </a:lnTo>
                <a:lnTo>
                  <a:pt x="24699" y="10531"/>
                </a:lnTo>
                <a:lnTo>
                  <a:pt x="24698" y="10531"/>
                </a:lnTo>
                <a:lnTo>
                  <a:pt x="24698" y="10531"/>
                </a:lnTo>
                <a:lnTo>
                  <a:pt x="24697" y="10531"/>
                </a:lnTo>
                <a:lnTo>
                  <a:pt x="24697" y="10531"/>
                </a:lnTo>
                <a:lnTo>
                  <a:pt x="24697" y="10531"/>
                </a:lnTo>
                <a:lnTo>
                  <a:pt x="24696" y="10531"/>
                </a:lnTo>
                <a:lnTo>
                  <a:pt x="24696" y="10531"/>
                </a:lnTo>
                <a:lnTo>
                  <a:pt x="24695" y="10531"/>
                </a:lnTo>
                <a:lnTo>
                  <a:pt x="24695" y="10531"/>
                </a:lnTo>
                <a:lnTo>
                  <a:pt x="24694" y="10531"/>
                </a:lnTo>
                <a:lnTo>
                  <a:pt x="24694" y="10531"/>
                </a:lnTo>
                <a:lnTo>
                  <a:pt x="24694" y="10531"/>
                </a:lnTo>
                <a:lnTo>
                  <a:pt x="24693" y="10531"/>
                </a:lnTo>
                <a:lnTo>
                  <a:pt x="24693" y="10531"/>
                </a:lnTo>
                <a:lnTo>
                  <a:pt x="24693" y="10531"/>
                </a:lnTo>
                <a:lnTo>
                  <a:pt x="24692" y="10531"/>
                </a:lnTo>
                <a:lnTo>
                  <a:pt x="24692" y="10531"/>
                </a:lnTo>
                <a:lnTo>
                  <a:pt x="24692" y="10531"/>
                </a:lnTo>
                <a:lnTo>
                  <a:pt x="24692" y="10531"/>
                </a:lnTo>
                <a:lnTo>
                  <a:pt x="24691" y="10531"/>
                </a:lnTo>
                <a:lnTo>
                  <a:pt x="24691" y="10531"/>
                </a:lnTo>
                <a:lnTo>
                  <a:pt x="24691" y="10531"/>
                </a:lnTo>
                <a:lnTo>
                  <a:pt x="24690" y="10531"/>
                </a:lnTo>
                <a:lnTo>
                  <a:pt x="24690" y="10531"/>
                </a:lnTo>
                <a:lnTo>
                  <a:pt x="24690" y="10531"/>
                </a:lnTo>
                <a:lnTo>
                  <a:pt x="24690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cubicBezTo>
                  <a:pt x="24625" y="10531"/>
                  <a:pt x="24562" y="10531"/>
                  <a:pt x="24531" y="10593"/>
                </a:cubicBezTo>
                <a:cubicBezTo>
                  <a:pt x="24531" y="10593"/>
                  <a:pt x="24531" y="10593"/>
                  <a:pt x="24531" y="10593"/>
                </a:cubicBezTo>
                <a:cubicBezTo>
                  <a:pt x="24531" y="10593"/>
                  <a:pt x="24531" y="10593"/>
                  <a:pt x="24531" y="10593"/>
                </a:cubicBezTo>
                <a:cubicBezTo>
                  <a:pt x="24531" y="10593"/>
                  <a:pt x="24531" y="10593"/>
                  <a:pt x="24531" y="10593"/>
                </a:cubicBezTo>
                <a:cubicBezTo>
                  <a:pt x="24375" y="10593"/>
                  <a:pt x="24250" y="10656"/>
                  <a:pt x="24125" y="10718"/>
                </a:cubicBezTo>
                <a:cubicBezTo>
                  <a:pt x="24062" y="10750"/>
                  <a:pt x="23969" y="10718"/>
                  <a:pt x="23906" y="10812"/>
                </a:cubicBezTo>
                <a:cubicBezTo>
                  <a:pt x="23906" y="10812"/>
                  <a:pt x="23906" y="10812"/>
                  <a:pt x="23906" y="10812"/>
                </a:cubicBezTo>
                <a:cubicBezTo>
                  <a:pt x="23906" y="10812"/>
                  <a:pt x="23906" y="10812"/>
                  <a:pt x="23906" y="10812"/>
                </a:cubicBezTo>
                <a:cubicBezTo>
                  <a:pt x="23906" y="10812"/>
                  <a:pt x="23906" y="10812"/>
                  <a:pt x="23906" y="10812"/>
                </a:cubicBezTo>
                <a:cubicBezTo>
                  <a:pt x="23844" y="10812"/>
                  <a:pt x="23750" y="10812"/>
                  <a:pt x="23719" y="10875"/>
                </a:cubicBezTo>
                <a:cubicBezTo>
                  <a:pt x="23719" y="10875"/>
                  <a:pt x="23719" y="10875"/>
                  <a:pt x="23719" y="10875"/>
                </a:cubicBezTo>
                <a:cubicBezTo>
                  <a:pt x="23719" y="10875"/>
                  <a:pt x="23719" y="10875"/>
                  <a:pt x="23719" y="10875"/>
                </a:cubicBezTo>
                <a:cubicBezTo>
                  <a:pt x="23719" y="10875"/>
                  <a:pt x="23719" y="10875"/>
                  <a:pt x="23719" y="10875"/>
                </a:cubicBezTo>
                <a:cubicBezTo>
                  <a:pt x="23531" y="10906"/>
                  <a:pt x="23375" y="10968"/>
                  <a:pt x="23187" y="11031"/>
                </a:cubicBezTo>
                <a:cubicBezTo>
                  <a:pt x="23219" y="11031"/>
                  <a:pt x="23219" y="11031"/>
                  <a:pt x="23219" y="11031"/>
                </a:cubicBezTo>
                <a:cubicBezTo>
                  <a:pt x="23125" y="11031"/>
                  <a:pt x="23062" y="11093"/>
                  <a:pt x="23000" y="11125"/>
                </a:cubicBezTo>
                <a:cubicBezTo>
                  <a:pt x="23000" y="11125"/>
                  <a:pt x="23000" y="11125"/>
                  <a:pt x="23000" y="11125"/>
                </a:cubicBezTo>
                <a:cubicBezTo>
                  <a:pt x="22969" y="11125"/>
                  <a:pt x="22937" y="11093"/>
                  <a:pt x="22937" y="11125"/>
                </a:cubicBezTo>
                <a:cubicBezTo>
                  <a:pt x="22906" y="11156"/>
                  <a:pt x="22906" y="11156"/>
                  <a:pt x="22906" y="11156"/>
                </a:cubicBezTo>
                <a:cubicBezTo>
                  <a:pt x="22750" y="11187"/>
                  <a:pt x="22594" y="11218"/>
                  <a:pt x="22469" y="11312"/>
                </a:cubicBezTo>
                <a:cubicBezTo>
                  <a:pt x="22469" y="11312"/>
                  <a:pt x="22469" y="11312"/>
                  <a:pt x="22469" y="11312"/>
                </a:cubicBezTo>
                <a:cubicBezTo>
                  <a:pt x="22469" y="11312"/>
                  <a:pt x="22469" y="11312"/>
                  <a:pt x="22469" y="11312"/>
                </a:cubicBezTo>
                <a:cubicBezTo>
                  <a:pt x="22469" y="11312"/>
                  <a:pt x="22469" y="11312"/>
                  <a:pt x="22469" y="11312"/>
                </a:cubicBezTo>
                <a:cubicBezTo>
                  <a:pt x="22375" y="11312"/>
                  <a:pt x="22312" y="11312"/>
                  <a:pt x="22250" y="11375"/>
                </a:cubicBezTo>
                <a:cubicBezTo>
                  <a:pt x="22250" y="11375"/>
                  <a:pt x="22250" y="11375"/>
                  <a:pt x="22250" y="11375"/>
                </a:cubicBezTo>
                <a:cubicBezTo>
                  <a:pt x="22250" y="11375"/>
                  <a:pt x="22250" y="11375"/>
                  <a:pt x="22250" y="11375"/>
                </a:cubicBezTo>
                <a:cubicBezTo>
                  <a:pt x="22250" y="11375"/>
                  <a:pt x="22250" y="11375"/>
                  <a:pt x="22250" y="11375"/>
                </a:cubicBezTo>
                <a:cubicBezTo>
                  <a:pt x="22094" y="11406"/>
                  <a:pt x="21969" y="11437"/>
                  <a:pt x="21844" y="11531"/>
                </a:cubicBezTo>
                <a:cubicBezTo>
                  <a:pt x="21844" y="11531"/>
                  <a:pt x="21844" y="11531"/>
                  <a:pt x="21844" y="11531"/>
                </a:cubicBezTo>
                <a:cubicBezTo>
                  <a:pt x="21844" y="11531"/>
                  <a:pt x="21844" y="11531"/>
                  <a:pt x="21844" y="11531"/>
                </a:cubicBezTo>
                <a:cubicBezTo>
                  <a:pt x="21844" y="11531"/>
                  <a:pt x="21844" y="11531"/>
                  <a:pt x="21844" y="11531"/>
                </a:cubicBezTo>
                <a:cubicBezTo>
                  <a:pt x="21812" y="11531"/>
                  <a:pt x="21781" y="11531"/>
                  <a:pt x="21750" y="11531"/>
                </a:cubicBezTo>
                <a:cubicBezTo>
                  <a:pt x="21656" y="11562"/>
                  <a:pt x="21594" y="11593"/>
                  <a:pt x="21531" y="11593"/>
                </a:cubicBezTo>
                <a:cubicBezTo>
                  <a:pt x="21594" y="11593"/>
                  <a:pt x="21656" y="11562"/>
                  <a:pt x="21750" y="11531"/>
                </a:cubicBezTo>
                <a:cubicBezTo>
                  <a:pt x="21625" y="11562"/>
                  <a:pt x="21500" y="11593"/>
                  <a:pt x="21375" y="11656"/>
                </a:cubicBezTo>
                <a:cubicBezTo>
                  <a:pt x="21375" y="11656"/>
                  <a:pt x="21375" y="11656"/>
                  <a:pt x="21375" y="11656"/>
                </a:cubicBezTo>
                <a:cubicBezTo>
                  <a:pt x="21219" y="11687"/>
                  <a:pt x="21094" y="11718"/>
                  <a:pt x="20969" y="11812"/>
                </a:cubicBezTo>
                <a:cubicBezTo>
                  <a:pt x="20969" y="11812"/>
                  <a:pt x="20969" y="11812"/>
                  <a:pt x="20969" y="11812"/>
                </a:cubicBezTo>
                <a:cubicBezTo>
                  <a:pt x="20937" y="11812"/>
                  <a:pt x="20937" y="11812"/>
                  <a:pt x="20937" y="11812"/>
                </a:cubicBezTo>
                <a:cubicBezTo>
                  <a:pt x="20937" y="11812"/>
                  <a:pt x="20937" y="11812"/>
                  <a:pt x="20969" y="11812"/>
                </a:cubicBezTo>
                <a:cubicBezTo>
                  <a:pt x="20812" y="11781"/>
                  <a:pt x="20719" y="11875"/>
                  <a:pt x="20594" y="11906"/>
                </a:cubicBezTo>
                <a:cubicBezTo>
                  <a:pt x="20562" y="11875"/>
                  <a:pt x="20531" y="11875"/>
                  <a:pt x="20562" y="11843"/>
                </a:cubicBezTo>
                <a:cubicBezTo>
                  <a:pt x="20594" y="11812"/>
                  <a:pt x="20625" y="11812"/>
                  <a:pt x="20687" y="11812"/>
                </a:cubicBezTo>
                <a:cubicBezTo>
                  <a:pt x="20875" y="11750"/>
                  <a:pt x="21094" y="11687"/>
                  <a:pt x="21281" y="11593"/>
                </a:cubicBezTo>
                <a:cubicBezTo>
                  <a:pt x="21344" y="11625"/>
                  <a:pt x="21406" y="11562"/>
                  <a:pt x="21437" y="11531"/>
                </a:cubicBezTo>
                <a:cubicBezTo>
                  <a:pt x="21469" y="11531"/>
                  <a:pt x="21469" y="11531"/>
                  <a:pt x="21469" y="11531"/>
                </a:cubicBezTo>
                <a:cubicBezTo>
                  <a:pt x="21469" y="11531"/>
                  <a:pt x="21469" y="11531"/>
                  <a:pt x="21469" y="11531"/>
                </a:cubicBezTo>
                <a:cubicBezTo>
                  <a:pt x="21625" y="11531"/>
                  <a:pt x="21781" y="11437"/>
                  <a:pt x="21906" y="11375"/>
                </a:cubicBezTo>
                <a:cubicBezTo>
                  <a:pt x="21906" y="11375"/>
                  <a:pt x="21906" y="11375"/>
                  <a:pt x="21906" y="11375"/>
                </a:cubicBezTo>
                <a:cubicBezTo>
                  <a:pt x="22000" y="11375"/>
                  <a:pt x="22062" y="11343"/>
                  <a:pt x="22125" y="11312"/>
                </a:cubicBezTo>
                <a:cubicBezTo>
                  <a:pt x="22125" y="11312"/>
                  <a:pt x="22125" y="11312"/>
                  <a:pt x="22125" y="11312"/>
                </a:cubicBezTo>
                <a:cubicBezTo>
                  <a:pt x="22187" y="11312"/>
                  <a:pt x="22250" y="11250"/>
                  <a:pt x="22281" y="11250"/>
                </a:cubicBezTo>
                <a:cubicBezTo>
                  <a:pt x="22312" y="11250"/>
                  <a:pt x="22344" y="11250"/>
                  <a:pt x="22344" y="11250"/>
                </a:cubicBezTo>
                <a:cubicBezTo>
                  <a:pt x="22344" y="11250"/>
                  <a:pt x="22344" y="11250"/>
                  <a:pt x="22344" y="11250"/>
                </a:cubicBezTo>
                <a:cubicBezTo>
                  <a:pt x="22562" y="11187"/>
                  <a:pt x="22750" y="11093"/>
                  <a:pt x="22969" y="11031"/>
                </a:cubicBezTo>
                <a:cubicBezTo>
                  <a:pt x="22969" y="11031"/>
                  <a:pt x="22969" y="11031"/>
                  <a:pt x="22969" y="11031"/>
                </a:cubicBezTo>
                <a:cubicBezTo>
                  <a:pt x="23000" y="11031"/>
                  <a:pt x="23062" y="11031"/>
                  <a:pt x="23062" y="10968"/>
                </a:cubicBezTo>
                <a:cubicBezTo>
                  <a:pt x="23094" y="10968"/>
                  <a:pt x="23125" y="10968"/>
                  <a:pt x="23156" y="10968"/>
                </a:cubicBezTo>
                <a:cubicBezTo>
                  <a:pt x="23187" y="10937"/>
                  <a:pt x="23250" y="10968"/>
                  <a:pt x="23281" y="10906"/>
                </a:cubicBezTo>
                <a:cubicBezTo>
                  <a:pt x="23281" y="10906"/>
                  <a:pt x="23281" y="10906"/>
                  <a:pt x="23281" y="10906"/>
                </a:cubicBezTo>
                <a:cubicBezTo>
                  <a:pt x="23281" y="10906"/>
                  <a:pt x="23281" y="10906"/>
                  <a:pt x="23281" y="10906"/>
                </a:cubicBezTo>
                <a:cubicBezTo>
                  <a:pt x="23281" y="10906"/>
                  <a:pt x="23281" y="10906"/>
                  <a:pt x="23281" y="10906"/>
                </a:cubicBezTo>
                <a:cubicBezTo>
                  <a:pt x="23375" y="10906"/>
                  <a:pt x="23469" y="10875"/>
                  <a:pt x="23562" y="10812"/>
                </a:cubicBezTo>
                <a:cubicBezTo>
                  <a:pt x="23781" y="10718"/>
                  <a:pt x="24031" y="10625"/>
                  <a:pt x="24250" y="10562"/>
                </a:cubicBezTo>
                <a:cubicBezTo>
                  <a:pt x="24375" y="10531"/>
                  <a:pt x="24500" y="10531"/>
                  <a:pt x="24562" y="10437"/>
                </a:cubicBezTo>
                <a:cubicBezTo>
                  <a:pt x="24687" y="10437"/>
                  <a:pt x="24750" y="10343"/>
                  <a:pt x="24844" y="10343"/>
                </a:cubicBezTo>
                <a:cubicBezTo>
                  <a:pt x="24906" y="10312"/>
                  <a:pt x="24937" y="10343"/>
                  <a:pt x="24969" y="10312"/>
                </a:cubicBezTo>
                <a:cubicBezTo>
                  <a:pt x="24969" y="10312"/>
                  <a:pt x="24969" y="10312"/>
                  <a:pt x="24969" y="10312"/>
                </a:cubicBezTo>
                <a:cubicBezTo>
                  <a:pt x="25000" y="10312"/>
                  <a:pt x="25062" y="10312"/>
                  <a:pt x="25062" y="10250"/>
                </a:cubicBezTo>
                <a:cubicBezTo>
                  <a:pt x="25156" y="10218"/>
                  <a:pt x="25250" y="10218"/>
                  <a:pt x="25344" y="10187"/>
                </a:cubicBezTo>
                <a:cubicBezTo>
                  <a:pt x="25656" y="10031"/>
                  <a:pt x="26031" y="9937"/>
                  <a:pt x="26344" y="9781"/>
                </a:cubicBezTo>
                <a:cubicBezTo>
                  <a:pt x="26562" y="9687"/>
                  <a:pt x="26750" y="9656"/>
                  <a:pt x="26937" y="9562"/>
                </a:cubicBezTo>
                <a:cubicBezTo>
                  <a:pt x="27156" y="9500"/>
                  <a:pt x="27375" y="9437"/>
                  <a:pt x="27594" y="9343"/>
                </a:cubicBezTo>
                <a:cubicBezTo>
                  <a:pt x="27656" y="9312"/>
                  <a:pt x="27750" y="9312"/>
                  <a:pt x="27812" y="9250"/>
                </a:cubicBezTo>
                <a:cubicBezTo>
                  <a:pt x="28000" y="9187"/>
                  <a:pt x="28187" y="9125"/>
                  <a:pt x="28375" y="9031"/>
                </a:cubicBezTo>
                <a:cubicBezTo>
                  <a:pt x="28375" y="9031"/>
                  <a:pt x="28375" y="9031"/>
                  <a:pt x="28375" y="9031"/>
                </a:cubicBezTo>
                <a:cubicBezTo>
                  <a:pt x="28437" y="9125"/>
                  <a:pt x="28437" y="9125"/>
                  <a:pt x="28437" y="9125"/>
                </a:cubicBezTo>
                <a:cubicBezTo>
                  <a:pt x="28375" y="9156"/>
                  <a:pt x="28281" y="9156"/>
                  <a:pt x="28219" y="9218"/>
                </a:cubicBezTo>
                <a:cubicBezTo>
                  <a:pt x="28125" y="9218"/>
                  <a:pt x="28031" y="9281"/>
                  <a:pt x="27937" y="9312"/>
                </a:cubicBezTo>
                <a:cubicBezTo>
                  <a:pt x="27844" y="9343"/>
                  <a:pt x="27750" y="9375"/>
                  <a:pt x="27656" y="9437"/>
                </a:cubicBezTo>
                <a:cubicBezTo>
                  <a:pt x="27562" y="9500"/>
                  <a:pt x="27469" y="9531"/>
                  <a:pt x="27375" y="9531"/>
                </a:cubicBezTo>
                <a:cubicBezTo>
                  <a:pt x="27281" y="9625"/>
                  <a:pt x="27187" y="9625"/>
                  <a:pt x="27094" y="9656"/>
                </a:cubicBezTo>
                <a:lnTo>
                  <a:pt x="27094" y="9656"/>
                </a:lnTo>
                <a:cubicBezTo>
                  <a:pt x="27156" y="9562"/>
                  <a:pt x="27281" y="9562"/>
                  <a:pt x="27375" y="9531"/>
                </a:cubicBezTo>
                <a:cubicBezTo>
                  <a:pt x="27469" y="9500"/>
                  <a:pt x="27531" y="9437"/>
                  <a:pt x="27656" y="9437"/>
                </a:cubicBezTo>
                <a:cubicBezTo>
                  <a:pt x="27750" y="9406"/>
                  <a:pt x="27844" y="9406"/>
                  <a:pt x="27937" y="9312"/>
                </a:cubicBezTo>
                <a:cubicBezTo>
                  <a:pt x="28062" y="9312"/>
                  <a:pt x="28125" y="9281"/>
                  <a:pt x="28219" y="9218"/>
                </a:cubicBezTo>
                <a:cubicBezTo>
                  <a:pt x="28312" y="9187"/>
                  <a:pt x="28437" y="9187"/>
                  <a:pt x="28500" y="9125"/>
                </a:cubicBezTo>
                <a:cubicBezTo>
                  <a:pt x="28500" y="9125"/>
                  <a:pt x="28531" y="9125"/>
                  <a:pt x="28531" y="9093"/>
                </a:cubicBezTo>
                <a:cubicBezTo>
                  <a:pt x="28594" y="9125"/>
                  <a:pt x="28625" y="9093"/>
                  <a:pt x="28687" y="9062"/>
                </a:cubicBezTo>
                <a:cubicBezTo>
                  <a:pt x="28812" y="9031"/>
                  <a:pt x="28969" y="8968"/>
                  <a:pt x="29094" y="8937"/>
                </a:cubicBezTo>
                <a:cubicBezTo>
                  <a:pt x="29125" y="8937"/>
                  <a:pt x="29125" y="8906"/>
                  <a:pt x="29125" y="8906"/>
                </a:cubicBezTo>
                <a:cubicBezTo>
                  <a:pt x="29187" y="8875"/>
                  <a:pt x="29219" y="8875"/>
                  <a:pt x="29281" y="8843"/>
                </a:cubicBezTo>
                <a:cubicBezTo>
                  <a:pt x="29281" y="8875"/>
                  <a:pt x="29250" y="8937"/>
                  <a:pt x="29156" y="8968"/>
                </a:cubicBezTo>
                <a:cubicBezTo>
                  <a:pt x="29125" y="8968"/>
                  <a:pt x="29094" y="8968"/>
                  <a:pt x="29094" y="9000"/>
                </a:cubicBezTo>
                <a:cubicBezTo>
                  <a:pt x="29062" y="9031"/>
                  <a:pt x="29031" y="9031"/>
                  <a:pt x="29000" y="9062"/>
                </a:cubicBezTo>
                <a:cubicBezTo>
                  <a:pt x="28969" y="9093"/>
                  <a:pt x="28906" y="9125"/>
                  <a:pt x="28969" y="9187"/>
                </a:cubicBezTo>
                <a:cubicBezTo>
                  <a:pt x="29000" y="9250"/>
                  <a:pt x="29031" y="9218"/>
                  <a:pt x="29062" y="9187"/>
                </a:cubicBezTo>
                <a:cubicBezTo>
                  <a:pt x="29125" y="9187"/>
                  <a:pt x="29187" y="9156"/>
                  <a:pt x="29250" y="9125"/>
                </a:cubicBezTo>
                <a:cubicBezTo>
                  <a:pt x="29281" y="9125"/>
                  <a:pt x="29312" y="9093"/>
                  <a:pt x="29375" y="9093"/>
                </a:cubicBezTo>
                <a:cubicBezTo>
                  <a:pt x="29406" y="9093"/>
                  <a:pt x="29437" y="9093"/>
                  <a:pt x="29469" y="9031"/>
                </a:cubicBezTo>
                <a:cubicBezTo>
                  <a:pt x="29500" y="9031"/>
                  <a:pt x="29562" y="9031"/>
                  <a:pt x="29594" y="9000"/>
                </a:cubicBezTo>
                <a:cubicBezTo>
                  <a:pt x="29656" y="8968"/>
                  <a:pt x="29781" y="8968"/>
                  <a:pt x="29844" y="8906"/>
                </a:cubicBezTo>
                <a:cubicBezTo>
                  <a:pt x="29875" y="8875"/>
                  <a:pt x="29937" y="8906"/>
                  <a:pt x="29969" y="8875"/>
                </a:cubicBezTo>
                <a:cubicBezTo>
                  <a:pt x="30031" y="8875"/>
                  <a:pt x="30031" y="8812"/>
                  <a:pt x="30062" y="8812"/>
                </a:cubicBezTo>
                <a:cubicBezTo>
                  <a:pt x="30187" y="8812"/>
                  <a:pt x="30125" y="8781"/>
                  <a:pt x="30094" y="8718"/>
                </a:cubicBezTo>
                <a:cubicBezTo>
                  <a:pt x="30094" y="8656"/>
                  <a:pt x="30156" y="8687"/>
                  <a:pt x="30187" y="8656"/>
                </a:cubicBezTo>
                <a:cubicBezTo>
                  <a:pt x="30125" y="8593"/>
                  <a:pt x="30094" y="8562"/>
                  <a:pt x="30156" y="8531"/>
                </a:cubicBezTo>
                <a:cubicBezTo>
                  <a:pt x="30500" y="8406"/>
                  <a:pt x="30781" y="8312"/>
                  <a:pt x="30781" y="8312"/>
                </a:cubicBezTo>
                <a:cubicBezTo>
                  <a:pt x="30781" y="8312"/>
                  <a:pt x="30781" y="8312"/>
                  <a:pt x="30812" y="8281"/>
                </a:cubicBezTo>
                <a:cubicBezTo>
                  <a:pt x="30844" y="8281"/>
                  <a:pt x="30875" y="8281"/>
                  <a:pt x="30937" y="8250"/>
                </a:cubicBezTo>
                <a:cubicBezTo>
                  <a:pt x="30969" y="8218"/>
                  <a:pt x="31031" y="8187"/>
                  <a:pt x="31062" y="8156"/>
                </a:cubicBezTo>
                <a:cubicBezTo>
                  <a:pt x="31156" y="8156"/>
                  <a:pt x="31219" y="8125"/>
                  <a:pt x="31281" y="8062"/>
                </a:cubicBezTo>
                <a:cubicBezTo>
                  <a:pt x="31312" y="8062"/>
                  <a:pt x="31375" y="8093"/>
                  <a:pt x="31375" y="8031"/>
                </a:cubicBezTo>
                <a:lnTo>
                  <a:pt x="31375" y="8031"/>
                </a:lnTo>
                <a:cubicBezTo>
                  <a:pt x="31344" y="8031"/>
                  <a:pt x="31312" y="8031"/>
                  <a:pt x="31281" y="8062"/>
                </a:cubicBezTo>
                <a:cubicBezTo>
                  <a:pt x="31250" y="8062"/>
                  <a:pt x="31219" y="8093"/>
                  <a:pt x="31187" y="8093"/>
                </a:cubicBezTo>
                <a:cubicBezTo>
                  <a:pt x="31156" y="8125"/>
                  <a:pt x="31125" y="8125"/>
                  <a:pt x="31062" y="8125"/>
                </a:cubicBezTo>
                <a:cubicBezTo>
                  <a:pt x="31125" y="8125"/>
                  <a:pt x="31156" y="8125"/>
                  <a:pt x="31187" y="8093"/>
                </a:cubicBezTo>
                <a:cubicBezTo>
                  <a:pt x="31156" y="8093"/>
                  <a:pt x="31125" y="8125"/>
                  <a:pt x="31094" y="8125"/>
                </a:cubicBezTo>
                <a:cubicBezTo>
                  <a:pt x="31125" y="8093"/>
                  <a:pt x="31125" y="8062"/>
                  <a:pt x="31125" y="8031"/>
                </a:cubicBezTo>
                <a:cubicBezTo>
                  <a:pt x="31187" y="8000"/>
                  <a:pt x="31219" y="8000"/>
                  <a:pt x="31250" y="7968"/>
                </a:cubicBezTo>
                <a:cubicBezTo>
                  <a:pt x="31312" y="7937"/>
                  <a:pt x="31375" y="7937"/>
                  <a:pt x="31406" y="7906"/>
                </a:cubicBezTo>
                <a:cubicBezTo>
                  <a:pt x="31594" y="7843"/>
                  <a:pt x="31781" y="7750"/>
                  <a:pt x="31937" y="7687"/>
                </a:cubicBezTo>
                <a:cubicBezTo>
                  <a:pt x="32156" y="7625"/>
                  <a:pt x="32344" y="7562"/>
                  <a:pt x="32531" y="7468"/>
                </a:cubicBezTo>
                <a:cubicBezTo>
                  <a:pt x="32594" y="7437"/>
                  <a:pt x="32687" y="7406"/>
                  <a:pt x="32781" y="7406"/>
                </a:cubicBezTo>
                <a:cubicBezTo>
                  <a:pt x="32781" y="7375"/>
                  <a:pt x="32781" y="7375"/>
                  <a:pt x="32781" y="7375"/>
                </a:cubicBezTo>
                <a:cubicBezTo>
                  <a:pt x="32781" y="7312"/>
                  <a:pt x="32781" y="7281"/>
                  <a:pt x="32781" y="7218"/>
                </a:cubicBezTo>
                <a:cubicBezTo>
                  <a:pt x="32781" y="7218"/>
                  <a:pt x="32781" y="7187"/>
                  <a:pt x="32781" y="7156"/>
                </a:cubicBezTo>
                <a:cubicBezTo>
                  <a:pt x="32687" y="7187"/>
                  <a:pt x="32594" y="7250"/>
                  <a:pt x="32500" y="7281"/>
                </a:cubicBezTo>
                <a:cubicBezTo>
                  <a:pt x="32437" y="7281"/>
                  <a:pt x="32375" y="7312"/>
                  <a:pt x="32344" y="7312"/>
                </a:cubicBezTo>
                <a:cubicBezTo>
                  <a:pt x="32344" y="7312"/>
                  <a:pt x="32344" y="7281"/>
                  <a:pt x="32312" y="7281"/>
                </a:cubicBezTo>
                <a:cubicBezTo>
                  <a:pt x="32312" y="7281"/>
                  <a:pt x="32250" y="7250"/>
                  <a:pt x="32187" y="7250"/>
                </a:cubicBezTo>
                <a:cubicBezTo>
                  <a:pt x="32281" y="7218"/>
                  <a:pt x="32344" y="7187"/>
                  <a:pt x="32406" y="7156"/>
                </a:cubicBezTo>
                <a:cubicBezTo>
                  <a:pt x="32531" y="7125"/>
                  <a:pt x="32656" y="7062"/>
                  <a:pt x="32781" y="7031"/>
                </a:cubicBezTo>
                <a:cubicBezTo>
                  <a:pt x="32781" y="7031"/>
                  <a:pt x="32781" y="7031"/>
                  <a:pt x="32781" y="7000"/>
                </a:cubicBezTo>
                <a:cubicBezTo>
                  <a:pt x="32781" y="7000"/>
                  <a:pt x="32781" y="6968"/>
                  <a:pt x="32781" y="6968"/>
                </a:cubicBezTo>
                <a:cubicBezTo>
                  <a:pt x="32781" y="6937"/>
                  <a:pt x="32781" y="6937"/>
                  <a:pt x="32781" y="6906"/>
                </a:cubicBezTo>
                <a:cubicBezTo>
                  <a:pt x="32594" y="6968"/>
                  <a:pt x="32469" y="7031"/>
                  <a:pt x="32312" y="7093"/>
                </a:cubicBezTo>
                <a:cubicBezTo>
                  <a:pt x="32281" y="7093"/>
                  <a:pt x="32281" y="7093"/>
                  <a:pt x="32281" y="7093"/>
                </a:cubicBezTo>
                <a:cubicBezTo>
                  <a:pt x="32281" y="7093"/>
                  <a:pt x="32250" y="7093"/>
                  <a:pt x="32250" y="7093"/>
                </a:cubicBezTo>
                <a:cubicBezTo>
                  <a:pt x="32187" y="7156"/>
                  <a:pt x="32125" y="7187"/>
                  <a:pt x="32062" y="7187"/>
                </a:cubicBezTo>
                <a:cubicBezTo>
                  <a:pt x="32125" y="7187"/>
                  <a:pt x="32187" y="7156"/>
                  <a:pt x="32250" y="7093"/>
                </a:cubicBezTo>
                <a:cubicBezTo>
                  <a:pt x="32250" y="7093"/>
                  <a:pt x="32281" y="7093"/>
                  <a:pt x="32281" y="7093"/>
                </a:cubicBezTo>
                <a:cubicBezTo>
                  <a:pt x="32250" y="7031"/>
                  <a:pt x="32219" y="7000"/>
                  <a:pt x="32156" y="7000"/>
                </a:cubicBezTo>
                <a:cubicBezTo>
                  <a:pt x="32187" y="6968"/>
                  <a:pt x="32250" y="6968"/>
                  <a:pt x="32312" y="6937"/>
                </a:cubicBezTo>
                <a:cubicBezTo>
                  <a:pt x="32406" y="6906"/>
                  <a:pt x="32531" y="6906"/>
                  <a:pt x="32500" y="6750"/>
                </a:cubicBezTo>
                <a:cubicBezTo>
                  <a:pt x="32500" y="6718"/>
                  <a:pt x="32531" y="6750"/>
                  <a:pt x="32531" y="6718"/>
                </a:cubicBezTo>
                <a:lnTo>
                  <a:pt x="32531" y="6718"/>
                </a:lnTo>
                <a:cubicBezTo>
                  <a:pt x="32531" y="6718"/>
                  <a:pt x="32500" y="6718"/>
                  <a:pt x="32500" y="6750"/>
                </a:cubicBezTo>
                <a:cubicBezTo>
                  <a:pt x="32469" y="6750"/>
                  <a:pt x="32469" y="6750"/>
                  <a:pt x="32437" y="6750"/>
                </a:cubicBezTo>
                <a:cubicBezTo>
                  <a:pt x="32437" y="6781"/>
                  <a:pt x="32437" y="6812"/>
                  <a:pt x="32437" y="6812"/>
                </a:cubicBezTo>
                <a:cubicBezTo>
                  <a:pt x="32437" y="6812"/>
                  <a:pt x="32437" y="6781"/>
                  <a:pt x="32437" y="6750"/>
                </a:cubicBezTo>
                <a:cubicBezTo>
                  <a:pt x="32281" y="6812"/>
                  <a:pt x="32125" y="6843"/>
                  <a:pt x="31969" y="6937"/>
                </a:cubicBezTo>
                <a:cubicBezTo>
                  <a:pt x="31937" y="6937"/>
                  <a:pt x="31906" y="6906"/>
                  <a:pt x="31906" y="6843"/>
                </a:cubicBezTo>
                <a:cubicBezTo>
                  <a:pt x="32000" y="6812"/>
                  <a:pt x="32094" y="6781"/>
                  <a:pt x="32156" y="6750"/>
                </a:cubicBezTo>
                <a:cubicBezTo>
                  <a:pt x="32187" y="6750"/>
                  <a:pt x="32187" y="6750"/>
                  <a:pt x="32187" y="6750"/>
                </a:cubicBezTo>
                <a:cubicBezTo>
                  <a:pt x="32406" y="6687"/>
                  <a:pt x="32531" y="6625"/>
                  <a:pt x="32531" y="6625"/>
                </a:cubicBezTo>
                <a:cubicBezTo>
                  <a:pt x="32531" y="6625"/>
                  <a:pt x="32562" y="6500"/>
                  <a:pt x="32562" y="6500"/>
                </a:cubicBezTo>
                <a:cubicBezTo>
                  <a:pt x="32531" y="6500"/>
                  <a:pt x="32500" y="6500"/>
                  <a:pt x="32469" y="6500"/>
                </a:cubicBezTo>
                <a:cubicBezTo>
                  <a:pt x="32531" y="6468"/>
                  <a:pt x="32594" y="6437"/>
                  <a:pt x="32656" y="6437"/>
                </a:cubicBezTo>
                <a:cubicBezTo>
                  <a:pt x="32687" y="6437"/>
                  <a:pt x="32687" y="6437"/>
                  <a:pt x="32687" y="6406"/>
                </a:cubicBezTo>
                <a:cubicBezTo>
                  <a:pt x="32687" y="6375"/>
                  <a:pt x="32656" y="6375"/>
                  <a:pt x="32625" y="6375"/>
                </a:cubicBezTo>
                <a:cubicBezTo>
                  <a:pt x="32562" y="6406"/>
                  <a:pt x="32469" y="6437"/>
                  <a:pt x="32406" y="6468"/>
                </a:cubicBezTo>
                <a:cubicBezTo>
                  <a:pt x="32344" y="6468"/>
                  <a:pt x="32281" y="6468"/>
                  <a:pt x="32219" y="6468"/>
                </a:cubicBezTo>
                <a:cubicBezTo>
                  <a:pt x="32250" y="6437"/>
                  <a:pt x="32281" y="6437"/>
                  <a:pt x="32312" y="6437"/>
                </a:cubicBezTo>
                <a:cubicBezTo>
                  <a:pt x="32375" y="6406"/>
                  <a:pt x="32469" y="6375"/>
                  <a:pt x="32562" y="6343"/>
                </a:cubicBezTo>
                <a:cubicBezTo>
                  <a:pt x="32687" y="6312"/>
                  <a:pt x="32562" y="6250"/>
                  <a:pt x="32562" y="6218"/>
                </a:cubicBezTo>
                <a:cubicBezTo>
                  <a:pt x="32562" y="6156"/>
                  <a:pt x="32531" y="6156"/>
                  <a:pt x="32500" y="6156"/>
                </a:cubicBezTo>
                <a:cubicBezTo>
                  <a:pt x="32406" y="6218"/>
                  <a:pt x="32281" y="6218"/>
                  <a:pt x="32219" y="6312"/>
                </a:cubicBezTo>
                <a:cubicBezTo>
                  <a:pt x="32219" y="6312"/>
                  <a:pt x="32219" y="6312"/>
                  <a:pt x="32219" y="6312"/>
                </a:cubicBezTo>
                <a:cubicBezTo>
                  <a:pt x="32219" y="6312"/>
                  <a:pt x="32219" y="6312"/>
                  <a:pt x="32219" y="6312"/>
                </a:cubicBezTo>
                <a:cubicBezTo>
                  <a:pt x="32219" y="6312"/>
                  <a:pt x="32219" y="6312"/>
                  <a:pt x="32219" y="6312"/>
                </a:cubicBezTo>
                <a:cubicBezTo>
                  <a:pt x="32000" y="6343"/>
                  <a:pt x="31812" y="6437"/>
                  <a:pt x="31656" y="6531"/>
                </a:cubicBezTo>
                <a:cubicBezTo>
                  <a:pt x="31625" y="6531"/>
                  <a:pt x="31625" y="6531"/>
                  <a:pt x="31625" y="6531"/>
                </a:cubicBezTo>
                <a:cubicBezTo>
                  <a:pt x="31625" y="6531"/>
                  <a:pt x="31625" y="6531"/>
                  <a:pt x="31625" y="6531"/>
                </a:cubicBezTo>
                <a:cubicBezTo>
                  <a:pt x="31625" y="6531"/>
                  <a:pt x="31594" y="6531"/>
                  <a:pt x="31594" y="6531"/>
                </a:cubicBezTo>
                <a:cubicBezTo>
                  <a:pt x="31625" y="6562"/>
                  <a:pt x="31656" y="6625"/>
                  <a:pt x="31719" y="6625"/>
                </a:cubicBezTo>
                <a:cubicBezTo>
                  <a:pt x="31719" y="6625"/>
                  <a:pt x="31719" y="6625"/>
                  <a:pt x="31719" y="6625"/>
                </a:cubicBezTo>
                <a:cubicBezTo>
                  <a:pt x="31656" y="6625"/>
                  <a:pt x="31625" y="6562"/>
                  <a:pt x="31594" y="6531"/>
                </a:cubicBezTo>
                <a:cubicBezTo>
                  <a:pt x="31594" y="6531"/>
                  <a:pt x="31594" y="6531"/>
                  <a:pt x="31594" y="6531"/>
                </a:cubicBezTo>
                <a:cubicBezTo>
                  <a:pt x="31250" y="6656"/>
                  <a:pt x="30937" y="6781"/>
                  <a:pt x="30625" y="6906"/>
                </a:cubicBezTo>
                <a:cubicBezTo>
                  <a:pt x="30375" y="7031"/>
                  <a:pt x="30094" y="7125"/>
                  <a:pt x="29844" y="7218"/>
                </a:cubicBezTo>
                <a:cubicBezTo>
                  <a:pt x="29469" y="7343"/>
                  <a:pt x="29125" y="7500"/>
                  <a:pt x="28781" y="7625"/>
                </a:cubicBezTo>
                <a:cubicBezTo>
                  <a:pt x="28500" y="7750"/>
                  <a:pt x="28250" y="7843"/>
                  <a:pt x="28000" y="7937"/>
                </a:cubicBezTo>
                <a:cubicBezTo>
                  <a:pt x="27687" y="8031"/>
                  <a:pt x="27406" y="8156"/>
                  <a:pt x="27094" y="8281"/>
                </a:cubicBezTo>
                <a:cubicBezTo>
                  <a:pt x="27000" y="8312"/>
                  <a:pt x="26875" y="8406"/>
                  <a:pt x="26719" y="8375"/>
                </a:cubicBezTo>
                <a:cubicBezTo>
                  <a:pt x="26750" y="8375"/>
                  <a:pt x="26750" y="8375"/>
                  <a:pt x="26750" y="8375"/>
                </a:cubicBezTo>
                <a:cubicBezTo>
                  <a:pt x="26719" y="8375"/>
                  <a:pt x="26687" y="8375"/>
                  <a:pt x="26687" y="8343"/>
                </a:cubicBezTo>
                <a:cubicBezTo>
                  <a:pt x="26687" y="8343"/>
                  <a:pt x="26687" y="8343"/>
                  <a:pt x="26687" y="8343"/>
                </a:cubicBezTo>
                <a:cubicBezTo>
                  <a:pt x="26687" y="8375"/>
                  <a:pt x="26719" y="8375"/>
                  <a:pt x="26750" y="8375"/>
                </a:cubicBezTo>
                <a:cubicBezTo>
                  <a:pt x="26750" y="8375"/>
                  <a:pt x="26781" y="8375"/>
                  <a:pt x="26781" y="8375"/>
                </a:cubicBezTo>
                <a:cubicBezTo>
                  <a:pt x="27062" y="8250"/>
                  <a:pt x="27375" y="8125"/>
                  <a:pt x="27656" y="8000"/>
                </a:cubicBezTo>
                <a:cubicBezTo>
                  <a:pt x="27906" y="7906"/>
                  <a:pt x="28156" y="7843"/>
                  <a:pt x="28375" y="7718"/>
                </a:cubicBezTo>
                <a:cubicBezTo>
                  <a:pt x="28375" y="7718"/>
                  <a:pt x="28375" y="7718"/>
                  <a:pt x="28375" y="7718"/>
                </a:cubicBezTo>
                <a:cubicBezTo>
                  <a:pt x="28469" y="7687"/>
                  <a:pt x="28594" y="7656"/>
                  <a:pt x="28687" y="7593"/>
                </a:cubicBezTo>
                <a:cubicBezTo>
                  <a:pt x="29125" y="7437"/>
                  <a:pt x="29562" y="7281"/>
                  <a:pt x="29969" y="7093"/>
                </a:cubicBezTo>
                <a:cubicBezTo>
                  <a:pt x="30406" y="6937"/>
                  <a:pt x="30844" y="6781"/>
                  <a:pt x="31250" y="6593"/>
                </a:cubicBezTo>
                <a:cubicBezTo>
                  <a:pt x="31375" y="6562"/>
                  <a:pt x="31469" y="6500"/>
                  <a:pt x="31594" y="6500"/>
                </a:cubicBezTo>
                <a:cubicBezTo>
                  <a:pt x="31594" y="6468"/>
                  <a:pt x="31625" y="6468"/>
                  <a:pt x="31656" y="6437"/>
                </a:cubicBezTo>
                <a:cubicBezTo>
                  <a:pt x="31937" y="6343"/>
                  <a:pt x="32250" y="6218"/>
                  <a:pt x="32562" y="6093"/>
                </a:cubicBezTo>
                <a:cubicBezTo>
                  <a:pt x="32625" y="6125"/>
                  <a:pt x="32687" y="6000"/>
                  <a:pt x="32781" y="6031"/>
                </a:cubicBezTo>
                <a:cubicBezTo>
                  <a:pt x="32687" y="6125"/>
                  <a:pt x="32687" y="6187"/>
                  <a:pt x="32781" y="6250"/>
                </a:cubicBezTo>
                <a:lnTo>
                  <a:pt x="32781" y="6250"/>
                </a:lnTo>
                <a:cubicBezTo>
                  <a:pt x="32781" y="6187"/>
                  <a:pt x="32781" y="6125"/>
                  <a:pt x="32781" y="6031"/>
                </a:cubicBezTo>
                <a:cubicBezTo>
                  <a:pt x="32781" y="5968"/>
                  <a:pt x="32781" y="5937"/>
                  <a:pt x="32781" y="5875"/>
                </a:cubicBezTo>
                <a:cubicBezTo>
                  <a:pt x="32719" y="5906"/>
                  <a:pt x="32687" y="5937"/>
                  <a:pt x="32656" y="5937"/>
                </a:cubicBezTo>
                <a:cubicBezTo>
                  <a:pt x="32500" y="5968"/>
                  <a:pt x="32344" y="6062"/>
                  <a:pt x="32187" y="6093"/>
                </a:cubicBezTo>
                <a:cubicBezTo>
                  <a:pt x="31969" y="6187"/>
                  <a:pt x="31781" y="6281"/>
                  <a:pt x="31562" y="6343"/>
                </a:cubicBezTo>
                <a:cubicBezTo>
                  <a:pt x="31281" y="6468"/>
                  <a:pt x="31000" y="6593"/>
                  <a:pt x="30719" y="6687"/>
                </a:cubicBezTo>
                <a:cubicBezTo>
                  <a:pt x="30437" y="6812"/>
                  <a:pt x="30187" y="6906"/>
                  <a:pt x="29906" y="7000"/>
                </a:cubicBezTo>
                <a:cubicBezTo>
                  <a:pt x="29625" y="7125"/>
                  <a:pt x="29344" y="7218"/>
                  <a:pt x="29062" y="7343"/>
                </a:cubicBezTo>
                <a:cubicBezTo>
                  <a:pt x="28781" y="7437"/>
                  <a:pt x="28531" y="7531"/>
                  <a:pt x="28250" y="7656"/>
                </a:cubicBezTo>
                <a:cubicBezTo>
                  <a:pt x="27969" y="7750"/>
                  <a:pt x="27687" y="7875"/>
                  <a:pt x="27406" y="8000"/>
                </a:cubicBezTo>
                <a:cubicBezTo>
                  <a:pt x="27187" y="8062"/>
                  <a:pt x="26969" y="8125"/>
                  <a:pt x="26781" y="8218"/>
                </a:cubicBezTo>
                <a:cubicBezTo>
                  <a:pt x="26437" y="8343"/>
                  <a:pt x="26125" y="8468"/>
                  <a:pt x="25812" y="8625"/>
                </a:cubicBezTo>
                <a:cubicBezTo>
                  <a:pt x="25625" y="8687"/>
                  <a:pt x="25469" y="8718"/>
                  <a:pt x="25312" y="8781"/>
                </a:cubicBezTo>
                <a:cubicBezTo>
                  <a:pt x="25000" y="8906"/>
                  <a:pt x="24719" y="9000"/>
                  <a:pt x="24406" y="9125"/>
                </a:cubicBezTo>
                <a:cubicBezTo>
                  <a:pt x="24187" y="9187"/>
                  <a:pt x="23969" y="9281"/>
                  <a:pt x="23750" y="9375"/>
                </a:cubicBezTo>
                <a:cubicBezTo>
                  <a:pt x="23437" y="9500"/>
                  <a:pt x="23125" y="9593"/>
                  <a:pt x="22812" y="9718"/>
                </a:cubicBezTo>
                <a:cubicBezTo>
                  <a:pt x="22594" y="9812"/>
                  <a:pt x="22344" y="9875"/>
                  <a:pt x="22125" y="9968"/>
                </a:cubicBezTo>
                <a:cubicBezTo>
                  <a:pt x="22031" y="10000"/>
                  <a:pt x="21969" y="10031"/>
                  <a:pt x="21844" y="10031"/>
                </a:cubicBezTo>
                <a:cubicBezTo>
                  <a:pt x="22031" y="9968"/>
                  <a:pt x="22219" y="9906"/>
                  <a:pt x="22375" y="9843"/>
                </a:cubicBezTo>
                <a:cubicBezTo>
                  <a:pt x="22812" y="9656"/>
                  <a:pt x="23250" y="9500"/>
                  <a:pt x="23687" y="9343"/>
                </a:cubicBezTo>
                <a:cubicBezTo>
                  <a:pt x="24031" y="9218"/>
                  <a:pt x="24375" y="9093"/>
                  <a:pt x="24687" y="8968"/>
                </a:cubicBezTo>
                <a:cubicBezTo>
                  <a:pt x="25094" y="8781"/>
                  <a:pt x="25500" y="8625"/>
                  <a:pt x="25937" y="8468"/>
                </a:cubicBezTo>
                <a:cubicBezTo>
                  <a:pt x="26250" y="8343"/>
                  <a:pt x="26594" y="8218"/>
                  <a:pt x="26937" y="8093"/>
                </a:cubicBezTo>
                <a:cubicBezTo>
                  <a:pt x="27312" y="7937"/>
                  <a:pt x="27719" y="7781"/>
                  <a:pt x="28125" y="7625"/>
                </a:cubicBezTo>
                <a:cubicBezTo>
                  <a:pt x="28500" y="7468"/>
                  <a:pt x="28906" y="7312"/>
                  <a:pt x="29281" y="7156"/>
                </a:cubicBezTo>
                <a:cubicBezTo>
                  <a:pt x="29687" y="7000"/>
                  <a:pt x="30062" y="6843"/>
                  <a:pt x="30469" y="6687"/>
                </a:cubicBezTo>
                <a:cubicBezTo>
                  <a:pt x="30781" y="6562"/>
                  <a:pt x="31094" y="6437"/>
                  <a:pt x="31437" y="6312"/>
                </a:cubicBezTo>
                <a:cubicBezTo>
                  <a:pt x="31844" y="6156"/>
                  <a:pt x="32219" y="5968"/>
                  <a:pt x="32625" y="5812"/>
                </a:cubicBezTo>
                <a:cubicBezTo>
                  <a:pt x="32687" y="5812"/>
                  <a:pt x="32719" y="5781"/>
                  <a:pt x="32781" y="5781"/>
                </a:cubicBezTo>
                <a:cubicBezTo>
                  <a:pt x="32781" y="5750"/>
                  <a:pt x="32781" y="5750"/>
                  <a:pt x="32781" y="5750"/>
                </a:cubicBezTo>
                <a:cubicBezTo>
                  <a:pt x="32781" y="5687"/>
                  <a:pt x="32781" y="5625"/>
                  <a:pt x="32781" y="5562"/>
                </a:cubicBezTo>
                <a:cubicBezTo>
                  <a:pt x="32687" y="5593"/>
                  <a:pt x="32625" y="5625"/>
                  <a:pt x="32531" y="5656"/>
                </a:cubicBezTo>
                <a:cubicBezTo>
                  <a:pt x="32437" y="5656"/>
                  <a:pt x="32375" y="5718"/>
                  <a:pt x="32312" y="5750"/>
                </a:cubicBezTo>
                <a:cubicBezTo>
                  <a:pt x="32281" y="5750"/>
                  <a:pt x="32250" y="5750"/>
                  <a:pt x="32250" y="5781"/>
                </a:cubicBezTo>
                <a:cubicBezTo>
                  <a:pt x="32219" y="5781"/>
                  <a:pt x="32156" y="5781"/>
                  <a:pt x="32125" y="5812"/>
                </a:cubicBezTo>
                <a:cubicBezTo>
                  <a:pt x="32094" y="5812"/>
                  <a:pt x="32062" y="5843"/>
                  <a:pt x="32000" y="5843"/>
                </a:cubicBezTo>
                <a:cubicBezTo>
                  <a:pt x="32062" y="5843"/>
                  <a:pt x="32094" y="5812"/>
                  <a:pt x="32125" y="5812"/>
                </a:cubicBezTo>
                <a:cubicBezTo>
                  <a:pt x="32062" y="5812"/>
                  <a:pt x="32000" y="5843"/>
                  <a:pt x="31937" y="5875"/>
                </a:cubicBezTo>
                <a:cubicBezTo>
                  <a:pt x="31937" y="5906"/>
                  <a:pt x="31906" y="5906"/>
                  <a:pt x="31875" y="5906"/>
                </a:cubicBezTo>
                <a:cubicBezTo>
                  <a:pt x="31781" y="5937"/>
                  <a:pt x="31687" y="5968"/>
                  <a:pt x="31594" y="6031"/>
                </a:cubicBezTo>
                <a:cubicBezTo>
                  <a:pt x="31562" y="6031"/>
                  <a:pt x="31562" y="6031"/>
                  <a:pt x="31531" y="6062"/>
                </a:cubicBezTo>
                <a:cubicBezTo>
                  <a:pt x="31500" y="6062"/>
                  <a:pt x="31469" y="6062"/>
                  <a:pt x="31437" y="6093"/>
                </a:cubicBezTo>
                <a:cubicBezTo>
                  <a:pt x="31375" y="6093"/>
                  <a:pt x="31344" y="6125"/>
                  <a:pt x="31312" y="6125"/>
                </a:cubicBezTo>
                <a:cubicBezTo>
                  <a:pt x="31344" y="6125"/>
                  <a:pt x="31375" y="6093"/>
                  <a:pt x="31437" y="6093"/>
                </a:cubicBezTo>
                <a:cubicBezTo>
                  <a:pt x="31344" y="6093"/>
                  <a:pt x="31281" y="6125"/>
                  <a:pt x="31219" y="6156"/>
                </a:cubicBezTo>
                <a:cubicBezTo>
                  <a:pt x="31219" y="6187"/>
                  <a:pt x="31187" y="6187"/>
                  <a:pt x="31156" y="6187"/>
                </a:cubicBezTo>
                <a:cubicBezTo>
                  <a:pt x="31125" y="6218"/>
                  <a:pt x="31094" y="6218"/>
                  <a:pt x="31062" y="6218"/>
                </a:cubicBezTo>
                <a:cubicBezTo>
                  <a:pt x="31062" y="6218"/>
                  <a:pt x="31031" y="6250"/>
                  <a:pt x="31000" y="6250"/>
                </a:cubicBezTo>
                <a:cubicBezTo>
                  <a:pt x="31031" y="6250"/>
                  <a:pt x="31062" y="6218"/>
                  <a:pt x="31062" y="6218"/>
                </a:cubicBezTo>
                <a:cubicBezTo>
                  <a:pt x="31031" y="6218"/>
                  <a:pt x="30969" y="6250"/>
                  <a:pt x="30937" y="6281"/>
                </a:cubicBezTo>
                <a:cubicBezTo>
                  <a:pt x="30906" y="6312"/>
                  <a:pt x="30844" y="6312"/>
                  <a:pt x="30812" y="6343"/>
                </a:cubicBezTo>
                <a:cubicBezTo>
                  <a:pt x="30781" y="6343"/>
                  <a:pt x="30750" y="6343"/>
                  <a:pt x="30719" y="6343"/>
                </a:cubicBezTo>
                <a:cubicBezTo>
                  <a:pt x="30719" y="6343"/>
                  <a:pt x="30719" y="6343"/>
                  <a:pt x="30719" y="6343"/>
                </a:cubicBezTo>
                <a:cubicBezTo>
                  <a:pt x="30719" y="6343"/>
                  <a:pt x="30719" y="6343"/>
                  <a:pt x="30719" y="6343"/>
                </a:cubicBezTo>
                <a:cubicBezTo>
                  <a:pt x="30625" y="6375"/>
                  <a:pt x="30562" y="6437"/>
                  <a:pt x="30469" y="6468"/>
                </a:cubicBezTo>
                <a:cubicBezTo>
                  <a:pt x="30375" y="6500"/>
                  <a:pt x="30281" y="6500"/>
                  <a:pt x="30250" y="6562"/>
                </a:cubicBezTo>
                <a:cubicBezTo>
                  <a:pt x="30219" y="6562"/>
                  <a:pt x="30187" y="6593"/>
                  <a:pt x="30156" y="6593"/>
                </a:cubicBezTo>
                <a:cubicBezTo>
                  <a:pt x="30062" y="6625"/>
                  <a:pt x="29969" y="6656"/>
                  <a:pt x="29875" y="6718"/>
                </a:cubicBezTo>
                <a:cubicBezTo>
                  <a:pt x="29844" y="6718"/>
                  <a:pt x="29844" y="6718"/>
                  <a:pt x="29812" y="6750"/>
                </a:cubicBezTo>
                <a:cubicBezTo>
                  <a:pt x="29781" y="6750"/>
                  <a:pt x="29750" y="6750"/>
                  <a:pt x="29719" y="6750"/>
                </a:cubicBezTo>
                <a:cubicBezTo>
                  <a:pt x="29687" y="6781"/>
                  <a:pt x="29656" y="6781"/>
                  <a:pt x="29625" y="6812"/>
                </a:cubicBezTo>
                <a:cubicBezTo>
                  <a:pt x="29656" y="6781"/>
                  <a:pt x="29687" y="6781"/>
                  <a:pt x="29719" y="6750"/>
                </a:cubicBezTo>
                <a:cubicBezTo>
                  <a:pt x="29656" y="6781"/>
                  <a:pt x="29625" y="6812"/>
                  <a:pt x="29562" y="6843"/>
                </a:cubicBezTo>
                <a:cubicBezTo>
                  <a:pt x="29531" y="6843"/>
                  <a:pt x="29500" y="6875"/>
                  <a:pt x="29437" y="6875"/>
                </a:cubicBezTo>
                <a:cubicBezTo>
                  <a:pt x="29344" y="6875"/>
                  <a:pt x="29281" y="6937"/>
                  <a:pt x="29219" y="6968"/>
                </a:cubicBezTo>
                <a:cubicBezTo>
                  <a:pt x="29187" y="6968"/>
                  <a:pt x="29187" y="7000"/>
                  <a:pt x="29156" y="7000"/>
                </a:cubicBezTo>
                <a:cubicBezTo>
                  <a:pt x="29062" y="7000"/>
                  <a:pt x="28969" y="7062"/>
                  <a:pt x="28844" y="7093"/>
                </a:cubicBezTo>
                <a:cubicBezTo>
                  <a:pt x="28844" y="7125"/>
                  <a:pt x="28812" y="7125"/>
                  <a:pt x="28781" y="7125"/>
                </a:cubicBezTo>
                <a:cubicBezTo>
                  <a:pt x="28687" y="7156"/>
                  <a:pt x="28594" y="7187"/>
                  <a:pt x="28500" y="7250"/>
                </a:cubicBezTo>
                <a:cubicBezTo>
                  <a:pt x="28375" y="7312"/>
                  <a:pt x="28219" y="7375"/>
                  <a:pt x="28094" y="7406"/>
                </a:cubicBezTo>
                <a:cubicBezTo>
                  <a:pt x="28062" y="7437"/>
                  <a:pt x="28000" y="7437"/>
                  <a:pt x="27969" y="7437"/>
                </a:cubicBezTo>
                <a:cubicBezTo>
                  <a:pt x="27969" y="7468"/>
                  <a:pt x="27937" y="7468"/>
                  <a:pt x="27906" y="7468"/>
                </a:cubicBezTo>
                <a:cubicBezTo>
                  <a:pt x="27937" y="7468"/>
                  <a:pt x="27969" y="7468"/>
                  <a:pt x="27969" y="7437"/>
                </a:cubicBezTo>
                <a:cubicBezTo>
                  <a:pt x="27937" y="7468"/>
                  <a:pt x="27875" y="7468"/>
                  <a:pt x="27844" y="7500"/>
                </a:cubicBezTo>
                <a:cubicBezTo>
                  <a:pt x="27844" y="7531"/>
                  <a:pt x="27812" y="7531"/>
                  <a:pt x="27812" y="7531"/>
                </a:cubicBezTo>
                <a:cubicBezTo>
                  <a:pt x="27719" y="7562"/>
                  <a:pt x="27594" y="7562"/>
                  <a:pt x="27500" y="7656"/>
                </a:cubicBezTo>
                <a:cubicBezTo>
                  <a:pt x="27500" y="7656"/>
                  <a:pt x="27469" y="7687"/>
                  <a:pt x="27437" y="7656"/>
                </a:cubicBezTo>
                <a:cubicBezTo>
                  <a:pt x="27344" y="7687"/>
                  <a:pt x="27250" y="7718"/>
                  <a:pt x="27156" y="7781"/>
                </a:cubicBezTo>
                <a:cubicBezTo>
                  <a:pt x="27031" y="7843"/>
                  <a:pt x="26906" y="7875"/>
                  <a:pt x="26781" y="7937"/>
                </a:cubicBezTo>
                <a:cubicBezTo>
                  <a:pt x="26687" y="7937"/>
                  <a:pt x="26594" y="8000"/>
                  <a:pt x="26500" y="8031"/>
                </a:cubicBezTo>
                <a:cubicBezTo>
                  <a:pt x="26469" y="8031"/>
                  <a:pt x="26437" y="8062"/>
                  <a:pt x="26437" y="8062"/>
                </a:cubicBezTo>
                <a:cubicBezTo>
                  <a:pt x="26406" y="8062"/>
                  <a:pt x="26375" y="8093"/>
                  <a:pt x="26344" y="8093"/>
                </a:cubicBezTo>
                <a:cubicBezTo>
                  <a:pt x="26312" y="8093"/>
                  <a:pt x="26312" y="8093"/>
                  <a:pt x="26312" y="8125"/>
                </a:cubicBezTo>
                <a:cubicBezTo>
                  <a:pt x="26312" y="8093"/>
                  <a:pt x="26312" y="8093"/>
                  <a:pt x="26344" y="8093"/>
                </a:cubicBezTo>
                <a:cubicBezTo>
                  <a:pt x="26281" y="8093"/>
                  <a:pt x="26250" y="8093"/>
                  <a:pt x="26219" y="8156"/>
                </a:cubicBezTo>
                <a:cubicBezTo>
                  <a:pt x="26156" y="8156"/>
                  <a:pt x="26125" y="8187"/>
                  <a:pt x="26062" y="8187"/>
                </a:cubicBezTo>
                <a:cubicBezTo>
                  <a:pt x="26000" y="8250"/>
                  <a:pt x="25906" y="8218"/>
                  <a:pt x="25844" y="8281"/>
                </a:cubicBezTo>
                <a:cubicBezTo>
                  <a:pt x="25656" y="8375"/>
                  <a:pt x="25437" y="8437"/>
                  <a:pt x="25219" y="8531"/>
                </a:cubicBezTo>
                <a:cubicBezTo>
                  <a:pt x="25125" y="8562"/>
                  <a:pt x="25000" y="8593"/>
                  <a:pt x="24937" y="8656"/>
                </a:cubicBezTo>
                <a:cubicBezTo>
                  <a:pt x="24906" y="8656"/>
                  <a:pt x="24875" y="8687"/>
                  <a:pt x="24844" y="8687"/>
                </a:cubicBezTo>
                <a:cubicBezTo>
                  <a:pt x="24750" y="8687"/>
                  <a:pt x="24656" y="8718"/>
                  <a:pt x="24562" y="8781"/>
                </a:cubicBezTo>
                <a:cubicBezTo>
                  <a:pt x="24469" y="8812"/>
                  <a:pt x="24375" y="8843"/>
                  <a:pt x="24281" y="8906"/>
                </a:cubicBezTo>
                <a:cubicBezTo>
                  <a:pt x="24062" y="8937"/>
                  <a:pt x="23875" y="9031"/>
                  <a:pt x="23687" y="9125"/>
                </a:cubicBezTo>
                <a:cubicBezTo>
                  <a:pt x="23656" y="9125"/>
                  <a:pt x="23656" y="9125"/>
                  <a:pt x="23625" y="9125"/>
                </a:cubicBezTo>
                <a:cubicBezTo>
                  <a:pt x="23594" y="9156"/>
                  <a:pt x="23562" y="9156"/>
                  <a:pt x="23531" y="9156"/>
                </a:cubicBezTo>
                <a:cubicBezTo>
                  <a:pt x="23531" y="9156"/>
                  <a:pt x="23531" y="9187"/>
                  <a:pt x="23500" y="9187"/>
                </a:cubicBezTo>
                <a:cubicBezTo>
                  <a:pt x="23531" y="9187"/>
                  <a:pt x="23531" y="9156"/>
                  <a:pt x="23531" y="9156"/>
                </a:cubicBezTo>
                <a:cubicBezTo>
                  <a:pt x="23469" y="9156"/>
                  <a:pt x="23437" y="9187"/>
                  <a:pt x="23375" y="9187"/>
                </a:cubicBezTo>
                <a:cubicBezTo>
                  <a:pt x="23375" y="9156"/>
                  <a:pt x="23344" y="9125"/>
                  <a:pt x="23312" y="9156"/>
                </a:cubicBezTo>
                <a:cubicBezTo>
                  <a:pt x="23219" y="9156"/>
                  <a:pt x="23125" y="9218"/>
                  <a:pt x="23062" y="9250"/>
                </a:cubicBezTo>
                <a:cubicBezTo>
                  <a:pt x="23094" y="9281"/>
                  <a:pt x="23125" y="9281"/>
                  <a:pt x="23156" y="9281"/>
                </a:cubicBezTo>
                <a:cubicBezTo>
                  <a:pt x="23156" y="9343"/>
                  <a:pt x="23094" y="9343"/>
                  <a:pt x="23062" y="9343"/>
                </a:cubicBezTo>
                <a:cubicBezTo>
                  <a:pt x="23031" y="9375"/>
                  <a:pt x="23000" y="9375"/>
                  <a:pt x="22969" y="9375"/>
                </a:cubicBezTo>
                <a:cubicBezTo>
                  <a:pt x="22969" y="9375"/>
                  <a:pt x="22937" y="9375"/>
                  <a:pt x="22937" y="9406"/>
                </a:cubicBezTo>
                <a:cubicBezTo>
                  <a:pt x="22937" y="9375"/>
                  <a:pt x="22969" y="9375"/>
                  <a:pt x="22969" y="9375"/>
                </a:cubicBezTo>
                <a:cubicBezTo>
                  <a:pt x="22906" y="9375"/>
                  <a:pt x="22875" y="9406"/>
                  <a:pt x="22844" y="9437"/>
                </a:cubicBezTo>
                <a:cubicBezTo>
                  <a:pt x="22812" y="9437"/>
                  <a:pt x="22812" y="9468"/>
                  <a:pt x="22781" y="9468"/>
                </a:cubicBezTo>
                <a:cubicBezTo>
                  <a:pt x="22750" y="9468"/>
                  <a:pt x="22687" y="9437"/>
                  <a:pt x="22687" y="9500"/>
                </a:cubicBezTo>
                <a:cubicBezTo>
                  <a:pt x="22687" y="9500"/>
                  <a:pt x="22687" y="9500"/>
                  <a:pt x="22687" y="9500"/>
                </a:cubicBezTo>
                <a:cubicBezTo>
                  <a:pt x="22687" y="9500"/>
                  <a:pt x="22687" y="9500"/>
                  <a:pt x="22687" y="9500"/>
                </a:cubicBezTo>
                <a:cubicBezTo>
                  <a:pt x="22687" y="9500"/>
                  <a:pt x="22687" y="9500"/>
                  <a:pt x="22687" y="9500"/>
                </a:cubicBezTo>
                <a:cubicBezTo>
                  <a:pt x="22625" y="9500"/>
                  <a:pt x="22562" y="9531"/>
                  <a:pt x="22500" y="9562"/>
                </a:cubicBezTo>
                <a:cubicBezTo>
                  <a:pt x="22500" y="9562"/>
                  <a:pt x="22500" y="9562"/>
                  <a:pt x="22469" y="9562"/>
                </a:cubicBezTo>
                <a:cubicBezTo>
                  <a:pt x="22406" y="9593"/>
                  <a:pt x="22344" y="9593"/>
                  <a:pt x="22250" y="9625"/>
                </a:cubicBezTo>
                <a:cubicBezTo>
                  <a:pt x="22250" y="9593"/>
                  <a:pt x="22250" y="9562"/>
                  <a:pt x="22250" y="9562"/>
                </a:cubicBezTo>
                <a:cubicBezTo>
                  <a:pt x="22156" y="9656"/>
                  <a:pt x="22000" y="9593"/>
                  <a:pt x="21906" y="9718"/>
                </a:cubicBezTo>
                <a:cubicBezTo>
                  <a:pt x="21875" y="9750"/>
                  <a:pt x="21781" y="9718"/>
                  <a:pt x="21750" y="9812"/>
                </a:cubicBezTo>
                <a:cubicBezTo>
                  <a:pt x="21687" y="9843"/>
                  <a:pt x="21656" y="9875"/>
                  <a:pt x="21562" y="9906"/>
                </a:cubicBezTo>
                <a:cubicBezTo>
                  <a:pt x="21531" y="9906"/>
                  <a:pt x="21500" y="9906"/>
                  <a:pt x="21469" y="9906"/>
                </a:cubicBezTo>
                <a:cubicBezTo>
                  <a:pt x="21469" y="9906"/>
                  <a:pt x="21469" y="9875"/>
                  <a:pt x="21500" y="9875"/>
                </a:cubicBezTo>
                <a:cubicBezTo>
                  <a:pt x="21469" y="9875"/>
                  <a:pt x="21437" y="9875"/>
                  <a:pt x="21437" y="9875"/>
                </a:cubicBezTo>
                <a:cubicBezTo>
                  <a:pt x="21406" y="9906"/>
                  <a:pt x="21406" y="9906"/>
                  <a:pt x="21375" y="9937"/>
                </a:cubicBezTo>
                <a:cubicBezTo>
                  <a:pt x="21406" y="9906"/>
                  <a:pt x="21406" y="9906"/>
                  <a:pt x="21437" y="9875"/>
                </a:cubicBezTo>
                <a:cubicBezTo>
                  <a:pt x="21437" y="9875"/>
                  <a:pt x="21469" y="9875"/>
                  <a:pt x="21500" y="9875"/>
                </a:cubicBezTo>
                <a:cubicBezTo>
                  <a:pt x="21500" y="9875"/>
                  <a:pt x="21500" y="9875"/>
                  <a:pt x="21500" y="9875"/>
                </a:cubicBezTo>
                <a:cubicBezTo>
                  <a:pt x="21531" y="9843"/>
                  <a:pt x="21500" y="9843"/>
                  <a:pt x="21469" y="9812"/>
                </a:cubicBezTo>
                <a:cubicBezTo>
                  <a:pt x="21437" y="9812"/>
                  <a:pt x="21406" y="9843"/>
                  <a:pt x="21375" y="9843"/>
                </a:cubicBezTo>
                <a:cubicBezTo>
                  <a:pt x="21375" y="9906"/>
                  <a:pt x="21312" y="9875"/>
                  <a:pt x="21250" y="9875"/>
                </a:cubicBezTo>
                <a:cubicBezTo>
                  <a:pt x="21250" y="9875"/>
                  <a:pt x="21250" y="9875"/>
                  <a:pt x="21250" y="9875"/>
                </a:cubicBezTo>
                <a:cubicBezTo>
                  <a:pt x="21187" y="9937"/>
                  <a:pt x="21094" y="9968"/>
                  <a:pt x="20969" y="9968"/>
                </a:cubicBezTo>
                <a:cubicBezTo>
                  <a:pt x="20937" y="10062"/>
                  <a:pt x="20875" y="10031"/>
                  <a:pt x="20781" y="10031"/>
                </a:cubicBezTo>
                <a:cubicBezTo>
                  <a:pt x="20812" y="10000"/>
                  <a:pt x="20844" y="10000"/>
                  <a:pt x="20844" y="9968"/>
                </a:cubicBezTo>
                <a:cubicBezTo>
                  <a:pt x="20906" y="9968"/>
                  <a:pt x="20937" y="9968"/>
                  <a:pt x="20969" y="9968"/>
                </a:cubicBezTo>
                <a:cubicBezTo>
                  <a:pt x="20969" y="9968"/>
                  <a:pt x="20969" y="9968"/>
                  <a:pt x="20969" y="9968"/>
                </a:cubicBezTo>
                <a:cubicBezTo>
                  <a:pt x="21062" y="9906"/>
                  <a:pt x="21156" y="9875"/>
                  <a:pt x="21250" y="9875"/>
                </a:cubicBezTo>
                <a:cubicBezTo>
                  <a:pt x="21281" y="9812"/>
                  <a:pt x="21312" y="9843"/>
                  <a:pt x="21375" y="9812"/>
                </a:cubicBezTo>
                <a:cubicBezTo>
                  <a:pt x="21375" y="9812"/>
                  <a:pt x="21375" y="9812"/>
                  <a:pt x="21375" y="9812"/>
                </a:cubicBezTo>
                <a:cubicBezTo>
                  <a:pt x="21437" y="9781"/>
                  <a:pt x="21500" y="9750"/>
                  <a:pt x="21594" y="9718"/>
                </a:cubicBezTo>
                <a:cubicBezTo>
                  <a:pt x="21812" y="9656"/>
                  <a:pt x="22031" y="9562"/>
                  <a:pt x="22250" y="9468"/>
                </a:cubicBezTo>
                <a:cubicBezTo>
                  <a:pt x="22375" y="9437"/>
                  <a:pt x="22500" y="9343"/>
                  <a:pt x="22625" y="9375"/>
                </a:cubicBezTo>
                <a:cubicBezTo>
                  <a:pt x="22594" y="9437"/>
                  <a:pt x="22531" y="9437"/>
                  <a:pt x="22469" y="9468"/>
                </a:cubicBezTo>
                <a:cubicBezTo>
                  <a:pt x="22594" y="9468"/>
                  <a:pt x="22687" y="9406"/>
                  <a:pt x="22844" y="9375"/>
                </a:cubicBezTo>
                <a:cubicBezTo>
                  <a:pt x="22750" y="9343"/>
                  <a:pt x="22687" y="9406"/>
                  <a:pt x="22625" y="9375"/>
                </a:cubicBezTo>
                <a:cubicBezTo>
                  <a:pt x="22625" y="9343"/>
                  <a:pt x="22625" y="9343"/>
                  <a:pt x="22656" y="9312"/>
                </a:cubicBezTo>
                <a:cubicBezTo>
                  <a:pt x="22812" y="9281"/>
                  <a:pt x="22937" y="9218"/>
                  <a:pt x="23094" y="9156"/>
                </a:cubicBezTo>
                <a:cubicBezTo>
                  <a:pt x="23344" y="9062"/>
                  <a:pt x="23594" y="8968"/>
                  <a:pt x="23844" y="8875"/>
                </a:cubicBezTo>
                <a:cubicBezTo>
                  <a:pt x="23719" y="8843"/>
                  <a:pt x="23656" y="8906"/>
                  <a:pt x="23562" y="8937"/>
                </a:cubicBezTo>
                <a:cubicBezTo>
                  <a:pt x="23219" y="9093"/>
                  <a:pt x="22844" y="9218"/>
                  <a:pt x="22469" y="9343"/>
                </a:cubicBezTo>
                <a:cubicBezTo>
                  <a:pt x="22375" y="9406"/>
                  <a:pt x="22281" y="9468"/>
                  <a:pt x="22187" y="9437"/>
                </a:cubicBezTo>
                <a:cubicBezTo>
                  <a:pt x="22156" y="9375"/>
                  <a:pt x="22250" y="9437"/>
                  <a:pt x="22250" y="9375"/>
                </a:cubicBezTo>
                <a:lnTo>
                  <a:pt x="22250" y="9375"/>
                </a:lnTo>
                <a:cubicBezTo>
                  <a:pt x="22187" y="9375"/>
                  <a:pt x="22125" y="9375"/>
                  <a:pt x="22062" y="9406"/>
                </a:cubicBezTo>
                <a:cubicBezTo>
                  <a:pt x="22094" y="9468"/>
                  <a:pt x="22125" y="9437"/>
                  <a:pt x="22187" y="9437"/>
                </a:cubicBezTo>
                <a:cubicBezTo>
                  <a:pt x="22094" y="9531"/>
                  <a:pt x="21969" y="9531"/>
                  <a:pt x="21844" y="9593"/>
                </a:cubicBezTo>
                <a:cubicBezTo>
                  <a:pt x="21562" y="9687"/>
                  <a:pt x="21250" y="9781"/>
                  <a:pt x="20937" y="9906"/>
                </a:cubicBezTo>
                <a:cubicBezTo>
                  <a:pt x="20906" y="9843"/>
                  <a:pt x="20906" y="9812"/>
                  <a:pt x="20969" y="9812"/>
                </a:cubicBezTo>
                <a:cubicBezTo>
                  <a:pt x="21062" y="9812"/>
                  <a:pt x="21125" y="9781"/>
                  <a:pt x="21156" y="9687"/>
                </a:cubicBezTo>
                <a:cubicBezTo>
                  <a:pt x="21469" y="9593"/>
                  <a:pt x="21750" y="9468"/>
                  <a:pt x="22062" y="9343"/>
                </a:cubicBezTo>
                <a:cubicBezTo>
                  <a:pt x="22281" y="9281"/>
                  <a:pt x="22469" y="9218"/>
                  <a:pt x="22656" y="9125"/>
                </a:cubicBezTo>
                <a:cubicBezTo>
                  <a:pt x="23000" y="9000"/>
                  <a:pt x="23344" y="8875"/>
                  <a:pt x="23687" y="8750"/>
                </a:cubicBezTo>
                <a:cubicBezTo>
                  <a:pt x="23906" y="8656"/>
                  <a:pt x="24125" y="8593"/>
                  <a:pt x="24344" y="8500"/>
                </a:cubicBezTo>
                <a:cubicBezTo>
                  <a:pt x="24594" y="8406"/>
                  <a:pt x="24875" y="8281"/>
                  <a:pt x="25156" y="8156"/>
                </a:cubicBezTo>
                <a:cubicBezTo>
                  <a:pt x="25406" y="8062"/>
                  <a:pt x="25687" y="7968"/>
                  <a:pt x="25969" y="7843"/>
                </a:cubicBezTo>
                <a:cubicBezTo>
                  <a:pt x="26312" y="7718"/>
                  <a:pt x="26656" y="7593"/>
                  <a:pt x="26969" y="7437"/>
                </a:cubicBezTo>
                <a:cubicBezTo>
                  <a:pt x="27250" y="7343"/>
                  <a:pt x="27531" y="7250"/>
                  <a:pt x="27781" y="7125"/>
                </a:cubicBezTo>
                <a:cubicBezTo>
                  <a:pt x="28125" y="7000"/>
                  <a:pt x="28469" y="6875"/>
                  <a:pt x="28781" y="6718"/>
                </a:cubicBezTo>
                <a:cubicBezTo>
                  <a:pt x="29000" y="6656"/>
                  <a:pt x="29219" y="6562"/>
                  <a:pt x="29406" y="6500"/>
                </a:cubicBezTo>
                <a:cubicBezTo>
                  <a:pt x="29750" y="6343"/>
                  <a:pt x="30094" y="6218"/>
                  <a:pt x="30406" y="6062"/>
                </a:cubicBezTo>
                <a:cubicBezTo>
                  <a:pt x="30625" y="6000"/>
                  <a:pt x="30812" y="5937"/>
                  <a:pt x="31000" y="5843"/>
                </a:cubicBezTo>
                <a:cubicBezTo>
                  <a:pt x="31281" y="5718"/>
                  <a:pt x="31562" y="5625"/>
                  <a:pt x="31844" y="5500"/>
                </a:cubicBezTo>
                <a:cubicBezTo>
                  <a:pt x="32062" y="5406"/>
                  <a:pt x="32250" y="5312"/>
                  <a:pt x="32469" y="5250"/>
                </a:cubicBezTo>
                <a:cubicBezTo>
                  <a:pt x="32562" y="5218"/>
                  <a:pt x="32656" y="5156"/>
                  <a:pt x="32781" y="5125"/>
                </a:cubicBezTo>
                <a:cubicBezTo>
                  <a:pt x="32781" y="5125"/>
                  <a:pt x="32781" y="5125"/>
                  <a:pt x="32781" y="5125"/>
                </a:cubicBezTo>
                <a:cubicBezTo>
                  <a:pt x="32781" y="5093"/>
                  <a:pt x="32781" y="5062"/>
                  <a:pt x="32781" y="5062"/>
                </a:cubicBezTo>
                <a:cubicBezTo>
                  <a:pt x="32781" y="4937"/>
                  <a:pt x="32781" y="4843"/>
                  <a:pt x="32781" y="4750"/>
                </a:cubicBezTo>
                <a:cubicBezTo>
                  <a:pt x="32781" y="4718"/>
                  <a:pt x="32781" y="4718"/>
                  <a:pt x="32781" y="4718"/>
                </a:cubicBezTo>
                <a:cubicBezTo>
                  <a:pt x="32500" y="4781"/>
                  <a:pt x="32250" y="4937"/>
                  <a:pt x="32000" y="5031"/>
                </a:cubicBezTo>
                <a:cubicBezTo>
                  <a:pt x="31969" y="5031"/>
                  <a:pt x="31937" y="5031"/>
                  <a:pt x="31969" y="5062"/>
                </a:cubicBezTo>
                <a:cubicBezTo>
                  <a:pt x="31969" y="5156"/>
                  <a:pt x="31906" y="5093"/>
                  <a:pt x="31844" y="5125"/>
                </a:cubicBezTo>
                <a:cubicBezTo>
                  <a:pt x="31750" y="5093"/>
                  <a:pt x="31656" y="5125"/>
                  <a:pt x="31594" y="5218"/>
                </a:cubicBezTo>
                <a:cubicBezTo>
                  <a:pt x="31562" y="5218"/>
                  <a:pt x="31562" y="5250"/>
                  <a:pt x="31562" y="5250"/>
                </a:cubicBezTo>
                <a:cubicBezTo>
                  <a:pt x="31437" y="5187"/>
                  <a:pt x="31375" y="5281"/>
                  <a:pt x="31281" y="5312"/>
                </a:cubicBezTo>
                <a:cubicBezTo>
                  <a:pt x="31219" y="5343"/>
                  <a:pt x="31094" y="5312"/>
                  <a:pt x="31094" y="5437"/>
                </a:cubicBezTo>
                <a:cubicBezTo>
                  <a:pt x="31000" y="5468"/>
                  <a:pt x="30937" y="5531"/>
                  <a:pt x="30812" y="5531"/>
                </a:cubicBezTo>
                <a:cubicBezTo>
                  <a:pt x="30812" y="5500"/>
                  <a:pt x="30781" y="5500"/>
                  <a:pt x="30750" y="5531"/>
                </a:cubicBezTo>
                <a:cubicBezTo>
                  <a:pt x="30656" y="5593"/>
                  <a:pt x="30531" y="5593"/>
                  <a:pt x="30437" y="5656"/>
                </a:cubicBezTo>
                <a:cubicBezTo>
                  <a:pt x="30437" y="5687"/>
                  <a:pt x="30437" y="5750"/>
                  <a:pt x="30375" y="5718"/>
                </a:cubicBezTo>
                <a:cubicBezTo>
                  <a:pt x="30344" y="5718"/>
                  <a:pt x="30312" y="5718"/>
                  <a:pt x="30312" y="5718"/>
                </a:cubicBezTo>
                <a:cubicBezTo>
                  <a:pt x="30250" y="5718"/>
                  <a:pt x="30219" y="5750"/>
                  <a:pt x="30156" y="5750"/>
                </a:cubicBezTo>
                <a:cubicBezTo>
                  <a:pt x="30125" y="5781"/>
                  <a:pt x="30094" y="5812"/>
                  <a:pt x="30094" y="5843"/>
                </a:cubicBezTo>
                <a:cubicBezTo>
                  <a:pt x="30062" y="5843"/>
                  <a:pt x="30031" y="5843"/>
                  <a:pt x="30031" y="5843"/>
                </a:cubicBezTo>
                <a:cubicBezTo>
                  <a:pt x="29937" y="5843"/>
                  <a:pt x="29844" y="5875"/>
                  <a:pt x="29781" y="5937"/>
                </a:cubicBezTo>
                <a:cubicBezTo>
                  <a:pt x="29844" y="5906"/>
                  <a:pt x="29875" y="5906"/>
                  <a:pt x="29937" y="5875"/>
                </a:cubicBezTo>
                <a:cubicBezTo>
                  <a:pt x="29875" y="5906"/>
                  <a:pt x="29844" y="5906"/>
                  <a:pt x="29781" y="5937"/>
                </a:cubicBezTo>
                <a:cubicBezTo>
                  <a:pt x="29750" y="5937"/>
                  <a:pt x="29719" y="5968"/>
                  <a:pt x="29719" y="5968"/>
                </a:cubicBezTo>
                <a:cubicBezTo>
                  <a:pt x="29656" y="6000"/>
                  <a:pt x="29594" y="6062"/>
                  <a:pt x="29500" y="6062"/>
                </a:cubicBezTo>
                <a:cubicBezTo>
                  <a:pt x="29469" y="6062"/>
                  <a:pt x="29469" y="6062"/>
                  <a:pt x="29437" y="6062"/>
                </a:cubicBezTo>
                <a:cubicBezTo>
                  <a:pt x="29406" y="6062"/>
                  <a:pt x="29406" y="6093"/>
                  <a:pt x="29375" y="6093"/>
                </a:cubicBezTo>
                <a:cubicBezTo>
                  <a:pt x="29406" y="6093"/>
                  <a:pt x="29406" y="6062"/>
                  <a:pt x="29437" y="6062"/>
                </a:cubicBezTo>
                <a:cubicBezTo>
                  <a:pt x="29375" y="6062"/>
                  <a:pt x="29344" y="6093"/>
                  <a:pt x="29312" y="6156"/>
                </a:cubicBezTo>
                <a:cubicBezTo>
                  <a:pt x="29281" y="6156"/>
                  <a:pt x="29250" y="6187"/>
                  <a:pt x="29219" y="6156"/>
                </a:cubicBezTo>
                <a:cubicBezTo>
                  <a:pt x="29219" y="6187"/>
                  <a:pt x="29187" y="6187"/>
                  <a:pt x="29156" y="6187"/>
                </a:cubicBezTo>
                <a:cubicBezTo>
                  <a:pt x="29125" y="6187"/>
                  <a:pt x="29125" y="6187"/>
                  <a:pt x="29094" y="6218"/>
                </a:cubicBezTo>
                <a:cubicBezTo>
                  <a:pt x="29125" y="6187"/>
                  <a:pt x="29125" y="6187"/>
                  <a:pt x="29156" y="6187"/>
                </a:cubicBezTo>
                <a:cubicBezTo>
                  <a:pt x="29062" y="6187"/>
                  <a:pt x="29000" y="6218"/>
                  <a:pt x="28937" y="6281"/>
                </a:cubicBezTo>
                <a:cubicBezTo>
                  <a:pt x="28781" y="6343"/>
                  <a:pt x="28594" y="6406"/>
                  <a:pt x="28437" y="6500"/>
                </a:cubicBezTo>
                <a:cubicBezTo>
                  <a:pt x="28344" y="6500"/>
                  <a:pt x="28219" y="6531"/>
                  <a:pt x="28156" y="6625"/>
                </a:cubicBezTo>
                <a:cubicBezTo>
                  <a:pt x="28125" y="6625"/>
                  <a:pt x="28125" y="6625"/>
                  <a:pt x="28094" y="6656"/>
                </a:cubicBezTo>
                <a:cubicBezTo>
                  <a:pt x="28000" y="6625"/>
                  <a:pt x="27906" y="6687"/>
                  <a:pt x="27844" y="6718"/>
                </a:cubicBezTo>
                <a:cubicBezTo>
                  <a:pt x="27500" y="6875"/>
                  <a:pt x="27125" y="7031"/>
                  <a:pt x="26781" y="7156"/>
                </a:cubicBezTo>
                <a:cubicBezTo>
                  <a:pt x="26469" y="7250"/>
                  <a:pt x="26219" y="7375"/>
                  <a:pt x="25937" y="7500"/>
                </a:cubicBezTo>
                <a:cubicBezTo>
                  <a:pt x="25687" y="7593"/>
                  <a:pt x="25437" y="7687"/>
                  <a:pt x="25187" y="7781"/>
                </a:cubicBezTo>
                <a:cubicBezTo>
                  <a:pt x="25062" y="7843"/>
                  <a:pt x="24969" y="7875"/>
                  <a:pt x="24875" y="7937"/>
                </a:cubicBezTo>
                <a:cubicBezTo>
                  <a:pt x="24750" y="8000"/>
                  <a:pt x="24594" y="8031"/>
                  <a:pt x="24437" y="8093"/>
                </a:cubicBezTo>
                <a:cubicBezTo>
                  <a:pt x="24250" y="8156"/>
                  <a:pt x="24031" y="8250"/>
                  <a:pt x="23844" y="8312"/>
                </a:cubicBezTo>
                <a:cubicBezTo>
                  <a:pt x="23500" y="8437"/>
                  <a:pt x="23187" y="8562"/>
                  <a:pt x="22844" y="8687"/>
                </a:cubicBezTo>
                <a:cubicBezTo>
                  <a:pt x="22437" y="8843"/>
                  <a:pt x="22000" y="9000"/>
                  <a:pt x="21594" y="9156"/>
                </a:cubicBezTo>
                <a:cubicBezTo>
                  <a:pt x="21531" y="9187"/>
                  <a:pt x="21500" y="9218"/>
                  <a:pt x="21437" y="9218"/>
                </a:cubicBezTo>
                <a:cubicBezTo>
                  <a:pt x="21406" y="9187"/>
                  <a:pt x="21375" y="9218"/>
                  <a:pt x="21344" y="9187"/>
                </a:cubicBezTo>
                <a:cubicBezTo>
                  <a:pt x="21375" y="9187"/>
                  <a:pt x="21406" y="9156"/>
                  <a:pt x="21437" y="9156"/>
                </a:cubicBezTo>
                <a:cubicBezTo>
                  <a:pt x="21906" y="9000"/>
                  <a:pt x="22375" y="8812"/>
                  <a:pt x="22844" y="8625"/>
                </a:cubicBezTo>
                <a:cubicBezTo>
                  <a:pt x="22875" y="8593"/>
                  <a:pt x="22969" y="8625"/>
                  <a:pt x="23000" y="8531"/>
                </a:cubicBezTo>
                <a:cubicBezTo>
                  <a:pt x="23000" y="8531"/>
                  <a:pt x="23000" y="8531"/>
                  <a:pt x="23000" y="8531"/>
                </a:cubicBezTo>
                <a:cubicBezTo>
                  <a:pt x="23094" y="8531"/>
                  <a:pt x="23156" y="8531"/>
                  <a:pt x="23187" y="8468"/>
                </a:cubicBezTo>
                <a:cubicBezTo>
                  <a:pt x="23187" y="8468"/>
                  <a:pt x="23187" y="8468"/>
                  <a:pt x="23187" y="8468"/>
                </a:cubicBezTo>
                <a:cubicBezTo>
                  <a:pt x="23312" y="8468"/>
                  <a:pt x="23406" y="8406"/>
                  <a:pt x="23500" y="8375"/>
                </a:cubicBezTo>
                <a:cubicBezTo>
                  <a:pt x="23500" y="8375"/>
                  <a:pt x="23500" y="8375"/>
                  <a:pt x="23500" y="8375"/>
                </a:cubicBezTo>
                <a:cubicBezTo>
                  <a:pt x="23500" y="8375"/>
                  <a:pt x="23500" y="8375"/>
                  <a:pt x="23500" y="8375"/>
                </a:cubicBezTo>
                <a:cubicBezTo>
                  <a:pt x="23500" y="8375"/>
                  <a:pt x="23500" y="8375"/>
                  <a:pt x="23500" y="8375"/>
                </a:cubicBezTo>
                <a:cubicBezTo>
                  <a:pt x="23531" y="8343"/>
                  <a:pt x="23562" y="8375"/>
                  <a:pt x="23562" y="8312"/>
                </a:cubicBezTo>
                <a:cubicBezTo>
                  <a:pt x="23562" y="8312"/>
                  <a:pt x="23562" y="8312"/>
                  <a:pt x="23562" y="8312"/>
                </a:cubicBezTo>
                <a:cubicBezTo>
                  <a:pt x="23562" y="8312"/>
                  <a:pt x="23562" y="8312"/>
                  <a:pt x="23562" y="8312"/>
                </a:cubicBezTo>
                <a:cubicBezTo>
                  <a:pt x="23562" y="8312"/>
                  <a:pt x="23562" y="8312"/>
                  <a:pt x="23562" y="8312"/>
                </a:cubicBezTo>
                <a:cubicBezTo>
                  <a:pt x="23687" y="8343"/>
                  <a:pt x="23750" y="8281"/>
                  <a:pt x="23844" y="8218"/>
                </a:cubicBezTo>
                <a:cubicBezTo>
                  <a:pt x="23844" y="8218"/>
                  <a:pt x="23844" y="8218"/>
                  <a:pt x="23844" y="8218"/>
                </a:cubicBezTo>
                <a:cubicBezTo>
                  <a:pt x="23875" y="8218"/>
                  <a:pt x="23937" y="8218"/>
                  <a:pt x="23937" y="8187"/>
                </a:cubicBezTo>
                <a:cubicBezTo>
                  <a:pt x="23937" y="8187"/>
                  <a:pt x="23937" y="8187"/>
                  <a:pt x="23937" y="8187"/>
                </a:cubicBezTo>
                <a:cubicBezTo>
                  <a:pt x="23969" y="8187"/>
                  <a:pt x="24000" y="8187"/>
                  <a:pt x="24031" y="8156"/>
                </a:cubicBezTo>
                <a:cubicBezTo>
                  <a:pt x="24031" y="8156"/>
                  <a:pt x="24031" y="8156"/>
                  <a:pt x="24031" y="8156"/>
                </a:cubicBezTo>
                <a:cubicBezTo>
                  <a:pt x="24062" y="8125"/>
                  <a:pt x="24125" y="8156"/>
                  <a:pt x="24125" y="8093"/>
                </a:cubicBezTo>
                <a:cubicBezTo>
                  <a:pt x="24125" y="8093"/>
                  <a:pt x="24125" y="8093"/>
                  <a:pt x="24125" y="8093"/>
                </a:cubicBezTo>
                <a:cubicBezTo>
                  <a:pt x="24187" y="8093"/>
                  <a:pt x="24281" y="8093"/>
                  <a:pt x="24312" y="8031"/>
                </a:cubicBezTo>
                <a:cubicBezTo>
                  <a:pt x="24312" y="8031"/>
                  <a:pt x="24312" y="8031"/>
                  <a:pt x="24312" y="8031"/>
                </a:cubicBezTo>
                <a:cubicBezTo>
                  <a:pt x="24375" y="8031"/>
                  <a:pt x="24437" y="8031"/>
                  <a:pt x="24500" y="7968"/>
                </a:cubicBezTo>
                <a:cubicBezTo>
                  <a:pt x="24656" y="7906"/>
                  <a:pt x="24812" y="7843"/>
                  <a:pt x="24969" y="7781"/>
                </a:cubicBezTo>
                <a:cubicBezTo>
                  <a:pt x="25312" y="7656"/>
                  <a:pt x="25625" y="7500"/>
                  <a:pt x="25969" y="7375"/>
                </a:cubicBezTo>
                <a:cubicBezTo>
                  <a:pt x="26344" y="7218"/>
                  <a:pt x="26719" y="7062"/>
                  <a:pt x="27125" y="6906"/>
                </a:cubicBezTo>
                <a:cubicBezTo>
                  <a:pt x="27437" y="6781"/>
                  <a:pt x="27781" y="6656"/>
                  <a:pt x="28094" y="6500"/>
                </a:cubicBezTo>
                <a:cubicBezTo>
                  <a:pt x="28344" y="6406"/>
                  <a:pt x="28625" y="6312"/>
                  <a:pt x="28875" y="6187"/>
                </a:cubicBezTo>
                <a:cubicBezTo>
                  <a:pt x="29187" y="6062"/>
                  <a:pt x="29531" y="5937"/>
                  <a:pt x="29844" y="5781"/>
                </a:cubicBezTo>
                <a:cubicBezTo>
                  <a:pt x="30031" y="5718"/>
                  <a:pt x="30250" y="5625"/>
                  <a:pt x="30437" y="5562"/>
                </a:cubicBezTo>
                <a:cubicBezTo>
                  <a:pt x="30781" y="5437"/>
                  <a:pt x="31094" y="5281"/>
                  <a:pt x="31406" y="5156"/>
                </a:cubicBezTo>
                <a:cubicBezTo>
                  <a:pt x="31594" y="5062"/>
                  <a:pt x="31812" y="5000"/>
                  <a:pt x="32031" y="4906"/>
                </a:cubicBezTo>
                <a:cubicBezTo>
                  <a:pt x="32281" y="4812"/>
                  <a:pt x="32531" y="4718"/>
                  <a:pt x="32781" y="4593"/>
                </a:cubicBezTo>
                <a:cubicBezTo>
                  <a:pt x="32781" y="4593"/>
                  <a:pt x="32781" y="4593"/>
                  <a:pt x="32781" y="4562"/>
                </a:cubicBezTo>
                <a:cubicBezTo>
                  <a:pt x="32781" y="4562"/>
                  <a:pt x="32781" y="4531"/>
                  <a:pt x="32781" y="4531"/>
                </a:cubicBezTo>
                <a:cubicBezTo>
                  <a:pt x="32469" y="4656"/>
                  <a:pt x="32156" y="4781"/>
                  <a:pt x="31844" y="4906"/>
                </a:cubicBezTo>
                <a:cubicBezTo>
                  <a:pt x="31656" y="5000"/>
                  <a:pt x="31469" y="5062"/>
                  <a:pt x="31281" y="5156"/>
                </a:cubicBezTo>
                <a:cubicBezTo>
                  <a:pt x="30937" y="5281"/>
                  <a:pt x="30625" y="5406"/>
                  <a:pt x="30281" y="5562"/>
                </a:cubicBezTo>
                <a:cubicBezTo>
                  <a:pt x="30094" y="5625"/>
                  <a:pt x="29875" y="5718"/>
                  <a:pt x="29687" y="5781"/>
                </a:cubicBezTo>
                <a:cubicBezTo>
                  <a:pt x="29344" y="5906"/>
                  <a:pt x="29031" y="6062"/>
                  <a:pt x="28687" y="6187"/>
                </a:cubicBezTo>
                <a:cubicBezTo>
                  <a:pt x="28500" y="6281"/>
                  <a:pt x="28281" y="6375"/>
                  <a:pt x="28062" y="6437"/>
                </a:cubicBezTo>
                <a:cubicBezTo>
                  <a:pt x="27969" y="6468"/>
                  <a:pt x="27906" y="6531"/>
                  <a:pt x="27812" y="6531"/>
                </a:cubicBezTo>
                <a:cubicBezTo>
                  <a:pt x="27750" y="6625"/>
                  <a:pt x="27656" y="6625"/>
                  <a:pt x="27562" y="6656"/>
                </a:cubicBezTo>
                <a:cubicBezTo>
                  <a:pt x="27250" y="6781"/>
                  <a:pt x="26906" y="6937"/>
                  <a:pt x="26562" y="7062"/>
                </a:cubicBezTo>
                <a:cubicBezTo>
                  <a:pt x="26375" y="7125"/>
                  <a:pt x="26187" y="7218"/>
                  <a:pt x="26000" y="7281"/>
                </a:cubicBezTo>
                <a:cubicBezTo>
                  <a:pt x="25750" y="7375"/>
                  <a:pt x="25500" y="7468"/>
                  <a:pt x="25281" y="7562"/>
                </a:cubicBezTo>
                <a:cubicBezTo>
                  <a:pt x="25250" y="7593"/>
                  <a:pt x="25219" y="7593"/>
                  <a:pt x="25219" y="7593"/>
                </a:cubicBezTo>
                <a:cubicBezTo>
                  <a:pt x="25250" y="7468"/>
                  <a:pt x="25375" y="7500"/>
                  <a:pt x="25437" y="7468"/>
                </a:cubicBezTo>
                <a:cubicBezTo>
                  <a:pt x="25906" y="7250"/>
                  <a:pt x="26375" y="7062"/>
                  <a:pt x="26844" y="6906"/>
                </a:cubicBezTo>
                <a:cubicBezTo>
                  <a:pt x="27125" y="6781"/>
                  <a:pt x="27437" y="6656"/>
                  <a:pt x="27719" y="6531"/>
                </a:cubicBezTo>
                <a:cubicBezTo>
                  <a:pt x="27750" y="6531"/>
                  <a:pt x="27781" y="6531"/>
                  <a:pt x="27812" y="6531"/>
                </a:cubicBezTo>
                <a:cubicBezTo>
                  <a:pt x="27937" y="6406"/>
                  <a:pt x="28125" y="6375"/>
                  <a:pt x="28281" y="6312"/>
                </a:cubicBezTo>
                <a:cubicBezTo>
                  <a:pt x="28656" y="6125"/>
                  <a:pt x="29062" y="5968"/>
                  <a:pt x="29469" y="5812"/>
                </a:cubicBezTo>
                <a:cubicBezTo>
                  <a:pt x="29844" y="5656"/>
                  <a:pt x="30219" y="5531"/>
                  <a:pt x="30562" y="5375"/>
                </a:cubicBezTo>
                <a:cubicBezTo>
                  <a:pt x="30937" y="5218"/>
                  <a:pt x="31312" y="5062"/>
                  <a:pt x="31687" y="4906"/>
                </a:cubicBezTo>
                <a:cubicBezTo>
                  <a:pt x="32000" y="4781"/>
                  <a:pt x="32344" y="4656"/>
                  <a:pt x="32656" y="4500"/>
                </a:cubicBezTo>
                <a:cubicBezTo>
                  <a:pt x="32687" y="4500"/>
                  <a:pt x="32719" y="4468"/>
                  <a:pt x="32781" y="4468"/>
                </a:cubicBezTo>
                <a:cubicBezTo>
                  <a:pt x="32781" y="4437"/>
                  <a:pt x="32781" y="4437"/>
                  <a:pt x="32781" y="4437"/>
                </a:cubicBezTo>
                <a:cubicBezTo>
                  <a:pt x="32781" y="4406"/>
                  <a:pt x="32781" y="4375"/>
                  <a:pt x="32781" y="4343"/>
                </a:cubicBezTo>
                <a:cubicBezTo>
                  <a:pt x="32781" y="4312"/>
                  <a:pt x="32781" y="4281"/>
                  <a:pt x="32781" y="4281"/>
                </a:cubicBezTo>
                <a:cubicBezTo>
                  <a:pt x="32531" y="4375"/>
                  <a:pt x="32281" y="4468"/>
                  <a:pt x="32031" y="4593"/>
                </a:cubicBezTo>
                <a:cubicBezTo>
                  <a:pt x="31906" y="4625"/>
                  <a:pt x="31781" y="4656"/>
                  <a:pt x="31687" y="4750"/>
                </a:cubicBezTo>
                <a:cubicBezTo>
                  <a:pt x="31719" y="4718"/>
                  <a:pt x="31750" y="4718"/>
                  <a:pt x="31812" y="4718"/>
                </a:cubicBezTo>
                <a:cubicBezTo>
                  <a:pt x="31750" y="4781"/>
                  <a:pt x="31687" y="4812"/>
                  <a:pt x="31594" y="4812"/>
                </a:cubicBezTo>
                <a:lnTo>
                  <a:pt x="31594" y="4812"/>
                </a:lnTo>
                <a:lnTo>
                  <a:pt x="31594" y="4812"/>
                </a:lnTo>
                <a:cubicBezTo>
                  <a:pt x="31531" y="4750"/>
                  <a:pt x="31312" y="4843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312" y="4937"/>
                  <a:pt x="31375" y="4843"/>
                  <a:pt x="31437" y="4875"/>
                </a:cubicBezTo>
                <a:cubicBezTo>
                  <a:pt x="31469" y="4843"/>
                  <a:pt x="31500" y="4843"/>
                  <a:pt x="31531" y="4843"/>
                </a:cubicBezTo>
                <a:cubicBezTo>
                  <a:pt x="31500" y="4875"/>
                  <a:pt x="31469" y="4875"/>
                  <a:pt x="31437" y="4875"/>
                </a:cubicBezTo>
                <a:cubicBezTo>
                  <a:pt x="31437" y="4875"/>
                  <a:pt x="31437" y="4875"/>
                  <a:pt x="31437" y="4875"/>
                </a:cubicBezTo>
                <a:cubicBezTo>
                  <a:pt x="31375" y="4937"/>
                  <a:pt x="31281" y="4968"/>
                  <a:pt x="31187" y="5000"/>
                </a:cubicBezTo>
                <a:cubicBezTo>
                  <a:pt x="31187" y="4937"/>
                  <a:pt x="31250" y="4968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094" y="4937"/>
                  <a:pt x="30937" y="5000"/>
                  <a:pt x="30812" y="5093"/>
                </a:cubicBezTo>
                <a:cubicBezTo>
                  <a:pt x="30687" y="5125"/>
                  <a:pt x="30562" y="5156"/>
                  <a:pt x="30437" y="5218"/>
                </a:cubicBezTo>
                <a:cubicBezTo>
                  <a:pt x="30562" y="5250"/>
                  <a:pt x="30625" y="5156"/>
                  <a:pt x="30750" y="5156"/>
                </a:cubicBezTo>
                <a:cubicBezTo>
                  <a:pt x="30656" y="5250"/>
                  <a:pt x="30531" y="5281"/>
                  <a:pt x="30406" y="5312"/>
                </a:cubicBezTo>
                <a:cubicBezTo>
                  <a:pt x="30406" y="5312"/>
                  <a:pt x="30406" y="5281"/>
                  <a:pt x="30375" y="5281"/>
                </a:cubicBezTo>
                <a:cubicBezTo>
                  <a:pt x="30312" y="5250"/>
                  <a:pt x="30250" y="5312"/>
                  <a:pt x="30156" y="5343"/>
                </a:cubicBezTo>
                <a:cubicBezTo>
                  <a:pt x="30219" y="5375"/>
                  <a:pt x="30281" y="5312"/>
                  <a:pt x="30281" y="5375"/>
                </a:cubicBezTo>
                <a:cubicBezTo>
                  <a:pt x="30281" y="5375"/>
                  <a:pt x="30250" y="5406"/>
                  <a:pt x="30250" y="5406"/>
                </a:cubicBezTo>
                <a:cubicBezTo>
                  <a:pt x="30219" y="5406"/>
                  <a:pt x="30187" y="5406"/>
                  <a:pt x="30156" y="5437"/>
                </a:cubicBezTo>
                <a:cubicBezTo>
                  <a:pt x="30156" y="5437"/>
                  <a:pt x="30156" y="5437"/>
                  <a:pt x="30156" y="5437"/>
                </a:cubicBezTo>
                <a:cubicBezTo>
                  <a:pt x="30156" y="5437"/>
                  <a:pt x="30156" y="5437"/>
                  <a:pt x="30156" y="5437"/>
                </a:cubicBezTo>
                <a:cubicBezTo>
                  <a:pt x="30125" y="5437"/>
                  <a:pt x="30094" y="5437"/>
                  <a:pt x="30062" y="5437"/>
                </a:cubicBezTo>
                <a:cubicBezTo>
                  <a:pt x="30000" y="5406"/>
                  <a:pt x="29906" y="5437"/>
                  <a:pt x="29844" y="5468"/>
                </a:cubicBezTo>
                <a:cubicBezTo>
                  <a:pt x="29750" y="5500"/>
                  <a:pt x="29656" y="5531"/>
                  <a:pt x="29562" y="5593"/>
                </a:cubicBezTo>
                <a:cubicBezTo>
                  <a:pt x="29344" y="5687"/>
                  <a:pt x="29094" y="5781"/>
                  <a:pt x="28875" y="5875"/>
                </a:cubicBezTo>
                <a:cubicBezTo>
                  <a:pt x="28937" y="5906"/>
                  <a:pt x="28969" y="5843"/>
                  <a:pt x="29031" y="5843"/>
                </a:cubicBezTo>
                <a:cubicBezTo>
                  <a:pt x="29062" y="5843"/>
                  <a:pt x="29094" y="5781"/>
                  <a:pt x="29156" y="5812"/>
                </a:cubicBezTo>
                <a:cubicBezTo>
                  <a:pt x="29156" y="5875"/>
                  <a:pt x="29094" y="5843"/>
                  <a:pt x="29094" y="5875"/>
                </a:cubicBezTo>
                <a:cubicBezTo>
                  <a:pt x="29094" y="5875"/>
                  <a:pt x="29094" y="5875"/>
                  <a:pt x="29094" y="5875"/>
                </a:cubicBezTo>
                <a:cubicBezTo>
                  <a:pt x="29094" y="5875"/>
                  <a:pt x="29094" y="5875"/>
                  <a:pt x="29094" y="5875"/>
                </a:cubicBezTo>
                <a:cubicBezTo>
                  <a:pt x="29094" y="5875"/>
                  <a:pt x="29094" y="5875"/>
                  <a:pt x="29094" y="5875"/>
                </a:cubicBezTo>
                <a:cubicBezTo>
                  <a:pt x="29062" y="5875"/>
                  <a:pt x="29000" y="5875"/>
                  <a:pt x="28969" y="5906"/>
                </a:cubicBezTo>
                <a:cubicBezTo>
                  <a:pt x="28937" y="5937"/>
                  <a:pt x="28875" y="5968"/>
                  <a:pt x="28812" y="5937"/>
                </a:cubicBezTo>
                <a:cubicBezTo>
                  <a:pt x="28719" y="5875"/>
                  <a:pt x="28656" y="5968"/>
                  <a:pt x="28562" y="5968"/>
                </a:cubicBezTo>
                <a:cubicBezTo>
                  <a:pt x="28625" y="6031"/>
                  <a:pt x="28687" y="5968"/>
                  <a:pt x="28719" y="6000"/>
                </a:cubicBezTo>
                <a:cubicBezTo>
                  <a:pt x="28656" y="6062"/>
                  <a:pt x="28562" y="6062"/>
                  <a:pt x="28469" y="6062"/>
                </a:cubicBezTo>
                <a:cubicBezTo>
                  <a:pt x="28312" y="6062"/>
                  <a:pt x="28187" y="6125"/>
                  <a:pt x="28094" y="6218"/>
                </a:cubicBezTo>
                <a:cubicBezTo>
                  <a:pt x="27906" y="6218"/>
                  <a:pt x="27719" y="6343"/>
                  <a:pt x="27562" y="6406"/>
                </a:cubicBezTo>
                <a:cubicBezTo>
                  <a:pt x="27406" y="6437"/>
                  <a:pt x="27250" y="6562"/>
                  <a:pt x="27094" y="6562"/>
                </a:cubicBezTo>
                <a:cubicBezTo>
                  <a:pt x="27125" y="6468"/>
                  <a:pt x="27250" y="6500"/>
                  <a:pt x="27312" y="6437"/>
                </a:cubicBezTo>
                <a:cubicBezTo>
                  <a:pt x="27594" y="6343"/>
                  <a:pt x="27875" y="6218"/>
                  <a:pt x="28125" y="6125"/>
                </a:cubicBezTo>
                <a:cubicBezTo>
                  <a:pt x="28406" y="6000"/>
                  <a:pt x="28656" y="5906"/>
                  <a:pt x="28906" y="5812"/>
                </a:cubicBezTo>
                <a:cubicBezTo>
                  <a:pt x="29187" y="5687"/>
                  <a:pt x="29437" y="5562"/>
                  <a:pt x="29719" y="5468"/>
                </a:cubicBezTo>
                <a:cubicBezTo>
                  <a:pt x="29969" y="5375"/>
                  <a:pt x="30219" y="5250"/>
                  <a:pt x="30469" y="5156"/>
                </a:cubicBezTo>
                <a:cubicBezTo>
                  <a:pt x="30750" y="5031"/>
                  <a:pt x="31000" y="4937"/>
                  <a:pt x="31281" y="4812"/>
                </a:cubicBezTo>
                <a:cubicBezTo>
                  <a:pt x="31469" y="4750"/>
                  <a:pt x="31656" y="4656"/>
                  <a:pt x="31844" y="4593"/>
                </a:cubicBezTo>
                <a:cubicBezTo>
                  <a:pt x="32125" y="4468"/>
                  <a:pt x="32406" y="4343"/>
                  <a:pt x="32687" y="4218"/>
                </a:cubicBezTo>
                <a:cubicBezTo>
                  <a:pt x="32719" y="4218"/>
                  <a:pt x="32750" y="4218"/>
                  <a:pt x="32781" y="4218"/>
                </a:cubicBezTo>
                <a:cubicBezTo>
                  <a:pt x="32781" y="4218"/>
                  <a:pt x="32781" y="4187"/>
                  <a:pt x="32781" y="4187"/>
                </a:cubicBezTo>
                <a:cubicBezTo>
                  <a:pt x="32781" y="4125"/>
                  <a:pt x="32781" y="4062"/>
                  <a:pt x="32781" y="4000"/>
                </a:cubicBezTo>
                <a:cubicBezTo>
                  <a:pt x="32781" y="3968"/>
                  <a:pt x="32781" y="3937"/>
                  <a:pt x="32781" y="3906"/>
                </a:cubicBezTo>
                <a:cubicBezTo>
                  <a:pt x="32781" y="3875"/>
                  <a:pt x="32781" y="3875"/>
                  <a:pt x="32781" y="3843"/>
                </a:cubicBezTo>
                <a:cubicBezTo>
                  <a:pt x="32625" y="3906"/>
                  <a:pt x="32500" y="3968"/>
                  <a:pt x="32344" y="4031"/>
                </a:cubicBezTo>
                <a:cubicBezTo>
                  <a:pt x="32000" y="4156"/>
                  <a:pt x="31687" y="4312"/>
                  <a:pt x="31375" y="4437"/>
                </a:cubicBezTo>
                <a:cubicBezTo>
                  <a:pt x="31125" y="4531"/>
                  <a:pt x="30875" y="4625"/>
                  <a:pt x="30625" y="4750"/>
                </a:cubicBezTo>
                <a:cubicBezTo>
                  <a:pt x="30281" y="4875"/>
                  <a:pt x="29937" y="5000"/>
                  <a:pt x="29625" y="5156"/>
                </a:cubicBezTo>
                <a:cubicBezTo>
                  <a:pt x="29500" y="5218"/>
                  <a:pt x="29344" y="5281"/>
                  <a:pt x="29219" y="5343"/>
                </a:cubicBezTo>
                <a:cubicBezTo>
                  <a:pt x="28937" y="5437"/>
                  <a:pt x="28687" y="5562"/>
                  <a:pt x="28406" y="5656"/>
                </a:cubicBezTo>
                <a:cubicBezTo>
                  <a:pt x="28219" y="5718"/>
                  <a:pt x="28000" y="5812"/>
                  <a:pt x="27812" y="5906"/>
                </a:cubicBezTo>
                <a:cubicBezTo>
                  <a:pt x="27562" y="6000"/>
                  <a:pt x="27281" y="6125"/>
                  <a:pt x="27031" y="6218"/>
                </a:cubicBezTo>
                <a:cubicBezTo>
                  <a:pt x="26844" y="6312"/>
                  <a:pt x="26625" y="6375"/>
                  <a:pt x="26437" y="6468"/>
                </a:cubicBezTo>
                <a:cubicBezTo>
                  <a:pt x="26187" y="6593"/>
                  <a:pt x="25906" y="6656"/>
                  <a:pt x="25625" y="6781"/>
                </a:cubicBezTo>
                <a:cubicBezTo>
                  <a:pt x="25531" y="6843"/>
                  <a:pt x="25406" y="6875"/>
                  <a:pt x="25312" y="6906"/>
                </a:cubicBezTo>
                <a:cubicBezTo>
                  <a:pt x="25062" y="7031"/>
                  <a:pt x="24781" y="7125"/>
                  <a:pt x="24500" y="7250"/>
                </a:cubicBezTo>
                <a:cubicBezTo>
                  <a:pt x="24219" y="7343"/>
                  <a:pt x="23937" y="7468"/>
                  <a:pt x="23656" y="7593"/>
                </a:cubicBezTo>
                <a:cubicBezTo>
                  <a:pt x="23531" y="7625"/>
                  <a:pt x="23406" y="7687"/>
                  <a:pt x="23312" y="7718"/>
                </a:cubicBezTo>
                <a:cubicBezTo>
                  <a:pt x="23281" y="7687"/>
                  <a:pt x="23250" y="7687"/>
                  <a:pt x="23187" y="7656"/>
                </a:cubicBezTo>
                <a:cubicBezTo>
                  <a:pt x="23219" y="7687"/>
                  <a:pt x="23219" y="7687"/>
                  <a:pt x="23250" y="7687"/>
                </a:cubicBezTo>
                <a:cubicBezTo>
                  <a:pt x="23219" y="7687"/>
                  <a:pt x="23219" y="7687"/>
                  <a:pt x="23187" y="7656"/>
                </a:cubicBezTo>
                <a:cubicBezTo>
                  <a:pt x="23187" y="7656"/>
                  <a:pt x="23187" y="7656"/>
                  <a:pt x="23187" y="7656"/>
                </a:cubicBezTo>
                <a:cubicBezTo>
                  <a:pt x="23187" y="7656"/>
                  <a:pt x="23187" y="7656"/>
                  <a:pt x="23187" y="7656"/>
                </a:cubicBezTo>
                <a:cubicBezTo>
                  <a:pt x="23187" y="7656"/>
                  <a:pt x="23156" y="7656"/>
                  <a:pt x="23156" y="7656"/>
                </a:cubicBezTo>
                <a:cubicBezTo>
                  <a:pt x="23094" y="7656"/>
                  <a:pt x="23062" y="7656"/>
                  <a:pt x="23000" y="7687"/>
                </a:cubicBezTo>
                <a:cubicBezTo>
                  <a:pt x="23000" y="7656"/>
                  <a:pt x="23000" y="7656"/>
                  <a:pt x="23000" y="7625"/>
                </a:cubicBezTo>
                <a:cubicBezTo>
                  <a:pt x="23000" y="7656"/>
                  <a:pt x="23000" y="7656"/>
                  <a:pt x="23000" y="7687"/>
                </a:cubicBezTo>
                <a:cubicBezTo>
                  <a:pt x="23062" y="7656"/>
                  <a:pt x="23094" y="7656"/>
                  <a:pt x="23156" y="7656"/>
                </a:cubicBezTo>
                <a:cubicBezTo>
                  <a:pt x="23156" y="7656"/>
                  <a:pt x="23156" y="7656"/>
                  <a:pt x="23156" y="7656"/>
                </a:cubicBezTo>
                <a:cubicBezTo>
                  <a:pt x="23156" y="7656"/>
                  <a:pt x="23187" y="7656"/>
                  <a:pt x="23187" y="7656"/>
                </a:cubicBezTo>
                <a:cubicBezTo>
                  <a:pt x="23281" y="7593"/>
                  <a:pt x="23375" y="7625"/>
                  <a:pt x="23437" y="7531"/>
                </a:cubicBezTo>
                <a:cubicBezTo>
                  <a:pt x="23500" y="7531"/>
                  <a:pt x="23562" y="7531"/>
                  <a:pt x="23625" y="7468"/>
                </a:cubicBezTo>
                <a:cubicBezTo>
                  <a:pt x="23844" y="7406"/>
                  <a:pt x="24094" y="7312"/>
                  <a:pt x="24312" y="7218"/>
                </a:cubicBezTo>
                <a:cubicBezTo>
                  <a:pt x="24750" y="7031"/>
                  <a:pt x="25187" y="6843"/>
                  <a:pt x="25625" y="6687"/>
                </a:cubicBezTo>
                <a:cubicBezTo>
                  <a:pt x="26062" y="6500"/>
                  <a:pt x="26500" y="6312"/>
                  <a:pt x="26937" y="6125"/>
                </a:cubicBezTo>
                <a:cubicBezTo>
                  <a:pt x="27344" y="5968"/>
                  <a:pt x="27750" y="5812"/>
                  <a:pt x="28156" y="5625"/>
                </a:cubicBezTo>
                <a:cubicBezTo>
                  <a:pt x="28250" y="5593"/>
                  <a:pt x="28344" y="5593"/>
                  <a:pt x="28406" y="5500"/>
                </a:cubicBezTo>
                <a:cubicBezTo>
                  <a:pt x="28469" y="5531"/>
                  <a:pt x="28437" y="5468"/>
                  <a:pt x="28500" y="5437"/>
                </a:cubicBezTo>
                <a:cubicBezTo>
                  <a:pt x="28594" y="5406"/>
                  <a:pt x="28687" y="5437"/>
                  <a:pt x="28750" y="5343"/>
                </a:cubicBezTo>
                <a:cubicBezTo>
                  <a:pt x="28750" y="5312"/>
                  <a:pt x="28781" y="5312"/>
                  <a:pt x="28781" y="5312"/>
                </a:cubicBezTo>
                <a:cubicBezTo>
                  <a:pt x="28875" y="5406"/>
                  <a:pt x="28875" y="5281"/>
                  <a:pt x="28906" y="5250"/>
                </a:cubicBezTo>
                <a:cubicBezTo>
                  <a:pt x="29062" y="5312"/>
                  <a:pt x="29156" y="5187"/>
                  <a:pt x="29281" y="5156"/>
                </a:cubicBezTo>
                <a:cubicBezTo>
                  <a:pt x="29281" y="5156"/>
                  <a:pt x="29312" y="5156"/>
                  <a:pt x="29312" y="5125"/>
                </a:cubicBezTo>
                <a:cubicBezTo>
                  <a:pt x="29437" y="5125"/>
                  <a:pt x="29531" y="5031"/>
                  <a:pt x="29656" y="5000"/>
                </a:cubicBezTo>
                <a:cubicBezTo>
                  <a:pt x="29656" y="5000"/>
                  <a:pt x="29656" y="4968"/>
                  <a:pt x="29656" y="4968"/>
                </a:cubicBezTo>
                <a:cubicBezTo>
                  <a:pt x="29687" y="4968"/>
                  <a:pt x="29719" y="4968"/>
                  <a:pt x="29750" y="4937"/>
                </a:cubicBezTo>
                <a:cubicBezTo>
                  <a:pt x="29906" y="4937"/>
                  <a:pt x="30000" y="4843"/>
                  <a:pt x="30156" y="4781"/>
                </a:cubicBezTo>
                <a:cubicBezTo>
                  <a:pt x="30187" y="4750"/>
                  <a:pt x="30250" y="4750"/>
                  <a:pt x="30281" y="4718"/>
                </a:cubicBezTo>
                <a:cubicBezTo>
                  <a:pt x="30312" y="4656"/>
                  <a:pt x="30406" y="4718"/>
                  <a:pt x="30469" y="4656"/>
                </a:cubicBezTo>
                <a:cubicBezTo>
                  <a:pt x="30469" y="4656"/>
                  <a:pt x="30531" y="4656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00" y="4593"/>
                  <a:pt x="30500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62" y="4625"/>
                  <a:pt x="30594" y="4656"/>
                  <a:pt x="30594" y="4593"/>
                </a:cubicBezTo>
                <a:cubicBezTo>
                  <a:pt x="30750" y="4562"/>
                  <a:pt x="30875" y="4500"/>
                  <a:pt x="31000" y="4406"/>
                </a:cubicBezTo>
                <a:cubicBezTo>
                  <a:pt x="31000" y="4406"/>
                  <a:pt x="31000" y="4406"/>
                  <a:pt x="31000" y="4406"/>
                </a:cubicBezTo>
                <a:cubicBezTo>
                  <a:pt x="31000" y="4406"/>
                  <a:pt x="31000" y="4406"/>
                  <a:pt x="31000" y="4406"/>
                </a:cubicBezTo>
                <a:cubicBezTo>
                  <a:pt x="31000" y="4406"/>
                  <a:pt x="31000" y="4406"/>
                  <a:pt x="31000" y="4406"/>
                </a:cubicBezTo>
                <a:cubicBezTo>
                  <a:pt x="31031" y="4406"/>
                  <a:pt x="31062" y="4437"/>
                  <a:pt x="31094" y="4406"/>
                </a:cubicBezTo>
                <a:cubicBezTo>
                  <a:pt x="31281" y="4343"/>
                  <a:pt x="31437" y="4250"/>
                  <a:pt x="31625" y="4187"/>
                </a:cubicBezTo>
                <a:cubicBezTo>
                  <a:pt x="31687" y="4156"/>
                  <a:pt x="31781" y="4156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781" y="4093"/>
                  <a:pt x="31781" y="4093"/>
                  <a:pt x="31750" y="4093"/>
                </a:cubicBezTo>
                <a:cubicBezTo>
                  <a:pt x="31781" y="4062"/>
                  <a:pt x="31781" y="4062"/>
                  <a:pt x="31812" y="4062"/>
                </a:cubicBezTo>
                <a:cubicBezTo>
                  <a:pt x="31812" y="4062"/>
                  <a:pt x="31812" y="4062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2000" y="4062"/>
                  <a:pt x="32156" y="3937"/>
                  <a:pt x="32312" y="3906"/>
                </a:cubicBezTo>
                <a:cubicBezTo>
                  <a:pt x="32312" y="3875"/>
                  <a:pt x="32312" y="3875"/>
                  <a:pt x="32312" y="3875"/>
                </a:cubicBezTo>
                <a:cubicBezTo>
                  <a:pt x="32469" y="3875"/>
                  <a:pt x="32594" y="3781"/>
                  <a:pt x="32719" y="3718"/>
                </a:cubicBezTo>
                <a:cubicBezTo>
                  <a:pt x="32750" y="3718"/>
                  <a:pt x="32750" y="3687"/>
                  <a:pt x="32781" y="3687"/>
                </a:cubicBezTo>
                <a:cubicBezTo>
                  <a:pt x="32781" y="3687"/>
                  <a:pt x="32781" y="3656"/>
                  <a:pt x="32781" y="3656"/>
                </a:cubicBezTo>
                <a:cubicBezTo>
                  <a:pt x="32781" y="3625"/>
                  <a:pt x="32781" y="3593"/>
                  <a:pt x="32781" y="3562"/>
                </a:cubicBezTo>
                <a:cubicBezTo>
                  <a:pt x="32781" y="3531"/>
                  <a:pt x="32781" y="3531"/>
                  <a:pt x="32781" y="3500"/>
                </a:cubicBezTo>
                <a:cubicBezTo>
                  <a:pt x="32781" y="3468"/>
                  <a:pt x="32781" y="3437"/>
                  <a:pt x="32781" y="3406"/>
                </a:cubicBezTo>
                <a:cubicBezTo>
                  <a:pt x="32781" y="3375"/>
                  <a:pt x="32781" y="3343"/>
                  <a:pt x="32781" y="3343"/>
                </a:cubicBezTo>
                <a:cubicBezTo>
                  <a:pt x="32531" y="3437"/>
                  <a:pt x="32281" y="3531"/>
                  <a:pt x="32031" y="3656"/>
                </a:cubicBezTo>
                <a:cubicBezTo>
                  <a:pt x="31656" y="3812"/>
                  <a:pt x="31281" y="3968"/>
                  <a:pt x="30937" y="4125"/>
                </a:cubicBezTo>
                <a:cubicBezTo>
                  <a:pt x="30687" y="4218"/>
                  <a:pt x="30469" y="4312"/>
                  <a:pt x="30219" y="4406"/>
                </a:cubicBezTo>
                <a:cubicBezTo>
                  <a:pt x="29969" y="4531"/>
                  <a:pt x="29687" y="4625"/>
                  <a:pt x="29406" y="4750"/>
                </a:cubicBezTo>
                <a:cubicBezTo>
                  <a:pt x="29406" y="4750"/>
                  <a:pt x="29406" y="4718"/>
                  <a:pt x="29406" y="4718"/>
                </a:cubicBezTo>
                <a:cubicBezTo>
                  <a:pt x="29375" y="4718"/>
                  <a:pt x="29375" y="4718"/>
                  <a:pt x="29344" y="4750"/>
                </a:cubicBezTo>
                <a:cubicBezTo>
                  <a:pt x="29156" y="4812"/>
                  <a:pt x="28969" y="4906"/>
                  <a:pt x="28750" y="5000"/>
                </a:cubicBezTo>
                <a:cubicBezTo>
                  <a:pt x="28969" y="4906"/>
                  <a:pt x="29156" y="4812"/>
                  <a:pt x="29344" y="4750"/>
                </a:cubicBezTo>
                <a:cubicBezTo>
                  <a:pt x="29375" y="4718"/>
                  <a:pt x="29375" y="4718"/>
                  <a:pt x="29406" y="4718"/>
                </a:cubicBezTo>
                <a:cubicBezTo>
                  <a:pt x="29375" y="4718"/>
                  <a:pt x="29375" y="4687"/>
                  <a:pt x="29375" y="4687"/>
                </a:cubicBezTo>
                <a:cubicBezTo>
                  <a:pt x="29594" y="4593"/>
                  <a:pt x="29781" y="4531"/>
                  <a:pt x="29969" y="4437"/>
                </a:cubicBezTo>
                <a:cubicBezTo>
                  <a:pt x="30312" y="4281"/>
                  <a:pt x="30625" y="4156"/>
                  <a:pt x="30937" y="4031"/>
                </a:cubicBezTo>
                <a:cubicBezTo>
                  <a:pt x="31125" y="3937"/>
                  <a:pt x="31312" y="3875"/>
                  <a:pt x="31500" y="3781"/>
                </a:cubicBezTo>
                <a:cubicBezTo>
                  <a:pt x="31750" y="3687"/>
                  <a:pt x="32031" y="3562"/>
                  <a:pt x="32281" y="3437"/>
                </a:cubicBezTo>
                <a:cubicBezTo>
                  <a:pt x="32437" y="3406"/>
                  <a:pt x="32562" y="3343"/>
                  <a:pt x="32687" y="3281"/>
                </a:cubicBezTo>
                <a:cubicBezTo>
                  <a:pt x="32719" y="3281"/>
                  <a:pt x="32750" y="3250"/>
                  <a:pt x="32781" y="3250"/>
                </a:cubicBezTo>
                <a:cubicBezTo>
                  <a:pt x="32781" y="3250"/>
                  <a:pt x="32781" y="3218"/>
                  <a:pt x="32781" y="3218"/>
                </a:cubicBezTo>
                <a:cubicBezTo>
                  <a:pt x="32781" y="3187"/>
                  <a:pt x="32781" y="3156"/>
                  <a:pt x="32781" y="3125"/>
                </a:cubicBezTo>
                <a:cubicBezTo>
                  <a:pt x="32781" y="3125"/>
                  <a:pt x="32781" y="3093"/>
                  <a:pt x="32781" y="3093"/>
                </a:cubicBezTo>
                <a:cubicBezTo>
                  <a:pt x="32781" y="3062"/>
                  <a:pt x="32781" y="3031"/>
                  <a:pt x="32781" y="3000"/>
                </a:cubicBezTo>
                <a:cubicBezTo>
                  <a:pt x="32781" y="2968"/>
                  <a:pt x="32781" y="2937"/>
                  <a:pt x="32781" y="2906"/>
                </a:cubicBezTo>
                <a:cubicBezTo>
                  <a:pt x="32781" y="2906"/>
                  <a:pt x="32781" y="2875"/>
                  <a:pt x="32781" y="2843"/>
                </a:cubicBezTo>
                <a:cubicBezTo>
                  <a:pt x="32625" y="2906"/>
                  <a:pt x="32469" y="2968"/>
                  <a:pt x="32312" y="3031"/>
                </a:cubicBezTo>
                <a:close/>
                <a:moveTo>
                  <a:pt x="8281" y="8875"/>
                </a:moveTo>
                <a:cubicBezTo>
                  <a:pt x="8281" y="8875"/>
                  <a:pt x="8312" y="8875"/>
                  <a:pt x="8312" y="8875"/>
                </a:cubicBezTo>
                <a:cubicBezTo>
                  <a:pt x="8312" y="8875"/>
                  <a:pt x="8281" y="8875"/>
                  <a:pt x="8281" y="8875"/>
                </a:cubicBezTo>
                <a:close/>
                <a:moveTo>
                  <a:pt x="10500" y="9218"/>
                </a:moveTo>
                <a:cubicBezTo>
                  <a:pt x="10437" y="9218"/>
                  <a:pt x="10406" y="9250"/>
                  <a:pt x="10375" y="9281"/>
                </a:cubicBezTo>
                <a:cubicBezTo>
                  <a:pt x="10344" y="9281"/>
                  <a:pt x="10312" y="9343"/>
                  <a:pt x="10281" y="9312"/>
                </a:cubicBezTo>
                <a:cubicBezTo>
                  <a:pt x="10250" y="9250"/>
                  <a:pt x="10281" y="9250"/>
                  <a:pt x="10312" y="9218"/>
                </a:cubicBezTo>
                <a:cubicBezTo>
                  <a:pt x="10500" y="9125"/>
                  <a:pt x="10687" y="9000"/>
                  <a:pt x="10875" y="8875"/>
                </a:cubicBezTo>
                <a:cubicBezTo>
                  <a:pt x="10906" y="8875"/>
                  <a:pt x="10937" y="8843"/>
                  <a:pt x="10937" y="8812"/>
                </a:cubicBezTo>
                <a:cubicBezTo>
                  <a:pt x="11000" y="8843"/>
                  <a:pt x="11062" y="8718"/>
                  <a:pt x="11156" y="8750"/>
                </a:cubicBezTo>
                <a:cubicBezTo>
                  <a:pt x="11125" y="8812"/>
                  <a:pt x="11031" y="8812"/>
                  <a:pt x="11000" y="8875"/>
                </a:cubicBezTo>
                <a:cubicBezTo>
                  <a:pt x="10906" y="8937"/>
                  <a:pt x="10844" y="8937"/>
                  <a:pt x="10781" y="9031"/>
                </a:cubicBezTo>
                <a:cubicBezTo>
                  <a:pt x="10687" y="9062"/>
                  <a:pt x="10562" y="9125"/>
                  <a:pt x="10500" y="9218"/>
                </a:cubicBezTo>
                <a:close/>
                <a:moveTo>
                  <a:pt x="11500" y="8500"/>
                </a:moveTo>
                <a:cubicBezTo>
                  <a:pt x="11500" y="8437"/>
                  <a:pt x="11531" y="8468"/>
                  <a:pt x="11562" y="8468"/>
                </a:cubicBezTo>
                <a:cubicBezTo>
                  <a:pt x="11562" y="8500"/>
                  <a:pt x="11531" y="8500"/>
                  <a:pt x="11500" y="8500"/>
                </a:cubicBezTo>
                <a:close/>
                <a:moveTo>
                  <a:pt x="11562" y="8468"/>
                </a:moveTo>
                <a:cubicBezTo>
                  <a:pt x="11594" y="8375"/>
                  <a:pt x="11656" y="8375"/>
                  <a:pt x="11719" y="8375"/>
                </a:cubicBezTo>
                <a:cubicBezTo>
                  <a:pt x="11687" y="8437"/>
                  <a:pt x="11625" y="8468"/>
                  <a:pt x="11562" y="8468"/>
                </a:cubicBezTo>
                <a:close/>
                <a:moveTo>
                  <a:pt x="30812" y="5093"/>
                </a:moveTo>
                <a:cubicBezTo>
                  <a:pt x="30844" y="5093"/>
                  <a:pt x="30875" y="5093"/>
                  <a:pt x="30906" y="5093"/>
                </a:cubicBezTo>
                <a:cubicBezTo>
                  <a:pt x="30937" y="5031"/>
                  <a:pt x="30969" y="5062"/>
                  <a:pt x="31000" y="5062"/>
                </a:cubicBezTo>
                <a:cubicBezTo>
                  <a:pt x="31000" y="5031"/>
                  <a:pt x="31000" y="5031"/>
                  <a:pt x="31000" y="5031"/>
                </a:cubicBezTo>
                <a:cubicBezTo>
                  <a:pt x="31000" y="5031"/>
                  <a:pt x="31031" y="5031"/>
                  <a:pt x="31031" y="5031"/>
                </a:cubicBezTo>
                <a:cubicBezTo>
                  <a:pt x="31031" y="5031"/>
                  <a:pt x="31031" y="5062"/>
                  <a:pt x="31000" y="5062"/>
                </a:cubicBezTo>
                <a:cubicBezTo>
                  <a:pt x="31000" y="5062"/>
                  <a:pt x="31000" y="5062"/>
                  <a:pt x="31000" y="5062"/>
                </a:cubicBezTo>
                <a:cubicBezTo>
                  <a:pt x="30969" y="5093"/>
                  <a:pt x="30937" y="5093"/>
                  <a:pt x="30906" y="5093"/>
                </a:cubicBezTo>
                <a:cubicBezTo>
                  <a:pt x="30906" y="5093"/>
                  <a:pt x="30906" y="5093"/>
                  <a:pt x="30906" y="5093"/>
                </a:cubicBezTo>
                <a:cubicBezTo>
                  <a:pt x="30906" y="5093"/>
                  <a:pt x="30906" y="5093"/>
                  <a:pt x="30906" y="5093"/>
                </a:cubicBezTo>
                <a:cubicBezTo>
                  <a:pt x="30875" y="5156"/>
                  <a:pt x="30812" y="5156"/>
                  <a:pt x="30750" y="5156"/>
                </a:cubicBezTo>
                <a:cubicBezTo>
                  <a:pt x="30750" y="5125"/>
                  <a:pt x="30812" y="5156"/>
                  <a:pt x="30812" y="5093"/>
                </a:cubicBezTo>
                <a:close/>
                <a:moveTo>
                  <a:pt x="19156" y="6843"/>
                </a:moveTo>
                <a:cubicBezTo>
                  <a:pt x="19156" y="6812"/>
                  <a:pt x="19156" y="6812"/>
                  <a:pt x="19156" y="6781"/>
                </a:cubicBezTo>
                <a:cubicBezTo>
                  <a:pt x="19156" y="6812"/>
                  <a:pt x="19156" y="6812"/>
                  <a:pt x="19156" y="6843"/>
                </a:cubicBezTo>
                <a:close/>
                <a:moveTo>
                  <a:pt x="19125" y="6718"/>
                </a:moveTo>
                <a:cubicBezTo>
                  <a:pt x="19125" y="6718"/>
                  <a:pt x="19125" y="6718"/>
                  <a:pt x="19125" y="6718"/>
                </a:cubicBezTo>
                <a:cubicBezTo>
                  <a:pt x="19125" y="6718"/>
                  <a:pt x="19125" y="6718"/>
                  <a:pt x="19125" y="6718"/>
                </a:cubicBezTo>
                <a:close/>
                <a:moveTo>
                  <a:pt x="5562" y="93"/>
                </a:moveTo>
                <a:cubicBezTo>
                  <a:pt x="5594" y="93"/>
                  <a:pt x="5625" y="93"/>
                  <a:pt x="5625" y="125"/>
                </a:cubicBezTo>
                <a:cubicBezTo>
                  <a:pt x="5625" y="125"/>
                  <a:pt x="5625" y="125"/>
                  <a:pt x="5625" y="125"/>
                </a:cubicBezTo>
                <a:cubicBezTo>
                  <a:pt x="5625" y="93"/>
                  <a:pt x="5594" y="93"/>
                  <a:pt x="5562" y="93"/>
                </a:cubicBezTo>
                <a:close/>
                <a:moveTo>
                  <a:pt x="6219" y="187"/>
                </a:moveTo>
                <a:cubicBezTo>
                  <a:pt x="6187" y="187"/>
                  <a:pt x="6156" y="187"/>
                  <a:pt x="6125" y="187"/>
                </a:cubicBezTo>
                <a:cubicBezTo>
                  <a:pt x="6156" y="187"/>
                  <a:pt x="6187" y="187"/>
                  <a:pt x="6219" y="187"/>
                </a:cubicBezTo>
                <a:cubicBezTo>
                  <a:pt x="6219" y="187"/>
                  <a:pt x="6219" y="187"/>
                  <a:pt x="6250" y="218"/>
                </a:cubicBezTo>
                <a:cubicBezTo>
                  <a:pt x="6219" y="187"/>
                  <a:pt x="6219" y="187"/>
                  <a:pt x="6219" y="187"/>
                </a:cubicBezTo>
                <a:close/>
                <a:moveTo>
                  <a:pt x="6375" y="406"/>
                </a:moveTo>
                <a:cubicBezTo>
                  <a:pt x="6406" y="406"/>
                  <a:pt x="6406" y="406"/>
                  <a:pt x="6437" y="375"/>
                </a:cubicBezTo>
                <a:cubicBezTo>
                  <a:pt x="6437" y="375"/>
                  <a:pt x="6437" y="375"/>
                  <a:pt x="6437" y="375"/>
                </a:cubicBezTo>
                <a:cubicBezTo>
                  <a:pt x="6406" y="406"/>
                  <a:pt x="6406" y="406"/>
                  <a:pt x="6375" y="406"/>
                </a:cubicBezTo>
                <a:close/>
                <a:moveTo>
                  <a:pt x="6500" y="156"/>
                </a:moveTo>
                <a:cubicBezTo>
                  <a:pt x="6469" y="156"/>
                  <a:pt x="6469" y="125"/>
                  <a:pt x="6406" y="93"/>
                </a:cubicBezTo>
                <a:cubicBezTo>
                  <a:pt x="6469" y="125"/>
                  <a:pt x="6469" y="156"/>
                  <a:pt x="6500" y="156"/>
                </a:cubicBezTo>
                <a:cubicBezTo>
                  <a:pt x="6531" y="156"/>
                  <a:pt x="6531" y="156"/>
                  <a:pt x="6562" y="156"/>
                </a:cubicBezTo>
                <a:cubicBezTo>
                  <a:pt x="6531" y="156"/>
                  <a:pt x="6531" y="156"/>
                  <a:pt x="6500" y="156"/>
                </a:cubicBezTo>
                <a:close/>
                <a:moveTo>
                  <a:pt x="1812" y="5093"/>
                </a:moveTo>
                <a:cubicBezTo>
                  <a:pt x="1781" y="5125"/>
                  <a:pt x="1781" y="5125"/>
                  <a:pt x="1750" y="5156"/>
                </a:cubicBezTo>
                <a:cubicBezTo>
                  <a:pt x="1750" y="5156"/>
                  <a:pt x="1750" y="5156"/>
                  <a:pt x="1750" y="5156"/>
                </a:cubicBezTo>
                <a:cubicBezTo>
                  <a:pt x="1781" y="5125"/>
                  <a:pt x="1781" y="5125"/>
                  <a:pt x="1812" y="5093"/>
                </a:cubicBezTo>
                <a:close/>
                <a:moveTo>
                  <a:pt x="2625" y="4843"/>
                </a:moveTo>
                <a:cubicBezTo>
                  <a:pt x="2594" y="4906"/>
                  <a:pt x="2562" y="4812"/>
                  <a:pt x="2531" y="4812"/>
                </a:cubicBezTo>
                <a:cubicBezTo>
                  <a:pt x="2531" y="4875"/>
                  <a:pt x="2469" y="4906"/>
                  <a:pt x="2437" y="4906"/>
                </a:cubicBezTo>
                <a:cubicBezTo>
                  <a:pt x="2406" y="4906"/>
                  <a:pt x="2406" y="4875"/>
                  <a:pt x="2406" y="4843"/>
                </a:cubicBezTo>
                <a:cubicBezTo>
                  <a:pt x="2406" y="4781"/>
                  <a:pt x="2469" y="4781"/>
                  <a:pt x="2500" y="4781"/>
                </a:cubicBezTo>
                <a:cubicBezTo>
                  <a:pt x="2500" y="4781"/>
                  <a:pt x="2531" y="4781"/>
                  <a:pt x="2531" y="4781"/>
                </a:cubicBezTo>
                <a:cubicBezTo>
                  <a:pt x="2562" y="4750"/>
                  <a:pt x="2625" y="4718"/>
                  <a:pt x="2656" y="4781"/>
                </a:cubicBezTo>
                <a:cubicBezTo>
                  <a:pt x="2656" y="4812"/>
                  <a:pt x="2656" y="4843"/>
                  <a:pt x="2625" y="4843"/>
                </a:cubicBezTo>
                <a:close/>
                <a:moveTo>
                  <a:pt x="844" y="7468"/>
                </a:moveTo>
                <a:cubicBezTo>
                  <a:pt x="844" y="7468"/>
                  <a:pt x="844" y="7468"/>
                  <a:pt x="844" y="7468"/>
                </a:cubicBezTo>
                <a:cubicBezTo>
                  <a:pt x="844" y="7468"/>
                  <a:pt x="844" y="7468"/>
                  <a:pt x="844" y="7468"/>
                </a:cubicBezTo>
                <a:cubicBezTo>
                  <a:pt x="844" y="7468"/>
                  <a:pt x="844" y="7468"/>
                  <a:pt x="844" y="7468"/>
                </a:cubicBezTo>
                <a:cubicBezTo>
                  <a:pt x="844" y="7468"/>
                  <a:pt x="844" y="7468"/>
                  <a:pt x="844" y="7468"/>
                </a:cubicBezTo>
                <a:close/>
                <a:moveTo>
                  <a:pt x="906" y="6812"/>
                </a:moveTo>
                <a:cubicBezTo>
                  <a:pt x="937" y="6812"/>
                  <a:pt x="937" y="6781"/>
                  <a:pt x="969" y="6750"/>
                </a:cubicBezTo>
                <a:cubicBezTo>
                  <a:pt x="937" y="6781"/>
                  <a:pt x="937" y="6812"/>
                  <a:pt x="906" y="6812"/>
                </a:cubicBezTo>
                <a:close/>
                <a:moveTo>
                  <a:pt x="1250" y="6750"/>
                </a:moveTo>
                <a:cubicBezTo>
                  <a:pt x="1250" y="6718"/>
                  <a:pt x="1250" y="6718"/>
                  <a:pt x="1250" y="6687"/>
                </a:cubicBezTo>
                <a:cubicBezTo>
                  <a:pt x="1250" y="6687"/>
                  <a:pt x="1250" y="6687"/>
                  <a:pt x="1250" y="6687"/>
                </a:cubicBezTo>
                <a:cubicBezTo>
                  <a:pt x="1250" y="6718"/>
                  <a:pt x="1250" y="6718"/>
                  <a:pt x="1250" y="6750"/>
                </a:cubicBezTo>
                <a:close/>
                <a:moveTo>
                  <a:pt x="4562" y="12750"/>
                </a:moveTo>
                <a:cubicBezTo>
                  <a:pt x="4562" y="12750"/>
                  <a:pt x="4562" y="12750"/>
                  <a:pt x="4562" y="12750"/>
                </a:cubicBezTo>
                <a:cubicBezTo>
                  <a:pt x="4531" y="12750"/>
                  <a:pt x="4500" y="12750"/>
                  <a:pt x="4500" y="12750"/>
                </a:cubicBezTo>
                <a:cubicBezTo>
                  <a:pt x="4500" y="12750"/>
                  <a:pt x="4531" y="12750"/>
                  <a:pt x="4562" y="12750"/>
                </a:cubicBezTo>
                <a:close/>
                <a:moveTo>
                  <a:pt x="4500" y="11718"/>
                </a:moveTo>
                <a:cubicBezTo>
                  <a:pt x="4469" y="11718"/>
                  <a:pt x="4437" y="11718"/>
                  <a:pt x="4375" y="11750"/>
                </a:cubicBezTo>
                <a:cubicBezTo>
                  <a:pt x="4437" y="11718"/>
                  <a:pt x="4469" y="11718"/>
                  <a:pt x="4500" y="11718"/>
                </a:cubicBezTo>
                <a:close/>
                <a:moveTo>
                  <a:pt x="4187" y="12312"/>
                </a:moveTo>
                <a:cubicBezTo>
                  <a:pt x="4187" y="12312"/>
                  <a:pt x="4156" y="12312"/>
                  <a:pt x="4156" y="12312"/>
                </a:cubicBezTo>
                <a:cubicBezTo>
                  <a:pt x="4156" y="12312"/>
                  <a:pt x="4156" y="12312"/>
                  <a:pt x="4156" y="12312"/>
                </a:cubicBezTo>
                <a:cubicBezTo>
                  <a:pt x="4156" y="12312"/>
                  <a:pt x="4187" y="12312"/>
                  <a:pt x="4187" y="12312"/>
                </a:cubicBezTo>
                <a:close/>
                <a:moveTo>
                  <a:pt x="3219" y="11218"/>
                </a:moveTo>
                <a:cubicBezTo>
                  <a:pt x="3250" y="11218"/>
                  <a:pt x="3281" y="11187"/>
                  <a:pt x="3344" y="11187"/>
                </a:cubicBezTo>
                <a:cubicBezTo>
                  <a:pt x="3281" y="11187"/>
                  <a:pt x="3250" y="11218"/>
                  <a:pt x="3219" y="11218"/>
                </a:cubicBezTo>
                <a:close/>
                <a:moveTo>
                  <a:pt x="3469" y="11593"/>
                </a:moveTo>
                <a:cubicBezTo>
                  <a:pt x="3469" y="11593"/>
                  <a:pt x="3469" y="11593"/>
                  <a:pt x="3469" y="11593"/>
                </a:cubicBezTo>
                <a:cubicBezTo>
                  <a:pt x="3469" y="11593"/>
                  <a:pt x="3469" y="11593"/>
                  <a:pt x="3469" y="11593"/>
                </a:cubicBezTo>
                <a:cubicBezTo>
                  <a:pt x="3531" y="11593"/>
                  <a:pt x="3562" y="11593"/>
                  <a:pt x="3594" y="11593"/>
                </a:cubicBezTo>
                <a:cubicBezTo>
                  <a:pt x="3562" y="11593"/>
                  <a:pt x="3531" y="11593"/>
                  <a:pt x="3469" y="11593"/>
                </a:cubicBezTo>
                <a:close/>
                <a:moveTo>
                  <a:pt x="4031" y="11937"/>
                </a:moveTo>
                <a:cubicBezTo>
                  <a:pt x="4062" y="11937"/>
                  <a:pt x="4062" y="11937"/>
                  <a:pt x="4031" y="11906"/>
                </a:cubicBezTo>
                <a:cubicBezTo>
                  <a:pt x="4000" y="11906"/>
                  <a:pt x="3937" y="11906"/>
                  <a:pt x="3875" y="11875"/>
                </a:cubicBezTo>
                <a:cubicBezTo>
                  <a:pt x="3937" y="11906"/>
                  <a:pt x="4000" y="11906"/>
                  <a:pt x="4031" y="11906"/>
                </a:cubicBezTo>
                <a:cubicBezTo>
                  <a:pt x="4062" y="11937"/>
                  <a:pt x="4062" y="11937"/>
                  <a:pt x="4031" y="11937"/>
                </a:cubicBezTo>
                <a:close/>
                <a:moveTo>
                  <a:pt x="3875" y="11593"/>
                </a:moveTo>
                <a:cubicBezTo>
                  <a:pt x="3937" y="11593"/>
                  <a:pt x="3969" y="11562"/>
                  <a:pt x="4031" y="11531"/>
                </a:cubicBezTo>
                <a:cubicBezTo>
                  <a:pt x="3969" y="11562"/>
                  <a:pt x="3937" y="11593"/>
                  <a:pt x="3875" y="11593"/>
                </a:cubicBezTo>
                <a:cubicBezTo>
                  <a:pt x="3875" y="11593"/>
                  <a:pt x="3844" y="11593"/>
                  <a:pt x="3844" y="11593"/>
                </a:cubicBezTo>
                <a:cubicBezTo>
                  <a:pt x="3844" y="11593"/>
                  <a:pt x="3875" y="11593"/>
                  <a:pt x="3875" y="11593"/>
                </a:cubicBezTo>
                <a:close/>
                <a:moveTo>
                  <a:pt x="3969" y="11718"/>
                </a:moveTo>
                <a:cubicBezTo>
                  <a:pt x="3844" y="11718"/>
                  <a:pt x="3750" y="11687"/>
                  <a:pt x="3656" y="11687"/>
                </a:cubicBezTo>
                <a:cubicBezTo>
                  <a:pt x="3656" y="11656"/>
                  <a:pt x="3656" y="11656"/>
                  <a:pt x="3656" y="11656"/>
                </a:cubicBezTo>
                <a:cubicBezTo>
                  <a:pt x="3750" y="11687"/>
                  <a:pt x="3844" y="11718"/>
                  <a:pt x="3969" y="11718"/>
                </a:cubicBezTo>
                <a:close/>
                <a:moveTo>
                  <a:pt x="3625" y="10656"/>
                </a:moveTo>
                <a:cubicBezTo>
                  <a:pt x="3594" y="10656"/>
                  <a:pt x="3594" y="10656"/>
                  <a:pt x="3562" y="10656"/>
                </a:cubicBezTo>
                <a:cubicBezTo>
                  <a:pt x="3562" y="10656"/>
                  <a:pt x="3562" y="10656"/>
                  <a:pt x="3562" y="10656"/>
                </a:cubicBezTo>
                <a:cubicBezTo>
                  <a:pt x="3594" y="10656"/>
                  <a:pt x="3594" y="10656"/>
                  <a:pt x="3625" y="10656"/>
                </a:cubicBezTo>
                <a:close/>
                <a:moveTo>
                  <a:pt x="3594" y="10812"/>
                </a:moveTo>
                <a:cubicBezTo>
                  <a:pt x="3562" y="10812"/>
                  <a:pt x="3531" y="10812"/>
                  <a:pt x="3531" y="10843"/>
                </a:cubicBezTo>
                <a:cubicBezTo>
                  <a:pt x="3531" y="10812"/>
                  <a:pt x="3562" y="10812"/>
                  <a:pt x="3594" y="10812"/>
                </a:cubicBezTo>
                <a:close/>
                <a:moveTo>
                  <a:pt x="3344" y="10750"/>
                </a:moveTo>
                <a:cubicBezTo>
                  <a:pt x="3344" y="10750"/>
                  <a:pt x="3375" y="10750"/>
                  <a:pt x="3375" y="10750"/>
                </a:cubicBezTo>
                <a:cubicBezTo>
                  <a:pt x="3375" y="10750"/>
                  <a:pt x="3344" y="10750"/>
                  <a:pt x="3344" y="10750"/>
                </a:cubicBezTo>
                <a:cubicBezTo>
                  <a:pt x="3344" y="10750"/>
                  <a:pt x="3344" y="10750"/>
                  <a:pt x="3344" y="10750"/>
                </a:cubicBezTo>
                <a:close/>
                <a:moveTo>
                  <a:pt x="3281" y="11093"/>
                </a:moveTo>
                <a:cubicBezTo>
                  <a:pt x="3281" y="11093"/>
                  <a:pt x="3312" y="11093"/>
                  <a:pt x="3344" y="11093"/>
                </a:cubicBezTo>
                <a:cubicBezTo>
                  <a:pt x="3437" y="11093"/>
                  <a:pt x="3531" y="11062"/>
                  <a:pt x="3625" y="11062"/>
                </a:cubicBezTo>
                <a:cubicBezTo>
                  <a:pt x="3625" y="11031"/>
                  <a:pt x="3656" y="11031"/>
                  <a:pt x="3687" y="11031"/>
                </a:cubicBezTo>
                <a:cubicBezTo>
                  <a:pt x="3656" y="11031"/>
                  <a:pt x="3625" y="11031"/>
                  <a:pt x="3625" y="11062"/>
                </a:cubicBezTo>
                <a:cubicBezTo>
                  <a:pt x="3625" y="11062"/>
                  <a:pt x="3625" y="11062"/>
                  <a:pt x="3625" y="11062"/>
                </a:cubicBezTo>
                <a:cubicBezTo>
                  <a:pt x="3531" y="11062"/>
                  <a:pt x="3437" y="11093"/>
                  <a:pt x="3344" y="11093"/>
                </a:cubicBezTo>
                <a:cubicBezTo>
                  <a:pt x="3312" y="11093"/>
                  <a:pt x="3281" y="11093"/>
                  <a:pt x="3281" y="11093"/>
                </a:cubicBezTo>
                <a:cubicBezTo>
                  <a:pt x="3250" y="11093"/>
                  <a:pt x="3219" y="11093"/>
                  <a:pt x="3219" y="11093"/>
                </a:cubicBezTo>
                <a:cubicBezTo>
                  <a:pt x="3219" y="11093"/>
                  <a:pt x="3250" y="11093"/>
                  <a:pt x="3281" y="11093"/>
                </a:cubicBezTo>
                <a:close/>
                <a:moveTo>
                  <a:pt x="9719" y="5656"/>
                </a:moveTo>
                <a:cubicBezTo>
                  <a:pt x="9719" y="5656"/>
                  <a:pt x="9719" y="5656"/>
                  <a:pt x="9719" y="5656"/>
                </a:cubicBezTo>
                <a:cubicBezTo>
                  <a:pt x="9719" y="5656"/>
                  <a:pt x="9719" y="5656"/>
                  <a:pt x="9719" y="5656"/>
                </a:cubicBezTo>
                <a:cubicBezTo>
                  <a:pt x="9719" y="5656"/>
                  <a:pt x="9719" y="5656"/>
                  <a:pt x="9719" y="5656"/>
                </a:cubicBezTo>
                <a:close/>
                <a:moveTo>
                  <a:pt x="9687" y="5718"/>
                </a:moveTo>
                <a:cubicBezTo>
                  <a:pt x="9687" y="5718"/>
                  <a:pt x="9687" y="5718"/>
                  <a:pt x="9687" y="5718"/>
                </a:cubicBezTo>
                <a:cubicBezTo>
                  <a:pt x="9687" y="5687"/>
                  <a:pt x="9687" y="5687"/>
                  <a:pt x="9687" y="5687"/>
                </a:cubicBezTo>
                <a:cubicBezTo>
                  <a:pt x="9687" y="5687"/>
                  <a:pt x="9687" y="5687"/>
                  <a:pt x="9687" y="5718"/>
                </a:cubicBezTo>
                <a:close/>
                <a:moveTo>
                  <a:pt x="9937" y="5687"/>
                </a:moveTo>
                <a:cubicBezTo>
                  <a:pt x="9937" y="5687"/>
                  <a:pt x="9937" y="5687"/>
                  <a:pt x="9937" y="5687"/>
                </a:cubicBezTo>
                <a:cubicBezTo>
                  <a:pt x="9844" y="5718"/>
                  <a:pt x="9750" y="5781"/>
                  <a:pt x="9656" y="5843"/>
                </a:cubicBezTo>
                <a:cubicBezTo>
                  <a:pt x="9656" y="5843"/>
                  <a:pt x="9656" y="5843"/>
                  <a:pt x="9656" y="5843"/>
                </a:cubicBezTo>
                <a:cubicBezTo>
                  <a:pt x="9750" y="5781"/>
                  <a:pt x="9844" y="5718"/>
                  <a:pt x="9937" y="5687"/>
                </a:cubicBezTo>
                <a:close/>
                <a:moveTo>
                  <a:pt x="9687" y="5875"/>
                </a:moveTo>
                <a:cubicBezTo>
                  <a:pt x="9687" y="5937"/>
                  <a:pt x="9656" y="5937"/>
                  <a:pt x="9625" y="5968"/>
                </a:cubicBezTo>
                <a:cubicBezTo>
                  <a:pt x="9656" y="5937"/>
                  <a:pt x="9687" y="5937"/>
                  <a:pt x="9687" y="5875"/>
                </a:cubicBezTo>
                <a:close/>
                <a:moveTo>
                  <a:pt x="9312" y="6187"/>
                </a:moveTo>
                <a:cubicBezTo>
                  <a:pt x="9312" y="6187"/>
                  <a:pt x="9312" y="6187"/>
                  <a:pt x="9312" y="6187"/>
                </a:cubicBezTo>
                <a:cubicBezTo>
                  <a:pt x="9281" y="6187"/>
                  <a:pt x="9281" y="6156"/>
                  <a:pt x="9281" y="6156"/>
                </a:cubicBezTo>
                <a:cubicBezTo>
                  <a:pt x="9281" y="6156"/>
                  <a:pt x="9281" y="6187"/>
                  <a:pt x="9312" y="6187"/>
                </a:cubicBezTo>
                <a:close/>
                <a:moveTo>
                  <a:pt x="9281" y="6687"/>
                </a:moveTo>
                <a:cubicBezTo>
                  <a:pt x="9375" y="6656"/>
                  <a:pt x="9469" y="6562"/>
                  <a:pt x="9594" y="6531"/>
                </a:cubicBezTo>
                <a:cubicBezTo>
                  <a:pt x="9531" y="6625"/>
                  <a:pt x="9406" y="6625"/>
                  <a:pt x="9312" y="6718"/>
                </a:cubicBezTo>
                <a:cubicBezTo>
                  <a:pt x="9312" y="6718"/>
                  <a:pt x="9281" y="6718"/>
                  <a:pt x="9281" y="6718"/>
                </a:cubicBezTo>
                <a:cubicBezTo>
                  <a:pt x="9250" y="6718"/>
                  <a:pt x="9281" y="6687"/>
                  <a:pt x="9281" y="6687"/>
                </a:cubicBezTo>
                <a:close/>
                <a:moveTo>
                  <a:pt x="9219" y="5968"/>
                </a:moveTo>
                <a:cubicBezTo>
                  <a:pt x="9219" y="5968"/>
                  <a:pt x="9219" y="6000"/>
                  <a:pt x="9219" y="6000"/>
                </a:cubicBezTo>
                <a:cubicBezTo>
                  <a:pt x="9219" y="6031"/>
                  <a:pt x="9250" y="6031"/>
                  <a:pt x="9250" y="6062"/>
                </a:cubicBezTo>
                <a:cubicBezTo>
                  <a:pt x="9250" y="6031"/>
                  <a:pt x="9219" y="6031"/>
                  <a:pt x="9219" y="6000"/>
                </a:cubicBezTo>
                <a:cubicBezTo>
                  <a:pt x="9219" y="6000"/>
                  <a:pt x="9219" y="5968"/>
                  <a:pt x="9219" y="5968"/>
                </a:cubicBezTo>
                <a:close/>
                <a:moveTo>
                  <a:pt x="9250" y="6343"/>
                </a:moveTo>
                <a:cubicBezTo>
                  <a:pt x="9219" y="6343"/>
                  <a:pt x="9219" y="6343"/>
                  <a:pt x="9219" y="6312"/>
                </a:cubicBezTo>
                <a:cubicBezTo>
                  <a:pt x="9219" y="6312"/>
                  <a:pt x="9219" y="6312"/>
                  <a:pt x="9219" y="6312"/>
                </a:cubicBezTo>
                <a:cubicBezTo>
                  <a:pt x="9219" y="6343"/>
                  <a:pt x="9219" y="6343"/>
                  <a:pt x="9250" y="6343"/>
                </a:cubicBezTo>
                <a:close/>
                <a:moveTo>
                  <a:pt x="9219" y="6093"/>
                </a:moveTo>
                <a:cubicBezTo>
                  <a:pt x="9219" y="6093"/>
                  <a:pt x="9219" y="6093"/>
                  <a:pt x="9219" y="6093"/>
                </a:cubicBezTo>
                <a:cubicBezTo>
                  <a:pt x="9187" y="6093"/>
                  <a:pt x="9187" y="6093"/>
                  <a:pt x="9187" y="6093"/>
                </a:cubicBezTo>
                <a:cubicBezTo>
                  <a:pt x="9187" y="6093"/>
                  <a:pt x="9187" y="6093"/>
                  <a:pt x="9219" y="6093"/>
                </a:cubicBezTo>
                <a:close/>
                <a:moveTo>
                  <a:pt x="9062" y="6406"/>
                </a:moveTo>
                <a:cubicBezTo>
                  <a:pt x="9062" y="6406"/>
                  <a:pt x="9062" y="6406"/>
                  <a:pt x="9062" y="6406"/>
                </a:cubicBezTo>
                <a:cubicBezTo>
                  <a:pt x="9062" y="6406"/>
                  <a:pt x="9062" y="6406"/>
                  <a:pt x="9062" y="6406"/>
                </a:cubicBezTo>
                <a:cubicBezTo>
                  <a:pt x="9062" y="6406"/>
                  <a:pt x="9062" y="6406"/>
                  <a:pt x="9062" y="6406"/>
                </a:cubicBezTo>
                <a:close/>
                <a:moveTo>
                  <a:pt x="9062" y="6375"/>
                </a:moveTo>
                <a:cubicBezTo>
                  <a:pt x="9062" y="6406"/>
                  <a:pt x="9062" y="6406"/>
                  <a:pt x="9062" y="6406"/>
                </a:cubicBezTo>
                <a:cubicBezTo>
                  <a:pt x="9062" y="6406"/>
                  <a:pt x="9062" y="6406"/>
                  <a:pt x="9062" y="6375"/>
                </a:cubicBezTo>
                <a:cubicBezTo>
                  <a:pt x="9062" y="6375"/>
                  <a:pt x="9062" y="6375"/>
                  <a:pt x="9062" y="6375"/>
                </a:cubicBezTo>
                <a:close/>
                <a:moveTo>
                  <a:pt x="9219" y="6750"/>
                </a:moveTo>
                <a:cubicBezTo>
                  <a:pt x="9094" y="6843"/>
                  <a:pt x="9000" y="6937"/>
                  <a:pt x="8844" y="6968"/>
                </a:cubicBezTo>
                <a:cubicBezTo>
                  <a:pt x="8937" y="6875"/>
                  <a:pt x="9062" y="6781"/>
                  <a:pt x="9219" y="6750"/>
                </a:cubicBezTo>
                <a:close/>
                <a:moveTo>
                  <a:pt x="8562" y="6375"/>
                </a:moveTo>
                <a:cubicBezTo>
                  <a:pt x="8594" y="6375"/>
                  <a:pt x="8594" y="6375"/>
                  <a:pt x="8625" y="6375"/>
                </a:cubicBezTo>
                <a:cubicBezTo>
                  <a:pt x="8594" y="6375"/>
                  <a:pt x="8594" y="6375"/>
                  <a:pt x="8562" y="6375"/>
                </a:cubicBezTo>
                <a:close/>
                <a:moveTo>
                  <a:pt x="8687" y="7031"/>
                </a:moveTo>
                <a:cubicBezTo>
                  <a:pt x="8719" y="7000"/>
                  <a:pt x="8750" y="7000"/>
                  <a:pt x="8781" y="7000"/>
                </a:cubicBezTo>
                <a:cubicBezTo>
                  <a:pt x="8625" y="7125"/>
                  <a:pt x="8469" y="7218"/>
                  <a:pt x="8312" y="7312"/>
                </a:cubicBezTo>
                <a:cubicBezTo>
                  <a:pt x="8156" y="7375"/>
                  <a:pt x="8000" y="7500"/>
                  <a:pt x="7844" y="7562"/>
                </a:cubicBezTo>
                <a:cubicBezTo>
                  <a:pt x="7656" y="7656"/>
                  <a:pt x="7469" y="7781"/>
                  <a:pt x="7281" y="7875"/>
                </a:cubicBezTo>
                <a:cubicBezTo>
                  <a:pt x="7281" y="7843"/>
                  <a:pt x="7250" y="7812"/>
                  <a:pt x="7250" y="7812"/>
                </a:cubicBezTo>
                <a:cubicBezTo>
                  <a:pt x="7281" y="7781"/>
                  <a:pt x="7312" y="7781"/>
                  <a:pt x="7344" y="7781"/>
                </a:cubicBezTo>
                <a:cubicBezTo>
                  <a:pt x="7406" y="7750"/>
                  <a:pt x="7437" y="7656"/>
                  <a:pt x="7500" y="7656"/>
                </a:cubicBezTo>
                <a:cubicBezTo>
                  <a:pt x="7687" y="7593"/>
                  <a:pt x="7812" y="7500"/>
                  <a:pt x="7969" y="7406"/>
                </a:cubicBezTo>
                <a:cubicBezTo>
                  <a:pt x="8219" y="7281"/>
                  <a:pt x="8437" y="7156"/>
                  <a:pt x="8687" y="7031"/>
                </a:cubicBezTo>
                <a:close/>
                <a:moveTo>
                  <a:pt x="7219" y="7843"/>
                </a:moveTo>
                <a:cubicBezTo>
                  <a:pt x="7219" y="7843"/>
                  <a:pt x="7219" y="7812"/>
                  <a:pt x="7219" y="7781"/>
                </a:cubicBezTo>
                <a:cubicBezTo>
                  <a:pt x="7156" y="7781"/>
                  <a:pt x="7094" y="7781"/>
                  <a:pt x="7062" y="7750"/>
                </a:cubicBezTo>
                <a:cubicBezTo>
                  <a:pt x="7094" y="7781"/>
                  <a:pt x="7156" y="7781"/>
                  <a:pt x="7219" y="7781"/>
                </a:cubicBezTo>
                <a:cubicBezTo>
                  <a:pt x="7250" y="7781"/>
                  <a:pt x="7250" y="7781"/>
                  <a:pt x="7281" y="7750"/>
                </a:cubicBezTo>
                <a:cubicBezTo>
                  <a:pt x="7281" y="7750"/>
                  <a:pt x="7312" y="7750"/>
                  <a:pt x="7312" y="7750"/>
                </a:cubicBezTo>
                <a:cubicBezTo>
                  <a:pt x="7312" y="7750"/>
                  <a:pt x="7281" y="7750"/>
                  <a:pt x="7281" y="7750"/>
                </a:cubicBezTo>
                <a:cubicBezTo>
                  <a:pt x="7250" y="7781"/>
                  <a:pt x="7250" y="7781"/>
                  <a:pt x="7219" y="7781"/>
                </a:cubicBezTo>
                <a:cubicBezTo>
                  <a:pt x="7219" y="7812"/>
                  <a:pt x="7219" y="7843"/>
                  <a:pt x="7219" y="7843"/>
                </a:cubicBezTo>
                <a:close/>
                <a:moveTo>
                  <a:pt x="7844" y="7281"/>
                </a:moveTo>
                <a:cubicBezTo>
                  <a:pt x="7781" y="7250"/>
                  <a:pt x="7719" y="7218"/>
                  <a:pt x="7687" y="7156"/>
                </a:cubicBezTo>
                <a:cubicBezTo>
                  <a:pt x="7687" y="7156"/>
                  <a:pt x="7687" y="7156"/>
                  <a:pt x="7687" y="7156"/>
                </a:cubicBezTo>
                <a:cubicBezTo>
                  <a:pt x="7719" y="7218"/>
                  <a:pt x="7781" y="7250"/>
                  <a:pt x="7844" y="7281"/>
                </a:cubicBezTo>
                <a:close/>
                <a:moveTo>
                  <a:pt x="7719" y="7125"/>
                </a:moveTo>
                <a:cubicBezTo>
                  <a:pt x="7719" y="7125"/>
                  <a:pt x="7750" y="7093"/>
                  <a:pt x="7750" y="7062"/>
                </a:cubicBezTo>
                <a:cubicBezTo>
                  <a:pt x="7750" y="7093"/>
                  <a:pt x="7781" y="7093"/>
                  <a:pt x="7781" y="7125"/>
                </a:cubicBezTo>
                <a:cubicBezTo>
                  <a:pt x="7781" y="7093"/>
                  <a:pt x="7750" y="7093"/>
                  <a:pt x="7750" y="7062"/>
                </a:cubicBezTo>
                <a:cubicBezTo>
                  <a:pt x="7750" y="7093"/>
                  <a:pt x="7719" y="7125"/>
                  <a:pt x="7719" y="7125"/>
                </a:cubicBezTo>
                <a:close/>
                <a:moveTo>
                  <a:pt x="8312" y="6812"/>
                </a:moveTo>
                <a:cubicBezTo>
                  <a:pt x="8312" y="6812"/>
                  <a:pt x="8312" y="6812"/>
                  <a:pt x="8312" y="6812"/>
                </a:cubicBezTo>
                <a:cubicBezTo>
                  <a:pt x="8312" y="6812"/>
                  <a:pt x="8312" y="6812"/>
                  <a:pt x="8312" y="6812"/>
                </a:cubicBezTo>
                <a:cubicBezTo>
                  <a:pt x="8312" y="6812"/>
                  <a:pt x="8312" y="6812"/>
                  <a:pt x="8312" y="6812"/>
                </a:cubicBezTo>
                <a:close/>
                <a:moveTo>
                  <a:pt x="7781" y="6843"/>
                </a:moveTo>
                <a:cubicBezTo>
                  <a:pt x="7812" y="6812"/>
                  <a:pt x="7844" y="6812"/>
                  <a:pt x="7844" y="6781"/>
                </a:cubicBezTo>
                <a:cubicBezTo>
                  <a:pt x="7844" y="6812"/>
                  <a:pt x="7812" y="6812"/>
                  <a:pt x="7781" y="6843"/>
                </a:cubicBezTo>
                <a:cubicBezTo>
                  <a:pt x="7750" y="6843"/>
                  <a:pt x="7719" y="6875"/>
                  <a:pt x="7656" y="6906"/>
                </a:cubicBezTo>
                <a:cubicBezTo>
                  <a:pt x="7719" y="6875"/>
                  <a:pt x="7750" y="6843"/>
                  <a:pt x="7781" y="6843"/>
                </a:cubicBezTo>
                <a:close/>
                <a:moveTo>
                  <a:pt x="7594" y="6906"/>
                </a:moveTo>
                <a:cubicBezTo>
                  <a:pt x="7594" y="6906"/>
                  <a:pt x="7594" y="6906"/>
                  <a:pt x="7594" y="6906"/>
                </a:cubicBezTo>
                <a:cubicBezTo>
                  <a:pt x="7594" y="6906"/>
                  <a:pt x="7594" y="6906"/>
                  <a:pt x="7594" y="6906"/>
                </a:cubicBezTo>
                <a:cubicBezTo>
                  <a:pt x="7594" y="6906"/>
                  <a:pt x="7594" y="6906"/>
                  <a:pt x="7594" y="6906"/>
                </a:cubicBezTo>
                <a:close/>
                <a:moveTo>
                  <a:pt x="7594" y="6968"/>
                </a:moveTo>
                <a:cubicBezTo>
                  <a:pt x="7562" y="6968"/>
                  <a:pt x="7562" y="6968"/>
                  <a:pt x="7562" y="6968"/>
                </a:cubicBezTo>
                <a:cubicBezTo>
                  <a:pt x="7594" y="6968"/>
                  <a:pt x="7594" y="6968"/>
                  <a:pt x="7594" y="6968"/>
                </a:cubicBezTo>
                <a:cubicBezTo>
                  <a:pt x="7594" y="6968"/>
                  <a:pt x="7594" y="6968"/>
                  <a:pt x="7594" y="6968"/>
                </a:cubicBezTo>
                <a:cubicBezTo>
                  <a:pt x="7625" y="6968"/>
                  <a:pt x="7625" y="6968"/>
                  <a:pt x="7656" y="6937"/>
                </a:cubicBezTo>
                <a:cubicBezTo>
                  <a:pt x="7656" y="6937"/>
                  <a:pt x="7656" y="6937"/>
                  <a:pt x="7656" y="6937"/>
                </a:cubicBezTo>
                <a:cubicBezTo>
                  <a:pt x="7719" y="6937"/>
                  <a:pt x="7781" y="6875"/>
                  <a:pt x="7844" y="6843"/>
                </a:cubicBezTo>
                <a:cubicBezTo>
                  <a:pt x="7875" y="6843"/>
                  <a:pt x="7875" y="6812"/>
                  <a:pt x="7906" y="6812"/>
                </a:cubicBezTo>
                <a:cubicBezTo>
                  <a:pt x="8031" y="6750"/>
                  <a:pt x="8125" y="6687"/>
                  <a:pt x="8250" y="6625"/>
                </a:cubicBezTo>
                <a:cubicBezTo>
                  <a:pt x="8281" y="6593"/>
                  <a:pt x="8281" y="6593"/>
                  <a:pt x="8312" y="6593"/>
                </a:cubicBezTo>
                <a:cubicBezTo>
                  <a:pt x="8312" y="6562"/>
                  <a:pt x="8312" y="6562"/>
                  <a:pt x="8312" y="6562"/>
                </a:cubicBezTo>
                <a:cubicBezTo>
                  <a:pt x="8312" y="6562"/>
                  <a:pt x="8312" y="6562"/>
                  <a:pt x="8312" y="6562"/>
                </a:cubicBezTo>
                <a:cubicBezTo>
                  <a:pt x="8312" y="6562"/>
                  <a:pt x="8312" y="6562"/>
                  <a:pt x="8312" y="6593"/>
                </a:cubicBezTo>
                <a:cubicBezTo>
                  <a:pt x="8312" y="6593"/>
                  <a:pt x="8344" y="6562"/>
                  <a:pt x="8375" y="6562"/>
                </a:cubicBezTo>
                <a:cubicBezTo>
                  <a:pt x="8375" y="6593"/>
                  <a:pt x="8344" y="6625"/>
                  <a:pt x="8344" y="6656"/>
                </a:cubicBezTo>
                <a:cubicBezTo>
                  <a:pt x="8281" y="6656"/>
                  <a:pt x="8250" y="6687"/>
                  <a:pt x="8250" y="6718"/>
                </a:cubicBezTo>
                <a:cubicBezTo>
                  <a:pt x="8219" y="6718"/>
                  <a:pt x="8219" y="6718"/>
                  <a:pt x="8187" y="6718"/>
                </a:cubicBezTo>
                <a:cubicBezTo>
                  <a:pt x="8219" y="6750"/>
                  <a:pt x="8250" y="6781"/>
                  <a:pt x="8281" y="6781"/>
                </a:cubicBezTo>
                <a:cubicBezTo>
                  <a:pt x="8250" y="6781"/>
                  <a:pt x="8219" y="6750"/>
                  <a:pt x="8187" y="6718"/>
                </a:cubicBezTo>
                <a:cubicBezTo>
                  <a:pt x="8156" y="6718"/>
                  <a:pt x="8125" y="6750"/>
                  <a:pt x="8094" y="6781"/>
                </a:cubicBezTo>
                <a:cubicBezTo>
                  <a:pt x="8031" y="6812"/>
                  <a:pt x="7969" y="6843"/>
                  <a:pt x="7906" y="6906"/>
                </a:cubicBezTo>
                <a:cubicBezTo>
                  <a:pt x="7937" y="6906"/>
                  <a:pt x="7937" y="6906"/>
                  <a:pt x="7969" y="6937"/>
                </a:cubicBezTo>
                <a:cubicBezTo>
                  <a:pt x="7937" y="6906"/>
                  <a:pt x="7937" y="6906"/>
                  <a:pt x="7906" y="6906"/>
                </a:cubicBezTo>
                <a:cubicBezTo>
                  <a:pt x="7906" y="6906"/>
                  <a:pt x="7906" y="6906"/>
                  <a:pt x="7906" y="6906"/>
                </a:cubicBezTo>
                <a:cubicBezTo>
                  <a:pt x="7875" y="6937"/>
                  <a:pt x="7844" y="7000"/>
                  <a:pt x="7781" y="7000"/>
                </a:cubicBezTo>
                <a:cubicBezTo>
                  <a:pt x="7687" y="7000"/>
                  <a:pt x="7625" y="7031"/>
                  <a:pt x="7594" y="7062"/>
                </a:cubicBezTo>
                <a:cubicBezTo>
                  <a:pt x="7562" y="7062"/>
                  <a:pt x="7531" y="7062"/>
                  <a:pt x="7531" y="7031"/>
                </a:cubicBezTo>
                <a:cubicBezTo>
                  <a:pt x="7531" y="7000"/>
                  <a:pt x="7594" y="7000"/>
                  <a:pt x="7594" y="6968"/>
                </a:cubicBezTo>
                <a:close/>
                <a:moveTo>
                  <a:pt x="7531" y="6937"/>
                </a:moveTo>
                <a:cubicBezTo>
                  <a:pt x="7531" y="6937"/>
                  <a:pt x="7531" y="6937"/>
                  <a:pt x="7531" y="6937"/>
                </a:cubicBezTo>
                <a:cubicBezTo>
                  <a:pt x="7531" y="6968"/>
                  <a:pt x="7531" y="6968"/>
                  <a:pt x="7500" y="7000"/>
                </a:cubicBezTo>
                <a:cubicBezTo>
                  <a:pt x="7531" y="6968"/>
                  <a:pt x="7531" y="6968"/>
                  <a:pt x="7531" y="6937"/>
                </a:cubicBezTo>
                <a:close/>
                <a:moveTo>
                  <a:pt x="7469" y="7031"/>
                </a:move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437" y="7031"/>
                </a:cubicBezTo>
                <a:cubicBezTo>
                  <a:pt x="7469" y="7031"/>
                  <a:pt x="7469" y="7031"/>
                  <a:pt x="7469" y="7031"/>
                </a:cubicBezTo>
                <a:close/>
                <a:moveTo>
                  <a:pt x="7312" y="750"/>
                </a:moveTo>
                <a:cubicBezTo>
                  <a:pt x="7312" y="781"/>
                  <a:pt x="7344" y="781"/>
                  <a:pt x="7375" y="781"/>
                </a:cubicBezTo>
                <a:cubicBezTo>
                  <a:pt x="7344" y="781"/>
                  <a:pt x="7312" y="781"/>
                  <a:pt x="7312" y="750"/>
                </a:cubicBezTo>
                <a:cubicBezTo>
                  <a:pt x="7312" y="750"/>
                  <a:pt x="7312" y="750"/>
                  <a:pt x="7312" y="750"/>
                </a:cubicBezTo>
                <a:close/>
                <a:moveTo>
                  <a:pt x="7344" y="1187"/>
                </a:moveTo>
                <a:cubicBezTo>
                  <a:pt x="7344" y="1187"/>
                  <a:pt x="7344" y="1187"/>
                  <a:pt x="7344" y="1187"/>
                </a:cubicBezTo>
                <a:cubicBezTo>
                  <a:pt x="7344" y="1218"/>
                  <a:pt x="7344" y="1218"/>
                  <a:pt x="7344" y="1218"/>
                </a:cubicBezTo>
                <a:cubicBezTo>
                  <a:pt x="7344" y="1218"/>
                  <a:pt x="7344" y="1218"/>
                  <a:pt x="7344" y="1187"/>
                </a:cubicBezTo>
                <a:cubicBezTo>
                  <a:pt x="7344" y="1187"/>
                  <a:pt x="7344" y="1187"/>
                  <a:pt x="7344" y="1187"/>
                </a:cubicBezTo>
                <a:close/>
                <a:moveTo>
                  <a:pt x="7281" y="1281"/>
                </a:moveTo>
                <a:cubicBezTo>
                  <a:pt x="7281" y="1281"/>
                  <a:pt x="7281" y="1281"/>
                  <a:pt x="7281" y="1281"/>
                </a:cubicBezTo>
                <a:cubicBezTo>
                  <a:pt x="7281" y="1281"/>
                  <a:pt x="7281" y="1281"/>
                  <a:pt x="7281" y="1281"/>
                </a:cubicBezTo>
                <a:close/>
                <a:moveTo>
                  <a:pt x="7125" y="406"/>
                </a:moveTo>
                <a:cubicBezTo>
                  <a:pt x="7156" y="437"/>
                  <a:pt x="7187" y="437"/>
                  <a:pt x="7219" y="468"/>
                </a:cubicBezTo>
                <a:cubicBezTo>
                  <a:pt x="7219" y="468"/>
                  <a:pt x="7250" y="468"/>
                  <a:pt x="7250" y="468"/>
                </a:cubicBezTo>
                <a:cubicBezTo>
                  <a:pt x="7250" y="468"/>
                  <a:pt x="7219" y="468"/>
                  <a:pt x="7219" y="468"/>
                </a:cubicBezTo>
                <a:cubicBezTo>
                  <a:pt x="7219" y="468"/>
                  <a:pt x="7219" y="468"/>
                  <a:pt x="7219" y="468"/>
                </a:cubicBezTo>
                <a:cubicBezTo>
                  <a:pt x="7187" y="437"/>
                  <a:pt x="7156" y="437"/>
                  <a:pt x="7094" y="406"/>
                </a:cubicBezTo>
                <a:cubicBezTo>
                  <a:pt x="7094" y="437"/>
                  <a:pt x="7031" y="406"/>
                  <a:pt x="7000" y="406"/>
                </a:cubicBezTo>
                <a:cubicBezTo>
                  <a:pt x="7031" y="406"/>
                  <a:pt x="7094" y="437"/>
                  <a:pt x="7125" y="406"/>
                </a:cubicBezTo>
                <a:close/>
                <a:moveTo>
                  <a:pt x="7250" y="875"/>
                </a:moveTo>
                <a:cubicBezTo>
                  <a:pt x="7250" y="875"/>
                  <a:pt x="7250" y="843"/>
                  <a:pt x="7219" y="843"/>
                </a:cubicBezTo>
                <a:cubicBezTo>
                  <a:pt x="7219" y="843"/>
                  <a:pt x="7219" y="843"/>
                  <a:pt x="7219" y="843"/>
                </a:cubicBezTo>
                <a:cubicBezTo>
                  <a:pt x="7250" y="843"/>
                  <a:pt x="7250" y="875"/>
                  <a:pt x="7250" y="875"/>
                </a:cubicBezTo>
                <a:close/>
                <a:moveTo>
                  <a:pt x="6937" y="468"/>
                </a:moveTo>
                <a:cubicBezTo>
                  <a:pt x="6937" y="500"/>
                  <a:pt x="6937" y="500"/>
                  <a:pt x="6937" y="531"/>
                </a:cubicBezTo>
                <a:cubicBezTo>
                  <a:pt x="6937" y="500"/>
                  <a:pt x="6937" y="500"/>
                  <a:pt x="6937" y="468"/>
                </a:cubicBezTo>
                <a:cubicBezTo>
                  <a:pt x="7000" y="468"/>
                  <a:pt x="7094" y="468"/>
                  <a:pt x="7156" y="468"/>
                </a:cubicBezTo>
                <a:cubicBezTo>
                  <a:pt x="7094" y="468"/>
                  <a:pt x="7000" y="468"/>
                  <a:pt x="6937" y="468"/>
                </a:cubicBezTo>
                <a:close/>
                <a:moveTo>
                  <a:pt x="7094" y="1437"/>
                </a:moveTo>
                <a:cubicBezTo>
                  <a:pt x="7031" y="1406"/>
                  <a:pt x="7000" y="1406"/>
                  <a:pt x="6969" y="1406"/>
                </a:cubicBezTo>
                <a:cubicBezTo>
                  <a:pt x="7000" y="1406"/>
                  <a:pt x="7031" y="1406"/>
                  <a:pt x="7094" y="1437"/>
                </a:cubicBezTo>
                <a:close/>
                <a:moveTo>
                  <a:pt x="7125" y="1406"/>
                </a:moveTo>
                <a:cubicBezTo>
                  <a:pt x="7156" y="1375"/>
                  <a:pt x="7156" y="1343"/>
                  <a:pt x="7187" y="1343"/>
                </a:cubicBezTo>
                <a:cubicBezTo>
                  <a:pt x="7156" y="1343"/>
                  <a:pt x="7156" y="1375"/>
                  <a:pt x="7125" y="1406"/>
                </a:cubicBezTo>
                <a:close/>
                <a:moveTo>
                  <a:pt x="7125" y="7156"/>
                </a:moveTo>
                <a:cubicBezTo>
                  <a:pt x="7125" y="7187"/>
                  <a:pt x="7156" y="7187"/>
                  <a:pt x="7156" y="7187"/>
                </a:cubicBezTo>
                <a:cubicBezTo>
                  <a:pt x="7156" y="7187"/>
                  <a:pt x="7156" y="7187"/>
                  <a:pt x="7156" y="7187"/>
                </a:cubicBezTo>
                <a:cubicBezTo>
                  <a:pt x="7156" y="7187"/>
                  <a:pt x="7125" y="7187"/>
                  <a:pt x="7125" y="7156"/>
                </a:cubicBezTo>
                <a:cubicBezTo>
                  <a:pt x="7125" y="7156"/>
                  <a:pt x="7125" y="7156"/>
                  <a:pt x="7125" y="7156"/>
                </a:cubicBezTo>
                <a:close/>
                <a:moveTo>
                  <a:pt x="6875" y="7312"/>
                </a:moveTo>
                <a:cubicBezTo>
                  <a:pt x="6875" y="7312"/>
                  <a:pt x="6875" y="7312"/>
                  <a:pt x="6875" y="7312"/>
                </a:cubicBezTo>
                <a:cubicBezTo>
                  <a:pt x="6844" y="7343"/>
                  <a:pt x="6812" y="7375"/>
                  <a:pt x="6781" y="7375"/>
                </a:cubicBezTo>
                <a:cubicBezTo>
                  <a:pt x="6812" y="7375"/>
                  <a:pt x="6844" y="7343"/>
                  <a:pt x="6875" y="7312"/>
                </a:cubicBezTo>
                <a:close/>
                <a:moveTo>
                  <a:pt x="5875" y="7812"/>
                </a:moveTo>
                <a:cubicBezTo>
                  <a:pt x="5875" y="7812"/>
                  <a:pt x="5875" y="7812"/>
                  <a:pt x="5875" y="7812"/>
                </a:cubicBezTo>
                <a:cubicBezTo>
                  <a:pt x="5875" y="7812"/>
                  <a:pt x="5875" y="7812"/>
                  <a:pt x="5875" y="7812"/>
                </a:cubicBezTo>
                <a:cubicBezTo>
                  <a:pt x="5875" y="7812"/>
                  <a:pt x="5875" y="7812"/>
                  <a:pt x="5875" y="7812"/>
                </a:cubicBezTo>
                <a:cubicBezTo>
                  <a:pt x="5812" y="7843"/>
                  <a:pt x="5781" y="7843"/>
                  <a:pt x="5750" y="7875"/>
                </a:cubicBezTo>
                <a:cubicBezTo>
                  <a:pt x="5781" y="7843"/>
                  <a:pt x="5812" y="7843"/>
                  <a:pt x="5875" y="7812"/>
                </a:cubicBezTo>
                <a:close/>
                <a:moveTo>
                  <a:pt x="5000" y="8187"/>
                </a:moveTo>
                <a:cubicBezTo>
                  <a:pt x="5000" y="8187"/>
                  <a:pt x="5000" y="8187"/>
                  <a:pt x="5000" y="8187"/>
                </a:cubicBezTo>
                <a:cubicBezTo>
                  <a:pt x="5000" y="8187"/>
                  <a:pt x="5000" y="8218"/>
                  <a:pt x="5000" y="8218"/>
                </a:cubicBezTo>
                <a:cubicBezTo>
                  <a:pt x="5000" y="8218"/>
                  <a:pt x="5000" y="8218"/>
                  <a:pt x="5000" y="8218"/>
                </a:cubicBezTo>
                <a:cubicBezTo>
                  <a:pt x="5000" y="8218"/>
                  <a:pt x="5000" y="8187"/>
                  <a:pt x="5000" y="8187"/>
                </a:cubicBezTo>
                <a:close/>
                <a:moveTo>
                  <a:pt x="4469" y="8437"/>
                </a:moveTo>
                <a:cubicBezTo>
                  <a:pt x="4437" y="8437"/>
                  <a:pt x="4437" y="8437"/>
                  <a:pt x="4437" y="8437"/>
                </a:cubicBezTo>
                <a:cubicBezTo>
                  <a:pt x="4437" y="8437"/>
                  <a:pt x="4437" y="8437"/>
                  <a:pt x="4469" y="8437"/>
                </a:cubicBezTo>
                <a:close/>
                <a:moveTo>
                  <a:pt x="4406" y="8437"/>
                </a:moveTo>
                <a:cubicBezTo>
                  <a:pt x="4406" y="8437"/>
                  <a:pt x="4406" y="8437"/>
                  <a:pt x="4437" y="8437"/>
                </a:cubicBezTo>
                <a:cubicBezTo>
                  <a:pt x="4406" y="8437"/>
                  <a:pt x="4406" y="8437"/>
                  <a:pt x="4406" y="8437"/>
                </a:cubicBezTo>
                <a:cubicBezTo>
                  <a:pt x="4406" y="8437"/>
                  <a:pt x="4406" y="8468"/>
                  <a:pt x="4406" y="8468"/>
                </a:cubicBezTo>
                <a:cubicBezTo>
                  <a:pt x="4406" y="8468"/>
                  <a:pt x="4406" y="8437"/>
                  <a:pt x="4406" y="8437"/>
                </a:cubicBezTo>
                <a:close/>
                <a:moveTo>
                  <a:pt x="4219" y="8562"/>
                </a:moveTo>
                <a:cubicBezTo>
                  <a:pt x="4219" y="8562"/>
                  <a:pt x="4219" y="8562"/>
                  <a:pt x="4219" y="8562"/>
                </a:cubicBezTo>
                <a:cubicBezTo>
                  <a:pt x="4219" y="8562"/>
                  <a:pt x="4219" y="8562"/>
                  <a:pt x="4219" y="8562"/>
                </a:cubicBezTo>
                <a:cubicBezTo>
                  <a:pt x="4219" y="8562"/>
                  <a:pt x="4219" y="8562"/>
                  <a:pt x="4219" y="8562"/>
                </a:cubicBezTo>
                <a:close/>
                <a:moveTo>
                  <a:pt x="4062" y="8656"/>
                </a:moveTo>
                <a:cubicBezTo>
                  <a:pt x="4062" y="8656"/>
                  <a:pt x="4062" y="8656"/>
                  <a:pt x="4062" y="8656"/>
                </a:cubicBezTo>
                <a:cubicBezTo>
                  <a:pt x="4031" y="8656"/>
                  <a:pt x="4031" y="8656"/>
                  <a:pt x="4031" y="8656"/>
                </a:cubicBezTo>
                <a:cubicBezTo>
                  <a:pt x="4031" y="8656"/>
                  <a:pt x="4031" y="8656"/>
                  <a:pt x="4062" y="8656"/>
                </a:cubicBezTo>
                <a:close/>
                <a:moveTo>
                  <a:pt x="3437" y="4468"/>
                </a:moveTo>
                <a:cubicBezTo>
                  <a:pt x="3406" y="4500"/>
                  <a:pt x="3344" y="4500"/>
                  <a:pt x="3312" y="4531"/>
                </a:cubicBezTo>
                <a:cubicBezTo>
                  <a:pt x="3344" y="4500"/>
                  <a:pt x="3406" y="4500"/>
                  <a:pt x="3437" y="4468"/>
                </a:cubicBezTo>
                <a:close/>
                <a:moveTo>
                  <a:pt x="2719" y="4718"/>
                </a:moveTo>
                <a:cubicBezTo>
                  <a:pt x="2906" y="4656"/>
                  <a:pt x="3125" y="4593"/>
                  <a:pt x="3312" y="4562"/>
                </a:cubicBezTo>
                <a:cubicBezTo>
                  <a:pt x="3344" y="4562"/>
                  <a:pt x="3344" y="4562"/>
                  <a:pt x="3375" y="4562"/>
                </a:cubicBezTo>
                <a:cubicBezTo>
                  <a:pt x="3312" y="4625"/>
                  <a:pt x="3250" y="4656"/>
                  <a:pt x="3187" y="4687"/>
                </a:cubicBezTo>
                <a:cubicBezTo>
                  <a:pt x="3125" y="4687"/>
                  <a:pt x="3000" y="4687"/>
                  <a:pt x="2937" y="4718"/>
                </a:cubicBezTo>
                <a:cubicBezTo>
                  <a:pt x="2875" y="4750"/>
                  <a:pt x="2812" y="4750"/>
                  <a:pt x="2750" y="4781"/>
                </a:cubicBezTo>
                <a:cubicBezTo>
                  <a:pt x="2719" y="4812"/>
                  <a:pt x="2687" y="4843"/>
                  <a:pt x="2687" y="4812"/>
                </a:cubicBezTo>
                <a:cubicBezTo>
                  <a:pt x="2656" y="4781"/>
                  <a:pt x="2687" y="4718"/>
                  <a:pt x="2719" y="4718"/>
                </a:cubicBezTo>
                <a:close/>
                <a:moveTo>
                  <a:pt x="2937" y="5125"/>
                </a:moveTo>
                <a:cubicBezTo>
                  <a:pt x="2937" y="5125"/>
                  <a:pt x="2937" y="5125"/>
                  <a:pt x="2937" y="5125"/>
                </a:cubicBezTo>
                <a:cubicBezTo>
                  <a:pt x="2937" y="5125"/>
                  <a:pt x="2937" y="5125"/>
                  <a:pt x="2937" y="5125"/>
                </a:cubicBezTo>
                <a:cubicBezTo>
                  <a:pt x="2937" y="5125"/>
                  <a:pt x="2937" y="5125"/>
                  <a:pt x="2937" y="5125"/>
                </a:cubicBezTo>
                <a:close/>
                <a:moveTo>
                  <a:pt x="2844" y="5187"/>
                </a:moveTo>
                <a:cubicBezTo>
                  <a:pt x="2844" y="5187"/>
                  <a:pt x="2844" y="5187"/>
                  <a:pt x="2844" y="5187"/>
                </a:cubicBezTo>
                <a:cubicBezTo>
                  <a:pt x="2844" y="5187"/>
                  <a:pt x="2844" y="5187"/>
                  <a:pt x="2844" y="5187"/>
                </a:cubicBezTo>
                <a:cubicBezTo>
                  <a:pt x="2875" y="5187"/>
                  <a:pt x="2875" y="5187"/>
                  <a:pt x="2875" y="5187"/>
                </a:cubicBezTo>
                <a:cubicBezTo>
                  <a:pt x="2875" y="5187"/>
                  <a:pt x="2875" y="5187"/>
                  <a:pt x="2844" y="5187"/>
                </a:cubicBezTo>
                <a:cubicBezTo>
                  <a:pt x="2812" y="5218"/>
                  <a:pt x="2812" y="5250"/>
                  <a:pt x="2781" y="5250"/>
                </a:cubicBezTo>
                <a:cubicBezTo>
                  <a:pt x="2812" y="5250"/>
                  <a:pt x="2812" y="5218"/>
                  <a:pt x="2844" y="5187"/>
                </a:cubicBezTo>
                <a:cubicBezTo>
                  <a:pt x="2844" y="5187"/>
                  <a:pt x="2844" y="5187"/>
                  <a:pt x="2844" y="5187"/>
                </a:cubicBezTo>
                <a:close/>
                <a:moveTo>
                  <a:pt x="2750" y="5281"/>
                </a:moveTo>
                <a:cubicBezTo>
                  <a:pt x="2750" y="5281"/>
                  <a:pt x="2750" y="5281"/>
                  <a:pt x="2750" y="5281"/>
                </a:cubicBezTo>
                <a:cubicBezTo>
                  <a:pt x="2750" y="5281"/>
                  <a:pt x="2750" y="5281"/>
                  <a:pt x="2750" y="5281"/>
                </a:cubicBezTo>
                <a:cubicBezTo>
                  <a:pt x="2687" y="5281"/>
                  <a:pt x="2656" y="5312"/>
                  <a:pt x="2625" y="5375"/>
                </a:cubicBezTo>
                <a:cubicBezTo>
                  <a:pt x="2656" y="5312"/>
                  <a:pt x="2687" y="5281"/>
                  <a:pt x="2750" y="5281"/>
                </a:cubicBezTo>
                <a:close/>
                <a:moveTo>
                  <a:pt x="2719" y="9093"/>
                </a:moveTo>
                <a:cubicBezTo>
                  <a:pt x="2687" y="9093"/>
                  <a:pt x="2656" y="9093"/>
                  <a:pt x="2656" y="9093"/>
                </a:cubicBezTo>
                <a:cubicBezTo>
                  <a:pt x="2656" y="9093"/>
                  <a:pt x="2656" y="9093"/>
                  <a:pt x="2656" y="9093"/>
                </a:cubicBezTo>
                <a:cubicBezTo>
                  <a:pt x="2656" y="9093"/>
                  <a:pt x="2687" y="9093"/>
                  <a:pt x="2719" y="9093"/>
                </a:cubicBezTo>
                <a:close/>
                <a:moveTo>
                  <a:pt x="2562" y="5687"/>
                </a:moveTo>
                <a:cubicBezTo>
                  <a:pt x="2562" y="5687"/>
                  <a:pt x="2562" y="5687"/>
                  <a:pt x="2562" y="5687"/>
                </a:cubicBezTo>
                <a:cubicBezTo>
                  <a:pt x="2562" y="5687"/>
                  <a:pt x="2562" y="5687"/>
                  <a:pt x="2562" y="5687"/>
                </a:cubicBezTo>
                <a:cubicBezTo>
                  <a:pt x="2594" y="5687"/>
                  <a:pt x="2594" y="5687"/>
                  <a:pt x="2594" y="5687"/>
                </a:cubicBezTo>
                <a:cubicBezTo>
                  <a:pt x="2594" y="5687"/>
                  <a:pt x="2594" y="5687"/>
                  <a:pt x="2594" y="5687"/>
                </a:cubicBezTo>
                <a:cubicBezTo>
                  <a:pt x="2594" y="5687"/>
                  <a:pt x="2594" y="5687"/>
                  <a:pt x="2562" y="5687"/>
                </a:cubicBezTo>
                <a:cubicBezTo>
                  <a:pt x="2562" y="5718"/>
                  <a:pt x="2562" y="5718"/>
                  <a:pt x="2562" y="5718"/>
                </a:cubicBezTo>
                <a:cubicBezTo>
                  <a:pt x="2562" y="5718"/>
                  <a:pt x="2562" y="5718"/>
                  <a:pt x="2562" y="5687"/>
                </a:cubicBezTo>
                <a:cubicBezTo>
                  <a:pt x="2562" y="5687"/>
                  <a:pt x="2562" y="5687"/>
                  <a:pt x="2562" y="5687"/>
                </a:cubicBezTo>
                <a:close/>
                <a:moveTo>
                  <a:pt x="2625" y="9125"/>
                </a:moveTo>
                <a:cubicBezTo>
                  <a:pt x="2594" y="9156"/>
                  <a:pt x="2562" y="9156"/>
                  <a:pt x="2531" y="9156"/>
                </a:cubicBezTo>
                <a:cubicBezTo>
                  <a:pt x="2562" y="9156"/>
                  <a:pt x="2594" y="9156"/>
                  <a:pt x="2625" y="9125"/>
                </a:cubicBezTo>
                <a:close/>
                <a:moveTo>
                  <a:pt x="2437" y="9156"/>
                </a:moveTo>
                <a:cubicBezTo>
                  <a:pt x="2437" y="9156"/>
                  <a:pt x="2437" y="9156"/>
                  <a:pt x="2437" y="9156"/>
                </a:cubicBezTo>
                <a:cubicBezTo>
                  <a:pt x="2406" y="9156"/>
                  <a:pt x="2406" y="9156"/>
                  <a:pt x="2375" y="9156"/>
                </a:cubicBezTo>
                <a:cubicBezTo>
                  <a:pt x="2406" y="9156"/>
                  <a:pt x="2406" y="9156"/>
                  <a:pt x="2437" y="9156"/>
                </a:cubicBezTo>
                <a:close/>
                <a:moveTo>
                  <a:pt x="2375" y="5843"/>
                </a:moveTo>
                <a:cubicBezTo>
                  <a:pt x="2375" y="5875"/>
                  <a:pt x="2375" y="5875"/>
                  <a:pt x="2375" y="5875"/>
                </a:cubicBezTo>
                <a:cubicBezTo>
                  <a:pt x="2375" y="5875"/>
                  <a:pt x="2375" y="5875"/>
                  <a:pt x="2375" y="5843"/>
                </a:cubicBezTo>
                <a:close/>
                <a:moveTo>
                  <a:pt x="2312" y="5906"/>
                </a:moveTo>
                <a:cubicBezTo>
                  <a:pt x="2312" y="5875"/>
                  <a:pt x="2344" y="5875"/>
                  <a:pt x="2344" y="5875"/>
                </a:cubicBezTo>
                <a:cubicBezTo>
                  <a:pt x="2344" y="5875"/>
                  <a:pt x="2312" y="5875"/>
                  <a:pt x="2312" y="5906"/>
                </a:cubicBezTo>
                <a:cubicBezTo>
                  <a:pt x="2312" y="5906"/>
                  <a:pt x="2344" y="5906"/>
                  <a:pt x="2344" y="5906"/>
                </a:cubicBezTo>
                <a:cubicBezTo>
                  <a:pt x="2344" y="5906"/>
                  <a:pt x="2344" y="5906"/>
                  <a:pt x="2344" y="5906"/>
                </a:cubicBezTo>
                <a:cubicBezTo>
                  <a:pt x="2344" y="5906"/>
                  <a:pt x="2312" y="5906"/>
                  <a:pt x="2312" y="5906"/>
                </a:cubicBezTo>
                <a:cubicBezTo>
                  <a:pt x="2250" y="5937"/>
                  <a:pt x="2219" y="5968"/>
                  <a:pt x="2156" y="6031"/>
                </a:cubicBezTo>
                <a:cubicBezTo>
                  <a:pt x="2219" y="5968"/>
                  <a:pt x="2250" y="5937"/>
                  <a:pt x="2312" y="5906"/>
                </a:cubicBezTo>
                <a:close/>
                <a:moveTo>
                  <a:pt x="2250" y="9093"/>
                </a:moveTo>
                <a:cubicBezTo>
                  <a:pt x="2250" y="9093"/>
                  <a:pt x="2250" y="9093"/>
                  <a:pt x="2250" y="9093"/>
                </a:cubicBezTo>
                <a:cubicBezTo>
                  <a:pt x="2250" y="9156"/>
                  <a:pt x="2187" y="9156"/>
                  <a:pt x="2156" y="9125"/>
                </a:cubicBezTo>
                <a:cubicBezTo>
                  <a:pt x="2187" y="9156"/>
                  <a:pt x="2250" y="9156"/>
                  <a:pt x="2250" y="9093"/>
                </a:cubicBezTo>
                <a:close/>
                <a:moveTo>
                  <a:pt x="2031" y="6156"/>
                </a:moveTo>
                <a:cubicBezTo>
                  <a:pt x="2031" y="6156"/>
                  <a:pt x="2062" y="6156"/>
                  <a:pt x="2062" y="6156"/>
                </a:cubicBezTo>
                <a:cubicBezTo>
                  <a:pt x="2062" y="6156"/>
                  <a:pt x="2031" y="6156"/>
                  <a:pt x="2031" y="6156"/>
                </a:cubicBezTo>
                <a:close/>
                <a:moveTo>
                  <a:pt x="1969" y="6218"/>
                </a:moveTo>
                <a:cubicBezTo>
                  <a:pt x="1969" y="6187"/>
                  <a:pt x="2000" y="6156"/>
                  <a:pt x="2000" y="6156"/>
                </a:cubicBezTo>
                <a:cubicBezTo>
                  <a:pt x="2000" y="6156"/>
                  <a:pt x="1969" y="6187"/>
                  <a:pt x="1969" y="6218"/>
                </a:cubicBezTo>
                <a:cubicBezTo>
                  <a:pt x="1969" y="6218"/>
                  <a:pt x="1969" y="6218"/>
                  <a:pt x="1969" y="6218"/>
                </a:cubicBezTo>
                <a:cubicBezTo>
                  <a:pt x="1969" y="6218"/>
                  <a:pt x="1969" y="6218"/>
                  <a:pt x="1969" y="6218"/>
                </a:cubicBezTo>
                <a:cubicBezTo>
                  <a:pt x="1969" y="6218"/>
                  <a:pt x="1969" y="6218"/>
                  <a:pt x="1969" y="6218"/>
                </a:cubicBezTo>
                <a:cubicBezTo>
                  <a:pt x="1937" y="6218"/>
                  <a:pt x="1906" y="6250"/>
                  <a:pt x="1906" y="6250"/>
                </a:cubicBezTo>
                <a:cubicBezTo>
                  <a:pt x="1906" y="6250"/>
                  <a:pt x="1937" y="6218"/>
                  <a:pt x="1969" y="6218"/>
                </a:cubicBezTo>
                <a:close/>
                <a:moveTo>
                  <a:pt x="1906" y="6312"/>
                </a:moveTo>
                <a:cubicBezTo>
                  <a:pt x="1906" y="6312"/>
                  <a:pt x="1906" y="6312"/>
                  <a:pt x="1906" y="6312"/>
                </a:cubicBezTo>
                <a:cubicBezTo>
                  <a:pt x="1906" y="6281"/>
                  <a:pt x="1906" y="6281"/>
                  <a:pt x="1906" y="6281"/>
                </a:cubicBezTo>
                <a:cubicBezTo>
                  <a:pt x="1906" y="6281"/>
                  <a:pt x="1906" y="6281"/>
                  <a:pt x="1906" y="6312"/>
                </a:cubicBezTo>
                <a:close/>
                <a:moveTo>
                  <a:pt x="1844" y="9000"/>
                </a:moveTo>
                <a:cubicBezTo>
                  <a:pt x="1844" y="9000"/>
                  <a:pt x="1844" y="9000"/>
                  <a:pt x="1844" y="9000"/>
                </a:cubicBezTo>
                <a:cubicBezTo>
                  <a:pt x="1844" y="9000"/>
                  <a:pt x="1844" y="9000"/>
                  <a:pt x="1844" y="9000"/>
                </a:cubicBezTo>
                <a:cubicBezTo>
                  <a:pt x="1844" y="9000"/>
                  <a:pt x="1844" y="9000"/>
                  <a:pt x="1844" y="9000"/>
                </a:cubicBezTo>
                <a:cubicBezTo>
                  <a:pt x="1844" y="9000"/>
                  <a:pt x="1844" y="9000"/>
                  <a:pt x="1844" y="9000"/>
                </a:cubicBezTo>
                <a:close/>
                <a:moveTo>
                  <a:pt x="2125" y="9000"/>
                </a:moveTo>
                <a:cubicBezTo>
                  <a:pt x="2125" y="9000"/>
                  <a:pt x="2125" y="9000"/>
                  <a:pt x="2125" y="9000"/>
                </a:cubicBezTo>
                <a:cubicBezTo>
                  <a:pt x="2031" y="9031"/>
                  <a:pt x="1937" y="9031"/>
                  <a:pt x="1844" y="9093"/>
                </a:cubicBezTo>
                <a:cubicBezTo>
                  <a:pt x="1937" y="9031"/>
                  <a:pt x="2031" y="9031"/>
                  <a:pt x="2125" y="9000"/>
                </a:cubicBezTo>
                <a:close/>
                <a:moveTo>
                  <a:pt x="2187" y="9968"/>
                </a:moveTo>
                <a:cubicBezTo>
                  <a:pt x="2250" y="10000"/>
                  <a:pt x="2344" y="10000"/>
                  <a:pt x="2406" y="10000"/>
                </a:cubicBezTo>
                <a:cubicBezTo>
                  <a:pt x="2344" y="10000"/>
                  <a:pt x="2250" y="10000"/>
                  <a:pt x="2187" y="9968"/>
                </a:cubicBezTo>
                <a:close/>
                <a:moveTo>
                  <a:pt x="2500" y="9656"/>
                </a:moveTo>
                <a:cubicBezTo>
                  <a:pt x="2469" y="9656"/>
                  <a:pt x="2406" y="9656"/>
                  <a:pt x="2406" y="9593"/>
                </a:cubicBezTo>
                <a:cubicBezTo>
                  <a:pt x="2406" y="9593"/>
                  <a:pt x="2406" y="9593"/>
                  <a:pt x="2406" y="9593"/>
                </a:cubicBezTo>
                <a:cubicBezTo>
                  <a:pt x="2406" y="9656"/>
                  <a:pt x="2469" y="9656"/>
                  <a:pt x="2500" y="9656"/>
                </a:cubicBezTo>
                <a:close/>
                <a:moveTo>
                  <a:pt x="2469" y="9437"/>
                </a:moveTo>
                <a:cubicBezTo>
                  <a:pt x="2469" y="9437"/>
                  <a:pt x="2469" y="9437"/>
                  <a:pt x="2469" y="9437"/>
                </a:cubicBezTo>
                <a:cubicBezTo>
                  <a:pt x="2469" y="9437"/>
                  <a:pt x="2469" y="9437"/>
                  <a:pt x="2469" y="9437"/>
                </a:cubicBezTo>
                <a:cubicBezTo>
                  <a:pt x="2469" y="9437"/>
                  <a:pt x="2469" y="9437"/>
                  <a:pt x="2469" y="9437"/>
                </a:cubicBezTo>
                <a:close/>
                <a:moveTo>
                  <a:pt x="2531" y="9781"/>
                </a:moveTo>
                <a:cubicBezTo>
                  <a:pt x="2500" y="9781"/>
                  <a:pt x="2500" y="9750"/>
                  <a:pt x="2500" y="9718"/>
                </a:cubicBezTo>
                <a:cubicBezTo>
                  <a:pt x="2500" y="9718"/>
                  <a:pt x="2531" y="9718"/>
                  <a:pt x="2531" y="9718"/>
                </a:cubicBezTo>
                <a:cubicBezTo>
                  <a:pt x="2562" y="9718"/>
                  <a:pt x="2562" y="9687"/>
                  <a:pt x="2594" y="9687"/>
                </a:cubicBezTo>
                <a:cubicBezTo>
                  <a:pt x="2562" y="9687"/>
                  <a:pt x="2562" y="9718"/>
                  <a:pt x="2531" y="9718"/>
                </a:cubicBezTo>
                <a:cubicBezTo>
                  <a:pt x="2531" y="9718"/>
                  <a:pt x="2500" y="9718"/>
                  <a:pt x="2500" y="9718"/>
                </a:cubicBezTo>
                <a:cubicBezTo>
                  <a:pt x="2500" y="9750"/>
                  <a:pt x="2500" y="9781"/>
                  <a:pt x="2531" y="9781"/>
                </a:cubicBezTo>
                <a:close/>
                <a:moveTo>
                  <a:pt x="2594" y="10250"/>
                </a:moveTo>
                <a:cubicBezTo>
                  <a:pt x="2594" y="10250"/>
                  <a:pt x="2625" y="10218"/>
                  <a:pt x="2625" y="10218"/>
                </a:cubicBezTo>
                <a:cubicBezTo>
                  <a:pt x="2625" y="10218"/>
                  <a:pt x="2625" y="10218"/>
                  <a:pt x="2625" y="10218"/>
                </a:cubicBezTo>
                <a:cubicBezTo>
                  <a:pt x="2625" y="10218"/>
                  <a:pt x="2594" y="10250"/>
                  <a:pt x="2594" y="10250"/>
                </a:cubicBezTo>
                <a:close/>
                <a:moveTo>
                  <a:pt x="2562" y="10031"/>
                </a:moveTo>
                <a:cubicBezTo>
                  <a:pt x="2594" y="10031"/>
                  <a:pt x="2656" y="10031"/>
                  <a:pt x="2687" y="10000"/>
                </a:cubicBezTo>
                <a:cubicBezTo>
                  <a:pt x="2687" y="10000"/>
                  <a:pt x="2687" y="10000"/>
                  <a:pt x="2687" y="10000"/>
                </a:cubicBezTo>
                <a:cubicBezTo>
                  <a:pt x="2656" y="10031"/>
                  <a:pt x="2594" y="10031"/>
                  <a:pt x="2562" y="10031"/>
                </a:cubicBezTo>
                <a:close/>
                <a:moveTo>
                  <a:pt x="2500" y="9250"/>
                </a:moveTo>
                <a:cubicBezTo>
                  <a:pt x="2500" y="9250"/>
                  <a:pt x="2531" y="9250"/>
                  <a:pt x="2531" y="9281"/>
                </a:cubicBezTo>
                <a:cubicBezTo>
                  <a:pt x="2531" y="9250"/>
                  <a:pt x="2500" y="9250"/>
                  <a:pt x="2500" y="9250"/>
                </a:cubicBezTo>
                <a:cubicBezTo>
                  <a:pt x="2500" y="9250"/>
                  <a:pt x="2500" y="9250"/>
                  <a:pt x="2500" y="9250"/>
                </a:cubicBezTo>
                <a:cubicBezTo>
                  <a:pt x="2437" y="9250"/>
                  <a:pt x="2406" y="9250"/>
                  <a:pt x="2344" y="9250"/>
                </a:cubicBezTo>
                <a:cubicBezTo>
                  <a:pt x="2312" y="9250"/>
                  <a:pt x="2312" y="9250"/>
                  <a:pt x="2281" y="9250"/>
                </a:cubicBezTo>
                <a:cubicBezTo>
                  <a:pt x="2281" y="9281"/>
                  <a:pt x="2250" y="9281"/>
                  <a:pt x="2219" y="9281"/>
                </a:cubicBezTo>
                <a:cubicBezTo>
                  <a:pt x="2250" y="9281"/>
                  <a:pt x="2281" y="9281"/>
                  <a:pt x="2281" y="9250"/>
                </a:cubicBezTo>
                <a:cubicBezTo>
                  <a:pt x="2219" y="9250"/>
                  <a:pt x="2125" y="9250"/>
                  <a:pt x="2062" y="9218"/>
                </a:cubicBezTo>
                <a:cubicBezTo>
                  <a:pt x="2125" y="9250"/>
                  <a:pt x="2187" y="9250"/>
                  <a:pt x="2250" y="9218"/>
                </a:cubicBezTo>
                <a:cubicBezTo>
                  <a:pt x="2312" y="9218"/>
                  <a:pt x="2406" y="9156"/>
                  <a:pt x="2500" y="9187"/>
                </a:cubicBezTo>
                <a:cubicBezTo>
                  <a:pt x="2562" y="9125"/>
                  <a:pt x="2656" y="9187"/>
                  <a:pt x="2687" y="9125"/>
                </a:cubicBezTo>
                <a:cubicBezTo>
                  <a:pt x="2719" y="9125"/>
                  <a:pt x="2750" y="9093"/>
                  <a:pt x="2781" y="9093"/>
                </a:cubicBezTo>
                <a:cubicBezTo>
                  <a:pt x="3000" y="9062"/>
                  <a:pt x="3250" y="8968"/>
                  <a:pt x="3469" y="8906"/>
                </a:cubicBezTo>
                <a:cubicBezTo>
                  <a:pt x="3656" y="8843"/>
                  <a:pt x="3812" y="8781"/>
                  <a:pt x="4000" y="8718"/>
                </a:cubicBezTo>
                <a:cubicBezTo>
                  <a:pt x="4031" y="8718"/>
                  <a:pt x="4062" y="8687"/>
                  <a:pt x="4062" y="8687"/>
                </a:cubicBezTo>
                <a:cubicBezTo>
                  <a:pt x="4094" y="8687"/>
                  <a:pt x="4094" y="8656"/>
                  <a:pt x="4094" y="8656"/>
                </a:cubicBezTo>
                <a:cubicBezTo>
                  <a:pt x="4156" y="8687"/>
                  <a:pt x="4156" y="8656"/>
                  <a:pt x="4156" y="8625"/>
                </a:cubicBezTo>
                <a:cubicBezTo>
                  <a:pt x="4219" y="8625"/>
                  <a:pt x="4219" y="8562"/>
                  <a:pt x="4281" y="8562"/>
                </a:cubicBezTo>
                <a:cubicBezTo>
                  <a:pt x="4406" y="8593"/>
                  <a:pt x="4531" y="8500"/>
                  <a:pt x="4625" y="8468"/>
                </a:cubicBezTo>
                <a:cubicBezTo>
                  <a:pt x="4781" y="8406"/>
                  <a:pt x="4937" y="8343"/>
                  <a:pt x="5062" y="8250"/>
                </a:cubicBezTo>
                <a:cubicBezTo>
                  <a:pt x="5125" y="8250"/>
                  <a:pt x="5156" y="8187"/>
                  <a:pt x="5219" y="8187"/>
                </a:cubicBezTo>
                <a:cubicBezTo>
                  <a:pt x="5250" y="8187"/>
                  <a:pt x="5281" y="8187"/>
                  <a:pt x="5312" y="8156"/>
                </a:cubicBezTo>
                <a:cubicBezTo>
                  <a:pt x="5312" y="8156"/>
                  <a:pt x="5312" y="8156"/>
                  <a:pt x="5312" y="8156"/>
                </a:cubicBezTo>
                <a:cubicBezTo>
                  <a:pt x="5375" y="8125"/>
                  <a:pt x="5469" y="8125"/>
                  <a:pt x="5531" y="8031"/>
                </a:cubicBezTo>
                <a:cubicBezTo>
                  <a:pt x="5531" y="8031"/>
                  <a:pt x="5531" y="8031"/>
                  <a:pt x="5531" y="8031"/>
                </a:cubicBezTo>
                <a:cubicBezTo>
                  <a:pt x="5531" y="8031"/>
                  <a:pt x="5531" y="8031"/>
                  <a:pt x="5531" y="8031"/>
                </a:cubicBezTo>
                <a:cubicBezTo>
                  <a:pt x="5531" y="8031"/>
                  <a:pt x="5531" y="8031"/>
                  <a:pt x="5531" y="8031"/>
                </a:cubicBezTo>
                <a:cubicBezTo>
                  <a:pt x="5625" y="8031"/>
                  <a:pt x="5719" y="7968"/>
                  <a:pt x="5781" y="7875"/>
                </a:cubicBezTo>
                <a:cubicBezTo>
                  <a:pt x="5844" y="7875"/>
                  <a:pt x="5875" y="7843"/>
                  <a:pt x="5906" y="7843"/>
                </a:cubicBezTo>
                <a:cubicBezTo>
                  <a:pt x="6000" y="7812"/>
                  <a:pt x="6062" y="7750"/>
                  <a:pt x="6156" y="7750"/>
                </a:cubicBezTo>
                <a:cubicBezTo>
                  <a:pt x="6312" y="7687"/>
                  <a:pt x="6469" y="7625"/>
                  <a:pt x="6594" y="7500"/>
                </a:cubicBezTo>
                <a:cubicBezTo>
                  <a:pt x="6594" y="7500"/>
                  <a:pt x="6594" y="7500"/>
                  <a:pt x="6594" y="7500"/>
                </a:cubicBezTo>
                <a:cubicBezTo>
                  <a:pt x="6719" y="7468"/>
                  <a:pt x="6812" y="7406"/>
                  <a:pt x="6906" y="7343"/>
                </a:cubicBezTo>
                <a:cubicBezTo>
                  <a:pt x="6937" y="7343"/>
                  <a:pt x="6937" y="7343"/>
                  <a:pt x="6937" y="7343"/>
                </a:cubicBezTo>
                <a:cubicBezTo>
                  <a:pt x="6937" y="7343"/>
                  <a:pt x="6937" y="7343"/>
                  <a:pt x="6937" y="7343"/>
                </a:cubicBezTo>
                <a:cubicBezTo>
                  <a:pt x="7031" y="7312"/>
                  <a:pt x="7094" y="7250"/>
                  <a:pt x="7187" y="7218"/>
                </a:cubicBezTo>
                <a:cubicBezTo>
                  <a:pt x="7250" y="7187"/>
                  <a:pt x="7281" y="7125"/>
                  <a:pt x="7344" y="7093"/>
                </a:cubicBezTo>
                <a:cubicBezTo>
                  <a:pt x="7375" y="7093"/>
                  <a:pt x="7406" y="7093"/>
                  <a:pt x="7437" y="7062"/>
                </a:cubicBezTo>
                <a:cubicBezTo>
                  <a:pt x="7437" y="7062"/>
                  <a:pt x="7437" y="7062"/>
                  <a:pt x="7437" y="7031"/>
                </a:cubicBezTo>
                <a:cubicBezTo>
                  <a:pt x="7437" y="7031"/>
                  <a:pt x="7437" y="7031"/>
                  <a:pt x="7437" y="7031"/>
                </a:cubicBezTo>
                <a:cubicBezTo>
                  <a:pt x="7437" y="7062"/>
                  <a:pt x="7437" y="7062"/>
                  <a:pt x="7437" y="7062"/>
                </a:cubicBezTo>
                <a:cubicBezTo>
                  <a:pt x="7437" y="7062"/>
                  <a:pt x="7469" y="7062"/>
                  <a:pt x="7469" y="7062"/>
                </a:cubicBezTo>
                <a:cubicBezTo>
                  <a:pt x="7469" y="7062"/>
                  <a:pt x="7500" y="7031"/>
                  <a:pt x="7500" y="7031"/>
                </a:cubicBez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500" y="7031"/>
                </a:cubicBezTo>
                <a:cubicBezTo>
                  <a:pt x="7500" y="7031"/>
                  <a:pt x="7500" y="7031"/>
                  <a:pt x="7531" y="7031"/>
                </a:cubicBezTo>
                <a:cubicBezTo>
                  <a:pt x="7531" y="7031"/>
                  <a:pt x="7500" y="7031"/>
                  <a:pt x="7500" y="7062"/>
                </a:cubicBezTo>
                <a:cubicBezTo>
                  <a:pt x="7531" y="7062"/>
                  <a:pt x="7531" y="7062"/>
                  <a:pt x="7531" y="7062"/>
                </a:cubicBezTo>
                <a:cubicBezTo>
                  <a:pt x="7562" y="7093"/>
                  <a:pt x="7594" y="7125"/>
                  <a:pt x="7625" y="7156"/>
                </a:cubicBezTo>
                <a:cubicBezTo>
                  <a:pt x="7594" y="7125"/>
                  <a:pt x="7562" y="7093"/>
                  <a:pt x="7531" y="7062"/>
                </a:cubicBezTo>
                <a:cubicBezTo>
                  <a:pt x="7531" y="7062"/>
                  <a:pt x="7531" y="7062"/>
                  <a:pt x="7500" y="7062"/>
                </a:cubicBezTo>
                <a:cubicBezTo>
                  <a:pt x="7500" y="7062"/>
                  <a:pt x="7500" y="7062"/>
                  <a:pt x="7500" y="7062"/>
                </a:cubicBezTo>
                <a:cubicBezTo>
                  <a:pt x="7469" y="7093"/>
                  <a:pt x="7469" y="7125"/>
                  <a:pt x="7469" y="7125"/>
                </a:cubicBezTo>
                <a:cubicBezTo>
                  <a:pt x="7469" y="7156"/>
                  <a:pt x="7469" y="7156"/>
                  <a:pt x="7437" y="7156"/>
                </a:cubicBezTo>
                <a:cubicBezTo>
                  <a:pt x="7437" y="7156"/>
                  <a:pt x="7437" y="7156"/>
                  <a:pt x="7437" y="7156"/>
                </a:cubicBezTo>
                <a:cubicBezTo>
                  <a:pt x="7437" y="7156"/>
                  <a:pt x="7437" y="7156"/>
                  <a:pt x="7437" y="7156"/>
                </a:cubicBezTo>
                <a:cubicBezTo>
                  <a:pt x="7281" y="7250"/>
                  <a:pt x="7125" y="7312"/>
                  <a:pt x="6969" y="7406"/>
                </a:cubicBezTo>
                <a:cubicBezTo>
                  <a:pt x="6687" y="7562"/>
                  <a:pt x="6375" y="7718"/>
                  <a:pt x="6062" y="7875"/>
                </a:cubicBezTo>
                <a:cubicBezTo>
                  <a:pt x="5750" y="8031"/>
                  <a:pt x="5437" y="8187"/>
                  <a:pt x="5094" y="8343"/>
                </a:cubicBezTo>
                <a:cubicBezTo>
                  <a:pt x="4844" y="8468"/>
                  <a:pt x="4625" y="8562"/>
                  <a:pt x="4375" y="8656"/>
                </a:cubicBezTo>
                <a:cubicBezTo>
                  <a:pt x="4250" y="8718"/>
                  <a:pt x="4125" y="8750"/>
                  <a:pt x="4000" y="8812"/>
                </a:cubicBezTo>
                <a:cubicBezTo>
                  <a:pt x="4000" y="8812"/>
                  <a:pt x="4000" y="8812"/>
                  <a:pt x="4000" y="8812"/>
                </a:cubicBezTo>
                <a:cubicBezTo>
                  <a:pt x="4000" y="8812"/>
                  <a:pt x="4000" y="8812"/>
                  <a:pt x="4000" y="8812"/>
                </a:cubicBezTo>
                <a:cubicBezTo>
                  <a:pt x="4000" y="8812"/>
                  <a:pt x="3969" y="8812"/>
                  <a:pt x="3969" y="8812"/>
                </a:cubicBezTo>
                <a:cubicBezTo>
                  <a:pt x="3750" y="8875"/>
                  <a:pt x="3531" y="8968"/>
                  <a:pt x="3312" y="9031"/>
                </a:cubicBezTo>
                <a:cubicBezTo>
                  <a:pt x="3156" y="9062"/>
                  <a:pt x="3000" y="9125"/>
                  <a:pt x="2844" y="9156"/>
                </a:cubicBezTo>
                <a:cubicBezTo>
                  <a:pt x="2719" y="9187"/>
                  <a:pt x="2625" y="9218"/>
                  <a:pt x="2500" y="9250"/>
                </a:cubicBezTo>
                <a:close/>
                <a:moveTo>
                  <a:pt x="6969" y="7531"/>
                </a:moveTo>
                <a:cubicBezTo>
                  <a:pt x="6969" y="7562"/>
                  <a:pt x="6969" y="7562"/>
                  <a:pt x="6969" y="7562"/>
                </a:cubicBezTo>
                <a:cubicBezTo>
                  <a:pt x="6969" y="7562"/>
                  <a:pt x="6969" y="7562"/>
                  <a:pt x="6969" y="7562"/>
                </a:cubicBezTo>
                <a:cubicBezTo>
                  <a:pt x="6969" y="7562"/>
                  <a:pt x="6969" y="7562"/>
                  <a:pt x="6969" y="7531"/>
                </a:cubicBezTo>
                <a:close/>
                <a:moveTo>
                  <a:pt x="6344" y="7875"/>
                </a:moveTo>
                <a:cubicBezTo>
                  <a:pt x="6469" y="7781"/>
                  <a:pt x="6594" y="7718"/>
                  <a:pt x="6750" y="7656"/>
                </a:cubicBezTo>
                <a:cubicBezTo>
                  <a:pt x="6750" y="7656"/>
                  <a:pt x="6750" y="7625"/>
                  <a:pt x="6750" y="7625"/>
                </a:cubicBezTo>
                <a:cubicBezTo>
                  <a:pt x="6750" y="7625"/>
                  <a:pt x="6750" y="7656"/>
                  <a:pt x="6750" y="7656"/>
                </a:cubicBezTo>
                <a:cubicBezTo>
                  <a:pt x="6594" y="7718"/>
                  <a:pt x="6469" y="7781"/>
                  <a:pt x="6344" y="7875"/>
                </a:cubicBezTo>
                <a:close/>
                <a:moveTo>
                  <a:pt x="6437" y="7937"/>
                </a:moveTo>
                <a:cubicBezTo>
                  <a:pt x="6437" y="7937"/>
                  <a:pt x="6406" y="7968"/>
                  <a:pt x="6406" y="7937"/>
                </a:cubicBezTo>
                <a:cubicBezTo>
                  <a:pt x="6406" y="7937"/>
                  <a:pt x="6406" y="7937"/>
                  <a:pt x="6406" y="7937"/>
                </a:cubicBezTo>
                <a:cubicBezTo>
                  <a:pt x="6406" y="7968"/>
                  <a:pt x="6437" y="7937"/>
                  <a:pt x="6437" y="7937"/>
                </a:cubicBezTo>
                <a:close/>
                <a:moveTo>
                  <a:pt x="5344" y="8656"/>
                </a:moveTo>
                <a:cubicBezTo>
                  <a:pt x="5344" y="8656"/>
                  <a:pt x="5344" y="8687"/>
                  <a:pt x="5344" y="8718"/>
                </a:cubicBezTo>
                <a:cubicBezTo>
                  <a:pt x="5344" y="8718"/>
                  <a:pt x="5312" y="8718"/>
                  <a:pt x="5312" y="8718"/>
                </a:cubicBezTo>
                <a:cubicBezTo>
                  <a:pt x="5312" y="8718"/>
                  <a:pt x="5344" y="8718"/>
                  <a:pt x="5344" y="8718"/>
                </a:cubicBezTo>
                <a:cubicBezTo>
                  <a:pt x="5344" y="8687"/>
                  <a:pt x="5344" y="8656"/>
                  <a:pt x="5344" y="8656"/>
                </a:cubicBezTo>
                <a:close/>
                <a:moveTo>
                  <a:pt x="5156" y="8656"/>
                </a:moveTo>
                <a:cubicBezTo>
                  <a:pt x="5125" y="8656"/>
                  <a:pt x="5125" y="8687"/>
                  <a:pt x="5094" y="8687"/>
                </a:cubicBezTo>
                <a:cubicBezTo>
                  <a:pt x="5031" y="8687"/>
                  <a:pt x="5031" y="8687"/>
                  <a:pt x="4969" y="8750"/>
                </a:cubicBezTo>
                <a:cubicBezTo>
                  <a:pt x="4906" y="8812"/>
                  <a:pt x="4812" y="8781"/>
                  <a:pt x="4750" y="8781"/>
                </a:cubicBezTo>
                <a:cubicBezTo>
                  <a:pt x="4750" y="8781"/>
                  <a:pt x="4750" y="8750"/>
                  <a:pt x="4750" y="8750"/>
                </a:cubicBezTo>
                <a:cubicBezTo>
                  <a:pt x="4906" y="8687"/>
                  <a:pt x="5031" y="8562"/>
                  <a:pt x="5219" y="8593"/>
                </a:cubicBezTo>
                <a:cubicBezTo>
                  <a:pt x="5219" y="8625"/>
                  <a:pt x="5156" y="8593"/>
                  <a:pt x="5156" y="8593"/>
                </a:cubicBezTo>
                <a:cubicBezTo>
                  <a:pt x="5125" y="8593"/>
                  <a:pt x="5094" y="8593"/>
                  <a:pt x="5094" y="8625"/>
                </a:cubicBezTo>
                <a:cubicBezTo>
                  <a:pt x="5094" y="8656"/>
                  <a:pt x="5125" y="8656"/>
                  <a:pt x="5156" y="8656"/>
                </a:cubicBezTo>
                <a:close/>
                <a:moveTo>
                  <a:pt x="5281" y="8656"/>
                </a:moveTo>
                <a:cubicBezTo>
                  <a:pt x="5281" y="8656"/>
                  <a:pt x="5281" y="8656"/>
                  <a:pt x="5312" y="8656"/>
                </a:cubicBezTo>
                <a:cubicBezTo>
                  <a:pt x="5281" y="8656"/>
                  <a:pt x="5281" y="8656"/>
                  <a:pt x="5281" y="8656"/>
                </a:cubicBezTo>
                <a:cubicBezTo>
                  <a:pt x="5250" y="8656"/>
                  <a:pt x="5219" y="8656"/>
                  <a:pt x="5219" y="8656"/>
                </a:cubicBezTo>
                <a:cubicBezTo>
                  <a:pt x="5219" y="8656"/>
                  <a:pt x="5250" y="8656"/>
                  <a:pt x="5281" y="8656"/>
                </a:cubicBezTo>
                <a:close/>
                <a:moveTo>
                  <a:pt x="4406" y="8843"/>
                </a:moveTo>
                <a:cubicBezTo>
                  <a:pt x="4375" y="8875"/>
                  <a:pt x="4375" y="8875"/>
                  <a:pt x="4375" y="8875"/>
                </a:cubicBezTo>
                <a:cubicBezTo>
                  <a:pt x="4375" y="8875"/>
                  <a:pt x="4375" y="8875"/>
                  <a:pt x="4375" y="8875"/>
                </a:cubicBezTo>
                <a:cubicBezTo>
                  <a:pt x="4375" y="8875"/>
                  <a:pt x="4375" y="8875"/>
                  <a:pt x="4406" y="8843"/>
                </a:cubicBezTo>
                <a:close/>
                <a:moveTo>
                  <a:pt x="4375" y="8875"/>
                </a:moveTo>
                <a:cubicBezTo>
                  <a:pt x="4375" y="8875"/>
                  <a:pt x="4375" y="8875"/>
                  <a:pt x="4375" y="8875"/>
                </a:cubicBezTo>
                <a:cubicBezTo>
                  <a:pt x="4312" y="8906"/>
                  <a:pt x="4281" y="8906"/>
                  <a:pt x="4250" y="8906"/>
                </a:cubicBezTo>
                <a:cubicBezTo>
                  <a:pt x="4281" y="8906"/>
                  <a:pt x="4312" y="8906"/>
                  <a:pt x="4375" y="8875"/>
                </a:cubicBezTo>
                <a:close/>
                <a:moveTo>
                  <a:pt x="3375" y="9312"/>
                </a:moveTo>
                <a:cubicBezTo>
                  <a:pt x="3344" y="9312"/>
                  <a:pt x="3312" y="9281"/>
                  <a:pt x="3250" y="9281"/>
                </a:cubicBezTo>
                <a:cubicBezTo>
                  <a:pt x="3344" y="9250"/>
                  <a:pt x="3406" y="9218"/>
                  <a:pt x="3500" y="9218"/>
                </a:cubicBezTo>
                <a:cubicBezTo>
                  <a:pt x="3500" y="9250"/>
                  <a:pt x="3625" y="9312"/>
                  <a:pt x="3500" y="9281"/>
                </a:cubicBezTo>
                <a:cubicBezTo>
                  <a:pt x="3469" y="9281"/>
                  <a:pt x="3406" y="9312"/>
                  <a:pt x="3375" y="9312"/>
                </a:cubicBezTo>
                <a:close/>
                <a:moveTo>
                  <a:pt x="3437" y="9343"/>
                </a:moveTo>
                <a:cubicBezTo>
                  <a:pt x="3406" y="9375"/>
                  <a:pt x="3375" y="9375"/>
                  <a:pt x="3312" y="9375"/>
                </a:cubicBezTo>
                <a:cubicBezTo>
                  <a:pt x="3312" y="9375"/>
                  <a:pt x="3312" y="9375"/>
                  <a:pt x="3312" y="9375"/>
                </a:cubicBezTo>
                <a:cubicBezTo>
                  <a:pt x="3375" y="9375"/>
                  <a:pt x="3406" y="9375"/>
                  <a:pt x="3437" y="9343"/>
                </a:cubicBezTo>
                <a:close/>
                <a:moveTo>
                  <a:pt x="3312" y="9375"/>
                </a:moveTo>
                <a:cubicBezTo>
                  <a:pt x="3281" y="9375"/>
                  <a:pt x="3281" y="9375"/>
                  <a:pt x="3250" y="9375"/>
                </a:cubicBezTo>
                <a:cubicBezTo>
                  <a:pt x="3281" y="9375"/>
                  <a:pt x="3281" y="9375"/>
                  <a:pt x="3312" y="9375"/>
                </a:cubicBezTo>
                <a:close/>
                <a:moveTo>
                  <a:pt x="3469" y="9218"/>
                </a:moveTo>
                <a:cubicBezTo>
                  <a:pt x="3469" y="9218"/>
                  <a:pt x="3469" y="9218"/>
                  <a:pt x="3469" y="9218"/>
                </a:cubicBezTo>
                <a:cubicBezTo>
                  <a:pt x="3469" y="9218"/>
                  <a:pt x="3469" y="9218"/>
                  <a:pt x="3469" y="9218"/>
                </a:cubicBezTo>
                <a:close/>
                <a:moveTo>
                  <a:pt x="3500" y="9218"/>
                </a:moveTo>
                <a:cubicBezTo>
                  <a:pt x="3531" y="9156"/>
                  <a:pt x="3562" y="9187"/>
                  <a:pt x="3594" y="9187"/>
                </a:cubicBezTo>
                <a:cubicBezTo>
                  <a:pt x="3594" y="9281"/>
                  <a:pt x="3531" y="9187"/>
                  <a:pt x="3500" y="9218"/>
                </a:cubicBezTo>
                <a:close/>
                <a:moveTo>
                  <a:pt x="2969" y="9468"/>
                </a:moveTo>
                <a:cubicBezTo>
                  <a:pt x="2937" y="9468"/>
                  <a:pt x="2937" y="9468"/>
                  <a:pt x="2937" y="9500"/>
                </a:cubicBezTo>
                <a:cubicBezTo>
                  <a:pt x="2937" y="9500"/>
                  <a:pt x="2937" y="9500"/>
                  <a:pt x="2937" y="9500"/>
                </a:cubicBezTo>
                <a:cubicBezTo>
                  <a:pt x="2937" y="9468"/>
                  <a:pt x="2937" y="9468"/>
                  <a:pt x="2969" y="9468"/>
                </a:cubicBezTo>
                <a:close/>
                <a:moveTo>
                  <a:pt x="2719" y="9875"/>
                </a:moveTo>
                <a:cubicBezTo>
                  <a:pt x="2719" y="9875"/>
                  <a:pt x="2750" y="9875"/>
                  <a:pt x="2781" y="9875"/>
                </a:cubicBezTo>
                <a:cubicBezTo>
                  <a:pt x="2750" y="9875"/>
                  <a:pt x="2719" y="9875"/>
                  <a:pt x="2719" y="9875"/>
                </a:cubicBezTo>
                <a:cubicBezTo>
                  <a:pt x="2719" y="9875"/>
                  <a:pt x="2719" y="9875"/>
                  <a:pt x="2719" y="9875"/>
                </a:cubicBezTo>
                <a:close/>
                <a:moveTo>
                  <a:pt x="2812" y="10156"/>
                </a:moveTo>
                <a:cubicBezTo>
                  <a:pt x="2812" y="10156"/>
                  <a:pt x="2812" y="10156"/>
                  <a:pt x="2812" y="10156"/>
                </a:cubicBezTo>
                <a:cubicBezTo>
                  <a:pt x="2844" y="10156"/>
                  <a:pt x="2875" y="10156"/>
                  <a:pt x="2906" y="10187"/>
                </a:cubicBezTo>
                <a:cubicBezTo>
                  <a:pt x="2875" y="10156"/>
                  <a:pt x="2844" y="10156"/>
                  <a:pt x="2812" y="10156"/>
                </a:cubicBezTo>
                <a:close/>
                <a:moveTo>
                  <a:pt x="3062" y="10812"/>
                </a:moveTo>
                <a:cubicBezTo>
                  <a:pt x="3031" y="10812"/>
                  <a:pt x="3000" y="10812"/>
                  <a:pt x="3000" y="10812"/>
                </a:cubicBezTo>
                <a:cubicBezTo>
                  <a:pt x="3000" y="10812"/>
                  <a:pt x="3031" y="10812"/>
                  <a:pt x="3062" y="10812"/>
                </a:cubicBezTo>
                <a:cubicBezTo>
                  <a:pt x="3062" y="10812"/>
                  <a:pt x="3062" y="10812"/>
                  <a:pt x="3062" y="10812"/>
                </a:cubicBezTo>
                <a:cubicBezTo>
                  <a:pt x="3062" y="10812"/>
                  <a:pt x="3062" y="10812"/>
                  <a:pt x="3062" y="10812"/>
                </a:cubicBezTo>
                <a:close/>
                <a:moveTo>
                  <a:pt x="4844" y="9500"/>
                </a:moveTo>
                <a:cubicBezTo>
                  <a:pt x="4781" y="9562"/>
                  <a:pt x="4719" y="9625"/>
                  <a:pt x="4625" y="9593"/>
                </a:cubicBezTo>
                <a:cubicBezTo>
                  <a:pt x="4625" y="9593"/>
                  <a:pt x="4625" y="9593"/>
                  <a:pt x="4625" y="9562"/>
                </a:cubicBezTo>
                <a:cubicBezTo>
                  <a:pt x="4625" y="9562"/>
                  <a:pt x="4625" y="9562"/>
                  <a:pt x="4625" y="9562"/>
                </a:cubicBezTo>
                <a:cubicBezTo>
                  <a:pt x="4625" y="9625"/>
                  <a:pt x="4594" y="9656"/>
                  <a:pt x="4562" y="9656"/>
                </a:cubicBezTo>
                <a:cubicBezTo>
                  <a:pt x="4531" y="9687"/>
                  <a:pt x="4500" y="9687"/>
                  <a:pt x="4500" y="9687"/>
                </a:cubicBezTo>
                <a:cubicBezTo>
                  <a:pt x="4469" y="9687"/>
                  <a:pt x="4437" y="9687"/>
                  <a:pt x="4406" y="9687"/>
                </a:cubicBezTo>
                <a:cubicBezTo>
                  <a:pt x="4281" y="9750"/>
                  <a:pt x="4187" y="9781"/>
                  <a:pt x="4062" y="9812"/>
                </a:cubicBezTo>
                <a:cubicBezTo>
                  <a:pt x="4031" y="9812"/>
                  <a:pt x="4000" y="9812"/>
                  <a:pt x="3969" y="9812"/>
                </a:cubicBezTo>
                <a:cubicBezTo>
                  <a:pt x="3969" y="9812"/>
                  <a:pt x="3969" y="9750"/>
                  <a:pt x="3969" y="9781"/>
                </a:cubicBezTo>
                <a:cubicBezTo>
                  <a:pt x="3875" y="9937"/>
                  <a:pt x="3719" y="9875"/>
                  <a:pt x="3594" y="9937"/>
                </a:cubicBezTo>
                <a:cubicBezTo>
                  <a:pt x="3531" y="9968"/>
                  <a:pt x="3406" y="10000"/>
                  <a:pt x="3312" y="10000"/>
                </a:cubicBezTo>
                <a:cubicBezTo>
                  <a:pt x="3250" y="10031"/>
                  <a:pt x="3187" y="10062"/>
                  <a:pt x="3156" y="10000"/>
                </a:cubicBezTo>
                <a:cubicBezTo>
                  <a:pt x="3125" y="9968"/>
                  <a:pt x="3094" y="10000"/>
                  <a:pt x="3062" y="10031"/>
                </a:cubicBezTo>
                <a:cubicBezTo>
                  <a:pt x="3031" y="10031"/>
                  <a:pt x="3031" y="10031"/>
                  <a:pt x="3000" y="10000"/>
                </a:cubicBezTo>
                <a:cubicBezTo>
                  <a:pt x="3000" y="10031"/>
                  <a:pt x="3000" y="10031"/>
                  <a:pt x="3000" y="10031"/>
                </a:cubicBezTo>
                <a:cubicBezTo>
                  <a:pt x="3000" y="10031"/>
                  <a:pt x="3000" y="10031"/>
                  <a:pt x="3000" y="10000"/>
                </a:cubicBezTo>
                <a:cubicBezTo>
                  <a:pt x="3000" y="10000"/>
                  <a:pt x="3000" y="10000"/>
                  <a:pt x="2969" y="10000"/>
                </a:cubicBezTo>
                <a:cubicBezTo>
                  <a:pt x="2969" y="10000"/>
                  <a:pt x="2969" y="10000"/>
                  <a:pt x="2969" y="10000"/>
                </a:cubicBezTo>
                <a:cubicBezTo>
                  <a:pt x="2969" y="10000"/>
                  <a:pt x="2937" y="10000"/>
                  <a:pt x="2937" y="10000"/>
                </a:cubicBezTo>
                <a:cubicBezTo>
                  <a:pt x="2937" y="10000"/>
                  <a:pt x="2969" y="10000"/>
                  <a:pt x="2969" y="10000"/>
                </a:cubicBezTo>
                <a:cubicBezTo>
                  <a:pt x="2969" y="9968"/>
                  <a:pt x="2937" y="9937"/>
                  <a:pt x="2906" y="9937"/>
                </a:cubicBezTo>
                <a:cubicBezTo>
                  <a:pt x="2844" y="9937"/>
                  <a:pt x="2812" y="9906"/>
                  <a:pt x="2750" y="9875"/>
                </a:cubicBezTo>
                <a:cubicBezTo>
                  <a:pt x="2937" y="9875"/>
                  <a:pt x="3094" y="9812"/>
                  <a:pt x="3250" y="9781"/>
                </a:cubicBezTo>
                <a:cubicBezTo>
                  <a:pt x="3531" y="9750"/>
                  <a:pt x="3781" y="9656"/>
                  <a:pt x="4031" y="9562"/>
                </a:cubicBezTo>
                <a:cubicBezTo>
                  <a:pt x="4094" y="9593"/>
                  <a:pt x="4219" y="9562"/>
                  <a:pt x="4437" y="9531"/>
                </a:cubicBezTo>
                <a:cubicBezTo>
                  <a:pt x="4687" y="9500"/>
                  <a:pt x="4812" y="9468"/>
                  <a:pt x="4906" y="9468"/>
                </a:cubicBezTo>
                <a:cubicBezTo>
                  <a:pt x="4906" y="9500"/>
                  <a:pt x="4875" y="9500"/>
                  <a:pt x="4844" y="9500"/>
                </a:cubicBezTo>
                <a:close/>
                <a:moveTo>
                  <a:pt x="3219" y="9781"/>
                </a:moveTo>
                <a:cubicBezTo>
                  <a:pt x="3312" y="9750"/>
                  <a:pt x="3375" y="9750"/>
                  <a:pt x="3406" y="9750"/>
                </a:cubicBezTo>
                <a:cubicBezTo>
                  <a:pt x="3375" y="9750"/>
                  <a:pt x="3312" y="9750"/>
                  <a:pt x="3219" y="9781"/>
                </a:cubicBezTo>
                <a:close/>
                <a:moveTo>
                  <a:pt x="5812" y="8593"/>
                </a:moveTo>
                <a:cubicBezTo>
                  <a:pt x="5781" y="8593"/>
                  <a:pt x="5750" y="8656"/>
                  <a:pt x="5719" y="8687"/>
                </a:cubicBezTo>
                <a:cubicBezTo>
                  <a:pt x="5625" y="8687"/>
                  <a:pt x="5531" y="8750"/>
                  <a:pt x="5437" y="8781"/>
                </a:cubicBezTo>
                <a:cubicBezTo>
                  <a:pt x="5250" y="8906"/>
                  <a:pt x="5062" y="8968"/>
                  <a:pt x="4875" y="9031"/>
                </a:cubicBezTo>
                <a:cubicBezTo>
                  <a:pt x="4656" y="9156"/>
                  <a:pt x="4406" y="9218"/>
                  <a:pt x="4156" y="9312"/>
                </a:cubicBezTo>
                <a:cubicBezTo>
                  <a:pt x="4031" y="9343"/>
                  <a:pt x="3875" y="9375"/>
                  <a:pt x="3750" y="9437"/>
                </a:cubicBezTo>
                <a:cubicBezTo>
                  <a:pt x="3687" y="9437"/>
                  <a:pt x="3594" y="9437"/>
                  <a:pt x="3531" y="9500"/>
                </a:cubicBezTo>
                <a:cubicBezTo>
                  <a:pt x="3406" y="9562"/>
                  <a:pt x="3250" y="9562"/>
                  <a:pt x="3094" y="9625"/>
                </a:cubicBezTo>
                <a:cubicBezTo>
                  <a:pt x="3094" y="9593"/>
                  <a:pt x="3062" y="9625"/>
                  <a:pt x="3062" y="9593"/>
                </a:cubicBezTo>
                <a:cubicBezTo>
                  <a:pt x="3094" y="9562"/>
                  <a:pt x="3125" y="9562"/>
                  <a:pt x="3125" y="9531"/>
                </a:cubicBezTo>
                <a:cubicBezTo>
                  <a:pt x="3344" y="9500"/>
                  <a:pt x="3562" y="9437"/>
                  <a:pt x="3781" y="9375"/>
                </a:cubicBezTo>
                <a:cubicBezTo>
                  <a:pt x="4000" y="9281"/>
                  <a:pt x="4219" y="9218"/>
                  <a:pt x="4406" y="9125"/>
                </a:cubicBezTo>
                <a:cubicBezTo>
                  <a:pt x="4469" y="9093"/>
                  <a:pt x="4594" y="9125"/>
                  <a:pt x="4594" y="9031"/>
                </a:cubicBezTo>
                <a:cubicBezTo>
                  <a:pt x="4750" y="8937"/>
                  <a:pt x="4875" y="8875"/>
                  <a:pt x="5031" y="8875"/>
                </a:cubicBezTo>
                <a:cubicBezTo>
                  <a:pt x="5094" y="8781"/>
                  <a:pt x="5156" y="8781"/>
                  <a:pt x="5219" y="8750"/>
                </a:cubicBezTo>
                <a:cubicBezTo>
                  <a:pt x="5219" y="8750"/>
                  <a:pt x="5219" y="8750"/>
                  <a:pt x="5250" y="8750"/>
                </a:cubicBezTo>
                <a:cubicBezTo>
                  <a:pt x="5250" y="8750"/>
                  <a:pt x="5250" y="8750"/>
                  <a:pt x="5250" y="8750"/>
                </a:cubicBezTo>
                <a:cubicBezTo>
                  <a:pt x="5250" y="8750"/>
                  <a:pt x="5250" y="8750"/>
                  <a:pt x="5250" y="8750"/>
                </a:cubicBezTo>
                <a:cubicBezTo>
                  <a:pt x="5250" y="8750"/>
                  <a:pt x="5281" y="8718"/>
                  <a:pt x="5281" y="8718"/>
                </a:cubicBezTo>
                <a:cubicBezTo>
                  <a:pt x="5312" y="8718"/>
                  <a:pt x="5312" y="8718"/>
                  <a:pt x="5344" y="8718"/>
                </a:cubicBezTo>
                <a:cubicBezTo>
                  <a:pt x="5344" y="8687"/>
                  <a:pt x="5312" y="8687"/>
                  <a:pt x="5312" y="8687"/>
                </a:cubicBezTo>
                <a:cubicBezTo>
                  <a:pt x="5281" y="8687"/>
                  <a:pt x="5281" y="8687"/>
                  <a:pt x="5250" y="8687"/>
                </a:cubicBezTo>
                <a:cubicBezTo>
                  <a:pt x="4937" y="8812"/>
                  <a:pt x="4656" y="8937"/>
                  <a:pt x="4344" y="9062"/>
                </a:cubicBezTo>
                <a:cubicBezTo>
                  <a:pt x="4281" y="9093"/>
                  <a:pt x="4187" y="9125"/>
                  <a:pt x="4125" y="9156"/>
                </a:cubicBezTo>
                <a:cubicBezTo>
                  <a:pt x="4062" y="9156"/>
                  <a:pt x="4031" y="9187"/>
                  <a:pt x="4031" y="9125"/>
                </a:cubicBezTo>
                <a:cubicBezTo>
                  <a:pt x="4000" y="9062"/>
                  <a:pt x="4062" y="9093"/>
                  <a:pt x="4094" y="9062"/>
                </a:cubicBezTo>
                <a:cubicBezTo>
                  <a:pt x="4125" y="9062"/>
                  <a:pt x="4156" y="9093"/>
                  <a:pt x="4187" y="9062"/>
                </a:cubicBezTo>
                <a:cubicBezTo>
                  <a:pt x="4250" y="8968"/>
                  <a:pt x="4344" y="8968"/>
                  <a:pt x="4437" y="8968"/>
                </a:cubicBezTo>
                <a:cubicBezTo>
                  <a:pt x="4469" y="8968"/>
                  <a:pt x="4469" y="8937"/>
                  <a:pt x="4469" y="8937"/>
                </a:cubicBezTo>
                <a:cubicBezTo>
                  <a:pt x="4437" y="8937"/>
                  <a:pt x="4406" y="8937"/>
                  <a:pt x="4406" y="8906"/>
                </a:cubicBezTo>
                <a:cubicBezTo>
                  <a:pt x="4250" y="8937"/>
                  <a:pt x="4094" y="9000"/>
                  <a:pt x="3937" y="9062"/>
                </a:cubicBezTo>
                <a:cubicBezTo>
                  <a:pt x="3906" y="9062"/>
                  <a:pt x="3812" y="9062"/>
                  <a:pt x="3844" y="9125"/>
                </a:cubicBezTo>
                <a:cubicBezTo>
                  <a:pt x="3875" y="9156"/>
                  <a:pt x="3937" y="9218"/>
                  <a:pt x="3844" y="9218"/>
                </a:cubicBezTo>
                <a:cubicBezTo>
                  <a:pt x="3687" y="9281"/>
                  <a:pt x="3531" y="9375"/>
                  <a:pt x="3375" y="9375"/>
                </a:cubicBezTo>
                <a:cubicBezTo>
                  <a:pt x="3344" y="9406"/>
                  <a:pt x="3312" y="9375"/>
                  <a:pt x="3281" y="9406"/>
                </a:cubicBezTo>
                <a:cubicBezTo>
                  <a:pt x="3281" y="9406"/>
                  <a:pt x="3281" y="9437"/>
                  <a:pt x="3281" y="9437"/>
                </a:cubicBezTo>
                <a:cubicBezTo>
                  <a:pt x="3312" y="9437"/>
                  <a:pt x="3312" y="9437"/>
                  <a:pt x="3312" y="9468"/>
                </a:cubicBezTo>
                <a:cubicBezTo>
                  <a:pt x="3437" y="9406"/>
                  <a:pt x="3594" y="9375"/>
                  <a:pt x="3719" y="9343"/>
                </a:cubicBezTo>
                <a:cubicBezTo>
                  <a:pt x="3719" y="9343"/>
                  <a:pt x="3719" y="9343"/>
                  <a:pt x="3719" y="9343"/>
                </a:cubicBezTo>
                <a:cubicBezTo>
                  <a:pt x="3562" y="9406"/>
                  <a:pt x="3406" y="9468"/>
                  <a:pt x="3250" y="9500"/>
                </a:cubicBezTo>
                <a:cubicBezTo>
                  <a:pt x="3406" y="9468"/>
                  <a:pt x="3562" y="9406"/>
                  <a:pt x="3719" y="9343"/>
                </a:cubicBezTo>
                <a:cubicBezTo>
                  <a:pt x="3719" y="9343"/>
                  <a:pt x="3719" y="9343"/>
                  <a:pt x="3719" y="9343"/>
                </a:cubicBezTo>
                <a:cubicBezTo>
                  <a:pt x="3719" y="9343"/>
                  <a:pt x="3750" y="9312"/>
                  <a:pt x="3781" y="9312"/>
                </a:cubicBezTo>
                <a:cubicBezTo>
                  <a:pt x="4031" y="9218"/>
                  <a:pt x="4281" y="9156"/>
                  <a:pt x="4531" y="9031"/>
                </a:cubicBezTo>
                <a:cubicBezTo>
                  <a:pt x="4562" y="9031"/>
                  <a:pt x="4594" y="9031"/>
                  <a:pt x="4594" y="9031"/>
                </a:cubicBezTo>
                <a:cubicBezTo>
                  <a:pt x="4781" y="9031"/>
                  <a:pt x="4906" y="8937"/>
                  <a:pt x="5031" y="8875"/>
                </a:cubicBezTo>
                <a:cubicBezTo>
                  <a:pt x="5125" y="8843"/>
                  <a:pt x="5219" y="8812"/>
                  <a:pt x="5281" y="8750"/>
                </a:cubicBezTo>
                <a:cubicBezTo>
                  <a:pt x="5312" y="8750"/>
                  <a:pt x="5375" y="8750"/>
                  <a:pt x="5406" y="8718"/>
                </a:cubicBezTo>
                <a:cubicBezTo>
                  <a:pt x="5406" y="8718"/>
                  <a:pt x="5437" y="8718"/>
                  <a:pt x="5469" y="8718"/>
                </a:cubicBezTo>
                <a:cubicBezTo>
                  <a:pt x="5625" y="8625"/>
                  <a:pt x="5750" y="8531"/>
                  <a:pt x="5937" y="8500"/>
                </a:cubicBezTo>
                <a:cubicBezTo>
                  <a:pt x="5906" y="8562"/>
                  <a:pt x="5875" y="8593"/>
                  <a:pt x="5812" y="8593"/>
                </a:cubicBezTo>
                <a:close/>
                <a:moveTo>
                  <a:pt x="4406" y="8875"/>
                </a:moveTo>
                <a:cubicBezTo>
                  <a:pt x="4500" y="8843"/>
                  <a:pt x="4594" y="8781"/>
                  <a:pt x="4719" y="8812"/>
                </a:cubicBezTo>
                <a:cubicBezTo>
                  <a:pt x="4687" y="8812"/>
                  <a:pt x="4687" y="8843"/>
                  <a:pt x="4625" y="8812"/>
                </a:cubicBezTo>
                <a:cubicBezTo>
                  <a:pt x="4625" y="8812"/>
                  <a:pt x="4594" y="8812"/>
                  <a:pt x="4594" y="8843"/>
                </a:cubicBezTo>
                <a:cubicBezTo>
                  <a:pt x="4594" y="8875"/>
                  <a:pt x="4625" y="8875"/>
                  <a:pt x="4625" y="8875"/>
                </a:cubicBezTo>
                <a:cubicBezTo>
                  <a:pt x="4625" y="8906"/>
                  <a:pt x="4594" y="8875"/>
                  <a:pt x="4562" y="8875"/>
                </a:cubicBezTo>
                <a:cubicBezTo>
                  <a:pt x="4531" y="8875"/>
                  <a:pt x="4500" y="8843"/>
                  <a:pt x="4531" y="8906"/>
                </a:cubicBezTo>
                <a:cubicBezTo>
                  <a:pt x="4562" y="8937"/>
                  <a:pt x="4500" y="8937"/>
                  <a:pt x="4500" y="8937"/>
                </a:cubicBezTo>
                <a:cubicBezTo>
                  <a:pt x="4500" y="8875"/>
                  <a:pt x="4437" y="8906"/>
                  <a:pt x="4406" y="8875"/>
                </a:cubicBez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8"/>
                </a:lnTo>
                <a:lnTo>
                  <a:pt x="4406" y="8878"/>
                </a:lnTo>
                <a:lnTo>
                  <a:pt x="4406" y="8878"/>
                </a:lnTo>
                <a:lnTo>
                  <a:pt x="4406" y="8879"/>
                </a:lnTo>
                <a:lnTo>
                  <a:pt x="4406" y="8879"/>
                </a:lnTo>
                <a:lnTo>
                  <a:pt x="4406" y="8879"/>
                </a:lnTo>
                <a:lnTo>
                  <a:pt x="4406" y="8880"/>
                </a:lnTo>
                <a:lnTo>
                  <a:pt x="4406" y="8880"/>
                </a:lnTo>
                <a:lnTo>
                  <a:pt x="4406" y="8880"/>
                </a:lnTo>
                <a:lnTo>
                  <a:pt x="4406" y="8881"/>
                </a:lnTo>
                <a:lnTo>
                  <a:pt x="4406" y="8881"/>
                </a:lnTo>
                <a:lnTo>
                  <a:pt x="4406" y="8881"/>
                </a:lnTo>
                <a:lnTo>
                  <a:pt x="4406" y="8882"/>
                </a:lnTo>
                <a:lnTo>
                  <a:pt x="4406" y="8882"/>
                </a:lnTo>
                <a:lnTo>
                  <a:pt x="4406" y="8883"/>
                </a:lnTo>
                <a:lnTo>
                  <a:pt x="4406" y="8883"/>
                </a:lnTo>
                <a:lnTo>
                  <a:pt x="4406" y="8883"/>
                </a:lnTo>
                <a:lnTo>
                  <a:pt x="4406" y="8884"/>
                </a:lnTo>
                <a:lnTo>
                  <a:pt x="4406" y="8884"/>
                </a:lnTo>
                <a:lnTo>
                  <a:pt x="4406" y="8885"/>
                </a:lnTo>
                <a:lnTo>
                  <a:pt x="4406" y="8885"/>
                </a:lnTo>
                <a:lnTo>
                  <a:pt x="4406" y="8885"/>
                </a:lnTo>
                <a:lnTo>
                  <a:pt x="4406" y="8886"/>
                </a:lnTo>
                <a:lnTo>
                  <a:pt x="4406" y="8886"/>
                </a:lnTo>
                <a:lnTo>
                  <a:pt x="4406" y="8887"/>
                </a:lnTo>
                <a:lnTo>
                  <a:pt x="4406" y="8887"/>
                </a:lnTo>
                <a:lnTo>
                  <a:pt x="4406" y="8888"/>
                </a:lnTo>
                <a:lnTo>
                  <a:pt x="4406" y="8888"/>
                </a:lnTo>
                <a:lnTo>
                  <a:pt x="4406" y="8889"/>
                </a:lnTo>
                <a:lnTo>
                  <a:pt x="4406" y="8889"/>
                </a:lnTo>
                <a:lnTo>
                  <a:pt x="4406" y="8889"/>
                </a:lnTo>
                <a:lnTo>
                  <a:pt x="4406" y="8890"/>
                </a:lnTo>
                <a:lnTo>
                  <a:pt x="4406" y="8890"/>
                </a:lnTo>
                <a:lnTo>
                  <a:pt x="4406" y="8891"/>
                </a:lnTo>
                <a:lnTo>
                  <a:pt x="4406" y="8891"/>
                </a:lnTo>
                <a:lnTo>
                  <a:pt x="4406" y="8892"/>
                </a:lnTo>
                <a:lnTo>
                  <a:pt x="4406" y="8892"/>
                </a:lnTo>
                <a:lnTo>
                  <a:pt x="4406" y="8893"/>
                </a:lnTo>
                <a:lnTo>
                  <a:pt x="4406" y="8893"/>
                </a:lnTo>
                <a:lnTo>
                  <a:pt x="4406" y="8893"/>
                </a:lnTo>
                <a:lnTo>
                  <a:pt x="4406" y="8894"/>
                </a:lnTo>
                <a:lnTo>
                  <a:pt x="4406" y="8894"/>
                </a:lnTo>
                <a:lnTo>
                  <a:pt x="4406" y="8895"/>
                </a:lnTo>
                <a:lnTo>
                  <a:pt x="4406" y="8896"/>
                </a:lnTo>
                <a:lnTo>
                  <a:pt x="4406" y="8896"/>
                </a:lnTo>
                <a:lnTo>
                  <a:pt x="4406" y="8896"/>
                </a:lnTo>
                <a:lnTo>
                  <a:pt x="4406" y="8897"/>
                </a:lnTo>
                <a:lnTo>
                  <a:pt x="4406" y="8897"/>
                </a:lnTo>
                <a:lnTo>
                  <a:pt x="4406" y="8898"/>
                </a:lnTo>
                <a:lnTo>
                  <a:pt x="4406" y="8898"/>
                </a:lnTo>
                <a:lnTo>
                  <a:pt x="4406" y="8898"/>
                </a:lnTo>
                <a:lnTo>
                  <a:pt x="4406" y="8899"/>
                </a:lnTo>
                <a:lnTo>
                  <a:pt x="4406" y="8899"/>
                </a:lnTo>
                <a:lnTo>
                  <a:pt x="4406" y="8899"/>
                </a:lnTo>
                <a:lnTo>
                  <a:pt x="4406" y="8900"/>
                </a:lnTo>
                <a:lnTo>
                  <a:pt x="4406" y="8900"/>
                </a:lnTo>
                <a:lnTo>
                  <a:pt x="4406" y="8900"/>
                </a:lnTo>
                <a:lnTo>
                  <a:pt x="4406" y="8901"/>
                </a:lnTo>
                <a:lnTo>
                  <a:pt x="4406" y="8901"/>
                </a:lnTo>
                <a:lnTo>
                  <a:pt x="4406" y="8902"/>
                </a:lnTo>
                <a:lnTo>
                  <a:pt x="4406" y="8902"/>
                </a:lnTo>
                <a:lnTo>
                  <a:pt x="4406" y="8902"/>
                </a:lnTo>
                <a:lnTo>
                  <a:pt x="4406" y="8902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moveTo>
                  <a:pt x="5937" y="8500"/>
                </a:moveTo>
                <a:cubicBezTo>
                  <a:pt x="5937" y="8500"/>
                  <a:pt x="5937" y="8468"/>
                  <a:pt x="5937" y="8468"/>
                </a:cubicBezTo>
                <a:cubicBezTo>
                  <a:pt x="5937" y="8468"/>
                  <a:pt x="5937" y="8437"/>
                  <a:pt x="5937" y="8437"/>
                </a:cubicBezTo>
                <a:cubicBezTo>
                  <a:pt x="5937" y="8437"/>
                  <a:pt x="5937" y="8437"/>
                  <a:pt x="5937" y="8437"/>
                </a:cubicBezTo>
                <a:cubicBezTo>
                  <a:pt x="5937" y="8437"/>
                  <a:pt x="5937" y="8468"/>
                  <a:pt x="5937" y="8468"/>
                </a:cubicBezTo>
                <a:cubicBezTo>
                  <a:pt x="5969" y="8468"/>
                  <a:pt x="5969" y="8468"/>
                  <a:pt x="6000" y="8437"/>
                </a:cubicBezTo>
                <a:cubicBezTo>
                  <a:pt x="6000" y="8500"/>
                  <a:pt x="5969" y="8531"/>
                  <a:pt x="5937" y="8500"/>
                </a:cubicBezTo>
                <a:close/>
                <a:moveTo>
                  <a:pt x="6000" y="8406"/>
                </a:moveTo>
                <a:cubicBezTo>
                  <a:pt x="6000" y="8406"/>
                  <a:pt x="6000" y="8406"/>
                  <a:pt x="6000" y="8406"/>
                </a:cubicBezTo>
                <a:cubicBezTo>
                  <a:pt x="6031" y="8437"/>
                  <a:pt x="6031" y="8437"/>
                  <a:pt x="6031" y="8437"/>
                </a:cubicBezTo>
                <a:cubicBezTo>
                  <a:pt x="6031" y="8437"/>
                  <a:pt x="6031" y="8437"/>
                  <a:pt x="6000" y="8406"/>
                </a:cubicBezTo>
                <a:close/>
                <a:moveTo>
                  <a:pt x="6250" y="8250"/>
                </a:moveTo>
                <a:cubicBezTo>
                  <a:pt x="6187" y="8312"/>
                  <a:pt x="6156" y="8375"/>
                  <a:pt x="6125" y="8437"/>
                </a:cubicBezTo>
                <a:cubicBezTo>
                  <a:pt x="6125" y="8468"/>
                  <a:pt x="6094" y="8468"/>
                  <a:pt x="6094" y="8468"/>
                </a:cubicBezTo>
                <a:cubicBezTo>
                  <a:pt x="6094" y="8437"/>
                  <a:pt x="6062" y="8437"/>
                  <a:pt x="6062" y="8437"/>
                </a:cubicBezTo>
                <a:cubicBezTo>
                  <a:pt x="6062" y="8375"/>
                  <a:pt x="6000" y="8375"/>
                  <a:pt x="5969" y="8406"/>
                </a:cubicBezTo>
                <a:cubicBezTo>
                  <a:pt x="5875" y="8437"/>
                  <a:pt x="5750" y="8531"/>
                  <a:pt x="5625" y="8562"/>
                </a:cubicBezTo>
                <a:cubicBezTo>
                  <a:pt x="5562" y="8593"/>
                  <a:pt x="5531" y="8656"/>
                  <a:pt x="5437" y="8625"/>
                </a:cubicBezTo>
                <a:cubicBezTo>
                  <a:pt x="5437" y="8625"/>
                  <a:pt x="5406" y="8625"/>
                  <a:pt x="5406" y="8593"/>
                </a:cubicBezTo>
                <a:cubicBezTo>
                  <a:pt x="5406" y="8593"/>
                  <a:pt x="5406" y="8593"/>
                  <a:pt x="5406" y="8593"/>
                </a:cubicBezTo>
                <a:cubicBezTo>
                  <a:pt x="5406" y="8625"/>
                  <a:pt x="5437" y="8625"/>
                  <a:pt x="5437" y="8625"/>
                </a:cubicBezTo>
                <a:cubicBezTo>
                  <a:pt x="5437" y="8625"/>
                  <a:pt x="5437" y="8625"/>
                  <a:pt x="5437" y="8625"/>
                </a:cubicBezTo>
                <a:cubicBezTo>
                  <a:pt x="5625" y="8500"/>
                  <a:pt x="5844" y="8406"/>
                  <a:pt x="6062" y="8312"/>
                </a:cubicBezTo>
                <a:cubicBezTo>
                  <a:pt x="6125" y="8281"/>
                  <a:pt x="6156" y="8218"/>
                  <a:pt x="6250" y="8250"/>
                </a:cubicBezTo>
                <a:cubicBezTo>
                  <a:pt x="6250" y="8218"/>
                  <a:pt x="6281" y="8218"/>
                  <a:pt x="6281" y="8218"/>
                </a:cubicBezTo>
                <a:cubicBezTo>
                  <a:pt x="6281" y="8250"/>
                  <a:pt x="6250" y="8250"/>
                  <a:pt x="6250" y="8250"/>
                </a:cubicBezTo>
                <a:close/>
                <a:moveTo>
                  <a:pt x="6250" y="8187"/>
                </a:moveTo>
                <a:cubicBezTo>
                  <a:pt x="6250" y="8218"/>
                  <a:pt x="6250" y="8218"/>
                  <a:pt x="6250" y="8218"/>
                </a:cubicBezTo>
                <a:cubicBezTo>
                  <a:pt x="6250" y="8218"/>
                  <a:pt x="6250" y="8218"/>
                  <a:pt x="6250" y="8187"/>
                </a:cubicBezTo>
                <a:cubicBezTo>
                  <a:pt x="6250" y="8187"/>
                  <a:pt x="6281" y="8156"/>
                  <a:pt x="6312" y="8156"/>
                </a:cubicBezTo>
                <a:cubicBezTo>
                  <a:pt x="6281" y="8156"/>
                  <a:pt x="6250" y="8187"/>
                  <a:pt x="6250" y="8187"/>
                </a:cubicBezTo>
                <a:close/>
                <a:moveTo>
                  <a:pt x="6375" y="8062"/>
                </a:moveTo>
                <a:cubicBezTo>
                  <a:pt x="6187" y="8156"/>
                  <a:pt x="6031" y="8250"/>
                  <a:pt x="5844" y="8343"/>
                </a:cubicBezTo>
                <a:cubicBezTo>
                  <a:pt x="5781" y="8375"/>
                  <a:pt x="5719" y="8406"/>
                  <a:pt x="5656" y="8437"/>
                </a:cubicBezTo>
                <a:cubicBezTo>
                  <a:pt x="5656" y="8406"/>
                  <a:pt x="5625" y="8375"/>
                  <a:pt x="5594" y="8406"/>
                </a:cubicBezTo>
                <a:cubicBezTo>
                  <a:pt x="5594" y="8406"/>
                  <a:pt x="5594" y="8406"/>
                  <a:pt x="5594" y="8406"/>
                </a:cubicBezTo>
                <a:cubicBezTo>
                  <a:pt x="5594" y="8406"/>
                  <a:pt x="5594" y="8406"/>
                  <a:pt x="5594" y="8437"/>
                </a:cubicBezTo>
                <a:cubicBezTo>
                  <a:pt x="5594" y="8437"/>
                  <a:pt x="5594" y="8406"/>
                  <a:pt x="5594" y="8406"/>
                </a:cubicBezTo>
                <a:cubicBezTo>
                  <a:pt x="5594" y="8406"/>
                  <a:pt x="5594" y="8406"/>
                  <a:pt x="5594" y="8406"/>
                </a:cubicBezTo>
                <a:cubicBezTo>
                  <a:pt x="5594" y="8406"/>
                  <a:pt x="5594" y="8437"/>
                  <a:pt x="5594" y="8437"/>
                </a:cubicBezTo>
                <a:cubicBezTo>
                  <a:pt x="5594" y="8437"/>
                  <a:pt x="5625" y="8437"/>
                  <a:pt x="5625" y="8437"/>
                </a:cubicBezTo>
                <a:cubicBezTo>
                  <a:pt x="5594" y="8500"/>
                  <a:pt x="5531" y="8406"/>
                  <a:pt x="5500" y="8437"/>
                </a:cubicBezTo>
                <a:cubicBezTo>
                  <a:pt x="5500" y="8468"/>
                  <a:pt x="5531" y="8468"/>
                  <a:pt x="5562" y="8500"/>
                </a:cubicBezTo>
                <a:cubicBezTo>
                  <a:pt x="5500" y="8500"/>
                  <a:pt x="5437" y="8500"/>
                  <a:pt x="5406" y="8500"/>
                </a:cubicBezTo>
                <a:cubicBezTo>
                  <a:pt x="5375" y="8437"/>
                  <a:pt x="5469" y="8437"/>
                  <a:pt x="5469" y="8406"/>
                </a:cubicBezTo>
                <a:cubicBezTo>
                  <a:pt x="5812" y="8281"/>
                  <a:pt x="6094" y="8125"/>
                  <a:pt x="6406" y="7968"/>
                </a:cubicBezTo>
                <a:cubicBezTo>
                  <a:pt x="6437" y="7968"/>
                  <a:pt x="6437" y="7968"/>
                  <a:pt x="6437" y="7968"/>
                </a:cubicBezTo>
                <a:cubicBezTo>
                  <a:pt x="6437" y="8031"/>
                  <a:pt x="6406" y="8031"/>
                  <a:pt x="6375" y="8062"/>
                </a:cubicBezTo>
                <a:close/>
                <a:moveTo>
                  <a:pt x="6469" y="9000"/>
                </a:moveTo>
                <a:cubicBezTo>
                  <a:pt x="6625" y="8906"/>
                  <a:pt x="6812" y="8750"/>
                  <a:pt x="7094" y="8593"/>
                </a:cubicBezTo>
                <a:cubicBezTo>
                  <a:pt x="7094" y="8593"/>
                  <a:pt x="7094" y="8593"/>
                  <a:pt x="7094" y="8593"/>
                </a:cubicBezTo>
                <a:cubicBezTo>
                  <a:pt x="7437" y="8406"/>
                  <a:pt x="7781" y="8218"/>
                  <a:pt x="8125" y="8062"/>
                </a:cubicBezTo>
                <a:cubicBezTo>
                  <a:pt x="8156" y="8031"/>
                  <a:pt x="8219" y="8000"/>
                  <a:pt x="8281" y="8000"/>
                </a:cubicBezTo>
                <a:cubicBezTo>
                  <a:pt x="7719" y="8375"/>
                  <a:pt x="7094" y="8687"/>
                  <a:pt x="6469" y="9000"/>
                </a:cubicBezTo>
                <a:close/>
                <a:moveTo>
                  <a:pt x="9812" y="6718"/>
                </a:move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781" y="6781"/>
                  <a:pt x="9781" y="6812"/>
                  <a:pt x="9844" y="6812"/>
                </a:cubicBezTo>
                <a:cubicBezTo>
                  <a:pt x="9719" y="6875"/>
                  <a:pt x="9625" y="6968"/>
                  <a:pt x="9500" y="7031"/>
                </a:cubicBezTo>
                <a:cubicBezTo>
                  <a:pt x="9500" y="7031"/>
                  <a:pt x="9500" y="7031"/>
                  <a:pt x="9500" y="7062"/>
                </a:cubicBezTo>
                <a:cubicBezTo>
                  <a:pt x="9500" y="7125"/>
                  <a:pt x="9500" y="7125"/>
                  <a:pt x="9437" y="7156"/>
                </a:cubicBezTo>
                <a:cubicBezTo>
                  <a:pt x="9344" y="7218"/>
                  <a:pt x="9187" y="7218"/>
                  <a:pt x="9094" y="7281"/>
                </a:cubicBezTo>
                <a:cubicBezTo>
                  <a:pt x="9031" y="7312"/>
                  <a:pt x="9000" y="7343"/>
                  <a:pt x="8969" y="7375"/>
                </a:cubicBezTo>
                <a:cubicBezTo>
                  <a:pt x="8937" y="7437"/>
                  <a:pt x="8875" y="7468"/>
                  <a:pt x="8781" y="7500"/>
                </a:cubicBezTo>
                <a:cubicBezTo>
                  <a:pt x="8687" y="7500"/>
                  <a:pt x="8531" y="7531"/>
                  <a:pt x="8469" y="7687"/>
                </a:cubicBezTo>
                <a:cubicBezTo>
                  <a:pt x="8469" y="7781"/>
                  <a:pt x="8312" y="7812"/>
                  <a:pt x="8219" y="7875"/>
                </a:cubicBezTo>
                <a:cubicBezTo>
                  <a:pt x="8125" y="7906"/>
                  <a:pt x="8031" y="7875"/>
                  <a:pt x="7969" y="7937"/>
                </a:cubicBezTo>
                <a:cubicBezTo>
                  <a:pt x="7937" y="7937"/>
                  <a:pt x="7937" y="7937"/>
                  <a:pt x="7937" y="7937"/>
                </a:cubicBezTo>
                <a:cubicBezTo>
                  <a:pt x="7906" y="8000"/>
                  <a:pt x="7906" y="8031"/>
                  <a:pt x="7875" y="8062"/>
                </a:cubicBezTo>
                <a:cubicBezTo>
                  <a:pt x="7719" y="8125"/>
                  <a:pt x="7594" y="8218"/>
                  <a:pt x="7469" y="8312"/>
                </a:cubicBezTo>
                <a:cubicBezTo>
                  <a:pt x="7406" y="8343"/>
                  <a:pt x="7281" y="8343"/>
                  <a:pt x="7219" y="8375"/>
                </a:cubicBezTo>
                <a:cubicBezTo>
                  <a:pt x="7156" y="8406"/>
                  <a:pt x="7094" y="8468"/>
                  <a:pt x="7031" y="8500"/>
                </a:cubicBezTo>
                <a:cubicBezTo>
                  <a:pt x="6969" y="8531"/>
                  <a:pt x="6875" y="8562"/>
                  <a:pt x="6781" y="8593"/>
                </a:cubicBezTo>
                <a:cubicBezTo>
                  <a:pt x="7000" y="8468"/>
                  <a:pt x="6969" y="8375"/>
                  <a:pt x="6875" y="8343"/>
                </a:cubicBezTo>
                <a:cubicBezTo>
                  <a:pt x="6906" y="8312"/>
                  <a:pt x="6937" y="8312"/>
                  <a:pt x="6969" y="8281"/>
                </a:cubicBezTo>
                <a:cubicBezTo>
                  <a:pt x="7281" y="8125"/>
                  <a:pt x="7562" y="7968"/>
                  <a:pt x="7875" y="7812"/>
                </a:cubicBezTo>
                <a:cubicBezTo>
                  <a:pt x="8281" y="7593"/>
                  <a:pt x="8687" y="7343"/>
                  <a:pt x="9094" y="7125"/>
                </a:cubicBezTo>
                <a:cubicBezTo>
                  <a:pt x="9281" y="7000"/>
                  <a:pt x="9500" y="6843"/>
                  <a:pt x="9719" y="6750"/>
                </a:cubicBezTo>
                <a:cubicBezTo>
                  <a:pt x="9719" y="6718"/>
                  <a:pt x="9750" y="6718"/>
                  <a:pt x="9750" y="6687"/>
                </a:cubicBezTo>
                <a:cubicBezTo>
                  <a:pt x="9750" y="6687"/>
                  <a:pt x="9750" y="6687"/>
                  <a:pt x="9750" y="6687"/>
                </a:cubicBezTo>
                <a:cubicBezTo>
                  <a:pt x="9750" y="6718"/>
                  <a:pt x="9719" y="6718"/>
                  <a:pt x="9719" y="6750"/>
                </a:cubicBezTo>
                <a:cubicBezTo>
                  <a:pt x="9750" y="6750"/>
                  <a:pt x="9781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44" y="6656"/>
                  <a:pt x="9937" y="6656"/>
                  <a:pt x="9969" y="6593"/>
                </a:cubicBezTo>
                <a:cubicBezTo>
                  <a:pt x="9937" y="6718"/>
                  <a:pt x="9937" y="6718"/>
                  <a:pt x="9812" y="6718"/>
                </a:cubicBezTo>
                <a:close/>
                <a:moveTo>
                  <a:pt x="9469" y="7781"/>
                </a:moveTo>
                <a:cubicBezTo>
                  <a:pt x="9469" y="7781"/>
                  <a:pt x="9437" y="7781"/>
                  <a:pt x="9437" y="7781"/>
                </a:cubicBezTo>
                <a:cubicBezTo>
                  <a:pt x="9469" y="7750"/>
                  <a:pt x="9469" y="7750"/>
                  <a:pt x="9469" y="7750"/>
                </a:cubicBezTo>
                <a:cubicBezTo>
                  <a:pt x="9469" y="7750"/>
                  <a:pt x="9469" y="7750"/>
                  <a:pt x="9500" y="7781"/>
                </a:cubicBezTo>
                <a:cubicBezTo>
                  <a:pt x="9469" y="7781"/>
                  <a:pt x="9469" y="7781"/>
                  <a:pt x="9469" y="7781"/>
                </a:cubicBezTo>
                <a:close/>
                <a:moveTo>
                  <a:pt x="10625" y="4437"/>
                </a:moveTo>
                <a:cubicBezTo>
                  <a:pt x="10594" y="4437"/>
                  <a:pt x="10594" y="4468"/>
                  <a:pt x="10594" y="4468"/>
                </a:cubicBezTo>
                <a:cubicBezTo>
                  <a:pt x="10594" y="4468"/>
                  <a:pt x="10594" y="4437"/>
                  <a:pt x="10625" y="4437"/>
                </a:cubicBezTo>
                <a:close/>
                <a:moveTo>
                  <a:pt x="10937" y="4218"/>
                </a:moveTo>
                <a:cubicBezTo>
                  <a:pt x="10875" y="4250"/>
                  <a:pt x="10812" y="4281"/>
                  <a:pt x="10781" y="4312"/>
                </a:cubicBezTo>
                <a:cubicBezTo>
                  <a:pt x="10812" y="4281"/>
                  <a:pt x="10875" y="4250"/>
                  <a:pt x="10937" y="4218"/>
                </a:cubicBezTo>
                <a:close/>
                <a:moveTo>
                  <a:pt x="11000" y="4187"/>
                </a:moveTo>
                <a:cubicBezTo>
                  <a:pt x="10969" y="4187"/>
                  <a:pt x="10969" y="4218"/>
                  <a:pt x="10937" y="4218"/>
                </a:cubicBezTo>
                <a:cubicBezTo>
                  <a:pt x="10969" y="4218"/>
                  <a:pt x="10969" y="4187"/>
                  <a:pt x="11000" y="4187"/>
                </a:cubicBezTo>
                <a:cubicBezTo>
                  <a:pt x="11000" y="4187"/>
                  <a:pt x="11000" y="4156"/>
                  <a:pt x="11000" y="4156"/>
                </a:cubicBezTo>
                <a:cubicBezTo>
                  <a:pt x="11000" y="4156"/>
                  <a:pt x="11000" y="4187"/>
                  <a:pt x="11000" y="4187"/>
                </a:cubicBezTo>
                <a:close/>
                <a:moveTo>
                  <a:pt x="11062" y="4156"/>
                </a:moveTo>
                <a:cubicBezTo>
                  <a:pt x="11062" y="4156"/>
                  <a:pt x="11062" y="4156"/>
                  <a:pt x="11062" y="4125"/>
                </a:cubicBezTo>
                <a:cubicBezTo>
                  <a:pt x="11062" y="4125"/>
                  <a:pt x="11062" y="4125"/>
                  <a:pt x="11062" y="4125"/>
                </a:cubicBezTo>
                <a:cubicBezTo>
                  <a:pt x="11062" y="4156"/>
                  <a:pt x="11062" y="4156"/>
                  <a:pt x="11062" y="4156"/>
                </a:cubicBezTo>
                <a:close/>
                <a:moveTo>
                  <a:pt x="11000" y="4125"/>
                </a:moveTo>
                <a:cubicBezTo>
                  <a:pt x="10906" y="4156"/>
                  <a:pt x="10812" y="4218"/>
                  <a:pt x="10750" y="4281"/>
                </a:cubicBezTo>
                <a:cubicBezTo>
                  <a:pt x="10719" y="4281"/>
                  <a:pt x="10719" y="4281"/>
                  <a:pt x="10687" y="4312"/>
                </a:cubicBezTo>
                <a:cubicBezTo>
                  <a:pt x="10719" y="4281"/>
                  <a:pt x="10719" y="4281"/>
                  <a:pt x="10750" y="4281"/>
                </a:cubicBezTo>
                <a:cubicBezTo>
                  <a:pt x="10812" y="4218"/>
                  <a:pt x="10906" y="4156"/>
                  <a:pt x="11000" y="4125"/>
                </a:cubicBezTo>
                <a:cubicBezTo>
                  <a:pt x="11031" y="4093"/>
                  <a:pt x="11062" y="4062"/>
                  <a:pt x="11094" y="4031"/>
                </a:cubicBezTo>
                <a:cubicBezTo>
                  <a:pt x="11062" y="4062"/>
                  <a:pt x="11031" y="4093"/>
                  <a:pt x="11000" y="4125"/>
                </a:cubicBezTo>
                <a:close/>
                <a:moveTo>
                  <a:pt x="11406" y="6687"/>
                </a:moveTo>
                <a:cubicBezTo>
                  <a:pt x="11406" y="6687"/>
                  <a:pt x="11437" y="6656"/>
                  <a:pt x="11437" y="6656"/>
                </a:cubicBezTo>
                <a:cubicBezTo>
                  <a:pt x="11437" y="6656"/>
                  <a:pt x="11437" y="6656"/>
                  <a:pt x="11437" y="6656"/>
                </a:cubicBezTo>
                <a:cubicBezTo>
                  <a:pt x="11437" y="6656"/>
                  <a:pt x="11406" y="6687"/>
                  <a:pt x="11406" y="6687"/>
                </a:cubicBezTo>
                <a:close/>
                <a:moveTo>
                  <a:pt x="11437" y="3843"/>
                </a:moveTo>
                <a:cubicBezTo>
                  <a:pt x="11437" y="3843"/>
                  <a:pt x="11437" y="3843"/>
                  <a:pt x="11437" y="3843"/>
                </a:cubicBezTo>
                <a:cubicBezTo>
                  <a:pt x="11437" y="3843"/>
                  <a:pt x="11437" y="3843"/>
                  <a:pt x="11437" y="3843"/>
                </a:cubicBezTo>
                <a:cubicBezTo>
                  <a:pt x="11437" y="3875"/>
                  <a:pt x="11406" y="3875"/>
                  <a:pt x="11406" y="3875"/>
                </a:cubicBezTo>
                <a:cubicBezTo>
                  <a:pt x="11406" y="3875"/>
                  <a:pt x="11437" y="3875"/>
                  <a:pt x="11437" y="3843"/>
                </a:cubicBezTo>
                <a:cubicBezTo>
                  <a:pt x="11469" y="3843"/>
                  <a:pt x="11469" y="3843"/>
                  <a:pt x="11469" y="3843"/>
                </a:cubicBezTo>
                <a:cubicBezTo>
                  <a:pt x="11469" y="3843"/>
                  <a:pt x="11469" y="3843"/>
                  <a:pt x="11437" y="3843"/>
                </a:cubicBezTo>
                <a:close/>
                <a:moveTo>
                  <a:pt x="11500" y="3875"/>
                </a:moveTo>
                <a:cubicBezTo>
                  <a:pt x="11500" y="3875"/>
                  <a:pt x="11531" y="3875"/>
                  <a:pt x="11531" y="3843"/>
                </a:cubicBezTo>
                <a:cubicBezTo>
                  <a:pt x="11531" y="3843"/>
                  <a:pt x="11531" y="3843"/>
                  <a:pt x="11531" y="3843"/>
                </a:cubicBezTo>
                <a:cubicBezTo>
                  <a:pt x="11531" y="3875"/>
                  <a:pt x="11500" y="3875"/>
                  <a:pt x="11500" y="3875"/>
                </a:cubicBezTo>
                <a:close/>
                <a:moveTo>
                  <a:pt x="11531" y="3781"/>
                </a:moveTo>
                <a:cubicBezTo>
                  <a:pt x="11531" y="3781"/>
                  <a:pt x="11531" y="3781"/>
                  <a:pt x="11531" y="3781"/>
                </a:cubicBezTo>
                <a:cubicBezTo>
                  <a:pt x="11562" y="3781"/>
                  <a:pt x="11562" y="3750"/>
                  <a:pt x="11562" y="3750"/>
                </a:cubicBezTo>
                <a:cubicBezTo>
                  <a:pt x="11562" y="3750"/>
                  <a:pt x="11562" y="3781"/>
                  <a:pt x="11531" y="3781"/>
                </a:cubicBezTo>
                <a:close/>
                <a:moveTo>
                  <a:pt x="11719" y="3906"/>
                </a:moveTo>
                <a:cubicBezTo>
                  <a:pt x="11719" y="3906"/>
                  <a:pt x="11719" y="3906"/>
                  <a:pt x="11719" y="3906"/>
                </a:cubicBezTo>
                <a:cubicBezTo>
                  <a:pt x="11719" y="3875"/>
                  <a:pt x="11750" y="3875"/>
                  <a:pt x="11750" y="3843"/>
                </a:cubicBezTo>
                <a:cubicBezTo>
                  <a:pt x="11750" y="3875"/>
                  <a:pt x="11719" y="3875"/>
                  <a:pt x="11719" y="3906"/>
                </a:cubicBezTo>
                <a:close/>
                <a:moveTo>
                  <a:pt x="11844" y="3625"/>
                </a:moveTo>
                <a:cubicBezTo>
                  <a:pt x="11844" y="3625"/>
                  <a:pt x="11844" y="3625"/>
                  <a:pt x="11844" y="3625"/>
                </a:cubicBezTo>
                <a:cubicBezTo>
                  <a:pt x="11844" y="3593"/>
                  <a:pt x="11844" y="3593"/>
                  <a:pt x="11844" y="3593"/>
                </a:cubicBezTo>
                <a:cubicBezTo>
                  <a:pt x="11844" y="3593"/>
                  <a:pt x="11844" y="3593"/>
                  <a:pt x="11844" y="3625"/>
                </a:cubicBezTo>
                <a:close/>
                <a:moveTo>
                  <a:pt x="12312" y="3531"/>
                </a:moveTo>
                <a:cubicBezTo>
                  <a:pt x="12312" y="3531"/>
                  <a:pt x="12312" y="3531"/>
                  <a:pt x="12312" y="3531"/>
                </a:cubicBezTo>
                <a:cubicBezTo>
                  <a:pt x="12312" y="3531"/>
                  <a:pt x="12312" y="3531"/>
                  <a:pt x="12312" y="3531"/>
                </a:cubicBezTo>
                <a:cubicBezTo>
                  <a:pt x="12312" y="3531"/>
                  <a:pt x="12312" y="3531"/>
                  <a:pt x="12312" y="3531"/>
                </a:cubicBezTo>
                <a:close/>
                <a:moveTo>
                  <a:pt x="12594" y="3343"/>
                </a:moveTo>
                <a:cubicBezTo>
                  <a:pt x="12625" y="3343"/>
                  <a:pt x="12625" y="3312"/>
                  <a:pt x="12656" y="3312"/>
                </a:cubicBezTo>
                <a:cubicBezTo>
                  <a:pt x="12625" y="3312"/>
                  <a:pt x="12625" y="3343"/>
                  <a:pt x="12594" y="3343"/>
                </a:cubicBezTo>
                <a:cubicBezTo>
                  <a:pt x="12594" y="3343"/>
                  <a:pt x="12594" y="3343"/>
                  <a:pt x="12594" y="3343"/>
                </a:cubicBezTo>
                <a:cubicBezTo>
                  <a:pt x="12594" y="3343"/>
                  <a:pt x="12594" y="3343"/>
                  <a:pt x="12594" y="3343"/>
                </a:cubicBezTo>
                <a:cubicBezTo>
                  <a:pt x="12594" y="3343"/>
                  <a:pt x="12594" y="3343"/>
                  <a:pt x="12562" y="3343"/>
                </a:cubicBezTo>
                <a:cubicBezTo>
                  <a:pt x="12594" y="3343"/>
                  <a:pt x="12594" y="3343"/>
                  <a:pt x="12594" y="3343"/>
                </a:cubicBezTo>
                <a:close/>
                <a:moveTo>
                  <a:pt x="12594" y="6812"/>
                </a:moveTo>
                <a:cubicBezTo>
                  <a:pt x="12562" y="6843"/>
                  <a:pt x="12500" y="6875"/>
                  <a:pt x="12469" y="6906"/>
                </a:cubicBezTo>
                <a:cubicBezTo>
                  <a:pt x="12500" y="6875"/>
                  <a:pt x="12562" y="6843"/>
                  <a:pt x="12594" y="6812"/>
                </a:cubicBezTo>
                <a:cubicBezTo>
                  <a:pt x="12656" y="6781"/>
                  <a:pt x="12719" y="6750"/>
                  <a:pt x="12781" y="6687"/>
                </a:cubicBezTo>
                <a:cubicBezTo>
                  <a:pt x="12719" y="6750"/>
                  <a:pt x="12656" y="6781"/>
                  <a:pt x="12594" y="6812"/>
                </a:cubicBezTo>
                <a:close/>
                <a:moveTo>
                  <a:pt x="12812" y="3218"/>
                </a:moveTo>
                <a:cubicBezTo>
                  <a:pt x="12812" y="3218"/>
                  <a:pt x="12844" y="3218"/>
                  <a:pt x="12844" y="3218"/>
                </a:cubicBezTo>
                <a:cubicBezTo>
                  <a:pt x="12844" y="3218"/>
                  <a:pt x="12844" y="3218"/>
                  <a:pt x="12844" y="3218"/>
                </a:cubicBezTo>
                <a:cubicBezTo>
                  <a:pt x="12844" y="3218"/>
                  <a:pt x="12812" y="3218"/>
                  <a:pt x="12812" y="3218"/>
                </a:cubicBezTo>
                <a:close/>
                <a:moveTo>
                  <a:pt x="13094" y="6500"/>
                </a:moveTo>
                <a:cubicBezTo>
                  <a:pt x="13062" y="6500"/>
                  <a:pt x="13000" y="6531"/>
                  <a:pt x="12969" y="6531"/>
                </a:cubicBezTo>
                <a:cubicBezTo>
                  <a:pt x="13000" y="6531"/>
                  <a:pt x="13062" y="6500"/>
                  <a:pt x="13094" y="6500"/>
                </a:cubicBezTo>
                <a:cubicBezTo>
                  <a:pt x="13094" y="6468"/>
                  <a:pt x="13125" y="6468"/>
                  <a:pt x="13125" y="6437"/>
                </a:cubicBezTo>
                <a:cubicBezTo>
                  <a:pt x="13125" y="6468"/>
                  <a:pt x="13094" y="6468"/>
                  <a:pt x="13094" y="6500"/>
                </a:cubicBezTo>
                <a:close/>
                <a:moveTo>
                  <a:pt x="13000" y="7218"/>
                </a:moveTo>
                <a:cubicBezTo>
                  <a:pt x="12937" y="7218"/>
                  <a:pt x="12875" y="7250"/>
                  <a:pt x="12844" y="7281"/>
                </a:cubicBezTo>
                <a:cubicBezTo>
                  <a:pt x="12875" y="7250"/>
                  <a:pt x="12937" y="7218"/>
                  <a:pt x="13000" y="7218"/>
                </a:cubicBezTo>
                <a:close/>
                <a:moveTo>
                  <a:pt x="10219" y="9281"/>
                </a:moveTo>
                <a:cubicBezTo>
                  <a:pt x="10219" y="9281"/>
                  <a:pt x="10219" y="9281"/>
                  <a:pt x="10219" y="9281"/>
                </a:cubicBezTo>
                <a:cubicBezTo>
                  <a:pt x="10219" y="9281"/>
                  <a:pt x="10219" y="9250"/>
                  <a:pt x="10219" y="9250"/>
                </a:cubicBezTo>
                <a:cubicBezTo>
                  <a:pt x="10219" y="9250"/>
                  <a:pt x="10219" y="9281"/>
                  <a:pt x="10219" y="9281"/>
                </a:cubicBezTo>
                <a:cubicBezTo>
                  <a:pt x="10219" y="9281"/>
                  <a:pt x="10219" y="9281"/>
                  <a:pt x="10219" y="9281"/>
                </a:cubicBezTo>
                <a:close/>
                <a:moveTo>
                  <a:pt x="12312" y="7906"/>
                </a:moveTo>
                <a:cubicBezTo>
                  <a:pt x="12312" y="7906"/>
                  <a:pt x="12312" y="7906"/>
                  <a:pt x="12312" y="7906"/>
                </a:cubicBezTo>
                <a:cubicBezTo>
                  <a:pt x="12312" y="7906"/>
                  <a:pt x="12312" y="7906"/>
                  <a:pt x="12312" y="7875"/>
                </a:cubicBezTo>
                <a:cubicBezTo>
                  <a:pt x="12312" y="7906"/>
                  <a:pt x="12312" y="7906"/>
                  <a:pt x="12312" y="7906"/>
                </a:cubicBezTo>
                <a:close/>
                <a:moveTo>
                  <a:pt x="12531" y="7781"/>
                </a:moveTo>
                <a:cubicBezTo>
                  <a:pt x="12531" y="7781"/>
                  <a:pt x="12531" y="7781"/>
                  <a:pt x="12531" y="7781"/>
                </a:cubicBezTo>
                <a:cubicBezTo>
                  <a:pt x="12531" y="7750"/>
                  <a:pt x="12562" y="7718"/>
                  <a:pt x="12594" y="7718"/>
                </a:cubicBezTo>
                <a:cubicBezTo>
                  <a:pt x="12562" y="7718"/>
                  <a:pt x="12531" y="7750"/>
                  <a:pt x="12531" y="7781"/>
                </a:cubicBezTo>
                <a:close/>
                <a:moveTo>
                  <a:pt x="16937" y="1500"/>
                </a:moveTo>
                <a:cubicBezTo>
                  <a:pt x="16937" y="1500"/>
                  <a:pt x="16937" y="1500"/>
                  <a:pt x="16969" y="1500"/>
                </a:cubicBezTo>
                <a:cubicBezTo>
                  <a:pt x="16937" y="1500"/>
                  <a:pt x="16937" y="1500"/>
                  <a:pt x="16937" y="1500"/>
                </a:cubicBezTo>
                <a:cubicBezTo>
                  <a:pt x="16906" y="1500"/>
                  <a:pt x="16875" y="1500"/>
                  <a:pt x="16875" y="1500"/>
                </a:cubicBezTo>
                <a:cubicBezTo>
                  <a:pt x="16875" y="1500"/>
                  <a:pt x="16906" y="1500"/>
                  <a:pt x="16937" y="1500"/>
                </a:cubicBezTo>
                <a:close/>
                <a:moveTo>
                  <a:pt x="14312" y="2125"/>
                </a:moveTo>
                <a:cubicBezTo>
                  <a:pt x="14312" y="2125"/>
                  <a:pt x="14312" y="2125"/>
                  <a:pt x="14312" y="2125"/>
                </a:cubicBezTo>
                <a:cubicBezTo>
                  <a:pt x="14312" y="2125"/>
                  <a:pt x="14312" y="2125"/>
                  <a:pt x="14312" y="2125"/>
                </a:cubicBezTo>
                <a:close/>
                <a:moveTo>
                  <a:pt x="14219" y="3750"/>
                </a:moveTo>
                <a:cubicBezTo>
                  <a:pt x="14219" y="3750"/>
                  <a:pt x="14219" y="3750"/>
                  <a:pt x="14219" y="3750"/>
                </a:cubicBezTo>
                <a:cubicBezTo>
                  <a:pt x="14219" y="3750"/>
                  <a:pt x="14219" y="3750"/>
                  <a:pt x="14219" y="3750"/>
                </a:cubicBezTo>
                <a:close/>
                <a:moveTo>
                  <a:pt x="14219" y="3750"/>
                </a:moveTo>
                <a:cubicBezTo>
                  <a:pt x="14219" y="3750"/>
                  <a:pt x="14219" y="3750"/>
                  <a:pt x="14219" y="3750"/>
                </a:cubicBezTo>
                <a:cubicBezTo>
                  <a:pt x="14219" y="3750"/>
                  <a:pt x="14219" y="3750"/>
                  <a:pt x="14219" y="3750"/>
                </a:cubicBezTo>
                <a:cubicBezTo>
                  <a:pt x="14219" y="3750"/>
                  <a:pt x="14219" y="3750"/>
                  <a:pt x="14219" y="3750"/>
                </a:cubicBezTo>
                <a:close/>
                <a:moveTo>
                  <a:pt x="14219" y="2437"/>
                </a:move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68"/>
                  <a:pt x="14219" y="2468"/>
                </a:cubicBezTo>
                <a:cubicBezTo>
                  <a:pt x="14187" y="2468"/>
                  <a:pt x="14187" y="2468"/>
                  <a:pt x="14187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312" y="2406"/>
                  <a:pt x="14375" y="2343"/>
                  <a:pt x="14437" y="2343"/>
                </a:cubicBezTo>
                <a:cubicBezTo>
                  <a:pt x="14375" y="2375"/>
                  <a:pt x="14312" y="2437"/>
                  <a:pt x="14219" y="2437"/>
                </a:cubicBezTo>
                <a:close/>
                <a:moveTo>
                  <a:pt x="16375" y="3218"/>
                </a:moveTo>
                <a:cubicBezTo>
                  <a:pt x="16187" y="3437"/>
                  <a:pt x="16000" y="3656"/>
                  <a:pt x="15812" y="3875"/>
                </a:cubicBezTo>
                <a:cubicBezTo>
                  <a:pt x="15656" y="4031"/>
                  <a:pt x="15531" y="4218"/>
                  <a:pt x="15375" y="4406"/>
                </a:cubicBezTo>
                <a:cubicBezTo>
                  <a:pt x="15344" y="4406"/>
                  <a:pt x="15344" y="4437"/>
                  <a:pt x="15312" y="4437"/>
                </a:cubicBezTo>
                <a:cubicBezTo>
                  <a:pt x="15281" y="4437"/>
                  <a:pt x="15281" y="4437"/>
                  <a:pt x="15281" y="4500"/>
                </a:cubicBezTo>
                <a:cubicBezTo>
                  <a:pt x="15281" y="4500"/>
                  <a:pt x="15281" y="4500"/>
                  <a:pt x="15281" y="4500"/>
                </a:cubicBezTo>
                <a:cubicBezTo>
                  <a:pt x="15281" y="4500"/>
                  <a:pt x="15281" y="4500"/>
                  <a:pt x="15281" y="4500"/>
                </a:cubicBezTo>
                <a:cubicBezTo>
                  <a:pt x="15281" y="4500"/>
                  <a:pt x="15281" y="4500"/>
                  <a:pt x="15281" y="4500"/>
                </a:cubicBezTo>
                <a:cubicBezTo>
                  <a:pt x="15250" y="4468"/>
                  <a:pt x="15219" y="4468"/>
                  <a:pt x="15219" y="4500"/>
                </a:cubicBezTo>
                <a:cubicBezTo>
                  <a:pt x="15187" y="4593"/>
                  <a:pt x="15125" y="4593"/>
                  <a:pt x="15062" y="4593"/>
                </a:cubicBezTo>
                <a:cubicBezTo>
                  <a:pt x="15094" y="4625"/>
                  <a:pt x="15031" y="4625"/>
                  <a:pt x="15000" y="4656"/>
                </a:cubicBezTo>
                <a:cubicBezTo>
                  <a:pt x="14875" y="4718"/>
                  <a:pt x="14750" y="4812"/>
                  <a:pt x="14625" y="4906"/>
                </a:cubicBezTo>
                <a:cubicBezTo>
                  <a:pt x="14781" y="4843"/>
                  <a:pt x="14969" y="4750"/>
                  <a:pt x="15125" y="4656"/>
                </a:cubicBezTo>
                <a:cubicBezTo>
                  <a:pt x="15187" y="4625"/>
                  <a:pt x="15219" y="4593"/>
                  <a:pt x="15250" y="4531"/>
                </a:cubicBezTo>
                <a:cubicBezTo>
                  <a:pt x="15219" y="4531"/>
                  <a:pt x="15219" y="4531"/>
                  <a:pt x="15219" y="4500"/>
                </a:cubicBezTo>
                <a:cubicBezTo>
                  <a:pt x="15156" y="4500"/>
                  <a:pt x="15094" y="4531"/>
                  <a:pt x="15062" y="4593"/>
                </a:cubicBezTo>
                <a:cubicBezTo>
                  <a:pt x="14937" y="4625"/>
                  <a:pt x="14812" y="4687"/>
                  <a:pt x="14719" y="4750"/>
                </a:cubicBezTo>
                <a:cubicBezTo>
                  <a:pt x="14594" y="4812"/>
                  <a:pt x="14469" y="4875"/>
                  <a:pt x="14312" y="4937"/>
                </a:cubicBezTo>
                <a:cubicBezTo>
                  <a:pt x="14437" y="4812"/>
                  <a:pt x="14625" y="4750"/>
                  <a:pt x="14781" y="4656"/>
                </a:cubicBezTo>
                <a:cubicBezTo>
                  <a:pt x="14812" y="4625"/>
                  <a:pt x="14812" y="4625"/>
                  <a:pt x="14781" y="4593"/>
                </a:cubicBezTo>
                <a:cubicBezTo>
                  <a:pt x="14750" y="4562"/>
                  <a:pt x="14687" y="4500"/>
                  <a:pt x="14781" y="4468"/>
                </a:cubicBezTo>
                <a:cubicBezTo>
                  <a:pt x="14844" y="4437"/>
                  <a:pt x="14875" y="4406"/>
                  <a:pt x="14937" y="4343"/>
                </a:cubicBezTo>
                <a:cubicBezTo>
                  <a:pt x="14906" y="4343"/>
                  <a:pt x="14906" y="4312"/>
                  <a:pt x="14875" y="4281"/>
                </a:cubicBezTo>
                <a:cubicBezTo>
                  <a:pt x="14906" y="4281"/>
                  <a:pt x="14937" y="4250"/>
                  <a:pt x="14969" y="4250"/>
                </a:cubicBezTo>
                <a:cubicBezTo>
                  <a:pt x="15031" y="4281"/>
                  <a:pt x="15062" y="4218"/>
                  <a:pt x="15062" y="4218"/>
                </a:cubicBezTo>
                <a:cubicBezTo>
                  <a:pt x="15094" y="4187"/>
                  <a:pt x="15031" y="4156"/>
                  <a:pt x="15000" y="4156"/>
                </a:cubicBezTo>
                <a:cubicBezTo>
                  <a:pt x="15125" y="4031"/>
                  <a:pt x="15250" y="4000"/>
                  <a:pt x="15375" y="3906"/>
                </a:cubicBezTo>
                <a:cubicBezTo>
                  <a:pt x="15094" y="4000"/>
                  <a:pt x="14812" y="4156"/>
                  <a:pt x="14562" y="4250"/>
                </a:cubicBezTo>
                <a:cubicBezTo>
                  <a:pt x="14625" y="4156"/>
                  <a:pt x="14781" y="4125"/>
                  <a:pt x="14875" y="4062"/>
                </a:cubicBezTo>
                <a:cubicBezTo>
                  <a:pt x="15000" y="3937"/>
                  <a:pt x="15125" y="3781"/>
                  <a:pt x="15312" y="3750"/>
                </a:cubicBezTo>
                <a:cubicBezTo>
                  <a:pt x="15219" y="3687"/>
                  <a:pt x="15156" y="3718"/>
                  <a:pt x="15062" y="3750"/>
                </a:cubicBezTo>
                <a:cubicBezTo>
                  <a:pt x="15031" y="3781"/>
                  <a:pt x="14969" y="3843"/>
                  <a:pt x="14937" y="3781"/>
                </a:cubicBezTo>
                <a:cubicBezTo>
                  <a:pt x="14937" y="3750"/>
                  <a:pt x="14906" y="3687"/>
                  <a:pt x="14969" y="3625"/>
                </a:cubicBezTo>
                <a:cubicBezTo>
                  <a:pt x="14969" y="3625"/>
                  <a:pt x="15031" y="3625"/>
                  <a:pt x="15031" y="3593"/>
                </a:cubicBezTo>
                <a:cubicBezTo>
                  <a:pt x="15062" y="3593"/>
                  <a:pt x="15094" y="3593"/>
                  <a:pt x="15094" y="3562"/>
                </a:cubicBezTo>
                <a:cubicBezTo>
                  <a:pt x="15062" y="3562"/>
                  <a:pt x="15031" y="3531"/>
                  <a:pt x="15000" y="3562"/>
                </a:cubicBezTo>
                <a:cubicBezTo>
                  <a:pt x="14969" y="3562"/>
                  <a:pt x="14937" y="3562"/>
                  <a:pt x="14937" y="3625"/>
                </a:cubicBezTo>
                <a:cubicBezTo>
                  <a:pt x="14844" y="3625"/>
                  <a:pt x="14781" y="3625"/>
                  <a:pt x="14687" y="3687"/>
                </a:cubicBezTo>
                <a:cubicBezTo>
                  <a:pt x="14687" y="3687"/>
                  <a:pt x="14656" y="3718"/>
                  <a:pt x="14656" y="3656"/>
                </a:cubicBezTo>
                <a:cubicBezTo>
                  <a:pt x="14656" y="3562"/>
                  <a:pt x="14594" y="3562"/>
                  <a:pt x="14531" y="3562"/>
                </a:cubicBezTo>
                <a:cubicBezTo>
                  <a:pt x="14687" y="3437"/>
                  <a:pt x="14844" y="3375"/>
                  <a:pt x="15031" y="3281"/>
                </a:cubicBezTo>
                <a:cubicBezTo>
                  <a:pt x="15094" y="3250"/>
                  <a:pt x="15187" y="3218"/>
                  <a:pt x="15219" y="3156"/>
                </a:cubicBezTo>
                <a:cubicBezTo>
                  <a:pt x="15250" y="3156"/>
                  <a:pt x="15281" y="3156"/>
                  <a:pt x="15281" y="3125"/>
                </a:cubicBezTo>
                <a:cubicBezTo>
                  <a:pt x="15281" y="3125"/>
                  <a:pt x="15281" y="3125"/>
                  <a:pt x="15281" y="3125"/>
                </a:cubicBezTo>
                <a:cubicBezTo>
                  <a:pt x="15250" y="3125"/>
                  <a:pt x="15250" y="3125"/>
                  <a:pt x="15219" y="3156"/>
                </a:cubicBezTo>
                <a:cubicBezTo>
                  <a:pt x="15062" y="3218"/>
                  <a:pt x="14906" y="3281"/>
                  <a:pt x="14719" y="3375"/>
                </a:cubicBezTo>
                <a:cubicBezTo>
                  <a:pt x="14750" y="3250"/>
                  <a:pt x="14844" y="3250"/>
                  <a:pt x="14906" y="3218"/>
                </a:cubicBezTo>
                <a:cubicBezTo>
                  <a:pt x="15125" y="3093"/>
                  <a:pt x="15344" y="3000"/>
                  <a:pt x="15562" y="2906"/>
                </a:cubicBezTo>
                <a:cubicBezTo>
                  <a:pt x="15625" y="2875"/>
                  <a:pt x="15625" y="2843"/>
                  <a:pt x="15594" y="2781"/>
                </a:cubicBezTo>
                <a:cubicBezTo>
                  <a:pt x="15625" y="2781"/>
                  <a:pt x="15625" y="2781"/>
                  <a:pt x="15656" y="2781"/>
                </a:cubicBezTo>
                <a:cubicBezTo>
                  <a:pt x="15625" y="2781"/>
                  <a:pt x="15594" y="2750"/>
                  <a:pt x="15594" y="2781"/>
                </a:cubicBezTo>
                <a:cubicBezTo>
                  <a:pt x="15562" y="2781"/>
                  <a:pt x="15562" y="2781"/>
                  <a:pt x="15562" y="2812"/>
                </a:cubicBezTo>
                <a:cubicBezTo>
                  <a:pt x="15562" y="2812"/>
                  <a:pt x="15562" y="2812"/>
                  <a:pt x="15562" y="2812"/>
                </a:cubicBezTo>
                <a:cubicBezTo>
                  <a:pt x="15562" y="2812"/>
                  <a:pt x="15562" y="2812"/>
                  <a:pt x="15562" y="2812"/>
                </a:cubicBezTo>
                <a:cubicBezTo>
                  <a:pt x="15406" y="2843"/>
                  <a:pt x="15281" y="2906"/>
                  <a:pt x="15156" y="2968"/>
                </a:cubicBezTo>
                <a:cubicBezTo>
                  <a:pt x="14937" y="3062"/>
                  <a:pt x="14719" y="3187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37" y="3312"/>
                  <a:pt x="14437" y="3343"/>
                  <a:pt x="14406" y="3312"/>
                </a:cubicBezTo>
                <a:cubicBezTo>
                  <a:pt x="14406" y="3312"/>
                  <a:pt x="14406" y="3312"/>
                  <a:pt x="14406" y="3312"/>
                </a:cubicBezTo>
                <a:cubicBezTo>
                  <a:pt x="14406" y="3281"/>
                  <a:pt x="14437" y="3312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594" y="3062"/>
                  <a:pt x="14812" y="3031"/>
                  <a:pt x="15000" y="2906"/>
                </a:cubicBezTo>
                <a:cubicBezTo>
                  <a:pt x="15062" y="2875"/>
                  <a:pt x="15156" y="2812"/>
                  <a:pt x="15156" y="2812"/>
                </a:cubicBezTo>
                <a:cubicBezTo>
                  <a:pt x="15125" y="2718"/>
                  <a:pt x="15219" y="2750"/>
                  <a:pt x="15250" y="2687"/>
                </a:cubicBezTo>
                <a:cubicBezTo>
                  <a:pt x="15281" y="2687"/>
                  <a:pt x="15281" y="2687"/>
                  <a:pt x="15281" y="2625"/>
                </a:cubicBezTo>
                <a:cubicBezTo>
                  <a:pt x="14937" y="2718"/>
                  <a:pt x="14625" y="2937"/>
                  <a:pt x="14281" y="3062"/>
                </a:cubicBezTo>
                <a:cubicBezTo>
                  <a:pt x="14375" y="2968"/>
                  <a:pt x="14562" y="2843"/>
                  <a:pt x="14687" y="2781"/>
                </a:cubicBezTo>
                <a:cubicBezTo>
                  <a:pt x="14781" y="2750"/>
                  <a:pt x="14906" y="2718"/>
                  <a:pt x="14969" y="2625"/>
                </a:cubicBezTo>
                <a:cubicBezTo>
                  <a:pt x="15000" y="2625"/>
                  <a:pt x="15031" y="2625"/>
                  <a:pt x="15062" y="2593"/>
                </a:cubicBezTo>
                <a:cubicBezTo>
                  <a:pt x="15000" y="2562"/>
                  <a:pt x="14969" y="2562"/>
                  <a:pt x="14969" y="2625"/>
                </a:cubicBezTo>
                <a:cubicBezTo>
                  <a:pt x="14937" y="2593"/>
                  <a:pt x="14875" y="2625"/>
                  <a:pt x="14937" y="2562"/>
                </a:cubicBezTo>
                <a:cubicBezTo>
                  <a:pt x="15031" y="2500"/>
                  <a:pt x="15125" y="2500"/>
                  <a:pt x="15219" y="2437"/>
                </a:cubicBezTo>
                <a:cubicBezTo>
                  <a:pt x="15250" y="2406"/>
                  <a:pt x="15312" y="2406"/>
                  <a:pt x="15312" y="2343"/>
                </a:cubicBezTo>
                <a:cubicBezTo>
                  <a:pt x="15312" y="2343"/>
                  <a:pt x="15344" y="2375"/>
                  <a:pt x="15375" y="2343"/>
                </a:cubicBezTo>
                <a:cubicBezTo>
                  <a:pt x="15344" y="2312"/>
                  <a:pt x="15312" y="2312"/>
                  <a:pt x="15312" y="2343"/>
                </a:cubicBezTo>
                <a:cubicBezTo>
                  <a:pt x="15125" y="2375"/>
                  <a:pt x="14969" y="2468"/>
                  <a:pt x="14812" y="2531"/>
                </a:cubicBezTo>
                <a:cubicBezTo>
                  <a:pt x="14781" y="2562"/>
                  <a:pt x="14750" y="2593"/>
                  <a:pt x="14687" y="2562"/>
                </a:cubicBezTo>
                <a:cubicBezTo>
                  <a:pt x="14844" y="2343"/>
                  <a:pt x="15125" y="2281"/>
                  <a:pt x="15312" y="2156"/>
                </a:cubicBezTo>
                <a:cubicBezTo>
                  <a:pt x="15250" y="2125"/>
                  <a:pt x="15219" y="2156"/>
                  <a:pt x="15187" y="2187"/>
                </a:cubicBezTo>
                <a:cubicBezTo>
                  <a:pt x="14969" y="2250"/>
                  <a:pt x="14781" y="2375"/>
                  <a:pt x="14562" y="2468"/>
                </a:cubicBezTo>
                <a:cubicBezTo>
                  <a:pt x="14531" y="2500"/>
                  <a:pt x="14469" y="2531"/>
                  <a:pt x="14469" y="2468"/>
                </a:cubicBezTo>
                <a:cubicBezTo>
                  <a:pt x="14437" y="2406"/>
                  <a:pt x="14500" y="2406"/>
                  <a:pt x="14531" y="2406"/>
                </a:cubicBezTo>
                <a:cubicBezTo>
                  <a:pt x="14781" y="2250"/>
                  <a:pt x="15000" y="2125"/>
                  <a:pt x="15250" y="2000"/>
                </a:cubicBezTo>
                <a:cubicBezTo>
                  <a:pt x="15281" y="2000"/>
                  <a:pt x="15281" y="1968"/>
                  <a:pt x="15281" y="1968"/>
                </a:cubicBezTo>
                <a:cubicBezTo>
                  <a:pt x="15281" y="1937"/>
                  <a:pt x="15312" y="1937"/>
                  <a:pt x="15344" y="1937"/>
                </a:cubicBezTo>
                <a:cubicBezTo>
                  <a:pt x="15344" y="1937"/>
                  <a:pt x="15344" y="1937"/>
                  <a:pt x="15344" y="1937"/>
                </a:cubicBezTo>
                <a:cubicBezTo>
                  <a:pt x="15406" y="1906"/>
                  <a:pt x="15437" y="1875"/>
                  <a:pt x="15500" y="1843"/>
                </a:cubicBezTo>
                <a:cubicBezTo>
                  <a:pt x="15469" y="1875"/>
                  <a:pt x="15437" y="1875"/>
                  <a:pt x="15406" y="1906"/>
                </a:cubicBezTo>
                <a:cubicBezTo>
                  <a:pt x="15437" y="1875"/>
                  <a:pt x="15469" y="1875"/>
                  <a:pt x="15500" y="1843"/>
                </a:cubicBezTo>
                <a:lnTo>
                  <a:pt x="15500" y="1843"/>
                </a:lnTo>
                <a:cubicBezTo>
                  <a:pt x="15531" y="1843"/>
                  <a:pt x="15562" y="1843"/>
                  <a:pt x="15625" y="1843"/>
                </a:cubicBezTo>
                <a:cubicBezTo>
                  <a:pt x="15625" y="1812"/>
                  <a:pt x="15625" y="1812"/>
                  <a:pt x="15625" y="1812"/>
                </a:cubicBezTo>
                <a:cubicBezTo>
                  <a:pt x="15625" y="1812"/>
                  <a:pt x="15656" y="1812"/>
                  <a:pt x="15656" y="1812"/>
                </a:cubicBezTo>
                <a:cubicBezTo>
                  <a:pt x="15656" y="1781"/>
                  <a:pt x="15687" y="1781"/>
                  <a:pt x="15719" y="1781"/>
                </a:cubicBezTo>
                <a:cubicBezTo>
                  <a:pt x="15750" y="1750"/>
                  <a:pt x="15781" y="1750"/>
                  <a:pt x="15812" y="1750"/>
                </a:cubicBezTo>
                <a:cubicBezTo>
                  <a:pt x="15844" y="1718"/>
                  <a:pt x="15875" y="1718"/>
                  <a:pt x="15906" y="1718"/>
                </a:cubicBezTo>
                <a:lnTo>
                  <a:pt x="15906" y="1718"/>
                </a:lnTo>
                <a:cubicBezTo>
                  <a:pt x="15875" y="1750"/>
                  <a:pt x="15844" y="1750"/>
                  <a:pt x="15812" y="1750"/>
                </a:cubicBezTo>
                <a:cubicBezTo>
                  <a:pt x="15781" y="1812"/>
                  <a:pt x="15750" y="1781"/>
                  <a:pt x="15719" y="1781"/>
                </a:cubicBezTo>
                <a:cubicBezTo>
                  <a:pt x="15687" y="1843"/>
                  <a:pt x="15656" y="1812"/>
                  <a:pt x="15625" y="1843"/>
                </a:cubicBezTo>
                <a:cubicBezTo>
                  <a:pt x="15500" y="1906"/>
                  <a:pt x="15406" y="1937"/>
                  <a:pt x="15281" y="1968"/>
                </a:cubicBezTo>
                <a:cubicBezTo>
                  <a:pt x="15187" y="1968"/>
                  <a:pt x="15125" y="2062"/>
                  <a:pt x="15031" y="2062"/>
                </a:cubicBezTo>
                <a:cubicBezTo>
                  <a:pt x="15000" y="2062"/>
                  <a:pt x="14969" y="2093"/>
                  <a:pt x="14969" y="2062"/>
                </a:cubicBezTo>
                <a:cubicBezTo>
                  <a:pt x="14969" y="2062"/>
                  <a:pt x="14969" y="2031"/>
                  <a:pt x="14969" y="2031"/>
                </a:cubicBezTo>
                <a:cubicBezTo>
                  <a:pt x="14969" y="2031"/>
                  <a:pt x="14969" y="2031"/>
                  <a:pt x="14969" y="2031"/>
                </a:cubicBezTo>
                <a:cubicBezTo>
                  <a:pt x="14969" y="2031"/>
                  <a:pt x="14969" y="2031"/>
                  <a:pt x="14969" y="2031"/>
                </a:cubicBezTo>
                <a:cubicBezTo>
                  <a:pt x="14969" y="2031"/>
                  <a:pt x="14969" y="2031"/>
                  <a:pt x="14969" y="2031"/>
                </a:cubicBezTo>
                <a:cubicBezTo>
                  <a:pt x="14969" y="2031"/>
                  <a:pt x="15000" y="2031"/>
                  <a:pt x="15000" y="2031"/>
                </a:cubicBezTo>
                <a:cubicBezTo>
                  <a:pt x="15000" y="2031"/>
                  <a:pt x="15031" y="2062"/>
                  <a:pt x="15031" y="2062"/>
                </a:cubicBezTo>
                <a:cubicBezTo>
                  <a:pt x="15031" y="2062"/>
                  <a:pt x="15000" y="2031"/>
                  <a:pt x="15000" y="2031"/>
                </a:cubicBezTo>
                <a:cubicBezTo>
                  <a:pt x="15094" y="1968"/>
                  <a:pt x="15219" y="1906"/>
                  <a:pt x="15312" y="1875"/>
                </a:cubicBezTo>
                <a:cubicBezTo>
                  <a:pt x="15312" y="1875"/>
                  <a:pt x="15312" y="1875"/>
                  <a:pt x="15312" y="1875"/>
                </a:cubicBezTo>
                <a:cubicBezTo>
                  <a:pt x="15312" y="1843"/>
                  <a:pt x="15281" y="1843"/>
                  <a:pt x="15250" y="1875"/>
                </a:cubicBezTo>
                <a:cubicBezTo>
                  <a:pt x="15219" y="1906"/>
                  <a:pt x="15156" y="1906"/>
                  <a:pt x="15125" y="1843"/>
                </a:cubicBezTo>
                <a:cubicBezTo>
                  <a:pt x="15219" y="1781"/>
                  <a:pt x="15344" y="1750"/>
                  <a:pt x="15437" y="1687"/>
                </a:cubicBezTo>
                <a:cubicBezTo>
                  <a:pt x="15406" y="1687"/>
                  <a:pt x="15375" y="1687"/>
                  <a:pt x="15344" y="1718"/>
                </a:cubicBezTo>
                <a:cubicBezTo>
                  <a:pt x="15312" y="1718"/>
                  <a:pt x="15281" y="1718"/>
                  <a:pt x="15250" y="1750"/>
                </a:cubicBezTo>
                <a:cubicBezTo>
                  <a:pt x="15281" y="1718"/>
                  <a:pt x="15312" y="1718"/>
                  <a:pt x="15344" y="1718"/>
                </a:cubicBezTo>
                <a:cubicBezTo>
                  <a:pt x="15187" y="1750"/>
                  <a:pt x="15094" y="1812"/>
                  <a:pt x="14937" y="1875"/>
                </a:cubicBezTo>
                <a:cubicBezTo>
                  <a:pt x="14750" y="1968"/>
                  <a:pt x="14562" y="2093"/>
                  <a:pt x="14375" y="2156"/>
                </a:cubicBezTo>
                <a:cubicBezTo>
                  <a:pt x="14281" y="2218"/>
                  <a:pt x="14219" y="2281"/>
                  <a:pt x="14094" y="2281"/>
                </a:cubicBezTo>
                <a:cubicBezTo>
                  <a:pt x="14187" y="2250"/>
                  <a:pt x="14250" y="2156"/>
                  <a:pt x="14375" y="2125"/>
                </a:cubicBezTo>
                <a:cubicBezTo>
                  <a:pt x="14375" y="2125"/>
                  <a:pt x="14375" y="2125"/>
                  <a:pt x="14375" y="2156"/>
                </a:cubicBezTo>
                <a:cubicBezTo>
                  <a:pt x="14375" y="2125"/>
                  <a:pt x="14375" y="2125"/>
                  <a:pt x="14375" y="2125"/>
                </a:cubicBezTo>
                <a:cubicBezTo>
                  <a:pt x="14500" y="2000"/>
                  <a:pt x="14687" y="1937"/>
                  <a:pt x="14875" y="1843"/>
                </a:cubicBezTo>
                <a:cubicBezTo>
                  <a:pt x="14937" y="1812"/>
                  <a:pt x="15031" y="1781"/>
                  <a:pt x="15125" y="1718"/>
                </a:cubicBezTo>
                <a:cubicBezTo>
                  <a:pt x="15062" y="1687"/>
                  <a:pt x="15000" y="1750"/>
                  <a:pt x="14969" y="1687"/>
                </a:cubicBezTo>
                <a:cubicBezTo>
                  <a:pt x="14937" y="1656"/>
                  <a:pt x="15031" y="1656"/>
                  <a:pt x="15031" y="1593"/>
                </a:cubicBezTo>
                <a:cubicBezTo>
                  <a:pt x="15031" y="1593"/>
                  <a:pt x="15062" y="1593"/>
                  <a:pt x="15062" y="1593"/>
                </a:cubicBezTo>
                <a:cubicBezTo>
                  <a:pt x="15187" y="1562"/>
                  <a:pt x="15312" y="1531"/>
                  <a:pt x="15406" y="1437"/>
                </a:cubicBezTo>
                <a:cubicBezTo>
                  <a:pt x="15594" y="1312"/>
                  <a:pt x="15812" y="1250"/>
                  <a:pt x="16031" y="1187"/>
                </a:cubicBezTo>
                <a:cubicBezTo>
                  <a:pt x="16031" y="1187"/>
                  <a:pt x="16062" y="1187"/>
                  <a:pt x="16094" y="1187"/>
                </a:cubicBezTo>
                <a:cubicBezTo>
                  <a:pt x="16125" y="1218"/>
                  <a:pt x="16156" y="1187"/>
                  <a:pt x="16219" y="1187"/>
                </a:cubicBezTo>
                <a:cubicBezTo>
                  <a:pt x="16312" y="1187"/>
                  <a:pt x="16406" y="1125"/>
                  <a:pt x="16531" y="1156"/>
                </a:cubicBezTo>
                <a:cubicBezTo>
                  <a:pt x="16500" y="1187"/>
                  <a:pt x="16469" y="1187"/>
                  <a:pt x="16469" y="1187"/>
                </a:cubicBezTo>
                <a:cubicBezTo>
                  <a:pt x="16437" y="1218"/>
                  <a:pt x="16375" y="1218"/>
                  <a:pt x="16375" y="1250"/>
                </a:cubicBezTo>
                <a:cubicBezTo>
                  <a:pt x="16406" y="1312"/>
                  <a:pt x="16437" y="1281"/>
                  <a:pt x="16469" y="1281"/>
                </a:cubicBezTo>
                <a:cubicBezTo>
                  <a:pt x="16531" y="1281"/>
                  <a:pt x="16594" y="1250"/>
                  <a:pt x="16656" y="1281"/>
                </a:cubicBezTo>
                <a:cubicBezTo>
                  <a:pt x="16625" y="1343"/>
                  <a:pt x="16531" y="1312"/>
                  <a:pt x="16469" y="1343"/>
                </a:cubicBezTo>
                <a:cubicBezTo>
                  <a:pt x="16406" y="1375"/>
                  <a:pt x="16469" y="1468"/>
                  <a:pt x="16375" y="1468"/>
                </a:cubicBezTo>
                <a:cubicBezTo>
                  <a:pt x="16531" y="1500"/>
                  <a:pt x="16625" y="1437"/>
                  <a:pt x="16750" y="1468"/>
                </a:cubicBezTo>
                <a:cubicBezTo>
                  <a:pt x="16594" y="1500"/>
                  <a:pt x="16469" y="1562"/>
                  <a:pt x="16344" y="1562"/>
                </a:cubicBezTo>
                <a:cubicBezTo>
                  <a:pt x="16312" y="1562"/>
                  <a:pt x="16312" y="1593"/>
                  <a:pt x="16281" y="1593"/>
                </a:cubicBezTo>
                <a:cubicBezTo>
                  <a:pt x="16312" y="1593"/>
                  <a:pt x="16344" y="1593"/>
                  <a:pt x="16375" y="1593"/>
                </a:cubicBezTo>
                <a:cubicBezTo>
                  <a:pt x="16344" y="1593"/>
                  <a:pt x="16312" y="1593"/>
                  <a:pt x="16281" y="1593"/>
                </a:cubicBezTo>
                <a:cubicBezTo>
                  <a:pt x="16281" y="1593"/>
                  <a:pt x="16281" y="1625"/>
                  <a:pt x="16281" y="1625"/>
                </a:cubicBezTo>
                <a:cubicBezTo>
                  <a:pt x="16250" y="1656"/>
                  <a:pt x="16219" y="1625"/>
                  <a:pt x="16156" y="1625"/>
                </a:cubicBezTo>
                <a:cubicBezTo>
                  <a:pt x="16125" y="1687"/>
                  <a:pt x="16062" y="1656"/>
                  <a:pt x="16031" y="1687"/>
                </a:cubicBezTo>
                <a:cubicBezTo>
                  <a:pt x="16000" y="1718"/>
                  <a:pt x="16000" y="1718"/>
                  <a:pt x="15969" y="1687"/>
                </a:cubicBezTo>
                <a:cubicBezTo>
                  <a:pt x="16000" y="1687"/>
                  <a:pt x="16000" y="1687"/>
                  <a:pt x="16031" y="1687"/>
                </a:cubicBezTo>
                <a:cubicBezTo>
                  <a:pt x="16031" y="1687"/>
                  <a:pt x="16031" y="1656"/>
                  <a:pt x="16031" y="1656"/>
                </a:cubicBezTo>
                <a:lnTo>
                  <a:pt x="16033" y="1656"/>
                </a:lnTo>
                <a:lnTo>
                  <a:pt x="16033" y="1656"/>
                </a:lnTo>
                <a:lnTo>
                  <a:pt x="16034" y="1656"/>
                </a:lnTo>
                <a:lnTo>
                  <a:pt x="16034" y="1656"/>
                </a:lnTo>
                <a:lnTo>
                  <a:pt x="16035" y="1656"/>
                </a:lnTo>
                <a:lnTo>
                  <a:pt x="16035" y="1656"/>
                </a:lnTo>
                <a:lnTo>
                  <a:pt x="16037" y="1656"/>
                </a:lnTo>
                <a:lnTo>
                  <a:pt x="16037" y="1656"/>
                </a:lnTo>
                <a:lnTo>
                  <a:pt x="16038" y="1656"/>
                </a:lnTo>
                <a:lnTo>
                  <a:pt x="16038" y="1656"/>
                </a:lnTo>
                <a:lnTo>
                  <a:pt x="16039" y="1656"/>
                </a:lnTo>
                <a:lnTo>
                  <a:pt x="16040" y="1656"/>
                </a:lnTo>
                <a:lnTo>
                  <a:pt x="16040" y="1656"/>
                </a:lnTo>
                <a:lnTo>
                  <a:pt x="16041" y="1656"/>
                </a:lnTo>
                <a:lnTo>
                  <a:pt x="16041" y="1656"/>
                </a:lnTo>
                <a:lnTo>
                  <a:pt x="16043" y="1656"/>
                </a:lnTo>
                <a:lnTo>
                  <a:pt x="16043" y="1656"/>
                </a:lnTo>
                <a:lnTo>
                  <a:pt x="16044" y="1656"/>
                </a:lnTo>
                <a:lnTo>
                  <a:pt x="16044" y="1656"/>
                </a:lnTo>
                <a:lnTo>
                  <a:pt x="16045" y="1656"/>
                </a:lnTo>
                <a:lnTo>
                  <a:pt x="16046" y="1656"/>
                </a:lnTo>
                <a:lnTo>
                  <a:pt x="16046" y="1656"/>
                </a:lnTo>
                <a:lnTo>
                  <a:pt x="16047" y="1656"/>
                </a:lnTo>
                <a:lnTo>
                  <a:pt x="16047" y="1656"/>
                </a:lnTo>
                <a:lnTo>
                  <a:pt x="16048" y="1656"/>
                </a:lnTo>
                <a:lnTo>
                  <a:pt x="16048" y="1656"/>
                </a:lnTo>
                <a:lnTo>
                  <a:pt x="16049" y="1656"/>
                </a:lnTo>
                <a:lnTo>
                  <a:pt x="16050" y="1656"/>
                </a:lnTo>
                <a:lnTo>
                  <a:pt x="16050" y="1656"/>
                </a:lnTo>
                <a:lnTo>
                  <a:pt x="16051" y="1656"/>
                </a:lnTo>
                <a:lnTo>
                  <a:pt x="16051" y="1656"/>
                </a:lnTo>
                <a:lnTo>
                  <a:pt x="16051" y="1656"/>
                </a:lnTo>
                <a:lnTo>
                  <a:pt x="16052" y="1656"/>
                </a:lnTo>
                <a:lnTo>
                  <a:pt x="16053" y="1656"/>
                </a:lnTo>
                <a:lnTo>
                  <a:pt x="16053" y="1656"/>
                </a:lnTo>
                <a:lnTo>
                  <a:pt x="16054" y="1656"/>
                </a:lnTo>
                <a:lnTo>
                  <a:pt x="16054" y="1656"/>
                </a:lnTo>
                <a:lnTo>
                  <a:pt x="16055" y="1656"/>
                </a:lnTo>
                <a:lnTo>
                  <a:pt x="16055" y="1656"/>
                </a:lnTo>
                <a:lnTo>
                  <a:pt x="16056" y="1656"/>
                </a:lnTo>
                <a:lnTo>
                  <a:pt x="16056" y="1656"/>
                </a:lnTo>
                <a:lnTo>
                  <a:pt x="16057" y="1656"/>
                </a:lnTo>
                <a:lnTo>
                  <a:pt x="16057" y="1656"/>
                </a:lnTo>
                <a:lnTo>
                  <a:pt x="16058" y="1656"/>
                </a:lnTo>
                <a:lnTo>
                  <a:pt x="16058" y="1656"/>
                </a:lnTo>
                <a:lnTo>
                  <a:pt x="16059" y="1656"/>
                </a:lnTo>
                <a:lnTo>
                  <a:pt x="16059" y="1656"/>
                </a:lnTo>
                <a:lnTo>
                  <a:pt x="16059" y="1656"/>
                </a:lnTo>
                <a:lnTo>
                  <a:pt x="16060" y="1656"/>
                </a:lnTo>
                <a:lnTo>
                  <a:pt x="16061" y="1656"/>
                </a:lnTo>
                <a:lnTo>
                  <a:pt x="16061" y="1656"/>
                </a:lnTo>
                <a:lnTo>
                  <a:pt x="16062" y="1656"/>
                </a:lnTo>
                <a:lnTo>
                  <a:pt x="16062" y="1656"/>
                </a:lnTo>
                <a:lnTo>
                  <a:pt x="16062" y="1656"/>
                </a:lnTo>
                <a:lnTo>
                  <a:pt x="16063" y="1656"/>
                </a:lnTo>
                <a:lnTo>
                  <a:pt x="16063" y="1656"/>
                </a:lnTo>
                <a:lnTo>
                  <a:pt x="16064" y="1656"/>
                </a:lnTo>
                <a:lnTo>
                  <a:pt x="16065" y="1656"/>
                </a:lnTo>
                <a:lnTo>
                  <a:pt x="16065" y="1656"/>
                </a:lnTo>
                <a:lnTo>
                  <a:pt x="16065" y="1656"/>
                </a:lnTo>
                <a:lnTo>
                  <a:pt x="16066" y="1656"/>
                </a:lnTo>
                <a:lnTo>
                  <a:pt x="16066" y="1656"/>
                </a:lnTo>
                <a:lnTo>
                  <a:pt x="16067" y="1656"/>
                </a:lnTo>
                <a:lnTo>
                  <a:pt x="16067" y="1656"/>
                </a:lnTo>
                <a:lnTo>
                  <a:pt x="16068" y="1656"/>
                </a:lnTo>
                <a:lnTo>
                  <a:pt x="16068" y="1656"/>
                </a:lnTo>
                <a:lnTo>
                  <a:pt x="16068" y="1656"/>
                </a:lnTo>
                <a:lnTo>
                  <a:pt x="16069" y="1656"/>
                </a:lnTo>
                <a:lnTo>
                  <a:pt x="16070" y="1656"/>
                </a:lnTo>
                <a:lnTo>
                  <a:pt x="16070" y="1656"/>
                </a:lnTo>
                <a:lnTo>
                  <a:pt x="16071" y="1656"/>
                </a:lnTo>
                <a:lnTo>
                  <a:pt x="16071" y="1656"/>
                </a:lnTo>
                <a:lnTo>
                  <a:pt x="16072" y="1656"/>
                </a:lnTo>
                <a:lnTo>
                  <a:pt x="16072" y="1656"/>
                </a:lnTo>
                <a:lnTo>
                  <a:pt x="16072" y="1656"/>
                </a:lnTo>
                <a:lnTo>
                  <a:pt x="16073" y="1656"/>
                </a:lnTo>
                <a:lnTo>
                  <a:pt x="16073" y="1656"/>
                </a:lnTo>
                <a:lnTo>
                  <a:pt x="16074" y="1656"/>
                </a:lnTo>
                <a:lnTo>
                  <a:pt x="16074" y="1656"/>
                </a:lnTo>
                <a:lnTo>
                  <a:pt x="16075" y="1656"/>
                </a:lnTo>
                <a:lnTo>
                  <a:pt x="16075" y="1656"/>
                </a:lnTo>
                <a:lnTo>
                  <a:pt x="16076" y="1656"/>
                </a:lnTo>
                <a:lnTo>
                  <a:pt x="16076" y="1656"/>
                </a:lnTo>
                <a:lnTo>
                  <a:pt x="16077" y="1656"/>
                </a:lnTo>
                <a:lnTo>
                  <a:pt x="16077" y="1656"/>
                </a:lnTo>
                <a:lnTo>
                  <a:pt x="16078" y="1656"/>
                </a:lnTo>
                <a:lnTo>
                  <a:pt x="16078" y="1656"/>
                </a:lnTo>
                <a:lnTo>
                  <a:pt x="16079" y="1656"/>
                </a:lnTo>
                <a:lnTo>
                  <a:pt x="16079" y="1656"/>
                </a:lnTo>
                <a:lnTo>
                  <a:pt x="16080" y="1656"/>
                </a:lnTo>
                <a:lnTo>
                  <a:pt x="16080" y="1656"/>
                </a:lnTo>
                <a:lnTo>
                  <a:pt x="16081" y="1656"/>
                </a:lnTo>
                <a:lnTo>
                  <a:pt x="16081" y="1656"/>
                </a:lnTo>
                <a:lnTo>
                  <a:pt x="16082" y="1656"/>
                </a:lnTo>
                <a:lnTo>
                  <a:pt x="16082" y="1656"/>
                </a:lnTo>
                <a:lnTo>
                  <a:pt x="16083" y="1656"/>
                </a:lnTo>
                <a:lnTo>
                  <a:pt x="16083" y="1656"/>
                </a:lnTo>
                <a:lnTo>
                  <a:pt x="16084" y="1656"/>
                </a:lnTo>
                <a:lnTo>
                  <a:pt x="16084" y="1656"/>
                </a:lnTo>
                <a:lnTo>
                  <a:pt x="16085" y="1656"/>
                </a:lnTo>
                <a:lnTo>
                  <a:pt x="16085" y="1656"/>
                </a:lnTo>
                <a:lnTo>
                  <a:pt x="16086" y="1656"/>
                </a:lnTo>
                <a:lnTo>
                  <a:pt x="16086" y="1656"/>
                </a:lnTo>
                <a:lnTo>
                  <a:pt x="16087" y="1656"/>
                </a:lnTo>
                <a:lnTo>
                  <a:pt x="16087" y="1656"/>
                </a:lnTo>
                <a:lnTo>
                  <a:pt x="16088" y="1656"/>
                </a:lnTo>
                <a:lnTo>
                  <a:pt x="16088" y="1656"/>
                </a:lnTo>
                <a:lnTo>
                  <a:pt x="16088" y="1656"/>
                </a:lnTo>
                <a:lnTo>
                  <a:pt x="16089" y="1656"/>
                </a:lnTo>
                <a:lnTo>
                  <a:pt x="16089" y="1656"/>
                </a:lnTo>
                <a:lnTo>
                  <a:pt x="16089" y="1656"/>
                </a:lnTo>
                <a:lnTo>
                  <a:pt x="16090" y="1656"/>
                </a:lnTo>
                <a:lnTo>
                  <a:pt x="16091" y="1656"/>
                </a:lnTo>
                <a:lnTo>
                  <a:pt x="16091" y="1656"/>
                </a:lnTo>
                <a:lnTo>
                  <a:pt x="16091" y="1656"/>
                </a:lnTo>
                <a:lnTo>
                  <a:pt x="16091" y="1656"/>
                </a:lnTo>
                <a:lnTo>
                  <a:pt x="16092" y="1656"/>
                </a:lnTo>
                <a:lnTo>
                  <a:pt x="16092" y="1656"/>
                </a:lnTo>
                <a:lnTo>
                  <a:pt x="16092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4" y="1656"/>
                </a:lnTo>
                <a:lnTo>
                  <a:pt x="16094" y="1656"/>
                </a:lnTo>
                <a:lnTo>
                  <a:pt x="16094" y="1656"/>
                </a:lnTo>
                <a:cubicBezTo>
                  <a:pt x="16125" y="1656"/>
                  <a:pt x="16156" y="1656"/>
                  <a:pt x="16156" y="1625"/>
                </a:cubicBezTo>
                <a:cubicBezTo>
                  <a:pt x="16187" y="1625"/>
                  <a:pt x="16187" y="1625"/>
                  <a:pt x="16187" y="1625"/>
                </a:cubicBezTo>
                <a:cubicBezTo>
                  <a:pt x="16187" y="1625"/>
                  <a:pt x="16219" y="1625"/>
                  <a:pt x="16219" y="1625"/>
                </a:cubicBezTo>
                <a:cubicBezTo>
                  <a:pt x="16250" y="1625"/>
                  <a:pt x="16250" y="1625"/>
                  <a:pt x="16281" y="1625"/>
                </a:cubicBezTo>
                <a:cubicBezTo>
                  <a:pt x="16375" y="1625"/>
                  <a:pt x="16500" y="1593"/>
                  <a:pt x="16594" y="1625"/>
                </a:cubicBezTo>
                <a:cubicBezTo>
                  <a:pt x="16562" y="1656"/>
                  <a:pt x="16531" y="1625"/>
                  <a:pt x="16500" y="1656"/>
                </a:cubicBezTo>
                <a:cubicBezTo>
                  <a:pt x="16594" y="1750"/>
                  <a:pt x="16406" y="1687"/>
                  <a:pt x="16469" y="1750"/>
                </a:cubicBezTo>
                <a:cubicBezTo>
                  <a:pt x="16562" y="1781"/>
                  <a:pt x="16687" y="1718"/>
                  <a:pt x="16781" y="1812"/>
                </a:cubicBezTo>
                <a:cubicBezTo>
                  <a:pt x="16750" y="1843"/>
                  <a:pt x="16687" y="1875"/>
                  <a:pt x="16625" y="1937"/>
                </a:cubicBezTo>
                <a:cubicBezTo>
                  <a:pt x="16687" y="1937"/>
                  <a:pt x="16750" y="1937"/>
                  <a:pt x="16844" y="1937"/>
                </a:cubicBezTo>
                <a:cubicBezTo>
                  <a:pt x="16781" y="2000"/>
                  <a:pt x="16750" y="1937"/>
                  <a:pt x="16719" y="2000"/>
                </a:cubicBezTo>
                <a:cubicBezTo>
                  <a:pt x="16781" y="2031"/>
                  <a:pt x="16906" y="1937"/>
                  <a:pt x="16969" y="2062"/>
                </a:cubicBezTo>
                <a:cubicBezTo>
                  <a:pt x="16844" y="2093"/>
                  <a:pt x="16719" y="2156"/>
                  <a:pt x="16594" y="2187"/>
                </a:cubicBezTo>
                <a:cubicBezTo>
                  <a:pt x="16687" y="2281"/>
                  <a:pt x="16875" y="2187"/>
                  <a:pt x="16969" y="2343"/>
                </a:cubicBezTo>
                <a:cubicBezTo>
                  <a:pt x="16937" y="2375"/>
                  <a:pt x="16875" y="2343"/>
                  <a:pt x="16844" y="2375"/>
                </a:cubicBezTo>
                <a:cubicBezTo>
                  <a:pt x="16906" y="2406"/>
                  <a:pt x="16937" y="2406"/>
                  <a:pt x="17000" y="2406"/>
                </a:cubicBezTo>
                <a:cubicBezTo>
                  <a:pt x="16812" y="2718"/>
                  <a:pt x="16594" y="2968"/>
                  <a:pt x="16375" y="3218"/>
                </a:cubicBezTo>
                <a:close/>
                <a:moveTo>
                  <a:pt x="14812" y="3156"/>
                </a:moveTo>
                <a:cubicBezTo>
                  <a:pt x="14812" y="3156"/>
                  <a:pt x="14812" y="3156"/>
                  <a:pt x="14812" y="3156"/>
                </a:cubicBezTo>
                <a:cubicBezTo>
                  <a:pt x="14812" y="3156"/>
                  <a:pt x="14812" y="3156"/>
                  <a:pt x="14812" y="3156"/>
                </a:cubicBezTo>
                <a:cubicBezTo>
                  <a:pt x="14812" y="3156"/>
                  <a:pt x="14812" y="3156"/>
                  <a:pt x="14812" y="3156"/>
                </a:cubicBezTo>
                <a:close/>
                <a:moveTo>
                  <a:pt x="14844" y="3156"/>
                </a:moveTo>
                <a:cubicBezTo>
                  <a:pt x="14844" y="3156"/>
                  <a:pt x="14875" y="3156"/>
                  <a:pt x="14875" y="3156"/>
                </a:cubicBezTo>
                <a:cubicBezTo>
                  <a:pt x="14875" y="3156"/>
                  <a:pt x="14875" y="3156"/>
                  <a:pt x="14875" y="3187"/>
                </a:cubicBezTo>
                <a:cubicBezTo>
                  <a:pt x="14875" y="3187"/>
                  <a:pt x="14875" y="3187"/>
                  <a:pt x="14875" y="3187"/>
                </a:cubicBezTo>
                <a:cubicBezTo>
                  <a:pt x="14844" y="3187"/>
                  <a:pt x="14844" y="3156"/>
                  <a:pt x="14844" y="3156"/>
                </a:cubicBezTo>
                <a:close/>
                <a:moveTo>
                  <a:pt x="14406" y="3281"/>
                </a:moveTo>
                <a:cubicBezTo>
                  <a:pt x="14469" y="3187"/>
                  <a:pt x="14531" y="3125"/>
                  <a:pt x="14594" y="3093"/>
                </a:cubicBezTo>
                <a:cubicBezTo>
                  <a:pt x="14531" y="3125"/>
                  <a:pt x="14469" y="3187"/>
                  <a:pt x="14406" y="3281"/>
                </a:cubicBezTo>
                <a:cubicBezTo>
                  <a:pt x="14406" y="3281"/>
                  <a:pt x="14406" y="3281"/>
                  <a:pt x="14406" y="3281"/>
                </a:cubicBezTo>
                <a:close/>
                <a:moveTo>
                  <a:pt x="17094" y="1625"/>
                </a:moveTo>
                <a:cubicBezTo>
                  <a:pt x="17062" y="1593"/>
                  <a:pt x="17031" y="1593"/>
                  <a:pt x="17000" y="1593"/>
                </a:cubicBezTo>
                <a:cubicBezTo>
                  <a:pt x="17031" y="1593"/>
                  <a:pt x="17062" y="1593"/>
                  <a:pt x="17125" y="1625"/>
                </a:cubicBezTo>
                <a:cubicBezTo>
                  <a:pt x="17125" y="1625"/>
                  <a:pt x="17125" y="1625"/>
                  <a:pt x="17094" y="1625"/>
                </a:cubicBezTo>
                <a:close/>
                <a:moveTo>
                  <a:pt x="17187" y="1625"/>
                </a:moveTo>
                <a:cubicBezTo>
                  <a:pt x="17187" y="1625"/>
                  <a:pt x="17187" y="1625"/>
                  <a:pt x="17187" y="1625"/>
                </a:cubicBezTo>
                <a:cubicBezTo>
                  <a:pt x="17187" y="1625"/>
                  <a:pt x="17187" y="1625"/>
                  <a:pt x="17187" y="1625"/>
                </a:cubicBezTo>
                <a:cubicBezTo>
                  <a:pt x="17187" y="1625"/>
                  <a:pt x="17187" y="1625"/>
                  <a:pt x="17187" y="1625"/>
                </a:cubicBezTo>
                <a:close/>
                <a:moveTo>
                  <a:pt x="17625" y="8906"/>
                </a:moveTo>
                <a:cubicBezTo>
                  <a:pt x="17625" y="8906"/>
                  <a:pt x="17625" y="8906"/>
                  <a:pt x="17625" y="8906"/>
                </a:cubicBezTo>
                <a:cubicBezTo>
                  <a:pt x="17625" y="8906"/>
                  <a:pt x="17625" y="8906"/>
                  <a:pt x="17625" y="8906"/>
                </a:cubicBezTo>
                <a:cubicBezTo>
                  <a:pt x="17625" y="8906"/>
                  <a:pt x="17625" y="8906"/>
                  <a:pt x="17625" y="8906"/>
                </a:cubicBezTo>
                <a:close/>
                <a:moveTo>
                  <a:pt x="18062" y="8781"/>
                </a:moveTo>
                <a:cubicBezTo>
                  <a:pt x="17969" y="8812"/>
                  <a:pt x="17906" y="8843"/>
                  <a:pt x="17844" y="8875"/>
                </a:cubicBezTo>
                <a:cubicBezTo>
                  <a:pt x="17906" y="8843"/>
                  <a:pt x="17969" y="8812"/>
                  <a:pt x="18062" y="8781"/>
                </a:cubicBezTo>
                <a:cubicBezTo>
                  <a:pt x="18062" y="8750"/>
                  <a:pt x="18062" y="8718"/>
                  <a:pt x="18094" y="8718"/>
                </a:cubicBezTo>
                <a:cubicBezTo>
                  <a:pt x="18062" y="8718"/>
                  <a:pt x="18062" y="8750"/>
                  <a:pt x="18062" y="8781"/>
                </a:cubicBezTo>
                <a:close/>
                <a:moveTo>
                  <a:pt x="18219" y="8218"/>
                </a:moveTo>
                <a:cubicBezTo>
                  <a:pt x="18219" y="8218"/>
                  <a:pt x="18219" y="8218"/>
                  <a:pt x="18219" y="8218"/>
                </a:cubicBezTo>
                <a:cubicBezTo>
                  <a:pt x="18219" y="8218"/>
                  <a:pt x="18219" y="8218"/>
                  <a:pt x="18219" y="8218"/>
                </a:cubicBezTo>
                <a:close/>
                <a:moveTo>
                  <a:pt x="18344" y="8156"/>
                </a:moveTo>
                <a:cubicBezTo>
                  <a:pt x="18344" y="8156"/>
                  <a:pt x="18344" y="8156"/>
                  <a:pt x="18344" y="8156"/>
                </a:cubicBezTo>
                <a:cubicBezTo>
                  <a:pt x="18344" y="8156"/>
                  <a:pt x="18344" y="8156"/>
                  <a:pt x="18344" y="8156"/>
                </a:cubicBezTo>
                <a:close/>
                <a:moveTo>
                  <a:pt x="18437" y="7812"/>
                </a:moveTo>
                <a:cubicBezTo>
                  <a:pt x="18437" y="7812"/>
                  <a:pt x="18437" y="7812"/>
                  <a:pt x="18437" y="7812"/>
                </a:cubicBezTo>
                <a:cubicBezTo>
                  <a:pt x="18437" y="7812"/>
                  <a:pt x="18437" y="7812"/>
                  <a:pt x="18437" y="7812"/>
                </a:cubicBezTo>
                <a:cubicBezTo>
                  <a:pt x="18437" y="7812"/>
                  <a:pt x="18437" y="7812"/>
                  <a:pt x="18437" y="7812"/>
                </a:cubicBezTo>
                <a:close/>
                <a:moveTo>
                  <a:pt x="18500" y="8218"/>
                </a:moveTo>
                <a:cubicBezTo>
                  <a:pt x="18500" y="8218"/>
                  <a:pt x="18500" y="8218"/>
                  <a:pt x="18500" y="8218"/>
                </a:cubicBezTo>
                <a:cubicBezTo>
                  <a:pt x="18469" y="8218"/>
                  <a:pt x="18469" y="8218"/>
                  <a:pt x="18469" y="8218"/>
                </a:cubicBezTo>
                <a:cubicBezTo>
                  <a:pt x="18469" y="8218"/>
                  <a:pt x="18500" y="8218"/>
                  <a:pt x="18500" y="8218"/>
                </a:cubicBezTo>
                <a:close/>
                <a:moveTo>
                  <a:pt x="18906" y="15968"/>
                </a:moveTo>
                <a:cubicBezTo>
                  <a:pt x="18750" y="16000"/>
                  <a:pt x="18594" y="16000"/>
                  <a:pt x="18437" y="16031"/>
                </a:cubicBezTo>
                <a:cubicBezTo>
                  <a:pt x="18594" y="16000"/>
                  <a:pt x="18750" y="16000"/>
                  <a:pt x="18906" y="15968"/>
                </a:cubicBezTo>
                <a:cubicBezTo>
                  <a:pt x="19031" y="15968"/>
                  <a:pt x="19125" y="15968"/>
                  <a:pt x="19219" y="15968"/>
                </a:cubicBezTo>
                <a:cubicBezTo>
                  <a:pt x="19125" y="15968"/>
                  <a:pt x="19031" y="15968"/>
                  <a:pt x="18906" y="15968"/>
                </a:cubicBezTo>
                <a:close/>
                <a:moveTo>
                  <a:pt x="26125" y="14406"/>
                </a:moveTo>
                <a:cubicBezTo>
                  <a:pt x="26125" y="14406"/>
                  <a:pt x="26125" y="14406"/>
                  <a:pt x="26125" y="14406"/>
                </a:cubicBezTo>
                <a:cubicBezTo>
                  <a:pt x="26125" y="14406"/>
                  <a:pt x="26156" y="14406"/>
                  <a:pt x="26156" y="14406"/>
                </a:cubicBezTo>
                <a:cubicBezTo>
                  <a:pt x="26187" y="14375"/>
                  <a:pt x="26219" y="14375"/>
                  <a:pt x="26250" y="14406"/>
                </a:cubicBezTo>
                <a:cubicBezTo>
                  <a:pt x="26250" y="14437"/>
                  <a:pt x="26219" y="14437"/>
                  <a:pt x="26187" y="14437"/>
                </a:cubicBezTo>
                <a:cubicBezTo>
                  <a:pt x="26156" y="14437"/>
                  <a:pt x="26156" y="14406"/>
                  <a:pt x="26156" y="14406"/>
                </a:cubicBezTo>
                <a:cubicBezTo>
                  <a:pt x="26156" y="14406"/>
                  <a:pt x="26156" y="14437"/>
                  <a:pt x="26187" y="14437"/>
                </a:cubicBezTo>
                <a:cubicBezTo>
                  <a:pt x="26125" y="14500"/>
                  <a:pt x="26031" y="14500"/>
                  <a:pt x="25937" y="14500"/>
                </a:cubicBezTo>
                <a:cubicBezTo>
                  <a:pt x="26000" y="14468"/>
                  <a:pt x="26062" y="14406"/>
                  <a:pt x="26125" y="14406"/>
                </a:cubicBezTo>
                <a:cubicBezTo>
                  <a:pt x="26125" y="14406"/>
                  <a:pt x="26125" y="14406"/>
                  <a:pt x="26125" y="14406"/>
                </a:cubicBezTo>
                <a:close/>
                <a:moveTo>
                  <a:pt x="25594" y="13093"/>
                </a:moveTo>
                <a:cubicBezTo>
                  <a:pt x="25594" y="13093"/>
                  <a:pt x="25562" y="13093"/>
                  <a:pt x="25562" y="13093"/>
                </a:cubicBezTo>
                <a:cubicBezTo>
                  <a:pt x="25562" y="13093"/>
                  <a:pt x="25594" y="13093"/>
                  <a:pt x="25594" y="13093"/>
                </a:cubicBezTo>
                <a:close/>
                <a:moveTo>
                  <a:pt x="25469" y="13093"/>
                </a:moveTo>
                <a:cubicBezTo>
                  <a:pt x="25500" y="13093"/>
                  <a:pt x="25531" y="13093"/>
                  <a:pt x="25562" y="13125"/>
                </a:cubicBezTo>
                <a:cubicBezTo>
                  <a:pt x="25500" y="13156"/>
                  <a:pt x="25406" y="13187"/>
                  <a:pt x="25344" y="13187"/>
                </a:cubicBezTo>
                <a:cubicBezTo>
                  <a:pt x="25281" y="13187"/>
                  <a:pt x="25281" y="13156"/>
                  <a:pt x="25281" y="13125"/>
                </a:cubicBezTo>
                <a:cubicBezTo>
                  <a:pt x="25344" y="13125"/>
                  <a:pt x="25406" y="13125"/>
                  <a:pt x="25469" y="13093"/>
                </a:cubicBezTo>
                <a:close/>
                <a:moveTo>
                  <a:pt x="25281" y="13187"/>
                </a:moveTo>
                <a:cubicBezTo>
                  <a:pt x="25281" y="13187"/>
                  <a:pt x="25281" y="13218"/>
                  <a:pt x="25312" y="13218"/>
                </a:cubicBezTo>
                <a:cubicBezTo>
                  <a:pt x="25281" y="13218"/>
                  <a:pt x="25281" y="13187"/>
                  <a:pt x="25281" y="13187"/>
                </a:cubicBezTo>
                <a:close/>
                <a:moveTo>
                  <a:pt x="25250" y="13031"/>
                </a:moveTo>
                <a:cubicBezTo>
                  <a:pt x="25187" y="13031"/>
                  <a:pt x="25219" y="13062"/>
                  <a:pt x="25250" y="13125"/>
                </a:cubicBezTo>
                <a:cubicBezTo>
                  <a:pt x="25250" y="13125"/>
                  <a:pt x="25250" y="13156"/>
                  <a:pt x="25250" y="13156"/>
                </a:cubicBezTo>
                <a:cubicBezTo>
                  <a:pt x="25250" y="13156"/>
                  <a:pt x="25250" y="13156"/>
                  <a:pt x="25250" y="13156"/>
                </a:cubicBezTo>
                <a:cubicBezTo>
                  <a:pt x="25250" y="13156"/>
                  <a:pt x="25250" y="13125"/>
                  <a:pt x="25250" y="13125"/>
                </a:cubicBezTo>
                <a:cubicBezTo>
                  <a:pt x="25219" y="13062"/>
                  <a:pt x="25187" y="13031"/>
                  <a:pt x="25250" y="13031"/>
                </a:cubicBezTo>
                <a:close/>
                <a:moveTo>
                  <a:pt x="24469" y="13406"/>
                </a:moveTo>
                <a:cubicBezTo>
                  <a:pt x="24469" y="13406"/>
                  <a:pt x="24469" y="13406"/>
                  <a:pt x="24500" y="13406"/>
                </a:cubicBezTo>
                <a:cubicBezTo>
                  <a:pt x="24719" y="13343"/>
                  <a:pt x="25031" y="13250"/>
                  <a:pt x="25187" y="13218"/>
                </a:cubicBezTo>
                <a:cubicBezTo>
                  <a:pt x="25187" y="13218"/>
                  <a:pt x="25187" y="13218"/>
                  <a:pt x="25187" y="13250"/>
                </a:cubicBezTo>
                <a:cubicBezTo>
                  <a:pt x="25156" y="13250"/>
                  <a:pt x="25125" y="13250"/>
                  <a:pt x="25062" y="13281"/>
                </a:cubicBezTo>
                <a:cubicBezTo>
                  <a:pt x="25031" y="13312"/>
                  <a:pt x="25000" y="13312"/>
                  <a:pt x="24969" y="13312"/>
                </a:cubicBezTo>
                <a:cubicBezTo>
                  <a:pt x="24875" y="13312"/>
                  <a:pt x="24812" y="13343"/>
                  <a:pt x="24750" y="13375"/>
                </a:cubicBezTo>
                <a:cubicBezTo>
                  <a:pt x="24687" y="13406"/>
                  <a:pt x="24625" y="13437"/>
                  <a:pt x="24562" y="13437"/>
                </a:cubicBezTo>
                <a:cubicBezTo>
                  <a:pt x="24531" y="13437"/>
                  <a:pt x="24500" y="13468"/>
                  <a:pt x="24469" y="13468"/>
                </a:cubicBezTo>
                <a:cubicBezTo>
                  <a:pt x="24406" y="13468"/>
                  <a:pt x="24375" y="13500"/>
                  <a:pt x="24312" y="13531"/>
                </a:cubicBezTo>
                <a:cubicBezTo>
                  <a:pt x="24281" y="13531"/>
                  <a:pt x="24219" y="13531"/>
                  <a:pt x="24219" y="13531"/>
                </a:cubicBezTo>
                <a:cubicBezTo>
                  <a:pt x="24187" y="13500"/>
                  <a:pt x="24187" y="13500"/>
                  <a:pt x="24187" y="13500"/>
                </a:cubicBezTo>
                <a:cubicBezTo>
                  <a:pt x="24281" y="13500"/>
                  <a:pt x="24375" y="13437"/>
                  <a:pt x="24469" y="13406"/>
                </a:cubicBezTo>
                <a:close/>
                <a:moveTo>
                  <a:pt x="22000" y="15000"/>
                </a:moveTo>
                <a:cubicBezTo>
                  <a:pt x="22000" y="15000"/>
                  <a:pt x="22000" y="15031"/>
                  <a:pt x="22000" y="15031"/>
                </a:cubicBezTo>
                <a:cubicBezTo>
                  <a:pt x="22000" y="15031"/>
                  <a:pt x="22000" y="15000"/>
                  <a:pt x="22000" y="15000"/>
                </a:cubicBezTo>
                <a:close/>
                <a:moveTo>
                  <a:pt x="22125" y="14968"/>
                </a:moveTo>
                <a:cubicBezTo>
                  <a:pt x="22250" y="14906"/>
                  <a:pt x="22406" y="14906"/>
                  <a:pt x="22500" y="14843"/>
                </a:cubicBezTo>
                <a:cubicBezTo>
                  <a:pt x="22594" y="14718"/>
                  <a:pt x="22656" y="14687"/>
                  <a:pt x="22750" y="14687"/>
                </a:cubicBezTo>
                <a:cubicBezTo>
                  <a:pt x="22656" y="14687"/>
                  <a:pt x="22594" y="14718"/>
                  <a:pt x="22500" y="14843"/>
                </a:cubicBezTo>
                <a:cubicBezTo>
                  <a:pt x="22406" y="14906"/>
                  <a:pt x="22250" y="14906"/>
                  <a:pt x="22125" y="14968"/>
                </a:cubicBezTo>
                <a:cubicBezTo>
                  <a:pt x="22125" y="14968"/>
                  <a:pt x="22125" y="14968"/>
                  <a:pt x="22125" y="14968"/>
                </a:cubicBezTo>
                <a:close/>
                <a:moveTo>
                  <a:pt x="22687" y="15468"/>
                </a:moveTo>
                <a:cubicBezTo>
                  <a:pt x="22687" y="15468"/>
                  <a:pt x="22687" y="15468"/>
                  <a:pt x="22687" y="15468"/>
                </a:cubicBezTo>
                <a:cubicBezTo>
                  <a:pt x="22687" y="15468"/>
                  <a:pt x="22687" y="15468"/>
                  <a:pt x="22687" y="15468"/>
                </a:cubicBezTo>
                <a:cubicBezTo>
                  <a:pt x="22687" y="15468"/>
                  <a:pt x="22687" y="15468"/>
                  <a:pt x="22719" y="15468"/>
                </a:cubicBezTo>
                <a:cubicBezTo>
                  <a:pt x="22687" y="15468"/>
                  <a:pt x="22687" y="15468"/>
                  <a:pt x="22687" y="15468"/>
                </a:cubicBezTo>
                <a:close/>
                <a:moveTo>
                  <a:pt x="22812" y="14843"/>
                </a:moveTo>
                <a:cubicBezTo>
                  <a:pt x="22781" y="14875"/>
                  <a:pt x="22750" y="14906"/>
                  <a:pt x="22687" y="14906"/>
                </a:cubicBezTo>
                <a:cubicBezTo>
                  <a:pt x="22687" y="14906"/>
                  <a:pt x="22687" y="14906"/>
                  <a:pt x="22687" y="14906"/>
                </a:cubicBezTo>
                <a:cubicBezTo>
                  <a:pt x="22687" y="14906"/>
                  <a:pt x="22687" y="14906"/>
                  <a:pt x="22687" y="14906"/>
                </a:cubicBezTo>
                <a:cubicBezTo>
                  <a:pt x="22594" y="14906"/>
                  <a:pt x="22562" y="14937"/>
                  <a:pt x="22500" y="14968"/>
                </a:cubicBezTo>
                <a:cubicBezTo>
                  <a:pt x="22469" y="15000"/>
                  <a:pt x="22469" y="15000"/>
                  <a:pt x="22437" y="15031"/>
                </a:cubicBezTo>
                <a:cubicBezTo>
                  <a:pt x="22375" y="14968"/>
                  <a:pt x="22344" y="15000"/>
                  <a:pt x="22281" y="15031"/>
                </a:cubicBezTo>
                <a:cubicBezTo>
                  <a:pt x="22250" y="15062"/>
                  <a:pt x="22187" y="15031"/>
                  <a:pt x="22187" y="14968"/>
                </a:cubicBezTo>
                <a:cubicBezTo>
                  <a:pt x="22312" y="14937"/>
                  <a:pt x="22437" y="14937"/>
                  <a:pt x="22562" y="14843"/>
                </a:cubicBezTo>
                <a:cubicBezTo>
                  <a:pt x="22687" y="14875"/>
                  <a:pt x="22812" y="14781"/>
                  <a:pt x="22937" y="14750"/>
                </a:cubicBezTo>
                <a:cubicBezTo>
                  <a:pt x="22969" y="14781"/>
                  <a:pt x="23000" y="14781"/>
                  <a:pt x="23031" y="14781"/>
                </a:cubicBezTo>
                <a:cubicBezTo>
                  <a:pt x="23031" y="14781"/>
                  <a:pt x="23031" y="14812"/>
                  <a:pt x="23031" y="14812"/>
                </a:cubicBezTo>
                <a:cubicBezTo>
                  <a:pt x="22969" y="14843"/>
                  <a:pt x="22906" y="14843"/>
                  <a:pt x="22844" y="14843"/>
                </a:cubicBezTo>
                <a:cubicBezTo>
                  <a:pt x="22844" y="14843"/>
                  <a:pt x="22812" y="14843"/>
                  <a:pt x="22812" y="14843"/>
                </a:cubicBezTo>
                <a:close/>
                <a:moveTo>
                  <a:pt x="22969" y="14750"/>
                </a:moveTo>
                <a:cubicBezTo>
                  <a:pt x="22969" y="14750"/>
                  <a:pt x="23000" y="14750"/>
                  <a:pt x="23000" y="14750"/>
                </a:cubicBezTo>
                <a:cubicBezTo>
                  <a:pt x="23000" y="14750"/>
                  <a:pt x="23031" y="14750"/>
                  <a:pt x="23031" y="14750"/>
                </a:cubicBezTo>
                <a:cubicBezTo>
                  <a:pt x="23031" y="14750"/>
                  <a:pt x="23031" y="14750"/>
                  <a:pt x="23031" y="14750"/>
                </a:cubicBezTo>
                <a:cubicBezTo>
                  <a:pt x="23031" y="14750"/>
                  <a:pt x="23000" y="14750"/>
                  <a:pt x="23000" y="14750"/>
                </a:cubicBezTo>
                <a:lnTo>
                  <a:pt x="22969" y="14750"/>
                </a:lnTo>
                <a:close/>
                <a:moveTo>
                  <a:pt x="22875" y="15406"/>
                </a:moveTo>
                <a:cubicBezTo>
                  <a:pt x="22875" y="15406"/>
                  <a:pt x="22875" y="15406"/>
                  <a:pt x="22875" y="15406"/>
                </a:cubicBezTo>
                <a:cubicBezTo>
                  <a:pt x="22875" y="15406"/>
                  <a:pt x="22875" y="15406"/>
                  <a:pt x="22875" y="15406"/>
                </a:cubicBezTo>
                <a:cubicBezTo>
                  <a:pt x="22875" y="15406"/>
                  <a:pt x="22875" y="15406"/>
                  <a:pt x="22875" y="15406"/>
                </a:cubicBezTo>
                <a:close/>
                <a:moveTo>
                  <a:pt x="23000" y="15375"/>
                </a:moveTo>
                <a:cubicBezTo>
                  <a:pt x="23000" y="15375"/>
                  <a:pt x="22969" y="15375"/>
                  <a:pt x="22969" y="15375"/>
                </a:cubicBezTo>
                <a:cubicBezTo>
                  <a:pt x="22969" y="15375"/>
                  <a:pt x="23000" y="15375"/>
                  <a:pt x="23000" y="15375"/>
                </a:cubicBezTo>
                <a:cubicBezTo>
                  <a:pt x="23000" y="15375"/>
                  <a:pt x="23031" y="15406"/>
                  <a:pt x="23062" y="15375"/>
                </a:cubicBezTo>
                <a:cubicBezTo>
                  <a:pt x="23031" y="15406"/>
                  <a:pt x="23000" y="15375"/>
                  <a:pt x="23000" y="15375"/>
                </a:cubicBezTo>
                <a:close/>
                <a:moveTo>
                  <a:pt x="23281" y="15031"/>
                </a:moveTo>
                <a:cubicBezTo>
                  <a:pt x="23312" y="15062"/>
                  <a:pt x="23344" y="15062"/>
                  <a:pt x="23375" y="15062"/>
                </a:cubicBezTo>
                <a:cubicBezTo>
                  <a:pt x="23344" y="15062"/>
                  <a:pt x="23312" y="15062"/>
                  <a:pt x="23281" y="15031"/>
                </a:cubicBezTo>
                <a:close/>
                <a:moveTo>
                  <a:pt x="23781" y="14625"/>
                </a:moveTo>
                <a:cubicBezTo>
                  <a:pt x="23750" y="14625"/>
                  <a:pt x="23750" y="14625"/>
                  <a:pt x="23719" y="14625"/>
                </a:cubicBezTo>
                <a:cubicBezTo>
                  <a:pt x="23594" y="14625"/>
                  <a:pt x="23469" y="14718"/>
                  <a:pt x="23312" y="14750"/>
                </a:cubicBezTo>
                <a:cubicBezTo>
                  <a:pt x="23312" y="14750"/>
                  <a:pt x="23281" y="14781"/>
                  <a:pt x="23250" y="14750"/>
                </a:cubicBezTo>
                <a:cubicBezTo>
                  <a:pt x="23250" y="14750"/>
                  <a:pt x="23219" y="14750"/>
                  <a:pt x="23219" y="14750"/>
                </a:cubicBezTo>
                <a:cubicBezTo>
                  <a:pt x="23250" y="14812"/>
                  <a:pt x="23312" y="14875"/>
                  <a:pt x="23344" y="14906"/>
                </a:cubicBezTo>
                <a:cubicBezTo>
                  <a:pt x="23312" y="14875"/>
                  <a:pt x="23250" y="14812"/>
                  <a:pt x="23219" y="14750"/>
                </a:cubicBezTo>
                <a:cubicBezTo>
                  <a:pt x="23156" y="14781"/>
                  <a:pt x="23125" y="14781"/>
                  <a:pt x="23094" y="14781"/>
                </a:cubicBezTo>
                <a:cubicBezTo>
                  <a:pt x="23062" y="14687"/>
                  <a:pt x="23156" y="14718"/>
                  <a:pt x="23187" y="14687"/>
                </a:cubicBezTo>
                <a:cubicBezTo>
                  <a:pt x="23406" y="14625"/>
                  <a:pt x="23594" y="14562"/>
                  <a:pt x="23812" y="14531"/>
                </a:cubicBezTo>
                <a:cubicBezTo>
                  <a:pt x="23812" y="14562"/>
                  <a:pt x="23812" y="14593"/>
                  <a:pt x="23781" y="14625"/>
                </a:cubicBezTo>
                <a:close/>
                <a:moveTo>
                  <a:pt x="23094" y="14656"/>
                </a:moveTo>
                <a:cubicBezTo>
                  <a:pt x="23125" y="14656"/>
                  <a:pt x="23125" y="14656"/>
                  <a:pt x="23156" y="14687"/>
                </a:cubicBezTo>
                <a:cubicBezTo>
                  <a:pt x="23125" y="14656"/>
                  <a:pt x="23125" y="14656"/>
                  <a:pt x="23094" y="14656"/>
                </a:cubicBezTo>
                <a:close/>
                <a:moveTo>
                  <a:pt x="23594" y="14312"/>
                </a:moveTo>
                <a:cubicBezTo>
                  <a:pt x="23594" y="14312"/>
                  <a:pt x="23625" y="14312"/>
                  <a:pt x="23625" y="14312"/>
                </a:cubicBezTo>
                <a:cubicBezTo>
                  <a:pt x="23625" y="14312"/>
                  <a:pt x="23594" y="14312"/>
                  <a:pt x="23594" y="14312"/>
                </a:cubicBezTo>
                <a:close/>
                <a:moveTo>
                  <a:pt x="23625" y="14281"/>
                </a:moveTo>
                <a:cubicBezTo>
                  <a:pt x="23625" y="14281"/>
                  <a:pt x="23625" y="14281"/>
                  <a:pt x="23625" y="14281"/>
                </a:cubicBezTo>
                <a:cubicBezTo>
                  <a:pt x="23750" y="14281"/>
                  <a:pt x="23812" y="14343"/>
                  <a:pt x="23875" y="14406"/>
                </a:cubicBezTo>
                <a:cubicBezTo>
                  <a:pt x="23812" y="14343"/>
                  <a:pt x="23750" y="14281"/>
                  <a:pt x="23625" y="14281"/>
                </a:cubicBezTo>
                <a:close/>
                <a:moveTo>
                  <a:pt x="23875" y="14593"/>
                </a:moveTo>
                <a:cubicBezTo>
                  <a:pt x="23875" y="14593"/>
                  <a:pt x="23875" y="14593"/>
                  <a:pt x="23875" y="14593"/>
                </a:cubicBezTo>
                <a:cubicBezTo>
                  <a:pt x="23875" y="14562"/>
                  <a:pt x="23875" y="14562"/>
                  <a:pt x="23875" y="14562"/>
                </a:cubicBezTo>
                <a:cubicBezTo>
                  <a:pt x="23875" y="14562"/>
                  <a:pt x="23875" y="14562"/>
                  <a:pt x="23875" y="14593"/>
                </a:cubicBezTo>
                <a:close/>
                <a:moveTo>
                  <a:pt x="23875" y="14187"/>
                </a:moveTo>
                <a:cubicBezTo>
                  <a:pt x="23750" y="14218"/>
                  <a:pt x="23625" y="14250"/>
                  <a:pt x="23500" y="14281"/>
                </a:cubicBezTo>
                <a:cubicBezTo>
                  <a:pt x="23469" y="14281"/>
                  <a:pt x="23469" y="14312"/>
                  <a:pt x="23469" y="14312"/>
                </a:cubicBezTo>
                <a:cubicBezTo>
                  <a:pt x="23469" y="14312"/>
                  <a:pt x="23469" y="14312"/>
                  <a:pt x="23500" y="14312"/>
                </a:cubicBezTo>
                <a:cubicBezTo>
                  <a:pt x="23469" y="14312"/>
                  <a:pt x="23469" y="14312"/>
                  <a:pt x="23469" y="14312"/>
                </a:cubicBezTo>
                <a:cubicBezTo>
                  <a:pt x="23437" y="14343"/>
                  <a:pt x="23437" y="14343"/>
                  <a:pt x="23406" y="14343"/>
                </a:cubicBezTo>
                <a:cubicBezTo>
                  <a:pt x="23375" y="14312"/>
                  <a:pt x="23406" y="14281"/>
                  <a:pt x="23437" y="14250"/>
                </a:cubicBezTo>
                <a:cubicBezTo>
                  <a:pt x="23469" y="14250"/>
                  <a:pt x="23531" y="14187"/>
                  <a:pt x="23562" y="14187"/>
                </a:cubicBezTo>
                <a:cubicBezTo>
                  <a:pt x="23656" y="14187"/>
                  <a:pt x="23750" y="14156"/>
                  <a:pt x="23844" y="14125"/>
                </a:cubicBezTo>
                <a:cubicBezTo>
                  <a:pt x="23844" y="14125"/>
                  <a:pt x="23875" y="14156"/>
                  <a:pt x="23875" y="14187"/>
                </a:cubicBezTo>
                <a:close/>
                <a:moveTo>
                  <a:pt x="24000" y="14156"/>
                </a:moveTo>
                <a:cubicBezTo>
                  <a:pt x="24031" y="14187"/>
                  <a:pt x="24062" y="14187"/>
                  <a:pt x="24062" y="14187"/>
                </a:cubicBezTo>
                <a:cubicBezTo>
                  <a:pt x="24062" y="14187"/>
                  <a:pt x="24031" y="14187"/>
                  <a:pt x="24000" y="14156"/>
                </a:cubicBezTo>
                <a:close/>
                <a:moveTo>
                  <a:pt x="24250" y="14218"/>
                </a:moveTo>
                <a:cubicBezTo>
                  <a:pt x="24250" y="14187"/>
                  <a:pt x="24219" y="14156"/>
                  <a:pt x="24187" y="14125"/>
                </a:cubicBezTo>
                <a:cubicBezTo>
                  <a:pt x="24187" y="14125"/>
                  <a:pt x="24187" y="14125"/>
                  <a:pt x="24187" y="14125"/>
                </a:cubicBezTo>
                <a:cubicBezTo>
                  <a:pt x="24219" y="14156"/>
                  <a:pt x="24250" y="14187"/>
                  <a:pt x="24250" y="14218"/>
                </a:cubicBezTo>
                <a:close/>
                <a:moveTo>
                  <a:pt x="24562" y="13937"/>
                </a:moveTo>
                <a:cubicBezTo>
                  <a:pt x="24562" y="13937"/>
                  <a:pt x="24594" y="13906"/>
                  <a:pt x="24625" y="13875"/>
                </a:cubicBezTo>
                <a:cubicBezTo>
                  <a:pt x="24594" y="13906"/>
                  <a:pt x="24562" y="13937"/>
                  <a:pt x="24562" y="13937"/>
                </a:cubicBezTo>
                <a:cubicBezTo>
                  <a:pt x="24562" y="13937"/>
                  <a:pt x="24562" y="13937"/>
                  <a:pt x="24562" y="13937"/>
                </a:cubicBezTo>
                <a:cubicBezTo>
                  <a:pt x="24562" y="13968"/>
                  <a:pt x="24531" y="14000"/>
                  <a:pt x="24500" y="14000"/>
                </a:cubicBezTo>
                <a:cubicBezTo>
                  <a:pt x="24500" y="14000"/>
                  <a:pt x="24500" y="14031"/>
                  <a:pt x="24500" y="14031"/>
                </a:cubicBezTo>
                <a:cubicBezTo>
                  <a:pt x="24500" y="14031"/>
                  <a:pt x="24500" y="14000"/>
                  <a:pt x="24500" y="14000"/>
                </a:cubicBezTo>
                <a:cubicBezTo>
                  <a:pt x="24531" y="14000"/>
                  <a:pt x="24562" y="13968"/>
                  <a:pt x="24562" y="13937"/>
                </a:cubicBezTo>
                <a:close/>
                <a:moveTo>
                  <a:pt x="24406" y="13968"/>
                </a:moveTo>
                <a:cubicBezTo>
                  <a:pt x="24406" y="13968"/>
                  <a:pt x="24437" y="13968"/>
                  <a:pt x="24437" y="13937"/>
                </a:cubicBezTo>
                <a:cubicBezTo>
                  <a:pt x="24437" y="13937"/>
                  <a:pt x="24406" y="13937"/>
                  <a:pt x="24406" y="13906"/>
                </a:cubicBezTo>
                <a:cubicBezTo>
                  <a:pt x="24406" y="13906"/>
                  <a:pt x="24406" y="13906"/>
                  <a:pt x="24406" y="13906"/>
                </a:cubicBezTo>
                <a:cubicBezTo>
                  <a:pt x="24406" y="13937"/>
                  <a:pt x="24437" y="13937"/>
                  <a:pt x="24437" y="13937"/>
                </a:cubicBezTo>
                <a:cubicBezTo>
                  <a:pt x="24437" y="13937"/>
                  <a:pt x="24469" y="13937"/>
                  <a:pt x="24469" y="13937"/>
                </a:cubicBezTo>
                <a:cubicBezTo>
                  <a:pt x="24469" y="13937"/>
                  <a:pt x="24531" y="13968"/>
                  <a:pt x="24500" y="14000"/>
                </a:cubicBezTo>
                <a:cubicBezTo>
                  <a:pt x="24500" y="14000"/>
                  <a:pt x="24469" y="14000"/>
                  <a:pt x="24469" y="14000"/>
                </a:cubicBezTo>
                <a:cubicBezTo>
                  <a:pt x="24469" y="14000"/>
                  <a:pt x="24469" y="14000"/>
                  <a:pt x="24469" y="14031"/>
                </a:cubicBezTo>
                <a:cubicBezTo>
                  <a:pt x="24469" y="14000"/>
                  <a:pt x="24469" y="14000"/>
                  <a:pt x="24469" y="14000"/>
                </a:cubicBezTo>
                <a:cubicBezTo>
                  <a:pt x="24312" y="14062"/>
                  <a:pt x="24187" y="14093"/>
                  <a:pt x="24031" y="14125"/>
                </a:cubicBezTo>
                <a:cubicBezTo>
                  <a:pt x="24000" y="14125"/>
                  <a:pt x="23969" y="14125"/>
                  <a:pt x="23969" y="14093"/>
                </a:cubicBezTo>
                <a:cubicBezTo>
                  <a:pt x="24125" y="14062"/>
                  <a:pt x="24250" y="14000"/>
                  <a:pt x="24406" y="13968"/>
                </a:cubicBezTo>
                <a:close/>
                <a:moveTo>
                  <a:pt x="23844" y="13781"/>
                </a:moveTo>
                <a:cubicBezTo>
                  <a:pt x="23844" y="13781"/>
                  <a:pt x="23844" y="13781"/>
                  <a:pt x="23844" y="13781"/>
                </a:cubicBezTo>
                <a:cubicBezTo>
                  <a:pt x="23875" y="13812"/>
                  <a:pt x="23875" y="13812"/>
                  <a:pt x="23844" y="13843"/>
                </a:cubicBezTo>
                <a:cubicBezTo>
                  <a:pt x="23844" y="13843"/>
                  <a:pt x="23844" y="13843"/>
                  <a:pt x="23844" y="13843"/>
                </a:cubicBezTo>
                <a:cubicBezTo>
                  <a:pt x="23875" y="13812"/>
                  <a:pt x="23875" y="13812"/>
                  <a:pt x="23844" y="13781"/>
                </a:cubicBezTo>
                <a:close/>
                <a:moveTo>
                  <a:pt x="23875" y="13875"/>
                </a:moveTo>
                <a:cubicBezTo>
                  <a:pt x="23969" y="13906"/>
                  <a:pt x="24000" y="13812"/>
                  <a:pt x="24062" y="13843"/>
                </a:cubicBezTo>
                <a:cubicBezTo>
                  <a:pt x="24094" y="13843"/>
                  <a:pt x="24125" y="13843"/>
                  <a:pt x="24125" y="13906"/>
                </a:cubicBezTo>
                <a:cubicBezTo>
                  <a:pt x="24062" y="13937"/>
                  <a:pt x="23969" y="13937"/>
                  <a:pt x="23875" y="14000"/>
                </a:cubicBezTo>
                <a:cubicBezTo>
                  <a:pt x="23875" y="14000"/>
                  <a:pt x="23844" y="14000"/>
                  <a:pt x="23844" y="14000"/>
                </a:cubicBezTo>
                <a:cubicBezTo>
                  <a:pt x="23844" y="14000"/>
                  <a:pt x="23844" y="14000"/>
                  <a:pt x="23844" y="13968"/>
                </a:cubicBezTo>
                <a:cubicBezTo>
                  <a:pt x="23844" y="13968"/>
                  <a:pt x="23844" y="13968"/>
                  <a:pt x="23844" y="13968"/>
                </a:cubicBezTo>
                <a:cubicBezTo>
                  <a:pt x="23844" y="13968"/>
                  <a:pt x="23844" y="13968"/>
                  <a:pt x="23844" y="13968"/>
                </a:cubicBezTo>
                <a:cubicBezTo>
                  <a:pt x="23844" y="13968"/>
                  <a:pt x="23844" y="13968"/>
                  <a:pt x="23844" y="13968"/>
                </a:cubicBezTo>
                <a:cubicBezTo>
                  <a:pt x="23812" y="13937"/>
                  <a:pt x="23844" y="13906"/>
                  <a:pt x="23875" y="13875"/>
                </a:cubicBezTo>
                <a:close/>
                <a:moveTo>
                  <a:pt x="23781" y="13906"/>
                </a:moveTo>
                <a:cubicBezTo>
                  <a:pt x="23781" y="13906"/>
                  <a:pt x="23781" y="13906"/>
                  <a:pt x="23781" y="13937"/>
                </a:cubicBezTo>
                <a:cubicBezTo>
                  <a:pt x="23781" y="13906"/>
                  <a:pt x="23781" y="13906"/>
                  <a:pt x="23781" y="13906"/>
                </a:cubicBezTo>
                <a:close/>
                <a:moveTo>
                  <a:pt x="23781" y="14000"/>
                </a:moveTo>
                <a:cubicBezTo>
                  <a:pt x="23750" y="14000"/>
                  <a:pt x="23750" y="14031"/>
                  <a:pt x="23719" y="14031"/>
                </a:cubicBezTo>
                <a:cubicBezTo>
                  <a:pt x="23719" y="14031"/>
                  <a:pt x="23719" y="14031"/>
                  <a:pt x="23719" y="14062"/>
                </a:cubicBezTo>
                <a:cubicBezTo>
                  <a:pt x="23719" y="14031"/>
                  <a:pt x="23719" y="14031"/>
                  <a:pt x="23719" y="14031"/>
                </a:cubicBezTo>
                <a:cubicBezTo>
                  <a:pt x="23750" y="14031"/>
                  <a:pt x="23750" y="14000"/>
                  <a:pt x="23781" y="14000"/>
                </a:cubicBezTo>
                <a:close/>
                <a:moveTo>
                  <a:pt x="22812" y="13937"/>
                </a:moveTo>
                <a:cubicBezTo>
                  <a:pt x="22844" y="13906"/>
                  <a:pt x="22875" y="13906"/>
                  <a:pt x="22875" y="13906"/>
                </a:cubicBezTo>
                <a:cubicBezTo>
                  <a:pt x="22594" y="14031"/>
                  <a:pt x="22594" y="14031"/>
                  <a:pt x="22594" y="14031"/>
                </a:cubicBezTo>
                <a:cubicBezTo>
                  <a:pt x="22594" y="14031"/>
                  <a:pt x="22562" y="14031"/>
                  <a:pt x="22531" y="14031"/>
                </a:cubicBezTo>
                <a:cubicBezTo>
                  <a:pt x="22625" y="13968"/>
                  <a:pt x="22719" y="13968"/>
                  <a:pt x="22812" y="13937"/>
                </a:cubicBezTo>
                <a:close/>
                <a:moveTo>
                  <a:pt x="22562" y="13656"/>
                </a:moveTo>
                <a:cubicBezTo>
                  <a:pt x="22562" y="13656"/>
                  <a:pt x="22562" y="13656"/>
                  <a:pt x="22562" y="13656"/>
                </a:cubicBezTo>
                <a:cubicBezTo>
                  <a:pt x="22469" y="13687"/>
                  <a:pt x="22375" y="13718"/>
                  <a:pt x="22281" y="13750"/>
                </a:cubicBezTo>
                <a:cubicBezTo>
                  <a:pt x="22375" y="13718"/>
                  <a:pt x="22469" y="13687"/>
                  <a:pt x="22562" y="13656"/>
                </a:cubicBezTo>
                <a:close/>
                <a:moveTo>
                  <a:pt x="23562" y="13968"/>
                </a:moveTo>
                <a:cubicBezTo>
                  <a:pt x="23562" y="13968"/>
                  <a:pt x="23562" y="13968"/>
                  <a:pt x="23531" y="13968"/>
                </a:cubicBezTo>
                <a:cubicBezTo>
                  <a:pt x="23531" y="13968"/>
                  <a:pt x="23531" y="13968"/>
                  <a:pt x="23531" y="13968"/>
                </a:cubicBezTo>
                <a:cubicBezTo>
                  <a:pt x="23562" y="13968"/>
                  <a:pt x="23562" y="13968"/>
                  <a:pt x="23562" y="13968"/>
                </a:cubicBezTo>
                <a:cubicBezTo>
                  <a:pt x="23562" y="13968"/>
                  <a:pt x="23594" y="13968"/>
                  <a:pt x="23594" y="13968"/>
                </a:cubicBezTo>
                <a:cubicBezTo>
                  <a:pt x="23625" y="14000"/>
                  <a:pt x="23656" y="14000"/>
                  <a:pt x="23656" y="14062"/>
                </a:cubicBezTo>
                <a:cubicBezTo>
                  <a:pt x="23625" y="14062"/>
                  <a:pt x="23594" y="14062"/>
                  <a:pt x="23562" y="14093"/>
                </a:cubicBezTo>
                <a:cubicBezTo>
                  <a:pt x="23500" y="14093"/>
                  <a:pt x="23406" y="14125"/>
                  <a:pt x="23344" y="14156"/>
                </a:cubicBezTo>
                <a:cubicBezTo>
                  <a:pt x="22969" y="14250"/>
                  <a:pt x="22594" y="14343"/>
                  <a:pt x="22219" y="14468"/>
                </a:cubicBezTo>
                <a:cubicBezTo>
                  <a:pt x="22156" y="14468"/>
                  <a:pt x="22094" y="14468"/>
                  <a:pt x="22031" y="14500"/>
                </a:cubicBezTo>
                <a:cubicBezTo>
                  <a:pt x="22031" y="14500"/>
                  <a:pt x="22000" y="14500"/>
                  <a:pt x="21937" y="14468"/>
                </a:cubicBezTo>
                <a:cubicBezTo>
                  <a:pt x="22500" y="14312"/>
                  <a:pt x="23031" y="14156"/>
                  <a:pt x="23562" y="13968"/>
                </a:cubicBezTo>
                <a:close/>
                <a:moveTo>
                  <a:pt x="22000" y="14687"/>
                </a:moveTo>
                <a:cubicBezTo>
                  <a:pt x="22031" y="14656"/>
                  <a:pt x="22094" y="14656"/>
                  <a:pt x="22156" y="14625"/>
                </a:cubicBezTo>
                <a:cubicBezTo>
                  <a:pt x="22219" y="14593"/>
                  <a:pt x="22312" y="14593"/>
                  <a:pt x="22375" y="14562"/>
                </a:cubicBezTo>
                <a:cubicBezTo>
                  <a:pt x="22375" y="14562"/>
                  <a:pt x="22375" y="14562"/>
                  <a:pt x="22375" y="14562"/>
                </a:cubicBezTo>
                <a:cubicBezTo>
                  <a:pt x="22562" y="14500"/>
                  <a:pt x="22719" y="14468"/>
                  <a:pt x="22906" y="14406"/>
                </a:cubicBezTo>
                <a:cubicBezTo>
                  <a:pt x="22937" y="14406"/>
                  <a:pt x="23000" y="14375"/>
                  <a:pt x="23062" y="14375"/>
                </a:cubicBezTo>
                <a:cubicBezTo>
                  <a:pt x="23062" y="14375"/>
                  <a:pt x="23062" y="14343"/>
                  <a:pt x="23062" y="14343"/>
                </a:cubicBezTo>
                <a:cubicBezTo>
                  <a:pt x="23156" y="14375"/>
                  <a:pt x="23187" y="14343"/>
                  <a:pt x="23219" y="14281"/>
                </a:cubicBezTo>
                <a:cubicBezTo>
                  <a:pt x="23187" y="14343"/>
                  <a:pt x="23156" y="14375"/>
                  <a:pt x="23062" y="14343"/>
                </a:cubicBezTo>
                <a:cubicBezTo>
                  <a:pt x="23062" y="14343"/>
                  <a:pt x="23062" y="14375"/>
                  <a:pt x="23062" y="14375"/>
                </a:cubicBezTo>
                <a:cubicBezTo>
                  <a:pt x="23094" y="14375"/>
                  <a:pt x="23094" y="14343"/>
                  <a:pt x="23125" y="14343"/>
                </a:cubicBezTo>
                <a:cubicBezTo>
                  <a:pt x="23125" y="14406"/>
                  <a:pt x="23094" y="14406"/>
                  <a:pt x="23062" y="14437"/>
                </a:cubicBezTo>
                <a:cubicBezTo>
                  <a:pt x="23031" y="14437"/>
                  <a:pt x="23000" y="14437"/>
                  <a:pt x="23000" y="14437"/>
                </a:cubicBezTo>
                <a:cubicBezTo>
                  <a:pt x="22969" y="14437"/>
                  <a:pt x="22969" y="14468"/>
                  <a:pt x="22969" y="14468"/>
                </a:cubicBezTo>
                <a:cubicBezTo>
                  <a:pt x="22969" y="14468"/>
                  <a:pt x="22969" y="14437"/>
                  <a:pt x="23000" y="14437"/>
                </a:cubicBezTo>
                <a:cubicBezTo>
                  <a:pt x="22812" y="14468"/>
                  <a:pt x="22656" y="14531"/>
                  <a:pt x="22500" y="14562"/>
                </a:cubicBezTo>
                <a:cubicBezTo>
                  <a:pt x="22469" y="14562"/>
                  <a:pt x="22406" y="14562"/>
                  <a:pt x="22437" y="14593"/>
                </a:cubicBezTo>
                <a:cubicBezTo>
                  <a:pt x="22437" y="14625"/>
                  <a:pt x="22437" y="14625"/>
                  <a:pt x="22437" y="14625"/>
                </a:cubicBezTo>
                <a:cubicBezTo>
                  <a:pt x="22406" y="14593"/>
                  <a:pt x="22406" y="14625"/>
                  <a:pt x="22406" y="14625"/>
                </a:cubicBezTo>
                <a:cubicBezTo>
                  <a:pt x="22375" y="14625"/>
                  <a:pt x="22375" y="14625"/>
                  <a:pt x="22344" y="14625"/>
                </a:cubicBezTo>
                <a:cubicBezTo>
                  <a:pt x="22344" y="14625"/>
                  <a:pt x="22344" y="14625"/>
                  <a:pt x="22344" y="14625"/>
                </a:cubicBezTo>
                <a:cubicBezTo>
                  <a:pt x="22344" y="14625"/>
                  <a:pt x="22344" y="14625"/>
                  <a:pt x="22344" y="14625"/>
                </a:cubicBezTo>
                <a:cubicBezTo>
                  <a:pt x="22344" y="14625"/>
                  <a:pt x="22344" y="14625"/>
                  <a:pt x="22344" y="14625"/>
                </a:cubicBezTo>
                <a:cubicBezTo>
                  <a:pt x="22281" y="14593"/>
                  <a:pt x="22250" y="14625"/>
                  <a:pt x="22187" y="14687"/>
                </a:cubicBezTo>
                <a:cubicBezTo>
                  <a:pt x="22156" y="14687"/>
                  <a:pt x="22156" y="14687"/>
                  <a:pt x="22125" y="14687"/>
                </a:cubicBezTo>
                <a:cubicBezTo>
                  <a:pt x="22125" y="14687"/>
                  <a:pt x="22094" y="14687"/>
                  <a:pt x="22062" y="14687"/>
                </a:cubicBezTo>
                <a:cubicBezTo>
                  <a:pt x="22031" y="14718"/>
                  <a:pt x="22031" y="14718"/>
                  <a:pt x="22000" y="14750"/>
                </a:cubicBezTo>
                <a:cubicBezTo>
                  <a:pt x="22031" y="14718"/>
                  <a:pt x="22031" y="14718"/>
                  <a:pt x="22062" y="14687"/>
                </a:cubicBezTo>
                <a:cubicBezTo>
                  <a:pt x="22031" y="14687"/>
                  <a:pt x="22000" y="14687"/>
                  <a:pt x="21969" y="14687"/>
                </a:cubicBezTo>
                <a:cubicBezTo>
                  <a:pt x="21969" y="14687"/>
                  <a:pt x="21969" y="14687"/>
                  <a:pt x="22000" y="14687"/>
                </a:cubicBezTo>
                <a:cubicBezTo>
                  <a:pt x="21969" y="14687"/>
                  <a:pt x="21937" y="14687"/>
                  <a:pt x="21906" y="14687"/>
                </a:cubicBezTo>
                <a:cubicBezTo>
                  <a:pt x="21937" y="14687"/>
                  <a:pt x="21969" y="14687"/>
                  <a:pt x="22000" y="14687"/>
                </a:cubicBezTo>
                <a:close/>
                <a:moveTo>
                  <a:pt x="21812" y="15187"/>
                </a:moveTo>
                <a:cubicBezTo>
                  <a:pt x="21812" y="15187"/>
                  <a:pt x="21812" y="15187"/>
                  <a:pt x="21812" y="15218"/>
                </a:cubicBezTo>
                <a:cubicBezTo>
                  <a:pt x="21812" y="15187"/>
                  <a:pt x="21812" y="15187"/>
                  <a:pt x="21812" y="15187"/>
                </a:cubicBezTo>
                <a:close/>
                <a:moveTo>
                  <a:pt x="21750" y="15125"/>
                </a:moveTo>
                <a:cubicBezTo>
                  <a:pt x="21719" y="15093"/>
                  <a:pt x="21719" y="15125"/>
                  <a:pt x="21687" y="15156"/>
                </a:cubicBezTo>
                <a:cubicBezTo>
                  <a:pt x="21687" y="15156"/>
                  <a:pt x="21687" y="15156"/>
                  <a:pt x="21687" y="15156"/>
                </a:cubicBezTo>
                <a:cubicBezTo>
                  <a:pt x="21719" y="15125"/>
                  <a:pt x="21719" y="15093"/>
                  <a:pt x="21750" y="15125"/>
                </a:cubicBezTo>
                <a:close/>
                <a:moveTo>
                  <a:pt x="24812" y="12812"/>
                </a:moveTo>
                <a:cubicBezTo>
                  <a:pt x="24812" y="12812"/>
                  <a:pt x="24812" y="12781"/>
                  <a:pt x="24812" y="12781"/>
                </a:cubicBezTo>
                <a:cubicBezTo>
                  <a:pt x="24812" y="12781"/>
                  <a:pt x="24812" y="12781"/>
                  <a:pt x="24812" y="12781"/>
                </a:cubicBezTo>
                <a:cubicBezTo>
                  <a:pt x="24812" y="12781"/>
                  <a:pt x="24812" y="12812"/>
                  <a:pt x="24812" y="12812"/>
                </a:cubicBezTo>
                <a:cubicBezTo>
                  <a:pt x="24437" y="12937"/>
                  <a:pt x="24094" y="13062"/>
                  <a:pt x="23719" y="13187"/>
                </a:cubicBezTo>
                <a:cubicBezTo>
                  <a:pt x="24094" y="13062"/>
                  <a:pt x="24437" y="12937"/>
                  <a:pt x="24812" y="12812"/>
                </a:cubicBezTo>
                <a:close/>
                <a:moveTo>
                  <a:pt x="28812" y="11187"/>
                </a:moveTo>
                <a:cubicBezTo>
                  <a:pt x="28812" y="11187"/>
                  <a:pt x="28812" y="11187"/>
                  <a:pt x="28812" y="11187"/>
                </a:cubicBezTo>
                <a:cubicBezTo>
                  <a:pt x="28812" y="11187"/>
                  <a:pt x="28781" y="11187"/>
                  <a:pt x="28781" y="11187"/>
                </a:cubicBezTo>
                <a:cubicBezTo>
                  <a:pt x="28781" y="11187"/>
                  <a:pt x="28812" y="11187"/>
                  <a:pt x="28812" y="11187"/>
                </a:cubicBezTo>
                <a:close/>
                <a:moveTo>
                  <a:pt x="28781" y="11187"/>
                </a:moveTo>
                <a:cubicBezTo>
                  <a:pt x="28781" y="11187"/>
                  <a:pt x="28781" y="11187"/>
                  <a:pt x="28781" y="11187"/>
                </a:cubicBezTo>
                <a:cubicBezTo>
                  <a:pt x="28750" y="11156"/>
                  <a:pt x="28750" y="11187"/>
                  <a:pt x="28719" y="11187"/>
                </a:cubicBezTo>
                <a:cubicBezTo>
                  <a:pt x="28750" y="11187"/>
                  <a:pt x="28750" y="11156"/>
                  <a:pt x="28781" y="11187"/>
                </a:cubicBezTo>
                <a:close/>
                <a:moveTo>
                  <a:pt x="26562" y="11906"/>
                </a:moveTo>
                <a:cubicBezTo>
                  <a:pt x="26562" y="11906"/>
                  <a:pt x="26562" y="11906"/>
                  <a:pt x="26562" y="11906"/>
                </a:cubicBezTo>
                <a:cubicBezTo>
                  <a:pt x="26531" y="11906"/>
                  <a:pt x="26500" y="11906"/>
                  <a:pt x="26469" y="11937"/>
                </a:cubicBezTo>
                <a:cubicBezTo>
                  <a:pt x="26500" y="11906"/>
                  <a:pt x="26531" y="11906"/>
                  <a:pt x="26562" y="11906"/>
                </a:cubicBezTo>
                <a:close/>
                <a:moveTo>
                  <a:pt x="24687" y="12593"/>
                </a:moveTo>
                <a:cubicBezTo>
                  <a:pt x="25312" y="12375"/>
                  <a:pt x="25969" y="12156"/>
                  <a:pt x="26594" y="11937"/>
                </a:cubicBezTo>
                <a:cubicBezTo>
                  <a:pt x="25969" y="12156"/>
                  <a:pt x="25312" y="12375"/>
                  <a:pt x="24687" y="12593"/>
                </a:cubicBezTo>
                <a:cubicBezTo>
                  <a:pt x="24687" y="12593"/>
                  <a:pt x="24656" y="12625"/>
                  <a:pt x="24656" y="12625"/>
                </a:cubicBezTo>
                <a:cubicBezTo>
                  <a:pt x="24656" y="12625"/>
                  <a:pt x="24687" y="12593"/>
                  <a:pt x="24687" y="12593"/>
                </a:cubicBezTo>
                <a:close/>
                <a:moveTo>
                  <a:pt x="22219" y="13375"/>
                </a:moveTo>
                <a:cubicBezTo>
                  <a:pt x="22219" y="13375"/>
                  <a:pt x="22219" y="13375"/>
                  <a:pt x="22219" y="13375"/>
                </a:cubicBezTo>
                <a:cubicBezTo>
                  <a:pt x="22187" y="13406"/>
                  <a:pt x="22156" y="13406"/>
                  <a:pt x="22156" y="13437"/>
                </a:cubicBezTo>
                <a:cubicBezTo>
                  <a:pt x="22156" y="13406"/>
                  <a:pt x="22187" y="13406"/>
                  <a:pt x="22219" y="13375"/>
                </a:cubicBezTo>
                <a:close/>
                <a:moveTo>
                  <a:pt x="21937" y="13437"/>
                </a:moveTo>
                <a:cubicBezTo>
                  <a:pt x="21906" y="13437"/>
                  <a:pt x="21875" y="13437"/>
                  <a:pt x="21844" y="13468"/>
                </a:cubicBezTo>
                <a:cubicBezTo>
                  <a:pt x="21875" y="13437"/>
                  <a:pt x="21906" y="13437"/>
                  <a:pt x="21937" y="13437"/>
                </a:cubicBezTo>
                <a:close/>
                <a:moveTo>
                  <a:pt x="23500" y="12718"/>
                </a:moveTo>
                <a:cubicBezTo>
                  <a:pt x="23500" y="12718"/>
                  <a:pt x="23500" y="12718"/>
                  <a:pt x="23500" y="12718"/>
                </a:cubicBezTo>
                <a:cubicBezTo>
                  <a:pt x="23500" y="12750"/>
                  <a:pt x="23500" y="12750"/>
                  <a:pt x="23500" y="12750"/>
                </a:cubicBezTo>
                <a:cubicBezTo>
                  <a:pt x="23500" y="12750"/>
                  <a:pt x="23500" y="12750"/>
                  <a:pt x="23500" y="12718"/>
                </a:cubicBezTo>
                <a:close/>
                <a:moveTo>
                  <a:pt x="23187" y="12875"/>
                </a:moveTo>
                <a:cubicBezTo>
                  <a:pt x="23219" y="12875"/>
                  <a:pt x="23281" y="12875"/>
                  <a:pt x="23281" y="12875"/>
                </a:cubicBezTo>
                <a:cubicBezTo>
                  <a:pt x="23281" y="12875"/>
                  <a:pt x="23219" y="12875"/>
                  <a:pt x="23187" y="12875"/>
                </a:cubicBezTo>
                <a:cubicBezTo>
                  <a:pt x="23187" y="12875"/>
                  <a:pt x="23187" y="12875"/>
                  <a:pt x="23187" y="12875"/>
                </a:cubicBezTo>
                <a:cubicBezTo>
                  <a:pt x="23187" y="12875"/>
                  <a:pt x="23187" y="12875"/>
                  <a:pt x="23187" y="12875"/>
                </a:cubicBezTo>
                <a:close/>
                <a:moveTo>
                  <a:pt x="22969" y="12937"/>
                </a:moveTo>
                <a:cubicBezTo>
                  <a:pt x="22969" y="12937"/>
                  <a:pt x="22969" y="12937"/>
                  <a:pt x="22969" y="12937"/>
                </a:cubicBezTo>
                <a:cubicBezTo>
                  <a:pt x="22906" y="12968"/>
                  <a:pt x="22812" y="13031"/>
                  <a:pt x="22750" y="13031"/>
                </a:cubicBezTo>
                <a:cubicBezTo>
                  <a:pt x="22812" y="13031"/>
                  <a:pt x="22906" y="12968"/>
                  <a:pt x="22969" y="12937"/>
                </a:cubicBezTo>
                <a:close/>
                <a:moveTo>
                  <a:pt x="22062" y="13250"/>
                </a:moveTo>
                <a:cubicBezTo>
                  <a:pt x="22062" y="13250"/>
                  <a:pt x="22062" y="13250"/>
                  <a:pt x="22062" y="13250"/>
                </a:cubicBezTo>
                <a:cubicBezTo>
                  <a:pt x="22062" y="13250"/>
                  <a:pt x="22062" y="13250"/>
                  <a:pt x="22062" y="13250"/>
                </a:cubicBezTo>
                <a:cubicBezTo>
                  <a:pt x="22031" y="13250"/>
                  <a:pt x="22000" y="13250"/>
                  <a:pt x="22000" y="13281"/>
                </a:cubicBezTo>
                <a:cubicBezTo>
                  <a:pt x="22000" y="13250"/>
                  <a:pt x="22031" y="13250"/>
                  <a:pt x="22062" y="13250"/>
                </a:cubicBezTo>
                <a:close/>
                <a:moveTo>
                  <a:pt x="21781" y="13312"/>
                </a:moveTo>
                <a:cubicBezTo>
                  <a:pt x="21844" y="13312"/>
                  <a:pt x="21875" y="13312"/>
                  <a:pt x="21937" y="13281"/>
                </a:cubicBezTo>
                <a:cubicBezTo>
                  <a:pt x="21875" y="13312"/>
                  <a:pt x="21844" y="13312"/>
                  <a:pt x="21781" y="13312"/>
                </a:cubicBezTo>
                <a:cubicBezTo>
                  <a:pt x="21781" y="13312"/>
                  <a:pt x="21781" y="13312"/>
                  <a:pt x="21781" y="13312"/>
                </a:cubicBezTo>
                <a:cubicBezTo>
                  <a:pt x="21781" y="13312"/>
                  <a:pt x="21781" y="13312"/>
                  <a:pt x="21781" y="13312"/>
                </a:cubicBezTo>
                <a:close/>
                <a:moveTo>
                  <a:pt x="21781" y="13312"/>
                </a:moveTo>
                <a:cubicBezTo>
                  <a:pt x="21781" y="13312"/>
                  <a:pt x="21781" y="13312"/>
                  <a:pt x="21781" y="13312"/>
                </a:cubicBezTo>
                <a:cubicBezTo>
                  <a:pt x="21781" y="13343"/>
                  <a:pt x="21781" y="13343"/>
                  <a:pt x="21750" y="13343"/>
                </a:cubicBezTo>
                <a:cubicBezTo>
                  <a:pt x="21781" y="13343"/>
                  <a:pt x="21781" y="13343"/>
                  <a:pt x="21781" y="13312"/>
                </a:cubicBezTo>
                <a:close/>
                <a:moveTo>
                  <a:pt x="21156" y="12968"/>
                </a:moveTo>
                <a:cubicBezTo>
                  <a:pt x="21156" y="12968"/>
                  <a:pt x="21156" y="12968"/>
                  <a:pt x="21156" y="12968"/>
                </a:cubicBezTo>
                <a:cubicBezTo>
                  <a:pt x="21156" y="12968"/>
                  <a:pt x="21125" y="12968"/>
                  <a:pt x="21125" y="12968"/>
                </a:cubicBezTo>
                <a:cubicBezTo>
                  <a:pt x="21125" y="12968"/>
                  <a:pt x="21156" y="12968"/>
                  <a:pt x="21156" y="12968"/>
                </a:cubicBezTo>
                <a:close/>
                <a:moveTo>
                  <a:pt x="21125" y="13406"/>
                </a:moveTo>
                <a:cubicBezTo>
                  <a:pt x="21125" y="13406"/>
                  <a:pt x="21125" y="13406"/>
                  <a:pt x="21125" y="13406"/>
                </a:cubicBezTo>
                <a:cubicBezTo>
                  <a:pt x="21125" y="13406"/>
                  <a:pt x="21094" y="13437"/>
                  <a:pt x="21094" y="13437"/>
                </a:cubicBezTo>
                <a:cubicBezTo>
                  <a:pt x="21094" y="13437"/>
                  <a:pt x="21125" y="13406"/>
                  <a:pt x="21125" y="13406"/>
                </a:cubicBezTo>
                <a:close/>
                <a:moveTo>
                  <a:pt x="21031" y="13406"/>
                </a:moveTo>
                <a:cubicBezTo>
                  <a:pt x="21031" y="13406"/>
                  <a:pt x="21031" y="13406"/>
                  <a:pt x="21062" y="13406"/>
                </a:cubicBezTo>
                <a:cubicBezTo>
                  <a:pt x="21031" y="13406"/>
                  <a:pt x="21031" y="13406"/>
                  <a:pt x="21031" y="13406"/>
                </a:cubicBezTo>
                <a:cubicBezTo>
                  <a:pt x="21031" y="13406"/>
                  <a:pt x="21031" y="13406"/>
                  <a:pt x="21031" y="13406"/>
                </a:cubicBezTo>
                <a:cubicBezTo>
                  <a:pt x="21031" y="13406"/>
                  <a:pt x="21031" y="13406"/>
                  <a:pt x="21031" y="13406"/>
                </a:cubicBezTo>
                <a:close/>
                <a:moveTo>
                  <a:pt x="20687" y="13187"/>
                </a:moveTo>
                <a:cubicBezTo>
                  <a:pt x="20687" y="13218"/>
                  <a:pt x="20687" y="13218"/>
                  <a:pt x="20687" y="13218"/>
                </a:cubicBezTo>
                <a:cubicBezTo>
                  <a:pt x="20687" y="13218"/>
                  <a:pt x="20687" y="13218"/>
                  <a:pt x="20687" y="13187"/>
                </a:cubicBezTo>
                <a:close/>
                <a:moveTo>
                  <a:pt x="28906" y="9812"/>
                </a:moveTo>
                <a:cubicBezTo>
                  <a:pt x="28937" y="9812"/>
                  <a:pt x="28969" y="9781"/>
                  <a:pt x="29000" y="9781"/>
                </a:cubicBezTo>
                <a:cubicBezTo>
                  <a:pt x="28969" y="9781"/>
                  <a:pt x="28937" y="9812"/>
                  <a:pt x="28906" y="9812"/>
                </a:cubicBezTo>
                <a:cubicBezTo>
                  <a:pt x="28906" y="9812"/>
                  <a:pt x="28906" y="9812"/>
                  <a:pt x="28906" y="9812"/>
                </a:cubicBezTo>
                <a:close/>
                <a:moveTo>
                  <a:pt x="29031" y="9562"/>
                </a:moveTo>
                <a:cubicBezTo>
                  <a:pt x="29031" y="9531"/>
                  <a:pt x="29062" y="9531"/>
                  <a:pt x="29062" y="9531"/>
                </a:cubicBezTo>
                <a:cubicBezTo>
                  <a:pt x="29062" y="9531"/>
                  <a:pt x="29031" y="9531"/>
                  <a:pt x="29031" y="9562"/>
                </a:cubicBezTo>
                <a:cubicBezTo>
                  <a:pt x="29000" y="9562"/>
                  <a:pt x="29000" y="9562"/>
                  <a:pt x="29000" y="9562"/>
                </a:cubicBezTo>
                <a:cubicBezTo>
                  <a:pt x="29000" y="9562"/>
                  <a:pt x="29000" y="9562"/>
                  <a:pt x="29031" y="9562"/>
                </a:cubicBezTo>
                <a:close/>
                <a:moveTo>
                  <a:pt x="28937" y="9593"/>
                </a:moveTo>
                <a:cubicBezTo>
                  <a:pt x="28937" y="9593"/>
                  <a:pt x="28937" y="9593"/>
                  <a:pt x="28937" y="9593"/>
                </a:cubicBezTo>
                <a:cubicBezTo>
                  <a:pt x="28906" y="9562"/>
                  <a:pt x="28906" y="9531"/>
                  <a:pt x="28875" y="9500"/>
                </a:cubicBezTo>
                <a:cubicBezTo>
                  <a:pt x="28906" y="9531"/>
                  <a:pt x="28906" y="9562"/>
                  <a:pt x="28937" y="9593"/>
                </a:cubicBezTo>
                <a:close/>
                <a:moveTo>
                  <a:pt x="22156" y="11750"/>
                </a:moveTo>
                <a:cubicBezTo>
                  <a:pt x="22156" y="11750"/>
                  <a:pt x="22156" y="11750"/>
                  <a:pt x="22156" y="11750"/>
                </a:cubicBezTo>
                <a:cubicBezTo>
                  <a:pt x="22156" y="11750"/>
                  <a:pt x="22156" y="11750"/>
                  <a:pt x="22156" y="11750"/>
                </a:cubicBezTo>
                <a:cubicBezTo>
                  <a:pt x="22156" y="11750"/>
                  <a:pt x="22156" y="11750"/>
                  <a:pt x="22156" y="11750"/>
                </a:cubicBezTo>
                <a:close/>
                <a:moveTo>
                  <a:pt x="22156" y="11750"/>
                </a:moveTo>
                <a:cubicBezTo>
                  <a:pt x="22156" y="11750"/>
                  <a:pt x="22156" y="11750"/>
                  <a:pt x="22156" y="11750"/>
                </a:cubicBezTo>
                <a:cubicBezTo>
                  <a:pt x="22156" y="11750"/>
                  <a:pt x="22156" y="11750"/>
                  <a:pt x="22156" y="11750"/>
                </a:cubicBezTo>
                <a:close/>
                <a:moveTo>
                  <a:pt x="22187" y="11750"/>
                </a:moveTo>
                <a:cubicBezTo>
                  <a:pt x="22219" y="11843"/>
                  <a:pt x="22156" y="11812"/>
                  <a:pt x="22125" y="11812"/>
                </a:cubicBezTo>
                <a:cubicBezTo>
                  <a:pt x="22094" y="11718"/>
                  <a:pt x="22156" y="11781"/>
                  <a:pt x="22187" y="11750"/>
                </a:cubicBezTo>
                <a:close/>
                <a:moveTo>
                  <a:pt x="22000" y="11812"/>
                </a:moveTo>
                <a:cubicBezTo>
                  <a:pt x="22031" y="11812"/>
                  <a:pt x="22031" y="11812"/>
                  <a:pt x="22031" y="11812"/>
                </a:cubicBezTo>
                <a:cubicBezTo>
                  <a:pt x="22031" y="11812"/>
                  <a:pt x="22062" y="11812"/>
                  <a:pt x="22062" y="11812"/>
                </a:cubicBezTo>
                <a:cubicBezTo>
                  <a:pt x="22062" y="11812"/>
                  <a:pt x="22062" y="11812"/>
                  <a:pt x="22062" y="11812"/>
                </a:cubicBezTo>
                <a:cubicBezTo>
                  <a:pt x="22062" y="11812"/>
                  <a:pt x="22062" y="11812"/>
                  <a:pt x="22062" y="11812"/>
                </a:cubicBezTo>
                <a:cubicBezTo>
                  <a:pt x="22062" y="11812"/>
                  <a:pt x="22031" y="11812"/>
                  <a:pt x="22031" y="11812"/>
                </a:cubicBezTo>
                <a:cubicBezTo>
                  <a:pt x="22062" y="11812"/>
                  <a:pt x="22094" y="11812"/>
                  <a:pt x="22094" y="11812"/>
                </a:cubicBezTo>
                <a:cubicBezTo>
                  <a:pt x="22094" y="11843"/>
                  <a:pt x="22031" y="11843"/>
                  <a:pt x="22031" y="11843"/>
                </a:cubicBezTo>
                <a:cubicBezTo>
                  <a:pt x="22000" y="11843"/>
                  <a:pt x="21969" y="11812"/>
                  <a:pt x="22000" y="11812"/>
                </a:cubicBezTo>
                <a:close/>
                <a:moveTo>
                  <a:pt x="21812" y="12468"/>
                </a:moveTo>
                <a:cubicBezTo>
                  <a:pt x="21812" y="12468"/>
                  <a:pt x="21812" y="12468"/>
                  <a:pt x="21812" y="12468"/>
                </a:cubicBezTo>
                <a:cubicBezTo>
                  <a:pt x="21812" y="12468"/>
                  <a:pt x="21812" y="12468"/>
                  <a:pt x="21781" y="12468"/>
                </a:cubicBezTo>
                <a:cubicBezTo>
                  <a:pt x="21812" y="12468"/>
                  <a:pt x="21812" y="12468"/>
                  <a:pt x="21812" y="12468"/>
                </a:cubicBezTo>
                <a:close/>
                <a:moveTo>
                  <a:pt x="21469" y="12625"/>
                </a:moveTo>
                <a:cubicBezTo>
                  <a:pt x="21562" y="12562"/>
                  <a:pt x="21656" y="12562"/>
                  <a:pt x="21750" y="12531"/>
                </a:cubicBezTo>
                <a:cubicBezTo>
                  <a:pt x="21656" y="12562"/>
                  <a:pt x="21562" y="12562"/>
                  <a:pt x="21469" y="12625"/>
                </a:cubicBezTo>
                <a:cubicBezTo>
                  <a:pt x="21469" y="12625"/>
                  <a:pt x="21437" y="12625"/>
                  <a:pt x="21406" y="12625"/>
                </a:cubicBezTo>
                <a:cubicBezTo>
                  <a:pt x="21437" y="12625"/>
                  <a:pt x="21469" y="12625"/>
                  <a:pt x="21469" y="12625"/>
                </a:cubicBezTo>
                <a:close/>
                <a:moveTo>
                  <a:pt x="32219" y="6437"/>
                </a:moveTo>
                <a:cubicBezTo>
                  <a:pt x="32187" y="6437"/>
                  <a:pt x="32187" y="6437"/>
                  <a:pt x="32156" y="6468"/>
                </a:cubicBezTo>
                <a:cubicBezTo>
                  <a:pt x="32187" y="6437"/>
                  <a:pt x="32187" y="6437"/>
                  <a:pt x="32219" y="6437"/>
                </a:cubicBezTo>
                <a:close/>
                <a:moveTo>
                  <a:pt x="32500" y="6062"/>
                </a:moveTo>
                <a:cubicBezTo>
                  <a:pt x="32500" y="6062"/>
                  <a:pt x="32500" y="6062"/>
                  <a:pt x="32500" y="6062"/>
                </a:cubicBezTo>
                <a:cubicBezTo>
                  <a:pt x="32500" y="6062"/>
                  <a:pt x="32500" y="6062"/>
                  <a:pt x="32500" y="6062"/>
                </a:cubicBezTo>
                <a:close/>
                <a:moveTo>
                  <a:pt x="25937" y="8250"/>
                </a:moveTo>
                <a:cubicBezTo>
                  <a:pt x="25906" y="8281"/>
                  <a:pt x="25875" y="8281"/>
                  <a:pt x="25875" y="8281"/>
                </a:cubicBezTo>
                <a:cubicBezTo>
                  <a:pt x="25875" y="8281"/>
                  <a:pt x="25906" y="8281"/>
                  <a:pt x="25937" y="8250"/>
                </a:cubicBezTo>
                <a:close/>
                <a:moveTo>
                  <a:pt x="23312" y="9187"/>
                </a:moveTo>
                <a:cubicBezTo>
                  <a:pt x="23312" y="9187"/>
                  <a:pt x="23312" y="9187"/>
                  <a:pt x="23312" y="9187"/>
                </a:cubicBezTo>
                <a:cubicBezTo>
                  <a:pt x="23312" y="9187"/>
                  <a:pt x="23312" y="9156"/>
                  <a:pt x="23312" y="9156"/>
                </a:cubicBezTo>
                <a:cubicBezTo>
                  <a:pt x="23312" y="9156"/>
                  <a:pt x="23312" y="9187"/>
                  <a:pt x="23312" y="9187"/>
                </a:cubicBezTo>
                <a:close/>
                <a:moveTo>
                  <a:pt x="21344" y="9812"/>
                </a:moveTo>
                <a:cubicBezTo>
                  <a:pt x="21344" y="9812"/>
                  <a:pt x="21312" y="9812"/>
                  <a:pt x="21312" y="9812"/>
                </a:cubicBezTo>
                <a:cubicBezTo>
                  <a:pt x="21312" y="9812"/>
                  <a:pt x="21344" y="9812"/>
                  <a:pt x="21344" y="9812"/>
                </a:cubicBezTo>
                <a:close/>
                <a:moveTo>
                  <a:pt x="21062" y="8125"/>
                </a:moveTo>
                <a:cubicBezTo>
                  <a:pt x="21062" y="8125"/>
                  <a:pt x="21062" y="8125"/>
                  <a:pt x="21062" y="8125"/>
                </a:cubicBezTo>
                <a:cubicBezTo>
                  <a:pt x="21062" y="8156"/>
                  <a:pt x="21031" y="8156"/>
                  <a:pt x="21031" y="8156"/>
                </a:cubicBezTo>
                <a:cubicBezTo>
                  <a:pt x="21031" y="8156"/>
                  <a:pt x="21062" y="8156"/>
                  <a:pt x="21062" y="8125"/>
                </a:cubicBezTo>
                <a:close/>
                <a:moveTo>
                  <a:pt x="20906" y="8937"/>
                </a:moveTo>
                <a:cubicBezTo>
                  <a:pt x="20906" y="8937"/>
                  <a:pt x="20906" y="8937"/>
                  <a:pt x="20906" y="8937"/>
                </a:cubicBezTo>
                <a:cubicBezTo>
                  <a:pt x="20906" y="8937"/>
                  <a:pt x="20906" y="8937"/>
                  <a:pt x="20906" y="8937"/>
                </a:cubicBezTo>
                <a:cubicBezTo>
                  <a:pt x="20906" y="8937"/>
                  <a:pt x="20906" y="8937"/>
                  <a:pt x="20906" y="8937"/>
                </a:cubicBezTo>
                <a:close/>
                <a:moveTo>
                  <a:pt x="20875" y="9250"/>
                </a:move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lose/>
                <a:moveTo>
                  <a:pt x="20875" y="9250"/>
                </a:move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lose/>
                <a:moveTo>
                  <a:pt x="20750" y="9000"/>
                </a:moveTo>
                <a:cubicBezTo>
                  <a:pt x="20750" y="9000"/>
                  <a:pt x="20719" y="9000"/>
                  <a:pt x="20719" y="9031"/>
                </a:cubicBezTo>
                <a:cubicBezTo>
                  <a:pt x="20719" y="9031"/>
                  <a:pt x="20719" y="9031"/>
                  <a:pt x="20719" y="9031"/>
                </a:cubicBezTo>
                <a:cubicBezTo>
                  <a:pt x="20719" y="9000"/>
                  <a:pt x="20750" y="9000"/>
                  <a:pt x="20750" y="9000"/>
                </a:cubicBezTo>
                <a:close/>
                <a:moveTo>
                  <a:pt x="20437" y="9125"/>
                </a:moveTo>
                <a:cubicBezTo>
                  <a:pt x="20469" y="9125"/>
                  <a:pt x="20469" y="9125"/>
                  <a:pt x="20500" y="9125"/>
                </a:cubicBezTo>
                <a:cubicBezTo>
                  <a:pt x="20531" y="9062"/>
                  <a:pt x="20562" y="9062"/>
                  <a:pt x="20594" y="9031"/>
                </a:cubicBezTo>
                <a:cubicBezTo>
                  <a:pt x="20562" y="9062"/>
                  <a:pt x="20531" y="9062"/>
                  <a:pt x="20500" y="9125"/>
                </a:cubicBezTo>
                <a:cubicBezTo>
                  <a:pt x="20469" y="9125"/>
                  <a:pt x="20469" y="9125"/>
                  <a:pt x="20437" y="9125"/>
                </a:cubicBezTo>
                <a:cubicBezTo>
                  <a:pt x="20437" y="9125"/>
                  <a:pt x="20437" y="9125"/>
                  <a:pt x="20437" y="9125"/>
                </a:cubicBezTo>
                <a:close/>
                <a:moveTo>
                  <a:pt x="20219" y="9531"/>
                </a:moveTo>
                <a:cubicBezTo>
                  <a:pt x="20375" y="9468"/>
                  <a:pt x="20562" y="9406"/>
                  <a:pt x="20781" y="9343"/>
                </a:cubicBezTo>
                <a:cubicBezTo>
                  <a:pt x="20781" y="9312"/>
                  <a:pt x="20812" y="9312"/>
                  <a:pt x="20844" y="9312"/>
                </a:cubicBezTo>
                <a:cubicBezTo>
                  <a:pt x="20812" y="9312"/>
                  <a:pt x="20781" y="9312"/>
                  <a:pt x="20781" y="9343"/>
                </a:cubicBezTo>
                <a:cubicBezTo>
                  <a:pt x="20562" y="9406"/>
                  <a:pt x="20375" y="9468"/>
                  <a:pt x="20219" y="9531"/>
                </a:cubicBezTo>
                <a:close/>
                <a:moveTo>
                  <a:pt x="20031" y="9968"/>
                </a:moveTo>
                <a:cubicBezTo>
                  <a:pt x="20125" y="9937"/>
                  <a:pt x="20187" y="9906"/>
                  <a:pt x="20250" y="9875"/>
                </a:cubicBezTo>
                <a:cubicBezTo>
                  <a:pt x="20250" y="9875"/>
                  <a:pt x="20250" y="9875"/>
                  <a:pt x="20250" y="9875"/>
                </a:cubicBezTo>
                <a:cubicBezTo>
                  <a:pt x="20187" y="9906"/>
                  <a:pt x="20125" y="9937"/>
                  <a:pt x="20031" y="9968"/>
                </a:cubicBezTo>
                <a:cubicBezTo>
                  <a:pt x="20031" y="9968"/>
                  <a:pt x="20031" y="9968"/>
                  <a:pt x="20031" y="9968"/>
                </a:cubicBezTo>
                <a:close/>
                <a:moveTo>
                  <a:pt x="20281" y="11781"/>
                </a:moveTo>
                <a:cubicBezTo>
                  <a:pt x="20281" y="11750"/>
                  <a:pt x="20312" y="11750"/>
                  <a:pt x="20344" y="11750"/>
                </a:cubicBezTo>
                <a:cubicBezTo>
                  <a:pt x="20344" y="11750"/>
                  <a:pt x="20375" y="11750"/>
                  <a:pt x="20406" y="11750"/>
                </a:cubicBezTo>
                <a:cubicBezTo>
                  <a:pt x="20406" y="11750"/>
                  <a:pt x="20406" y="11750"/>
                  <a:pt x="20437" y="11718"/>
                </a:cubicBezTo>
                <a:cubicBezTo>
                  <a:pt x="20437" y="11718"/>
                  <a:pt x="20469" y="11718"/>
                  <a:pt x="20500" y="11718"/>
                </a:cubicBezTo>
                <a:cubicBezTo>
                  <a:pt x="20500" y="11687"/>
                  <a:pt x="20500" y="11687"/>
                  <a:pt x="20531" y="11687"/>
                </a:cubicBezTo>
                <a:cubicBezTo>
                  <a:pt x="20500" y="11687"/>
                  <a:pt x="20500" y="11687"/>
                  <a:pt x="20500" y="11718"/>
                </a:cubicBezTo>
                <a:cubicBezTo>
                  <a:pt x="20469" y="11718"/>
                  <a:pt x="20437" y="11718"/>
                  <a:pt x="20437" y="11718"/>
                </a:cubicBezTo>
                <a:cubicBezTo>
                  <a:pt x="20406" y="11750"/>
                  <a:pt x="20406" y="11750"/>
                  <a:pt x="20406" y="11750"/>
                </a:cubicBezTo>
                <a:cubicBezTo>
                  <a:pt x="20375" y="11750"/>
                  <a:pt x="20344" y="11750"/>
                  <a:pt x="20344" y="11750"/>
                </a:cubicBezTo>
                <a:cubicBezTo>
                  <a:pt x="20312" y="11750"/>
                  <a:pt x="20281" y="11750"/>
                  <a:pt x="20281" y="11781"/>
                </a:cubicBezTo>
                <a:cubicBezTo>
                  <a:pt x="20250" y="11812"/>
                  <a:pt x="20187" y="11812"/>
                  <a:pt x="20156" y="11812"/>
                </a:cubicBezTo>
                <a:cubicBezTo>
                  <a:pt x="20187" y="11812"/>
                  <a:pt x="20250" y="11812"/>
                  <a:pt x="20281" y="11781"/>
                </a:cubicBezTo>
                <a:close/>
                <a:moveTo>
                  <a:pt x="20125" y="10000"/>
                </a:moveTo>
                <a:cubicBezTo>
                  <a:pt x="20156" y="10000"/>
                  <a:pt x="20187" y="10000"/>
                  <a:pt x="20187" y="10031"/>
                </a:cubicBezTo>
                <a:cubicBezTo>
                  <a:pt x="20187" y="10031"/>
                  <a:pt x="20187" y="10031"/>
                  <a:pt x="20187" y="10031"/>
                </a:cubicBezTo>
                <a:cubicBezTo>
                  <a:pt x="20187" y="10000"/>
                  <a:pt x="20156" y="10000"/>
                  <a:pt x="20125" y="10000"/>
                </a:cubicBezTo>
                <a:close/>
                <a:moveTo>
                  <a:pt x="20187" y="10031"/>
                </a:moveTo>
                <a:cubicBezTo>
                  <a:pt x="20219" y="10031"/>
                  <a:pt x="20219" y="10031"/>
                  <a:pt x="20219" y="10031"/>
                </a:cubicBezTo>
                <a:cubicBezTo>
                  <a:pt x="20219" y="10031"/>
                  <a:pt x="20219" y="10031"/>
                  <a:pt x="20219" y="10031"/>
                </a:cubicBezTo>
                <a:cubicBezTo>
                  <a:pt x="20219" y="10031"/>
                  <a:pt x="20219" y="10031"/>
                  <a:pt x="20187" y="10031"/>
                </a:cubicBezTo>
                <a:close/>
                <a:moveTo>
                  <a:pt x="20187" y="10375"/>
                </a:moveTo>
                <a:cubicBezTo>
                  <a:pt x="20187" y="10375"/>
                  <a:pt x="20187" y="10375"/>
                  <a:pt x="20187" y="10375"/>
                </a:cubicBezTo>
                <a:cubicBezTo>
                  <a:pt x="20187" y="10375"/>
                  <a:pt x="20187" y="10375"/>
                  <a:pt x="20187" y="10375"/>
                </a:cubicBezTo>
                <a:cubicBezTo>
                  <a:pt x="20187" y="10375"/>
                  <a:pt x="20187" y="10375"/>
                  <a:pt x="20187" y="10375"/>
                </a:cubicBezTo>
                <a:close/>
                <a:moveTo>
                  <a:pt x="20000" y="10593"/>
                </a:moveTo>
                <a:cubicBezTo>
                  <a:pt x="20000" y="10593"/>
                  <a:pt x="20000" y="10593"/>
                  <a:pt x="20000" y="10593"/>
                </a:cubicBezTo>
                <a:cubicBezTo>
                  <a:pt x="20000" y="10593"/>
                  <a:pt x="20000" y="10625"/>
                  <a:pt x="20000" y="10625"/>
                </a:cubicBezTo>
                <a:cubicBezTo>
                  <a:pt x="20000" y="10625"/>
                  <a:pt x="20000" y="10593"/>
                  <a:pt x="20000" y="10593"/>
                </a:cubicBezTo>
                <a:close/>
                <a:moveTo>
                  <a:pt x="19906" y="8500"/>
                </a:move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875" y="8500"/>
                  <a:pt x="19875" y="8500"/>
                </a:cubicBez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906" y="8500"/>
                  <a:pt x="19875" y="8500"/>
                </a:cubicBezTo>
                <a:cubicBezTo>
                  <a:pt x="19844" y="8500"/>
                  <a:pt x="19781" y="8500"/>
                  <a:pt x="19750" y="8531"/>
                </a:cubicBezTo>
                <a:cubicBezTo>
                  <a:pt x="19781" y="8500"/>
                  <a:pt x="19844" y="8500"/>
                  <a:pt x="19875" y="8500"/>
                </a:cubicBez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906" y="8468"/>
                  <a:pt x="19906" y="8468"/>
                </a:cubicBezTo>
                <a:cubicBezTo>
                  <a:pt x="19906" y="8468"/>
                  <a:pt x="19906" y="8500"/>
                  <a:pt x="19906" y="8500"/>
                </a:cubicBezTo>
                <a:close/>
                <a:moveTo>
                  <a:pt x="19937" y="11937"/>
                </a:moveTo>
                <a:cubicBezTo>
                  <a:pt x="20000" y="11937"/>
                  <a:pt x="20031" y="11937"/>
                  <a:pt x="20062" y="11937"/>
                </a:cubicBezTo>
                <a:cubicBezTo>
                  <a:pt x="20062" y="11937"/>
                  <a:pt x="20062" y="11937"/>
                  <a:pt x="20062" y="11937"/>
                </a:cubicBezTo>
                <a:cubicBezTo>
                  <a:pt x="20031" y="11937"/>
                  <a:pt x="20000" y="11937"/>
                  <a:pt x="19937" y="11937"/>
                </a:cubicBezTo>
                <a:close/>
                <a:moveTo>
                  <a:pt x="20781" y="12812"/>
                </a:moveTo>
                <a:cubicBezTo>
                  <a:pt x="20875" y="12781"/>
                  <a:pt x="20969" y="12750"/>
                  <a:pt x="21031" y="12718"/>
                </a:cubicBezTo>
                <a:cubicBezTo>
                  <a:pt x="20969" y="12750"/>
                  <a:pt x="20875" y="12781"/>
                  <a:pt x="20781" y="12812"/>
                </a:cubicBezTo>
                <a:cubicBezTo>
                  <a:pt x="20625" y="12875"/>
                  <a:pt x="20437" y="12906"/>
                  <a:pt x="20250" y="12968"/>
                </a:cubicBezTo>
                <a:cubicBezTo>
                  <a:pt x="20437" y="12906"/>
                  <a:pt x="20625" y="12875"/>
                  <a:pt x="20781" y="12812"/>
                </a:cubicBezTo>
                <a:close/>
                <a:moveTo>
                  <a:pt x="20281" y="11906"/>
                </a:moveTo>
                <a:cubicBezTo>
                  <a:pt x="20344" y="11875"/>
                  <a:pt x="20406" y="11843"/>
                  <a:pt x="20469" y="11843"/>
                </a:cubicBezTo>
                <a:cubicBezTo>
                  <a:pt x="20406" y="11843"/>
                  <a:pt x="20344" y="11875"/>
                  <a:pt x="20281" y="11906"/>
                </a:cubicBezTo>
                <a:close/>
                <a:moveTo>
                  <a:pt x="20625" y="11781"/>
                </a:moveTo>
                <a:cubicBezTo>
                  <a:pt x="20625" y="11781"/>
                  <a:pt x="20625" y="11781"/>
                  <a:pt x="20625" y="11781"/>
                </a:cubicBezTo>
                <a:cubicBezTo>
                  <a:pt x="20625" y="11781"/>
                  <a:pt x="20625" y="11750"/>
                  <a:pt x="20656" y="11718"/>
                </a:cubicBezTo>
                <a:cubicBezTo>
                  <a:pt x="20469" y="11781"/>
                  <a:pt x="20312" y="11843"/>
                  <a:pt x="20125" y="11875"/>
                </a:cubicBezTo>
                <a:cubicBezTo>
                  <a:pt x="20125" y="11906"/>
                  <a:pt x="20094" y="11906"/>
                  <a:pt x="20062" y="11906"/>
                </a:cubicBezTo>
                <a:cubicBezTo>
                  <a:pt x="20094" y="11906"/>
                  <a:pt x="20125" y="11906"/>
                  <a:pt x="20125" y="11875"/>
                </a:cubicBezTo>
                <a:cubicBezTo>
                  <a:pt x="20312" y="11843"/>
                  <a:pt x="20469" y="11781"/>
                  <a:pt x="20656" y="11718"/>
                </a:cubicBezTo>
                <a:cubicBezTo>
                  <a:pt x="20625" y="11750"/>
                  <a:pt x="20625" y="11781"/>
                  <a:pt x="20625" y="11781"/>
                </a:cubicBezTo>
                <a:close/>
                <a:moveTo>
                  <a:pt x="21437" y="11500"/>
                </a:moveTo>
                <a:cubicBezTo>
                  <a:pt x="21437" y="11500"/>
                  <a:pt x="21437" y="11500"/>
                  <a:pt x="21437" y="11500"/>
                </a:cubicBezTo>
                <a:cubicBezTo>
                  <a:pt x="21437" y="11500"/>
                  <a:pt x="21406" y="11500"/>
                  <a:pt x="21406" y="11500"/>
                </a:cubicBezTo>
                <a:cubicBezTo>
                  <a:pt x="21344" y="11500"/>
                  <a:pt x="21281" y="11531"/>
                  <a:pt x="21219" y="11562"/>
                </a:cubicBezTo>
                <a:cubicBezTo>
                  <a:pt x="21094" y="11593"/>
                  <a:pt x="21000" y="11625"/>
                  <a:pt x="20875" y="11656"/>
                </a:cubicBezTo>
                <a:cubicBezTo>
                  <a:pt x="21000" y="11625"/>
                  <a:pt x="21094" y="11593"/>
                  <a:pt x="21219" y="11562"/>
                </a:cubicBezTo>
                <a:cubicBezTo>
                  <a:pt x="21281" y="11531"/>
                  <a:pt x="21344" y="11500"/>
                  <a:pt x="21406" y="11500"/>
                </a:cubicBezTo>
                <a:cubicBezTo>
                  <a:pt x="21406" y="11500"/>
                  <a:pt x="21437" y="11500"/>
                  <a:pt x="21437" y="11500"/>
                </a:cubicBezTo>
                <a:cubicBezTo>
                  <a:pt x="21437" y="11500"/>
                  <a:pt x="21437" y="11500"/>
                  <a:pt x="21437" y="11500"/>
                </a:cubicBezTo>
                <a:close/>
                <a:moveTo>
                  <a:pt x="21844" y="11375"/>
                </a:moveTo>
                <a:cubicBezTo>
                  <a:pt x="21812" y="11375"/>
                  <a:pt x="21781" y="11406"/>
                  <a:pt x="21750" y="11406"/>
                </a:cubicBezTo>
                <a:cubicBezTo>
                  <a:pt x="21781" y="11406"/>
                  <a:pt x="21812" y="11375"/>
                  <a:pt x="21844" y="11375"/>
                </a:cubicBezTo>
                <a:cubicBezTo>
                  <a:pt x="21844" y="11375"/>
                  <a:pt x="21844" y="11375"/>
                  <a:pt x="21844" y="11375"/>
                </a:cubicBezTo>
                <a:close/>
                <a:moveTo>
                  <a:pt x="22156" y="11218"/>
                </a:moveTo>
                <a:cubicBezTo>
                  <a:pt x="22187" y="11218"/>
                  <a:pt x="22219" y="11218"/>
                  <a:pt x="22250" y="11218"/>
                </a:cubicBezTo>
                <a:cubicBezTo>
                  <a:pt x="22250" y="11218"/>
                  <a:pt x="22281" y="11218"/>
                  <a:pt x="22281" y="11218"/>
                </a:cubicBezTo>
                <a:cubicBezTo>
                  <a:pt x="22281" y="11218"/>
                  <a:pt x="22250" y="11218"/>
                  <a:pt x="22250" y="11218"/>
                </a:cubicBezTo>
                <a:cubicBezTo>
                  <a:pt x="22219" y="11218"/>
                  <a:pt x="22187" y="11218"/>
                  <a:pt x="22156" y="11218"/>
                </a:cubicBezTo>
                <a:close/>
                <a:moveTo>
                  <a:pt x="22281" y="11218"/>
                </a:moveTo>
                <a:cubicBezTo>
                  <a:pt x="22281" y="11218"/>
                  <a:pt x="22281" y="11250"/>
                  <a:pt x="22281" y="11250"/>
                </a:cubicBezTo>
                <a:cubicBezTo>
                  <a:pt x="22281" y="11250"/>
                  <a:pt x="22281" y="11218"/>
                  <a:pt x="22281" y="11218"/>
                </a:cubicBezTo>
                <a:close/>
                <a:moveTo>
                  <a:pt x="22906" y="11000"/>
                </a:moveTo>
                <a:cubicBezTo>
                  <a:pt x="22875" y="11031"/>
                  <a:pt x="22812" y="11062"/>
                  <a:pt x="22750" y="11062"/>
                </a:cubicBezTo>
                <a:cubicBezTo>
                  <a:pt x="22812" y="11062"/>
                  <a:pt x="22875" y="11031"/>
                  <a:pt x="22906" y="11000"/>
                </a:cubicBezTo>
                <a:close/>
                <a:moveTo>
                  <a:pt x="22937" y="11000"/>
                </a:moveTo>
                <a:cubicBezTo>
                  <a:pt x="22969" y="11000"/>
                  <a:pt x="23000" y="11000"/>
                  <a:pt x="23000" y="11000"/>
                </a:cubicBezTo>
                <a:cubicBezTo>
                  <a:pt x="23000" y="11000"/>
                  <a:pt x="22969" y="11000"/>
                  <a:pt x="22937" y="11000"/>
                </a:cubicBezTo>
                <a:close/>
                <a:moveTo>
                  <a:pt x="23031" y="10968"/>
                </a:moveTo>
                <a:cubicBezTo>
                  <a:pt x="23031" y="10968"/>
                  <a:pt x="23031" y="10968"/>
                  <a:pt x="23031" y="10968"/>
                </a:cubicBezTo>
                <a:cubicBezTo>
                  <a:pt x="23031" y="10968"/>
                  <a:pt x="23062" y="10968"/>
                  <a:pt x="23094" y="10937"/>
                </a:cubicBezTo>
                <a:cubicBezTo>
                  <a:pt x="23062" y="10968"/>
                  <a:pt x="23031" y="10968"/>
                  <a:pt x="23031" y="10968"/>
                </a:cubicBezTo>
                <a:close/>
                <a:moveTo>
                  <a:pt x="23500" y="10781"/>
                </a:moveTo>
                <a:cubicBezTo>
                  <a:pt x="23469" y="10812"/>
                  <a:pt x="23437" y="10843"/>
                  <a:pt x="23375" y="10843"/>
                </a:cubicBezTo>
                <a:cubicBezTo>
                  <a:pt x="23437" y="10843"/>
                  <a:pt x="23469" y="10812"/>
                  <a:pt x="23500" y="10781"/>
                </a:cubicBezTo>
                <a:cubicBezTo>
                  <a:pt x="23750" y="10718"/>
                  <a:pt x="23969" y="10625"/>
                  <a:pt x="24219" y="10531"/>
                </a:cubicBezTo>
                <a:cubicBezTo>
                  <a:pt x="23969" y="10625"/>
                  <a:pt x="23750" y="10718"/>
                  <a:pt x="23500" y="10781"/>
                </a:cubicBezTo>
                <a:close/>
                <a:moveTo>
                  <a:pt x="23781" y="10593"/>
                </a:moveTo>
                <a:cubicBezTo>
                  <a:pt x="23812" y="10593"/>
                  <a:pt x="23812" y="10562"/>
                  <a:pt x="23844" y="10531"/>
                </a:cubicBezTo>
                <a:cubicBezTo>
                  <a:pt x="23937" y="10500"/>
                  <a:pt x="24062" y="10468"/>
                  <a:pt x="24156" y="10437"/>
                </a:cubicBezTo>
                <a:cubicBezTo>
                  <a:pt x="24062" y="10468"/>
                  <a:pt x="23937" y="10500"/>
                  <a:pt x="23844" y="10531"/>
                </a:cubicBezTo>
                <a:cubicBezTo>
                  <a:pt x="23812" y="10562"/>
                  <a:pt x="23812" y="10593"/>
                  <a:pt x="23781" y="10593"/>
                </a:cubicBezTo>
                <a:close/>
                <a:moveTo>
                  <a:pt x="24531" y="10406"/>
                </a:moveTo>
                <a:cubicBezTo>
                  <a:pt x="24500" y="10437"/>
                  <a:pt x="24469" y="10468"/>
                  <a:pt x="24437" y="10468"/>
                </a:cubicBezTo>
                <a:cubicBezTo>
                  <a:pt x="24469" y="10468"/>
                  <a:pt x="24500" y="10437"/>
                  <a:pt x="24531" y="10406"/>
                </a:cubicBezTo>
                <a:cubicBezTo>
                  <a:pt x="24594" y="10406"/>
                  <a:pt x="24625" y="10375"/>
                  <a:pt x="24687" y="10375"/>
                </a:cubicBezTo>
                <a:cubicBezTo>
                  <a:pt x="24625" y="10375"/>
                  <a:pt x="24594" y="10406"/>
                  <a:pt x="24531" y="10406"/>
                </a:cubicBezTo>
                <a:close/>
                <a:moveTo>
                  <a:pt x="24969" y="10281"/>
                </a:moveTo>
                <a:cubicBezTo>
                  <a:pt x="24969" y="10281"/>
                  <a:pt x="25000" y="10281"/>
                  <a:pt x="25000" y="10281"/>
                </a:cubicBezTo>
                <a:cubicBezTo>
                  <a:pt x="25000" y="10281"/>
                  <a:pt x="24969" y="10281"/>
                  <a:pt x="24969" y="10281"/>
                </a:cubicBezTo>
                <a:close/>
                <a:moveTo>
                  <a:pt x="25031" y="10250"/>
                </a:moveTo>
                <a:cubicBezTo>
                  <a:pt x="25031" y="10250"/>
                  <a:pt x="25031" y="10250"/>
                  <a:pt x="25031" y="10250"/>
                </a:cubicBezTo>
                <a:cubicBezTo>
                  <a:pt x="25062" y="10218"/>
                  <a:pt x="25125" y="10218"/>
                  <a:pt x="25187" y="10187"/>
                </a:cubicBezTo>
                <a:cubicBezTo>
                  <a:pt x="25125" y="10218"/>
                  <a:pt x="25062" y="10218"/>
                  <a:pt x="25031" y="10250"/>
                </a:cubicBezTo>
                <a:close/>
                <a:moveTo>
                  <a:pt x="26031" y="9750"/>
                </a:moveTo>
                <a:cubicBezTo>
                  <a:pt x="26000" y="9750"/>
                  <a:pt x="25969" y="9781"/>
                  <a:pt x="25937" y="9781"/>
                </a:cubicBezTo>
                <a:cubicBezTo>
                  <a:pt x="25969" y="9781"/>
                  <a:pt x="26000" y="9750"/>
                  <a:pt x="26031" y="9750"/>
                </a:cubicBezTo>
                <a:cubicBezTo>
                  <a:pt x="26094" y="9718"/>
                  <a:pt x="26156" y="9718"/>
                  <a:pt x="26219" y="9687"/>
                </a:cubicBezTo>
                <a:cubicBezTo>
                  <a:pt x="26156" y="9718"/>
                  <a:pt x="26094" y="9718"/>
                  <a:pt x="26031" y="9750"/>
                </a:cubicBezTo>
                <a:close/>
                <a:moveTo>
                  <a:pt x="27625" y="9312"/>
                </a:moveTo>
                <a:cubicBezTo>
                  <a:pt x="27656" y="9312"/>
                  <a:pt x="27687" y="9281"/>
                  <a:pt x="27719" y="9250"/>
                </a:cubicBezTo>
                <a:cubicBezTo>
                  <a:pt x="27687" y="9281"/>
                  <a:pt x="27656" y="9312"/>
                  <a:pt x="27625" y="9312"/>
                </a:cubicBezTo>
                <a:close/>
                <a:moveTo>
                  <a:pt x="27750" y="9250"/>
                </a:moveTo>
                <a:cubicBezTo>
                  <a:pt x="27750" y="9250"/>
                  <a:pt x="27750" y="9250"/>
                  <a:pt x="27750" y="9250"/>
                </a:cubicBezTo>
                <a:cubicBezTo>
                  <a:pt x="27937" y="9156"/>
                  <a:pt x="28125" y="9093"/>
                  <a:pt x="28312" y="9031"/>
                </a:cubicBezTo>
                <a:cubicBezTo>
                  <a:pt x="28125" y="9093"/>
                  <a:pt x="27937" y="9156"/>
                  <a:pt x="27750" y="9250"/>
                </a:cubicBezTo>
                <a:close/>
                <a:moveTo>
                  <a:pt x="28562" y="8812"/>
                </a:moveTo>
                <a:cubicBezTo>
                  <a:pt x="28562" y="8812"/>
                  <a:pt x="28562" y="8812"/>
                  <a:pt x="28562" y="8812"/>
                </a:cubicBezTo>
                <a:cubicBezTo>
                  <a:pt x="28562" y="8812"/>
                  <a:pt x="28562" y="8812"/>
                  <a:pt x="28562" y="8843"/>
                </a:cubicBezTo>
                <a:cubicBezTo>
                  <a:pt x="28562" y="8812"/>
                  <a:pt x="28562" y="8812"/>
                  <a:pt x="28562" y="8812"/>
                </a:cubicBezTo>
                <a:close/>
                <a:moveTo>
                  <a:pt x="29000" y="8937"/>
                </a:moveTo>
                <a:cubicBezTo>
                  <a:pt x="29000" y="8937"/>
                  <a:pt x="29000" y="8937"/>
                  <a:pt x="29000" y="8937"/>
                </a:cubicBezTo>
                <a:cubicBezTo>
                  <a:pt x="29031" y="8937"/>
                  <a:pt x="29031" y="8937"/>
                  <a:pt x="29062" y="8937"/>
                </a:cubicBezTo>
                <a:cubicBezTo>
                  <a:pt x="29031" y="8937"/>
                  <a:pt x="29031" y="8937"/>
                  <a:pt x="29000" y="8937"/>
                </a:cubicBezTo>
                <a:close/>
                <a:moveTo>
                  <a:pt x="28562" y="8750"/>
                </a:moveTo>
                <a:cubicBezTo>
                  <a:pt x="28344" y="8843"/>
                  <a:pt x="28125" y="8906"/>
                  <a:pt x="27937" y="9000"/>
                </a:cubicBezTo>
                <a:cubicBezTo>
                  <a:pt x="27906" y="9000"/>
                  <a:pt x="27906" y="9031"/>
                  <a:pt x="27875" y="9031"/>
                </a:cubicBezTo>
                <a:cubicBezTo>
                  <a:pt x="27875" y="9031"/>
                  <a:pt x="27875" y="9031"/>
                  <a:pt x="27906" y="9031"/>
                </a:cubicBezTo>
                <a:cubicBezTo>
                  <a:pt x="27875" y="9031"/>
                  <a:pt x="27875" y="9031"/>
                  <a:pt x="27875" y="9031"/>
                </a:cubicBezTo>
                <a:cubicBezTo>
                  <a:pt x="27687" y="9062"/>
                  <a:pt x="27500" y="9156"/>
                  <a:pt x="27312" y="9218"/>
                </a:cubicBezTo>
                <a:cubicBezTo>
                  <a:pt x="26937" y="9375"/>
                  <a:pt x="26594" y="9468"/>
                  <a:pt x="26219" y="9625"/>
                </a:cubicBezTo>
                <a:cubicBezTo>
                  <a:pt x="26156" y="9656"/>
                  <a:pt x="26062" y="9656"/>
                  <a:pt x="26000" y="9718"/>
                </a:cubicBezTo>
                <a:cubicBezTo>
                  <a:pt x="25969" y="9718"/>
                  <a:pt x="25969" y="9718"/>
                  <a:pt x="25937" y="9750"/>
                </a:cubicBezTo>
                <a:cubicBezTo>
                  <a:pt x="25906" y="9718"/>
                  <a:pt x="25906" y="9750"/>
                  <a:pt x="25875" y="9750"/>
                </a:cubicBezTo>
                <a:cubicBezTo>
                  <a:pt x="25875" y="9750"/>
                  <a:pt x="25875" y="9750"/>
                  <a:pt x="25875" y="9750"/>
                </a:cubicBezTo>
                <a:cubicBezTo>
                  <a:pt x="25812" y="9750"/>
                  <a:pt x="25781" y="9812"/>
                  <a:pt x="25719" y="9812"/>
                </a:cubicBezTo>
                <a:cubicBezTo>
                  <a:pt x="25375" y="9937"/>
                  <a:pt x="25000" y="10062"/>
                  <a:pt x="24656" y="10187"/>
                </a:cubicBezTo>
                <a:cubicBezTo>
                  <a:pt x="24437" y="10281"/>
                  <a:pt x="24219" y="10343"/>
                  <a:pt x="24000" y="10437"/>
                </a:cubicBezTo>
                <a:cubicBezTo>
                  <a:pt x="23969" y="10437"/>
                  <a:pt x="23937" y="10437"/>
                  <a:pt x="23906" y="10468"/>
                </a:cubicBezTo>
                <a:cubicBezTo>
                  <a:pt x="23906" y="10468"/>
                  <a:pt x="23906" y="10468"/>
                  <a:pt x="23906" y="10468"/>
                </a:cubicBezTo>
                <a:cubicBezTo>
                  <a:pt x="23750" y="10531"/>
                  <a:pt x="23625" y="10562"/>
                  <a:pt x="23500" y="10625"/>
                </a:cubicBezTo>
                <a:cubicBezTo>
                  <a:pt x="23437" y="10593"/>
                  <a:pt x="23406" y="10625"/>
                  <a:pt x="23375" y="10656"/>
                </a:cubicBezTo>
                <a:cubicBezTo>
                  <a:pt x="23375" y="10656"/>
                  <a:pt x="23375" y="10656"/>
                  <a:pt x="23375" y="10656"/>
                </a:cubicBezTo>
                <a:cubicBezTo>
                  <a:pt x="23375" y="10656"/>
                  <a:pt x="23375" y="10656"/>
                  <a:pt x="23375" y="10656"/>
                </a:cubicBezTo>
                <a:cubicBezTo>
                  <a:pt x="23375" y="10656"/>
                  <a:pt x="23375" y="10656"/>
                  <a:pt x="23375" y="10656"/>
                </a:cubicBezTo>
                <a:cubicBezTo>
                  <a:pt x="23344" y="10656"/>
                  <a:pt x="23312" y="10656"/>
                  <a:pt x="23281" y="10687"/>
                </a:cubicBezTo>
                <a:cubicBezTo>
                  <a:pt x="23281" y="10687"/>
                  <a:pt x="23281" y="10687"/>
                  <a:pt x="23281" y="10687"/>
                </a:cubicBezTo>
                <a:cubicBezTo>
                  <a:pt x="23281" y="10687"/>
                  <a:pt x="23281" y="10687"/>
                  <a:pt x="23281" y="10687"/>
                </a:cubicBezTo>
                <a:cubicBezTo>
                  <a:pt x="23281" y="10687"/>
                  <a:pt x="23281" y="10687"/>
                  <a:pt x="23281" y="10687"/>
                </a:cubicBezTo>
                <a:cubicBezTo>
                  <a:pt x="23219" y="10687"/>
                  <a:pt x="23187" y="10687"/>
                  <a:pt x="23156" y="10750"/>
                </a:cubicBezTo>
                <a:cubicBezTo>
                  <a:pt x="23000" y="10781"/>
                  <a:pt x="22844" y="10812"/>
                  <a:pt x="22687" y="10906"/>
                </a:cubicBezTo>
                <a:cubicBezTo>
                  <a:pt x="22687" y="10906"/>
                  <a:pt x="22687" y="10906"/>
                  <a:pt x="22687" y="10906"/>
                </a:cubicBezTo>
                <a:cubicBezTo>
                  <a:pt x="22625" y="10906"/>
                  <a:pt x="22562" y="10906"/>
                  <a:pt x="22531" y="10968"/>
                </a:cubicBezTo>
                <a:cubicBezTo>
                  <a:pt x="22469" y="11000"/>
                  <a:pt x="22406" y="11000"/>
                  <a:pt x="22375" y="11000"/>
                </a:cubicBezTo>
                <a:cubicBezTo>
                  <a:pt x="22250" y="11000"/>
                  <a:pt x="22156" y="11062"/>
                  <a:pt x="22031" y="11125"/>
                </a:cubicBezTo>
                <a:cubicBezTo>
                  <a:pt x="21906" y="11156"/>
                  <a:pt x="21781" y="11218"/>
                  <a:pt x="21625" y="11250"/>
                </a:cubicBezTo>
                <a:cubicBezTo>
                  <a:pt x="21594" y="11218"/>
                  <a:pt x="21531" y="11281"/>
                  <a:pt x="21469" y="11250"/>
                </a:cubicBezTo>
                <a:cubicBezTo>
                  <a:pt x="21656" y="11187"/>
                  <a:pt x="21844" y="11125"/>
                  <a:pt x="22031" y="11062"/>
                </a:cubicBezTo>
                <a:cubicBezTo>
                  <a:pt x="22437" y="10906"/>
                  <a:pt x="22844" y="10781"/>
                  <a:pt x="23250" y="10625"/>
                </a:cubicBezTo>
                <a:cubicBezTo>
                  <a:pt x="23687" y="10437"/>
                  <a:pt x="24156" y="10281"/>
                  <a:pt x="24625" y="10125"/>
                </a:cubicBezTo>
                <a:cubicBezTo>
                  <a:pt x="25062" y="9937"/>
                  <a:pt x="25531" y="9781"/>
                  <a:pt x="25969" y="9625"/>
                </a:cubicBezTo>
                <a:cubicBezTo>
                  <a:pt x="26437" y="9437"/>
                  <a:pt x="26875" y="9281"/>
                  <a:pt x="27312" y="9093"/>
                </a:cubicBezTo>
                <a:cubicBezTo>
                  <a:pt x="27750" y="8937"/>
                  <a:pt x="28187" y="8781"/>
                  <a:pt x="28625" y="8625"/>
                </a:cubicBezTo>
                <a:cubicBezTo>
                  <a:pt x="28937" y="8500"/>
                  <a:pt x="29281" y="8375"/>
                  <a:pt x="29594" y="8250"/>
                </a:cubicBezTo>
                <a:cubicBezTo>
                  <a:pt x="29625" y="8218"/>
                  <a:pt x="29656" y="8218"/>
                  <a:pt x="29656" y="8187"/>
                </a:cubicBezTo>
                <a:cubicBezTo>
                  <a:pt x="29719" y="8218"/>
                  <a:pt x="29750" y="8156"/>
                  <a:pt x="29781" y="8156"/>
                </a:cubicBezTo>
                <a:cubicBezTo>
                  <a:pt x="29781" y="8156"/>
                  <a:pt x="29781" y="8156"/>
                  <a:pt x="29812" y="8156"/>
                </a:cubicBezTo>
                <a:cubicBezTo>
                  <a:pt x="29844" y="8125"/>
                  <a:pt x="29875" y="8125"/>
                  <a:pt x="29906" y="8125"/>
                </a:cubicBezTo>
                <a:cubicBezTo>
                  <a:pt x="29969" y="8218"/>
                  <a:pt x="29969" y="8218"/>
                  <a:pt x="29969" y="8218"/>
                </a:cubicBezTo>
                <a:cubicBezTo>
                  <a:pt x="29906" y="8250"/>
                  <a:pt x="29812" y="8281"/>
                  <a:pt x="29719" y="8312"/>
                </a:cubicBezTo>
                <a:cubicBezTo>
                  <a:pt x="29687" y="8312"/>
                  <a:pt x="29656" y="8343"/>
                  <a:pt x="29625" y="8375"/>
                </a:cubicBezTo>
                <a:cubicBezTo>
                  <a:pt x="29625" y="8375"/>
                  <a:pt x="29625" y="8375"/>
                  <a:pt x="29594" y="8375"/>
                </a:cubicBezTo>
                <a:cubicBezTo>
                  <a:pt x="29562" y="8375"/>
                  <a:pt x="29562" y="8375"/>
                  <a:pt x="29531" y="8375"/>
                </a:cubicBezTo>
                <a:cubicBezTo>
                  <a:pt x="29531" y="8375"/>
                  <a:pt x="29531" y="8375"/>
                  <a:pt x="29531" y="8375"/>
                </a:cubicBezTo>
                <a:cubicBezTo>
                  <a:pt x="29500" y="8406"/>
                  <a:pt x="29469" y="8406"/>
                  <a:pt x="29437" y="8437"/>
                </a:cubicBezTo>
                <a:cubicBezTo>
                  <a:pt x="29156" y="8531"/>
                  <a:pt x="28844" y="8625"/>
                  <a:pt x="28562" y="8750"/>
                </a:cubicBezTo>
                <a:close/>
                <a:moveTo>
                  <a:pt x="28000" y="8781"/>
                </a:moveTo>
                <a:cubicBezTo>
                  <a:pt x="28062" y="8750"/>
                  <a:pt x="28094" y="8718"/>
                  <a:pt x="28125" y="8718"/>
                </a:cubicBezTo>
                <a:cubicBezTo>
                  <a:pt x="28125" y="8718"/>
                  <a:pt x="28156" y="8718"/>
                  <a:pt x="28156" y="8718"/>
                </a:cubicBezTo>
                <a:cubicBezTo>
                  <a:pt x="28156" y="8718"/>
                  <a:pt x="28125" y="8718"/>
                  <a:pt x="28125" y="8718"/>
                </a:cubicBezTo>
                <a:cubicBezTo>
                  <a:pt x="28094" y="8718"/>
                  <a:pt x="28062" y="8750"/>
                  <a:pt x="28000" y="8781"/>
                </a:cubicBezTo>
                <a:close/>
                <a:moveTo>
                  <a:pt x="29594" y="8187"/>
                </a:moveTo>
                <a:cubicBezTo>
                  <a:pt x="29594" y="8187"/>
                  <a:pt x="29594" y="8187"/>
                  <a:pt x="29594" y="8187"/>
                </a:cubicBezTo>
                <a:cubicBezTo>
                  <a:pt x="29594" y="8218"/>
                  <a:pt x="29594" y="8218"/>
                  <a:pt x="29562" y="8218"/>
                </a:cubicBezTo>
                <a:cubicBezTo>
                  <a:pt x="29594" y="8218"/>
                  <a:pt x="29594" y="8218"/>
                  <a:pt x="29594" y="8187"/>
                </a:cubicBezTo>
                <a:close/>
                <a:moveTo>
                  <a:pt x="29656" y="8156"/>
                </a:moveTo>
                <a:cubicBezTo>
                  <a:pt x="29687" y="8156"/>
                  <a:pt x="29687" y="8156"/>
                  <a:pt x="29719" y="8125"/>
                </a:cubicBezTo>
                <a:cubicBezTo>
                  <a:pt x="29719" y="8125"/>
                  <a:pt x="29750" y="8125"/>
                  <a:pt x="29750" y="8125"/>
                </a:cubicBezTo>
                <a:cubicBezTo>
                  <a:pt x="29781" y="8093"/>
                  <a:pt x="29812" y="8093"/>
                  <a:pt x="29812" y="8062"/>
                </a:cubicBezTo>
                <a:cubicBezTo>
                  <a:pt x="29812" y="8093"/>
                  <a:pt x="29781" y="8093"/>
                  <a:pt x="29750" y="8125"/>
                </a:cubicBezTo>
                <a:cubicBezTo>
                  <a:pt x="29750" y="8125"/>
                  <a:pt x="29719" y="8125"/>
                  <a:pt x="29719" y="8125"/>
                </a:cubicBezTo>
                <a:cubicBezTo>
                  <a:pt x="29687" y="8156"/>
                  <a:pt x="29687" y="8156"/>
                  <a:pt x="29656" y="8156"/>
                </a:cubicBezTo>
                <a:close/>
                <a:moveTo>
                  <a:pt x="29656" y="8375"/>
                </a:moveTo>
                <a:cubicBezTo>
                  <a:pt x="29656" y="8375"/>
                  <a:pt x="29656" y="8375"/>
                  <a:pt x="29656" y="8375"/>
                </a:cubicBezTo>
                <a:cubicBezTo>
                  <a:pt x="29656" y="8375"/>
                  <a:pt x="29656" y="8375"/>
                  <a:pt x="29656" y="8375"/>
                </a:cubicBezTo>
                <a:cubicBezTo>
                  <a:pt x="29656" y="8375"/>
                  <a:pt x="29656" y="8375"/>
                  <a:pt x="29656" y="8375"/>
                </a:cubicBezTo>
                <a:close/>
                <a:moveTo>
                  <a:pt x="29594" y="8437"/>
                </a:moveTo>
                <a:cubicBezTo>
                  <a:pt x="29594" y="8437"/>
                  <a:pt x="29594" y="8437"/>
                  <a:pt x="29594" y="8437"/>
                </a:cubicBezTo>
                <a:cubicBezTo>
                  <a:pt x="29594" y="8437"/>
                  <a:pt x="29594" y="8406"/>
                  <a:pt x="29594" y="8406"/>
                </a:cubicBezTo>
                <a:cubicBezTo>
                  <a:pt x="29594" y="8406"/>
                  <a:pt x="29594" y="8437"/>
                  <a:pt x="29594" y="8437"/>
                </a:cubicBezTo>
                <a:close/>
                <a:moveTo>
                  <a:pt x="29219" y="8531"/>
                </a:moveTo>
                <a:cubicBezTo>
                  <a:pt x="29312" y="8500"/>
                  <a:pt x="29406" y="8468"/>
                  <a:pt x="29500" y="8468"/>
                </a:cubicBezTo>
                <a:cubicBezTo>
                  <a:pt x="29531" y="8437"/>
                  <a:pt x="29531" y="8437"/>
                  <a:pt x="29562" y="8406"/>
                </a:cubicBezTo>
                <a:cubicBezTo>
                  <a:pt x="29531" y="8437"/>
                  <a:pt x="29531" y="8437"/>
                  <a:pt x="29500" y="8468"/>
                </a:cubicBezTo>
                <a:cubicBezTo>
                  <a:pt x="29406" y="8468"/>
                  <a:pt x="29312" y="8500"/>
                  <a:pt x="29219" y="8531"/>
                </a:cubicBezTo>
                <a:close/>
                <a:moveTo>
                  <a:pt x="29437" y="8843"/>
                </a:moveTo>
                <a:cubicBezTo>
                  <a:pt x="29469" y="8906"/>
                  <a:pt x="29469" y="8937"/>
                  <a:pt x="29531" y="8968"/>
                </a:cubicBezTo>
                <a:cubicBezTo>
                  <a:pt x="29469" y="8937"/>
                  <a:pt x="29469" y="8906"/>
                  <a:pt x="29437" y="8843"/>
                </a:cubicBezTo>
                <a:cubicBezTo>
                  <a:pt x="29406" y="8843"/>
                  <a:pt x="29406" y="8812"/>
                  <a:pt x="29375" y="8812"/>
                </a:cubicBezTo>
                <a:cubicBezTo>
                  <a:pt x="29375" y="8812"/>
                  <a:pt x="29375" y="8812"/>
                  <a:pt x="29375" y="8812"/>
                </a:cubicBezTo>
                <a:cubicBezTo>
                  <a:pt x="29406" y="8812"/>
                  <a:pt x="29406" y="8843"/>
                  <a:pt x="29437" y="8843"/>
                </a:cubicBezTo>
                <a:close/>
                <a:moveTo>
                  <a:pt x="29187" y="9125"/>
                </a:moveTo>
                <a:cubicBezTo>
                  <a:pt x="29125" y="9156"/>
                  <a:pt x="29062" y="9156"/>
                  <a:pt x="29031" y="9187"/>
                </a:cubicBezTo>
                <a:cubicBezTo>
                  <a:pt x="29062" y="9156"/>
                  <a:pt x="29125" y="9156"/>
                  <a:pt x="29187" y="9125"/>
                </a:cubicBezTo>
                <a:cubicBezTo>
                  <a:pt x="29219" y="9093"/>
                  <a:pt x="29281" y="9093"/>
                  <a:pt x="29312" y="9062"/>
                </a:cubicBezTo>
                <a:cubicBezTo>
                  <a:pt x="29281" y="9093"/>
                  <a:pt x="29219" y="9093"/>
                  <a:pt x="29187" y="9125"/>
                </a:cubicBezTo>
                <a:close/>
                <a:moveTo>
                  <a:pt x="29406" y="9031"/>
                </a:moveTo>
                <a:cubicBezTo>
                  <a:pt x="29406" y="9062"/>
                  <a:pt x="29375" y="9062"/>
                  <a:pt x="29344" y="9062"/>
                </a:cubicBezTo>
                <a:cubicBezTo>
                  <a:pt x="29375" y="9062"/>
                  <a:pt x="29406" y="9062"/>
                  <a:pt x="29406" y="9031"/>
                </a:cubicBezTo>
                <a:cubicBezTo>
                  <a:pt x="29437" y="9031"/>
                  <a:pt x="29500" y="9031"/>
                  <a:pt x="29531" y="9000"/>
                </a:cubicBezTo>
                <a:cubicBezTo>
                  <a:pt x="29531" y="9000"/>
                  <a:pt x="29531" y="9000"/>
                  <a:pt x="29531" y="9000"/>
                </a:cubicBezTo>
                <a:cubicBezTo>
                  <a:pt x="29531" y="9000"/>
                  <a:pt x="29531" y="9000"/>
                  <a:pt x="29531" y="9000"/>
                </a:cubicBezTo>
                <a:cubicBezTo>
                  <a:pt x="29500" y="9031"/>
                  <a:pt x="29437" y="9031"/>
                  <a:pt x="29406" y="9031"/>
                </a:cubicBezTo>
                <a:close/>
                <a:moveTo>
                  <a:pt x="29500" y="8843"/>
                </a:moveTo>
                <a:cubicBezTo>
                  <a:pt x="29469" y="8843"/>
                  <a:pt x="29437" y="8843"/>
                  <a:pt x="29437" y="8781"/>
                </a:cubicBezTo>
                <a:cubicBezTo>
                  <a:pt x="29437" y="8781"/>
                  <a:pt x="29437" y="8781"/>
                  <a:pt x="29469" y="8781"/>
                </a:cubicBezTo>
                <a:cubicBezTo>
                  <a:pt x="29500" y="8750"/>
                  <a:pt x="29562" y="8750"/>
                  <a:pt x="29625" y="8718"/>
                </a:cubicBezTo>
                <a:cubicBezTo>
                  <a:pt x="29625" y="8718"/>
                  <a:pt x="29656" y="8718"/>
                  <a:pt x="29656" y="8718"/>
                </a:cubicBezTo>
                <a:cubicBezTo>
                  <a:pt x="29656" y="8718"/>
                  <a:pt x="29687" y="8718"/>
                  <a:pt x="29687" y="8687"/>
                </a:cubicBezTo>
                <a:cubicBezTo>
                  <a:pt x="29687" y="8718"/>
                  <a:pt x="29719" y="8718"/>
                  <a:pt x="29719" y="8750"/>
                </a:cubicBezTo>
                <a:cubicBezTo>
                  <a:pt x="29656" y="8812"/>
                  <a:pt x="29562" y="8812"/>
                  <a:pt x="29500" y="8843"/>
                </a:cubicBezTo>
                <a:close/>
                <a:moveTo>
                  <a:pt x="29781" y="8875"/>
                </a:moveTo>
                <a:cubicBezTo>
                  <a:pt x="29750" y="8937"/>
                  <a:pt x="29687" y="8937"/>
                  <a:pt x="29656" y="8968"/>
                </a:cubicBezTo>
                <a:cubicBezTo>
                  <a:pt x="29687" y="8937"/>
                  <a:pt x="29750" y="8937"/>
                  <a:pt x="29781" y="8875"/>
                </a:cubicBezTo>
                <a:cubicBezTo>
                  <a:pt x="29844" y="8875"/>
                  <a:pt x="29875" y="8875"/>
                  <a:pt x="29906" y="8843"/>
                </a:cubicBezTo>
                <a:cubicBezTo>
                  <a:pt x="29906" y="8843"/>
                  <a:pt x="29906" y="8843"/>
                  <a:pt x="29906" y="8843"/>
                </a:cubicBezTo>
                <a:cubicBezTo>
                  <a:pt x="29906" y="8843"/>
                  <a:pt x="29906" y="8843"/>
                  <a:pt x="29906" y="8843"/>
                </a:cubicBezTo>
                <a:cubicBezTo>
                  <a:pt x="29875" y="8875"/>
                  <a:pt x="29844" y="8875"/>
                  <a:pt x="29781" y="8875"/>
                </a:cubicBezTo>
                <a:close/>
                <a:moveTo>
                  <a:pt x="29844" y="8718"/>
                </a:moveTo>
                <a:cubicBezTo>
                  <a:pt x="29844" y="8687"/>
                  <a:pt x="29812" y="8687"/>
                  <a:pt x="29812" y="8656"/>
                </a:cubicBezTo>
                <a:cubicBezTo>
                  <a:pt x="29875" y="8625"/>
                  <a:pt x="29906" y="8625"/>
                  <a:pt x="29969" y="8593"/>
                </a:cubicBezTo>
                <a:cubicBezTo>
                  <a:pt x="30000" y="8625"/>
                  <a:pt x="30000" y="8625"/>
                  <a:pt x="30000" y="8656"/>
                </a:cubicBezTo>
                <a:cubicBezTo>
                  <a:pt x="29969" y="8687"/>
                  <a:pt x="29906" y="8687"/>
                  <a:pt x="29844" y="8718"/>
                </a:cubicBezTo>
                <a:close/>
                <a:moveTo>
                  <a:pt x="30031" y="8718"/>
                </a:moveTo>
                <a:cubicBezTo>
                  <a:pt x="30062" y="8750"/>
                  <a:pt x="30094" y="8781"/>
                  <a:pt x="30062" y="8781"/>
                </a:cubicBezTo>
                <a:cubicBezTo>
                  <a:pt x="30094" y="8781"/>
                  <a:pt x="30062" y="8750"/>
                  <a:pt x="30031" y="8718"/>
                </a:cubicBezTo>
                <a:cubicBezTo>
                  <a:pt x="30031" y="8656"/>
                  <a:pt x="30094" y="8687"/>
                  <a:pt x="30125" y="8656"/>
                </a:cubicBezTo>
                <a:cubicBezTo>
                  <a:pt x="30094" y="8687"/>
                  <a:pt x="30031" y="8656"/>
                  <a:pt x="30031" y="8718"/>
                </a:cubicBezTo>
                <a:close/>
                <a:moveTo>
                  <a:pt x="30250" y="8156"/>
                </a:moveTo>
                <a:cubicBezTo>
                  <a:pt x="30312" y="8125"/>
                  <a:pt x="30406" y="8093"/>
                  <a:pt x="30469" y="8062"/>
                </a:cubicBezTo>
                <a:cubicBezTo>
                  <a:pt x="30469" y="8062"/>
                  <a:pt x="30469" y="8062"/>
                  <a:pt x="30469" y="8062"/>
                </a:cubicBezTo>
                <a:cubicBezTo>
                  <a:pt x="30406" y="8093"/>
                  <a:pt x="30312" y="8125"/>
                  <a:pt x="30250" y="8156"/>
                </a:cubicBezTo>
                <a:close/>
                <a:moveTo>
                  <a:pt x="31344" y="7906"/>
                </a:moveTo>
                <a:cubicBezTo>
                  <a:pt x="31312" y="7937"/>
                  <a:pt x="31250" y="7937"/>
                  <a:pt x="31219" y="7937"/>
                </a:cubicBezTo>
                <a:cubicBezTo>
                  <a:pt x="31250" y="7937"/>
                  <a:pt x="31312" y="7937"/>
                  <a:pt x="31344" y="7906"/>
                </a:cubicBezTo>
                <a:cubicBezTo>
                  <a:pt x="31531" y="7812"/>
                  <a:pt x="31719" y="7750"/>
                  <a:pt x="31906" y="7687"/>
                </a:cubicBezTo>
                <a:cubicBezTo>
                  <a:pt x="31719" y="7750"/>
                  <a:pt x="31531" y="7812"/>
                  <a:pt x="31344" y="7906"/>
                </a:cubicBezTo>
                <a:close/>
                <a:moveTo>
                  <a:pt x="31875" y="6875"/>
                </a:moveTo>
                <a:cubicBezTo>
                  <a:pt x="31875" y="6875"/>
                  <a:pt x="31875" y="6875"/>
                  <a:pt x="31875" y="6875"/>
                </a:cubicBezTo>
                <a:cubicBezTo>
                  <a:pt x="31875" y="6875"/>
                  <a:pt x="31875" y="6875"/>
                  <a:pt x="31875" y="6875"/>
                </a:cubicBezTo>
                <a:cubicBezTo>
                  <a:pt x="31875" y="6875"/>
                  <a:pt x="31875" y="6875"/>
                  <a:pt x="31875" y="6875"/>
                </a:cubicBezTo>
                <a:close/>
                <a:moveTo>
                  <a:pt x="31719" y="6625"/>
                </a:moveTo>
                <a:cubicBezTo>
                  <a:pt x="31719" y="6625"/>
                  <a:pt x="31719" y="6625"/>
                  <a:pt x="31719" y="6625"/>
                </a:cubicBezTo>
                <a:cubicBezTo>
                  <a:pt x="31687" y="6656"/>
                  <a:pt x="31687" y="6656"/>
                  <a:pt x="31656" y="6656"/>
                </a:cubicBezTo>
                <a:cubicBezTo>
                  <a:pt x="31656" y="6656"/>
                  <a:pt x="31656" y="6656"/>
                  <a:pt x="31656" y="6656"/>
                </a:cubicBezTo>
                <a:cubicBezTo>
                  <a:pt x="31687" y="6656"/>
                  <a:pt x="31687" y="6656"/>
                  <a:pt x="31719" y="6625"/>
                </a:cubicBezTo>
                <a:close/>
                <a:moveTo>
                  <a:pt x="31500" y="7031"/>
                </a:moveTo>
                <a:cubicBezTo>
                  <a:pt x="31562" y="7031"/>
                  <a:pt x="31594" y="7000"/>
                  <a:pt x="31594" y="6968"/>
                </a:cubicBezTo>
                <a:cubicBezTo>
                  <a:pt x="31625" y="6937"/>
                  <a:pt x="31687" y="6937"/>
                  <a:pt x="31719" y="6906"/>
                </a:cubicBezTo>
                <a:cubicBezTo>
                  <a:pt x="31750" y="6906"/>
                  <a:pt x="31750" y="6906"/>
                  <a:pt x="31750" y="6906"/>
                </a:cubicBezTo>
                <a:cubicBezTo>
                  <a:pt x="31750" y="6906"/>
                  <a:pt x="31781" y="6906"/>
                  <a:pt x="31781" y="6906"/>
                </a:cubicBezTo>
                <a:cubicBezTo>
                  <a:pt x="31812" y="6906"/>
                  <a:pt x="31844" y="6937"/>
                  <a:pt x="31844" y="7000"/>
                </a:cubicBezTo>
                <a:cubicBezTo>
                  <a:pt x="31812" y="7000"/>
                  <a:pt x="31812" y="7000"/>
                  <a:pt x="31812" y="7000"/>
                </a:cubicBezTo>
                <a:cubicBezTo>
                  <a:pt x="31812" y="7000"/>
                  <a:pt x="31844" y="7031"/>
                  <a:pt x="31844" y="7031"/>
                </a:cubicBezTo>
                <a:cubicBezTo>
                  <a:pt x="31844" y="7031"/>
                  <a:pt x="31812" y="7000"/>
                  <a:pt x="31812" y="7000"/>
                </a:cubicBezTo>
                <a:cubicBezTo>
                  <a:pt x="31687" y="7031"/>
                  <a:pt x="31562" y="7093"/>
                  <a:pt x="31437" y="7125"/>
                </a:cubicBezTo>
                <a:cubicBezTo>
                  <a:pt x="31437" y="7062"/>
                  <a:pt x="31469" y="7062"/>
                  <a:pt x="31500" y="7031"/>
                </a:cubicBezTo>
                <a:close/>
                <a:moveTo>
                  <a:pt x="31437" y="7031"/>
                </a:moveTo>
                <a:cubicBezTo>
                  <a:pt x="31406" y="7062"/>
                  <a:pt x="31406" y="7062"/>
                  <a:pt x="31406" y="7062"/>
                </a:cubicBezTo>
                <a:cubicBezTo>
                  <a:pt x="31406" y="7062"/>
                  <a:pt x="31406" y="7062"/>
                  <a:pt x="31437" y="7031"/>
                </a:cubicBezTo>
                <a:close/>
                <a:moveTo>
                  <a:pt x="26375" y="8437"/>
                </a:moveTo>
                <a:cubicBezTo>
                  <a:pt x="26375" y="8437"/>
                  <a:pt x="26375" y="8437"/>
                  <a:pt x="26375" y="8437"/>
                </a:cubicBezTo>
                <a:cubicBezTo>
                  <a:pt x="26375" y="8437"/>
                  <a:pt x="26375" y="8437"/>
                  <a:pt x="26375" y="8437"/>
                </a:cubicBezTo>
                <a:close/>
                <a:moveTo>
                  <a:pt x="26094" y="8562"/>
                </a:moveTo>
                <a:cubicBezTo>
                  <a:pt x="26156" y="8500"/>
                  <a:pt x="26219" y="8468"/>
                  <a:pt x="26281" y="8468"/>
                </a:cubicBezTo>
                <a:cubicBezTo>
                  <a:pt x="26219" y="8468"/>
                  <a:pt x="26156" y="8500"/>
                  <a:pt x="26094" y="8562"/>
                </a:cubicBezTo>
                <a:cubicBezTo>
                  <a:pt x="26062" y="8562"/>
                  <a:pt x="26031" y="8562"/>
                  <a:pt x="26000" y="8562"/>
                </a:cubicBezTo>
                <a:cubicBezTo>
                  <a:pt x="26031" y="8562"/>
                  <a:pt x="26062" y="8562"/>
                  <a:pt x="26094" y="8562"/>
                </a:cubicBezTo>
                <a:close/>
                <a:moveTo>
                  <a:pt x="25437" y="9062"/>
                </a:moveTo>
                <a:cubicBezTo>
                  <a:pt x="25406" y="9093"/>
                  <a:pt x="25375" y="9093"/>
                  <a:pt x="25375" y="9093"/>
                </a:cubicBezTo>
                <a:cubicBezTo>
                  <a:pt x="25375" y="9093"/>
                  <a:pt x="25406" y="9093"/>
                  <a:pt x="25437" y="9062"/>
                </a:cubicBezTo>
                <a:close/>
                <a:moveTo>
                  <a:pt x="24875" y="9031"/>
                </a:moveTo>
                <a:cubicBezTo>
                  <a:pt x="24875" y="9031"/>
                  <a:pt x="24875" y="9031"/>
                  <a:pt x="24875" y="9031"/>
                </a:cubicBezTo>
                <a:cubicBezTo>
                  <a:pt x="24875" y="9031"/>
                  <a:pt x="24875" y="9031"/>
                  <a:pt x="24875" y="9031"/>
                </a:cubicBezTo>
                <a:close/>
                <a:moveTo>
                  <a:pt x="24594" y="9156"/>
                </a:moveTo>
                <a:cubicBezTo>
                  <a:pt x="24594" y="9156"/>
                  <a:pt x="24594" y="9125"/>
                  <a:pt x="24594" y="9125"/>
                </a:cubicBezTo>
                <a:cubicBezTo>
                  <a:pt x="24594" y="9125"/>
                  <a:pt x="24594" y="9125"/>
                  <a:pt x="24594" y="9125"/>
                </a:cubicBezTo>
                <a:cubicBezTo>
                  <a:pt x="24594" y="9125"/>
                  <a:pt x="24594" y="9156"/>
                  <a:pt x="24594" y="9156"/>
                </a:cubicBezTo>
                <a:cubicBezTo>
                  <a:pt x="24687" y="9125"/>
                  <a:pt x="24781" y="9093"/>
                  <a:pt x="24875" y="9031"/>
                </a:cubicBezTo>
                <a:cubicBezTo>
                  <a:pt x="24906" y="9031"/>
                  <a:pt x="24969" y="9031"/>
                  <a:pt x="25000" y="9000"/>
                </a:cubicBezTo>
                <a:cubicBezTo>
                  <a:pt x="24969" y="9031"/>
                  <a:pt x="24906" y="9031"/>
                  <a:pt x="24875" y="9031"/>
                </a:cubicBezTo>
                <a:cubicBezTo>
                  <a:pt x="24781" y="9093"/>
                  <a:pt x="24687" y="9125"/>
                  <a:pt x="24594" y="9156"/>
                </a:cubicBezTo>
                <a:cubicBezTo>
                  <a:pt x="24594" y="9156"/>
                  <a:pt x="24562" y="9156"/>
                  <a:pt x="24562" y="9156"/>
                </a:cubicBezTo>
                <a:cubicBezTo>
                  <a:pt x="24562" y="9156"/>
                  <a:pt x="24594" y="9156"/>
                  <a:pt x="24594" y="9156"/>
                </a:cubicBezTo>
                <a:close/>
                <a:moveTo>
                  <a:pt x="24406" y="9218"/>
                </a:moveTo>
                <a:cubicBezTo>
                  <a:pt x="24406" y="9156"/>
                  <a:pt x="24437" y="9156"/>
                  <a:pt x="24469" y="9156"/>
                </a:cubicBezTo>
                <a:cubicBezTo>
                  <a:pt x="24437" y="9156"/>
                  <a:pt x="24406" y="9156"/>
                  <a:pt x="24406" y="9218"/>
                </a:cubicBezTo>
                <a:cubicBezTo>
                  <a:pt x="24344" y="9218"/>
                  <a:pt x="24312" y="9218"/>
                  <a:pt x="24281" y="9218"/>
                </a:cubicBezTo>
                <a:cubicBezTo>
                  <a:pt x="24312" y="9218"/>
                  <a:pt x="24344" y="9218"/>
                  <a:pt x="24406" y="9218"/>
                </a:cubicBezTo>
                <a:close/>
                <a:moveTo>
                  <a:pt x="24406" y="9218"/>
                </a:moveTo>
                <a:cubicBezTo>
                  <a:pt x="24406" y="9218"/>
                  <a:pt x="24406" y="9218"/>
                  <a:pt x="24406" y="9218"/>
                </a:cubicBezTo>
                <a:cubicBezTo>
                  <a:pt x="24406" y="9218"/>
                  <a:pt x="24406" y="9218"/>
                  <a:pt x="24406" y="9218"/>
                </a:cubicBezTo>
                <a:cubicBezTo>
                  <a:pt x="24406" y="9218"/>
                  <a:pt x="24406" y="9218"/>
                  <a:pt x="24406" y="9218"/>
                </a:cubicBezTo>
                <a:close/>
                <a:moveTo>
                  <a:pt x="24219" y="9281"/>
                </a:moveTo>
                <a:cubicBezTo>
                  <a:pt x="24219" y="9281"/>
                  <a:pt x="24219" y="9281"/>
                  <a:pt x="24219" y="9281"/>
                </a:cubicBezTo>
                <a:cubicBezTo>
                  <a:pt x="24187" y="9281"/>
                  <a:pt x="24187" y="9312"/>
                  <a:pt x="24156" y="9312"/>
                </a:cubicBezTo>
                <a:cubicBezTo>
                  <a:pt x="24187" y="9312"/>
                  <a:pt x="24187" y="9281"/>
                  <a:pt x="24219" y="9281"/>
                </a:cubicBezTo>
                <a:close/>
                <a:moveTo>
                  <a:pt x="23719" y="9437"/>
                </a:moveTo>
                <a:cubicBezTo>
                  <a:pt x="23719" y="9468"/>
                  <a:pt x="23719" y="9468"/>
                  <a:pt x="23719" y="9468"/>
                </a:cubicBezTo>
                <a:cubicBezTo>
                  <a:pt x="23719" y="9468"/>
                  <a:pt x="23719" y="9437"/>
                  <a:pt x="23719" y="9437"/>
                </a:cubicBezTo>
                <a:cubicBezTo>
                  <a:pt x="23719" y="9437"/>
                  <a:pt x="23719" y="9437"/>
                  <a:pt x="23719" y="9437"/>
                </a:cubicBezTo>
                <a:close/>
                <a:moveTo>
                  <a:pt x="23031" y="9968"/>
                </a:moveTo>
                <a:cubicBezTo>
                  <a:pt x="23000" y="10000"/>
                  <a:pt x="22969" y="10031"/>
                  <a:pt x="22906" y="10031"/>
                </a:cubicBezTo>
                <a:cubicBezTo>
                  <a:pt x="22906" y="10031"/>
                  <a:pt x="22906" y="10031"/>
                  <a:pt x="22906" y="10031"/>
                </a:cubicBezTo>
                <a:cubicBezTo>
                  <a:pt x="22969" y="10031"/>
                  <a:pt x="23000" y="10000"/>
                  <a:pt x="23031" y="9968"/>
                </a:cubicBezTo>
                <a:close/>
                <a:moveTo>
                  <a:pt x="22656" y="9843"/>
                </a:moveTo>
                <a:cubicBezTo>
                  <a:pt x="22656" y="9843"/>
                  <a:pt x="22656" y="9843"/>
                  <a:pt x="22656" y="9843"/>
                </a:cubicBezTo>
                <a:cubicBezTo>
                  <a:pt x="22656" y="9843"/>
                  <a:pt x="22656" y="9843"/>
                  <a:pt x="22656" y="9843"/>
                </a:cubicBezTo>
                <a:close/>
                <a:moveTo>
                  <a:pt x="22562" y="10281"/>
                </a:moveTo>
                <a:cubicBezTo>
                  <a:pt x="22781" y="10187"/>
                  <a:pt x="23000" y="10125"/>
                  <a:pt x="23219" y="10031"/>
                </a:cubicBezTo>
                <a:cubicBezTo>
                  <a:pt x="23219" y="10000"/>
                  <a:pt x="23219" y="10000"/>
                  <a:pt x="23219" y="10000"/>
                </a:cubicBezTo>
                <a:cubicBezTo>
                  <a:pt x="23187" y="10000"/>
                  <a:pt x="23187" y="10000"/>
                  <a:pt x="23187" y="10000"/>
                </a:cubicBezTo>
                <a:cubicBezTo>
                  <a:pt x="23187" y="10000"/>
                  <a:pt x="23156" y="10000"/>
                  <a:pt x="23125" y="10031"/>
                </a:cubicBezTo>
                <a:cubicBezTo>
                  <a:pt x="23094" y="10031"/>
                  <a:pt x="23094" y="10031"/>
                  <a:pt x="23062" y="10031"/>
                </a:cubicBezTo>
                <a:cubicBezTo>
                  <a:pt x="23094" y="10031"/>
                  <a:pt x="23094" y="10031"/>
                  <a:pt x="23125" y="10031"/>
                </a:cubicBezTo>
                <a:cubicBezTo>
                  <a:pt x="23062" y="10031"/>
                  <a:pt x="23031" y="10062"/>
                  <a:pt x="22969" y="10031"/>
                </a:cubicBezTo>
                <a:cubicBezTo>
                  <a:pt x="23062" y="10000"/>
                  <a:pt x="23156" y="9937"/>
                  <a:pt x="23281" y="9937"/>
                </a:cubicBezTo>
                <a:cubicBezTo>
                  <a:pt x="23281" y="9968"/>
                  <a:pt x="23219" y="10031"/>
                  <a:pt x="23281" y="10000"/>
                </a:cubicBezTo>
                <a:lnTo>
                  <a:pt x="23281" y="10000"/>
                </a:lnTo>
                <a:cubicBezTo>
                  <a:pt x="23344" y="9968"/>
                  <a:pt x="23437" y="9968"/>
                  <a:pt x="23531" y="9906"/>
                </a:cubicBezTo>
                <a:cubicBezTo>
                  <a:pt x="23406" y="9843"/>
                  <a:pt x="23344" y="9968"/>
                  <a:pt x="23281" y="9937"/>
                </a:cubicBezTo>
                <a:cubicBezTo>
                  <a:pt x="23312" y="9843"/>
                  <a:pt x="23437" y="9875"/>
                  <a:pt x="23500" y="9843"/>
                </a:cubicBezTo>
                <a:cubicBezTo>
                  <a:pt x="23781" y="9718"/>
                  <a:pt x="24094" y="9625"/>
                  <a:pt x="24375" y="9500"/>
                </a:cubicBezTo>
                <a:cubicBezTo>
                  <a:pt x="24719" y="9375"/>
                  <a:pt x="25062" y="9250"/>
                  <a:pt x="25406" y="9125"/>
                </a:cubicBezTo>
                <a:cubicBezTo>
                  <a:pt x="25469" y="9093"/>
                  <a:pt x="25500" y="9062"/>
                  <a:pt x="25562" y="9093"/>
                </a:cubicBezTo>
                <a:cubicBezTo>
                  <a:pt x="25687" y="9093"/>
                  <a:pt x="25781" y="9000"/>
                  <a:pt x="25875" y="9000"/>
                </a:cubicBezTo>
                <a:cubicBezTo>
                  <a:pt x="26000" y="8968"/>
                  <a:pt x="26062" y="8906"/>
                  <a:pt x="26187" y="8906"/>
                </a:cubicBezTo>
                <a:lnTo>
                  <a:pt x="26187" y="8906"/>
                </a:lnTo>
                <a:cubicBezTo>
                  <a:pt x="25375" y="9218"/>
                  <a:pt x="24531" y="9531"/>
                  <a:pt x="23719" y="9843"/>
                </a:cubicBezTo>
                <a:cubicBezTo>
                  <a:pt x="23687" y="9843"/>
                  <a:pt x="23687" y="9812"/>
                  <a:pt x="23687" y="9812"/>
                </a:cubicBezTo>
                <a:cubicBezTo>
                  <a:pt x="23969" y="9718"/>
                  <a:pt x="24219" y="9625"/>
                  <a:pt x="24500" y="9500"/>
                </a:cubicBezTo>
                <a:cubicBezTo>
                  <a:pt x="24844" y="9375"/>
                  <a:pt x="25187" y="9250"/>
                  <a:pt x="25562" y="9093"/>
                </a:cubicBezTo>
                <a:cubicBezTo>
                  <a:pt x="25625" y="9000"/>
                  <a:pt x="25750" y="9000"/>
                  <a:pt x="25812" y="8968"/>
                </a:cubicBezTo>
                <a:cubicBezTo>
                  <a:pt x="26187" y="8812"/>
                  <a:pt x="26531" y="8687"/>
                  <a:pt x="26906" y="8531"/>
                </a:cubicBezTo>
                <a:cubicBezTo>
                  <a:pt x="27156" y="8437"/>
                  <a:pt x="27437" y="8343"/>
                  <a:pt x="27687" y="8250"/>
                </a:cubicBezTo>
                <a:cubicBezTo>
                  <a:pt x="28000" y="8125"/>
                  <a:pt x="28281" y="8000"/>
                  <a:pt x="28562" y="7906"/>
                </a:cubicBezTo>
                <a:cubicBezTo>
                  <a:pt x="28812" y="7812"/>
                  <a:pt x="29094" y="7687"/>
                  <a:pt x="29344" y="7593"/>
                </a:cubicBezTo>
                <a:cubicBezTo>
                  <a:pt x="29594" y="7500"/>
                  <a:pt x="29844" y="7406"/>
                  <a:pt x="30094" y="7312"/>
                </a:cubicBezTo>
                <a:cubicBezTo>
                  <a:pt x="30125" y="7343"/>
                  <a:pt x="30125" y="7343"/>
                  <a:pt x="30125" y="7343"/>
                </a:cubicBezTo>
                <a:cubicBezTo>
                  <a:pt x="30094" y="7375"/>
                  <a:pt x="30062" y="7375"/>
                  <a:pt x="30062" y="7375"/>
                </a:cubicBezTo>
                <a:cubicBezTo>
                  <a:pt x="29906" y="7437"/>
                  <a:pt x="29781" y="7500"/>
                  <a:pt x="29625" y="7562"/>
                </a:cubicBezTo>
                <a:cubicBezTo>
                  <a:pt x="29656" y="7593"/>
                  <a:pt x="29687" y="7562"/>
                  <a:pt x="29687" y="7562"/>
                </a:cubicBezTo>
                <a:cubicBezTo>
                  <a:pt x="29812" y="7500"/>
                  <a:pt x="29937" y="7468"/>
                  <a:pt x="30062" y="7437"/>
                </a:cubicBezTo>
                <a:cubicBezTo>
                  <a:pt x="30094" y="7406"/>
                  <a:pt x="30125" y="7406"/>
                  <a:pt x="30156" y="7375"/>
                </a:cubicBezTo>
                <a:cubicBezTo>
                  <a:pt x="30187" y="7437"/>
                  <a:pt x="30187" y="7437"/>
                  <a:pt x="30187" y="7437"/>
                </a:cubicBezTo>
                <a:cubicBezTo>
                  <a:pt x="30253" y="7437"/>
                  <a:pt x="30484" y="7361"/>
                  <a:pt x="30787" y="7252"/>
                </a:cubicBezTo>
                <a:cubicBezTo>
                  <a:pt x="30712" y="7293"/>
                  <a:pt x="30637" y="7318"/>
                  <a:pt x="30562" y="7343"/>
                </a:cubicBezTo>
                <a:cubicBezTo>
                  <a:pt x="30677" y="7372"/>
                  <a:pt x="30740" y="7321"/>
                  <a:pt x="30822" y="7240"/>
                </a:cubicBezTo>
                <a:cubicBezTo>
                  <a:pt x="30945" y="7195"/>
                  <a:pt x="31080" y="7145"/>
                  <a:pt x="31219" y="7093"/>
                </a:cubicBezTo>
                <a:cubicBezTo>
                  <a:pt x="31281" y="7093"/>
                  <a:pt x="31281" y="7125"/>
                  <a:pt x="31219" y="7218"/>
                </a:cubicBezTo>
                <a:cubicBezTo>
                  <a:pt x="31219" y="7218"/>
                  <a:pt x="31187" y="7218"/>
                  <a:pt x="31187" y="7218"/>
                </a:cubicBezTo>
                <a:cubicBezTo>
                  <a:pt x="31187" y="7250"/>
                  <a:pt x="31187" y="7250"/>
                  <a:pt x="31187" y="7250"/>
                </a:cubicBezTo>
                <a:cubicBezTo>
                  <a:pt x="31187" y="7250"/>
                  <a:pt x="31187" y="7250"/>
                  <a:pt x="31187" y="7218"/>
                </a:cubicBezTo>
                <a:cubicBezTo>
                  <a:pt x="31156" y="7250"/>
                  <a:pt x="31156" y="7250"/>
                  <a:pt x="31125" y="7250"/>
                </a:cubicBezTo>
                <a:cubicBezTo>
                  <a:pt x="31062" y="7250"/>
                  <a:pt x="31031" y="7312"/>
                  <a:pt x="31000" y="7312"/>
                </a:cubicBezTo>
                <a:cubicBezTo>
                  <a:pt x="30969" y="7312"/>
                  <a:pt x="30969" y="7343"/>
                  <a:pt x="30969" y="7343"/>
                </a:cubicBezTo>
                <a:cubicBezTo>
                  <a:pt x="30969" y="7343"/>
                  <a:pt x="30969" y="7343"/>
                  <a:pt x="30969" y="7343"/>
                </a:cubicBezTo>
                <a:cubicBezTo>
                  <a:pt x="30719" y="7406"/>
                  <a:pt x="30469" y="7500"/>
                  <a:pt x="30219" y="7593"/>
                </a:cubicBezTo>
                <a:cubicBezTo>
                  <a:pt x="29906" y="7718"/>
                  <a:pt x="29562" y="7875"/>
                  <a:pt x="29219" y="8000"/>
                </a:cubicBezTo>
                <a:cubicBezTo>
                  <a:pt x="28656" y="8218"/>
                  <a:pt x="28062" y="8437"/>
                  <a:pt x="27500" y="8625"/>
                </a:cubicBezTo>
                <a:cubicBezTo>
                  <a:pt x="27344" y="8687"/>
                  <a:pt x="27187" y="8781"/>
                  <a:pt x="27000" y="8781"/>
                </a:cubicBezTo>
                <a:cubicBezTo>
                  <a:pt x="26969" y="8843"/>
                  <a:pt x="26906" y="8906"/>
                  <a:pt x="26844" y="8843"/>
                </a:cubicBezTo>
                <a:cubicBezTo>
                  <a:pt x="26781" y="8812"/>
                  <a:pt x="26781" y="8843"/>
                  <a:pt x="26719" y="8843"/>
                </a:cubicBezTo>
                <a:cubicBezTo>
                  <a:pt x="26500" y="8875"/>
                  <a:pt x="26281" y="9000"/>
                  <a:pt x="26094" y="9062"/>
                </a:cubicBezTo>
                <a:cubicBezTo>
                  <a:pt x="25781" y="9218"/>
                  <a:pt x="25437" y="9312"/>
                  <a:pt x="25094" y="9437"/>
                </a:cubicBezTo>
                <a:cubicBezTo>
                  <a:pt x="24781" y="9562"/>
                  <a:pt x="24437" y="9718"/>
                  <a:pt x="24094" y="9812"/>
                </a:cubicBezTo>
                <a:cubicBezTo>
                  <a:pt x="23844" y="9906"/>
                  <a:pt x="23594" y="10000"/>
                  <a:pt x="23344" y="10093"/>
                </a:cubicBezTo>
                <a:cubicBezTo>
                  <a:pt x="23094" y="10187"/>
                  <a:pt x="22844" y="10281"/>
                  <a:pt x="22594" y="10375"/>
                </a:cubicBezTo>
                <a:cubicBezTo>
                  <a:pt x="22562" y="10375"/>
                  <a:pt x="22531" y="10375"/>
                  <a:pt x="22531" y="10375"/>
                </a:cubicBezTo>
                <a:cubicBezTo>
                  <a:pt x="22531" y="10312"/>
                  <a:pt x="22562" y="10312"/>
                  <a:pt x="22562" y="10281"/>
                </a:cubicBezTo>
                <a:close/>
                <a:moveTo>
                  <a:pt x="31375" y="7250"/>
                </a:moveTo>
                <a:cubicBezTo>
                  <a:pt x="31312" y="7281"/>
                  <a:pt x="31281" y="7312"/>
                  <a:pt x="31219" y="7312"/>
                </a:cubicBezTo>
                <a:cubicBezTo>
                  <a:pt x="31219" y="7312"/>
                  <a:pt x="31187" y="7343"/>
                  <a:pt x="31156" y="7343"/>
                </a:cubicBezTo>
                <a:cubicBezTo>
                  <a:pt x="31187" y="7343"/>
                  <a:pt x="31219" y="7312"/>
                  <a:pt x="31219" y="7312"/>
                </a:cubicBezTo>
                <a:cubicBezTo>
                  <a:pt x="31281" y="7312"/>
                  <a:pt x="31312" y="7281"/>
                  <a:pt x="31375" y="7250"/>
                </a:cubicBezTo>
                <a:close/>
                <a:moveTo>
                  <a:pt x="25562" y="9500"/>
                </a:moveTo>
                <a:cubicBezTo>
                  <a:pt x="25375" y="9562"/>
                  <a:pt x="25156" y="9625"/>
                  <a:pt x="24969" y="9687"/>
                </a:cubicBezTo>
                <a:cubicBezTo>
                  <a:pt x="24969" y="9687"/>
                  <a:pt x="24969" y="9687"/>
                  <a:pt x="24969" y="9687"/>
                </a:cubicBezTo>
                <a:cubicBezTo>
                  <a:pt x="24969" y="9687"/>
                  <a:pt x="24969" y="9687"/>
                  <a:pt x="24969" y="9687"/>
                </a:cubicBezTo>
                <a:cubicBezTo>
                  <a:pt x="25156" y="9625"/>
                  <a:pt x="25375" y="9562"/>
                  <a:pt x="25562" y="9500"/>
                </a:cubicBezTo>
                <a:close/>
                <a:moveTo>
                  <a:pt x="22281" y="10312"/>
                </a:moveTo>
                <a:cubicBezTo>
                  <a:pt x="22281" y="10312"/>
                  <a:pt x="22312" y="10281"/>
                  <a:pt x="22312" y="10281"/>
                </a:cubicBezTo>
                <a:cubicBezTo>
                  <a:pt x="22281" y="10281"/>
                  <a:pt x="22250" y="10281"/>
                  <a:pt x="22250" y="10281"/>
                </a:cubicBezTo>
                <a:cubicBezTo>
                  <a:pt x="22250" y="10281"/>
                  <a:pt x="22281" y="10281"/>
                  <a:pt x="22312" y="10281"/>
                </a:cubicBezTo>
                <a:cubicBezTo>
                  <a:pt x="22344" y="10250"/>
                  <a:pt x="22406" y="10250"/>
                  <a:pt x="22469" y="10218"/>
                </a:cubicBezTo>
                <a:cubicBezTo>
                  <a:pt x="22500" y="10281"/>
                  <a:pt x="22437" y="10250"/>
                  <a:pt x="22437" y="10281"/>
                </a:cubicBezTo>
                <a:cubicBezTo>
                  <a:pt x="22437" y="10281"/>
                  <a:pt x="22437" y="10281"/>
                  <a:pt x="22437" y="10281"/>
                </a:cubicBezTo>
                <a:cubicBezTo>
                  <a:pt x="22437" y="10281"/>
                  <a:pt x="22437" y="10281"/>
                  <a:pt x="22469" y="10250"/>
                </a:cubicBezTo>
                <a:cubicBezTo>
                  <a:pt x="22437" y="10281"/>
                  <a:pt x="22437" y="10281"/>
                  <a:pt x="22437" y="10281"/>
                </a:cubicBezTo>
                <a:cubicBezTo>
                  <a:pt x="22406" y="10281"/>
                  <a:pt x="22406" y="10281"/>
                  <a:pt x="22406" y="10312"/>
                </a:cubicBezTo>
                <a:cubicBezTo>
                  <a:pt x="22375" y="10312"/>
                  <a:pt x="22344" y="10312"/>
                  <a:pt x="22281" y="10312"/>
                </a:cubicBezTo>
                <a:cubicBezTo>
                  <a:pt x="22250" y="10343"/>
                  <a:pt x="22219" y="10312"/>
                  <a:pt x="22187" y="10343"/>
                </a:cubicBezTo>
                <a:cubicBezTo>
                  <a:pt x="22219" y="10281"/>
                  <a:pt x="22250" y="10312"/>
                  <a:pt x="22281" y="10312"/>
                </a:cubicBezTo>
                <a:close/>
                <a:moveTo>
                  <a:pt x="22125" y="10312"/>
                </a:moveTo>
                <a:cubicBezTo>
                  <a:pt x="22094" y="10343"/>
                  <a:pt x="22062" y="10343"/>
                  <a:pt x="22031" y="10375"/>
                </a:cubicBezTo>
                <a:cubicBezTo>
                  <a:pt x="22062" y="10343"/>
                  <a:pt x="22094" y="10343"/>
                  <a:pt x="22125" y="10312"/>
                </a:cubicBezTo>
                <a:close/>
                <a:moveTo>
                  <a:pt x="21969" y="10093"/>
                </a:moveTo>
                <a:cubicBezTo>
                  <a:pt x="21969" y="10093"/>
                  <a:pt x="21969" y="10093"/>
                  <a:pt x="21969" y="10093"/>
                </a:cubicBezTo>
                <a:cubicBezTo>
                  <a:pt x="21969" y="10093"/>
                  <a:pt x="21969" y="10093"/>
                  <a:pt x="21969" y="10093"/>
                </a:cubicBezTo>
                <a:cubicBezTo>
                  <a:pt x="21969" y="10093"/>
                  <a:pt x="21969" y="10093"/>
                  <a:pt x="21969" y="10093"/>
                </a:cubicBezTo>
                <a:close/>
                <a:moveTo>
                  <a:pt x="21750" y="10593"/>
                </a:moveTo>
                <a:cubicBezTo>
                  <a:pt x="21937" y="10531"/>
                  <a:pt x="22094" y="10437"/>
                  <a:pt x="22281" y="10437"/>
                </a:cubicBezTo>
                <a:cubicBezTo>
                  <a:pt x="22125" y="10531"/>
                  <a:pt x="21969" y="10593"/>
                  <a:pt x="21781" y="10656"/>
                </a:cubicBezTo>
                <a:cubicBezTo>
                  <a:pt x="21750" y="10656"/>
                  <a:pt x="21750" y="10656"/>
                  <a:pt x="21750" y="10625"/>
                </a:cubicBezTo>
                <a:cubicBezTo>
                  <a:pt x="21750" y="10625"/>
                  <a:pt x="21719" y="10593"/>
                  <a:pt x="21750" y="10593"/>
                </a:cubicBezTo>
                <a:close/>
                <a:moveTo>
                  <a:pt x="21656" y="10218"/>
                </a:moveTo>
                <a:cubicBezTo>
                  <a:pt x="21656" y="10218"/>
                  <a:pt x="21656" y="10218"/>
                  <a:pt x="21656" y="10218"/>
                </a:cubicBezTo>
                <a:cubicBezTo>
                  <a:pt x="21656" y="10218"/>
                  <a:pt x="21656" y="10218"/>
                  <a:pt x="21656" y="10218"/>
                </a:cubicBezTo>
                <a:close/>
                <a:moveTo>
                  <a:pt x="21344" y="10312"/>
                </a:moveTo>
                <a:cubicBezTo>
                  <a:pt x="21344" y="10312"/>
                  <a:pt x="21344" y="10312"/>
                  <a:pt x="21375" y="10312"/>
                </a:cubicBezTo>
                <a:cubicBezTo>
                  <a:pt x="21344" y="10312"/>
                  <a:pt x="21344" y="10312"/>
                  <a:pt x="21344" y="10312"/>
                </a:cubicBezTo>
                <a:cubicBezTo>
                  <a:pt x="21344" y="10312"/>
                  <a:pt x="21344" y="10312"/>
                  <a:pt x="21344" y="10312"/>
                </a:cubicBezTo>
                <a:close/>
                <a:moveTo>
                  <a:pt x="21562" y="10718"/>
                </a:moveTo>
                <a:cubicBezTo>
                  <a:pt x="21500" y="10750"/>
                  <a:pt x="21437" y="10781"/>
                  <a:pt x="21344" y="10750"/>
                </a:cubicBezTo>
                <a:cubicBezTo>
                  <a:pt x="21406" y="10718"/>
                  <a:pt x="21469" y="10656"/>
                  <a:pt x="21562" y="10718"/>
                </a:cubicBezTo>
                <a:close/>
                <a:moveTo>
                  <a:pt x="21812" y="10875"/>
                </a:moveTo>
                <a:cubicBezTo>
                  <a:pt x="22031" y="10812"/>
                  <a:pt x="22250" y="10718"/>
                  <a:pt x="22469" y="10656"/>
                </a:cubicBezTo>
                <a:cubicBezTo>
                  <a:pt x="22781" y="10531"/>
                  <a:pt x="23094" y="10406"/>
                  <a:pt x="23437" y="10312"/>
                </a:cubicBezTo>
                <a:cubicBezTo>
                  <a:pt x="23625" y="10218"/>
                  <a:pt x="23844" y="10156"/>
                  <a:pt x="24062" y="10062"/>
                </a:cubicBezTo>
                <a:cubicBezTo>
                  <a:pt x="24375" y="9937"/>
                  <a:pt x="24687" y="9843"/>
                  <a:pt x="25000" y="9718"/>
                </a:cubicBezTo>
                <a:cubicBezTo>
                  <a:pt x="25000" y="9718"/>
                  <a:pt x="25031" y="9718"/>
                  <a:pt x="25031" y="9718"/>
                </a:cubicBezTo>
                <a:cubicBezTo>
                  <a:pt x="25031" y="9718"/>
                  <a:pt x="25031" y="9718"/>
                  <a:pt x="25031" y="9718"/>
                </a:cubicBezTo>
                <a:cubicBezTo>
                  <a:pt x="25219" y="9625"/>
                  <a:pt x="25406" y="9562"/>
                  <a:pt x="25594" y="9500"/>
                </a:cubicBezTo>
                <a:cubicBezTo>
                  <a:pt x="25906" y="9375"/>
                  <a:pt x="26219" y="9281"/>
                  <a:pt x="26500" y="9156"/>
                </a:cubicBezTo>
                <a:cubicBezTo>
                  <a:pt x="26719" y="9093"/>
                  <a:pt x="26906" y="9000"/>
                  <a:pt x="27125" y="8937"/>
                </a:cubicBezTo>
                <a:cubicBezTo>
                  <a:pt x="27469" y="8781"/>
                  <a:pt x="27812" y="8656"/>
                  <a:pt x="28156" y="8531"/>
                </a:cubicBezTo>
                <a:cubicBezTo>
                  <a:pt x="28437" y="8437"/>
                  <a:pt x="28719" y="8312"/>
                  <a:pt x="29000" y="8218"/>
                </a:cubicBezTo>
                <a:cubicBezTo>
                  <a:pt x="29344" y="8093"/>
                  <a:pt x="29687" y="7937"/>
                  <a:pt x="30031" y="7812"/>
                </a:cubicBezTo>
                <a:cubicBezTo>
                  <a:pt x="30344" y="7687"/>
                  <a:pt x="30625" y="7562"/>
                  <a:pt x="30937" y="7468"/>
                </a:cubicBezTo>
                <a:cubicBezTo>
                  <a:pt x="31000" y="7437"/>
                  <a:pt x="31062" y="7437"/>
                  <a:pt x="31125" y="7375"/>
                </a:cubicBezTo>
                <a:cubicBezTo>
                  <a:pt x="31125" y="7375"/>
                  <a:pt x="31156" y="7375"/>
                  <a:pt x="31156" y="7343"/>
                </a:cubicBezTo>
                <a:cubicBezTo>
                  <a:pt x="31156" y="7343"/>
                  <a:pt x="31156" y="7343"/>
                  <a:pt x="31156" y="7343"/>
                </a:cubicBezTo>
                <a:cubicBezTo>
                  <a:pt x="31156" y="7343"/>
                  <a:pt x="31156" y="7343"/>
                  <a:pt x="31156" y="7343"/>
                </a:cubicBezTo>
                <a:cubicBezTo>
                  <a:pt x="31156" y="7343"/>
                  <a:pt x="31156" y="7343"/>
                  <a:pt x="31156" y="7343"/>
                </a:cubicBezTo>
                <a:cubicBezTo>
                  <a:pt x="31219" y="7375"/>
                  <a:pt x="31250" y="7343"/>
                  <a:pt x="31281" y="7312"/>
                </a:cubicBezTo>
                <a:cubicBezTo>
                  <a:pt x="31344" y="7312"/>
                  <a:pt x="31375" y="7281"/>
                  <a:pt x="31437" y="7281"/>
                </a:cubicBezTo>
                <a:cubicBezTo>
                  <a:pt x="31594" y="7187"/>
                  <a:pt x="31750" y="7156"/>
                  <a:pt x="31906" y="7093"/>
                </a:cubicBezTo>
                <a:cubicBezTo>
                  <a:pt x="31969" y="7125"/>
                  <a:pt x="32000" y="7156"/>
                  <a:pt x="32031" y="7187"/>
                </a:cubicBezTo>
                <a:cubicBezTo>
                  <a:pt x="32031" y="7187"/>
                  <a:pt x="32031" y="7187"/>
                  <a:pt x="32031" y="7187"/>
                </a:cubicBezTo>
                <a:cubicBezTo>
                  <a:pt x="32000" y="7218"/>
                  <a:pt x="31937" y="7218"/>
                  <a:pt x="31906" y="7250"/>
                </a:cubicBezTo>
                <a:cubicBezTo>
                  <a:pt x="31906" y="7250"/>
                  <a:pt x="31875" y="7250"/>
                  <a:pt x="31875" y="7250"/>
                </a:cubicBezTo>
                <a:cubicBezTo>
                  <a:pt x="31875" y="7250"/>
                  <a:pt x="31875" y="7281"/>
                  <a:pt x="31875" y="7281"/>
                </a:cubicBezTo>
                <a:cubicBezTo>
                  <a:pt x="31812" y="7250"/>
                  <a:pt x="31781" y="7281"/>
                  <a:pt x="31719" y="7312"/>
                </a:cubicBezTo>
                <a:cubicBezTo>
                  <a:pt x="31719" y="7312"/>
                  <a:pt x="31687" y="7343"/>
                  <a:pt x="31687" y="7343"/>
                </a:cubicBezTo>
                <a:cubicBezTo>
                  <a:pt x="31687" y="7343"/>
                  <a:pt x="31687" y="7343"/>
                  <a:pt x="31687" y="7343"/>
                </a:cubicBezTo>
                <a:cubicBezTo>
                  <a:pt x="31687" y="7343"/>
                  <a:pt x="31687" y="7343"/>
                  <a:pt x="31687" y="7343"/>
                </a:cubicBezTo>
                <a:cubicBezTo>
                  <a:pt x="31687" y="7343"/>
                  <a:pt x="31687" y="7343"/>
                  <a:pt x="31687" y="7343"/>
                </a:cubicBezTo>
                <a:cubicBezTo>
                  <a:pt x="31562" y="7375"/>
                  <a:pt x="31469" y="7406"/>
                  <a:pt x="31344" y="7437"/>
                </a:cubicBezTo>
                <a:cubicBezTo>
                  <a:pt x="31281" y="7468"/>
                  <a:pt x="31187" y="7500"/>
                  <a:pt x="31094" y="7531"/>
                </a:cubicBezTo>
                <a:cubicBezTo>
                  <a:pt x="31062" y="7531"/>
                  <a:pt x="31031" y="7562"/>
                  <a:pt x="31000" y="7562"/>
                </a:cubicBezTo>
                <a:cubicBezTo>
                  <a:pt x="30719" y="7656"/>
                  <a:pt x="30437" y="7750"/>
                  <a:pt x="30375" y="7812"/>
                </a:cubicBezTo>
                <a:cubicBezTo>
                  <a:pt x="30375" y="7812"/>
                  <a:pt x="30344" y="7843"/>
                  <a:pt x="30312" y="7843"/>
                </a:cubicBezTo>
                <a:cubicBezTo>
                  <a:pt x="30250" y="7875"/>
                  <a:pt x="30187" y="7906"/>
                  <a:pt x="30125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31" y="7937"/>
                  <a:pt x="30000" y="7937"/>
                  <a:pt x="30000" y="7968"/>
                </a:cubicBezTo>
                <a:cubicBezTo>
                  <a:pt x="29969" y="8000"/>
                  <a:pt x="29969" y="8000"/>
                  <a:pt x="29937" y="8000"/>
                </a:cubicBezTo>
                <a:cubicBezTo>
                  <a:pt x="29875" y="8000"/>
                  <a:pt x="29812" y="8000"/>
                  <a:pt x="29750" y="8062"/>
                </a:cubicBezTo>
                <a:cubicBezTo>
                  <a:pt x="29719" y="8062"/>
                  <a:pt x="29687" y="8093"/>
                  <a:pt x="29656" y="8093"/>
                </a:cubicBezTo>
                <a:cubicBezTo>
                  <a:pt x="29656" y="8093"/>
                  <a:pt x="29625" y="8093"/>
                  <a:pt x="29625" y="8125"/>
                </a:cubicBezTo>
                <a:cubicBezTo>
                  <a:pt x="29625" y="8125"/>
                  <a:pt x="29594" y="8125"/>
                  <a:pt x="29594" y="8125"/>
                </a:cubicBezTo>
                <a:cubicBezTo>
                  <a:pt x="29594" y="8125"/>
                  <a:pt x="29594" y="8156"/>
                  <a:pt x="29594" y="8156"/>
                </a:cubicBezTo>
                <a:cubicBezTo>
                  <a:pt x="29375" y="8250"/>
                  <a:pt x="29125" y="8343"/>
                  <a:pt x="28906" y="8437"/>
                </a:cubicBezTo>
                <a:cubicBezTo>
                  <a:pt x="29125" y="8343"/>
                  <a:pt x="29375" y="8250"/>
                  <a:pt x="29594" y="8156"/>
                </a:cubicBezTo>
                <a:cubicBezTo>
                  <a:pt x="29594" y="8156"/>
                  <a:pt x="29594" y="8125"/>
                  <a:pt x="29594" y="8125"/>
                </a:cubicBezTo>
                <a:cubicBezTo>
                  <a:pt x="29344" y="8218"/>
                  <a:pt x="29094" y="8312"/>
                  <a:pt x="28844" y="8406"/>
                </a:cubicBezTo>
                <a:cubicBezTo>
                  <a:pt x="28625" y="8500"/>
                  <a:pt x="28375" y="8593"/>
                  <a:pt x="28156" y="8687"/>
                </a:cubicBezTo>
                <a:cubicBezTo>
                  <a:pt x="28062" y="8656"/>
                  <a:pt x="28000" y="8718"/>
                  <a:pt x="27937" y="8750"/>
                </a:cubicBezTo>
                <a:cubicBezTo>
                  <a:pt x="27812" y="8812"/>
                  <a:pt x="27656" y="8812"/>
                  <a:pt x="27500" y="8906"/>
                </a:cubicBezTo>
                <a:cubicBezTo>
                  <a:pt x="27406" y="8906"/>
                  <a:pt x="27281" y="8968"/>
                  <a:pt x="27187" y="9031"/>
                </a:cubicBezTo>
                <a:cubicBezTo>
                  <a:pt x="26875" y="9156"/>
                  <a:pt x="26531" y="9281"/>
                  <a:pt x="26219" y="9406"/>
                </a:cubicBezTo>
                <a:cubicBezTo>
                  <a:pt x="26156" y="9406"/>
                  <a:pt x="26125" y="9406"/>
                  <a:pt x="26125" y="9437"/>
                </a:cubicBezTo>
                <a:cubicBezTo>
                  <a:pt x="26125" y="9437"/>
                  <a:pt x="26125" y="9437"/>
                  <a:pt x="26125" y="9437"/>
                </a:cubicBezTo>
                <a:cubicBezTo>
                  <a:pt x="26125" y="9437"/>
                  <a:pt x="26125" y="9437"/>
                  <a:pt x="26125" y="9437"/>
                </a:cubicBezTo>
                <a:cubicBezTo>
                  <a:pt x="26125" y="9437"/>
                  <a:pt x="26125" y="9437"/>
                  <a:pt x="26125" y="9437"/>
                </a:cubicBezTo>
                <a:cubicBezTo>
                  <a:pt x="26062" y="9437"/>
                  <a:pt x="26031" y="9437"/>
                  <a:pt x="26000" y="9468"/>
                </a:cubicBezTo>
                <a:cubicBezTo>
                  <a:pt x="26000" y="9468"/>
                  <a:pt x="26000" y="9468"/>
                  <a:pt x="26000" y="9468"/>
                </a:cubicBezTo>
                <a:cubicBezTo>
                  <a:pt x="26000" y="9468"/>
                  <a:pt x="26000" y="9468"/>
                  <a:pt x="26000" y="9468"/>
                </a:cubicBezTo>
                <a:cubicBezTo>
                  <a:pt x="26000" y="9468"/>
                  <a:pt x="26000" y="9468"/>
                  <a:pt x="26000" y="9468"/>
                </a:cubicBezTo>
                <a:cubicBezTo>
                  <a:pt x="25969" y="9468"/>
                  <a:pt x="25937" y="9468"/>
                  <a:pt x="25906" y="9500"/>
                </a:cubicBezTo>
                <a:cubicBezTo>
                  <a:pt x="25750" y="9562"/>
                  <a:pt x="25594" y="9625"/>
                  <a:pt x="25437" y="9687"/>
                </a:cubicBezTo>
                <a:cubicBezTo>
                  <a:pt x="25375" y="9656"/>
                  <a:pt x="25312" y="9718"/>
                  <a:pt x="25250" y="9750"/>
                </a:cubicBezTo>
                <a:cubicBezTo>
                  <a:pt x="25250" y="9750"/>
                  <a:pt x="25250" y="9750"/>
                  <a:pt x="25250" y="9750"/>
                </a:cubicBezTo>
                <a:cubicBezTo>
                  <a:pt x="25250" y="9750"/>
                  <a:pt x="25250" y="9750"/>
                  <a:pt x="25250" y="9750"/>
                </a:cubicBezTo>
                <a:cubicBezTo>
                  <a:pt x="25250" y="9750"/>
                  <a:pt x="25250" y="9750"/>
                  <a:pt x="25250" y="9750"/>
                </a:cubicBezTo>
                <a:cubicBezTo>
                  <a:pt x="25187" y="9750"/>
                  <a:pt x="25156" y="9750"/>
                  <a:pt x="25125" y="9812"/>
                </a:cubicBezTo>
                <a:cubicBezTo>
                  <a:pt x="25031" y="9843"/>
                  <a:pt x="24969" y="9875"/>
                  <a:pt x="24875" y="9906"/>
                </a:cubicBezTo>
                <a:cubicBezTo>
                  <a:pt x="24781" y="9875"/>
                  <a:pt x="24719" y="9937"/>
                  <a:pt x="24625" y="9968"/>
                </a:cubicBezTo>
                <a:cubicBezTo>
                  <a:pt x="24625" y="9968"/>
                  <a:pt x="24625" y="9968"/>
                  <a:pt x="24625" y="9968"/>
                </a:cubicBezTo>
                <a:cubicBezTo>
                  <a:pt x="24625" y="9968"/>
                  <a:pt x="24625" y="9968"/>
                  <a:pt x="24625" y="9968"/>
                </a:cubicBezTo>
                <a:cubicBezTo>
                  <a:pt x="24625" y="9968"/>
                  <a:pt x="24625" y="9968"/>
                  <a:pt x="24625" y="9968"/>
                </a:cubicBezTo>
                <a:cubicBezTo>
                  <a:pt x="24562" y="9968"/>
                  <a:pt x="24500" y="10031"/>
                  <a:pt x="24437" y="10031"/>
                </a:cubicBezTo>
                <a:cubicBezTo>
                  <a:pt x="24437" y="10031"/>
                  <a:pt x="24437" y="10031"/>
                  <a:pt x="24437" y="10031"/>
                </a:cubicBezTo>
                <a:cubicBezTo>
                  <a:pt x="24437" y="10031"/>
                  <a:pt x="24437" y="10031"/>
                  <a:pt x="24437" y="10031"/>
                </a:cubicBezTo>
                <a:cubicBezTo>
                  <a:pt x="24437" y="10031"/>
                  <a:pt x="24437" y="10031"/>
                  <a:pt x="24437" y="10031"/>
                </a:cubicBezTo>
                <a:cubicBezTo>
                  <a:pt x="24406" y="10031"/>
                  <a:pt x="24375" y="10031"/>
                  <a:pt x="24344" y="10093"/>
                </a:cubicBezTo>
                <a:cubicBezTo>
                  <a:pt x="24344" y="10093"/>
                  <a:pt x="24344" y="10093"/>
                  <a:pt x="24344" y="10093"/>
                </a:cubicBezTo>
                <a:cubicBezTo>
                  <a:pt x="24344" y="10093"/>
                  <a:pt x="24344" y="10093"/>
                  <a:pt x="24344" y="10093"/>
                </a:cubicBezTo>
                <a:cubicBezTo>
                  <a:pt x="24344" y="10093"/>
                  <a:pt x="24344" y="10093"/>
                  <a:pt x="24344" y="10093"/>
                </a:cubicBezTo>
                <a:cubicBezTo>
                  <a:pt x="24281" y="10093"/>
                  <a:pt x="24219" y="10093"/>
                  <a:pt x="24156" y="10156"/>
                </a:cubicBezTo>
                <a:cubicBezTo>
                  <a:pt x="24156" y="10156"/>
                  <a:pt x="24156" y="10156"/>
                  <a:pt x="24156" y="10156"/>
                </a:cubicBezTo>
                <a:cubicBezTo>
                  <a:pt x="24156" y="10156"/>
                  <a:pt x="24156" y="10156"/>
                  <a:pt x="24156" y="10156"/>
                </a:cubicBezTo>
                <a:cubicBezTo>
                  <a:pt x="24156" y="10156"/>
                  <a:pt x="24156" y="10156"/>
                  <a:pt x="24156" y="10156"/>
                </a:cubicBezTo>
                <a:cubicBezTo>
                  <a:pt x="24125" y="10156"/>
                  <a:pt x="24094" y="10156"/>
                  <a:pt x="24062" y="10187"/>
                </a:cubicBezTo>
                <a:cubicBezTo>
                  <a:pt x="24062" y="10187"/>
                  <a:pt x="24062" y="10187"/>
                  <a:pt x="24062" y="10187"/>
                </a:cubicBezTo>
                <a:cubicBezTo>
                  <a:pt x="24062" y="10187"/>
                  <a:pt x="24062" y="10187"/>
                  <a:pt x="24062" y="10187"/>
                </a:cubicBezTo>
                <a:cubicBezTo>
                  <a:pt x="24062" y="10187"/>
                  <a:pt x="24062" y="10187"/>
                  <a:pt x="24062" y="10187"/>
                </a:cubicBezTo>
                <a:cubicBezTo>
                  <a:pt x="24031" y="10187"/>
                  <a:pt x="23969" y="10156"/>
                  <a:pt x="23969" y="10218"/>
                </a:cubicBezTo>
                <a:cubicBezTo>
                  <a:pt x="23969" y="10218"/>
                  <a:pt x="23969" y="10218"/>
                  <a:pt x="23969" y="10218"/>
                </a:cubicBezTo>
                <a:cubicBezTo>
                  <a:pt x="23969" y="10218"/>
                  <a:pt x="23969" y="10218"/>
                  <a:pt x="23969" y="10218"/>
                </a:cubicBezTo>
                <a:cubicBezTo>
                  <a:pt x="23969" y="10218"/>
                  <a:pt x="23969" y="10218"/>
                  <a:pt x="23969" y="10218"/>
                </a:cubicBezTo>
                <a:cubicBezTo>
                  <a:pt x="23937" y="10218"/>
                  <a:pt x="23875" y="10218"/>
                  <a:pt x="23844" y="10250"/>
                </a:cubicBezTo>
                <a:cubicBezTo>
                  <a:pt x="23844" y="10250"/>
                  <a:pt x="23844" y="10250"/>
                  <a:pt x="23844" y="10250"/>
                </a:cubicBezTo>
                <a:cubicBezTo>
                  <a:pt x="23844" y="10250"/>
                  <a:pt x="23844" y="10250"/>
                  <a:pt x="23844" y="10250"/>
                </a:cubicBezTo>
                <a:cubicBezTo>
                  <a:pt x="23844" y="10250"/>
                  <a:pt x="23844" y="10250"/>
                  <a:pt x="23844" y="10250"/>
                </a:cubicBezTo>
                <a:cubicBezTo>
                  <a:pt x="23781" y="10250"/>
                  <a:pt x="23719" y="10312"/>
                  <a:pt x="23656" y="10312"/>
                </a:cubicBezTo>
                <a:cubicBezTo>
                  <a:pt x="23656" y="10312"/>
                  <a:pt x="23656" y="10312"/>
                  <a:pt x="23656" y="10312"/>
                </a:cubicBezTo>
                <a:cubicBezTo>
                  <a:pt x="23625" y="10343"/>
                  <a:pt x="23562" y="10312"/>
                  <a:pt x="23562" y="10375"/>
                </a:cubicBezTo>
                <a:cubicBezTo>
                  <a:pt x="23562" y="10375"/>
                  <a:pt x="23562" y="10375"/>
                  <a:pt x="23562" y="10375"/>
                </a:cubicBezTo>
                <a:cubicBezTo>
                  <a:pt x="23562" y="10375"/>
                  <a:pt x="23562" y="10375"/>
                  <a:pt x="23562" y="10375"/>
                </a:cubicBezTo>
                <a:cubicBezTo>
                  <a:pt x="23562" y="10375"/>
                  <a:pt x="23562" y="10375"/>
                  <a:pt x="23562" y="10375"/>
                </a:cubicBezTo>
                <a:cubicBezTo>
                  <a:pt x="23469" y="10375"/>
                  <a:pt x="23406" y="10375"/>
                  <a:pt x="23344" y="10437"/>
                </a:cubicBezTo>
                <a:cubicBezTo>
                  <a:pt x="23344" y="10437"/>
                  <a:pt x="23344" y="10437"/>
                  <a:pt x="23344" y="10437"/>
                </a:cubicBezTo>
                <a:cubicBezTo>
                  <a:pt x="23344" y="10437"/>
                  <a:pt x="23344" y="10437"/>
                  <a:pt x="23344" y="10437"/>
                </a:cubicBezTo>
                <a:cubicBezTo>
                  <a:pt x="23344" y="10437"/>
                  <a:pt x="23344" y="10437"/>
                  <a:pt x="23344" y="10437"/>
                </a:cubicBezTo>
                <a:cubicBezTo>
                  <a:pt x="23156" y="10468"/>
                  <a:pt x="23000" y="10531"/>
                  <a:pt x="22844" y="10625"/>
                </a:cubicBezTo>
                <a:cubicBezTo>
                  <a:pt x="22844" y="10625"/>
                  <a:pt x="22844" y="10625"/>
                  <a:pt x="22844" y="10625"/>
                </a:cubicBezTo>
                <a:cubicBezTo>
                  <a:pt x="22625" y="10656"/>
                  <a:pt x="22406" y="10750"/>
                  <a:pt x="22219" y="10843"/>
                </a:cubicBezTo>
                <a:cubicBezTo>
                  <a:pt x="22219" y="10843"/>
                  <a:pt x="22219" y="10843"/>
                  <a:pt x="22219" y="10843"/>
                </a:cubicBezTo>
                <a:cubicBezTo>
                  <a:pt x="22094" y="10843"/>
                  <a:pt x="22000" y="10875"/>
                  <a:pt x="21906" y="10937"/>
                </a:cubicBezTo>
                <a:cubicBezTo>
                  <a:pt x="21906" y="10937"/>
                  <a:pt x="21906" y="10937"/>
                  <a:pt x="21906" y="10937"/>
                </a:cubicBezTo>
                <a:cubicBezTo>
                  <a:pt x="21906" y="10937"/>
                  <a:pt x="21906" y="10937"/>
                  <a:pt x="21906" y="10937"/>
                </a:cubicBezTo>
                <a:cubicBezTo>
                  <a:pt x="21906" y="10937"/>
                  <a:pt x="21906" y="10937"/>
                  <a:pt x="21906" y="10937"/>
                </a:cubicBezTo>
                <a:cubicBezTo>
                  <a:pt x="21875" y="10937"/>
                  <a:pt x="21844" y="10937"/>
                  <a:pt x="21812" y="10968"/>
                </a:cubicBezTo>
                <a:cubicBezTo>
                  <a:pt x="21812" y="10968"/>
                  <a:pt x="21812" y="10968"/>
                  <a:pt x="21812" y="10968"/>
                </a:cubicBezTo>
                <a:cubicBezTo>
                  <a:pt x="21687" y="10968"/>
                  <a:pt x="21594" y="11031"/>
                  <a:pt x="21500" y="11062"/>
                </a:cubicBezTo>
                <a:cubicBezTo>
                  <a:pt x="21156" y="11187"/>
                  <a:pt x="20781" y="11281"/>
                  <a:pt x="20437" y="11406"/>
                </a:cubicBezTo>
                <a:cubicBezTo>
                  <a:pt x="20406" y="11406"/>
                  <a:pt x="20375" y="11406"/>
                  <a:pt x="20344" y="11375"/>
                </a:cubicBezTo>
                <a:cubicBezTo>
                  <a:pt x="20312" y="11406"/>
                  <a:pt x="20312" y="11406"/>
                  <a:pt x="20281" y="11375"/>
                </a:cubicBezTo>
                <a:cubicBezTo>
                  <a:pt x="20281" y="11375"/>
                  <a:pt x="20281" y="11375"/>
                  <a:pt x="20281" y="11375"/>
                </a:cubicBezTo>
                <a:cubicBezTo>
                  <a:pt x="20312" y="11406"/>
                  <a:pt x="20312" y="11406"/>
                  <a:pt x="20344" y="11375"/>
                </a:cubicBezTo>
                <a:cubicBezTo>
                  <a:pt x="20344" y="11375"/>
                  <a:pt x="20344" y="11375"/>
                  <a:pt x="20344" y="11375"/>
                </a:cubicBezTo>
                <a:cubicBezTo>
                  <a:pt x="20344" y="11375"/>
                  <a:pt x="20344" y="11375"/>
                  <a:pt x="20344" y="11375"/>
                </a:cubicBezTo>
                <a:cubicBezTo>
                  <a:pt x="20406" y="11406"/>
                  <a:pt x="20437" y="11375"/>
                  <a:pt x="20469" y="11343"/>
                </a:cubicBezTo>
                <a:cubicBezTo>
                  <a:pt x="20594" y="11312"/>
                  <a:pt x="20719" y="11250"/>
                  <a:pt x="20812" y="11218"/>
                </a:cubicBezTo>
                <a:cubicBezTo>
                  <a:pt x="21156" y="11125"/>
                  <a:pt x="21469" y="11000"/>
                  <a:pt x="21812" y="10875"/>
                </a:cubicBezTo>
                <a:close/>
                <a:moveTo>
                  <a:pt x="20469" y="9906"/>
                </a:moveTo>
                <a:cubicBezTo>
                  <a:pt x="20406" y="9968"/>
                  <a:pt x="20406" y="9968"/>
                  <a:pt x="20500" y="10000"/>
                </a:cubicBezTo>
                <a:cubicBezTo>
                  <a:pt x="20500" y="10031"/>
                  <a:pt x="20500" y="10062"/>
                  <a:pt x="20562" y="10093"/>
                </a:cubicBezTo>
                <a:cubicBezTo>
                  <a:pt x="20500" y="10062"/>
                  <a:pt x="20500" y="10031"/>
                  <a:pt x="20500" y="10000"/>
                </a:cubicBezTo>
                <a:cubicBezTo>
                  <a:pt x="20406" y="9968"/>
                  <a:pt x="20406" y="9968"/>
                  <a:pt x="20469" y="9906"/>
                </a:cubicBezTo>
                <a:cubicBezTo>
                  <a:pt x="20437" y="9875"/>
                  <a:pt x="20406" y="9875"/>
                  <a:pt x="20406" y="9875"/>
                </a:cubicBezTo>
                <a:cubicBezTo>
                  <a:pt x="20375" y="9875"/>
                  <a:pt x="20375" y="9875"/>
                  <a:pt x="20375" y="9875"/>
                </a:cubicBezTo>
                <a:cubicBezTo>
                  <a:pt x="20375" y="9875"/>
                  <a:pt x="20375" y="9875"/>
                  <a:pt x="20406" y="9875"/>
                </a:cubicBezTo>
                <a:cubicBezTo>
                  <a:pt x="20406" y="9812"/>
                  <a:pt x="20437" y="9812"/>
                  <a:pt x="20469" y="9812"/>
                </a:cubicBezTo>
                <a:cubicBezTo>
                  <a:pt x="20437" y="9812"/>
                  <a:pt x="20406" y="9812"/>
                  <a:pt x="20406" y="9875"/>
                </a:cubicBezTo>
                <a:cubicBezTo>
                  <a:pt x="20406" y="9875"/>
                  <a:pt x="20437" y="9875"/>
                  <a:pt x="20469" y="9906"/>
                </a:cubicBezTo>
                <a:close/>
                <a:moveTo>
                  <a:pt x="20625" y="9875"/>
                </a:moveTo>
                <a:cubicBezTo>
                  <a:pt x="20687" y="9906"/>
                  <a:pt x="20625" y="9937"/>
                  <a:pt x="20656" y="9968"/>
                </a:cubicBezTo>
                <a:cubicBezTo>
                  <a:pt x="20625" y="10000"/>
                  <a:pt x="20562" y="10000"/>
                  <a:pt x="20531" y="10000"/>
                </a:cubicBezTo>
                <a:cubicBezTo>
                  <a:pt x="20469" y="9968"/>
                  <a:pt x="20469" y="9968"/>
                  <a:pt x="20500" y="9906"/>
                </a:cubicBezTo>
                <a:cubicBezTo>
                  <a:pt x="20562" y="9906"/>
                  <a:pt x="20594" y="9906"/>
                  <a:pt x="20625" y="9875"/>
                </a:cubicBezTo>
                <a:close/>
                <a:moveTo>
                  <a:pt x="20531" y="9781"/>
                </a:moveTo>
                <a:cubicBezTo>
                  <a:pt x="20594" y="9687"/>
                  <a:pt x="20625" y="9656"/>
                  <a:pt x="20719" y="9687"/>
                </a:cubicBezTo>
                <a:cubicBezTo>
                  <a:pt x="20625" y="9656"/>
                  <a:pt x="20594" y="9687"/>
                  <a:pt x="20531" y="9781"/>
                </a:cubicBezTo>
                <a:cubicBezTo>
                  <a:pt x="20531" y="9781"/>
                  <a:pt x="20531" y="9781"/>
                  <a:pt x="20531" y="9781"/>
                </a:cubicBezTo>
                <a:close/>
                <a:moveTo>
                  <a:pt x="20406" y="10343"/>
                </a:moveTo>
                <a:cubicBezTo>
                  <a:pt x="20406" y="10343"/>
                  <a:pt x="20406" y="10343"/>
                  <a:pt x="20406" y="10343"/>
                </a:cubicBezTo>
                <a:cubicBezTo>
                  <a:pt x="20406" y="10343"/>
                  <a:pt x="20406" y="10343"/>
                  <a:pt x="20406" y="10312"/>
                </a:cubicBezTo>
                <a:cubicBezTo>
                  <a:pt x="20406" y="10343"/>
                  <a:pt x="20406" y="10343"/>
                  <a:pt x="20406" y="10343"/>
                </a:cubicBezTo>
                <a:cubicBezTo>
                  <a:pt x="20406" y="10343"/>
                  <a:pt x="20406" y="10343"/>
                  <a:pt x="20406" y="10343"/>
                </a:cubicBezTo>
                <a:close/>
                <a:moveTo>
                  <a:pt x="20406" y="11312"/>
                </a:moveTo>
                <a:cubicBezTo>
                  <a:pt x="20406" y="11312"/>
                  <a:pt x="20406" y="11312"/>
                  <a:pt x="20406" y="11312"/>
                </a:cubicBezTo>
                <a:cubicBezTo>
                  <a:pt x="20406" y="11343"/>
                  <a:pt x="20375" y="11343"/>
                  <a:pt x="20375" y="11343"/>
                </a:cubicBezTo>
                <a:cubicBezTo>
                  <a:pt x="20375" y="11343"/>
                  <a:pt x="20406" y="11343"/>
                  <a:pt x="20406" y="11312"/>
                </a:cubicBezTo>
                <a:close/>
                <a:moveTo>
                  <a:pt x="21156" y="10375"/>
                </a:moveTo>
                <a:cubicBezTo>
                  <a:pt x="21219" y="10343"/>
                  <a:pt x="21250" y="10312"/>
                  <a:pt x="21312" y="10312"/>
                </a:cubicBezTo>
                <a:cubicBezTo>
                  <a:pt x="21250" y="10312"/>
                  <a:pt x="21219" y="10343"/>
                  <a:pt x="21156" y="10375"/>
                </a:cubicBezTo>
                <a:cubicBezTo>
                  <a:pt x="21156" y="10375"/>
                  <a:pt x="21156" y="10375"/>
                  <a:pt x="21156" y="10406"/>
                </a:cubicBezTo>
                <a:cubicBezTo>
                  <a:pt x="21156" y="10406"/>
                  <a:pt x="21156" y="10406"/>
                  <a:pt x="21156" y="10406"/>
                </a:cubicBezTo>
                <a:cubicBezTo>
                  <a:pt x="21156" y="10375"/>
                  <a:pt x="21156" y="10375"/>
                  <a:pt x="21156" y="10375"/>
                </a:cubicBezTo>
                <a:cubicBezTo>
                  <a:pt x="21000" y="10406"/>
                  <a:pt x="20844" y="10468"/>
                  <a:pt x="20719" y="10500"/>
                </a:cubicBezTo>
                <a:cubicBezTo>
                  <a:pt x="20844" y="10468"/>
                  <a:pt x="21000" y="10406"/>
                  <a:pt x="21156" y="10375"/>
                </a:cubicBezTo>
                <a:close/>
                <a:moveTo>
                  <a:pt x="20812" y="9500"/>
                </a:moveTo>
                <a:cubicBezTo>
                  <a:pt x="20781" y="9531"/>
                  <a:pt x="20781" y="9593"/>
                  <a:pt x="20812" y="9656"/>
                </a:cubicBezTo>
                <a:cubicBezTo>
                  <a:pt x="20812" y="9656"/>
                  <a:pt x="20812" y="9656"/>
                  <a:pt x="20812" y="9656"/>
                </a:cubicBezTo>
                <a:cubicBezTo>
                  <a:pt x="20781" y="9593"/>
                  <a:pt x="20781" y="9531"/>
                  <a:pt x="20812" y="9500"/>
                </a:cubicBezTo>
                <a:close/>
                <a:moveTo>
                  <a:pt x="20812" y="9937"/>
                </a:moveTo>
                <a:cubicBezTo>
                  <a:pt x="20812" y="9937"/>
                  <a:pt x="20812" y="9937"/>
                  <a:pt x="20812" y="9937"/>
                </a:cubicBezTo>
                <a:cubicBezTo>
                  <a:pt x="20844" y="9937"/>
                  <a:pt x="20875" y="9906"/>
                  <a:pt x="20906" y="9875"/>
                </a:cubicBezTo>
                <a:cubicBezTo>
                  <a:pt x="20875" y="9906"/>
                  <a:pt x="20844" y="9937"/>
                  <a:pt x="20812" y="9937"/>
                </a:cubicBezTo>
                <a:close/>
                <a:moveTo>
                  <a:pt x="20875" y="9843"/>
                </a:moveTo>
                <a:cubicBezTo>
                  <a:pt x="20875" y="9843"/>
                  <a:pt x="20875" y="9812"/>
                  <a:pt x="20875" y="9812"/>
                </a:cubicBezTo>
                <a:cubicBezTo>
                  <a:pt x="20875" y="9812"/>
                  <a:pt x="20875" y="9843"/>
                  <a:pt x="20875" y="9843"/>
                </a:cubicBezTo>
                <a:close/>
                <a:moveTo>
                  <a:pt x="20969" y="9375"/>
                </a:moveTo>
                <a:cubicBezTo>
                  <a:pt x="20750" y="9468"/>
                  <a:pt x="20531" y="9562"/>
                  <a:pt x="20312" y="9625"/>
                </a:cubicBezTo>
                <a:cubicBezTo>
                  <a:pt x="20250" y="9656"/>
                  <a:pt x="20187" y="9687"/>
                  <a:pt x="20125" y="9718"/>
                </a:cubicBezTo>
                <a:cubicBezTo>
                  <a:pt x="20125" y="9687"/>
                  <a:pt x="20156" y="9656"/>
                  <a:pt x="20156" y="9625"/>
                </a:cubicBezTo>
                <a:cubicBezTo>
                  <a:pt x="20187" y="9625"/>
                  <a:pt x="20187" y="9625"/>
                  <a:pt x="20219" y="9625"/>
                </a:cubicBezTo>
                <a:cubicBezTo>
                  <a:pt x="20406" y="9531"/>
                  <a:pt x="20625" y="9468"/>
                  <a:pt x="20844" y="9375"/>
                </a:cubicBezTo>
                <a:cubicBezTo>
                  <a:pt x="20875" y="9375"/>
                  <a:pt x="20937" y="9375"/>
                  <a:pt x="20969" y="9312"/>
                </a:cubicBezTo>
                <a:cubicBezTo>
                  <a:pt x="20969" y="9343"/>
                  <a:pt x="21000" y="9343"/>
                  <a:pt x="21031" y="9343"/>
                </a:cubicBezTo>
                <a:cubicBezTo>
                  <a:pt x="21000" y="9375"/>
                  <a:pt x="21000" y="9375"/>
                  <a:pt x="20969" y="9375"/>
                </a:cubicBezTo>
                <a:close/>
                <a:moveTo>
                  <a:pt x="21125" y="9562"/>
                </a:moveTo>
                <a:cubicBezTo>
                  <a:pt x="21094" y="9593"/>
                  <a:pt x="21094" y="9593"/>
                  <a:pt x="21062" y="9593"/>
                </a:cubicBezTo>
                <a:cubicBezTo>
                  <a:pt x="21062" y="9593"/>
                  <a:pt x="21062" y="9593"/>
                  <a:pt x="21062" y="9593"/>
                </a:cubicBezTo>
                <a:cubicBezTo>
                  <a:pt x="21062" y="9593"/>
                  <a:pt x="21031" y="9562"/>
                  <a:pt x="21000" y="9562"/>
                </a:cubicBezTo>
                <a:cubicBezTo>
                  <a:pt x="21031" y="9562"/>
                  <a:pt x="21062" y="9593"/>
                  <a:pt x="21062" y="9593"/>
                </a:cubicBezTo>
                <a:cubicBezTo>
                  <a:pt x="21094" y="9593"/>
                  <a:pt x="21094" y="9593"/>
                  <a:pt x="21125" y="9562"/>
                </a:cubicBezTo>
                <a:cubicBezTo>
                  <a:pt x="21125" y="9562"/>
                  <a:pt x="21125" y="9593"/>
                  <a:pt x="21156" y="9593"/>
                </a:cubicBezTo>
                <a:cubicBezTo>
                  <a:pt x="21125" y="9593"/>
                  <a:pt x="21125" y="9562"/>
                  <a:pt x="21125" y="9562"/>
                </a:cubicBezTo>
                <a:close/>
                <a:moveTo>
                  <a:pt x="32219" y="4937"/>
                </a:moveTo>
                <a:cubicBezTo>
                  <a:pt x="32250" y="4937"/>
                  <a:pt x="32281" y="4906"/>
                  <a:pt x="32312" y="4906"/>
                </a:cubicBezTo>
                <a:cubicBezTo>
                  <a:pt x="32281" y="4906"/>
                  <a:pt x="32250" y="4937"/>
                  <a:pt x="32219" y="4937"/>
                </a:cubicBezTo>
                <a:cubicBezTo>
                  <a:pt x="32187" y="4968"/>
                  <a:pt x="32187" y="4968"/>
                  <a:pt x="32187" y="4968"/>
                </a:cubicBezTo>
                <a:cubicBezTo>
                  <a:pt x="32187" y="4968"/>
                  <a:pt x="32187" y="4968"/>
                  <a:pt x="32219" y="4937"/>
                </a:cubicBezTo>
                <a:close/>
                <a:moveTo>
                  <a:pt x="32250" y="4968"/>
                </a:moveTo>
                <a:cubicBezTo>
                  <a:pt x="32250" y="5000"/>
                  <a:pt x="32219" y="5031"/>
                  <a:pt x="32156" y="5000"/>
                </a:cubicBezTo>
                <a:cubicBezTo>
                  <a:pt x="32219" y="5031"/>
                  <a:pt x="32219" y="4906"/>
                  <a:pt x="32250" y="4968"/>
                </a:cubicBezTo>
                <a:close/>
                <a:moveTo>
                  <a:pt x="21969" y="9093"/>
                </a:moveTo>
                <a:cubicBezTo>
                  <a:pt x="21969" y="9093"/>
                  <a:pt x="21969" y="9093"/>
                  <a:pt x="21969" y="9093"/>
                </a:cubicBezTo>
                <a:cubicBezTo>
                  <a:pt x="21969" y="9093"/>
                  <a:pt x="21969" y="9093"/>
                  <a:pt x="21969" y="9093"/>
                </a:cubicBezTo>
                <a:close/>
                <a:moveTo>
                  <a:pt x="21844" y="9125"/>
                </a:moveTo>
                <a:cubicBezTo>
                  <a:pt x="21844" y="9125"/>
                  <a:pt x="21844" y="9156"/>
                  <a:pt x="21844" y="9156"/>
                </a:cubicBezTo>
                <a:cubicBezTo>
                  <a:pt x="21844" y="9156"/>
                  <a:pt x="21844" y="9125"/>
                  <a:pt x="21844" y="9125"/>
                </a:cubicBezTo>
                <a:close/>
                <a:moveTo>
                  <a:pt x="21875" y="9156"/>
                </a:moveTo>
                <a:cubicBezTo>
                  <a:pt x="21875" y="9125"/>
                  <a:pt x="21906" y="9156"/>
                  <a:pt x="21937" y="9156"/>
                </a:cubicBezTo>
                <a:cubicBezTo>
                  <a:pt x="21906" y="9156"/>
                  <a:pt x="21875" y="9125"/>
                  <a:pt x="21875" y="9156"/>
                </a:cubicBezTo>
                <a:cubicBezTo>
                  <a:pt x="21844" y="9156"/>
                  <a:pt x="21844" y="9156"/>
                  <a:pt x="21812" y="9156"/>
                </a:cubicBezTo>
                <a:cubicBezTo>
                  <a:pt x="21844" y="9156"/>
                  <a:pt x="21844" y="9156"/>
                  <a:pt x="21875" y="9156"/>
                </a:cubicBezTo>
                <a:close/>
                <a:moveTo>
                  <a:pt x="21531" y="9281"/>
                </a:moveTo>
                <a:cubicBezTo>
                  <a:pt x="21531" y="9281"/>
                  <a:pt x="21500" y="9281"/>
                  <a:pt x="21500" y="9281"/>
                </a:cubicBezTo>
                <a:cubicBezTo>
                  <a:pt x="21500" y="9312"/>
                  <a:pt x="21469" y="9312"/>
                  <a:pt x="21469" y="9312"/>
                </a:cubicBezTo>
                <a:cubicBezTo>
                  <a:pt x="21469" y="9312"/>
                  <a:pt x="21500" y="9312"/>
                  <a:pt x="21500" y="9281"/>
                </a:cubicBezTo>
                <a:cubicBezTo>
                  <a:pt x="21500" y="9281"/>
                  <a:pt x="21531" y="9281"/>
                  <a:pt x="21531" y="9281"/>
                </a:cubicBezTo>
                <a:close/>
                <a:moveTo>
                  <a:pt x="21500" y="9281"/>
                </a:moveTo>
                <a:cubicBezTo>
                  <a:pt x="21469" y="9281"/>
                  <a:pt x="21437" y="9281"/>
                  <a:pt x="21406" y="9281"/>
                </a:cubicBezTo>
                <a:cubicBezTo>
                  <a:pt x="21406" y="9281"/>
                  <a:pt x="21406" y="9281"/>
                  <a:pt x="21406" y="9281"/>
                </a:cubicBezTo>
                <a:cubicBezTo>
                  <a:pt x="21437" y="9281"/>
                  <a:pt x="21469" y="9281"/>
                  <a:pt x="21500" y="9281"/>
                </a:cubicBezTo>
                <a:close/>
                <a:moveTo>
                  <a:pt x="21469" y="9406"/>
                </a:moveTo>
                <a:cubicBezTo>
                  <a:pt x="21469" y="9437"/>
                  <a:pt x="21469" y="9437"/>
                  <a:pt x="21500" y="9437"/>
                </a:cubicBezTo>
                <a:cubicBezTo>
                  <a:pt x="21469" y="9437"/>
                  <a:pt x="21469" y="9437"/>
                  <a:pt x="21469" y="9406"/>
                </a:cubicBezTo>
                <a:cubicBezTo>
                  <a:pt x="21437" y="9406"/>
                  <a:pt x="21437" y="9406"/>
                  <a:pt x="21406" y="9437"/>
                </a:cubicBezTo>
                <a:cubicBezTo>
                  <a:pt x="21437" y="9406"/>
                  <a:pt x="21437" y="9406"/>
                  <a:pt x="21469" y="9406"/>
                </a:cubicBezTo>
                <a:close/>
                <a:moveTo>
                  <a:pt x="32406" y="4468"/>
                </a:moveTo>
                <a:cubicBezTo>
                  <a:pt x="32406" y="4437"/>
                  <a:pt x="32469" y="4437"/>
                  <a:pt x="32500" y="4437"/>
                </a:cubicBezTo>
                <a:cubicBezTo>
                  <a:pt x="32500" y="4437"/>
                  <a:pt x="32500" y="4437"/>
                  <a:pt x="32500" y="4437"/>
                </a:cubicBezTo>
                <a:cubicBezTo>
                  <a:pt x="32562" y="4375"/>
                  <a:pt x="32656" y="4343"/>
                  <a:pt x="32781" y="4343"/>
                </a:cubicBezTo>
                <a:cubicBezTo>
                  <a:pt x="32750" y="4406"/>
                  <a:pt x="32687" y="4406"/>
                  <a:pt x="32625" y="4437"/>
                </a:cubicBezTo>
                <a:cubicBezTo>
                  <a:pt x="32594" y="4437"/>
                  <a:pt x="32531" y="4468"/>
                  <a:pt x="32500" y="4437"/>
                </a:cubicBezTo>
                <a:cubicBezTo>
                  <a:pt x="32500" y="4500"/>
                  <a:pt x="32437" y="4468"/>
                  <a:pt x="32437" y="4500"/>
                </a:cubicBezTo>
                <a:cubicBezTo>
                  <a:pt x="32406" y="4500"/>
                  <a:pt x="32375" y="4468"/>
                  <a:pt x="32406" y="4468"/>
                </a:cubicBezTo>
                <a:close/>
                <a:moveTo>
                  <a:pt x="32031" y="4593"/>
                </a:moveTo>
                <a:cubicBezTo>
                  <a:pt x="32094" y="4593"/>
                  <a:pt x="32156" y="4562"/>
                  <a:pt x="32219" y="4531"/>
                </a:cubicBezTo>
                <a:cubicBezTo>
                  <a:pt x="32250" y="4500"/>
                  <a:pt x="32281" y="4500"/>
                  <a:pt x="32312" y="4531"/>
                </a:cubicBezTo>
                <a:cubicBezTo>
                  <a:pt x="32312" y="4562"/>
                  <a:pt x="32250" y="4531"/>
                  <a:pt x="32219" y="4593"/>
                </a:cubicBezTo>
                <a:cubicBezTo>
                  <a:pt x="32219" y="4593"/>
                  <a:pt x="32187" y="4593"/>
                  <a:pt x="32187" y="4593"/>
                </a:cubicBezTo>
                <a:cubicBezTo>
                  <a:pt x="32094" y="4593"/>
                  <a:pt x="32062" y="4656"/>
                  <a:pt x="31969" y="4656"/>
                </a:cubicBezTo>
                <a:cubicBezTo>
                  <a:pt x="31969" y="4625"/>
                  <a:pt x="32062" y="4656"/>
                  <a:pt x="32031" y="4593"/>
                </a:cubicBezTo>
                <a:close/>
                <a:moveTo>
                  <a:pt x="30875" y="5093"/>
                </a:moveTo>
                <a:cubicBezTo>
                  <a:pt x="30844" y="5062"/>
                  <a:pt x="30844" y="5062"/>
                  <a:pt x="30844" y="5062"/>
                </a:cubicBezTo>
                <a:cubicBezTo>
                  <a:pt x="30844" y="5062"/>
                  <a:pt x="30875" y="5093"/>
                  <a:pt x="30875" y="5093"/>
                </a:cubicBezTo>
                <a:close/>
                <a:moveTo>
                  <a:pt x="30125" y="5468"/>
                </a:moveTo>
                <a:cubicBezTo>
                  <a:pt x="30094" y="5468"/>
                  <a:pt x="30062" y="5500"/>
                  <a:pt x="30031" y="5500"/>
                </a:cubicBezTo>
                <a:cubicBezTo>
                  <a:pt x="30062" y="5500"/>
                  <a:pt x="30094" y="5468"/>
                  <a:pt x="30125" y="5468"/>
                </a:cubicBezTo>
                <a:close/>
                <a:moveTo>
                  <a:pt x="29625" y="5562"/>
                </a:moveTo>
                <a:cubicBezTo>
                  <a:pt x="29625" y="5562"/>
                  <a:pt x="29625" y="5562"/>
                  <a:pt x="29625" y="5593"/>
                </a:cubicBezTo>
                <a:cubicBezTo>
                  <a:pt x="29625" y="5562"/>
                  <a:pt x="29625" y="5562"/>
                  <a:pt x="29625" y="5562"/>
                </a:cubicBezTo>
                <a:cubicBezTo>
                  <a:pt x="29625" y="5562"/>
                  <a:pt x="29625" y="5562"/>
                  <a:pt x="29625" y="5562"/>
                </a:cubicBezTo>
                <a:close/>
                <a:moveTo>
                  <a:pt x="29687" y="5593"/>
                </a:moveTo>
                <a:cubicBezTo>
                  <a:pt x="29687" y="5593"/>
                  <a:pt x="29687" y="5593"/>
                  <a:pt x="29687" y="5593"/>
                </a:cubicBezTo>
                <a:cubicBezTo>
                  <a:pt x="29687" y="5593"/>
                  <a:pt x="29687" y="5593"/>
                  <a:pt x="29687" y="5593"/>
                </a:cubicBezTo>
                <a:cubicBezTo>
                  <a:pt x="29750" y="5531"/>
                  <a:pt x="29844" y="5500"/>
                  <a:pt x="29969" y="5500"/>
                </a:cubicBezTo>
                <a:cubicBezTo>
                  <a:pt x="29875" y="5531"/>
                  <a:pt x="29781" y="5593"/>
                  <a:pt x="29687" y="5593"/>
                </a:cubicBezTo>
                <a:cubicBezTo>
                  <a:pt x="29687" y="5656"/>
                  <a:pt x="29625" y="5656"/>
                  <a:pt x="29594" y="5625"/>
                </a:cubicBezTo>
                <a:cubicBezTo>
                  <a:pt x="29594" y="5562"/>
                  <a:pt x="29656" y="5593"/>
                  <a:pt x="29687" y="5593"/>
                </a:cubicBezTo>
                <a:close/>
                <a:moveTo>
                  <a:pt x="28094" y="6218"/>
                </a:moveTo>
                <a:cubicBezTo>
                  <a:pt x="28187" y="6218"/>
                  <a:pt x="28250" y="6125"/>
                  <a:pt x="28375" y="6156"/>
                </a:cubicBezTo>
                <a:cubicBezTo>
                  <a:pt x="28344" y="6187"/>
                  <a:pt x="28281" y="6156"/>
                  <a:pt x="28281" y="6187"/>
                </a:cubicBezTo>
                <a:cubicBezTo>
                  <a:pt x="28187" y="6187"/>
                  <a:pt x="28125" y="6281"/>
                  <a:pt x="28031" y="6281"/>
                </a:cubicBezTo>
                <a:cubicBezTo>
                  <a:pt x="28000" y="6218"/>
                  <a:pt x="28094" y="6250"/>
                  <a:pt x="28094" y="6218"/>
                </a:cubicBezTo>
                <a:close/>
                <a:moveTo>
                  <a:pt x="27812" y="6468"/>
                </a:moveTo>
                <a:cubicBezTo>
                  <a:pt x="27781" y="6468"/>
                  <a:pt x="27781" y="6500"/>
                  <a:pt x="27750" y="6500"/>
                </a:cubicBezTo>
                <a:cubicBezTo>
                  <a:pt x="27750" y="6500"/>
                  <a:pt x="27750" y="6500"/>
                  <a:pt x="27750" y="6500"/>
                </a:cubicBezTo>
                <a:cubicBezTo>
                  <a:pt x="27781" y="6500"/>
                  <a:pt x="27781" y="6468"/>
                  <a:pt x="27812" y="6468"/>
                </a:cubicBezTo>
                <a:close/>
                <a:moveTo>
                  <a:pt x="22844" y="7750"/>
                </a:moveTo>
                <a:cubicBezTo>
                  <a:pt x="22844" y="7750"/>
                  <a:pt x="22844" y="7750"/>
                  <a:pt x="22844" y="7750"/>
                </a:cubicBezTo>
                <a:cubicBezTo>
                  <a:pt x="22844" y="7750"/>
                  <a:pt x="22844" y="7750"/>
                  <a:pt x="22844" y="7750"/>
                </a:cubicBezTo>
                <a:cubicBezTo>
                  <a:pt x="22844" y="7750"/>
                  <a:pt x="22875" y="7781"/>
                  <a:pt x="22875" y="7781"/>
                </a:cubicBezTo>
                <a:cubicBezTo>
                  <a:pt x="22875" y="7781"/>
                  <a:pt x="22844" y="7750"/>
                  <a:pt x="22844" y="7750"/>
                </a:cubicBezTo>
                <a:cubicBezTo>
                  <a:pt x="22844" y="7781"/>
                  <a:pt x="22844" y="7812"/>
                  <a:pt x="22812" y="7812"/>
                </a:cubicBezTo>
                <a:cubicBezTo>
                  <a:pt x="22844" y="7812"/>
                  <a:pt x="22844" y="7781"/>
                  <a:pt x="22844" y="7750"/>
                </a:cubicBezTo>
                <a:close/>
                <a:moveTo>
                  <a:pt x="22062" y="8062"/>
                </a:moveTo>
                <a:cubicBezTo>
                  <a:pt x="22094" y="8062"/>
                  <a:pt x="22094" y="8062"/>
                  <a:pt x="22094" y="8062"/>
                </a:cubicBezTo>
                <a:cubicBezTo>
                  <a:pt x="22094" y="8062"/>
                  <a:pt x="22094" y="8062"/>
                  <a:pt x="22062" y="8062"/>
                </a:cubicBezTo>
                <a:close/>
                <a:moveTo>
                  <a:pt x="22000" y="8093"/>
                </a:moveTo>
                <a:cubicBezTo>
                  <a:pt x="22000" y="8093"/>
                  <a:pt x="22031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31" y="8062"/>
                  <a:pt x="22000" y="8093"/>
                  <a:pt x="22000" y="8093"/>
                </a:cubicBezTo>
                <a:cubicBezTo>
                  <a:pt x="21969" y="8093"/>
                  <a:pt x="21969" y="8093"/>
                  <a:pt x="21969" y="8093"/>
                </a:cubicBezTo>
                <a:cubicBezTo>
                  <a:pt x="21969" y="8093"/>
                  <a:pt x="21969" y="8093"/>
                  <a:pt x="22000" y="8093"/>
                </a:cubicBezTo>
                <a:close/>
                <a:moveTo>
                  <a:pt x="21844" y="8125"/>
                </a:moveTo>
                <a:cubicBezTo>
                  <a:pt x="21875" y="8125"/>
                  <a:pt x="21906" y="8125"/>
                  <a:pt x="21937" y="8125"/>
                </a:cubicBezTo>
                <a:cubicBezTo>
                  <a:pt x="21906" y="8125"/>
                  <a:pt x="21875" y="8125"/>
                  <a:pt x="21844" y="8125"/>
                </a:cubicBezTo>
                <a:cubicBezTo>
                  <a:pt x="21844" y="8156"/>
                  <a:pt x="21812" y="8156"/>
                  <a:pt x="21781" y="8156"/>
                </a:cubicBezTo>
                <a:cubicBezTo>
                  <a:pt x="21812" y="8156"/>
                  <a:pt x="21844" y="8156"/>
                  <a:pt x="21844" y="8125"/>
                </a:cubicBezTo>
                <a:close/>
                <a:moveTo>
                  <a:pt x="21562" y="8156"/>
                </a:moveTo>
                <a:cubicBezTo>
                  <a:pt x="21562" y="8125"/>
                  <a:pt x="21594" y="8125"/>
                  <a:pt x="21594" y="8125"/>
                </a:cubicBezTo>
                <a:cubicBezTo>
                  <a:pt x="21594" y="8125"/>
                  <a:pt x="21562" y="8125"/>
                  <a:pt x="21562" y="8156"/>
                </a:cubicBezTo>
                <a:cubicBezTo>
                  <a:pt x="21500" y="8187"/>
                  <a:pt x="21469" y="8218"/>
                  <a:pt x="21406" y="8218"/>
                </a:cubicBezTo>
                <a:cubicBezTo>
                  <a:pt x="21469" y="8218"/>
                  <a:pt x="21500" y="8187"/>
                  <a:pt x="21562" y="8156"/>
                </a:cubicBezTo>
                <a:close/>
                <a:moveTo>
                  <a:pt x="21187" y="9531"/>
                </a:moveTo>
                <a:cubicBezTo>
                  <a:pt x="21187" y="9500"/>
                  <a:pt x="21219" y="9500"/>
                  <a:pt x="21219" y="9500"/>
                </a:cubicBezTo>
                <a:cubicBezTo>
                  <a:pt x="21219" y="9500"/>
                  <a:pt x="21219" y="9500"/>
                  <a:pt x="21219" y="9500"/>
                </a:cubicBezTo>
                <a:cubicBezTo>
                  <a:pt x="21219" y="9500"/>
                  <a:pt x="21187" y="9500"/>
                  <a:pt x="21187" y="9531"/>
                </a:cubicBezTo>
                <a:close/>
                <a:moveTo>
                  <a:pt x="21250" y="8343"/>
                </a:moveTo>
                <a:cubicBezTo>
                  <a:pt x="21250" y="8312"/>
                  <a:pt x="21219" y="8312"/>
                  <a:pt x="21219" y="8312"/>
                </a:cubicBezTo>
                <a:cubicBezTo>
                  <a:pt x="21219" y="8312"/>
                  <a:pt x="21250" y="8312"/>
                  <a:pt x="21250" y="8343"/>
                </a:cubicBezTo>
                <a:cubicBezTo>
                  <a:pt x="21250" y="8343"/>
                  <a:pt x="21250" y="8343"/>
                  <a:pt x="21250" y="8343"/>
                </a:cubicBezTo>
                <a:close/>
                <a:moveTo>
                  <a:pt x="21281" y="8812"/>
                </a:moveTo>
                <a:cubicBezTo>
                  <a:pt x="21281" y="8812"/>
                  <a:pt x="21281" y="8781"/>
                  <a:pt x="21312" y="8781"/>
                </a:cubicBezTo>
                <a:cubicBezTo>
                  <a:pt x="21281" y="8781"/>
                  <a:pt x="21281" y="8812"/>
                  <a:pt x="21281" y="8812"/>
                </a:cubicBezTo>
                <a:cubicBezTo>
                  <a:pt x="21281" y="8812"/>
                  <a:pt x="21281" y="8812"/>
                  <a:pt x="21281" y="8812"/>
                </a:cubicBezTo>
                <a:close/>
                <a:moveTo>
                  <a:pt x="21312" y="9156"/>
                </a:moveTo>
                <a:cubicBezTo>
                  <a:pt x="21312" y="9187"/>
                  <a:pt x="21312" y="9187"/>
                  <a:pt x="21312" y="9187"/>
                </a:cubicBezTo>
                <a:cubicBezTo>
                  <a:pt x="21312" y="9187"/>
                  <a:pt x="21312" y="9187"/>
                  <a:pt x="21312" y="9156"/>
                </a:cubicBezTo>
                <a:cubicBezTo>
                  <a:pt x="21312" y="9156"/>
                  <a:pt x="21281" y="9156"/>
                  <a:pt x="21281" y="9156"/>
                </a:cubicBezTo>
                <a:cubicBezTo>
                  <a:pt x="21281" y="9156"/>
                  <a:pt x="21312" y="9156"/>
                  <a:pt x="21312" y="9156"/>
                </a:cubicBezTo>
                <a:close/>
                <a:moveTo>
                  <a:pt x="21312" y="9531"/>
                </a:moveTo>
                <a:cubicBezTo>
                  <a:pt x="21312" y="9500"/>
                  <a:pt x="21344" y="9500"/>
                  <a:pt x="21344" y="9500"/>
                </a:cubicBezTo>
                <a:cubicBezTo>
                  <a:pt x="21344" y="9500"/>
                  <a:pt x="21312" y="9500"/>
                  <a:pt x="21312" y="9531"/>
                </a:cubicBezTo>
                <a:close/>
                <a:moveTo>
                  <a:pt x="21344" y="8343"/>
                </a:moveTo>
                <a:cubicBezTo>
                  <a:pt x="21375" y="8343"/>
                  <a:pt x="21406" y="8312"/>
                  <a:pt x="21437" y="8312"/>
                </a:cubicBezTo>
                <a:cubicBezTo>
                  <a:pt x="21562" y="8281"/>
                  <a:pt x="21656" y="8250"/>
                  <a:pt x="21750" y="8187"/>
                </a:cubicBezTo>
                <a:cubicBezTo>
                  <a:pt x="21750" y="8187"/>
                  <a:pt x="21750" y="8156"/>
                  <a:pt x="21750" y="8156"/>
                </a:cubicBezTo>
                <a:cubicBezTo>
                  <a:pt x="21750" y="8187"/>
                  <a:pt x="21750" y="8187"/>
                  <a:pt x="21750" y="8187"/>
                </a:cubicBezTo>
                <a:cubicBezTo>
                  <a:pt x="21656" y="8250"/>
                  <a:pt x="21562" y="8281"/>
                  <a:pt x="21437" y="8312"/>
                </a:cubicBezTo>
                <a:cubicBezTo>
                  <a:pt x="21406" y="8312"/>
                  <a:pt x="21375" y="8343"/>
                  <a:pt x="21344" y="8343"/>
                </a:cubicBezTo>
                <a:close/>
                <a:moveTo>
                  <a:pt x="21469" y="8750"/>
                </a:moveTo>
                <a:cubicBezTo>
                  <a:pt x="21469" y="8750"/>
                  <a:pt x="21469" y="8750"/>
                  <a:pt x="21469" y="8750"/>
                </a:cubicBezTo>
                <a:cubicBezTo>
                  <a:pt x="21469" y="8718"/>
                  <a:pt x="21469" y="8718"/>
                  <a:pt x="21500" y="8718"/>
                </a:cubicBezTo>
                <a:cubicBezTo>
                  <a:pt x="21469" y="8718"/>
                  <a:pt x="21469" y="8718"/>
                  <a:pt x="21469" y="8750"/>
                </a:cubicBezTo>
                <a:close/>
                <a:moveTo>
                  <a:pt x="22406" y="8375"/>
                </a:moveTo>
                <a:cubicBezTo>
                  <a:pt x="22406" y="8375"/>
                  <a:pt x="22406" y="8375"/>
                  <a:pt x="22406" y="8406"/>
                </a:cubicBezTo>
                <a:cubicBezTo>
                  <a:pt x="22406" y="8375"/>
                  <a:pt x="22406" y="8375"/>
                  <a:pt x="22406" y="8375"/>
                </a:cubicBezTo>
                <a:cubicBezTo>
                  <a:pt x="22437" y="8375"/>
                  <a:pt x="22437" y="8375"/>
                  <a:pt x="22437" y="8343"/>
                </a:cubicBezTo>
                <a:cubicBezTo>
                  <a:pt x="22437" y="8375"/>
                  <a:pt x="22437" y="8375"/>
                  <a:pt x="22406" y="8375"/>
                </a:cubicBezTo>
                <a:close/>
                <a:moveTo>
                  <a:pt x="22531" y="8593"/>
                </a:moveTo>
                <a:cubicBezTo>
                  <a:pt x="22562" y="8562"/>
                  <a:pt x="22625" y="8593"/>
                  <a:pt x="22656" y="8593"/>
                </a:cubicBezTo>
                <a:cubicBezTo>
                  <a:pt x="22625" y="8625"/>
                  <a:pt x="22594" y="8593"/>
                  <a:pt x="22531" y="8593"/>
                </a:cubicBezTo>
                <a:close/>
                <a:moveTo>
                  <a:pt x="22562" y="8500"/>
                </a:moveTo>
                <a:cubicBezTo>
                  <a:pt x="22562" y="8500"/>
                  <a:pt x="22562" y="8468"/>
                  <a:pt x="22562" y="8468"/>
                </a:cubicBezTo>
                <a:cubicBezTo>
                  <a:pt x="22562" y="8468"/>
                  <a:pt x="22562" y="8468"/>
                  <a:pt x="22562" y="8468"/>
                </a:cubicBezTo>
                <a:cubicBezTo>
                  <a:pt x="22562" y="8468"/>
                  <a:pt x="22562" y="8500"/>
                  <a:pt x="22562" y="8500"/>
                </a:cubicBezTo>
                <a:close/>
                <a:moveTo>
                  <a:pt x="22625" y="8343"/>
                </a:moveTo>
                <a:cubicBezTo>
                  <a:pt x="22594" y="8375"/>
                  <a:pt x="22594" y="8375"/>
                  <a:pt x="22594" y="8375"/>
                </a:cubicBezTo>
                <a:cubicBezTo>
                  <a:pt x="22594" y="8375"/>
                  <a:pt x="22594" y="8375"/>
                  <a:pt x="22625" y="8343"/>
                </a:cubicBezTo>
                <a:cubicBezTo>
                  <a:pt x="22625" y="8343"/>
                  <a:pt x="22625" y="8343"/>
                  <a:pt x="22656" y="8343"/>
                </a:cubicBezTo>
                <a:cubicBezTo>
                  <a:pt x="22625" y="8343"/>
                  <a:pt x="22625" y="8343"/>
                  <a:pt x="22625" y="8343"/>
                </a:cubicBezTo>
                <a:close/>
                <a:moveTo>
                  <a:pt x="22656" y="8593"/>
                </a:moveTo>
                <a:cubicBezTo>
                  <a:pt x="22719" y="8531"/>
                  <a:pt x="22781" y="8500"/>
                  <a:pt x="22844" y="8531"/>
                </a:cubicBezTo>
                <a:cubicBezTo>
                  <a:pt x="22781" y="8531"/>
                  <a:pt x="22719" y="8593"/>
                  <a:pt x="22656" y="8593"/>
                </a:cubicBezTo>
                <a:close/>
                <a:moveTo>
                  <a:pt x="22687" y="8093"/>
                </a:moveTo>
                <a:cubicBezTo>
                  <a:pt x="22812" y="8062"/>
                  <a:pt x="22937" y="8000"/>
                  <a:pt x="23062" y="7968"/>
                </a:cubicBezTo>
                <a:cubicBezTo>
                  <a:pt x="23062" y="7968"/>
                  <a:pt x="23062" y="7937"/>
                  <a:pt x="23062" y="7937"/>
                </a:cubicBezTo>
                <a:cubicBezTo>
                  <a:pt x="23062" y="7937"/>
                  <a:pt x="23062" y="7968"/>
                  <a:pt x="23062" y="7968"/>
                </a:cubicBezTo>
                <a:cubicBezTo>
                  <a:pt x="22937" y="8000"/>
                  <a:pt x="22812" y="8062"/>
                  <a:pt x="22687" y="8093"/>
                </a:cubicBezTo>
                <a:close/>
                <a:moveTo>
                  <a:pt x="22750" y="8250"/>
                </a:moveTo>
                <a:cubicBezTo>
                  <a:pt x="22750" y="8250"/>
                  <a:pt x="22750" y="8250"/>
                  <a:pt x="22719" y="8250"/>
                </a:cubicBezTo>
                <a:cubicBezTo>
                  <a:pt x="22719" y="8250"/>
                  <a:pt x="22719" y="8250"/>
                  <a:pt x="22719" y="8250"/>
                </a:cubicBezTo>
                <a:cubicBezTo>
                  <a:pt x="22750" y="8250"/>
                  <a:pt x="22750" y="8250"/>
                  <a:pt x="22750" y="8250"/>
                </a:cubicBezTo>
                <a:close/>
                <a:moveTo>
                  <a:pt x="22906" y="8468"/>
                </a:moveTo>
                <a:cubicBezTo>
                  <a:pt x="22906" y="8468"/>
                  <a:pt x="22906" y="8468"/>
                  <a:pt x="22906" y="8468"/>
                </a:cubicBezTo>
                <a:cubicBezTo>
                  <a:pt x="22906" y="8468"/>
                  <a:pt x="22906" y="8468"/>
                  <a:pt x="22906" y="8468"/>
                </a:cubicBezTo>
                <a:close/>
                <a:moveTo>
                  <a:pt x="22906" y="8468"/>
                </a:moveTo>
                <a:cubicBezTo>
                  <a:pt x="23000" y="8437"/>
                  <a:pt x="23094" y="8375"/>
                  <a:pt x="23219" y="8375"/>
                </a:cubicBezTo>
                <a:cubicBezTo>
                  <a:pt x="23125" y="8406"/>
                  <a:pt x="23031" y="8468"/>
                  <a:pt x="22906" y="8468"/>
                </a:cubicBezTo>
                <a:close/>
                <a:moveTo>
                  <a:pt x="22906" y="8343"/>
                </a:moveTo>
                <a:cubicBezTo>
                  <a:pt x="23156" y="8250"/>
                  <a:pt x="23375" y="8156"/>
                  <a:pt x="23625" y="8062"/>
                </a:cubicBezTo>
                <a:cubicBezTo>
                  <a:pt x="23625" y="8062"/>
                  <a:pt x="23625" y="8062"/>
                  <a:pt x="23625" y="8062"/>
                </a:cubicBezTo>
                <a:cubicBezTo>
                  <a:pt x="23375" y="8156"/>
                  <a:pt x="23156" y="8250"/>
                  <a:pt x="22906" y="8343"/>
                </a:cubicBezTo>
                <a:close/>
                <a:moveTo>
                  <a:pt x="23094" y="8093"/>
                </a:moveTo>
                <a:cubicBezTo>
                  <a:pt x="23094" y="8093"/>
                  <a:pt x="23125" y="8062"/>
                  <a:pt x="23156" y="8062"/>
                </a:cubicBezTo>
                <a:cubicBezTo>
                  <a:pt x="23125" y="8062"/>
                  <a:pt x="23094" y="8093"/>
                  <a:pt x="23094" y="8093"/>
                </a:cubicBezTo>
                <a:close/>
                <a:moveTo>
                  <a:pt x="23156" y="8031"/>
                </a:moveTo>
                <a:cubicBezTo>
                  <a:pt x="23187" y="8031"/>
                  <a:pt x="23187" y="8031"/>
                  <a:pt x="23219" y="8031"/>
                </a:cubicBezTo>
                <a:cubicBezTo>
                  <a:pt x="23187" y="8062"/>
                  <a:pt x="23187" y="8062"/>
                  <a:pt x="23156" y="8062"/>
                </a:cubicBezTo>
                <a:cubicBezTo>
                  <a:pt x="23187" y="8062"/>
                  <a:pt x="23187" y="8062"/>
                  <a:pt x="23219" y="8031"/>
                </a:cubicBezTo>
                <a:cubicBezTo>
                  <a:pt x="23187" y="8031"/>
                  <a:pt x="23187" y="8031"/>
                  <a:pt x="23156" y="8031"/>
                </a:cubicBezTo>
                <a:close/>
                <a:moveTo>
                  <a:pt x="23656" y="8156"/>
                </a:moveTo>
                <a:cubicBezTo>
                  <a:pt x="23625" y="8156"/>
                  <a:pt x="23625" y="8156"/>
                  <a:pt x="23594" y="8156"/>
                </a:cubicBezTo>
                <a:cubicBezTo>
                  <a:pt x="23594" y="8156"/>
                  <a:pt x="23594" y="8156"/>
                  <a:pt x="23594" y="8156"/>
                </a:cubicBezTo>
                <a:cubicBezTo>
                  <a:pt x="23625" y="8156"/>
                  <a:pt x="23625" y="8156"/>
                  <a:pt x="23656" y="8156"/>
                </a:cubicBezTo>
                <a:close/>
                <a:moveTo>
                  <a:pt x="23500" y="8250"/>
                </a:moveTo>
                <a:cubicBezTo>
                  <a:pt x="23500" y="8250"/>
                  <a:pt x="23500" y="8250"/>
                  <a:pt x="23500" y="8250"/>
                </a:cubicBezTo>
                <a:cubicBezTo>
                  <a:pt x="23500" y="8250"/>
                  <a:pt x="23500" y="8218"/>
                  <a:pt x="23500" y="8218"/>
                </a:cubicBezTo>
                <a:cubicBezTo>
                  <a:pt x="23500" y="8218"/>
                  <a:pt x="23500" y="8250"/>
                  <a:pt x="23500" y="8250"/>
                </a:cubicBezTo>
                <a:close/>
                <a:moveTo>
                  <a:pt x="23594" y="8250"/>
                </a:moveTo>
                <a:cubicBezTo>
                  <a:pt x="23594" y="8250"/>
                  <a:pt x="23562" y="8250"/>
                  <a:pt x="23562" y="8250"/>
                </a:cubicBezTo>
                <a:cubicBezTo>
                  <a:pt x="23562" y="8250"/>
                  <a:pt x="23594" y="8250"/>
                  <a:pt x="23594" y="8250"/>
                </a:cubicBezTo>
                <a:cubicBezTo>
                  <a:pt x="23594" y="8250"/>
                  <a:pt x="23594" y="8250"/>
                  <a:pt x="23594" y="8250"/>
                </a:cubicBezTo>
                <a:close/>
                <a:moveTo>
                  <a:pt x="23844" y="8093"/>
                </a:moveTo>
                <a:cubicBezTo>
                  <a:pt x="23812" y="8187"/>
                  <a:pt x="23719" y="8156"/>
                  <a:pt x="23656" y="8187"/>
                </a:cubicBezTo>
                <a:cubicBezTo>
                  <a:pt x="23656" y="8250"/>
                  <a:pt x="23594" y="8218"/>
                  <a:pt x="23562" y="8218"/>
                </a:cubicBezTo>
                <a:cubicBezTo>
                  <a:pt x="23594" y="8156"/>
                  <a:pt x="23625" y="8187"/>
                  <a:pt x="23656" y="8187"/>
                </a:cubicBezTo>
                <a:cubicBezTo>
                  <a:pt x="23656" y="8187"/>
                  <a:pt x="23656" y="8187"/>
                  <a:pt x="23656" y="8187"/>
                </a:cubicBezTo>
                <a:cubicBezTo>
                  <a:pt x="23719" y="8156"/>
                  <a:pt x="23781" y="8093"/>
                  <a:pt x="23844" y="8093"/>
                </a:cubicBezTo>
                <a:cubicBezTo>
                  <a:pt x="23844" y="8093"/>
                  <a:pt x="23844" y="8093"/>
                  <a:pt x="23844" y="8093"/>
                </a:cubicBezTo>
                <a:cubicBezTo>
                  <a:pt x="23937" y="8062"/>
                  <a:pt x="24031" y="8000"/>
                  <a:pt x="24125" y="8000"/>
                </a:cubicBezTo>
                <a:cubicBezTo>
                  <a:pt x="24031" y="8062"/>
                  <a:pt x="23969" y="8093"/>
                  <a:pt x="23844" y="8093"/>
                </a:cubicBezTo>
                <a:close/>
                <a:moveTo>
                  <a:pt x="23687" y="8062"/>
                </a:moveTo>
                <a:cubicBezTo>
                  <a:pt x="23687" y="8062"/>
                  <a:pt x="23687" y="8031"/>
                  <a:pt x="23687" y="8031"/>
                </a:cubicBezTo>
                <a:cubicBezTo>
                  <a:pt x="23687" y="8031"/>
                  <a:pt x="23687" y="8031"/>
                  <a:pt x="23687" y="8031"/>
                </a:cubicBezTo>
                <a:cubicBezTo>
                  <a:pt x="23687" y="8031"/>
                  <a:pt x="23687" y="8062"/>
                  <a:pt x="23687" y="8062"/>
                </a:cubicBezTo>
                <a:close/>
                <a:moveTo>
                  <a:pt x="23812" y="8093"/>
                </a:moveTo>
                <a:cubicBezTo>
                  <a:pt x="23812" y="8093"/>
                  <a:pt x="23812" y="8093"/>
                  <a:pt x="23812" y="8093"/>
                </a:cubicBezTo>
                <a:cubicBezTo>
                  <a:pt x="23844" y="8062"/>
                  <a:pt x="23875" y="8031"/>
                  <a:pt x="23937" y="8031"/>
                </a:cubicBezTo>
                <a:cubicBezTo>
                  <a:pt x="23875" y="8031"/>
                  <a:pt x="23844" y="8062"/>
                  <a:pt x="23812" y="8093"/>
                </a:cubicBezTo>
                <a:close/>
                <a:moveTo>
                  <a:pt x="24125" y="7750"/>
                </a:moveTo>
                <a:cubicBezTo>
                  <a:pt x="24250" y="7687"/>
                  <a:pt x="24375" y="7625"/>
                  <a:pt x="24500" y="7593"/>
                </a:cubicBezTo>
                <a:cubicBezTo>
                  <a:pt x="24500" y="7593"/>
                  <a:pt x="24500" y="7593"/>
                  <a:pt x="24500" y="7593"/>
                </a:cubicBezTo>
                <a:cubicBezTo>
                  <a:pt x="24719" y="7500"/>
                  <a:pt x="24906" y="7406"/>
                  <a:pt x="25125" y="7343"/>
                </a:cubicBezTo>
                <a:cubicBezTo>
                  <a:pt x="25062" y="7437"/>
                  <a:pt x="24937" y="7437"/>
                  <a:pt x="24844" y="7468"/>
                </a:cubicBezTo>
                <a:cubicBezTo>
                  <a:pt x="24750" y="7531"/>
                  <a:pt x="24625" y="7625"/>
                  <a:pt x="24500" y="7593"/>
                </a:cubicBezTo>
                <a:cubicBezTo>
                  <a:pt x="24406" y="7687"/>
                  <a:pt x="24250" y="7718"/>
                  <a:pt x="24125" y="7750"/>
                </a:cubicBezTo>
                <a:close/>
                <a:moveTo>
                  <a:pt x="24437" y="7593"/>
                </a:moveTo>
                <a:cubicBezTo>
                  <a:pt x="24437" y="7593"/>
                  <a:pt x="24437" y="7593"/>
                  <a:pt x="24437" y="7593"/>
                </a:cubicBezTo>
                <a:cubicBezTo>
                  <a:pt x="24469" y="7562"/>
                  <a:pt x="24500" y="7562"/>
                  <a:pt x="24531" y="7562"/>
                </a:cubicBezTo>
                <a:cubicBezTo>
                  <a:pt x="24500" y="7562"/>
                  <a:pt x="24469" y="7562"/>
                  <a:pt x="24437" y="7593"/>
                </a:cubicBezTo>
                <a:close/>
                <a:moveTo>
                  <a:pt x="24906" y="7625"/>
                </a:moveTo>
                <a:cubicBezTo>
                  <a:pt x="24875" y="7656"/>
                  <a:pt x="24844" y="7687"/>
                  <a:pt x="24812" y="7718"/>
                </a:cubicBezTo>
                <a:cubicBezTo>
                  <a:pt x="24812" y="7718"/>
                  <a:pt x="24812" y="7718"/>
                  <a:pt x="24812" y="7718"/>
                </a:cubicBezTo>
                <a:cubicBezTo>
                  <a:pt x="24844" y="7687"/>
                  <a:pt x="24875" y="7656"/>
                  <a:pt x="24906" y="7625"/>
                </a:cubicBezTo>
                <a:close/>
                <a:moveTo>
                  <a:pt x="24656" y="7750"/>
                </a:moveTo>
                <a:cubicBezTo>
                  <a:pt x="24625" y="7750"/>
                  <a:pt x="24625" y="7750"/>
                  <a:pt x="24625" y="7781"/>
                </a:cubicBezTo>
                <a:cubicBezTo>
                  <a:pt x="24625" y="7781"/>
                  <a:pt x="24625" y="7781"/>
                  <a:pt x="24625" y="7781"/>
                </a:cubicBezTo>
                <a:cubicBezTo>
                  <a:pt x="24625" y="7750"/>
                  <a:pt x="24625" y="7750"/>
                  <a:pt x="24656" y="7750"/>
                </a:cubicBezTo>
                <a:close/>
                <a:moveTo>
                  <a:pt x="24187" y="7968"/>
                </a:moveTo>
                <a:cubicBezTo>
                  <a:pt x="24187" y="7968"/>
                  <a:pt x="24219" y="7968"/>
                  <a:pt x="24219" y="7968"/>
                </a:cubicBezTo>
                <a:cubicBezTo>
                  <a:pt x="24219" y="7968"/>
                  <a:pt x="24187" y="7968"/>
                  <a:pt x="24187" y="7968"/>
                </a:cubicBezTo>
                <a:close/>
                <a:moveTo>
                  <a:pt x="24437" y="7937"/>
                </a:moveTo>
                <a:cubicBezTo>
                  <a:pt x="24406" y="7968"/>
                  <a:pt x="24375" y="8000"/>
                  <a:pt x="24344" y="8000"/>
                </a:cubicBezTo>
                <a:cubicBezTo>
                  <a:pt x="24375" y="8000"/>
                  <a:pt x="24406" y="7968"/>
                  <a:pt x="24437" y="7937"/>
                </a:cubicBezTo>
                <a:cubicBezTo>
                  <a:pt x="24594" y="7875"/>
                  <a:pt x="24750" y="7843"/>
                  <a:pt x="24906" y="7781"/>
                </a:cubicBezTo>
                <a:cubicBezTo>
                  <a:pt x="24750" y="7843"/>
                  <a:pt x="24594" y="7875"/>
                  <a:pt x="24437" y="7937"/>
                </a:cubicBezTo>
                <a:close/>
                <a:moveTo>
                  <a:pt x="24844" y="7718"/>
                </a:moveTo>
                <a:cubicBezTo>
                  <a:pt x="24844" y="7718"/>
                  <a:pt x="24844" y="7718"/>
                  <a:pt x="24844" y="7718"/>
                </a:cubicBezTo>
                <a:cubicBezTo>
                  <a:pt x="24781" y="7750"/>
                  <a:pt x="24750" y="7812"/>
                  <a:pt x="24656" y="7781"/>
                </a:cubicBezTo>
                <a:cubicBezTo>
                  <a:pt x="24656" y="7781"/>
                  <a:pt x="24656" y="7781"/>
                  <a:pt x="24656" y="7781"/>
                </a:cubicBezTo>
                <a:cubicBezTo>
                  <a:pt x="24531" y="7875"/>
                  <a:pt x="24375" y="7937"/>
                  <a:pt x="24219" y="7968"/>
                </a:cubicBezTo>
                <a:cubicBezTo>
                  <a:pt x="24344" y="7906"/>
                  <a:pt x="24500" y="7812"/>
                  <a:pt x="24656" y="7781"/>
                </a:cubicBezTo>
                <a:cubicBezTo>
                  <a:pt x="24719" y="7718"/>
                  <a:pt x="24781" y="7718"/>
                  <a:pt x="24844" y="7718"/>
                </a:cubicBezTo>
                <a:cubicBezTo>
                  <a:pt x="24937" y="7656"/>
                  <a:pt x="25031" y="7593"/>
                  <a:pt x="25125" y="7593"/>
                </a:cubicBezTo>
                <a:cubicBezTo>
                  <a:pt x="25062" y="7656"/>
                  <a:pt x="24937" y="7687"/>
                  <a:pt x="24844" y="7718"/>
                </a:cubicBezTo>
                <a:close/>
                <a:moveTo>
                  <a:pt x="25156" y="7562"/>
                </a:moveTo>
                <a:cubicBezTo>
                  <a:pt x="25125" y="7593"/>
                  <a:pt x="25125" y="7593"/>
                  <a:pt x="25094" y="7593"/>
                </a:cubicBezTo>
                <a:cubicBezTo>
                  <a:pt x="25125" y="7593"/>
                  <a:pt x="25125" y="7593"/>
                  <a:pt x="25156" y="7562"/>
                </a:cubicBezTo>
                <a:cubicBezTo>
                  <a:pt x="25156" y="7562"/>
                  <a:pt x="25156" y="7562"/>
                  <a:pt x="25156" y="7562"/>
                </a:cubicBezTo>
                <a:close/>
                <a:moveTo>
                  <a:pt x="25187" y="7500"/>
                </a:moveTo>
                <a:cubicBezTo>
                  <a:pt x="25250" y="7468"/>
                  <a:pt x="25312" y="7468"/>
                  <a:pt x="25375" y="7468"/>
                </a:cubicBezTo>
                <a:cubicBezTo>
                  <a:pt x="25312" y="7468"/>
                  <a:pt x="25250" y="7468"/>
                  <a:pt x="25187" y="7500"/>
                </a:cubicBezTo>
                <a:close/>
                <a:moveTo>
                  <a:pt x="25937" y="7031"/>
                </a:moveTo>
                <a:cubicBezTo>
                  <a:pt x="25937" y="7031"/>
                  <a:pt x="25937" y="7031"/>
                  <a:pt x="25937" y="7031"/>
                </a:cubicBezTo>
                <a:cubicBezTo>
                  <a:pt x="26156" y="6906"/>
                  <a:pt x="26406" y="6843"/>
                  <a:pt x="26625" y="6718"/>
                </a:cubicBezTo>
                <a:cubicBezTo>
                  <a:pt x="26750" y="6687"/>
                  <a:pt x="26875" y="6625"/>
                  <a:pt x="27000" y="6593"/>
                </a:cubicBezTo>
                <a:cubicBezTo>
                  <a:pt x="27031" y="6562"/>
                  <a:pt x="27062" y="6562"/>
                  <a:pt x="27094" y="6562"/>
                </a:cubicBezTo>
                <a:cubicBezTo>
                  <a:pt x="27031" y="6625"/>
                  <a:pt x="26969" y="6625"/>
                  <a:pt x="26937" y="6656"/>
                </a:cubicBezTo>
                <a:cubicBezTo>
                  <a:pt x="26812" y="6687"/>
                  <a:pt x="26687" y="6750"/>
                  <a:pt x="26562" y="6812"/>
                </a:cubicBezTo>
                <a:cubicBezTo>
                  <a:pt x="26594" y="6812"/>
                  <a:pt x="26625" y="6812"/>
                  <a:pt x="26687" y="6812"/>
                </a:cubicBezTo>
                <a:cubicBezTo>
                  <a:pt x="26750" y="6812"/>
                  <a:pt x="26812" y="6812"/>
                  <a:pt x="26875" y="6750"/>
                </a:cubicBezTo>
                <a:cubicBezTo>
                  <a:pt x="26781" y="6718"/>
                  <a:pt x="26750" y="6781"/>
                  <a:pt x="26687" y="6812"/>
                </a:cubicBezTo>
                <a:cubicBezTo>
                  <a:pt x="26656" y="6875"/>
                  <a:pt x="26562" y="6906"/>
                  <a:pt x="26531" y="6875"/>
                </a:cubicBezTo>
                <a:cubicBezTo>
                  <a:pt x="26469" y="6812"/>
                  <a:pt x="26437" y="6843"/>
                  <a:pt x="26406" y="6875"/>
                </a:cubicBezTo>
                <a:cubicBezTo>
                  <a:pt x="26281" y="6906"/>
                  <a:pt x="26156" y="6968"/>
                  <a:pt x="26031" y="7000"/>
                </a:cubicBezTo>
                <a:cubicBezTo>
                  <a:pt x="26000" y="7031"/>
                  <a:pt x="25969" y="7031"/>
                  <a:pt x="25937" y="7031"/>
                </a:cubicBezTo>
                <a:cubicBezTo>
                  <a:pt x="25906" y="7125"/>
                  <a:pt x="25844" y="7093"/>
                  <a:pt x="25781" y="7125"/>
                </a:cubicBezTo>
                <a:cubicBezTo>
                  <a:pt x="25594" y="7187"/>
                  <a:pt x="25437" y="7281"/>
                  <a:pt x="25219" y="7312"/>
                </a:cubicBezTo>
                <a:cubicBezTo>
                  <a:pt x="25437" y="7187"/>
                  <a:pt x="25687" y="7093"/>
                  <a:pt x="25937" y="7031"/>
                </a:cubicBezTo>
                <a:close/>
                <a:moveTo>
                  <a:pt x="26937" y="6656"/>
                </a:moveTo>
                <a:cubicBezTo>
                  <a:pt x="26969" y="6656"/>
                  <a:pt x="27000" y="6656"/>
                  <a:pt x="27031" y="6656"/>
                </a:cubicBezTo>
                <a:cubicBezTo>
                  <a:pt x="27062" y="6625"/>
                  <a:pt x="27125" y="6656"/>
                  <a:pt x="27156" y="6593"/>
                </a:cubicBezTo>
                <a:cubicBezTo>
                  <a:pt x="27125" y="6687"/>
                  <a:pt x="27062" y="6656"/>
                  <a:pt x="27031" y="6656"/>
                </a:cubicBezTo>
                <a:cubicBezTo>
                  <a:pt x="27031" y="6656"/>
                  <a:pt x="27031" y="6656"/>
                  <a:pt x="27031" y="6656"/>
                </a:cubicBezTo>
                <a:cubicBezTo>
                  <a:pt x="27000" y="6750"/>
                  <a:pt x="26937" y="6718"/>
                  <a:pt x="26875" y="6750"/>
                </a:cubicBezTo>
                <a:cubicBezTo>
                  <a:pt x="26875" y="6687"/>
                  <a:pt x="26969" y="6718"/>
                  <a:pt x="26937" y="6656"/>
                </a:cubicBezTo>
                <a:close/>
                <a:moveTo>
                  <a:pt x="25500" y="7000"/>
                </a:moveTo>
                <a:cubicBezTo>
                  <a:pt x="25531" y="7000"/>
                  <a:pt x="25531" y="6968"/>
                  <a:pt x="25531" y="6968"/>
                </a:cubicBezTo>
                <a:cubicBezTo>
                  <a:pt x="25562" y="6968"/>
                  <a:pt x="25562" y="6968"/>
                  <a:pt x="25562" y="6937"/>
                </a:cubicBezTo>
                <a:cubicBezTo>
                  <a:pt x="25562" y="6937"/>
                  <a:pt x="25562" y="6937"/>
                  <a:pt x="25562" y="6937"/>
                </a:cubicBezTo>
                <a:cubicBezTo>
                  <a:pt x="25562" y="6968"/>
                  <a:pt x="25562" y="6968"/>
                  <a:pt x="25531" y="6968"/>
                </a:cubicBezTo>
                <a:cubicBezTo>
                  <a:pt x="25531" y="6968"/>
                  <a:pt x="25531" y="7000"/>
                  <a:pt x="25500" y="7000"/>
                </a:cubicBezTo>
                <a:cubicBezTo>
                  <a:pt x="25031" y="7187"/>
                  <a:pt x="24562" y="7375"/>
                  <a:pt x="24094" y="7562"/>
                </a:cubicBezTo>
                <a:cubicBezTo>
                  <a:pt x="24562" y="7375"/>
                  <a:pt x="25031" y="7187"/>
                  <a:pt x="25500" y="7000"/>
                </a:cubicBezTo>
                <a:close/>
                <a:moveTo>
                  <a:pt x="24156" y="7687"/>
                </a:moveTo>
                <a:cubicBezTo>
                  <a:pt x="24125" y="7687"/>
                  <a:pt x="24094" y="7718"/>
                  <a:pt x="24094" y="7750"/>
                </a:cubicBezTo>
                <a:cubicBezTo>
                  <a:pt x="24094" y="7750"/>
                  <a:pt x="24094" y="7750"/>
                  <a:pt x="24094" y="7750"/>
                </a:cubicBezTo>
                <a:cubicBezTo>
                  <a:pt x="24094" y="7718"/>
                  <a:pt x="24125" y="7687"/>
                  <a:pt x="24156" y="7687"/>
                </a:cubicBezTo>
                <a:close/>
                <a:moveTo>
                  <a:pt x="24062" y="7750"/>
                </a:moveTo>
                <a:cubicBezTo>
                  <a:pt x="24031" y="7750"/>
                  <a:pt x="24000" y="7781"/>
                  <a:pt x="24000" y="7781"/>
                </a:cubicBezTo>
                <a:cubicBezTo>
                  <a:pt x="24000" y="7781"/>
                  <a:pt x="24031" y="7750"/>
                  <a:pt x="24062" y="7750"/>
                </a:cubicBezTo>
                <a:close/>
                <a:moveTo>
                  <a:pt x="23719" y="7875"/>
                </a:moveTo>
                <a:cubicBezTo>
                  <a:pt x="23719" y="7875"/>
                  <a:pt x="23750" y="7875"/>
                  <a:pt x="23750" y="7875"/>
                </a:cubicBezTo>
                <a:cubicBezTo>
                  <a:pt x="23750" y="7875"/>
                  <a:pt x="23719" y="7875"/>
                  <a:pt x="23719" y="7875"/>
                </a:cubicBezTo>
                <a:close/>
                <a:moveTo>
                  <a:pt x="23781" y="7875"/>
                </a:moveTo>
                <a:cubicBezTo>
                  <a:pt x="23781" y="7875"/>
                  <a:pt x="23781" y="7875"/>
                  <a:pt x="23781" y="7875"/>
                </a:cubicBezTo>
                <a:cubicBezTo>
                  <a:pt x="23844" y="7843"/>
                  <a:pt x="23906" y="7812"/>
                  <a:pt x="23969" y="7812"/>
                </a:cubicBezTo>
                <a:cubicBezTo>
                  <a:pt x="23906" y="7875"/>
                  <a:pt x="23844" y="7875"/>
                  <a:pt x="23781" y="7875"/>
                </a:cubicBezTo>
                <a:cubicBezTo>
                  <a:pt x="23781" y="7968"/>
                  <a:pt x="23687" y="7937"/>
                  <a:pt x="23656" y="7968"/>
                </a:cubicBezTo>
                <a:cubicBezTo>
                  <a:pt x="23625" y="7968"/>
                  <a:pt x="23625" y="7968"/>
                  <a:pt x="23594" y="7968"/>
                </a:cubicBezTo>
                <a:cubicBezTo>
                  <a:pt x="23594" y="8031"/>
                  <a:pt x="23531" y="8000"/>
                  <a:pt x="23500" y="8000"/>
                </a:cubicBezTo>
                <a:cubicBezTo>
                  <a:pt x="23500" y="7968"/>
                  <a:pt x="23562" y="7968"/>
                  <a:pt x="23594" y="7968"/>
                </a:cubicBezTo>
                <a:cubicBezTo>
                  <a:pt x="23594" y="7968"/>
                  <a:pt x="23594" y="7968"/>
                  <a:pt x="23594" y="7968"/>
                </a:cubicBezTo>
                <a:cubicBezTo>
                  <a:pt x="23656" y="7937"/>
                  <a:pt x="23719" y="7875"/>
                  <a:pt x="23781" y="7875"/>
                </a:cubicBezTo>
                <a:close/>
                <a:moveTo>
                  <a:pt x="23562" y="7937"/>
                </a:moveTo>
                <a:cubicBezTo>
                  <a:pt x="23562" y="7937"/>
                  <a:pt x="23531" y="7937"/>
                  <a:pt x="23531" y="7937"/>
                </a:cubicBezTo>
                <a:cubicBezTo>
                  <a:pt x="23531" y="7937"/>
                  <a:pt x="23531" y="7937"/>
                  <a:pt x="23531" y="7937"/>
                </a:cubicBezTo>
                <a:cubicBezTo>
                  <a:pt x="23531" y="7937"/>
                  <a:pt x="23562" y="7937"/>
                  <a:pt x="23562" y="7937"/>
                </a:cubicBezTo>
                <a:close/>
                <a:moveTo>
                  <a:pt x="23437" y="8000"/>
                </a:moveTo>
                <a:cubicBezTo>
                  <a:pt x="23437" y="7968"/>
                  <a:pt x="23469" y="7968"/>
                  <a:pt x="23500" y="7968"/>
                </a:cubicBezTo>
                <a:cubicBezTo>
                  <a:pt x="23469" y="7968"/>
                  <a:pt x="23437" y="7968"/>
                  <a:pt x="23437" y="8000"/>
                </a:cubicBezTo>
                <a:cubicBezTo>
                  <a:pt x="23375" y="8031"/>
                  <a:pt x="23312" y="8062"/>
                  <a:pt x="23281" y="8093"/>
                </a:cubicBezTo>
                <a:cubicBezTo>
                  <a:pt x="23312" y="8062"/>
                  <a:pt x="23375" y="8031"/>
                  <a:pt x="23437" y="8000"/>
                </a:cubicBezTo>
                <a:close/>
                <a:moveTo>
                  <a:pt x="23219" y="7718"/>
                </a:moveTo>
                <a:cubicBezTo>
                  <a:pt x="23219" y="7718"/>
                  <a:pt x="23219" y="7718"/>
                  <a:pt x="23250" y="7718"/>
                </a:cubicBezTo>
                <a:cubicBezTo>
                  <a:pt x="23250" y="7718"/>
                  <a:pt x="23250" y="7718"/>
                  <a:pt x="23250" y="7718"/>
                </a:cubicBezTo>
                <a:cubicBezTo>
                  <a:pt x="23250" y="7718"/>
                  <a:pt x="23281" y="7718"/>
                  <a:pt x="23281" y="7718"/>
                </a:cubicBezTo>
                <a:cubicBezTo>
                  <a:pt x="23281" y="7718"/>
                  <a:pt x="23250" y="7718"/>
                  <a:pt x="23250" y="7718"/>
                </a:cubicBezTo>
                <a:cubicBezTo>
                  <a:pt x="23219" y="7718"/>
                  <a:pt x="23219" y="7718"/>
                  <a:pt x="23219" y="7718"/>
                </a:cubicBezTo>
                <a:cubicBezTo>
                  <a:pt x="23125" y="7781"/>
                  <a:pt x="23031" y="7812"/>
                  <a:pt x="22937" y="7843"/>
                </a:cubicBezTo>
                <a:cubicBezTo>
                  <a:pt x="22937" y="7843"/>
                  <a:pt x="22937" y="7843"/>
                  <a:pt x="22937" y="7843"/>
                </a:cubicBezTo>
                <a:cubicBezTo>
                  <a:pt x="22937" y="7843"/>
                  <a:pt x="22969" y="7843"/>
                  <a:pt x="22969" y="7843"/>
                </a:cubicBezTo>
                <a:cubicBezTo>
                  <a:pt x="22844" y="7906"/>
                  <a:pt x="22750" y="7937"/>
                  <a:pt x="22625" y="8000"/>
                </a:cubicBezTo>
                <a:cubicBezTo>
                  <a:pt x="22625" y="8000"/>
                  <a:pt x="22625" y="8000"/>
                  <a:pt x="22594" y="8000"/>
                </a:cubicBezTo>
                <a:cubicBezTo>
                  <a:pt x="22625" y="8031"/>
                  <a:pt x="22625" y="8031"/>
                  <a:pt x="22625" y="8031"/>
                </a:cubicBezTo>
                <a:cubicBezTo>
                  <a:pt x="22625" y="8031"/>
                  <a:pt x="22625" y="8031"/>
                  <a:pt x="22594" y="8000"/>
                </a:cubicBezTo>
                <a:cubicBezTo>
                  <a:pt x="22437" y="8062"/>
                  <a:pt x="22250" y="8125"/>
                  <a:pt x="22094" y="8187"/>
                </a:cubicBezTo>
                <a:cubicBezTo>
                  <a:pt x="21937" y="8250"/>
                  <a:pt x="21781" y="8343"/>
                  <a:pt x="21594" y="8343"/>
                </a:cubicBezTo>
                <a:cubicBezTo>
                  <a:pt x="21531" y="8375"/>
                  <a:pt x="21531" y="8468"/>
                  <a:pt x="21437" y="8437"/>
                </a:cubicBezTo>
                <a:cubicBezTo>
                  <a:pt x="21437" y="8375"/>
                  <a:pt x="21375" y="8406"/>
                  <a:pt x="21375" y="8375"/>
                </a:cubicBezTo>
                <a:cubicBezTo>
                  <a:pt x="21406" y="8375"/>
                  <a:pt x="21437" y="8343"/>
                  <a:pt x="21500" y="8312"/>
                </a:cubicBezTo>
                <a:cubicBezTo>
                  <a:pt x="21594" y="8312"/>
                  <a:pt x="21719" y="8250"/>
                  <a:pt x="21812" y="8187"/>
                </a:cubicBezTo>
                <a:cubicBezTo>
                  <a:pt x="21812" y="8187"/>
                  <a:pt x="21812" y="8187"/>
                  <a:pt x="21812" y="8187"/>
                </a:cubicBezTo>
                <a:cubicBezTo>
                  <a:pt x="21844" y="8187"/>
                  <a:pt x="21875" y="8187"/>
                  <a:pt x="21906" y="8156"/>
                </a:cubicBezTo>
                <a:cubicBezTo>
                  <a:pt x="21937" y="8156"/>
                  <a:pt x="22000" y="8156"/>
                  <a:pt x="22000" y="8093"/>
                </a:cubicBezTo>
                <a:cubicBezTo>
                  <a:pt x="22031" y="8093"/>
                  <a:pt x="22031" y="8093"/>
                  <a:pt x="22031" y="8093"/>
                </a:cubicBezTo>
                <a:cubicBezTo>
                  <a:pt x="22062" y="8093"/>
                  <a:pt x="22094" y="8093"/>
                  <a:pt x="22094" y="8062"/>
                </a:cubicBezTo>
                <a:cubicBezTo>
                  <a:pt x="22125" y="8093"/>
                  <a:pt x="22125" y="8093"/>
                  <a:pt x="22125" y="8093"/>
                </a:cubicBezTo>
                <a:cubicBezTo>
                  <a:pt x="22125" y="8062"/>
                  <a:pt x="22125" y="8062"/>
                  <a:pt x="22125" y="8062"/>
                </a:cubicBezTo>
                <a:cubicBezTo>
                  <a:pt x="22312" y="8000"/>
                  <a:pt x="22500" y="7937"/>
                  <a:pt x="22687" y="7843"/>
                </a:cubicBezTo>
                <a:cubicBezTo>
                  <a:pt x="22750" y="7843"/>
                  <a:pt x="22781" y="7812"/>
                  <a:pt x="22844" y="7812"/>
                </a:cubicBezTo>
                <a:cubicBezTo>
                  <a:pt x="22875" y="7812"/>
                  <a:pt x="22906" y="7781"/>
                  <a:pt x="22906" y="7750"/>
                </a:cubicBezTo>
                <a:cubicBezTo>
                  <a:pt x="22906" y="7781"/>
                  <a:pt x="22937" y="7812"/>
                  <a:pt x="22937" y="7843"/>
                </a:cubicBezTo>
                <a:cubicBezTo>
                  <a:pt x="23031" y="7812"/>
                  <a:pt x="23125" y="7781"/>
                  <a:pt x="23219" y="7718"/>
                </a:cubicBezTo>
                <a:close/>
                <a:moveTo>
                  <a:pt x="23156" y="7468"/>
                </a:moveTo>
                <a:cubicBezTo>
                  <a:pt x="23156" y="7468"/>
                  <a:pt x="23156" y="7468"/>
                  <a:pt x="23156" y="7468"/>
                </a:cubicBezTo>
                <a:cubicBezTo>
                  <a:pt x="23156" y="7500"/>
                  <a:pt x="23156" y="7531"/>
                  <a:pt x="23156" y="7531"/>
                </a:cubicBezTo>
                <a:cubicBezTo>
                  <a:pt x="23156" y="7531"/>
                  <a:pt x="23156" y="7500"/>
                  <a:pt x="23156" y="7468"/>
                </a:cubicBezTo>
                <a:close/>
                <a:moveTo>
                  <a:pt x="23406" y="7531"/>
                </a:moveTo>
                <a:cubicBezTo>
                  <a:pt x="23375" y="7562"/>
                  <a:pt x="23312" y="7593"/>
                  <a:pt x="23281" y="7593"/>
                </a:cubicBezTo>
                <a:cubicBezTo>
                  <a:pt x="23312" y="7593"/>
                  <a:pt x="23375" y="7562"/>
                  <a:pt x="23406" y="7531"/>
                </a:cubicBezTo>
                <a:cubicBezTo>
                  <a:pt x="23469" y="7531"/>
                  <a:pt x="23531" y="7531"/>
                  <a:pt x="23562" y="7468"/>
                </a:cubicBezTo>
                <a:cubicBezTo>
                  <a:pt x="23562" y="7468"/>
                  <a:pt x="23562" y="7468"/>
                  <a:pt x="23562" y="7468"/>
                </a:cubicBezTo>
                <a:cubicBezTo>
                  <a:pt x="23531" y="7531"/>
                  <a:pt x="23469" y="7531"/>
                  <a:pt x="23406" y="7531"/>
                </a:cubicBezTo>
                <a:close/>
                <a:moveTo>
                  <a:pt x="23562" y="7406"/>
                </a:moveTo>
                <a:cubicBezTo>
                  <a:pt x="23562" y="7406"/>
                  <a:pt x="23594" y="7406"/>
                  <a:pt x="23594" y="7375"/>
                </a:cubicBezTo>
                <a:cubicBezTo>
                  <a:pt x="23594" y="7406"/>
                  <a:pt x="23562" y="7406"/>
                  <a:pt x="23562" y="7406"/>
                </a:cubicBezTo>
                <a:close/>
                <a:moveTo>
                  <a:pt x="24094" y="6937"/>
                </a:moveTo>
                <a:cubicBezTo>
                  <a:pt x="24062" y="6968"/>
                  <a:pt x="24062" y="7000"/>
                  <a:pt x="24031" y="7000"/>
                </a:cubicBezTo>
                <a:cubicBezTo>
                  <a:pt x="24062" y="7000"/>
                  <a:pt x="24062" y="6968"/>
                  <a:pt x="24094" y="6937"/>
                </a:cubicBezTo>
                <a:close/>
                <a:moveTo>
                  <a:pt x="24031" y="6656"/>
                </a:moveTo>
                <a:cubicBezTo>
                  <a:pt x="24031" y="6656"/>
                  <a:pt x="24031" y="6656"/>
                  <a:pt x="24031" y="6656"/>
                </a:cubicBezTo>
                <a:cubicBezTo>
                  <a:pt x="24000" y="6687"/>
                  <a:pt x="23969" y="6687"/>
                  <a:pt x="23937" y="6718"/>
                </a:cubicBezTo>
                <a:cubicBezTo>
                  <a:pt x="23969" y="6687"/>
                  <a:pt x="24000" y="6687"/>
                  <a:pt x="24031" y="6656"/>
                </a:cubicBezTo>
                <a:close/>
                <a:moveTo>
                  <a:pt x="23750" y="7312"/>
                </a:moveTo>
                <a:cubicBezTo>
                  <a:pt x="23750" y="7312"/>
                  <a:pt x="23750" y="7312"/>
                  <a:pt x="23750" y="7312"/>
                </a:cubicBezTo>
                <a:cubicBezTo>
                  <a:pt x="23750" y="7312"/>
                  <a:pt x="23750" y="7312"/>
                  <a:pt x="23750" y="7312"/>
                </a:cubicBezTo>
                <a:close/>
                <a:moveTo>
                  <a:pt x="23937" y="7218"/>
                </a:moveTo>
                <a:cubicBezTo>
                  <a:pt x="23906" y="7281"/>
                  <a:pt x="23844" y="7281"/>
                  <a:pt x="23812" y="7281"/>
                </a:cubicBezTo>
                <a:cubicBezTo>
                  <a:pt x="23844" y="7281"/>
                  <a:pt x="23906" y="7281"/>
                  <a:pt x="23937" y="7218"/>
                </a:cubicBezTo>
                <a:cubicBezTo>
                  <a:pt x="23969" y="7218"/>
                  <a:pt x="24031" y="7156"/>
                  <a:pt x="24094" y="7156"/>
                </a:cubicBezTo>
                <a:cubicBezTo>
                  <a:pt x="24031" y="7156"/>
                  <a:pt x="23969" y="7218"/>
                  <a:pt x="23937" y="7218"/>
                </a:cubicBezTo>
                <a:close/>
                <a:moveTo>
                  <a:pt x="24281" y="7093"/>
                </a:moveTo>
                <a:cubicBezTo>
                  <a:pt x="24250" y="7156"/>
                  <a:pt x="24219" y="7156"/>
                  <a:pt x="24156" y="7156"/>
                </a:cubicBezTo>
                <a:cubicBezTo>
                  <a:pt x="24219" y="7156"/>
                  <a:pt x="24250" y="7156"/>
                  <a:pt x="24281" y="7093"/>
                </a:cubicBezTo>
                <a:cubicBezTo>
                  <a:pt x="24312" y="7062"/>
                  <a:pt x="24375" y="7031"/>
                  <a:pt x="24406" y="7031"/>
                </a:cubicBezTo>
                <a:cubicBezTo>
                  <a:pt x="24375" y="7031"/>
                  <a:pt x="24312" y="7062"/>
                  <a:pt x="24281" y="7093"/>
                </a:cubicBezTo>
                <a:close/>
                <a:moveTo>
                  <a:pt x="24312" y="6875"/>
                </a:moveTo>
                <a:cubicBezTo>
                  <a:pt x="24375" y="6843"/>
                  <a:pt x="24437" y="6812"/>
                  <a:pt x="24500" y="6781"/>
                </a:cubicBezTo>
                <a:cubicBezTo>
                  <a:pt x="24500" y="6781"/>
                  <a:pt x="24500" y="6781"/>
                  <a:pt x="24500" y="6781"/>
                </a:cubicBezTo>
                <a:cubicBezTo>
                  <a:pt x="24437" y="6812"/>
                  <a:pt x="24375" y="6843"/>
                  <a:pt x="24312" y="6875"/>
                </a:cubicBezTo>
                <a:close/>
                <a:moveTo>
                  <a:pt x="24719" y="6906"/>
                </a:moveTo>
                <a:cubicBezTo>
                  <a:pt x="24687" y="6968"/>
                  <a:pt x="24625" y="7000"/>
                  <a:pt x="24562" y="7031"/>
                </a:cubicBezTo>
                <a:cubicBezTo>
                  <a:pt x="24625" y="7000"/>
                  <a:pt x="24687" y="6968"/>
                  <a:pt x="24719" y="6906"/>
                </a:cubicBezTo>
                <a:cubicBezTo>
                  <a:pt x="24781" y="6875"/>
                  <a:pt x="24812" y="6843"/>
                  <a:pt x="24875" y="6843"/>
                </a:cubicBezTo>
                <a:cubicBezTo>
                  <a:pt x="24812" y="6843"/>
                  <a:pt x="24781" y="6875"/>
                  <a:pt x="24719" y="6906"/>
                </a:cubicBezTo>
                <a:close/>
                <a:moveTo>
                  <a:pt x="24844" y="6625"/>
                </a:moveTo>
                <a:cubicBezTo>
                  <a:pt x="24844" y="6625"/>
                  <a:pt x="24875" y="6625"/>
                  <a:pt x="24875" y="6625"/>
                </a:cubicBezTo>
                <a:cubicBezTo>
                  <a:pt x="24875" y="6625"/>
                  <a:pt x="24875" y="6625"/>
                  <a:pt x="24875" y="6625"/>
                </a:cubicBezTo>
                <a:cubicBezTo>
                  <a:pt x="24875" y="6625"/>
                  <a:pt x="24844" y="6625"/>
                  <a:pt x="24844" y="6625"/>
                </a:cubicBezTo>
                <a:close/>
                <a:moveTo>
                  <a:pt x="25094" y="6781"/>
                </a:moveTo>
                <a:cubicBezTo>
                  <a:pt x="25125" y="6781"/>
                  <a:pt x="25125" y="6750"/>
                  <a:pt x="25156" y="6718"/>
                </a:cubicBezTo>
                <a:cubicBezTo>
                  <a:pt x="25156" y="6718"/>
                  <a:pt x="25156" y="6718"/>
                  <a:pt x="25156" y="6718"/>
                </a:cubicBezTo>
                <a:cubicBezTo>
                  <a:pt x="25125" y="6750"/>
                  <a:pt x="25125" y="6781"/>
                  <a:pt x="25094" y="6781"/>
                </a:cubicBezTo>
                <a:close/>
                <a:moveTo>
                  <a:pt x="25344" y="6656"/>
                </a:moveTo>
                <a:cubicBezTo>
                  <a:pt x="25312" y="6687"/>
                  <a:pt x="25312" y="6687"/>
                  <a:pt x="25312" y="6687"/>
                </a:cubicBezTo>
                <a:cubicBezTo>
                  <a:pt x="25312" y="6687"/>
                  <a:pt x="25312" y="6687"/>
                  <a:pt x="25344" y="6656"/>
                </a:cubicBezTo>
                <a:close/>
                <a:moveTo>
                  <a:pt x="25500" y="6593"/>
                </a:moveTo>
                <a:cubicBezTo>
                  <a:pt x="25500" y="6593"/>
                  <a:pt x="25500" y="6593"/>
                  <a:pt x="25531" y="6593"/>
                </a:cubicBezTo>
                <a:cubicBezTo>
                  <a:pt x="25531" y="6593"/>
                  <a:pt x="25531" y="6593"/>
                  <a:pt x="25531" y="6593"/>
                </a:cubicBezTo>
                <a:cubicBezTo>
                  <a:pt x="25500" y="6593"/>
                  <a:pt x="25500" y="6593"/>
                  <a:pt x="25500" y="6593"/>
                </a:cubicBezTo>
                <a:close/>
                <a:moveTo>
                  <a:pt x="25594" y="6562"/>
                </a:moveTo>
                <a:cubicBezTo>
                  <a:pt x="25594" y="6562"/>
                  <a:pt x="25594" y="6562"/>
                  <a:pt x="25594" y="6562"/>
                </a:cubicBezTo>
                <a:cubicBezTo>
                  <a:pt x="25594" y="6562"/>
                  <a:pt x="25594" y="6562"/>
                  <a:pt x="25594" y="6562"/>
                </a:cubicBezTo>
                <a:close/>
                <a:moveTo>
                  <a:pt x="25625" y="6343"/>
                </a:moveTo>
                <a:cubicBezTo>
                  <a:pt x="25656" y="6343"/>
                  <a:pt x="25656" y="6312"/>
                  <a:pt x="25656" y="6281"/>
                </a:cubicBezTo>
                <a:cubicBezTo>
                  <a:pt x="25656" y="6281"/>
                  <a:pt x="25656" y="6281"/>
                  <a:pt x="25656" y="6281"/>
                </a:cubicBezTo>
                <a:cubicBezTo>
                  <a:pt x="25656" y="6312"/>
                  <a:pt x="25656" y="6343"/>
                  <a:pt x="25625" y="6343"/>
                </a:cubicBezTo>
                <a:close/>
                <a:moveTo>
                  <a:pt x="25687" y="6500"/>
                </a:moveTo>
                <a:cubicBezTo>
                  <a:pt x="25687" y="6531"/>
                  <a:pt x="25687" y="6562"/>
                  <a:pt x="25656" y="6562"/>
                </a:cubicBezTo>
                <a:cubicBezTo>
                  <a:pt x="25687" y="6562"/>
                  <a:pt x="25687" y="6531"/>
                  <a:pt x="25687" y="6500"/>
                </a:cubicBezTo>
                <a:close/>
                <a:moveTo>
                  <a:pt x="25875" y="6437"/>
                </a:moveTo>
                <a:cubicBezTo>
                  <a:pt x="25844" y="6500"/>
                  <a:pt x="25812" y="6500"/>
                  <a:pt x="25750" y="6500"/>
                </a:cubicBezTo>
                <a:cubicBezTo>
                  <a:pt x="25812" y="6500"/>
                  <a:pt x="25844" y="6500"/>
                  <a:pt x="25875" y="6437"/>
                </a:cubicBezTo>
                <a:cubicBezTo>
                  <a:pt x="25906" y="6406"/>
                  <a:pt x="25969" y="6406"/>
                  <a:pt x="26000" y="6375"/>
                </a:cubicBezTo>
                <a:cubicBezTo>
                  <a:pt x="25969" y="6406"/>
                  <a:pt x="25906" y="6406"/>
                  <a:pt x="25875" y="6437"/>
                </a:cubicBezTo>
                <a:close/>
                <a:moveTo>
                  <a:pt x="25844" y="6250"/>
                </a:moveTo>
                <a:cubicBezTo>
                  <a:pt x="25937" y="6218"/>
                  <a:pt x="26000" y="6187"/>
                  <a:pt x="26094" y="6125"/>
                </a:cubicBezTo>
                <a:cubicBezTo>
                  <a:pt x="26094" y="6125"/>
                  <a:pt x="26094" y="6125"/>
                  <a:pt x="26094" y="6125"/>
                </a:cubicBezTo>
                <a:cubicBezTo>
                  <a:pt x="26000" y="6187"/>
                  <a:pt x="25937" y="6218"/>
                  <a:pt x="25844" y="6250"/>
                </a:cubicBezTo>
                <a:close/>
                <a:moveTo>
                  <a:pt x="26250" y="6281"/>
                </a:moveTo>
                <a:cubicBezTo>
                  <a:pt x="26219" y="6343"/>
                  <a:pt x="26156" y="6343"/>
                  <a:pt x="26094" y="6375"/>
                </a:cubicBezTo>
                <a:cubicBezTo>
                  <a:pt x="26156" y="6343"/>
                  <a:pt x="26219" y="6343"/>
                  <a:pt x="26250" y="6281"/>
                </a:cubicBezTo>
                <a:cubicBezTo>
                  <a:pt x="26281" y="6250"/>
                  <a:pt x="26312" y="6250"/>
                  <a:pt x="26312" y="6250"/>
                </a:cubicBezTo>
                <a:cubicBezTo>
                  <a:pt x="26312" y="6250"/>
                  <a:pt x="26281" y="6250"/>
                  <a:pt x="26250" y="6281"/>
                </a:cubicBezTo>
                <a:close/>
                <a:moveTo>
                  <a:pt x="26312" y="6062"/>
                </a:moveTo>
                <a:cubicBezTo>
                  <a:pt x="26344" y="6031"/>
                  <a:pt x="26344" y="6031"/>
                  <a:pt x="26344" y="6000"/>
                </a:cubicBezTo>
                <a:cubicBezTo>
                  <a:pt x="26344" y="6000"/>
                  <a:pt x="26344" y="6000"/>
                  <a:pt x="26344" y="6000"/>
                </a:cubicBezTo>
                <a:cubicBezTo>
                  <a:pt x="26344" y="6031"/>
                  <a:pt x="26344" y="6031"/>
                  <a:pt x="26312" y="6062"/>
                </a:cubicBezTo>
                <a:close/>
                <a:moveTo>
                  <a:pt x="26531" y="5937"/>
                </a:moveTo>
                <a:cubicBezTo>
                  <a:pt x="26500" y="6000"/>
                  <a:pt x="26469" y="6000"/>
                  <a:pt x="26437" y="6000"/>
                </a:cubicBezTo>
                <a:cubicBezTo>
                  <a:pt x="26469" y="6000"/>
                  <a:pt x="26500" y="6000"/>
                  <a:pt x="26531" y="5937"/>
                </a:cubicBezTo>
                <a:cubicBezTo>
                  <a:pt x="26531" y="5937"/>
                  <a:pt x="26562" y="5906"/>
                  <a:pt x="26562" y="5906"/>
                </a:cubicBezTo>
                <a:cubicBezTo>
                  <a:pt x="26562" y="5906"/>
                  <a:pt x="26531" y="5937"/>
                  <a:pt x="26531" y="5937"/>
                </a:cubicBezTo>
                <a:close/>
                <a:moveTo>
                  <a:pt x="26625" y="5906"/>
                </a:moveTo>
                <a:cubicBezTo>
                  <a:pt x="26625" y="5906"/>
                  <a:pt x="26625" y="5906"/>
                  <a:pt x="26625" y="5906"/>
                </a:cubicBezTo>
                <a:cubicBezTo>
                  <a:pt x="26625" y="5906"/>
                  <a:pt x="26625" y="5906"/>
                  <a:pt x="26625" y="5906"/>
                </a:cubicBezTo>
                <a:cubicBezTo>
                  <a:pt x="26625" y="5906"/>
                  <a:pt x="26625" y="5906"/>
                  <a:pt x="26625" y="5906"/>
                </a:cubicBezTo>
                <a:close/>
                <a:moveTo>
                  <a:pt x="26719" y="5875"/>
                </a:moveTo>
                <a:cubicBezTo>
                  <a:pt x="26719" y="5875"/>
                  <a:pt x="26719" y="5875"/>
                  <a:pt x="26719" y="5875"/>
                </a:cubicBezTo>
                <a:cubicBezTo>
                  <a:pt x="26719" y="5875"/>
                  <a:pt x="26719" y="5875"/>
                  <a:pt x="26719" y="5875"/>
                </a:cubicBezTo>
                <a:cubicBezTo>
                  <a:pt x="26719" y="5875"/>
                  <a:pt x="26719" y="5875"/>
                  <a:pt x="26719" y="5875"/>
                </a:cubicBezTo>
                <a:close/>
                <a:moveTo>
                  <a:pt x="26781" y="5843"/>
                </a:moveTo>
                <a:cubicBezTo>
                  <a:pt x="26781" y="5843"/>
                  <a:pt x="26781" y="5843"/>
                  <a:pt x="26781" y="5843"/>
                </a:cubicBezTo>
                <a:cubicBezTo>
                  <a:pt x="26781" y="5843"/>
                  <a:pt x="26781" y="5843"/>
                  <a:pt x="26781" y="5843"/>
                </a:cubicBezTo>
                <a:cubicBezTo>
                  <a:pt x="26781" y="5843"/>
                  <a:pt x="26781" y="5843"/>
                  <a:pt x="26781" y="5843"/>
                </a:cubicBezTo>
                <a:close/>
                <a:moveTo>
                  <a:pt x="26875" y="5781"/>
                </a:moveTo>
                <a:cubicBezTo>
                  <a:pt x="26875" y="5781"/>
                  <a:pt x="26875" y="5781"/>
                  <a:pt x="26875" y="5781"/>
                </a:cubicBezTo>
                <a:cubicBezTo>
                  <a:pt x="26875" y="5781"/>
                  <a:pt x="26875" y="5781"/>
                  <a:pt x="26875" y="5781"/>
                </a:cubicBezTo>
                <a:cubicBezTo>
                  <a:pt x="26875" y="5781"/>
                  <a:pt x="26875" y="5781"/>
                  <a:pt x="26875" y="5781"/>
                </a:cubicBezTo>
                <a:close/>
                <a:moveTo>
                  <a:pt x="26906" y="6000"/>
                </a:moveTo>
                <a:cubicBezTo>
                  <a:pt x="26906" y="6031"/>
                  <a:pt x="26875" y="6031"/>
                  <a:pt x="26875" y="6062"/>
                </a:cubicBezTo>
                <a:cubicBezTo>
                  <a:pt x="26875" y="6031"/>
                  <a:pt x="26906" y="6031"/>
                  <a:pt x="26906" y="6000"/>
                </a:cubicBezTo>
                <a:close/>
                <a:moveTo>
                  <a:pt x="27094" y="5937"/>
                </a:moveTo>
                <a:cubicBezTo>
                  <a:pt x="27094" y="5937"/>
                  <a:pt x="27094" y="5937"/>
                  <a:pt x="27094" y="5937"/>
                </a:cubicBezTo>
                <a:cubicBezTo>
                  <a:pt x="27094" y="5937"/>
                  <a:pt x="27094" y="5906"/>
                  <a:pt x="27125" y="5906"/>
                </a:cubicBezTo>
                <a:cubicBezTo>
                  <a:pt x="27094" y="5906"/>
                  <a:pt x="27094" y="5937"/>
                  <a:pt x="27094" y="5937"/>
                </a:cubicBezTo>
                <a:close/>
                <a:moveTo>
                  <a:pt x="27594" y="5750"/>
                </a:moveTo>
                <a:cubicBezTo>
                  <a:pt x="27594" y="5750"/>
                  <a:pt x="27594" y="5718"/>
                  <a:pt x="27594" y="5718"/>
                </a:cubicBezTo>
                <a:cubicBezTo>
                  <a:pt x="27594" y="5718"/>
                  <a:pt x="27594" y="5718"/>
                  <a:pt x="27594" y="5718"/>
                </a:cubicBezTo>
                <a:cubicBezTo>
                  <a:pt x="27594" y="5718"/>
                  <a:pt x="27594" y="5750"/>
                  <a:pt x="27594" y="5750"/>
                </a:cubicBezTo>
                <a:close/>
                <a:moveTo>
                  <a:pt x="27812" y="5562"/>
                </a:moveTo>
                <a:cubicBezTo>
                  <a:pt x="27812" y="5562"/>
                  <a:pt x="27812" y="5562"/>
                  <a:pt x="27812" y="5562"/>
                </a:cubicBezTo>
                <a:cubicBezTo>
                  <a:pt x="27844" y="5562"/>
                  <a:pt x="27906" y="5531"/>
                  <a:pt x="27937" y="5500"/>
                </a:cubicBezTo>
                <a:cubicBezTo>
                  <a:pt x="27906" y="5531"/>
                  <a:pt x="27844" y="5562"/>
                  <a:pt x="27812" y="5562"/>
                </a:cubicBezTo>
                <a:close/>
                <a:moveTo>
                  <a:pt x="28125" y="5531"/>
                </a:moveTo>
                <a:cubicBezTo>
                  <a:pt x="28125" y="5531"/>
                  <a:pt x="28125" y="5531"/>
                  <a:pt x="28125" y="5500"/>
                </a:cubicBezTo>
                <a:cubicBezTo>
                  <a:pt x="28125" y="5500"/>
                  <a:pt x="28125" y="5500"/>
                  <a:pt x="28125" y="5500"/>
                </a:cubicBezTo>
                <a:cubicBezTo>
                  <a:pt x="28125" y="5531"/>
                  <a:pt x="28125" y="5531"/>
                  <a:pt x="28125" y="5531"/>
                </a:cubicBezTo>
                <a:close/>
                <a:moveTo>
                  <a:pt x="28375" y="5437"/>
                </a:moveTo>
                <a:cubicBezTo>
                  <a:pt x="28375" y="5468"/>
                  <a:pt x="28375" y="5468"/>
                  <a:pt x="28375" y="5468"/>
                </a:cubicBezTo>
                <a:cubicBezTo>
                  <a:pt x="28344" y="5437"/>
                  <a:pt x="28344" y="5437"/>
                  <a:pt x="28344" y="5437"/>
                </a:cubicBezTo>
                <a:cubicBezTo>
                  <a:pt x="28312" y="5531"/>
                  <a:pt x="28219" y="5500"/>
                  <a:pt x="28156" y="5500"/>
                </a:cubicBezTo>
                <a:cubicBezTo>
                  <a:pt x="28219" y="5500"/>
                  <a:pt x="28312" y="5531"/>
                  <a:pt x="28344" y="5437"/>
                </a:cubicBezTo>
                <a:cubicBezTo>
                  <a:pt x="28344" y="5437"/>
                  <a:pt x="28375" y="5468"/>
                  <a:pt x="28375" y="5468"/>
                </a:cubicBezTo>
                <a:cubicBezTo>
                  <a:pt x="28375" y="5468"/>
                  <a:pt x="28375" y="5437"/>
                  <a:pt x="28375" y="5437"/>
                </a:cubicBezTo>
                <a:close/>
                <a:moveTo>
                  <a:pt x="31781" y="4062"/>
                </a:moveTo>
                <a:cubicBezTo>
                  <a:pt x="31781" y="4031"/>
                  <a:pt x="31781" y="4031"/>
                  <a:pt x="31812" y="4031"/>
                </a:cubicBezTo>
                <a:cubicBezTo>
                  <a:pt x="31781" y="4031"/>
                  <a:pt x="31781" y="4031"/>
                  <a:pt x="31781" y="4062"/>
                </a:cubicBezTo>
                <a:cubicBezTo>
                  <a:pt x="31750" y="4062"/>
                  <a:pt x="31750" y="4062"/>
                  <a:pt x="31750" y="4062"/>
                </a:cubicBezTo>
                <a:cubicBezTo>
                  <a:pt x="31750" y="4062"/>
                  <a:pt x="31750" y="4062"/>
                  <a:pt x="31781" y="4062"/>
                </a:cubicBezTo>
                <a:close/>
                <a:moveTo>
                  <a:pt x="30937" y="4406"/>
                </a:moveTo>
                <a:cubicBezTo>
                  <a:pt x="30969" y="4406"/>
                  <a:pt x="30969" y="4406"/>
                  <a:pt x="31000" y="4406"/>
                </a:cubicBezTo>
                <a:cubicBezTo>
                  <a:pt x="30969" y="4406"/>
                  <a:pt x="30969" y="4406"/>
                  <a:pt x="30937" y="4406"/>
                </a:cubicBezTo>
                <a:close/>
                <a:moveTo>
                  <a:pt x="29219" y="5156"/>
                </a:moveTo>
                <a:cubicBezTo>
                  <a:pt x="29219" y="5156"/>
                  <a:pt x="29219" y="5156"/>
                  <a:pt x="29219" y="5156"/>
                </a:cubicBezTo>
                <a:cubicBezTo>
                  <a:pt x="29219" y="5156"/>
                  <a:pt x="29219" y="5156"/>
                  <a:pt x="29219" y="5156"/>
                </a:cubicBezTo>
                <a:cubicBezTo>
                  <a:pt x="29219" y="5156"/>
                  <a:pt x="29219" y="5156"/>
                  <a:pt x="29187" y="5156"/>
                </a:cubicBezTo>
                <a:cubicBezTo>
                  <a:pt x="29219" y="5156"/>
                  <a:pt x="29219" y="5156"/>
                  <a:pt x="29219" y="5156"/>
                </a:cubicBezTo>
                <a:close/>
                <a:moveTo>
                  <a:pt x="28875" y="5125"/>
                </a:moveTo>
                <a:cubicBezTo>
                  <a:pt x="28844" y="5125"/>
                  <a:pt x="28781" y="5125"/>
                  <a:pt x="28750" y="5187"/>
                </a:cubicBezTo>
                <a:cubicBezTo>
                  <a:pt x="28750" y="5187"/>
                  <a:pt x="28750" y="5187"/>
                  <a:pt x="28750" y="5187"/>
                </a:cubicBezTo>
                <a:cubicBezTo>
                  <a:pt x="28781" y="5125"/>
                  <a:pt x="28844" y="5125"/>
                  <a:pt x="28875" y="5125"/>
                </a:cubicBezTo>
                <a:close/>
                <a:moveTo>
                  <a:pt x="187" y="2125"/>
                </a:moveTo>
                <a:cubicBezTo>
                  <a:pt x="250" y="2031"/>
                  <a:pt x="375" y="2062"/>
                  <a:pt x="437" y="2031"/>
                </a:cubicBezTo>
                <a:cubicBezTo>
                  <a:pt x="469" y="1968"/>
                  <a:pt x="531" y="2000"/>
                  <a:pt x="594" y="2000"/>
                </a:cubicBezTo>
                <a:cubicBezTo>
                  <a:pt x="594" y="2000"/>
                  <a:pt x="594" y="2000"/>
                  <a:pt x="594" y="2000"/>
                </a:cubicBezTo>
                <a:cubicBezTo>
                  <a:pt x="625" y="1937"/>
                  <a:pt x="687" y="1968"/>
                  <a:pt x="719" y="1968"/>
                </a:cubicBezTo>
                <a:cubicBezTo>
                  <a:pt x="719" y="1968"/>
                  <a:pt x="719" y="1968"/>
                  <a:pt x="719" y="1968"/>
                </a:cubicBezTo>
                <a:cubicBezTo>
                  <a:pt x="750" y="1875"/>
                  <a:pt x="812" y="1937"/>
                  <a:pt x="844" y="1937"/>
                </a:cubicBezTo>
                <a:cubicBezTo>
                  <a:pt x="844" y="1937"/>
                  <a:pt x="844" y="1937"/>
                  <a:pt x="844" y="1937"/>
                </a:cubicBezTo>
                <a:cubicBezTo>
                  <a:pt x="937" y="1875"/>
                  <a:pt x="1000" y="1843"/>
                  <a:pt x="1094" y="1843"/>
                </a:cubicBezTo>
                <a:cubicBezTo>
                  <a:pt x="1250" y="1812"/>
                  <a:pt x="1375" y="1718"/>
                  <a:pt x="1531" y="1750"/>
                </a:cubicBezTo>
                <a:cubicBezTo>
                  <a:pt x="1500" y="1718"/>
                  <a:pt x="1531" y="1718"/>
                  <a:pt x="1562" y="1718"/>
                </a:cubicBezTo>
                <a:cubicBezTo>
                  <a:pt x="1750" y="1656"/>
                  <a:pt x="1937" y="1593"/>
                  <a:pt x="2156" y="1562"/>
                </a:cubicBezTo>
                <a:cubicBezTo>
                  <a:pt x="2031" y="1562"/>
                  <a:pt x="1937" y="1562"/>
                  <a:pt x="1875" y="1593"/>
                </a:cubicBezTo>
                <a:cubicBezTo>
                  <a:pt x="1656" y="1656"/>
                  <a:pt x="1437" y="1718"/>
                  <a:pt x="1219" y="1781"/>
                </a:cubicBezTo>
                <a:cubicBezTo>
                  <a:pt x="1062" y="1812"/>
                  <a:pt x="906" y="1843"/>
                  <a:pt x="781" y="1875"/>
                </a:cubicBezTo>
                <a:cubicBezTo>
                  <a:pt x="625" y="1906"/>
                  <a:pt x="500" y="2000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44" y="2031"/>
                  <a:pt x="281" y="2000"/>
                  <a:pt x="219" y="2000"/>
                </a:cubicBezTo>
                <a:cubicBezTo>
                  <a:pt x="281" y="1968"/>
                  <a:pt x="312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44" y="1906"/>
                  <a:pt x="406" y="1937"/>
                  <a:pt x="437" y="1906"/>
                </a:cubicBezTo>
                <a:cubicBezTo>
                  <a:pt x="937" y="1750"/>
                  <a:pt x="1437" y="1625"/>
                  <a:pt x="1937" y="1468"/>
                </a:cubicBezTo>
                <a:cubicBezTo>
                  <a:pt x="2031" y="1468"/>
                  <a:pt x="2125" y="1437"/>
                  <a:pt x="2250" y="1406"/>
                </a:cubicBezTo>
                <a:cubicBezTo>
                  <a:pt x="2187" y="1343"/>
                  <a:pt x="2156" y="1343"/>
                  <a:pt x="2125" y="1375"/>
                </a:cubicBezTo>
                <a:cubicBezTo>
                  <a:pt x="1969" y="1437"/>
                  <a:pt x="1781" y="1437"/>
                  <a:pt x="1625" y="1468"/>
                </a:cubicBezTo>
                <a:cubicBezTo>
                  <a:pt x="1469" y="1531"/>
                  <a:pt x="1312" y="1562"/>
                  <a:pt x="1156" y="1593"/>
                </a:cubicBezTo>
                <a:cubicBezTo>
                  <a:pt x="844" y="1687"/>
                  <a:pt x="531" y="1750"/>
                  <a:pt x="219" y="1843"/>
                </a:cubicBezTo>
                <a:cubicBezTo>
                  <a:pt x="125" y="1843"/>
                  <a:pt x="62" y="1875"/>
                  <a:pt x="0" y="1906"/>
                </a:cubicBezTo>
                <a:cubicBezTo>
                  <a:pt x="0" y="2156"/>
                  <a:pt x="0" y="2156"/>
                  <a:pt x="0" y="2156"/>
                </a:cubicBezTo>
                <a:cubicBezTo>
                  <a:pt x="62" y="2125"/>
                  <a:pt x="125" y="2125"/>
                  <a:pt x="187" y="2125"/>
                </a:cubicBezTo>
                <a:close/>
                <a:moveTo>
                  <a:pt x="344" y="1906"/>
                </a:moveTo>
                <a:cubicBezTo>
                  <a:pt x="312" y="1906"/>
                  <a:pt x="312" y="1937"/>
                  <a:pt x="312" y="1968"/>
                </a:cubicBezTo>
                <a:cubicBezTo>
                  <a:pt x="312" y="1968"/>
                  <a:pt x="312" y="1968"/>
                  <a:pt x="312" y="1968"/>
                </a:cubicBezTo>
                <a:cubicBezTo>
                  <a:pt x="312" y="1937"/>
                  <a:pt x="312" y="1906"/>
                  <a:pt x="344" y="1906"/>
                </a:cubicBezTo>
                <a:close/>
                <a:moveTo>
                  <a:pt x="1375" y="2187"/>
                </a:moveTo>
                <a:cubicBezTo>
                  <a:pt x="1594" y="2093"/>
                  <a:pt x="1812" y="2062"/>
                  <a:pt x="2031" y="2000"/>
                </a:cubicBezTo>
                <a:cubicBezTo>
                  <a:pt x="2156" y="1968"/>
                  <a:pt x="2281" y="1937"/>
                  <a:pt x="2406" y="1843"/>
                </a:cubicBezTo>
                <a:cubicBezTo>
                  <a:pt x="2344" y="1843"/>
                  <a:pt x="2344" y="1843"/>
                  <a:pt x="2312" y="1843"/>
                </a:cubicBezTo>
                <a:cubicBezTo>
                  <a:pt x="2125" y="1875"/>
                  <a:pt x="1906" y="1937"/>
                  <a:pt x="1719" y="2000"/>
                </a:cubicBezTo>
                <a:cubicBezTo>
                  <a:pt x="1656" y="2000"/>
                  <a:pt x="1594" y="1968"/>
                  <a:pt x="1562" y="2000"/>
                </a:cubicBezTo>
                <a:cubicBezTo>
                  <a:pt x="1469" y="2093"/>
                  <a:pt x="1344" y="2062"/>
                  <a:pt x="1250" y="2062"/>
                </a:cubicBezTo>
                <a:cubicBezTo>
                  <a:pt x="1156" y="2062"/>
                  <a:pt x="1031" y="2093"/>
                  <a:pt x="937" y="2062"/>
                </a:cubicBezTo>
                <a:cubicBezTo>
                  <a:pt x="937" y="2062"/>
                  <a:pt x="906" y="2031"/>
                  <a:pt x="875" y="2062"/>
                </a:cubicBezTo>
                <a:cubicBezTo>
                  <a:pt x="875" y="2093"/>
                  <a:pt x="906" y="2125"/>
                  <a:pt x="906" y="2125"/>
                </a:cubicBezTo>
                <a:cubicBezTo>
                  <a:pt x="937" y="2156"/>
                  <a:pt x="969" y="2156"/>
                  <a:pt x="969" y="2187"/>
                </a:cubicBezTo>
                <a:cubicBezTo>
                  <a:pt x="875" y="2218"/>
                  <a:pt x="844" y="2156"/>
                  <a:pt x="781" y="2125"/>
                </a:cubicBezTo>
                <a:cubicBezTo>
                  <a:pt x="781" y="2093"/>
                  <a:pt x="750" y="2062"/>
                  <a:pt x="719" y="2093"/>
                </a:cubicBezTo>
                <a:cubicBezTo>
                  <a:pt x="469" y="2156"/>
                  <a:pt x="250" y="2218"/>
                  <a:pt x="0" y="2281"/>
                </a:cubicBezTo>
                <a:cubicBezTo>
                  <a:pt x="0" y="2531"/>
                  <a:pt x="0" y="2531"/>
                  <a:pt x="0" y="2531"/>
                </a:cubicBezTo>
                <a:cubicBezTo>
                  <a:pt x="344" y="2437"/>
                  <a:pt x="687" y="2343"/>
                  <a:pt x="1031" y="2250"/>
                </a:cubicBezTo>
                <a:cubicBezTo>
                  <a:pt x="1156" y="2218"/>
                  <a:pt x="1250" y="2218"/>
                  <a:pt x="1375" y="2187"/>
                </a:cubicBezTo>
                <a:close/>
                <a:moveTo>
                  <a:pt x="594" y="5687"/>
                </a:moveTo>
                <a:cubicBezTo>
                  <a:pt x="594" y="5656"/>
                  <a:pt x="594" y="5656"/>
                  <a:pt x="625" y="5656"/>
                </a:cubicBezTo>
                <a:cubicBezTo>
                  <a:pt x="625" y="5656"/>
                  <a:pt x="625" y="5656"/>
                  <a:pt x="625" y="5656"/>
                </a:cubicBezTo>
                <a:cubicBezTo>
                  <a:pt x="625" y="5656"/>
                  <a:pt x="625" y="5656"/>
                  <a:pt x="625" y="5656"/>
                </a:cubicBezTo>
                <a:cubicBezTo>
                  <a:pt x="687" y="5656"/>
                  <a:pt x="719" y="5625"/>
                  <a:pt x="781" y="5625"/>
                </a:cubicBezTo>
                <a:cubicBezTo>
                  <a:pt x="781" y="5593"/>
                  <a:pt x="750" y="5562"/>
                  <a:pt x="750" y="5531"/>
                </a:cubicBezTo>
                <a:cubicBezTo>
                  <a:pt x="750" y="5468"/>
                  <a:pt x="719" y="5500"/>
                  <a:pt x="687" y="5500"/>
                </a:cubicBezTo>
                <a:cubicBezTo>
                  <a:pt x="562" y="5531"/>
                  <a:pt x="469" y="5562"/>
                  <a:pt x="375" y="5593"/>
                </a:cubicBezTo>
                <a:cubicBezTo>
                  <a:pt x="250" y="5625"/>
                  <a:pt x="125" y="5687"/>
                  <a:pt x="0" y="5718"/>
                </a:cubicBezTo>
                <a:cubicBezTo>
                  <a:pt x="0" y="5843"/>
                  <a:pt x="0" y="5843"/>
                  <a:pt x="0" y="5843"/>
                </a:cubicBezTo>
                <a:cubicBezTo>
                  <a:pt x="156" y="5812"/>
                  <a:pt x="344" y="5750"/>
                  <a:pt x="531" y="5687"/>
                </a:cubicBezTo>
                <a:cubicBezTo>
                  <a:pt x="531" y="5687"/>
                  <a:pt x="562" y="5687"/>
                  <a:pt x="594" y="5687"/>
                </a:cubicBezTo>
                <a:close/>
                <a:moveTo>
                  <a:pt x="7250" y="12250"/>
                </a:moveTo>
                <a:cubicBezTo>
                  <a:pt x="7250" y="12250"/>
                  <a:pt x="7219" y="12250"/>
                  <a:pt x="7219" y="12250"/>
                </a:cubicBezTo>
                <a:cubicBezTo>
                  <a:pt x="7219" y="12250"/>
                  <a:pt x="7219" y="12281"/>
                  <a:pt x="7219" y="12281"/>
                </a:cubicBezTo>
                <a:cubicBezTo>
                  <a:pt x="7062" y="12375"/>
                  <a:pt x="6875" y="12406"/>
                  <a:pt x="6687" y="12531"/>
                </a:cubicBezTo>
                <a:cubicBezTo>
                  <a:pt x="6719" y="12531"/>
                  <a:pt x="6719" y="12531"/>
                  <a:pt x="6750" y="12531"/>
                </a:cubicBezTo>
                <a:cubicBezTo>
                  <a:pt x="6937" y="12437"/>
                  <a:pt x="7125" y="12375"/>
                  <a:pt x="7281" y="12281"/>
                </a:cubicBezTo>
                <a:cubicBezTo>
                  <a:pt x="7281" y="12250"/>
                  <a:pt x="7250" y="12250"/>
                  <a:pt x="7250" y="12250"/>
                </a:cubicBezTo>
                <a:close/>
                <a:moveTo>
                  <a:pt x="7406" y="12031"/>
                </a:moveTo>
                <a:cubicBezTo>
                  <a:pt x="7406" y="12031"/>
                  <a:pt x="7406" y="12031"/>
                  <a:pt x="7406" y="12031"/>
                </a:cubicBezTo>
                <a:cubicBezTo>
                  <a:pt x="7406" y="12031"/>
                  <a:pt x="7406" y="12031"/>
                  <a:pt x="7406" y="12031"/>
                </a:cubicBezTo>
                <a:cubicBezTo>
                  <a:pt x="7437" y="12062"/>
                  <a:pt x="7406" y="12062"/>
                  <a:pt x="7375" y="12093"/>
                </a:cubicBezTo>
                <a:cubicBezTo>
                  <a:pt x="7312" y="12093"/>
                  <a:pt x="7250" y="12125"/>
                  <a:pt x="7187" y="12187"/>
                </a:cubicBezTo>
                <a:cubicBezTo>
                  <a:pt x="7156" y="12187"/>
                  <a:pt x="7125" y="12187"/>
                  <a:pt x="7156" y="12218"/>
                </a:cubicBezTo>
                <a:cubicBezTo>
                  <a:pt x="7156" y="12250"/>
                  <a:pt x="7156" y="12250"/>
                  <a:pt x="7187" y="12250"/>
                </a:cubicBezTo>
                <a:cubicBezTo>
                  <a:pt x="7187" y="12250"/>
                  <a:pt x="7187" y="12250"/>
                  <a:pt x="7187" y="12250"/>
                </a:cubicBezTo>
                <a:cubicBezTo>
                  <a:pt x="7187" y="12250"/>
                  <a:pt x="7187" y="12250"/>
                  <a:pt x="7187" y="12250"/>
                </a:cubicBezTo>
                <a:cubicBezTo>
                  <a:pt x="7187" y="12218"/>
                  <a:pt x="7219" y="12218"/>
                  <a:pt x="7219" y="12187"/>
                </a:cubicBezTo>
                <a:cubicBezTo>
                  <a:pt x="7281" y="12156"/>
                  <a:pt x="7344" y="12093"/>
                  <a:pt x="7437" y="12093"/>
                </a:cubicBezTo>
                <a:cubicBezTo>
                  <a:pt x="7469" y="12093"/>
                  <a:pt x="7469" y="12062"/>
                  <a:pt x="7469" y="12031"/>
                </a:cubicBezTo>
                <a:cubicBezTo>
                  <a:pt x="7469" y="12000"/>
                  <a:pt x="7437" y="12031"/>
                  <a:pt x="7406" y="12031"/>
                </a:cubicBezTo>
                <a:close/>
                <a:moveTo>
                  <a:pt x="9187" y="9750"/>
                </a:moveTo>
                <a:cubicBezTo>
                  <a:pt x="9281" y="9750"/>
                  <a:pt x="9344" y="9687"/>
                  <a:pt x="9437" y="9625"/>
                </a:cubicBezTo>
                <a:cubicBezTo>
                  <a:pt x="9437" y="9625"/>
                  <a:pt x="9406" y="9625"/>
                  <a:pt x="9406" y="9593"/>
                </a:cubicBezTo>
                <a:cubicBezTo>
                  <a:pt x="9344" y="9656"/>
                  <a:pt x="9281" y="9687"/>
                  <a:pt x="9187" y="9750"/>
                </a:cubicBezTo>
                <a:close/>
                <a:moveTo>
                  <a:pt x="6250" y="9718"/>
                </a:moveTo>
                <a:cubicBezTo>
                  <a:pt x="6312" y="9750"/>
                  <a:pt x="6344" y="9687"/>
                  <a:pt x="6375" y="9656"/>
                </a:cubicBezTo>
                <a:cubicBezTo>
                  <a:pt x="6469" y="9625"/>
                  <a:pt x="6562" y="9625"/>
                  <a:pt x="6625" y="9531"/>
                </a:cubicBezTo>
                <a:cubicBezTo>
                  <a:pt x="6656" y="9531"/>
                  <a:pt x="6656" y="9531"/>
                  <a:pt x="6687" y="9500"/>
                </a:cubicBezTo>
                <a:cubicBezTo>
                  <a:pt x="6656" y="9531"/>
                  <a:pt x="6625" y="9500"/>
                  <a:pt x="6625" y="9531"/>
                </a:cubicBezTo>
                <a:cubicBezTo>
                  <a:pt x="6594" y="9531"/>
                  <a:pt x="6562" y="9562"/>
                  <a:pt x="6531" y="9562"/>
                </a:cubicBezTo>
                <a:cubicBezTo>
                  <a:pt x="6531" y="9562"/>
                  <a:pt x="6500" y="9562"/>
                  <a:pt x="6500" y="9593"/>
                </a:cubicBezTo>
                <a:cubicBezTo>
                  <a:pt x="6500" y="9562"/>
                  <a:pt x="6531" y="9562"/>
                  <a:pt x="6531" y="9562"/>
                </a:cubicBezTo>
                <a:cubicBezTo>
                  <a:pt x="6469" y="9593"/>
                  <a:pt x="6406" y="9593"/>
                  <a:pt x="6375" y="9656"/>
                </a:cubicBezTo>
                <a:cubicBezTo>
                  <a:pt x="6344" y="9656"/>
                  <a:pt x="6312" y="9656"/>
                  <a:pt x="6312" y="9656"/>
                </a:cubicBezTo>
                <a:cubicBezTo>
                  <a:pt x="6281" y="9656"/>
                  <a:pt x="6250" y="9687"/>
                  <a:pt x="6250" y="9718"/>
                </a:cubicBezTo>
                <a:cubicBezTo>
                  <a:pt x="6219" y="9718"/>
                  <a:pt x="6187" y="9718"/>
                  <a:pt x="6156" y="9750"/>
                </a:cubicBezTo>
                <a:cubicBezTo>
                  <a:pt x="6125" y="9750"/>
                  <a:pt x="6125" y="9750"/>
                  <a:pt x="6094" y="9750"/>
                </a:cubicBezTo>
                <a:cubicBezTo>
                  <a:pt x="6062" y="9781"/>
                  <a:pt x="6031" y="9812"/>
                  <a:pt x="6000" y="9812"/>
                </a:cubicBezTo>
                <a:cubicBezTo>
                  <a:pt x="6031" y="9812"/>
                  <a:pt x="6062" y="9781"/>
                  <a:pt x="6094" y="9750"/>
                </a:cubicBezTo>
                <a:cubicBezTo>
                  <a:pt x="6031" y="9781"/>
                  <a:pt x="5969" y="9812"/>
                  <a:pt x="5906" y="9875"/>
                </a:cubicBezTo>
                <a:cubicBezTo>
                  <a:pt x="5875" y="9875"/>
                  <a:pt x="5844" y="9875"/>
                  <a:pt x="5844" y="9875"/>
                </a:cubicBezTo>
                <a:cubicBezTo>
                  <a:pt x="5875" y="9906"/>
                  <a:pt x="5875" y="9906"/>
                  <a:pt x="5906" y="9875"/>
                </a:cubicBezTo>
                <a:cubicBezTo>
                  <a:pt x="6000" y="9843"/>
                  <a:pt x="6094" y="9812"/>
                  <a:pt x="6156" y="9750"/>
                </a:cubicBezTo>
                <a:cubicBezTo>
                  <a:pt x="6187" y="9750"/>
                  <a:pt x="6219" y="9750"/>
                  <a:pt x="6250" y="9718"/>
                </a:cubicBezTo>
                <a:close/>
                <a:moveTo>
                  <a:pt x="6250" y="9718"/>
                </a:moveTo>
                <a:cubicBezTo>
                  <a:pt x="6250" y="9718"/>
                  <a:pt x="6250" y="9687"/>
                  <a:pt x="6250" y="9687"/>
                </a:cubicBezTo>
                <a:cubicBezTo>
                  <a:pt x="6250" y="9687"/>
                  <a:pt x="6250" y="9718"/>
                  <a:pt x="6250" y="9718"/>
                </a:cubicBezTo>
                <a:close/>
                <a:moveTo>
                  <a:pt x="10281" y="8312"/>
                </a:moveTo>
                <a:cubicBezTo>
                  <a:pt x="10375" y="8312"/>
                  <a:pt x="10437" y="8250"/>
                  <a:pt x="10500" y="8187"/>
                </a:cubicBezTo>
                <a:cubicBezTo>
                  <a:pt x="10406" y="8187"/>
                  <a:pt x="10344" y="8250"/>
                  <a:pt x="10281" y="8312"/>
                </a:cubicBezTo>
                <a:close/>
                <a:moveTo>
                  <a:pt x="10375" y="8468"/>
                </a:move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68"/>
                </a:cubicBezTo>
                <a:close/>
                <a:moveTo>
                  <a:pt x="10219" y="8343"/>
                </a:moveTo>
                <a:cubicBezTo>
                  <a:pt x="10094" y="8375"/>
                  <a:pt x="10062" y="8437"/>
                  <a:pt x="10000" y="8500"/>
                </a:cubicBezTo>
                <a:cubicBezTo>
                  <a:pt x="10062" y="8468"/>
                  <a:pt x="10156" y="8437"/>
                  <a:pt x="10219" y="8343"/>
                </a:cubicBezTo>
                <a:close/>
                <a:moveTo>
                  <a:pt x="10562" y="8156"/>
                </a:moveTo>
                <a:cubicBezTo>
                  <a:pt x="10656" y="8125"/>
                  <a:pt x="10719" y="8093"/>
                  <a:pt x="10781" y="8000"/>
                </a:cubicBezTo>
                <a:cubicBezTo>
                  <a:pt x="10687" y="8031"/>
                  <a:pt x="10625" y="8093"/>
                  <a:pt x="10562" y="8156"/>
                </a:cubicBezTo>
                <a:close/>
                <a:moveTo>
                  <a:pt x="8406" y="10218"/>
                </a:moveTo>
                <a:cubicBezTo>
                  <a:pt x="8437" y="10250"/>
                  <a:pt x="8437" y="10218"/>
                  <a:pt x="8469" y="10187"/>
                </a:cubicBezTo>
                <a:cubicBezTo>
                  <a:pt x="8469" y="10187"/>
                  <a:pt x="8500" y="10187"/>
                  <a:pt x="8500" y="10156"/>
                </a:cubicBezTo>
                <a:cubicBezTo>
                  <a:pt x="8594" y="10156"/>
                  <a:pt x="8625" y="10093"/>
                  <a:pt x="8687" y="10062"/>
                </a:cubicBezTo>
                <a:cubicBezTo>
                  <a:pt x="8625" y="10093"/>
                  <a:pt x="8562" y="10093"/>
                  <a:pt x="8500" y="10156"/>
                </a:cubicBezTo>
                <a:cubicBezTo>
                  <a:pt x="8500" y="10156"/>
                  <a:pt x="8469" y="10156"/>
                  <a:pt x="8469" y="10187"/>
                </a:cubicBezTo>
                <a:cubicBezTo>
                  <a:pt x="8437" y="10187"/>
                  <a:pt x="8375" y="10187"/>
                  <a:pt x="8406" y="10218"/>
                </a:cubicBezTo>
                <a:close/>
                <a:moveTo>
                  <a:pt x="2281" y="1343"/>
                </a:moveTo>
                <a:cubicBezTo>
                  <a:pt x="2312" y="1375"/>
                  <a:pt x="2344" y="1375"/>
                  <a:pt x="2375" y="1343"/>
                </a:cubicBezTo>
                <a:cubicBezTo>
                  <a:pt x="2344" y="1343"/>
                  <a:pt x="2312" y="1343"/>
                  <a:pt x="2281" y="1343"/>
                </a:cubicBezTo>
                <a:close/>
                <a:moveTo>
                  <a:pt x="1719" y="4937"/>
                </a:moveTo>
                <a:cubicBezTo>
                  <a:pt x="1500" y="5000"/>
                  <a:pt x="1312" y="5031"/>
                  <a:pt x="1094" y="5125"/>
                </a:cubicBezTo>
                <a:cubicBezTo>
                  <a:pt x="1031" y="5125"/>
                  <a:pt x="937" y="5125"/>
                  <a:pt x="844" y="5218"/>
                </a:cubicBezTo>
                <a:cubicBezTo>
                  <a:pt x="906" y="5218"/>
                  <a:pt x="906" y="5218"/>
                  <a:pt x="937" y="5218"/>
                </a:cubicBezTo>
                <a:cubicBezTo>
                  <a:pt x="1187" y="5125"/>
                  <a:pt x="1469" y="5062"/>
                  <a:pt x="1719" y="5000"/>
                </a:cubicBezTo>
                <a:cubicBezTo>
                  <a:pt x="1750" y="4968"/>
                  <a:pt x="1812" y="5000"/>
                  <a:pt x="1781" y="4937"/>
                </a:cubicBezTo>
                <a:cubicBezTo>
                  <a:pt x="1781" y="4906"/>
                  <a:pt x="1750" y="4937"/>
                  <a:pt x="1719" y="4937"/>
                </a:cubicBezTo>
                <a:close/>
                <a:moveTo>
                  <a:pt x="10844" y="7968"/>
                </a:moveTo>
                <a:cubicBezTo>
                  <a:pt x="10937" y="7937"/>
                  <a:pt x="11000" y="7875"/>
                  <a:pt x="11062" y="7843"/>
                </a:cubicBezTo>
                <a:cubicBezTo>
                  <a:pt x="10969" y="7843"/>
                  <a:pt x="10906" y="7875"/>
                  <a:pt x="10844" y="7968"/>
                </a:cubicBezTo>
                <a:close/>
                <a:moveTo>
                  <a:pt x="2594" y="1437"/>
                </a:moveTo>
                <a:cubicBezTo>
                  <a:pt x="2500" y="1437"/>
                  <a:pt x="2437" y="1468"/>
                  <a:pt x="2344" y="1500"/>
                </a:cubicBezTo>
                <a:cubicBezTo>
                  <a:pt x="2437" y="1500"/>
                  <a:pt x="2500" y="1468"/>
                  <a:pt x="2594" y="1437"/>
                </a:cubicBezTo>
                <a:close/>
                <a:moveTo>
                  <a:pt x="6219" y="12593"/>
                </a:moveTo>
                <a:cubicBezTo>
                  <a:pt x="6031" y="12562"/>
                  <a:pt x="5906" y="12656"/>
                  <a:pt x="5719" y="12687"/>
                </a:cubicBezTo>
                <a:cubicBezTo>
                  <a:pt x="5719" y="12687"/>
                  <a:pt x="5719" y="12687"/>
                  <a:pt x="5719" y="12687"/>
                </a:cubicBezTo>
                <a:cubicBezTo>
                  <a:pt x="5875" y="12687"/>
                  <a:pt x="6031" y="12593"/>
                  <a:pt x="6219" y="12593"/>
                </a:cubicBezTo>
                <a:cubicBezTo>
                  <a:pt x="6219" y="12593"/>
                  <a:pt x="6219" y="12593"/>
                  <a:pt x="6219" y="12593"/>
                </a:cubicBezTo>
                <a:close/>
                <a:moveTo>
                  <a:pt x="10031" y="8625"/>
                </a:moveTo>
                <a:cubicBezTo>
                  <a:pt x="9969" y="8656"/>
                  <a:pt x="9906" y="8687"/>
                  <a:pt x="9844" y="8750"/>
                </a:cubicBezTo>
                <a:cubicBezTo>
                  <a:pt x="9937" y="8750"/>
                  <a:pt x="10000" y="8687"/>
                  <a:pt x="10031" y="8625"/>
                </a:cubicBezTo>
                <a:close/>
                <a:moveTo>
                  <a:pt x="7969" y="8875"/>
                </a:moveTo>
                <a:cubicBezTo>
                  <a:pt x="7969" y="8875"/>
                  <a:pt x="8000" y="8843"/>
                  <a:pt x="8000" y="8843"/>
                </a:cubicBezTo>
                <a:cubicBezTo>
                  <a:pt x="7969" y="8781"/>
                  <a:pt x="7937" y="8812"/>
                  <a:pt x="7906" y="8812"/>
                </a:cubicBezTo>
                <a:cubicBezTo>
                  <a:pt x="7750" y="8937"/>
                  <a:pt x="7562" y="9031"/>
                  <a:pt x="7406" y="9125"/>
                </a:cubicBezTo>
                <a:cubicBezTo>
                  <a:pt x="7281" y="9156"/>
                  <a:pt x="7187" y="9218"/>
                  <a:pt x="7094" y="9281"/>
                </a:cubicBezTo>
                <a:cubicBezTo>
                  <a:pt x="7125" y="9312"/>
                  <a:pt x="7156" y="9312"/>
                  <a:pt x="7156" y="9281"/>
                </a:cubicBezTo>
                <a:cubicBezTo>
                  <a:pt x="7437" y="9156"/>
                  <a:pt x="7687" y="9000"/>
                  <a:pt x="7969" y="8875"/>
                </a:cubicBezTo>
                <a:close/>
                <a:moveTo>
                  <a:pt x="10406" y="8875"/>
                </a:moveTo>
                <a:cubicBezTo>
                  <a:pt x="10375" y="8875"/>
                  <a:pt x="10312" y="8906"/>
                  <a:pt x="10281" y="8968"/>
                </a:cubicBezTo>
                <a:cubicBezTo>
                  <a:pt x="10250" y="8968"/>
                  <a:pt x="10219" y="8968"/>
                  <a:pt x="10219" y="9000"/>
                </a:cubicBezTo>
                <a:cubicBezTo>
                  <a:pt x="10219" y="9000"/>
                  <a:pt x="10219" y="9000"/>
                  <a:pt x="10219" y="9000"/>
                </a:cubicBezTo>
                <a:cubicBezTo>
                  <a:pt x="10250" y="9000"/>
                  <a:pt x="10281" y="8968"/>
                  <a:pt x="10281" y="8968"/>
                </a:cubicBezTo>
                <a:cubicBezTo>
                  <a:pt x="10344" y="8937"/>
                  <a:pt x="10406" y="8937"/>
                  <a:pt x="10406" y="8875"/>
                </a:cubicBezTo>
                <a:close/>
                <a:moveTo>
                  <a:pt x="7656" y="10000"/>
                </a:moveTo>
                <a:cubicBezTo>
                  <a:pt x="7750" y="10000"/>
                  <a:pt x="7812" y="9968"/>
                  <a:pt x="7875" y="9937"/>
                </a:cubicBezTo>
                <a:cubicBezTo>
                  <a:pt x="7781" y="9937"/>
                  <a:pt x="7719" y="9937"/>
                  <a:pt x="7656" y="10000"/>
                </a:cubicBezTo>
                <a:close/>
                <a:moveTo>
                  <a:pt x="7812" y="9750"/>
                </a:moveTo>
                <a:cubicBezTo>
                  <a:pt x="7750" y="9781"/>
                  <a:pt x="7687" y="9812"/>
                  <a:pt x="7625" y="9843"/>
                </a:cubicBezTo>
                <a:cubicBezTo>
                  <a:pt x="7625" y="9843"/>
                  <a:pt x="7625" y="9875"/>
                  <a:pt x="7625" y="9875"/>
                </a:cubicBezTo>
                <a:cubicBezTo>
                  <a:pt x="7687" y="9843"/>
                  <a:pt x="7750" y="9812"/>
                  <a:pt x="7812" y="9781"/>
                </a:cubicBezTo>
                <a:cubicBezTo>
                  <a:pt x="7812" y="9781"/>
                  <a:pt x="7812" y="9750"/>
                  <a:pt x="7812" y="9750"/>
                </a:cubicBezTo>
                <a:close/>
                <a:moveTo>
                  <a:pt x="11375" y="8125"/>
                </a:move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lose/>
                <a:moveTo>
                  <a:pt x="11437" y="8093"/>
                </a:moveTo>
                <a:cubicBezTo>
                  <a:pt x="11437" y="8093"/>
                  <a:pt x="11437" y="8093"/>
                  <a:pt x="11437" y="8093"/>
                </a:cubicBezTo>
                <a:cubicBezTo>
                  <a:pt x="11437" y="8093"/>
                  <a:pt x="11437" y="8062"/>
                  <a:pt x="11437" y="8093"/>
                </a:cubicBezTo>
                <a:close/>
                <a:moveTo>
                  <a:pt x="6562" y="12593"/>
                </a:moveTo>
                <a:cubicBezTo>
                  <a:pt x="6531" y="12562"/>
                  <a:pt x="6500" y="12593"/>
                  <a:pt x="6469" y="12593"/>
                </a:cubicBezTo>
                <a:cubicBezTo>
                  <a:pt x="6375" y="12625"/>
                  <a:pt x="6281" y="12656"/>
                  <a:pt x="6156" y="12687"/>
                </a:cubicBezTo>
                <a:cubicBezTo>
                  <a:pt x="6156" y="12687"/>
                  <a:pt x="6156" y="12687"/>
                  <a:pt x="6125" y="12687"/>
                </a:cubicBezTo>
                <a:cubicBezTo>
                  <a:pt x="6281" y="12718"/>
                  <a:pt x="6406" y="12625"/>
                  <a:pt x="6500" y="12625"/>
                </a:cubicBezTo>
                <a:cubicBezTo>
                  <a:pt x="6531" y="12593"/>
                  <a:pt x="6531" y="12593"/>
                  <a:pt x="6562" y="12593"/>
                </a:cubicBezTo>
                <a:cubicBezTo>
                  <a:pt x="6562" y="12593"/>
                  <a:pt x="6562" y="12593"/>
                  <a:pt x="6562" y="12593"/>
                </a:cubicBezTo>
                <a:cubicBezTo>
                  <a:pt x="6562" y="12593"/>
                  <a:pt x="6562" y="12593"/>
                  <a:pt x="6562" y="12593"/>
                </a:cubicBezTo>
                <a:cubicBezTo>
                  <a:pt x="6594" y="12593"/>
                  <a:pt x="6594" y="12593"/>
                  <a:pt x="6625" y="12593"/>
                </a:cubicBezTo>
                <a:cubicBezTo>
                  <a:pt x="6625" y="12562"/>
                  <a:pt x="6656" y="12531"/>
                  <a:pt x="6656" y="12562"/>
                </a:cubicBezTo>
                <a:cubicBezTo>
                  <a:pt x="6625" y="12531"/>
                  <a:pt x="6594" y="12500"/>
                  <a:pt x="6562" y="12593"/>
                </a:cubicBezTo>
                <a:close/>
                <a:moveTo>
                  <a:pt x="11375" y="8125"/>
                </a:move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lose/>
                <a:moveTo>
                  <a:pt x="15625" y="2000"/>
                </a:moveTo>
                <a:cubicBezTo>
                  <a:pt x="15594" y="2000"/>
                  <a:pt x="15562" y="2000"/>
                  <a:pt x="15531" y="2031"/>
                </a:cubicBezTo>
                <a:cubicBezTo>
                  <a:pt x="15500" y="2062"/>
                  <a:pt x="15469" y="2062"/>
                  <a:pt x="15469" y="2093"/>
                </a:cubicBezTo>
                <a:cubicBezTo>
                  <a:pt x="15531" y="2062"/>
                  <a:pt x="15625" y="2031"/>
                  <a:pt x="15719" y="1968"/>
                </a:cubicBezTo>
                <a:cubicBezTo>
                  <a:pt x="15750" y="1968"/>
                  <a:pt x="15781" y="2000"/>
                  <a:pt x="15812" y="1937"/>
                </a:cubicBezTo>
                <a:cubicBezTo>
                  <a:pt x="15844" y="1937"/>
                  <a:pt x="15875" y="1937"/>
                  <a:pt x="15937" y="1906"/>
                </a:cubicBezTo>
                <a:cubicBezTo>
                  <a:pt x="15937" y="1875"/>
                  <a:pt x="16000" y="1906"/>
                  <a:pt x="16000" y="1875"/>
                </a:cubicBezTo>
                <a:cubicBezTo>
                  <a:pt x="15969" y="1843"/>
                  <a:pt x="15937" y="1843"/>
                  <a:pt x="15937" y="1906"/>
                </a:cubicBezTo>
                <a:cubicBezTo>
                  <a:pt x="15875" y="1906"/>
                  <a:pt x="15844" y="1906"/>
                  <a:pt x="15812" y="1937"/>
                </a:cubicBezTo>
                <a:cubicBezTo>
                  <a:pt x="15781" y="1937"/>
                  <a:pt x="15750" y="1937"/>
                  <a:pt x="15750" y="1937"/>
                </a:cubicBezTo>
                <a:cubicBezTo>
                  <a:pt x="15750" y="1937"/>
                  <a:pt x="15719" y="1937"/>
                  <a:pt x="15719" y="1937"/>
                </a:cubicBezTo>
                <a:cubicBezTo>
                  <a:pt x="15719" y="1968"/>
                  <a:pt x="15719" y="1968"/>
                  <a:pt x="15719" y="1968"/>
                </a:cubicBezTo>
                <a:cubicBezTo>
                  <a:pt x="15687" y="1968"/>
                  <a:pt x="15656" y="1968"/>
                  <a:pt x="15625" y="2000"/>
                </a:cubicBezTo>
                <a:close/>
                <a:moveTo>
                  <a:pt x="15312" y="3218"/>
                </a:moveTo>
                <a:cubicBezTo>
                  <a:pt x="15312" y="3250"/>
                  <a:pt x="15312" y="3250"/>
                  <a:pt x="15312" y="3250"/>
                </a:cubicBezTo>
                <a:cubicBezTo>
                  <a:pt x="15312" y="3250"/>
                  <a:pt x="15312" y="3218"/>
                  <a:pt x="15344" y="3218"/>
                </a:cubicBezTo>
                <a:cubicBezTo>
                  <a:pt x="15469" y="3187"/>
                  <a:pt x="15594" y="3125"/>
                  <a:pt x="15719" y="3062"/>
                </a:cubicBezTo>
                <a:cubicBezTo>
                  <a:pt x="15594" y="3062"/>
                  <a:pt x="15437" y="3125"/>
                  <a:pt x="15344" y="3218"/>
                </a:cubicBezTo>
                <a:cubicBezTo>
                  <a:pt x="15312" y="3218"/>
                  <a:pt x="15312" y="3218"/>
                  <a:pt x="15312" y="3218"/>
                </a:cubicBezTo>
                <a:close/>
                <a:moveTo>
                  <a:pt x="15344" y="2625"/>
                </a:moveTo>
                <a:cubicBezTo>
                  <a:pt x="15344" y="2625"/>
                  <a:pt x="15344" y="2656"/>
                  <a:pt x="15344" y="2656"/>
                </a:cubicBezTo>
                <a:cubicBezTo>
                  <a:pt x="15375" y="2656"/>
                  <a:pt x="15375" y="2625"/>
                  <a:pt x="15375" y="2625"/>
                </a:cubicBezTo>
                <a:cubicBezTo>
                  <a:pt x="15375" y="2625"/>
                  <a:pt x="15375" y="2625"/>
                  <a:pt x="15375" y="2625"/>
                </a:cubicBezTo>
                <a:cubicBezTo>
                  <a:pt x="15375" y="2625"/>
                  <a:pt x="15344" y="2625"/>
                  <a:pt x="15344" y="2625"/>
                </a:cubicBezTo>
                <a:close/>
                <a:moveTo>
                  <a:pt x="15719" y="1937"/>
                </a:moveTo>
                <a:close/>
                <a:moveTo>
                  <a:pt x="9719" y="9718"/>
                </a:moveTo>
                <a:cubicBezTo>
                  <a:pt x="9781" y="9687"/>
                  <a:pt x="9844" y="9656"/>
                  <a:pt x="9906" y="9593"/>
                </a:cubicBezTo>
                <a:cubicBezTo>
                  <a:pt x="9812" y="9593"/>
                  <a:pt x="9781" y="9687"/>
                  <a:pt x="9719" y="9718"/>
                </a:cubicBezTo>
                <a:cubicBezTo>
                  <a:pt x="9719" y="9718"/>
                  <a:pt x="9719" y="9718"/>
                  <a:pt x="9719" y="9718"/>
                </a:cubicBezTo>
                <a:close/>
                <a:moveTo>
                  <a:pt x="9500" y="9562"/>
                </a:moveTo>
                <a:cubicBezTo>
                  <a:pt x="9594" y="9531"/>
                  <a:pt x="9687" y="9468"/>
                  <a:pt x="9781" y="9406"/>
                </a:cubicBezTo>
                <a:cubicBezTo>
                  <a:pt x="9656" y="9437"/>
                  <a:pt x="9594" y="9500"/>
                  <a:pt x="9500" y="9562"/>
                </a:cubicBezTo>
                <a:close/>
                <a:moveTo>
                  <a:pt x="11219" y="9250"/>
                </a:moveTo>
                <a:cubicBezTo>
                  <a:pt x="11219" y="9250"/>
                  <a:pt x="11250" y="9250"/>
                  <a:pt x="11281" y="9250"/>
                </a:cubicBezTo>
                <a:cubicBezTo>
                  <a:pt x="11250" y="9218"/>
                  <a:pt x="11219" y="9218"/>
                  <a:pt x="11219" y="9250"/>
                </a:cubicBezTo>
                <a:close/>
                <a:moveTo>
                  <a:pt x="14875" y="4593"/>
                </a:moveTo>
                <a:cubicBezTo>
                  <a:pt x="14906" y="4593"/>
                  <a:pt x="14937" y="4562"/>
                  <a:pt x="14969" y="4531"/>
                </a:cubicBezTo>
                <a:cubicBezTo>
                  <a:pt x="14906" y="4500"/>
                  <a:pt x="14875" y="4531"/>
                  <a:pt x="14875" y="4593"/>
                </a:cubicBezTo>
                <a:close/>
                <a:moveTo>
                  <a:pt x="4406" y="8875"/>
                </a:moveTo>
                <a:cubicBezTo>
                  <a:pt x="4406" y="8875"/>
                  <a:pt x="4406" y="8875"/>
                  <a:pt x="4406" y="8875"/>
                </a:cubicBezTo>
                <a:close/>
                <a:moveTo>
                  <a:pt x="8875" y="9937"/>
                </a:moveTo>
                <a:cubicBezTo>
                  <a:pt x="8937" y="9937"/>
                  <a:pt x="8969" y="9906"/>
                  <a:pt x="9000" y="9875"/>
                </a:cubicBezTo>
                <a:cubicBezTo>
                  <a:pt x="9062" y="9875"/>
                  <a:pt x="9062" y="9875"/>
                  <a:pt x="9062" y="9812"/>
                </a:cubicBezTo>
                <a:cubicBezTo>
                  <a:pt x="9031" y="9812"/>
                  <a:pt x="9000" y="9843"/>
                  <a:pt x="9000" y="9875"/>
                </a:cubicBezTo>
                <a:cubicBezTo>
                  <a:pt x="8969" y="9875"/>
                  <a:pt x="8937" y="9906"/>
                  <a:pt x="8875" y="9937"/>
                </a:cubicBezTo>
                <a:close/>
                <a:moveTo>
                  <a:pt x="2594" y="1406"/>
                </a:moveTo>
                <a:cubicBezTo>
                  <a:pt x="2625" y="1406"/>
                  <a:pt x="2687" y="1406"/>
                  <a:pt x="2719" y="1406"/>
                </a:cubicBezTo>
                <a:cubicBezTo>
                  <a:pt x="2687" y="1406"/>
                  <a:pt x="2625" y="1406"/>
                  <a:pt x="2594" y="1406"/>
                </a:cubicBezTo>
                <a:close/>
                <a:moveTo>
                  <a:pt x="15469" y="1687"/>
                </a:moveTo>
                <a:cubicBezTo>
                  <a:pt x="15469" y="1687"/>
                  <a:pt x="15500" y="1687"/>
                  <a:pt x="15500" y="1687"/>
                </a:cubicBezTo>
                <a:cubicBezTo>
                  <a:pt x="15469" y="1687"/>
                  <a:pt x="15469" y="1687"/>
                  <a:pt x="15469" y="1687"/>
                </a:cubicBezTo>
                <a:cubicBezTo>
                  <a:pt x="15469" y="1687"/>
                  <a:pt x="15469" y="1687"/>
                  <a:pt x="15469" y="1687"/>
                </a:cubicBezTo>
                <a:close/>
                <a:moveTo>
                  <a:pt x="10000" y="9531"/>
                </a:moveTo>
                <a:cubicBezTo>
                  <a:pt x="10062" y="9531"/>
                  <a:pt x="10094" y="9531"/>
                  <a:pt x="10125" y="9468"/>
                </a:cubicBezTo>
                <a:cubicBezTo>
                  <a:pt x="10156" y="9468"/>
                  <a:pt x="10187" y="9437"/>
                  <a:pt x="10219" y="9406"/>
                </a:cubicBezTo>
                <a:cubicBezTo>
                  <a:pt x="10156" y="9406"/>
                  <a:pt x="10125" y="9437"/>
                  <a:pt x="10125" y="9468"/>
                </a:cubicBezTo>
                <a:cubicBezTo>
                  <a:pt x="10062" y="9468"/>
                  <a:pt x="10031" y="9500"/>
                  <a:pt x="10000" y="9531"/>
                </a:cubicBezTo>
                <a:close/>
                <a:moveTo>
                  <a:pt x="9187" y="8968"/>
                </a:moveTo>
                <a:cubicBezTo>
                  <a:pt x="9125" y="9000"/>
                  <a:pt x="9031" y="9031"/>
                  <a:pt x="8969" y="9125"/>
                </a:cubicBezTo>
                <a:cubicBezTo>
                  <a:pt x="9062" y="9062"/>
                  <a:pt x="9125" y="9031"/>
                  <a:pt x="9219" y="9000"/>
                </a:cubicBezTo>
                <a:cubicBezTo>
                  <a:pt x="9187" y="8968"/>
                  <a:pt x="9187" y="8968"/>
                  <a:pt x="9187" y="8968"/>
                </a:cubicBezTo>
                <a:close/>
                <a:moveTo>
                  <a:pt x="9875" y="9375"/>
                </a:moveTo>
                <a:cubicBezTo>
                  <a:pt x="10031" y="9281"/>
                  <a:pt x="10187" y="9156"/>
                  <a:pt x="10375" y="9062"/>
                </a:cubicBezTo>
                <a:cubicBezTo>
                  <a:pt x="10375" y="9062"/>
                  <a:pt x="10344" y="9031"/>
                  <a:pt x="10344" y="9031"/>
                </a:cubicBezTo>
                <a:cubicBezTo>
                  <a:pt x="10187" y="9125"/>
                  <a:pt x="10000" y="9250"/>
                  <a:pt x="9844" y="9343"/>
                </a:cubicBezTo>
                <a:cubicBezTo>
                  <a:pt x="9844" y="9343"/>
                  <a:pt x="9844" y="9375"/>
                  <a:pt x="9875" y="9375"/>
                </a:cubicBezTo>
                <a:close/>
                <a:moveTo>
                  <a:pt x="16187" y="1437"/>
                </a:moveTo>
                <a:cubicBezTo>
                  <a:pt x="16062" y="1406"/>
                  <a:pt x="16000" y="1468"/>
                  <a:pt x="15937" y="1500"/>
                </a:cubicBezTo>
                <a:cubicBezTo>
                  <a:pt x="16000" y="1500"/>
                  <a:pt x="16062" y="1468"/>
                  <a:pt x="16187" y="1437"/>
                </a:cubicBezTo>
                <a:close/>
                <a:moveTo>
                  <a:pt x="16281" y="2812"/>
                </a:moveTo>
                <a:cubicBezTo>
                  <a:pt x="16219" y="2843"/>
                  <a:pt x="16156" y="2843"/>
                  <a:pt x="16094" y="2875"/>
                </a:cubicBezTo>
                <a:lnTo>
                  <a:pt x="16094" y="2875"/>
                </a:lnTo>
                <a:cubicBezTo>
                  <a:pt x="16062" y="2906"/>
                  <a:pt x="16031" y="2906"/>
                  <a:pt x="16000" y="2937"/>
                </a:cubicBezTo>
                <a:cubicBezTo>
                  <a:pt x="15937" y="2906"/>
                  <a:pt x="15875" y="2968"/>
                  <a:pt x="15812" y="3000"/>
                </a:cubicBezTo>
                <a:lnTo>
                  <a:pt x="15812" y="3000"/>
                </a:lnTo>
                <a:cubicBezTo>
                  <a:pt x="15875" y="3000"/>
                  <a:pt x="15969" y="3000"/>
                  <a:pt x="16000" y="2937"/>
                </a:cubicBezTo>
                <a:cubicBezTo>
                  <a:pt x="16156" y="2906"/>
                  <a:pt x="16281" y="2875"/>
                  <a:pt x="16406" y="2781"/>
                </a:cubicBezTo>
                <a:cubicBezTo>
                  <a:pt x="16437" y="2781"/>
                  <a:pt x="16469" y="2812"/>
                  <a:pt x="16500" y="2781"/>
                </a:cubicBezTo>
                <a:cubicBezTo>
                  <a:pt x="16469" y="2750"/>
                  <a:pt x="16437" y="2750"/>
                  <a:pt x="16437" y="2781"/>
                </a:cubicBezTo>
                <a:lnTo>
                  <a:pt x="16437" y="2781"/>
                </a:lnTo>
                <a:cubicBezTo>
                  <a:pt x="16437" y="2781"/>
                  <a:pt x="16437" y="2781"/>
                  <a:pt x="16437" y="2781"/>
                </a:cubicBezTo>
                <a:cubicBezTo>
                  <a:pt x="16406" y="2781"/>
                  <a:pt x="16406" y="2781"/>
                  <a:pt x="16406" y="2781"/>
                </a:cubicBezTo>
                <a:cubicBezTo>
                  <a:pt x="16344" y="2812"/>
                  <a:pt x="16312" y="2812"/>
                  <a:pt x="16281" y="2812"/>
                </a:cubicBezTo>
                <a:close/>
                <a:moveTo>
                  <a:pt x="16281" y="2812"/>
                </a:moveTo>
                <a:cubicBezTo>
                  <a:pt x="16219" y="2843"/>
                  <a:pt x="16156" y="2875"/>
                  <a:pt x="16094" y="2875"/>
                </a:cubicBezTo>
                <a:moveTo>
                  <a:pt x="11562" y="7500"/>
                </a:moveTo>
                <a:cubicBezTo>
                  <a:pt x="11500" y="7531"/>
                  <a:pt x="11406" y="7562"/>
                  <a:pt x="11344" y="7625"/>
                </a:cubicBezTo>
                <a:cubicBezTo>
                  <a:pt x="11250" y="7656"/>
                  <a:pt x="11156" y="7718"/>
                  <a:pt x="11094" y="7812"/>
                </a:cubicBezTo>
                <a:cubicBezTo>
                  <a:pt x="11187" y="7781"/>
                  <a:pt x="11281" y="7718"/>
                  <a:pt x="11375" y="7656"/>
                </a:cubicBezTo>
                <a:cubicBezTo>
                  <a:pt x="11437" y="7625"/>
                  <a:pt x="11500" y="7562"/>
                  <a:pt x="11562" y="7500"/>
                </a:cubicBezTo>
                <a:close/>
                <a:moveTo>
                  <a:pt x="32031" y="11562"/>
                </a:moveTo>
                <a:cubicBezTo>
                  <a:pt x="32031" y="11562"/>
                  <a:pt x="32031" y="11562"/>
                  <a:pt x="32000" y="11562"/>
                </a:cubicBezTo>
                <a:cubicBezTo>
                  <a:pt x="31687" y="11656"/>
                  <a:pt x="31344" y="11781"/>
                  <a:pt x="31031" y="11906"/>
                </a:cubicBezTo>
                <a:cubicBezTo>
                  <a:pt x="31031" y="11906"/>
                  <a:pt x="31062" y="11906"/>
                  <a:pt x="31094" y="11906"/>
                </a:cubicBezTo>
                <a:cubicBezTo>
                  <a:pt x="31344" y="11812"/>
                  <a:pt x="31625" y="11750"/>
                  <a:pt x="31875" y="11656"/>
                </a:cubicBezTo>
                <a:cubicBezTo>
                  <a:pt x="31937" y="11625"/>
                  <a:pt x="32062" y="11625"/>
                  <a:pt x="32094" y="11562"/>
                </a:cubicBezTo>
                <a:cubicBezTo>
                  <a:pt x="32094" y="11562"/>
                  <a:pt x="32062" y="11562"/>
                  <a:pt x="32031" y="11562"/>
                </a:cubicBezTo>
                <a:cubicBezTo>
                  <a:pt x="32031" y="11562"/>
                  <a:pt x="32031" y="11562"/>
                  <a:pt x="32000" y="11593"/>
                </a:cubicBezTo>
                <a:cubicBezTo>
                  <a:pt x="32031" y="11562"/>
                  <a:pt x="32031" y="11562"/>
                  <a:pt x="32031" y="11562"/>
                </a:cubicBezTo>
                <a:close/>
                <a:moveTo>
                  <a:pt x="23719" y="9000"/>
                </a:moveTo>
                <a:cubicBezTo>
                  <a:pt x="23594" y="9000"/>
                  <a:pt x="23531" y="9093"/>
                  <a:pt x="23437" y="9093"/>
                </a:cubicBezTo>
                <a:cubicBezTo>
                  <a:pt x="23531" y="9093"/>
                  <a:pt x="23625" y="9093"/>
                  <a:pt x="23719" y="9000"/>
                </a:cubicBezTo>
                <a:close/>
                <a:moveTo>
                  <a:pt x="32094" y="11531"/>
                </a:moveTo>
                <a:cubicBezTo>
                  <a:pt x="32187" y="11531"/>
                  <a:pt x="32250" y="11531"/>
                  <a:pt x="32312" y="11468"/>
                </a:cubicBezTo>
                <a:cubicBezTo>
                  <a:pt x="32406" y="11468"/>
                  <a:pt x="32469" y="11468"/>
                  <a:pt x="32531" y="11406"/>
                </a:cubicBezTo>
                <a:cubicBezTo>
                  <a:pt x="32625" y="11406"/>
                  <a:pt x="32687" y="11375"/>
                  <a:pt x="32781" y="11343"/>
                </a:cubicBezTo>
                <a:cubicBezTo>
                  <a:pt x="32781" y="11343"/>
                  <a:pt x="32781" y="11312"/>
                  <a:pt x="32781" y="11312"/>
                </a:cubicBezTo>
                <a:cubicBezTo>
                  <a:pt x="32781" y="11312"/>
                  <a:pt x="32781" y="11312"/>
                  <a:pt x="32781" y="11312"/>
                </a:cubicBezTo>
                <a:cubicBezTo>
                  <a:pt x="32719" y="11312"/>
                  <a:pt x="32656" y="11343"/>
                  <a:pt x="32594" y="11375"/>
                </a:cubicBezTo>
                <a:cubicBezTo>
                  <a:pt x="32594" y="11375"/>
                  <a:pt x="32625" y="11375"/>
                  <a:pt x="32625" y="11375"/>
                </a:cubicBezTo>
                <a:lnTo>
                  <a:pt x="32625" y="11375"/>
                </a:lnTo>
                <a:cubicBezTo>
                  <a:pt x="32625" y="11375"/>
                  <a:pt x="32594" y="11375"/>
                  <a:pt x="32594" y="11375"/>
                </a:cubicBezTo>
                <a:cubicBezTo>
                  <a:pt x="32562" y="11375"/>
                  <a:pt x="32562" y="11406"/>
                  <a:pt x="32531" y="11406"/>
                </a:cubicBezTo>
                <a:cubicBezTo>
                  <a:pt x="32500" y="11406"/>
                  <a:pt x="32469" y="11406"/>
                  <a:pt x="32469" y="11406"/>
                </a:cubicBezTo>
                <a:cubicBezTo>
                  <a:pt x="32437" y="11437"/>
                  <a:pt x="32406" y="11437"/>
                  <a:pt x="32375" y="11437"/>
                </a:cubicBezTo>
                <a:cubicBezTo>
                  <a:pt x="32406" y="11437"/>
                  <a:pt x="32437" y="11437"/>
                  <a:pt x="32469" y="11406"/>
                </a:cubicBezTo>
                <a:cubicBezTo>
                  <a:pt x="32437" y="11437"/>
                  <a:pt x="32375" y="11437"/>
                  <a:pt x="32344" y="11468"/>
                </a:cubicBezTo>
                <a:lnTo>
                  <a:pt x="32344" y="11468"/>
                </a:lnTo>
                <a:cubicBezTo>
                  <a:pt x="32344" y="11468"/>
                  <a:pt x="32344" y="11468"/>
                  <a:pt x="32312" y="11468"/>
                </a:cubicBezTo>
                <a:cubicBezTo>
                  <a:pt x="32281" y="11468"/>
                  <a:pt x="32281" y="11468"/>
                  <a:pt x="32250" y="11500"/>
                </a:cubicBezTo>
                <a:cubicBezTo>
                  <a:pt x="32219" y="11500"/>
                  <a:pt x="32219" y="11500"/>
                  <a:pt x="32219" y="11500"/>
                </a:cubicBezTo>
                <a:cubicBezTo>
                  <a:pt x="32219" y="11500"/>
                  <a:pt x="32219" y="11500"/>
                  <a:pt x="32250" y="11500"/>
                </a:cubicBezTo>
                <a:cubicBezTo>
                  <a:pt x="32187" y="11500"/>
                  <a:pt x="32156" y="11531"/>
                  <a:pt x="32094" y="11531"/>
                </a:cubicBezTo>
                <a:close/>
                <a:moveTo>
                  <a:pt x="30500" y="12093"/>
                </a:moveTo>
                <a:cubicBezTo>
                  <a:pt x="30406" y="12093"/>
                  <a:pt x="30312" y="12125"/>
                  <a:pt x="30250" y="12156"/>
                </a:cubicBezTo>
                <a:cubicBezTo>
                  <a:pt x="30344" y="12187"/>
                  <a:pt x="30406" y="12125"/>
                  <a:pt x="30500" y="12093"/>
                </a:cubicBezTo>
                <a:close/>
                <a:moveTo>
                  <a:pt x="26656" y="13375"/>
                </a:moveTo>
                <a:cubicBezTo>
                  <a:pt x="26875" y="13312"/>
                  <a:pt x="27094" y="13250"/>
                  <a:pt x="27312" y="13156"/>
                </a:cubicBezTo>
                <a:cubicBezTo>
                  <a:pt x="27687" y="13062"/>
                  <a:pt x="28031" y="12937"/>
                  <a:pt x="28375" y="12812"/>
                </a:cubicBezTo>
                <a:cubicBezTo>
                  <a:pt x="28562" y="12750"/>
                  <a:pt x="28719" y="12687"/>
                  <a:pt x="28875" y="12625"/>
                </a:cubicBezTo>
                <a:cubicBezTo>
                  <a:pt x="29094" y="12593"/>
                  <a:pt x="29281" y="12500"/>
                  <a:pt x="29469" y="12437"/>
                </a:cubicBezTo>
                <a:cubicBezTo>
                  <a:pt x="29719" y="12375"/>
                  <a:pt x="29937" y="12281"/>
                  <a:pt x="30156" y="12218"/>
                </a:cubicBezTo>
                <a:cubicBezTo>
                  <a:pt x="30156" y="12218"/>
                  <a:pt x="30156" y="12187"/>
                  <a:pt x="30156" y="12187"/>
                </a:cubicBezTo>
                <a:cubicBezTo>
                  <a:pt x="28937" y="12593"/>
                  <a:pt x="27750" y="12968"/>
                  <a:pt x="26531" y="13375"/>
                </a:cubicBezTo>
                <a:cubicBezTo>
                  <a:pt x="26594" y="13375"/>
                  <a:pt x="26625" y="13406"/>
                  <a:pt x="26656" y="13375"/>
                </a:cubicBezTo>
                <a:close/>
                <a:moveTo>
                  <a:pt x="30500" y="12312"/>
                </a:moveTo>
                <a:cubicBezTo>
                  <a:pt x="30594" y="12281"/>
                  <a:pt x="30687" y="12250"/>
                  <a:pt x="30781" y="12218"/>
                </a:cubicBezTo>
                <a:cubicBezTo>
                  <a:pt x="30781" y="12218"/>
                  <a:pt x="30781" y="12187"/>
                  <a:pt x="30750" y="12187"/>
                </a:cubicBezTo>
                <a:cubicBezTo>
                  <a:pt x="30687" y="12250"/>
                  <a:pt x="30562" y="12218"/>
                  <a:pt x="30500" y="12312"/>
                </a:cubicBezTo>
                <a:close/>
                <a:moveTo>
                  <a:pt x="32750" y="10250"/>
                </a:moveTo>
                <a:cubicBezTo>
                  <a:pt x="32594" y="10281"/>
                  <a:pt x="32437" y="10343"/>
                  <a:pt x="32281" y="10406"/>
                </a:cubicBezTo>
                <a:cubicBezTo>
                  <a:pt x="32312" y="10406"/>
                  <a:pt x="32312" y="10437"/>
                  <a:pt x="32312" y="10437"/>
                </a:cubicBezTo>
                <a:cubicBezTo>
                  <a:pt x="32469" y="10375"/>
                  <a:pt x="32625" y="10343"/>
                  <a:pt x="32781" y="10281"/>
                </a:cubicBezTo>
                <a:cubicBezTo>
                  <a:pt x="32781" y="10281"/>
                  <a:pt x="32750" y="10250"/>
                  <a:pt x="32750" y="10250"/>
                </a:cubicBezTo>
                <a:close/>
                <a:moveTo>
                  <a:pt x="32031" y="10500"/>
                </a:moveTo>
                <a:cubicBezTo>
                  <a:pt x="31437" y="10687"/>
                  <a:pt x="30812" y="10906"/>
                  <a:pt x="30219" y="11125"/>
                </a:cubicBezTo>
                <a:cubicBezTo>
                  <a:pt x="30219" y="11125"/>
                  <a:pt x="30219" y="11156"/>
                  <a:pt x="30219" y="11156"/>
                </a:cubicBezTo>
                <a:cubicBezTo>
                  <a:pt x="30812" y="10937"/>
                  <a:pt x="31437" y="10781"/>
                  <a:pt x="32031" y="10531"/>
                </a:cubicBezTo>
                <a:cubicBezTo>
                  <a:pt x="32031" y="10531"/>
                  <a:pt x="32031" y="10500"/>
                  <a:pt x="32031" y="10500"/>
                </a:cubicBezTo>
                <a:close/>
                <a:moveTo>
                  <a:pt x="32156" y="8218"/>
                </a:moveTo>
                <a:cubicBezTo>
                  <a:pt x="32125" y="8218"/>
                  <a:pt x="32062" y="8218"/>
                  <a:pt x="32094" y="8281"/>
                </a:cubicBezTo>
                <a:cubicBezTo>
                  <a:pt x="32125" y="8312"/>
                  <a:pt x="32125" y="8281"/>
                  <a:pt x="32156" y="8281"/>
                </a:cubicBezTo>
                <a:cubicBezTo>
                  <a:pt x="32375" y="8187"/>
                  <a:pt x="32562" y="8125"/>
                  <a:pt x="32781" y="8062"/>
                </a:cubicBezTo>
                <a:cubicBezTo>
                  <a:pt x="32781" y="8031"/>
                  <a:pt x="32781" y="8031"/>
                  <a:pt x="32781" y="8031"/>
                </a:cubicBezTo>
                <a:cubicBezTo>
                  <a:pt x="32781" y="8000"/>
                  <a:pt x="32781" y="8000"/>
                  <a:pt x="32781" y="8000"/>
                </a:cubicBezTo>
                <a:cubicBezTo>
                  <a:pt x="32781" y="8000"/>
                  <a:pt x="32781" y="8000"/>
                  <a:pt x="32750" y="8000"/>
                </a:cubicBezTo>
                <a:cubicBezTo>
                  <a:pt x="32562" y="8062"/>
                  <a:pt x="32344" y="8156"/>
                  <a:pt x="32156" y="8218"/>
                </a:cubicBezTo>
                <a:close/>
                <a:moveTo>
                  <a:pt x="31375" y="12875"/>
                </a:moveTo>
                <a:cubicBezTo>
                  <a:pt x="31312" y="12906"/>
                  <a:pt x="31281" y="12906"/>
                  <a:pt x="31219" y="12937"/>
                </a:cubicBezTo>
                <a:cubicBezTo>
                  <a:pt x="31281" y="12937"/>
                  <a:pt x="31344" y="12937"/>
                  <a:pt x="31375" y="12875"/>
                </a:cubicBezTo>
                <a:close/>
                <a:moveTo>
                  <a:pt x="25625" y="8187"/>
                </a:moveTo>
                <a:cubicBezTo>
                  <a:pt x="25656" y="8156"/>
                  <a:pt x="25687" y="8187"/>
                  <a:pt x="25687" y="8156"/>
                </a:cubicBezTo>
                <a:cubicBezTo>
                  <a:pt x="25656" y="8156"/>
                  <a:pt x="25625" y="8125"/>
                  <a:pt x="25625" y="8187"/>
                </a:cubicBezTo>
                <a:cubicBezTo>
                  <a:pt x="25594" y="8187"/>
                  <a:pt x="25562" y="8187"/>
                  <a:pt x="25531" y="8187"/>
                </a:cubicBezTo>
                <a:lnTo>
                  <a:pt x="25531" y="8187"/>
                </a:lnTo>
                <a:cubicBezTo>
                  <a:pt x="25500" y="8218"/>
                  <a:pt x="25500" y="8218"/>
                  <a:pt x="25469" y="8218"/>
                </a:cubicBezTo>
                <a:cubicBezTo>
                  <a:pt x="25469" y="8218"/>
                  <a:pt x="25437" y="8218"/>
                  <a:pt x="25437" y="8250"/>
                </a:cubicBezTo>
                <a:cubicBezTo>
                  <a:pt x="25375" y="8250"/>
                  <a:pt x="25344" y="8281"/>
                  <a:pt x="25281" y="8281"/>
                </a:cubicBezTo>
                <a:lnTo>
                  <a:pt x="25281" y="8281"/>
                </a:lnTo>
                <a:cubicBezTo>
                  <a:pt x="25281" y="8281"/>
                  <a:pt x="25281" y="8281"/>
                  <a:pt x="25281" y="8281"/>
                </a:cubicBezTo>
                <a:cubicBezTo>
                  <a:pt x="25312" y="8281"/>
                  <a:pt x="25344" y="8250"/>
                  <a:pt x="25375" y="8250"/>
                </a:cubicBezTo>
                <a:cubicBezTo>
                  <a:pt x="25250" y="8281"/>
                  <a:pt x="25125" y="8312"/>
                  <a:pt x="25031" y="8375"/>
                </a:cubicBezTo>
                <a:cubicBezTo>
                  <a:pt x="25062" y="8375"/>
                  <a:pt x="25125" y="8343"/>
                  <a:pt x="25156" y="8343"/>
                </a:cubicBezTo>
                <a:cubicBezTo>
                  <a:pt x="25156" y="8343"/>
                  <a:pt x="25156" y="8343"/>
                  <a:pt x="25156" y="8343"/>
                </a:cubicBezTo>
                <a:cubicBezTo>
                  <a:pt x="25125" y="8343"/>
                  <a:pt x="25094" y="8375"/>
                  <a:pt x="25062" y="8375"/>
                </a:cubicBezTo>
                <a:cubicBezTo>
                  <a:pt x="25062" y="8406"/>
                  <a:pt x="25031" y="8406"/>
                  <a:pt x="25000" y="8406"/>
                </a:cubicBezTo>
                <a:cubicBezTo>
                  <a:pt x="25000" y="8406"/>
                  <a:pt x="25000" y="8406"/>
                  <a:pt x="25000" y="8406"/>
                </a:cubicBezTo>
                <a:cubicBezTo>
                  <a:pt x="25000" y="8406"/>
                  <a:pt x="25000" y="8406"/>
                  <a:pt x="25000" y="8406"/>
                </a:cubicBezTo>
                <a:cubicBezTo>
                  <a:pt x="25000" y="8406"/>
                  <a:pt x="24969" y="8406"/>
                  <a:pt x="24969" y="8437"/>
                </a:cubicBezTo>
                <a:cubicBezTo>
                  <a:pt x="24937" y="8437"/>
                  <a:pt x="24875" y="8437"/>
                  <a:pt x="24844" y="8468"/>
                </a:cubicBezTo>
                <a:lnTo>
                  <a:pt x="24844" y="8468"/>
                </a:lnTo>
                <a:cubicBezTo>
                  <a:pt x="24906" y="8468"/>
                  <a:pt x="24937" y="8468"/>
                  <a:pt x="24969" y="8437"/>
                </a:cubicBezTo>
                <a:cubicBezTo>
                  <a:pt x="25000" y="8437"/>
                  <a:pt x="25062" y="8437"/>
                  <a:pt x="25062" y="8375"/>
                </a:cubicBezTo>
                <a:cubicBezTo>
                  <a:pt x="25187" y="8343"/>
                  <a:pt x="25312" y="8312"/>
                  <a:pt x="25437" y="8250"/>
                </a:cubicBezTo>
                <a:cubicBezTo>
                  <a:pt x="25500" y="8250"/>
                  <a:pt x="25562" y="8218"/>
                  <a:pt x="25625" y="8187"/>
                </a:cubicBezTo>
                <a:close/>
                <a:moveTo>
                  <a:pt x="2844" y="1375"/>
                </a:moveTo>
                <a:cubicBezTo>
                  <a:pt x="2844" y="1375"/>
                  <a:pt x="2844" y="1375"/>
                  <a:pt x="2844" y="1375"/>
                </a:cubicBezTo>
                <a:cubicBezTo>
                  <a:pt x="2844" y="1375"/>
                  <a:pt x="2875" y="1375"/>
                  <a:pt x="2875" y="1343"/>
                </a:cubicBezTo>
                <a:cubicBezTo>
                  <a:pt x="2875" y="1375"/>
                  <a:pt x="2844" y="1375"/>
                  <a:pt x="2844" y="1375"/>
                </a:cubicBezTo>
                <a:close/>
                <a:moveTo>
                  <a:pt x="32031" y="12687"/>
                </a:moveTo>
                <a:cubicBezTo>
                  <a:pt x="32094" y="12687"/>
                  <a:pt x="32156" y="12687"/>
                  <a:pt x="32219" y="12625"/>
                </a:cubicBezTo>
                <a:cubicBezTo>
                  <a:pt x="32156" y="12625"/>
                  <a:pt x="32125" y="12687"/>
                  <a:pt x="32062" y="12687"/>
                </a:cubicBezTo>
                <a:cubicBezTo>
                  <a:pt x="32031" y="12687"/>
                  <a:pt x="32031" y="12687"/>
                  <a:pt x="32031" y="12687"/>
                </a:cubicBezTo>
                <a:close/>
                <a:moveTo>
                  <a:pt x="24937" y="8531"/>
                </a:moveTo>
                <a:cubicBezTo>
                  <a:pt x="25031" y="8531"/>
                  <a:pt x="25125" y="8500"/>
                  <a:pt x="25219" y="8437"/>
                </a:cubicBezTo>
                <a:cubicBezTo>
                  <a:pt x="25125" y="8437"/>
                  <a:pt x="25031" y="8500"/>
                  <a:pt x="24937" y="8531"/>
                </a:cubicBezTo>
                <a:close/>
                <a:moveTo>
                  <a:pt x="23906" y="8843"/>
                </a:moveTo>
                <a:cubicBezTo>
                  <a:pt x="24000" y="8812"/>
                  <a:pt x="24125" y="8781"/>
                  <a:pt x="24219" y="8718"/>
                </a:cubicBezTo>
                <a:cubicBezTo>
                  <a:pt x="24250" y="8718"/>
                  <a:pt x="24312" y="8687"/>
                  <a:pt x="24344" y="8718"/>
                </a:cubicBezTo>
                <a:cubicBezTo>
                  <a:pt x="24406" y="8843"/>
                  <a:pt x="24469" y="8718"/>
                  <a:pt x="24531" y="8718"/>
                </a:cubicBezTo>
                <a:lnTo>
                  <a:pt x="24531" y="8718"/>
                </a:lnTo>
                <a:cubicBezTo>
                  <a:pt x="24625" y="8687"/>
                  <a:pt x="24750" y="8625"/>
                  <a:pt x="24875" y="8593"/>
                </a:cubicBezTo>
                <a:cubicBezTo>
                  <a:pt x="24750" y="8562"/>
                  <a:pt x="24656" y="8656"/>
                  <a:pt x="24531" y="8687"/>
                </a:cubicBezTo>
                <a:cubicBezTo>
                  <a:pt x="24469" y="8656"/>
                  <a:pt x="24437" y="8750"/>
                  <a:pt x="24344" y="8718"/>
                </a:cubicBezTo>
                <a:cubicBezTo>
                  <a:pt x="24312" y="8687"/>
                  <a:pt x="24375" y="8687"/>
                  <a:pt x="24375" y="8656"/>
                </a:cubicBezTo>
                <a:lnTo>
                  <a:pt x="24375" y="8656"/>
                </a:lnTo>
                <a:cubicBezTo>
                  <a:pt x="24406" y="8656"/>
                  <a:pt x="24469" y="8656"/>
                  <a:pt x="24500" y="8593"/>
                </a:cubicBezTo>
                <a:cubicBezTo>
                  <a:pt x="24594" y="8593"/>
                  <a:pt x="24687" y="8562"/>
                  <a:pt x="24781" y="8500"/>
                </a:cubicBezTo>
                <a:cubicBezTo>
                  <a:pt x="24656" y="8500"/>
                  <a:pt x="24562" y="8562"/>
                  <a:pt x="24500" y="8593"/>
                </a:cubicBezTo>
                <a:cubicBezTo>
                  <a:pt x="24469" y="8625"/>
                  <a:pt x="24437" y="8625"/>
                  <a:pt x="24406" y="8625"/>
                </a:cubicBezTo>
                <a:cubicBezTo>
                  <a:pt x="24406" y="8625"/>
                  <a:pt x="24375" y="8656"/>
                  <a:pt x="24375" y="8656"/>
                </a:cubicBezTo>
                <a:cubicBezTo>
                  <a:pt x="24375" y="8656"/>
                  <a:pt x="24406" y="8625"/>
                  <a:pt x="24406" y="8625"/>
                </a:cubicBezTo>
                <a:cubicBezTo>
                  <a:pt x="24344" y="8656"/>
                  <a:pt x="24250" y="8656"/>
                  <a:pt x="24219" y="8718"/>
                </a:cubicBezTo>
                <a:cubicBezTo>
                  <a:pt x="24094" y="8718"/>
                  <a:pt x="24000" y="8781"/>
                  <a:pt x="23906" y="8843"/>
                </a:cubicBezTo>
                <a:close/>
                <a:moveTo>
                  <a:pt x="27344" y="14187"/>
                </a:moveTo>
                <a:cubicBezTo>
                  <a:pt x="27469" y="14125"/>
                  <a:pt x="27625" y="14125"/>
                  <a:pt x="27719" y="14031"/>
                </a:cubicBezTo>
                <a:cubicBezTo>
                  <a:pt x="27625" y="14062"/>
                  <a:pt x="27500" y="14125"/>
                  <a:pt x="27375" y="14125"/>
                </a:cubicBezTo>
                <a:cubicBezTo>
                  <a:pt x="27375" y="14125"/>
                  <a:pt x="27344" y="14156"/>
                  <a:pt x="27344" y="14187"/>
                </a:cubicBezTo>
                <a:close/>
                <a:moveTo>
                  <a:pt x="31156" y="12968"/>
                </a:moveTo>
                <a:cubicBezTo>
                  <a:pt x="31062" y="13000"/>
                  <a:pt x="30969" y="13031"/>
                  <a:pt x="30875" y="13062"/>
                </a:cubicBezTo>
                <a:cubicBezTo>
                  <a:pt x="30969" y="13062"/>
                  <a:pt x="31062" y="13000"/>
                  <a:pt x="31156" y="12968"/>
                </a:cubicBezTo>
                <a:close/>
                <a:moveTo>
                  <a:pt x="32000" y="12687"/>
                </a:moveTo>
                <a:cubicBezTo>
                  <a:pt x="31875" y="12718"/>
                  <a:pt x="31781" y="12750"/>
                  <a:pt x="31656" y="12812"/>
                </a:cubicBezTo>
                <a:cubicBezTo>
                  <a:pt x="31781" y="12781"/>
                  <a:pt x="31875" y="12750"/>
                  <a:pt x="32000" y="12687"/>
                </a:cubicBezTo>
                <a:close/>
                <a:moveTo>
                  <a:pt x="27875" y="14031"/>
                </a:moveTo>
                <a:cubicBezTo>
                  <a:pt x="27906" y="14031"/>
                  <a:pt x="27906" y="14031"/>
                  <a:pt x="27906" y="14031"/>
                </a:cubicBezTo>
                <a:cubicBezTo>
                  <a:pt x="28031" y="13968"/>
                  <a:pt x="28156" y="13937"/>
                  <a:pt x="28281" y="13875"/>
                </a:cubicBezTo>
                <a:cubicBezTo>
                  <a:pt x="28156" y="13906"/>
                  <a:pt x="28031" y="13937"/>
                  <a:pt x="27906" y="14000"/>
                </a:cubicBezTo>
                <a:cubicBezTo>
                  <a:pt x="27906" y="14000"/>
                  <a:pt x="27906" y="14000"/>
                  <a:pt x="27875" y="14031"/>
                </a:cubicBezTo>
                <a:close/>
                <a:moveTo>
                  <a:pt x="29062" y="13625"/>
                </a:moveTo>
                <a:cubicBezTo>
                  <a:pt x="29000" y="13656"/>
                  <a:pt x="28937" y="13687"/>
                  <a:pt x="28875" y="13687"/>
                </a:cubicBezTo>
                <a:cubicBezTo>
                  <a:pt x="28937" y="13687"/>
                  <a:pt x="29000" y="13687"/>
                  <a:pt x="29062" y="13625"/>
                </a:cubicBezTo>
                <a:close/>
                <a:moveTo>
                  <a:pt x="28281" y="13875"/>
                </a:moveTo>
                <a:cubicBezTo>
                  <a:pt x="28406" y="13843"/>
                  <a:pt x="28500" y="13843"/>
                  <a:pt x="28594" y="13781"/>
                </a:cubicBezTo>
                <a:cubicBezTo>
                  <a:pt x="28656" y="13750"/>
                  <a:pt x="28719" y="13781"/>
                  <a:pt x="28781" y="13718"/>
                </a:cubicBezTo>
                <a:cubicBezTo>
                  <a:pt x="28687" y="13718"/>
                  <a:pt x="28625" y="13750"/>
                  <a:pt x="28562" y="13781"/>
                </a:cubicBezTo>
                <a:cubicBezTo>
                  <a:pt x="28469" y="13843"/>
                  <a:pt x="28344" y="13781"/>
                  <a:pt x="28281" y="13875"/>
                </a:cubicBezTo>
                <a:close/>
                <a:moveTo>
                  <a:pt x="32219" y="8343"/>
                </a:moveTo>
                <a:cubicBezTo>
                  <a:pt x="32250" y="8406"/>
                  <a:pt x="32281" y="8375"/>
                  <a:pt x="32312" y="8375"/>
                </a:cubicBezTo>
                <a:cubicBezTo>
                  <a:pt x="32469" y="8312"/>
                  <a:pt x="32625" y="8250"/>
                  <a:pt x="32781" y="8187"/>
                </a:cubicBezTo>
                <a:cubicBezTo>
                  <a:pt x="32781" y="8187"/>
                  <a:pt x="32781" y="8156"/>
                  <a:pt x="32781" y="8156"/>
                </a:cubicBezTo>
                <a:cubicBezTo>
                  <a:pt x="32781" y="8156"/>
                  <a:pt x="32781" y="8125"/>
                  <a:pt x="32781" y="8125"/>
                </a:cubicBezTo>
                <a:cubicBezTo>
                  <a:pt x="32594" y="8156"/>
                  <a:pt x="32437" y="8250"/>
                  <a:pt x="32250" y="8281"/>
                </a:cubicBezTo>
                <a:cubicBezTo>
                  <a:pt x="32219" y="8312"/>
                  <a:pt x="32219" y="8343"/>
                  <a:pt x="32219" y="8343"/>
                </a:cubicBezTo>
                <a:close/>
                <a:moveTo>
                  <a:pt x="32375" y="7656"/>
                </a:moveTo>
                <a:cubicBezTo>
                  <a:pt x="32281" y="7656"/>
                  <a:pt x="32219" y="7687"/>
                  <a:pt x="32187" y="7750"/>
                </a:cubicBezTo>
                <a:cubicBezTo>
                  <a:pt x="32062" y="7750"/>
                  <a:pt x="31969" y="7781"/>
                  <a:pt x="31875" y="7875"/>
                </a:cubicBezTo>
                <a:lnTo>
                  <a:pt x="31875" y="7875"/>
                </a:lnTo>
                <a:cubicBezTo>
                  <a:pt x="31969" y="7843"/>
                  <a:pt x="32094" y="7812"/>
                  <a:pt x="32187" y="7750"/>
                </a:cubicBezTo>
                <a:cubicBezTo>
                  <a:pt x="32250" y="7750"/>
                  <a:pt x="32312" y="7718"/>
                  <a:pt x="32375" y="7656"/>
                </a:cubicBezTo>
                <a:close/>
                <a:moveTo>
                  <a:pt x="32781" y="7531"/>
                </a:moveTo>
                <a:cubicBezTo>
                  <a:pt x="32781" y="7531"/>
                  <a:pt x="32781" y="7531"/>
                  <a:pt x="32781" y="7500"/>
                </a:cubicBezTo>
                <a:cubicBezTo>
                  <a:pt x="32781" y="7500"/>
                  <a:pt x="32781" y="7500"/>
                  <a:pt x="32781" y="7500"/>
                </a:cubicBezTo>
                <a:cubicBezTo>
                  <a:pt x="32687" y="7531"/>
                  <a:pt x="32625" y="7562"/>
                  <a:pt x="32531" y="7593"/>
                </a:cubicBezTo>
                <a:cubicBezTo>
                  <a:pt x="32625" y="7625"/>
                  <a:pt x="32687" y="7562"/>
                  <a:pt x="32781" y="7531"/>
                </a:cubicBezTo>
                <a:close/>
                <a:moveTo>
                  <a:pt x="24687" y="10531"/>
                </a:moveTo>
                <a:cubicBezTo>
                  <a:pt x="24719" y="10531"/>
                  <a:pt x="24719" y="10531"/>
                  <a:pt x="24750" y="10531"/>
                </a:cubicBezTo>
                <a:moveTo>
                  <a:pt x="26500" y="9875"/>
                </a:moveTo>
                <a:cubicBezTo>
                  <a:pt x="26594" y="9843"/>
                  <a:pt x="26687" y="9812"/>
                  <a:pt x="26781" y="9750"/>
                </a:cubicBezTo>
                <a:cubicBezTo>
                  <a:pt x="26906" y="9750"/>
                  <a:pt x="27000" y="9687"/>
                  <a:pt x="27062" y="9656"/>
                </a:cubicBezTo>
                <a:lnTo>
                  <a:pt x="27062" y="9656"/>
                </a:lnTo>
                <a:cubicBezTo>
                  <a:pt x="26969" y="9656"/>
                  <a:pt x="26875" y="9687"/>
                  <a:pt x="26781" y="9750"/>
                </a:cubicBezTo>
                <a:cubicBezTo>
                  <a:pt x="26687" y="9781"/>
                  <a:pt x="26562" y="9812"/>
                  <a:pt x="26500" y="9875"/>
                </a:cubicBezTo>
                <a:close/>
                <a:moveTo>
                  <a:pt x="31500" y="8656"/>
                </a:moveTo>
                <a:cubicBezTo>
                  <a:pt x="31656" y="8593"/>
                  <a:pt x="31844" y="8562"/>
                  <a:pt x="32000" y="8468"/>
                </a:cubicBezTo>
                <a:cubicBezTo>
                  <a:pt x="32062" y="8468"/>
                  <a:pt x="32125" y="8437"/>
                  <a:pt x="32156" y="8406"/>
                </a:cubicBezTo>
                <a:cubicBezTo>
                  <a:pt x="32187" y="8406"/>
                  <a:pt x="32219" y="8375"/>
                  <a:pt x="32187" y="8343"/>
                </a:cubicBezTo>
                <a:cubicBezTo>
                  <a:pt x="32156" y="8312"/>
                  <a:pt x="32156" y="8343"/>
                  <a:pt x="32125" y="8343"/>
                </a:cubicBezTo>
                <a:cubicBezTo>
                  <a:pt x="32031" y="8375"/>
                  <a:pt x="31906" y="8406"/>
                  <a:pt x="31812" y="8468"/>
                </a:cubicBezTo>
                <a:cubicBezTo>
                  <a:pt x="31687" y="8500"/>
                  <a:pt x="31562" y="8500"/>
                  <a:pt x="31469" y="8593"/>
                </a:cubicBezTo>
                <a:cubicBezTo>
                  <a:pt x="31469" y="8625"/>
                  <a:pt x="31437" y="8593"/>
                  <a:pt x="31437" y="8656"/>
                </a:cubicBezTo>
                <a:cubicBezTo>
                  <a:pt x="31469" y="8656"/>
                  <a:pt x="31469" y="8656"/>
                  <a:pt x="31500" y="8656"/>
                </a:cubicBezTo>
                <a:close/>
                <a:moveTo>
                  <a:pt x="31906" y="8031"/>
                </a:moveTo>
                <a:cubicBezTo>
                  <a:pt x="31687" y="8093"/>
                  <a:pt x="31469" y="8187"/>
                  <a:pt x="31250" y="8281"/>
                </a:cubicBezTo>
                <a:cubicBezTo>
                  <a:pt x="31062" y="8312"/>
                  <a:pt x="30906" y="8406"/>
                  <a:pt x="30719" y="8468"/>
                </a:cubicBezTo>
                <a:cubicBezTo>
                  <a:pt x="30656" y="8375"/>
                  <a:pt x="30594" y="8437"/>
                  <a:pt x="30500" y="8468"/>
                </a:cubicBezTo>
                <a:cubicBezTo>
                  <a:pt x="30469" y="8468"/>
                  <a:pt x="30437" y="8468"/>
                  <a:pt x="30437" y="8531"/>
                </a:cubicBez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3" y="8531"/>
                </a:lnTo>
                <a:lnTo>
                  <a:pt x="30443" y="8531"/>
                </a:lnTo>
                <a:lnTo>
                  <a:pt x="30443" y="8531"/>
                </a:lnTo>
                <a:lnTo>
                  <a:pt x="30443" y="8531"/>
                </a:lnTo>
                <a:lnTo>
                  <a:pt x="30444" y="8531"/>
                </a:lnTo>
                <a:lnTo>
                  <a:pt x="30444" y="8531"/>
                </a:lnTo>
                <a:lnTo>
                  <a:pt x="30444" y="8531"/>
                </a:lnTo>
                <a:lnTo>
                  <a:pt x="30445" y="8531"/>
                </a:lnTo>
                <a:lnTo>
                  <a:pt x="30445" y="8531"/>
                </a:lnTo>
                <a:lnTo>
                  <a:pt x="30445" y="8531"/>
                </a:lnTo>
                <a:lnTo>
                  <a:pt x="30446" y="8531"/>
                </a:lnTo>
                <a:lnTo>
                  <a:pt x="30446" y="8531"/>
                </a:lnTo>
                <a:lnTo>
                  <a:pt x="30446" y="8531"/>
                </a:lnTo>
                <a:lnTo>
                  <a:pt x="30447" y="8531"/>
                </a:lnTo>
                <a:lnTo>
                  <a:pt x="30447" y="8531"/>
                </a:lnTo>
                <a:lnTo>
                  <a:pt x="30447" y="8531"/>
                </a:lnTo>
                <a:lnTo>
                  <a:pt x="30447" y="8531"/>
                </a:lnTo>
                <a:lnTo>
                  <a:pt x="30448" y="8531"/>
                </a:lnTo>
                <a:lnTo>
                  <a:pt x="30448" y="8531"/>
                </a:lnTo>
                <a:lnTo>
                  <a:pt x="30449" y="8531"/>
                </a:lnTo>
                <a:lnTo>
                  <a:pt x="30449" y="8531"/>
                </a:lnTo>
                <a:lnTo>
                  <a:pt x="30449" y="8531"/>
                </a:lnTo>
                <a:lnTo>
                  <a:pt x="30450" y="8531"/>
                </a:lnTo>
                <a:lnTo>
                  <a:pt x="30450" y="8531"/>
                </a:lnTo>
                <a:lnTo>
                  <a:pt x="30450" y="8531"/>
                </a:lnTo>
                <a:lnTo>
                  <a:pt x="30451" y="8531"/>
                </a:lnTo>
                <a:lnTo>
                  <a:pt x="30451" y="8531"/>
                </a:lnTo>
                <a:lnTo>
                  <a:pt x="30451" y="8531"/>
                </a:lnTo>
                <a:lnTo>
                  <a:pt x="30452" y="8531"/>
                </a:lnTo>
                <a:lnTo>
                  <a:pt x="30452" y="8531"/>
                </a:lnTo>
                <a:lnTo>
                  <a:pt x="30453" y="8531"/>
                </a:lnTo>
                <a:lnTo>
                  <a:pt x="30453" y="8531"/>
                </a:lnTo>
                <a:lnTo>
                  <a:pt x="30454" y="8531"/>
                </a:lnTo>
                <a:lnTo>
                  <a:pt x="30454" y="8531"/>
                </a:lnTo>
                <a:lnTo>
                  <a:pt x="30454" y="8531"/>
                </a:lnTo>
                <a:lnTo>
                  <a:pt x="30455" y="8531"/>
                </a:lnTo>
                <a:lnTo>
                  <a:pt x="30455" y="8531"/>
                </a:lnTo>
                <a:lnTo>
                  <a:pt x="30456" y="8531"/>
                </a:lnTo>
                <a:lnTo>
                  <a:pt x="30456" y="8531"/>
                </a:lnTo>
                <a:lnTo>
                  <a:pt x="30457" y="8531"/>
                </a:lnTo>
                <a:lnTo>
                  <a:pt x="30457" y="8531"/>
                </a:lnTo>
                <a:lnTo>
                  <a:pt x="30457" y="8531"/>
                </a:lnTo>
                <a:lnTo>
                  <a:pt x="30458" y="8531"/>
                </a:lnTo>
                <a:lnTo>
                  <a:pt x="30458" y="8531"/>
                </a:lnTo>
                <a:lnTo>
                  <a:pt x="30459" y="8531"/>
                </a:lnTo>
                <a:lnTo>
                  <a:pt x="30459" y="8531"/>
                </a:lnTo>
                <a:lnTo>
                  <a:pt x="30459" y="8531"/>
                </a:lnTo>
                <a:lnTo>
                  <a:pt x="30460" y="8531"/>
                </a:lnTo>
                <a:lnTo>
                  <a:pt x="30461" y="8531"/>
                </a:lnTo>
                <a:lnTo>
                  <a:pt x="30461" y="8531"/>
                </a:lnTo>
                <a:lnTo>
                  <a:pt x="30461" y="8531"/>
                </a:lnTo>
                <a:lnTo>
                  <a:pt x="30462" y="8531"/>
                </a:lnTo>
                <a:lnTo>
                  <a:pt x="30462" y="8531"/>
                </a:lnTo>
                <a:lnTo>
                  <a:pt x="30463" y="8531"/>
                </a:lnTo>
                <a:lnTo>
                  <a:pt x="30463" y="8531"/>
                </a:lnTo>
                <a:lnTo>
                  <a:pt x="30463" y="8531"/>
                </a:lnTo>
                <a:lnTo>
                  <a:pt x="30464" y="8531"/>
                </a:lnTo>
                <a:lnTo>
                  <a:pt x="30464" y="8531"/>
                </a:lnTo>
                <a:lnTo>
                  <a:pt x="30464" y="8531"/>
                </a:lnTo>
                <a:lnTo>
                  <a:pt x="30465" y="8531"/>
                </a:lnTo>
                <a:lnTo>
                  <a:pt x="30465" y="8531"/>
                </a:lnTo>
                <a:lnTo>
                  <a:pt x="30466" y="8531"/>
                </a:lnTo>
                <a:lnTo>
                  <a:pt x="30466" y="8531"/>
                </a:lnTo>
                <a:lnTo>
                  <a:pt x="30466" y="8531"/>
                </a:lnTo>
                <a:lnTo>
                  <a:pt x="30467" y="8531"/>
                </a:lnTo>
                <a:lnTo>
                  <a:pt x="30467" y="8531"/>
                </a:lnTo>
                <a:lnTo>
                  <a:pt x="30467" y="8531"/>
                </a:lnTo>
                <a:lnTo>
                  <a:pt x="30467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9" y="8531"/>
                </a:lnTo>
                <a:lnTo>
                  <a:pt x="30469" y="8531"/>
                </a:lnTo>
                <a:cubicBezTo>
                  <a:pt x="30469" y="8531"/>
                  <a:pt x="30437" y="8531"/>
                  <a:pt x="30437" y="8531"/>
                </a:cubicBezTo>
                <a:lnTo>
                  <a:pt x="30437" y="8531"/>
                </a:lnTo>
                <a:moveTo>
                  <a:pt x="30469" y="8531"/>
                </a:moveTo>
                <a:cubicBezTo>
                  <a:pt x="30469" y="8562"/>
                  <a:pt x="30500" y="8562"/>
                  <a:pt x="30500" y="8562"/>
                </a:cubicBezTo>
                <a:cubicBezTo>
                  <a:pt x="30500" y="8562"/>
                  <a:pt x="30500" y="8562"/>
                  <a:pt x="30469" y="8562"/>
                </a:cubicBezTo>
                <a:cubicBezTo>
                  <a:pt x="30437" y="8562"/>
                  <a:pt x="30344" y="8562"/>
                  <a:pt x="30375" y="8625"/>
                </a:cubicBezTo>
                <a:cubicBezTo>
                  <a:pt x="30375" y="8687"/>
                  <a:pt x="30437" y="8687"/>
                  <a:pt x="30500" y="8656"/>
                </a:cubicBezTo>
                <a:cubicBezTo>
                  <a:pt x="30594" y="8625"/>
                  <a:pt x="30687" y="8593"/>
                  <a:pt x="30781" y="8562"/>
                </a:cubicBezTo>
                <a:cubicBezTo>
                  <a:pt x="31062" y="8468"/>
                  <a:pt x="31375" y="8343"/>
                  <a:pt x="31656" y="8250"/>
                </a:cubicBezTo>
                <a:cubicBezTo>
                  <a:pt x="31875" y="8156"/>
                  <a:pt x="32125" y="8062"/>
                  <a:pt x="32344" y="7968"/>
                </a:cubicBezTo>
                <a:cubicBezTo>
                  <a:pt x="32500" y="7937"/>
                  <a:pt x="32625" y="7843"/>
                  <a:pt x="32781" y="7812"/>
                </a:cubicBezTo>
                <a:cubicBezTo>
                  <a:pt x="32781" y="7812"/>
                  <a:pt x="32781" y="7812"/>
                  <a:pt x="32781" y="7812"/>
                </a:cubicBezTo>
                <a:cubicBezTo>
                  <a:pt x="32781" y="7781"/>
                  <a:pt x="32781" y="7750"/>
                  <a:pt x="32781" y="7718"/>
                </a:cubicBezTo>
                <a:cubicBezTo>
                  <a:pt x="32719" y="7718"/>
                  <a:pt x="32687" y="7750"/>
                  <a:pt x="32625" y="7750"/>
                </a:cubicBezTo>
                <a:cubicBezTo>
                  <a:pt x="32375" y="7843"/>
                  <a:pt x="32156" y="7937"/>
                  <a:pt x="31906" y="8031"/>
                </a:cubicBezTo>
                <a:lnTo>
                  <a:pt x="31906" y="8031"/>
                </a:lnTo>
                <a:moveTo>
                  <a:pt x="30312" y="9093"/>
                </a:moveTo>
                <a:cubicBezTo>
                  <a:pt x="30344" y="9093"/>
                  <a:pt x="30344" y="9093"/>
                  <a:pt x="30344" y="9093"/>
                </a:cubicBezTo>
                <a:cubicBezTo>
                  <a:pt x="30656" y="9000"/>
                  <a:pt x="30937" y="8875"/>
                  <a:pt x="31219" y="8750"/>
                </a:cubicBezTo>
                <a:cubicBezTo>
                  <a:pt x="31281" y="8750"/>
                  <a:pt x="31344" y="8718"/>
                  <a:pt x="31375" y="8687"/>
                </a:cubicBezTo>
                <a:cubicBezTo>
                  <a:pt x="31406" y="8687"/>
                  <a:pt x="31406" y="8656"/>
                  <a:pt x="31406" y="8656"/>
                </a:cubicBezTo>
                <a:cubicBezTo>
                  <a:pt x="31406" y="8625"/>
                  <a:pt x="31375" y="8625"/>
                  <a:pt x="31344" y="8625"/>
                </a:cubicBezTo>
                <a:cubicBezTo>
                  <a:pt x="31219" y="8718"/>
                  <a:pt x="31031" y="8718"/>
                  <a:pt x="30875" y="8812"/>
                </a:cubicBezTo>
                <a:cubicBezTo>
                  <a:pt x="30781" y="8875"/>
                  <a:pt x="30687" y="8875"/>
                  <a:pt x="30594" y="8906"/>
                </a:cubicBezTo>
                <a:cubicBezTo>
                  <a:pt x="30500" y="8937"/>
                  <a:pt x="30375" y="9000"/>
                  <a:pt x="30281" y="9031"/>
                </a:cubicBezTo>
                <a:cubicBezTo>
                  <a:pt x="30281" y="9062"/>
                  <a:pt x="30281" y="9062"/>
                  <a:pt x="30281" y="9093"/>
                </a:cubicBezTo>
                <a:cubicBezTo>
                  <a:pt x="30281" y="9093"/>
                  <a:pt x="30281" y="9093"/>
                  <a:pt x="30281" y="9093"/>
                </a:cubicBezTo>
                <a:cubicBezTo>
                  <a:pt x="30281" y="9093"/>
                  <a:pt x="30281" y="9093"/>
                  <a:pt x="30312" y="9093"/>
                </a:cubicBezTo>
                <a:cubicBezTo>
                  <a:pt x="30281" y="9093"/>
                  <a:pt x="30281" y="9093"/>
                  <a:pt x="30281" y="9093"/>
                </a:cubicBezTo>
                <a:cubicBezTo>
                  <a:pt x="30281" y="9093"/>
                  <a:pt x="30312" y="9093"/>
                  <a:pt x="30312" y="9093"/>
                </a:cubicBezTo>
                <a:close/>
                <a:moveTo>
                  <a:pt x="28281" y="11812"/>
                </a:moveTo>
                <a:cubicBezTo>
                  <a:pt x="28937" y="11625"/>
                  <a:pt x="29562" y="11406"/>
                  <a:pt x="30187" y="11187"/>
                </a:cubicBezTo>
                <a:cubicBezTo>
                  <a:pt x="30187" y="11156"/>
                  <a:pt x="30156" y="11156"/>
                  <a:pt x="30156" y="11125"/>
                </a:cubicBezTo>
                <a:cubicBezTo>
                  <a:pt x="29531" y="11343"/>
                  <a:pt x="28906" y="11562"/>
                  <a:pt x="28281" y="11781"/>
                </a:cubicBezTo>
                <a:cubicBezTo>
                  <a:pt x="28281" y="11812"/>
                  <a:pt x="28281" y="11812"/>
                  <a:pt x="28281" y="11812"/>
                </a:cubicBezTo>
                <a:close/>
                <a:moveTo>
                  <a:pt x="26125" y="12562"/>
                </a:moveTo>
                <a:cubicBezTo>
                  <a:pt x="26812" y="12343"/>
                  <a:pt x="27500" y="12093"/>
                  <a:pt x="28187" y="11875"/>
                </a:cubicBezTo>
                <a:cubicBezTo>
                  <a:pt x="28187" y="11843"/>
                  <a:pt x="28187" y="11843"/>
                  <a:pt x="28187" y="11812"/>
                </a:cubicBezTo>
                <a:cubicBezTo>
                  <a:pt x="27500" y="12062"/>
                  <a:pt x="26812" y="12281"/>
                  <a:pt x="26125" y="12500"/>
                </a:cubicBezTo>
                <a:cubicBezTo>
                  <a:pt x="26125" y="12531"/>
                  <a:pt x="26125" y="12531"/>
                  <a:pt x="26125" y="12562"/>
                </a:cubicBezTo>
                <a:close/>
                <a:moveTo>
                  <a:pt x="32031" y="8250"/>
                </a:moveTo>
                <a:cubicBezTo>
                  <a:pt x="31344" y="8531"/>
                  <a:pt x="30625" y="8781"/>
                  <a:pt x="29937" y="9031"/>
                </a:cubicBezTo>
                <a:cubicBezTo>
                  <a:pt x="29937" y="9062"/>
                  <a:pt x="29969" y="9062"/>
                  <a:pt x="29969" y="9093"/>
                </a:cubicBezTo>
                <a:cubicBezTo>
                  <a:pt x="30656" y="8843"/>
                  <a:pt x="31344" y="8562"/>
                  <a:pt x="32062" y="8312"/>
                </a:cubicBezTo>
                <a:cubicBezTo>
                  <a:pt x="32062" y="8281"/>
                  <a:pt x="32031" y="8281"/>
                  <a:pt x="32031" y="8250"/>
                </a:cubicBezTo>
                <a:close/>
                <a:moveTo>
                  <a:pt x="31406" y="8031"/>
                </a:moveTo>
                <a:cubicBezTo>
                  <a:pt x="31562" y="8000"/>
                  <a:pt x="31719" y="7937"/>
                  <a:pt x="31844" y="7875"/>
                </a:cubicBezTo>
                <a:cubicBezTo>
                  <a:pt x="31812" y="7875"/>
                  <a:pt x="31750" y="7875"/>
                  <a:pt x="31719" y="7906"/>
                </a:cubicBezTo>
                <a:cubicBezTo>
                  <a:pt x="31656" y="7937"/>
                  <a:pt x="31594" y="7968"/>
                  <a:pt x="31531" y="7968"/>
                </a:cubicBezTo>
                <a:cubicBezTo>
                  <a:pt x="31594" y="7968"/>
                  <a:pt x="31656" y="7937"/>
                  <a:pt x="31719" y="7906"/>
                </a:cubicBezTo>
                <a:cubicBezTo>
                  <a:pt x="31594" y="7937"/>
                  <a:pt x="31500" y="7968"/>
                  <a:pt x="31406" y="8031"/>
                </a:cubicBezTo>
                <a:close/>
                <a:moveTo>
                  <a:pt x="30469" y="8531"/>
                </a:moveTo>
                <a:cubicBezTo>
                  <a:pt x="30469" y="8531"/>
                  <a:pt x="30469" y="8531"/>
                  <a:pt x="30469" y="8531"/>
                </a:cubicBezTo>
                <a:moveTo>
                  <a:pt x="31125" y="11281"/>
                </a:moveTo>
                <a:cubicBezTo>
                  <a:pt x="31031" y="11312"/>
                  <a:pt x="30937" y="11281"/>
                  <a:pt x="30875" y="11375"/>
                </a:cubicBezTo>
                <a:cubicBezTo>
                  <a:pt x="30719" y="11375"/>
                  <a:pt x="30594" y="11437"/>
                  <a:pt x="30469" y="11500"/>
                </a:cubicBezTo>
                <a:cubicBezTo>
                  <a:pt x="30625" y="11500"/>
                  <a:pt x="30750" y="11468"/>
                  <a:pt x="30875" y="11375"/>
                </a:cubicBezTo>
                <a:cubicBezTo>
                  <a:pt x="31031" y="11375"/>
                  <a:pt x="31156" y="11312"/>
                  <a:pt x="31281" y="11250"/>
                </a:cubicBezTo>
                <a:cubicBezTo>
                  <a:pt x="31781" y="11093"/>
                  <a:pt x="32281" y="10937"/>
                  <a:pt x="32781" y="10750"/>
                </a:cubicBezTo>
                <a:cubicBezTo>
                  <a:pt x="32781" y="10750"/>
                  <a:pt x="32781" y="10718"/>
                  <a:pt x="32781" y="10718"/>
                </a:cubicBezTo>
                <a:cubicBezTo>
                  <a:pt x="32781" y="10718"/>
                  <a:pt x="32781" y="10718"/>
                  <a:pt x="32781" y="10718"/>
                </a:cubicBezTo>
                <a:cubicBezTo>
                  <a:pt x="32531" y="10781"/>
                  <a:pt x="32312" y="10875"/>
                  <a:pt x="32062" y="10937"/>
                </a:cubicBezTo>
                <a:cubicBezTo>
                  <a:pt x="31750" y="11062"/>
                  <a:pt x="31437" y="11156"/>
                  <a:pt x="31125" y="11281"/>
                </a:cubicBezTo>
                <a:close/>
                <a:moveTo>
                  <a:pt x="25312" y="12843"/>
                </a:moveTo>
                <a:cubicBezTo>
                  <a:pt x="25562" y="12750"/>
                  <a:pt x="25812" y="12656"/>
                  <a:pt x="26062" y="12593"/>
                </a:cubicBezTo>
                <a:cubicBezTo>
                  <a:pt x="26062" y="12562"/>
                  <a:pt x="26062" y="12562"/>
                  <a:pt x="26062" y="12562"/>
                </a:cubicBezTo>
                <a:cubicBezTo>
                  <a:pt x="25812" y="12625"/>
                  <a:pt x="25531" y="12687"/>
                  <a:pt x="25281" y="12781"/>
                </a:cubicBezTo>
                <a:cubicBezTo>
                  <a:pt x="25281" y="12812"/>
                  <a:pt x="25312" y="12812"/>
                  <a:pt x="25312" y="12843"/>
                </a:cubicBezTo>
                <a:close/>
                <a:moveTo>
                  <a:pt x="27000" y="8781"/>
                </a:moveTo>
                <a:cubicBezTo>
                  <a:pt x="27000" y="8781"/>
                  <a:pt x="26969" y="8781"/>
                  <a:pt x="26969" y="8781"/>
                </a:cubicBezTo>
                <a:cubicBezTo>
                  <a:pt x="26969" y="8781"/>
                  <a:pt x="26969" y="8781"/>
                  <a:pt x="26969" y="8781"/>
                </a:cubicBezTo>
                <a:cubicBezTo>
                  <a:pt x="26969" y="8781"/>
                  <a:pt x="27000" y="8781"/>
                  <a:pt x="27000" y="8781"/>
                </a:cubicBezTo>
                <a:cubicBezTo>
                  <a:pt x="27031" y="8750"/>
                  <a:pt x="27094" y="8750"/>
                  <a:pt x="27062" y="8687"/>
                </a:cubicBezTo>
                <a:cubicBezTo>
                  <a:pt x="27031" y="8718"/>
                  <a:pt x="26969" y="8750"/>
                  <a:pt x="26906" y="8781"/>
                </a:cubicBezTo>
                <a:cubicBezTo>
                  <a:pt x="26937" y="8812"/>
                  <a:pt x="26969" y="8781"/>
                  <a:pt x="27000" y="8781"/>
                </a:cubicBezTo>
                <a:close/>
                <a:moveTo>
                  <a:pt x="30156" y="5750"/>
                </a:moveTo>
                <a:cubicBezTo>
                  <a:pt x="30219" y="5750"/>
                  <a:pt x="30250" y="5718"/>
                  <a:pt x="30312" y="5718"/>
                </a:cubicBezTo>
                <a:moveTo>
                  <a:pt x="30156" y="5750"/>
                </a:moveTo>
                <a:close/>
                <a:moveTo>
                  <a:pt x="29469" y="7656"/>
                </a:moveTo>
                <a:cubicBezTo>
                  <a:pt x="29437" y="7656"/>
                  <a:pt x="29437" y="7625"/>
                  <a:pt x="29437" y="7625"/>
                </a:cubicBezTo>
                <a:cubicBezTo>
                  <a:pt x="28937" y="7812"/>
                  <a:pt x="28437" y="8000"/>
                  <a:pt x="27937" y="8187"/>
                </a:cubicBezTo>
                <a:cubicBezTo>
                  <a:pt x="27937" y="8218"/>
                  <a:pt x="27969" y="8218"/>
                  <a:pt x="27969" y="8250"/>
                </a:cubicBezTo>
                <a:cubicBezTo>
                  <a:pt x="28469" y="8031"/>
                  <a:pt x="28969" y="7843"/>
                  <a:pt x="29469" y="7656"/>
                </a:cubicBezTo>
                <a:close/>
                <a:moveTo>
                  <a:pt x="29625" y="7718"/>
                </a:moveTo>
                <a:cubicBezTo>
                  <a:pt x="29750" y="7718"/>
                  <a:pt x="29844" y="7687"/>
                  <a:pt x="29906" y="7593"/>
                </a:cubicBezTo>
                <a:cubicBezTo>
                  <a:pt x="29812" y="7656"/>
                  <a:pt x="29719" y="7625"/>
                  <a:pt x="29625" y="7718"/>
                </a:cubicBezTo>
                <a:close/>
                <a:moveTo>
                  <a:pt x="28125" y="8281"/>
                </a:moveTo>
                <a:cubicBezTo>
                  <a:pt x="28156" y="8281"/>
                  <a:pt x="28156" y="8312"/>
                  <a:pt x="28156" y="8312"/>
                </a:cubicBezTo>
                <a:cubicBezTo>
                  <a:pt x="28437" y="8218"/>
                  <a:pt x="28719" y="8093"/>
                  <a:pt x="29031" y="7968"/>
                </a:cubicBezTo>
                <a:cubicBezTo>
                  <a:pt x="29000" y="7968"/>
                  <a:pt x="29000" y="7968"/>
                  <a:pt x="29000" y="7937"/>
                </a:cubicBezTo>
                <a:cubicBezTo>
                  <a:pt x="28719" y="8062"/>
                  <a:pt x="28437" y="8156"/>
                  <a:pt x="28125" y="8281"/>
                </a:cubicBezTo>
                <a:close/>
                <a:moveTo>
                  <a:pt x="27219" y="8625"/>
                </a:moveTo>
                <a:cubicBezTo>
                  <a:pt x="27344" y="8656"/>
                  <a:pt x="27406" y="8593"/>
                  <a:pt x="27531" y="8562"/>
                </a:cubicBezTo>
                <a:cubicBezTo>
                  <a:pt x="27500" y="8562"/>
                  <a:pt x="27500" y="8531"/>
                  <a:pt x="27500" y="8531"/>
                </a:cubicBezTo>
                <a:cubicBezTo>
                  <a:pt x="27406" y="8562"/>
                  <a:pt x="27312" y="8593"/>
                  <a:pt x="27219" y="8625"/>
                </a:cubicBezTo>
                <a:close/>
                <a:moveTo>
                  <a:pt x="32656" y="5468"/>
                </a:moveTo>
                <a:cubicBezTo>
                  <a:pt x="32562" y="5500"/>
                  <a:pt x="32469" y="5531"/>
                  <a:pt x="32375" y="5593"/>
                </a:cubicBezTo>
                <a:cubicBezTo>
                  <a:pt x="32281" y="5625"/>
                  <a:pt x="32187" y="5656"/>
                  <a:pt x="32094" y="5718"/>
                </a:cubicBezTo>
                <a:cubicBezTo>
                  <a:pt x="32062" y="5718"/>
                  <a:pt x="32062" y="5718"/>
                  <a:pt x="32031" y="5750"/>
                </a:cubicBezTo>
                <a:cubicBezTo>
                  <a:pt x="32156" y="5718"/>
                  <a:pt x="32250" y="5656"/>
                  <a:pt x="32375" y="5625"/>
                </a:cubicBezTo>
                <a:lnTo>
                  <a:pt x="32375" y="5625"/>
                </a:lnTo>
                <a:cubicBezTo>
                  <a:pt x="32500" y="5562"/>
                  <a:pt x="32625" y="5531"/>
                  <a:pt x="32781" y="5468"/>
                </a:cubicBezTo>
                <a:cubicBezTo>
                  <a:pt x="32719" y="5468"/>
                  <a:pt x="32687" y="5468"/>
                  <a:pt x="32656" y="5468"/>
                </a:cubicBezTo>
                <a:close/>
                <a:moveTo>
                  <a:pt x="29625" y="13468"/>
                </a:moveTo>
                <a:cubicBezTo>
                  <a:pt x="29531" y="13468"/>
                  <a:pt x="29437" y="13500"/>
                  <a:pt x="29344" y="13562"/>
                </a:cubicBezTo>
                <a:cubicBezTo>
                  <a:pt x="29437" y="13531"/>
                  <a:pt x="29531" y="13500"/>
                  <a:pt x="29625" y="13468"/>
                </a:cubicBezTo>
                <a:close/>
                <a:moveTo>
                  <a:pt x="27094" y="7750"/>
                </a:moveTo>
                <a:cubicBezTo>
                  <a:pt x="27469" y="7593"/>
                  <a:pt x="27875" y="7437"/>
                  <a:pt x="28250" y="7281"/>
                </a:cubicBezTo>
                <a:cubicBezTo>
                  <a:pt x="28250" y="7250"/>
                  <a:pt x="28250" y="7250"/>
                  <a:pt x="28219" y="7218"/>
                </a:cubicBezTo>
                <a:cubicBezTo>
                  <a:pt x="27844" y="7375"/>
                  <a:pt x="27469" y="7531"/>
                  <a:pt x="27062" y="7687"/>
                </a:cubicBezTo>
                <a:cubicBezTo>
                  <a:pt x="27062" y="7718"/>
                  <a:pt x="27094" y="7718"/>
                  <a:pt x="27094" y="7750"/>
                </a:cubicBezTo>
                <a:close/>
                <a:moveTo>
                  <a:pt x="26594" y="7906"/>
                </a:moveTo>
                <a:cubicBezTo>
                  <a:pt x="26687" y="7875"/>
                  <a:pt x="26781" y="7875"/>
                  <a:pt x="26906" y="7781"/>
                </a:cubicBezTo>
                <a:cubicBezTo>
                  <a:pt x="26781" y="7812"/>
                  <a:pt x="26656" y="7812"/>
                  <a:pt x="26594" y="7906"/>
                </a:cubicBezTo>
                <a:close/>
                <a:moveTo>
                  <a:pt x="26094" y="8125"/>
                </a:moveTo>
                <a:cubicBezTo>
                  <a:pt x="26156" y="8093"/>
                  <a:pt x="26219" y="8093"/>
                  <a:pt x="26250" y="8062"/>
                </a:cubicBezTo>
                <a:cubicBezTo>
                  <a:pt x="26156" y="8000"/>
                  <a:pt x="26125" y="8062"/>
                  <a:pt x="26062" y="8093"/>
                </a:cubicBezTo>
                <a:cubicBezTo>
                  <a:pt x="25906" y="8156"/>
                  <a:pt x="25719" y="8187"/>
                  <a:pt x="25562" y="8281"/>
                </a:cubicBezTo>
                <a:cubicBezTo>
                  <a:pt x="25469" y="8281"/>
                  <a:pt x="25375" y="8343"/>
                  <a:pt x="25312" y="8406"/>
                </a:cubicBezTo>
                <a:cubicBezTo>
                  <a:pt x="25375" y="8375"/>
                  <a:pt x="25500" y="8375"/>
                  <a:pt x="25562" y="8312"/>
                </a:cubicBezTo>
                <a:cubicBezTo>
                  <a:pt x="25750" y="8281"/>
                  <a:pt x="25906" y="8187"/>
                  <a:pt x="26094" y="8125"/>
                </a:cubicBezTo>
                <a:close/>
                <a:moveTo>
                  <a:pt x="29656" y="13468"/>
                </a:moveTo>
                <a:cubicBezTo>
                  <a:pt x="29656" y="13437"/>
                  <a:pt x="29656" y="13437"/>
                  <a:pt x="29656" y="13437"/>
                </a:cubicBezTo>
                <a:cubicBezTo>
                  <a:pt x="29750" y="13468"/>
                  <a:pt x="29812" y="13406"/>
                  <a:pt x="29875" y="13375"/>
                </a:cubicBezTo>
                <a:cubicBezTo>
                  <a:pt x="30125" y="13312"/>
                  <a:pt x="30375" y="13218"/>
                  <a:pt x="30625" y="13156"/>
                </a:cubicBezTo>
                <a:cubicBezTo>
                  <a:pt x="30625" y="13156"/>
                  <a:pt x="30687" y="13156"/>
                  <a:pt x="30687" y="13125"/>
                </a:cubicBezTo>
                <a:cubicBezTo>
                  <a:pt x="30406" y="13187"/>
                  <a:pt x="30156" y="13281"/>
                  <a:pt x="29875" y="13375"/>
                </a:cubicBezTo>
                <a:cubicBezTo>
                  <a:pt x="29812" y="13406"/>
                  <a:pt x="29719" y="13375"/>
                  <a:pt x="29656" y="13468"/>
                </a:cubicBezTo>
                <a:close/>
                <a:moveTo>
                  <a:pt x="30344" y="6437"/>
                </a:moveTo>
                <a:cubicBezTo>
                  <a:pt x="30219" y="6406"/>
                  <a:pt x="30125" y="6500"/>
                  <a:pt x="30062" y="6531"/>
                </a:cubicBezTo>
                <a:cubicBezTo>
                  <a:pt x="30156" y="6531"/>
                  <a:pt x="30250" y="6500"/>
                  <a:pt x="30344" y="6437"/>
                </a:cubicBezTo>
                <a:close/>
                <a:moveTo>
                  <a:pt x="24312" y="8718"/>
                </a:moveTo>
                <a:cubicBezTo>
                  <a:pt x="24281" y="8718"/>
                  <a:pt x="24281" y="8687"/>
                  <a:pt x="24281" y="8687"/>
                </a:cubicBezTo>
                <a:cubicBezTo>
                  <a:pt x="24281" y="8687"/>
                  <a:pt x="24281" y="8718"/>
                  <a:pt x="24312" y="8718"/>
                </a:cubicBezTo>
                <a:cubicBezTo>
                  <a:pt x="24312" y="8718"/>
                  <a:pt x="24312" y="8718"/>
                  <a:pt x="24312" y="8718"/>
                </a:cubicBezTo>
                <a:close/>
                <a:moveTo>
                  <a:pt x="27875" y="8281"/>
                </a:moveTo>
                <a:cubicBezTo>
                  <a:pt x="27875" y="8250"/>
                  <a:pt x="27875" y="8250"/>
                  <a:pt x="27844" y="8250"/>
                </a:cubicBezTo>
                <a:cubicBezTo>
                  <a:pt x="27344" y="8437"/>
                  <a:pt x="26875" y="8625"/>
                  <a:pt x="26375" y="8812"/>
                </a:cubicBezTo>
                <a:cubicBezTo>
                  <a:pt x="26375" y="8812"/>
                  <a:pt x="26375" y="8843"/>
                  <a:pt x="26375" y="8843"/>
                </a:cubicBezTo>
                <a:cubicBezTo>
                  <a:pt x="26875" y="8656"/>
                  <a:pt x="27375" y="8468"/>
                  <a:pt x="27875" y="8281"/>
                </a:cubicBezTo>
                <a:close/>
                <a:moveTo>
                  <a:pt x="24469" y="8718"/>
                </a:moveTo>
                <a:cubicBezTo>
                  <a:pt x="24469" y="8718"/>
                  <a:pt x="24469" y="8718"/>
                  <a:pt x="24469" y="8718"/>
                </a:cubicBezTo>
                <a:cubicBezTo>
                  <a:pt x="24469" y="8718"/>
                  <a:pt x="24469" y="8718"/>
                  <a:pt x="24469" y="8718"/>
                </a:cubicBezTo>
                <a:cubicBezTo>
                  <a:pt x="24469" y="8718"/>
                  <a:pt x="24469" y="8718"/>
                  <a:pt x="24469" y="8718"/>
                </a:cubicBezTo>
                <a:close/>
                <a:moveTo>
                  <a:pt x="0" y="5281"/>
                </a:moveTo>
                <a:cubicBezTo>
                  <a:pt x="31" y="5312"/>
                  <a:pt x="62" y="5312"/>
                  <a:pt x="94" y="5281"/>
                </a:cubicBezTo>
                <a:cubicBezTo>
                  <a:pt x="62" y="5281"/>
                  <a:pt x="31" y="5281"/>
                  <a:pt x="0" y="5281"/>
                </a:cubicBezTo>
                <a:close/>
                <a:moveTo>
                  <a:pt x="26562" y="7906"/>
                </a:moveTo>
                <a:cubicBezTo>
                  <a:pt x="26500" y="7937"/>
                  <a:pt x="26406" y="7937"/>
                  <a:pt x="26312" y="8000"/>
                </a:cubicBezTo>
                <a:cubicBezTo>
                  <a:pt x="26437" y="8031"/>
                  <a:pt x="26500" y="7968"/>
                  <a:pt x="26562" y="7906"/>
                </a:cubicBezTo>
                <a:close/>
                <a:moveTo>
                  <a:pt x="31594" y="4812"/>
                </a:moveTo>
                <a:close/>
                <a:moveTo>
                  <a:pt x="2937" y="1343"/>
                </a:moveTo>
                <a:cubicBezTo>
                  <a:pt x="2969" y="1343"/>
                  <a:pt x="3000" y="1343"/>
                  <a:pt x="3031" y="1343"/>
                </a:cubicBezTo>
                <a:cubicBezTo>
                  <a:pt x="3000" y="1343"/>
                  <a:pt x="2969" y="1343"/>
                  <a:pt x="2937" y="1343"/>
                </a:cubicBezTo>
                <a:close/>
                <a:moveTo>
                  <a:pt x="14969" y="14250"/>
                </a:moveTo>
                <a:cubicBezTo>
                  <a:pt x="14969" y="14250"/>
                  <a:pt x="14969" y="14250"/>
                  <a:pt x="14969" y="14250"/>
                </a:cubicBezTo>
                <a:cubicBezTo>
                  <a:pt x="14969" y="14250"/>
                  <a:pt x="14969" y="14250"/>
                  <a:pt x="14969" y="14250"/>
                </a:cubicBezTo>
                <a:lnTo>
                  <a:pt x="14969" y="14250"/>
                </a:lnTo>
                <a:cubicBezTo>
                  <a:pt x="14969" y="14250"/>
                  <a:pt x="14969" y="14250"/>
                  <a:pt x="14969" y="14250"/>
                </a:cubicBezTo>
                <a:cubicBezTo>
                  <a:pt x="14969" y="14250"/>
                  <a:pt x="14969" y="14250"/>
                  <a:pt x="14969" y="14250"/>
                </a:cubicBezTo>
                <a:close/>
                <a:moveTo>
                  <a:pt x="15687" y="15250"/>
                </a:moveTo>
                <a:cubicBezTo>
                  <a:pt x="15687" y="15250"/>
                  <a:pt x="15687" y="15250"/>
                  <a:pt x="15687" y="15250"/>
                </a:cubicBezTo>
                <a:cubicBezTo>
                  <a:pt x="15687" y="15250"/>
                  <a:pt x="15687" y="15250"/>
                  <a:pt x="15687" y="15250"/>
                </a:cubicBezTo>
                <a:cubicBezTo>
                  <a:pt x="15687" y="15250"/>
                  <a:pt x="15687" y="15250"/>
                  <a:pt x="15687" y="15250"/>
                </a:cubicBezTo>
                <a:cubicBezTo>
                  <a:pt x="15687" y="15250"/>
                  <a:pt x="15687" y="15250"/>
                  <a:pt x="15687" y="15250"/>
                </a:cubicBezTo>
                <a:close/>
                <a:moveTo>
                  <a:pt x="13781" y="12281"/>
                </a:moveTo>
                <a:cubicBezTo>
                  <a:pt x="13750" y="12281"/>
                  <a:pt x="13750" y="12281"/>
                  <a:pt x="13781" y="12281"/>
                </a:cubicBezTo>
                <a:cubicBezTo>
                  <a:pt x="13781" y="12281"/>
                  <a:pt x="13812" y="12281"/>
                  <a:pt x="13812" y="12281"/>
                </a:cubicBezTo>
                <a:cubicBezTo>
                  <a:pt x="13812" y="12281"/>
                  <a:pt x="13812" y="12250"/>
                  <a:pt x="13812" y="12250"/>
                </a:cubicBezTo>
                <a:cubicBezTo>
                  <a:pt x="13781" y="12281"/>
                  <a:pt x="13781" y="12281"/>
                  <a:pt x="13781" y="12281"/>
                </a:cubicBezTo>
                <a:close/>
                <a:moveTo>
                  <a:pt x="18781" y="4625"/>
                </a:moveTo>
                <a:cubicBezTo>
                  <a:pt x="18750" y="4625"/>
                  <a:pt x="18750" y="4593"/>
                  <a:pt x="18750" y="4593"/>
                </a:cubicBezTo>
                <a:cubicBezTo>
                  <a:pt x="18750" y="4593"/>
                  <a:pt x="18750" y="4625"/>
                  <a:pt x="18750" y="4625"/>
                </a:cubicBezTo>
                <a:cubicBezTo>
                  <a:pt x="18750" y="4625"/>
                  <a:pt x="18750" y="4625"/>
                  <a:pt x="18750" y="4656"/>
                </a:cubicBezTo>
                <a:cubicBezTo>
                  <a:pt x="18750" y="4625"/>
                  <a:pt x="18750" y="4625"/>
                  <a:pt x="18781" y="4625"/>
                </a:cubicBezTo>
                <a:close/>
                <a:moveTo>
                  <a:pt x="18281" y="3750"/>
                </a:moveTo>
                <a:cubicBezTo>
                  <a:pt x="18281" y="3750"/>
                  <a:pt x="18281" y="3781"/>
                  <a:pt x="18281" y="3812"/>
                </a:cubicBezTo>
                <a:cubicBezTo>
                  <a:pt x="18281" y="3781"/>
                  <a:pt x="18312" y="3750"/>
                  <a:pt x="18281" y="3750"/>
                </a:cubicBezTo>
                <a:close/>
                <a:moveTo>
                  <a:pt x="18156" y="3218"/>
                </a:moveTo>
                <a:cubicBezTo>
                  <a:pt x="18125" y="3250"/>
                  <a:pt x="18125" y="3281"/>
                  <a:pt x="18156" y="3343"/>
                </a:cubicBezTo>
                <a:cubicBezTo>
                  <a:pt x="18156" y="3281"/>
                  <a:pt x="18156" y="3250"/>
                  <a:pt x="18156" y="321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16003" y="693013"/>
            <a:ext cx="5507895" cy="1727992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92104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1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  <p:bldP spid="15" grpId="0"/>
          <p:bldP spid="16" grpId="0">
            <p:tmplLst>
              <p:tmpl>
                <p:tnLst>
                  <p:par>
                    <p:cTn presetID="2" presetClass="entr" presetSubtype="1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0-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  <p:bldP spid="15" grpId="0"/>
          <p:bldP spid="16" grpId="0">
            <p:tmplLst>
              <p:tmpl>
                <p:tnLst>
                  <p:par>
                    <p:cTn presetID="2" presetClass="entr" presetSubtype="1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0-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693013"/>
            <a:ext cx="5507895" cy="1727992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87">
            <a:extLst>
              <a:ext uri="{FF2B5EF4-FFF2-40B4-BE49-F238E27FC236}">
                <a16:creationId xmlns:a16="http://schemas.microsoft.com/office/drawing/2014/main" id="{2209C912-E949-694D-AACA-F39A2AAEBEFA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0" y="1953007"/>
            <a:ext cx="11985944" cy="5482199"/>
          </a:xfrm>
          <a:custGeom>
            <a:avLst/>
            <a:gdLst>
              <a:gd name="T0" fmla="*/ 8594 w 35281"/>
              <a:gd name="T1" fmla="*/ 3625 h 18469"/>
              <a:gd name="T2" fmla="*/ 33844 w 35281"/>
              <a:gd name="T3" fmla="*/ 2500 h 18469"/>
              <a:gd name="T4" fmla="*/ 31938 w 35281"/>
              <a:gd name="T5" fmla="*/ 0 h 18469"/>
              <a:gd name="T6" fmla="*/ 17344 w 35281"/>
              <a:gd name="T7" fmla="*/ 5438 h 18469"/>
              <a:gd name="T8" fmla="*/ 13125 w 35281"/>
              <a:gd name="T9" fmla="*/ 4907 h 18469"/>
              <a:gd name="T10" fmla="*/ 14719 w 35281"/>
              <a:gd name="T11" fmla="*/ 6594 h 18469"/>
              <a:gd name="T12" fmla="*/ 14438 w 35281"/>
              <a:gd name="T13" fmla="*/ 7313 h 18469"/>
              <a:gd name="T14" fmla="*/ 11375 w 35281"/>
              <a:gd name="T15" fmla="*/ 6875 h 18469"/>
              <a:gd name="T16" fmla="*/ 11219 w 35281"/>
              <a:gd name="T17" fmla="*/ 7782 h 18469"/>
              <a:gd name="T18" fmla="*/ 8219 w 35281"/>
              <a:gd name="T19" fmla="*/ 5907 h 18469"/>
              <a:gd name="T20" fmla="*/ 8313 w 35281"/>
              <a:gd name="T21" fmla="*/ 4594 h 18469"/>
              <a:gd name="T22" fmla="*/ 4281 w 35281"/>
              <a:gd name="T23" fmla="*/ 4188 h 18469"/>
              <a:gd name="T24" fmla="*/ 3250 w 35281"/>
              <a:gd name="T25" fmla="*/ 4719 h 18469"/>
              <a:gd name="T26" fmla="*/ 4156 w 35281"/>
              <a:gd name="T27" fmla="*/ 6407 h 18469"/>
              <a:gd name="T28" fmla="*/ 3344 w 35281"/>
              <a:gd name="T29" fmla="*/ 7094 h 18469"/>
              <a:gd name="T30" fmla="*/ 9938 w 35281"/>
              <a:gd name="T31" fmla="*/ 10157 h 18469"/>
              <a:gd name="T32" fmla="*/ 10656 w 35281"/>
              <a:gd name="T33" fmla="*/ 11782 h 18469"/>
              <a:gd name="T34" fmla="*/ 13594 w 35281"/>
              <a:gd name="T35" fmla="*/ 12625 h 18469"/>
              <a:gd name="T36" fmla="*/ 17156 w 35281"/>
              <a:gd name="T37" fmla="*/ 13688 h 18469"/>
              <a:gd name="T38" fmla="*/ 19875 w 35281"/>
              <a:gd name="T39" fmla="*/ 14094 h 18469"/>
              <a:gd name="T40" fmla="*/ 25469 w 35281"/>
              <a:gd name="T41" fmla="*/ 13969 h 18469"/>
              <a:gd name="T42" fmla="*/ 33938 w 35281"/>
              <a:gd name="T43" fmla="*/ 10407 h 18469"/>
              <a:gd name="T44" fmla="*/ 34625 w 35281"/>
              <a:gd name="T45" fmla="*/ 6125 h 18469"/>
              <a:gd name="T46" fmla="*/ 33344 w 35281"/>
              <a:gd name="T47" fmla="*/ 5063 h 18469"/>
              <a:gd name="T48" fmla="*/ 34531 w 35281"/>
              <a:gd name="T49" fmla="*/ 2688 h 18469"/>
              <a:gd name="T50" fmla="*/ 9688 w 35281"/>
              <a:gd name="T51" fmla="*/ 3282 h 18469"/>
              <a:gd name="T52" fmla="*/ 4656 w 35281"/>
              <a:gd name="T53" fmla="*/ 3563 h 18469"/>
              <a:gd name="T54" fmla="*/ 5938 w 35281"/>
              <a:gd name="T55" fmla="*/ 10032 h 18469"/>
              <a:gd name="T56" fmla="*/ 10688 w 35281"/>
              <a:gd name="T57" fmla="*/ 3094 h 18469"/>
              <a:gd name="T58" fmla="*/ 12313 w 35281"/>
              <a:gd name="T59" fmla="*/ 4688 h 18469"/>
              <a:gd name="T60" fmla="*/ 4219 w 35281"/>
              <a:gd name="T61" fmla="*/ 9125 h 18469"/>
              <a:gd name="T62" fmla="*/ 5094 w 35281"/>
              <a:gd name="T63" fmla="*/ 9782 h 18469"/>
              <a:gd name="T64" fmla="*/ 7969 w 35281"/>
              <a:gd name="T65" fmla="*/ 10844 h 18469"/>
              <a:gd name="T66" fmla="*/ 6469 w 35281"/>
              <a:gd name="T67" fmla="*/ 10125 h 18469"/>
              <a:gd name="T68" fmla="*/ 12031 w 35281"/>
              <a:gd name="T69" fmla="*/ 5188 h 18469"/>
              <a:gd name="T70" fmla="*/ 14750 w 35281"/>
              <a:gd name="T71" fmla="*/ 4875 h 18469"/>
              <a:gd name="T72" fmla="*/ 10781 w 35281"/>
              <a:gd name="T73" fmla="*/ 4313 h 18469"/>
              <a:gd name="T74" fmla="*/ 9500 w 35281"/>
              <a:gd name="T75" fmla="*/ 2969 h 18469"/>
              <a:gd name="T76" fmla="*/ 34406 w 35281"/>
              <a:gd name="T77" fmla="*/ 8063 h 18469"/>
              <a:gd name="T78" fmla="*/ 9938 w 35281"/>
              <a:gd name="T79" fmla="*/ 2969 h 18469"/>
              <a:gd name="T80" fmla="*/ 3032 w 35281"/>
              <a:gd name="T81" fmla="*/ 6907 h 18469"/>
              <a:gd name="T82" fmla="*/ 32500 w 35281"/>
              <a:gd name="T83" fmla="*/ 2282 h 18469"/>
              <a:gd name="T84" fmla="*/ 11594 w 35281"/>
              <a:gd name="T85" fmla="*/ 4563 h 18469"/>
              <a:gd name="T86" fmla="*/ 7906 w 35281"/>
              <a:gd name="T87" fmla="*/ 4157 h 18469"/>
              <a:gd name="T88" fmla="*/ 7281 w 35281"/>
              <a:gd name="T89" fmla="*/ 3032 h 18469"/>
              <a:gd name="T90" fmla="*/ 4875 w 35281"/>
              <a:gd name="T91" fmla="*/ 2813 h 18469"/>
              <a:gd name="T92" fmla="*/ 7406 w 35281"/>
              <a:gd name="T93" fmla="*/ 9250 h 18469"/>
              <a:gd name="T94" fmla="*/ 10781 w 35281"/>
              <a:gd name="T95" fmla="*/ 5875 h 18469"/>
              <a:gd name="T96" fmla="*/ 14625 w 35281"/>
              <a:gd name="T97" fmla="*/ 5750 h 18469"/>
              <a:gd name="T98" fmla="*/ 12406 w 35281"/>
              <a:gd name="T99" fmla="*/ 7500 h 18469"/>
              <a:gd name="T100" fmla="*/ 28656 w 35281"/>
              <a:gd name="T101" fmla="*/ 3688 h 18469"/>
              <a:gd name="T102" fmla="*/ 17719 w 35281"/>
              <a:gd name="T103" fmla="*/ 5532 h 18469"/>
              <a:gd name="T104" fmla="*/ 12719 w 35281"/>
              <a:gd name="T105" fmla="*/ 9188 h 18469"/>
              <a:gd name="T106" fmla="*/ 11219 w 35281"/>
              <a:gd name="T107" fmla="*/ 9438 h 18469"/>
              <a:gd name="T108" fmla="*/ 5719 w 35281"/>
              <a:gd name="T109" fmla="*/ 6500 h 18469"/>
              <a:gd name="T110" fmla="*/ 7125 w 35281"/>
              <a:gd name="T111" fmla="*/ 5219 h 18469"/>
              <a:gd name="T112" fmla="*/ 5156 w 35281"/>
              <a:gd name="T113" fmla="*/ 6157 h 18469"/>
              <a:gd name="T114" fmla="*/ 7063 w 35281"/>
              <a:gd name="T115" fmla="*/ 8563 h 18469"/>
              <a:gd name="T116" fmla="*/ 6313 w 35281"/>
              <a:gd name="T117" fmla="*/ 7000 h 18469"/>
              <a:gd name="T118" fmla="*/ 8031 w 35281"/>
              <a:gd name="T119" fmla="*/ 6750 h 18469"/>
              <a:gd name="T120" fmla="*/ 10406 w 35281"/>
              <a:gd name="T121" fmla="*/ 8813 h 18469"/>
              <a:gd name="T122" fmla="*/ 14313 w 35281"/>
              <a:gd name="T123" fmla="*/ 12532 h 18469"/>
              <a:gd name="T124" fmla="*/ 8688 w 35281"/>
              <a:gd name="T125" fmla="*/ 18469 h 18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281" h="18469">
                <a:moveTo>
                  <a:pt x="28844" y="17188"/>
                </a:moveTo>
                <a:cubicBezTo>
                  <a:pt x="28844" y="17188"/>
                  <a:pt x="28844" y="17219"/>
                  <a:pt x="28844" y="17219"/>
                </a:cubicBezTo>
                <a:cubicBezTo>
                  <a:pt x="28875" y="17219"/>
                  <a:pt x="28875" y="17219"/>
                  <a:pt x="28875" y="17219"/>
                </a:cubicBezTo>
                <a:cubicBezTo>
                  <a:pt x="28875" y="17219"/>
                  <a:pt x="28875" y="17188"/>
                  <a:pt x="28875" y="17188"/>
                </a:cubicBezTo>
                <a:cubicBezTo>
                  <a:pt x="28875" y="17188"/>
                  <a:pt x="28875" y="17188"/>
                  <a:pt x="28875" y="17188"/>
                </a:cubicBezTo>
                <a:cubicBezTo>
                  <a:pt x="28875" y="17188"/>
                  <a:pt x="28875" y="17188"/>
                  <a:pt x="28844" y="17188"/>
                </a:cubicBezTo>
                <a:close/>
                <a:moveTo>
                  <a:pt x="14688" y="5969"/>
                </a:moveTo>
                <a:cubicBezTo>
                  <a:pt x="14688" y="6094"/>
                  <a:pt x="14750" y="6125"/>
                  <a:pt x="14813" y="6157"/>
                </a:cubicBezTo>
                <a:cubicBezTo>
                  <a:pt x="14906" y="6188"/>
                  <a:pt x="14844" y="6063"/>
                  <a:pt x="14875" y="6063"/>
                </a:cubicBezTo>
                <a:cubicBezTo>
                  <a:pt x="14813" y="6063"/>
                  <a:pt x="14750" y="6032"/>
                  <a:pt x="14688" y="5969"/>
                </a:cubicBezTo>
                <a:close/>
                <a:moveTo>
                  <a:pt x="15125" y="12719"/>
                </a:moveTo>
                <a:cubicBezTo>
                  <a:pt x="15094" y="12719"/>
                  <a:pt x="15094" y="12719"/>
                  <a:pt x="15094" y="12719"/>
                </a:cubicBezTo>
                <a:cubicBezTo>
                  <a:pt x="15094" y="12750"/>
                  <a:pt x="15125" y="12750"/>
                  <a:pt x="15125" y="12719"/>
                </a:cubicBezTo>
                <a:cubicBezTo>
                  <a:pt x="15156" y="12719"/>
                  <a:pt x="15156" y="12719"/>
                  <a:pt x="15188" y="12719"/>
                </a:cubicBezTo>
                <a:cubicBezTo>
                  <a:pt x="15156" y="12719"/>
                  <a:pt x="15125" y="12688"/>
                  <a:pt x="15125" y="12719"/>
                </a:cubicBezTo>
                <a:close/>
                <a:moveTo>
                  <a:pt x="14750" y="12563"/>
                </a:moveTo>
                <a:cubicBezTo>
                  <a:pt x="14813" y="12563"/>
                  <a:pt x="14844" y="12625"/>
                  <a:pt x="14938" y="12594"/>
                </a:cubicBezTo>
                <a:cubicBezTo>
                  <a:pt x="14875" y="12532"/>
                  <a:pt x="14875" y="12532"/>
                  <a:pt x="14750" y="12563"/>
                </a:cubicBezTo>
                <a:close/>
                <a:moveTo>
                  <a:pt x="7469" y="7375"/>
                </a:moveTo>
                <a:cubicBezTo>
                  <a:pt x="7469" y="7407"/>
                  <a:pt x="7469" y="7407"/>
                  <a:pt x="7469" y="7438"/>
                </a:cubicBezTo>
                <a:cubicBezTo>
                  <a:pt x="7531" y="7469"/>
                  <a:pt x="7563" y="7469"/>
                  <a:pt x="7656" y="7438"/>
                </a:cubicBezTo>
                <a:cubicBezTo>
                  <a:pt x="7594" y="7375"/>
                  <a:pt x="7531" y="7344"/>
                  <a:pt x="7469" y="7375"/>
                </a:cubicBezTo>
                <a:close/>
                <a:moveTo>
                  <a:pt x="7344" y="6938"/>
                </a:moveTo>
                <a:cubicBezTo>
                  <a:pt x="7344" y="6938"/>
                  <a:pt x="7344" y="6938"/>
                  <a:pt x="7344" y="6938"/>
                </a:cubicBezTo>
                <a:cubicBezTo>
                  <a:pt x="7375" y="6969"/>
                  <a:pt x="7375" y="6938"/>
                  <a:pt x="7406" y="6938"/>
                </a:cubicBezTo>
                <a:cubicBezTo>
                  <a:pt x="7406" y="6938"/>
                  <a:pt x="7375" y="6907"/>
                  <a:pt x="7375" y="6907"/>
                </a:cubicBezTo>
                <a:cubicBezTo>
                  <a:pt x="7344" y="6907"/>
                  <a:pt x="7344" y="6907"/>
                  <a:pt x="7344" y="6938"/>
                </a:cubicBezTo>
                <a:close/>
                <a:moveTo>
                  <a:pt x="5125" y="7125"/>
                </a:moveTo>
                <a:cubicBezTo>
                  <a:pt x="5156" y="7125"/>
                  <a:pt x="5156" y="7125"/>
                  <a:pt x="5156" y="7094"/>
                </a:cubicBezTo>
                <a:cubicBezTo>
                  <a:pt x="5156" y="7063"/>
                  <a:pt x="5125" y="7094"/>
                  <a:pt x="5125" y="7094"/>
                </a:cubicBezTo>
                <a:cubicBezTo>
                  <a:pt x="5125" y="7094"/>
                  <a:pt x="5094" y="7094"/>
                  <a:pt x="5094" y="7094"/>
                </a:cubicBezTo>
                <a:cubicBezTo>
                  <a:pt x="5094" y="7125"/>
                  <a:pt x="5125" y="7125"/>
                  <a:pt x="5125" y="7125"/>
                </a:cubicBezTo>
                <a:close/>
                <a:moveTo>
                  <a:pt x="9156" y="10157"/>
                </a:moveTo>
                <a:cubicBezTo>
                  <a:pt x="9219" y="10219"/>
                  <a:pt x="9313" y="10250"/>
                  <a:pt x="9406" y="10250"/>
                </a:cubicBezTo>
                <a:cubicBezTo>
                  <a:pt x="9344" y="10157"/>
                  <a:pt x="9250" y="10125"/>
                  <a:pt x="9156" y="10157"/>
                </a:cubicBezTo>
                <a:close/>
                <a:moveTo>
                  <a:pt x="7750" y="3875"/>
                </a:moveTo>
                <a:cubicBezTo>
                  <a:pt x="7750" y="3875"/>
                  <a:pt x="7750" y="3907"/>
                  <a:pt x="7750" y="3907"/>
                </a:cubicBezTo>
                <a:cubicBezTo>
                  <a:pt x="7750" y="3875"/>
                  <a:pt x="7750" y="3875"/>
                  <a:pt x="7750" y="3875"/>
                </a:cubicBezTo>
                <a:cubicBezTo>
                  <a:pt x="7781" y="3875"/>
                  <a:pt x="7781" y="3844"/>
                  <a:pt x="7781" y="3813"/>
                </a:cubicBezTo>
                <a:cubicBezTo>
                  <a:pt x="7813" y="3750"/>
                  <a:pt x="7875" y="3750"/>
                  <a:pt x="7969" y="3782"/>
                </a:cubicBezTo>
                <a:cubicBezTo>
                  <a:pt x="8031" y="3813"/>
                  <a:pt x="8094" y="3813"/>
                  <a:pt x="8156" y="3782"/>
                </a:cubicBezTo>
                <a:cubicBezTo>
                  <a:pt x="7969" y="3719"/>
                  <a:pt x="7781" y="3594"/>
                  <a:pt x="7563" y="3688"/>
                </a:cubicBezTo>
                <a:cubicBezTo>
                  <a:pt x="7625" y="3657"/>
                  <a:pt x="7625" y="3625"/>
                  <a:pt x="7625" y="3594"/>
                </a:cubicBezTo>
                <a:cubicBezTo>
                  <a:pt x="7625" y="3563"/>
                  <a:pt x="7625" y="3563"/>
                  <a:pt x="7625" y="3563"/>
                </a:cubicBezTo>
                <a:cubicBezTo>
                  <a:pt x="7625" y="3563"/>
                  <a:pt x="7625" y="3563"/>
                  <a:pt x="7625" y="3563"/>
                </a:cubicBezTo>
                <a:cubicBezTo>
                  <a:pt x="7813" y="3563"/>
                  <a:pt x="8000" y="3594"/>
                  <a:pt x="8156" y="3688"/>
                </a:cubicBezTo>
                <a:cubicBezTo>
                  <a:pt x="8219" y="3719"/>
                  <a:pt x="8281" y="3782"/>
                  <a:pt x="8344" y="3782"/>
                </a:cubicBezTo>
                <a:cubicBezTo>
                  <a:pt x="8375" y="3782"/>
                  <a:pt x="8375" y="3782"/>
                  <a:pt x="8375" y="3813"/>
                </a:cubicBezTo>
                <a:cubicBezTo>
                  <a:pt x="8375" y="3813"/>
                  <a:pt x="8406" y="3813"/>
                  <a:pt x="8406" y="3813"/>
                </a:cubicBezTo>
                <a:cubicBezTo>
                  <a:pt x="8406" y="3782"/>
                  <a:pt x="8406" y="3750"/>
                  <a:pt x="8375" y="3719"/>
                </a:cubicBezTo>
                <a:cubicBezTo>
                  <a:pt x="8344" y="3688"/>
                  <a:pt x="8250" y="3688"/>
                  <a:pt x="8281" y="3594"/>
                </a:cubicBezTo>
                <a:cubicBezTo>
                  <a:pt x="8281" y="3563"/>
                  <a:pt x="8250" y="3500"/>
                  <a:pt x="8281" y="3469"/>
                </a:cubicBezTo>
                <a:cubicBezTo>
                  <a:pt x="8344" y="3438"/>
                  <a:pt x="8406" y="3469"/>
                  <a:pt x="8469" y="3532"/>
                </a:cubicBezTo>
                <a:cubicBezTo>
                  <a:pt x="8500" y="3532"/>
                  <a:pt x="8563" y="3532"/>
                  <a:pt x="8594" y="3532"/>
                </a:cubicBezTo>
                <a:cubicBezTo>
                  <a:pt x="8656" y="3563"/>
                  <a:pt x="8656" y="3594"/>
                  <a:pt x="8594" y="3625"/>
                </a:cubicBezTo>
                <a:cubicBezTo>
                  <a:pt x="8594" y="3657"/>
                  <a:pt x="8594" y="3657"/>
                  <a:pt x="8563" y="3657"/>
                </a:cubicBezTo>
                <a:cubicBezTo>
                  <a:pt x="8563" y="3657"/>
                  <a:pt x="8563" y="3657"/>
                  <a:pt x="8563" y="3657"/>
                </a:cubicBezTo>
                <a:cubicBezTo>
                  <a:pt x="8563" y="3719"/>
                  <a:pt x="8656" y="3688"/>
                  <a:pt x="8656" y="3719"/>
                </a:cubicBezTo>
                <a:cubicBezTo>
                  <a:pt x="8688" y="3719"/>
                  <a:pt x="8750" y="3750"/>
                  <a:pt x="8781" y="3719"/>
                </a:cubicBezTo>
                <a:cubicBezTo>
                  <a:pt x="8781" y="3688"/>
                  <a:pt x="8719" y="3657"/>
                  <a:pt x="8750" y="3625"/>
                </a:cubicBezTo>
                <a:cubicBezTo>
                  <a:pt x="8781" y="3594"/>
                  <a:pt x="8844" y="3625"/>
                  <a:pt x="8875" y="3657"/>
                </a:cubicBezTo>
                <a:cubicBezTo>
                  <a:pt x="8906" y="3688"/>
                  <a:pt x="8969" y="3719"/>
                  <a:pt x="9000" y="3750"/>
                </a:cubicBezTo>
                <a:lnTo>
                  <a:pt x="9000" y="3750"/>
                </a:lnTo>
                <a:cubicBezTo>
                  <a:pt x="9031" y="3750"/>
                  <a:pt x="9063" y="3782"/>
                  <a:pt x="9094" y="3782"/>
                </a:cubicBezTo>
                <a:cubicBezTo>
                  <a:pt x="9125" y="3782"/>
                  <a:pt x="9156" y="3782"/>
                  <a:pt x="9156" y="3750"/>
                </a:cubicBezTo>
                <a:cubicBezTo>
                  <a:pt x="9156" y="3688"/>
                  <a:pt x="9125" y="3688"/>
                  <a:pt x="9125" y="3688"/>
                </a:cubicBezTo>
                <a:cubicBezTo>
                  <a:pt x="9031" y="3688"/>
                  <a:pt x="9031" y="3657"/>
                  <a:pt x="9094" y="3594"/>
                </a:cubicBezTo>
                <a:cubicBezTo>
                  <a:pt x="9094" y="3594"/>
                  <a:pt x="9094" y="3594"/>
                  <a:pt x="9094" y="3563"/>
                </a:cubicBezTo>
                <a:cubicBezTo>
                  <a:pt x="8844" y="3563"/>
                  <a:pt x="8594" y="3563"/>
                  <a:pt x="8375" y="3344"/>
                </a:cubicBezTo>
                <a:cubicBezTo>
                  <a:pt x="8531" y="3344"/>
                  <a:pt x="8656" y="3375"/>
                  <a:pt x="8750" y="3469"/>
                </a:cubicBezTo>
                <a:cubicBezTo>
                  <a:pt x="8813" y="3532"/>
                  <a:pt x="8875" y="3532"/>
                  <a:pt x="8969" y="3500"/>
                </a:cubicBezTo>
                <a:cubicBezTo>
                  <a:pt x="8875" y="3469"/>
                  <a:pt x="8750" y="3438"/>
                  <a:pt x="8688" y="3344"/>
                </a:cubicBezTo>
                <a:cubicBezTo>
                  <a:pt x="8688" y="3313"/>
                  <a:pt x="8656" y="3282"/>
                  <a:pt x="8656" y="3282"/>
                </a:cubicBezTo>
                <a:cubicBezTo>
                  <a:pt x="8563" y="3344"/>
                  <a:pt x="8469" y="3282"/>
                  <a:pt x="8406" y="3250"/>
                </a:cubicBezTo>
                <a:cubicBezTo>
                  <a:pt x="8344" y="3219"/>
                  <a:pt x="8281" y="3188"/>
                  <a:pt x="8281" y="3282"/>
                </a:cubicBezTo>
                <a:cubicBezTo>
                  <a:pt x="8281" y="3313"/>
                  <a:pt x="8313" y="3375"/>
                  <a:pt x="8250" y="3375"/>
                </a:cubicBezTo>
                <a:cubicBezTo>
                  <a:pt x="8219" y="3375"/>
                  <a:pt x="8188" y="3344"/>
                  <a:pt x="8156" y="3313"/>
                </a:cubicBezTo>
                <a:cubicBezTo>
                  <a:pt x="8125" y="3313"/>
                  <a:pt x="8125" y="3282"/>
                  <a:pt x="8094" y="3250"/>
                </a:cubicBezTo>
                <a:cubicBezTo>
                  <a:pt x="8094" y="3250"/>
                  <a:pt x="8063" y="3188"/>
                  <a:pt x="8031" y="3219"/>
                </a:cubicBezTo>
                <a:cubicBezTo>
                  <a:pt x="8094" y="3313"/>
                  <a:pt x="8000" y="3469"/>
                  <a:pt x="8219" y="3438"/>
                </a:cubicBezTo>
                <a:cubicBezTo>
                  <a:pt x="8219" y="3469"/>
                  <a:pt x="8219" y="3469"/>
                  <a:pt x="8219" y="3500"/>
                </a:cubicBezTo>
                <a:cubicBezTo>
                  <a:pt x="8063" y="3438"/>
                  <a:pt x="7906" y="3563"/>
                  <a:pt x="7750" y="3500"/>
                </a:cubicBezTo>
                <a:cubicBezTo>
                  <a:pt x="7750" y="3469"/>
                  <a:pt x="7844" y="3469"/>
                  <a:pt x="7813" y="3438"/>
                </a:cubicBezTo>
                <a:cubicBezTo>
                  <a:pt x="7750" y="3375"/>
                  <a:pt x="7656" y="3407"/>
                  <a:pt x="7594" y="3375"/>
                </a:cubicBezTo>
                <a:cubicBezTo>
                  <a:pt x="7594" y="3469"/>
                  <a:pt x="7719" y="3500"/>
                  <a:pt x="7625" y="3563"/>
                </a:cubicBezTo>
                <a:cubicBezTo>
                  <a:pt x="7625" y="3563"/>
                  <a:pt x="7625" y="3563"/>
                  <a:pt x="7625" y="3594"/>
                </a:cubicBezTo>
                <a:cubicBezTo>
                  <a:pt x="7594" y="3625"/>
                  <a:pt x="7563" y="3594"/>
                  <a:pt x="7531" y="3594"/>
                </a:cubicBezTo>
                <a:lnTo>
                  <a:pt x="7531" y="3594"/>
                </a:lnTo>
                <a:cubicBezTo>
                  <a:pt x="7375" y="3532"/>
                  <a:pt x="7219" y="3469"/>
                  <a:pt x="7063" y="3438"/>
                </a:cubicBezTo>
                <a:cubicBezTo>
                  <a:pt x="7063" y="3500"/>
                  <a:pt x="7156" y="3532"/>
                  <a:pt x="7188" y="3594"/>
                </a:cubicBezTo>
                <a:cubicBezTo>
                  <a:pt x="7250" y="3563"/>
                  <a:pt x="7313" y="3563"/>
                  <a:pt x="7375" y="3563"/>
                </a:cubicBezTo>
                <a:cubicBezTo>
                  <a:pt x="7375" y="3625"/>
                  <a:pt x="7313" y="3625"/>
                  <a:pt x="7281" y="3657"/>
                </a:cubicBezTo>
                <a:cubicBezTo>
                  <a:pt x="7313" y="3719"/>
                  <a:pt x="7188" y="3750"/>
                  <a:pt x="7219" y="3844"/>
                </a:cubicBezTo>
                <a:cubicBezTo>
                  <a:pt x="7281" y="3875"/>
                  <a:pt x="7406" y="3844"/>
                  <a:pt x="7406" y="3938"/>
                </a:cubicBezTo>
                <a:cubicBezTo>
                  <a:pt x="7438" y="4032"/>
                  <a:pt x="7469" y="4000"/>
                  <a:pt x="7531" y="4000"/>
                </a:cubicBezTo>
                <a:cubicBezTo>
                  <a:pt x="7563" y="3969"/>
                  <a:pt x="7594" y="3938"/>
                  <a:pt x="7625" y="3875"/>
                </a:cubicBezTo>
                <a:cubicBezTo>
                  <a:pt x="7625" y="3844"/>
                  <a:pt x="7594" y="3813"/>
                  <a:pt x="7563" y="3844"/>
                </a:cubicBezTo>
                <a:cubicBezTo>
                  <a:pt x="7531" y="3844"/>
                  <a:pt x="7469" y="3907"/>
                  <a:pt x="7469" y="3813"/>
                </a:cubicBezTo>
                <a:cubicBezTo>
                  <a:pt x="7469" y="3750"/>
                  <a:pt x="7531" y="3782"/>
                  <a:pt x="7594" y="3782"/>
                </a:cubicBezTo>
                <a:cubicBezTo>
                  <a:pt x="7625" y="3750"/>
                  <a:pt x="7688" y="3782"/>
                  <a:pt x="7719" y="3813"/>
                </a:cubicBezTo>
                <a:cubicBezTo>
                  <a:pt x="7750" y="3813"/>
                  <a:pt x="7750" y="3813"/>
                  <a:pt x="7781" y="3813"/>
                </a:cubicBezTo>
                <a:cubicBezTo>
                  <a:pt x="7750" y="3844"/>
                  <a:pt x="7750" y="3875"/>
                  <a:pt x="7750" y="3875"/>
                </a:cubicBezTo>
                <a:close/>
                <a:moveTo>
                  <a:pt x="34188" y="2469"/>
                </a:moveTo>
                <a:cubicBezTo>
                  <a:pt x="34188" y="2469"/>
                  <a:pt x="34188" y="2469"/>
                  <a:pt x="34188" y="2469"/>
                </a:cubicBezTo>
                <a:cubicBezTo>
                  <a:pt x="34156" y="2469"/>
                  <a:pt x="34156" y="2469"/>
                  <a:pt x="34156" y="2500"/>
                </a:cubicBezTo>
                <a:cubicBezTo>
                  <a:pt x="34188" y="2500"/>
                  <a:pt x="34188" y="2500"/>
                  <a:pt x="34188" y="2469"/>
                </a:cubicBezTo>
                <a:close/>
                <a:moveTo>
                  <a:pt x="34156" y="2500"/>
                </a:moveTo>
                <a:cubicBezTo>
                  <a:pt x="34063" y="2563"/>
                  <a:pt x="33969" y="2594"/>
                  <a:pt x="33906" y="2657"/>
                </a:cubicBezTo>
                <a:cubicBezTo>
                  <a:pt x="33844" y="2657"/>
                  <a:pt x="33750" y="2688"/>
                  <a:pt x="33688" y="2657"/>
                </a:cubicBezTo>
                <a:cubicBezTo>
                  <a:pt x="33719" y="2594"/>
                  <a:pt x="33750" y="2532"/>
                  <a:pt x="33844" y="2500"/>
                </a:cubicBezTo>
                <a:cubicBezTo>
                  <a:pt x="34000" y="2469"/>
                  <a:pt x="34125" y="2344"/>
                  <a:pt x="34250" y="2250"/>
                </a:cubicBezTo>
                <a:cubicBezTo>
                  <a:pt x="34313" y="2219"/>
                  <a:pt x="34281" y="2188"/>
                  <a:pt x="34281" y="2188"/>
                </a:cubicBezTo>
                <a:cubicBezTo>
                  <a:pt x="34250" y="2157"/>
                  <a:pt x="34250" y="2188"/>
                  <a:pt x="34219" y="2188"/>
                </a:cubicBezTo>
                <a:cubicBezTo>
                  <a:pt x="33875" y="2407"/>
                  <a:pt x="33500" y="2594"/>
                  <a:pt x="33125" y="2750"/>
                </a:cubicBezTo>
                <a:cubicBezTo>
                  <a:pt x="33063" y="2750"/>
                  <a:pt x="32969" y="2750"/>
                  <a:pt x="32969" y="2813"/>
                </a:cubicBezTo>
                <a:cubicBezTo>
                  <a:pt x="32906" y="2938"/>
                  <a:pt x="32813" y="2875"/>
                  <a:pt x="32719" y="2907"/>
                </a:cubicBezTo>
                <a:cubicBezTo>
                  <a:pt x="32594" y="3000"/>
                  <a:pt x="32625" y="2813"/>
                  <a:pt x="32500" y="2782"/>
                </a:cubicBezTo>
                <a:cubicBezTo>
                  <a:pt x="32688" y="2750"/>
                  <a:pt x="32781" y="2625"/>
                  <a:pt x="32938" y="2719"/>
                </a:cubicBezTo>
                <a:cubicBezTo>
                  <a:pt x="32938" y="2719"/>
                  <a:pt x="32969" y="2719"/>
                  <a:pt x="32969" y="2688"/>
                </a:cubicBezTo>
                <a:cubicBezTo>
                  <a:pt x="33000" y="2532"/>
                  <a:pt x="33156" y="2625"/>
                  <a:pt x="33250" y="2594"/>
                </a:cubicBezTo>
                <a:cubicBezTo>
                  <a:pt x="33344" y="2563"/>
                  <a:pt x="33469" y="2563"/>
                  <a:pt x="33531" y="2438"/>
                </a:cubicBezTo>
                <a:cubicBezTo>
                  <a:pt x="33563" y="2375"/>
                  <a:pt x="33688" y="2344"/>
                  <a:pt x="33625" y="2282"/>
                </a:cubicBezTo>
                <a:cubicBezTo>
                  <a:pt x="33594" y="2219"/>
                  <a:pt x="33500" y="2250"/>
                  <a:pt x="33438" y="2250"/>
                </a:cubicBezTo>
                <a:cubicBezTo>
                  <a:pt x="33438" y="2250"/>
                  <a:pt x="33438" y="2250"/>
                  <a:pt x="33406" y="2250"/>
                </a:cubicBezTo>
                <a:cubicBezTo>
                  <a:pt x="33406" y="2282"/>
                  <a:pt x="33500" y="2282"/>
                  <a:pt x="33469" y="2344"/>
                </a:cubicBezTo>
                <a:cubicBezTo>
                  <a:pt x="33375" y="2438"/>
                  <a:pt x="33344" y="2282"/>
                  <a:pt x="33281" y="2313"/>
                </a:cubicBezTo>
                <a:cubicBezTo>
                  <a:pt x="33281" y="2407"/>
                  <a:pt x="33281" y="2407"/>
                  <a:pt x="33188" y="2375"/>
                </a:cubicBezTo>
                <a:cubicBezTo>
                  <a:pt x="33125" y="2375"/>
                  <a:pt x="33063" y="2375"/>
                  <a:pt x="33000" y="2407"/>
                </a:cubicBezTo>
                <a:cubicBezTo>
                  <a:pt x="32844" y="2438"/>
                  <a:pt x="32719" y="2563"/>
                  <a:pt x="32563" y="2625"/>
                </a:cubicBezTo>
                <a:cubicBezTo>
                  <a:pt x="32531" y="2657"/>
                  <a:pt x="32500" y="2688"/>
                  <a:pt x="32469" y="2657"/>
                </a:cubicBezTo>
                <a:cubicBezTo>
                  <a:pt x="32344" y="2532"/>
                  <a:pt x="32219" y="2438"/>
                  <a:pt x="32031" y="2532"/>
                </a:cubicBezTo>
                <a:cubicBezTo>
                  <a:pt x="32000" y="2563"/>
                  <a:pt x="31969" y="2594"/>
                  <a:pt x="31906" y="2563"/>
                </a:cubicBezTo>
                <a:cubicBezTo>
                  <a:pt x="31875" y="2532"/>
                  <a:pt x="31906" y="2469"/>
                  <a:pt x="31938" y="2438"/>
                </a:cubicBezTo>
                <a:cubicBezTo>
                  <a:pt x="31969" y="2344"/>
                  <a:pt x="32031" y="2250"/>
                  <a:pt x="31844" y="2250"/>
                </a:cubicBezTo>
                <a:cubicBezTo>
                  <a:pt x="31781" y="2250"/>
                  <a:pt x="31750" y="2219"/>
                  <a:pt x="31781" y="2188"/>
                </a:cubicBezTo>
                <a:cubicBezTo>
                  <a:pt x="31813" y="2157"/>
                  <a:pt x="31875" y="2125"/>
                  <a:pt x="31906" y="2125"/>
                </a:cubicBezTo>
                <a:cubicBezTo>
                  <a:pt x="32000" y="2157"/>
                  <a:pt x="32063" y="2125"/>
                  <a:pt x="32094" y="2032"/>
                </a:cubicBezTo>
                <a:cubicBezTo>
                  <a:pt x="32156" y="1969"/>
                  <a:pt x="32188" y="1969"/>
                  <a:pt x="32250" y="2000"/>
                </a:cubicBezTo>
                <a:cubicBezTo>
                  <a:pt x="32281" y="2000"/>
                  <a:pt x="32250" y="2094"/>
                  <a:pt x="32344" y="2032"/>
                </a:cubicBezTo>
                <a:lnTo>
                  <a:pt x="32344" y="2032"/>
                </a:lnTo>
                <a:cubicBezTo>
                  <a:pt x="32375" y="2000"/>
                  <a:pt x="32438" y="2000"/>
                  <a:pt x="32500" y="1969"/>
                </a:cubicBezTo>
                <a:cubicBezTo>
                  <a:pt x="32406" y="1875"/>
                  <a:pt x="32344" y="2000"/>
                  <a:pt x="32250" y="2000"/>
                </a:cubicBezTo>
                <a:cubicBezTo>
                  <a:pt x="32344" y="1875"/>
                  <a:pt x="32469" y="1782"/>
                  <a:pt x="32594" y="1719"/>
                </a:cubicBezTo>
                <a:cubicBezTo>
                  <a:pt x="32563" y="1657"/>
                  <a:pt x="32500" y="1657"/>
                  <a:pt x="32406" y="1657"/>
                </a:cubicBezTo>
                <a:cubicBezTo>
                  <a:pt x="32281" y="1719"/>
                  <a:pt x="32188" y="1813"/>
                  <a:pt x="32063" y="1907"/>
                </a:cubicBezTo>
                <a:cubicBezTo>
                  <a:pt x="31906" y="2032"/>
                  <a:pt x="31750" y="2125"/>
                  <a:pt x="31594" y="2219"/>
                </a:cubicBezTo>
                <a:cubicBezTo>
                  <a:pt x="31344" y="2344"/>
                  <a:pt x="31125" y="2532"/>
                  <a:pt x="30844" y="2625"/>
                </a:cubicBezTo>
                <a:cubicBezTo>
                  <a:pt x="31063" y="2313"/>
                  <a:pt x="31313" y="2032"/>
                  <a:pt x="31469" y="1688"/>
                </a:cubicBezTo>
                <a:cubicBezTo>
                  <a:pt x="31469" y="1688"/>
                  <a:pt x="31500" y="1657"/>
                  <a:pt x="31500" y="1657"/>
                </a:cubicBezTo>
                <a:cubicBezTo>
                  <a:pt x="31625" y="1594"/>
                  <a:pt x="31656" y="1532"/>
                  <a:pt x="31625" y="1375"/>
                </a:cubicBezTo>
                <a:cubicBezTo>
                  <a:pt x="31594" y="1344"/>
                  <a:pt x="31625" y="1344"/>
                  <a:pt x="31656" y="1313"/>
                </a:cubicBezTo>
                <a:cubicBezTo>
                  <a:pt x="31844" y="1250"/>
                  <a:pt x="31906" y="1094"/>
                  <a:pt x="31969" y="907"/>
                </a:cubicBezTo>
                <a:cubicBezTo>
                  <a:pt x="32000" y="875"/>
                  <a:pt x="31938" y="813"/>
                  <a:pt x="31969" y="750"/>
                </a:cubicBezTo>
                <a:cubicBezTo>
                  <a:pt x="32063" y="625"/>
                  <a:pt x="32156" y="469"/>
                  <a:pt x="32281" y="407"/>
                </a:cubicBezTo>
                <a:cubicBezTo>
                  <a:pt x="32281" y="313"/>
                  <a:pt x="32281" y="313"/>
                  <a:pt x="32344" y="313"/>
                </a:cubicBezTo>
                <a:cubicBezTo>
                  <a:pt x="32375" y="282"/>
                  <a:pt x="32438" y="313"/>
                  <a:pt x="32438" y="250"/>
                </a:cubicBezTo>
                <a:cubicBezTo>
                  <a:pt x="32438" y="188"/>
                  <a:pt x="32375" y="188"/>
                  <a:pt x="32344" y="188"/>
                </a:cubicBezTo>
                <a:cubicBezTo>
                  <a:pt x="32313" y="157"/>
                  <a:pt x="32281" y="219"/>
                  <a:pt x="32250" y="250"/>
                </a:cubicBezTo>
                <a:cubicBezTo>
                  <a:pt x="32219" y="282"/>
                  <a:pt x="32219" y="313"/>
                  <a:pt x="32219" y="313"/>
                </a:cubicBezTo>
                <a:cubicBezTo>
                  <a:pt x="32219" y="375"/>
                  <a:pt x="32188" y="375"/>
                  <a:pt x="32156" y="375"/>
                </a:cubicBezTo>
                <a:cubicBezTo>
                  <a:pt x="32063" y="407"/>
                  <a:pt x="31969" y="500"/>
                  <a:pt x="31906" y="594"/>
                </a:cubicBezTo>
                <a:cubicBezTo>
                  <a:pt x="31844" y="719"/>
                  <a:pt x="31750" y="813"/>
                  <a:pt x="31656" y="907"/>
                </a:cubicBezTo>
                <a:cubicBezTo>
                  <a:pt x="31656" y="907"/>
                  <a:pt x="31625" y="938"/>
                  <a:pt x="31594" y="938"/>
                </a:cubicBezTo>
                <a:cubicBezTo>
                  <a:pt x="31563" y="875"/>
                  <a:pt x="31594" y="875"/>
                  <a:pt x="31625" y="875"/>
                </a:cubicBezTo>
                <a:cubicBezTo>
                  <a:pt x="31781" y="594"/>
                  <a:pt x="31969" y="344"/>
                  <a:pt x="31938" y="0"/>
                </a:cubicBezTo>
                <a:cubicBezTo>
                  <a:pt x="31750" y="157"/>
                  <a:pt x="31563" y="250"/>
                  <a:pt x="31406" y="469"/>
                </a:cubicBezTo>
                <a:cubicBezTo>
                  <a:pt x="31250" y="688"/>
                  <a:pt x="31063" y="875"/>
                  <a:pt x="30906" y="1063"/>
                </a:cubicBezTo>
                <a:cubicBezTo>
                  <a:pt x="30781" y="1219"/>
                  <a:pt x="30625" y="1375"/>
                  <a:pt x="30469" y="1469"/>
                </a:cubicBezTo>
                <a:cubicBezTo>
                  <a:pt x="30094" y="1688"/>
                  <a:pt x="29750" y="1969"/>
                  <a:pt x="29375" y="2188"/>
                </a:cubicBezTo>
                <a:cubicBezTo>
                  <a:pt x="28906" y="2500"/>
                  <a:pt x="28438" y="2813"/>
                  <a:pt x="27969" y="3094"/>
                </a:cubicBezTo>
                <a:cubicBezTo>
                  <a:pt x="27438" y="3407"/>
                  <a:pt x="26844" y="3657"/>
                  <a:pt x="26281" y="3875"/>
                </a:cubicBezTo>
                <a:cubicBezTo>
                  <a:pt x="25813" y="4063"/>
                  <a:pt x="25344" y="4219"/>
                  <a:pt x="24875" y="4344"/>
                </a:cubicBezTo>
                <a:cubicBezTo>
                  <a:pt x="24656" y="4407"/>
                  <a:pt x="24438" y="4500"/>
                  <a:pt x="24219" y="4438"/>
                </a:cubicBezTo>
                <a:cubicBezTo>
                  <a:pt x="24156" y="4438"/>
                  <a:pt x="24125" y="4469"/>
                  <a:pt x="24125" y="4532"/>
                </a:cubicBezTo>
                <a:cubicBezTo>
                  <a:pt x="24344" y="4532"/>
                  <a:pt x="24563" y="4532"/>
                  <a:pt x="24750" y="4657"/>
                </a:cubicBezTo>
                <a:cubicBezTo>
                  <a:pt x="24063" y="4813"/>
                  <a:pt x="23344" y="4907"/>
                  <a:pt x="22656" y="4969"/>
                </a:cubicBezTo>
                <a:cubicBezTo>
                  <a:pt x="22719" y="5000"/>
                  <a:pt x="22781" y="5125"/>
                  <a:pt x="22906" y="5063"/>
                </a:cubicBezTo>
                <a:cubicBezTo>
                  <a:pt x="22938" y="5032"/>
                  <a:pt x="23031" y="5094"/>
                  <a:pt x="23031" y="5125"/>
                </a:cubicBezTo>
                <a:cubicBezTo>
                  <a:pt x="23031" y="5219"/>
                  <a:pt x="22938" y="5188"/>
                  <a:pt x="22906" y="5157"/>
                </a:cubicBezTo>
                <a:cubicBezTo>
                  <a:pt x="22781" y="5157"/>
                  <a:pt x="22656" y="5157"/>
                  <a:pt x="22500" y="5219"/>
                </a:cubicBezTo>
                <a:cubicBezTo>
                  <a:pt x="22594" y="5250"/>
                  <a:pt x="22625" y="5438"/>
                  <a:pt x="22750" y="5250"/>
                </a:cubicBezTo>
                <a:cubicBezTo>
                  <a:pt x="22750" y="5250"/>
                  <a:pt x="22781" y="5250"/>
                  <a:pt x="22813" y="5250"/>
                </a:cubicBezTo>
                <a:cubicBezTo>
                  <a:pt x="22906" y="5250"/>
                  <a:pt x="22938" y="5250"/>
                  <a:pt x="23125" y="5344"/>
                </a:cubicBezTo>
                <a:cubicBezTo>
                  <a:pt x="22938" y="5407"/>
                  <a:pt x="22781" y="5438"/>
                  <a:pt x="22594" y="5407"/>
                </a:cubicBezTo>
                <a:cubicBezTo>
                  <a:pt x="22500" y="5407"/>
                  <a:pt x="22438" y="5407"/>
                  <a:pt x="22344" y="5438"/>
                </a:cubicBezTo>
                <a:cubicBezTo>
                  <a:pt x="22281" y="5469"/>
                  <a:pt x="22250" y="5500"/>
                  <a:pt x="22188" y="5438"/>
                </a:cubicBezTo>
                <a:cubicBezTo>
                  <a:pt x="22063" y="5375"/>
                  <a:pt x="21906" y="5375"/>
                  <a:pt x="21781" y="5313"/>
                </a:cubicBezTo>
                <a:cubicBezTo>
                  <a:pt x="21781" y="5313"/>
                  <a:pt x="21750" y="5313"/>
                  <a:pt x="21750" y="5313"/>
                </a:cubicBezTo>
                <a:cubicBezTo>
                  <a:pt x="21844" y="5438"/>
                  <a:pt x="21813" y="5500"/>
                  <a:pt x="21688" y="5532"/>
                </a:cubicBezTo>
                <a:cubicBezTo>
                  <a:pt x="21563" y="5532"/>
                  <a:pt x="21406" y="5563"/>
                  <a:pt x="21281" y="5438"/>
                </a:cubicBezTo>
                <a:cubicBezTo>
                  <a:pt x="21344" y="5532"/>
                  <a:pt x="21313" y="5563"/>
                  <a:pt x="21219" y="5563"/>
                </a:cubicBezTo>
                <a:cubicBezTo>
                  <a:pt x="21031" y="5563"/>
                  <a:pt x="20875" y="5594"/>
                  <a:pt x="20719" y="5594"/>
                </a:cubicBezTo>
                <a:cubicBezTo>
                  <a:pt x="20188" y="5594"/>
                  <a:pt x="19688" y="5594"/>
                  <a:pt x="19156" y="5532"/>
                </a:cubicBezTo>
                <a:cubicBezTo>
                  <a:pt x="18906" y="5500"/>
                  <a:pt x="18656" y="5438"/>
                  <a:pt x="18438" y="5375"/>
                </a:cubicBezTo>
                <a:cubicBezTo>
                  <a:pt x="18406" y="5344"/>
                  <a:pt x="18375" y="5344"/>
                  <a:pt x="18344" y="5375"/>
                </a:cubicBezTo>
                <a:cubicBezTo>
                  <a:pt x="18344" y="5407"/>
                  <a:pt x="18375" y="5438"/>
                  <a:pt x="18406" y="5438"/>
                </a:cubicBezTo>
                <a:cubicBezTo>
                  <a:pt x="18469" y="5407"/>
                  <a:pt x="18500" y="5469"/>
                  <a:pt x="18563" y="5469"/>
                </a:cubicBezTo>
                <a:cubicBezTo>
                  <a:pt x="18594" y="5469"/>
                  <a:pt x="18625" y="5469"/>
                  <a:pt x="18625" y="5500"/>
                </a:cubicBezTo>
                <a:cubicBezTo>
                  <a:pt x="18656" y="5500"/>
                  <a:pt x="18656" y="5500"/>
                  <a:pt x="18688" y="5532"/>
                </a:cubicBezTo>
                <a:cubicBezTo>
                  <a:pt x="18688" y="5532"/>
                  <a:pt x="18719" y="5532"/>
                  <a:pt x="18719" y="5532"/>
                </a:cubicBezTo>
                <a:cubicBezTo>
                  <a:pt x="18813" y="5500"/>
                  <a:pt x="18875" y="5563"/>
                  <a:pt x="18969" y="5563"/>
                </a:cubicBezTo>
                <a:cubicBezTo>
                  <a:pt x="18844" y="5625"/>
                  <a:pt x="18719" y="5563"/>
                  <a:pt x="18594" y="5563"/>
                </a:cubicBezTo>
                <a:cubicBezTo>
                  <a:pt x="18563" y="5563"/>
                  <a:pt x="18531" y="5532"/>
                  <a:pt x="18500" y="5500"/>
                </a:cubicBezTo>
                <a:cubicBezTo>
                  <a:pt x="18469" y="5500"/>
                  <a:pt x="18469" y="5500"/>
                  <a:pt x="18438" y="5500"/>
                </a:cubicBezTo>
                <a:cubicBezTo>
                  <a:pt x="18406" y="5500"/>
                  <a:pt x="18375" y="5532"/>
                  <a:pt x="18344" y="5500"/>
                </a:cubicBezTo>
                <a:cubicBezTo>
                  <a:pt x="18313" y="5500"/>
                  <a:pt x="18281" y="5532"/>
                  <a:pt x="18250" y="5532"/>
                </a:cubicBezTo>
                <a:cubicBezTo>
                  <a:pt x="18344" y="5563"/>
                  <a:pt x="18438" y="5625"/>
                  <a:pt x="18531" y="5594"/>
                </a:cubicBezTo>
                <a:cubicBezTo>
                  <a:pt x="18531" y="5657"/>
                  <a:pt x="18469" y="5657"/>
                  <a:pt x="18469" y="5657"/>
                </a:cubicBezTo>
                <a:cubicBezTo>
                  <a:pt x="18406" y="5750"/>
                  <a:pt x="18375" y="5750"/>
                  <a:pt x="18344" y="5657"/>
                </a:cubicBezTo>
                <a:cubicBezTo>
                  <a:pt x="18344" y="5625"/>
                  <a:pt x="18281" y="5625"/>
                  <a:pt x="18250" y="5625"/>
                </a:cubicBezTo>
                <a:cubicBezTo>
                  <a:pt x="18156" y="5750"/>
                  <a:pt x="18156" y="5563"/>
                  <a:pt x="18094" y="5594"/>
                </a:cubicBezTo>
                <a:cubicBezTo>
                  <a:pt x="18063" y="5532"/>
                  <a:pt x="18125" y="5563"/>
                  <a:pt x="18125" y="5563"/>
                </a:cubicBezTo>
                <a:cubicBezTo>
                  <a:pt x="18188" y="5500"/>
                  <a:pt x="18156" y="5469"/>
                  <a:pt x="18094" y="5438"/>
                </a:cubicBezTo>
                <a:cubicBezTo>
                  <a:pt x="17938" y="5407"/>
                  <a:pt x="17750" y="5375"/>
                  <a:pt x="17594" y="5313"/>
                </a:cubicBezTo>
                <a:cubicBezTo>
                  <a:pt x="17438" y="5250"/>
                  <a:pt x="17281" y="5219"/>
                  <a:pt x="17156" y="5157"/>
                </a:cubicBezTo>
                <a:cubicBezTo>
                  <a:pt x="17125" y="5125"/>
                  <a:pt x="17063" y="5125"/>
                  <a:pt x="17031" y="5157"/>
                </a:cubicBezTo>
                <a:cubicBezTo>
                  <a:pt x="17125" y="5282"/>
                  <a:pt x="17250" y="5344"/>
                  <a:pt x="17344" y="5250"/>
                </a:cubicBezTo>
                <a:cubicBezTo>
                  <a:pt x="17344" y="5344"/>
                  <a:pt x="17375" y="5407"/>
                  <a:pt x="17500" y="5407"/>
                </a:cubicBezTo>
                <a:cubicBezTo>
                  <a:pt x="17531" y="5407"/>
                  <a:pt x="17563" y="5438"/>
                  <a:pt x="17625" y="5469"/>
                </a:cubicBezTo>
                <a:cubicBezTo>
                  <a:pt x="17531" y="5500"/>
                  <a:pt x="17438" y="5469"/>
                  <a:pt x="17344" y="5438"/>
                </a:cubicBezTo>
                <a:cubicBezTo>
                  <a:pt x="17125" y="5344"/>
                  <a:pt x="16938" y="5282"/>
                  <a:pt x="16719" y="5188"/>
                </a:cubicBezTo>
                <a:cubicBezTo>
                  <a:pt x="16688" y="5188"/>
                  <a:pt x="16656" y="5157"/>
                  <a:pt x="16625" y="5219"/>
                </a:cubicBezTo>
                <a:cubicBezTo>
                  <a:pt x="16594" y="5313"/>
                  <a:pt x="16500" y="5250"/>
                  <a:pt x="16469" y="5219"/>
                </a:cubicBezTo>
                <a:cubicBezTo>
                  <a:pt x="16313" y="5094"/>
                  <a:pt x="16313" y="5094"/>
                  <a:pt x="16188" y="5250"/>
                </a:cubicBezTo>
                <a:cubicBezTo>
                  <a:pt x="16375" y="5250"/>
                  <a:pt x="16500" y="5344"/>
                  <a:pt x="16656" y="5438"/>
                </a:cubicBezTo>
                <a:cubicBezTo>
                  <a:pt x="16500" y="5594"/>
                  <a:pt x="16438" y="5438"/>
                  <a:pt x="16344" y="5375"/>
                </a:cubicBezTo>
                <a:cubicBezTo>
                  <a:pt x="16313" y="5375"/>
                  <a:pt x="16344" y="5282"/>
                  <a:pt x="16313" y="5344"/>
                </a:cubicBezTo>
                <a:cubicBezTo>
                  <a:pt x="16250" y="5407"/>
                  <a:pt x="16219" y="5344"/>
                  <a:pt x="16156" y="5313"/>
                </a:cubicBezTo>
                <a:cubicBezTo>
                  <a:pt x="16063" y="5282"/>
                  <a:pt x="16031" y="5313"/>
                  <a:pt x="16063" y="5438"/>
                </a:cubicBezTo>
                <a:cubicBezTo>
                  <a:pt x="15969" y="5344"/>
                  <a:pt x="15719" y="5500"/>
                  <a:pt x="15719" y="5219"/>
                </a:cubicBezTo>
                <a:cubicBezTo>
                  <a:pt x="15719" y="5219"/>
                  <a:pt x="15688" y="5219"/>
                  <a:pt x="15656" y="5188"/>
                </a:cubicBezTo>
                <a:cubicBezTo>
                  <a:pt x="15625" y="5188"/>
                  <a:pt x="15594" y="5188"/>
                  <a:pt x="15563" y="5157"/>
                </a:cubicBezTo>
                <a:cubicBezTo>
                  <a:pt x="15500" y="5157"/>
                  <a:pt x="15594" y="5313"/>
                  <a:pt x="15469" y="5250"/>
                </a:cubicBezTo>
                <a:cubicBezTo>
                  <a:pt x="15438" y="5250"/>
                  <a:pt x="15375" y="5219"/>
                  <a:pt x="15406" y="5188"/>
                </a:cubicBezTo>
                <a:cubicBezTo>
                  <a:pt x="15438" y="5125"/>
                  <a:pt x="15469" y="5125"/>
                  <a:pt x="15500" y="5125"/>
                </a:cubicBezTo>
                <a:cubicBezTo>
                  <a:pt x="15531" y="5125"/>
                  <a:pt x="15531" y="5125"/>
                  <a:pt x="15563" y="5125"/>
                </a:cubicBezTo>
                <a:cubicBezTo>
                  <a:pt x="15563" y="5032"/>
                  <a:pt x="15469" y="5063"/>
                  <a:pt x="15375" y="5032"/>
                </a:cubicBezTo>
                <a:cubicBezTo>
                  <a:pt x="15375" y="5000"/>
                  <a:pt x="15469" y="5032"/>
                  <a:pt x="15469" y="4969"/>
                </a:cubicBezTo>
                <a:cubicBezTo>
                  <a:pt x="15406" y="4938"/>
                  <a:pt x="15344" y="4907"/>
                  <a:pt x="15281" y="4907"/>
                </a:cubicBezTo>
                <a:cubicBezTo>
                  <a:pt x="15156" y="4844"/>
                  <a:pt x="15188" y="4907"/>
                  <a:pt x="15219" y="4969"/>
                </a:cubicBezTo>
                <a:cubicBezTo>
                  <a:pt x="15094" y="5000"/>
                  <a:pt x="15000" y="4813"/>
                  <a:pt x="14844" y="4907"/>
                </a:cubicBezTo>
                <a:cubicBezTo>
                  <a:pt x="14906" y="5000"/>
                  <a:pt x="15031" y="5000"/>
                  <a:pt x="15125" y="5032"/>
                </a:cubicBezTo>
                <a:cubicBezTo>
                  <a:pt x="15188" y="5094"/>
                  <a:pt x="15219" y="5125"/>
                  <a:pt x="15156" y="5219"/>
                </a:cubicBezTo>
                <a:cubicBezTo>
                  <a:pt x="15219" y="5219"/>
                  <a:pt x="15250" y="5219"/>
                  <a:pt x="15313" y="5219"/>
                </a:cubicBezTo>
                <a:cubicBezTo>
                  <a:pt x="15219" y="5313"/>
                  <a:pt x="15156" y="5313"/>
                  <a:pt x="15094" y="5250"/>
                </a:cubicBezTo>
                <a:cubicBezTo>
                  <a:pt x="15031" y="5219"/>
                  <a:pt x="14938" y="5157"/>
                  <a:pt x="14844" y="5125"/>
                </a:cubicBezTo>
                <a:cubicBezTo>
                  <a:pt x="14813" y="5125"/>
                  <a:pt x="14781" y="5125"/>
                  <a:pt x="14781" y="5188"/>
                </a:cubicBezTo>
                <a:cubicBezTo>
                  <a:pt x="14781" y="5219"/>
                  <a:pt x="14813" y="5219"/>
                  <a:pt x="14844" y="5219"/>
                </a:cubicBezTo>
                <a:cubicBezTo>
                  <a:pt x="14938" y="5219"/>
                  <a:pt x="15031" y="5250"/>
                  <a:pt x="15031" y="5375"/>
                </a:cubicBezTo>
                <a:cubicBezTo>
                  <a:pt x="15063" y="5438"/>
                  <a:pt x="15094" y="5438"/>
                  <a:pt x="15156" y="5469"/>
                </a:cubicBezTo>
                <a:cubicBezTo>
                  <a:pt x="15250" y="5469"/>
                  <a:pt x="15313" y="5500"/>
                  <a:pt x="15344" y="5563"/>
                </a:cubicBezTo>
                <a:cubicBezTo>
                  <a:pt x="15375" y="5657"/>
                  <a:pt x="15438" y="5625"/>
                  <a:pt x="15469" y="5625"/>
                </a:cubicBezTo>
                <a:cubicBezTo>
                  <a:pt x="15625" y="5594"/>
                  <a:pt x="15719" y="5688"/>
                  <a:pt x="15813" y="5813"/>
                </a:cubicBezTo>
                <a:cubicBezTo>
                  <a:pt x="15875" y="5813"/>
                  <a:pt x="15938" y="5813"/>
                  <a:pt x="16000" y="5875"/>
                </a:cubicBezTo>
                <a:cubicBezTo>
                  <a:pt x="16031" y="5938"/>
                  <a:pt x="16094" y="5969"/>
                  <a:pt x="16188" y="5969"/>
                </a:cubicBezTo>
                <a:cubicBezTo>
                  <a:pt x="16219" y="5969"/>
                  <a:pt x="16281" y="6000"/>
                  <a:pt x="16250" y="6032"/>
                </a:cubicBezTo>
                <a:cubicBezTo>
                  <a:pt x="16250" y="6094"/>
                  <a:pt x="16188" y="6063"/>
                  <a:pt x="16156" y="6032"/>
                </a:cubicBezTo>
                <a:cubicBezTo>
                  <a:pt x="16063" y="5969"/>
                  <a:pt x="15906" y="6032"/>
                  <a:pt x="15875" y="5907"/>
                </a:cubicBezTo>
                <a:cubicBezTo>
                  <a:pt x="15844" y="5875"/>
                  <a:pt x="15781" y="5907"/>
                  <a:pt x="15750" y="5844"/>
                </a:cubicBezTo>
                <a:cubicBezTo>
                  <a:pt x="15688" y="5813"/>
                  <a:pt x="15625" y="5782"/>
                  <a:pt x="15531" y="5750"/>
                </a:cubicBezTo>
                <a:cubicBezTo>
                  <a:pt x="15313" y="5688"/>
                  <a:pt x="15125" y="5532"/>
                  <a:pt x="14875" y="5500"/>
                </a:cubicBezTo>
                <a:cubicBezTo>
                  <a:pt x="14844" y="5500"/>
                  <a:pt x="14781" y="5500"/>
                  <a:pt x="14750" y="5469"/>
                </a:cubicBezTo>
                <a:cubicBezTo>
                  <a:pt x="14719" y="5344"/>
                  <a:pt x="14625" y="5375"/>
                  <a:pt x="14563" y="5344"/>
                </a:cubicBezTo>
                <a:cubicBezTo>
                  <a:pt x="14500" y="5282"/>
                  <a:pt x="14438" y="5188"/>
                  <a:pt x="14313" y="5219"/>
                </a:cubicBezTo>
                <a:cubicBezTo>
                  <a:pt x="14281" y="5219"/>
                  <a:pt x="14219" y="5188"/>
                  <a:pt x="14156" y="5157"/>
                </a:cubicBezTo>
                <a:cubicBezTo>
                  <a:pt x="13969" y="5000"/>
                  <a:pt x="13719" y="4969"/>
                  <a:pt x="13531" y="4813"/>
                </a:cubicBezTo>
                <a:cubicBezTo>
                  <a:pt x="13469" y="4782"/>
                  <a:pt x="13406" y="4782"/>
                  <a:pt x="13344" y="4750"/>
                </a:cubicBezTo>
                <a:cubicBezTo>
                  <a:pt x="13313" y="4750"/>
                  <a:pt x="13281" y="4719"/>
                  <a:pt x="13281" y="4813"/>
                </a:cubicBezTo>
                <a:cubicBezTo>
                  <a:pt x="13281" y="4844"/>
                  <a:pt x="13250" y="4875"/>
                  <a:pt x="13344" y="4875"/>
                </a:cubicBezTo>
                <a:cubicBezTo>
                  <a:pt x="13438" y="4875"/>
                  <a:pt x="13469" y="4969"/>
                  <a:pt x="13500" y="5032"/>
                </a:cubicBezTo>
                <a:cubicBezTo>
                  <a:pt x="13438" y="5063"/>
                  <a:pt x="13406" y="5063"/>
                  <a:pt x="13344" y="5063"/>
                </a:cubicBezTo>
                <a:cubicBezTo>
                  <a:pt x="13313" y="5063"/>
                  <a:pt x="13375" y="5157"/>
                  <a:pt x="13281" y="5125"/>
                </a:cubicBezTo>
                <a:cubicBezTo>
                  <a:pt x="13219" y="5063"/>
                  <a:pt x="13313" y="5032"/>
                  <a:pt x="13281" y="5000"/>
                </a:cubicBezTo>
                <a:cubicBezTo>
                  <a:pt x="13281" y="5000"/>
                  <a:pt x="13281" y="5000"/>
                  <a:pt x="13250" y="5000"/>
                </a:cubicBezTo>
                <a:cubicBezTo>
                  <a:pt x="13188" y="5000"/>
                  <a:pt x="13156" y="4938"/>
                  <a:pt x="13125" y="4907"/>
                </a:cubicBezTo>
                <a:cubicBezTo>
                  <a:pt x="13063" y="4844"/>
                  <a:pt x="12969" y="4813"/>
                  <a:pt x="12875" y="4750"/>
                </a:cubicBezTo>
                <a:cubicBezTo>
                  <a:pt x="12875" y="4750"/>
                  <a:pt x="12781" y="4719"/>
                  <a:pt x="12813" y="4813"/>
                </a:cubicBezTo>
                <a:cubicBezTo>
                  <a:pt x="12875" y="4844"/>
                  <a:pt x="12813" y="4907"/>
                  <a:pt x="12844" y="4969"/>
                </a:cubicBezTo>
                <a:cubicBezTo>
                  <a:pt x="12781" y="4969"/>
                  <a:pt x="12719" y="4969"/>
                  <a:pt x="12750" y="4875"/>
                </a:cubicBezTo>
                <a:cubicBezTo>
                  <a:pt x="12688" y="4813"/>
                  <a:pt x="12594" y="4813"/>
                  <a:pt x="12531" y="4907"/>
                </a:cubicBezTo>
                <a:cubicBezTo>
                  <a:pt x="12531" y="4938"/>
                  <a:pt x="12563" y="4938"/>
                  <a:pt x="12563" y="4938"/>
                </a:cubicBezTo>
                <a:cubicBezTo>
                  <a:pt x="12719" y="4969"/>
                  <a:pt x="12688" y="5032"/>
                  <a:pt x="12656" y="5125"/>
                </a:cubicBezTo>
                <a:cubicBezTo>
                  <a:pt x="12656" y="5157"/>
                  <a:pt x="12688" y="5188"/>
                  <a:pt x="12719" y="5157"/>
                </a:cubicBezTo>
                <a:cubicBezTo>
                  <a:pt x="12813" y="5125"/>
                  <a:pt x="12875" y="5188"/>
                  <a:pt x="12906" y="5282"/>
                </a:cubicBezTo>
                <a:cubicBezTo>
                  <a:pt x="12938" y="5282"/>
                  <a:pt x="12969" y="5282"/>
                  <a:pt x="12969" y="5313"/>
                </a:cubicBezTo>
                <a:cubicBezTo>
                  <a:pt x="13031" y="5407"/>
                  <a:pt x="13156" y="5375"/>
                  <a:pt x="13250" y="5438"/>
                </a:cubicBezTo>
                <a:cubicBezTo>
                  <a:pt x="13406" y="5563"/>
                  <a:pt x="13594" y="5688"/>
                  <a:pt x="13750" y="5813"/>
                </a:cubicBezTo>
                <a:cubicBezTo>
                  <a:pt x="13813" y="5813"/>
                  <a:pt x="13906" y="5813"/>
                  <a:pt x="13906" y="5907"/>
                </a:cubicBezTo>
                <a:cubicBezTo>
                  <a:pt x="13938" y="5907"/>
                  <a:pt x="13969" y="5938"/>
                  <a:pt x="14000" y="5969"/>
                </a:cubicBezTo>
                <a:cubicBezTo>
                  <a:pt x="14094" y="6000"/>
                  <a:pt x="14063" y="5938"/>
                  <a:pt x="14063" y="5907"/>
                </a:cubicBezTo>
                <a:cubicBezTo>
                  <a:pt x="14000" y="5813"/>
                  <a:pt x="13938" y="5750"/>
                  <a:pt x="13844" y="5688"/>
                </a:cubicBezTo>
                <a:cubicBezTo>
                  <a:pt x="13813" y="5688"/>
                  <a:pt x="13750" y="5844"/>
                  <a:pt x="13750" y="5688"/>
                </a:cubicBezTo>
                <a:cubicBezTo>
                  <a:pt x="13750" y="5657"/>
                  <a:pt x="13781" y="5657"/>
                  <a:pt x="13750" y="5657"/>
                </a:cubicBezTo>
                <a:cubicBezTo>
                  <a:pt x="13563" y="5594"/>
                  <a:pt x="13500" y="5407"/>
                  <a:pt x="13313" y="5375"/>
                </a:cubicBezTo>
                <a:cubicBezTo>
                  <a:pt x="13219" y="5375"/>
                  <a:pt x="13281" y="5282"/>
                  <a:pt x="13250" y="5219"/>
                </a:cubicBezTo>
                <a:cubicBezTo>
                  <a:pt x="13375" y="5313"/>
                  <a:pt x="13500" y="5344"/>
                  <a:pt x="13656" y="5407"/>
                </a:cubicBezTo>
                <a:cubicBezTo>
                  <a:pt x="13719" y="5407"/>
                  <a:pt x="13875" y="5407"/>
                  <a:pt x="13813" y="5563"/>
                </a:cubicBezTo>
                <a:cubicBezTo>
                  <a:pt x="13781" y="5594"/>
                  <a:pt x="13844" y="5657"/>
                  <a:pt x="13844" y="5688"/>
                </a:cubicBezTo>
                <a:cubicBezTo>
                  <a:pt x="13938" y="5594"/>
                  <a:pt x="13969" y="5657"/>
                  <a:pt x="14031" y="5719"/>
                </a:cubicBezTo>
                <a:cubicBezTo>
                  <a:pt x="14063" y="5719"/>
                  <a:pt x="14063" y="5719"/>
                  <a:pt x="14094" y="5688"/>
                </a:cubicBezTo>
                <a:cubicBezTo>
                  <a:pt x="14094" y="5719"/>
                  <a:pt x="14094" y="5750"/>
                  <a:pt x="14094" y="5750"/>
                </a:cubicBezTo>
                <a:cubicBezTo>
                  <a:pt x="14156" y="5813"/>
                  <a:pt x="14188" y="5875"/>
                  <a:pt x="14281" y="5844"/>
                </a:cubicBezTo>
                <a:cubicBezTo>
                  <a:pt x="14281" y="5750"/>
                  <a:pt x="14219" y="5688"/>
                  <a:pt x="14094" y="5688"/>
                </a:cubicBezTo>
                <a:cubicBezTo>
                  <a:pt x="14156" y="5594"/>
                  <a:pt x="14219" y="5625"/>
                  <a:pt x="14281" y="5688"/>
                </a:cubicBezTo>
                <a:cubicBezTo>
                  <a:pt x="14313" y="5719"/>
                  <a:pt x="14344" y="5813"/>
                  <a:pt x="14406" y="5844"/>
                </a:cubicBezTo>
                <a:cubicBezTo>
                  <a:pt x="14563" y="5907"/>
                  <a:pt x="14813" y="5938"/>
                  <a:pt x="15031" y="5875"/>
                </a:cubicBezTo>
                <a:cubicBezTo>
                  <a:pt x="15000" y="5844"/>
                  <a:pt x="14969" y="5844"/>
                  <a:pt x="14938" y="5813"/>
                </a:cubicBezTo>
                <a:cubicBezTo>
                  <a:pt x="14906" y="5813"/>
                  <a:pt x="14844" y="5813"/>
                  <a:pt x="14875" y="5750"/>
                </a:cubicBezTo>
                <a:cubicBezTo>
                  <a:pt x="14875" y="5719"/>
                  <a:pt x="14906" y="5750"/>
                  <a:pt x="14938" y="5750"/>
                </a:cubicBezTo>
                <a:cubicBezTo>
                  <a:pt x="15031" y="5719"/>
                  <a:pt x="15094" y="5750"/>
                  <a:pt x="15125" y="5813"/>
                </a:cubicBezTo>
                <a:cubicBezTo>
                  <a:pt x="15156" y="5907"/>
                  <a:pt x="15063" y="5907"/>
                  <a:pt x="15031" y="5938"/>
                </a:cubicBezTo>
                <a:cubicBezTo>
                  <a:pt x="14969" y="6000"/>
                  <a:pt x="14906" y="6063"/>
                  <a:pt x="15031" y="6125"/>
                </a:cubicBezTo>
                <a:cubicBezTo>
                  <a:pt x="15094" y="6157"/>
                  <a:pt x="15125" y="6219"/>
                  <a:pt x="15125" y="6313"/>
                </a:cubicBezTo>
                <a:cubicBezTo>
                  <a:pt x="15188" y="6344"/>
                  <a:pt x="15281" y="6344"/>
                  <a:pt x="15313" y="6438"/>
                </a:cubicBezTo>
                <a:cubicBezTo>
                  <a:pt x="15344" y="6469"/>
                  <a:pt x="15375" y="6469"/>
                  <a:pt x="15406" y="6469"/>
                </a:cubicBezTo>
                <a:cubicBezTo>
                  <a:pt x="15469" y="6438"/>
                  <a:pt x="15563" y="6469"/>
                  <a:pt x="15625" y="6500"/>
                </a:cubicBezTo>
                <a:cubicBezTo>
                  <a:pt x="15531" y="6625"/>
                  <a:pt x="15469" y="6625"/>
                  <a:pt x="15281" y="6500"/>
                </a:cubicBezTo>
                <a:cubicBezTo>
                  <a:pt x="15188" y="6469"/>
                  <a:pt x="15125" y="6407"/>
                  <a:pt x="15031" y="6344"/>
                </a:cubicBezTo>
                <a:cubicBezTo>
                  <a:pt x="15031" y="6313"/>
                  <a:pt x="15031" y="6282"/>
                  <a:pt x="15000" y="6250"/>
                </a:cubicBezTo>
                <a:cubicBezTo>
                  <a:pt x="14969" y="6250"/>
                  <a:pt x="14969" y="6250"/>
                  <a:pt x="14969" y="6250"/>
                </a:cubicBezTo>
                <a:cubicBezTo>
                  <a:pt x="14875" y="6438"/>
                  <a:pt x="14813" y="6250"/>
                  <a:pt x="14750" y="6219"/>
                </a:cubicBezTo>
                <a:cubicBezTo>
                  <a:pt x="14531" y="6188"/>
                  <a:pt x="14375" y="6032"/>
                  <a:pt x="14188" y="5938"/>
                </a:cubicBezTo>
                <a:cubicBezTo>
                  <a:pt x="14188" y="5969"/>
                  <a:pt x="14188" y="6000"/>
                  <a:pt x="14219" y="6032"/>
                </a:cubicBezTo>
                <a:cubicBezTo>
                  <a:pt x="14375" y="6157"/>
                  <a:pt x="14594" y="6188"/>
                  <a:pt x="14719" y="6407"/>
                </a:cubicBezTo>
                <a:cubicBezTo>
                  <a:pt x="14688" y="6407"/>
                  <a:pt x="14625" y="6407"/>
                  <a:pt x="14594" y="6407"/>
                </a:cubicBezTo>
                <a:cubicBezTo>
                  <a:pt x="14594" y="6407"/>
                  <a:pt x="14594" y="6407"/>
                  <a:pt x="14594" y="6407"/>
                </a:cubicBezTo>
                <a:cubicBezTo>
                  <a:pt x="14594" y="6407"/>
                  <a:pt x="14594" y="6407"/>
                  <a:pt x="14594" y="6407"/>
                </a:cubicBezTo>
                <a:cubicBezTo>
                  <a:pt x="14625" y="6407"/>
                  <a:pt x="14625" y="6407"/>
                  <a:pt x="14625" y="6407"/>
                </a:cubicBezTo>
                <a:cubicBezTo>
                  <a:pt x="14594" y="6532"/>
                  <a:pt x="14750" y="6469"/>
                  <a:pt x="14781" y="6563"/>
                </a:cubicBezTo>
                <a:cubicBezTo>
                  <a:pt x="14781" y="6594"/>
                  <a:pt x="14688" y="6563"/>
                  <a:pt x="14719" y="6594"/>
                </a:cubicBezTo>
                <a:cubicBezTo>
                  <a:pt x="14719" y="6625"/>
                  <a:pt x="14719" y="6657"/>
                  <a:pt x="14750" y="6657"/>
                </a:cubicBezTo>
                <a:cubicBezTo>
                  <a:pt x="14844" y="6688"/>
                  <a:pt x="14938" y="6688"/>
                  <a:pt x="15031" y="6719"/>
                </a:cubicBezTo>
                <a:cubicBezTo>
                  <a:pt x="14938" y="6594"/>
                  <a:pt x="14844" y="6500"/>
                  <a:pt x="14750" y="6438"/>
                </a:cubicBezTo>
                <a:cubicBezTo>
                  <a:pt x="14906" y="6469"/>
                  <a:pt x="15063" y="6532"/>
                  <a:pt x="15188" y="6625"/>
                </a:cubicBezTo>
                <a:cubicBezTo>
                  <a:pt x="15250" y="6657"/>
                  <a:pt x="15375" y="6657"/>
                  <a:pt x="15375" y="6782"/>
                </a:cubicBezTo>
                <a:cubicBezTo>
                  <a:pt x="15375" y="6782"/>
                  <a:pt x="15375" y="6782"/>
                  <a:pt x="15406" y="6813"/>
                </a:cubicBezTo>
                <a:cubicBezTo>
                  <a:pt x="15406" y="6813"/>
                  <a:pt x="15438" y="6782"/>
                  <a:pt x="15469" y="6782"/>
                </a:cubicBezTo>
                <a:cubicBezTo>
                  <a:pt x="15531" y="6750"/>
                  <a:pt x="15563" y="6750"/>
                  <a:pt x="15625" y="6782"/>
                </a:cubicBezTo>
                <a:cubicBezTo>
                  <a:pt x="15656" y="6782"/>
                  <a:pt x="15688" y="6813"/>
                  <a:pt x="15750" y="6813"/>
                </a:cubicBezTo>
                <a:cubicBezTo>
                  <a:pt x="15781" y="6813"/>
                  <a:pt x="15813" y="6782"/>
                  <a:pt x="15844" y="6782"/>
                </a:cubicBezTo>
                <a:cubicBezTo>
                  <a:pt x="15781" y="6719"/>
                  <a:pt x="15688" y="6688"/>
                  <a:pt x="15656" y="6563"/>
                </a:cubicBezTo>
                <a:cubicBezTo>
                  <a:pt x="15813" y="6719"/>
                  <a:pt x="16000" y="6750"/>
                  <a:pt x="16156" y="6844"/>
                </a:cubicBezTo>
                <a:cubicBezTo>
                  <a:pt x="16063" y="6844"/>
                  <a:pt x="15969" y="6844"/>
                  <a:pt x="15906" y="6813"/>
                </a:cubicBezTo>
                <a:cubicBezTo>
                  <a:pt x="15875" y="6782"/>
                  <a:pt x="15813" y="6750"/>
                  <a:pt x="15813" y="6844"/>
                </a:cubicBezTo>
                <a:cubicBezTo>
                  <a:pt x="15875" y="6969"/>
                  <a:pt x="16031" y="6875"/>
                  <a:pt x="16063" y="7000"/>
                </a:cubicBezTo>
                <a:cubicBezTo>
                  <a:pt x="16031" y="7032"/>
                  <a:pt x="16000" y="6969"/>
                  <a:pt x="15969" y="7032"/>
                </a:cubicBezTo>
                <a:cubicBezTo>
                  <a:pt x="16031" y="7125"/>
                  <a:pt x="16125" y="7094"/>
                  <a:pt x="16219" y="7094"/>
                </a:cubicBezTo>
                <a:cubicBezTo>
                  <a:pt x="16188" y="7125"/>
                  <a:pt x="16188" y="7188"/>
                  <a:pt x="16156" y="7250"/>
                </a:cubicBezTo>
                <a:cubicBezTo>
                  <a:pt x="16125" y="7157"/>
                  <a:pt x="16063" y="7188"/>
                  <a:pt x="15969" y="7188"/>
                </a:cubicBezTo>
                <a:cubicBezTo>
                  <a:pt x="15938" y="7157"/>
                  <a:pt x="15906" y="7219"/>
                  <a:pt x="15875" y="7157"/>
                </a:cubicBezTo>
                <a:cubicBezTo>
                  <a:pt x="15813" y="7063"/>
                  <a:pt x="15719" y="7032"/>
                  <a:pt x="15625" y="7000"/>
                </a:cubicBezTo>
                <a:cubicBezTo>
                  <a:pt x="15500" y="6938"/>
                  <a:pt x="15375" y="6938"/>
                  <a:pt x="15281" y="6844"/>
                </a:cubicBezTo>
                <a:cubicBezTo>
                  <a:pt x="15250" y="6813"/>
                  <a:pt x="15188" y="6750"/>
                  <a:pt x="15156" y="6782"/>
                </a:cubicBezTo>
                <a:cubicBezTo>
                  <a:pt x="15094" y="6844"/>
                  <a:pt x="15125" y="6907"/>
                  <a:pt x="15094" y="7000"/>
                </a:cubicBezTo>
                <a:cubicBezTo>
                  <a:pt x="15094" y="7000"/>
                  <a:pt x="15125" y="7032"/>
                  <a:pt x="15156" y="7032"/>
                </a:cubicBezTo>
                <a:cubicBezTo>
                  <a:pt x="15219" y="7032"/>
                  <a:pt x="15188" y="7000"/>
                  <a:pt x="15188" y="6969"/>
                </a:cubicBezTo>
                <a:cubicBezTo>
                  <a:pt x="15156" y="6938"/>
                  <a:pt x="15188" y="6907"/>
                  <a:pt x="15219" y="6875"/>
                </a:cubicBezTo>
                <a:cubicBezTo>
                  <a:pt x="15219" y="6907"/>
                  <a:pt x="15219" y="6938"/>
                  <a:pt x="15250" y="6969"/>
                </a:cubicBezTo>
                <a:cubicBezTo>
                  <a:pt x="15281" y="7032"/>
                  <a:pt x="15281" y="7094"/>
                  <a:pt x="15313" y="7157"/>
                </a:cubicBezTo>
                <a:cubicBezTo>
                  <a:pt x="15375" y="7188"/>
                  <a:pt x="15438" y="7125"/>
                  <a:pt x="15531" y="7125"/>
                </a:cubicBezTo>
                <a:cubicBezTo>
                  <a:pt x="15594" y="7094"/>
                  <a:pt x="15594" y="7125"/>
                  <a:pt x="15625" y="7188"/>
                </a:cubicBezTo>
                <a:cubicBezTo>
                  <a:pt x="15625" y="7282"/>
                  <a:pt x="15688" y="7344"/>
                  <a:pt x="15781" y="7344"/>
                </a:cubicBezTo>
                <a:cubicBezTo>
                  <a:pt x="15781" y="7313"/>
                  <a:pt x="15781" y="7313"/>
                  <a:pt x="15781" y="7313"/>
                </a:cubicBezTo>
                <a:cubicBezTo>
                  <a:pt x="15781" y="7250"/>
                  <a:pt x="15656" y="7250"/>
                  <a:pt x="15719" y="7188"/>
                </a:cubicBezTo>
                <a:cubicBezTo>
                  <a:pt x="15781" y="7157"/>
                  <a:pt x="15813" y="7219"/>
                  <a:pt x="15875" y="7250"/>
                </a:cubicBezTo>
                <a:cubicBezTo>
                  <a:pt x="15906" y="7250"/>
                  <a:pt x="15906" y="7282"/>
                  <a:pt x="15938" y="7313"/>
                </a:cubicBezTo>
                <a:cubicBezTo>
                  <a:pt x="15969" y="7375"/>
                  <a:pt x="16000" y="7438"/>
                  <a:pt x="16094" y="7375"/>
                </a:cubicBezTo>
                <a:cubicBezTo>
                  <a:pt x="16094" y="7375"/>
                  <a:pt x="16125" y="7407"/>
                  <a:pt x="16125" y="7438"/>
                </a:cubicBezTo>
                <a:cubicBezTo>
                  <a:pt x="16313" y="7500"/>
                  <a:pt x="16500" y="7500"/>
                  <a:pt x="16625" y="7688"/>
                </a:cubicBezTo>
                <a:cubicBezTo>
                  <a:pt x="16594" y="7688"/>
                  <a:pt x="16563" y="7688"/>
                  <a:pt x="16531" y="7688"/>
                </a:cubicBezTo>
                <a:cubicBezTo>
                  <a:pt x="16375" y="7625"/>
                  <a:pt x="16094" y="7532"/>
                  <a:pt x="16094" y="7532"/>
                </a:cubicBezTo>
                <a:cubicBezTo>
                  <a:pt x="15906" y="7438"/>
                  <a:pt x="15688" y="7407"/>
                  <a:pt x="15500" y="7313"/>
                </a:cubicBezTo>
                <a:cubicBezTo>
                  <a:pt x="15219" y="7188"/>
                  <a:pt x="14938" y="7094"/>
                  <a:pt x="14688" y="6907"/>
                </a:cubicBezTo>
                <a:cubicBezTo>
                  <a:pt x="14656" y="6875"/>
                  <a:pt x="14563" y="6907"/>
                  <a:pt x="14531" y="6938"/>
                </a:cubicBezTo>
                <a:cubicBezTo>
                  <a:pt x="14500" y="6969"/>
                  <a:pt x="14531" y="7032"/>
                  <a:pt x="14563" y="7063"/>
                </a:cubicBezTo>
                <a:cubicBezTo>
                  <a:pt x="14594" y="7125"/>
                  <a:pt x="14656" y="7188"/>
                  <a:pt x="14594" y="7282"/>
                </a:cubicBezTo>
                <a:cubicBezTo>
                  <a:pt x="14563" y="7313"/>
                  <a:pt x="14563" y="7344"/>
                  <a:pt x="14625" y="7344"/>
                </a:cubicBezTo>
                <a:cubicBezTo>
                  <a:pt x="14656" y="7344"/>
                  <a:pt x="14719" y="7375"/>
                  <a:pt x="14719" y="7313"/>
                </a:cubicBezTo>
                <a:cubicBezTo>
                  <a:pt x="14719" y="7282"/>
                  <a:pt x="14688" y="7250"/>
                  <a:pt x="14750" y="7250"/>
                </a:cubicBezTo>
                <a:cubicBezTo>
                  <a:pt x="14781" y="7250"/>
                  <a:pt x="14781" y="7282"/>
                  <a:pt x="14781" y="7313"/>
                </a:cubicBezTo>
                <a:cubicBezTo>
                  <a:pt x="14781" y="7344"/>
                  <a:pt x="14781" y="7375"/>
                  <a:pt x="14781" y="7375"/>
                </a:cubicBezTo>
                <a:cubicBezTo>
                  <a:pt x="14844" y="7407"/>
                  <a:pt x="14906" y="7438"/>
                  <a:pt x="14875" y="7500"/>
                </a:cubicBezTo>
                <a:cubicBezTo>
                  <a:pt x="14844" y="7532"/>
                  <a:pt x="14750" y="7532"/>
                  <a:pt x="14719" y="7532"/>
                </a:cubicBezTo>
                <a:cubicBezTo>
                  <a:pt x="14625" y="7500"/>
                  <a:pt x="14531" y="7469"/>
                  <a:pt x="14531" y="7375"/>
                </a:cubicBezTo>
                <a:cubicBezTo>
                  <a:pt x="14500" y="7313"/>
                  <a:pt x="14469" y="7282"/>
                  <a:pt x="14438" y="7313"/>
                </a:cubicBezTo>
                <a:cubicBezTo>
                  <a:pt x="14438" y="7469"/>
                  <a:pt x="14344" y="7375"/>
                  <a:pt x="14281" y="7375"/>
                </a:cubicBezTo>
                <a:cubicBezTo>
                  <a:pt x="14156" y="7344"/>
                  <a:pt x="14031" y="7313"/>
                  <a:pt x="13938" y="7250"/>
                </a:cubicBezTo>
                <a:cubicBezTo>
                  <a:pt x="13938" y="7219"/>
                  <a:pt x="13938" y="7219"/>
                  <a:pt x="13938" y="7219"/>
                </a:cubicBezTo>
                <a:cubicBezTo>
                  <a:pt x="14063" y="7157"/>
                  <a:pt x="13938" y="7094"/>
                  <a:pt x="13906" y="7032"/>
                </a:cubicBezTo>
                <a:lnTo>
                  <a:pt x="13906" y="7032"/>
                </a:lnTo>
                <a:cubicBezTo>
                  <a:pt x="13875" y="7000"/>
                  <a:pt x="13844" y="6875"/>
                  <a:pt x="13750" y="7000"/>
                </a:cubicBezTo>
                <a:cubicBezTo>
                  <a:pt x="13719" y="7032"/>
                  <a:pt x="13688" y="7032"/>
                  <a:pt x="13656" y="7000"/>
                </a:cubicBezTo>
                <a:cubicBezTo>
                  <a:pt x="13906" y="7157"/>
                  <a:pt x="13906" y="7157"/>
                  <a:pt x="13938" y="7219"/>
                </a:cubicBezTo>
                <a:cubicBezTo>
                  <a:pt x="13938" y="7219"/>
                  <a:pt x="13938" y="7250"/>
                  <a:pt x="13938" y="7250"/>
                </a:cubicBezTo>
                <a:cubicBezTo>
                  <a:pt x="13656" y="7157"/>
                  <a:pt x="13406" y="7000"/>
                  <a:pt x="13156" y="6875"/>
                </a:cubicBezTo>
                <a:cubicBezTo>
                  <a:pt x="13000" y="6813"/>
                  <a:pt x="12844" y="6782"/>
                  <a:pt x="12719" y="6688"/>
                </a:cubicBezTo>
                <a:cubicBezTo>
                  <a:pt x="12594" y="6594"/>
                  <a:pt x="12438" y="6500"/>
                  <a:pt x="12281" y="6532"/>
                </a:cubicBezTo>
                <a:cubicBezTo>
                  <a:pt x="12219" y="6532"/>
                  <a:pt x="12188" y="6500"/>
                  <a:pt x="12188" y="6469"/>
                </a:cubicBezTo>
                <a:cubicBezTo>
                  <a:pt x="12094" y="6375"/>
                  <a:pt x="12000" y="6344"/>
                  <a:pt x="11906" y="6313"/>
                </a:cubicBezTo>
                <a:cubicBezTo>
                  <a:pt x="11813" y="6313"/>
                  <a:pt x="11750" y="6250"/>
                  <a:pt x="11656" y="6250"/>
                </a:cubicBezTo>
                <a:cubicBezTo>
                  <a:pt x="11625" y="6219"/>
                  <a:pt x="11656" y="6125"/>
                  <a:pt x="11594" y="6157"/>
                </a:cubicBezTo>
                <a:cubicBezTo>
                  <a:pt x="11531" y="6188"/>
                  <a:pt x="11438" y="6188"/>
                  <a:pt x="11375" y="6219"/>
                </a:cubicBezTo>
                <a:cubicBezTo>
                  <a:pt x="11281" y="6282"/>
                  <a:pt x="11188" y="6313"/>
                  <a:pt x="11094" y="6250"/>
                </a:cubicBezTo>
                <a:cubicBezTo>
                  <a:pt x="11063" y="6219"/>
                  <a:pt x="11031" y="6219"/>
                  <a:pt x="11000" y="6250"/>
                </a:cubicBezTo>
                <a:cubicBezTo>
                  <a:pt x="11000" y="6250"/>
                  <a:pt x="11000" y="6282"/>
                  <a:pt x="11000" y="6313"/>
                </a:cubicBezTo>
                <a:cubicBezTo>
                  <a:pt x="11000" y="6344"/>
                  <a:pt x="11031" y="6313"/>
                  <a:pt x="11063" y="6313"/>
                </a:cubicBezTo>
                <a:cubicBezTo>
                  <a:pt x="11094" y="6313"/>
                  <a:pt x="11125" y="6313"/>
                  <a:pt x="11125" y="6313"/>
                </a:cubicBezTo>
                <a:cubicBezTo>
                  <a:pt x="11219" y="6375"/>
                  <a:pt x="11281" y="6438"/>
                  <a:pt x="11375" y="6344"/>
                </a:cubicBezTo>
                <a:cubicBezTo>
                  <a:pt x="11406" y="6313"/>
                  <a:pt x="11438" y="6313"/>
                  <a:pt x="11469" y="6344"/>
                </a:cubicBezTo>
                <a:cubicBezTo>
                  <a:pt x="11469" y="6375"/>
                  <a:pt x="11500" y="6407"/>
                  <a:pt x="11469" y="6407"/>
                </a:cubicBezTo>
                <a:cubicBezTo>
                  <a:pt x="11375" y="6438"/>
                  <a:pt x="11469" y="6469"/>
                  <a:pt x="11469" y="6469"/>
                </a:cubicBezTo>
                <a:cubicBezTo>
                  <a:pt x="11563" y="6532"/>
                  <a:pt x="11625" y="6625"/>
                  <a:pt x="11719" y="6563"/>
                </a:cubicBezTo>
                <a:cubicBezTo>
                  <a:pt x="11750" y="6563"/>
                  <a:pt x="11781" y="6594"/>
                  <a:pt x="11781" y="6594"/>
                </a:cubicBezTo>
                <a:cubicBezTo>
                  <a:pt x="11750" y="6750"/>
                  <a:pt x="11875" y="6625"/>
                  <a:pt x="11906" y="6657"/>
                </a:cubicBezTo>
                <a:cubicBezTo>
                  <a:pt x="12094" y="6657"/>
                  <a:pt x="12219" y="6750"/>
                  <a:pt x="12375" y="6813"/>
                </a:cubicBezTo>
                <a:cubicBezTo>
                  <a:pt x="12281" y="6844"/>
                  <a:pt x="12219" y="6813"/>
                  <a:pt x="12156" y="6782"/>
                </a:cubicBezTo>
                <a:cubicBezTo>
                  <a:pt x="12094" y="6750"/>
                  <a:pt x="12063" y="6688"/>
                  <a:pt x="12063" y="6813"/>
                </a:cubicBezTo>
                <a:cubicBezTo>
                  <a:pt x="12094" y="6844"/>
                  <a:pt x="12125" y="6907"/>
                  <a:pt x="12156" y="6907"/>
                </a:cubicBezTo>
                <a:cubicBezTo>
                  <a:pt x="12344" y="6875"/>
                  <a:pt x="12438" y="7063"/>
                  <a:pt x="12563" y="7125"/>
                </a:cubicBezTo>
                <a:cubicBezTo>
                  <a:pt x="12594" y="7157"/>
                  <a:pt x="12625" y="7157"/>
                  <a:pt x="12656" y="7188"/>
                </a:cubicBezTo>
                <a:cubicBezTo>
                  <a:pt x="12875" y="7282"/>
                  <a:pt x="13125" y="7313"/>
                  <a:pt x="13313" y="7469"/>
                </a:cubicBezTo>
                <a:cubicBezTo>
                  <a:pt x="13500" y="7625"/>
                  <a:pt x="13719" y="7594"/>
                  <a:pt x="13875" y="7750"/>
                </a:cubicBezTo>
                <a:cubicBezTo>
                  <a:pt x="13906" y="7750"/>
                  <a:pt x="13938" y="7719"/>
                  <a:pt x="13969" y="7750"/>
                </a:cubicBezTo>
                <a:cubicBezTo>
                  <a:pt x="14031" y="7782"/>
                  <a:pt x="14125" y="7782"/>
                  <a:pt x="14125" y="7844"/>
                </a:cubicBezTo>
                <a:cubicBezTo>
                  <a:pt x="14094" y="7907"/>
                  <a:pt x="14125" y="7907"/>
                  <a:pt x="14156" y="7938"/>
                </a:cubicBezTo>
                <a:cubicBezTo>
                  <a:pt x="14219" y="7969"/>
                  <a:pt x="14250" y="8000"/>
                  <a:pt x="14281" y="8032"/>
                </a:cubicBezTo>
                <a:cubicBezTo>
                  <a:pt x="14188" y="8063"/>
                  <a:pt x="14156" y="8032"/>
                  <a:pt x="14094" y="8032"/>
                </a:cubicBezTo>
                <a:cubicBezTo>
                  <a:pt x="13813" y="7938"/>
                  <a:pt x="13531" y="7875"/>
                  <a:pt x="13281" y="7688"/>
                </a:cubicBezTo>
                <a:cubicBezTo>
                  <a:pt x="13063" y="7532"/>
                  <a:pt x="12844" y="7407"/>
                  <a:pt x="12594" y="7344"/>
                </a:cubicBezTo>
                <a:cubicBezTo>
                  <a:pt x="12469" y="7313"/>
                  <a:pt x="12313" y="7282"/>
                  <a:pt x="12250" y="7188"/>
                </a:cubicBezTo>
                <a:cubicBezTo>
                  <a:pt x="12125" y="7094"/>
                  <a:pt x="12000" y="7063"/>
                  <a:pt x="11875" y="7000"/>
                </a:cubicBezTo>
                <a:cubicBezTo>
                  <a:pt x="11719" y="6938"/>
                  <a:pt x="11531" y="6844"/>
                  <a:pt x="11438" y="6719"/>
                </a:cubicBezTo>
                <a:cubicBezTo>
                  <a:pt x="11438" y="6688"/>
                  <a:pt x="11406" y="6688"/>
                  <a:pt x="11375" y="6657"/>
                </a:cubicBezTo>
                <a:cubicBezTo>
                  <a:pt x="11250" y="6594"/>
                  <a:pt x="11125" y="6594"/>
                  <a:pt x="10969" y="6594"/>
                </a:cubicBezTo>
                <a:cubicBezTo>
                  <a:pt x="10875" y="6563"/>
                  <a:pt x="10906" y="6594"/>
                  <a:pt x="10938" y="6657"/>
                </a:cubicBezTo>
                <a:cubicBezTo>
                  <a:pt x="10938" y="6657"/>
                  <a:pt x="10938" y="6657"/>
                  <a:pt x="10938" y="6657"/>
                </a:cubicBezTo>
                <a:cubicBezTo>
                  <a:pt x="10938" y="6657"/>
                  <a:pt x="10938" y="6657"/>
                  <a:pt x="10938" y="6657"/>
                </a:cubicBezTo>
                <a:cubicBezTo>
                  <a:pt x="10813" y="6750"/>
                  <a:pt x="10813" y="6813"/>
                  <a:pt x="10938" y="6844"/>
                </a:cubicBezTo>
                <a:cubicBezTo>
                  <a:pt x="11063" y="6875"/>
                  <a:pt x="11188" y="6844"/>
                  <a:pt x="11313" y="6844"/>
                </a:cubicBezTo>
                <a:cubicBezTo>
                  <a:pt x="11375" y="6844"/>
                  <a:pt x="11375" y="6875"/>
                  <a:pt x="11375" y="6875"/>
                </a:cubicBezTo>
                <a:cubicBezTo>
                  <a:pt x="11406" y="6907"/>
                  <a:pt x="11375" y="6938"/>
                  <a:pt x="11375" y="6938"/>
                </a:cubicBezTo>
                <a:cubicBezTo>
                  <a:pt x="11344" y="6969"/>
                  <a:pt x="11281" y="6938"/>
                  <a:pt x="11281" y="7000"/>
                </a:cubicBezTo>
                <a:cubicBezTo>
                  <a:pt x="11344" y="6969"/>
                  <a:pt x="11344" y="7157"/>
                  <a:pt x="11438" y="7032"/>
                </a:cubicBezTo>
                <a:cubicBezTo>
                  <a:pt x="11469" y="7032"/>
                  <a:pt x="11500" y="7063"/>
                  <a:pt x="11500" y="7094"/>
                </a:cubicBezTo>
                <a:cubicBezTo>
                  <a:pt x="11500" y="7125"/>
                  <a:pt x="11500" y="7125"/>
                  <a:pt x="11438" y="7125"/>
                </a:cubicBezTo>
                <a:cubicBezTo>
                  <a:pt x="11281" y="7157"/>
                  <a:pt x="11125" y="7188"/>
                  <a:pt x="11000" y="7032"/>
                </a:cubicBezTo>
                <a:cubicBezTo>
                  <a:pt x="10969" y="7000"/>
                  <a:pt x="10906" y="6938"/>
                  <a:pt x="10844" y="6938"/>
                </a:cubicBezTo>
                <a:cubicBezTo>
                  <a:pt x="10750" y="6907"/>
                  <a:pt x="10656" y="6813"/>
                  <a:pt x="10500" y="6907"/>
                </a:cubicBezTo>
                <a:cubicBezTo>
                  <a:pt x="10656" y="6907"/>
                  <a:pt x="10750" y="6969"/>
                  <a:pt x="10844" y="7032"/>
                </a:cubicBezTo>
                <a:cubicBezTo>
                  <a:pt x="11000" y="7125"/>
                  <a:pt x="11156" y="7250"/>
                  <a:pt x="11344" y="7344"/>
                </a:cubicBezTo>
                <a:cubicBezTo>
                  <a:pt x="11781" y="7563"/>
                  <a:pt x="12250" y="7719"/>
                  <a:pt x="12688" y="8000"/>
                </a:cubicBezTo>
                <a:cubicBezTo>
                  <a:pt x="12688" y="8000"/>
                  <a:pt x="12719" y="8000"/>
                  <a:pt x="12750" y="8032"/>
                </a:cubicBezTo>
                <a:cubicBezTo>
                  <a:pt x="12781" y="8032"/>
                  <a:pt x="12813" y="8032"/>
                  <a:pt x="12844" y="8000"/>
                </a:cubicBezTo>
                <a:cubicBezTo>
                  <a:pt x="12844" y="7969"/>
                  <a:pt x="12813" y="7938"/>
                  <a:pt x="12750" y="7938"/>
                </a:cubicBezTo>
                <a:cubicBezTo>
                  <a:pt x="12688" y="7907"/>
                  <a:pt x="12563" y="7875"/>
                  <a:pt x="12531" y="7750"/>
                </a:cubicBezTo>
                <a:cubicBezTo>
                  <a:pt x="12625" y="7750"/>
                  <a:pt x="12688" y="7813"/>
                  <a:pt x="12781" y="7875"/>
                </a:cubicBezTo>
                <a:cubicBezTo>
                  <a:pt x="12969" y="7969"/>
                  <a:pt x="13156" y="8032"/>
                  <a:pt x="13344" y="8188"/>
                </a:cubicBezTo>
                <a:cubicBezTo>
                  <a:pt x="13281" y="8219"/>
                  <a:pt x="13219" y="8188"/>
                  <a:pt x="13188" y="8157"/>
                </a:cubicBezTo>
                <a:lnTo>
                  <a:pt x="13188" y="8157"/>
                </a:lnTo>
                <a:cubicBezTo>
                  <a:pt x="13094" y="8125"/>
                  <a:pt x="13031" y="8094"/>
                  <a:pt x="12906" y="8063"/>
                </a:cubicBezTo>
                <a:cubicBezTo>
                  <a:pt x="13125" y="8282"/>
                  <a:pt x="13375" y="8375"/>
                  <a:pt x="13656" y="8375"/>
                </a:cubicBezTo>
                <a:cubicBezTo>
                  <a:pt x="13594" y="8375"/>
                  <a:pt x="13531" y="8344"/>
                  <a:pt x="13469" y="8313"/>
                </a:cubicBezTo>
                <a:cubicBezTo>
                  <a:pt x="13438" y="8282"/>
                  <a:pt x="13344" y="8282"/>
                  <a:pt x="13344" y="8188"/>
                </a:cubicBezTo>
                <a:cubicBezTo>
                  <a:pt x="13469" y="8157"/>
                  <a:pt x="13594" y="8188"/>
                  <a:pt x="13750" y="8250"/>
                </a:cubicBezTo>
                <a:cubicBezTo>
                  <a:pt x="13781" y="8282"/>
                  <a:pt x="13813" y="8344"/>
                  <a:pt x="13875" y="8375"/>
                </a:cubicBezTo>
                <a:cubicBezTo>
                  <a:pt x="13938" y="8375"/>
                  <a:pt x="13938" y="8407"/>
                  <a:pt x="13938" y="8438"/>
                </a:cubicBezTo>
                <a:cubicBezTo>
                  <a:pt x="13906" y="8469"/>
                  <a:pt x="13875" y="8469"/>
                  <a:pt x="13844" y="8469"/>
                </a:cubicBezTo>
                <a:cubicBezTo>
                  <a:pt x="13813" y="8469"/>
                  <a:pt x="13781" y="8438"/>
                  <a:pt x="13719" y="8469"/>
                </a:cubicBezTo>
                <a:cubicBezTo>
                  <a:pt x="13813" y="8532"/>
                  <a:pt x="13875" y="8594"/>
                  <a:pt x="14000" y="8594"/>
                </a:cubicBezTo>
                <a:cubicBezTo>
                  <a:pt x="14094" y="8594"/>
                  <a:pt x="14219" y="8594"/>
                  <a:pt x="14281" y="8719"/>
                </a:cubicBezTo>
                <a:cubicBezTo>
                  <a:pt x="14406" y="8782"/>
                  <a:pt x="14563" y="8813"/>
                  <a:pt x="14656" y="8969"/>
                </a:cubicBezTo>
                <a:cubicBezTo>
                  <a:pt x="14500" y="8938"/>
                  <a:pt x="14344" y="9000"/>
                  <a:pt x="14281" y="8844"/>
                </a:cubicBezTo>
                <a:cubicBezTo>
                  <a:pt x="13969" y="8782"/>
                  <a:pt x="13750" y="8625"/>
                  <a:pt x="13500" y="8500"/>
                </a:cubicBezTo>
                <a:cubicBezTo>
                  <a:pt x="13313" y="8407"/>
                  <a:pt x="13156" y="8250"/>
                  <a:pt x="12938" y="8344"/>
                </a:cubicBezTo>
                <a:cubicBezTo>
                  <a:pt x="12875" y="8375"/>
                  <a:pt x="12844" y="8344"/>
                  <a:pt x="12844" y="8313"/>
                </a:cubicBezTo>
                <a:cubicBezTo>
                  <a:pt x="12813" y="8250"/>
                  <a:pt x="12875" y="8282"/>
                  <a:pt x="12875" y="8282"/>
                </a:cubicBezTo>
                <a:cubicBezTo>
                  <a:pt x="12938" y="8250"/>
                  <a:pt x="12906" y="8219"/>
                  <a:pt x="12875" y="8219"/>
                </a:cubicBezTo>
                <a:cubicBezTo>
                  <a:pt x="12656" y="8125"/>
                  <a:pt x="12469" y="8000"/>
                  <a:pt x="12250" y="7938"/>
                </a:cubicBezTo>
                <a:cubicBezTo>
                  <a:pt x="12094" y="7875"/>
                  <a:pt x="11906" y="7938"/>
                  <a:pt x="11813" y="7782"/>
                </a:cubicBezTo>
                <a:cubicBezTo>
                  <a:pt x="11781" y="7782"/>
                  <a:pt x="11781" y="7782"/>
                  <a:pt x="11781" y="7782"/>
                </a:cubicBezTo>
                <a:cubicBezTo>
                  <a:pt x="11781" y="7782"/>
                  <a:pt x="11781" y="7782"/>
                  <a:pt x="11813" y="7782"/>
                </a:cubicBezTo>
                <a:cubicBezTo>
                  <a:pt x="11875" y="7750"/>
                  <a:pt x="11875" y="7750"/>
                  <a:pt x="11813" y="7719"/>
                </a:cubicBezTo>
                <a:cubicBezTo>
                  <a:pt x="11688" y="7625"/>
                  <a:pt x="11563" y="7532"/>
                  <a:pt x="11375" y="7594"/>
                </a:cubicBezTo>
                <a:cubicBezTo>
                  <a:pt x="11344" y="7594"/>
                  <a:pt x="11313" y="7594"/>
                  <a:pt x="11250" y="7594"/>
                </a:cubicBezTo>
                <a:cubicBezTo>
                  <a:pt x="11281" y="7532"/>
                  <a:pt x="11344" y="7563"/>
                  <a:pt x="11375" y="7563"/>
                </a:cubicBezTo>
                <a:cubicBezTo>
                  <a:pt x="11375" y="7563"/>
                  <a:pt x="11406" y="7532"/>
                  <a:pt x="11406" y="7500"/>
                </a:cubicBezTo>
                <a:cubicBezTo>
                  <a:pt x="11375" y="7469"/>
                  <a:pt x="11094" y="7313"/>
                  <a:pt x="11063" y="7344"/>
                </a:cubicBezTo>
                <a:cubicBezTo>
                  <a:pt x="11031" y="7344"/>
                  <a:pt x="11031" y="7375"/>
                  <a:pt x="11031" y="7375"/>
                </a:cubicBezTo>
                <a:cubicBezTo>
                  <a:pt x="10969" y="7500"/>
                  <a:pt x="10875" y="7500"/>
                  <a:pt x="10781" y="7407"/>
                </a:cubicBezTo>
                <a:cubicBezTo>
                  <a:pt x="10688" y="7344"/>
                  <a:pt x="10563" y="7313"/>
                  <a:pt x="10438" y="7375"/>
                </a:cubicBezTo>
                <a:cubicBezTo>
                  <a:pt x="10469" y="7375"/>
                  <a:pt x="10469" y="7407"/>
                  <a:pt x="10500" y="7407"/>
                </a:cubicBezTo>
                <a:cubicBezTo>
                  <a:pt x="10594" y="7438"/>
                  <a:pt x="10656" y="7500"/>
                  <a:pt x="10750" y="7532"/>
                </a:cubicBezTo>
                <a:cubicBezTo>
                  <a:pt x="10844" y="7532"/>
                  <a:pt x="10938" y="7657"/>
                  <a:pt x="11000" y="7657"/>
                </a:cubicBezTo>
                <a:cubicBezTo>
                  <a:pt x="11125" y="7625"/>
                  <a:pt x="11125" y="7719"/>
                  <a:pt x="11156" y="7750"/>
                </a:cubicBezTo>
                <a:cubicBezTo>
                  <a:pt x="11188" y="7750"/>
                  <a:pt x="11188" y="7782"/>
                  <a:pt x="11219" y="7782"/>
                </a:cubicBezTo>
                <a:cubicBezTo>
                  <a:pt x="11281" y="7782"/>
                  <a:pt x="11344" y="7813"/>
                  <a:pt x="11375" y="7844"/>
                </a:cubicBezTo>
                <a:cubicBezTo>
                  <a:pt x="11281" y="7844"/>
                  <a:pt x="11188" y="7875"/>
                  <a:pt x="11063" y="7875"/>
                </a:cubicBezTo>
                <a:cubicBezTo>
                  <a:pt x="11031" y="7875"/>
                  <a:pt x="10938" y="7875"/>
                  <a:pt x="10969" y="7782"/>
                </a:cubicBezTo>
                <a:cubicBezTo>
                  <a:pt x="10969" y="7750"/>
                  <a:pt x="10906" y="7719"/>
                  <a:pt x="10875" y="7719"/>
                </a:cubicBezTo>
                <a:cubicBezTo>
                  <a:pt x="10844" y="7688"/>
                  <a:pt x="10844" y="7750"/>
                  <a:pt x="10844" y="7782"/>
                </a:cubicBezTo>
                <a:cubicBezTo>
                  <a:pt x="10844" y="7813"/>
                  <a:pt x="10813" y="7813"/>
                  <a:pt x="10781" y="7782"/>
                </a:cubicBezTo>
                <a:cubicBezTo>
                  <a:pt x="10750" y="7719"/>
                  <a:pt x="10656" y="7719"/>
                  <a:pt x="10594" y="7688"/>
                </a:cubicBezTo>
                <a:cubicBezTo>
                  <a:pt x="10469" y="7657"/>
                  <a:pt x="10344" y="7594"/>
                  <a:pt x="10250" y="7532"/>
                </a:cubicBezTo>
                <a:cubicBezTo>
                  <a:pt x="10188" y="7469"/>
                  <a:pt x="10094" y="7407"/>
                  <a:pt x="9969" y="7438"/>
                </a:cubicBezTo>
                <a:cubicBezTo>
                  <a:pt x="9938" y="7375"/>
                  <a:pt x="9875" y="7313"/>
                  <a:pt x="9813" y="7313"/>
                </a:cubicBezTo>
                <a:cubicBezTo>
                  <a:pt x="9656" y="7282"/>
                  <a:pt x="9531" y="7250"/>
                  <a:pt x="9375" y="7250"/>
                </a:cubicBezTo>
                <a:cubicBezTo>
                  <a:pt x="9250" y="7250"/>
                  <a:pt x="9188" y="7219"/>
                  <a:pt x="9156" y="7094"/>
                </a:cubicBezTo>
                <a:cubicBezTo>
                  <a:pt x="9281" y="7063"/>
                  <a:pt x="9375" y="7157"/>
                  <a:pt x="9469" y="7063"/>
                </a:cubicBezTo>
                <a:cubicBezTo>
                  <a:pt x="9375" y="7000"/>
                  <a:pt x="9281" y="6969"/>
                  <a:pt x="9188" y="7000"/>
                </a:cubicBezTo>
                <a:cubicBezTo>
                  <a:pt x="9063" y="7032"/>
                  <a:pt x="9000" y="7000"/>
                  <a:pt x="8875" y="6938"/>
                </a:cubicBezTo>
                <a:cubicBezTo>
                  <a:pt x="8781" y="6907"/>
                  <a:pt x="8844" y="6844"/>
                  <a:pt x="8844" y="6813"/>
                </a:cubicBezTo>
                <a:cubicBezTo>
                  <a:pt x="8906" y="6719"/>
                  <a:pt x="8906" y="6719"/>
                  <a:pt x="8781" y="6688"/>
                </a:cubicBezTo>
                <a:cubicBezTo>
                  <a:pt x="8750" y="6688"/>
                  <a:pt x="8688" y="6657"/>
                  <a:pt x="8688" y="6719"/>
                </a:cubicBezTo>
                <a:cubicBezTo>
                  <a:pt x="8656" y="6782"/>
                  <a:pt x="8625" y="6750"/>
                  <a:pt x="8594" y="6750"/>
                </a:cubicBezTo>
                <a:cubicBezTo>
                  <a:pt x="8500" y="6625"/>
                  <a:pt x="8500" y="6750"/>
                  <a:pt x="8469" y="6782"/>
                </a:cubicBezTo>
                <a:cubicBezTo>
                  <a:pt x="8438" y="6813"/>
                  <a:pt x="8438" y="6844"/>
                  <a:pt x="8375" y="6813"/>
                </a:cubicBezTo>
                <a:cubicBezTo>
                  <a:pt x="8438" y="6719"/>
                  <a:pt x="8375" y="6688"/>
                  <a:pt x="8313" y="6625"/>
                </a:cubicBezTo>
                <a:cubicBezTo>
                  <a:pt x="8219" y="6563"/>
                  <a:pt x="8125" y="6469"/>
                  <a:pt x="8000" y="6407"/>
                </a:cubicBezTo>
                <a:cubicBezTo>
                  <a:pt x="7906" y="6344"/>
                  <a:pt x="7750" y="6313"/>
                  <a:pt x="7594" y="6313"/>
                </a:cubicBezTo>
                <a:cubicBezTo>
                  <a:pt x="7500" y="6344"/>
                  <a:pt x="7500" y="6282"/>
                  <a:pt x="7469" y="6219"/>
                </a:cubicBezTo>
                <a:cubicBezTo>
                  <a:pt x="7438" y="6157"/>
                  <a:pt x="7500" y="6157"/>
                  <a:pt x="7563" y="6125"/>
                </a:cubicBezTo>
                <a:cubicBezTo>
                  <a:pt x="7313" y="5969"/>
                  <a:pt x="7031" y="6032"/>
                  <a:pt x="6781" y="5969"/>
                </a:cubicBezTo>
                <a:cubicBezTo>
                  <a:pt x="6781" y="5938"/>
                  <a:pt x="6813" y="5938"/>
                  <a:pt x="6844" y="5907"/>
                </a:cubicBezTo>
                <a:cubicBezTo>
                  <a:pt x="6875" y="5875"/>
                  <a:pt x="6906" y="5844"/>
                  <a:pt x="6875" y="5813"/>
                </a:cubicBezTo>
                <a:cubicBezTo>
                  <a:pt x="6844" y="5750"/>
                  <a:pt x="6813" y="5782"/>
                  <a:pt x="6781" y="5813"/>
                </a:cubicBezTo>
                <a:cubicBezTo>
                  <a:pt x="6750" y="5813"/>
                  <a:pt x="6719" y="5844"/>
                  <a:pt x="6719" y="5782"/>
                </a:cubicBezTo>
                <a:cubicBezTo>
                  <a:pt x="6719" y="5688"/>
                  <a:pt x="6656" y="5688"/>
                  <a:pt x="6594" y="5688"/>
                </a:cubicBezTo>
                <a:cubicBezTo>
                  <a:pt x="6500" y="5688"/>
                  <a:pt x="6406" y="5657"/>
                  <a:pt x="6344" y="5657"/>
                </a:cubicBezTo>
                <a:cubicBezTo>
                  <a:pt x="6281" y="5625"/>
                  <a:pt x="6281" y="5625"/>
                  <a:pt x="6281" y="5563"/>
                </a:cubicBezTo>
                <a:cubicBezTo>
                  <a:pt x="6281" y="5500"/>
                  <a:pt x="6313" y="5532"/>
                  <a:pt x="6375" y="5532"/>
                </a:cubicBezTo>
                <a:cubicBezTo>
                  <a:pt x="6438" y="5563"/>
                  <a:pt x="6500" y="5563"/>
                  <a:pt x="6563" y="5563"/>
                </a:cubicBezTo>
                <a:cubicBezTo>
                  <a:pt x="6281" y="5375"/>
                  <a:pt x="6000" y="5250"/>
                  <a:pt x="5688" y="5125"/>
                </a:cubicBezTo>
                <a:cubicBezTo>
                  <a:pt x="5531" y="5063"/>
                  <a:pt x="5406" y="4969"/>
                  <a:pt x="5250" y="4938"/>
                </a:cubicBezTo>
                <a:cubicBezTo>
                  <a:pt x="5438" y="4969"/>
                  <a:pt x="5594" y="5000"/>
                  <a:pt x="5781" y="5094"/>
                </a:cubicBezTo>
                <a:cubicBezTo>
                  <a:pt x="5875" y="5125"/>
                  <a:pt x="5969" y="5157"/>
                  <a:pt x="6063" y="5188"/>
                </a:cubicBezTo>
                <a:cubicBezTo>
                  <a:pt x="6406" y="5282"/>
                  <a:pt x="6750" y="5438"/>
                  <a:pt x="7063" y="5563"/>
                </a:cubicBezTo>
                <a:cubicBezTo>
                  <a:pt x="7156" y="5594"/>
                  <a:pt x="7219" y="5719"/>
                  <a:pt x="7313" y="5719"/>
                </a:cubicBezTo>
                <a:cubicBezTo>
                  <a:pt x="7625" y="5782"/>
                  <a:pt x="7875" y="5875"/>
                  <a:pt x="8094" y="6032"/>
                </a:cubicBezTo>
                <a:cubicBezTo>
                  <a:pt x="8156" y="6094"/>
                  <a:pt x="8250" y="6125"/>
                  <a:pt x="8313" y="6063"/>
                </a:cubicBezTo>
                <a:cubicBezTo>
                  <a:pt x="8344" y="6000"/>
                  <a:pt x="8344" y="5938"/>
                  <a:pt x="8406" y="6000"/>
                </a:cubicBezTo>
                <a:cubicBezTo>
                  <a:pt x="8438" y="6032"/>
                  <a:pt x="8406" y="6063"/>
                  <a:pt x="8375" y="6125"/>
                </a:cubicBezTo>
                <a:cubicBezTo>
                  <a:pt x="8375" y="6157"/>
                  <a:pt x="8313" y="6188"/>
                  <a:pt x="8406" y="6188"/>
                </a:cubicBezTo>
                <a:cubicBezTo>
                  <a:pt x="8656" y="6250"/>
                  <a:pt x="8844" y="6407"/>
                  <a:pt x="9125" y="6469"/>
                </a:cubicBezTo>
                <a:cubicBezTo>
                  <a:pt x="9094" y="6375"/>
                  <a:pt x="9000" y="6375"/>
                  <a:pt x="8938" y="6313"/>
                </a:cubicBezTo>
                <a:cubicBezTo>
                  <a:pt x="8906" y="6313"/>
                  <a:pt x="8750" y="6313"/>
                  <a:pt x="8906" y="6219"/>
                </a:cubicBezTo>
                <a:cubicBezTo>
                  <a:pt x="8938" y="6188"/>
                  <a:pt x="8906" y="6157"/>
                  <a:pt x="8844" y="6157"/>
                </a:cubicBezTo>
                <a:cubicBezTo>
                  <a:pt x="8719" y="6157"/>
                  <a:pt x="8625" y="6063"/>
                  <a:pt x="8500" y="6000"/>
                </a:cubicBezTo>
                <a:cubicBezTo>
                  <a:pt x="8563" y="5969"/>
                  <a:pt x="8625" y="5969"/>
                  <a:pt x="8656" y="5969"/>
                </a:cubicBezTo>
                <a:cubicBezTo>
                  <a:pt x="8594" y="5907"/>
                  <a:pt x="8500" y="5907"/>
                  <a:pt x="8406" y="5875"/>
                </a:cubicBezTo>
                <a:cubicBezTo>
                  <a:pt x="8344" y="5875"/>
                  <a:pt x="8281" y="5813"/>
                  <a:pt x="8219" y="5907"/>
                </a:cubicBezTo>
                <a:cubicBezTo>
                  <a:pt x="8188" y="5938"/>
                  <a:pt x="8063" y="5907"/>
                  <a:pt x="8031" y="5844"/>
                </a:cubicBezTo>
                <a:cubicBezTo>
                  <a:pt x="7969" y="5750"/>
                  <a:pt x="8125" y="5782"/>
                  <a:pt x="8125" y="5719"/>
                </a:cubicBezTo>
                <a:cubicBezTo>
                  <a:pt x="8125" y="5719"/>
                  <a:pt x="8094" y="5719"/>
                  <a:pt x="8094" y="5719"/>
                </a:cubicBezTo>
                <a:cubicBezTo>
                  <a:pt x="8094" y="5719"/>
                  <a:pt x="8094" y="5719"/>
                  <a:pt x="8094" y="5719"/>
                </a:cubicBezTo>
                <a:cubicBezTo>
                  <a:pt x="8188" y="5657"/>
                  <a:pt x="8156" y="5625"/>
                  <a:pt x="8063" y="5594"/>
                </a:cubicBezTo>
                <a:cubicBezTo>
                  <a:pt x="8031" y="5594"/>
                  <a:pt x="7969" y="5625"/>
                  <a:pt x="7938" y="5594"/>
                </a:cubicBezTo>
                <a:cubicBezTo>
                  <a:pt x="8031" y="5438"/>
                  <a:pt x="8031" y="5438"/>
                  <a:pt x="8188" y="5532"/>
                </a:cubicBezTo>
                <a:cubicBezTo>
                  <a:pt x="8219" y="5532"/>
                  <a:pt x="8250" y="5563"/>
                  <a:pt x="8250" y="5563"/>
                </a:cubicBezTo>
                <a:cubicBezTo>
                  <a:pt x="8438" y="5657"/>
                  <a:pt x="8688" y="5625"/>
                  <a:pt x="8844" y="5813"/>
                </a:cubicBezTo>
                <a:cubicBezTo>
                  <a:pt x="8844" y="5813"/>
                  <a:pt x="9000" y="5907"/>
                  <a:pt x="8969" y="5750"/>
                </a:cubicBezTo>
                <a:cubicBezTo>
                  <a:pt x="8938" y="5719"/>
                  <a:pt x="9000" y="5719"/>
                  <a:pt x="9000" y="5719"/>
                </a:cubicBezTo>
                <a:cubicBezTo>
                  <a:pt x="9125" y="5782"/>
                  <a:pt x="9250" y="5782"/>
                  <a:pt x="9344" y="5907"/>
                </a:cubicBezTo>
                <a:cubicBezTo>
                  <a:pt x="9406" y="5907"/>
                  <a:pt x="9438" y="5907"/>
                  <a:pt x="9438" y="5969"/>
                </a:cubicBezTo>
                <a:cubicBezTo>
                  <a:pt x="9375" y="5969"/>
                  <a:pt x="9344" y="6000"/>
                  <a:pt x="9313" y="5938"/>
                </a:cubicBezTo>
                <a:cubicBezTo>
                  <a:pt x="9250" y="5938"/>
                  <a:pt x="9188" y="5907"/>
                  <a:pt x="9156" y="5969"/>
                </a:cubicBezTo>
                <a:cubicBezTo>
                  <a:pt x="9344" y="6094"/>
                  <a:pt x="9531" y="6063"/>
                  <a:pt x="9719" y="6032"/>
                </a:cubicBezTo>
                <a:cubicBezTo>
                  <a:pt x="9719" y="6000"/>
                  <a:pt x="9719" y="6000"/>
                  <a:pt x="9688" y="5969"/>
                </a:cubicBezTo>
                <a:cubicBezTo>
                  <a:pt x="9531" y="5813"/>
                  <a:pt x="9313" y="5719"/>
                  <a:pt x="9094" y="5657"/>
                </a:cubicBezTo>
                <a:cubicBezTo>
                  <a:pt x="8906" y="5594"/>
                  <a:pt x="8719" y="5469"/>
                  <a:pt x="8531" y="5438"/>
                </a:cubicBezTo>
                <a:cubicBezTo>
                  <a:pt x="8500" y="5438"/>
                  <a:pt x="8500" y="5407"/>
                  <a:pt x="8469" y="5375"/>
                </a:cubicBezTo>
                <a:cubicBezTo>
                  <a:pt x="8375" y="5282"/>
                  <a:pt x="8188" y="5313"/>
                  <a:pt x="8125" y="5188"/>
                </a:cubicBezTo>
                <a:cubicBezTo>
                  <a:pt x="7969" y="5282"/>
                  <a:pt x="7875" y="5125"/>
                  <a:pt x="7750" y="5063"/>
                </a:cubicBezTo>
                <a:cubicBezTo>
                  <a:pt x="7625" y="5032"/>
                  <a:pt x="7531" y="4875"/>
                  <a:pt x="7375" y="5000"/>
                </a:cubicBezTo>
                <a:cubicBezTo>
                  <a:pt x="7344" y="5032"/>
                  <a:pt x="7313" y="5000"/>
                  <a:pt x="7313" y="4969"/>
                </a:cubicBezTo>
                <a:cubicBezTo>
                  <a:pt x="7406" y="4907"/>
                  <a:pt x="7281" y="4875"/>
                  <a:pt x="7313" y="4813"/>
                </a:cubicBezTo>
                <a:cubicBezTo>
                  <a:pt x="7375" y="4844"/>
                  <a:pt x="7438" y="4875"/>
                  <a:pt x="7469" y="4875"/>
                </a:cubicBezTo>
                <a:cubicBezTo>
                  <a:pt x="7500" y="4875"/>
                  <a:pt x="7563" y="4875"/>
                  <a:pt x="7563" y="4844"/>
                </a:cubicBezTo>
                <a:cubicBezTo>
                  <a:pt x="7563" y="4782"/>
                  <a:pt x="7531" y="4782"/>
                  <a:pt x="7500" y="4782"/>
                </a:cubicBezTo>
                <a:cubicBezTo>
                  <a:pt x="7219" y="4782"/>
                  <a:pt x="6969" y="4844"/>
                  <a:pt x="6719" y="4688"/>
                </a:cubicBezTo>
                <a:cubicBezTo>
                  <a:pt x="6750" y="4625"/>
                  <a:pt x="6781" y="4625"/>
                  <a:pt x="6875" y="4657"/>
                </a:cubicBezTo>
                <a:cubicBezTo>
                  <a:pt x="6938" y="4657"/>
                  <a:pt x="7000" y="4719"/>
                  <a:pt x="7063" y="4719"/>
                </a:cubicBezTo>
                <a:cubicBezTo>
                  <a:pt x="7156" y="4719"/>
                  <a:pt x="7156" y="4688"/>
                  <a:pt x="7125" y="4625"/>
                </a:cubicBezTo>
                <a:cubicBezTo>
                  <a:pt x="7156" y="4563"/>
                  <a:pt x="7125" y="4500"/>
                  <a:pt x="7094" y="4469"/>
                </a:cubicBezTo>
                <a:cubicBezTo>
                  <a:pt x="7063" y="4407"/>
                  <a:pt x="7063" y="4407"/>
                  <a:pt x="7031" y="4469"/>
                </a:cubicBezTo>
                <a:cubicBezTo>
                  <a:pt x="7031" y="4500"/>
                  <a:pt x="7000" y="4532"/>
                  <a:pt x="6969" y="4500"/>
                </a:cubicBezTo>
                <a:cubicBezTo>
                  <a:pt x="6875" y="4438"/>
                  <a:pt x="6750" y="4469"/>
                  <a:pt x="6656" y="4438"/>
                </a:cubicBezTo>
                <a:cubicBezTo>
                  <a:pt x="6625" y="4438"/>
                  <a:pt x="6594" y="4407"/>
                  <a:pt x="6563" y="4375"/>
                </a:cubicBezTo>
                <a:cubicBezTo>
                  <a:pt x="6750" y="4157"/>
                  <a:pt x="6719" y="4063"/>
                  <a:pt x="6500" y="3907"/>
                </a:cubicBezTo>
                <a:cubicBezTo>
                  <a:pt x="6469" y="3875"/>
                  <a:pt x="6469" y="3875"/>
                  <a:pt x="6469" y="3844"/>
                </a:cubicBezTo>
                <a:cubicBezTo>
                  <a:pt x="6438" y="3719"/>
                  <a:pt x="6375" y="3688"/>
                  <a:pt x="6281" y="3688"/>
                </a:cubicBezTo>
                <a:cubicBezTo>
                  <a:pt x="6219" y="3750"/>
                  <a:pt x="6125" y="3750"/>
                  <a:pt x="6094" y="3813"/>
                </a:cubicBezTo>
                <a:cubicBezTo>
                  <a:pt x="6031" y="3875"/>
                  <a:pt x="6031" y="3969"/>
                  <a:pt x="6125" y="4000"/>
                </a:cubicBezTo>
                <a:cubicBezTo>
                  <a:pt x="6188" y="4000"/>
                  <a:pt x="6438" y="3875"/>
                  <a:pt x="6469" y="3844"/>
                </a:cubicBezTo>
                <a:cubicBezTo>
                  <a:pt x="6563" y="3813"/>
                  <a:pt x="6656" y="3813"/>
                  <a:pt x="6719" y="3875"/>
                </a:cubicBezTo>
                <a:cubicBezTo>
                  <a:pt x="6844" y="3938"/>
                  <a:pt x="7000" y="3938"/>
                  <a:pt x="7125" y="4000"/>
                </a:cubicBezTo>
                <a:cubicBezTo>
                  <a:pt x="7125" y="4063"/>
                  <a:pt x="7031" y="4000"/>
                  <a:pt x="7031" y="4063"/>
                </a:cubicBezTo>
                <a:cubicBezTo>
                  <a:pt x="7063" y="4125"/>
                  <a:pt x="7094" y="4125"/>
                  <a:pt x="7125" y="4094"/>
                </a:cubicBezTo>
                <a:cubicBezTo>
                  <a:pt x="7313" y="4032"/>
                  <a:pt x="7469" y="4125"/>
                  <a:pt x="7594" y="4219"/>
                </a:cubicBezTo>
                <a:cubicBezTo>
                  <a:pt x="7656" y="4250"/>
                  <a:pt x="7719" y="4250"/>
                  <a:pt x="7750" y="4250"/>
                </a:cubicBezTo>
                <a:cubicBezTo>
                  <a:pt x="7750" y="4313"/>
                  <a:pt x="7688" y="4313"/>
                  <a:pt x="7656" y="4375"/>
                </a:cubicBezTo>
                <a:cubicBezTo>
                  <a:pt x="7719" y="4375"/>
                  <a:pt x="7781" y="4375"/>
                  <a:pt x="7844" y="4344"/>
                </a:cubicBezTo>
                <a:cubicBezTo>
                  <a:pt x="7906" y="4313"/>
                  <a:pt x="8063" y="4344"/>
                  <a:pt x="8125" y="4407"/>
                </a:cubicBezTo>
                <a:cubicBezTo>
                  <a:pt x="8188" y="4438"/>
                  <a:pt x="8281" y="4469"/>
                  <a:pt x="8344" y="4500"/>
                </a:cubicBezTo>
                <a:cubicBezTo>
                  <a:pt x="8375" y="4532"/>
                  <a:pt x="8406" y="4500"/>
                  <a:pt x="8406" y="4563"/>
                </a:cubicBezTo>
                <a:cubicBezTo>
                  <a:pt x="8406" y="4625"/>
                  <a:pt x="8344" y="4594"/>
                  <a:pt x="8313" y="4594"/>
                </a:cubicBezTo>
                <a:cubicBezTo>
                  <a:pt x="8281" y="4594"/>
                  <a:pt x="8281" y="4594"/>
                  <a:pt x="8219" y="4594"/>
                </a:cubicBezTo>
                <a:cubicBezTo>
                  <a:pt x="8344" y="4688"/>
                  <a:pt x="8531" y="4719"/>
                  <a:pt x="8656" y="4782"/>
                </a:cubicBezTo>
                <a:cubicBezTo>
                  <a:pt x="8781" y="4875"/>
                  <a:pt x="8875" y="4969"/>
                  <a:pt x="9063" y="4969"/>
                </a:cubicBezTo>
                <a:cubicBezTo>
                  <a:pt x="9000" y="5063"/>
                  <a:pt x="8938" y="5000"/>
                  <a:pt x="8875" y="5000"/>
                </a:cubicBezTo>
                <a:cubicBezTo>
                  <a:pt x="8750" y="4938"/>
                  <a:pt x="8594" y="4875"/>
                  <a:pt x="8438" y="4813"/>
                </a:cubicBezTo>
                <a:cubicBezTo>
                  <a:pt x="8438" y="4813"/>
                  <a:pt x="8406" y="4782"/>
                  <a:pt x="8406" y="4813"/>
                </a:cubicBezTo>
                <a:cubicBezTo>
                  <a:pt x="8375" y="4844"/>
                  <a:pt x="8406" y="4875"/>
                  <a:pt x="8438" y="4875"/>
                </a:cubicBezTo>
                <a:cubicBezTo>
                  <a:pt x="8563" y="4907"/>
                  <a:pt x="8688" y="5000"/>
                  <a:pt x="8844" y="5032"/>
                </a:cubicBezTo>
                <a:cubicBezTo>
                  <a:pt x="8875" y="5063"/>
                  <a:pt x="8844" y="5063"/>
                  <a:pt x="8844" y="5094"/>
                </a:cubicBezTo>
                <a:cubicBezTo>
                  <a:pt x="8844" y="5125"/>
                  <a:pt x="8750" y="5125"/>
                  <a:pt x="8813" y="5157"/>
                </a:cubicBezTo>
                <a:cubicBezTo>
                  <a:pt x="8844" y="5188"/>
                  <a:pt x="8875" y="5219"/>
                  <a:pt x="8906" y="5188"/>
                </a:cubicBezTo>
                <a:cubicBezTo>
                  <a:pt x="8906" y="5157"/>
                  <a:pt x="8938" y="5157"/>
                  <a:pt x="8938" y="5157"/>
                </a:cubicBezTo>
                <a:cubicBezTo>
                  <a:pt x="9094" y="5250"/>
                  <a:pt x="9250" y="5094"/>
                  <a:pt x="9406" y="5157"/>
                </a:cubicBezTo>
                <a:cubicBezTo>
                  <a:pt x="9500" y="5219"/>
                  <a:pt x="9500" y="5219"/>
                  <a:pt x="9500" y="5282"/>
                </a:cubicBezTo>
                <a:cubicBezTo>
                  <a:pt x="9438" y="5375"/>
                  <a:pt x="9375" y="5438"/>
                  <a:pt x="9281" y="5375"/>
                </a:cubicBezTo>
                <a:cubicBezTo>
                  <a:pt x="9219" y="5313"/>
                  <a:pt x="9156" y="5282"/>
                  <a:pt x="9094" y="5250"/>
                </a:cubicBezTo>
                <a:cubicBezTo>
                  <a:pt x="9031" y="5188"/>
                  <a:pt x="8969" y="5188"/>
                  <a:pt x="8875" y="5282"/>
                </a:cubicBezTo>
                <a:cubicBezTo>
                  <a:pt x="8781" y="5344"/>
                  <a:pt x="8750" y="5219"/>
                  <a:pt x="8719" y="5188"/>
                </a:cubicBezTo>
                <a:cubicBezTo>
                  <a:pt x="8688" y="5125"/>
                  <a:pt x="8656" y="5125"/>
                  <a:pt x="8625" y="5157"/>
                </a:cubicBezTo>
                <a:cubicBezTo>
                  <a:pt x="8531" y="5250"/>
                  <a:pt x="8469" y="5188"/>
                  <a:pt x="8438" y="5125"/>
                </a:cubicBezTo>
                <a:cubicBezTo>
                  <a:pt x="8375" y="5063"/>
                  <a:pt x="8344" y="5063"/>
                  <a:pt x="8281" y="5063"/>
                </a:cubicBezTo>
                <a:cubicBezTo>
                  <a:pt x="8250" y="5063"/>
                  <a:pt x="8188" y="5032"/>
                  <a:pt x="8156" y="5000"/>
                </a:cubicBezTo>
                <a:cubicBezTo>
                  <a:pt x="8094" y="4907"/>
                  <a:pt x="7969" y="4907"/>
                  <a:pt x="7875" y="4875"/>
                </a:cubicBezTo>
                <a:lnTo>
                  <a:pt x="7875" y="4875"/>
                </a:lnTo>
                <a:cubicBezTo>
                  <a:pt x="7750" y="4813"/>
                  <a:pt x="7594" y="4750"/>
                  <a:pt x="7469" y="4688"/>
                </a:cubicBezTo>
                <a:cubicBezTo>
                  <a:pt x="7375" y="4657"/>
                  <a:pt x="7250" y="4625"/>
                  <a:pt x="7125" y="4625"/>
                </a:cubicBezTo>
                <a:cubicBezTo>
                  <a:pt x="7000" y="4625"/>
                  <a:pt x="6875" y="4594"/>
                  <a:pt x="6750" y="4594"/>
                </a:cubicBezTo>
                <a:cubicBezTo>
                  <a:pt x="6719" y="4594"/>
                  <a:pt x="6688" y="4594"/>
                  <a:pt x="6688" y="4563"/>
                </a:cubicBezTo>
                <a:cubicBezTo>
                  <a:pt x="6688" y="4438"/>
                  <a:pt x="6563" y="4438"/>
                  <a:pt x="6500" y="4469"/>
                </a:cubicBezTo>
                <a:cubicBezTo>
                  <a:pt x="6344" y="4469"/>
                  <a:pt x="6250" y="4344"/>
                  <a:pt x="6094" y="4375"/>
                </a:cubicBezTo>
                <a:cubicBezTo>
                  <a:pt x="6063" y="4375"/>
                  <a:pt x="6063" y="4344"/>
                  <a:pt x="6063" y="4344"/>
                </a:cubicBezTo>
                <a:cubicBezTo>
                  <a:pt x="6063" y="4250"/>
                  <a:pt x="6000" y="4219"/>
                  <a:pt x="5906" y="4219"/>
                </a:cubicBezTo>
                <a:cubicBezTo>
                  <a:pt x="5813" y="4188"/>
                  <a:pt x="5688" y="4188"/>
                  <a:pt x="5594" y="4125"/>
                </a:cubicBezTo>
                <a:cubicBezTo>
                  <a:pt x="5375" y="4000"/>
                  <a:pt x="5094" y="4063"/>
                  <a:pt x="4875" y="3907"/>
                </a:cubicBezTo>
                <a:cubicBezTo>
                  <a:pt x="4813" y="3875"/>
                  <a:pt x="4656" y="3969"/>
                  <a:pt x="4625" y="3813"/>
                </a:cubicBezTo>
                <a:cubicBezTo>
                  <a:pt x="4625" y="3813"/>
                  <a:pt x="4625" y="3813"/>
                  <a:pt x="4594" y="3813"/>
                </a:cubicBezTo>
                <a:cubicBezTo>
                  <a:pt x="4219" y="3813"/>
                  <a:pt x="3875" y="3657"/>
                  <a:pt x="3500" y="3563"/>
                </a:cubicBezTo>
                <a:cubicBezTo>
                  <a:pt x="3438" y="3563"/>
                  <a:pt x="3375" y="3532"/>
                  <a:pt x="3344" y="3594"/>
                </a:cubicBezTo>
                <a:cubicBezTo>
                  <a:pt x="3407" y="3657"/>
                  <a:pt x="3531" y="3625"/>
                  <a:pt x="3594" y="3657"/>
                </a:cubicBezTo>
                <a:cubicBezTo>
                  <a:pt x="3594" y="3719"/>
                  <a:pt x="3500" y="3688"/>
                  <a:pt x="3531" y="3782"/>
                </a:cubicBezTo>
                <a:cubicBezTo>
                  <a:pt x="3594" y="3813"/>
                  <a:pt x="3688" y="3750"/>
                  <a:pt x="3781" y="3782"/>
                </a:cubicBezTo>
                <a:cubicBezTo>
                  <a:pt x="3844" y="3875"/>
                  <a:pt x="4031" y="3938"/>
                  <a:pt x="4125" y="3907"/>
                </a:cubicBezTo>
                <a:cubicBezTo>
                  <a:pt x="4156" y="3907"/>
                  <a:pt x="4156" y="3813"/>
                  <a:pt x="4188" y="3907"/>
                </a:cubicBezTo>
                <a:cubicBezTo>
                  <a:pt x="4219" y="4032"/>
                  <a:pt x="4344" y="4063"/>
                  <a:pt x="4469" y="4094"/>
                </a:cubicBezTo>
                <a:cubicBezTo>
                  <a:pt x="4500" y="4125"/>
                  <a:pt x="4594" y="4157"/>
                  <a:pt x="4594" y="4032"/>
                </a:cubicBezTo>
                <a:cubicBezTo>
                  <a:pt x="4594" y="4000"/>
                  <a:pt x="4594" y="4000"/>
                  <a:pt x="4625" y="4000"/>
                </a:cubicBezTo>
                <a:cubicBezTo>
                  <a:pt x="4688" y="4000"/>
                  <a:pt x="4719" y="4000"/>
                  <a:pt x="4750" y="4032"/>
                </a:cubicBezTo>
                <a:cubicBezTo>
                  <a:pt x="4750" y="4063"/>
                  <a:pt x="4750" y="4094"/>
                  <a:pt x="4719" y="4094"/>
                </a:cubicBezTo>
                <a:cubicBezTo>
                  <a:pt x="4688" y="4094"/>
                  <a:pt x="4656" y="4063"/>
                  <a:pt x="4688" y="4125"/>
                </a:cubicBezTo>
                <a:cubicBezTo>
                  <a:pt x="4688" y="4157"/>
                  <a:pt x="4719" y="4219"/>
                  <a:pt x="4750" y="4219"/>
                </a:cubicBezTo>
                <a:cubicBezTo>
                  <a:pt x="4906" y="4125"/>
                  <a:pt x="4938" y="4313"/>
                  <a:pt x="5063" y="4344"/>
                </a:cubicBezTo>
                <a:cubicBezTo>
                  <a:pt x="4969" y="4375"/>
                  <a:pt x="4906" y="4375"/>
                  <a:pt x="4844" y="4375"/>
                </a:cubicBezTo>
                <a:cubicBezTo>
                  <a:pt x="4750" y="4344"/>
                  <a:pt x="4688" y="4344"/>
                  <a:pt x="4625" y="4282"/>
                </a:cubicBezTo>
                <a:cubicBezTo>
                  <a:pt x="4563" y="4219"/>
                  <a:pt x="4500" y="4219"/>
                  <a:pt x="4438" y="4219"/>
                </a:cubicBezTo>
                <a:cubicBezTo>
                  <a:pt x="4375" y="4219"/>
                  <a:pt x="4344" y="4250"/>
                  <a:pt x="4281" y="4188"/>
                </a:cubicBezTo>
                <a:cubicBezTo>
                  <a:pt x="4219" y="4125"/>
                  <a:pt x="4125" y="4094"/>
                  <a:pt x="4000" y="4094"/>
                </a:cubicBezTo>
                <a:cubicBezTo>
                  <a:pt x="3969" y="4094"/>
                  <a:pt x="3906" y="4157"/>
                  <a:pt x="3906" y="4094"/>
                </a:cubicBezTo>
                <a:cubicBezTo>
                  <a:pt x="3875" y="4000"/>
                  <a:pt x="3813" y="4032"/>
                  <a:pt x="3781" y="4032"/>
                </a:cubicBezTo>
                <a:cubicBezTo>
                  <a:pt x="3625" y="4063"/>
                  <a:pt x="3500" y="4000"/>
                  <a:pt x="3344" y="4000"/>
                </a:cubicBezTo>
                <a:cubicBezTo>
                  <a:pt x="3282" y="3969"/>
                  <a:pt x="3250" y="3907"/>
                  <a:pt x="3188" y="3938"/>
                </a:cubicBezTo>
                <a:cubicBezTo>
                  <a:pt x="3094" y="4032"/>
                  <a:pt x="3000" y="3938"/>
                  <a:pt x="2875" y="3938"/>
                </a:cubicBezTo>
                <a:cubicBezTo>
                  <a:pt x="2844" y="3938"/>
                  <a:pt x="2813" y="3907"/>
                  <a:pt x="2782" y="3938"/>
                </a:cubicBezTo>
                <a:cubicBezTo>
                  <a:pt x="2875" y="4000"/>
                  <a:pt x="2969" y="4000"/>
                  <a:pt x="3063" y="4032"/>
                </a:cubicBezTo>
                <a:cubicBezTo>
                  <a:pt x="3032" y="4125"/>
                  <a:pt x="2969" y="4063"/>
                  <a:pt x="2938" y="4125"/>
                </a:cubicBezTo>
                <a:cubicBezTo>
                  <a:pt x="3094" y="4157"/>
                  <a:pt x="3219" y="4250"/>
                  <a:pt x="3407" y="4250"/>
                </a:cubicBezTo>
                <a:cubicBezTo>
                  <a:pt x="3344" y="4157"/>
                  <a:pt x="3219" y="4188"/>
                  <a:pt x="3157" y="4063"/>
                </a:cubicBezTo>
                <a:cubicBezTo>
                  <a:pt x="3282" y="4094"/>
                  <a:pt x="3375" y="4125"/>
                  <a:pt x="3500" y="4125"/>
                </a:cubicBezTo>
                <a:cubicBezTo>
                  <a:pt x="3531" y="4125"/>
                  <a:pt x="3563" y="4157"/>
                  <a:pt x="3563" y="4219"/>
                </a:cubicBezTo>
                <a:cubicBezTo>
                  <a:pt x="3500" y="4313"/>
                  <a:pt x="3563" y="4313"/>
                  <a:pt x="3625" y="4344"/>
                </a:cubicBezTo>
                <a:cubicBezTo>
                  <a:pt x="3688" y="4344"/>
                  <a:pt x="3750" y="4375"/>
                  <a:pt x="3813" y="4375"/>
                </a:cubicBezTo>
                <a:cubicBezTo>
                  <a:pt x="3844" y="4344"/>
                  <a:pt x="3844" y="4344"/>
                  <a:pt x="3813" y="4313"/>
                </a:cubicBezTo>
                <a:cubicBezTo>
                  <a:pt x="3781" y="4313"/>
                  <a:pt x="3719" y="4344"/>
                  <a:pt x="3719" y="4282"/>
                </a:cubicBezTo>
                <a:cubicBezTo>
                  <a:pt x="3750" y="4250"/>
                  <a:pt x="3781" y="4250"/>
                  <a:pt x="3813" y="4219"/>
                </a:cubicBezTo>
                <a:cubicBezTo>
                  <a:pt x="3844" y="4219"/>
                  <a:pt x="3906" y="4188"/>
                  <a:pt x="3969" y="4219"/>
                </a:cubicBezTo>
                <a:cubicBezTo>
                  <a:pt x="3875" y="4250"/>
                  <a:pt x="3938" y="4344"/>
                  <a:pt x="3875" y="4407"/>
                </a:cubicBezTo>
                <a:cubicBezTo>
                  <a:pt x="3844" y="4407"/>
                  <a:pt x="3906" y="4407"/>
                  <a:pt x="3938" y="4407"/>
                </a:cubicBezTo>
                <a:cubicBezTo>
                  <a:pt x="4031" y="4438"/>
                  <a:pt x="4000" y="4438"/>
                  <a:pt x="4031" y="4375"/>
                </a:cubicBezTo>
                <a:cubicBezTo>
                  <a:pt x="4063" y="4344"/>
                  <a:pt x="4063" y="4282"/>
                  <a:pt x="4125" y="4282"/>
                </a:cubicBezTo>
                <a:cubicBezTo>
                  <a:pt x="4188" y="4313"/>
                  <a:pt x="4156" y="4375"/>
                  <a:pt x="4188" y="4407"/>
                </a:cubicBezTo>
                <a:cubicBezTo>
                  <a:pt x="4219" y="4500"/>
                  <a:pt x="4125" y="4438"/>
                  <a:pt x="4094" y="4469"/>
                </a:cubicBezTo>
                <a:cubicBezTo>
                  <a:pt x="4344" y="4563"/>
                  <a:pt x="4594" y="4688"/>
                  <a:pt x="4844" y="4782"/>
                </a:cubicBezTo>
                <a:cubicBezTo>
                  <a:pt x="4844" y="4782"/>
                  <a:pt x="4844" y="4782"/>
                  <a:pt x="4813" y="4782"/>
                </a:cubicBezTo>
                <a:cubicBezTo>
                  <a:pt x="4688" y="4750"/>
                  <a:pt x="4563" y="4719"/>
                  <a:pt x="4406" y="4688"/>
                </a:cubicBezTo>
                <a:cubicBezTo>
                  <a:pt x="4344" y="4657"/>
                  <a:pt x="4250" y="4625"/>
                  <a:pt x="4156" y="4625"/>
                </a:cubicBezTo>
                <a:cubicBezTo>
                  <a:pt x="4094" y="4625"/>
                  <a:pt x="4063" y="4500"/>
                  <a:pt x="3969" y="4563"/>
                </a:cubicBezTo>
                <a:cubicBezTo>
                  <a:pt x="3938" y="4438"/>
                  <a:pt x="3813" y="4469"/>
                  <a:pt x="3719" y="4438"/>
                </a:cubicBezTo>
                <a:cubicBezTo>
                  <a:pt x="3594" y="4407"/>
                  <a:pt x="3469" y="4344"/>
                  <a:pt x="3344" y="4375"/>
                </a:cubicBezTo>
                <a:cubicBezTo>
                  <a:pt x="3250" y="4375"/>
                  <a:pt x="3157" y="4344"/>
                  <a:pt x="3094" y="4282"/>
                </a:cubicBezTo>
                <a:cubicBezTo>
                  <a:pt x="3000" y="4219"/>
                  <a:pt x="2875" y="4219"/>
                  <a:pt x="2782" y="4250"/>
                </a:cubicBezTo>
                <a:cubicBezTo>
                  <a:pt x="2750" y="4250"/>
                  <a:pt x="2719" y="4282"/>
                  <a:pt x="2719" y="4219"/>
                </a:cubicBezTo>
                <a:cubicBezTo>
                  <a:pt x="2719" y="4157"/>
                  <a:pt x="2657" y="4157"/>
                  <a:pt x="2625" y="4188"/>
                </a:cubicBezTo>
                <a:cubicBezTo>
                  <a:pt x="2594" y="4188"/>
                  <a:pt x="2563" y="4188"/>
                  <a:pt x="2563" y="4219"/>
                </a:cubicBezTo>
                <a:cubicBezTo>
                  <a:pt x="2594" y="4282"/>
                  <a:pt x="2625" y="4282"/>
                  <a:pt x="2657" y="4282"/>
                </a:cubicBezTo>
                <a:cubicBezTo>
                  <a:pt x="2750" y="4313"/>
                  <a:pt x="2875" y="4282"/>
                  <a:pt x="2969" y="4344"/>
                </a:cubicBezTo>
                <a:cubicBezTo>
                  <a:pt x="3157" y="4469"/>
                  <a:pt x="3407" y="4563"/>
                  <a:pt x="3625" y="4594"/>
                </a:cubicBezTo>
                <a:cubicBezTo>
                  <a:pt x="3906" y="4625"/>
                  <a:pt x="4156" y="4750"/>
                  <a:pt x="4438" y="4875"/>
                </a:cubicBezTo>
                <a:cubicBezTo>
                  <a:pt x="4313" y="4875"/>
                  <a:pt x="4219" y="4875"/>
                  <a:pt x="4156" y="4813"/>
                </a:cubicBezTo>
                <a:cubicBezTo>
                  <a:pt x="4094" y="4782"/>
                  <a:pt x="4063" y="4813"/>
                  <a:pt x="4031" y="4844"/>
                </a:cubicBezTo>
                <a:cubicBezTo>
                  <a:pt x="4000" y="4907"/>
                  <a:pt x="4063" y="4907"/>
                  <a:pt x="4094" y="4907"/>
                </a:cubicBezTo>
                <a:cubicBezTo>
                  <a:pt x="4125" y="4907"/>
                  <a:pt x="4156" y="4907"/>
                  <a:pt x="4156" y="4969"/>
                </a:cubicBezTo>
                <a:cubicBezTo>
                  <a:pt x="4031" y="5000"/>
                  <a:pt x="3938" y="4969"/>
                  <a:pt x="3844" y="4969"/>
                </a:cubicBezTo>
                <a:cubicBezTo>
                  <a:pt x="3781" y="4969"/>
                  <a:pt x="3719" y="4938"/>
                  <a:pt x="3719" y="4907"/>
                </a:cubicBezTo>
                <a:cubicBezTo>
                  <a:pt x="3688" y="4844"/>
                  <a:pt x="3781" y="4844"/>
                  <a:pt x="3750" y="4813"/>
                </a:cubicBezTo>
                <a:cubicBezTo>
                  <a:pt x="3750" y="4782"/>
                  <a:pt x="3719" y="4782"/>
                  <a:pt x="3688" y="4782"/>
                </a:cubicBezTo>
                <a:cubicBezTo>
                  <a:pt x="3656" y="4782"/>
                  <a:pt x="3656" y="4782"/>
                  <a:pt x="3656" y="4750"/>
                </a:cubicBezTo>
                <a:cubicBezTo>
                  <a:pt x="3656" y="4750"/>
                  <a:pt x="3656" y="4750"/>
                  <a:pt x="3656" y="4750"/>
                </a:cubicBezTo>
                <a:cubicBezTo>
                  <a:pt x="3656" y="4750"/>
                  <a:pt x="3656" y="4750"/>
                  <a:pt x="3656" y="4750"/>
                </a:cubicBezTo>
                <a:cubicBezTo>
                  <a:pt x="3563" y="4750"/>
                  <a:pt x="3469" y="4750"/>
                  <a:pt x="3438" y="4844"/>
                </a:cubicBezTo>
                <a:cubicBezTo>
                  <a:pt x="3407" y="4782"/>
                  <a:pt x="3500" y="4750"/>
                  <a:pt x="3469" y="4719"/>
                </a:cubicBezTo>
                <a:cubicBezTo>
                  <a:pt x="3438" y="4688"/>
                  <a:pt x="3313" y="4719"/>
                  <a:pt x="3250" y="4719"/>
                </a:cubicBezTo>
                <a:cubicBezTo>
                  <a:pt x="3282" y="4750"/>
                  <a:pt x="3344" y="4750"/>
                  <a:pt x="3375" y="4782"/>
                </a:cubicBezTo>
                <a:cubicBezTo>
                  <a:pt x="3375" y="4782"/>
                  <a:pt x="3375" y="4782"/>
                  <a:pt x="3375" y="4813"/>
                </a:cubicBezTo>
                <a:cubicBezTo>
                  <a:pt x="3375" y="4813"/>
                  <a:pt x="3375" y="4813"/>
                  <a:pt x="3344" y="4813"/>
                </a:cubicBezTo>
                <a:cubicBezTo>
                  <a:pt x="3250" y="4813"/>
                  <a:pt x="3157" y="4813"/>
                  <a:pt x="3032" y="4782"/>
                </a:cubicBezTo>
                <a:cubicBezTo>
                  <a:pt x="3063" y="4875"/>
                  <a:pt x="3125" y="4875"/>
                  <a:pt x="3188" y="4875"/>
                </a:cubicBezTo>
                <a:cubicBezTo>
                  <a:pt x="3250" y="4875"/>
                  <a:pt x="3313" y="4875"/>
                  <a:pt x="3344" y="4907"/>
                </a:cubicBezTo>
                <a:cubicBezTo>
                  <a:pt x="3594" y="4969"/>
                  <a:pt x="3813" y="5063"/>
                  <a:pt x="4031" y="5125"/>
                </a:cubicBezTo>
                <a:cubicBezTo>
                  <a:pt x="4125" y="5188"/>
                  <a:pt x="4250" y="5188"/>
                  <a:pt x="4313" y="5282"/>
                </a:cubicBezTo>
                <a:cubicBezTo>
                  <a:pt x="4188" y="5282"/>
                  <a:pt x="4094" y="5188"/>
                  <a:pt x="3938" y="5219"/>
                </a:cubicBezTo>
                <a:cubicBezTo>
                  <a:pt x="4000" y="5250"/>
                  <a:pt x="4063" y="5282"/>
                  <a:pt x="4125" y="5313"/>
                </a:cubicBezTo>
                <a:cubicBezTo>
                  <a:pt x="4188" y="5344"/>
                  <a:pt x="4281" y="5375"/>
                  <a:pt x="4250" y="5407"/>
                </a:cubicBezTo>
                <a:cubicBezTo>
                  <a:pt x="4250" y="5469"/>
                  <a:pt x="4156" y="5469"/>
                  <a:pt x="4094" y="5469"/>
                </a:cubicBezTo>
                <a:cubicBezTo>
                  <a:pt x="4094" y="5532"/>
                  <a:pt x="4188" y="5563"/>
                  <a:pt x="4125" y="5625"/>
                </a:cubicBezTo>
                <a:cubicBezTo>
                  <a:pt x="4000" y="5594"/>
                  <a:pt x="3875" y="5438"/>
                  <a:pt x="3719" y="5532"/>
                </a:cubicBezTo>
                <a:cubicBezTo>
                  <a:pt x="3656" y="5438"/>
                  <a:pt x="3594" y="5532"/>
                  <a:pt x="3531" y="5500"/>
                </a:cubicBezTo>
                <a:cubicBezTo>
                  <a:pt x="3438" y="5375"/>
                  <a:pt x="3282" y="5375"/>
                  <a:pt x="3157" y="5375"/>
                </a:cubicBezTo>
                <a:cubicBezTo>
                  <a:pt x="3125" y="5375"/>
                  <a:pt x="3063" y="5375"/>
                  <a:pt x="3032" y="5375"/>
                </a:cubicBezTo>
                <a:cubicBezTo>
                  <a:pt x="2907" y="5313"/>
                  <a:pt x="2750" y="5282"/>
                  <a:pt x="2594" y="5313"/>
                </a:cubicBezTo>
                <a:cubicBezTo>
                  <a:pt x="2688" y="5407"/>
                  <a:pt x="2813" y="5407"/>
                  <a:pt x="2907" y="5375"/>
                </a:cubicBezTo>
                <a:cubicBezTo>
                  <a:pt x="3000" y="5375"/>
                  <a:pt x="3032" y="5469"/>
                  <a:pt x="3125" y="5469"/>
                </a:cubicBezTo>
                <a:cubicBezTo>
                  <a:pt x="3282" y="5500"/>
                  <a:pt x="3438" y="5500"/>
                  <a:pt x="3563" y="5657"/>
                </a:cubicBezTo>
                <a:cubicBezTo>
                  <a:pt x="3656" y="5657"/>
                  <a:pt x="3781" y="5657"/>
                  <a:pt x="3875" y="5719"/>
                </a:cubicBezTo>
                <a:cubicBezTo>
                  <a:pt x="3688" y="5844"/>
                  <a:pt x="3625" y="5844"/>
                  <a:pt x="3500" y="5688"/>
                </a:cubicBezTo>
                <a:cubicBezTo>
                  <a:pt x="3469" y="5688"/>
                  <a:pt x="3407" y="5688"/>
                  <a:pt x="3375" y="5688"/>
                </a:cubicBezTo>
                <a:cubicBezTo>
                  <a:pt x="3313" y="5688"/>
                  <a:pt x="3219" y="5625"/>
                  <a:pt x="3157" y="5657"/>
                </a:cubicBezTo>
                <a:cubicBezTo>
                  <a:pt x="3094" y="5657"/>
                  <a:pt x="3063" y="5625"/>
                  <a:pt x="3063" y="5688"/>
                </a:cubicBezTo>
                <a:cubicBezTo>
                  <a:pt x="3063" y="5750"/>
                  <a:pt x="3125" y="5719"/>
                  <a:pt x="3125" y="5719"/>
                </a:cubicBezTo>
                <a:cubicBezTo>
                  <a:pt x="3157" y="5719"/>
                  <a:pt x="3219" y="5688"/>
                  <a:pt x="3219" y="5750"/>
                </a:cubicBezTo>
                <a:cubicBezTo>
                  <a:pt x="3188" y="5813"/>
                  <a:pt x="3125" y="5750"/>
                  <a:pt x="3094" y="5782"/>
                </a:cubicBezTo>
                <a:cubicBezTo>
                  <a:pt x="3157" y="5875"/>
                  <a:pt x="3188" y="5844"/>
                  <a:pt x="3250" y="5813"/>
                </a:cubicBezTo>
                <a:cubicBezTo>
                  <a:pt x="3282" y="5782"/>
                  <a:pt x="3375" y="5813"/>
                  <a:pt x="3407" y="5844"/>
                </a:cubicBezTo>
                <a:cubicBezTo>
                  <a:pt x="3438" y="5844"/>
                  <a:pt x="3438" y="5875"/>
                  <a:pt x="3469" y="5844"/>
                </a:cubicBezTo>
                <a:cubicBezTo>
                  <a:pt x="3500" y="5844"/>
                  <a:pt x="3531" y="5844"/>
                  <a:pt x="3531" y="5907"/>
                </a:cubicBezTo>
                <a:cubicBezTo>
                  <a:pt x="3531" y="5969"/>
                  <a:pt x="3594" y="5969"/>
                  <a:pt x="3625" y="5938"/>
                </a:cubicBezTo>
                <a:cubicBezTo>
                  <a:pt x="3719" y="5875"/>
                  <a:pt x="3813" y="5875"/>
                  <a:pt x="3875" y="5938"/>
                </a:cubicBezTo>
                <a:cubicBezTo>
                  <a:pt x="3906" y="5969"/>
                  <a:pt x="3938" y="5969"/>
                  <a:pt x="3938" y="5938"/>
                </a:cubicBezTo>
                <a:cubicBezTo>
                  <a:pt x="3938" y="5907"/>
                  <a:pt x="4000" y="5907"/>
                  <a:pt x="3938" y="5875"/>
                </a:cubicBezTo>
                <a:cubicBezTo>
                  <a:pt x="3844" y="5782"/>
                  <a:pt x="3938" y="5782"/>
                  <a:pt x="4000" y="5782"/>
                </a:cubicBezTo>
                <a:cubicBezTo>
                  <a:pt x="4031" y="5782"/>
                  <a:pt x="4094" y="5782"/>
                  <a:pt x="4156" y="5750"/>
                </a:cubicBezTo>
                <a:cubicBezTo>
                  <a:pt x="4219" y="5719"/>
                  <a:pt x="4219" y="5782"/>
                  <a:pt x="4250" y="5813"/>
                </a:cubicBezTo>
                <a:cubicBezTo>
                  <a:pt x="4281" y="5844"/>
                  <a:pt x="4281" y="5875"/>
                  <a:pt x="4250" y="5907"/>
                </a:cubicBezTo>
                <a:cubicBezTo>
                  <a:pt x="4219" y="5907"/>
                  <a:pt x="4188" y="5875"/>
                  <a:pt x="4156" y="5844"/>
                </a:cubicBezTo>
                <a:cubicBezTo>
                  <a:pt x="4063" y="5782"/>
                  <a:pt x="4063" y="5907"/>
                  <a:pt x="4000" y="5938"/>
                </a:cubicBezTo>
                <a:cubicBezTo>
                  <a:pt x="3969" y="5969"/>
                  <a:pt x="3969" y="6000"/>
                  <a:pt x="4031" y="6032"/>
                </a:cubicBezTo>
                <a:cubicBezTo>
                  <a:pt x="4188" y="6094"/>
                  <a:pt x="4313" y="6125"/>
                  <a:pt x="4438" y="6157"/>
                </a:cubicBezTo>
                <a:cubicBezTo>
                  <a:pt x="4625" y="6219"/>
                  <a:pt x="4625" y="6219"/>
                  <a:pt x="4594" y="6407"/>
                </a:cubicBezTo>
                <a:cubicBezTo>
                  <a:pt x="4719" y="6407"/>
                  <a:pt x="4844" y="6407"/>
                  <a:pt x="4969" y="6500"/>
                </a:cubicBezTo>
                <a:cubicBezTo>
                  <a:pt x="4813" y="6438"/>
                  <a:pt x="4688" y="6563"/>
                  <a:pt x="4563" y="6438"/>
                </a:cubicBezTo>
                <a:cubicBezTo>
                  <a:pt x="4500" y="6407"/>
                  <a:pt x="4438" y="6344"/>
                  <a:pt x="4375" y="6313"/>
                </a:cubicBezTo>
                <a:cubicBezTo>
                  <a:pt x="4375" y="6344"/>
                  <a:pt x="4375" y="6344"/>
                  <a:pt x="4344" y="6344"/>
                </a:cubicBezTo>
                <a:cubicBezTo>
                  <a:pt x="4313" y="6375"/>
                  <a:pt x="4281" y="6375"/>
                  <a:pt x="4250" y="6375"/>
                </a:cubicBezTo>
                <a:cubicBezTo>
                  <a:pt x="4219" y="6375"/>
                  <a:pt x="4219" y="6375"/>
                  <a:pt x="4219" y="6375"/>
                </a:cubicBezTo>
                <a:cubicBezTo>
                  <a:pt x="4188" y="6344"/>
                  <a:pt x="4188" y="6344"/>
                  <a:pt x="4156" y="6344"/>
                </a:cubicBezTo>
                <a:cubicBezTo>
                  <a:pt x="4125" y="6375"/>
                  <a:pt x="4063" y="6313"/>
                  <a:pt x="4063" y="6375"/>
                </a:cubicBezTo>
                <a:cubicBezTo>
                  <a:pt x="4063" y="6438"/>
                  <a:pt x="4125" y="6407"/>
                  <a:pt x="4156" y="6407"/>
                </a:cubicBezTo>
                <a:cubicBezTo>
                  <a:pt x="4188" y="6407"/>
                  <a:pt x="4219" y="6407"/>
                  <a:pt x="4219" y="6407"/>
                </a:cubicBezTo>
                <a:cubicBezTo>
                  <a:pt x="4250" y="6407"/>
                  <a:pt x="4281" y="6407"/>
                  <a:pt x="4281" y="6438"/>
                </a:cubicBezTo>
                <a:cubicBezTo>
                  <a:pt x="4281" y="6438"/>
                  <a:pt x="4281" y="6469"/>
                  <a:pt x="4250" y="6469"/>
                </a:cubicBezTo>
                <a:cubicBezTo>
                  <a:pt x="4219" y="6500"/>
                  <a:pt x="4156" y="6500"/>
                  <a:pt x="4125" y="6500"/>
                </a:cubicBezTo>
                <a:cubicBezTo>
                  <a:pt x="3969" y="6438"/>
                  <a:pt x="3813" y="6438"/>
                  <a:pt x="3688" y="6313"/>
                </a:cubicBezTo>
                <a:cubicBezTo>
                  <a:pt x="3813" y="6375"/>
                  <a:pt x="3969" y="6313"/>
                  <a:pt x="4094" y="6313"/>
                </a:cubicBezTo>
                <a:cubicBezTo>
                  <a:pt x="4063" y="6313"/>
                  <a:pt x="4063" y="6282"/>
                  <a:pt x="4063" y="6282"/>
                </a:cubicBezTo>
                <a:cubicBezTo>
                  <a:pt x="4063" y="6250"/>
                  <a:pt x="4063" y="6250"/>
                  <a:pt x="4031" y="6250"/>
                </a:cubicBezTo>
                <a:cubicBezTo>
                  <a:pt x="3906" y="6219"/>
                  <a:pt x="3719" y="6250"/>
                  <a:pt x="3594" y="6188"/>
                </a:cubicBezTo>
                <a:cubicBezTo>
                  <a:pt x="3531" y="6157"/>
                  <a:pt x="3469" y="6125"/>
                  <a:pt x="3469" y="6063"/>
                </a:cubicBezTo>
                <a:cubicBezTo>
                  <a:pt x="3469" y="6032"/>
                  <a:pt x="3344" y="6094"/>
                  <a:pt x="3282" y="6063"/>
                </a:cubicBezTo>
                <a:cubicBezTo>
                  <a:pt x="3157" y="5969"/>
                  <a:pt x="3032" y="6032"/>
                  <a:pt x="2938" y="6188"/>
                </a:cubicBezTo>
                <a:cubicBezTo>
                  <a:pt x="3125" y="6250"/>
                  <a:pt x="3313" y="6313"/>
                  <a:pt x="3500" y="6375"/>
                </a:cubicBezTo>
                <a:cubicBezTo>
                  <a:pt x="3938" y="6500"/>
                  <a:pt x="4375" y="6625"/>
                  <a:pt x="4781" y="6844"/>
                </a:cubicBezTo>
                <a:cubicBezTo>
                  <a:pt x="4875" y="6844"/>
                  <a:pt x="4938" y="6907"/>
                  <a:pt x="5031" y="6969"/>
                </a:cubicBezTo>
                <a:cubicBezTo>
                  <a:pt x="5125" y="7063"/>
                  <a:pt x="5281" y="7032"/>
                  <a:pt x="5406" y="7094"/>
                </a:cubicBezTo>
                <a:cubicBezTo>
                  <a:pt x="5438" y="7094"/>
                  <a:pt x="5469" y="7094"/>
                  <a:pt x="5438" y="7157"/>
                </a:cubicBezTo>
                <a:cubicBezTo>
                  <a:pt x="5375" y="7219"/>
                  <a:pt x="5469" y="7282"/>
                  <a:pt x="5531" y="7344"/>
                </a:cubicBezTo>
                <a:cubicBezTo>
                  <a:pt x="5438" y="7344"/>
                  <a:pt x="5375" y="7375"/>
                  <a:pt x="5313" y="7282"/>
                </a:cubicBezTo>
                <a:cubicBezTo>
                  <a:pt x="5281" y="7250"/>
                  <a:pt x="5188" y="7250"/>
                  <a:pt x="5125" y="7219"/>
                </a:cubicBezTo>
                <a:cubicBezTo>
                  <a:pt x="5031" y="7188"/>
                  <a:pt x="4906" y="7188"/>
                  <a:pt x="4813" y="7094"/>
                </a:cubicBezTo>
                <a:cubicBezTo>
                  <a:pt x="4906" y="7063"/>
                  <a:pt x="4969" y="7094"/>
                  <a:pt x="5063" y="7063"/>
                </a:cubicBezTo>
                <a:cubicBezTo>
                  <a:pt x="4938" y="7063"/>
                  <a:pt x="4906" y="6969"/>
                  <a:pt x="4781" y="7000"/>
                </a:cubicBezTo>
                <a:cubicBezTo>
                  <a:pt x="4719" y="7000"/>
                  <a:pt x="4781" y="6938"/>
                  <a:pt x="4781" y="6907"/>
                </a:cubicBezTo>
                <a:cubicBezTo>
                  <a:pt x="4656" y="6875"/>
                  <a:pt x="4531" y="6875"/>
                  <a:pt x="4406" y="6938"/>
                </a:cubicBezTo>
                <a:cubicBezTo>
                  <a:pt x="4406" y="6875"/>
                  <a:pt x="4500" y="6844"/>
                  <a:pt x="4438" y="6813"/>
                </a:cubicBezTo>
                <a:cubicBezTo>
                  <a:pt x="4375" y="6782"/>
                  <a:pt x="4375" y="6907"/>
                  <a:pt x="4313" y="6907"/>
                </a:cubicBezTo>
                <a:cubicBezTo>
                  <a:pt x="4281" y="6813"/>
                  <a:pt x="4219" y="6844"/>
                  <a:pt x="4156" y="6844"/>
                </a:cubicBezTo>
                <a:cubicBezTo>
                  <a:pt x="3938" y="6875"/>
                  <a:pt x="3719" y="6907"/>
                  <a:pt x="3500" y="6875"/>
                </a:cubicBezTo>
                <a:cubicBezTo>
                  <a:pt x="3438" y="6875"/>
                  <a:pt x="3375" y="6875"/>
                  <a:pt x="3313" y="6813"/>
                </a:cubicBezTo>
                <a:cubicBezTo>
                  <a:pt x="3813" y="6813"/>
                  <a:pt x="3938" y="6782"/>
                  <a:pt x="4000" y="6657"/>
                </a:cubicBezTo>
                <a:cubicBezTo>
                  <a:pt x="3906" y="6688"/>
                  <a:pt x="3844" y="6688"/>
                  <a:pt x="3750" y="6719"/>
                </a:cubicBezTo>
                <a:cubicBezTo>
                  <a:pt x="3688" y="6719"/>
                  <a:pt x="3625" y="6719"/>
                  <a:pt x="3563" y="6688"/>
                </a:cubicBezTo>
                <a:cubicBezTo>
                  <a:pt x="3438" y="6657"/>
                  <a:pt x="3344" y="6532"/>
                  <a:pt x="3188" y="6625"/>
                </a:cubicBezTo>
                <a:cubicBezTo>
                  <a:pt x="3188" y="6625"/>
                  <a:pt x="3125" y="6594"/>
                  <a:pt x="3125" y="6563"/>
                </a:cubicBezTo>
                <a:cubicBezTo>
                  <a:pt x="3125" y="6532"/>
                  <a:pt x="3094" y="6532"/>
                  <a:pt x="3063" y="6532"/>
                </a:cubicBezTo>
                <a:cubicBezTo>
                  <a:pt x="2938" y="6625"/>
                  <a:pt x="2844" y="6563"/>
                  <a:pt x="2750" y="6500"/>
                </a:cubicBezTo>
                <a:cubicBezTo>
                  <a:pt x="2688" y="6469"/>
                  <a:pt x="2594" y="6438"/>
                  <a:pt x="2532" y="6407"/>
                </a:cubicBezTo>
                <a:cubicBezTo>
                  <a:pt x="2469" y="6407"/>
                  <a:pt x="2375" y="6375"/>
                  <a:pt x="2344" y="6438"/>
                </a:cubicBezTo>
                <a:cubicBezTo>
                  <a:pt x="2282" y="6500"/>
                  <a:pt x="2219" y="6500"/>
                  <a:pt x="2157" y="6469"/>
                </a:cubicBezTo>
                <a:cubicBezTo>
                  <a:pt x="2063" y="6438"/>
                  <a:pt x="1969" y="6438"/>
                  <a:pt x="1875" y="6532"/>
                </a:cubicBezTo>
                <a:cubicBezTo>
                  <a:pt x="2000" y="6532"/>
                  <a:pt x="2094" y="6625"/>
                  <a:pt x="2188" y="6532"/>
                </a:cubicBezTo>
                <a:cubicBezTo>
                  <a:pt x="2219" y="6532"/>
                  <a:pt x="2282" y="6532"/>
                  <a:pt x="2250" y="6563"/>
                </a:cubicBezTo>
                <a:cubicBezTo>
                  <a:pt x="2250" y="6657"/>
                  <a:pt x="2313" y="6625"/>
                  <a:pt x="2375" y="6625"/>
                </a:cubicBezTo>
                <a:cubicBezTo>
                  <a:pt x="2532" y="6688"/>
                  <a:pt x="2657" y="6719"/>
                  <a:pt x="2813" y="6750"/>
                </a:cubicBezTo>
                <a:cubicBezTo>
                  <a:pt x="2844" y="6688"/>
                  <a:pt x="2938" y="6625"/>
                  <a:pt x="3032" y="6657"/>
                </a:cubicBezTo>
                <a:cubicBezTo>
                  <a:pt x="3032" y="6657"/>
                  <a:pt x="3063" y="6688"/>
                  <a:pt x="3032" y="6719"/>
                </a:cubicBezTo>
                <a:cubicBezTo>
                  <a:pt x="3032" y="6750"/>
                  <a:pt x="3000" y="6750"/>
                  <a:pt x="3000" y="6750"/>
                </a:cubicBezTo>
                <a:cubicBezTo>
                  <a:pt x="2969" y="6750"/>
                  <a:pt x="2875" y="6688"/>
                  <a:pt x="2907" y="6813"/>
                </a:cubicBezTo>
                <a:cubicBezTo>
                  <a:pt x="2969" y="6813"/>
                  <a:pt x="3000" y="6813"/>
                  <a:pt x="3032" y="6844"/>
                </a:cubicBezTo>
                <a:cubicBezTo>
                  <a:pt x="3157" y="6907"/>
                  <a:pt x="3313" y="6907"/>
                  <a:pt x="3438" y="6969"/>
                </a:cubicBezTo>
                <a:cubicBezTo>
                  <a:pt x="3531" y="6969"/>
                  <a:pt x="3656" y="7000"/>
                  <a:pt x="3750" y="7094"/>
                </a:cubicBezTo>
                <a:cubicBezTo>
                  <a:pt x="3625" y="7094"/>
                  <a:pt x="3531" y="7063"/>
                  <a:pt x="3407" y="7032"/>
                </a:cubicBezTo>
                <a:cubicBezTo>
                  <a:pt x="3375" y="7032"/>
                  <a:pt x="3375" y="7032"/>
                  <a:pt x="3344" y="7063"/>
                </a:cubicBezTo>
                <a:cubicBezTo>
                  <a:pt x="3344" y="7063"/>
                  <a:pt x="3344" y="7063"/>
                  <a:pt x="3344" y="7094"/>
                </a:cubicBezTo>
                <a:cubicBezTo>
                  <a:pt x="3438" y="7157"/>
                  <a:pt x="3375" y="7157"/>
                  <a:pt x="3344" y="7157"/>
                </a:cubicBezTo>
                <a:cubicBezTo>
                  <a:pt x="3282" y="7188"/>
                  <a:pt x="3219" y="7157"/>
                  <a:pt x="3157" y="7157"/>
                </a:cubicBezTo>
                <a:cubicBezTo>
                  <a:pt x="3063" y="7125"/>
                  <a:pt x="2969" y="7094"/>
                  <a:pt x="2844" y="7157"/>
                </a:cubicBezTo>
                <a:cubicBezTo>
                  <a:pt x="3032" y="7219"/>
                  <a:pt x="3219" y="7188"/>
                  <a:pt x="3344" y="7313"/>
                </a:cubicBezTo>
                <a:cubicBezTo>
                  <a:pt x="3375" y="7344"/>
                  <a:pt x="3407" y="7344"/>
                  <a:pt x="3407" y="7250"/>
                </a:cubicBezTo>
                <a:cubicBezTo>
                  <a:pt x="3407" y="7157"/>
                  <a:pt x="3407" y="7125"/>
                  <a:pt x="3531" y="7157"/>
                </a:cubicBezTo>
                <a:cubicBezTo>
                  <a:pt x="3656" y="7219"/>
                  <a:pt x="3813" y="7250"/>
                  <a:pt x="3938" y="7282"/>
                </a:cubicBezTo>
                <a:cubicBezTo>
                  <a:pt x="3969" y="7282"/>
                  <a:pt x="4031" y="7313"/>
                  <a:pt x="4031" y="7282"/>
                </a:cubicBezTo>
                <a:cubicBezTo>
                  <a:pt x="4031" y="7157"/>
                  <a:pt x="4125" y="7219"/>
                  <a:pt x="4156" y="7219"/>
                </a:cubicBezTo>
                <a:cubicBezTo>
                  <a:pt x="4250" y="7219"/>
                  <a:pt x="4344" y="7313"/>
                  <a:pt x="4438" y="7313"/>
                </a:cubicBezTo>
                <a:cubicBezTo>
                  <a:pt x="4375" y="7344"/>
                  <a:pt x="4281" y="7313"/>
                  <a:pt x="4219" y="7375"/>
                </a:cubicBezTo>
                <a:cubicBezTo>
                  <a:pt x="4313" y="7407"/>
                  <a:pt x="4375" y="7438"/>
                  <a:pt x="4469" y="7469"/>
                </a:cubicBezTo>
                <a:cubicBezTo>
                  <a:pt x="4563" y="7532"/>
                  <a:pt x="4594" y="7532"/>
                  <a:pt x="4688" y="7438"/>
                </a:cubicBezTo>
                <a:cubicBezTo>
                  <a:pt x="4688" y="7438"/>
                  <a:pt x="4688" y="7438"/>
                  <a:pt x="4719" y="7438"/>
                </a:cubicBezTo>
                <a:cubicBezTo>
                  <a:pt x="4875" y="7438"/>
                  <a:pt x="5000" y="7500"/>
                  <a:pt x="5156" y="7625"/>
                </a:cubicBezTo>
                <a:cubicBezTo>
                  <a:pt x="5063" y="7657"/>
                  <a:pt x="5000" y="7563"/>
                  <a:pt x="4938" y="7594"/>
                </a:cubicBezTo>
                <a:cubicBezTo>
                  <a:pt x="4906" y="7532"/>
                  <a:pt x="4844" y="7532"/>
                  <a:pt x="4781" y="7594"/>
                </a:cubicBezTo>
                <a:cubicBezTo>
                  <a:pt x="4844" y="7594"/>
                  <a:pt x="4875" y="7594"/>
                  <a:pt x="4906" y="7625"/>
                </a:cubicBezTo>
                <a:cubicBezTo>
                  <a:pt x="5094" y="7719"/>
                  <a:pt x="5250" y="7782"/>
                  <a:pt x="5438" y="7875"/>
                </a:cubicBezTo>
                <a:cubicBezTo>
                  <a:pt x="5594" y="7938"/>
                  <a:pt x="5750" y="8000"/>
                  <a:pt x="5906" y="8032"/>
                </a:cubicBezTo>
                <a:cubicBezTo>
                  <a:pt x="6000" y="8032"/>
                  <a:pt x="6094" y="7969"/>
                  <a:pt x="6156" y="8094"/>
                </a:cubicBezTo>
                <a:cubicBezTo>
                  <a:pt x="6188" y="8125"/>
                  <a:pt x="6344" y="8094"/>
                  <a:pt x="6406" y="8125"/>
                </a:cubicBezTo>
                <a:cubicBezTo>
                  <a:pt x="6438" y="8125"/>
                  <a:pt x="6469" y="8157"/>
                  <a:pt x="6469" y="8188"/>
                </a:cubicBezTo>
                <a:cubicBezTo>
                  <a:pt x="6438" y="8219"/>
                  <a:pt x="6344" y="8125"/>
                  <a:pt x="6344" y="8219"/>
                </a:cubicBezTo>
                <a:cubicBezTo>
                  <a:pt x="6344" y="8250"/>
                  <a:pt x="6406" y="8282"/>
                  <a:pt x="6469" y="8282"/>
                </a:cubicBezTo>
                <a:cubicBezTo>
                  <a:pt x="6469" y="8282"/>
                  <a:pt x="6500" y="8282"/>
                  <a:pt x="6500" y="8282"/>
                </a:cubicBezTo>
                <a:cubicBezTo>
                  <a:pt x="6531" y="8282"/>
                  <a:pt x="6594" y="8313"/>
                  <a:pt x="6563" y="8344"/>
                </a:cubicBezTo>
                <a:cubicBezTo>
                  <a:pt x="6563" y="8375"/>
                  <a:pt x="6500" y="8375"/>
                  <a:pt x="6469" y="8375"/>
                </a:cubicBezTo>
                <a:cubicBezTo>
                  <a:pt x="6438" y="8344"/>
                  <a:pt x="6406" y="8344"/>
                  <a:pt x="6375" y="8313"/>
                </a:cubicBezTo>
                <a:cubicBezTo>
                  <a:pt x="6344" y="8313"/>
                  <a:pt x="6313" y="8313"/>
                  <a:pt x="6313" y="8375"/>
                </a:cubicBezTo>
                <a:cubicBezTo>
                  <a:pt x="6344" y="8438"/>
                  <a:pt x="6375" y="8469"/>
                  <a:pt x="6438" y="8438"/>
                </a:cubicBezTo>
                <a:cubicBezTo>
                  <a:pt x="6469" y="8407"/>
                  <a:pt x="6500" y="8375"/>
                  <a:pt x="6531" y="8407"/>
                </a:cubicBezTo>
                <a:cubicBezTo>
                  <a:pt x="6594" y="8500"/>
                  <a:pt x="6719" y="8438"/>
                  <a:pt x="6781" y="8438"/>
                </a:cubicBezTo>
                <a:cubicBezTo>
                  <a:pt x="6844" y="8438"/>
                  <a:pt x="6906" y="8438"/>
                  <a:pt x="6938" y="8469"/>
                </a:cubicBezTo>
                <a:cubicBezTo>
                  <a:pt x="6969" y="8469"/>
                  <a:pt x="7031" y="8500"/>
                  <a:pt x="7000" y="8563"/>
                </a:cubicBezTo>
                <a:cubicBezTo>
                  <a:pt x="6969" y="8594"/>
                  <a:pt x="6906" y="8594"/>
                  <a:pt x="6875" y="8563"/>
                </a:cubicBezTo>
                <a:cubicBezTo>
                  <a:pt x="6750" y="8438"/>
                  <a:pt x="6719" y="8469"/>
                  <a:pt x="6688" y="8563"/>
                </a:cubicBezTo>
                <a:cubicBezTo>
                  <a:pt x="6938" y="8657"/>
                  <a:pt x="7188" y="8719"/>
                  <a:pt x="7375" y="8875"/>
                </a:cubicBezTo>
                <a:cubicBezTo>
                  <a:pt x="7500" y="8750"/>
                  <a:pt x="7500" y="8750"/>
                  <a:pt x="7625" y="8969"/>
                </a:cubicBezTo>
                <a:cubicBezTo>
                  <a:pt x="7875" y="9063"/>
                  <a:pt x="8094" y="9219"/>
                  <a:pt x="8375" y="9282"/>
                </a:cubicBezTo>
                <a:cubicBezTo>
                  <a:pt x="8438" y="9313"/>
                  <a:pt x="8375" y="9407"/>
                  <a:pt x="8438" y="9375"/>
                </a:cubicBezTo>
                <a:cubicBezTo>
                  <a:pt x="8531" y="9375"/>
                  <a:pt x="8594" y="9469"/>
                  <a:pt x="8688" y="9500"/>
                </a:cubicBezTo>
                <a:cubicBezTo>
                  <a:pt x="8719" y="9469"/>
                  <a:pt x="8750" y="9469"/>
                  <a:pt x="8750" y="9500"/>
                </a:cubicBezTo>
                <a:cubicBezTo>
                  <a:pt x="8750" y="9500"/>
                  <a:pt x="8750" y="9500"/>
                  <a:pt x="8750" y="9500"/>
                </a:cubicBezTo>
                <a:cubicBezTo>
                  <a:pt x="8781" y="9500"/>
                  <a:pt x="8813" y="9500"/>
                  <a:pt x="8813" y="9532"/>
                </a:cubicBezTo>
                <a:cubicBezTo>
                  <a:pt x="8844" y="9532"/>
                  <a:pt x="8844" y="9532"/>
                  <a:pt x="8844" y="9532"/>
                </a:cubicBezTo>
                <a:cubicBezTo>
                  <a:pt x="8875" y="9532"/>
                  <a:pt x="8875" y="9532"/>
                  <a:pt x="8875" y="9532"/>
                </a:cubicBezTo>
                <a:cubicBezTo>
                  <a:pt x="8969" y="9657"/>
                  <a:pt x="9156" y="9688"/>
                  <a:pt x="9281" y="9750"/>
                </a:cubicBezTo>
                <a:cubicBezTo>
                  <a:pt x="9313" y="9782"/>
                  <a:pt x="9344" y="9813"/>
                  <a:pt x="9344" y="9875"/>
                </a:cubicBezTo>
                <a:cubicBezTo>
                  <a:pt x="9344" y="9907"/>
                  <a:pt x="9281" y="9907"/>
                  <a:pt x="9250" y="9907"/>
                </a:cubicBezTo>
                <a:cubicBezTo>
                  <a:pt x="9188" y="9907"/>
                  <a:pt x="9125" y="9907"/>
                  <a:pt x="9125" y="9969"/>
                </a:cubicBezTo>
                <a:cubicBezTo>
                  <a:pt x="9125" y="10063"/>
                  <a:pt x="9188" y="10063"/>
                  <a:pt x="9219" y="10063"/>
                </a:cubicBezTo>
                <a:cubicBezTo>
                  <a:pt x="9375" y="10125"/>
                  <a:pt x="9531" y="10094"/>
                  <a:pt x="9688" y="10032"/>
                </a:cubicBezTo>
                <a:cubicBezTo>
                  <a:pt x="9656" y="10125"/>
                  <a:pt x="9688" y="10157"/>
                  <a:pt x="9781" y="10157"/>
                </a:cubicBezTo>
                <a:cubicBezTo>
                  <a:pt x="9844" y="10157"/>
                  <a:pt x="9875" y="10157"/>
                  <a:pt x="9938" y="10157"/>
                </a:cubicBezTo>
                <a:cubicBezTo>
                  <a:pt x="9969" y="10157"/>
                  <a:pt x="10031" y="10157"/>
                  <a:pt x="10031" y="10188"/>
                </a:cubicBezTo>
                <a:cubicBezTo>
                  <a:pt x="10094" y="10282"/>
                  <a:pt x="10000" y="10219"/>
                  <a:pt x="9969" y="10250"/>
                </a:cubicBezTo>
                <a:cubicBezTo>
                  <a:pt x="9969" y="10313"/>
                  <a:pt x="10000" y="10313"/>
                  <a:pt x="10031" y="10313"/>
                </a:cubicBezTo>
                <a:cubicBezTo>
                  <a:pt x="10219" y="10344"/>
                  <a:pt x="10375" y="10375"/>
                  <a:pt x="10531" y="10469"/>
                </a:cubicBezTo>
                <a:cubicBezTo>
                  <a:pt x="10188" y="10532"/>
                  <a:pt x="10000" y="10500"/>
                  <a:pt x="9844" y="10313"/>
                </a:cubicBezTo>
                <a:cubicBezTo>
                  <a:pt x="9719" y="10188"/>
                  <a:pt x="9500" y="10219"/>
                  <a:pt x="9438" y="10407"/>
                </a:cubicBezTo>
                <a:cubicBezTo>
                  <a:pt x="9438" y="10438"/>
                  <a:pt x="9438" y="10469"/>
                  <a:pt x="9438" y="10469"/>
                </a:cubicBezTo>
                <a:cubicBezTo>
                  <a:pt x="9531" y="10438"/>
                  <a:pt x="9563" y="10594"/>
                  <a:pt x="9656" y="10563"/>
                </a:cubicBezTo>
                <a:cubicBezTo>
                  <a:pt x="9688" y="10563"/>
                  <a:pt x="9688" y="10500"/>
                  <a:pt x="9719" y="10532"/>
                </a:cubicBezTo>
                <a:cubicBezTo>
                  <a:pt x="9719" y="10563"/>
                  <a:pt x="9688" y="10563"/>
                  <a:pt x="9688" y="10563"/>
                </a:cubicBezTo>
                <a:cubicBezTo>
                  <a:pt x="9781" y="10625"/>
                  <a:pt x="9875" y="10688"/>
                  <a:pt x="9938" y="10813"/>
                </a:cubicBezTo>
                <a:cubicBezTo>
                  <a:pt x="10094" y="10813"/>
                  <a:pt x="10281" y="10782"/>
                  <a:pt x="10375" y="11000"/>
                </a:cubicBezTo>
                <a:cubicBezTo>
                  <a:pt x="10375" y="11000"/>
                  <a:pt x="10406" y="11000"/>
                  <a:pt x="10438" y="11000"/>
                </a:cubicBezTo>
                <a:cubicBezTo>
                  <a:pt x="10563" y="11000"/>
                  <a:pt x="10656" y="11094"/>
                  <a:pt x="10781" y="11157"/>
                </a:cubicBezTo>
                <a:cubicBezTo>
                  <a:pt x="10688" y="11188"/>
                  <a:pt x="10625" y="11250"/>
                  <a:pt x="10531" y="11219"/>
                </a:cubicBezTo>
                <a:cubicBezTo>
                  <a:pt x="10594" y="11282"/>
                  <a:pt x="10688" y="11282"/>
                  <a:pt x="10781" y="11313"/>
                </a:cubicBezTo>
                <a:cubicBezTo>
                  <a:pt x="10844" y="11344"/>
                  <a:pt x="10875" y="11313"/>
                  <a:pt x="10875" y="11250"/>
                </a:cubicBezTo>
                <a:cubicBezTo>
                  <a:pt x="10969" y="11157"/>
                  <a:pt x="10938" y="11094"/>
                  <a:pt x="10813" y="11063"/>
                </a:cubicBezTo>
                <a:cubicBezTo>
                  <a:pt x="11000" y="11032"/>
                  <a:pt x="11156" y="11125"/>
                  <a:pt x="11281" y="11219"/>
                </a:cubicBezTo>
                <a:cubicBezTo>
                  <a:pt x="11313" y="11219"/>
                  <a:pt x="11344" y="11250"/>
                  <a:pt x="11375" y="11282"/>
                </a:cubicBezTo>
                <a:cubicBezTo>
                  <a:pt x="11375" y="11282"/>
                  <a:pt x="11375" y="11313"/>
                  <a:pt x="11375" y="11313"/>
                </a:cubicBezTo>
                <a:cubicBezTo>
                  <a:pt x="11344" y="11344"/>
                  <a:pt x="11344" y="11344"/>
                  <a:pt x="11313" y="11313"/>
                </a:cubicBezTo>
                <a:cubicBezTo>
                  <a:pt x="11250" y="11282"/>
                  <a:pt x="11188" y="11219"/>
                  <a:pt x="11125" y="11188"/>
                </a:cubicBezTo>
                <a:cubicBezTo>
                  <a:pt x="11031" y="11157"/>
                  <a:pt x="11000" y="11188"/>
                  <a:pt x="10938" y="11250"/>
                </a:cubicBezTo>
                <a:cubicBezTo>
                  <a:pt x="11031" y="11438"/>
                  <a:pt x="11188" y="11469"/>
                  <a:pt x="11344" y="11469"/>
                </a:cubicBezTo>
                <a:cubicBezTo>
                  <a:pt x="11406" y="11469"/>
                  <a:pt x="11438" y="11469"/>
                  <a:pt x="11469" y="11469"/>
                </a:cubicBezTo>
                <a:cubicBezTo>
                  <a:pt x="11531" y="11500"/>
                  <a:pt x="11625" y="11563"/>
                  <a:pt x="11563" y="11407"/>
                </a:cubicBezTo>
                <a:cubicBezTo>
                  <a:pt x="11531" y="11375"/>
                  <a:pt x="11594" y="11375"/>
                  <a:pt x="11594" y="11407"/>
                </a:cubicBezTo>
                <a:cubicBezTo>
                  <a:pt x="11688" y="11438"/>
                  <a:pt x="11813" y="11438"/>
                  <a:pt x="11906" y="11532"/>
                </a:cubicBezTo>
                <a:cubicBezTo>
                  <a:pt x="11938" y="11500"/>
                  <a:pt x="11969" y="11532"/>
                  <a:pt x="12000" y="11563"/>
                </a:cubicBezTo>
                <a:cubicBezTo>
                  <a:pt x="12000" y="11563"/>
                  <a:pt x="12000" y="11563"/>
                  <a:pt x="12000" y="11563"/>
                </a:cubicBezTo>
                <a:cubicBezTo>
                  <a:pt x="12000" y="11563"/>
                  <a:pt x="12000" y="11563"/>
                  <a:pt x="12000" y="11563"/>
                </a:cubicBezTo>
                <a:cubicBezTo>
                  <a:pt x="12094" y="11657"/>
                  <a:pt x="12219" y="11719"/>
                  <a:pt x="12344" y="11750"/>
                </a:cubicBezTo>
                <a:cubicBezTo>
                  <a:pt x="12375" y="11750"/>
                  <a:pt x="12406" y="11782"/>
                  <a:pt x="12406" y="11813"/>
                </a:cubicBezTo>
                <a:cubicBezTo>
                  <a:pt x="12375" y="11844"/>
                  <a:pt x="12344" y="11844"/>
                  <a:pt x="12313" y="11813"/>
                </a:cubicBezTo>
                <a:cubicBezTo>
                  <a:pt x="12188" y="11782"/>
                  <a:pt x="12031" y="11782"/>
                  <a:pt x="12000" y="11625"/>
                </a:cubicBezTo>
                <a:cubicBezTo>
                  <a:pt x="11969" y="11625"/>
                  <a:pt x="11938" y="11657"/>
                  <a:pt x="11906" y="11657"/>
                </a:cubicBezTo>
                <a:cubicBezTo>
                  <a:pt x="11906" y="11657"/>
                  <a:pt x="11875" y="11657"/>
                  <a:pt x="11875" y="11657"/>
                </a:cubicBezTo>
                <a:cubicBezTo>
                  <a:pt x="11750" y="11782"/>
                  <a:pt x="11719" y="11594"/>
                  <a:pt x="11656" y="11594"/>
                </a:cubicBezTo>
                <a:cubicBezTo>
                  <a:pt x="11625" y="11594"/>
                  <a:pt x="11625" y="11532"/>
                  <a:pt x="11656" y="11532"/>
                </a:cubicBezTo>
                <a:lnTo>
                  <a:pt x="11656" y="11532"/>
                </a:lnTo>
                <a:cubicBezTo>
                  <a:pt x="11688" y="11532"/>
                  <a:pt x="11688" y="11532"/>
                  <a:pt x="11719" y="11532"/>
                </a:cubicBezTo>
                <a:cubicBezTo>
                  <a:pt x="11750" y="11594"/>
                  <a:pt x="11813" y="11657"/>
                  <a:pt x="11875" y="11657"/>
                </a:cubicBezTo>
                <a:cubicBezTo>
                  <a:pt x="11875" y="11657"/>
                  <a:pt x="11906" y="11625"/>
                  <a:pt x="11906" y="11625"/>
                </a:cubicBezTo>
                <a:cubicBezTo>
                  <a:pt x="11906" y="11625"/>
                  <a:pt x="11906" y="11657"/>
                  <a:pt x="11906" y="11657"/>
                </a:cubicBezTo>
                <a:cubicBezTo>
                  <a:pt x="11875" y="11782"/>
                  <a:pt x="11906" y="11844"/>
                  <a:pt x="12031" y="11813"/>
                </a:cubicBezTo>
                <a:cubicBezTo>
                  <a:pt x="12063" y="11782"/>
                  <a:pt x="12094" y="11813"/>
                  <a:pt x="12125" y="11844"/>
                </a:cubicBezTo>
                <a:cubicBezTo>
                  <a:pt x="12063" y="11875"/>
                  <a:pt x="12031" y="11844"/>
                  <a:pt x="12000" y="11844"/>
                </a:cubicBezTo>
                <a:cubicBezTo>
                  <a:pt x="11844" y="11875"/>
                  <a:pt x="11656" y="11875"/>
                  <a:pt x="11500" y="11782"/>
                </a:cubicBezTo>
                <a:cubicBezTo>
                  <a:pt x="11281" y="11688"/>
                  <a:pt x="11094" y="11594"/>
                  <a:pt x="10844" y="11594"/>
                </a:cubicBezTo>
                <a:cubicBezTo>
                  <a:pt x="10813" y="11594"/>
                  <a:pt x="10781" y="11563"/>
                  <a:pt x="10750" y="11563"/>
                </a:cubicBezTo>
                <a:cubicBezTo>
                  <a:pt x="10469" y="11532"/>
                  <a:pt x="10250" y="11282"/>
                  <a:pt x="9938" y="11344"/>
                </a:cubicBezTo>
                <a:cubicBezTo>
                  <a:pt x="9906" y="11375"/>
                  <a:pt x="9813" y="11407"/>
                  <a:pt x="9938" y="11438"/>
                </a:cubicBezTo>
                <a:cubicBezTo>
                  <a:pt x="10156" y="11407"/>
                  <a:pt x="10281" y="11594"/>
                  <a:pt x="10438" y="11688"/>
                </a:cubicBezTo>
                <a:cubicBezTo>
                  <a:pt x="10531" y="11688"/>
                  <a:pt x="10594" y="11750"/>
                  <a:pt x="10656" y="11782"/>
                </a:cubicBezTo>
                <a:cubicBezTo>
                  <a:pt x="10563" y="11782"/>
                  <a:pt x="10500" y="11844"/>
                  <a:pt x="10438" y="11750"/>
                </a:cubicBezTo>
                <a:cubicBezTo>
                  <a:pt x="10250" y="11813"/>
                  <a:pt x="10031" y="11688"/>
                  <a:pt x="9844" y="11844"/>
                </a:cubicBezTo>
                <a:cubicBezTo>
                  <a:pt x="9938" y="11844"/>
                  <a:pt x="10000" y="11844"/>
                  <a:pt x="10094" y="11875"/>
                </a:cubicBezTo>
                <a:cubicBezTo>
                  <a:pt x="10156" y="11907"/>
                  <a:pt x="10250" y="11844"/>
                  <a:pt x="10313" y="11844"/>
                </a:cubicBezTo>
                <a:cubicBezTo>
                  <a:pt x="10375" y="11844"/>
                  <a:pt x="10469" y="11844"/>
                  <a:pt x="10563" y="11844"/>
                </a:cubicBezTo>
                <a:cubicBezTo>
                  <a:pt x="10594" y="11844"/>
                  <a:pt x="10625" y="11875"/>
                  <a:pt x="10625" y="11938"/>
                </a:cubicBezTo>
                <a:cubicBezTo>
                  <a:pt x="10625" y="11938"/>
                  <a:pt x="10625" y="11938"/>
                  <a:pt x="10594" y="11938"/>
                </a:cubicBezTo>
                <a:cubicBezTo>
                  <a:pt x="10563" y="12000"/>
                  <a:pt x="10438" y="11875"/>
                  <a:pt x="10469" y="12000"/>
                </a:cubicBezTo>
                <a:lnTo>
                  <a:pt x="10469" y="12000"/>
                </a:lnTo>
                <a:cubicBezTo>
                  <a:pt x="10469" y="12063"/>
                  <a:pt x="10563" y="12000"/>
                  <a:pt x="10625" y="12032"/>
                </a:cubicBezTo>
                <a:cubicBezTo>
                  <a:pt x="10625" y="12063"/>
                  <a:pt x="10656" y="12032"/>
                  <a:pt x="10656" y="12032"/>
                </a:cubicBezTo>
                <a:cubicBezTo>
                  <a:pt x="10688" y="12000"/>
                  <a:pt x="10594" y="12000"/>
                  <a:pt x="10594" y="11938"/>
                </a:cubicBezTo>
                <a:cubicBezTo>
                  <a:pt x="10625" y="11938"/>
                  <a:pt x="10625" y="11938"/>
                  <a:pt x="10625" y="11938"/>
                </a:cubicBezTo>
                <a:cubicBezTo>
                  <a:pt x="10750" y="11969"/>
                  <a:pt x="10906" y="12032"/>
                  <a:pt x="11063" y="12094"/>
                </a:cubicBezTo>
                <a:cubicBezTo>
                  <a:pt x="11094" y="12094"/>
                  <a:pt x="11125" y="12094"/>
                  <a:pt x="11188" y="12125"/>
                </a:cubicBezTo>
                <a:cubicBezTo>
                  <a:pt x="11125" y="12188"/>
                  <a:pt x="11063" y="12157"/>
                  <a:pt x="11031" y="12125"/>
                </a:cubicBezTo>
                <a:cubicBezTo>
                  <a:pt x="11000" y="12125"/>
                  <a:pt x="10938" y="12094"/>
                  <a:pt x="10906" y="12125"/>
                </a:cubicBezTo>
                <a:cubicBezTo>
                  <a:pt x="10938" y="12188"/>
                  <a:pt x="10969" y="12188"/>
                  <a:pt x="11031" y="12188"/>
                </a:cubicBezTo>
                <a:cubicBezTo>
                  <a:pt x="11125" y="12250"/>
                  <a:pt x="11219" y="12219"/>
                  <a:pt x="11313" y="12250"/>
                </a:cubicBezTo>
                <a:cubicBezTo>
                  <a:pt x="11438" y="12313"/>
                  <a:pt x="11531" y="12344"/>
                  <a:pt x="11656" y="12282"/>
                </a:cubicBezTo>
                <a:cubicBezTo>
                  <a:pt x="11688" y="12282"/>
                  <a:pt x="11719" y="12282"/>
                  <a:pt x="11719" y="12313"/>
                </a:cubicBezTo>
                <a:cubicBezTo>
                  <a:pt x="11719" y="12344"/>
                  <a:pt x="11688" y="12344"/>
                  <a:pt x="11656" y="12344"/>
                </a:cubicBezTo>
                <a:cubicBezTo>
                  <a:pt x="11594" y="12344"/>
                  <a:pt x="11500" y="12375"/>
                  <a:pt x="11438" y="12438"/>
                </a:cubicBezTo>
                <a:cubicBezTo>
                  <a:pt x="11594" y="12438"/>
                  <a:pt x="11688" y="12532"/>
                  <a:pt x="11813" y="12469"/>
                </a:cubicBezTo>
                <a:cubicBezTo>
                  <a:pt x="11875" y="12407"/>
                  <a:pt x="11938" y="12407"/>
                  <a:pt x="11844" y="12375"/>
                </a:cubicBezTo>
                <a:cubicBezTo>
                  <a:pt x="11781" y="12313"/>
                  <a:pt x="11844" y="12313"/>
                  <a:pt x="11844" y="12282"/>
                </a:cubicBezTo>
                <a:cubicBezTo>
                  <a:pt x="11906" y="12282"/>
                  <a:pt x="11938" y="12282"/>
                  <a:pt x="12000" y="12282"/>
                </a:cubicBezTo>
                <a:cubicBezTo>
                  <a:pt x="12125" y="12344"/>
                  <a:pt x="12250" y="12375"/>
                  <a:pt x="12344" y="12282"/>
                </a:cubicBezTo>
                <a:cubicBezTo>
                  <a:pt x="12313" y="12250"/>
                  <a:pt x="12250" y="12219"/>
                  <a:pt x="12188" y="12219"/>
                </a:cubicBezTo>
                <a:cubicBezTo>
                  <a:pt x="12000" y="12219"/>
                  <a:pt x="11844" y="12125"/>
                  <a:pt x="11688" y="12094"/>
                </a:cubicBezTo>
                <a:cubicBezTo>
                  <a:pt x="11656" y="12094"/>
                  <a:pt x="11625" y="12063"/>
                  <a:pt x="11594" y="12063"/>
                </a:cubicBezTo>
                <a:cubicBezTo>
                  <a:pt x="11531" y="12032"/>
                  <a:pt x="11531" y="11969"/>
                  <a:pt x="11563" y="11938"/>
                </a:cubicBezTo>
                <a:cubicBezTo>
                  <a:pt x="11563" y="11875"/>
                  <a:pt x="11594" y="11907"/>
                  <a:pt x="11656" y="11938"/>
                </a:cubicBezTo>
                <a:cubicBezTo>
                  <a:pt x="11719" y="11938"/>
                  <a:pt x="11844" y="12094"/>
                  <a:pt x="11906" y="11907"/>
                </a:cubicBezTo>
                <a:cubicBezTo>
                  <a:pt x="11969" y="11938"/>
                  <a:pt x="12063" y="11907"/>
                  <a:pt x="12125" y="11969"/>
                </a:cubicBezTo>
                <a:cubicBezTo>
                  <a:pt x="12156" y="12000"/>
                  <a:pt x="12125" y="12032"/>
                  <a:pt x="12094" y="12032"/>
                </a:cubicBezTo>
                <a:cubicBezTo>
                  <a:pt x="12094" y="12032"/>
                  <a:pt x="12031" y="12000"/>
                  <a:pt x="12031" y="12063"/>
                </a:cubicBezTo>
                <a:cubicBezTo>
                  <a:pt x="12063" y="12094"/>
                  <a:pt x="12063" y="12125"/>
                  <a:pt x="12125" y="12125"/>
                </a:cubicBezTo>
                <a:cubicBezTo>
                  <a:pt x="12188" y="12125"/>
                  <a:pt x="12250" y="12125"/>
                  <a:pt x="12313" y="12125"/>
                </a:cubicBezTo>
                <a:cubicBezTo>
                  <a:pt x="12313" y="12063"/>
                  <a:pt x="12281" y="12063"/>
                  <a:pt x="12250" y="12063"/>
                </a:cubicBezTo>
                <a:cubicBezTo>
                  <a:pt x="12219" y="12032"/>
                  <a:pt x="12188" y="12032"/>
                  <a:pt x="12219" y="12000"/>
                </a:cubicBezTo>
                <a:cubicBezTo>
                  <a:pt x="12219" y="11969"/>
                  <a:pt x="12250" y="11938"/>
                  <a:pt x="12281" y="11938"/>
                </a:cubicBezTo>
                <a:cubicBezTo>
                  <a:pt x="12313" y="11938"/>
                  <a:pt x="12344" y="11907"/>
                  <a:pt x="12375" y="11969"/>
                </a:cubicBezTo>
                <a:cubicBezTo>
                  <a:pt x="12375" y="12032"/>
                  <a:pt x="12438" y="12094"/>
                  <a:pt x="12469" y="12094"/>
                </a:cubicBezTo>
                <a:cubicBezTo>
                  <a:pt x="12500" y="12094"/>
                  <a:pt x="12531" y="12094"/>
                  <a:pt x="12563" y="12094"/>
                </a:cubicBezTo>
                <a:cubicBezTo>
                  <a:pt x="12625" y="12032"/>
                  <a:pt x="12406" y="12063"/>
                  <a:pt x="12531" y="11969"/>
                </a:cubicBezTo>
                <a:cubicBezTo>
                  <a:pt x="12625" y="11907"/>
                  <a:pt x="12719" y="11907"/>
                  <a:pt x="12781" y="12000"/>
                </a:cubicBezTo>
                <a:cubicBezTo>
                  <a:pt x="12719" y="12063"/>
                  <a:pt x="12656" y="12000"/>
                  <a:pt x="12594" y="12032"/>
                </a:cubicBezTo>
                <a:cubicBezTo>
                  <a:pt x="12719" y="12063"/>
                  <a:pt x="12594" y="12125"/>
                  <a:pt x="12625" y="12188"/>
                </a:cubicBezTo>
                <a:cubicBezTo>
                  <a:pt x="12688" y="12250"/>
                  <a:pt x="12781" y="12219"/>
                  <a:pt x="12844" y="12188"/>
                </a:cubicBezTo>
                <a:cubicBezTo>
                  <a:pt x="12875" y="12188"/>
                  <a:pt x="12906" y="12157"/>
                  <a:pt x="12938" y="12219"/>
                </a:cubicBezTo>
                <a:cubicBezTo>
                  <a:pt x="12969" y="12250"/>
                  <a:pt x="12906" y="12250"/>
                  <a:pt x="12906" y="12313"/>
                </a:cubicBezTo>
                <a:cubicBezTo>
                  <a:pt x="12969" y="12313"/>
                  <a:pt x="13031" y="12313"/>
                  <a:pt x="13094" y="12313"/>
                </a:cubicBezTo>
                <a:cubicBezTo>
                  <a:pt x="13250" y="12344"/>
                  <a:pt x="13406" y="12375"/>
                  <a:pt x="13500" y="12563"/>
                </a:cubicBezTo>
                <a:cubicBezTo>
                  <a:pt x="13531" y="12625"/>
                  <a:pt x="13563" y="12625"/>
                  <a:pt x="13594" y="12625"/>
                </a:cubicBezTo>
                <a:cubicBezTo>
                  <a:pt x="13719" y="12625"/>
                  <a:pt x="13906" y="12625"/>
                  <a:pt x="13938" y="12688"/>
                </a:cubicBezTo>
                <a:cubicBezTo>
                  <a:pt x="14063" y="12813"/>
                  <a:pt x="14250" y="12750"/>
                  <a:pt x="14313" y="12938"/>
                </a:cubicBezTo>
                <a:cubicBezTo>
                  <a:pt x="14344" y="12938"/>
                  <a:pt x="14375" y="12969"/>
                  <a:pt x="14406" y="12938"/>
                </a:cubicBezTo>
                <a:cubicBezTo>
                  <a:pt x="14563" y="12875"/>
                  <a:pt x="14688" y="12969"/>
                  <a:pt x="14813" y="13063"/>
                </a:cubicBezTo>
                <a:cubicBezTo>
                  <a:pt x="14875" y="13094"/>
                  <a:pt x="14875" y="13157"/>
                  <a:pt x="14938" y="13157"/>
                </a:cubicBezTo>
                <a:cubicBezTo>
                  <a:pt x="15031" y="13157"/>
                  <a:pt x="15125" y="13157"/>
                  <a:pt x="15219" y="13157"/>
                </a:cubicBezTo>
                <a:cubicBezTo>
                  <a:pt x="15250" y="13157"/>
                  <a:pt x="15281" y="13125"/>
                  <a:pt x="15313" y="13125"/>
                </a:cubicBezTo>
                <a:cubicBezTo>
                  <a:pt x="15063" y="13125"/>
                  <a:pt x="14906" y="12969"/>
                  <a:pt x="14719" y="12938"/>
                </a:cubicBezTo>
                <a:cubicBezTo>
                  <a:pt x="14688" y="12938"/>
                  <a:pt x="14656" y="12938"/>
                  <a:pt x="14656" y="12938"/>
                </a:cubicBezTo>
                <a:cubicBezTo>
                  <a:pt x="14594" y="12782"/>
                  <a:pt x="14438" y="12844"/>
                  <a:pt x="14313" y="12782"/>
                </a:cubicBezTo>
                <a:cubicBezTo>
                  <a:pt x="14188" y="12719"/>
                  <a:pt x="14063" y="12657"/>
                  <a:pt x="13938" y="12594"/>
                </a:cubicBezTo>
                <a:cubicBezTo>
                  <a:pt x="13844" y="12532"/>
                  <a:pt x="13719" y="12469"/>
                  <a:pt x="13594" y="12469"/>
                </a:cubicBezTo>
                <a:cubicBezTo>
                  <a:pt x="13438" y="12438"/>
                  <a:pt x="13344" y="12313"/>
                  <a:pt x="13188" y="12282"/>
                </a:cubicBezTo>
                <a:cubicBezTo>
                  <a:pt x="13063" y="12250"/>
                  <a:pt x="13000" y="12188"/>
                  <a:pt x="12969" y="12063"/>
                </a:cubicBezTo>
                <a:cubicBezTo>
                  <a:pt x="13125" y="12125"/>
                  <a:pt x="13313" y="12094"/>
                  <a:pt x="13406" y="12282"/>
                </a:cubicBezTo>
                <a:cubicBezTo>
                  <a:pt x="13406" y="12282"/>
                  <a:pt x="13438" y="12282"/>
                  <a:pt x="13438" y="12282"/>
                </a:cubicBezTo>
                <a:cubicBezTo>
                  <a:pt x="13781" y="12344"/>
                  <a:pt x="14094" y="12563"/>
                  <a:pt x="14438" y="12657"/>
                </a:cubicBezTo>
                <a:cubicBezTo>
                  <a:pt x="14438" y="12657"/>
                  <a:pt x="14438" y="12657"/>
                  <a:pt x="14438" y="12657"/>
                </a:cubicBezTo>
                <a:cubicBezTo>
                  <a:pt x="14438" y="12719"/>
                  <a:pt x="14438" y="12750"/>
                  <a:pt x="14500" y="12782"/>
                </a:cubicBezTo>
                <a:cubicBezTo>
                  <a:pt x="14875" y="12813"/>
                  <a:pt x="15219" y="13000"/>
                  <a:pt x="15563" y="13125"/>
                </a:cubicBezTo>
                <a:cubicBezTo>
                  <a:pt x="15469" y="13219"/>
                  <a:pt x="15313" y="13063"/>
                  <a:pt x="15250" y="13250"/>
                </a:cubicBezTo>
                <a:cubicBezTo>
                  <a:pt x="15281" y="13250"/>
                  <a:pt x="15281" y="13250"/>
                  <a:pt x="15281" y="13250"/>
                </a:cubicBezTo>
                <a:cubicBezTo>
                  <a:pt x="15344" y="13250"/>
                  <a:pt x="15406" y="13250"/>
                  <a:pt x="15438" y="13282"/>
                </a:cubicBezTo>
                <a:cubicBezTo>
                  <a:pt x="15813" y="13313"/>
                  <a:pt x="16156" y="13250"/>
                  <a:pt x="16531" y="13375"/>
                </a:cubicBezTo>
                <a:cubicBezTo>
                  <a:pt x="16531" y="13375"/>
                  <a:pt x="16531" y="13375"/>
                  <a:pt x="16563" y="13375"/>
                </a:cubicBezTo>
                <a:cubicBezTo>
                  <a:pt x="16563" y="13313"/>
                  <a:pt x="16625" y="13344"/>
                  <a:pt x="16656" y="13313"/>
                </a:cubicBezTo>
                <a:cubicBezTo>
                  <a:pt x="16656" y="13313"/>
                  <a:pt x="16656" y="13313"/>
                  <a:pt x="16656" y="13313"/>
                </a:cubicBezTo>
                <a:cubicBezTo>
                  <a:pt x="16625" y="13282"/>
                  <a:pt x="16531" y="13282"/>
                  <a:pt x="16563" y="13219"/>
                </a:cubicBezTo>
                <a:cubicBezTo>
                  <a:pt x="16594" y="13125"/>
                  <a:pt x="16563" y="13063"/>
                  <a:pt x="16469" y="13032"/>
                </a:cubicBezTo>
                <a:cubicBezTo>
                  <a:pt x="16406" y="13032"/>
                  <a:pt x="16313" y="12969"/>
                  <a:pt x="16281" y="13125"/>
                </a:cubicBezTo>
                <a:cubicBezTo>
                  <a:pt x="16281" y="13157"/>
                  <a:pt x="16188" y="13157"/>
                  <a:pt x="16125" y="13125"/>
                </a:cubicBezTo>
                <a:cubicBezTo>
                  <a:pt x="16094" y="13125"/>
                  <a:pt x="16094" y="13125"/>
                  <a:pt x="16094" y="13094"/>
                </a:cubicBezTo>
                <a:cubicBezTo>
                  <a:pt x="16125" y="13063"/>
                  <a:pt x="16125" y="13000"/>
                  <a:pt x="16219" y="12969"/>
                </a:cubicBezTo>
                <a:cubicBezTo>
                  <a:pt x="16344" y="12969"/>
                  <a:pt x="16438" y="12938"/>
                  <a:pt x="16563" y="13000"/>
                </a:cubicBezTo>
                <a:cubicBezTo>
                  <a:pt x="16656" y="13032"/>
                  <a:pt x="16719" y="13063"/>
                  <a:pt x="16844" y="13125"/>
                </a:cubicBezTo>
                <a:cubicBezTo>
                  <a:pt x="16750" y="13125"/>
                  <a:pt x="16656" y="13094"/>
                  <a:pt x="16625" y="13219"/>
                </a:cubicBezTo>
                <a:cubicBezTo>
                  <a:pt x="16750" y="13313"/>
                  <a:pt x="16875" y="13282"/>
                  <a:pt x="17031" y="13250"/>
                </a:cubicBezTo>
                <a:cubicBezTo>
                  <a:pt x="17063" y="13250"/>
                  <a:pt x="17094" y="13219"/>
                  <a:pt x="17094" y="13188"/>
                </a:cubicBezTo>
                <a:cubicBezTo>
                  <a:pt x="17094" y="13094"/>
                  <a:pt x="17156" y="13125"/>
                  <a:pt x="17219" y="13125"/>
                </a:cubicBezTo>
                <a:cubicBezTo>
                  <a:pt x="17281" y="13125"/>
                  <a:pt x="17313" y="13157"/>
                  <a:pt x="17344" y="13219"/>
                </a:cubicBezTo>
                <a:cubicBezTo>
                  <a:pt x="17375" y="13250"/>
                  <a:pt x="17281" y="13250"/>
                  <a:pt x="17313" y="13313"/>
                </a:cubicBezTo>
                <a:cubicBezTo>
                  <a:pt x="17438" y="13313"/>
                  <a:pt x="17563" y="13375"/>
                  <a:pt x="17688" y="13282"/>
                </a:cubicBezTo>
                <a:cubicBezTo>
                  <a:pt x="17688" y="13250"/>
                  <a:pt x="17719" y="13250"/>
                  <a:pt x="17750" y="13250"/>
                </a:cubicBezTo>
                <a:cubicBezTo>
                  <a:pt x="17906" y="13375"/>
                  <a:pt x="18125" y="13344"/>
                  <a:pt x="18281" y="13469"/>
                </a:cubicBezTo>
                <a:cubicBezTo>
                  <a:pt x="18188" y="13469"/>
                  <a:pt x="18125" y="13469"/>
                  <a:pt x="18031" y="13438"/>
                </a:cubicBezTo>
                <a:cubicBezTo>
                  <a:pt x="17750" y="13407"/>
                  <a:pt x="17469" y="13344"/>
                  <a:pt x="17188" y="13500"/>
                </a:cubicBezTo>
                <a:cubicBezTo>
                  <a:pt x="17156" y="13532"/>
                  <a:pt x="17125" y="13500"/>
                  <a:pt x="17094" y="13469"/>
                </a:cubicBezTo>
                <a:cubicBezTo>
                  <a:pt x="17031" y="13407"/>
                  <a:pt x="16844" y="13500"/>
                  <a:pt x="16813" y="13344"/>
                </a:cubicBezTo>
                <a:cubicBezTo>
                  <a:pt x="16813" y="13313"/>
                  <a:pt x="16750" y="13375"/>
                  <a:pt x="16750" y="13375"/>
                </a:cubicBezTo>
                <a:cubicBezTo>
                  <a:pt x="16688" y="13469"/>
                  <a:pt x="16844" y="13469"/>
                  <a:pt x="16813" y="13563"/>
                </a:cubicBezTo>
                <a:cubicBezTo>
                  <a:pt x="16625" y="13532"/>
                  <a:pt x="16438" y="13407"/>
                  <a:pt x="16188" y="13469"/>
                </a:cubicBezTo>
                <a:cubicBezTo>
                  <a:pt x="16313" y="13500"/>
                  <a:pt x="16375" y="13563"/>
                  <a:pt x="16469" y="13563"/>
                </a:cubicBezTo>
                <a:cubicBezTo>
                  <a:pt x="16594" y="13532"/>
                  <a:pt x="16719" y="13594"/>
                  <a:pt x="16844" y="13688"/>
                </a:cubicBezTo>
                <a:cubicBezTo>
                  <a:pt x="16938" y="13750"/>
                  <a:pt x="17031" y="13719"/>
                  <a:pt x="17125" y="13719"/>
                </a:cubicBezTo>
                <a:cubicBezTo>
                  <a:pt x="17125" y="13719"/>
                  <a:pt x="17156" y="13719"/>
                  <a:pt x="17156" y="13688"/>
                </a:cubicBezTo>
                <a:cubicBezTo>
                  <a:pt x="17094" y="13532"/>
                  <a:pt x="17219" y="13625"/>
                  <a:pt x="17250" y="13625"/>
                </a:cubicBezTo>
                <a:cubicBezTo>
                  <a:pt x="17313" y="13625"/>
                  <a:pt x="17375" y="13657"/>
                  <a:pt x="17438" y="13657"/>
                </a:cubicBezTo>
                <a:cubicBezTo>
                  <a:pt x="17531" y="13657"/>
                  <a:pt x="17500" y="13500"/>
                  <a:pt x="17563" y="13532"/>
                </a:cubicBezTo>
                <a:cubicBezTo>
                  <a:pt x="17625" y="13532"/>
                  <a:pt x="17656" y="13625"/>
                  <a:pt x="17750" y="13594"/>
                </a:cubicBezTo>
                <a:cubicBezTo>
                  <a:pt x="17844" y="13532"/>
                  <a:pt x="17969" y="13563"/>
                  <a:pt x="18094" y="13563"/>
                </a:cubicBezTo>
                <a:cubicBezTo>
                  <a:pt x="18188" y="13532"/>
                  <a:pt x="18281" y="13625"/>
                  <a:pt x="18375" y="13594"/>
                </a:cubicBezTo>
                <a:cubicBezTo>
                  <a:pt x="18406" y="13563"/>
                  <a:pt x="18469" y="13532"/>
                  <a:pt x="18469" y="13594"/>
                </a:cubicBezTo>
                <a:cubicBezTo>
                  <a:pt x="18500" y="13657"/>
                  <a:pt x="18438" y="13657"/>
                  <a:pt x="18406" y="13657"/>
                </a:cubicBezTo>
                <a:cubicBezTo>
                  <a:pt x="18375" y="13688"/>
                  <a:pt x="18313" y="13688"/>
                  <a:pt x="18281" y="13688"/>
                </a:cubicBezTo>
                <a:cubicBezTo>
                  <a:pt x="18125" y="13688"/>
                  <a:pt x="18000" y="13657"/>
                  <a:pt x="17844" y="13657"/>
                </a:cubicBezTo>
                <a:cubicBezTo>
                  <a:pt x="17781" y="13657"/>
                  <a:pt x="17719" y="13657"/>
                  <a:pt x="17688" y="13688"/>
                </a:cubicBezTo>
                <a:cubicBezTo>
                  <a:pt x="17656" y="13813"/>
                  <a:pt x="17563" y="13750"/>
                  <a:pt x="17531" y="13750"/>
                </a:cubicBezTo>
                <a:cubicBezTo>
                  <a:pt x="17469" y="13719"/>
                  <a:pt x="17406" y="13719"/>
                  <a:pt x="17344" y="13719"/>
                </a:cubicBezTo>
                <a:cubicBezTo>
                  <a:pt x="17375" y="13782"/>
                  <a:pt x="17531" y="13813"/>
                  <a:pt x="17344" y="13875"/>
                </a:cubicBezTo>
                <a:cubicBezTo>
                  <a:pt x="17531" y="13875"/>
                  <a:pt x="17688" y="13875"/>
                  <a:pt x="17844" y="13875"/>
                </a:cubicBezTo>
                <a:cubicBezTo>
                  <a:pt x="17844" y="13875"/>
                  <a:pt x="17969" y="13844"/>
                  <a:pt x="17875" y="13969"/>
                </a:cubicBezTo>
                <a:cubicBezTo>
                  <a:pt x="17969" y="14000"/>
                  <a:pt x="17969" y="14094"/>
                  <a:pt x="18094" y="14125"/>
                </a:cubicBezTo>
                <a:cubicBezTo>
                  <a:pt x="18281" y="14157"/>
                  <a:pt x="18344" y="14063"/>
                  <a:pt x="18438" y="14000"/>
                </a:cubicBezTo>
                <a:cubicBezTo>
                  <a:pt x="18406" y="13938"/>
                  <a:pt x="18313" y="13938"/>
                  <a:pt x="18250" y="13907"/>
                </a:cubicBezTo>
                <a:cubicBezTo>
                  <a:pt x="18156" y="13875"/>
                  <a:pt x="18031" y="13907"/>
                  <a:pt x="17938" y="13844"/>
                </a:cubicBezTo>
                <a:cubicBezTo>
                  <a:pt x="17906" y="13844"/>
                  <a:pt x="17875" y="13813"/>
                  <a:pt x="17906" y="13782"/>
                </a:cubicBezTo>
                <a:cubicBezTo>
                  <a:pt x="17906" y="13782"/>
                  <a:pt x="17938" y="13750"/>
                  <a:pt x="17969" y="13782"/>
                </a:cubicBezTo>
                <a:cubicBezTo>
                  <a:pt x="18000" y="13813"/>
                  <a:pt x="18063" y="13813"/>
                  <a:pt x="18094" y="13782"/>
                </a:cubicBezTo>
                <a:cubicBezTo>
                  <a:pt x="18281" y="13688"/>
                  <a:pt x="18469" y="13782"/>
                  <a:pt x="18656" y="13688"/>
                </a:cubicBezTo>
                <a:cubicBezTo>
                  <a:pt x="18719" y="13657"/>
                  <a:pt x="18844" y="13563"/>
                  <a:pt x="18875" y="13719"/>
                </a:cubicBezTo>
                <a:cubicBezTo>
                  <a:pt x="18875" y="13719"/>
                  <a:pt x="18938" y="13719"/>
                  <a:pt x="18938" y="13719"/>
                </a:cubicBezTo>
                <a:cubicBezTo>
                  <a:pt x="19094" y="13594"/>
                  <a:pt x="19281" y="13625"/>
                  <a:pt x="19438" y="13657"/>
                </a:cubicBezTo>
                <a:cubicBezTo>
                  <a:pt x="19500" y="13688"/>
                  <a:pt x="19594" y="13688"/>
                  <a:pt x="19625" y="13657"/>
                </a:cubicBezTo>
                <a:cubicBezTo>
                  <a:pt x="19781" y="13594"/>
                  <a:pt x="19906" y="13625"/>
                  <a:pt x="20063" y="13625"/>
                </a:cubicBezTo>
                <a:cubicBezTo>
                  <a:pt x="20469" y="13625"/>
                  <a:pt x="20844" y="13625"/>
                  <a:pt x="21250" y="13625"/>
                </a:cubicBezTo>
                <a:cubicBezTo>
                  <a:pt x="21344" y="13657"/>
                  <a:pt x="21406" y="13657"/>
                  <a:pt x="21500" y="13719"/>
                </a:cubicBezTo>
                <a:cubicBezTo>
                  <a:pt x="21406" y="13813"/>
                  <a:pt x="21188" y="13875"/>
                  <a:pt x="21094" y="13844"/>
                </a:cubicBezTo>
                <a:cubicBezTo>
                  <a:pt x="21063" y="13844"/>
                  <a:pt x="21063" y="13813"/>
                  <a:pt x="21063" y="13782"/>
                </a:cubicBezTo>
                <a:cubicBezTo>
                  <a:pt x="21063" y="13750"/>
                  <a:pt x="21063" y="13719"/>
                  <a:pt x="21125" y="13719"/>
                </a:cubicBezTo>
                <a:cubicBezTo>
                  <a:pt x="21156" y="13719"/>
                  <a:pt x="21188" y="13750"/>
                  <a:pt x="21250" y="13719"/>
                </a:cubicBezTo>
                <a:lnTo>
                  <a:pt x="21250" y="13719"/>
                </a:lnTo>
                <a:cubicBezTo>
                  <a:pt x="21313" y="13750"/>
                  <a:pt x="21406" y="13750"/>
                  <a:pt x="21500" y="13719"/>
                </a:cubicBezTo>
                <a:cubicBezTo>
                  <a:pt x="21563" y="13688"/>
                  <a:pt x="21594" y="13782"/>
                  <a:pt x="21656" y="13750"/>
                </a:cubicBezTo>
                <a:cubicBezTo>
                  <a:pt x="21813" y="13657"/>
                  <a:pt x="21969" y="13750"/>
                  <a:pt x="22156" y="13719"/>
                </a:cubicBezTo>
                <a:cubicBezTo>
                  <a:pt x="22188" y="13719"/>
                  <a:pt x="22250" y="13719"/>
                  <a:pt x="22250" y="13782"/>
                </a:cubicBezTo>
                <a:cubicBezTo>
                  <a:pt x="22250" y="13844"/>
                  <a:pt x="22125" y="13907"/>
                  <a:pt x="22125" y="13875"/>
                </a:cubicBezTo>
                <a:cubicBezTo>
                  <a:pt x="22031" y="13782"/>
                  <a:pt x="22000" y="13907"/>
                  <a:pt x="22000" y="13907"/>
                </a:cubicBezTo>
                <a:cubicBezTo>
                  <a:pt x="22000" y="13969"/>
                  <a:pt x="21938" y="13969"/>
                  <a:pt x="21906" y="13969"/>
                </a:cubicBezTo>
                <a:cubicBezTo>
                  <a:pt x="21750" y="13907"/>
                  <a:pt x="21594" y="13969"/>
                  <a:pt x="21469" y="14032"/>
                </a:cubicBezTo>
                <a:cubicBezTo>
                  <a:pt x="21344" y="14094"/>
                  <a:pt x="21219" y="14063"/>
                  <a:pt x="21094" y="14032"/>
                </a:cubicBezTo>
                <a:cubicBezTo>
                  <a:pt x="21031" y="14032"/>
                  <a:pt x="21063" y="14000"/>
                  <a:pt x="21063" y="13969"/>
                </a:cubicBezTo>
                <a:cubicBezTo>
                  <a:pt x="21094" y="13907"/>
                  <a:pt x="21000" y="13875"/>
                  <a:pt x="21000" y="13813"/>
                </a:cubicBezTo>
                <a:cubicBezTo>
                  <a:pt x="20938" y="13813"/>
                  <a:pt x="20906" y="13844"/>
                  <a:pt x="20875" y="13875"/>
                </a:cubicBezTo>
                <a:cubicBezTo>
                  <a:pt x="20813" y="13875"/>
                  <a:pt x="20719" y="13813"/>
                  <a:pt x="20656" y="13907"/>
                </a:cubicBezTo>
                <a:cubicBezTo>
                  <a:pt x="20594" y="13969"/>
                  <a:pt x="20531" y="14063"/>
                  <a:pt x="20438" y="13907"/>
                </a:cubicBezTo>
                <a:cubicBezTo>
                  <a:pt x="20438" y="13875"/>
                  <a:pt x="20375" y="13844"/>
                  <a:pt x="20313" y="13875"/>
                </a:cubicBezTo>
                <a:cubicBezTo>
                  <a:pt x="20281" y="13875"/>
                  <a:pt x="20281" y="13907"/>
                  <a:pt x="20281" y="13907"/>
                </a:cubicBezTo>
                <a:cubicBezTo>
                  <a:pt x="20281" y="13969"/>
                  <a:pt x="20344" y="13938"/>
                  <a:pt x="20375" y="13969"/>
                </a:cubicBezTo>
                <a:cubicBezTo>
                  <a:pt x="20375" y="14000"/>
                  <a:pt x="20313" y="14032"/>
                  <a:pt x="20281" y="14063"/>
                </a:cubicBezTo>
                <a:cubicBezTo>
                  <a:pt x="20156" y="14125"/>
                  <a:pt x="20031" y="14157"/>
                  <a:pt x="19875" y="14094"/>
                </a:cubicBezTo>
                <a:cubicBezTo>
                  <a:pt x="19656" y="14032"/>
                  <a:pt x="19438" y="14157"/>
                  <a:pt x="19219" y="14157"/>
                </a:cubicBezTo>
                <a:cubicBezTo>
                  <a:pt x="19188" y="14157"/>
                  <a:pt x="19125" y="14157"/>
                  <a:pt x="19125" y="14250"/>
                </a:cubicBezTo>
                <a:cubicBezTo>
                  <a:pt x="19094" y="14250"/>
                  <a:pt x="19063" y="14250"/>
                  <a:pt x="19063" y="14250"/>
                </a:cubicBezTo>
                <a:cubicBezTo>
                  <a:pt x="19031" y="14250"/>
                  <a:pt x="19031" y="14282"/>
                  <a:pt x="19031" y="14282"/>
                </a:cubicBezTo>
                <a:cubicBezTo>
                  <a:pt x="18875" y="14313"/>
                  <a:pt x="18813" y="14188"/>
                  <a:pt x="18688" y="14157"/>
                </a:cubicBezTo>
                <a:cubicBezTo>
                  <a:pt x="18750" y="14157"/>
                  <a:pt x="18813" y="14157"/>
                  <a:pt x="18844" y="14125"/>
                </a:cubicBezTo>
                <a:cubicBezTo>
                  <a:pt x="18875" y="14125"/>
                  <a:pt x="18969" y="14094"/>
                  <a:pt x="18906" y="14032"/>
                </a:cubicBezTo>
                <a:cubicBezTo>
                  <a:pt x="18906" y="14000"/>
                  <a:pt x="18906" y="13969"/>
                  <a:pt x="18938" y="13969"/>
                </a:cubicBezTo>
                <a:cubicBezTo>
                  <a:pt x="18969" y="13969"/>
                  <a:pt x="18969" y="14000"/>
                  <a:pt x="19000" y="14032"/>
                </a:cubicBezTo>
                <a:cubicBezTo>
                  <a:pt x="19000" y="14063"/>
                  <a:pt x="18938" y="14125"/>
                  <a:pt x="18969" y="14188"/>
                </a:cubicBezTo>
                <a:lnTo>
                  <a:pt x="18969" y="14188"/>
                </a:lnTo>
                <a:cubicBezTo>
                  <a:pt x="18969" y="14188"/>
                  <a:pt x="18906" y="14250"/>
                  <a:pt x="18969" y="14250"/>
                </a:cubicBezTo>
                <a:cubicBezTo>
                  <a:pt x="18969" y="14250"/>
                  <a:pt x="19000" y="14282"/>
                  <a:pt x="19031" y="14282"/>
                </a:cubicBezTo>
                <a:cubicBezTo>
                  <a:pt x="19063" y="14282"/>
                  <a:pt x="19094" y="14313"/>
                  <a:pt x="19125" y="14250"/>
                </a:cubicBezTo>
                <a:cubicBezTo>
                  <a:pt x="19250" y="14219"/>
                  <a:pt x="19438" y="14282"/>
                  <a:pt x="19563" y="14157"/>
                </a:cubicBezTo>
                <a:cubicBezTo>
                  <a:pt x="19563" y="14157"/>
                  <a:pt x="19563" y="14157"/>
                  <a:pt x="19563" y="14188"/>
                </a:cubicBezTo>
                <a:cubicBezTo>
                  <a:pt x="19563" y="14250"/>
                  <a:pt x="19656" y="14188"/>
                  <a:pt x="19688" y="14250"/>
                </a:cubicBezTo>
                <a:cubicBezTo>
                  <a:pt x="19656" y="14250"/>
                  <a:pt x="19656" y="14282"/>
                  <a:pt x="19656" y="14282"/>
                </a:cubicBezTo>
                <a:cubicBezTo>
                  <a:pt x="19656" y="14344"/>
                  <a:pt x="19500" y="14282"/>
                  <a:pt x="19563" y="14344"/>
                </a:cubicBezTo>
                <a:cubicBezTo>
                  <a:pt x="19594" y="14407"/>
                  <a:pt x="19656" y="14344"/>
                  <a:pt x="19688" y="14313"/>
                </a:cubicBezTo>
                <a:cubicBezTo>
                  <a:pt x="19719" y="14313"/>
                  <a:pt x="19719" y="14313"/>
                  <a:pt x="19719" y="14313"/>
                </a:cubicBezTo>
                <a:cubicBezTo>
                  <a:pt x="19781" y="14250"/>
                  <a:pt x="19719" y="14219"/>
                  <a:pt x="19719" y="14157"/>
                </a:cubicBezTo>
                <a:cubicBezTo>
                  <a:pt x="19813" y="14219"/>
                  <a:pt x="19938" y="14063"/>
                  <a:pt x="20063" y="14157"/>
                </a:cubicBezTo>
                <a:cubicBezTo>
                  <a:pt x="19969" y="14188"/>
                  <a:pt x="19938" y="14219"/>
                  <a:pt x="19875" y="14219"/>
                </a:cubicBezTo>
                <a:cubicBezTo>
                  <a:pt x="19813" y="14250"/>
                  <a:pt x="19781" y="14250"/>
                  <a:pt x="19781" y="14313"/>
                </a:cubicBezTo>
                <a:cubicBezTo>
                  <a:pt x="19969" y="14250"/>
                  <a:pt x="20125" y="14250"/>
                  <a:pt x="20313" y="14188"/>
                </a:cubicBezTo>
                <a:cubicBezTo>
                  <a:pt x="20375" y="14094"/>
                  <a:pt x="20500" y="14157"/>
                  <a:pt x="20625" y="14125"/>
                </a:cubicBezTo>
                <a:cubicBezTo>
                  <a:pt x="20531" y="14250"/>
                  <a:pt x="20469" y="14157"/>
                  <a:pt x="20406" y="14188"/>
                </a:cubicBezTo>
                <a:cubicBezTo>
                  <a:pt x="20375" y="14219"/>
                  <a:pt x="20313" y="14250"/>
                  <a:pt x="20344" y="14282"/>
                </a:cubicBezTo>
                <a:cubicBezTo>
                  <a:pt x="20375" y="14344"/>
                  <a:pt x="20406" y="14313"/>
                  <a:pt x="20438" y="14282"/>
                </a:cubicBezTo>
                <a:cubicBezTo>
                  <a:pt x="20500" y="14282"/>
                  <a:pt x="20563" y="14250"/>
                  <a:pt x="20625" y="14250"/>
                </a:cubicBezTo>
                <a:cubicBezTo>
                  <a:pt x="20813" y="14219"/>
                  <a:pt x="20969" y="14157"/>
                  <a:pt x="21156" y="14219"/>
                </a:cubicBezTo>
                <a:cubicBezTo>
                  <a:pt x="21094" y="14219"/>
                  <a:pt x="21063" y="14282"/>
                  <a:pt x="21031" y="14313"/>
                </a:cubicBezTo>
                <a:cubicBezTo>
                  <a:pt x="21000" y="14344"/>
                  <a:pt x="21031" y="14407"/>
                  <a:pt x="21063" y="14375"/>
                </a:cubicBezTo>
                <a:cubicBezTo>
                  <a:pt x="21156" y="14313"/>
                  <a:pt x="21313" y="14313"/>
                  <a:pt x="21375" y="14219"/>
                </a:cubicBezTo>
                <a:cubicBezTo>
                  <a:pt x="21438" y="14157"/>
                  <a:pt x="21469" y="14125"/>
                  <a:pt x="21563" y="14157"/>
                </a:cubicBezTo>
                <a:cubicBezTo>
                  <a:pt x="21531" y="14188"/>
                  <a:pt x="21438" y="14188"/>
                  <a:pt x="21500" y="14250"/>
                </a:cubicBezTo>
                <a:cubicBezTo>
                  <a:pt x="21500" y="14282"/>
                  <a:pt x="21594" y="14282"/>
                  <a:pt x="21594" y="14250"/>
                </a:cubicBezTo>
                <a:cubicBezTo>
                  <a:pt x="21656" y="14125"/>
                  <a:pt x="21750" y="14188"/>
                  <a:pt x="21844" y="14157"/>
                </a:cubicBezTo>
                <a:cubicBezTo>
                  <a:pt x="21844" y="14094"/>
                  <a:pt x="21875" y="14125"/>
                  <a:pt x="21906" y="14125"/>
                </a:cubicBezTo>
                <a:cubicBezTo>
                  <a:pt x="21906" y="14125"/>
                  <a:pt x="21906" y="14125"/>
                  <a:pt x="21906" y="14125"/>
                </a:cubicBezTo>
                <a:cubicBezTo>
                  <a:pt x="21875" y="14157"/>
                  <a:pt x="21875" y="14157"/>
                  <a:pt x="21844" y="14157"/>
                </a:cubicBezTo>
                <a:cubicBezTo>
                  <a:pt x="21813" y="14250"/>
                  <a:pt x="21906" y="14219"/>
                  <a:pt x="21938" y="14219"/>
                </a:cubicBezTo>
                <a:cubicBezTo>
                  <a:pt x="22344" y="14188"/>
                  <a:pt x="22719" y="14157"/>
                  <a:pt x="23125" y="14063"/>
                </a:cubicBezTo>
                <a:cubicBezTo>
                  <a:pt x="23719" y="13938"/>
                  <a:pt x="24313" y="13938"/>
                  <a:pt x="24906" y="13813"/>
                </a:cubicBezTo>
                <a:cubicBezTo>
                  <a:pt x="25094" y="13750"/>
                  <a:pt x="25250" y="13719"/>
                  <a:pt x="25438" y="13688"/>
                </a:cubicBezTo>
                <a:cubicBezTo>
                  <a:pt x="25719" y="13625"/>
                  <a:pt x="26031" y="13532"/>
                  <a:pt x="26313" y="13469"/>
                </a:cubicBezTo>
                <a:cubicBezTo>
                  <a:pt x="26469" y="13438"/>
                  <a:pt x="26656" y="13438"/>
                  <a:pt x="26875" y="13438"/>
                </a:cubicBezTo>
                <a:cubicBezTo>
                  <a:pt x="26781" y="13500"/>
                  <a:pt x="26719" y="13532"/>
                  <a:pt x="26656" y="13563"/>
                </a:cubicBezTo>
                <a:cubicBezTo>
                  <a:pt x="26500" y="13625"/>
                  <a:pt x="26313" y="13657"/>
                  <a:pt x="26188" y="13813"/>
                </a:cubicBezTo>
                <a:cubicBezTo>
                  <a:pt x="26063" y="13938"/>
                  <a:pt x="26063" y="13938"/>
                  <a:pt x="25906" y="13907"/>
                </a:cubicBezTo>
                <a:cubicBezTo>
                  <a:pt x="25938" y="13813"/>
                  <a:pt x="26063" y="13844"/>
                  <a:pt x="26063" y="13719"/>
                </a:cubicBezTo>
                <a:cubicBezTo>
                  <a:pt x="25844" y="13688"/>
                  <a:pt x="25781" y="13750"/>
                  <a:pt x="25781" y="13969"/>
                </a:cubicBezTo>
                <a:cubicBezTo>
                  <a:pt x="25781" y="13969"/>
                  <a:pt x="25781" y="14000"/>
                  <a:pt x="25781" y="14032"/>
                </a:cubicBezTo>
                <a:cubicBezTo>
                  <a:pt x="25719" y="14063"/>
                  <a:pt x="25500" y="14032"/>
                  <a:pt x="25469" y="13969"/>
                </a:cubicBezTo>
                <a:cubicBezTo>
                  <a:pt x="25406" y="13875"/>
                  <a:pt x="25344" y="13875"/>
                  <a:pt x="25250" y="13938"/>
                </a:cubicBezTo>
                <a:cubicBezTo>
                  <a:pt x="25156" y="13969"/>
                  <a:pt x="25094" y="14063"/>
                  <a:pt x="25000" y="14032"/>
                </a:cubicBezTo>
                <a:cubicBezTo>
                  <a:pt x="24938" y="14032"/>
                  <a:pt x="24906" y="14032"/>
                  <a:pt x="24875" y="14063"/>
                </a:cubicBezTo>
                <a:cubicBezTo>
                  <a:pt x="24750" y="14188"/>
                  <a:pt x="24563" y="14219"/>
                  <a:pt x="24375" y="14282"/>
                </a:cubicBezTo>
                <a:cubicBezTo>
                  <a:pt x="24156" y="14313"/>
                  <a:pt x="23938" y="14282"/>
                  <a:pt x="23719" y="14344"/>
                </a:cubicBezTo>
                <a:cubicBezTo>
                  <a:pt x="23656" y="14375"/>
                  <a:pt x="23563" y="14375"/>
                  <a:pt x="23563" y="14469"/>
                </a:cubicBezTo>
                <a:cubicBezTo>
                  <a:pt x="23781" y="14500"/>
                  <a:pt x="24000" y="14407"/>
                  <a:pt x="24188" y="14375"/>
                </a:cubicBezTo>
                <a:cubicBezTo>
                  <a:pt x="24500" y="14344"/>
                  <a:pt x="24781" y="14313"/>
                  <a:pt x="25063" y="14250"/>
                </a:cubicBezTo>
                <a:cubicBezTo>
                  <a:pt x="25094" y="14219"/>
                  <a:pt x="25188" y="14188"/>
                  <a:pt x="25188" y="14250"/>
                </a:cubicBezTo>
                <a:cubicBezTo>
                  <a:pt x="25219" y="14375"/>
                  <a:pt x="25281" y="14282"/>
                  <a:pt x="25313" y="14313"/>
                </a:cubicBezTo>
                <a:cubicBezTo>
                  <a:pt x="25313" y="14157"/>
                  <a:pt x="25438" y="14250"/>
                  <a:pt x="25500" y="14219"/>
                </a:cubicBezTo>
                <a:cubicBezTo>
                  <a:pt x="25531" y="14219"/>
                  <a:pt x="25594" y="14250"/>
                  <a:pt x="25625" y="14188"/>
                </a:cubicBezTo>
                <a:cubicBezTo>
                  <a:pt x="25813" y="13969"/>
                  <a:pt x="26094" y="14063"/>
                  <a:pt x="26344" y="13938"/>
                </a:cubicBezTo>
                <a:cubicBezTo>
                  <a:pt x="26313" y="14063"/>
                  <a:pt x="26250" y="14094"/>
                  <a:pt x="26250" y="14188"/>
                </a:cubicBezTo>
                <a:cubicBezTo>
                  <a:pt x="26344" y="14125"/>
                  <a:pt x="26469" y="14157"/>
                  <a:pt x="26500" y="14063"/>
                </a:cubicBezTo>
                <a:cubicBezTo>
                  <a:pt x="26563" y="14063"/>
                  <a:pt x="26594" y="14032"/>
                  <a:pt x="26625" y="14000"/>
                </a:cubicBezTo>
                <a:cubicBezTo>
                  <a:pt x="26719" y="13938"/>
                  <a:pt x="26781" y="13844"/>
                  <a:pt x="26906" y="13782"/>
                </a:cubicBezTo>
                <a:cubicBezTo>
                  <a:pt x="26906" y="13782"/>
                  <a:pt x="26938" y="13719"/>
                  <a:pt x="26969" y="13750"/>
                </a:cubicBezTo>
                <a:cubicBezTo>
                  <a:pt x="26969" y="13782"/>
                  <a:pt x="27000" y="13813"/>
                  <a:pt x="26969" y="13844"/>
                </a:cubicBezTo>
                <a:cubicBezTo>
                  <a:pt x="26938" y="13844"/>
                  <a:pt x="26938" y="13875"/>
                  <a:pt x="26938" y="13907"/>
                </a:cubicBezTo>
                <a:cubicBezTo>
                  <a:pt x="27031" y="13907"/>
                  <a:pt x="27063" y="13875"/>
                  <a:pt x="27063" y="13782"/>
                </a:cubicBezTo>
                <a:cubicBezTo>
                  <a:pt x="27031" y="13719"/>
                  <a:pt x="27094" y="13657"/>
                  <a:pt x="27156" y="13625"/>
                </a:cubicBezTo>
                <a:cubicBezTo>
                  <a:pt x="27344" y="13563"/>
                  <a:pt x="27563" y="13469"/>
                  <a:pt x="27750" y="13375"/>
                </a:cubicBezTo>
                <a:cubicBezTo>
                  <a:pt x="27906" y="13282"/>
                  <a:pt x="28031" y="13219"/>
                  <a:pt x="28188" y="13313"/>
                </a:cubicBezTo>
                <a:cubicBezTo>
                  <a:pt x="28188" y="13344"/>
                  <a:pt x="28125" y="13344"/>
                  <a:pt x="28125" y="13407"/>
                </a:cubicBezTo>
                <a:cubicBezTo>
                  <a:pt x="28188" y="13407"/>
                  <a:pt x="28281" y="13407"/>
                  <a:pt x="28344" y="13407"/>
                </a:cubicBezTo>
                <a:cubicBezTo>
                  <a:pt x="28344" y="13375"/>
                  <a:pt x="28313" y="13344"/>
                  <a:pt x="28313" y="13313"/>
                </a:cubicBezTo>
                <a:cubicBezTo>
                  <a:pt x="28281" y="13250"/>
                  <a:pt x="28250" y="13157"/>
                  <a:pt x="28375" y="13094"/>
                </a:cubicBezTo>
                <a:cubicBezTo>
                  <a:pt x="28438" y="13063"/>
                  <a:pt x="28500" y="13032"/>
                  <a:pt x="28594" y="13032"/>
                </a:cubicBezTo>
                <a:cubicBezTo>
                  <a:pt x="28688" y="13000"/>
                  <a:pt x="28781" y="12938"/>
                  <a:pt x="28906" y="12907"/>
                </a:cubicBezTo>
                <a:cubicBezTo>
                  <a:pt x="28969" y="12875"/>
                  <a:pt x="29031" y="12844"/>
                  <a:pt x="29063" y="12907"/>
                </a:cubicBezTo>
                <a:cubicBezTo>
                  <a:pt x="29094" y="12938"/>
                  <a:pt x="29094" y="13000"/>
                  <a:pt x="29156" y="12969"/>
                </a:cubicBezTo>
                <a:cubicBezTo>
                  <a:pt x="29188" y="12938"/>
                  <a:pt x="29219" y="12907"/>
                  <a:pt x="29219" y="12875"/>
                </a:cubicBezTo>
                <a:cubicBezTo>
                  <a:pt x="29219" y="12813"/>
                  <a:pt x="29219" y="12782"/>
                  <a:pt x="29281" y="12782"/>
                </a:cubicBezTo>
                <a:cubicBezTo>
                  <a:pt x="29344" y="12782"/>
                  <a:pt x="29406" y="12782"/>
                  <a:pt x="29469" y="12813"/>
                </a:cubicBezTo>
                <a:cubicBezTo>
                  <a:pt x="29469" y="12844"/>
                  <a:pt x="29500" y="12875"/>
                  <a:pt x="29469" y="12875"/>
                </a:cubicBezTo>
                <a:cubicBezTo>
                  <a:pt x="29313" y="12907"/>
                  <a:pt x="29438" y="13000"/>
                  <a:pt x="29406" y="13063"/>
                </a:cubicBezTo>
                <a:cubicBezTo>
                  <a:pt x="29563" y="12907"/>
                  <a:pt x="29750" y="12875"/>
                  <a:pt x="29969" y="12813"/>
                </a:cubicBezTo>
                <a:cubicBezTo>
                  <a:pt x="30031" y="12813"/>
                  <a:pt x="30094" y="12782"/>
                  <a:pt x="30125" y="12750"/>
                </a:cubicBezTo>
                <a:cubicBezTo>
                  <a:pt x="30250" y="12688"/>
                  <a:pt x="30344" y="12625"/>
                  <a:pt x="30469" y="12657"/>
                </a:cubicBezTo>
                <a:cubicBezTo>
                  <a:pt x="30531" y="12657"/>
                  <a:pt x="30625" y="12594"/>
                  <a:pt x="30688" y="12563"/>
                </a:cubicBezTo>
                <a:cubicBezTo>
                  <a:pt x="30875" y="12500"/>
                  <a:pt x="31063" y="12407"/>
                  <a:pt x="31250" y="12375"/>
                </a:cubicBezTo>
                <a:cubicBezTo>
                  <a:pt x="31625" y="12250"/>
                  <a:pt x="31969" y="12407"/>
                  <a:pt x="32344" y="12313"/>
                </a:cubicBezTo>
                <a:cubicBezTo>
                  <a:pt x="32344" y="12313"/>
                  <a:pt x="32375" y="12313"/>
                  <a:pt x="32375" y="12344"/>
                </a:cubicBezTo>
                <a:cubicBezTo>
                  <a:pt x="32719" y="12469"/>
                  <a:pt x="33063" y="12407"/>
                  <a:pt x="33375" y="12532"/>
                </a:cubicBezTo>
                <a:cubicBezTo>
                  <a:pt x="33406" y="12469"/>
                  <a:pt x="33313" y="12438"/>
                  <a:pt x="33375" y="12375"/>
                </a:cubicBezTo>
                <a:cubicBezTo>
                  <a:pt x="33406" y="12313"/>
                  <a:pt x="33375" y="12313"/>
                  <a:pt x="33344" y="12250"/>
                </a:cubicBezTo>
                <a:cubicBezTo>
                  <a:pt x="33156" y="12157"/>
                  <a:pt x="33031" y="12000"/>
                  <a:pt x="32906" y="11844"/>
                </a:cubicBezTo>
                <a:cubicBezTo>
                  <a:pt x="32875" y="11813"/>
                  <a:pt x="32813" y="11750"/>
                  <a:pt x="32813" y="11688"/>
                </a:cubicBezTo>
                <a:cubicBezTo>
                  <a:pt x="32906" y="11688"/>
                  <a:pt x="32969" y="11782"/>
                  <a:pt x="33063" y="11782"/>
                </a:cubicBezTo>
                <a:cubicBezTo>
                  <a:pt x="33156" y="11782"/>
                  <a:pt x="33156" y="11750"/>
                  <a:pt x="33125" y="11688"/>
                </a:cubicBezTo>
                <a:cubicBezTo>
                  <a:pt x="33063" y="11594"/>
                  <a:pt x="33000" y="11500"/>
                  <a:pt x="32938" y="11438"/>
                </a:cubicBezTo>
                <a:cubicBezTo>
                  <a:pt x="32750" y="11250"/>
                  <a:pt x="32563" y="11063"/>
                  <a:pt x="32313" y="10875"/>
                </a:cubicBezTo>
                <a:cubicBezTo>
                  <a:pt x="32563" y="10844"/>
                  <a:pt x="32719" y="10594"/>
                  <a:pt x="32938" y="10750"/>
                </a:cubicBezTo>
                <a:cubicBezTo>
                  <a:pt x="33281" y="10657"/>
                  <a:pt x="33625" y="10563"/>
                  <a:pt x="33938" y="10407"/>
                </a:cubicBezTo>
                <a:cubicBezTo>
                  <a:pt x="33938" y="10407"/>
                  <a:pt x="33969" y="10375"/>
                  <a:pt x="34000" y="10407"/>
                </a:cubicBezTo>
                <a:cubicBezTo>
                  <a:pt x="34094" y="10532"/>
                  <a:pt x="34063" y="10313"/>
                  <a:pt x="34156" y="10344"/>
                </a:cubicBezTo>
                <a:cubicBezTo>
                  <a:pt x="34188" y="10344"/>
                  <a:pt x="34219" y="10313"/>
                  <a:pt x="34188" y="10282"/>
                </a:cubicBezTo>
                <a:cubicBezTo>
                  <a:pt x="34125" y="10219"/>
                  <a:pt x="34156" y="10188"/>
                  <a:pt x="34219" y="10188"/>
                </a:cubicBezTo>
                <a:cubicBezTo>
                  <a:pt x="34250" y="10188"/>
                  <a:pt x="34313" y="10157"/>
                  <a:pt x="34281" y="10094"/>
                </a:cubicBezTo>
                <a:cubicBezTo>
                  <a:pt x="34250" y="10032"/>
                  <a:pt x="34250" y="10125"/>
                  <a:pt x="34219" y="10125"/>
                </a:cubicBezTo>
                <a:cubicBezTo>
                  <a:pt x="34188" y="10094"/>
                  <a:pt x="34125" y="10125"/>
                  <a:pt x="34094" y="10094"/>
                </a:cubicBezTo>
                <a:cubicBezTo>
                  <a:pt x="34156" y="10032"/>
                  <a:pt x="34188" y="10000"/>
                  <a:pt x="34250" y="9938"/>
                </a:cubicBezTo>
                <a:cubicBezTo>
                  <a:pt x="34313" y="9907"/>
                  <a:pt x="34281" y="9875"/>
                  <a:pt x="34250" y="9813"/>
                </a:cubicBezTo>
                <a:cubicBezTo>
                  <a:pt x="34219" y="9782"/>
                  <a:pt x="34188" y="9750"/>
                  <a:pt x="34125" y="9782"/>
                </a:cubicBezTo>
                <a:cubicBezTo>
                  <a:pt x="34094" y="9813"/>
                  <a:pt x="34000" y="9782"/>
                  <a:pt x="34000" y="9719"/>
                </a:cubicBezTo>
                <a:cubicBezTo>
                  <a:pt x="34000" y="9688"/>
                  <a:pt x="34000" y="9657"/>
                  <a:pt x="34031" y="9657"/>
                </a:cubicBezTo>
                <a:cubicBezTo>
                  <a:pt x="34125" y="9625"/>
                  <a:pt x="34219" y="9563"/>
                  <a:pt x="34344" y="9532"/>
                </a:cubicBezTo>
                <a:cubicBezTo>
                  <a:pt x="34375" y="9532"/>
                  <a:pt x="34438" y="9563"/>
                  <a:pt x="34438" y="9500"/>
                </a:cubicBezTo>
                <a:cubicBezTo>
                  <a:pt x="34469" y="9438"/>
                  <a:pt x="34406" y="9407"/>
                  <a:pt x="34375" y="9375"/>
                </a:cubicBezTo>
                <a:cubicBezTo>
                  <a:pt x="34281" y="9313"/>
                  <a:pt x="34156" y="9313"/>
                  <a:pt x="34250" y="9157"/>
                </a:cubicBezTo>
                <a:cubicBezTo>
                  <a:pt x="34250" y="9125"/>
                  <a:pt x="34219" y="9125"/>
                  <a:pt x="34188" y="9125"/>
                </a:cubicBezTo>
                <a:cubicBezTo>
                  <a:pt x="34125" y="9094"/>
                  <a:pt x="34094" y="9063"/>
                  <a:pt x="34031" y="9032"/>
                </a:cubicBezTo>
                <a:cubicBezTo>
                  <a:pt x="33906" y="9000"/>
                  <a:pt x="33813" y="8938"/>
                  <a:pt x="33719" y="8844"/>
                </a:cubicBezTo>
                <a:cubicBezTo>
                  <a:pt x="33688" y="8813"/>
                  <a:pt x="33688" y="8782"/>
                  <a:pt x="33719" y="8750"/>
                </a:cubicBezTo>
                <a:cubicBezTo>
                  <a:pt x="33875" y="8625"/>
                  <a:pt x="33938" y="8438"/>
                  <a:pt x="34094" y="8313"/>
                </a:cubicBezTo>
                <a:cubicBezTo>
                  <a:pt x="34156" y="8219"/>
                  <a:pt x="34219" y="8125"/>
                  <a:pt x="34250" y="8032"/>
                </a:cubicBezTo>
                <a:cubicBezTo>
                  <a:pt x="34281" y="7969"/>
                  <a:pt x="34281" y="7969"/>
                  <a:pt x="34219" y="7938"/>
                </a:cubicBezTo>
                <a:cubicBezTo>
                  <a:pt x="34188" y="7907"/>
                  <a:pt x="34156" y="7844"/>
                  <a:pt x="34156" y="7844"/>
                </a:cubicBezTo>
                <a:cubicBezTo>
                  <a:pt x="34281" y="7844"/>
                  <a:pt x="34281" y="7719"/>
                  <a:pt x="34344" y="7688"/>
                </a:cubicBezTo>
                <a:cubicBezTo>
                  <a:pt x="34438" y="7657"/>
                  <a:pt x="34531" y="7594"/>
                  <a:pt x="34594" y="7532"/>
                </a:cubicBezTo>
                <a:cubicBezTo>
                  <a:pt x="34531" y="7469"/>
                  <a:pt x="34469" y="7407"/>
                  <a:pt x="34531" y="7313"/>
                </a:cubicBezTo>
                <a:cubicBezTo>
                  <a:pt x="34563" y="7282"/>
                  <a:pt x="34563" y="7250"/>
                  <a:pt x="34594" y="7250"/>
                </a:cubicBezTo>
                <a:cubicBezTo>
                  <a:pt x="34656" y="7157"/>
                  <a:pt x="34750" y="7157"/>
                  <a:pt x="34813" y="7125"/>
                </a:cubicBezTo>
                <a:cubicBezTo>
                  <a:pt x="34906" y="7094"/>
                  <a:pt x="34969" y="7125"/>
                  <a:pt x="35000" y="7219"/>
                </a:cubicBezTo>
                <a:cubicBezTo>
                  <a:pt x="35031" y="7219"/>
                  <a:pt x="35031" y="7219"/>
                  <a:pt x="35031" y="7188"/>
                </a:cubicBezTo>
                <a:cubicBezTo>
                  <a:pt x="35031" y="7188"/>
                  <a:pt x="35063" y="7188"/>
                  <a:pt x="35063" y="7188"/>
                </a:cubicBezTo>
                <a:cubicBezTo>
                  <a:pt x="35094" y="7125"/>
                  <a:pt x="35156" y="7094"/>
                  <a:pt x="35063" y="7063"/>
                </a:cubicBezTo>
                <a:cubicBezTo>
                  <a:pt x="35000" y="7063"/>
                  <a:pt x="34969" y="7032"/>
                  <a:pt x="34906" y="7063"/>
                </a:cubicBezTo>
                <a:cubicBezTo>
                  <a:pt x="34875" y="7094"/>
                  <a:pt x="34781" y="7094"/>
                  <a:pt x="34750" y="7063"/>
                </a:cubicBezTo>
                <a:cubicBezTo>
                  <a:pt x="34750" y="6907"/>
                  <a:pt x="34625" y="6844"/>
                  <a:pt x="34625" y="6719"/>
                </a:cubicBezTo>
                <a:cubicBezTo>
                  <a:pt x="34625" y="6688"/>
                  <a:pt x="34625" y="6688"/>
                  <a:pt x="34625" y="6688"/>
                </a:cubicBezTo>
                <a:cubicBezTo>
                  <a:pt x="34625" y="6625"/>
                  <a:pt x="34781" y="6532"/>
                  <a:pt x="34781" y="6563"/>
                </a:cubicBezTo>
                <a:cubicBezTo>
                  <a:pt x="34813" y="6657"/>
                  <a:pt x="34906" y="6625"/>
                  <a:pt x="34969" y="6625"/>
                </a:cubicBezTo>
                <a:cubicBezTo>
                  <a:pt x="35000" y="6657"/>
                  <a:pt x="35031" y="6657"/>
                  <a:pt x="35031" y="6688"/>
                </a:cubicBezTo>
                <a:cubicBezTo>
                  <a:pt x="35031" y="6750"/>
                  <a:pt x="35000" y="6750"/>
                  <a:pt x="34969" y="6750"/>
                </a:cubicBezTo>
                <a:cubicBezTo>
                  <a:pt x="34906" y="6750"/>
                  <a:pt x="34844" y="6782"/>
                  <a:pt x="34813" y="6813"/>
                </a:cubicBezTo>
                <a:cubicBezTo>
                  <a:pt x="34813" y="6844"/>
                  <a:pt x="34750" y="6813"/>
                  <a:pt x="34781" y="6875"/>
                </a:cubicBezTo>
                <a:cubicBezTo>
                  <a:pt x="34781" y="6875"/>
                  <a:pt x="34813" y="6875"/>
                  <a:pt x="34844" y="6844"/>
                </a:cubicBezTo>
                <a:cubicBezTo>
                  <a:pt x="34938" y="6875"/>
                  <a:pt x="35156" y="6750"/>
                  <a:pt x="35188" y="6688"/>
                </a:cubicBezTo>
                <a:cubicBezTo>
                  <a:pt x="35219" y="6563"/>
                  <a:pt x="35156" y="6500"/>
                  <a:pt x="35000" y="6469"/>
                </a:cubicBezTo>
                <a:cubicBezTo>
                  <a:pt x="35156" y="6313"/>
                  <a:pt x="35156" y="6313"/>
                  <a:pt x="35125" y="6219"/>
                </a:cubicBezTo>
                <a:cubicBezTo>
                  <a:pt x="35063" y="6219"/>
                  <a:pt x="35063" y="6282"/>
                  <a:pt x="35000" y="6250"/>
                </a:cubicBezTo>
                <a:cubicBezTo>
                  <a:pt x="35031" y="6188"/>
                  <a:pt x="35031" y="6157"/>
                  <a:pt x="34938" y="6157"/>
                </a:cubicBezTo>
                <a:cubicBezTo>
                  <a:pt x="34906" y="6157"/>
                  <a:pt x="34906" y="6157"/>
                  <a:pt x="34906" y="6188"/>
                </a:cubicBezTo>
                <a:cubicBezTo>
                  <a:pt x="34875" y="6188"/>
                  <a:pt x="34875" y="6188"/>
                  <a:pt x="34875" y="6219"/>
                </a:cubicBezTo>
                <a:cubicBezTo>
                  <a:pt x="34875" y="6250"/>
                  <a:pt x="34875" y="6313"/>
                  <a:pt x="34813" y="6313"/>
                </a:cubicBezTo>
                <a:cubicBezTo>
                  <a:pt x="34750" y="6313"/>
                  <a:pt x="34750" y="6282"/>
                  <a:pt x="34781" y="6250"/>
                </a:cubicBezTo>
                <a:cubicBezTo>
                  <a:pt x="34781" y="6219"/>
                  <a:pt x="34813" y="6219"/>
                  <a:pt x="34813" y="6188"/>
                </a:cubicBezTo>
                <a:cubicBezTo>
                  <a:pt x="34750" y="6125"/>
                  <a:pt x="34688" y="6157"/>
                  <a:pt x="34625" y="6125"/>
                </a:cubicBezTo>
                <a:cubicBezTo>
                  <a:pt x="34781" y="6032"/>
                  <a:pt x="34969" y="6032"/>
                  <a:pt x="35094" y="5907"/>
                </a:cubicBezTo>
                <a:cubicBezTo>
                  <a:pt x="35031" y="5875"/>
                  <a:pt x="34969" y="5907"/>
                  <a:pt x="34906" y="5907"/>
                </a:cubicBezTo>
                <a:cubicBezTo>
                  <a:pt x="34813" y="5969"/>
                  <a:pt x="34719" y="6032"/>
                  <a:pt x="34594" y="5938"/>
                </a:cubicBezTo>
                <a:cubicBezTo>
                  <a:pt x="34594" y="5875"/>
                  <a:pt x="34625" y="5907"/>
                  <a:pt x="34656" y="5875"/>
                </a:cubicBezTo>
                <a:cubicBezTo>
                  <a:pt x="34719" y="5844"/>
                  <a:pt x="34781" y="5844"/>
                  <a:pt x="34844" y="5813"/>
                </a:cubicBezTo>
                <a:cubicBezTo>
                  <a:pt x="34875" y="5813"/>
                  <a:pt x="34906" y="5813"/>
                  <a:pt x="34938" y="5782"/>
                </a:cubicBezTo>
                <a:cubicBezTo>
                  <a:pt x="34969" y="5750"/>
                  <a:pt x="34969" y="5719"/>
                  <a:pt x="35000" y="5719"/>
                </a:cubicBezTo>
                <a:cubicBezTo>
                  <a:pt x="35063" y="5719"/>
                  <a:pt x="35094" y="5719"/>
                  <a:pt x="35156" y="5719"/>
                </a:cubicBezTo>
                <a:cubicBezTo>
                  <a:pt x="35188" y="5719"/>
                  <a:pt x="35219" y="5688"/>
                  <a:pt x="35188" y="5657"/>
                </a:cubicBezTo>
                <a:cubicBezTo>
                  <a:pt x="35156" y="5625"/>
                  <a:pt x="35125" y="5532"/>
                  <a:pt x="35031" y="5563"/>
                </a:cubicBezTo>
                <a:cubicBezTo>
                  <a:pt x="34938" y="5563"/>
                  <a:pt x="34875" y="5657"/>
                  <a:pt x="34813" y="5625"/>
                </a:cubicBezTo>
                <a:cubicBezTo>
                  <a:pt x="34625" y="5594"/>
                  <a:pt x="34438" y="5657"/>
                  <a:pt x="34250" y="5657"/>
                </a:cubicBezTo>
                <a:cubicBezTo>
                  <a:pt x="34219" y="5688"/>
                  <a:pt x="34156" y="5688"/>
                  <a:pt x="34125" y="5657"/>
                </a:cubicBezTo>
                <a:cubicBezTo>
                  <a:pt x="34063" y="5657"/>
                  <a:pt x="34031" y="5657"/>
                  <a:pt x="34000" y="5657"/>
                </a:cubicBezTo>
                <a:cubicBezTo>
                  <a:pt x="33938" y="5688"/>
                  <a:pt x="33875" y="5688"/>
                  <a:pt x="33844" y="5657"/>
                </a:cubicBezTo>
                <a:cubicBezTo>
                  <a:pt x="33813" y="5625"/>
                  <a:pt x="33813" y="5625"/>
                  <a:pt x="33813" y="5625"/>
                </a:cubicBezTo>
                <a:cubicBezTo>
                  <a:pt x="33813" y="5625"/>
                  <a:pt x="33813" y="5625"/>
                  <a:pt x="33844" y="5625"/>
                </a:cubicBezTo>
                <a:cubicBezTo>
                  <a:pt x="33844" y="5594"/>
                  <a:pt x="33844" y="5594"/>
                  <a:pt x="33844" y="5594"/>
                </a:cubicBezTo>
                <a:cubicBezTo>
                  <a:pt x="33844" y="5625"/>
                  <a:pt x="33844" y="5625"/>
                  <a:pt x="33844" y="5625"/>
                </a:cubicBezTo>
                <a:cubicBezTo>
                  <a:pt x="33875" y="5594"/>
                  <a:pt x="33875" y="5594"/>
                  <a:pt x="33906" y="5594"/>
                </a:cubicBezTo>
                <a:cubicBezTo>
                  <a:pt x="33938" y="5563"/>
                  <a:pt x="34000" y="5563"/>
                  <a:pt x="34031" y="5563"/>
                </a:cubicBezTo>
                <a:cubicBezTo>
                  <a:pt x="34094" y="5563"/>
                  <a:pt x="34156" y="5532"/>
                  <a:pt x="34219" y="5532"/>
                </a:cubicBezTo>
                <a:cubicBezTo>
                  <a:pt x="34250" y="5500"/>
                  <a:pt x="34281" y="5469"/>
                  <a:pt x="34344" y="5469"/>
                </a:cubicBezTo>
                <a:cubicBezTo>
                  <a:pt x="34531" y="5438"/>
                  <a:pt x="34719" y="5375"/>
                  <a:pt x="34906" y="5313"/>
                </a:cubicBezTo>
                <a:cubicBezTo>
                  <a:pt x="34938" y="5313"/>
                  <a:pt x="35000" y="5250"/>
                  <a:pt x="35000" y="5219"/>
                </a:cubicBezTo>
                <a:cubicBezTo>
                  <a:pt x="35000" y="5157"/>
                  <a:pt x="34938" y="5188"/>
                  <a:pt x="34938" y="5157"/>
                </a:cubicBezTo>
                <a:cubicBezTo>
                  <a:pt x="35031" y="5125"/>
                  <a:pt x="35094" y="5000"/>
                  <a:pt x="35188" y="5063"/>
                </a:cubicBezTo>
                <a:cubicBezTo>
                  <a:pt x="35219" y="5063"/>
                  <a:pt x="35281" y="5063"/>
                  <a:pt x="35281" y="5032"/>
                </a:cubicBezTo>
                <a:cubicBezTo>
                  <a:pt x="35281" y="4938"/>
                  <a:pt x="35219" y="4969"/>
                  <a:pt x="35188" y="4969"/>
                </a:cubicBezTo>
                <a:lnTo>
                  <a:pt x="35188" y="4969"/>
                </a:lnTo>
                <a:cubicBezTo>
                  <a:pt x="34969" y="4938"/>
                  <a:pt x="34781" y="5063"/>
                  <a:pt x="34563" y="5063"/>
                </a:cubicBezTo>
                <a:cubicBezTo>
                  <a:pt x="34469" y="5032"/>
                  <a:pt x="34406" y="5032"/>
                  <a:pt x="34375" y="5125"/>
                </a:cubicBezTo>
                <a:cubicBezTo>
                  <a:pt x="34344" y="5157"/>
                  <a:pt x="34281" y="5188"/>
                  <a:pt x="34219" y="5157"/>
                </a:cubicBezTo>
                <a:cubicBezTo>
                  <a:pt x="34156" y="5094"/>
                  <a:pt x="34125" y="5125"/>
                  <a:pt x="34094" y="5188"/>
                </a:cubicBezTo>
                <a:cubicBezTo>
                  <a:pt x="34094" y="5219"/>
                  <a:pt x="34063" y="5219"/>
                  <a:pt x="34031" y="5219"/>
                </a:cubicBezTo>
                <a:cubicBezTo>
                  <a:pt x="33906" y="5157"/>
                  <a:pt x="33938" y="5250"/>
                  <a:pt x="33938" y="5313"/>
                </a:cubicBezTo>
                <a:cubicBezTo>
                  <a:pt x="34094" y="5344"/>
                  <a:pt x="34250" y="5250"/>
                  <a:pt x="34406" y="5219"/>
                </a:cubicBezTo>
                <a:cubicBezTo>
                  <a:pt x="34438" y="5219"/>
                  <a:pt x="34500" y="5157"/>
                  <a:pt x="34500" y="5250"/>
                </a:cubicBezTo>
                <a:cubicBezTo>
                  <a:pt x="34500" y="5282"/>
                  <a:pt x="34563" y="5250"/>
                  <a:pt x="34563" y="5250"/>
                </a:cubicBezTo>
                <a:cubicBezTo>
                  <a:pt x="34656" y="5125"/>
                  <a:pt x="34750" y="5250"/>
                  <a:pt x="34844" y="5219"/>
                </a:cubicBezTo>
                <a:cubicBezTo>
                  <a:pt x="34719" y="5282"/>
                  <a:pt x="34594" y="5344"/>
                  <a:pt x="34438" y="5313"/>
                </a:cubicBezTo>
                <a:cubicBezTo>
                  <a:pt x="34344" y="5282"/>
                  <a:pt x="34250" y="5313"/>
                  <a:pt x="34156" y="5375"/>
                </a:cubicBezTo>
                <a:cubicBezTo>
                  <a:pt x="34063" y="5407"/>
                  <a:pt x="33969" y="5407"/>
                  <a:pt x="33906" y="5313"/>
                </a:cubicBezTo>
                <a:cubicBezTo>
                  <a:pt x="33875" y="5282"/>
                  <a:pt x="33781" y="5375"/>
                  <a:pt x="33750" y="5282"/>
                </a:cubicBezTo>
                <a:cubicBezTo>
                  <a:pt x="33781" y="5250"/>
                  <a:pt x="33844" y="5250"/>
                  <a:pt x="33875" y="5188"/>
                </a:cubicBezTo>
                <a:cubicBezTo>
                  <a:pt x="33656" y="5188"/>
                  <a:pt x="33469" y="5219"/>
                  <a:pt x="33281" y="5282"/>
                </a:cubicBezTo>
                <a:cubicBezTo>
                  <a:pt x="33188" y="5313"/>
                  <a:pt x="33094" y="5313"/>
                  <a:pt x="32969" y="5313"/>
                </a:cubicBezTo>
                <a:cubicBezTo>
                  <a:pt x="32938" y="5313"/>
                  <a:pt x="32938" y="5313"/>
                  <a:pt x="32938" y="5282"/>
                </a:cubicBezTo>
                <a:cubicBezTo>
                  <a:pt x="32938" y="5250"/>
                  <a:pt x="32938" y="5250"/>
                  <a:pt x="32969" y="5250"/>
                </a:cubicBezTo>
                <a:cubicBezTo>
                  <a:pt x="33094" y="5313"/>
                  <a:pt x="33125" y="5219"/>
                  <a:pt x="33188" y="5157"/>
                </a:cubicBezTo>
                <a:cubicBezTo>
                  <a:pt x="33250" y="5125"/>
                  <a:pt x="33250" y="5063"/>
                  <a:pt x="33313" y="5157"/>
                </a:cubicBezTo>
                <a:cubicBezTo>
                  <a:pt x="33344" y="5219"/>
                  <a:pt x="33438" y="5157"/>
                  <a:pt x="33500" y="5125"/>
                </a:cubicBezTo>
                <a:cubicBezTo>
                  <a:pt x="33531" y="5125"/>
                  <a:pt x="33531" y="5094"/>
                  <a:pt x="33531" y="5063"/>
                </a:cubicBezTo>
                <a:cubicBezTo>
                  <a:pt x="33500" y="5032"/>
                  <a:pt x="33469" y="5094"/>
                  <a:pt x="33406" y="5094"/>
                </a:cubicBezTo>
                <a:cubicBezTo>
                  <a:pt x="33375" y="5094"/>
                  <a:pt x="33375" y="5094"/>
                  <a:pt x="33344" y="5063"/>
                </a:cubicBezTo>
                <a:cubicBezTo>
                  <a:pt x="33344" y="5000"/>
                  <a:pt x="33375" y="5000"/>
                  <a:pt x="33406" y="5000"/>
                </a:cubicBezTo>
                <a:cubicBezTo>
                  <a:pt x="33531" y="4969"/>
                  <a:pt x="33656" y="4938"/>
                  <a:pt x="33750" y="4907"/>
                </a:cubicBezTo>
                <a:cubicBezTo>
                  <a:pt x="33844" y="4875"/>
                  <a:pt x="33938" y="4782"/>
                  <a:pt x="34031" y="4875"/>
                </a:cubicBezTo>
                <a:cubicBezTo>
                  <a:pt x="34063" y="4907"/>
                  <a:pt x="34125" y="4875"/>
                  <a:pt x="34156" y="4875"/>
                </a:cubicBezTo>
                <a:cubicBezTo>
                  <a:pt x="34125" y="4750"/>
                  <a:pt x="34219" y="4813"/>
                  <a:pt x="34281" y="4782"/>
                </a:cubicBezTo>
                <a:cubicBezTo>
                  <a:pt x="34313" y="4750"/>
                  <a:pt x="34375" y="4782"/>
                  <a:pt x="34406" y="4719"/>
                </a:cubicBezTo>
                <a:cubicBezTo>
                  <a:pt x="34406" y="4688"/>
                  <a:pt x="34500" y="4688"/>
                  <a:pt x="34500" y="4719"/>
                </a:cubicBezTo>
                <a:cubicBezTo>
                  <a:pt x="34563" y="4813"/>
                  <a:pt x="34656" y="4782"/>
                  <a:pt x="34719" y="4782"/>
                </a:cubicBezTo>
                <a:cubicBezTo>
                  <a:pt x="34781" y="4782"/>
                  <a:pt x="34875" y="4719"/>
                  <a:pt x="34906" y="4657"/>
                </a:cubicBezTo>
                <a:cubicBezTo>
                  <a:pt x="34938" y="4657"/>
                  <a:pt x="34938" y="4563"/>
                  <a:pt x="34906" y="4532"/>
                </a:cubicBezTo>
                <a:cubicBezTo>
                  <a:pt x="34844" y="4532"/>
                  <a:pt x="34750" y="4500"/>
                  <a:pt x="34688" y="4532"/>
                </a:cubicBezTo>
                <a:cubicBezTo>
                  <a:pt x="34500" y="4688"/>
                  <a:pt x="34219" y="4719"/>
                  <a:pt x="34000" y="4782"/>
                </a:cubicBezTo>
                <a:cubicBezTo>
                  <a:pt x="33906" y="4782"/>
                  <a:pt x="33813" y="4813"/>
                  <a:pt x="33688" y="4782"/>
                </a:cubicBezTo>
                <a:cubicBezTo>
                  <a:pt x="33875" y="4719"/>
                  <a:pt x="34031" y="4688"/>
                  <a:pt x="34156" y="4594"/>
                </a:cubicBezTo>
                <a:cubicBezTo>
                  <a:pt x="33906" y="4625"/>
                  <a:pt x="33688" y="4657"/>
                  <a:pt x="33438" y="4750"/>
                </a:cubicBezTo>
                <a:cubicBezTo>
                  <a:pt x="33281" y="4813"/>
                  <a:pt x="33063" y="4813"/>
                  <a:pt x="32906" y="4875"/>
                </a:cubicBezTo>
                <a:cubicBezTo>
                  <a:pt x="32875" y="4875"/>
                  <a:pt x="32875" y="4875"/>
                  <a:pt x="32844" y="4875"/>
                </a:cubicBezTo>
                <a:cubicBezTo>
                  <a:pt x="32813" y="4844"/>
                  <a:pt x="32781" y="4844"/>
                  <a:pt x="32781" y="4813"/>
                </a:cubicBezTo>
                <a:cubicBezTo>
                  <a:pt x="32781" y="4782"/>
                  <a:pt x="32813" y="4750"/>
                  <a:pt x="32844" y="4750"/>
                </a:cubicBezTo>
                <a:cubicBezTo>
                  <a:pt x="32906" y="4719"/>
                  <a:pt x="32969" y="4719"/>
                  <a:pt x="32969" y="4625"/>
                </a:cubicBezTo>
                <a:cubicBezTo>
                  <a:pt x="32906" y="4594"/>
                  <a:pt x="32875" y="4657"/>
                  <a:pt x="32781" y="4594"/>
                </a:cubicBezTo>
                <a:cubicBezTo>
                  <a:pt x="32844" y="4594"/>
                  <a:pt x="32906" y="4563"/>
                  <a:pt x="32969" y="4563"/>
                </a:cubicBezTo>
                <a:cubicBezTo>
                  <a:pt x="33031" y="4532"/>
                  <a:pt x="33094" y="4532"/>
                  <a:pt x="33125" y="4469"/>
                </a:cubicBezTo>
                <a:cubicBezTo>
                  <a:pt x="33031" y="4407"/>
                  <a:pt x="32969" y="4532"/>
                  <a:pt x="32875" y="4469"/>
                </a:cubicBezTo>
                <a:cubicBezTo>
                  <a:pt x="32938" y="4407"/>
                  <a:pt x="33031" y="4375"/>
                  <a:pt x="33094" y="4313"/>
                </a:cubicBezTo>
                <a:cubicBezTo>
                  <a:pt x="33250" y="4250"/>
                  <a:pt x="33375" y="4157"/>
                  <a:pt x="33563" y="4188"/>
                </a:cubicBezTo>
                <a:cubicBezTo>
                  <a:pt x="33625" y="4219"/>
                  <a:pt x="33688" y="4188"/>
                  <a:pt x="33750" y="4157"/>
                </a:cubicBezTo>
                <a:cubicBezTo>
                  <a:pt x="33875" y="4157"/>
                  <a:pt x="33781" y="4000"/>
                  <a:pt x="33875" y="4000"/>
                </a:cubicBezTo>
                <a:cubicBezTo>
                  <a:pt x="33969" y="4000"/>
                  <a:pt x="34031" y="3969"/>
                  <a:pt x="34094" y="3844"/>
                </a:cubicBezTo>
                <a:cubicBezTo>
                  <a:pt x="33906" y="3875"/>
                  <a:pt x="33781" y="3907"/>
                  <a:pt x="33625" y="3969"/>
                </a:cubicBezTo>
                <a:cubicBezTo>
                  <a:pt x="33344" y="4125"/>
                  <a:pt x="33000" y="4157"/>
                  <a:pt x="32688" y="4282"/>
                </a:cubicBezTo>
                <a:cubicBezTo>
                  <a:pt x="32656" y="4282"/>
                  <a:pt x="32563" y="4313"/>
                  <a:pt x="32563" y="4250"/>
                </a:cubicBezTo>
                <a:cubicBezTo>
                  <a:pt x="32531" y="4188"/>
                  <a:pt x="32594" y="4188"/>
                  <a:pt x="32625" y="4157"/>
                </a:cubicBezTo>
                <a:cubicBezTo>
                  <a:pt x="32750" y="4094"/>
                  <a:pt x="32844" y="4032"/>
                  <a:pt x="32969" y="3969"/>
                </a:cubicBezTo>
                <a:cubicBezTo>
                  <a:pt x="33031" y="3938"/>
                  <a:pt x="33094" y="3875"/>
                  <a:pt x="32969" y="3844"/>
                </a:cubicBezTo>
                <a:cubicBezTo>
                  <a:pt x="32969" y="3844"/>
                  <a:pt x="32938" y="3813"/>
                  <a:pt x="32969" y="3782"/>
                </a:cubicBezTo>
                <a:cubicBezTo>
                  <a:pt x="33063" y="3750"/>
                  <a:pt x="33156" y="3657"/>
                  <a:pt x="33250" y="3657"/>
                </a:cubicBezTo>
                <a:cubicBezTo>
                  <a:pt x="33281" y="3625"/>
                  <a:pt x="33313" y="3625"/>
                  <a:pt x="33313" y="3594"/>
                </a:cubicBezTo>
                <a:cubicBezTo>
                  <a:pt x="33281" y="3563"/>
                  <a:pt x="33250" y="3563"/>
                  <a:pt x="33250" y="3563"/>
                </a:cubicBezTo>
                <a:cubicBezTo>
                  <a:pt x="33156" y="3594"/>
                  <a:pt x="33094" y="3688"/>
                  <a:pt x="33031" y="3594"/>
                </a:cubicBezTo>
                <a:cubicBezTo>
                  <a:pt x="33000" y="3563"/>
                  <a:pt x="33125" y="3532"/>
                  <a:pt x="33188" y="3500"/>
                </a:cubicBezTo>
                <a:cubicBezTo>
                  <a:pt x="33250" y="3438"/>
                  <a:pt x="33188" y="3407"/>
                  <a:pt x="33188" y="3375"/>
                </a:cubicBezTo>
                <a:cubicBezTo>
                  <a:pt x="33281" y="3313"/>
                  <a:pt x="33344" y="3375"/>
                  <a:pt x="33375" y="3438"/>
                </a:cubicBezTo>
                <a:cubicBezTo>
                  <a:pt x="33438" y="3532"/>
                  <a:pt x="33313" y="3532"/>
                  <a:pt x="33313" y="3594"/>
                </a:cubicBezTo>
                <a:cubicBezTo>
                  <a:pt x="33313" y="3625"/>
                  <a:pt x="33375" y="3594"/>
                  <a:pt x="33406" y="3625"/>
                </a:cubicBezTo>
                <a:cubicBezTo>
                  <a:pt x="33438" y="3625"/>
                  <a:pt x="33500" y="3625"/>
                  <a:pt x="33563" y="3657"/>
                </a:cubicBezTo>
                <a:cubicBezTo>
                  <a:pt x="33563" y="3625"/>
                  <a:pt x="33594" y="3594"/>
                  <a:pt x="33625" y="3625"/>
                </a:cubicBezTo>
                <a:cubicBezTo>
                  <a:pt x="33719" y="3563"/>
                  <a:pt x="33813" y="3500"/>
                  <a:pt x="33906" y="3469"/>
                </a:cubicBezTo>
                <a:cubicBezTo>
                  <a:pt x="33875" y="3407"/>
                  <a:pt x="33813" y="3438"/>
                  <a:pt x="33813" y="3375"/>
                </a:cubicBezTo>
                <a:cubicBezTo>
                  <a:pt x="34125" y="3344"/>
                  <a:pt x="34375" y="3188"/>
                  <a:pt x="34563" y="2938"/>
                </a:cubicBezTo>
                <a:cubicBezTo>
                  <a:pt x="34406" y="2969"/>
                  <a:pt x="34281" y="3063"/>
                  <a:pt x="34125" y="3125"/>
                </a:cubicBezTo>
                <a:cubicBezTo>
                  <a:pt x="34000" y="3219"/>
                  <a:pt x="33844" y="3313"/>
                  <a:pt x="33656" y="3344"/>
                </a:cubicBezTo>
                <a:cubicBezTo>
                  <a:pt x="33688" y="3250"/>
                  <a:pt x="33750" y="3219"/>
                  <a:pt x="33813" y="3188"/>
                </a:cubicBezTo>
                <a:cubicBezTo>
                  <a:pt x="33938" y="3125"/>
                  <a:pt x="34063" y="3032"/>
                  <a:pt x="34188" y="2938"/>
                </a:cubicBezTo>
                <a:cubicBezTo>
                  <a:pt x="34281" y="2844"/>
                  <a:pt x="34406" y="2750"/>
                  <a:pt x="34531" y="2688"/>
                </a:cubicBezTo>
                <a:cubicBezTo>
                  <a:pt x="34563" y="2657"/>
                  <a:pt x="34625" y="2657"/>
                  <a:pt x="34594" y="2594"/>
                </a:cubicBezTo>
                <a:cubicBezTo>
                  <a:pt x="34563" y="2563"/>
                  <a:pt x="34531" y="2594"/>
                  <a:pt x="34500" y="2625"/>
                </a:cubicBezTo>
                <a:cubicBezTo>
                  <a:pt x="34313" y="2688"/>
                  <a:pt x="34156" y="2844"/>
                  <a:pt x="33969" y="2907"/>
                </a:cubicBezTo>
                <a:cubicBezTo>
                  <a:pt x="33688" y="3000"/>
                  <a:pt x="33438" y="3188"/>
                  <a:pt x="33156" y="3313"/>
                </a:cubicBezTo>
                <a:cubicBezTo>
                  <a:pt x="33094" y="3344"/>
                  <a:pt x="33031" y="3344"/>
                  <a:pt x="32969" y="3344"/>
                </a:cubicBezTo>
                <a:cubicBezTo>
                  <a:pt x="33094" y="3188"/>
                  <a:pt x="33063" y="3188"/>
                  <a:pt x="33313" y="3063"/>
                </a:cubicBezTo>
                <a:cubicBezTo>
                  <a:pt x="33531" y="2969"/>
                  <a:pt x="33719" y="2813"/>
                  <a:pt x="33938" y="2688"/>
                </a:cubicBezTo>
                <a:cubicBezTo>
                  <a:pt x="33938" y="2688"/>
                  <a:pt x="33938" y="2688"/>
                  <a:pt x="33938" y="2688"/>
                </a:cubicBezTo>
                <a:cubicBezTo>
                  <a:pt x="34031" y="2657"/>
                  <a:pt x="34125" y="2625"/>
                  <a:pt x="34156" y="2500"/>
                </a:cubicBezTo>
                <a:close/>
                <a:moveTo>
                  <a:pt x="7813" y="2625"/>
                </a:moveTo>
                <a:cubicBezTo>
                  <a:pt x="7813" y="2625"/>
                  <a:pt x="7844" y="2625"/>
                  <a:pt x="7844" y="2625"/>
                </a:cubicBezTo>
                <a:cubicBezTo>
                  <a:pt x="7844" y="2657"/>
                  <a:pt x="7844" y="2688"/>
                  <a:pt x="7844" y="2719"/>
                </a:cubicBezTo>
                <a:cubicBezTo>
                  <a:pt x="8000" y="2782"/>
                  <a:pt x="8156" y="2844"/>
                  <a:pt x="8344" y="2813"/>
                </a:cubicBezTo>
                <a:cubicBezTo>
                  <a:pt x="8375" y="2813"/>
                  <a:pt x="8406" y="2844"/>
                  <a:pt x="8406" y="2875"/>
                </a:cubicBezTo>
                <a:cubicBezTo>
                  <a:pt x="8406" y="2938"/>
                  <a:pt x="8375" y="2907"/>
                  <a:pt x="8344" y="2907"/>
                </a:cubicBezTo>
                <a:cubicBezTo>
                  <a:pt x="8313" y="2907"/>
                  <a:pt x="8281" y="2907"/>
                  <a:pt x="8281" y="2938"/>
                </a:cubicBezTo>
                <a:cubicBezTo>
                  <a:pt x="8375" y="2969"/>
                  <a:pt x="8438" y="3125"/>
                  <a:pt x="8594" y="3063"/>
                </a:cubicBezTo>
                <a:cubicBezTo>
                  <a:pt x="8563" y="3000"/>
                  <a:pt x="8406" y="3032"/>
                  <a:pt x="8438" y="2969"/>
                </a:cubicBezTo>
                <a:cubicBezTo>
                  <a:pt x="8469" y="2875"/>
                  <a:pt x="8594" y="2938"/>
                  <a:pt x="8656" y="2969"/>
                </a:cubicBezTo>
                <a:cubicBezTo>
                  <a:pt x="8688" y="3032"/>
                  <a:pt x="8719" y="3094"/>
                  <a:pt x="8750" y="3188"/>
                </a:cubicBezTo>
                <a:cubicBezTo>
                  <a:pt x="8750" y="3219"/>
                  <a:pt x="8719" y="3250"/>
                  <a:pt x="8781" y="3250"/>
                </a:cubicBezTo>
                <a:lnTo>
                  <a:pt x="8781" y="3250"/>
                </a:lnTo>
                <a:cubicBezTo>
                  <a:pt x="8813" y="3250"/>
                  <a:pt x="8844" y="3219"/>
                  <a:pt x="8813" y="3188"/>
                </a:cubicBezTo>
                <a:cubicBezTo>
                  <a:pt x="8813" y="3063"/>
                  <a:pt x="8906" y="3094"/>
                  <a:pt x="8969" y="3094"/>
                </a:cubicBezTo>
                <a:cubicBezTo>
                  <a:pt x="9031" y="3094"/>
                  <a:pt x="9063" y="3157"/>
                  <a:pt x="9125" y="3188"/>
                </a:cubicBezTo>
                <a:cubicBezTo>
                  <a:pt x="9219" y="3250"/>
                  <a:pt x="9313" y="3375"/>
                  <a:pt x="9438" y="3344"/>
                </a:cubicBezTo>
                <a:cubicBezTo>
                  <a:pt x="9469" y="3344"/>
                  <a:pt x="9500" y="3375"/>
                  <a:pt x="9500" y="3375"/>
                </a:cubicBezTo>
                <a:cubicBezTo>
                  <a:pt x="9500" y="3469"/>
                  <a:pt x="9563" y="3469"/>
                  <a:pt x="9625" y="3500"/>
                </a:cubicBezTo>
                <a:cubicBezTo>
                  <a:pt x="9719" y="3500"/>
                  <a:pt x="9781" y="3532"/>
                  <a:pt x="9813" y="3625"/>
                </a:cubicBezTo>
                <a:cubicBezTo>
                  <a:pt x="9844" y="3657"/>
                  <a:pt x="9875" y="3657"/>
                  <a:pt x="9906" y="3625"/>
                </a:cubicBezTo>
                <a:cubicBezTo>
                  <a:pt x="9938" y="3625"/>
                  <a:pt x="9969" y="3625"/>
                  <a:pt x="10031" y="3625"/>
                </a:cubicBezTo>
                <a:cubicBezTo>
                  <a:pt x="10250" y="3750"/>
                  <a:pt x="10469" y="3813"/>
                  <a:pt x="10656" y="4063"/>
                </a:cubicBezTo>
                <a:cubicBezTo>
                  <a:pt x="10625" y="3938"/>
                  <a:pt x="10656" y="3907"/>
                  <a:pt x="10750" y="3907"/>
                </a:cubicBezTo>
                <a:cubicBezTo>
                  <a:pt x="10813" y="3907"/>
                  <a:pt x="10875" y="3938"/>
                  <a:pt x="10844" y="4063"/>
                </a:cubicBezTo>
                <a:cubicBezTo>
                  <a:pt x="10969" y="3907"/>
                  <a:pt x="11125" y="4063"/>
                  <a:pt x="11250" y="4032"/>
                </a:cubicBezTo>
                <a:cubicBezTo>
                  <a:pt x="11250" y="3907"/>
                  <a:pt x="11156" y="3969"/>
                  <a:pt x="11125" y="3907"/>
                </a:cubicBezTo>
                <a:cubicBezTo>
                  <a:pt x="11063" y="3844"/>
                  <a:pt x="11000" y="3844"/>
                  <a:pt x="10969" y="3907"/>
                </a:cubicBezTo>
                <a:cubicBezTo>
                  <a:pt x="10969" y="3938"/>
                  <a:pt x="10938" y="3938"/>
                  <a:pt x="10906" y="3938"/>
                </a:cubicBezTo>
                <a:cubicBezTo>
                  <a:pt x="10906" y="3907"/>
                  <a:pt x="10875" y="3875"/>
                  <a:pt x="10906" y="3875"/>
                </a:cubicBezTo>
                <a:cubicBezTo>
                  <a:pt x="10969" y="3782"/>
                  <a:pt x="10875" y="3750"/>
                  <a:pt x="10844" y="3719"/>
                </a:cubicBezTo>
                <a:cubicBezTo>
                  <a:pt x="10813" y="3625"/>
                  <a:pt x="10719" y="3782"/>
                  <a:pt x="10688" y="3688"/>
                </a:cubicBezTo>
                <a:cubicBezTo>
                  <a:pt x="10656" y="3719"/>
                  <a:pt x="10656" y="3719"/>
                  <a:pt x="10656" y="3719"/>
                </a:cubicBezTo>
                <a:cubicBezTo>
                  <a:pt x="10719" y="3844"/>
                  <a:pt x="10625" y="3813"/>
                  <a:pt x="10594" y="3813"/>
                </a:cubicBezTo>
                <a:cubicBezTo>
                  <a:pt x="10531" y="3782"/>
                  <a:pt x="10406" y="3844"/>
                  <a:pt x="10438" y="3719"/>
                </a:cubicBezTo>
                <a:cubicBezTo>
                  <a:pt x="10438" y="3688"/>
                  <a:pt x="10406" y="3688"/>
                  <a:pt x="10375" y="3688"/>
                </a:cubicBezTo>
                <a:cubicBezTo>
                  <a:pt x="10313" y="3688"/>
                  <a:pt x="10313" y="3657"/>
                  <a:pt x="10344" y="3594"/>
                </a:cubicBezTo>
                <a:cubicBezTo>
                  <a:pt x="10375" y="3532"/>
                  <a:pt x="10219" y="3344"/>
                  <a:pt x="10156" y="3344"/>
                </a:cubicBezTo>
                <a:cubicBezTo>
                  <a:pt x="10125" y="3375"/>
                  <a:pt x="10125" y="3407"/>
                  <a:pt x="10125" y="3407"/>
                </a:cubicBezTo>
                <a:cubicBezTo>
                  <a:pt x="10188" y="3438"/>
                  <a:pt x="10219" y="3469"/>
                  <a:pt x="10281" y="3500"/>
                </a:cubicBezTo>
                <a:cubicBezTo>
                  <a:pt x="10156" y="3563"/>
                  <a:pt x="10063" y="3594"/>
                  <a:pt x="9906" y="3563"/>
                </a:cubicBezTo>
                <a:cubicBezTo>
                  <a:pt x="9969" y="3500"/>
                  <a:pt x="10000" y="3532"/>
                  <a:pt x="10063" y="3532"/>
                </a:cubicBezTo>
                <a:cubicBezTo>
                  <a:pt x="10125" y="3532"/>
                  <a:pt x="10094" y="3469"/>
                  <a:pt x="10094" y="3438"/>
                </a:cubicBezTo>
                <a:cubicBezTo>
                  <a:pt x="10031" y="3438"/>
                  <a:pt x="10000" y="3407"/>
                  <a:pt x="9938" y="3438"/>
                </a:cubicBezTo>
                <a:cubicBezTo>
                  <a:pt x="9844" y="3532"/>
                  <a:pt x="9781" y="3438"/>
                  <a:pt x="9719" y="3375"/>
                </a:cubicBezTo>
                <a:cubicBezTo>
                  <a:pt x="9719" y="3344"/>
                  <a:pt x="9719" y="3313"/>
                  <a:pt x="9688" y="3282"/>
                </a:cubicBezTo>
                <a:cubicBezTo>
                  <a:pt x="9594" y="3250"/>
                  <a:pt x="9438" y="3282"/>
                  <a:pt x="9406" y="3125"/>
                </a:cubicBezTo>
                <a:cubicBezTo>
                  <a:pt x="9406" y="3125"/>
                  <a:pt x="9375" y="3125"/>
                  <a:pt x="9375" y="3125"/>
                </a:cubicBezTo>
                <a:cubicBezTo>
                  <a:pt x="9188" y="3188"/>
                  <a:pt x="9094" y="3063"/>
                  <a:pt x="8938" y="3000"/>
                </a:cubicBezTo>
                <a:cubicBezTo>
                  <a:pt x="8906" y="2969"/>
                  <a:pt x="8875" y="2938"/>
                  <a:pt x="8875" y="2907"/>
                </a:cubicBezTo>
                <a:cubicBezTo>
                  <a:pt x="8844" y="2938"/>
                  <a:pt x="8750" y="2907"/>
                  <a:pt x="8656" y="2969"/>
                </a:cubicBezTo>
                <a:cubicBezTo>
                  <a:pt x="8656" y="2907"/>
                  <a:pt x="8625" y="2875"/>
                  <a:pt x="8594" y="2844"/>
                </a:cubicBezTo>
                <a:cubicBezTo>
                  <a:pt x="8469" y="2750"/>
                  <a:pt x="8313" y="2782"/>
                  <a:pt x="8188" y="2688"/>
                </a:cubicBezTo>
                <a:cubicBezTo>
                  <a:pt x="8188" y="2657"/>
                  <a:pt x="8156" y="2657"/>
                  <a:pt x="8156" y="2688"/>
                </a:cubicBezTo>
                <a:cubicBezTo>
                  <a:pt x="8094" y="2750"/>
                  <a:pt x="8094" y="2719"/>
                  <a:pt x="8063" y="2657"/>
                </a:cubicBezTo>
                <a:cubicBezTo>
                  <a:pt x="8031" y="2625"/>
                  <a:pt x="7969" y="2657"/>
                  <a:pt x="7969" y="2625"/>
                </a:cubicBezTo>
                <a:cubicBezTo>
                  <a:pt x="7938" y="2594"/>
                  <a:pt x="7875" y="2657"/>
                  <a:pt x="7875" y="2594"/>
                </a:cubicBezTo>
                <a:cubicBezTo>
                  <a:pt x="7844" y="2594"/>
                  <a:pt x="7844" y="2594"/>
                  <a:pt x="7844" y="2594"/>
                </a:cubicBezTo>
                <a:cubicBezTo>
                  <a:pt x="7844" y="2594"/>
                  <a:pt x="7844" y="2594"/>
                  <a:pt x="7844" y="2594"/>
                </a:cubicBezTo>
                <a:cubicBezTo>
                  <a:pt x="7844" y="2594"/>
                  <a:pt x="7813" y="2563"/>
                  <a:pt x="7813" y="2563"/>
                </a:cubicBezTo>
                <a:cubicBezTo>
                  <a:pt x="7781" y="2594"/>
                  <a:pt x="7781" y="2625"/>
                  <a:pt x="7813" y="2625"/>
                </a:cubicBezTo>
                <a:close/>
                <a:moveTo>
                  <a:pt x="4156" y="8969"/>
                </a:moveTo>
                <a:cubicBezTo>
                  <a:pt x="4156" y="8969"/>
                  <a:pt x="4156" y="8969"/>
                  <a:pt x="4156" y="8969"/>
                </a:cubicBezTo>
                <a:cubicBezTo>
                  <a:pt x="4156" y="8969"/>
                  <a:pt x="4156" y="8969"/>
                  <a:pt x="4125" y="8969"/>
                </a:cubicBezTo>
                <a:cubicBezTo>
                  <a:pt x="4125" y="8969"/>
                  <a:pt x="4125" y="8969"/>
                  <a:pt x="4125" y="8969"/>
                </a:cubicBezTo>
                <a:cubicBezTo>
                  <a:pt x="4125" y="8969"/>
                  <a:pt x="4156" y="8969"/>
                  <a:pt x="4156" y="8969"/>
                </a:cubicBezTo>
                <a:close/>
                <a:moveTo>
                  <a:pt x="6594" y="5594"/>
                </a:moveTo>
                <a:cubicBezTo>
                  <a:pt x="6625" y="5594"/>
                  <a:pt x="6625" y="5594"/>
                  <a:pt x="6656" y="5563"/>
                </a:cubicBezTo>
                <a:cubicBezTo>
                  <a:pt x="6625" y="5563"/>
                  <a:pt x="6625" y="5563"/>
                  <a:pt x="6625" y="5563"/>
                </a:cubicBezTo>
                <a:cubicBezTo>
                  <a:pt x="6625" y="5563"/>
                  <a:pt x="6594" y="5563"/>
                  <a:pt x="6594" y="5563"/>
                </a:cubicBezTo>
                <a:cubicBezTo>
                  <a:pt x="6594" y="5563"/>
                  <a:pt x="6594" y="5594"/>
                  <a:pt x="6594" y="5594"/>
                </a:cubicBezTo>
                <a:close/>
                <a:moveTo>
                  <a:pt x="3719" y="5157"/>
                </a:moveTo>
                <a:cubicBezTo>
                  <a:pt x="3688" y="5157"/>
                  <a:pt x="3656" y="5157"/>
                  <a:pt x="3656" y="5157"/>
                </a:cubicBezTo>
                <a:cubicBezTo>
                  <a:pt x="3656" y="5157"/>
                  <a:pt x="3688" y="5157"/>
                  <a:pt x="3688" y="5157"/>
                </a:cubicBezTo>
                <a:cubicBezTo>
                  <a:pt x="3688" y="5157"/>
                  <a:pt x="3688" y="5157"/>
                  <a:pt x="3719" y="5157"/>
                </a:cubicBezTo>
                <a:close/>
                <a:moveTo>
                  <a:pt x="8125" y="5813"/>
                </a:moveTo>
                <a:cubicBezTo>
                  <a:pt x="8156" y="5844"/>
                  <a:pt x="8188" y="5875"/>
                  <a:pt x="8250" y="5813"/>
                </a:cubicBezTo>
                <a:cubicBezTo>
                  <a:pt x="8219" y="5813"/>
                  <a:pt x="8188" y="5782"/>
                  <a:pt x="8156" y="5782"/>
                </a:cubicBezTo>
                <a:cubicBezTo>
                  <a:pt x="8094" y="5750"/>
                  <a:pt x="8094" y="5813"/>
                  <a:pt x="8125" y="5813"/>
                </a:cubicBezTo>
                <a:close/>
                <a:moveTo>
                  <a:pt x="1657" y="5813"/>
                </a:moveTo>
                <a:cubicBezTo>
                  <a:pt x="1625" y="5813"/>
                  <a:pt x="1625" y="5813"/>
                  <a:pt x="1625" y="5844"/>
                </a:cubicBezTo>
                <a:cubicBezTo>
                  <a:pt x="1688" y="5844"/>
                  <a:pt x="1750" y="5844"/>
                  <a:pt x="1813" y="5844"/>
                </a:cubicBezTo>
                <a:cubicBezTo>
                  <a:pt x="1750" y="5813"/>
                  <a:pt x="1688" y="5813"/>
                  <a:pt x="1657" y="5813"/>
                </a:cubicBezTo>
                <a:close/>
                <a:moveTo>
                  <a:pt x="1813" y="5844"/>
                </a:moveTo>
                <a:cubicBezTo>
                  <a:pt x="1938" y="5844"/>
                  <a:pt x="2063" y="5875"/>
                  <a:pt x="2188" y="5907"/>
                </a:cubicBezTo>
                <a:cubicBezTo>
                  <a:pt x="2282" y="5938"/>
                  <a:pt x="2438" y="5907"/>
                  <a:pt x="2532" y="6032"/>
                </a:cubicBezTo>
                <a:cubicBezTo>
                  <a:pt x="2563" y="6063"/>
                  <a:pt x="2563" y="6032"/>
                  <a:pt x="2594" y="6032"/>
                </a:cubicBezTo>
                <a:cubicBezTo>
                  <a:pt x="2688" y="6000"/>
                  <a:pt x="2688" y="6000"/>
                  <a:pt x="2782" y="6094"/>
                </a:cubicBezTo>
                <a:cubicBezTo>
                  <a:pt x="2719" y="6157"/>
                  <a:pt x="2657" y="6094"/>
                  <a:pt x="2594" y="6094"/>
                </a:cubicBezTo>
                <a:cubicBezTo>
                  <a:pt x="2375" y="6000"/>
                  <a:pt x="2125" y="5969"/>
                  <a:pt x="1875" y="5907"/>
                </a:cubicBezTo>
                <a:lnTo>
                  <a:pt x="1875" y="5907"/>
                </a:lnTo>
                <a:cubicBezTo>
                  <a:pt x="1844" y="5907"/>
                  <a:pt x="1813" y="5875"/>
                  <a:pt x="1813" y="5844"/>
                </a:cubicBezTo>
                <a:close/>
                <a:moveTo>
                  <a:pt x="4500" y="3594"/>
                </a:moveTo>
                <a:cubicBezTo>
                  <a:pt x="4500" y="3563"/>
                  <a:pt x="4500" y="3563"/>
                  <a:pt x="4500" y="3563"/>
                </a:cubicBezTo>
                <a:cubicBezTo>
                  <a:pt x="4469" y="3563"/>
                  <a:pt x="4469" y="3563"/>
                  <a:pt x="4469" y="3563"/>
                </a:cubicBezTo>
                <a:lnTo>
                  <a:pt x="4500" y="3563"/>
                </a:lnTo>
                <a:cubicBezTo>
                  <a:pt x="4500" y="3594"/>
                  <a:pt x="4531" y="3594"/>
                  <a:pt x="4563" y="3594"/>
                </a:cubicBezTo>
                <a:cubicBezTo>
                  <a:pt x="4563" y="3594"/>
                  <a:pt x="4563" y="3594"/>
                  <a:pt x="4594" y="3563"/>
                </a:cubicBezTo>
                <a:cubicBezTo>
                  <a:pt x="4594" y="3563"/>
                  <a:pt x="4594" y="3563"/>
                  <a:pt x="4594" y="3563"/>
                </a:cubicBezTo>
                <a:cubicBezTo>
                  <a:pt x="4594" y="3563"/>
                  <a:pt x="4594" y="3563"/>
                  <a:pt x="4625" y="3563"/>
                </a:cubicBezTo>
                <a:cubicBezTo>
                  <a:pt x="4625" y="3563"/>
                  <a:pt x="4625" y="3563"/>
                  <a:pt x="4656" y="3563"/>
                </a:cubicBezTo>
                <a:cubicBezTo>
                  <a:pt x="4656" y="3563"/>
                  <a:pt x="4688" y="3594"/>
                  <a:pt x="4656" y="3594"/>
                </a:cubicBezTo>
                <a:cubicBezTo>
                  <a:pt x="4656" y="3625"/>
                  <a:pt x="4625" y="3625"/>
                  <a:pt x="4594" y="3625"/>
                </a:cubicBezTo>
                <a:cubicBezTo>
                  <a:pt x="4594" y="3594"/>
                  <a:pt x="4594" y="3594"/>
                  <a:pt x="4594" y="3594"/>
                </a:cubicBezTo>
                <a:cubicBezTo>
                  <a:pt x="4594" y="3594"/>
                  <a:pt x="4563" y="3594"/>
                  <a:pt x="4563" y="3594"/>
                </a:cubicBezTo>
                <a:cubicBezTo>
                  <a:pt x="4531" y="3594"/>
                  <a:pt x="4531" y="3594"/>
                  <a:pt x="4500" y="3594"/>
                </a:cubicBezTo>
                <a:close/>
                <a:moveTo>
                  <a:pt x="4469" y="3563"/>
                </a:moveTo>
                <a:cubicBezTo>
                  <a:pt x="4469" y="3563"/>
                  <a:pt x="4438" y="3563"/>
                  <a:pt x="4438" y="3563"/>
                </a:cubicBezTo>
                <a:lnTo>
                  <a:pt x="4469" y="3563"/>
                </a:lnTo>
                <a:cubicBezTo>
                  <a:pt x="4469" y="3532"/>
                  <a:pt x="4500" y="3532"/>
                  <a:pt x="4500" y="3532"/>
                </a:cubicBezTo>
                <a:cubicBezTo>
                  <a:pt x="4531" y="3532"/>
                  <a:pt x="4563" y="3469"/>
                  <a:pt x="4594" y="3500"/>
                </a:cubicBezTo>
                <a:cubicBezTo>
                  <a:pt x="4594" y="3532"/>
                  <a:pt x="4625" y="3532"/>
                  <a:pt x="4625" y="3563"/>
                </a:cubicBezTo>
                <a:cubicBezTo>
                  <a:pt x="4594" y="3532"/>
                  <a:pt x="4594" y="3563"/>
                  <a:pt x="4594" y="3563"/>
                </a:cubicBezTo>
                <a:cubicBezTo>
                  <a:pt x="4563" y="3594"/>
                  <a:pt x="4563" y="3594"/>
                  <a:pt x="4563" y="3594"/>
                </a:cubicBezTo>
                <a:cubicBezTo>
                  <a:pt x="4594" y="3594"/>
                  <a:pt x="4594" y="3594"/>
                  <a:pt x="4594" y="3625"/>
                </a:cubicBezTo>
                <a:cubicBezTo>
                  <a:pt x="4688" y="3625"/>
                  <a:pt x="4750" y="3657"/>
                  <a:pt x="4844" y="3688"/>
                </a:cubicBezTo>
                <a:cubicBezTo>
                  <a:pt x="4844" y="3688"/>
                  <a:pt x="4906" y="3719"/>
                  <a:pt x="4906" y="3657"/>
                </a:cubicBezTo>
                <a:cubicBezTo>
                  <a:pt x="4844" y="3500"/>
                  <a:pt x="4969" y="3594"/>
                  <a:pt x="4969" y="3594"/>
                </a:cubicBezTo>
                <a:cubicBezTo>
                  <a:pt x="5063" y="3719"/>
                  <a:pt x="5219" y="3688"/>
                  <a:pt x="5344" y="3688"/>
                </a:cubicBezTo>
                <a:cubicBezTo>
                  <a:pt x="5344" y="3750"/>
                  <a:pt x="5469" y="3719"/>
                  <a:pt x="5438" y="3813"/>
                </a:cubicBezTo>
                <a:cubicBezTo>
                  <a:pt x="5344" y="3813"/>
                  <a:pt x="5219" y="3750"/>
                  <a:pt x="5063" y="3782"/>
                </a:cubicBezTo>
                <a:cubicBezTo>
                  <a:pt x="5156" y="3813"/>
                  <a:pt x="5219" y="3844"/>
                  <a:pt x="5281" y="3875"/>
                </a:cubicBezTo>
                <a:cubicBezTo>
                  <a:pt x="5625" y="3938"/>
                  <a:pt x="5656" y="3969"/>
                  <a:pt x="5813" y="4094"/>
                </a:cubicBezTo>
                <a:cubicBezTo>
                  <a:pt x="5844" y="4157"/>
                  <a:pt x="5938" y="4188"/>
                  <a:pt x="6000" y="4125"/>
                </a:cubicBezTo>
                <a:cubicBezTo>
                  <a:pt x="6063" y="4063"/>
                  <a:pt x="5938" y="4094"/>
                  <a:pt x="5938" y="4032"/>
                </a:cubicBezTo>
                <a:cubicBezTo>
                  <a:pt x="5906" y="3938"/>
                  <a:pt x="5906" y="3844"/>
                  <a:pt x="5969" y="3750"/>
                </a:cubicBezTo>
                <a:cubicBezTo>
                  <a:pt x="6000" y="3719"/>
                  <a:pt x="5969" y="3688"/>
                  <a:pt x="5938" y="3657"/>
                </a:cubicBezTo>
                <a:cubicBezTo>
                  <a:pt x="5781" y="3500"/>
                  <a:pt x="5625" y="3500"/>
                  <a:pt x="5438" y="3563"/>
                </a:cubicBezTo>
                <a:cubicBezTo>
                  <a:pt x="5406" y="3500"/>
                  <a:pt x="5469" y="3469"/>
                  <a:pt x="5469" y="3469"/>
                </a:cubicBezTo>
                <a:cubicBezTo>
                  <a:pt x="5063" y="3344"/>
                  <a:pt x="4688" y="3282"/>
                  <a:pt x="4344" y="3157"/>
                </a:cubicBezTo>
                <a:cubicBezTo>
                  <a:pt x="4250" y="3125"/>
                  <a:pt x="4219" y="3188"/>
                  <a:pt x="4156" y="3188"/>
                </a:cubicBezTo>
                <a:cubicBezTo>
                  <a:pt x="4156" y="3157"/>
                  <a:pt x="4188" y="3094"/>
                  <a:pt x="4094" y="3094"/>
                </a:cubicBezTo>
                <a:cubicBezTo>
                  <a:pt x="4031" y="3094"/>
                  <a:pt x="3969" y="3094"/>
                  <a:pt x="3875" y="3094"/>
                </a:cubicBezTo>
                <a:cubicBezTo>
                  <a:pt x="3969" y="3219"/>
                  <a:pt x="4063" y="3157"/>
                  <a:pt x="4156" y="3188"/>
                </a:cubicBezTo>
                <a:cubicBezTo>
                  <a:pt x="4156" y="3250"/>
                  <a:pt x="4219" y="3250"/>
                  <a:pt x="4250" y="3250"/>
                </a:cubicBezTo>
                <a:lnTo>
                  <a:pt x="4250" y="3250"/>
                </a:lnTo>
                <a:cubicBezTo>
                  <a:pt x="4375" y="3250"/>
                  <a:pt x="4500" y="3282"/>
                  <a:pt x="4594" y="3375"/>
                </a:cubicBezTo>
                <a:cubicBezTo>
                  <a:pt x="4625" y="3407"/>
                  <a:pt x="4688" y="3375"/>
                  <a:pt x="4688" y="3375"/>
                </a:cubicBezTo>
                <a:cubicBezTo>
                  <a:pt x="4813" y="3438"/>
                  <a:pt x="4938" y="3407"/>
                  <a:pt x="5031" y="3500"/>
                </a:cubicBezTo>
                <a:cubicBezTo>
                  <a:pt x="5094" y="3532"/>
                  <a:pt x="5188" y="3532"/>
                  <a:pt x="5281" y="3532"/>
                </a:cubicBezTo>
                <a:cubicBezTo>
                  <a:pt x="5281" y="3625"/>
                  <a:pt x="5219" y="3594"/>
                  <a:pt x="5156" y="3594"/>
                </a:cubicBezTo>
                <a:cubicBezTo>
                  <a:pt x="5094" y="3625"/>
                  <a:pt x="5031" y="3594"/>
                  <a:pt x="5031" y="3532"/>
                </a:cubicBezTo>
                <a:cubicBezTo>
                  <a:pt x="4719" y="3500"/>
                  <a:pt x="4438" y="3407"/>
                  <a:pt x="4156" y="3313"/>
                </a:cubicBezTo>
                <a:cubicBezTo>
                  <a:pt x="4219" y="3375"/>
                  <a:pt x="4250" y="3438"/>
                  <a:pt x="4344" y="3438"/>
                </a:cubicBezTo>
                <a:cubicBezTo>
                  <a:pt x="4406" y="3438"/>
                  <a:pt x="4469" y="3469"/>
                  <a:pt x="4500" y="3532"/>
                </a:cubicBezTo>
                <a:cubicBezTo>
                  <a:pt x="4469" y="3532"/>
                  <a:pt x="4469" y="3532"/>
                  <a:pt x="4469" y="3563"/>
                </a:cubicBezTo>
                <a:close/>
                <a:moveTo>
                  <a:pt x="21063" y="5407"/>
                </a:moveTo>
                <a:cubicBezTo>
                  <a:pt x="21063" y="5375"/>
                  <a:pt x="21000" y="5375"/>
                  <a:pt x="21000" y="5375"/>
                </a:cubicBezTo>
                <a:cubicBezTo>
                  <a:pt x="20969" y="5438"/>
                  <a:pt x="21000" y="5469"/>
                  <a:pt x="21000" y="5532"/>
                </a:cubicBezTo>
                <a:cubicBezTo>
                  <a:pt x="21094" y="5532"/>
                  <a:pt x="21063" y="5469"/>
                  <a:pt x="21063" y="5407"/>
                </a:cubicBezTo>
                <a:close/>
                <a:moveTo>
                  <a:pt x="5219" y="2157"/>
                </a:moveTo>
                <a:cubicBezTo>
                  <a:pt x="5156" y="2063"/>
                  <a:pt x="5156" y="2063"/>
                  <a:pt x="5031" y="2094"/>
                </a:cubicBezTo>
                <a:cubicBezTo>
                  <a:pt x="5094" y="2125"/>
                  <a:pt x="5156" y="2188"/>
                  <a:pt x="5219" y="2157"/>
                </a:cubicBezTo>
                <a:close/>
                <a:moveTo>
                  <a:pt x="5938" y="9969"/>
                </a:moveTo>
                <a:cubicBezTo>
                  <a:pt x="5875" y="9969"/>
                  <a:pt x="5813" y="10000"/>
                  <a:pt x="5781" y="10063"/>
                </a:cubicBezTo>
                <a:cubicBezTo>
                  <a:pt x="5938" y="10063"/>
                  <a:pt x="5938" y="10063"/>
                  <a:pt x="5938" y="10032"/>
                </a:cubicBezTo>
                <a:cubicBezTo>
                  <a:pt x="5969" y="10000"/>
                  <a:pt x="5969" y="10000"/>
                  <a:pt x="5938" y="9969"/>
                </a:cubicBezTo>
                <a:close/>
                <a:moveTo>
                  <a:pt x="8250" y="4094"/>
                </a:moveTo>
                <a:cubicBezTo>
                  <a:pt x="8281" y="4125"/>
                  <a:pt x="8313" y="4125"/>
                  <a:pt x="8313" y="4032"/>
                </a:cubicBezTo>
                <a:cubicBezTo>
                  <a:pt x="8313" y="4000"/>
                  <a:pt x="8250" y="4032"/>
                  <a:pt x="8219" y="4000"/>
                </a:cubicBezTo>
                <a:cubicBezTo>
                  <a:pt x="8188" y="4000"/>
                  <a:pt x="8156" y="4000"/>
                  <a:pt x="8156" y="4032"/>
                </a:cubicBezTo>
                <a:cubicBezTo>
                  <a:pt x="8156" y="4094"/>
                  <a:pt x="8219" y="4094"/>
                  <a:pt x="8250" y="4094"/>
                </a:cubicBezTo>
                <a:close/>
                <a:moveTo>
                  <a:pt x="8406" y="5750"/>
                </a:moveTo>
                <a:cubicBezTo>
                  <a:pt x="8406" y="5750"/>
                  <a:pt x="8406" y="5813"/>
                  <a:pt x="8406" y="5813"/>
                </a:cubicBezTo>
                <a:cubicBezTo>
                  <a:pt x="8469" y="5813"/>
                  <a:pt x="8531" y="5907"/>
                  <a:pt x="8594" y="5813"/>
                </a:cubicBezTo>
                <a:cubicBezTo>
                  <a:pt x="8531" y="5782"/>
                  <a:pt x="8500" y="5782"/>
                  <a:pt x="8469" y="5750"/>
                </a:cubicBezTo>
                <a:cubicBezTo>
                  <a:pt x="8438" y="5750"/>
                  <a:pt x="8406" y="5719"/>
                  <a:pt x="8406" y="5750"/>
                </a:cubicBezTo>
                <a:close/>
                <a:moveTo>
                  <a:pt x="13719" y="4375"/>
                </a:moveTo>
                <a:cubicBezTo>
                  <a:pt x="13688" y="4407"/>
                  <a:pt x="13656" y="4344"/>
                  <a:pt x="13625" y="4407"/>
                </a:cubicBezTo>
                <a:cubicBezTo>
                  <a:pt x="13656" y="4438"/>
                  <a:pt x="13719" y="4500"/>
                  <a:pt x="13750" y="4532"/>
                </a:cubicBezTo>
                <a:cubicBezTo>
                  <a:pt x="13813" y="4469"/>
                  <a:pt x="13719" y="4438"/>
                  <a:pt x="13719" y="4375"/>
                </a:cubicBezTo>
                <a:cubicBezTo>
                  <a:pt x="13750" y="4313"/>
                  <a:pt x="13750" y="4250"/>
                  <a:pt x="13844" y="4313"/>
                </a:cubicBezTo>
                <a:cubicBezTo>
                  <a:pt x="13906" y="4375"/>
                  <a:pt x="13938" y="4407"/>
                  <a:pt x="13969" y="4500"/>
                </a:cubicBezTo>
                <a:lnTo>
                  <a:pt x="13969" y="4500"/>
                </a:lnTo>
                <a:cubicBezTo>
                  <a:pt x="13844" y="4500"/>
                  <a:pt x="13844" y="4344"/>
                  <a:pt x="13719" y="4375"/>
                </a:cubicBezTo>
                <a:close/>
                <a:moveTo>
                  <a:pt x="14781" y="3938"/>
                </a:moveTo>
                <a:cubicBezTo>
                  <a:pt x="14844" y="3938"/>
                  <a:pt x="14844" y="3907"/>
                  <a:pt x="14844" y="3875"/>
                </a:cubicBezTo>
                <a:cubicBezTo>
                  <a:pt x="14844" y="3844"/>
                  <a:pt x="14813" y="3813"/>
                  <a:pt x="14781" y="3844"/>
                </a:cubicBezTo>
                <a:cubicBezTo>
                  <a:pt x="14781" y="3875"/>
                  <a:pt x="14719" y="3844"/>
                  <a:pt x="14719" y="3875"/>
                </a:cubicBezTo>
                <a:cubicBezTo>
                  <a:pt x="14719" y="3907"/>
                  <a:pt x="14750" y="3938"/>
                  <a:pt x="14781" y="3938"/>
                </a:cubicBezTo>
                <a:close/>
                <a:moveTo>
                  <a:pt x="9656" y="11063"/>
                </a:moveTo>
                <a:cubicBezTo>
                  <a:pt x="9594" y="11000"/>
                  <a:pt x="9500" y="11000"/>
                  <a:pt x="9438" y="11000"/>
                </a:cubicBezTo>
                <a:cubicBezTo>
                  <a:pt x="9438" y="11000"/>
                  <a:pt x="9438" y="11000"/>
                  <a:pt x="9406" y="11000"/>
                </a:cubicBezTo>
                <a:cubicBezTo>
                  <a:pt x="9375" y="11000"/>
                  <a:pt x="9344" y="11000"/>
                  <a:pt x="9313" y="11000"/>
                </a:cubicBezTo>
                <a:cubicBezTo>
                  <a:pt x="9438" y="11157"/>
                  <a:pt x="9688" y="11157"/>
                  <a:pt x="9813" y="11282"/>
                </a:cubicBezTo>
                <a:cubicBezTo>
                  <a:pt x="9781" y="11282"/>
                  <a:pt x="9781" y="11313"/>
                  <a:pt x="9750" y="11313"/>
                </a:cubicBezTo>
                <a:cubicBezTo>
                  <a:pt x="9656" y="11282"/>
                  <a:pt x="9563" y="11250"/>
                  <a:pt x="9469" y="11250"/>
                </a:cubicBezTo>
                <a:cubicBezTo>
                  <a:pt x="9469" y="11250"/>
                  <a:pt x="9438" y="11250"/>
                  <a:pt x="9438" y="11219"/>
                </a:cubicBezTo>
                <a:cubicBezTo>
                  <a:pt x="9438" y="11094"/>
                  <a:pt x="9344" y="11094"/>
                  <a:pt x="9250" y="11094"/>
                </a:cubicBezTo>
                <a:cubicBezTo>
                  <a:pt x="9156" y="11063"/>
                  <a:pt x="9063" y="11032"/>
                  <a:pt x="9000" y="10938"/>
                </a:cubicBezTo>
                <a:cubicBezTo>
                  <a:pt x="9125" y="10969"/>
                  <a:pt x="9313" y="10844"/>
                  <a:pt x="9406" y="11000"/>
                </a:cubicBezTo>
                <a:cubicBezTo>
                  <a:pt x="9406" y="11000"/>
                  <a:pt x="9438" y="11000"/>
                  <a:pt x="9438" y="11000"/>
                </a:cubicBezTo>
                <a:cubicBezTo>
                  <a:pt x="9500" y="11063"/>
                  <a:pt x="9563" y="11094"/>
                  <a:pt x="9656" y="11063"/>
                </a:cubicBezTo>
                <a:close/>
                <a:moveTo>
                  <a:pt x="13750" y="3938"/>
                </a:moveTo>
                <a:cubicBezTo>
                  <a:pt x="13781" y="3938"/>
                  <a:pt x="13781" y="3907"/>
                  <a:pt x="13781" y="3875"/>
                </a:cubicBezTo>
                <a:cubicBezTo>
                  <a:pt x="13781" y="3844"/>
                  <a:pt x="13781" y="3813"/>
                  <a:pt x="13719" y="3813"/>
                </a:cubicBezTo>
                <a:cubicBezTo>
                  <a:pt x="13688" y="3782"/>
                  <a:pt x="13688" y="3813"/>
                  <a:pt x="13688" y="3844"/>
                </a:cubicBezTo>
                <a:cubicBezTo>
                  <a:pt x="13656" y="3875"/>
                  <a:pt x="13719" y="3907"/>
                  <a:pt x="13750" y="3938"/>
                </a:cubicBezTo>
                <a:close/>
                <a:moveTo>
                  <a:pt x="22438" y="14407"/>
                </a:moveTo>
                <a:cubicBezTo>
                  <a:pt x="22500" y="14344"/>
                  <a:pt x="22563" y="14438"/>
                  <a:pt x="22594" y="14375"/>
                </a:cubicBezTo>
                <a:cubicBezTo>
                  <a:pt x="22625" y="14313"/>
                  <a:pt x="22531" y="14313"/>
                  <a:pt x="22531" y="14313"/>
                </a:cubicBezTo>
                <a:cubicBezTo>
                  <a:pt x="22469" y="14313"/>
                  <a:pt x="22406" y="14313"/>
                  <a:pt x="22406" y="14375"/>
                </a:cubicBezTo>
                <a:cubicBezTo>
                  <a:pt x="22406" y="14407"/>
                  <a:pt x="22438" y="14407"/>
                  <a:pt x="22438" y="14407"/>
                </a:cubicBezTo>
                <a:close/>
                <a:moveTo>
                  <a:pt x="2094" y="5438"/>
                </a:moveTo>
                <a:cubicBezTo>
                  <a:pt x="2094" y="5469"/>
                  <a:pt x="2157" y="5438"/>
                  <a:pt x="2188" y="5469"/>
                </a:cubicBezTo>
                <a:cubicBezTo>
                  <a:pt x="2219" y="5438"/>
                  <a:pt x="2282" y="5469"/>
                  <a:pt x="2282" y="5407"/>
                </a:cubicBezTo>
                <a:cubicBezTo>
                  <a:pt x="2282" y="5375"/>
                  <a:pt x="2219" y="5375"/>
                  <a:pt x="2188" y="5375"/>
                </a:cubicBezTo>
                <a:cubicBezTo>
                  <a:pt x="2157" y="5375"/>
                  <a:pt x="2094" y="5344"/>
                  <a:pt x="2094" y="5438"/>
                </a:cubicBezTo>
                <a:close/>
                <a:moveTo>
                  <a:pt x="10844" y="3188"/>
                </a:moveTo>
                <a:cubicBezTo>
                  <a:pt x="10875" y="3188"/>
                  <a:pt x="10875" y="3157"/>
                  <a:pt x="10875" y="3125"/>
                </a:cubicBezTo>
                <a:cubicBezTo>
                  <a:pt x="10813" y="3063"/>
                  <a:pt x="10750" y="3094"/>
                  <a:pt x="10688" y="3094"/>
                </a:cubicBezTo>
                <a:cubicBezTo>
                  <a:pt x="10688" y="3094"/>
                  <a:pt x="10688" y="3094"/>
                  <a:pt x="10656" y="3094"/>
                </a:cubicBezTo>
                <a:cubicBezTo>
                  <a:pt x="10719" y="3157"/>
                  <a:pt x="10781" y="3188"/>
                  <a:pt x="10844" y="3188"/>
                </a:cubicBezTo>
                <a:close/>
                <a:moveTo>
                  <a:pt x="11531" y="12563"/>
                </a:moveTo>
                <a:cubicBezTo>
                  <a:pt x="11531" y="12657"/>
                  <a:pt x="11563" y="12719"/>
                  <a:pt x="11625" y="12750"/>
                </a:cubicBezTo>
                <a:cubicBezTo>
                  <a:pt x="11625" y="12750"/>
                  <a:pt x="11656" y="12719"/>
                  <a:pt x="11656" y="12719"/>
                </a:cubicBezTo>
                <a:cubicBezTo>
                  <a:pt x="11625" y="12657"/>
                  <a:pt x="11625" y="12594"/>
                  <a:pt x="11531" y="12563"/>
                </a:cubicBezTo>
                <a:close/>
                <a:moveTo>
                  <a:pt x="10250" y="2250"/>
                </a:moveTo>
                <a:cubicBezTo>
                  <a:pt x="10188" y="2282"/>
                  <a:pt x="10219" y="2157"/>
                  <a:pt x="10156" y="2188"/>
                </a:cubicBezTo>
                <a:cubicBezTo>
                  <a:pt x="10125" y="2188"/>
                  <a:pt x="10094" y="2219"/>
                  <a:pt x="10125" y="2250"/>
                </a:cubicBezTo>
                <a:cubicBezTo>
                  <a:pt x="10156" y="2282"/>
                  <a:pt x="10188" y="2282"/>
                  <a:pt x="10250" y="2250"/>
                </a:cubicBezTo>
                <a:close/>
                <a:moveTo>
                  <a:pt x="2938" y="5688"/>
                </a:moveTo>
                <a:cubicBezTo>
                  <a:pt x="2969" y="5657"/>
                  <a:pt x="2969" y="5594"/>
                  <a:pt x="2969" y="5594"/>
                </a:cubicBezTo>
                <a:cubicBezTo>
                  <a:pt x="2875" y="5500"/>
                  <a:pt x="2875" y="5625"/>
                  <a:pt x="2813" y="5625"/>
                </a:cubicBezTo>
                <a:cubicBezTo>
                  <a:pt x="2875" y="5625"/>
                  <a:pt x="2844" y="5750"/>
                  <a:pt x="2938" y="5688"/>
                </a:cubicBezTo>
                <a:close/>
                <a:moveTo>
                  <a:pt x="9625" y="4157"/>
                </a:moveTo>
                <a:cubicBezTo>
                  <a:pt x="9688" y="4219"/>
                  <a:pt x="9688" y="4313"/>
                  <a:pt x="9813" y="4282"/>
                </a:cubicBezTo>
                <a:cubicBezTo>
                  <a:pt x="9750" y="4219"/>
                  <a:pt x="9719" y="4188"/>
                  <a:pt x="9656" y="4125"/>
                </a:cubicBezTo>
                <a:cubicBezTo>
                  <a:pt x="9656" y="4125"/>
                  <a:pt x="9656" y="4157"/>
                  <a:pt x="9625" y="4157"/>
                </a:cubicBezTo>
                <a:close/>
                <a:moveTo>
                  <a:pt x="0" y="5500"/>
                </a:moveTo>
                <a:cubicBezTo>
                  <a:pt x="94" y="5594"/>
                  <a:pt x="157" y="5563"/>
                  <a:pt x="250" y="5563"/>
                </a:cubicBezTo>
                <a:cubicBezTo>
                  <a:pt x="157" y="5469"/>
                  <a:pt x="94" y="5469"/>
                  <a:pt x="0" y="5500"/>
                </a:cubicBezTo>
                <a:close/>
                <a:moveTo>
                  <a:pt x="12906" y="4688"/>
                </a:moveTo>
                <a:cubicBezTo>
                  <a:pt x="12906" y="4688"/>
                  <a:pt x="12906" y="4657"/>
                  <a:pt x="12906" y="4657"/>
                </a:cubicBezTo>
                <a:cubicBezTo>
                  <a:pt x="12906" y="4625"/>
                  <a:pt x="12938" y="4594"/>
                  <a:pt x="12938" y="4594"/>
                </a:cubicBezTo>
                <a:cubicBezTo>
                  <a:pt x="12938" y="4532"/>
                  <a:pt x="12875" y="4532"/>
                  <a:pt x="12844" y="4563"/>
                </a:cubicBezTo>
                <a:cubicBezTo>
                  <a:pt x="12781" y="4625"/>
                  <a:pt x="12875" y="4657"/>
                  <a:pt x="12906" y="4688"/>
                </a:cubicBezTo>
                <a:close/>
                <a:moveTo>
                  <a:pt x="13688" y="6907"/>
                </a:moveTo>
                <a:cubicBezTo>
                  <a:pt x="13688" y="6813"/>
                  <a:pt x="13594" y="6813"/>
                  <a:pt x="13563" y="6719"/>
                </a:cubicBezTo>
                <a:cubicBezTo>
                  <a:pt x="13531" y="6844"/>
                  <a:pt x="13594" y="6875"/>
                  <a:pt x="13656" y="6907"/>
                </a:cubicBezTo>
                <a:cubicBezTo>
                  <a:pt x="13656" y="6907"/>
                  <a:pt x="13688" y="6907"/>
                  <a:pt x="13688" y="6907"/>
                </a:cubicBezTo>
                <a:close/>
                <a:moveTo>
                  <a:pt x="6594" y="2938"/>
                </a:moveTo>
                <a:cubicBezTo>
                  <a:pt x="6594" y="3032"/>
                  <a:pt x="6656" y="3063"/>
                  <a:pt x="6750" y="3032"/>
                </a:cubicBezTo>
                <a:cubicBezTo>
                  <a:pt x="6719" y="2969"/>
                  <a:pt x="6656" y="2938"/>
                  <a:pt x="6594" y="2938"/>
                </a:cubicBezTo>
                <a:close/>
                <a:moveTo>
                  <a:pt x="11188" y="12500"/>
                </a:moveTo>
                <a:cubicBezTo>
                  <a:pt x="11250" y="12469"/>
                  <a:pt x="11313" y="12438"/>
                  <a:pt x="11375" y="12375"/>
                </a:cubicBezTo>
                <a:cubicBezTo>
                  <a:pt x="11250" y="12344"/>
                  <a:pt x="11219" y="12375"/>
                  <a:pt x="11188" y="12500"/>
                </a:cubicBezTo>
                <a:close/>
                <a:moveTo>
                  <a:pt x="15219" y="4532"/>
                </a:moveTo>
                <a:cubicBezTo>
                  <a:pt x="15250" y="4532"/>
                  <a:pt x="15281" y="4563"/>
                  <a:pt x="15281" y="4500"/>
                </a:cubicBezTo>
                <a:cubicBezTo>
                  <a:pt x="15250" y="4469"/>
                  <a:pt x="15250" y="4438"/>
                  <a:pt x="15219" y="4438"/>
                </a:cubicBezTo>
                <a:cubicBezTo>
                  <a:pt x="15188" y="4438"/>
                  <a:pt x="15156" y="4438"/>
                  <a:pt x="15156" y="4469"/>
                </a:cubicBezTo>
                <a:cubicBezTo>
                  <a:pt x="15156" y="4532"/>
                  <a:pt x="15188" y="4532"/>
                  <a:pt x="15219" y="4532"/>
                </a:cubicBezTo>
                <a:close/>
                <a:moveTo>
                  <a:pt x="23281" y="14750"/>
                </a:moveTo>
                <a:cubicBezTo>
                  <a:pt x="23281" y="14750"/>
                  <a:pt x="23281" y="14750"/>
                  <a:pt x="23281" y="14719"/>
                </a:cubicBezTo>
                <a:cubicBezTo>
                  <a:pt x="23250" y="14688"/>
                  <a:pt x="23344" y="14688"/>
                  <a:pt x="23344" y="14625"/>
                </a:cubicBezTo>
                <a:lnTo>
                  <a:pt x="23344" y="14625"/>
                </a:lnTo>
                <a:cubicBezTo>
                  <a:pt x="23281" y="14594"/>
                  <a:pt x="23250" y="14594"/>
                  <a:pt x="23219" y="14657"/>
                </a:cubicBezTo>
                <a:cubicBezTo>
                  <a:pt x="23156" y="14750"/>
                  <a:pt x="23250" y="14719"/>
                  <a:pt x="23281" y="14719"/>
                </a:cubicBezTo>
                <a:cubicBezTo>
                  <a:pt x="23281" y="14750"/>
                  <a:pt x="23281" y="14750"/>
                  <a:pt x="23281" y="14750"/>
                </a:cubicBezTo>
                <a:cubicBezTo>
                  <a:pt x="23250" y="14813"/>
                  <a:pt x="23156" y="14782"/>
                  <a:pt x="23125" y="14844"/>
                </a:cubicBezTo>
                <a:cubicBezTo>
                  <a:pt x="23406" y="14875"/>
                  <a:pt x="23563" y="14844"/>
                  <a:pt x="23625" y="14750"/>
                </a:cubicBezTo>
                <a:cubicBezTo>
                  <a:pt x="23500" y="14719"/>
                  <a:pt x="23375" y="14782"/>
                  <a:pt x="23281" y="14750"/>
                </a:cubicBezTo>
                <a:cubicBezTo>
                  <a:pt x="23281" y="14750"/>
                  <a:pt x="23281" y="14750"/>
                  <a:pt x="23281" y="14750"/>
                </a:cubicBezTo>
                <a:close/>
                <a:moveTo>
                  <a:pt x="12156" y="4813"/>
                </a:moveTo>
                <a:cubicBezTo>
                  <a:pt x="12313" y="4813"/>
                  <a:pt x="12313" y="4813"/>
                  <a:pt x="12313" y="4719"/>
                </a:cubicBezTo>
                <a:cubicBezTo>
                  <a:pt x="12313" y="4719"/>
                  <a:pt x="12313" y="4719"/>
                  <a:pt x="12313" y="4688"/>
                </a:cubicBezTo>
                <a:cubicBezTo>
                  <a:pt x="12375" y="4657"/>
                  <a:pt x="12469" y="4625"/>
                  <a:pt x="12531" y="4750"/>
                </a:cubicBezTo>
                <a:cubicBezTo>
                  <a:pt x="12531" y="4782"/>
                  <a:pt x="12563" y="4813"/>
                  <a:pt x="12594" y="4782"/>
                </a:cubicBezTo>
                <a:cubicBezTo>
                  <a:pt x="12625" y="4782"/>
                  <a:pt x="12625" y="4719"/>
                  <a:pt x="12656" y="4719"/>
                </a:cubicBezTo>
                <a:cubicBezTo>
                  <a:pt x="12656" y="4688"/>
                  <a:pt x="12656" y="4657"/>
                  <a:pt x="12625" y="4625"/>
                </a:cubicBezTo>
                <a:cubicBezTo>
                  <a:pt x="12563" y="4594"/>
                  <a:pt x="12531" y="4594"/>
                  <a:pt x="12469" y="4563"/>
                </a:cubicBezTo>
                <a:cubicBezTo>
                  <a:pt x="12438" y="4563"/>
                  <a:pt x="12406" y="4563"/>
                  <a:pt x="12375" y="4500"/>
                </a:cubicBezTo>
                <a:cubicBezTo>
                  <a:pt x="12375" y="4500"/>
                  <a:pt x="12406" y="4469"/>
                  <a:pt x="12406" y="4469"/>
                </a:cubicBezTo>
                <a:cubicBezTo>
                  <a:pt x="12469" y="4469"/>
                  <a:pt x="12500" y="4469"/>
                  <a:pt x="12500" y="4532"/>
                </a:cubicBezTo>
                <a:cubicBezTo>
                  <a:pt x="12531" y="4532"/>
                  <a:pt x="12563" y="4532"/>
                  <a:pt x="12563" y="4532"/>
                </a:cubicBezTo>
                <a:cubicBezTo>
                  <a:pt x="12563" y="4469"/>
                  <a:pt x="12500" y="4469"/>
                  <a:pt x="12469" y="4438"/>
                </a:cubicBezTo>
                <a:cubicBezTo>
                  <a:pt x="12469" y="4344"/>
                  <a:pt x="12406" y="4282"/>
                  <a:pt x="12313" y="4282"/>
                </a:cubicBezTo>
                <a:cubicBezTo>
                  <a:pt x="12250" y="4282"/>
                  <a:pt x="12156" y="4282"/>
                  <a:pt x="12094" y="4282"/>
                </a:cubicBezTo>
                <a:cubicBezTo>
                  <a:pt x="12063" y="4282"/>
                  <a:pt x="12063" y="4313"/>
                  <a:pt x="12063" y="4313"/>
                </a:cubicBezTo>
                <a:cubicBezTo>
                  <a:pt x="12125" y="4407"/>
                  <a:pt x="12031" y="4375"/>
                  <a:pt x="12031" y="4375"/>
                </a:cubicBezTo>
                <a:cubicBezTo>
                  <a:pt x="11969" y="4344"/>
                  <a:pt x="11906" y="4313"/>
                  <a:pt x="11844" y="4282"/>
                </a:cubicBezTo>
                <a:cubicBezTo>
                  <a:pt x="11813" y="4250"/>
                  <a:pt x="11813" y="4219"/>
                  <a:pt x="11813" y="4188"/>
                </a:cubicBezTo>
                <a:cubicBezTo>
                  <a:pt x="11875" y="4094"/>
                  <a:pt x="11906" y="4063"/>
                  <a:pt x="11969" y="4157"/>
                </a:cubicBezTo>
                <a:cubicBezTo>
                  <a:pt x="12031" y="4219"/>
                  <a:pt x="12094" y="4188"/>
                  <a:pt x="12125" y="4219"/>
                </a:cubicBezTo>
                <a:cubicBezTo>
                  <a:pt x="12125" y="4219"/>
                  <a:pt x="12156" y="4188"/>
                  <a:pt x="12156" y="4157"/>
                </a:cubicBezTo>
                <a:cubicBezTo>
                  <a:pt x="12125" y="4094"/>
                  <a:pt x="12063" y="4125"/>
                  <a:pt x="12031" y="4125"/>
                </a:cubicBezTo>
                <a:cubicBezTo>
                  <a:pt x="12031" y="4094"/>
                  <a:pt x="12000" y="4094"/>
                  <a:pt x="12000" y="4094"/>
                </a:cubicBezTo>
                <a:cubicBezTo>
                  <a:pt x="11813" y="3844"/>
                  <a:pt x="11531" y="3844"/>
                  <a:pt x="11313" y="3688"/>
                </a:cubicBezTo>
                <a:cubicBezTo>
                  <a:pt x="11281" y="3688"/>
                  <a:pt x="11250" y="3657"/>
                  <a:pt x="11188" y="3719"/>
                </a:cubicBezTo>
                <a:lnTo>
                  <a:pt x="11188" y="3719"/>
                </a:lnTo>
                <a:cubicBezTo>
                  <a:pt x="11250" y="3719"/>
                  <a:pt x="11344" y="3750"/>
                  <a:pt x="11250" y="3813"/>
                </a:cubicBezTo>
                <a:cubicBezTo>
                  <a:pt x="11219" y="3875"/>
                  <a:pt x="11281" y="3875"/>
                  <a:pt x="11281" y="3907"/>
                </a:cubicBezTo>
                <a:cubicBezTo>
                  <a:pt x="11313" y="3938"/>
                  <a:pt x="11344" y="3969"/>
                  <a:pt x="11375" y="3938"/>
                </a:cubicBezTo>
                <a:cubicBezTo>
                  <a:pt x="11406" y="3875"/>
                  <a:pt x="11469" y="3907"/>
                  <a:pt x="11500" y="3907"/>
                </a:cubicBezTo>
                <a:cubicBezTo>
                  <a:pt x="11625" y="3969"/>
                  <a:pt x="11625" y="4125"/>
                  <a:pt x="11781" y="4188"/>
                </a:cubicBezTo>
                <a:cubicBezTo>
                  <a:pt x="11688" y="4219"/>
                  <a:pt x="11656" y="4188"/>
                  <a:pt x="11594" y="4157"/>
                </a:cubicBezTo>
                <a:cubicBezTo>
                  <a:pt x="11531" y="4125"/>
                  <a:pt x="11469" y="4094"/>
                  <a:pt x="11406" y="4063"/>
                </a:cubicBezTo>
                <a:cubicBezTo>
                  <a:pt x="11344" y="4063"/>
                  <a:pt x="11313" y="4063"/>
                  <a:pt x="11281" y="4125"/>
                </a:cubicBezTo>
                <a:cubicBezTo>
                  <a:pt x="11250" y="4188"/>
                  <a:pt x="11313" y="4250"/>
                  <a:pt x="11344" y="4282"/>
                </a:cubicBezTo>
                <a:cubicBezTo>
                  <a:pt x="11375" y="4313"/>
                  <a:pt x="11406" y="4375"/>
                  <a:pt x="11438" y="4344"/>
                </a:cubicBezTo>
                <a:cubicBezTo>
                  <a:pt x="11531" y="4250"/>
                  <a:pt x="11531" y="4282"/>
                  <a:pt x="11563" y="4375"/>
                </a:cubicBezTo>
                <a:cubicBezTo>
                  <a:pt x="11563" y="4407"/>
                  <a:pt x="11594" y="4469"/>
                  <a:pt x="11656" y="4407"/>
                </a:cubicBezTo>
                <a:cubicBezTo>
                  <a:pt x="11719" y="4375"/>
                  <a:pt x="11750" y="4407"/>
                  <a:pt x="11750" y="4469"/>
                </a:cubicBezTo>
                <a:cubicBezTo>
                  <a:pt x="11781" y="4500"/>
                  <a:pt x="11781" y="4532"/>
                  <a:pt x="11844" y="4532"/>
                </a:cubicBezTo>
                <a:cubicBezTo>
                  <a:pt x="11938" y="4594"/>
                  <a:pt x="12031" y="4657"/>
                  <a:pt x="12094" y="4750"/>
                </a:cubicBezTo>
                <a:cubicBezTo>
                  <a:pt x="12125" y="4719"/>
                  <a:pt x="12094" y="4594"/>
                  <a:pt x="12188" y="4625"/>
                </a:cubicBezTo>
                <a:cubicBezTo>
                  <a:pt x="12219" y="4657"/>
                  <a:pt x="12313" y="4594"/>
                  <a:pt x="12313" y="4688"/>
                </a:cubicBezTo>
                <a:cubicBezTo>
                  <a:pt x="12313" y="4688"/>
                  <a:pt x="12313" y="4719"/>
                  <a:pt x="12313" y="4719"/>
                </a:cubicBezTo>
                <a:cubicBezTo>
                  <a:pt x="12250" y="4750"/>
                  <a:pt x="12156" y="4750"/>
                  <a:pt x="12156" y="4813"/>
                </a:cubicBezTo>
                <a:close/>
                <a:moveTo>
                  <a:pt x="7594" y="10625"/>
                </a:moveTo>
                <a:cubicBezTo>
                  <a:pt x="7563" y="10625"/>
                  <a:pt x="7500" y="10625"/>
                  <a:pt x="7531" y="10688"/>
                </a:cubicBezTo>
                <a:cubicBezTo>
                  <a:pt x="7531" y="10719"/>
                  <a:pt x="7531" y="10750"/>
                  <a:pt x="7563" y="10719"/>
                </a:cubicBezTo>
                <a:cubicBezTo>
                  <a:pt x="7594" y="10719"/>
                  <a:pt x="7656" y="10719"/>
                  <a:pt x="7656" y="10657"/>
                </a:cubicBezTo>
                <a:cubicBezTo>
                  <a:pt x="7656" y="10625"/>
                  <a:pt x="7625" y="10625"/>
                  <a:pt x="7594" y="10625"/>
                </a:cubicBezTo>
                <a:close/>
                <a:moveTo>
                  <a:pt x="13000" y="4125"/>
                </a:moveTo>
                <a:cubicBezTo>
                  <a:pt x="13063" y="4125"/>
                  <a:pt x="13063" y="4094"/>
                  <a:pt x="13094" y="4063"/>
                </a:cubicBezTo>
                <a:cubicBezTo>
                  <a:pt x="13094" y="4032"/>
                  <a:pt x="13094" y="4000"/>
                  <a:pt x="13031" y="4000"/>
                </a:cubicBezTo>
                <a:cubicBezTo>
                  <a:pt x="13000" y="4000"/>
                  <a:pt x="12969" y="4032"/>
                  <a:pt x="12938" y="4094"/>
                </a:cubicBezTo>
                <a:cubicBezTo>
                  <a:pt x="12938" y="4125"/>
                  <a:pt x="13000" y="4125"/>
                  <a:pt x="13000" y="4125"/>
                </a:cubicBezTo>
                <a:close/>
                <a:moveTo>
                  <a:pt x="4031" y="9157"/>
                </a:moveTo>
                <a:cubicBezTo>
                  <a:pt x="4094" y="9219"/>
                  <a:pt x="4156" y="9250"/>
                  <a:pt x="4219" y="9125"/>
                </a:cubicBezTo>
                <a:cubicBezTo>
                  <a:pt x="4156" y="9125"/>
                  <a:pt x="4094" y="9094"/>
                  <a:pt x="4031" y="9157"/>
                </a:cubicBezTo>
                <a:close/>
                <a:moveTo>
                  <a:pt x="2219" y="4157"/>
                </a:moveTo>
                <a:cubicBezTo>
                  <a:pt x="2157" y="4094"/>
                  <a:pt x="2063" y="4094"/>
                  <a:pt x="1969" y="4125"/>
                </a:cubicBezTo>
                <a:cubicBezTo>
                  <a:pt x="2032" y="4157"/>
                  <a:pt x="2125" y="4157"/>
                  <a:pt x="2219" y="4188"/>
                </a:cubicBezTo>
                <a:cubicBezTo>
                  <a:pt x="2219" y="4188"/>
                  <a:pt x="2219" y="4157"/>
                  <a:pt x="2219" y="4157"/>
                </a:cubicBezTo>
                <a:close/>
                <a:moveTo>
                  <a:pt x="5531" y="2219"/>
                </a:moveTo>
                <a:cubicBezTo>
                  <a:pt x="5469" y="2125"/>
                  <a:pt x="5375" y="2157"/>
                  <a:pt x="5281" y="2157"/>
                </a:cubicBezTo>
                <a:cubicBezTo>
                  <a:pt x="5375" y="2219"/>
                  <a:pt x="5438" y="2250"/>
                  <a:pt x="5531" y="2219"/>
                </a:cubicBezTo>
                <a:close/>
                <a:moveTo>
                  <a:pt x="9594" y="6657"/>
                </a:moveTo>
                <a:cubicBezTo>
                  <a:pt x="9531" y="6594"/>
                  <a:pt x="9469" y="6563"/>
                  <a:pt x="9375" y="6594"/>
                </a:cubicBezTo>
                <a:cubicBezTo>
                  <a:pt x="9438" y="6688"/>
                  <a:pt x="9531" y="6657"/>
                  <a:pt x="9594" y="6657"/>
                </a:cubicBezTo>
                <a:close/>
                <a:moveTo>
                  <a:pt x="19469" y="14782"/>
                </a:moveTo>
                <a:cubicBezTo>
                  <a:pt x="19563" y="14719"/>
                  <a:pt x="19656" y="14875"/>
                  <a:pt x="19719" y="14750"/>
                </a:cubicBezTo>
                <a:cubicBezTo>
                  <a:pt x="19656" y="14719"/>
                  <a:pt x="19594" y="14719"/>
                  <a:pt x="19500" y="14719"/>
                </a:cubicBezTo>
                <a:cubicBezTo>
                  <a:pt x="19438" y="14719"/>
                  <a:pt x="19438" y="14750"/>
                  <a:pt x="19469" y="14782"/>
                </a:cubicBezTo>
                <a:close/>
                <a:moveTo>
                  <a:pt x="14500" y="4782"/>
                </a:moveTo>
                <a:cubicBezTo>
                  <a:pt x="14531" y="4782"/>
                  <a:pt x="14594" y="4813"/>
                  <a:pt x="14594" y="4750"/>
                </a:cubicBezTo>
                <a:cubicBezTo>
                  <a:pt x="14594" y="4688"/>
                  <a:pt x="14531" y="4719"/>
                  <a:pt x="14500" y="4688"/>
                </a:cubicBezTo>
                <a:cubicBezTo>
                  <a:pt x="14469" y="4719"/>
                  <a:pt x="14406" y="4688"/>
                  <a:pt x="14406" y="4750"/>
                </a:cubicBezTo>
                <a:cubicBezTo>
                  <a:pt x="14406" y="4813"/>
                  <a:pt x="14469" y="4782"/>
                  <a:pt x="14500" y="4782"/>
                </a:cubicBezTo>
                <a:close/>
                <a:moveTo>
                  <a:pt x="15938" y="14532"/>
                </a:moveTo>
                <a:cubicBezTo>
                  <a:pt x="16000" y="14625"/>
                  <a:pt x="16094" y="14657"/>
                  <a:pt x="16156" y="14594"/>
                </a:cubicBezTo>
                <a:cubicBezTo>
                  <a:pt x="16094" y="14594"/>
                  <a:pt x="16031" y="14532"/>
                  <a:pt x="15938" y="14532"/>
                </a:cubicBezTo>
                <a:close/>
                <a:moveTo>
                  <a:pt x="25906" y="14157"/>
                </a:moveTo>
                <a:cubicBezTo>
                  <a:pt x="25875" y="14157"/>
                  <a:pt x="25844" y="14157"/>
                  <a:pt x="25844" y="14188"/>
                </a:cubicBezTo>
                <a:cubicBezTo>
                  <a:pt x="25813" y="14250"/>
                  <a:pt x="25906" y="14219"/>
                  <a:pt x="25938" y="14250"/>
                </a:cubicBezTo>
                <a:cubicBezTo>
                  <a:pt x="25938" y="14282"/>
                  <a:pt x="26000" y="14250"/>
                  <a:pt x="26000" y="14219"/>
                </a:cubicBezTo>
                <a:cubicBezTo>
                  <a:pt x="26000" y="14157"/>
                  <a:pt x="25938" y="14188"/>
                  <a:pt x="25906" y="14157"/>
                </a:cubicBezTo>
                <a:close/>
                <a:moveTo>
                  <a:pt x="6875" y="3125"/>
                </a:moveTo>
                <a:cubicBezTo>
                  <a:pt x="6875" y="3125"/>
                  <a:pt x="6906" y="3094"/>
                  <a:pt x="6875" y="3063"/>
                </a:cubicBezTo>
                <a:cubicBezTo>
                  <a:pt x="6750" y="3000"/>
                  <a:pt x="6813" y="3188"/>
                  <a:pt x="6719" y="3157"/>
                </a:cubicBezTo>
                <a:cubicBezTo>
                  <a:pt x="6781" y="3188"/>
                  <a:pt x="6844" y="3219"/>
                  <a:pt x="6875" y="3125"/>
                </a:cubicBezTo>
                <a:close/>
                <a:moveTo>
                  <a:pt x="15281" y="13969"/>
                </a:moveTo>
                <a:cubicBezTo>
                  <a:pt x="15250" y="13969"/>
                  <a:pt x="15219" y="13938"/>
                  <a:pt x="15188" y="13969"/>
                </a:cubicBezTo>
                <a:cubicBezTo>
                  <a:pt x="15188" y="14000"/>
                  <a:pt x="15219" y="14032"/>
                  <a:pt x="15250" y="14032"/>
                </a:cubicBezTo>
                <a:cubicBezTo>
                  <a:pt x="15281" y="14032"/>
                  <a:pt x="15313" y="14063"/>
                  <a:pt x="15344" y="14032"/>
                </a:cubicBezTo>
                <a:cubicBezTo>
                  <a:pt x="15375" y="14032"/>
                  <a:pt x="15375" y="14000"/>
                  <a:pt x="15375" y="14000"/>
                </a:cubicBezTo>
                <a:cubicBezTo>
                  <a:pt x="15344" y="13938"/>
                  <a:pt x="15313" y="13969"/>
                  <a:pt x="15281" y="13969"/>
                </a:cubicBezTo>
                <a:close/>
                <a:moveTo>
                  <a:pt x="17219" y="13938"/>
                </a:moveTo>
                <a:cubicBezTo>
                  <a:pt x="17125" y="13907"/>
                  <a:pt x="17063" y="13907"/>
                  <a:pt x="17000" y="13969"/>
                </a:cubicBezTo>
                <a:cubicBezTo>
                  <a:pt x="17063" y="14000"/>
                  <a:pt x="17156" y="14032"/>
                  <a:pt x="17219" y="13938"/>
                </a:cubicBezTo>
                <a:close/>
                <a:moveTo>
                  <a:pt x="14469" y="13719"/>
                </a:moveTo>
                <a:cubicBezTo>
                  <a:pt x="14500" y="13719"/>
                  <a:pt x="14563" y="13750"/>
                  <a:pt x="14563" y="13688"/>
                </a:cubicBezTo>
                <a:cubicBezTo>
                  <a:pt x="14531" y="13625"/>
                  <a:pt x="14500" y="13625"/>
                  <a:pt x="14469" y="13625"/>
                </a:cubicBezTo>
                <a:cubicBezTo>
                  <a:pt x="14438" y="13625"/>
                  <a:pt x="14375" y="13625"/>
                  <a:pt x="14375" y="13657"/>
                </a:cubicBezTo>
                <a:cubicBezTo>
                  <a:pt x="14375" y="13719"/>
                  <a:pt x="14438" y="13719"/>
                  <a:pt x="14469" y="13719"/>
                </a:cubicBezTo>
                <a:close/>
                <a:moveTo>
                  <a:pt x="13125" y="13469"/>
                </a:moveTo>
                <a:cubicBezTo>
                  <a:pt x="13094" y="13438"/>
                  <a:pt x="13063" y="13469"/>
                  <a:pt x="13031" y="13407"/>
                </a:cubicBezTo>
                <a:cubicBezTo>
                  <a:pt x="13063" y="13469"/>
                  <a:pt x="13063" y="13500"/>
                  <a:pt x="13063" y="13500"/>
                </a:cubicBezTo>
                <a:cubicBezTo>
                  <a:pt x="13094" y="13563"/>
                  <a:pt x="13156" y="13532"/>
                  <a:pt x="13188" y="13532"/>
                </a:cubicBezTo>
                <a:cubicBezTo>
                  <a:pt x="13219" y="13532"/>
                  <a:pt x="13219" y="13532"/>
                  <a:pt x="13219" y="13500"/>
                </a:cubicBezTo>
                <a:cubicBezTo>
                  <a:pt x="13188" y="13469"/>
                  <a:pt x="13156" y="13469"/>
                  <a:pt x="13125" y="13469"/>
                </a:cubicBezTo>
                <a:close/>
                <a:moveTo>
                  <a:pt x="4906" y="9844"/>
                </a:moveTo>
                <a:cubicBezTo>
                  <a:pt x="4969" y="9844"/>
                  <a:pt x="5031" y="9907"/>
                  <a:pt x="5094" y="9813"/>
                </a:cubicBezTo>
                <a:cubicBezTo>
                  <a:pt x="5094" y="9813"/>
                  <a:pt x="5094" y="9782"/>
                  <a:pt x="5094" y="9782"/>
                </a:cubicBezTo>
                <a:cubicBezTo>
                  <a:pt x="5031" y="9750"/>
                  <a:pt x="4969" y="9782"/>
                  <a:pt x="4906" y="9844"/>
                </a:cubicBezTo>
                <a:close/>
                <a:moveTo>
                  <a:pt x="15031" y="4313"/>
                </a:moveTo>
                <a:cubicBezTo>
                  <a:pt x="15000" y="4250"/>
                  <a:pt x="15000" y="4157"/>
                  <a:pt x="14938" y="4125"/>
                </a:cubicBezTo>
                <a:cubicBezTo>
                  <a:pt x="14938" y="4094"/>
                  <a:pt x="14906" y="4125"/>
                  <a:pt x="14906" y="4157"/>
                </a:cubicBezTo>
                <a:cubicBezTo>
                  <a:pt x="14906" y="4219"/>
                  <a:pt x="14938" y="4282"/>
                  <a:pt x="15031" y="4313"/>
                </a:cubicBezTo>
                <a:close/>
                <a:moveTo>
                  <a:pt x="23750" y="14594"/>
                </a:moveTo>
                <a:cubicBezTo>
                  <a:pt x="23906" y="14594"/>
                  <a:pt x="23906" y="14594"/>
                  <a:pt x="23938" y="14532"/>
                </a:cubicBezTo>
                <a:cubicBezTo>
                  <a:pt x="23875" y="14532"/>
                  <a:pt x="23813" y="14532"/>
                  <a:pt x="23750" y="14594"/>
                </a:cubicBezTo>
                <a:close/>
                <a:moveTo>
                  <a:pt x="17594" y="14719"/>
                </a:moveTo>
                <a:cubicBezTo>
                  <a:pt x="17594" y="14719"/>
                  <a:pt x="17625" y="14782"/>
                  <a:pt x="17656" y="14782"/>
                </a:cubicBezTo>
                <a:cubicBezTo>
                  <a:pt x="17719" y="14782"/>
                  <a:pt x="17719" y="14719"/>
                  <a:pt x="17750" y="14657"/>
                </a:cubicBezTo>
                <a:cubicBezTo>
                  <a:pt x="17688" y="14657"/>
                  <a:pt x="17594" y="14625"/>
                  <a:pt x="17594" y="14719"/>
                </a:cubicBezTo>
                <a:close/>
                <a:moveTo>
                  <a:pt x="10563" y="4313"/>
                </a:moveTo>
                <a:cubicBezTo>
                  <a:pt x="10594" y="4344"/>
                  <a:pt x="10656" y="4407"/>
                  <a:pt x="10750" y="4344"/>
                </a:cubicBezTo>
                <a:cubicBezTo>
                  <a:pt x="10625" y="4282"/>
                  <a:pt x="10531" y="4219"/>
                  <a:pt x="10406" y="4250"/>
                </a:cubicBezTo>
                <a:cubicBezTo>
                  <a:pt x="10406" y="4250"/>
                  <a:pt x="10406" y="4282"/>
                  <a:pt x="10406" y="4282"/>
                </a:cubicBezTo>
                <a:cubicBezTo>
                  <a:pt x="10438" y="4282"/>
                  <a:pt x="10469" y="4282"/>
                  <a:pt x="10438" y="4313"/>
                </a:cubicBezTo>
                <a:cubicBezTo>
                  <a:pt x="10500" y="4250"/>
                  <a:pt x="10500" y="4313"/>
                  <a:pt x="10563" y="4313"/>
                </a:cubicBezTo>
                <a:close/>
                <a:moveTo>
                  <a:pt x="10438" y="4313"/>
                </a:moveTo>
                <a:cubicBezTo>
                  <a:pt x="10438" y="4313"/>
                  <a:pt x="10438" y="4313"/>
                  <a:pt x="10406" y="4313"/>
                </a:cubicBezTo>
                <a:cubicBezTo>
                  <a:pt x="10375" y="4282"/>
                  <a:pt x="10344" y="4282"/>
                  <a:pt x="10313" y="4250"/>
                </a:cubicBezTo>
                <a:cubicBezTo>
                  <a:pt x="10281" y="4250"/>
                  <a:pt x="10250" y="4250"/>
                  <a:pt x="10250" y="4250"/>
                </a:cubicBezTo>
                <a:cubicBezTo>
                  <a:pt x="10219" y="4282"/>
                  <a:pt x="10156" y="4188"/>
                  <a:pt x="10125" y="4250"/>
                </a:cubicBezTo>
                <a:lnTo>
                  <a:pt x="10125" y="4250"/>
                </a:lnTo>
                <a:cubicBezTo>
                  <a:pt x="10125" y="4282"/>
                  <a:pt x="10188" y="4313"/>
                  <a:pt x="10219" y="4344"/>
                </a:cubicBezTo>
                <a:cubicBezTo>
                  <a:pt x="10250" y="4438"/>
                  <a:pt x="10375" y="4407"/>
                  <a:pt x="10438" y="4313"/>
                </a:cubicBezTo>
                <a:close/>
                <a:moveTo>
                  <a:pt x="14156" y="13282"/>
                </a:moveTo>
                <a:cubicBezTo>
                  <a:pt x="14156" y="13282"/>
                  <a:pt x="14156" y="13282"/>
                  <a:pt x="14188" y="13282"/>
                </a:cubicBezTo>
                <a:cubicBezTo>
                  <a:pt x="14125" y="13188"/>
                  <a:pt x="14063" y="13188"/>
                  <a:pt x="14000" y="13188"/>
                </a:cubicBezTo>
                <a:cubicBezTo>
                  <a:pt x="14000" y="13188"/>
                  <a:pt x="13969" y="13219"/>
                  <a:pt x="13969" y="13219"/>
                </a:cubicBezTo>
                <a:cubicBezTo>
                  <a:pt x="14031" y="13282"/>
                  <a:pt x="14094" y="13313"/>
                  <a:pt x="14156" y="13282"/>
                </a:cubicBezTo>
                <a:close/>
                <a:moveTo>
                  <a:pt x="15000" y="14282"/>
                </a:moveTo>
                <a:cubicBezTo>
                  <a:pt x="15000" y="14282"/>
                  <a:pt x="15000" y="14313"/>
                  <a:pt x="15031" y="14313"/>
                </a:cubicBezTo>
                <a:cubicBezTo>
                  <a:pt x="15094" y="14344"/>
                  <a:pt x="15156" y="14313"/>
                  <a:pt x="15188" y="14250"/>
                </a:cubicBezTo>
                <a:cubicBezTo>
                  <a:pt x="15188" y="14250"/>
                  <a:pt x="15188" y="14250"/>
                  <a:pt x="15188" y="14219"/>
                </a:cubicBezTo>
                <a:cubicBezTo>
                  <a:pt x="15125" y="14188"/>
                  <a:pt x="15063" y="14250"/>
                  <a:pt x="15000" y="14282"/>
                </a:cubicBezTo>
                <a:close/>
                <a:moveTo>
                  <a:pt x="3313" y="9032"/>
                </a:moveTo>
                <a:cubicBezTo>
                  <a:pt x="3407" y="9125"/>
                  <a:pt x="3469" y="9032"/>
                  <a:pt x="3563" y="9032"/>
                </a:cubicBezTo>
                <a:cubicBezTo>
                  <a:pt x="3469" y="9000"/>
                  <a:pt x="3407" y="8969"/>
                  <a:pt x="3313" y="9032"/>
                </a:cubicBezTo>
                <a:close/>
                <a:moveTo>
                  <a:pt x="13625" y="12969"/>
                </a:moveTo>
                <a:cubicBezTo>
                  <a:pt x="13688" y="12969"/>
                  <a:pt x="13719" y="13032"/>
                  <a:pt x="13781" y="13000"/>
                </a:cubicBezTo>
                <a:cubicBezTo>
                  <a:pt x="13813" y="13000"/>
                  <a:pt x="13781" y="12969"/>
                  <a:pt x="13750" y="12938"/>
                </a:cubicBezTo>
                <a:cubicBezTo>
                  <a:pt x="13719" y="12907"/>
                  <a:pt x="13656" y="12875"/>
                  <a:pt x="13625" y="12969"/>
                </a:cubicBezTo>
                <a:close/>
                <a:moveTo>
                  <a:pt x="13813" y="4563"/>
                </a:moveTo>
                <a:cubicBezTo>
                  <a:pt x="13813" y="4657"/>
                  <a:pt x="13906" y="4625"/>
                  <a:pt x="13969" y="4657"/>
                </a:cubicBezTo>
                <a:cubicBezTo>
                  <a:pt x="14000" y="4657"/>
                  <a:pt x="14000" y="4625"/>
                  <a:pt x="14031" y="4594"/>
                </a:cubicBezTo>
                <a:cubicBezTo>
                  <a:pt x="14031" y="4594"/>
                  <a:pt x="14000" y="4532"/>
                  <a:pt x="14000" y="4563"/>
                </a:cubicBezTo>
                <a:cubicBezTo>
                  <a:pt x="13938" y="4594"/>
                  <a:pt x="13875" y="4500"/>
                  <a:pt x="13813" y="4563"/>
                </a:cubicBezTo>
                <a:close/>
                <a:moveTo>
                  <a:pt x="13063" y="3532"/>
                </a:moveTo>
                <a:cubicBezTo>
                  <a:pt x="13156" y="3657"/>
                  <a:pt x="13188" y="3469"/>
                  <a:pt x="13250" y="3500"/>
                </a:cubicBezTo>
                <a:cubicBezTo>
                  <a:pt x="13188" y="3469"/>
                  <a:pt x="13125" y="3438"/>
                  <a:pt x="13063" y="3469"/>
                </a:cubicBezTo>
                <a:cubicBezTo>
                  <a:pt x="13031" y="3500"/>
                  <a:pt x="13063" y="3532"/>
                  <a:pt x="13063" y="3532"/>
                </a:cubicBezTo>
                <a:close/>
                <a:moveTo>
                  <a:pt x="7969" y="10844"/>
                </a:moveTo>
                <a:cubicBezTo>
                  <a:pt x="7875" y="10844"/>
                  <a:pt x="7813" y="10844"/>
                  <a:pt x="7719" y="10844"/>
                </a:cubicBezTo>
                <a:cubicBezTo>
                  <a:pt x="7906" y="10938"/>
                  <a:pt x="7906" y="10938"/>
                  <a:pt x="7969" y="10844"/>
                </a:cubicBezTo>
                <a:close/>
                <a:moveTo>
                  <a:pt x="7281" y="10438"/>
                </a:moveTo>
                <a:cubicBezTo>
                  <a:pt x="7250" y="10469"/>
                  <a:pt x="7250" y="10469"/>
                  <a:pt x="7281" y="10469"/>
                </a:cubicBezTo>
                <a:cubicBezTo>
                  <a:pt x="7313" y="10532"/>
                  <a:pt x="7375" y="10532"/>
                  <a:pt x="7469" y="10469"/>
                </a:cubicBezTo>
                <a:cubicBezTo>
                  <a:pt x="7375" y="10469"/>
                  <a:pt x="7344" y="10407"/>
                  <a:pt x="7281" y="10438"/>
                </a:cubicBezTo>
                <a:close/>
                <a:moveTo>
                  <a:pt x="7094" y="2500"/>
                </a:moveTo>
                <a:cubicBezTo>
                  <a:pt x="7125" y="2500"/>
                  <a:pt x="7125" y="2407"/>
                  <a:pt x="7125" y="2375"/>
                </a:cubicBezTo>
                <a:cubicBezTo>
                  <a:pt x="7094" y="2313"/>
                  <a:pt x="7031" y="2344"/>
                  <a:pt x="6969" y="2344"/>
                </a:cubicBezTo>
                <a:cubicBezTo>
                  <a:pt x="7031" y="2375"/>
                  <a:pt x="7000" y="2500"/>
                  <a:pt x="7094" y="2500"/>
                </a:cubicBezTo>
                <a:close/>
                <a:moveTo>
                  <a:pt x="7500" y="3375"/>
                </a:moveTo>
                <a:cubicBezTo>
                  <a:pt x="7500" y="3313"/>
                  <a:pt x="7469" y="3282"/>
                  <a:pt x="7438" y="3250"/>
                </a:cubicBezTo>
                <a:cubicBezTo>
                  <a:pt x="7406" y="3250"/>
                  <a:pt x="7375" y="3250"/>
                  <a:pt x="7344" y="3219"/>
                </a:cubicBezTo>
                <a:cubicBezTo>
                  <a:pt x="7313" y="3219"/>
                  <a:pt x="7313" y="3219"/>
                  <a:pt x="7281" y="3219"/>
                </a:cubicBezTo>
                <a:cubicBezTo>
                  <a:pt x="7281" y="3375"/>
                  <a:pt x="7344" y="3407"/>
                  <a:pt x="7500" y="3375"/>
                </a:cubicBezTo>
                <a:close/>
                <a:moveTo>
                  <a:pt x="6438" y="2657"/>
                </a:moveTo>
                <a:cubicBezTo>
                  <a:pt x="6500" y="2657"/>
                  <a:pt x="6531" y="2688"/>
                  <a:pt x="6594" y="2657"/>
                </a:cubicBezTo>
                <a:cubicBezTo>
                  <a:pt x="6594" y="2594"/>
                  <a:pt x="6531" y="2594"/>
                  <a:pt x="6469" y="2563"/>
                </a:cubicBezTo>
                <a:cubicBezTo>
                  <a:pt x="6438" y="2532"/>
                  <a:pt x="6375" y="2532"/>
                  <a:pt x="6375" y="2594"/>
                </a:cubicBezTo>
                <a:cubicBezTo>
                  <a:pt x="6344" y="2657"/>
                  <a:pt x="6406" y="2625"/>
                  <a:pt x="6438" y="2657"/>
                </a:cubicBezTo>
                <a:close/>
                <a:moveTo>
                  <a:pt x="11000" y="12344"/>
                </a:moveTo>
                <a:cubicBezTo>
                  <a:pt x="11031" y="12344"/>
                  <a:pt x="11063" y="12438"/>
                  <a:pt x="11156" y="12375"/>
                </a:cubicBezTo>
                <a:cubicBezTo>
                  <a:pt x="11188" y="12375"/>
                  <a:pt x="11156" y="12344"/>
                  <a:pt x="11125" y="12313"/>
                </a:cubicBezTo>
                <a:cubicBezTo>
                  <a:pt x="11063" y="12250"/>
                  <a:pt x="11031" y="12344"/>
                  <a:pt x="11000" y="12344"/>
                </a:cubicBezTo>
                <a:close/>
                <a:moveTo>
                  <a:pt x="33719" y="2188"/>
                </a:moveTo>
                <a:cubicBezTo>
                  <a:pt x="33781" y="2219"/>
                  <a:pt x="33844" y="2250"/>
                  <a:pt x="33906" y="2157"/>
                </a:cubicBezTo>
                <a:cubicBezTo>
                  <a:pt x="33844" y="2125"/>
                  <a:pt x="33781" y="2094"/>
                  <a:pt x="33719" y="2125"/>
                </a:cubicBezTo>
                <a:cubicBezTo>
                  <a:pt x="33688" y="2157"/>
                  <a:pt x="33688" y="2188"/>
                  <a:pt x="33719" y="2188"/>
                </a:cubicBezTo>
                <a:close/>
                <a:moveTo>
                  <a:pt x="13438" y="4125"/>
                </a:moveTo>
                <a:cubicBezTo>
                  <a:pt x="13406" y="4125"/>
                  <a:pt x="13469" y="4157"/>
                  <a:pt x="13469" y="4157"/>
                </a:cubicBezTo>
                <a:cubicBezTo>
                  <a:pt x="13500" y="4157"/>
                  <a:pt x="13563" y="4125"/>
                  <a:pt x="13531" y="4125"/>
                </a:cubicBezTo>
                <a:cubicBezTo>
                  <a:pt x="13500" y="4063"/>
                  <a:pt x="13531" y="4000"/>
                  <a:pt x="13469" y="3969"/>
                </a:cubicBezTo>
                <a:cubicBezTo>
                  <a:pt x="13375" y="4000"/>
                  <a:pt x="13531" y="4094"/>
                  <a:pt x="13438" y="4125"/>
                </a:cubicBezTo>
                <a:close/>
                <a:moveTo>
                  <a:pt x="27688" y="13625"/>
                </a:moveTo>
                <a:cubicBezTo>
                  <a:pt x="27781" y="13594"/>
                  <a:pt x="27844" y="13563"/>
                  <a:pt x="27875" y="13438"/>
                </a:cubicBezTo>
                <a:cubicBezTo>
                  <a:pt x="27781" y="13469"/>
                  <a:pt x="27656" y="13438"/>
                  <a:pt x="27688" y="13625"/>
                </a:cubicBezTo>
                <a:close/>
                <a:moveTo>
                  <a:pt x="7813" y="2313"/>
                </a:moveTo>
                <a:cubicBezTo>
                  <a:pt x="7750" y="2219"/>
                  <a:pt x="7625" y="2250"/>
                  <a:pt x="7563" y="2219"/>
                </a:cubicBezTo>
                <a:cubicBezTo>
                  <a:pt x="7563" y="2250"/>
                  <a:pt x="7563" y="2313"/>
                  <a:pt x="7563" y="2344"/>
                </a:cubicBezTo>
                <a:cubicBezTo>
                  <a:pt x="7625" y="2250"/>
                  <a:pt x="7719" y="2282"/>
                  <a:pt x="7813" y="2313"/>
                </a:cubicBezTo>
                <a:close/>
                <a:moveTo>
                  <a:pt x="19844" y="5282"/>
                </a:moveTo>
                <a:cubicBezTo>
                  <a:pt x="19875" y="5282"/>
                  <a:pt x="19875" y="5250"/>
                  <a:pt x="19875" y="5219"/>
                </a:cubicBezTo>
                <a:cubicBezTo>
                  <a:pt x="19844" y="5125"/>
                  <a:pt x="19781" y="5157"/>
                  <a:pt x="19688" y="5125"/>
                </a:cubicBezTo>
                <a:cubicBezTo>
                  <a:pt x="19750" y="5219"/>
                  <a:pt x="19781" y="5250"/>
                  <a:pt x="19844" y="5282"/>
                </a:cubicBezTo>
                <a:close/>
                <a:moveTo>
                  <a:pt x="8688" y="10375"/>
                </a:moveTo>
                <a:cubicBezTo>
                  <a:pt x="8656" y="10375"/>
                  <a:pt x="8625" y="10344"/>
                  <a:pt x="8594" y="10375"/>
                </a:cubicBezTo>
                <a:cubicBezTo>
                  <a:pt x="8594" y="10407"/>
                  <a:pt x="8625" y="10438"/>
                  <a:pt x="8656" y="10438"/>
                </a:cubicBezTo>
                <a:cubicBezTo>
                  <a:pt x="8750" y="10438"/>
                  <a:pt x="8813" y="10532"/>
                  <a:pt x="8906" y="10407"/>
                </a:cubicBezTo>
                <a:cubicBezTo>
                  <a:pt x="8813" y="10375"/>
                  <a:pt x="8750" y="10438"/>
                  <a:pt x="8688" y="10375"/>
                </a:cubicBezTo>
                <a:close/>
                <a:moveTo>
                  <a:pt x="3219" y="4594"/>
                </a:moveTo>
                <a:cubicBezTo>
                  <a:pt x="3125" y="4532"/>
                  <a:pt x="3063" y="4657"/>
                  <a:pt x="2938" y="4625"/>
                </a:cubicBezTo>
                <a:cubicBezTo>
                  <a:pt x="3063" y="4688"/>
                  <a:pt x="3063" y="4688"/>
                  <a:pt x="3219" y="4594"/>
                </a:cubicBezTo>
                <a:close/>
                <a:moveTo>
                  <a:pt x="6438" y="10157"/>
                </a:moveTo>
                <a:cubicBezTo>
                  <a:pt x="6469" y="10125"/>
                  <a:pt x="6469" y="10125"/>
                  <a:pt x="6469" y="10125"/>
                </a:cubicBezTo>
                <a:cubicBezTo>
                  <a:pt x="6500" y="10094"/>
                  <a:pt x="6563" y="10125"/>
                  <a:pt x="6594" y="10125"/>
                </a:cubicBezTo>
                <a:cubicBezTo>
                  <a:pt x="6656" y="10125"/>
                  <a:pt x="6719" y="10157"/>
                  <a:pt x="6750" y="10063"/>
                </a:cubicBezTo>
                <a:cubicBezTo>
                  <a:pt x="6656" y="10063"/>
                  <a:pt x="6531" y="10032"/>
                  <a:pt x="6469" y="10125"/>
                </a:cubicBezTo>
                <a:cubicBezTo>
                  <a:pt x="6469" y="10125"/>
                  <a:pt x="6469" y="10125"/>
                  <a:pt x="6438" y="10157"/>
                </a:cubicBezTo>
                <a:cubicBezTo>
                  <a:pt x="6438" y="10157"/>
                  <a:pt x="6438" y="10157"/>
                  <a:pt x="6438" y="10157"/>
                </a:cubicBezTo>
                <a:cubicBezTo>
                  <a:pt x="6344" y="10094"/>
                  <a:pt x="6219" y="10125"/>
                  <a:pt x="6125" y="10094"/>
                </a:cubicBezTo>
                <a:cubicBezTo>
                  <a:pt x="6156" y="10125"/>
                  <a:pt x="6188" y="10125"/>
                  <a:pt x="6188" y="10188"/>
                </a:cubicBezTo>
                <a:lnTo>
                  <a:pt x="6188" y="10188"/>
                </a:lnTo>
                <a:cubicBezTo>
                  <a:pt x="6219" y="10250"/>
                  <a:pt x="6281" y="10188"/>
                  <a:pt x="6313" y="10188"/>
                </a:cubicBezTo>
                <a:cubicBezTo>
                  <a:pt x="6375" y="10188"/>
                  <a:pt x="6438" y="10219"/>
                  <a:pt x="6438" y="10157"/>
                </a:cubicBezTo>
                <a:close/>
                <a:moveTo>
                  <a:pt x="1750" y="5157"/>
                </a:moveTo>
                <a:cubicBezTo>
                  <a:pt x="1844" y="5219"/>
                  <a:pt x="1875" y="5219"/>
                  <a:pt x="2032" y="5188"/>
                </a:cubicBezTo>
                <a:cubicBezTo>
                  <a:pt x="1938" y="5157"/>
                  <a:pt x="1844" y="5125"/>
                  <a:pt x="1750" y="5157"/>
                </a:cubicBezTo>
                <a:close/>
                <a:moveTo>
                  <a:pt x="7844" y="3344"/>
                </a:moveTo>
                <a:cubicBezTo>
                  <a:pt x="7906" y="3313"/>
                  <a:pt x="7969" y="3313"/>
                  <a:pt x="7969" y="3250"/>
                </a:cubicBezTo>
                <a:cubicBezTo>
                  <a:pt x="7969" y="3219"/>
                  <a:pt x="7906" y="3219"/>
                  <a:pt x="7875" y="3188"/>
                </a:cubicBezTo>
                <a:cubicBezTo>
                  <a:pt x="7844" y="3188"/>
                  <a:pt x="7813" y="3188"/>
                  <a:pt x="7813" y="3188"/>
                </a:cubicBezTo>
                <a:cubicBezTo>
                  <a:pt x="7781" y="3188"/>
                  <a:pt x="7781" y="3219"/>
                  <a:pt x="7750" y="3250"/>
                </a:cubicBezTo>
                <a:cubicBezTo>
                  <a:pt x="7781" y="3313"/>
                  <a:pt x="7813" y="3375"/>
                  <a:pt x="7844" y="3344"/>
                </a:cubicBezTo>
                <a:close/>
                <a:moveTo>
                  <a:pt x="9156" y="2625"/>
                </a:moveTo>
                <a:cubicBezTo>
                  <a:pt x="9219" y="2625"/>
                  <a:pt x="9250" y="2625"/>
                  <a:pt x="9250" y="2563"/>
                </a:cubicBezTo>
                <a:cubicBezTo>
                  <a:pt x="9250" y="2500"/>
                  <a:pt x="9219" y="2500"/>
                  <a:pt x="9156" y="2500"/>
                </a:cubicBezTo>
                <a:cubicBezTo>
                  <a:pt x="9125" y="2500"/>
                  <a:pt x="9125" y="2500"/>
                  <a:pt x="9094" y="2500"/>
                </a:cubicBezTo>
                <a:cubicBezTo>
                  <a:pt x="9094" y="2407"/>
                  <a:pt x="9031" y="2375"/>
                  <a:pt x="8969" y="2438"/>
                </a:cubicBezTo>
                <a:cubicBezTo>
                  <a:pt x="8906" y="2469"/>
                  <a:pt x="8875" y="2438"/>
                  <a:pt x="8844" y="2407"/>
                </a:cubicBezTo>
                <a:cubicBezTo>
                  <a:pt x="8750" y="2344"/>
                  <a:pt x="8656" y="2344"/>
                  <a:pt x="8594" y="2282"/>
                </a:cubicBezTo>
                <a:cubicBezTo>
                  <a:pt x="8531" y="2282"/>
                  <a:pt x="8500" y="2219"/>
                  <a:pt x="8469" y="2250"/>
                </a:cubicBezTo>
                <a:cubicBezTo>
                  <a:pt x="8406" y="2313"/>
                  <a:pt x="8438" y="2375"/>
                  <a:pt x="8469" y="2407"/>
                </a:cubicBezTo>
                <a:cubicBezTo>
                  <a:pt x="8531" y="2407"/>
                  <a:pt x="8500" y="2313"/>
                  <a:pt x="8563" y="2313"/>
                </a:cubicBezTo>
                <a:lnTo>
                  <a:pt x="8563" y="2313"/>
                </a:lnTo>
                <a:cubicBezTo>
                  <a:pt x="8625" y="2344"/>
                  <a:pt x="8625" y="2375"/>
                  <a:pt x="8656" y="2438"/>
                </a:cubicBezTo>
                <a:cubicBezTo>
                  <a:pt x="8656" y="2469"/>
                  <a:pt x="8688" y="2500"/>
                  <a:pt x="8719" y="2500"/>
                </a:cubicBezTo>
                <a:cubicBezTo>
                  <a:pt x="8688" y="2375"/>
                  <a:pt x="8750" y="2407"/>
                  <a:pt x="8813" y="2438"/>
                </a:cubicBezTo>
                <a:cubicBezTo>
                  <a:pt x="8813" y="2469"/>
                  <a:pt x="8844" y="2469"/>
                  <a:pt x="8875" y="2500"/>
                </a:cubicBezTo>
                <a:cubicBezTo>
                  <a:pt x="8938" y="2532"/>
                  <a:pt x="9000" y="2469"/>
                  <a:pt x="9094" y="2500"/>
                </a:cubicBezTo>
                <a:cubicBezTo>
                  <a:pt x="9094" y="2532"/>
                  <a:pt x="9094" y="2594"/>
                  <a:pt x="9125" y="2594"/>
                </a:cubicBezTo>
                <a:cubicBezTo>
                  <a:pt x="9156" y="2625"/>
                  <a:pt x="9156" y="2625"/>
                  <a:pt x="9156" y="2625"/>
                </a:cubicBezTo>
                <a:close/>
                <a:moveTo>
                  <a:pt x="13719" y="4375"/>
                </a:moveTo>
                <a:cubicBezTo>
                  <a:pt x="13719" y="4375"/>
                  <a:pt x="13719" y="4375"/>
                  <a:pt x="13719" y="4375"/>
                </a:cubicBezTo>
                <a:cubicBezTo>
                  <a:pt x="13719" y="4375"/>
                  <a:pt x="13719" y="4375"/>
                  <a:pt x="13719" y="4375"/>
                </a:cubicBezTo>
                <a:close/>
                <a:moveTo>
                  <a:pt x="18375" y="15032"/>
                </a:moveTo>
                <a:cubicBezTo>
                  <a:pt x="18500" y="15032"/>
                  <a:pt x="18594" y="15063"/>
                  <a:pt x="18688" y="15000"/>
                </a:cubicBezTo>
                <a:cubicBezTo>
                  <a:pt x="18594" y="15000"/>
                  <a:pt x="18500" y="14969"/>
                  <a:pt x="18375" y="15032"/>
                </a:cubicBezTo>
                <a:close/>
                <a:moveTo>
                  <a:pt x="6406" y="9250"/>
                </a:moveTo>
                <a:cubicBezTo>
                  <a:pt x="6375" y="9188"/>
                  <a:pt x="6313" y="9157"/>
                  <a:pt x="6250" y="9157"/>
                </a:cubicBezTo>
                <a:cubicBezTo>
                  <a:pt x="6219" y="9125"/>
                  <a:pt x="6188" y="9188"/>
                  <a:pt x="6188" y="9188"/>
                </a:cubicBezTo>
                <a:cubicBezTo>
                  <a:pt x="6250" y="9219"/>
                  <a:pt x="6281" y="9282"/>
                  <a:pt x="6344" y="9313"/>
                </a:cubicBezTo>
                <a:cubicBezTo>
                  <a:pt x="6375" y="9313"/>
                  <a:pt x="6406" y="9250"/>
                  <a:pt x="6406" y="9250"/>
                </a:cubicBezTo>
                <a:close/>
                <a:moveTo>
                  <a:pt x="16000" y="14063"/>
                </a:moveTo>
                <a:cubicBezTo>
                  <a:pt x="16000" y="14063"/>
                  <a:pt x="15969" y="14063"/>
                  <a:pt x="15938" y="14063"/>
                </a:cubicBezTo>
                <a:cubicBezTo>
                  <a:pt x="15969" y="14094"/>
                  <a:pt x="15969" y="14094"/>
                  <a:pt x="16000" y="14094"/>
                </a:cubicBezTo>
                <a:cubicBezTo>
                  <a:pt x="16031" y="14157"/>
                  <a:pt x="16094" y="14157"/>
                  <a:pt x="16188" y="14125"/>
                </a:cubicBezTo>
                <a:cubicBezTo>
                  <a:pt x="16188" y="14125"/>
                  <a:pt x="16188" y="14094"/>
                  <a:pt x="16188" y="14094"/>
                </a:cubicBezTo>
                <a:cubicBezTo>
                  <a:pt x="16125" y="14032"/>
                  <a:pt x="16063" y="14063"/>
                  <a:pt x="16000" y="14063"/>
                </a:cubicBezTo>
                <a:close/>
                <a:moveTo>
                  <a:pt x="12094" y="5125"/>
                </a:moveTo>
                <a:cubicBezTo>
                  <a:pt x="12094" y="5094"/>
                  <a:pt x="12063" y="5094"/>
                  <a:pt x="12031" y="5094"/>
                </a:cubicBezTo>
                <a:cubicBezTo>
                  <a:pt x="11969" y="5125"/>
                  <a:pt x="11906" y="5063"/>
                  <a:pt x="11844" y="5125"/>
                </a:cubicBezTo>
                <a:cubicBezTo>
                  <a:pt x="11906" y="5125"/>
                  <a:pt x="11969" y="5188"/>
                  <a:pt x="12031" y="5188"/>
                </a:cubicBezTo>
                <a:cubicBezTo>
                  <a:pt x="12063" y="5188"/>
                  <a:pt x="12094" y="5157"/>
                  <a:pt x="12094" y="5125"/>
                </a:cubicBezTo>
                <a:close/>
                <a:moveTo>
                  <a:pt x="34438" y="4469"/>
                </a:moveTo>
                <a:cubicBezTo>
                  <a:pt x="34469" y="4500"/>
                  <a:pt x="34500" y="4500"/>
                  <a:pt x="34531" y="4469"/>
                </a:cubicBezTo>
                <a:cubicBezTo>
                  <a:pt x="34563" y="4469"/>
                  <a:pt x="34594" y="4469"/>
                  <a:pt x="34625" y="4469"/>
                </a:cubicBezTo>
                <a:cubicBezTo>
                  <a:pt x="34656" y="4438"/>
                  <a:pt x="34688" y="4438"/>
                  <a:pt x="34688" y="4407"/>
                </a:cubicBezTo>
                <a:cubicBezTo>
                  <a:pt x="34688" y="4375"/>
                  <a:pt x="34656" y="4375"/>
                  <a:pt x="34656" y="4407"/>
                </a:cubicBezTo>
                <a:cubicBezTo>
                  <a:pt x="34594" y="4407"/>
                  <a:pt x="34531" y="4407"/>
                  <a:pt x="34500" y="4407"/>
                </a:cubicBezTo>
                <a:cubicBezTo>
                  <a:pt x="34469" y="4407"/>
                  <a:pt x="34438" y="4438"/>
                  <a:pt x="34438" y="4469"/>
                </a:cubicBezTo>
                <a:close/>
                <a:moveTo>
                  <a:pt x="2657" y="5438"/>
                </a:moveTo>
                <a:cubicBezTo>
                  <a:pt x="2563" y="5438"/>
                  <a:pt x="2469" y="5438"/>
                  <a:pt x="2344" y="5438"/>
                </a:cubicBezTo>
                <a:cubicBezTo>
                  <a:pt x="2407" y="5532"/>
                  <a:pt x="2500" y="5532"/>
                  <a:pt x="2563" y="5532"/>
                </a:cubicBezTo>
                <a:cubicBezTo>
                  <a:pt x="2563" y="5532"/>
                  <a:pt x="2594" y="5532"/>
                  <a:pt x="2594" y="5532"/>
                </a:cubicBezTo>
                <a:cubicBezTo>
                  <a:pt x="2625" y="5532"/>
                  <a:pt x="2657" y="5500"/>
                  <a:pt x="2688" y="5500"/>
                </a:cubicBezTo>
                <a:cubicBezTo>
                  <a:pt x="2688" y="5469"/>
                  <a:pt x="2719" y="5438"/>
                  <a:pt x="2657" y="5438"/>
                </a:cubicBezTo>
                <a:close/>
                <a:moveTo>
                  <a:pt x="15125" y="13375"/>
                </a:moveTo>
                <a:cubicBezTo>
                  <a:pt x="15125" y="13313"/>
                  <a:pt x="15156" y="13344"/>
                  <a:pt x="15188" y="13344"/>
                </a:cubicBezTo>
                <a:cubicBezTo>
                  <a:pt x="15188" y="13407"/>
                  <a:pt x="15156" y="13375"/>
                  <a:pt x="15125" y="13375"/>
                </a:cubicBezTo>
                <a:close/>
                <a:moveTo>
                  <a:pt x="15188" y="13344"/>
                </a:moveTo>
                <a:cubicBezTo>
                  <a:pt x="15156" y="13250"/>
                  <a:pt x="15063" y="13313"/>
                  <a:pt x="15031" y="13282"/>
                </a:cubicBezTo>
                <a:cubicBezTo>
                  <a:pt x="15000" y="13282"/>
                  <a:pt x="14938" y="13219"/>
                  <a:pt x="14906" y="13282"/>
                </a:cubicBezTo>
                <a:cubicBezTo>
                  <a:pt x="14875" y="13313"/>
                  <a:pt x="14969" y="13313"/>
                  <a:pt x="15000" y="13344"/>
                </a:cubicBezTo>
                <a:cubicBezTo>
                  <a:pt x="15031" y="13344"/>
                  <a:pt x="15000" y="13375"/>
                  <a:pt x="15000" y="13375"/>
                </a:cubicBezTo>
                <a:cubicBezTo>
                  <a:pt x="15031" y="13344"/>
                  <a:pt x="15094" y="13344"/>
                  <a:pt x="15125" y="13375"/>
                </a:cubicBezTo>
                <a:cubicBezTo>
                  <a:pt x="15281" y="13438"/>
                  <a:pt x="15438" y="13500"/>
                  <a:pt x="15625" y="13469"/>
                </a:cubicBezTo>
                <a:cubicBezTo>
                  <a:pt x="15469" y="13344"/>
                  <a:pt x="15313" y="13407"/>
                  <a:pt x="15188" y="13344"/>
                </a:cubicBezTo>
                <a:close/>
                <a:moveTo>
                  <a:pt x="15000" y="13375"/>
                </a:moveTo>
                <a:cubicBezTo>
                  <a:pt x="14906" y="13469"/>
                  <a:pt x="14750" y="13313"/>
                  <a:pt x="14719" y="13500"/>
                </a:cubicBezTo>
                <a:cubicBezTo>
                  <a:pt x="14719" y="13500"/>
                  <a:pt x="14688" y="13500"/>
                  <a:pt x="14688" y="13469"/>
                </a:cubicBezTo>
                <a:cubicBezTo>
                  <a:pt x="14656" y="13375"/>
                  <a:pt x="14594" y="13438"/>
                  <a:pt x="14563" y="13469"/>
                </a:cubicBezTo>
                <a:cubicBezTo>
                  <a:pt x="14531" y="13500"/>
                  <a:pt x="14594" y="13532"/>
                  <a:pt x="14594" y="13563"/>
                </a:cubicBezTo>
                <a:cubicBezTo>
                  <a:pt x="14594" y="13719"/>
                  <a:pt x="14781" y="13657"/>
                  <a:pt x="14813" y="13750"/>
                </a:cubicBezTo>
                <a:cubicBezTo>
                  <a:pt x="14688" y="13782"/>
                  <a:pt x="14531" y="13782"/>
                  <a:pt x="14406" y="13750"/>
                </a:cubicBezTo>
                <a:cubicBezTo>
                  <a:pt x="14375" y="13750"/>
                  <a:pt x="14344" y="13782"/>
                  <a:pt x="14344" y="13813"/>
                </a:cubicBezTo>
                <a:cubicBezTo>
                  <a:pt x="14344" y="13844"/>
                  <a:pt x="14375" y="13844"/>
                  <a:pt x="14375" y="13844"/>
                </a:cubicBezTo>
                <a:cubicBezTo>
                  <a:pt x="14531" y="13844"/>
                  <a:pt x="14719" y="13875"/>
                  <a:pt x="14844" y="13813"/>
                </a:cubicBezTo>
                <a:cubicBezTo>
                  <a:pt x="14906" y="13782"/>
                  <a:pt x="15000" y="13782"/>
                  <a:pt x="14938" y="13688"/>
                </a:cubicBezTo>
                <a:cubicBezTo>
                  <a:pt x="14938" y="13625"/>
                  <a:pt x="14969" y="13625"/>
                  <a:pt x="15000" y="13625"/>
                </a:cubicBezTo>
                <a:lnTo>
                  <a:pt x="15000" y="13625"/>
                </a:lnTo>
                <a:cubicBezTo>
                  <a:pt x="15094" y="13625"/>
                  <a:pt x="15188" y="13625"/>
                  <a:pt x="15313" y="13625"/>
                </a:cubicBezTo>
                <a:cubicBezTo>
                  <a:pt x="15375" y="13625"/>
                  <a:pt x="15438" y="13625"/>
                  <a:pt x="15500" y="13594"/>
                </a:cubicBezTo>
                <a:cubicBezTo>
                  <a:pt x="15500" y="13563"/>
                  <a:pt x="15531" y="13563"/>
                  <a:pt x="15531" y="13532"/>
                </a:cubicBezTo>
                <a:cubicBezTo>
                  <a:pt x="15500" y="13500"/>
                  <a:pt x="15500" y="13500"/>
                  <a:pt x="15469" y="13532"/>
                </a:cubicBezTo>
                <a:cubicBezTo>
                  <a:pt x="15313" y="13563"/>
                  <a:pt x="15156" y="13532"/>
                  <a:pt x="15031" y="13500"/>
                </a:cubicBezTo>
                <a:cubicBezTo>
                  <a:pt x="14969" y="13469"/>
                  <a:pt x="14969" y="13438"/>
                  <a:pt x="15000" y="13375"/>
                </a:cubicBezTo>
                <a:close/>
                <a:moveTo>
                  <a:pt x="6125" y="2063"/>
                </a:moveTo>
                <a:cubicBezTo>
                  <a:pt x="6156" y="2063"/>
                  <a:pt x="6188" y="2094"/>
                  <a:pt x="6188" y="2032"/>
                </a:cubicBezTo>
                <a:cubicBezTo>
                  <a:pt x="6188" y="2000"/>
                  <a:pt x="6188" y="2000"/>
                  <a:pt x="6156" y="1969"/>
                </a:cubicBezTo>
                <a:cubicBezTo>
                  <a:pt x="6094" y="1969"/>
                  <a:pt x="6031" y="1938"/>
                  <a:pt x="5938" y="1907"/>
                </a:cubicBezTo>
                <a:cubicBezTo>
                  <a:pt x="5969" y="2032"/>
                  <a:pt x="6063" y="2000"/>
                  <a:pt x="6125" y="2063"/>
                </a:cubicBezTo>
                <a:close/>
                <a:moveTo>
                  <a:pt x="13938" y="12750"/>
                </a:moveTo>
                <a:cubicBezTo>
                  <a:pt x="13938" y="12688"/>
                  <a:pt x="13875" y="12688"/>
                  <a:pt x="13875" y="12688"/>
                </a:cubicBezTo>
                <a:cubicBezTo>
                  <a:pt x="13813" y="12719"/>
                  <a:pt x="13750" y="12719"/>
                  <a:pt x="13719" y="12782"/>
                </a:cubicBezTo>
                <a:cubicBezTo>
                  <a:pt x="13719" y="12813"/>
                  <a:pt x="13750" y="12844"/>
                  <a:pt x="13813" y="12844"/>
                </a:cubicBezTo>
                <a:cubicBezTo>
                  <a:pt x="13813" y="12782"/>
                  <a:pt x="13906" y="12813"/>
                  <a:pt x="13938" y="12750"/>
                </a:cubicBezTo>
                <a:close/>
                <a:moveTo>
                  <a:pt x="14750" y="4875"/>
                </a:moveTo>
                <a:cubicBezTo>
                  <a:pt x="14781" y="4875"/>
                  <a:pt x="14813" y="4844"/>
                  <a:pt x="14813" y="4813"/>
                </a:cubicBezTo>
                <a:cubicBezTo>
                  <a:pt x="14844" y="4750"/>
                  <a:pt x="14781" y="4719"/>
                  <a:pt x="14750" y="4719"/>
                </a:cubicBezTo>
                <a:cubicBezTo>
                  <a:pt x="14688" y="4719"/>
                  <a:pt x="14656" y="4750"/>
                  <a:pt x="14656" y="4782"/>
                </a:cubicBezTo>
                <a:cubicBezTo>
                  <a:pt x="14656" y="4813"/>
                  <a:pt x="14656" y="4875"/>
                  <a:pt x="14750" y="4875"/>
                </a:cubicBezTo>
                <a:close/>
                <a:moveTo>
                  <a:pt x="2282" y="4625"/>
                </a:moveTo>
                <a:cubicBezTo>
                  <a:pt x="2375" y="4657"/>
                  <a:pt x="2469" y="4688"/>
                  <a:pt x="2594" y="4688"/>
                </a:cubicBezTo>
                <a:cubicBezTo>
                  <a:pt x="2532" y="4625"/>
                  <a:pt x="2375" y="4563"/>
                  <a:pt x="2282" y="4625"/>
                </a:cubicBezTo>
                <a:close/>
                <a:moveTo>
                  <a:pt x="8125" y="2438"/>
                </a:moveTo>
                <a:cubicBezTo>
                  <a:pt x="8063" y="2438"/>
                  <a:pt x="8000" y="2313"/>
                  <a:pt x="7875" y="2344"/>
                </a:cubicBezTo>
                <a:cubicBezTo>
                  <a:pt x="7969" y="2438"/>
                  <a:pt x="8063" y="2438"/>
                  <a:pt x="8125" y="2438"/>
                </a:cubicBezTo>
                <a:close/>
                <a:moveTo>
                  <a:pt x="6469" y="9282"/>
                </a:moveTo>
                <a:cubicBezTo>
                  <a:pt x="6594" y="9344"/>
                  <a:pt x="6656" y="9375"/>
                  <a:pt x="6750" y="9313"/>
                </a:cubicBezTo>
                <a:cubicBezTo>
                  <a:pt x="6656" y="9313"/>
                  <a:pt x="6594" y="9219"/>
                  <a:pt x="6469" y="9282"/>
                </a:cubicBezTo>
                <a:close/>
                <a:moveTo>
                  <a:pt x="34906" y="7969"/>
                </a:moveTo>
                <a:cubicBezTo>
                  <a:pt x="34813" y="7969"/>
                  <a:pt x="34750" y="8032"/>
                  <a:pt x="34688" y="8125"/>
                </a:cubicBezTo>
                <a:cubicBezTo>
                  <a:pt x="34813" y="8094"/>
                  <a:pt x="34875" y="8063"/>
                  <a:pt x="34938" y="8000"/>
                </a:cubicBezTo>
                <a:cubicBezTo>
                  <a:pt x="34938" y="8000"/>
                  <a:pt x="34938" y="7969"/>
                  <a:pt x="34938" y="7969"/>
                </a:cubicBezTo>
                <a:cubicBezTo>
                  <a:pt x="34938" y="7938"/>
                  <a:pt x="34906" y="7969"/>
                  <a:pt x="34906" y="7969"/>
                </a:cubicBezTo>
                <a:close/>
                <a:moveTo>
                  <a:pt x="17938" y="14907"/>
                </a:moveTo>
                <a:cubicBezTo>
                  <a:pt x="18063" y="14907"/>
                  <a:pt x="18156" y="14875"/>
                  <a:pt x="18250" y="14782"/>
                </a:cubicBezTo>
                <a:cubicBezTo>
                  <a:pt x="18125" y="14782"/>
                  <a:pt x="18031" y="14813"/>
                  <a:pt x="17938" y="14907"/>
                </a:cubicBezTo>
                <a:close/>
                <a:moveTo>
                  <a:pt x="10438" y="4094"/>
                </a:moveTo>
                <a:cubicBezTo>
                  <a:pt x="10313" y="4000"/>
                  <a:pt x="10313" y="4000"/>
                  <a:pt x="10250" y="4063"/>
                </a:cubicBezTo>
                <a:cubicBezTo>
                  <a:pt x="10188" y="4157"/>
                  <a:pt x="10313" y="4157"/>
                  <a:pt x="10313" y="4188"/>
                </a:cubicBezTo>
                <a:cubicBezTo>
                  <a:pt x="10313" y="4188"/>
                  <a:pt x="10344" y="4188"/>
                  <a:pt x="10344" y="4188"/>
                </a:cubicBezTo>
                <a:cubicBezTo>
                  <a:pt x="10281" y="4063"/>
                  <a:pt x="10438" y="4125"/>
                  <a:pt x="10438" y="4094"/>
                </a:cubicBezTo>
                <a:close/>
                <a:moveTo>
                  <a:pt x="21844" y="14875"/>
                </a:moveTo>
                <a:cubicBezTo>
                  <a:pt x="21688" y="14875"/>
                  <a:pt x="21594" y="14875"/>
                  <a:pt x="21500" y="14969"/>
                </a:cubicBezTo>
                <a:cubicBezTo>
                  <a:pt x="21594" y="14938"/>
                  <a:pt x="21719" y="14969"/>
                  <a:pt x="21844" y="14875"/>
                </a:cubicBezTo>
                <a:close/>
                <a:moveTo>
                  <a:pt x="24594" y="14125"/>
                </a:moveTo>
                <a:cubicBezTo>
                  <a:pt x="24625" y="14125"/>
                  <a:pt x="24688" y="14094"/>
                  <a:pt x="24688" y="14032"/>
                </a:cubicBezTo>
                <a:cubicBezTo>
                  <a:pt x="24688" y="14032"/>
                  <a:pt x="24656" y="14000"/>
                  <a:pt x="24656" y="14000"/>
                </a:cubicBezTo>
                <a:cubicBezTo>
                  <a:pt x="24625" y="14094"/>
                  <a:pt x="24563" y="14032"/>
                  <a:pt x="24531" y="14032"/>
                </a:cubicBezTo>
                <a:cubicBezTo>
                  <a:pt x="24500" y="14032"/>
                  <a:pt x="24469" y="14063"/>
                  <a:pt x="24469" y="14094"/>
                </a:cubicBezTo>
                <a:cubicBezTo>
                  <a:pt x="24469" y="14094"/>
                  <a:pt x="24438" y="14125"/>
                  <a:pt x="24469" y="14157"/>
                </a:cubicBezTo>
                <a:cubicBezTo>
                  <a:pt x="24531" y="14188"/>
                  <a:pt x="24563" y="14157"/>
                  <a:pt x="24594" y="14125"/>
                </a:cubicBezTo>
                <a:close/>
                <a:moveTo>
                  <a:pt x="1938" y="4875"/>
                </a:moveTo>
                <a:cubicBezTo>
                  <a:pt x="1813" y="4813"/>
                  <a:pt x="1719" y="4782"/>
                  <a:pt x="1563" y="4813"/>
                </a:cubicBezTo>
                <a:cubicBezTo>
                  <a:pt x="1688" y="4907"/>
                  <a:pt x="1813" y="4875"/>
                  <a:pt x="1938" y="4875"/>
                </a:cubicBezTo>
                <a:close/>
                <a:moveTo>
                  <a:pt x="19438" y="14344"/>
                </a:moveTo>
                <a:cubicBezTo>
                  <a:pt x="19438" y="14344"/>
                  <a:pt x="19406" y="14344"/>
                  <a:pt x="19406" y="14344"/>
                </a:cubicBezTo>
                <a:cubicBezTo>
                  <a:pt x="19344" y="14375"/>
                  <a:pt x="19281" y="14469"/>
                  <a:pt x="19188" y="14407"/>
                </a:cubicBezTo>
                <a:cubicBezTo>
                  <a:pt x="19188" y="14407"/>
                  <a:pt x="19188" y="14438"/>
                  <a:pt x="19188" y="14438"/>
                </a:cubicBezTo>
                <a:cubicBezTo>
                  <a:pt x="19188" y="14438"/>
                  <a:pt x="19188" y="14469"/>
                  <a:pt x="19188" y="14469"/>
                </a:cubicBezTo>
                <a:cubicBezTo>
                  <a:pt x="19219" y="14500"/>
                  <a:pt x="19250" y="14469"/>
                  <a:pt x="19281" y="14469"/>
                </a:cubicBezTo>
                <a:cubicBezTo>
                  <a:pt x="19344" y="14500"/>
                  <a:pt x="19375" y="14469"/>
                  <a:pt x="19438" y="14438"/>
                </a:cubicBezTo>
                <a:cubicBezTo>
                  <a:pt x="19469" y="14407"/>
                  <a:pt x="19469" y="14375"/>
                  <a:pt x="19438" y="14344"/>
                </a:cubicBezTo>
                <a:close/>
                <a:moveTo>
                  <a:pt x="16125" y="13500"/>
                </a:moveTo>
                <a:cubicBezTo>
                  <a:pt x="15969" y="13469"/>
                  <a:pt x="15875" y="13438"/>
                  <a:pt x="15750" y="13500"/>
                </a:cubicBezTo>
                <a:cubicBezTo>
                  <a:pt x="15875" y="13469"/>
                  <a:pt x="15969" y="13594"/>
                  <a:pt x="16125" y="13500"/>
                </a:cubicBezTo>
                <a:close/>
                <a:moveTo>
                  <a:pt x="10781" y="4313"/>
                </a:moveTo>
                <a:cubicBezTo>
                  <a:pt x="10844" y="4407"/>
                  <a:pt x="10938" y="4344"/>
                  <a:pt x="11031" y="4375"/>
                </a:cubicBezTo>
                <a:cubicBezTo>
                  <a:pt x="10969" y="4313"/>
                  <a:pt x="10906" y="4313"/>
                  <a:pt x="10875" y="4219"/>
                </a:cubicBezTo>
                <a:cubicBezTo>
                  <a:pt x="10844" y="4188"/>
                  <a:pt x="10813" y="4219"/>
                  <a:pt x="10781" y="4250"/>
                </a:cubicBezTo>
                <a:cubicBezTo>
                  <a:pt x="10719" y="4282"/>
                  <a:pt x="10781" y="4282"/>
                  <a:pt x="10781" y="4313"/>
                </a:cubicBezTo>
                <a:close/>
                <a:moveTo>
                  <a:pt x="17031" y="14813"/>
                </a:moveTo>
                <a:cubicBezTo>
                  <a:pt x="17156" y="14813"/>
                  <a:pt x="17250" y="14938"/>
                  <a:pt x="17406" y="14844"/>
                </a:cubicBezTo>
                <a:cubicBezTo>
                  <a:pt x="17250" y="14813"/>
                  <a:pt x="17156" y="14750"/>
                  <a:pt x="17031" y="14813"/>
                </a:cubicBezTo>
                <a:close/>
                <a:moveTo>
                  <a:pt x="10469" y="3094"/>
                </a:moveTo>
                <a:cubicBezTo>
                  <a:pt x="10500" y="3094"/>
                  <a:pt x="10531" y="3125"/>
                  <a:pt x="10563" y="3094"/>
                </a:cubicBezTo>
                <a:cubicBezTo>
                  <a:pt x="10594" y="3063"/>
                  <a:pt x="10563" y="3032"/>
                  <a:pt x="10531" y="3000"/>
                </a:cubicBezTo>
                <a:cubicBezTo>
                  <a:pt x="10469" y="2938"/>
                  <a:pt x="10375" y="2907"/>
                  <a:pt x="10281" y="2938"/>
                </a:cubicBezTo>
                <a:cubicBezTo>
                  <a:pt x="10313" y="3000"/>
                  <a:pt x="10469" y="2969"/>
                  <a:pt x="10438" y="3094"/>
                </a:cubicBezTo>
                <a:cubicBezTo>
                  <a:pt x="10500" y="3188"/>
                  <a:pt x="10563" y="3219"/>
                  <a:pt x="10625" y="3250"/>
                </a:cubicBezTo>
                <a:cubicBezTo>
                  <a:pt x="10656" y="3282"/>
                  <a:pt x="10688" y="3250"/>
                  <a:pt x="10688" y="3313"/>
                </a:cubicBezTo>
                <a:cubicBezTo>
                  <a:pt x="10688" y="3313"/>
                  <a:pt x="10656" y="3344"/>
                  <a:pt x="10656" y="3344"/>
                </a:cubicBezTo>
                <a:cubicBezTo>
                  <a:pt x="10625" y="3282"/>
                  <a:pt x="10500" y="3438"/>
                  <a:pt x="10531" y="3282"/>
                </a:cubicBezTo>
                <a:cubicBezTo>
                  <a:pt x="10531" y="3250"/>
                  <a:pt x="10500" y="3250"/>
                  <a:pt x="10469" y="3250"/>
                </a:cubicBezTo>
                <a:cubicBezTo>
                  <a:pt x="10406" y="3250"/>
                  <a:pt x="10375" y="3250"/>
                  <a:pt x="10281" y="3250"/>
                </a:cubicBezTo>
                <a:lnTo>
                  <a:pt x="10281" y="3250"/>
                </a:lnTo>
                <a:cubicBezTo>
                  <a:pt x="10375" y="3219"/>
                  <a:pt x="10281" y="3032"/>
                  <a:pt x="10438" y="3094"/>
                </a:cubicBezTo>
                <a:cubicBezTo>
                  <a:pt x="10438" y="3063"/>
                  <a:pt x="10469" y="3063"/>
                  <a:pt x="10469" y="3094"/>
                </a:cubicBezTo>
                <a:close/>
                <a:moveTo>
                  <a:pt x="9250" y="4032"/>
                </a:moveTo>
                <a:cubicBezTo>
                  <a:pt x="9156" y="3938"/>
                  <a:pt x="9094" y="3844"/>
                  <a:pt x="8938" y="3813"/>
                </a:cubicBezTo>
                <a:cubicBezTo>
                  <a:pt x="9031" y="3907"/>
                  <a:pt x="9063" y="4063"/>
                  <a:pt x="9250" y="4032"/>
                </a:cubicBezTo>
                <a:close/>
                <a:moveTo>
                  <a:pt x="16250" y="14375"/>
                </a:moveTo>
                <a:cubicBezTo>
                  <a:pt x="16219" y="14375"/>
                  <a:pt x="16219" y="14375"/>
                  <a:pt x="16219" y="14407"/>
                </a:cubicBezTo>
                <a:cubicBezTo>
                  <a:pt x="16219" y="14438"/>
                  <a:pt x="16250" y="14438"/>
                  <a:pt x="16250" y="14438"/>
                </a:cubicBezTo>
                <a:cubicBezTo>
                  <a:pt x="16344" y="14375"/>
                  <a:pt x="16469" y="14438"/>
                  <a:pt x="16563" y="14313"/>
                </a:cubicBezTo>
                <a:cubicBezTo>
                  <a:pt x="16438" y="14282"/>
                  <a:pt x="16344" y="14344"/>
                  <a:pt x="16250" y="14375"/>
                </a:cubicBezTo>
                <a:close/>
                <a:moveTo>
                  <a:pt x="9469" y="4188"/>
                </a:moveTo>
                <a:cubicBezTo>
                  <a:pt x="9406" y="4125"/>
                  <a:pt x="9313" y="4125"/>
                  <a:pt x="9250" y="4188"/>
                </a:cubicBezTo>
                <a:cubicBezTo>
                  <a:pt x="9313" y="4125"/>
                  <a:pt x="9375" y="4438"/>
                  <a:pt x="9469" y="4188"/>
                </a:cubicBezTo>
                <a:close/>
                <a:moveTo>
                  <a:pt x="17781" y="13969"/>
                </a:moveTo>
                <a:cubicBezTo>
                  <a:pt x="17656" y="14000"/>
                  <a:pt x="17500" y="13907"/>
                  <a:pt x="17375" y="14063"/>
                </a:cubicBezTo>
                <a:cubicBezTo>
                  <a:pt x="17531" y="14063"/>
                  <a:pt x="17656" y="14063"/>
                  <a:pt x="17781" y="13969"/>
                </a:cubicBezTo>
                <a:close/>
                <a:moveTo>
                  <a:pt x="1063" y="6375"/>
                </a:moveTo>
                <a:cubicBezTo>
                  <a:pt x="1094" y="6344"/>
                  <a:pt x="1063" y="6282"/>
                  <a:pt x="1063" y="6219"/>
                </a:cubicBezTo>
                <a:cubicBezTo>
                  <a:pt x="1000" y="6282"/>
                  <a:pt x="907" y="6282"/>
                  <a:pt x="844" y="6313"/>
                </a:cubicBezTo>
                <a:cubicBezTo>
                  <a:pt x="938" y="6375"/>
                  <a:pt x="1032" y="6407"/>
                  <a:pt x="1063" y="6375"/>
                </a:cubicBezTo>
                <a:close/>
                <a:moveTo>
                  <a:pt x="6500" y="9375"/>
                </a:moveTo>
                <a:cubicBezTo>
                  <a:pt x="6375" y="9407"/>
                  <a:pt x="6281" y="9313"/>
                  <a:pt x="6188" y="9407"/>
                </a:cubicBezTo>
                <a:cubicBezTo>
                  <a:pt x="6281" y="9438"/>
                  <a:pt x="6375" y="9469"/>
                  <a:pt x="6500" y="9375"/>
                </a:cubicBezTo>
                <a:close/>
                <a:moveTo>
                  <a:pt x="6906" y="10500"/>
                </a:moveTo>
                <a:cubicBezTo>
                  <a:pt x="7000" y="10500"/>
                  <a:pt x="7094" y="10500"/>
                  <a:pt x="7219" y="10469"/>
                </a:cubicBezTo>
                <a:cubicBezTo>
                  <a:pt x="7063" y="10375"/>
                  <a:pt x="7000" y="10344"/>
                  <a:pt x="6906" y="10500"/>
                </a:cubicBezTo>
                <a:close/>
                <a:moveTo>
                  <a:pt x="3219" y="8719"/>
                </a:moveTo>
                <a:cubicBezTo>
                  <a:pt x="3094" y="8688"/>
                  <a:pt x="2969" y="8719"/>
                  <a:pt x="2844" y="8719"/>
                </a:cubicBezTo>
                <a:cubicBezTo>
                  <a:pt x="2844" y="8719"/>
                  <a:pt x="2844" y="8719"/>
                  <a:pt x="2844" y="8719"/>
                </a:cubicBezTo>
                <a:cubicBezTo>
                  <a:pt x="2907" y="8719"/>
                  <a:pt x="2969" y="8750"/>
                  <a:pt x="3063" y="8750"/>
                </a:cubicBezTo>
                <a:cubicBezTo>
                  <a:pt x="3094" y="8750"/>
                  <a:pt x="3157" y="8782"/>
                  <a:pt x="3188" y="8782"/>
                </a:cubicBezTo>
                <a:cubicBezTo>
                  <a:pt x="3219" y="8782"/>
                  <a:pt x="3282" y="8813"/>
                  <a:pt x="3282" y="8750"/>
                </a:cubicBezTo>
                <a:cubicBezTo>
                  <a:pt x="3282" y="8688"/>
                  <a:pt x="3250" y="8719"/>
                  <a:pt x="3219" y="8719"/>
                </a:cubicBezTo>
                <a:close/>
                <a:moveTo>
                  <a:pt x="32719" y="1532"/>
                </a:moveTo>
                <a:cubicBezTo>
                  <a:pt x="32813" y="1532"/>
                  <a:pt x="32906" y="1469"/>
                  <a:pt x="32906" y="1313"/>
                </a:cubicBezTo>
                <a:cubicBezTo>
                  <a:pt x="32813" y="1375"/>
                  <a:pt x="32781" y="1469"/>
                  <a:pt x="32688" y="1469"/>
                </a:cubicBezTo>
                <a:cubicBezTo>
                  <a:pt x="32656" y="1438"/>
                  <a:pt x="32625" y="1438"/>
                  <a:pt x="32625" y="1500"/>
                </a:cubicBezTo>
                <a:cubicBezTo>
                  <a:pt x="32625" y="1532"/>
                  <a:pt x="32688" y="1532"/>
                  <a:pt x="32719" y="1532"/>
                </a:cubicBezTo>
                <a:close/>
                <a:moveTo>
                  <a:pt x="9438" y="3000"/>
                </a:moveTo>
                <a:cubicBezTo>
                  <a:pt x="9469" y="3000"/>
                  <a:pt x="9500" y="2969"/>
                  <a:pt x="9500" y="2969"/>
                </a:cubicBezTo>
                <a:cubicBezTo>
                  <a:pt x="9531" y="2938"/>
                  <a:pt x="9531" y="2907"/>
                  <a:pt x="9563" y="2907"/>
                </a:cubicBezTo>
                <a:cubicBezTo>
                  <a:pt x="9469" y="2907"/>
                  <a:pt x="9313" y="2750"/>
                  <a:pt x="9281" y="2969"/>
                </a:cubicBezTo>
                <a:cubicBezTo>
                  <a:pt x="9313" y="3063"/>
                  <a:pt x="9375" y="3000"/>
                  <a:pt x="9438" y="3000"/>
                </a:cubicBezTo>
                <a:close/>
                <a:moveTo>
                  <a:pt x="2000" y="6407"/>
                </a:moveTo>
                <a:cubicBezTo>
                  <a:pt x="2000" y="6407"/>
                  <a:pt x="2032" y="6375"/>
                  <a:pt x="2032" y="6375"/>
                </a:cubicBezTo>
                <a:cubicBezTo>
                  <a:pt x="2032" y="6344"/>
                  <a:pt x="2000" y="6344"/>
                  <a:pt x="2000" y="6313"/>
                </a:cubicBezTo>
                <a:cubicBezTo>
                  <a:pt x="1938" y="6313"/>
                  <a:pt x="1875" y="6313"/>
                  <a:pt x="1813" y="6313"/>
                </a:cubicBezTo>
                <a:cubicBezTo>
                  <a:pt x="1750" y="6344"/>
                  <a:pt x="1782" y="6407"/>
                  <a:pt x="1782" y="6438"/>
                </a:cubicBezTo>
                <a:cubicBezTo>
                  <a:pt x="1750" y="6469"/>
                  <a:pt x="1750" y="6469"/>
                  <a:pt x="1750" y="6500"/>
                </a:cubicBezTo>
                <a:cubicBezTo>
                  <a:pt x="1782" y="6500"/>
                  <a:pt x="1813" y="6500"/>
                  <a:pt x="1813" y="6500"/>
                </a:cubicBezTo>
                <a:cubicBezTo>
                  <a:pt x="1875" y="6438"/>
                  <a:pt x="1907" y="6375"/>
                  <a:pt x="2000" y="6407"/>
                </a:cubicBezTo>
                <a:close/>
                <a:moveTo>
                  <a:pt x="5313" y="2532"/>
                </a:moveTo>
                <a:cubicBezTo>
                  <a:pt x="5281" y="2563"/>
                  <a:pt x="5344" y="2594"/>
                  <a:pt x="5375" y="2625"/>
                </a:cubicBezTo>
                <a:cubicBezTo>
                  <a:pt x="5406" y="2625"/>
                  <a:pt x="5469" y="2688"/>
                  <a:pt x="5531" y="2657"/>
                </a:cubicBezTo>
                <a:cubicBezTo>
                  <a:pt x="5531" y="2657"/>
                  <a:pt x="5594" y="2688"/>
                  <a:pt x="5594" y="2657"/>
                </a:cubicBezTo>
                <a:cubicBezTo>
                  <a:pt x="5594" y="2594"/>
                  <a:pt x="5563" y="2594"/>
                  <a:pt x="5531" y="2594"/>
                </a:cubicBezTo>
                <a:cubicBezTo>
                  <a:pt x="5500" y="2563"/>
                  <a:pt x="5469" y="2532"/>
                  <a:pt x="5438" y="2532"/>
                </a:cubicBezTo>
                <a:cubicBezTo>
                  <a:pt x="5406" y="2500"/>
                  <a:pt x="5344" y="2500"/>
                  <a:pt x="5313" y="2532"/>
                </a:cubicBezTo>
                <a:close/>
                <a:moveTo>
                  <a:pt x="8969" y="11282"/>
                </a:moveTo>
                <a:cubicBezTo>
                  <a:pt x="9094" y="11282"/>
                  <a:pt x="9219" y="11313"/>
                  <a:pt x="9313" y="11219"/>
                </a:cubicBezTo>
                <a:cubicBezTo>
                  <a:pt x="9188" y="11250"/>
                  <a:pt x="9063" y="11125"/>
                  <a:pt x="8969" y="11282"/>
                </a:cubicBezTo>
                <a:close/>
                <a:moveTo>
                  <a:pt x="34063" y="4344"/>
                </a:moveTo>
                <a:cubicBezTo>
                  <a:pt x="34219" y="4407"/>
                  <a:pt x="34344" y="4313"/>
                  <a:pt x="34469" y="4219"/>
                </a:cubicBezTo>
                <a:cubicBezTo>
                  <a:pt x="34313" y="4188"/>
                  <a:pt x="34188" y="4313"/>
                  <a:pt x="34063" y="4344"/>
                </a:cubicBezTo>
                <a:close/>
                <a:moveTo>
                  <a:pt x="6281" y="4125"/>
                </a:moveTo>
                <a:cubicBezTo>
                  <a:pt x="6281" y="4125"/>
                  <a:pt x="6250" y="4125"/>
                  <a:pt x="6250" y="4157"/>
                </a:cubicBezTo>
                <a:cubicBezTo>
                  <a:pt x="6250" y="4125"/>
                  <a:pt x="6250" y="4125"/>
                  <a:pt x="6250" y="4125"/>
                </a:cubicBezTo>
                <a:cubicBezTo>
                  <a:pt x="6250" y="4125"/>
                  <a:pt x="6219" y="4125"/>
                  <a:pt x="6219" y="4125"/>
                </a:cubicBezTo>
                <a:cubicBezTo>
                  <a:pt x="6188" y="4157"/>
                  <a:pt x="6125" y="4094"/>
                  <a:pt x="6125" y="4157"/>
                </a:cubicBezTo>
                <a:cubicBezTo>
                  <a:pt x="6094" y="4219"/>
                  <a:pt x="6188" y="4219"/>
                  <a:pt x="6219" y="4250"/>
                </a:cubicBezTo>
                <a:cubicBezTo>
                  <a:pt x="6313" y="4282"/>
                  <a:pt x="6375" y="4219"/>
                  <a:pt x="6406" y="4157"/>
                </a:cubicBezTo>
                <a:cubicBezTo>
                  <a:pt x="6375" y="4032"/>
                  <a:pt x="6344" y="4063"/>
                  <a:pt x="6281" y="4125"/>
                </a:cubicBezTo>
                <a:close/>
                <a:moveTo>
                  <a:pt x="4094" y="8875"/>
                </a:moveTo>
                <a:cubicBezTo>
                  <a:pt x="4250" y="9000"/>
                  <a:pt x="4375" y="9000"/>
                  <a:pt x="4500" y="8875"/>
                </a:cubicBezTo>
                <a:cubicBezTo>
                  <a:pt x="4375" y="8875"/>
                  <a:pt x="4219" y="8844"/>
                  <a:pt x="4094" y="8875"/>
                </a:cubicBezTo>
                <a:close/>
                <a:moveTo>
                  <a:pt x="6438" y="10157"/>
                </a:moveTo>
                <a:cubicBezTo>
                  <a:pt x="6438" y="10157"/>
                  <a:pt x="6438" y="10157"/>
                  <a:pt x="6438" y="10157"/>
                </a:cubicBezTo>
                <a:cubicBezTo>
                  <a:pt x="6438" y="10157"/>
                  <a:pt x="6438" y="10157"/>
                  <a:pt x="6438" y="10157"/>
                </a:cubicBezTo>
                <a:close/>
                <a:moveTo>
                  <a:pt x="9563" y="3657"/>
                </a:moveTo>
                <a:cubicBezTo>
                  <a:pt x="9594" y="3563"/>
                  <a:pt x="9563" y="3594"/>
                  <a:pt x="9500" y="3563"/>
                </a:cubicBezTo>
                <a:cubicBezTo>
                  <a:pt x="9406" y="3532"/>
                  <a:pt x="9438" y="3657"/>
                  <a:pt x="9375" y="3657"/>
                </a:cubicBezTo>
                <a:cubicBezTo>
                  <a:pt x="9375" y="3688"/>
                  <a:pt x="9375" y="3688"/>
                  <a:pt x="9406" y="3719"/>
                </a:cubicBezTo>
                <a:cubicBezTo>
                  <a:pt x="9469" y="3688"/>
                  <a:pt x="9531" y="3782"/>
                  <a:pt x="9594" y="3782"/>
                </a:cubicBezTo>
                <a:cubicBezTo>
                  <a:pt x="9656" y="3688"/>
                  <a:pt x="9531" y="3688"/>
                  <a:pt x="9563" y="3657"/>
                </a:cubicBezTo>
                <a:close/>
                <a:moveTo>
                  <a:pt x="3063" y="4938"/>
                </a:moveTo>
                <a:cubicBezTo>
                  <a:pt x="3219" y="5000"/>
                  <a:pt x="3407" y="5063"/>
                  <a:pt x="3563" y="5125"/>
                </a:cubicBezTo>
                <a:cubicBezTo>
                  <a:pt x="3438" y="4969"/>
                  <a:pt x="3250" y="4969"/>
                  <a:pt x="3063" y="4938"/>
                </a:cubicBezTo>
                <a:close/>
                <a:moveTo>
                  <a:pt x="12719" y="12969"/>
                </a:moveTo>
                <a:cubicBezTo>
                  <a:pt x="12594" y="12969"/>
                  <a:pt x="12500" y="12969"/>
                  <a:pt x="12375" y="13032"/>
                </a:cubicBezTo>
                <a:cubicBezTo>
                  <a:pt x="12531" y="13063"/>
                  <a:pt x="12656" y="13000"/>
                  <a:pt x="12750" y="13125"/>
                </a:cubicBezTo>
                <a:cubicBezTo>
                  <a:pt x="12719" y="13063"/>
                  <a:pt x="12781" y="12969"/>
                  <a:pt x="12719" y="12969"/>
                </a:cubicBezTo>
                <a:close/>
                <a:moveTo>
                  <a:pt x="34531" y="7938"/>
                </a:moveTo>
                <a:cubicBezTo>
                  <a:pt x="34531" y="7938"/>
                  <a:pt x="34500" y="7938"/>
                  <a:pt x="34500" y="7938"/>
                </a:cubicBezTo>
                <a:cubicBezTo>
                  <a:pt x="34438" y="7969"/>
                  <a:pt x="34406" y="8000"/>
                  <a:pt x="34375" y="8032"/>
                </a:cubicBezTo>
                <a:cubicBezTo>
                  <a:pt x="34375" y="8032"/>
                  <a:pt x="34375" y="8063"/>
                  <a:pt x="34406" y="8063"/>
                </a:cubicBezTo>
                <a:cubicBezTo>
                  <a:pt x="34438" y="8094"/>
                  <a:pt x="34500" y="8125"/>
                  <a:pt x="34531" y="8032"/>
                </a:cubicBezTo>
                <a:cubicBezTo>
                  <a:pt x="34531" y="8032"/>
                  <a:pt x="34563" y="8032"/>
                  <a:pt x="34563" y="8032"/>
                </a:cubicBezTo>
                <a:cubicBezTo>
                  <a:pt x="34594" y="8032"/>
                  <a:pt x="34625" y="8000"/>
                  <a:pt x="34625" y="7969"/>
                </a:cubicBezTo>
                <a:cubicBezTo>
                  <a:pt x="34625" y="7907"/>
                  <a:pt x="34563" y="7938"/>
                  <a:pt x="34531" y="7938"/>
                </a:cubicBezTo>
                <a:close/>
                <a:moveTo>
                  <a:pt x="18625" y="14469"/>
                </a:moveTo>
                <a:cubicBezTo>
                  <a:pt x="18750" y="14500"/>
                  <a:pt x="18875" y="14532"/>
                  <a:pt x="19000" y="14469"/>
                </a:cubicBezTo>
                <a:cubicBezTo>
                  <a:pt x="18875" y="14469"/>
                  <a:pt x="18750" y="14407"/>
                  <a:pt x="18625" y="14469"/>
                </a:cubicBezTo>
                <a:close/>
                <a:moveTo>
                  <a:pt x="1282" y="6407"/>
                </a:moveTo>
                <a:cubicBezTo>
                  <a:pt x="1407" y="6438"/>
                  <a:pt x="1500" y="6500"/>
                  <a:pt x="1625" y="6438"/>
                </a:cubicBezTo>
                <a:cubicBezTo>
                  <a:pt x="1500" y="6407"/>
                  <a:pt x="1407" y="6344"/>
                  <a:pt x="1282" y="6407"/>
                </a:cubicBezTo>
                <a:close/>
                <a:moveTo>
                  <a:pt x="15188" y="13344"/>
                </a:moveTo>
                <a:cubicBezTo>
                  <a:pt x="15188" y="13344"/>
                  <a:pt x="15188" y="13344"/>
                  <a:pt x="15188" y="13344"/>
                </a:cubicBezTo>
                <a:cubicBezTo>
                  <a:pt x="15188" y="13344"/>
                  <a:pt x="15188" y="13344"/>
                  <a:pt x="15188" y="13344"/>
                </a:cubicBezTo>
                <a:close/>
                <a:moveTo>
                  <a:pt x="18594" y="14157"/>
                </a:moveTo>
                <a:cubicBezTo>
                  <a:pt x="18594" y="14125"/>
                  <a:pt x="18563" y="14063"/>
                  <a:pt x="18531" y="14094"/>
                </a:cubicBezTo>
                <a:cubicBezTo>
                  <a:pt x="18469" y="14157"/>
                  <a:pt x="18344" y="14125"/>
                  <a:pt x="18250" y="14219"/>
                </a:cubicBezTo>
                <a:cubicBezTo>
                  <a:pt x="18375" y="14219"/>
                  <a:pt x="18469" y="14219"/>
                  <a:pt x="18563" y="14219"/>
                </a:cubicBezTo>
                <a:cubicBezTo>
                  <a:pt x="18594" y="14219"/>
                  <a:pt x="18625" y="14188"/>
                  <a:pt x="18594" y="14157"/>
                </a:cubicBezTo>
                <a:close/>
                <a:moveTo>
                  <a:pt x="19938" y="4688"/>
                </a:moveTo>
                <a:cubicBezTo>
                  <a:pt x="20031" y="4719"/>
                  <a:pt x="20125" y="4750"/>
                  <a:pt x="20156" y="4625"/>
                </a:cubicBezTo>
                <a:cubicBezTo>
                  <a:pt x="20125" y="4625"/>
                  <a:pt x="20063" y="4657"/>
                  <a:pt x="20031" y="4563"/>
                </a:cubicBezTo>
                <a:cubicBezTo>
                  <a:pt x="20031" y="4500"/>
                  <a:pt x="19969" y="4532"/>
                  <a:pt x="19906" y="4532"/>
                </a:cubicBezTo>
                <a:cubicBezTo>
                  <a:pt x="19844" y="4532"/>
                  <a:pt x="19938" y="4594"/>
                  <a:pt x="19875" y="4625"/>
                </a:cubicBezTo>
                <a:cubicBezTo>
                  <a:pt x="19844" y="4657"/>
                  <a:pt x="19938" y="4688"/>
                  <a:pt x="19938" y="4688"/>
                </a:cubicBezTo>
                <a:close/>
                <a:moveTo>
                  <a:pt x="33406" y="4532"/>
                </a:moveTo>
                <a:cubicBezTo>
                  <a:pt x="33563" y="4563"/>
                  <a:pt x="33719" y="4563"/>
                  <a:pt x="33844" y="4407"/>
                </a:cubicBezTo>
                <a:cubicBezTo>
                  <a:pt x="33656" y="4375"/>
                  <a:pt x="33531" y="4438"/>
                  <a:pt x="33406" y="4532"/>
                </a:cubicBezTo>
                <a:close/>
                <a:moveTo>
                  <a:pt x="2188" y="9157"/>
                </a:moveTo>
                <a:cubicBezTo>
                  <a:pt x="2344" y="9250"/>
                  <a:pt x="2532" y="9219"/>
                  <a:pt x="2719" y="9219"/>
                </a:cubicBezTo>
                <a:cubicBezTo>
                  <a:pt x="2532" y="9157"/>
                  <a:pt x="2375" y="9094"/>
                  <a:pt x="2188" y="9157"/>
                </a:cubicBezTo>
                <a:close/>
                <a:moveTo>
                  <a:pt x="719" y="8688"/>
                </a:moveTo>
                <a:cubicBezTo>
                  <a:pt x="563" y="8688"/>
                  <a:pt x="469" y="8657"/>
                  <a:pt x="344" y="8719"/>
                </a:cubicBezTo>
                <a:cubicBezTo>
                  <a:pt x="594" y="8813"/>
                  <a:pt x="594" y="8813"/>
                  <a:pt x="719" y="8688"/>
                </a:cubicBezTo>
                <a:close/>
                <a:moveTo>
                  <a:pt x="20531" y="5250"/>
                </a:moveTo>
                <a:cubicBezTo>
                  <a:pt x="20719" y="5313"/>
                  <a:pt x="20719" y="5313"/>
                  <a:pt x="20750" y="5219"/>
                </a:cubicBezTo>
                <a:cubicBezTo>
                  <a:pt x="20594" y="5219"/>
                  <a:pt x="20438" y="5125"/>
                  <a:pt x="20250" y="5250"/>
                </a:cubicBezTo>
                <a:cubicBezTo>
                  <a:pt x="20375" y="5282"/>
                  <a:pt x="20438" y="5219"/>
                  <a:pt x="20531" y="5250"/>
                </a:cubicBezTo>
                <a:close/>
                <a:moveTo>
                  <a:pt x="1125" y="8875"/>
                </a:moveTo>
                <a:cubicBezTo>
                  <a:pt x="1063" y="8844"/>
                  <a:pt x="1032" y="8875"/>
                  <a:pt x="1000" y="8907"/>
                </a:cubicBezTo>
                <a:cubicBezTo>
                  <a:pt x="1000" y="8938"/>
                  <a:pt x="969" y="8938"/>
                  <a:pt x="969" y="8907"/>
                </a:cubicBezTo>
                <a:cubicBezTo>
                  <a:pt x="969" y="8907"/>
                  <a:pt x="938" y="8907"/>
                  <a:pt x="938" y="8907"/>
                </a:cubicBezTo>
                <a:cubicBezTo>
                  <a:pt x="875" y="8844"/>
                  <a:pt x="813" y="8875"/>
                  <a:pt x="719" y="8875"/>
                </a:cubicBezTo>
                <a:cubicBezTo>
                  <a:pt x="688" y="8875"/>
                  <a:pt x="657" y="8875"/>
                  <a:pt x="594" y="8875"/>
                </a:cubicBezTo>
                <a:cubicBezTo>
                  <a:pt x="657" y="8907"/>
                  <a:pt x="657" y="9000"/>
                  <a:pt x="719" y="8969"/>
                </a:cubicBezTo>
                <a:cubicBezTo>
                  <a:pt x="844" y="8938"/>
                  <a:pt x="969" y="8969"/>
                  <a:pt x="1094" y="8969"/>
                </a:cubicBezTo>
                <a:cubicBezTo>
                  <a:pt x="1125" y="8969"/>
                  <a:pt x="1188" y="8969"/>
                  <a:pt x="1188" y="8907"/>
                </a:cubicBezTo>
                <a:cubicBezTo>
                  <a:pt x="1188" y="8875"/>
                  <a:pt x="1157" y="8875"/>
                  <a:pt x="1125" y="8875"/>
                </a:cubicBezTo>
                <a:close/>
                <a:moveTo>
                  <a:pt x="14031" y="3500"/>
                </a:moveTo>
                <a:cubicBezTo>
                  <a:pt x="14031" y="3500"/>
                  <a:pt x="14063" y="3500"/>
                  <a:pt x="14094" y="3469"/>
                </a:cubicBezTo>
                <a:cubicBezTo>
                  <a:pt x="14094" y="3469"/>
                  <a:pt x="14094" y="3438"/>
                  <a:pt x="14094" y="3438"/>
                </a:cubicBezTo>
                <a:cubicBezTo>
                  <a:pt x="13969" y="3407"/>
                  <a:pt x="13875" y="3219"/>
                  <a:pt x="13719" y="3282"/>
                </a:cubicBezTo>
                <a:cubicBezTo>
                  <a:pt x="13781" y="3407"/>
                  <a:pt x="13938" y="3438"/>
                  <a:pt x="14031" y="3500"/>
                </a:cubicBezTo>
                <a:close/>
                <a:moveTo>
                  <a:pt x="10094" y="3188"/>
                </a:moveTo>
                <a:cubicBezTo>
                  <a:pt x="10156" y="3188"/>
                  <a:pt x="10188" y="3157"/>
                  <a:pt x="10188" y="3094"/>
                </a:cubicBezTo>
                <a:cubicBezTo>
                  <a:pt x="10188" y="3032"/>
                  <a:pt x="10031" y="2938"/>
                  <a:pt x="9938" y="2969"/>
                </a:cubicBezTo>
                <a:cubicBezTo>
                  <a:pt x="9938" y="3032"/>
                  <a:pt x="9906" y="3094"/>
                  <a:pt x="9938" y="3125"/>
                </a:cubicBezTo>
                <a:cubicBezTo>
                  <a:pt x="10000" y="3125"/>
                  <a:pt x="10031" y="3188"/>
                  <a:pt x="10094" y="3188"/>
                </a:cubicBezTo>
                <a:close/>
                <a:moveTo>
                  <a:pt x="8625" y="10688"/>
                </a:moveTo>
                <a:cubicBezTo>
                  <a:pt x="8625" y="10688"/>
                  <a:pt x="8625" y="10688"/>
                  <a:pt x="8625" y="10688"/>
                </a:cubicBezTo>
                <a:cubicBezTo>
                  <a:pt x="8531" y="10688"/>
                  <a:pt x="8469" y="10657"/>
                  <a:pt x="8406" y="10625"/>
                </a:cubicBezTo>
                <a:cubicBezTo>
                  <a:pt x="8719" y="10875"/>
                  <a:pt x="8719" y="10875"/>
                  <a:pt x="8813" y="10813"/>
                </a:cubicBezTo>
                <a:cubicBezTo>
                  <a:pt x="8750" y="10750"/>
                  <a:pt x="8656" y="10750"/>
                  <a:pt x="8625" y="10688"/>
                </a:cubicBezTo>
                <a:close/>
                <a:moveTo>
                  <a:pt x="12031" y="3438"/>
                </a:moveTo>
                <a:cubicBezTo>
                  <a:pt x="11906" y="3344"/>
                  <a:pt x="11719" y="3313"/>
                  <a:pt x="11594" y="3188"/>
                </a:cubicBezTo>
                <a:cubicBezTo>
                  <a:pt x="11625" y="3313"/>
                  <a:pt x="11844" y="3438"/>
                  <a:pt x="12031" y="3438"/>
                </a:cubicBezTo>
                <a:close/>
                <a:moveTo>
                  <a:pt x="3719" y="9313"/>
                </a:moveTo>
                <a:cubicBezTo>
                  <a:pt x="3938" y="9469"/>
                  <a:pt x="3938" y="9469"/>
                  <a:pt x="4156" y="9407"/>
                </a:cubicBezTo>
                <a:cubicBezTo>
                  <a:pt x="4063" y="9344"/>
                  <a:pt x="3750" y="9313"/>
                  <a:pt x="3719" y="9313"/>
                </a:cubicBezTo>
                <a:close/>
                <a:moveTo>
                  <a:pt x="4406" y="7563"/>
                </a:moveTo>
                <a:cubicBezTo>
                  <a:pt x="4313" y="7532"/>
                  <a:pt x="4250" y="7469"/>
                  <a:pt x="4125" y="7594"/>
                </a:cubicBezTo>
                <a:cubicBezTo>
                  <a:pt x="4250" y="7594"/>
                  <a:pt x="4344" y="7657"/>
                  <a:pt x="4438" y="7688"/>
                </a:cubicBezTo>
                <a:cubicBezTo>
                  <a:pt x="4531" y="7719"/>
                  <a:pt x="4594" y="7719"/>
                  <a:pt x="4688" y="7657"/>
                </a:cubicBezTo>
                <a:cubicBezTo>
                  <a:pt x="4594" y="7657"/>
                  <a:pt x="4500" y="7625"/>
                  <a:pt x="4406" y="7563"/>
                </a:cubicBezTo>
                <a:close/>
                <a:moveTo>
                  <a:pt x="4813" y="8938"/>
                </a:moveTo>
                <a:cubicBezTo>
                  <a:pt x="4750" y="8938"/>
                  <a:pt x="4688" y="8938"/>
                  <a:pt x="4656" y="8969"/>
                </a:cubicBezTo>
                <a:cubicBezTo>
                  <a:pt x="4719" y="9032"/>
                  <a:pt x="4781" y="9125"/>
                  <a:pt x="4875" y="9094"/>
                </a:cubicBezTo>
                <a:cubicBezTo>
                  <a:pt x="4906" y="9094"/>
                  <a:pt x="4938" y="9000"/>
                  <a:pt x="5000" y="8938"/>
                </a:cubicBezTo>
                <a:cubicBezTo>
                  <a:pt x="4938" y="8938"/>
                  <a:pt x="4875" y="8938"/>
                  <a:pt x="4813" y="8938"/>
                </a:cubicBezTo>
                <a:close/>
                <a:moveTo>
                  <a:pt x="2844" y="3594"/>
                </a:moveTo>
                <a:cubicBezTo>
                  <a:pt x="3000" y="3594"/>
                  <a:pt x="3157" y="3688"/>
                  <a:pt x="3344" y="3688"/>
                </a:cubicBezTo>
                <a:cubicBezTo>
                  <a:pt x="3250" y="3625"/>
                  <a:pt x="3250" y="3500"/>
                  <a:pt x="3125" y="3532"/>
                </a:cubicBezTo>
                <a:cubicBezTo>
                  <a:pt x="3032" y="3563"/>
                  <a:pt x="2938" y="3563"/>
                  <a:pt x="2844" y="3532"/>
                </a:cubicBezTo>
                <a:cubicBezTo>
                  <a:pt x="2844" y="3500"/>
                  <a:pt x="2813" y="3532"/>
                  <a:pt x="2813" y="3563"/>
                </a:cubicBezTo>
                <a:cubicBezTo>
                  <a:pt x="2813" y="3594"/>
                  <a:pt x="2813" y="3594"/>
                  <a:pt x="2844" y="3594"/>
                </a:cubicBezTo>
                <a:close/>
                <a:moveTo>
                  <a:pt x="22719" y="14782"/>
                </a:moveTo>
                <a:cubicBezTo>
                  <a:pt x="22688" y="14782"/>
                  <a:pt x="22656" y="14813"/>
                  <a:pt x="22594" y="14813"/>
                </a:cubicBezTo>
                <a:cubicBezTo>
                  <a:pt x="22563" y="14813"/>
                  <a:pt x="22531" y="14844"/>
                  <a:pt x="22531" y="14875"/>
                </a:cubicBezTo>
                <a:cubicBezTo>
                  <a:pt x="22500" y="14907"/>
                  <a:pt x="22500" y="14938"/>
                  <a:pt x="22531" y="14969"/>
                </a:cubicBezTo>
                <a:cubicBezTo>
                  <a:pt x="22563" y="14969"/>
                  <a:pt x="22594" y="15000"/>
                  <a:pt x="22625" y="15000"/>
                </a:cubicBezTo>
                <a:cubicBezTo>
                  <a:pt x="22656" y="14969"/>
                  <a:pt x="22594" y="14969"/>
                  <a:pt x="22594" y="14938"/>
                </a:cubicBezTo>
                <a:cubicBezTo>
                  <a:pt x="22625" y="14907"/>
                  <a:pt x="22656" y="14875"/>
                  <a:pt x="22688" y="14875"/>
                </a:cubicBezTo>
                <a:cubicBezTo>
                  <a:pt x="22750" y="14844"/>
                  <a:pt x="22719" y="14907"/>
                  <a:pt x="22719" y="14938"/>
                </a:cubicBezTo>
                <a:cubicBezTo>
                  <a:pt x="22719" y="15000"/>
                  <a:pt x="22750" y="15000"/>
                  <a:pt x="22813" y="14969"/>
                </a:cubicBezTo>
                <a:cubicBezTo>
                  <a:pt x="22781" y="14907"/>
                  <a:pt x="22781" y="14907"/>
                  <a:pt x="22844" y="14750"/>
                </a:cubicBezTo>
                <a:cubicBezTo>
                  <a:pt x="22781" y="14719"/>
                  <a:pt x="22781" y="14782"/>
                  <a:pt x="22719" y="14782"/>
                </a:cubicBezTo>
                <a:close/>
                <a:moveTo>
                  <a:pt x="23281" y="14750"/>
                </a:moveTo>
                <a:cubicBezTo>
                  <a:pt x="23281" y="14750"/>
                  <a:pt x="23281" y="14750"/>
                  <a:pt x="23281" y="14750"/>
                </a:cubicBezTo>
                <a:close/>
                <a:moveTo>
                  <a:pt x="9594" y="10813"/>
                </a:moveTo>
                <a:cubicBezTo>
                  <a:pt x="9563" y="10813"/>
                  <a:pt x="9563" y="10844"/>
                  <a:pt x="9531" y="10813"/>
                </a:cubicBezTo>
                <a:cubicBezTo>
                  <a:pt x="9500" y="10782"/>
                  <a:pt x="9438" y="10782"/>
                  <a:pt x="9406" y="10813"/>
                </a:cubicBezTo>
                <a:cubicBezTo>
                  <a:pt x="9375" y="10813"/>
                  <a:pt x="9375" y="10813"/>
                  <a:pt x="9375" y="10844"/>
                </a:cubicBezTo>
                <a:cubicBezTo>
                  <a:pt x="9375" y="10875"/>
                  <a:pt x="9438" y="10875"/>
                  <a:pt x="9438" y="10875"/>
                </a:cubicBezTo>
                <a:cubicBezTo>
                  <a:pt x="9469" y="10875"/>
                  <a:pt x="9500" y="10844"/>
                  <a:pt x="9500" y="10875"/>
                </a:cubicBezTo>
                <a:cubicBezTo>
                  <a:pt x="9563" y="10938"/>
                  <a:pt x="9719" y="10938"/>
                  <a:pt x="9719" y="10907"/>
                </a:cubicBezTo>
                <a:cubicBezTo>
                  <a:pt x="9719" y="10813"/>
                  <a:pt x="9813" y="10844"/>
                  <a:pt x="9844" y="10813"/>
                </a:cubicBezTo>
                <a:cubicBezTo>
                  <a:pt x="9781" y="10719"/>
                  <a:pt x="9625" y="10657"/>
                  <a:pt x="9500" y="10719"/>
                </a:cubicBezTo>
                <a:cubicBezTo>
                  <a:pt x="9594" y="10750"/>
                  <a:pt x="9656" y="10782"/>
                  <a:pt x="9719" y="10813"/>
                </a:cubicBezTo>
                <a:cubicBezTo>
                  <a:pt x="9656" y="10844"/>
                  <a:pt x="9625" y="10813"/>
                  <a:pt x="9594" y="10813"/>
                </a:cubicBezTo>
                <a:close/>
                <a:moveTo>
                  <a:pt x="3125" y="6969"/>
                </a:moveTo>
                <a:cubicBezTo>
                  <a:pt x="3125" y="6907"/>
                  <a:pt x="3063" y="6907"/>
                  <a:pt x="3032" y="6907"/>
                </a:cubicBezTo>
                <a:cubicBezTo>
                  <a:pt x="2938" y="6938"/>
                  <a:pt x="2907" y="6907"/>
                  <a:pt x="2844" y="6844"/>
                </a:cubicBezTo>
                <a:cubicBezTo>
                  <a:pt x="2813" y="6844"/>
                  <a:pt x="2782" y="6813"/>
                  <a:pt x="2782" y="6782"/>
                </a:cubicBezTo>
                <a:cubicBezTo>
                  <a:pt x="2688" y="6813"/>
                  <a:pt x="2594" y="6750"/>
                  <a:pt x="2469" y="6813"/>
                </a:cubicBezTo>
                <a:cubicBezTo>
                  <a:pt x="2563" y="6844"/>
                  <a:pt x="2625" y="6875"/>
                  <a:pt x="2688" y="6875"/>
                </a:cubicBezTo>
                <a:cubicBezTo>
                  <a:pt x="2782" y="6938"/>
                  <a:pt x="2907" y="6969"/>
                  <a:pt x="3000" y="7000"/>
                </a:cubicBezTo>
                <a:cubicBezTo>
                  <a:pt x="3063" y="7000"/>
                  <a:pt x="3094" y="7032"/>
                  <a:pt x="3125" y="6969"/>
                </a:cubicBezTo>
                <a:close/>
                <a:moveTo>
                  <a:pt x="12531" y="12344"/>
                </a:moveTo>
                <a:cubicBezTo>
                  <a:pt x="12563" y="12344"/>
                  <a:pt x="12594" y="12344"/>
                  <a:pt x="12625" y="12344"/>
                </a:cubicBezTo>
                <a:cubicBezTo>
                  <a:pt x="12688" y="12344"/>
                  <a:pt x="12781" y="12375"/>
                  <a:pt x="12813" y="12438"/>
                </a:cubicBezTo>
                <a:cubicBezTo>
                  <a:pt x="12875" y="12500"/>
                  <a:pt x="12938" y="12469"/>
                  <a:pt x="12969" y="12469"/>
                </a:cubicBezTo>
                <a:cubicBezTo>
                  <a:pt x="13000" y="12469"/>
                  <a:pt x="13031" y="12469"/>
                  <a:pt x="13031" y="12438"/>
                </a:cubicBezTo>
                <a:cubicBezTo>
                  <a:pt x="13031" y="12407"/>
                  <a:pt x="13000" y="12407"/>
                  <a:pt x="12969" y="12407"/>
                </a:cubicBezTo>
                <a:cubicBezTo>
                  <a:pt x="12906" y="12407"/>
                  <a:pt x="12844" y="12407"/>
                  <a:pt x="12813" y="12344"/>
                </a:cubicBezTo>
                <a:cubicBezTo>
                  <a:pt x="12719" y="12219"/>
                  <a:pt x="12625" y="12282"/>
                  <a:pt x="12500" y="12313"/>
                </a:cubicBezTo>
                <a:cubicBezTo>
                  <a:pt x="12469" y="12313"/>
                  <a:pt x="12406" y="12282"/>
                  <a:pt x="12406" y="12344"/>
                </a:cubicBezTo>
                <a:cubicBezTo>
                  <a:pt x="12438" y="12438"/>
                  <a:pt x="12500" y="12375"/>
                  <a:pt x="12531" y="12344"/>
                </a:cubicBezTo>
                <a:close/>
                <a:moveTo>
                  <a:pt x="9969" y="6157"/>
                </a:moveTo>
                <a:cubicBezTo>
                  <a:pt x="9906" y="6344"/>
                  <a:pt x="9781" y="6094"/>
                  <a:pt x="9719" y="6188"/>
                </a:cubicBezTo>
                <a:cubicBezTo>
                  <a:pt x="9719" y="6219"/>
                  <a:pt x="9688" y="6219"/>
                  <a:pt x="9688" y="6219"/>
                </a:cubicBezTo>
                <a:cubicBezTo>
                  <a:pt x="9750" y="6250"/>
                  <a:pt x="9813" y="6219"/>
                  <a:pt x="9844" y="6282"/>
                </a:cubicBezTo>
                <a:cubicBezTo>
                  <a:pt x="9875" y="6438"/>
                  <a:pt x="9969" y="6344"/>
                  <a:pt x="10000" y="6282"/>
                </a:cubicBezTo>
                <a:cubicBezTo>
                  <a:pt x="10031" y="6282"/>
                  <a:pt x="10063" y="6250"/>
                  <a:pt x="10094" y="6250"/>
                </a:cubicBezTo>
                <a:cubicBezTo>
                  <a:pt x="10188" y="6313"/>
                  <a:pt x="10250" y="6313"/>
                  <a:pt x="10344" y="6313"/>
                </a:cubicBezTo>
                <a:cubicBezTo>
                  <a:pt x="10344" y="6313"/>
                  <a:pt x="10344" y="6313"/>
                  <a:pt x="10375" y="6313"/>
                </a:cubicBezTo>
                <a:cubicBezTo>
                  <a:pt x="10344" y="6375"/>
                  <a:pt x="10313" y="6407"/>
                  <a:pt x="10250" y="6375"/>
                </a:cubicBezTo>
                <a:cubicBezTo>
                  <a:pt x="10219" y="6375"/>
                  <a:pt x="10188" y="6344"/>
                  <a:pt x="10156" y="6344"/>
                </a:cubicBezTo>
                <a:cubicBezTo>
                  <a:pt x="10125" y="6313"/>
                  <a:pt x="10094" y="6313"/>
                  <a:pt x="10063" y="6344"/>
                </a:cubicBezTo>
                <a:cubicBezTo>
                  <a:pt x="10031" y="6375"/>
                  <a:pt x="10094" y="6407"/>
                  <a:pt x="10125" y="6438"/>
                </a:cubicBezTo>
                <a:cubicBezTo>
                  <a:pt x="10219" y="6500"/>
                  <a:pt x="10375" y="6532"/>
                  <a:pt x="10500" y="6532"/>
                </a:cubicBezTo>
                <a:cubicBezTo>
                  <a:pt x="10594" y="6532"/>
                  <a:pt x="10594" y="6469"/>
                  <a:pt x="10625" y="6407"/>
                </a:cubicBezTo>
                <a:lnTo>
                  <a:pt x="10625" y="6407"/>
                </a:lnTo>
                <a:cubicBezTo>
                  <a:pt x="10625" y="6313"/>
                  <a:pt x="10563" y="6313"/>
                  <a:pt x="10500" y="6313"/>
                </a:cubicBezTo>
                <a:cubicBezTo>
                  <a:pt x="10469" y="6313"/>
                  <a:pt x="10406" y="6313"/>
                  <a:pt x="10375" y="6313"/>
                </a:cubicBezTo>
                <a:cubicBezTo>
                  <a:pt x="10375" y="6313"/>
                  <a:pt x="10344" y="6313"/>
                  <a:pt x="10344" y="6313"/>
                </a:cubicBezTo>
                <a:cubicBezTo>
                  <a:pt x="10313" y="6313"/>
                  <a:pt x="10313" y="6282"/>
                  <a:pt x="10281" y="6282"/>
                </a:cubicBezTo>
                <a:cubicBezTo>
                  <a:pt x="10188" y="6219"/>
                  <a:pt x="10094" y="6157"/>
                  <a:pt x="9969" y="6157"/>
                </a:cubicBezTo>
                <a:close/>
                <a:moveTo>
                  <a:pt x="11344" y="4938"/>
                </a:moveTo>
                <a:cubicBezTo>
                  <a:pt x="11313" y="4875"/>
                  <a:pt x="11313" y="4813"/>
                  <a:pt x="11344" y="4750"/>
                </a:cubicBezTo>
                <a:cubicBezTo>
                  <a:pt x="11094" y="4813"/>
                  <a:pt x="10969" y="4532"/>
                  <a:pt x="10750" y="4563"/>
                </a:cubicBezTo>
                <a:cubicBezTo>
                  <a:pt x="10938" y="4657"/>
                  <a:pt x="11094" y="4844"/>
                  <a:pt x="11344" y="4938"/>
                </a:cubicBezTo>
                <a:close/>
                <a:moveTo>
                  <a:pt x="8375" y="10094"/>
                </a:moveTo>
                <a:cubicBezTo>
                  <a:pt x="8125" y="10063"/>
                  <a:pt x="7906" y="10063"/>
                  <a:pt x="7656" y="10000"/>
                </a:cubicBezTo>
                <a:cubicBezTo>
                  <a:pt x="7875" y="10188"/>
                  <a:pt x="8125" y="10125"/>
                  <a:pt x="8375" y="10094"/>
                </a:cubicBezTo>
                <a:close/>
                <a:moveTo>
                  <a:pt x="7594" y="10188"/>
                </a:moveTo>
                <a:cubicBezTo>
                  <a:pt x="7406" y="10250"/>
                  <a:pt x="7219" y="10125"/>
                  <a:pt x="7031" y="10157"/>
                </a:cubicBezTo>
                <a:cubicBezTo>
                  <a:pt x="7250" y="10188"/>
                  <a:pt x="7406" y="10407"/>
                  <a:pt x="7625" y="10344"/>
                </a:cubicBezTo>
                <a:cubicBezTo>
                  <a:pt x="7656" y="10282"/>
                  <a:pt x="7469" y="10313"/>
                  <a:pt x="7594" y="10188"/>
                </a:cubicBezTo>
                <a:close/>
                <a:moveTo>
                  <a:pt x="32688" y="2344"/>
                </a:moveTo>
                <a:cubicBezTo>
                  <a:pt x="32688" y="2375"/>
                  <a:pt x="32750" y="2375"/>
                  <a:pt x="32781" y="2375"/>
                </a:cubicBezTo>
                <a:cubicBezTo>
                  <a:pt x="32844" y="2344"/>
                  <a:pt x="32750" y="2313"/>
                  <a:pt x="32781" y="2282"/>
                </a:cubicBezTo>
                <a:cubicBezTo>
                  <a:pt x="32781" y="2250"/>
                  <a:pt x="32813" y="2157"/>
                  <a:pt x="32844" y="2188"/>
                </a:cubicBezTo>
                <a:cubicBezTo>
                  <a:pt x="32938" y="2219"/>
                  <a:pt x="33000" y="2282"/>
                  <a:pt x="33063" y="2157"/>
                </a:cubicBezTo>
                <a:cubicBezTo>
                  <a:pt x="33063" y="2157"/>
                  <a:pt x="33125" y="2188"/>
                  <a:pt x="33125" y="2125"/>
                </a:cubicBezTo>
                <a:cubicBezTo>
                  <a:pt x="33125" y="2063"/>
                  <a:pt x="33063" y="2063"/>
                  <a:pt x="33031" y="2063"/>
                </a:cubicBezTo>
                <a:cubicBezTo>
                  <a:pt x="32844" y="2063"/>
                  <a:pt x="32688" y="2157"/>
                  <a:pt x="32500" y="2282"/>
                </a:cubicBezTo>
                <a:cubicBezTo>
                  <a:pt x="32594" y="2313"/>
                  <a:pt x="32656" y="2250"/>
                  <a:pt x="32688" y="2344"/>
                </a:cubicBezTo>
                <a:close/>
                <a:moveTo>
                  <a:pt x="6281" y="2844"/>
                </a:moveTo>
                <a:cubicBezTo>
                  <a:pt x="6188" y="2875"/>
                  <a:pt x="6156" y="2875"/>
                  <a:pt x="6125" y="2813"/>
                </a:cubicBezTo>
                <a:cubicBezTo>
                  <a:pt x="6125" y="2782"/>
                  <a:pt x="6094" y="2750"/>
                  <a:pt x="6063" y="2750"/>
                </a:cubicBezTo>
                <a:cubicBezTo>
                  <a:pt x="5969" y="2750"/>
                  <a:pt x="5906" y="2750"/>
                  <a:pt x="5813" y="2688"/>
                </a:cubicBezTo>
                <a:cubicBezTo>
                  <a:pt x="5781" y="2657"/>
                  <a:pt x="5750" y="2625"/>
                  <a:pt x="5656" y="2688"/>
                </a:cubicBezTo>
                <a:cubicBezTo>
                  <a:pt x="5938" y="2813"/>
                  <a:pt x="6188" y="2907"/>
                  <a:pt x="6438" y="3032"/>
                </a:cubicBezTo>
                <a:cubicBezTo>
                  <a:pt x="6406" y="2938"/>
                  <a:pt x="6375" y="2782"/>
                  <a:pt x="6281" y="2844"/>
                </a:cubicBezTo>
                <a:close/>
                <a:moveTo>
                  <a:pt x="10781" y="3407"/>
                </a:moveTo>
                <a:cubicBezTo>
                  <a:pt x="10750" y="3344"/>
                  <a:pt x="10719" y="3407"/>
                  <a:pt x="10719" y="3407"/>
                </a:cubicBezTo>
                <a:cubicBezTo>
                  <a:pt x="10719" y="3469"/>
                  <a:pt x="10625" y="3469"/>
                  <a:pt x="10688" y="3532"/>
                </a:cubicBezTo>
                <a:cubicBezTo>
                  <a:pt x="10719" y="3563"/>
                  <a:pt x="10719" y="3594"/>
                  <a:pt x="10781" y="3532"/>
                </a:cubicBezTo>
                <a:cubicBezTo>
                  <a:pt x="10875" y="3469"/>
                  <a:pt x="10938" y="3532"/>
                  <a:pt x="10938" y="3625"/>
                </a:cubicBezTo>
                <a:cubicBezTo>
                  <a:pt x="10938" y="3719"/>
                  <a:pt x="11031" y="3688"/>
                  <a:pt x="11063" y="3719"/>
                </a:cubicBezTo>
                <a:cubicBezTo>
                  <a:pt x="11094" y="3750"/>
                  <a:pt x="11125" y="3719"/>
                  <a:pt x="11156" y="3688"/>
                </a:cubicBezTo>
                <a:cubicBezTo>
                  <a:pt x="11188" y="3625"/>
                  <a:pt x="11219" y="3563"/>
                  <a:pt x="11250" y="3532"/>
                </a:cubicBezTo>
                <a:cubicBezTo>
                  <a:pt x="11156" y="3500"/>
                  <a:pt x="11031" y="3625"/>
                  <a:pt x="10969" y="3438"/>
                </a:cubicBezTo>
                <a:cubicBezTo>
                  <a:pt x="10969" y="3438"/>
                  <a:pt x="10906" y="3438"/>
                  <a:pt x="10906" y="3438"/>
                </a:cubicBezTo>
                <a:cubicBezTo>
                  <a:pt x="10844" y="3438"/>
                  <a:pt x="10813" y="3469"/>
                  <a:pt x="10781" y="3407"/>
                </a:cubicBezTo>
                <a:close/>
                <a:moveTo>
                  <a:pt x="12156" y="3594"/>
                </a:moveTo>
                <a:cubicBezTo>
                  <a:pt x="12250" y="3625"/>
                  <a:pt x="12344" y="3657"/>
                  <a:pt x="12406" y="3719"/>
                </a:cubicBezTo>
                <a:cubicBezTo>
                  <a:pt x="12500" y="3844"/>
                  <a:pt x="12594" y="3875"/>
                  <a:pt x="12719" y="3844"/>
                </a:cubicBezTo>
                <a:cubicBezTo>
                  <a:pt x="12750" y="3813"/>
                  <a:pt x="12688" y="3750"/>
                  <a:pt x="12781" y="3750"/>
                </a:cubicBezTo>
                <a:cubicBezTo>
                  <a:pt x="12750" y="3750"/>
                  <a:pt x="12813" y="3688"/>
                  <a:pt x="12750" y="3688"/>
                </a:cubicBezTo>
                <a:cubicBezTo>
                  <a:pt x="12625" y="3719"/>
                  <a:pt x="12563" y="3594"/>
                  <a:pt x="12438" y="3657"/>
                </a:cubicBezTo>
                <a:cubicBezTo>
                  <a:pt x="12344" y="3688"/>
                  <a:pt x="12281" y="3563"/>
                  <a:pt x="12188" y="3532"/>
                </a:cubicBezTo>
                <a:cubicBezTo>
                  <a:pt x="12156" y="3532"/>
                  <a:pt x="12125" y="3500"/>
                  <a:pt x="12094" y="3532"/>
                </a:cubicBezTo>
                <a:cubicBezTo>
                  <a:pt x="12094" y="3563"/>
                  <a:pt x="12125" y="3594"/>
                  <a:pt x="12156" y="3594"/>
                </a:cubicBezTo>
                <a:close/>
                <a:moveTo>
                  <a:pt x="9656" y="3875"/>
                </a:moveTo>
                <a:cubicBezTo>
                  <a:pt x="9594" y="3844"/>
                  <a:pt x="9531" y="3875"/>
                  <a:pt x="9531" y="3907"/>
                </a:cubicBezTo>
                <a:cubicBezTo>
                  <a:pt x="9531" y="3969"/>
                  <a:pt x="9625" y="4032"/>
                  <a:pt x="9688" y="4063"/>
                </a:cubicBezTo>
                <a:cubicBezTo>
                  <a:pt x="9781" y="4094"/>
                  <a:pt x="9750" y="4000"/>
                  <a:pt x="9781" y="3969"/>
                </a:cubicBezTo>
                <a:cubicBezTo>
                  <a:pt x="9813" y="4000"/>
                  <a:pt x="9813" y="4094"/>
                  <a:pt x="9906" y="4063"/>
                </a:cubicBezTo>
                <a:cubicBezTo>
                  <a:pt x="9969" y="4032"/>
                  <a:pt x="10031" y="4000"/>
                  <a:pt x="10094" y="3969"/>
                </a:cubicBezTo>
                <a:cubicBezTo>
                  <a:pt x="10094" y="3969"/>
                  <a:pt x="10094" y="3938"/>
                  <a:pt x="10094" y="3938"/>
                </a:cubicBezTo>
                <a:cubicBezTo>
                  <a:pt x="10000" y="3907"/>
                  <a:pt x="9938" y="3813"/>
                  <a:pt x="9813" y="3813"/>
                </a:cubicBezTo>
                <a:cubicBezTo>
                  <a:pt x="9875" y="3875"/>
                  <a:pt x="9969" y="3875"/>
                  <a:pt x="9906" y="4000"/>
                </a:cubicBezTo>
                <a:cubicBezTo>
                  <a:pt x="9844" y="3938"/>
                  <a:pt x="9750" y="3907"/>
                  <a:pt x="9656" y="3875"/>
                </a:cubicBezTo>
                <a:close/>
                <a:moveTo>
                  <a:pt x="22750" y="14438"/>
                </a:moveTo>
                <a:cubicBezTo>
                  <a:pt x="22688" y="14469"/>
                  <a:pt x="22625" y="14469"/>
                  <a:pt x="22563" y="14469"/>
                </a:cubicBezTo>
                <a:cubicBezTo>
                  <a:pt x="22344" y="14500"/>
                  <a:pt x="22344" y="14500"/>
                  <a:pt x="22344" y="14719"/>
                </a:cubicBezTo>
                <a:cubicBezTo>
                  <a:pt x="22500" y="14688"/>
                  <a:pt x="22656" y="14719"/>
                  <a:pt x="22719" y="14563"/>
                </a:cubicBezTo>
                <a:cubicBezTo>
                  <a:pt x="22750" y="14532"/>
                  <a:pt x="22813" y="14532"/>
                  <a:pt x="22844" y="14532"/>
                </a:cubicBezTo>
                <a:cubicBezTo>
                  <a:pt x="22875" y="14532"/>
                  <a:pt x="22938" y="14563"/>
                  <a:pt x="23000" y="14500"/>
                </a:cubicBezTo>
                <a:cubicBezTo>
                  <a:pt x="22906" y="14469"/>
                  <a:pt x="22813" y="14407"/>
                  <a:pt x="22750" y="14438"/>
                </a:cubicBezTo>
                <a:close/>
                <a:moveTo>
                  <a:pt x="22406" y="14657"/>
                </a:moveTo>
                <a:cubicBezTo>
                  <a:pt x="22438" y="14532"/>
                  <a:pt x="22531" y="14594"/>
                  <a:pt x="22594" y="14563"/>
                </a:cubicBezTo>
                <a:cubicBezTo>
                  <a:pt x="22563" y="14657"/>
                  <a:pt x="22500" y="14657"/>
                  <a:pt x="22406" y="14657"/>
                </a:cubicBezTo>
                <a:close/>
                <a:moveTo>
                  <a:pt x="11531" y="4719"/>
                </a:moveTo>
                <a:cubicBezTo>
                  <a:pt x="11563" y="4719"/>
                  <a:pt x="11563" y="4750"/>
                  <a:pt x="11594" y="4750"/>
                </a:cubicBezTo>
                <a:cubicBezTo>
                  <a:pt x="11750" y="4719"/>
                  <a:pt x="11781" y="4938"/>
                  <a:pt x="11906" y="4969"/>
                </a:cubicBezTo>
                <a:cubicBezTo>
                  <a:pt x="11938" y="4875"/>
                  <a:pt x="11844" y="4875"/>
                  <a:pt x="11813" y="4813"/>
                </a:cubicBezTo>
                <a:cubicBezTo>
                  <a:pt x="11844" y="4782"/>
                  <a:pt x="11875" y="4782"/>
                  <a:pt x="11906" y="4750"/>
                </a:cubicBezTo>
                <a:cubicBezTo>
                  <a:pt x="11813" y="4750"/>
                  <a:pt x="11813" y="4657"/>
                  <a:pt x="11750" y="4625"/>
                </a:cubicBezTo>
                <a:cubicBezTo>
                  <a:pt x="11688" y="4625"/>
                  <a:pt x="11625" y="4625"/>
                  <a:pt x="11594" y="4563"/>
                </a:cubicBezTo>
                <a:cubicBezTo>
                  <a:pt x="11500" y="4594"/>
                  <a:pt x="11469" y="4500"/>
                  <a:pt x="11375" y="4438"/>
                </a:cubicBezTo>
                <a:cubicBezTo>
                  <a:pt x="11375" y="4500"/>
                  <a:pt x="11375" y="4563"/>
                  <a:pt x="11344" y="4625"/>
                </a:cubicBezTo>
                <a:cubicBezTo>
                  <a:pt x="11313" y="4625"/>
                  <a:pt x="11250" y="4594"/>
                  <a:pt x="11281" y="4657"/>
                </a:cubicBezTo>
                <a:cubicBezTo>
                  <a:pt x="11281" y="4719"/>
                  <a:pt x="11344" y="4688"/>
                  <a:pt x="11375" y="4688"/>
                </a:cubicBezTo>
                <a:cubicBezTo>
                  <a:pt x="11438" y="4625"/>
                  <a:pt x="11500" y="4625"/>
                  <a:pt x="11531" y="4719"/>
                </a:cubicBezTo>
                <a:close/>
                <a:moveTo>
                  <a:pt x="15844" y="13844"/>
                </a:moveTo>
                <a:cubicBezTo>
                  <a:pt x="15688" y="13844"/>
                  <a:pt x="15625" y="13875"/>
                  <a:pt x="15625" y="14000"/>
                </a:cubicBezTo>
                <a:cubicBezTo>
                  <a:pt x="15625" y="14032"/>
                  <a:pt x="15625" y="14063"/>
                  <a:pt x="15594" y="14063"/>
                </a:cubicBezTo>
                <a:cubicBezTo>
                  <a:pt x="15531" y="14063"/>
                  <a:pt x="15500" y="14094"/>
                  <a:pt x="15469" y="14125"/>
                </a:cubicBezTo>
                <a:cubicBezTo>
                  <a:pt x="15438" y="14125"/>
                  <a:pt x="15406" y="14157"/>
                  <a:pt x="15438" y="14188"/>
                </a:cubicBezTo>
                <a:cubicBezTo>
                  <a:pt x="15438" y="14188"/>
                  <a:pt x="15469" y="14219"/>
                  <a:pt x="15500" y="14188"/>
                </a:cubicBezTo>
                <a:cubicBezTo>
                  <a:pt x="15594" y="14094"/>
                  <a:pt x="15750" y="14125"/>
                  <a:pt x="15844" y="14063"/>
                </a:cubicBezTo>
                <a:cubicBezTo>
                  <a:pt x="15906" y="14032"/>
                  <a:pt x="15969" y="13938"/>
                  <a:pt x="15969" y="13875"/>
                </a:cubicBezTo>
                <a:cubicBezTo>
                  <a:pt x="15969" y="13782"/>
                  <a:pt x="15875" y="13875"/>
                  <a:pt x="15844" y="13844"/>
                </a:cubicBezTo>
                <a:close/>
                <a:moveTo>
                  <a:pt x="6719" y="3657"/>
                </a:moveTo>
                <a:cubicBezTo>
                  <a:pt x="6875" y="3688"/>
                  <a:pt x="7000" y="3750"/>
                  <a:pt x="7125" y="3782"/>
                </a:cubicBezTo>
                <a:cubicBezTo>
                  <a:pt x="7156" y="3657"/>
                  <a:pt x="7000" y="3532"/>
                  <a:pt x="6875" y="3563"/>
                </a:cubicBezTo>
                <a:cubicBezTo>
                  <a:pt x="6844" y="3594"/>
                  <a:pt x="6813" y="3625"/>
                  <a:pt x="6781" y="3563"/>
                </a:cubicBezTo>
                <a:cubicBezTo>
                  <a:pt x="6781" y="3532"/>
                  <a:pt x="6813" y="3532"/>
                  <a:pt x="6844" y="3532"/>
                </a:cubicBezTo>
                <a:cubicBezTo>
                  <a:pt x="6938" y="3532"/>
                  <a:pt x="6906" y="3469"/>
                  <a:pt x="6875" y="3438"/>
                </a:cubicBezTo>
                <a:cubicBezTo>
                  <a:pt x="6875" y="3407"/>
                  <a:pt x="6844" y="3375"/>
                  <a:pt x="6813" y="3344"/>
                </a:cubicBezTo>
                <a:cubicBezTo>
                  <a:pt x="6781" y="3344"/>
                  <a:pt x="6750" y="3313"/>
                  <a:pt x="6719" y="3313"/>
                </a:cubicBezTo>
                <a:cubicBezTo>
                  <a:pt x="6531" y="3344"/>
                  <a:pt x="6500" y="3375"/>
                  <a:pt x="6563" y="3500"/>
                </a:cubicBezTo>
                <a:cubicBezTo>
                  <a:pt x="6594" y="3500"/>
                  <a:pt x="6656" y="3532"/>
                  <a:pt x="6625" y="3532"/>
                </a:cubicBezTo>
                <a:cubicBezTo>
                  <a:pt x="6594" y="3657"/>
                  <a:pt x="6688" y="3625"/>
                  <a:pt x="6719" y="3657"/>
                </a:cubicBezTo>
                <a:close/>
                <a:moveTo>
                  <a:pt x="10219" y="6969"/>
                </a:moveTo>
                <a:cubicBezTo>
                  <a:pt x="10188" y="7000"/>
                  <a:pt x="10156" y="6969"/>
                  <a:pt x="10156" y="6938"/>
                </a:cubicBezTo>
                <a:cubicBezTo>
                  <a:pt x="10125" y="6782"/>
                  <a:pt x="10000" y="6875"/>
                  <a:pt x="9938" y="6875"/>
                </a:cubicBezTo>
                <a:cubicBezTo>
                  <a:pt x="9938" y="6875"/>
                  <a:pt x="9906" y="6907"/>
                  <a:pt x="9938" y="6907"/>
                </a:cubicBezTo>
                <a:cubicBezTo>
                  <a:pt x="10125" y="6969"/>
                  <a:pt x="10281" y="7188"/>
                  <a:pt x="10500" y="7125"/>
                </a:cubicBezTo>
                <a:cubicBezTo>
                  <a:pt x="10531" y="7125"/>
                  <a:pt x="10531" y="7157"/>
                  <a:pt x="10531" y="7157"/>
                </a:cubicBezTo>
                <a:cubicBezTo>
                  <a:pt x="10625" y="7313"/>
                  <a:pt x="10750" y="7282"/>
                  <a:pt x="10906" y="7282"/>
                </a:cubicBezTo>
                <a:cubicBezTo>
                  <a:pt x="10750" y="7188"/>
                  <a:pt x="10625" y="7063"/>
                  <a:pt x="10438" y="7094"/>
                </a:cubicBezTo>
                <a:cubicBezTo>
                  <a:pt x="10406" y="7094"/>
                  <a:pt x="10344" y="7063"/>
                  <a:pt x="10313" y="7000"/>
                </a:cubicBezTo>
                <a:cubicBezTo>
                  <a:pt x="10281" y="6969"/>
                  <a:pt x="10281" y="6938"/>
                  <a:pt x="10219" y="6969"/>
                </a:cubicBezTo>
                <a:close/>
                <a:moveTo>
                  <a:pt x="22563" y="5094"/>
                </a:moveTo>
                <a:cubicBezTo>
                  <a:pt x="22469" y="5125"/>
                  <a:pt x="22375" y="5125"/>
                  <a:pt x="22313" y="5063"/>
                </a:cubicBezTo>
                <a:cubicBezTo>
                  <a:pt x="22219" y="5000"/>
                  <a:pt x="22094" y="4969"/>
                  <a:pt x="22000" y="4938"/>
                </a:cubicBezTo>
                <a:cubicBezTo>
                  <a:pt x="21844" y="4907"/>
                  <a:pt x="21656" y="4938"/>
                  <a:pt x="21500" y="4875"/>
                </a:cubicBezTo>
                <a:cubicBezTo>
                  <a:pt x="21469" y="4875"/>
                  <a:pt x="21469" y="4875"/>
                  <a:pt x="21406" y="4907"/>
                </a:cubicBezTo>
                <a:cubicBezTo>
                  <a:pt x="21625" y="5000"/>
                  <a:pt x="21844" y="5000"/>
                  <a:pt x="22000" y="5063"/>
                </a:cubicBezTo>
                <a:cubicBezTo>
                  <a:pt x="22188" y="5157"/>
                  <a:pt x="22375" y="5125"/>
                  <a:pt x="22563" y="5094"/>
                </a:cubicBezTo>
                <a:close/>
                <a:moveTo>
                  <a:pt x="7375" y="5875"/>
                </a:moveTo>
                <a:cubicBezTo>
                  <a:pt x="7250" y="5750"/>
                  <a:pt x="7125" y="5688"/>
                  <a:pt x="6938" y="5657"/>
                </a:cubicBezTo>
                <a:cubicBezTo>
                  <a:pt x="6938" y="5657"/>
                  <a:pt x="6906" y="5657"/>
                  <a:pt x="6875" y="5688"/>
                </a:cubicBezTo>
                <a:cubicBezTo>
                  <a:pt x="6875" y="5719"/>
                  <a:pt x="6906" y="5719"/>
                  <a:pt x="6938" y="5719"/>
                </a:cubicBezTo>
                <a:cubicBezTo>
                  <a:pt x="7188" y="5844"/>
                  <a:pt x="7438" y="5969"/>
                  <a:pt x="7688" y="6063"/>
                </a:cubicBezTo>
                <a:cubicBezTo>
                  <a:pt x="7781" y="6125"/>
                  <a:pt x="7844" y="6250"/>
                  <a:pt x="8000" y="6250"/>
                </a:cubicBezTo>
                <a:cubicBezTo>
                  <a:pt x="8031" y="6250"/>
                  <a:pt x="8063" y="6282"/>
                  <a:pt x="8063" y="6250"/>
                </a:cubicBezTo>
                <a:cubicBezTo>
                  <a:pt x="8094" y="6219"/>
                  <a:pt x="8063" y="6188"/>
                  <a:pt x="8031" y="6157"/>
                </a:cubicBezTo>
                <a:cubicBezTo>
                  <a:pt x="7938" y="6063"/>
                  <a:pt x="7813" y="6000"/>
                  <a:pt x="7656" y="6000"/>
                </a:cubicBezTo>
                <a:cubicBezTo>
                  <a:pt x="7563" y="5969"/>
                  <a:pt x="7469" y="5938"/>
                  <a:pt x="7375" y="5875"/>
                </a:cubicBezTo>
                <a:close/>
                <a:moveTo>
                  <a:pt x="7906" y="4063"/>
                </a:moveTo>
                <a:cubicBezTo>
                  <a:pt x="7875" y="4032"/>
                  <a:pt x="7844" y="4032"/>
                  <a:pt x="7844" y="4094"/>
                </a:cubicBezTo>
                <a:cubicBezTo>
                  <a:pt x="7844" y="4157"/>
                  <a:pt x="7875" y="4157"/>
                  <a:pt x="7906" y="4157"/>
                </a:cubicBezTo>
                <a:cubicBezTo>
                  <a:pt x="7969" y="4157"/>
                  <a:pt x="8031" y="4125"/>
                  <a:pt x="8031" y="4157"/>
                </a:cubicBezTo>
                <a:cubicBezTo>
                  <a:pt x="8063" y="4282"/>
                  <a:pt x="8156" y="4250"/>
                  <a:pt x="8219" y="4282"/>
                </a:cubicBezTo>
                <a:cubicBezTo>
                  <a:pt x="8313" y="4313"/>
                  <a:pt x="8469" y="4344"/>
                  <a:pt x="8500" y="4407"/>
                </a:cubicBezTo>
                <a:cubicBezTo>
                  <a:pt x="8594" y="4563"/>
                  <a:pt x="8688" y="4469"/>
                  <a:pt x="8813" y="4500"/>
                </a:cubicBezTo>
                <a:cubicBezTo>
                  <a:pt x="8719" y="4344"/>
                  <a:pt x="8563" y="4313"/>
                  <a:pt x="8438" y="4282"/>
                </a:cubicBezTo>
                <a:cubicBezTo>
                  <a:pt x="8281" y="4219"/>
                  <a:pt x="8094" y="4188"/>
                  <a:pt x="8094" y="3969"/>
                </a:cubicBezTo>
                <a:cubicBezTo>
                  <a:pt x="8000" y="4000"/>
                  <a:pt x="8000" y="4094"/>
                  <a:pt x="7906" y="4063"/>
                </a:cubicBezTo>
                <a:close/>
                <a:moveTo>
                  <a:pt x="14188" y="13719"/>
                </a:moveTo>
                <a:cubicBezTo>
                  <a:pt x="14094" y="13657"/>
                  <a:pt x="14000" y="13625"/>
                  <a:pt x="13875" y="13625"/>
                </a:cubicBezTo>
                <a:cubicBezTo>
                  <a:pt x="13844" y="13657"/>
                  <a:pt x="13813" y="13625"/>
                  <a:pt x="13781" y="13625"/>
                </a:cubicBezTo>
                <a:cubicBezTo>
                  <a:pt x="13656" y="13563"/>
                  <a:pt x="13563" y="13469"/>
                  <a:pt x="13406" y="13563"/>
                </a:cubicBezTo>
                <a:cubicBezTo>
                  <a:pt x="13500" y="13594"/>
                  <a:pt x="13563" y="13625"/>
                  <a:pt x="13656" y="13625"/>
                </a:cubicBezTo>
                <a:cubicBezTo>
                  <a:pt x="13750" y="13657"/>
                  <a:pt x="13781" y="13688"/>
                  <a:pt x="13688" y="13813"/>
                </a:cubicBezTo>
                <a:cubicBezTo>
                  <a:pt x="13813" y="13719"/>
                  <a:pt x="13969" y="14000"/>
                  <a:pt x="14063" y="13719"/>
                </a:cubicBezTo>
                <a:cubicBezTo>
                  <a:pt x="14094" y="13750"/>
                  <a:pt x="14094" y="13782"/>
                  <a:pt x="14094" y="13782"/>
                </a:cubicBezTo>
                <a:cubicBezTo>
                  <a:pt x="14094" y="13813"/>
                  <a:pt x="14094" y="13875"/>
                  <a:pt x="14156" y="13875"/>
                </a:cubicBezTo>
                <a:cubicBezTo>
                  <a:pt x="14188" y="13875"/>
                  <a:pt x="14250" y="13844"/>
                  <a:pt x="14250" y="13813"/>
                </a:cubicBezTo>
                <a:cubicBezTo>
                  <a:pt x="14281" y="13750"/>
                  <a:pt x="14219" y="13750"/>
                  <a:pt x="14188" y="13719"/>
                </a:cubicBezTo>
                <a:close/>
                <a:moveTo>
                  <a:pt x="34750" y="7250"/>
                </a:moveTo>
                <a:cubicBezTo>
                  <a:pt x="34688" y="7250"/>
                  <a:pt x="34656" y="7282"/>
                  <a:pt x="34656" y="7344"/>
                </a:cubicBezTo>
                <a:cubicBezTo>
                  <a:pt x="34688" y="7407"/>
                  <a:pt x="34750" y="7500"/>
                  <a:pt x="34688" y="7563"/>
                </a:cubicBezTo>
                <a:cubicBezTo>
                  <a:pt x="34688" y="7594"/>
                  <a:pt x="34719" y="7657"/>
                  <a:pt x="34625" y="7657"/>
                </a:cubicBezTo>
                <a:cubicBezTo>
                  <a:pt x="34531" y="7657"/>
                  <a:pt x="34469" y="7719"/>
                  <a:pt x="34406" y="7782"/>
                </a:cubicBezTo>
                <a:cubicBezTo>
                  <a:pt x="34563" y="7782"/>
                  <a:pt x="34656" y="7657"/>
                  <a:pt x="34781" y="7625"/>
                </a:cubicBezTo>
                <a:cubicBezTo>
                  <a:pt x="34875" y="7625"/>
                  <a:pt x="34969" y="7563"/>
                  <a:pt x="34969" y="7438"/>
                </a:cubicBezTo>
                <a:cubicBezTo>
                  <a:pt x="35000" y="7344"/>
                  <a:pt x="35031" y="7344"/>
                  <a:pt x="35000" y="7313"/>
                </a:cubicBezTo>
                <a:cubicBezTo>
                  <a:pt x="34906" y="7282"/>
                  <a:pt x="34844" y="7282"/>
                  <a:pt x="34750" y="7250"/>
                </a:cubicBezTo>
                <a:close/>
                <a:moveTo>
                  <a:pt x="2594" y="4969"/>
                </a:moveTo>
                <a:cubicBezTo>
                  <a:pt x="2500" y="4938"/>
                  <a:pt x="2375" y="4907"/>
                  <a:pt x="2282" y="4969"/>
                </a:cubicBezTo>
                <a:cubicBezTo>
                  <a:pt x="2407" y="5063"/>
                  <a:pt x="2532" y="5063"/>
                  <a:pt x="2657" y="5094"/>
                </a:cubicBezTo>
                <a:cubicBezTo>
                  <a:pt x="3094" y="5219"/>
                  <a:pt x="3563" y="5282"/>
                  <a:pt x="4000" y="5469"/>
                </a:cubicBezTo>
                <a:cubicBezTo>
                  <a:pt x="4031" y="5469"/>
                  <a:pt x="4063" y="5500"/>
                  <a:pt x="4063" y="5469"/>
                </a:cubicBezTo>
                <a:cubicBezTo>
                  <a:pt x="4094" y="5438"/>
                  <a:pt x="4063" y="5407"/>
                  <a:pt x="4063" y="5375"/>
                </a:cubicBezTo>
                <a:cubicBezTo>
                  <a:pt x="4063" y="5313"/>
                  <a:pt x="4031" y="5344"/>
                  <a:pt x="4000" y="5344"/>
                </a:cubicBezTo>
                <a:cubicBezTo>
                  <a:pt x="3875" y="5375"/>
                  <a:pt x="3750" y="5344"/>
                  <a:pt x="3688" y="5282"/>
                </a:cubicBezTo>
                <a:cubicBezTo>
                  <a:pt x="3625" y="5250"/>
                  <a:pt x="3563" y="5219"/>
                  <a:pt x="3500" y="5219"/>
                </a:cubicBezTo>
                <a:cubicBezTo>
                  <a:pt x="3407" y="5219"/>
                  <a:pt x="3313" y="5219"/>
                  <a:pt x="3250" y="5157"/>
                </a:cubicBezTo>
                <a:cubicBezTo>
                  <a:pt x="3125" y="5094"/>
                  <a:pt x="2969" y="5157"/>
                  <a:pt x="2844" y="5063"/>
                </a:cubicBezTo>
                <a:cubicBezTo>
                  <a:pt x="2813" y="5000"/>
                  <a:pt x="2688" y="5000"/>
                  <a:pt x="2594" y="4969"/>
                </a:cubicBezTo>
                <a:close/>
                <a:moveTo>
                  <a:pt x="18188" y="14375"/>
                </a:moveTo>
                <a:cubicBezTo>
                  <a:pt x="18000" y="14438"/>
                  <a:pt x="17781" y="14375"/>
                  <a:pt x="17563" y="14344"/>
                </a:cubicBezTo>
                <a:cubicBezTo>
                  <a:pt x="17531" y="14344"/>
                  <a:pt x="17469" y="14375"/>
                  <a:pt x="17469" y="14313"/>
                </a:cubicBezTo>
                <a:cubicBezTo>
                  <a:pt x="17469" y="14282"/>
                  <a:pt x="17531" y="14282"/>
                  <a:pt x="17531" y="14250"/>
                </a:cubicBezTo>
                <a:cubicBezTo>
                  <a:pt x="17594" y="14219"/>
                  <a:pt x="17688" y="14250"/>
                  <a:pt x="17688" y="14125"/>
                </a:cubicBezTo>
                <a:cubicBezTo>
                  <a:pt x="17594" y="14188"/>
                  <a:pt x="17469" y="14188"/>
                  <a:pt x="17469" y="14250"/>
                </a:cubicBezTo>
                <a:cubicBezTo>
                  <a:pt x="17406" y="14375"/>
                  <a:pt x="17281" y="14344"/>
                  <a:pt x="17219" y="14344"/>
                </a:cubicBezTo>
                <a:cubicBezTo>
                  <a:pt x="17063" y="14313"/>
                  <a:pt x="17125" y="14375"/>
                  <a:pt x="17125" y="14469"/>
                </a:cubicBezTo>
                <a:cubicBezTo>
                  <a:pt x="17156" y="14375"/>
                  <a:pt x="17156" y="14344"/>
                  <a:pt x="17250" y="14375"/>
                </a:cubicBezTo>
                <a:cubicBezTo>
                  <a:pt x="17313" y="14375"/>
                  <a:pt x="17375" y="14407"/>
                  <a:pt x="17313" y="14500"/>
                </a:cubicBezTo>
                <a:cubicBezTo>
                  <a:pt x="17406" y="14407"/>
                  <a:pt x="17531" y="14438"/>
                  <a:pt x="17625" y="14438"/>
                </a:cubicBezTo>
                <a:cubicBezTo>
                  <a:pt x="17844" y="14469"/>
                  <a:pt x="18094" y="14563"/>
                  <a:pt x="18313" y="14375"/>
                </a:cubicBezTo>
                <a:cubicBezTo>
                  <a:pt x="18313" y="14375"/>
                  <a:pt x="18281" y="14375"/>
                  <a:pt x="18281" y="14375"/>
                </a:cubicBezTo>
                <a:cubicBezTo>
                  <a:pt x="18250" y="14344"/>
                  <a:pt x="18219" y="14344"/>
                  <a:pt x="18188" y="14375"/>
                </a:cubicBezTo>
                <a:close/>
                <a:moveTo>
                  <a:pt x="6625" y="2813"/>
                </a:moveTo>
                <a:cubicBezTo>
                  <a:pt x="6844" y="2844"/>
                  <a:pt x="7031" y="3032"/>
                  <a:pt x="7281" y="3032"/>
                </a:cubicBezTo>
                <a:cubicBezTo>
                  <a:pt x="7281" y="3032"/>
                  <a:pt x="7281" y="3063"/>
                  <a:pt x="7281" y="3063"/>
                </a:cubicBezTo>
                <a:cubicBezTo>
                  <a:pt x="7344" y="3188"/>
                  <a:pt x="7469" y="3188"/>
                  <a:pt x="7563" y="3219"/>
                </a:cubicBezTo>
                <a:cubicBezTo>
                  <a:pt x="7594" y="3157"/>
                  <a:pt x="7563" y="3125"/>
                  <a:pt x="7531" y="3094"/>
                </a:cubicBezTo>
                <a:cubicBezTo>
                  <a:pt x="7500" y="3032"/>
                  <a:pt x="7469" y="3000"/>
                  <a:pt x="7438" y="2969"/>
                </a:cubicBezTo>
                <a:cubicBezTo>
                  <a:pt x="7438" y="2969"/>
                  <a:pt x="7438" y="2938"/>
                  <a:pt x="7438" y="2938"/>
                </a:cubicBezTo>
                <a:lnTo>
                  <a:pt x="7438" y="2969"/>
                </a:lnTo>
                <a:cubicBezTo>
                  <a:pt x="7406" y="2938"/>
                  <a:pt x="7375" y="2938"/>
                  <a:pt x="7375" y="2907"/>
                </a:cubicBezTo>
                <a:cubicBezTo>
                  <a:pt x="7281" y="2813"/>
                  <a:pt x="7125" y="2844"/>
                  <a:pt x="7000" y="2750"/>
                </a:cubicBezTo>
                <a:cubicBezTo>
                  <a:pt x="6938" y="2688"/>
                  <a:pt x="6844" y="2688"/>
                  <a:pt x="6750" y="2657"/>
                </a:cubicBezTo>
                <a:cubicBezTo>
                  <a:pt x="6719" y="2657"/>
                  <a:pt x="6688" y="2625"/>
                  <a:pt x="6656" y="2688"/>
                </a:cubicBezTo>
                <a:cubicBezTo>
                  <a:pt x="6625" y="2813"/>
                  <a:pt x="6563" y="2750"/>
                  <a:pt x="6531" y="2719"/>
                </a:cubicBezTo>
                <a:cubicBezTo>
                  <a:pt x="6438" y="2719"/>
                  <a:pt x="6375" y="2625"/>
                  <a:pt x="6281" y="2688"/>
                </a:cubicBezTo>
                <a:cubicBezTo>
                  <a:pt x="6375" y="2782"/>
                  <a:pt x="6500" y="2782"/>
                  <a:pt x="6625" y="2813"/>
                </a:cubicBezTo>
                <a:close/>
                <a:moveTo>
                  <a:pt x="6969" y="2813"/>
                </a:moveTo>
                <a:cubicBezTo>
                  <a:pt x="6875" y="2875"/>
                  <a:pt x="6844" y="2813"/>
                  <a:pt x="6781" y="2782"/>
                </a:cubicBezTo>
                <a:cubicBezTo>
                  <a:pt x="6875" y="2750"/>
                  <a:pt x="6875" y="2750"/>
                  <a:pt x="6969" y="2813"/>
                </a:cubicBezTo>
                <a:close/>
                <a:moveTo>
                  <a:pt x="14594" y="13563"/>
                </a:moveTo>
                <a:cubicBezTo>
                  <a:pt x="14625" y="13532"/>
                  <a:pt x="14656" y="13563"/>
                  <a:pt x="14688" y="13563"/>
                </a:cubicBezTo>
                <a:cubicBezTo>
                  <a:pt x="14656" y="13594"/>
                  <a:pt x="14625" y="13594"/>
                  <a:pt x="14594" y="13563"/>
                </a:cubicBezTo>
                <a:close/>
                <a:moveTo>
                  <a:pt x="14844" y="13594"/>
                </a:moveTo>
                <a:cubicBezTo>
                  <a:pt x="14781" y="13594"/>
                  <a:pt x="14750" y="13563"/>
                  <a:pt x="14781" y="13500"/>
                </a:cubicBezTo>
                <a:cubicBezTo>
                  <a:pt x="14813" y="13438"/>
                  <a:pt x="14875" y="13469"/>
                  <a:pt x="14938" y="13469"/>
                </a:cubicBezTo>
                <a:cubicBezTo>
                  <a:pt x="14906" y="13532"/>
                  <a:pt x="14906" y="13625"/>
                  <a:pt x="14844" y="13594"/>
                </a:cubicBezTo>
                <a:close/>
                <a:moveTo>
                  <a:pt x="22031" y="4750"/>
                </a:moveTo>
                <a:cubicBezTo>
                  <a:pt x="22031" y="4782"/>
                  <a:pt x="22094" y="4782"/>
                  <a:pt x="22094" y="4750"/>
                </a:cubicBezTo>
                <a:cubicBezTo>
                  <a:pt x="22063" y="4594"/>
                  <a:pt x="22156" y="4688"/>
                  <a:pt x="22219" y="4688"/>
                </a:cubicBezTo>
                <a:cubicBezTo>
                  <a:pt x="22281" y="4688"/>
                  <a:pt x="22344" y="4750"/>
                  <a:pt x="22375" y="4688"/>
                </a:cubicBezTo>
                <a:cubicBezTo>
                  <a:pt x="22438" y="4594"/>
                  <a:pt x="22531" y="4625"/>
                  <a:pt x="22594" y="4625"/>
                </a:cubicBezTo>
                <a:cubicBezTo>
                  <a:pt x="22906" y="4688"/>
                  <a:pt x="23219" y="4719"/>
                  <a:pt x="23531" y="4719"/>
                </a:cubicBezTo>
                <a:cubicBezTo>
                  <a:pt x="23688" y="4719"/>
                  <a:pt x="23875" y="4688"/>
                  <a:pt x="24031" y="4750"/>
                </a:cubicBezTo>
                <a:cubicBezTo>
                  <a:pt x="24063" y="4657"/>
                  <a:pt x="24000" y="4657"/>
                  <a:pt x="23938" y="4625"/>
                </a:cubicBezTo>
                <a:cubicBezTo>
                  <a:pt x="23906" y="4625"/>
                  <a:pt x="23844" y="4625"/>
                  <a:pt x="23813" y="4625"/>
                </a:cubicBezTo>
                <a:cubicBezTo>
                  <a:pt x="23844" y="4563"/>
                  <a:pt x="23938" y="4594"/>
                  <a:pt x="24000" y="4500"/>
                </a:cubicBezTo>
                <a:cubicBezTo>
                  <a:pt x="23781" y="4532"/>
                  <a:pt x="23594" y="4532"/>
                  <a:pt x="23406" y="4563"/>
                </a:cubicBezTo>
                <a:cubicBezTo>
                  <a:pt x="23219" y="4594"/>
                  <a:pt x="23000" y="4594"/>
                  <a:pt x="22781" y="4594"/>
                </a:cubicBezTo>
                <a:cubicBezTo>
                  <a:pt x="22438" y="4563"/>
                  <a:pt x="22125" y="4563"/>
                  <a:pt x="21781" y="4625"/>
                </a:cubicBezTo>
                <a:cubicBezTo>
                  <a:pt x="21781" y="4657"/>
                  <a:pt x="21813" y="4657"/>
                  <a:pt x="21813" y="4688"/>
                </a:cubicBezTo>
                <a:cubicBezTo>
                  <a:pt x="21875" y="4719"/>
                  <a:pt x="21969" y="4719"/>
                  <a:pt x="22031" y="4750"/>
                </a:cubicBezTo>
                <a:close/>
                <a:moveTo>
                  <a:pt x="7625" y="3563"/>
                </a:moveTo>
                <a:cubicBezTo>
                  <a:pt x="7625" y="3563"/>
                  <a:pt x="7625" y="3563"/>
                  <a:pt x="7625" y="3563"/>
                </a:cubicBezTo>
                <a:cubicBezTo>
                  <a:pt x="7625" y="3563"/>
                  <a:pt x="7625" y="3563"/>
                  <a:pt x="7625" y="3563"/>
                </a:cubicBezTo>
                <a:close/>
                <a:moveTo>
                  <a:pt x="6000" y="3344"/>
                </a:moveTo>
                <a:cubicBezTo>
                  <a:pt x="6000" y="3344"/>
                  <a:pt x="6031" y="3313"/>
                  <a:pt x="6031" y="3313"/>
                </a:cubicBezTo>
                <a:cubicBezTo>
                  <a:pt x="6031" y="3282"/>
                  <a:pt x="6063" y="3282"/>
                  <a:pt x="6063" y="3313"/>
                </a:cubicBezTo>
                <a:cubicBezTo>
                  <a:pt x="6094" y="3313"/>
                  <a:pt x="6125" y="3313"/>
                  <a:pt x="6125" y="3313"/>
                </a:cubicBezTo>
                <a:cubicBezTo>
                  <a:pt x="6156" y="3250"/>
                  <a:pt x="6094" y="3250"/>
                  <a:pt x="6063" y="3188"/>
                </a:cubicBezTo>
                <a:cubicBezTo>
                  <a:pt x="6156" y="3094"/>
                  <a:pt x="6281" y="3157"/>
                  <a:pt x="6313" y="3250"/>
                </a:cubicBezTo>
                <a:cubicBezTo>
                  <a:pt x="6406" y="3438"/>
                  <a:pt x="6469" y="3313"/>
                  <a:pt x="6531" y="3219"/>
                </a:cubicBezTo>
                <a:cubicBezTo>
                  <a:pt x="6281" y="3094"/>
                  <a:pt x="6000" y="3032"/>
                  <a:pt x="5656" y="2969"/>
                </a:cubicBezTo>
                <a:cubicBezTo>
                  <a:pt x="5719" y="3000"/>
                  <a:pt x="5719" y="3032"/>
                  <a:pt x="5750" y="3032"/>
                </a:cubicBezTo>
                <a:cubicBezTo>
                  <a:pt x="5750" y="3063"/>
                  <a:pt x="5781" y="3094"/>
                  <a:pt x="5750" y="3094"/>
                </a:cubicBezTo>
                <a:cubicBezTo>
                  <a:pt x="5719" y="3125"/>
                  <a:pt x="5688" y="3125"/>
                  <a:pt x="5688" y="3094"/>
                </a:cubicBezTo>
                <a:cubicBezTo>
                  <a:pt x="5625" y="2969"/>
                  <a:pt x="5531" y="2938"/>
                  <a:pt x="5438" y="2875"/>
                </a:cubicBezTo>
                <a:cubicBezTo>
                  <a:pt x="5375" y="2813"/>
                  <a:pt x="5125" y="2719"/>
                  <a:pt x="5094" y="2782"/>
                </a:cubicBezTo>
                <a:cubicBezTo>
                  <a:pt x="5031" y="2907"/>
                  <a:pt x="4938" y="2844"/>
                  <a:pt x="4875" y="2813"/>
                </a:cubicBezTo>
                <a:cubicBezTo>
                  <a:pt x="4719" y="2782"/>
                  <a:pt x="4594" y="2688"/>
                  <a:pt x="4375" y="2750"/>
                </a:cubicBezTo>
                <a:cubicBezTo>
                  <a:pt x="4594" y="2813"/>
                  <a:pt x="4781" y="2844"/>
                  <a:pt x="4969" y="2907"/>
                </a:cubicBezTo>
                <a:cubicBezTo>
                  <a:pt x="5313" y="3063"/>
                  <a:pt x="5688" y="3125"/>
                  <a:pt x="6000" y="3344"/>
                </a:cubicBezTo>
                <a:close/>
                <a:moveTo>
                  <a:pt x="20688" y="14594"/>
                </a:moveTo>
                <a:cubicBezTo>
                  <a:pt x="20594" y="14594"/>
                  <a:pt x="20438" y="14688"/>
                  <a:pt x="20406" y="14469"/>
                </a:cubicBezTo>
                <a:cubicBezTo>
                  <a:pt x="20406" y="14469"/>
                  <a:pt x="20406" y="14469"/>
                  <a:pt x="20406" y="14469"/>
                </a:cubicBezTo>
                <a:cubicBezTo>
                  <a:pt x="20375" y="14625"/>
                  <a:pt x="20281" y="14594"/>
                  <a:pt x="20188" y="14594"/>
                </a:cubicBezTo>
                <a:cubicBezTo>
                  <a:pt x="19938" y="14625"/>
                  <a:pt x="19719" y="14563"/>
                  <a:pt x="19469" y="14563"/>
                </a:cubicBezTo>
                <a:cubicBezTo>
                  <a:pt x="19438" y="14625"/>
                  <a:pt x="19438" y="14657"/>
                  <a:pt x="19500" y="14657"/>
                </a:cubicBezTo>
                <a:cubicBezTo>
                  <a:pt x="19594" y="14657"/>
                  <a:pt x="19688" y="14657"/>
                  <a:pt x="19781" y="14657"/>
                </a:cubicBezTo>
                <a:cubicBezTo>
                  <a:pt x="19906" y="14657"/>
                  <a:pt x="20031" y="14657"/>
                  <a:pt x="20156" y="14657"/>
                </a:cubicBezTo>
                <a:cubicBezTo>
                  <a:pt x="20281" y="14657"/>
                  <a:pt x="20344" y="14657"/>
                  <a:pt x="20313" y="14813"/>
                </a:cubicBezTo>
                <a:cubicBezTo>
                  <a:pt x="20156" y="14844"/>
                  <a:pt x="20000" y="14782"/>
                  <a:pt x="19844" y="14907"/>
                </a:cubicBezTo>
                <a:cubicBezTo>
                  <a:pt x="20094" y="14907"/>
                  <a:pt x="20313" y="14969"/>
                  <a:pt x="20406" y="14719"/>
                </a:cubicBezTo>
                <a:cubicBezTo>
                  <a:pt x="20438" y="14688"/>
                  <a:pt x="20469" y="14657"/>
                  <a:pt x="20500" y="14657"/>
                </a:cubicBezTo>
                <a:cubicBezTo>
                  <a:pt x="21063" y="14750"/>
                  <a:pt x="21594" y="14594"/>
                  <a:pt x="22125" y="14563"/>
                </a:cubicBezTo>
                <a:cubicBezTo>
                  <a:pt x="22125" y="14563"/>
                  <a:pt x="22156" y="14563"/>
                  <a:pt x="22156" y="14532"/>
                </a:cubicBezTo>
                <a:cubicBezTo>
                  <a:pt x="22063" y="14500"/>
                  <a:pt x="22063" y="14500"/>
                  <a:pt x="21969" y="14500"/>
                </a:cubicBezTo>
                <a:cubicBezTo>
                  <a:pt x="21531" y="14438"/>
                  <a:pt x="21125" y="14563"/>
                  <a:pt x="20688" y="14594"/>
                </a:cubicBezTo>
                <a:close/>
                <a:moveTo>
                  <a:pt x="13500" y="13125"/>
                </a:moveTo>
                <a:cubicBezTo>
                  <a:pt x="13500" y="13063"/>
                  <a:pt x="13500" y="13000"/>
                  <a:pt x="13406" y="12969"/>
                </a:cubicBezTo>
                <a:cubicBezTo>
                  <a:pt x="13375" y="12969"/>
                  <a:pt x="13344" y="12938"/>
                  <a:pt x="13406" y="12875"/>
                </a:cubicBezTo>
                <a:cubicBezTo>
                  <a:pt x="13438" y="12875"/>
                  <a:pt x="13438" y="12813"/>
                  <a:pt x="13438" y="12782"/>
                </a:cubicBezTo>
                <a:cubicBezTo>
                  <a:pt x="13500" y="12813"/>
                  <a:pt x="13594" y="12813"/>
                  <a:pt x="13656" y="12782"/>
                </a:cubicBezTo>
                <a:cubicBezTo>
                  <a:pt x="13625" y="12688"/>
                  <a:pt x="13594" y="12657"/>
                  <a:pt x="13500" y="12688"/>
                </a:cubicBezTo>
                <a:cubicBezTo>
                  <a:pt x="13375" y="12719"/>
                  <a:pt x="13219" y="12719"/>
                  <a:pt x="13156" y="12688"/>
                </a:cubicBezTo>
                <a:cubicBezTo>
                  <a:pt x="12938" y="12594"/>
                  <a:pt x="12750" y="12594"/>
                  <a:pt x="12531" y="12532"/>
                </a:cubicBezTo>
                <a:cubicBezTo>
                  <a:pt x="12469" y="12500"/>
                  <a:pt x="12375" y="12625"/>
                  <a:pt x="12281" y="12500"/>
                </a:cubicBezTo>
                <a:cubicBezTo>
                  <a:pt x="12313" y="12625"/>
                  <a:pt x="12438" y="12594"/>
                  <a:pt x="12469" y="12657"/>
                </a:cubicBezTo>
                <a:cubicBezTo>
                  <a:pt x="12500" y="12750"/>
                  <a:pt x="12375" y="12782"/>
                  <a:pt x="12406" y="12875"/>
                </a:cubicBezTo>
                <a:cubicBezTo>
                  <a:pt x="12594" y="12907"/>
                  <a:pt x="12813" y="12750"/>
                  <a:pt x="13000" y="12938"/>
                </a:cubicBezTo>
                <a:cubicBezTo>
                  <a:pt x="12938" y="12969"/>
                  <a:pt x="12906" y="12969"/>
                  <a:pt x="12906" y="13032"/>
                </a:cubicBezTo>
                <a:cubicBezTo>
                  <a:pt x="12906" y="13032"/>
                  <a:pt x="12938" y="13063"/>
                  <a:pt x="12938" y="13063"/>
                </a:cubicBezTo>
                <a:cubicBezTo>
                  <a:pt x="13000" y="13094"/>
                  <a:pt x="13000" y="13032"/>
                  <a:pt x="13000" y="13000"/>
                </a:cubicBezTo>
                <a:cubicBezTo>
                  <a:pt x="13031" y="12969"/>
                  <a:pt x="13063" y="12938"/>
                  <a:pt x="13125" y="12969"/>
                </a:cubicBezTo>
                <a:cubicBezTo>
                  <a:pt x="13125" y="13000"/>
                  <a:pt x="13156" y="13000"/>
                  <a:pt x="13156" y="13032"/>
                </a:cubicBezTo>
                <a:cubicBezTo>
                  <a:pt x="13156" y="13094"/>
                  <a:pt x="13125" y="13063"/>
                  <a:pt x="13094" y="13063"/>
                </a:cubicBezTo>
                <a:cubicBezTo>
                  <a:pt x="13063" y="13094"/>
                  <a:pt x="13063" y="13094"/>
                  <a:pt x="13000" y="13125"/>
                </a:cubicBezTo>
                <a:cubicBezTo>
                  <a:pt x="13156" y="13094"/>
                  <a:pt x="13188" y="13157"/>
                  <a:pt x="13219" y="13250"/>
                </a:cubicBezTo>
                <a:cubicBezTo>
                  <a:pt x="13219" y="13125"/>
                  <a:pt x="13281" y="13188"/>
                  <a:pt x="13344" y="13188"/>
                </a:cubicBezTo>
                <a:cubicBezTo>
                  <a:pt x="13406" y="13188"/>
                  <a:pt x="13469" y="13219"/>
                  <a:pt x="13500" y="13125"/>
                </a:cubicBezTo>
                <a:close/>
                <a:moveTo>
                  <a:pt x="12531" y="12657"/>
                </a:moveTo>
                <a:cubicBezTo>
                  <a:pt x="12531" y="12657"/>
                  <a:pt x="12500" y="12625"/>
                  <a:pt x="12500" y="12625"/>
                </a:cubicBezTo>
                <a:cubicBezTo>
                  <a:pt x="12500" y="12594"/>
                  <a:pt x="12500" y="12594"/>
                  <a:pt x="12531" y="12594"/>
                </a:cubicBezTo>
                <a:cubicBezTo>
                  <a:pt x="12531" y="12625"/>
                  <a:pt x="12563" y="12625"/>
                  <a:pt x="12594" y="12625"/>
                </a:cubicBezTo>
                <a:cubicBezTo>
                  <a:pt x="12563" y="12625"/>
                  <a:pt x="12531" y="12657"/>
                  <a:pt x="12531" y="12657"/>
                </a:cubicBezTo>
                <a:close/>
                <a:moveTo>
                  <a:pt x="8906" y="9813"/>
                </a:moveTo>
                <a:cubicBezTo>
                  <a:pt x="8813" y="9813"/>
                  <a:pt x="8719" y="9782"/>
                  <a:pt x="8719" y="9719"/>
                </a:cubicBezTo>
                <a:cubicBezTo>
                  <a:pt x="8719" y="9594"/>
                  <a:pt x="8656" y="9625"/>
                  <a:pt x="8594" y="9625"/>
                </a:cubicBezTo>
                <a:cubicBezTo>
                  <a:pt x="8531" y="9625"/>
                  <a:pt x="8469" y="9625"/>
                  <a:pt x="8438" y="9625"/>
                </a:cubicBezTo>
                <a:cubicBezTo>
                  <a:pt x="8344" y="9657"/>
                  <a:pt x="8375" y="9594"/>
                  <a:pt x="8375" y="9563"/>
                </a:cubicBezTo>
                <a:cubicBezTo>
                  <a:pt x="8250" y="9532"/>
                  <a:pt x="8125" y="9594"/>
                  <a:pt x="8000" y="9500"/>
                </a:cubicBezTo>
                <a:cubicBezTo>
                  <a:pt x="7906" y="9407"/>
                  <a:pt x="7719" y="9594"/>
                  <a:pt x="7625" y="9469"/>
                </a:cubicBezTo>
                <a:cubicBezTo>
                  <a:pt x="7563" y="9313"/>
                  <a:pt x="7375" y="9469"/>
                  <a:pt x="7313" y="9313"/>
                </a:cubicBezTo>
                <a:cubicBezTo>
                  <a:pt x="7344" y="9282"/>
                  <a:pt x="7406" y="9313"/>
                  <a:pt x="7406" y="9250"/>
                </a:cubicBezTo>
                <a:cubicBezTo>
                  <a:pt x="7313" y="9282"/>
                  <a:pt x="7250" y="9250"/>
                  <a:pt x="7188" y="9219"/>
                </a:cubicBezTo>
                <a:cubicBezTo>
                  <a:pt x="7125" y="9219"/>
                  <a:pt x="7094" y="9219"/>
                  <a:pt x="7125" y="9282"/>
                </a:cubicBezTo>
                <a:cubicBezTo>
                  <a:pt x="7125" y="9313"/>
                  <a:pt x="7156" y="9313"/>
                  <a:pt x="7125" y="9344"/>
                </a:cubicBezTo>
                <a:cubicBezTo>
                  <a:pt x="7125" y="9344"/>
                  <a:pt x="7094" y="9344"/>
                  <a:pt x="7094" y="9313"/>
                </a:cubicBezTo>
                <a:cubicBezTo>
                  <a:pt x="7000" y="9282"/>
                  <a:pt x="6938" y="9313"/>
                  <a:pt x="6844" y="9313"/>
                </a:cubicBezTo>
                <a:cubicBezTo>
                  <a:pt x="7063" y="9407"/>
                  <a:pt x="7313" y="9407"/>
                  <a:pt x="7500" y="9532"/>
                </a:cubicBezTo>
                <a:cubicBezTo>
                  <a:pt x="7438" y="9594"/>
                  <a:pt x="7375" y="9469"/>
                  <a:pt x="7313" y="9532"/>
                </a:cubicBezTo>
                <a:cubicBezTo>
                  <a:pt x="7375" y="9594"/>
                  <a:pt x="7469" y="9625"/>
                  <a:pt x="7563" y="9625"/>
                </a:cubicBezTo>
                <a:cubicBezTo>
                  <a:pt x="7625" y="9657"/>
                  <a:pt x="7719" y="9782"/>
                  <a:pt x="7750" y="9594"/>
                </a:cubicBezTo>
                <a:cubicBezTo>
                  <a:pt x="7750" y="9594"/>
                  <a:pt x="7781" y="9594"/>
                  <a:pt x="7813" y="9594"/>
                </a:cubicBezTo>
                <a:cubicBezTo>
                  <a:pt x="7875" y="9594"/>
                  <a:pt x="7938" y="9625"/>
                  <a:pt x="7969" y="9657"/>
                </a:cubicBezTo>
                <a:cubicBezTo>
                  <a:pt x="8000" y="9719"/>
                  <a:pt x="8031" y="9688"/>
                  <a:pt x="8063" y="9719"/>
                </a:cubicBezTo>
                <a:cubicBezTo>
                  <a:pt x="8094" y="9719"/>
                  <a:pt x="8094" y="9719"/>
                  <a:pt x="8125" y="9719"/>
                </a:cubicBezTo>
                <a:cubicBezTo>
                  <a:pt x="8125" y="9688"/>
                  <a:pt x="8156" y="9719"/>
                  <a:pt x="8156" y="9719"/>
                </a:cubicBezTo>
                <a:cubicBezTo>
                  <a:pt x="8188" y="9719"/>
                  <a:pt x="8219" y="9750"/>
                  <a:pt x="8250" y="9750"/>
                </a:cubicBezTo>
                <a:cubicBezTo>
                  <a:pt x="8469" y="9657"/>
                  <a:pt x="8563" y="9719"/>
                  <a:pt x="8688" y="9938"/>
                </a:cubicBezTo>
                <a:cubicBezTo>
                  <a:pt x="8563" y="9875"/>
                  <a:pt x="8438" y="9875"/>
                  <a:pt x="8313" y="9907"/>
                </a:cubicBezTo>
                <a:cubicBezTo>
                  <a:pt x="8281" y="9907"/>
                  <a:pt x="8250" y="9907"/>
                  <a:pt x="8250" y="9938"/>
                </a:cubicBezTo>
                <a:cubicBezTo>
                  <a:pt x="8219" y="9969"/>
                  <a:pt x="8250" y="9969"/>
                  <a:pt x="8281" y="9969"/>
                </a:cubicBezTo>
                <a:cubicBezTo>
                  <a:pt x="8406" y="9969"/>
                  <a:pt x="8531" y="10063"/>
                  <a:pt x="8688" y="10063"/>
                </a:cubicBezTo>
                <a:cubicBezTo>
                  <a:pt x="8750" y="10063"/>
                  <a:pt x="8813" y="10094"/>
                  <a:pt x="8875" y="10063"/>
                </a:cubicBezTo>
                <a:cubicBezTo>
                  <a:pt x="8969" y="10063"/>
                  <a:pt x="9031" y="9969"/>
                  <a:pt x="9031" y="9875"/>
                </a:cubicBezTo>
                <a:cubicBezTo>
                  <a:pt x="9031" y="9813"/>
                  <a:pt x="8938" y="9813"/>
                  <a:pt x="8906" y="9813"/>
                </a:cubicBezTo>
                <a:close/>
                <a:moveTo>
                  <a:pt x="7656" y="9594"/>
                </a:moveTo>
                <a:cubicBezTo>
                  <a:pt x="7625" y="9594"/>
                  <a:pt x="7625" y="9594"/>
                  <a:pt x="7625" y="9563"/>
                </a:cubicBezTo>
                <a:cubicBezTo>
                  <a:pt x="7625" y="9563"/>
                  <a:pt x="7656" y="9563"/>
                  <a:pt x="7656" y="9563"/>
                </a:cubicBezTo>
                <a:cubicBezTo>
                  <a:pt x="7656" y="9563"/>
                  <a:pt x="7688" y="9563"/>
                  <a:pt x="7688" y="9563"/>
                </a:cubicBezTo>
                <a:cubicBezTo>
                  <a:pt x="7656" y="9594"/>
                  <a:pt x="7656" y="9594"/>
                  <a:pt x="7656" y="9594"/>
                </a:cubicBezTo>
                <a:close/>
                <a:moveTo>
                  <a:pt x="11250" y="6219"/>
                </a:moveTo>
                <a:cubicBezTo>
                  <a:pt x="11313" y="6219"/>
                  <a:pt x="11313" y="6157"/>
                  <a:pt x="11344" y="6094"/>
                </a:cubicBezTo>
                <a:cubicBezTo>
                  <a:pt x="11375" y="6063"/>
                  <a:pt x="11344" y="6063"/>
                  <a:pt x="11313" y="6032"/>
                </a:cubicBezTo>
                <a:cubicBezTo>
                  <a:pt x="11250" y="6000"/>
                  <a:pt x="11188" y="5969"/>
                  <a:pt x="11125" y="5907"/>
                </a:cubicBezTo>
                <a:cubicBezTo>
                  <a:pt x="11063" y="5875"/>
                  <a:pt x="11000" y="5844"/>
                  <a:pt x="10938" y="5813"/>
                </a:cubicBezTo>
                <a:cubicBezTo>
                  <a:pt x="10781" y="5750"/>
                  <a:pt x="10625" y="5750"/>
                  <a:pt x="10531" y="5594"/>
                </a:cubicBezTo>
                <a:cubicBezTo>
                  <a:pt x="10500" y="5594"/>
                  <a:pt x="10500" y="5563"/>
                  <a:pt x="10469" y="5563"/>
                </a:cubicBezTo>
                <a:cubicBezTo>
                  <a:pt x="10219" y="5469"/>
                  <a:pt x="9969" y="5407"/>
                  <a:pt x="9719" y="5313"/>
                </a:cubicBezTo>
                <a:cubicBezTo>
                  <a:pt x="9656" y="5313"/>
                  <a:pt x="9625" y="5344"/>
                  <a:pt x="9594" y="5375"/>
                </a:cubicBezTo>
                <a:cubicBezTo>
                  <a:pt x="9563" y="5407"/>
                  <a:pt x="9531" y="5438"/>
                  <a:pt x="9500" y="5469"/>
                </a:cubicBezTo>
                <a:cubicBezTo>
                  <a:pt x="9500" y="5500"/>
                  <a:pt x="9406" y="5438"/>
                  <a:pt x="9438" y="5532"/>
                </a:cubicBezTo>
                <a:cubicBezTo>
                  <a:pt x="9469" y="5594"/>
                  <a:pt x="9531" y="5563"/>
                  <a:pt x="9563" y="5563"/>
                </a:cubicBezTo>
                <a:cubicBezTo>
                  <a:pt x="9656" y="5532"/>
                  <a:pt x="9719" y="5500"/>
                  <a:pt x="9781" y="5532"/>
                </a:cubicBezTo>
                <a:cubicBezTo>
                  <a:pt x="9750" y="5594"/>
                  <a:pt x="9625" y="5563"/>
                  <a:pt x="9688" y="5625"/>
                </a:cubicBezTo>
                <a:cubicBezTo>
                  <a:pt x="9750" y="5688"/>
                  <a:pt x="9813" y="5782"/>
                  <a:pt x="9906" y="5719"/>
                </a:cubicBezTo>
                <a:cubicBezTo>
                  <a:pt x="9969" y="5688"/>
                  <a:pt x="10031" y="5719"/>
                  <a:pt x="10063" y="5782"/>
                </a:cubicBezTo>
                <a:cubicBezTo>
                  <a:pt x="10188" y="5907"/>
                  <a:pt x="10375" y="5938"/>
                  <a:pt x="10531" y="6000"/>
                </a:cubicBezTo>
                <a:cubicBezTo>
                  <a:pt x="10563" y="6032"/>
                  <a:pt x="10625" y="6032"/>
                  <a:pt x="10656" y="6000"/>
                </a:cubicBezTo>
                <a:cubicBezTo>
                  <a:pt x="10781" y="5969"/>
                  <a:pt x="10906" y="6000"/>
                  <a:pt x="11031" y="6000"/>
                </a:cubicBezTo>
                <a:cubicBezTo>
                  <a:pt x="11156" y="6000"/>
                  <a:pt x="11219" y="6063"/>
                  <a:pt x="11219" y="6188"/>
                </a:cubicBezTo>
                <a:cubicBezTo>
                  <a:pt x="11219" y="6188"/>
                  <a:pt x="11219" y="6219"/>
                  <a:pt x="11250" y="6219"/>
                </a:cubicBezTo>
                <a:close/>
                <a:moveTo>
                  <a:pt x="10656" y="5969"/>
                </a:moveTo>
                <a:cubicBezTo>
                  <a:pt x="10625" y="6000"/>
                  <a:pt x="10594" y="6000"/>
                  <a:pt x="10563" y="5938"/>
                </a:cubicBezTo>
                <a:cubicBezTo>
                  <a:pt x="10563" y="5907"/>
                  <a:pt x="10563" y="5907"/>
                  <a:pt x="10531" y="5907"/>
                </a:cubicBezTo>
                <a:cubicBezTo>
                  <a:pt x="10500" y="5844"/>
                  <a:pt x="10438" y="5969"/>
                  <a:pt x="10469" y="5875"/>
                </a:cubicBezTo>
                <a:cubicBezTo>
                  <a:pt x="10469" y="5813"/>
                  <a:pt x="10563" y="5750"/>
                  <a:pt x="10625" y="5782"/>
                </a:cubicBezTo>
                <a:cubicBezTo>
                  <a:pt x="10688" y="5782"/>
                  <a:pt x="10750" y="5813"/>
                  <a:pt x="10781" y="5875"/>
                </a:cubicBezTo>
                <a:cubicBezTo>
                  <a:pt x="10750" y="5907"/>
                  <a:pt x="10688" y="5938"/>
                  <a:pt x="10656" y="5969"/>
                </a:cubicBezTo>
                <a:close/>
                <a:moveTo>
                  <a:pt x="12406" y="4375"/>
                </a:moveTo>
                <a:cubicBezTo>
                  <a:pt x="12406" y="4407"/>
                  <a:pt x="12406" y="4469"/>
                  <a:pt x="12375" y="4500"/>
                </a:cubicBezTo>
                <a:cubicBezTo>
                  <a:pt x="12313" y="4563"/>
                  <a:pt x="12281" y="4469"/>
                  <a:pt x="12219" y="4469"/>
                </a:cubicBezTo>
                <a:cubicBezTo>
                  <a:pt x="12250" y="4438"/>
                  <a:pt x="12188" y="4407"/>
                  <a:pt x="12188" y="4375"/>
                </a:cubicBezTo>
                <a:cubicBezTo>
                  <a:pt x="12250" y="4375"/>
                  <a:pt x="12344" y="4344"/>
                  <a:pt x="12406" y="4375"/>
                </a:cubicBezTo>
                <a:close/>
                <a:moveTo>
                  <a:pt x="11969" y="4438"/>
                </a:moveTo>
                <a:cubicBezTo>
                  <a:pt x="12000" y="4375"/>
                  <a:pt x="12000" y="4438"/>
                  <a:pt x="12031" y="4438"/>
                </a:cubicBezTo>
                <a:cubicBezTo>
                  <a:pt x="12094" y="4469"/>
                  <a:pt x="12156" y="4500"/>
                  <a:pt x="12219" y="4469"/>
                </a:cubicBezTo>
                <a:cubicBezTo>
                  <a:pt x="12219" y="4500"/>
                  <a:pt x="12281" y="4594"/>
                  <a:pt x="12156" y="4563"/>
                </a:cubicBezTo>
                <a:cubicBezTo>
                  <a:pt x="12125" y="4532"/>
                  <a:pt x="12094" y="4532"/>
                  <a:pt x="12063" y="4563"/>
                </a:cubicBezTo>
                <a:cubicBezTo>
                  <a:pt x="12000" y="4594"/>
                  <a:pt x="11969" y="4563"/>
                  <a:pt x="11969" y="4532"/>
                </a:cubicBezTo>
                <a:cubicBezTo>
                  <a:pt x="11938" y="4500"/>
                  <a:pt x="11938" y="4469"/>
                  <a:pt x="11969" y="4438"/>
                </a:cubicBezTo>
                <a:close/>
                <a:moveTo>
                  <a:pt x="4594" y="3563"/>
                </a:moveTo>
                <a:cubicBezTo>
                  <a:pt x="4594" y="3563"/>
                  <a:pt x="4594" y="3563"/>
                  <a:pt x="4594" y="3563"/>
                </a:cubicBezTo>
                <a:close/>
                <a:moveTo>
                  <a:pt x="5500" y="3594"/>
                </a:moveTo>
                <a:cubicBezTo>
                  <a:pt x="5500" y="3594"/>
                  <a:pt x="5500" y="3625"/>
                  <a:pt x="5500" y="3625"/>
                </a:cubicBezTo>
                <a:cubicBezTo>
                  <a:pt x="5500" y="3657"/>
                  <a:pt x="5500" y="3688"/>
                  <a:pt x="5469" y="3688"/>
                </a:cubicBezTo>
                <a:cubicBezTo>
                  <a:pt x="5438" y="3657"/>
                  <a:pt x="5406" y="3688"/>
                  <a:pt x="5344" y="3688"/>
                </a:cubicBezTo>
                <a:cubicBezTo>
                  <a:pt x="5344" y="3532"/>
                  <a:pt x="5438" y="3625"/>
                  <a:pt x="5500" y="3594"/>
                </a:cubicBezTo>
                <a:close/>
                <a:moveTo>
                  <a:pt x="8063" y="4688"/>
                </a:moveTo>
                <a:cubicBezTo>
                  <a:pt x="8094" y="4657"/>
                  <a:pt x="8125" y="4688"/>
                  <a:pt x="8156" y="4688"/>
                </a:cubicBezTo>
                <a:cubicBezTo>
                  <a:pt x="8188" y="4719"/>
                  <a:pt x="8250" y="4719"/>
                  <a:pt x="8281" y="4719"/>
                </a:cubicBezTo>
                <a:cubicBezTo>
                  <a:pt x="8250" y="4813"/>
                  <a:pt x="8188" y="4813"/>
                  <a:pt x="8125" y="4782"/>
                </a:cubicBezTo>
                <a:cubicBezTo>
                  <a:pt x="8094" y="4750"/>
                  <a:pt x="8031" y="4750"/>
                  <a:pt x="8063" y="4688"/>
                </a:cubicBezTo>
                <a:close/>
                <a:moveTo>
                  <a:pt x="6969" y="4250"/>
                </a:moveTo>
                <a:cubicBezTo>
                  <a:pt x="6938" y="4250"/>
                  <a:pt x="6875" y="4219"/>
                  <a:pt x="6875" y="4188"/>
                </a:cubicBezTo>
                <a:cubicBezTo>
                  <a:pt x="6875" y="4157"/>
                  <a:pt x="6875" y="4125"/>
                  <a:pt x="6906" y="4125"/>
                </a:cubicBezTo>
                <a:cubicBezTo>
                  <a:pt x="6969" y="4157"/>
                  <a:pt x="7000" y="4157"/>
                  <a:pt x="7031" y="4188"/>
                </a:cubicBezTo>
                <a:cubicBezTo>
                  <a:pt x="7031" y="4250"/>
                  <a:pt x="7000" y="4250"/>
                  <a:pt x="6969" y="4250"/>
                </a:cubicBezTo>
                <a:close/>
                <a:moveTo>
                  <a:pt x="7156" y="4344"/>
                </a:moveTo>
                <a:cubicBezTo>
                  <a:pt x="7156" y="4313"/>
                  <a:pt x="7031" y="4250"/>
                  <a:pt x="7156" y="4219"/>
                </a:cubicBezTo>
                <a:cubicBezTo>
                  <a:pt x="7219" y="4188"/>
                  <a:pt x="7250" y="4188"/>
                  <a:pt x="7250" y="4250"/>
                </a:cubicBezTo>
                <a:cubicBezTo>
                  <a:pt x="7281" y="4375"/>
                  <a:pt x="7188" y="4313"/>
                  <a:pt x="7156" y="4344"/>
                </a:cubicBezTo>
                <a:close/>
                <a:moveTo>
                  <a:pt x="31938" y="2032"/>
                </a:moveTo>
                <a:cubicBezTo>
                  <a:pt x="31938" y="2063"/>
                  <a:pt x="31969" y="2063"/>
                  <a:pt x="31969" y="2063"/>
                </a:cubicBezTo>
                <a:cubicBezTo>
                  <a:pt x="31938" y="2063"/>
                  <a:pt x="31938" y="2094"/>
                  <a:pt x="31938" y="2094"/>
                </a:cubicBezTo>
                <a:cubicBezTo>
                  <a:pt x="31906" y="2094"/>
                  <a:pt x="31906" y="2094"/>
                  <a:pt x="31906" y="2094"/>
                </a:cubicBezTo>
                <a:cubicBezTo>
                  <a:pt x="31906" y="2063"/>
                  <a:pt x="31906" y="2063"/>
                  <a:pt x="31938" y="2032"/>
                </a:cubicBezTo>
                <a:close/>
                <a:moveTo>
                  <a:pt x="15625" y="5500"/>
                </a:moveTo>
                <a:cubicBezTo>
                  <a:pt x="15563" y="5532"/>
                  <a:pt x="15500" y="5532"/>
                  <a:pt x="15469" y="5500"/>
                </a:cubicBezTo>
                <a:cubicBezTo>
                  <a:pt x="15438" y="5469"/>
                  <a:pt x="15344" y="5500"/>
                  <a:pt x="15313" y="5407"/>
                </a:cubicBezTo>
                <a:cubicBezTo>
                  <a:pt x="15344" y="5375"/>
                  <a:pt x="15344" y="5375"/>
                  <a:pt x="15344" y="5344"/>
                </a:cubicBezTo>
                <a:cubicBezTo>
                  <a:pt x="15406" y="5282"/>
                  <a:pt x="15469" y="5375"/>
                  <a:pt x="15563" y="5375"/>
                </a:cubicBezTo>
                <a:cubicBezTo>
                  <a:pt x="15594" y="5375"/>
                  <a:pt x="15625" y="5407"/>
                  <a:pt x="15625" y="5469"/>
                </a:cubicBezTo>
                <a:cubicBezTo>
                  <a:pt x="15625" y="5500"/>
                  <a:pt x="15625" y="5500"/>
                  <a:pt x="15625" y="5500"/>
                </a:cubicBezTo>
                <a:close/>
                <a:moveTo>
                  <a:pt x="12844" y="4969"/>
                </a:moveTo>
                <a:cubicBezTo>
                  <a:pt x="12938" y="4938"/>
                  <a:pt x="13000" y="4969"/>
                  <a:pt x="13031" y="5063"/>
                </a:cubicBezTo>
                <a:cubicBezTo>
                  <a:pt x="12906" y="5125"/>
                  <a:pt x="12875" y="5032"/>
                  <a:pt x="12844" y="4969"/>
                </a:cubicBezTo>
                <a:close/>
                <a:moveTo>
                  <a:pt x="13188" y="5188"/>
                </a:moveTo>
                <a:cubicBezTo>
                  <a:pt x="13094" y="5188"/>
                  <a:pt x="13063" y="5157"/>
                  <a:pt x="13031" y="5094"/>
                </a:cubicBezTo>
                <a:cubicBezTo>
                  <a:pt x="13031" y="5094"/>
                  <a:pt x="13031" y="5094"/>
                  <a:pt x="13031" y="5094"/>
                </a:cubicBezTo>
                <a:cubicBezTo>
                  <a:pt x="13094" y="5094"/>
                  <a:pt x="13156" y="5094"/>
                  <a:pt x="13188" y="5157"/>
                </a:cubicBezTo>
                <a:cubicBezTo>
                  <a:pt x="13219" y="5157"/>
                  <a:pt x="13188" y="5188"/>
                  <a:pt x="13188" y="5188"/>
                </a:cubicBezTo>
                <a:close/>
                <a:moveTo>
                  <a:pt x="14625" y="5750"/>
                </a:moveTo>
                <a:cubicBezTo>
                  <a:pt x="14625" y="5750"/>
                  <a:pt x="14625" y="5750"/>
                  <a:pt x="14625" y="5750"/>
                </a:cubicBezTo>
                <a:cubicBezTo>
                  <a:pt x="14625" y="5750"/>
                  <a:pt x="14625" y="5750"/>
                  <a:pt x="14625" y="5750"/>
                </a:cubicBezTo>
                <a:cubicBezTo>
                  <a:pt x="14625" y="5750"/>
                  <a:pt x="14625" y="5750"/>
                  <a:pt x="14625" y="5750"/>
                </a:cubicBezTo>
                <a:close/>
                <a:moveTo>
                  <a:pt x="14781" y="5625"/>
                </a:moveTo>
                <a:cubicBezTo>
                  <a:pt x="14750" y="5657"/>
                  <a:pt x="14719" y="5688"/>
                  <a:pt x="14656" y="5688"/>
                </a:cubicBezTo>
                <a:cubicBezTo>
                  <a:pt x="14656" y="5688"/>
                  <a:pt x="14625" y="5688"/>
                  <a:pt x="14625" y="5688"/>
                </a:cubicBezTo>
                <a:cubicBezTo>
                  <a:pt x="14594" y="5625"/>
                  <a:pt x="14563" y="5657"/>
                  <a:pt x="14500" y="5657"/>
                </a:cubicBezTo>
                <a:cubicBezTo>
                  <a:pt x="14500" y="5657"/>
                  <a:pt x="14500" y="5688"/>
                  <a:pt x="14500" y="5688"/>
                </a:cubicBezTo>
                <a:cubicBezTo>
                  <a:pt x="14500" y="5750"/>
                  <a:pt x="14563" y="5750"/>
                  <a:pt x="14594" y="5750"/>
                </a:cubicBezTo>
                <a:cubicBezTo>
                  <a:pt x="14594" y="5813"/>
                  <a:pt x="14563" y="5813"/>
                  <a:pt x="14500" y="5813"/>
                </a:cubicBezTo>
                <a:cubicBezTo>
                  <a:pt x="14469" y="5782"/>
                  <a:pt x="14438" y="5750"/>
                  <a:pt x="14438" y="5719"/>
                </a:cubicBezTo>
                <a:cubicBezTo>
                  <a:pt x="14438" y="5625"/>
                  <a:pt x="14469" y="5563"/>
                  <a:pt x="14344" y="5563"/>
                </a:cubicBezTo>
                <a:cubicBezTo>
                  <a:pt x="14281" y="5563"/>
                  <a:pt x="14344" y="5438"/>
                  <a:pt x="14281" y="5407"/>
                </a:cubicBezTo>
                <a:cubicBezTo>
                  <a:pt x="14125" y="5500"/>
                  <a:pt x="14000" y="5407"/>
                  <a:pt x="13875" y="5313"/>
                </a:cubicBezTo>
                <a:cubicBezTo>
                  <a:pt x="13750" y="5250"/>
                  <a:pt x="13625" y="5188"/>
                  <a:pt x="13500" y="5125"/>
                </a:cubicBezTo>
                <a:cubicBezTo>
                  <a:pt x="13656" y="5063"/>
                  <a:pt x="13781" y="5125"/>
                  <a:pt x="13906" y="5313"/>
                </a:cubicBezTo>
                <a:cubicBezTo>
                  <a:pt x="14000" y="5282"/>
                  <a:pt x="14094" y="5375"/>
                  <a:pt x="14188" y="5282"/>
                </a:cubicBezTo>
                <a:cubicBezTo>
                  <a:pt x="14188" y="5282"/>
                  <a:pt x="14281" y="5282"/>
                  <a:pt x="14250" y="5344"/>
                </a:cubicBezTo>
                <a:cubicBezTo>
                  <a:pt x="14250" y="5375"/>
                  <a:pt x="14250" y="5375"/>
                  <a:pt x="14250" y="5375"/>
                </a:cubicBezTo>
                <a:cubicBezTo>
                  <a:pt x="14250" y="5407"/>
                  <a:pt x="14250" y="5407"/>
                  <a:pt x="14281" y="5375"/>
                </a:cubicBezTo>
                <a:cubicBezTo>
                  <a:pt x="14313" y="5375"/>
                  <a:pt x="14344" y="5344"/>
                  <a:pt x="14375" y="5375"/>
                </a:cubicBezTo>
                <a:cubicBezTo>
                  <a:pt x="14438" y="5438"/>
                  <a:pt x="14500" y="5407"/>
                  <a:pt x="14563" y="5375"/>
                </a:cubicBezTo>
                <a:cubicBezTo>
                  <a:pt x="14594" y="5438"/>
                  <a:pt x="14625" y="5532"/>
                  <a:pt x="14719" y="5563"/>
                </a:cubicBezTo>
                <a:cubicBezTo>
                  <a:pt x="14750" y="5563"/>
                  <a:pt x="14781" y="5563"/>
                  <a:pt x="14781" y="5625"/>
                </a:cubicBezTo>
                <a:close/>
                <a:moveTo>
                  <a:pt x="15438" y="7094"/>
                </a:moveTo>
                <a:cubicBezTo>
                  <a:pt x="15406" y="7094"/>
                  <a:pt x="15313" y="7125"/>
                  <a:pt x="15344" y="7032"/>
                </a:cubicBezTo>
                <a:cubicBezTo>
                  <a:pt x="15344" y="7000"/>
                  <a:pt x="15375" y="6969"/>
                  <a:pt x="15406" y="6969"/>
                </a:cubicBezTo>
                <a:cubicBezTo>
                  <a:pt x="15469" y="7000"/>
                  <a:pt x="15531" y="7000"/>
                  <a:pt x="15531" y="7063"/>
                </a:cubicBezTo>
                <a:cubicBezTo>
                  <a:pt x="15531" y="7125"/>
                  <a:pt x="15469" y="7063"/>
                  <a:pt x="15438" y="7094"/>
                </a:cubicBezTo>
                <a:close/>
                <a:moveTo>
                  <a:pt x="16250" y="6907"/>
                </a:moveTo>
                <a:cubicBezTo>
                  <a:pt x="16219" y="6907"/>
                  <a:pt x="16219" y="6844"/>
                  <a:pt x="16219" y="6844"/>
                </a:cubicBezTo>
                <a:cubicBezTo>
                  <a:pt x="16250" y="6782"/>
                  <a:pt x="16250" y="6813"/>
                  <a:pt x="16281" y="6844"/>
                </a:cubicBezTo>
                <a:cubicBezTo>
                  <a:pt x="16375" y="6844"/>
                  <a:pt x="16438" y="6938"/>
                  <a:pt x="16563" y="7000"/>
                </a:cubicBezTo>
                <a:cubicBezTo>
                  <a:pt x="16406" y="7032"/>
                  <a:pt x="16344" y="6907"/>
                  <a:pt x="16250" y="6907"/>
                </a:cubicBezTo>
                <a:close/>
                <a:moveTo>
                  <a:pt x="11813" y="7250"/>
                </a:moveTo>
                <a:cubicBezTo>
                  <a:pt x="11813" y="7219"/>
                  <a:pt x="11781" y="7188"/>
                  <a:pt x="11750" y="7188"/>
                </a:cubicBezTo>
                <a:cubicBezTo>
                  <a:pt x="11719" y="7157"/>
                  <a:pt x="11688" y="7157"/>
                  <a:pt x="11656" y="7188"/>
                </a:cubicBezTo>
                <a:cubicBezTo>
                  <a:pt x="11656" y="7250"/>
                  <a:pt x="11688" y="7282"/>
                  <a:pt x="11719" y="7282"/>
                </a:cubicBezTo>
                <a:cubicBezTo>
                  <a:pt x="11750" y="7282"/>
                  <a:pt x="11781" y="7282"/>
                  <a:pt x="11781" y="7282"/>
                </a:cubicBezTo>
                <a:cubicBezTo>
                  <a:pt x="11813" y="7344"/>
                  <a:pt x="11813" y="7407"/>
                  <a:pt x="11844" y="7469"/>
                </a:cubicBezTo>
                <a:cubicBezTo>
                  <a:pt x="11781" y="7407"/>
                  <a:pt x="11656" y="7375"/>
                  <a:pt x="11656" y="7282"/>
                </a:cubicBezTo>
                <a:cubicBezTo>
                  <a:pt x="11625" y="7219"/>
                  <a:pt x="11594" y="7250"/>
                  <a:pt x="11563" y="7250"/>
                </a:cubicBezTo>
                <a:cubicBezTo>
                  <a:pt x="11563" y="7250"/>
                  <a:pt x="11531" y="7250"/>
                  <a:pt x="11500" y="7219"/>
                </a:cubicBezTo>
                <a:cubicBezTo>
                  <a:pt x="11500" y="7157"/>
                  <a:pt x="11531" y="7188"/>
                  <a:pt x="11563" y="7188"/>
                </a:cubicBezTo>
                <a:cubicBezTo>
                  <a:pt x="11625" y="7157"/>
                  <a:pt x="11656" y="7188"/>
                  <a:pt x="11688" y="7125"/>
                </a:cubicBezTo>
                <a:cubicBezTo>
                  <a:pt x="11688" y="7063"/>
                  <a:pt x="11906" y="7125"/>
                  <a:pt x="11938" y="7188"/>
                </a:cubicBezTo>
                <a:cubicBezTo>
                  <a:pt x="11938" y="7313"/>
                  <a:pt x="11875" y="7250"/>
                  <a:pt x="11813" y="7250"/>
                </a:cubicBezTo>
                <a:close/>
                <a:moveTo>
                  <a:pt x="12063" y="7594"/>
                </a:moveTo>
                <a:cubicBezTo>
                  <a:pt x="12156" y="7469"/>
                  <a:pt x="12219" y="7563"/>
                  <a:pt x="12281" y="7594"/>
                </a:cubicBezTo>
                <a:cubicBezTo>
                  <a:pt x="12219" y="7594"/>
                  <a:pt x="12156" y="7594"/>
                  <a:pt x="12063" y="7594"/>
                </a:cubicBezTo>
                <a:close/>
                <a:moveTo>
                  <a:pt x="12406" y="7500"/>
                </a:moveTo>
                <a:cubicBezTo>
                  <a:pt x="12344" y="7500"/>
                  <a:pt x="12313" y="7469"/>
                  <a:pt x="12313" y="7407"/>
                </a:cubicBezTo>
                <a:cubicBezTo>
                  <a:pt x="12281" y="7407"/>
                  <a:pt x="12313" y="7375"/>
                  <a:pt x="12344" y="7375"/>
                </a:cubicBezTo>
                <a:cubicBezTo>
                  <a:pt x="12406" y="7375"/>
                  <a:pt x="12406" y="7407"/>
                  <a:pt x="12438" y="7438"/>
                </a:cubicBezTo>
                <a:cubicBezTo>
                  <a:pt x="12438" y="7469"/>
                  <a:pt x="12438" y="7500"/>
                  <a:pt x="12406" y="7500"/>
                </a:cubicBezTo>
                <a:close/>
                <a:moveTo>
                  <a:pt x="12500" y="7782"/>
                </a:moveTo>
                <a:cubicBezTo>
                  <a:pt x="12500" y="7782"/>
                  <a:pt x="12500" y="7750"/>
                  <a:pt x="12500" y="7750"/>
                </a:cubicBezTo>
                <a:cubicBezTo>
                  <a:pt x="12500" y="7750"/>
                  <a:pt x="12500" y="7750"/>
                  <a:pt x="12500" y="7719"/>
                </a:cubicBezTo>
                <a:cubicBezTo>
                  <a:pt x="12500" y="7719"/>
                  <a:pt x="12531" y="7750"/>
                  <a:pt x="12531" y="7750"/>
                </a:cubicBezTo>
                <a:cubicBezTo>
                  <a:pt x="12531" y="7750"/>
                  <a:pt x="12500" y="7782"/>
                  <a:pt x="12500" y="7782"/>
                </a:cubicBezTo>
                <a:close/>
                <a:moveTo>
                  <a:pt x="14125" y="8469"/>
                </a:moveTo>
                <a:cubicBezTo>
                  <a:pt x="14094" y="8532"/>
                  <a:pt x="14031" y="8563"/>
                  <a:pt x="13969" y="8532"/>
                </a:cubicBezTo>
                <a:cubicBezTo>
                  <a:pt x="13969" y="8469"/>
                  <a:pt x="14094" y="8500"/>
                  <a:pt x="14031" y="8407"/>
                </a:cubicBezTo>
                <a:cubicBezTo>
                  <a:pt x="14000" y="8407"/>
                  <a:pt x="14031" y="8375"/>
                  <a:pt x="14063" y="8375"/>
                </a:cubicBezTo>
                <a:cubicBezTo>
                  <a:pt x="14094" y="8407"/>
                  <a:pt x="14156" y="8375"/>
                  <a:pt x="14188" y="8438"/>
                </a:cubicBezTo>
                <a:cubicBezTo>
                  <a:pt x="14188" y="8469"/>
                  <a:pt x="14156" y="8469"/>
                  <a:pt x="14125" y="8469"/>
                </a:cubicBezTo>
                <a:close/>
                <a:moveTo>
                  <a:pt x="3781" y="3782"/>
                </a:moveTo>
                <a:cubicBezTo>
                  <a:pt x="3781" y="3782"/>
                  <a:pt x="3781" y="3782"/>
                  <a:pt x="3781" y="3782"/>
                </a:cubicBezTo>
                <a:cubicBezTo>
                  <a:pt x="3750" y="3782"/>
                  <a:pt x="3750" y="3750"/>
                  <a:pt x="3781" y="3719"/>
                </a:cubicBezTo>
                <a:cubicBezTo>
                  <a:pt x="3781" y="3719"/>
                  <a:pt x="3813" y="3719"/>
                  <a:pt x="3813" y="3719"/>
                </a:cubicBezTo>
                <a:cubicBezTo>
                  <a:pt x="3813" y="3750"/>
                  <a:pt x="3813" y="3782"/>
                  <a:pt x="3781" y="3782"/>
                </a:cubicBezTo>
                <a:close/>
                <a:moveTo>
                  <a:pt x="3563" y="4532"/>
                </a:moveTo>
                <a:cubicBezTo>
                  <a:pt x="3500" y="4500"/>
                  <a:pt x="3438" y="4500"/>
                  <a:pt x="3375" y="4469"/>
                </a:cubicBezTo>
                <a:cubicBezTo>
                  <a:pt x="3469" y="4407"/>
                  <a:pt x="3531" y="4469"/>
                  <a:pt x="3594" y="4469"/>
                </a:cubicBezTo>
                <a:cubicBezTo>
                  <a:pt x="3594" y="4469"/>
                  <a:pt x="3594" y="4469"/>
                  <a:pt x="3594" y="4500"/>
                </a:cubicBezTo>
                <a:cubicBezTo>
                  <a:pt x="3594" y="4500"/>
                  <a:pt x="3594" y="4532"/>
                  <a:pt x="3563" y="4532"/>
                </a:cubicBezTo>
                <a:close/>
                <a:moveTo>
                  <a:pt x="2719" y="6625"/>
                </a:moveTo>
                <a:cubicBezTo>
                  <a:pt x="2688" y="6657"/>
                  <a:pt x="2657" y="6625"/>
                  <a:pt x="2657" y="6625"/>
                </a:cubicBezTo>
                <a:cubicBezTo>
                  <a:pt x="2563" y="6594"/>
                  <a:pt x="2500" y="6563"/>
                  <a:pt x="2407" y="6563"/>
                </a:cubicBezTo>
                <a:cubicBezTo>
                  <a:pt x="2469" y="6469"/>
                  <a:pt x="2688" y="6500"/>
                  <a:pt x="2719" y="6594"/>
                </a:cubicBezTo>
                <a:cubicBezTo>
                  <a:pt x="2719" y="6594"/>
                  <a:pt x="2719" y="6625"/>
                  <a:pt x="2719" y="6625"/>
                </a:cubicBezTo>
                <a:close/>
                <a:moveTo>
                  <a:pt x="4219" y="7094"/>
                </a:moveTo>
                <a:cubicBezTo>
                  <a:pt x="4156" y="7094"/>
                  <a:pt x="4094" y="7063"/>
                  <a:pt x="4031" y="7000"/>
                </a:cubicBezTo>
                <a:cubicBezTo>
                  <a:pt x="4063" y="6969"/>
                  <a:pt x="4063" y="6969"/>
                  <a:pt x="4094" y="6969"/>
                </a:cubicBezTo>
                <a:cubicBezTo>
                  <a:pt x="4125" y="7000"/>
                  <a:pt x="4219" y="6969"/>
                  <a:pt x="4250" y="7032"/>
                </a:cubicBezTo>
                <a:cubicBezTo>
                  <a:pt x="4250" y="7063"/>
                  <a:pt x="4250" y="7094"/>
                  <a:pt x="4219" y="7094"/>
                </a:cubicBezTo>
                <a:close/>
                <a:moveTo>
                  <a:pt x="17969" y="13969"/>
                </a:moveTo>
                <a:cubicBezTo>
                  <a:pt x="18000" y="13969"/>
                  <a:pt x="18000" y="14000"/>
                  <a:pt x="18000" y="14000"/>
                </a:cubicBezTo>
                <a:cubicBezTo>
                  <a:pt x="18000" y="14000"/>
                  <a:pt x="18000" y="14000"/>
                  <a:pt x="17969" y="14032"/>
                </a:cubicBezTo>
                <a:cubicBezTo>
                  <a:pt x="17969" y="14000"/>
                  <a:pt x="17969" y="14000"/>
                  <a:pt x="17938" y="14000"/>
                </a:cubicBezTo>
                <a:cubicBezTo>
                  <a:pt x="17969" y="14000"/>
                  <a:pt x="17969" y="13969"/>
                  <a:pt x="17969" y="13969"/>
                </a:cubicBezTo>
                <a:close/>
                <a:moveTo>
                  <a:pt x="20969" y="13969"/>
                </a:moveTo>
                <a:cubicBezTo>
                  <a:pt x="20938" y="14032"/>
                  <a:pt x="20906" y="14094"/>
                  <a:pt x="20875" y="14157"/>
                </a:cubicBezTo>
                <a:cubicBezTo>
                  <a:pt x="20813" y="14063"/>
                  <a:pt x="20813" y="13969"/>
                  <a:pt x="20875" y="13875"/>
                </a:cubicBezTo>
                <a:cubicBezTo>
                  <a:pt x="20875" y="13907"/>
                  <a:pt x="20906" y="13907"/>
                  <a:pt x="20906" y="13907"/>
                </a:cubicBezTo>
                <a:cubicBezTo>
                  <a:pt x="21000" y="13875"/>
                  <a:pt x="21000" y="13938"/>
                  <a:pt x="20969" y="13969"/>
                </a:cubicBezTo>
                <a:close/>
                <a:moveTo>
                  <a:pt x="26344" y="13813"/>
                </a:moveTo>
                <a:cubicBezTo>
                  <a:pt x="26375" y="13750"/>
                  <a:pt x="26406" y="13719"/>
                  <a:pt x="26469" y="13719"/>
                </a:cubicBezTo>
                <a:cubicBezTo>
                  <a:pt x="26469" y="13719"/>
                  <a:pt x="26500" y="13719"/>
                  <a:pt x="26500" y="13750"/>
                </a:cubicBezTo>
                <a:cubicBezTo>
                  <a:pt x="26500" y="13813"/>
                  <a:pt x="26438" y="13813"/>
                  <a:pt x="26406" y="13844"/>
                </a:cubicBezTo>
                <a:cubicBezTo>
                  <a:pt x="26406" y="13844"/>
                  <a:pt x="26344" y="13844"/>
                  <a:pt x="26344" y="13813"/>
                </a:cubicBezTo>
                <a:close/>
                <a:moveTo>
                  <a:pt x="26500" y="14063"/>
                </a:moveTo>
                <a:cubicBezTo>
                  <a:pt x="26469" y="14032"/>
                  <a:pt x="26438" y="14094"/>
                  <a:pt x="26406" y="14032"/>
                </a:cubicBezTo>
                <a:cubicBezTo>
                  <a:pt x="26438" y="13875"/>
                  <a:pt x="26469" y="13844"/>
                  <a:pt x="26625" y="13907"/>
                </a:cubicBezTo>
                <a:cubicBezTo>
                  <a:pt x="26625" y="13969"/>
                  <a:pt x="26500" y="13969"/>
                  <a:pt x="26500" y="14063"/>
                </a:cubicBezTo>
                <a:close/>
                <a:moveTo>
                  <a:pt x="28344" y="3782"/>
                </a:moveTo>
                <a:cubicBezTo>
                  <a:pt x="28406" y="3719"/>
                  <a:pt x="28531" y="3719"/>
                  <a:pt x="28625" y="3719"/>
                </a:cubicBezTo>
                <a:cubicBezTo>
                  <a:pt x="28656" y="3719"/>
                  <a:pt x="28719" y="3719"/>
                  <a:pt x="28781" y="3719"/>
                </a:cubicBezTo>
                <a:cubicBezTo>
                  <a:pt x="28781" y="3688"/>
                  <a:pt x="28844" y="3657"/>
                  <a:pt x="28781" y="3657"/>
                </a:cubicBezTo>
                <a:cubicBezTo>
                  <a:pt x="28719" y="3657"/>
                  <a:pt x="28688" y="3657"/>
                  <a:pt x="28656" y="3688"/>
                </a:cubicBezTo>
                <a:cubicBezTo>
                  <a:pt x="28625" y="3688"/>
                  <a:pt x="28594" y="3688"/>
                  <a:pt x="28563" y="3688"/>
                </a:cubicBezTo>
                <a:cubicBezTo>
                  <a:pt x="28563" y="3688"/>
                  <a:pt x="28563" y="3657"/>
                  <a:pt x="28563" y="3657"/>
                </a:cubicBezTo>
                <a:cubicBezTo>
                  <a:pt x="28563" y="3594"/>
                  <a:pt x="28625" y="3594"/>
                  <a:pt x="28656" y="3594"/>
                </a:cubicBezTo>
                <a:cubicBezTo>
                  <a:pt x="28688" y="3594"/>
                  <a:pt x="28750" y="3594"/>
                  <a:pt x="28813" y="3594"/>
                </a:cubicBezTo>
                <a:cubicBezTo>
                  <a:pt x="28813" y="3532"/>
                  <a:pt x="28750" y="3532"/>
                  <a:pt x="28750" y="3500"/>
                </a:cubicBezTo>
                <a:cubicBezTo>
                  <a:pt x="28813" y="3500"/>
                  <a:pt x="28875" y="3500"/>
                  <a:pt x="28906" y="3532"/>
                </a:cubicBezTo>
                <a:cubicBezTo>
                  <a:pt x="28938" y="3532"/>
                  <a:pt x="29000" y="3563"/>
                  <a:pt x="29000" y="3532"/>
                </a:cubicBezTo>
                <a:cubicBezTo>
                  <a:pt x="29063" y="3407"/>
                  <a:pt x="29188" y="3500"/>
                  <a:pt x="29219" y="3438"/>
                </a:cubicBezTo>
                <a:cubicBezTo>
                  <a:pt x="29281" y="3375"/>
                  <a:pt x="29375" y="3344"/>
                  <a:pt x="29438" y="3313"/>
                </a:cubicBezTo>
                <a:cubicBezTo>
                  <a:pt x="29469" y="3313"/>
                  <a:pt x="29469" y="3313"/>
                  <a:pt x="29469" y="3313"/>
                </a:cubicBezTo>
                <a:cubicBezTo>
                  <a:pt x="29438" y="3125"/>
                  <a:pt x="29594" y="3157"/>
                  <a:pt x="29688" y="3125"/>
                </a:cubicBezTo>
                <a:cubicBezTo>
                  <a:pt x="29938" y="3032"/>
                  <a:pt x="30094" y="2875"/>
                  <a:pt x="30313" y="2813"/>
                </a:cubicBezTo>
                <a:cubicBezTo>
                  <a:pt x="30406" y="2782"/>
                  <a:pt x="30500" y="2750"/>
                  <a:pt x="30594" y="2750"/>
                </a:cubicBezTo>
                <a:cubicBezTo>
                  <a:pt x="30250" y="2969"/>
                  <a:pt x="29938" y="3157"/>
                  <a:pt x="29625" y="3344"/>
                </a:cubicBezTo>
                <a:cubicBezTo>
                  <a:pt x="29375" y="3500"/>
                  <a:pt x="29125" y="3657"/>
                  <a:pt x="28813" y="3719"/>
                </a:cubicBezTo>
                <a:cubicBezTo>
                  <a:pt x="28656" y="3813"/>
                  <a:pt x="28500" y="3813"/>
                  <a:pt x="28344" y="3844"/>
                </a:cubicBezTo>
                <a:cubicBezTo>
                  <a:pt x="28313" y="3844"/>
                  <a:pt x="28313" y="3844"/>
                  <a:pt x="28313" y="3813"/>
                </a:cubicBezTo>
                <a:cubicBezTo>
                  <a:pt x="28281" y="3782"/>
                  <a:pt x="28313" y="3782"/>
                  <a:pt x="28344" y="3782"/>
                </a:cubicBezTo>
                <a:close/>
                <a:moveTo>
                  <a:pt x="26969" y="4344"/>
                </a:moveTo>
                <a:cubicBezTo>
                  <a:pt x="26750" y="4407"/>
                  <a:pt x="26531" y="4469"/>
                  <a:pt x="26281" y="4500"/>
                </a:cubicBezTo>
                <a:cubicBezTo>
                  <a:pt x="26500" y="4344"/>
                  <a:pt x="26719" y="4313"/>
                  <a:pt x="26969" y="4344"/>
                </a:cubicBezTo>
                <a:close/>
                <a:moveTo>
                  <a:pt x="26156" y="4125"/>
                </a:moveTo>
                <a:cubicBezTo>
                  <a:pt x="26188" y="4094"/>
                  <a:pt x="26250" y="4094"/>
                  <a:pt x="26281" y="4125"/>
                </a:cubicBezTo>
                <a:cubicBezTo>
                  <a:pt x="26281" y="4125"/>
                  <a:pt x="26281" y="4157"/>
                  <a:pt x="26313" y="4157"/>
                </a:cubicBezTo>
                <a:cubicBezTo>
                  <a:pt x="26281" y="4188"/>
                  <a:pt x="26063" y="4282"/>
                  <a:pt x="26031" y="4282"/>
                </a:cubicBezTo>
                <a:cubicBezTo>
                  <a:pt x="26031" y="4282"/>
                  <a:pt x="26031" y="4250"/>
                  <a:pt x="26031" y="4250"/>
                </a:cubicBezTo>
                <a:cubicBezTo>
                  <a:pt x="26031" y="4157"/>
                  <a:pt x="26125" y="4188"/>
                  <a:pt x="26156" y="4125"/>
                </a:cubicBezTo>
                <a:close/>
                <a:moveTo>
                  <a:pt x="25625" y="4282"/>
                </a:moveTo>
                <a:cubicBezTo>
                  <a:pt x="25688" y="4250"/>
                  <a:pt x="25750" y="4219"/>
                  <a:pt x="25813" y="4219"/>
                </a:cubicBezTo>
                <a:cubicBezTo>
                  <a:pt x="25813" y="4219"/>
                  <a:pt x="25813" y="4250"/>
                  <a:pt x="25813" y="4250"/>
                </a:cubicBezTo>
                <a:cubicBezTo>
                  <a:pt x="25750" y="4282"/>
                  <a:pt x="25688" y="4344"/>
                  <a:pt x="25594" y="4313"/>
                </a:cubicBezTo>
                <a:cubicBezTo>
                  <a:pt x="25625" y="4282"/>
                  <a:pt x="25625" y="4282"/>
                  <a:pt x="25625" y="4282"/>
                </a:cubicBezTo>
                <a:close/>
                <a:moveTo>
                  <a:pt x="25156" y="4469"/>
                </a:moveTo>
                <a:cubicBezTo>
                  <a:pt x="25188" y="4469"/>
                  <a:pt x="25188" y="4500"/>
                  <a:pt x="25188" y="4532"/>
                </a:cubicBezTo>
                <a:cubicBezTo>
                  <a:pt x="25188" y="4563"/>
                  <a:pt x="25156" y="4594"/>
                  <a:pt x="25094" y="4594"/>
                </a:cubicBezTo>
                <a:cubicBezTo>
                  <a:pt x="25063" y="4594"/>
                  <a:pt x="25063" y="4563"/>
                  <a:pt x="25063" y="4532"/>
                </a:cubicBezTo>
                <a:cubicBezTo>
                  <a:pt x="25063" y="4469"/>
                  <a:pt x="25125" y="4469"/>
                  <a:pt x="25156" y="4469"/>
                </a:cubicBezTo>
                <a:close/>
                <a:moveTo>
                  <a:pt x="23219" y="5094"/>
                </a:moveTo>
                <a:cubicBezTo>
                  <a:pt x="23156" y="5157"/>
                  <a:pt x="23094" y="5157"/>
                  <a:pt x="23063" y="5125"/>
                </a:cubicBezTo>
                <a:cubicBezTo>
                  <a:pt x="23094" y="5094"/>
                  <a:pt x="23125" y="5063"/>
                  <a:pt x="23219" y="5094"/>
                </a:cubicBezTo>
                <a:close/>
                <a:moveTo>
                  <a:pt x="23094" y="5219"/>
                </a:moveTo>
                <a:cubicBezTo>
                  <a:pt x="23344" y="5188"/>
                  <a:pt x="23594" y="5250"/>
                  <a:pt x="23813" y="5219"/>
                </a:cubicBezTo>
                <a:cubicBezTo>
                  <a:pt x="23594" y="5344"/>
                  <a:pt x="23344" y="5313"/>
                  <a:pt x="23094" y="5219"/>
                </a:cubicBezTo>
                <a:close/>
                <a:moveTo>
                  <a:pt x="19250" y="5719"/>
                </a:moveTo>
                <a:cubicBezTo>
                  <a:pt x="19313" y="5719"/>
                  <a:pt x="19375" y="5719"/>
                  <a:pt x="19438" y="5750"/>
                </a:cubicBezTo>
                <a:cubicBezTo>
                  <a:pt x="19469" y="5750"/>
                  <a:pt x="19438" y="5813"/>
                  <a:pt x="19438" y="5813"/>
                </a:cubicBezTo>
                <a:cubicBezTo>
                  <a:pt x="19375" y="5813"/>
                  <a:pt x="19313" y="5782"/>
                  <a:pt x="19250" y="5750"/>
                </a:cubicBezTo>
                <a:cubicBezTo>
                  <a:pt x="19250" y="5750"/>
                  <a:pt x="19250" y="5719"/>
                  <a:pt x="19250" y="5719"/>
                </a:cubicBezTo>
                <a:close/>
                <a:moveTo>
                  <a:pt x="19063" y="5750"/>
                </a:moveTo>
                <a:cubicBezTo>
                  <a:pt x="18906" y="5813"/>
                  <a:pt x="18781" y="5719"/>
                  <a:pt x="18656" y="5719"/>
                </a:cubicBezTo>
                <a:cubicBezTo>
                  <a:pt x="18750" y="5625"/>
                  <a:pt x="18938" y="5625"/>
                  <a:pt x="19063" y="5750"/>
                </a:cubicBezTo>
                <a:close/>
                <a:moveTo>
                  <a:pt x="17750" y="5469"/>
                </a:moveTo>
                <a:cubicBezTo>
                  <a:pt x="17844" y="5469"/>
                  <a:pt x="17938" y="5469"/>
                  <a:pt x="18031" y="5563"/>
                </a:cubicBezTo>
                <a:cubicBezTo>
                  <a:pt x="17906" y="5563"/>
                  <a:pt x="17844" y="5563"/>
                  <a:pt x="17750" y="5563"/>
                </a:cubicBezTo>
                <a:cubicBezTo>
                  <a:pt x="17719" y="5563"/>
                  <a:pt x="17719" y="5563"/>
                  <a:pt x="17719" y="5532"/>
                </a:cubicBezTo>
                <a:cubicBezTo>
                  <a:pt x="17719" y="5500"/>
                  <a:pt x="17719" y="5469"/>
                  <a:pt x="17750" y="5469"/>
                </a:cubicBezTo>
                <a:close/>
                <a:moveTo>
                  <a:pt x="17250" y="5719"/>
                </a:moveTo>
                <a:cubicBezTo>
                  <a:pt x="17281" y="5750"/>
                  <a:pt x="17344" y="5719"/>
                  <a:pt x="17375" y="5750"/>
                </a:cubicBezTo>
                <a:cubicBezTo>
                  <a:pt x="17375" y="5750"/>
                  <a:pt x="17344" y="5782"/>
                  <a:pt x="17344" y="5782"/>
                </a:cubicBezTo>
                <a:cubicBezTo>
                  <a:pt x="17281" y="5813"/>
                  <a:pt x="17219" y="5782"/>
                  <a:pt x="17188" y="5719"/>
                </a:cubicBezTo>
                <a:cubicBezTo>
                  <a:pt x="17219" y="5719"/>
                  <a:pt x="17219" y="5719"/>
                  <a:pt x="17250" y="5719"/>
                </a:cubicBezTo>
                <a:close/>
                <a:moveTo>
                  <a:pt x="16844" y="5532"/>
                </a:moveTo>
                <a:cubicBezTo>
                  <a:pt x="16875" y="5563"/>
                  <a:pt x="16938" y="5563"/>
                  <a:pt x="16938" y="5625"/>
                </a:cubicBezTo>
                <a:cubicBezTo>
                  <a:pt x="16906" y="5625"/>
                  <a:pt x="16844" y="5688"/>
                  <a:pt x="16813" y="5594"/>
                </a:cubicBezTo>
                <a:cubicBezTo>
                  <a:pt x="16781" y="5563"/>
                  <a:pt x="16813" y="5532"/>
                  <a:pt x="16844" y="5532"/>
                </a:cubicBezTo>
                <a:close/>
                <a:moveTo>
                  <a:pt x="16563" y="5313"/>
                </a:moveTo>
                <a:cubicBezTo>
                  <a:pt x="16563" y="5313"/>
                  <a:pt x="16563" y="5313"/>
                  <a:pt x="16563" y="5282"/>
                </a:cubicBezTo>
                <a:cubicBezTo>
                  <a:pt x="16625" y="5282"/>
                  <a:pt x="16656" y="5313"/>
                  <a:pt x="16719" y="5282"/>
                </a:cubicBezTo>
                <a:cubicBezTo>
                  <a:pt x="16750" y="5250"/>
                  <a:pt x="16781" y="5313"/>
                  <a:pt x="16781" y="5344"/>
                </a:cubicBezTo>
                <a:cubicBezTo>
                  <a:pt x="16781" y="5375"/>
                  <a:pt x="16750" y="5375"/>
                  <a:pt x="16719" y="5375"/>
                </a:cubicBezTo>
                <a:cubicBezTo>
                  <a:pt x="16656" y="5375"/>
                  <a:pt x="16625" y="5344"/>
                  <a:pt x="16563" y="5313"/>
                </a:cubicBezTo>
                <a:close/>
                <a:moveTo>
                  <a:pt x="16750" y="7063"/>
                </a:moveTo>
                <a:cubicBezTo>
                  <a:pt x="16656" y="7094"/>
                  <a:pt x="16625" y="7063"/>
                  <a:pt x="16594" y="6969"/>
                </a:cubicBezTo>
                <a:cubicBezTo>
                  <a:pt x="16656" y="7000"/>
                  <a:pt x="16719" y="7032"/>
                  <a:pt x="16750" y="7063"/>
                </a:cubicBezTo>
                <a:close/>
                <a:moveTo>
                  <a:pt x="15750" y="7688"/>
                </a:moveTo>
                <a:cubicBezTo>
                  <a:pt x="15656" y="7750"/>
                  <a:pt x="15594" y="7750"/>
                  <a:pt x="15563" y="7844"/>
                </a:cubicBezTo>
                <a:cubicBezTo>
                  <a:pt x="15531" y="7907"/>
                  <a:pt x="15500" y="7907"/>
                  <a:pt x="15469" y="7907"/>
                </a:cubicBezTo>
                <a:cubicBezTo>
                  <a:pt x="15438" y="7875"/>
                  <a:pt x="15438" y="7875"/>
                  <a:pt x="15438" y="7875"/>
                </a:cubicBezTo>
                <a:cubicBezTo>
                  <a:pt x="15531" y="7688"/>
                  <a:pt x="15281" y="7813"/>
                  <a:pt x="15313" y="7688"/>
                </a:cubicBezTo>
                <a:cubicBezTo>
                  <a:pt x="15438" y="7719"/>
                  <a:pt x="15563" y="7657"/>
                  <a:pt x="15750" y="7688"/>
                </a:cubicBezTo>
                <a:close/>
                <a:moveTo>
                  <a:pt x="15156" y="7375"/>
                </a:moveTo>
                <a:cubicBezTo>
                  <a:pt x="15188" y="7469"/>
                  <a:pt x="15313" y="7469"/>
                  <a:pt x="15375" y="7500"/>
                </a:cubicBezTo>
                <a:cubicBezTo>
                  <a:pt x="15375" y="7532"/>
                  <a:pt x="15375" y="7563"/>
                  <a:pt x="15375" y="7594"/>
                </a:cubicBezTo>
                <a:cubicBezTo>
                  <a:pt x="15344" y="7625"/>
                  <a:pt x="15281" y="7594"/>
                  <a:pt x="15250" y="7594"/>
                </a:cubicBezTo>
                <a:cubicBezTo>
                  <a:pt x="15188" y="7469"/>
                  <a:pt x="15063" y="7469"/>
                  <a:pt x="14938" y="7407"/>
                </a:cubicBezTo>
                <a:cubicBezTo>
                  <a:pt x="14938" y="7407"/>
                  <a:pt x="14938" y="7375"/>
                  <a:pt x="14906" y="7344"/>
                </a:cubicBezTo>
                <a:cubicBezTo>
                  <a:pt x="15000" y="7344"/>
                  <a:pt x="15094" y="7407"/>
                  <a:pt x="15156" y="7375"/>
                </a:cubicBezTo>
                <a:close/>
                <a:moveTo>
                  <a:pt x="14063" y="9125"/>
                </a:moveTo>
                <a:cubicBezTo>
                  <a:pt x="14094" y="9125"/>
                  <a:pt x="14125" y="9188"/>
                  <a:pt x="14156" y="9188"/>
                </a:cubicBezTo>
                <a:cubicBezTo>
                  <a:pt x="14188" y="9188"/>
                  <a:pt x="14250" y="9188"/>
                  <a:pt x="14219" y="9219"/>
                </a:cubicBezTo>
                <a:cubicBezTo>
                  <a:pt x="14219" y="9250"/>
                  <a:pt x="14188" y="9250"/>
                  <a:pt x="14156" y="9250"/>
                </a:cubicBezTo>
                <a:cubicBezTo>
                  <a:pt x="14094" y="9219"/>
                  <a:pt x="14031" y="9219"/>
                  <a:pt x="14063" y="9125"/>
                </a:cubicBezTo>
                <a:close/>
                <a:moveTo>
                  <a:pt x="12594" y="8375"/>
                </a:moveTo>
                <a:cubicBezTo>
                  <a:pt x="12625" y="8407"/>
                  <a:pt x="12531" y="8407"/>
                  <a:pt x="12563" y="8469"/>
                </a:cubicBezTo>
                <a:cubicBezTo>
                  <a:pt x="12594" y="8532"/>
                  <a:pt x="12625" y="8438"/>
                  <a:pt x="12656" y="8469"/>
                </a:cubicBezTo>
                <a:cubicBezTo>
                  <a:pt x="12719" y="8500"/>
                  <a:pt x="12844" y="8532"/>
                  <a:pt x="12875" y="8594"/>
                </a:cubicBezTo>
                <a:cubicBezTo>
                  <a:pt x="12938" y="8657"/>
                  <a:pt x="12969" y="8657"/>
                  <a:pt x="13031" y="8657"/>
                </a:cubicBezTo>
                <a:cubicBezTo>
                  <a:pt x="13094" y="8657"/>
                  <a:pt x="13125" y="8657"/>
                  <a:pt x="13188" y="8719"/>
                </a:cubicBezTo>
                <a:cubicBezTo>
                  <a:pt x="13219" y="8750"/>
                  <a:pt x="13313" y="8813"/>
                  <a:pt x="13406" y="8750"/>
                </a:cubicBezTo>
                <a:cubicBezTo>
                  <a:pt x="13406" y="8719"/>
                  <a:pt x="13469" y="8719"/>
                  <a:pt x="13469" y="8750"/>
                </a:cubicBezTo>
                <a:cubicBezTo>
                  <a:pt x="13469" y="8907"/>
                  <a:pt x="13625" y="8875"/>
                  <a:pt x="13719" y="8938"/>
                </a:cubicBezTo>
                <a:cubicBezTo>
                  <a:pt x="13563" y="9000"/>
                  <a:pt x="13438" y="8938"/>
                  <a:pt x="13344" y="8844"/>
                </a:cubicBezTo>
                <a:cubicBezTo>
                  <a:pt x="13219" y="8782"/>
                  <a:pt x="13063" y="8719"/>
                  <a:pt x="12938" y="8625"/>
                </a:cubicBezTo>
                <a:cubicBezTo>
                  <a:pt x="12906" y="8625"/>
                  <a:pt x="12813" y="8563"/>
                  <a:pt x="12813" y="8688"/>
                </a:cubicBezTo>
                <a:cubicBezTo>
                  <a:pt x="12844" y="8719"/>
                  <a:pt x="12813" y="8688"/>
                  <a:pt x="12781" y="8688"/>
                </a:cubicBezTo>
                <a:cubicBezTo>
                  <a:pt x="12719" y="8719"/>
                  <a:pt x="12469" y="8532"/>
                  <a:pt x="12438" y="8469"/>
                </a:cubicBezTo>
                <a:cubicBezTo>
                  <a:pt x="12406" y="8344"/>
                  <a:pt x="12406" y="8344"/>
                  <a:pt x="12594" y="8375"/>
                </a:cubicBezTo>
                <a:close/>
                <a:moveTo>
                  <a:pt x="12719" y="9188"/>
                </a:moveTo>
                <a:cubicBezTo>
                  <a:pt x="12625" y="9219"/>
                  <a:pt x="12563" y="9188"/>
                  <a:pt x="12531" y="9157"/>
                </a:cubicBezTo>
                <a:cubicBezTo>
                  <a:pt x="12594" y="9125"/>
                  <a:pt x="12656" y="9125"/>
                  <a:pt x="12719" y="9188"/>
                </a:cubicBezTo>
                <a:close/>
                <a:moveTo>
                  <a:pt x="11781" y="8032"/>
                </a:moveTo>
                <a:cubicBezTo>
                  <a:pt x="11781" y="8032"/>
                  <a:pt x="11781" y="8032"/>
                  <a:pt x="11781" y="8032"/>
                </a:cubicBezTo>
                <a:cubicBezTo>
                  <a:pt x="11813" y="8063"/>
                  <a:pt x="11875" y="8094"/>
                  <a:pt x="11906" y="8063"/>
                </a:cubicBezTo>
                <a:cubicBezTo>
                  <a:pt x="11906" y="8032"/>
                  <a:pt x="11875" y="8032"/>
                  <a:pt x="11844" y="8000"/>
                </a:cubicBezTo>
                <a:cubicBezTo>
                  <a:pt x="11844" y="8000"/>
                  <a:pt x="11813" y="7969"/>
                  <a:pt x="11813" y="7969"/>
                </a:cubicBezTo>
                <a:cubicBezTo>
                  <a:pt x="11844" y="7938"/>
                  <a:pt x="11875" y="7938"/>
                  <a:pt x="11875" y="7938"/>
                </a:cubicBezTo>
                <a:cubicBezTo>
                  <a:pt x="11938" y="8000"/>
                  <a:pt x="12031" y="8032"/>
                  <a:pt x="12125" y="8032"/>
                </a:cubicBezTo>
                <a:cubicBezTo>
                  <a:pt x="12031" y="8125"/>
                  <a:pt x="11969" y="8032"/>
                  <a:pt x="11875" y="8063"/>
                </a:cubicBezTo>
                <a:cubicBezTo>
                  <a:pt x="12000" y="8125"/>
                  <a:pt x="12094" y="8250"/>
                  <a:pt x="12250" y="8282"/>
                </a:cubicBezTo>
                <a:cubicBezTo>
                  <a:pt x="12281" y="8282"/>
                  <a:pt x="12313" y="8282"/>
                  <a:pt x="12313" y="8344"/>
                </a:cubicBezTo>
                <a:cubicBezTo>
                  <a:pt x="12313" y="8375"/>
                  <a:pt x="12250" y="8375"/>
                  <a:pt x="12250" y="8375"/>
                </a:cubicBezTo>
                <a:cubicBezTo>
                  <a:pt x="12063" y="8344"/>
                  <a:pt x="11875" y="8250"/>
                  <a:pt x="11719" y="8157"/>
                </a:cubicBezTo>
                <a:cubicBezTo>
                  <a:pt x="11688" y="8125"/>
                  <a:pt x="11688" y="8094"/>
                  <a:pt x="11625" y="8094"/>
                </a:cubicBezTo>
                <a:cubicBezTo>
                  <a:pt x="11625" y="8063"/>
                  <a:pt x="11594" y="8032"/>
                  <a:pt x="11563" y="8032"/>
                </a:cubicBezTo>
                <a:cubicBezTo>
                  <a:pt x="11563" y="7969"/>
                  <a:pt x="11594" y="7969"/>
                  <a:pt x="11625" y="8000"/>
                </a:cubicBezTo>
                <a:cubicBezTo>
                  <a:pt x="11688" y="8032"/>
                  <a:pt x="11719" y="8032"/>
                  <a:pt x="11781" y="8032"/>
                </a:cubicBezTo>
                <a:close/>
                <a:moveTo>
                  <a:pt x="11969" y="8657"/>
                </a:moveTo>
                <a:cubicBezTo>
                  <a:pt x="11938" y="8688"/>
                  <a:pt x="11906" y="8688"/>
                  <a:pt x="11906" y="8657"/>
                </a:cubicBezTo>
                <a:cubicBezTo>
                  <a:pt x="11875" y="8625"/>
                  <a:pt x="11844" y="8625"/>
                  <a:pt x="11781" y="8594"/>
                </a:cubicBezTo>
                <a:cubicBezTo>
                  <a:pt x="11875" y="8563"/>
                  <a:pt x="11938" y="8563"/>
                  <a:pt x="11969" y="8625"/>
                </a:cubicBezTo>
                <a:cubicBezTo>
                  <a:pt x="12000" y="8625"/>
                  <a:pt x="12000" y="8657"/>
                  <a:pt x="11969" y="8657"/>
                </a:cubicBezTo>
                <a:close/>
                <a:moveTo>
                  <a:pt x="11563" y="8875"/>
                </a:moveTo>
                <a:cubicBezTo>
                  <a:pt x="11625" y="8875"/>
                  <a:pt x="11688" y="8875"/>
                  <a:pt x="11719" y="8938"/>
                </a:cubicBezTo>
                <a:cubicBezTo>
                  <a:pt x="11656" y="8938"/>
                  <a:pt x="11594" y="9032"/>
                  <a:pt x="11563" y="8938"/>
                </a:cubicBezTo>
                <a:cubicBezTo>
                  <a:pt x="11531" y="8938"/>
                  <a:pt x="11531" y="8875"/>
                  <a:pt x="11563" y="8875"/>
                </a:cubicBezTo>
                <a:close/>
                <a:moveTo>
                  <a:pt x="11406" y="8032"/>
                </a:moveTo>
                <a:cubicBezTo>
                  <a:pt x="11406" y="8000"/>
                  <a:pt x="11438" y="7969"/>
                  <a:pt x="11469" y="8000"/>
                </a:cubicBezTo>
                <a:cubicBezTo>
                  <a:pt x="11469" y="8032"/>
                  <a:pt x="11500" y="8063"/>
                  <a:pt x="11531" y="8063"/>
                </a:cubicBezTo>
                <a:cubicBezTo>
                  <a:pt x="11500" y="8063"/>
                  <a:pt x="11531" y="8094"/>
                  <a:pt x="11563" y="8094"/>
                </a:cubicBezTo>
                <a:cubicBezTo>
                  <a:pt x="11563" y="8125"/>
                  <a:pt x="11594" y="8157"/>
                  <a:pt x="11625" y="8125"/>
                </a:cubicBezTo>
                <a:cubicBezTo>
                  <a:pt x="11625" y="8157"/>
                  <a:pt x="11656" y="8219"/>
                  <a:pt x="11594" y="8188"/>
                </a:cubicBezTo>
                <a:cubicBezTo>
                  <a:pt x="11500" y="8157"/>
                  <a:pt x="11438" y="8094"/>
                  <a:pt x="11406" y="8032"/>
                </a:cubicBezTo>
                <a:close/>
                <a:moveTo>
                  <a:pt x="11344" y="7688"/>
                </a:moveTo>
                <a:cubicBezTo>
                  <a:pt x="11344" y="7688"/>
                  <a:pt x="11406" y="7657"/>
                  <a:pt x="11406" y="7657"/>
                </a:cubicBezTo>
                <a:cubicBezTo>
                  <a:pt x="11438" y="7657"/>
                  <a:pt x="11531" y="7688"/>
                  <a:pt x="11531" y="7719"/>
                </a:cubicBezTo>
                <a:cubicBezTo>
                  <a:pt x="11500" y="7875"/>
                  <a:pt x="11625" y="7782"/>
                  <a:pt x="11688" y="7813"/>
                </a:cubicBezTo>
                <a:cubicBezTo>
                  <a:pt x="11719" y="7813"/>
                  <a:pt x="11750" y="7844"/>
                  <a:pt x="11781" y="7813"/>
                </a:cubicBezTo>
                <a:cubicBezTo>
                  <a:pt x="11719" y="7969"/>
                  <a:pt x="11688" y="7969"/>
                  <a:pt x="11563" y="7844"/>
                </a:cubicBezTo>
                <a:cubicBezTo>
                  <a:pt x="11500" y="7782"/>
                  <a:pt x="11469" y="7813"/>
                  <a:pt x="11438" y="7782"/>
                </a:cubicBezTo>
                <a:cubicBezTo>
                  <a:pt x="11406" y="7750"/>
                  <a:pt x="11344" y="7750"/>
                  <a:pt x="11344" y="7688"/>
                </a:cubicBezTo>
                <a:close/>
                <a:moveTo>
                  <a:pt x="11375" y="7844"/>
                </a:moveTo>
                <a:cubicBezTo>
                  <a:pt x="11406" y="7844"/>
                  <a:pt x="11406" y="7875"/>
                  <a:pt x="11406" y="7875"/>
                </a:cubicBezTo>
                <a:cubicBezTo>
                  <a:pt x="11406" y="7875"/>
                  <a:pt x="11375" y="7875"/>
                  <a:pt x="11375" y="7875"/>
                </a:cubicBezTo>
                <a:cubicBezTo>
                  <a:pt x="11375" y="7875"/>
                  <a:pt x="11375" y="7844"/>
                  <a:pt x="11375" y="7844"/>
                </a:cubicBezTo>
                <a:close/>
                <a:moveTo>
                  <a:pt x="11375" y="8032"/>
                </a:moveTo>
                <a:cubicBezTo>
                  <a:pt x="11281" y="8063"/>
                  <a:pt x="11188" y="8063"/>
                  <a:pt x="11156" y="7938"/>
                </a:cubicBezTo>
                <a:cubicBezTo>
                  <a:pt x="11250" y="7907"/>
                  <a:pt x="11313" y="7969"/>
                  <a:pt x="11375" y="8032"/>
                </a:cubicBezTo>
                <a:close/>
                <a:moveTo>
                  <a:pt x="11188" y="9219"/>
                </a:moveTo>
                <a:cubicBezTo>
                  <a:pt x="11219" y="9219"/>
                  <a:pt x="11281" y="9188"/>
                  <a:pt x="11313" y="9250"/>
                </a:cubicBezTo>
                <a:cubicBezTo>
                  <a:pt x="11406" y="9375"/>
                  <a:pt x="11406" y="9407"/>
                  <a:pt x="11219" y="9438"/>
                </a:cubicBezTo>
                <a:cubicBezTo>
                  <a:pt x="11219" y="9375"/>
                  <a:pt x="11250" y="9344"/>
                  <a:pt x="11156" y="9344"/>
                </a:cubicBezTo>
                <a:cubicBezTo>
                  <a:pt x="11094" y="9344"/>
                  <a:pt x="11063" y="9282"/>
                  <a:pt x="11094" y="9250"/>
                </a:cubicBezTo>
                <a:cubicBezTo>
                  <a:pt x="11094" y="9188"/>
                  <a:pt x="11156" y="9219"/>
                  <a:pt x="11188" y="9219"/>
                </a:cubicBezTo>
                <a:close/>
                <a:moveTo>
                  <a:pt x="11125" y="9407"/>
                </a:moveTo>
                <a:cubicBezTo>
                  <a:pt x="11156" y="9438"/>
                  <a:pt x="11188" y="9469"/>
                  <a:pt x="11219" y="9438"/>
                </a:cubicBezTo>
                <a:cubicBezTo>
                  <a:pt x="11188" y="9500"/>
                  <a:pt x="11156" y="9500"/>
                  <a:pt x="11125" y="9532"/>
                </a:cubicBezTo>
                <a:cubicBezTo>
                  <a:pt x="11094" y="9532"/>
                  <a:pt x="11063" y="9563"/>
                  <a:pt x="11000" y="9532"/>
                </a:cubicBezTo>
                <a:cubicBezTo>
                  <a:pt x="10969" y="9500"/>
                  <a:pt x="11031" y="9469"/>
                  <a:pt x="11031" y="9438"/>
                </a:cubicBezTo>
                <a:cubicBezTo>
                  <a:pt x="11063" y="9375"/>
                  <a:pt x="11094" y="9407"/>
                  <a:pt x="11125" y="9407"/>
                </a:cubicBezTo>
                <a:close/>
                <a:moveTo>
                  <a:pt x="10281" y="7782"/>
                </a:moveTo>
                <a:cubicBezTo>
                  <a:pt x="10313" y="7875"/>
                  <a:pt x="10375" y="7907"/>
                  <a:pt x="10438" y="7907"/>
                </a:cubicBezTo>
                <a:cubicBezTo>
                  <a:pt x="10656" y="7907"/>
                  <a:pt x="10813" y="8032"/>
                  <a:pt x="10969" y="8125"/>
                </a:cubicBezTo>
                <a:cubicBezTo>
                  <a:pt x="11031" y="8125"/>
                  <a:pt x="11031" y="8188"/>
                  <a:pt x="11063" y="8250"/>
                </a:cubicBezTo>
                <a:cubicBezTo>
                  <a:pt x="10938" y="8188"/>
                  <a:pt x="10813" y="8125"/>
                  <a:pt x="10688" y="8063"/>
                </a:cubicBezTo>
                <a:cubicBezTo>
                  <a:pt x="10563" y="8000"/>
                  <a:pt x="10469" y="7938"/>
                  <a:pt x="10344" y="7938"/>
                </a:cubicBezTo>
                <a:cubicBezTo>
                  <a:pt x="10219" y="7938"/>
                  <a:pt x="10250" y="7813"/>
                  <a:pt x="10125" y="7782"/>
                </a:cubicBezTo>
                <a:cubicBezTo>
                  <a:pt x="10219" y="7750"/>
                  <a:pt x="10250" y="7750"/>
                  <a:pt x="10281" y="7782"/>
                </a:cubicBezTo>
                <a:close/>
                <a:moveTo>
                  <a:pt x="9969" y="7438"/>
                </a:moveTo>
                <a:cubicBezTo>
                  <a:pt x="9969" y="7563"/>
                  <a:pt x="9875" y="7500"/>
                  <a:pt x="9813" y="7500"/>
                </a:cubicBezTo>
                <a:cubicBezTo>
                  <a:pt x="9813" y="7375"/>
                  <a:pt x="9906" y="7438"/>
                  <a:pt x="9969" y="7438"/>
                </a:cubicBezTo>
                <a:close/>
                <a:moveTo>
                  <a:pt x="7594" y="6500"/>
                </a:moveTo>
                <a:cubicBezTo>
                  <a:pt x="7625" y="6500"/>
                  <a:pt x="7656" y="6500"/>
                  <a:pt x="7688" y="6500"/>
                </a:cubicBezTo>
                <a:cubicBezTo>
                  <a:pt x="7688" y="6500"/>
                  <a:pt x="7688" y="6500"/>
                  <a:pt x="7688" y="6500"/>
                </a:cubicBezTo>
                <a:cubicBezTo>
                  <a:pt x="7750" y="6500"/>
                  <a:pt x="7813" y="6500"/>
                  <a:pt x="7875" y="6500"/>
                </a:cubicBezTo>
                <a:cubicBezTo>
                  <a:pt x="7938" y="6500"/>
                  <a:pt x="7969" y="6563"/>
                  <a:pt x="7969" y="6594"/>
                </a:cubicBezTo>
                <a:cubicBezTo>
                  <a:pt x="7938" y="6625"/>
                  <a:pt x="7938" y="6750"/>
                  <a:pt x="7813" y="6688"/>
                </a:cubicBezTo>
                <a:cubicBezTo>
                  <a:pt x="7750" y="6657"/>
                  <a:pt x="7656" y="6688"/>
                  <a:pt x="7594" y="6657"/>
                </a:cubicBezTo>
                <a:cubicBezTo>
                  <a:pt x="7500" y="6657"/>
                  <a:pt x="7438" y="6625"/>
                  <a:pt x="7438" y="6563"/>
                </a:cubicBezTo>
                <a:cubicBezTo>
                  <a:pt x="7438" y="6469"/>
                  <a:pt x="7531" y="6500"/>
                  <a:pt x="7594" y="6500"/>
                </a:cubicBezTo>
                <a:close/>
                <a:moveTo>
                  <a:pt x="7500" y="6375"/>
                </a:moveTo>
                <a:cubicBezTo>
                  <a:pt x="7375" y="6532"/>
                  <a:pt x="7219" y="6500"/>
                  <a:pt x="7063" y="6469"/>
                </a:cubicBezTo>
                <a:cubicBezTo>
                  <a:pt x="7031" y="6438"/>
                  <a:pt x="7000" y="6438"/>
                  <a:pt x="6969" y="6469"/>
                </a:cubicBezTo>
                <a:cubicBezTo>
                  <a:pt x="6875" y="6500"/>
                  <a:pt x="6781" y="6532"/>
                  <a:pt x="6688" y="6438"/>
                </a:cubicBezTo>
                <a:cubicBezTo>
                  <a:pt x="6688" y="6407"/>
                  <a:pt x="6656" y="6438"/>
                  <a:pt x="6656" y="6438"/>
                </a:cubicBezTo>
                <a:cubicBezTo>
                  <a:pt x="6563" y="6438"/>
                  <a:pt x="6563" y="6375"/>
                  <a:pt x="6594" y="6344"/>
                </a:cubicBezTo>
                <a:cubicBezTo>
                  <a:pt x="6594" y="6282"/>
                  <a:pt x="6594" y="6250"/>
                  <a:pt x="6656" y="6282"/>
                </a:cubicBezTo>
                <a:cubicBezTo>
                  <a:pt x="6938" y="6375"/>
                  <a:pt x="7219" y="6344"/>
                  <a:pt x="7500" y="6375"/>
                </a:cubicBezTo>
                <a:close/>
                <a:moveTo>
                  <a:pt x="7281" y="6594"/>
                </a:moveTo>
                <a:cubicBezTo>
                  <a:pt x="7188" y="6719"/>
                  <a:pt x="7094" y="6625"/>
                  <a:pt x="7000" y="6563"/>
                </a:cubicBezTo>
                <a:cubicBezTo>
                  <a:pt x="7094" y="6563"/>
                  <a:pt x="7188" y="6594"/>
                  <a:pt x="7281" y="6594"/>
                </a:cubicBezTo>
                <a:close/>
                <a:moveTo>
                  <a:pt x="6344" y="6000"/>
                </a:moveTo>
                <a:cubicBezTo>
                  <a:pt x="6344" y="6000"/>
                  <a:pt x="6313" y="5969"/>
                  <a:pt x="6344" y="5938"/>
                </a:cubicBezTo>
                <a:cubicBezTo>
                  <a:pt x="6375" y="5907"/>
                  <a:pt x="6375" y="5969"/>
                  <a:pt x="6375" y="5969"/>
                </a:cubicBezTo>
                <a:cubicBezTo>
                  <a:pt x="6438" y="6000"/>
                  <a:pt x="6469" y="6000"/>
                  <a:pt x="6531" y="6000"/>
                </a:cubicBezTo>
                <a:cubicBezTo>
                  <a:pt x="6563" y="5969"/>
                  <a:pt x="6625" y="5938"/>
                  <a:pt x="6594" y="6032"/>
                </a:cubicBezTo>
                <a:cubicBezTo>
                  <a:pt x="6563" y="6094"/>
                  <a:pt x="6625" y="6063"/>
                  <a:pt x="6656" y="6094"/>
                </a:cubicBezTo>
                <a:cubicBezTo>
                  <a:pt x="6719" y="6094"/>
                  <a:pt x="6813" y="6094"/>
                  <a:pt x="6875" y="6157"/>
                </a:cubicBezTo>
                <a:cubicBezTo>
                  <a:pt x="6719" y="6250"/>
                  <a:pt x="6594" y="6157"/>
                  <a:pt x="6469" y="6157"/>
                </a:cubicBezTo>
                <a:cubicBezTo>
                  <a:pt x="6438" y="6094"/>
                  <a:pt x="6406" y="6094"/>
                  <a:pt x="6375" y="6094"/>
                </a:cubicBezTo>
                <a:cubicBezTo>
                  <a:pt x="6375" y="6125"/>
                  <a:pt x="6375" y="6125"/>
                  <a:pt x="6375" y="6125"/>
                </a:cubicBezTo>
                <a:cubicBezTo>
                  <a:pt x="6406" y="6157"/>
                  <a:pt x="6406" y="6157"/>
                  <a:pt x="6438" y="6157"/>
                </a:cubicBezTo>
                <a:cubicBezTo>
                  <a:pt x="6438" y="6188"/>
                  <a:pt x="6469" y="6250"/>
                  <a:pt x="6375" y="6250"/>
                </a:cubicBezTo>
                <a:cubicBezTo>
                  <a:pt x="6313" y="6219"/>
                  <a:pt x="6250" y="6250"/>
                  <a:pt x="6156" y="6250"/>
                </a:cubicBezTo>
                <a:cubicBezTo>
                  <a:pt x="6188" y="6188"/>
                  <a:pt x="6188" y="6125"/>
                  <a:pt x="6250" y="6063"/>
                </a:cubicBezTo>
                <a:cubicBezTo>
                  <a:pt x="6031" y="6094"/>
                  <a:pt x="6094" y="5969"/>
                  <a:pt x="6063" y="5875"/>
                </a:cubicBezTo>
                <a:cubicBezTo>
                  <a:pt x="6156" y="5875"/>
                  <a:pt x="6156" y="5938"/>
                  <a:pt x="6219" y="6000"/>
                </a:cubicBezTo>
                <a:cubicBezTo>
                  <a:pt x="6250" y="6032"/>
                  <a:pt x="6313" y="6063"/>
                  <a:pt x="6344" y="6000"/>
                </a:cubicBezTo>
                <a:close/>
                <a:moveTo>
                  <a:pt x="6031" y="6594"/>
                </a:moveTo>
                <a:cubicBezTo>
                  <a:pt x="5969" y="6594"/>
                  <a:pt x="5906" y="6594"/>
                  <a:pt x="5844" y="6563"/>
                </a:cubicBezTo>
                <a:cubicBezTo>
                  <a:pt x="5813" y="6563"/>
                  <a:pt x="5719" y="6625"/>
                  <a:pt x="5719" y="6500"/>
                </a:cubicBezTo>
                <a:cubicBezTo>
                  <a:pt x="5719" y="6500"/>
                  <a:pt x="5625" y="6500"/>
                  <a:pt x="5594" y="6500"/>
                </a:cubicBezTo>
                <a:cubicBezTo>
                  <a:pt x="5531" y="6500"/>
                  <a:pt x="5500" y="6500"/>
                  <a:pt x="5438" y="6500"/>
                </a:cubicBezTo>
                <a:cubicBezTo>
                  <a:pt x="5406" y="6407"/>
                  <a:pt x="5563" y="6438"/>
                  <a:pt x="5531" y="6313"/>
                </a:cubicBezTo>
                <a:cubicBezTo>
                  <a:pt x="5719" y="6375"/>
                  <a:pt x="5906" y="6407"/>
                  <a:pt x="6031" y="6563"/>
                </a:cubicBezTo>
                <a:cubicBezTo>
                  <a:pt x="6188" y="6563"/>
                  <a:pt x="6281" y="6625"/>
                  <a:pt x="6375" y="6719"/>
                </a:cubicBezTo>
                <a:cubicBezTo>
                  <a:pt x="6438" y="6750"/>
                  <a:pt x="6469" y="6750"/>
                  <a:pt x="6531" y="6750"/>
                </a:cubicBezTo>
                <a:cubicBezTo>
                  <a:pt x="6625" y="6750"/>
                  <a:pt x="6688" y="6782"/>
                  <a:pt x="6719" y="6844"/>
                </a:cubicBezTo>
                <a:cubicBezTo>
                  <a:pt x="6656" y="6938"/>
                  <a:pt x="6563" y="6938"/>
                  <a:pt x="6438" y="6907"/>
                </a:cubicBezTo>
                <a:cubicBezTo>
                  <a:pt x="6375" y="6875"/>
                  <a:pt x="6313" y="6813"/>
                  <a:pt x="6281" y="6813"/>
                </a:cubicBezTo>
                <a:cubicBezTo>
                  <a:pt x="6188" y="6782"/>
                  <a:pt x="6188" y="6719"/>
                  <a:pt x="6250" y="6688"/>
                </a:cubicBezTo>
                <a:cubicBezTo>
                  <a:pt x="6156" y="6657"/>
                  <a:pt x="6063" y="6657"/>
                  <a:pt x="6031" y="6594"/>
                </a:cubicBezTo>
                <a:close/>
                <a:moveTo>
                  <a:pt x="5313" y="6282"/>
                </a:moveTo>
                <a:cubicBezTo>
                  <a:pt x="5406" y="6250"/>
                  <a:pt x="5469" y="6250"/>
                  <a:pt x="5531" y="6313"/>
                </a:cubicBezTo>
                <a:cubicBezTo>
                  <a:pt x="5469" y="6344"/>
                  <a:pt x="5406" y="6375"/>
                  <a:pt x="5344" y="6375"/>
                </a:cubicBezTo>
                <a:cubicBezTo>
                  <a:pt x="5313" y="6375"/>
                  <a:pt x="5250" y="6407"/>
                  <a:pt x="5250" y="6344"/>
                </a:cubicBezTo>
                <a:cubicBezTo>
                  <a:pt x="5250" y="6313"/>
                  <a:pt x="5281" y="6313"/>
                  <a:pt x="5313" y="6282"/>
                </a:cubicBezTo>
                <a:close/>
                <a:moveTo>
                  <a:pt x="5313" y="6125"/>
                </a:moveTo>
                <a:cubicBezTo>
                  <a:pt x="5313" y="6094"/>
                  <a:pt x="5313" y="6063"/>
                  <a:pt x="5344" y="6063"/>
                </a:cubicBezTo>
                <a:cubicBezTo>
                  <a:pt x="5406" y="6063"/>
                  <a:pt x="5469" y="6063"/>
                  <a:pt x="5531" y="6063"/>
                </a:cubicBezTo>
                <a:cubicBezTo>
                  <a:pt x="5500" y="6188"/>
                  <a:pt x="5406" y="6157"/>
                  <a:pt x="5313" y="6157"/>
                </a:cubicBezTo>
                <a:cubicBezTo>
                  <a:pt x="5313" y="6157"/>
                  <a:pt x="5313" y="6125"/>
                  <a:pt x="5313" y="6125"/>
                </a:cubicBezTo>
                <a:close/>
                <a:moveTo>
                  <a:pt x="5688" y="6157"/>
                </a:moveTo>
                <a:cubicBezTo>
                  <a:pt x="5719" y="6157"/>
                  <a:pt x="5750" y="6125"/>
                  <a:pt x="5781" y="6157"/>
                </a:cubicBezTo>
                <a:cubicBezTo>
                  <a:pt x="5906" y="6219"/>
                  <a:pt x="6031" y="6282"/>
                  <a:pt x="6156" y="6250"/>
                </a:cubicBezTo>
                <a:cubicBezTo>
                  <a:pt x="6156" y="6282"/>
                  <a:pt x="6125" y="6375"/>
                  <a:pt x="6031" y="6313"/>
                </a:cubicBezTo>
                <a:cubicBezTo>
                  <a:pt x="5938" y="6250"/>
                  <a:pt x="5844" y="6282"/>
                  <a:pt x="5750" y="6250"/>
                </a:cubicBezTo>
                <a:cubicBezTo>
                  <a:pt x="5719" y="6250"/>
                  <a:pt x="5688" y="6219"/>
                  <a:pt x="5656" y="6188"/>
                </a:cubicBezTo>
                <a:cubicBezTo>
                  <a:pt x="5656" y="6157"/>
                  <a:pt x="5688" y="6157"/>
                  <a:pt x="5688" y="6157"/>
                </a:cubicBezTo>
                <a:close/>
                <a:moveTo>
                  <a:pt x="6188" y="5500"/>
                </a:moveTo>
                <a:cubicBezTo>
                  <a:pt x="6094" y="5438"/>
                  <a:pt x="6000" y="5407"/>
                  <a:pt x="5906" y="5375"/>
                </a:cubicBezTo>
                <a:cubicBezTo>
                  <a:pt x="6000" y="5313"/>
                  <a:pt x="6156" y="5344"/>
                  <a:pt x="6188" y="5500"/>
                </a:cubicBezTo>
                <a:close/>
                <a:moveTo>
                  <a:pt x="5906" y="5813"/>
                </a:moveTo>
                <a:cubicBezTo>
                  <a:pt x="5906" y="5844"/>
                  <a:pt x="5875" y="5875"/>
                  <a:pt x="5844" y="5875"/>
                </a:cubicBezTo>
                <a:cubicBezTo>
                  <a:pt x="5844" y="5907"/>
                  <a:pt x="5813" y="5907"/>
                  <a:pt x="5813" y="5875"/>
                </a:cubicBezTo>
                <a:cubicBezTo>
                  <a:pt x="5719" y="5782"/>
                  <a:pt x="5719" y="5782"/>
                  <a:pt x="5594" y="5782"/>
                </a:cubicBezTo>
                <a:cubicBezTo>
                  <a:pt x="5625" y="5844"/>
                  <a:pt x="5688" y="5844"/>
                  <a:pt x="5688" y="5907"/>
                </a:cubicBezTo>
                <a:cubicBezTo>
                  <a:pt x="5594" y="5875"/>
                  <a:pt x="5469" y="5938"/>
                  <a:pt x="5438" y="5782"/>
                </a:cubicBezTo>
                <a:cubicBezTo>
                  <a:pt x="5469" y="5750"/>
                  <a:pt x="5594" y="5813"/>
                  <a:pt x="5594" y="5688"/>
                </a:cubicBezTo>
                <a:cubicBezTo>
                  <a:pt x="5594" y="5657"/>
                  <a:pt x="5875" y="5750"/>
                  <a:pt x="5906" y="5813"/>
                </a:cubicBezTo>
                <a:close/>
                <a:moveTo>
                  <a:pt x="6250" y="4532"/>
                </a:moveTo>
                <a:cubicBezTo>
                  <a:pt x="6344" y="4532"/>
                  <a:pt x="6406" y="4532"/>
                  <a:pt x="6469" y="4625"/>
                </a:cubicBezTo>
                <a:cubicBezTo>
                  <a:pt x="6375" y="4657"/>
                  <a:pt x="6313" y="4657"/>
                  <a:pt x="6250" y="4625"/>
                </a:cubicBezTo>
                <a:cubicBezTo>
                  <a:pt x="6219" y="4625"/>
                  <a:pt x="6188" y="4594"/>
                  <a:pt x="6188" y="4563"/>
                </a:cubicBezTo>
                <a:cubicBezTo>
                  <a:pt x="6188" y="4532"/>
                  <a:pt x="6219" y="4532"/>
                  <a:pt x="6250" y="4532"/>
                </a:cubicBezTo>
                <a:close/>
                <a:moveTo>
                  <a:pt x="6531" y="4875"/>
                </a:moveTo>
                <a:cubicBezTo>
                  <a:pt x="6719" y="4938"/>
                  <a:pt x="6938" y="5032"/>
                  <a:pt x="7156" y="5000"/>
                </a:cubicBezTo>
                <a:cubicBezTo>
                  <a:pt x="7188" y="5000"/>
                  <a:pt x="7219" y="5000"/>
                  <a:pt x="7219" y="5063"/>
                </a:cubicBezTo>
                <a:cubicBezTo>
                  <a:pt x="7219" y="5094"/>
                  <a:pt x="7219" y="5125"/>
                  <a:pt x="7156" y="5094"/>
                </a:cubicBezTo>
                <a:cubicBezTo>
                  <a:pt x="7094" y="5094"/>
                  <a:pt x="7125" y="5125"/>
                  <a:pt x="7125" y="5157"/>
                </a:cubicBezTo>
                <a:cubicBezTo>
                  <a:pt x="7250" y="5157"/>
                  <a:pt x="7344" y="5219"/>
                  <a:pt x="7469" y="5250"/>
                </a:cubicBezTo>
                <a:cubicBezTo>
                  <a:pt x="7563" y="5282"/>
                  <a:pt x="7625" y="5313"/>
                  <a:pt x="7750" y="5313"/>
                </a:cubicBezTo>
                <a:cubicBezTo>
                  <a:pt x="7813" y="5313"/>
                  <a:pt x="7844" y="5407"/>
                  <a:pt x="7906" y="5438"/>
                </a:cubicBezTo>
                <a:cubicBezTo>
                  <a:pt x="7938" y="5438"/>
                  <a:pt x="7938" y="5469"/>
                  <a:pt x="7906" y="5469"/>
                </a:cubicBezTo>
                <a:cubicBezTo>
                  <a:pt x="7906" y="5500"/>
                  <a:pt x="7875" y="5500"/>
                  <a:pt x="7844" y="5500"/>
                </a:cubicBezTo>
                <a:cubicBezTo>
                  <a:pt x="7563" y="5469"/>
                  <a:pt x="7344" y="5344"/>
                  <a:pt x="7125" y="5219"/>
                </a:cubicBezTo>
                <a:cubicBezTo>
                  <a:pt x="6969" y="5157"/>
                  <a:pt x="6781" y="5125"/>
                  <a:pt x="6656" y="5032"/>
                </a:cubicBezTo>
                <a:cubicBezTo>
                  <a:pt x="6469" y="4938"/>
                  <a:pt x="6313" y="4875"/>
                  <a:pt x="6125" y="4844"/>
                </a:cubicBezTo>
                <a:cubicBezTo>
                  <a:pt x="6031" y="4844"/>
                  <a:pt x="5875" y="4813"/>
                  <a:pt x="5875" y="4657"/>
                </a:cubicBezTo>
                <a:cubicBezTo>
                  <a:pt x="6094" y="4719"/>
                  <a:pt x="6313" y="4782"/>
                  <a:pt x="6531" y="4875"/>
                </a:cubicBezTo>
                <a:close/>
                <a:moveTo>
                  <a:pt x="5656" y="4563"/>
                </a:moveTo>
                <a:cubicBezTo>
                  <a:pt x="5688" y="4594"/>
                  <a:pt x="5750" y="4563"/>
                  <a:pt x="5781" y="4594"/>
                </a:cubicBezTo>
                <a:cubicBezTo>
                  <a:pt x="5656" y="4657"/>
                  <a:pt x="5625" y="4657"/>
                  <a:pt x="5531" y="4532"/>
                </a:cubicBezTo>
                <a:cubicBezTo>
                  <a:pt x="5563" y="4532"/>
                  <a:pt x="5625" y="4532"/>
                  <a:pt x="5656" y="4563"/>
                </a:cubicBezTo>
                <a:close/>
                <a:moveTo>
                  <a:pt x="5250" y="4188"/>
                </a:moveTo>
                <a:cubicBezTo>
                  <a:pt x="5250" y="4250"/>
                  <a:pt x="5313" y="4250"/>
                  <a:pt x="5344" y="4250"/>
                </a:cubicBezTo>
                <a:cubicBezTo>
                  <a:pt x="5406" y="4250"/>
                  <a:pt x="5469" y="4219"/>
                  <a:pt x="5531" y="4313"/>
                </a:cubicBezTo>
                <a:cubicBezTo>
                  <a:pt x="5344" y="4313"/>
                  <a:pt x="5219" y="4313"/>
                  <a:pt x="5094" y="4188"/>
                </a:cubicBezTo>
                <a:cubicBezTo>
                  <a:pt x="5156" y="4125"/>
                  <a:pt x="5219" y="4094"/>
                  <a:pt x="5250" y="4188"/>
                </a:cubicBezTo>
                <a:close/>
                <a:moveTo>
                  <a:pt x="5438" y="4500"/>
                </a:moveTo>
                <a:cubicBezTo>
                  <a:pt x="5281" y="4500"/>
                  <a:pt x="5188" y="4438"/>
                  <a:pt x="5063" y="4407"/>
                </a:cubicBezTo>
                <a:cubicBezTo>
                  <a:pt x="5250" y="4344"/>
                  <a:pt x="5313" y="4375"/>
                  <a:pt x="5438" y="4500"/>
                </a:cubicBezTo>
                <a:close/>
                <a:moveTo>
                  <a:pt x="4594" y="5469"/>
                </a:moveTo>
                <a:cubicBezTo>
                  <a:pt x="4469" y="5563"/>
                  <a:pt x="4406" y="5438"/>
                  <a:pt x="4313" y="5469"/>
                </a:cubicBezTo>
                <a:cubicBezTo>
                  <a:pt x="4406" y="5407"/>
                  <a:pt x="4500" y="5469"/>
                  <a:pt x="4594" y="5469"/>
                </a:cubicBezTo>
                <a:close/>
                <a:moveTo>
                  <a:pt x="4406" y="5282"/>
                </a:moveTo>
                <a:cubicBezTo>
                  <a:pt x="4375" y="5313"/>
                  <a:pt x="4344" y="5313"/>
                  <a:pt x="4313" y="5282"/>
                </a:cubicBezTo>
                <a:cubicBezTo>
                  <a:pt x="4344" y="5282"/>
                  <a:pt x="4375" y="5282"/>
                  <a:pt x="4406" y="5282"/>
                </a:cubicBezTo>
                <a:close/>
                <a:moveTo>
                  <a:pt x="4250" y="5719"/>
                </a:moveTo>
                <a:cubicBezTo>
                  <a:pt x="4250" y="5719"/>
                  <a:pt x="4250" y="5657"/>
                  <a:pt x="4219" y="5625"/>
                </a:cubicBezTo>
                <a:cubicBezTo>
                  <a:pt x="4219" y="5594"/>
                  <a:pt x="4250" y="5594"/>
                  <a:pt x="4281" y="5594"/>
                </a:cubicBezTo>
                <a:cubicBezTo>
                  <a:pt x="4375" y="5625"/>
                  <a:pt x="4500" y="5657"/>
                  <a:pt x="4594" y="5750"/>
                </a:cubicBezTo>
                <a:cubicBezTo>
                  <a:pt x="4469" y="5813"/>
                  <a:pt x="4375" y="5657"/>
                  <a:pt x="4250" y="5719"/>
                </a:cubicBezTo>
                <a:close/>
                <a:moveTo>
                  <a:pt x="4281" y="6000"/>
                </a:moveTo>
                <a:cubicBezTo>
                  <a:pt x="4281" y="5969"/>
                  <a:pt x="4281" y="5969"/>
                  <a:pt x="4281" y="5938"/>
                </a:cubicBezTo>
                <a:cubicBezTo>
                  <a:pt x="4313" y="5907"/>
                  <a:pt x="4344" y="5907"/>
                  <a:pt x="4406" y="5938"/>
                </a:cubicBezTo>
                <a:cubicBezTo>
                  <a:pt x="4438" y="5938"/>
                  <a:pt x="4469" y="5969"/>
                  <a:pt x="4531" y="5969"/>
                </a:cubicBezTo>
                <a:cubicBezTo>
                  <a:pt x="4563" y="5969"/>
                  <a:pt x="4625" y="5969"/>
                  <a:pt x="4656" y="6000"/>
                </a:cubicBezTo>
                <a:cubicBezTo>
                  <a:pt x="4594" y="6063"/>
                  <a:pt x="4313" y="6063"/>
                  <a:pt x="4281" y="6000"/>
                </a:cubicBezTo>
                <a:close/>
                <a:moveTo>
                  <a:pt x="4688" y="5063"/>
                </a:moveTo>
                <a:cubicBezTo>
                  <a:pt x="4656" y="4907"/>
                  <a:pt x="4688" y="4875"/>
                  <a:pt x="4844" y="4907"/>
                </a:cubicBezTo>
                <a:cubicBezTo>
                  <a:pt x="5063" y="4969"/>
                  <a:pt x="5281" y="5063"/>
                  <a:pt x="5531" y="5157"/>
                </a:cubicBezTo>
                <a:cubicBezTo>
                  <a:pt x="5625" y="5188"/>
                  <a:pt x="5719" y="5250"/>
                  <a:pt x="5813" y="5282"/>
                </a:cubicBezTo>
                <a:cubicBezTo>
                  <a:pt x="5656" y="5313"/>
                  <a:pt x="5469" y="5282"/>
                  <a:pt x="5344" y="5188"/>
                </a:cubicBezTo>
                <a:cubicBezTo>
                  <a:pt x="5281" y="5157"/>
                  <a:pt x="5250" y="5125"/>
                  <a:pt x="5188" y="5157"/>
                </a:cubicBezTo>
                <a:cubicBezTo>
                  <a:pt x="5156" y="5188"/>
                  <a:pt x="5125" y="5219"/>
                  <a:pt x="5094" y="5188"/>
                </a:cubicBezTo>
                <a:cubicBezTo>
                  <a:pt x="5031" y="5125"/>
                  <a:pt x="5125" y="5125"/>
                  <a:pt x="5125" y="5094"/>
                </a:cubicBezTo>
                <a:cubicBezTo>
                  <a:pt x="5125" y="5094"/>
                  <a:pt x="5125" y="5063"/>
                  <a:pt x="5094" y="5063"/>
                </a:cubicBezTo>
                <a:cubicBezTo>
                  <a:pt x="5031" y="5000"/>
                  <a:pt x="4844" y="5000"/>
                  <a:pt x="4750" y="5094"/>
                </a:cubicBezTo>
                <a:cubicBezTo>
                  <a:pt x="4750" y="5094"/>
                  <a:pt x="4719" y="5157"/>
                  <a:pt x="4688" y="5125"/>
                </a:cubicBezTo>
                <a:cubicBezTo>
                  <a:pt x="4656" y="5125"/>
                  <a:pt x="4688" y="5094"/>
                  <a:pt x="4688" y="5063"/>
                </a:cubicBezTo>
                <a:close/>
                <a:moveTo>
                  <a:pt x="4688" y="5407"/>
                </a:moveTo>
                <a:cubicBezTo>
                  <a:pt x="4906" y="5438"/>
                  <a:pt x="5094" y="5500"/>
                  <a:pt x="5313" y="5532"/>
                </a:cubicBezTo>
                <a:cubicBezTo>
                  <a:pt x="5344" y="5532"/>
                  <a:pt x="5406" y="5594"/>
                  <a:pt x="5406" y="5625"/>
                </a:cubicBezTo>
                <a:cubicBezTo>
                  <a:pt x="5438" y="5688"/>
                  <a:pt x="5375" y="5688"/>
                  <a:pt x="5344" y="5657"/>
                </a:cubicBezTo>
                <a:cubicBezTo>
                  <a:pt x="5219" y="5563"/>
                  <a:pt x="5063" y="5563"/>
                  <a:pt x="4906" y="5563"/>
                </a:cubicBezTo>
                <a:cubicBezTo>
                  <a:pt x="4813" y="5563"/>
                  <a:pt x="4781" y="5438"/>
                  <a:pt x="4688" y="5407"/>
                </a:cubicBezTo>
                <a:close/>
                <a:moveTo>
                  <a:pt x="4938" y="6375"/>
                </a:moveTo>
                <a:cubicBezTo>
                  <a:pt x="4938" y="6313"/>
                  <a:pt x="4906" y="6282"/>
                  <a:pt x="4969" y="6250"/>
                </a:cubicBezTo>
                <a:cubicBezTo>
                  <a:pt x="5000" y="6219"/>
                  <a:pt x="5063" y="6188"/>
                  <a:pt x="5094" y="6157"/>
                </a:cubicBezTo>
                <a:cubicBezTo>
                  <a:pt x="5125" y="6094"/>
                  <a:pt x="5156" y="6157"/>
                  <a:pt x="5156" y="6157"/>
                </a:cubicBezTo>
                <a:cubicBezTo>
                  <a:pt x="5188" y="6188"/>
                  <a:pt x="5188" y="6219"/>
                  <a:pt x="5156" y="6219"/>
                </a:cubicBezTo>
                <a:cubicBezTo>
                  <a:pt x="5031" y="6250"/>
                  <a:pt x="5000" y="6282"/>
                  <a:pt x="5000" y="6375"/>
                </a:cubicBezTo>
                <a:cubicBezTo>
                  <a:pt x="5000" y="6375"/>
                  <a:pt x="4969" y="6407"/>
                  <a:pt x="4969" y="6407"/>
                </a:cubicBezTo>
                <a:cubicBezTo>
                  <a:pt x="4938" y="6407"/>
                  <a:pt x="4938" y="6407"/>
                  <a:pt x="4938" y="6375"/>
                </a:cubicBezTo>
                <a:close/>
                <a:moveTo>
                  <a:pt x="5281" y="6844"/>
                </a:moveTo>
                <a:cubicBezTo>
                  <a:pt x="5250" y="6875"/>
                  <a:pt x="5219" y="6844"/>
                  <a:pt x="5188" y="6844"/>
                </a:cubicBezTo>
                <a:cubicBezTo>
                  <a:pt x="5094" y="6875"/>
                  <a:pt x="5031" y="6813"/>
                  <a:pt x="4938" y="6750"/>
                </a:cubicBezTo>
                <a:cubicBezTo>
                  <a:pt x="5063" y="6719"/>
                  <a:pt x="5125" y="6750"/>
                  <a:pt x="5219" y="6750"/>
                </a:cubicBezTo>
                <a:cubicBezTo>
                  <a:pt x="5281" y="6750"/>
                  <a:pt x="5281" y="6813"/>
                  <a:pt x="5281" y="6844"/>
                </a:cubicBezTo>
                <a:close/>
                <a:moveTo>
                  <a:pt x="5438" y="6688"/>
                </a:moveTo>
                <a:cubicBezTo>
                  <a:pt x="5344" y="6625"/>
                  <a:pt x="5250" y="6688"/>
                  <a:pt x="5156" y="6657"/>
                </a:cubicBezTo>
                <a:cubicBezTo>
                  <a:pt x="5094" y="6657"/>
                  <a:pt x="5031" y="6688"/>
                  <a:pt x="5000" y="6625"/>
                </a:cubicBezTo>
                <a:cubicBezTo>
                  <a:pt x="4969" y="6594"/>
                  <a:pt x="5000" y="6594"/>
                  <a:pt x="5000" y="6563"/>
                </a:cubicBezTo>
                <a:cubicBezTo>
                  <a:pt x="5063" y="6563"/>
                  <a:pt x="5125" y="6500"/>
                  <a:pt x="5219" y="6532"/>
                </a:cubicBezTo>
                <a:cubicBezTo>
                  <a:pt x="5281" y="6594"/>
                  <a:pt x="5344" y="6594"/>
                  <a:pt x="5438" y="6657"/>
                </a:cubicBezTo>
                <a:cubicBezTo>
                  <a:pt x="5656" y="6657"/>
                  <a:pt x="5844" y="6875"/>
                  <a:pt x="6094" y="6875"/>
                </a:cubicBezTo>
                <a:cubicBezTo>
                  <a:pt x="6094" y="6875"/>
                  <a:pt x="6156" y="6907"/>
                  <a:pt x="6219" y="6938"/>
                </a:cubicBezTo>
                <a:cubicBezTo>
                  <a:pt x="6250" y="6938"/>
                  <a:pt x="6250" y="7000"/>
                  <a:pt x="6250" y="7032"/>
                </a:cubicBezTo>
                <a:cubicBezTo>
                  <a:pt x="6219" y="7094"/>
                  <a:pt x="6156" y="7094"/>
                  <a:pt x="6125" y="7094"/>
                </a:cubicBezTo>
                <a:cubicBezTo>
                  <a:pt x="6063" y="7157"/>
                  <a:pt x="6000" y="7125"/>
                  <a:pt x="5969" y="7094"/>
                </a:cubicBezTo>
                <a:cubicBezTo>
                  <a:pt x="5938" y="7032"/>
                  <a:pt x="6031" y="7063"/>
                  <a:pt x="6031" y="7000"/>
                </a:cubicBezTo>
                <a:cubicBezTo>
                  <a:pt x="5906" y="7000"/>
                  <a:pt x="5750" y="7032"/>
                  <a:pt x="5719" y="6844"/>
                </a:cubicBezTo>
                <a:cubicBezTo>
                  <a:pt x="5719" y="6813"/>
                  <a:pt x="5656" y="6844"/>
                  <a:pt x="5625" y="6844"/>
                </a:cubicBezTo>
                <a:cubicBezTo>
                  <a:pt x="5531" y="6813"/>
                  <a:pt x="5438" y="6813"/>
                  <a:pt x="5438" y="6688"/>
                </a:cubicBezTo>
                <a:close/>
                <a:moveTo>
                  <a:pt x="6094" y="7250"/>
                </a:moveTo>
                <a:cubicBezTo>
                  <a:pt x="6063" y="7250"/>
                  <a:pt x="6031" y="7282"/>
                  <a:pt x="6000" y="7282"/>
                </a:cubicBezTo>
                <a:cubicBezTo>
                  <a:pt x="5938" y="7282"/>
                  <a:pt x="5906" y="7313"/>
                  <a:pt x="5875" y="7219"/>
                </a:cubicBezTo>
                <a:cubicBezTo>
                  <a:pt x="5844" y="7219"/>
                  <a:pt x="5844" y="7188"/>
                  <a:pt x="5875" y="7188"/>
                </a:cubicBezTo>
                <a:cubicBezTo>
                  <a:pt x="5906" y="7157"/>
                  <a:pt x="5969" y="7157"/>
                  <a:pt x="6000" y="7188"/>
                </a:cubicBezTo>
                <a:cubicBezTo>
                  <a:pt x="6031" y="7219"/>
                  <a:pt x="6063" y="7219"/>
                  <a:pt x="6094" y="7250"/>
                </a:cubicBezTo>
                <a:close/>
                <a:moveTo>
                  <a:pt x="5844" y="7063"/>
                </a:moveTo>
                <a:cubicBezTo>
                  <a:pt x="5813" y="7094"/>
                  <a:pt x="5750" y="7094"/>
                  <a:pt x="5719" y="7094"/>
                </a:cubicBezTo>
                <a:cubicBezTo>
                  <a:pt x="5688" y="7094"/>
                  <a:pt x="5656" y="7094"/>
                  <a:pt x="5594" y="7063"/>
                </a:cubicBezTo>
                <a:cubicBezTo>
                  <a:pt x="5594" y="7063"/>
                  <a:pt x="5594" y="7032"/>
                  <a:pt x="5625" y="7032"/>
                </a:cubicBezTo>
                <a:cubicBezTo>
                  <a:pt x="5656" y="7000"/>
                  <a:pt x="5688" y="7000"/>
                  <a:pt x="5750" y="7032"/>
                </a:cubicBezTo>
                <a:cubicBezTo>
                  <a:pt x="5781" y="7032"/>
                  <a:pt x="5813" y="7063"/>
                  <a:pt x="5844" y="7063"/>
                </a:cubicBezTo>
                <a:close/>
                <a:moveTo>
                  <a:pt x="6750" y="7875"/>
                </a:moveTo>
                <a:cubicBezTo>
                  <a:pt x="6688" y="7750"/>
                  <a:pt x="6563" y="7782"/>
                  <a:pt x="6469" y="7750"/>
                </a:cubicBezTo>
                <a:cubicBezTo>
                  <a:pt x="6375" y="7719"/>
                  <a:pt x="6281" y="7782"/>
                  <a:pt x="6219" y="7719"/>
                </a:cubicBezTo>
                <a:cubicBezTo>
                  <a:pt x="6250" y="7719"/>
                  <a:pt x="6313" y="7688"/>
                  <a:pt x="6375" y="7688"/>
                </a:cubicBezTo>
                <a:cubicBezTo>
                  <a:pt x="6375" y="7594"/>
                  <a:pt x="6281" y="7625"/>
                  <a:pt x="6219" y="7625"/>
                </a:cubicBezTo>
                <a:cubicBezTo>
                  <a:pt x="5969" y="7563"/>
                  <a:pt x="5719" y="7500"/>
                  <a:pt x="5438" y="7407"/>
                </a:cubicBezTo>
                <a:cubicBezTo>
                  <a:pt x="5688" y="7344"/>
                  <a:pt x="5875" y="7313"/>
                  <a:pt x="6094" y="7500"/>
                </a:cubicBezTo>
                <a:cubicBezTo>
                  <a:pt x="6156" y="7532"/>
                  <a:pt x="6281" y="7563"/>
                  <a:pt x="6375" y="7563"/>
                </a:cubicBezTo>
                <a:cubicBezTo>
                  <a:pt x="6469" y="7563"/>
                  <a:pt x="6531" y="7563"/>
                  <a:pt x="6563" y="7625"/>
                </a:cubicBezTo>
                <a:cubicBezTo>
                  <a:pt x="6563" y="7625"/>
                  <a:pt x="6563" y="7625"/>
                  <a:pt x="6563" y="7625"/>
                </a:cubicBezTo>
                <a:cubicBezTo>
                  <a:pt x="6531" y="7657"/>
                  <a:pt x="6438" y="7594"/>
                  <a:pt x="6438" y="7688"/>
                </a:cubicBezTo>
                <a:cubicBezTo>
                  <a:pt x="6500" y="7688"/>
                  <a:pt x="6531" y="7688"/>
                  <a:pt x="6563" y="7688"/>
                </a:cubicBezTo>
                <a:cubicBezTo>
                  <a:pt x="6563" y="7688"/>
                  <a:pt x="6563" y="7657"/>
                  <a:pt x="6563" y="7657"/>
                </a:cubicBezTo>
                <a:cubicBezTo>
                  <a:pt x="6563" y="7657"/>
                  <a:pt x="6594" y="7657"/>
                  <a:pt x="6594" y="7688"/>
                </a:cubicBezTo>
                <a:cubicBezTo>
                  <a:pt x="6688" y="7594"/>
                  <a:pt x="6750" y="7688"/>
                  <a:pt x="6813" y="7719"/>
                </a:cubicBezTo>
                <a:cubicBezTo>
                  <a:pt x="6906" y="7750"/>
                  <a:pt x="6781" y="7813"/>
                  <a:pt x="6813" y="7875"/>
                </a:cubicBezTo>
                <a:cubicBezTo>
                  <a:pt x="6781" y="7875"/>
                  <a:pt x="6750" y="7875"/>
                  <a:pt x="6750" y="7875"/>
                </a:cubicBezTo>
                <a:close/>
                <a:moveTo>
                  <a:pt x="7063" y="8625"/>
                </a:moveTo>
                <a:cubicBezTo>
                  <a:pt x="7031" y="8625"/>
                  <a:pt x="7031" y="8594"/>
                  <a:pt x="7063" y="8563"/>
                </a:cubicBezTo>
                <a:cubicBezTo>
                  <a:pt x="7063" y="8563"/>
                  <a:pt x="7094" y="8532"/>
                  <a:pt x="7094" y="8532"/>
                </a:cubicBezTo>
                <a:cubicBezTo>
                  <a:pt x="7188" y="8625"/>
                  <a:pt x="7313" y="8594"/>
                  <a:pt x="7375" y="8688"/>
                </a:cubicBezTo>
                <a:cubicBezTo>
                  <a:pt x="7250" y="8750"/>
                  <a:pt x="7156" y="8688"/>
                  <a:pt x="7063" y="8625"/>
                </a:cubicBezTo>
                <a:close/>
                <a:moveTo>
                  <a:pt x="7656" y="8157"/>
                </a:moveTo>
                <a:cubicBezTo>
                  <a:pt x="7625" y="8188"/>
                  <a:pt x="7625" y="8219"/>
                  <a:pt x="7594" y="8188"/>
                </a:cubicBezTo>
                <a:cubicBezTo>
                  <a:pt x="7469" y="8188"/>
                  <a:pt x="7375" y="8063"/>
                  <a:pt x="7250" y="8094"/>
                </a:cubicBezTo>
                <a:cubicBezTo>
                  <a:pt x="7188" y="7844"/>
                  <a:pt x="7000" y="8000"/>
                  <a:pt x="6906" y="8000"/>
                </a:cubicBezTo>
                <a:cubicBezTo>
                  <a:pt x="6813" y="7969"/>
                  <a:pt x="6781" y="7969"/>
                  <a:pt x="6813" y="7875"/>
                </a:cubicBezTo>
                <a:cubicBezTo>
                  <a:pt x="7125" y="7813"/>
                  <a:pt x="7375" y="8032"/>
                  <a:pt x="7625" y="8125"/>
                </a:cubicBezTo>
                <a:cubicBezTo>
                  <a:pt x="7656" y="8125"/>
                  <a:pt x="7688" y="8125"/>
                  <a:pt x="7656" y="8157"/>
                </a:cubicBezTo>
                <a:close/>
                <a:moveTo>
                  <a:pt x="8313" y="8500"/>
                </a:moveTo>
                <a:cubicBezTo>
                  <a:pt x="8313" y="8500"/>
                  <a:pt x="8344" y="8438"/>
                  <a:pt x="8344" y="8438"/>
                </a:cubicBezTo>
                <a:cubicBezTo>
                  <a:pt x="8406" y="8438"/>
                  <a:pt x="8469" y="8469"/>
                  <a:pt x="8531" y="8532"/>
                </a:cubicBezTo>
                <a:cubicBezTo>
                  <a:pt x="8438" y="8532"/>
                  <a:pt x="8375" y="8532"/>
                  <a:pt x="8313" y="8500"/>
                </a:cubicBezTo>
                <a:close/>
                <a:moveTo>
                  <a:pt x="8688" y="8188"/>
                </a:moveTo>
                <a:cubicBezTo>
                  <a:pt x="8594" y="8157"/>
                  <a:pt x="8500" y="8157"/>
                  <a:pt x="8406" y="8125"/>
                </a:cubicBezTo>
                <a:cubicBezTo>
                  <a:pt x="8500" y="8063"/>
                  <a:pt x="8688" y="8063"/>
                  <a:pt x="8719" y="8125"/>
                </a:cubicBezTo>
                <a:cubicBezTo>
                  <a:pt x="8750" y="8125"/>
                  <a:pt x="8750" y="8157"/>
                  <a:pt x="8750" y="8157"/>
                </a:cubicBezTo>
                <a:cubicBezTo>
                  <a:pt x="8719" y="8188"/>
                  <a:pt x="8719" y="8188"/>
                  <a:pt x="8688" y="8188"/>
                </a:cubicBezTo>
                <a:close/>
                <a:moveTo>
                  <a:pt x="8969" y="8344"/>
                </a:moveTo>
                <a:cubicBezTo>
                  <a:pt x="8969" y="8282"/>
                  <a:pt x="8969" y="8188"/>
                  <a:pt x="9000" y="8125"/>
                </a:cubicBezTo>
                <a:cubicBezTo>
                  <a:pt x="9063" y="8094"/>
                  <a:pt x="9125" y="8188"/>
                  <a:pt x="9156" y="8219"/>
                </a:cubicBezTo>
                <a:cubicBezTo>
                  <a:pt x="9000" y="8344"/>
                  <a:pt x="8969" y="8344"/>
                  <a:pt x="8969" y="8344"/>
                </a:cubicBezTo>
                <a:close/>
                <a:moveTo>
                  <a:pt x="9313" y="8125"/>
                </a:moveTo>
                <a:cubicBezTo>
                  <a:pt x="9219" y="8000"/>
                  <a:pt x="9094" y="8000"/>
                  <a:pt x="8969" y="8063"/>
                </a:cubicBezTo>
                <a:cubicBezTo>
                  <a:pt x="9000" y="7969"/>
                  <a:pt x="8969" y="7938"/>
                  <a:pt x="8906" y="7938"/>
                </a:cubicBezTo>
                <a:cubicBezTo>
                  <a:pt x="8813" y="7938"/>
                  <a:pt x="8750" y="7907"/>
                  <a:pt x="8656" y="7907"/>
                </a:cubicBezTo>
                <a:cubicBezTo>
                  <a:pt x="8531" y="7875"/>
                  <a:pt x="8438" y="7750"/>
                  <a:pt x="8281" y="7750"/>
                </a:cubicBezTo>
                <a:cubicBezTo>
                  <a:pt x="8250" y="7750"/>
                  <a:pt x="8219" y="7657"/>
                  <a:pt x="8125" y="7657"/>
                </a:cubicBezTo>
                <a:cubicBezTo>
                  <a:pt x="8063" y="7657"/>
                  <a:pt x="8031" y="7625"/>
                  <a:pt x="7969" y="7657"/>
                </a:cubicBezTo>
                <a:cubicBezTo>
                  <a:pt x="7969" y="7688"/>
                  <a:pt x="8000" y="7688"/>
                  <a:pt x="8031" y="7688"/>
                </a:cubicBezTo>
                <a:cubicBezTo>
                  <a:pt x="8156" y="7719"/>
                  <a:pt x="8094" y="7907"/>
                  <a:pt x="8219" y="7938"/>
                </a:cubicBezTo>
                <a:cubicBezTo>
                  <a:pt x="8094" y="7907"/>
                  <a:pt x="7969" y="8000"/>
                  <a:pt x="7844" y="7875"/>
                </a:cubicBezTo>
                <a:cubicBezTo>
                  <a:pt x="7938" y="7875"/>
                  <a:pt x="8031" y="7938"/>
                  <a:pt x="8063" y="7844"/>
                </a:cubicBezTo>
                <a:cubicBezTo>
                  <a:pt x="8094" y="7719"/>
                  <a:pt x="8000" y="7750"/>
                  <a:pt x="7938" y="7719"/>
                </a:cubicBezTo>
                <a:cubicBezTo>
                  <a:pt x="7875" y="7719"/>
                  <a:pt x="7813" y="7719"/>
                  <a:pt x="7750" y="7719"/>
                </a:cubicBezTo>
                <a:cubicBezTo>
                  <a:pt x="7719" y="7719"/>
                  <a:pt x="7719" y="7750"/>
                  <a:pt x="7719" y="7782"/>
                </a:cubicBezTo>
                <a:cubicBezTo>
                  <a:pt x="7625" y="7813"/>
                  <a:pt x="7656" y="7844"/>
                  <a:pt x="7656" y="7907"/>
                </a:cubicBezTo>
                <a:cubicBezTo>
                  <a:pt x="7656" y="7938"/>
                  <a:pt x="7656" y="7938"/>
                  <a:pt x="7625" y="7907"/>
                </a:cubicBezTo>
                <a:cubicBezTo>
                  <a:pt x="7563" y="7875"/>
                  <a:pt x="7469" y="7907"/>
                  <a:pt x="7375" y="7844"/>
                </a:cubicBezTo>
                <a:cubicBezTo>
                  <a:pt x="7406" y="7813"/>
                  <a:pt x="7469" y="7813"/>
                  <a:pt x="7500" y="7813"/>
                </a:cubicBezTo>
                <a:cubicBezTo>
                  <a:pt x="7563" y="7782"/>
                  <a:pt x="7625" y="7750"/>
                  <a:pt x="7563" y="7688"/>
                </a:cubicBezTo>
                <a:cubicBezTo>
                  <a:pt x="7406" y="7688"/>
                  <a:pt x="7250" y="7688"/>
                  <a:pt x="7063" y="7688"/>
                </a:cubicBezTo>
                <a:cubicBezTo>
                  <a:pt x="7031" y="7688"/>
                  <a:pt x="6969" y="7657"/>
                  <a:pt x="7031" y="7625"/>
                </a:cubicBezTo>
                <a:cubicBezTo>
                  <a:pt x="7125" y="7532"/>
                  <a:pt x="7000" y="7532"/>
                  <a:pt x="6969" y="7532"/>
                </a:cubicBezTo>
                <a:cubicBezTo>
                  <a:pt x="6906" y="7500"/>
                  <a:pt x="6844" y="7500"/>
                  <a:pt x="6781" y="7500"/>
                </a:cubicBezTo>
                <a:cubicBezTo>
                  <a:pt x="6688" y="7532"/>
                  <a:pt x="6688" y="7469"/>
                  <a:pt x="6688" y="7438"/>
                </a:cubicBezTo>
                <a:cubicBezTo>
                  <a:pt x="6656" y="7438"/>
                  <a:pt x="6563" y="7375"/>
                  <a:pt x="6563" y="7500"/>
                </a:cubicBezTo>
                <a:cubicBezTo>
                  <a:pt x="6500" y="7469"/>
                  <a:pt x="6406" y="7469"/>
                  <a:pt x="6375" y="7438"/>
                </a:cubicBezTo>
                <a:cubicBezTo>
                  <a:pt x="6344" y="7375"/>
                  <a:pt x="6469" y="7407"/>
                  <a:pt x="6500" y="7375"/>
                </a:cubicBezTo>
                <a:cubicBezTo>
                  <a:pt x="6438" y="7344"/>
                  <a:pt x="6438" y="7282"/>
                  <a:pt x="6438" y="7219"/>
                </a:cubicBezTo>
                <a:cubicBezTo>
                  <a:pt x="6438" y="7219"/>
                  <a:pt x="6438" y="7188"/>
                  <a:pt x="6406" y="7188"/>
                </a:cubicBezTo>
                <a:cubicBezTo>
                  <a:pt x="6344" y="7125"/>
                  <a:pt x="6344" y="7125"/>
                  <a:pt x="6375" y="7063"/>
                </a:cubicBezTo>
                <a:cubicBezTo>
                  <a:pt x="6375" y="7063"/>
                  <a:pt x="6375" y="7063"/>
                  <a:pt x="6375" y="7032"/>
                </a:cubicBezTo>
                <a:cubicBezTo>
                  <a:pt x="6344" y="7032"/>
                  <a:pt x="6344" y="7032"/>
                  <a:pt x="6313" y="7000"/>
                </a:cubicBezTo>
                <a:cubicBezTo>
                  <a:pt x="6438" y="7000"/>
                  <a:pt x="6563" y="7032"/>
                  <a:pt x="6656" y="7063"/>
                </a:cubicBezTo>
                <a:cubicBezTo>
                  <a:pt x="6719" y="7063"/>
                  <a:pt x="6750" y="7094"/>
                  <a:pt x="6750" y="7157"/>
                </a:cubicBezTo>
                <a:cubicBezTo>
                  <a:pt x="6781" y="7188"/>
                  <a:pt x="6750" y="7219"/>
                  <a:pt x="6719" y="7188"/>
                </a:cubicBezTo>
                <a:cubicBezTo>
                  <a:pt x="6625" y="7157"/>
                  <a:pt x="6531" y="7188"/>
                  <a:pt x="6438" y="7188"/>
                </a:cubicBezTo>
                <a:cubicBezTo>
                  <a:pt x="6531" y="7250"/>
                  <a:pt x="6656" y="7219"/>
                  <a:pt x="6750" y="7282"/>
                </a:cubicBezTo>
                <a:cubicBezTo>
                  <a:pt x="6719" y="7344"/>
                  <a:pt x="6625" y="7282"/>
                  <a:pt x="6563" y="7344"/>
                </a:cubicBezTo>
                <a:cubicBezTo>
                  <a:pt x="6594" y="7375"/>
                  <a:pt x="6656" y="7375"/>
                  <a:pt x="6719" y="7407"/>
                </a:cubicBezTo>
                <a:cubicBezTo>
                  <a:pt x="6781" y="7375"/>
                  <a:pt x="6844" y="7407"/>
                  <a:pt x="6938" y="7375"/>
                </a:cubicBezTo>
                <a:cubicBezTo>
                  <a:pt x="6875" y="7313"/>
                  <a:pt x="6781" y="7313"/>
                  <a:pt x="6813" y="7219"/>
                </a:cubicBezTo>
                <a:cubicBezTo>
                  <a:pt x="6844" y="7125"/>
                  <a:pt x="6906" y="7188"/>
                  <a:pt x="6938" y="7188"/>
                </a:cubicBezTo>
                <a:cubicBezTo>
                  <a:pt x="6938" y="7188"/>
                  <a:pt x="6938" y="7188"/>
                  <a:pt x="6938" y="7188"/>
                </a:cubicBezTo>
                <a:cubicBezTo>
                  <a:pt x="7000" y="7250"/>
                  <a:pt x="7094" y="7282"/>
                  <a:pt x="7188" y="7282"/>
                </a:cubicBezTo>
                <a:cubicBezTo>
                  <a:pt x="7188" y="7282"/>
                  <a:pt x="7219" y="7250"/>
                  <a:pt x="7219" y="7250"/>
                </a:cubicBezTo>
                <a:cubicBezTo>
                  <a:pt x="7125" y="7188"/>
                  <a:pt x="7063" y="7157"/>
                  <a:pt x="6969" y="7157"/>
                </a:cubicBezTo>
                <a:cubicBezTo>
                  <a:pt x="6938" y="7157"/>
                  <a:pt x="6938" y="7125"/>
                  <a:pt x="6875" y="7063"/>
                </a:cubicBezTo>
                <a:cubicBezTo>
                  <a:pt x="7344" y="7063"/>
                  <a:pt x="7719" y="7282"/>
                  <a:pt x="8063" y="7500"/>
                </a:cubicBezTo>
                <a:cubicBezTo>
                  <a:pt x="8063" y="7563"/>
                  <a:pt x="8094" y="7625"/>
                  <a:pt x="8156" y="7594"/>
                </a:cubicBezTo>
                <a:cubicBezTo>
                  <a:pt x="8188" y="7594"/>
                  <a:pt x="8250" y="7532"/>
                  <a:pt x="8281" y="7563"/>
                </a:cubicBezTo>
                <a:cubicBezTo>
                  <a:pt x="8406" y="7719"/>
                  <a:pt x="8625" y="7688"/>
                  <a:pt x="8781" y="7782"/>
                </a:cubicBezTo>
                <a:cubicBezTo>
                  <a:pt x="8906" y="7844"/>
                  <a:pt x="9063" y="7875"/>
                  <a:pt x="9156" y="7938"/>
                </a:cubicBezTo>
                <a:cubicBezTo>
                  <a:pt x="9313" y="8063"/>
                  <a:pt x="9531" y="8032"/>
                  <a:pt x="9656" y="8219"/>
                </a:cubicBezTo>
                <a:cubicBezTo>
                  <a:pt x="9531" y="8250"/>
                  <a:pt x="9406" y="8219"/>
                  <a:pt x="9313" y="8125"/>
                </a:cubicBezTo>
                <a:close/>
                <a:moveTo>
                  <a:pt x="9688" y="8000"/>
                </a:moveTo>
                <a:cubicBezTo>
                  <a:pt x="9625" y="7969"/>
                  <a:pt x="9594" y="7938"/>
                  <a:pt x="9531" y="7938"/>
                </a:cubicBezTo>
                <a:cubicBezTo>
                  <a:pt x="9500" y="7907"/>
                  <a:pt x="9406" y="7969"/>
                  <a:pt x="9406" y="7844"/>
                </a:cubicBezTo>
                <a:cubicBezTo>
                  <a:pt x="9406" y="7844"/>
                  <a:pt x="9375" y="7844"/>
                  <a:pt x="9375" y="7813"/>
                </a:cubicBezTo>
                <a:cubicBezTo>
                  <a:pt x="9344" y="7782"/>
                  <a:pt x="9188" y="7875"/>
                  <a:pt x="9250" y="7750"/>
                </a:cubicBezTo>
                <a:cubicBezTo>
                  <a:pt x="9250" y="7750"/>
                  <a:pt x="9250" y="7719"/>
                  <a:pt x="9219" y="7719"/>
                </a:cubicBezTo>
                <a:cubicBezTo>
                  <a:pt x="9063" y="7750"/>
                  <a:pt x="8938" y="7625"/>
                  <a:pt x="8781" y="7625"/>
                </a:cubicBezTo>
                <a:cubicBezTo>
                  <a:pt x="8688" y="7594"/>
                  <a:pt x="8563" y="7625"/>
                  <a:pt x="8469" y="7532"/>
                </a:cubicBezTo>
                <a:cubicBezTo>
                  <a:pt x="8344" y="7344"/>
                  <a:pt x="8156" y="7375"/>
                  <a:pt x="8000" y="7313"/>
                </a:cubicBezTo>
                <a:cubicBezTo>
                  <a:pt x="7875" y="7282"/>
                  <a:pt x="7750" y="7219"/>
                  <a:pt x="7594" y="7188"/>
                </a:cubicBezTo>
                <a:cubicBezTo>
                  <a:pt x="7563" y="7188"/>
                  <a:pt x="7469" y="7125"/>
                  <a:pt x="7469" y="7032"/>
                </a:cubicBezTo>
                <a:cubicBezTo>
                  <a:pt x="7469" y="6969"/>
                  <a:pt x="7406" y="7000"/>
                  <a:pt x="7375" y="7000"/>
                </a:cubicBezTo>
                <a:cubicBezTo>
                  <a:pt x="7313" y="7000"/>
                  <a:pt x="7250" y="7000"/>
                  <a:pt x="7188" y="6938"/>
                </a:cubicBezTo>
                <a:cubicBezTo>
                  <a:pt x="7219" y="6907"/>
                  <a:pt x="7281" y="6938"/>
                  <a:pt x="7313" y="6907"/>
                </a:cubicBezTo>
                <a:cubicBezTo>
                  <a:pt x="7281" y="6907"/>
                  <a:pt x="7281" y="6875"/>
                  <a:pt x="7281" y="6875"/>
                </a:cubicBezTo>
                <a:cubicBezTo>
                  <a:pt x="7219" y="6875"/>
                  <a:pt x="7125" y="6813"/>
                  <a:pt x="7063" y="6844"/>
                </a:cubicBezTo>
                <a:cubicBezTo>
                  <a:pt x="7000" y="6875"/>
                  <a:pt x="7031" y="6813"/>
                  <a:pt x="7000" y="6782"/>
                </a:cubicBezTo>
                <a:cubicBezTo>
                  <a:pt x="6906" y="6750"/>
                  <a:pt x="6813" y="6844"/>
                  <a:pt x="6719" y="6844"/>
                </a:cubicBezTo>
                <a:cubicBezTo>
                  <a:pt x="6750" y="6719"/>
                  <a:pt x="6719" y="6657"/>
                  <a:pt x="6594" y="6657"/>
                </a:cubicBezTo>
                <a:cubicBezTo>
                  <a:pt x="6531" y="6657"/>
                  <a:pt x="6500" y="6657"/>
                  <a:pt x="6500" y="6594"/>
                </a:cubicBezTo>
                <a:cubicBezTo>
                  <a:pt x="6563" y="6594"/>
                  <a:pt x="6625" y="6594"/>
                  <a:pt x="6719" y="6594"/>
                </a:cubicBezTo>
                <a:cubicBezTo>
                  <a:pt x="6781" y="6563"/>
                  <a:pt x="6875" y="6532"/>
                  <a:pt x="6875" y="6657"/>
                </a:cubicBezTo>
                <a:cubicBezTo>
                  <a:pt x="6875" y="6719"/>
                  <a:pt x="6969" y="6688"/>
                  <a:pt x="7000" y="6750"/>
                </a:cubicBezTo>
                <a:cubicBezTo>
                  <a:pt x="7094" y="6750"/>
                  <a:pt x="7125" y="6782"/>
                  <a:pt x="7188" y="6813"/>
                </a:cubicBezTo>
                <a:cubicBezTo>
                  <a:pt x="7219" y="6813"/>
                  <a:pt x="7250" y="6844"/>
                  <a:pt x="7250" y="6844"/>
                </a:cubicBezTo>
                <a:cubicBezTo>
                  <a:pt x="7500" y="6719"/>
                  <a:pt x="7625" y="6907"/>
                  <a:pt x="7813" y="6938"/>
                </a:cubicBezTo>
                <a:cubicBezTo>
                  <a:pt x="7844" y="6969"/>
                  <a:pt x="7906" y="7000"/>
                  <a:pt x="7938" y="7000"/>
                </a:cubicBezTo>
                <a:cubicBezTo>
                  <a:pt x="7938" y="7000"/>
                  <a:pt x="7969" y="7000"/>
                  <a:pt x="7969" y="6969"/>
                </a:cubicBezTo>
                <a:cubicBezTo>
                  <a:pt x="7969" y="6969"/>
                  <a:pt x="7938" y="6938"/>
                  <a:pt x="7938" y="6938"/>
                </a:cubicBezTo>
                <a:cubicBezTo>
                  <a:pt x="7906" y="6938"/>
                  <a:pt x="7875" y="6938"/>
                  <a:pt x="7906" y="6907"/>
                </a:cubicBezTo>
                <a:cubicBezTo>
                  <a:pt x="7906" y="6875"/>
                  <a:pt x="7938" y="6875"/>
                  <a:pt x="7938" y="6907"/>
                </a:cubicBezTo>
                <a:cubicBezTo>
                  <a:pt x="7969" y="6907"/>
                  <a:pt x="7969" y="6907"/>
                  <a:pt x="7969" y="6907"/>
                </a:cubicBezTo>
                <a:cubicBezTo>
                  <a:pt x="8000" y="6844"/>
                  <a:pt x="7938" y="6782"/>
                  <a:pt x="8031" y="6750"/>
                </a:cubicBezTo>
                <a:cubicBezTo>
                  <a:pt x="8094" y="6750"/>
                  <a:pt x="8156" y="6782"/>
                  <a:pt x="8219" y="6813"/>
                </a:cubicBezTo>
                <a:cubicBezTo>
                  <a:pt x="8281" y="6907"/>
                  <a:pt x="8469" y="6969"/>
                  <a:pt x="8563" y="6907"/>
                </a:cubicBezTo>
                <a:cubicBezTo>
                  <a:pt x="8594" y="6844"/>
                  <a:pt x="8625" y="6844"/>
                  <a:pt x="8656" y="6875"/>
                </a:cubicBezTo>
                <a:cubicBezTo>
                  <a:pt x="8688" y="6907"/>
                  <a:pt x="8781" y="6875"/>
                  <a:pt x="8781" y="6938"/>
                </a:cubicBezTo>
                <a:cubicBezTo>
                  <a:pt x="8781" y="7032"/>
                  <a:pt x="8688" y="6938"/>
                  <a:pt x="8625" y="7000"/>
                </a:cubicBezTo>
                <a:cubicBezTo>
                  <a:pt x="8750" y="7094"/>
                  <a:pt x="8906" y="7125"/>
                  <a:pt x="9063" y="7219"/>
                </a:cubicBezTo>
                <a:cubicBezTo>
                  <a:pt x="9250" y="7313"/>
                  <a:pt x="9469" y="7407"/>
                  <a:pt x="9688" y="7500"/>
                </a:cubicBezTo>
                <a:cubicBezTo>
                  <a:pt x="9719" y="7532"/>
                  <a:pt x="9781" y="7500"/>
                  <a:pt x="9813" y="7500"/>
                </a:cubicBezTo>
                <a:cubicBezTo>
                  <a:pt x="9813" y="7500"/>
                  <a:pt x="9813" y="7500"/>
                  <a:pt x="9813" y="7500"/>
                </a:cubicBezTo>
                <a:cubicBezTo>
                  <a:pt x="9938" y="7563"/>
                  <a:pt x="9969" y="7657"/>
                  <a:pt x="10063" y="7719"/>
                </a:cubicBezTo>
                <a:cubicBezTo>
                  <a:pt x="10094" y="7750"/>
                  <a:pt x="10125" y="7782"/>
                  <a:pt x="10094" y="7782"/>
                </a:cubicBezTo>
                <a:cubicBezTo>
                  <a:pt x="10063" y="7813"/>
                  <a:pt x="10063" y="7782"/>
                  <a:pt x="10031" y="7782"/>
                </a:cubicBezTo>
                <a:cubicBezTo>
                  <a:pt x="9969" y="7688"/>
                  <a:pt x="9875" y="7657"/>
                  <a:pt x="9781" y="7625"/>
                </a:cubicBezTo>
                <a:cubicBezTo>
                  <a:pt x="9625" y="7594"/>
                  <a:pt x="9500" y="7532"/>
                  <a:pt x="9344" y="7500"/>
                </a:cubicBezTo>
                <a:cubicBezTo>
                  <a:pt x="9250" y="7500"/>
                  <a:pt x="9094" y="7438"/>
                  <a:pt x="9031" y="7282"/>
                </a:cubicBezTo>
                <a:cubicBezTo>
                  <a:pt x="9000" y="7282"/>
                  <a:pt x="8969" y="7282"/>
                  <a:pt x="8969" y="7250"/>
                </a:cubicBezTo>
                <a:cubicBezTo>
                  <a:pt x="8844" y="7157"/>
                  <a:pt x="8656" y="7157"/>
                  <a:pt x="8531" y="7063"/>
                </a:cubicBezTo>
                <a:cubicBezTo>
                  <a:pt x="8500" y="7032"/>
                  <a:pt x="8438" y="7000"/>
                  <a:pt x="8406" y="7063"/>
                </a:cubicBezTo>
                <a:cubicBezTo>
                  <a:pt x="8375" y="7094"/>
                  <a:pt x="8438" y="7125"/>
                  <a:pt x="8469" y="7157"/>
                </a:cubicBezTo>
                <a:cubicBezTo>
                  <a:pt x="8375" y="7188"/>
                  <a:pt x="8313" y="7125"/>
                  <a:pt x="8313" y="7094"/>
                </a:cubicBezTo>
                <a:cubicBezTo>
                  <a:pt x="8344" y="6938"/>
                  <a:pt x="8219" y="6938"/>
                  <a:pt x="8156" y="6907"/>
                </a:cubicBezTo>
                <a:cubicBezTo>
                  <a:pt x="8094" y="6938"/>
                  <a:pt x="8125" y="7000"/>
                  <a:pt x="8063" y="7032"/>
                </a:cubicBezTo>
                <a:cubicBezTo>
                  <a:pt x="8063" y="7032"/>
                  <a:pt x="8031" y="7063"/>
                  <a:pt x="8094" y="7094"/>
                </a:cubicBezTo>
                <a:cubicBezTo>
                  <a:pt x="8250" y="7125"/>
                  <a:pt x="8375" y="7282"/>
                  <a:pt x="8563" y="7250"/>
                </a:cubicBezTo>
                <a:cubicBezTo>
                  <a:pt x="8625" y="7250"/>
                  <a:pt x="8594" y="7344"/>
                  <a:pt x="8656" y="7344"/>
                </a:cubicBezTo>
                <a:cubicBezTo>
                  <a:pt x="9000" y="7500"/>
                  <a:pt x="9344" y="7657"/>
                  <a:pt x="9688" y="7844"/>
                </a:cubicBezTo>
                <a:cubicBezTo>
                  <a:pt x="10094" y="8063"/>
                  <a:pt x="10500" y="8282"/>
                  <a:pt x="10906" y="8469"/>
                </a:cubicBezTo>
                <a:cubicBezTo>
                  <a:pt x="10969" y="8469"/>
                  <a:pt x="11031" y="8532"/>
                  <a:pt x="11031" y="8594"/>
                </a:cubicBezTo>
                <a:cubicBezTo>
                  <a:pt x="10719" y="8532"/>
                  <a:pt x="10500" y="8344"/>
                  <a:pt x="10188" y="8282"/>
                </a:cubicBezTo>
                <a:cubicBezTo>
                  <a:pt x="10000" y="8219"/>
                  <a:pt x="9844" y="8063"/>
                  <a:pt x="9688" y="8000"/>
                </a:cubicBezTo>
                <a:close/>
                <a:moveTo>
                  <a:pt x="8531" y="7188"/>
                </a:moveTo>
                <a:cubicBezTo>
                  <a:pt x="8500" y="7188"/>
                  <a:pt x="8500" y="7219"/>
                  <a:pt x="8500" y="7219"/>
                </a:cubicBezTo>
                <a:cubicBezTo>
                  <a:pt x="8500" y="7219"/>
                  <a:pt x="8500" y="7188"/>
                  <a:pt x="8469" y="7188"/>
                </a:cubicBezTo>
                <a:cubicBezTo>
                  <a:pt x="8500" y="7188"/>
                  <a:pt x="8500" y="7188"/>
                  <a:pt x="8500" y="7188"/>
                </a:cubicBezTo>
                <a:cubicBezTo>
                  <a:pt x="8500" y="7188"/>
                  <a:pt x="8500" y="7188"/>
                  <a:pt x="8531" y="7188"/>
                </a:cubicBezTo>
                <a:close/>
                <a:moveTo>
                  <a:pt x="9906" y="8688"/>
                </a:moveTo>
                <a:cubicBezTo>
                  <a:pt x="9875" y="8688"/>
                  <a:pt x="9844" y="8657"/>
                  <a:pt x="9781" y="8657"/>
                </a:cubicBezTo>
                <a:cubicBezTo>
                  <a:pt x="9844" y="8625"/>
                  <a:pt x="9875" y="8594"/>
                  <a:pt x="9938" y="8625"/>
                </a:cubicBezTo>
                <a:cubicBezTo>
                  <a:pt x="10000" y="8625"/>
                  <a:pt x="10094" y="8594"/>
                  <a:pt x="10094" y="8688"/>
                </a:cubicBezTo>
                <a:cubicBezTo>
                  <a:pt x="10094" y="8719"/>
                  <a:pt x="9969" y="8688"/>
                  <a:pt x="9906" y="8688"/>
                </a:cubicBezTo>
                <a:close/>
                <a:moveTo>
                  <a:pt x="10375" y="9219"/>
                </a:moveTo>
                <a:cubicBezTo>
                  <a:pt x="10313" y="9219"/>
                  <a:pt x="10281" y="9250"/>
                  <a:pt x="10250" y="9250"/>
                </a:cubicBezTo>
                <a:cubicBezTo>
                  <a:pt x="10188" y="9250"/>
                  <a:pt x="10156" y="9250"/>
                  <a:pt x="10156" y="9219"/>
                </a:cubicBezTo>
                <a:cubicBezTo>
                  <a:pt x="10156" y="9188"/>
                  <a:pt x="10188" y="9157"/>
                  <a:pt x="10219" y="9157"/>
                </a:cubicBezTo>
                <a:cubicBezTo>
                  <a:pt x="10281" y="9188"/>
                  <a:pt x="10313" y="9125"/>
                  <a:pt x="10375" y="9125"/>
                </a:cubicBezTo>
                <a:cubicBezTo>
                  <a:pt x="10406" y="9125"/>
                  <a:pt x="10438" y="9125"/>
                  <a:pt x="10438" y="9157"/>
                </a:cubicBezTo>
                <a:cubicBezTo>
                  <a:pt x="10469" y="9219"/>
                  <a:pt x="10406" y="9219"/>
                  <a:pt x="10375" y="9219"/>
                </a:cubicBezTo>
                <a:close/>
                <a:moveTo>
                  <a:pt x="10188" y="8907"/>
                </a:moveTo>
                <a:cubicBezTo>
                  <a:pt x="10281" y="8813"/>
                  <a:pt x="10375" y="8844"/>
                  <a:pt x="10469" y="8875"/>
                </a:cubicBezTo>
                <a:cubicBezTo>
                  <a:pt x="10406" y="9000"/>
                  <a:pt x="10281" y="9000"/>
                  <a:pt x="10188" y="8907"/>
                </a:cubicBezTo>
                <a:close/>
                <a:moveTo>
                  <a:pt x="10406" y="8813"/>
                </a:moveTo>
                <a:cubicBezTo>
                  <a:pt x="10531" y="8657"/>
                  <a:pt x="10469" y="8625"/>
                  <a:pt x="10375" y="8625"/>
                </a:cubicBezTo>
                <a:cubicBezTo>
                  <a:pt x="10313" y="8625"/>
                  <a:pt x="10250" y="8625"/>
                  <a:pt x="10250" y="8532"/>
                </a:cubicBezTo>
                <a:cubicBezTo>
                  <a:pt x="10438" y="8469"/>
                  <a:pt x="10563" y="8657"/>
                  <a:pt x="10688" y="8750"/>
                </a:cubicBezTo>
                <a:cubicBezTo>
                  <a:pt x="10594" y="8719"/>
                  <a:pt x="10531" y="8750"/>
                  <a:pt x="10406" y="8813"/>
                </a:cubicBezTo>
                <a:close/>
                <a:moveTo>
                  <a:pt x="10469" y="10844"/>
                </a:moveTo>
                <a:cubicBezTo>
                  <a:pt x="10594" y="10844"/>
                  <a:pt x="10656" y="10907"/>
                  <a:pt x="10750" y="10969"/>
                </a:cubicBezTo>
                <a:cubicBezTo>
                  <a:pt x="10594" y="11032"/>
                  <a:pt x="10563" y="10907"/>
                  <a:pt x="10469" y="10844"/>
                </a:cubicBezTo>
                <a:close/>
                <a:moveTo>
                  <a:pt x="11500" y="11188"/>
                </a:moveTo>
                <a:cubicBezTo>
                  <a:pt x="11531" y="11157"/>
                  <a:pt x="11594" y="11188"/>
                  <a:pt x="11625" y="11157"/>
                </a:cubicBezTo>
                <a:cubicBezTo>
                  <a:pt x="11625" y="11094"/>
                  <a:pt x="11563" y="11094"/>
                  <a:pt x="11531" y="11094"/>
                </a:cubicBezTo>
                <a:cubicBezTo>
                  <a:pt x="11438" y="11094"/>
                  <a:pt x="11375" y="11063"/>
                  <a:pt x="11313" y="11094"/>
                </a:cubicBezTo>
                <a:cubicBezTo>
                  <a:pt x="11219" y="11125"/>
                  <a:pt x="11250" y="11000"/>
                  <a:pt x="11156" y="11000"/>
                </a:cubicBezTo>
                <a:cubicBezTo>
                  <a:pt x="11063" y="10969"/>
                  <a:pt x="10969" y="10938"/>
                  <a:pt x="10906" y="10875"/>
                </a:cubicBezTo>
                <a:cubicBezTo>
                  <a:pt x="10875" y="10844"/>
                  <a:pt x="10844" y="10813"/>
                  <a:pt x="10781" y="10813"/>
                </a:cubicBezTo>
                <a:cubicBezTo>
                  <a:pt x="10688" y="10844"/>
                  <a:pt x="10625" y="10813"/>
                  <a:pt x="10563" y="10750"/>
                </a:cubicBezTo>
                <a:cubicBezTo>
                  <a:pt x="10625" y="10750"/>
                  <a:pt x="10625" y="10688"/>
                  <a:pt x="10656" y="10625"/>
                </a:cubicBezTo>
                <a:cubicBezTo>
                  <a:pt x="10594" y="10594"/>
                  <a:pt x="10531" y="10657"/>
                  <a:pt x="10500" y="10594"/>
                </a:cubicBezTo>
                <a:cubicBezTo>
                  <a:pt x="10531" y="10532"/>
                  <a:pt x="10563" y="10500"/>
                  <a:pt x="10656" y="10563"/>
                </a:cubicBezTo>
                <a:cubicBezTo>
                  <a:pt x="10656" y="10563"/>
                  <a:pt x="10688" y="10594"/>
                  <a:pt x="10719" y="10594"/>
                </a:cubicBezTo>
                <a:cubicBezTo>
                  <a:pt x="10750" y="10563"/>
                  <a:pt x="10750" y="10500"/>
                  <a:pt x="10813" y="10563"/>
                </a:cubicBezTo>
                <a:cubicBezTo>
                  <a:pt x="10844" y="10625"/>
                  <a:pt x="10813" y="10625"/>
                  <a:pt x="10781" y="10657"/>
                </a:cubicBezTo>
                <a:cubicBezTo>
                  <a:pt x="10750" y="10719"/>
                  <a:pt x="10750" y="10750"/>
                  <a:pt x="10813" y="10750"/>
                </a:cubicBezTo>
                <a:cubicBezTo>
                  <a:pt x="10875" y="10750"/>
                  <a:pt x="10906" y="10782"/>
                  <a:pt x="10938" y="10782"/>
                </a:cubicBezTo>
                <a:cubicBezTo>
                  <a:pt x="11156" y="10688"/>
                  <a:pt x="11344" y="10782"/>
                  <a:pt x="11531" y="10907"/>
                </a:cubicBezTo>
                <a:cubicBezTo>
                  <a:pt x="11625" y="10969"/>
                  <a:pt x="11688" y="11032"/>
                  <a:pt x="11813" y="11032"/>
                </a:cubicBezTo>
                <a:cubicBezTo>
                  <a:pt x="11906" y="11063"/>
                  <a:pt x="11906" y="11188"/>
                  <a:pt x="12000" y="11188"/>
                </a:cubicBezTo>
                <a:cubicBezTo>
                  <a:pt x="12031" y="11188"/>
                  <a:pt x="12000" y="11250"/>
                  <a:pt x="11969" y="11250"/>
                </a:cubicBezTo>
                <a:cubicBezTo>
                  <a:pt x="11813" y="11250"/>
                  <a:pt x="11656" y="11313"/>
                  <a:pt x="11500" y="11188"/>
                </a:cubicBezTo>
                <a:close/>
                <a:moveTo>
                  <a:pt x="13500" y="12063"/>
                </a:moveTo>
                <a:cubicBezTo>
                  <a:pt x="13375" y="12000"/>
                  <a:pt x="13281" y="11938"/>
                  <a:pt x="13156" y="11844"/>
                </a:cubicBezTo>
                <a:cubicBezTo>
                  <a:pt x="13063" y="11813"/>
                  <a:pt x="13031" y="11907"/>
                  <a:pt x="12969" y="11969"/>
                </a:cubicBezTo>
                <a:cubicBezTo>
                  <a:pt x="12969" y="11813"/>
                  <a:pt x="12844" y="11782"/>
                  <a:pt x="12781" y="11688"/>
                </a:cubicBezTo>
                <a:cubicBezTo>
                  <a:pt x="12781" y="11657"/>
                  <a:pt x="12781" y="11625"/>
                  <a:pt x="12750" y="11657"/>
                </a:cubicBezTo>
                <a:cubicBezTo>
                  <a:pt x="12563" y="11813"/>
                  <a:pt x="12438" y="11625"/>
                  <a:pt x="12313" y="11563"/>
                </a:cubicBezTo>
                <a:cubicBezTo>
                  <a:pt x="12188" y="11500"/>
                  <a:pt x="12094" y="11438"/>
                  <a:pt x="11969" y="11407"/>
                </a:cubicBezTo>
                <a:cubicBezTo>
                  <a:pt x="12250" y="11438"/>
                  <a:pt x="12531" y="11407"/>
                  <a:pt x="12813" y="11532"/>
                </a:cubicBezTo>
                <a:cubicBezTo>
                  <a:pt x="12875" y="11563"/>
                  <a:pt x="12906" y="11625"/>
                  <a:pt x="12938" y="11688"/>
                </a:cubicBezTo>
                <a:cubicBezTo>
                  <a:pt x="13031" y="11782"/>
                  <a:pt x="13125" y="11688"/>
                  <a:pt x="13188" y="11750"/>
                </a:cubicBezTo>
                <a:cubicBezTo>
                  <a:pt x="13344" y="11844"/>
                  <a:pt x="13500" y="11969"/>
                  <a:pt x="13688" y="12000"/>
                </a:cubicBezTo>
                <a:cubicBezTo>
                  <a:pt x="13781" y="12000"/>
                  <a:pt x="13781" y="12125"/>
                  <a:pt x="13844" y="12188"/>
                </a:cubicBezTo>
                <a:cubicBezTo>
                  <a:pt x="13719" y="12125"/>
                  <a:pt x="13625" y="12094"/>
                  <a:pt x="13500" y="12063"/>
                </a:cubicBezTo>
                <a:close/>
                <a:moveTo>
                  <a:pt x="14063" y="12188"/>
                </a:moveTo>
                <a:cubicBezTo>
                  <a:pt x="14031" y="12188"/>
                  <a:pt x="14031" y="12219"/>
                  <a:pt x="14031" y="12219"/>
                </a:cubicBezTo>
                <a:cubicBezTo>
                  <a:pt x="13969" y="12219"/>
                  <a:pt x="13938" y="12188"/>
                  <a:pt x="13938" y="12157"/>
                </a:cubicBezTo>
                <a:cubicBezTo>
                  <a:pt x="13938" y="12094"/>
                  <a:pt x="13969" y="12094"/>
                  <a:pt x="14000" y="12094"/>
                </a:cubicBezTo>
                <a:cubicBezTo>
                  <a:pt x="14094" y="12094"/>
                  <a:pt x="14188" y="12188"/>
                  <a:pt x="14281" y="12219"/>
                </a:cubicBezTo>
                <a:cubicBezTo>
                  <a:pt x="14281" y="12219"/>
                  <a:pt x="14281" y="12282"/>
                  <a:pt x="14250" y="12282"/>
                </a:cubicBezTo>
                <a:cubicBezTo>
                  <a:pt x="14250" y="12313"/>
                  <a:pt x="14219" y="12282"/>
                  <a:pt x="14188" y="12282"/>
                </a:cubicBezTo>
                <a:cubicBezTo>
                  <a:pt x="14125" y="12282"/>
                  <a:pt x="14125" y="12219"/>
                  <a:pt x="14063" y="12188"/>
                </a:cubicBezTo>
                <a:close/>
                <a:moveTo>
                  <a:pt x="15406" y="12719"/>
                </a:moveTo>
                <a:cubicBezTo>
                  <a:pt x="15344" y="12657"/>
                  <a:pt x="15281" y="12688"/>
                  <a:pt x="15219" y="12688"/>
                </a:cubicBezTo>
                <a:cubicBezTo>
                  <a:pt x="15250" y="12750"/>
                  <a:pt x="15281" y="12782"/>
                  <a:pt x="15344" y="12782"/>
                </a:cubicBezTo>
                <a:cubicBezTo>
                  <a:pt x="15375" y="12782"/>
                  <a:pt x="15406" y="12782"/>
                  <a:pt x="15406" y="12813"/>
                </a:cubicBezTo>
                <a:cubicBezTo>
                  <a:pt x="15406" y="12875"/>
                  <a:pt x="15375" y="12875"/>
                  <a:pt x="15344" y="12875"/>
                </a:cubicBezTo>
                <a:cubicBezTo>
                  <a:pt x="15281" y="12844"/>
                  <a:pt x="15188" y="12844"/>
                  <a:pt x="15156" y="12813"/>
                </a:cubicBezTo>
                <a:cubicBezTo>
                  <a:pt x="15031" y="12750"/>
                  <a:pt x="14906" y="12844"/>
                  <a:pt x="14844" y="12719"/>
                </a:cubicBezTo>
                <a:cubicBezTo>
                  <a:pt x="14750" y="12625"/>
                  <a:pt x="14625" y="12688"/>
                  <a:pt x="14500" y="12657"/>
                </a:cubicBezTo>
                <a:cubicBezTo>
                  <a:pt x="14500" y="12625"/>
                  <a:pt x="14469" y="12657"/>
                  <a:pt x="14438" y="12657"/>
                </a:cubicBezTo>
                <a:cubicBezTo>
                  <a:pt x="14438" y="12563"/>
                  <a:pt x="14438" y="12469"/>
                  <a:pt x="14313" y="12532"/>
                </a:cubicBezTo>
                <a:cubicBezTo>
                  <a:pt x="14281" y="12532"/>
                  <a:pt x="14250" y="12500"/>
                  <a:pt x="14219" y="12469"/>
                </a:cubicBezTo>
                <a:cubicBezTo>
                  <a:pt x="14313" y="12438"/>
                  <a:pt x="14375" y="12344"/>
                  <a:pt x="14469" y="12469"/>
                </a:cubicBezTo>
                <a:cubicBezTo>
                  <a:pt x="14500" y="12532"/>
                  <a:pt x="14531" y="12469"/>
                  <a:pt x="14563" y="12407"/>
                </a:cubicBezTo>
                <a:cubicBezTo>
                  <a:pt x="14563" y="12375"/>
                  <a:pt x="14563" y="12344"/>
                  <a:pt x="14531" y="12344"/>
                </a:cubicBezTo>
                <a:cubicBezTo>
                  <a:pt x="14469" y="12344"/>
                  <a:pt x="14438" y="12313"/>
                  <a:pt x="14344" y="12282"/>
                </a:cubicBezTo>
                <a:cubicBezTo>
                  <a:pt x="14500" y="12250"/>
                  <a:pt x="14594" y="12313"/>
                  <a:pt x="14625" y="12438"/>
                </a:cubicBezTo>
                <a:cubicBezTo>
                  <a:pt x="14625" y="12500"/>
                  <a:pt x="14688" y="12500"/>
                  <a:pt x="14719" y="12469"/>
                </a:cubicBezTo>
                <a:cubicBezTo>
                  <a:pt x="14875" y="12407"/>
                  <a:pt x="14875" y="12407"/>
                  <a:pt x="15000" y="12563"/>
                </a:cubicBezTo>
                <a:cubicBezTo>
                  <a:pt x="15031" y="12563"/>
                  <a:pt x="15031" y="12563"/>
                  <a:pt x="15031" y="12563"/>
                </a:cubicBezTo>
                <a:cubicBezTo>
                  <a:pt x="15313" y="12469"/>
                  <a:pt x="15531" y="12657"/>
                  <a:pt x="15813" y="12782"/>
                </a:cubicBezTo>
                <a:cubicBezTo>
                  <a:pt x="15656" y="12782"/>
                  <a:pt x="15500" y="12844"/>
                  <a:pt x="15406" y="12719"/>
                </a:cubicBezTo>
                <a:close/>
                <a:moveTo>
                  <a:pt x="16000" y="12969"/>
                </a:moveTo>
                <a:cubicBezTo>
                  <a:pt x="15938" y="12969"/>
                  <a:pt x="15938" y="12875"/>
                  <a:pt x="15938" y="12844"/>
                </a:cubicBezTo>
                <a:cubicBezTo>
                  <a:pt x="15906" y="12813"/>
                  <a:pt x="15938" y="12813"/>
                  <a:pt x="15969" y="12813"/>
                </a:cubicBezTo>
                <a:cubicBezTo>
                  <a:pt x="16031" y="12813"/>
                  <a:pt x="16094" y="12844"/>
                  <a:pt x="16094" y="12907"/>
                </a:cubicBezTo>
                <a:cubicBezTo>
                  <a:pt x="16094" y="12938"/>
                  <a:pt x="16031" y="12938"/>
                  <a:pt x="16000" y="12969"/>
                </a:cubicBezTo>
                <a:close/>
                <a:moveTo>
                  <a:pt x="18875" y="13532"/>
                </a:moveTo>
                <a:cubicBezTo>
                  <a:pt x="19000" y="13469"/>
                  <a:pt x="19125" y="13500"/>
                  <a:pt x="19250" y="13532"/>
                </a:cubicBezTo>
                <a:cubicBezTo>
                  <a:pt x="19125" y="13594"/>
                  <a:pt x="19000" y="13563"/>
                  <a:pt x="18875" y="13532"/>
                </a:cubicBezTo>
                <a:close/>
                <a:moveTo>
                  <a:pt x="22281" y="14125"/>
                </a:moveTo>
                <a:cubicBezTo>
                  <a:pt x="22219" y="14188"/>
                  <a:pt x="22156" y="14125"/>
                  <a:pt x="22094" y="14157"/>
                </a:cubicBezTo>
                <a:cubicBezTo>
                  <a:pt x="22125" y="14032"/>
                  <a:pt x="22188" y="14063"/>
                  <a:pt x="22250" y="14063"/>
                </a:cubicBezTo>
                <a:cubicBezTo>
                  <a:pt x="22281" y="14063"/>
                  <a:pt x="22281" y="14094"/>
                  <a:pt x="22281" y="14125"/>
                </a:cubicBezTo>
                <a:close/>
                <a:moveTo>
                  <a:pt x="22688" y="13813"/>
                </a:moveTo>
                <a:cubicBezTo>
                  <a:pt x="22688" y="13844"/>
                  <a:pt x="22656" y="13844"/>
                  <a:pt x="22625" y="13844"/>
                </a:cubicBezTo>
                <a:cubicBezTo>
                  <a:pt x="22563" y="13782"/>
                  <a:pt x="22500" y="13813"/>
                  <a:pt x="22438" y="13782"/>
                </a:cubicBezTo>
                <a:cubicBezTo>
                  <a:pt x="22469" y="13719"/>
                  <a:pt x="22625" y="13688"/>
                  <a:pt x="22656" y="13750"/>
                </a:cubicBezTo>
                <a:cubicBezTo>
                  <a:pt x="22688" y="13750"/>
                  <a:pt x="22688" y="13782"/>
                  <a:pt x="22688" y="13813"/>
                </a:cubicBezTo>
                <a:close/>
                <a:moveTo>
                  <a:pt x="30375" y="12500"/>
                </a:moveTo>
                <a:cubicBezTo>
                  <a:pt x="30375" y="12500"/>
                  <a:pt x="30375" y="12563"/>
                  <a:pt x="30344" y="12532"/>
                </a:cubicBezTo>
                <a:cubicBezTo>
                  <a:pt x="30313" y="12532"/>
                  <a:pt x="30313" y="12532"/>
                  <a:pt x="30281" y="12500"/>
                </a:cubicBezTo>
                <a:cubicBezTo>
                  <a:pt x="30281" y="12469"/>
                  <a:pt x="30281" y="12438"/>
                  <a:pt x="30313" y="12407"/>
                </a:cubicBezTo>
                <a:cubicBezTo>
                  <a:pt x="30375" y="12375"/>
                  <a:pt x="30438" y="12375"/>
                  <a:pt x="30469" y="12438"/>
                </a:cubicBezTo>
                <a:cubicBezTo>
                  <a:pt x="30438" y="12438"/>
                  <a:pt x="30406" y="12469"/>
                  <a:pt x="30375" y="12500"/>
                </a:cubicBezTo>
                <a:close/>
                <a:moveTo>
                  <a:pt x="30656" y="12407"/>
                </a:moveTo>
                <a:cubicBezTo>
                  <a:pt x="30594" y="12407"/>
                  <a:pt x="30563" y="12532"/>
                  <a:pt x="30469" y="12438"/>
                </a:cubicBezTo>
                <a:cubicBezTo>
                  <a:pt x="30500" y="12438"/>
                  <a:pt x="30500" y="12438"/>
                  <a:pt x="30500" y="12407"/>
                </a:cubicBezTo>
                <a:cubicBezTo>
                  <a:pt x="30531" y="12344"/>
                  <a:pt x="30594" y="12344"/>
                  <a:pt x="30656" y="12344"/>
                </a:cubicBezTo>
                <a:cubicBezTo>
                  <a:pt x="30688" y="12375"/>
                  <a:pt x="30656" y="12407"/>
                  <a:pt x="30656" y="12407"/>
                </a:cubicBezTo>
                <a:close/>
                <a:moveTo>
                  <a:pt x="34844" y="6407"/>
                </a:moveTo>
                <a:cubicBezTo>
                  <a:pt x="34875" y="6407"/>
                  <a:pt x="34875" y="6438"/>
                  <a:pt x="34875" y="6469"/>
                </a:cubicBezTo>
                <a:cubicBezTo>
                  <a:pt x="34875" y="6469"/>
                  <a:pt x="34844" y="6500"/>
                  <a:pt x="34844" y="6500"/>
                </a:cubicBezTo>
                <a:cubicBezTo>
                  <a:pt x="34750" y="6407"/>
                  <a:pt x="34656" y="6532"/>
                  <a:pt x="34563" y="6500"/>
                </a:cubicBezTo>
                <a:cubicBezTo>
                  <a:pt x="34656" y="6375"/>
                  <a:pt x="34750" y="6407"/>
                  <a:pt x="34844" y="6407"/>
                </a:cubicBezTo>
                <a:close/>
                <a:moveTo>
                  <a:pt x="28875" y="17219"/>
                </a:moveTo>
                <a:lnTo>
                  <a:pt x="28844" y="17188"/>
                </a:lnTo>
                <a:moveTo>
                  <a:pt x="28875" y="17188"/>
                </a:moveTo>
                <a:cubicBezTo>
                  <a:pt x="28875" y="17188"/>
                  <a:pt x="28875" y="17188"/>
                  <a:pt x="28875" y="17188"/>
                </a:cubicBezTo>
                <a:lnTo>
                  <a:pt x="28875" y="17188"/>
                </a:lnTo>
                <a:cubicBezTo>
                  <a:pt x="28875" y="17188"/>
                  <a:pt x="28875" y="17188"/>
                  <a:pt x="28875" y="17188"/>
                </a:cubicBezTo>
                <a:close/>
                <a:moveTo>
                  <a:pt x="8688" y="18469"/>
                </a:moveTo>
                <a:cubicBezTo>
                  <a:pt x="8719" y="18469"/>
                  <a:pt x="8719" y="18438"/>
                  <a:pt x="8750" y="18407"/>
                </a:cubicBezTo>
                <a:cubicBezTo>
                  <a:pt x="8750" y="18407"/>
                  <a:pt x="8719" y="18407"/>
                  <a:pt x="8719" y="18407"/>
                </a:cubicBezTo>
                <a:cubicBezTo>
                  <a:pt x="8625" y="18407"/>
                  <a:pt x="8531" y="18375"/>
                  <a:pt x="8469" y="18469"/>
                </a:cubicBezTo>
                <a:cubicBezTo>
                  <a:pt x="8563" y="18469"/>
                  <a:pt x="8625" y="18469"/>
                  <a:pt x="8688" y="18469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931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1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1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0-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1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0-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693013"/>
            <a:ext cx="5507895" cy="1727992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90">
            <a:extLst>
              <a:ext uri="{FF2B5EF4-FFF2-40B4-BE49-F238E27FC236}">
                <a16:creationId xmlns:a16="http://schemas.microsoft.com/office/drawing/2014/main" id="{47C6D2FC-7AB7-F94D-9912-FE402D56178A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264111" y="2385005"/>
            <a:ext cx="11087788" cy="4095368"/>
          </a:xfrm>
          <a:custGeom>
            <a:avLst/>
            <a:gdLst>
              <a:gd name="T0" fmla="*/ 156 w 21344"/>
              <a:gd name="T1" fmla="*/ 5813 h 13875"/>
              <a:gd name="T2" fmla="*/ 1469 w 21344"/>
              <a:gd name="T3" fmla="*/ 6500 h 13875"/>
              <a:gd name="T4" fmla="*/ 812 w 21344"/>
              <a:gd name="T5" fmla="*/ 5844 h 13875"/>
              <a:gd name="T6" fmla="*/ 1219 w 21344"/>
              <a:gd name="T7" fmla="*/ 4688 h 13875"/>
              <a:gd name="T8" fmla="*/ 2125 w 21344"/>
              <a:gd name="T9" fmla="*/ 3938 h 13875"/>
              <a:gd name="T10" fmla="*/ 3187 w 21344"/>
              <a:gd name="T11" fmla="*/ 4250 h 13875"/>
              <a:gd name="T12" fmla="*/ 3656 w 21344"/>
              <a:gd name="T13" fmla="*/ 4719 h 13875"/>
              <a:gd name="T14" fmla="*/ 3219 w 21344"/>
              <a:gd name="T15" fmla="*/ 4125 h 13875"/>
              <a:gd name="T16" fmla="*/ 4375 w 21344"/>
              <a:gd name="T17" fmla="*/ 2657 h 13875"/>
              <a:gd name="T18" fmla="*/ 5250 w 21344"/>
              <a:gd name="T19" fmla="*/ 2094 h 13875"/>
              <a:gd name="T20" fmla="*/ 7250 w 21344"/>
              <a:gd name="T21" fmla="*/ 1719 h 13875"/>
              <a:gd name="T22" fmla="*/ 8375 w 21344"/>
              <a:gd name="T23" fmla="*/ 2813 h 13875"/>
              <a:gd name="T24" fmla="*/ 9094 w 21344"/>
              <a:gd name="T25" fmla="*/ 2313 h 13875"/>
              <a:gd name="T26" fmla="*/ 9344 w 21344"/>
              <a:gd name="T27" fmla="*/ 1469 h 13875"/>
              <a:gd name="T28" fmla="*/ 10156 w 21344"/>
              <a:gd name="T29" fmla="*/ 1032 h 13875"/>
              <a:gd name="T30" fmla="*/ 11719 w 21344"/>
              <a:gd name="T31" fmla="*/ 875 h 13875"/>
              <a:gd name="T32" fmla="*/ 11031 w 21344"/>
              <a:gd name="T33" fmla="*/ 282 h 13875"/>
              <a:gd name="T34" fmla="*/ 13031 w 21344"/>
              <a:gd name="T35" fmla="*/ 813 h 13875"/>
              <a:gd name="T36" fmla="*/ 15375 w 21344"/>
              <a:gd name="T37" fmla="*/ 500 h 13875"/>
              <a:gd name="T38" fmla="*/ 17281 w 21344"/>
              <a:gd name="T39" fmla="*/ 750 h 13875"/>
              <a:gd name="T40" fmla="*/ 18875 w 21344"/>
              <a:gd name="T41" fmla="*/ 94 h 13875"/>
              <a:gd name="T42" fmla="*/ 18625 w 21344"/>
              <a:gd name="T43" fmla="*/ 813 h 13875"/>
              <a:gd name="T44" fmla="*/ 19344 w 21344"/>
              <a:gd name="T45" fmla="*/ 813 h 13875"/>
              <a:gd name="T46" fmla="*/ 19781 w 21344"/>
              <a:gd name="T47" fmla="*/ 938 h 13875"/>
              <a:gd name="T48" fmla="*/ 20312 w 21344"/>
              <a:gd name="T49" fmla="*/ 1157 h 13875"/>
              <a:gd name="T50" fmla="*/ 19937 w 21344"/>
              <a:gd name="T51" fmla="*/ 2094 h 13875"/>
              <a:gd name="T52" fmla="*/ 19219 w 21344"/>
              <a:gd name="T53" fmla="*/ 3094 h 13875"/>
              <a:gd name="T54" fmla="*/ 19875 w 21344"/>
              <a:gd name="T55" fmla="*/ 3094 h 13875"/>
              <a:gd name="T56" fmla="*/ 20094 w 21344"/>
              <a:gd name="T57" fmla="*/ 3344 h 13875"/>
              <a:gd name="T58" fmla="*/ 20437 w 21344"/>
              <a:gd name="T59" fmla="*/ 3750 h 13875"/>
              <a:gd name="T60" fmla="*/ 21000 w 21344"/>
              <a:gd name="T61" fmla="*/ 4188 h 13875"/>
              <a:gd name="T62" fmla="*/ 20031 w 21344"/>
              <a:gd name="T63" fmla="*/ 4875 h 13875"/>
              <a:gd name="T64" fmla="*/ 17844 w 21344"/>
              <a:gd name="T65" fmla="*/ 6688 h 13875"/>
              <a:gd name="T66" fmla="*/ 18562 w 21344"/>
              <a:gd name="T67" fmla="*/ 6844 h 13875"/>
              <a:gd name="T68" fmla="*/ 16594 w 21344"/>
              <a:gd name="T69" fmla="*/ 8282 h 13875"/>
              <a:gd name="T70" fmla="*/ 17687 w 21344"/>
              <a:gd name="T71" fmla="*/ 8125 h 13875"/>
              <a:gd name="T72" fmla="*/ 16500 w 21344"/>
              <a:gd name="T73" fmla="*/ 8969 h 13875"/>
              <a:gd name="T74" fmla="*/ 18250 w 21344"/>
              <a:gd name="T75" fmla="*/ 8750 h 13875"/>
              <a:gd name="T76" fmla="*/ 19875 w 21344"/>
              <a:gd name="T77" fmla="*/ 8032 h 13875"/>
              <a:gd name="T78" fmla="*/ 19250 w 21344"/>
              <a:gd name="T79" fmla="*/ 8500 h 13875"/>
              <a:gd name="T80" fmla="*/ 20312 w 21344"/>
              <a:gd name="T81" fmla="*/ 8438 h 13875"/>
              <a:gd name="T82" fmla="*/ 21031 w 21344"/>
              <a:gd name="T83" fmla="*/ 8532 h 13875"/>
              <a:gd name="T84" fmla="*/ 20875 w 21344"/>
              <a:gd name="T85" fmla="*/ 9500 h 13875"/>
              <a:gd name="T86" fmla="*/ 20469 w 21344"/>
              <a:gd name="T87" fmla="*/ 10625 h 13875"/>
              <a:gd name="T88" fmla="*/ 16031 w 21344"/>
              <a:gd name="T89" fmla="*/ 12594 h 13875"/>
              <a:gd name="T90" fmla="*/ 14562 w 21344"/>
              <a:gd name="T91" fmla="*/ 13063 h 13875"/>
              <a:gd name="T92" fmla="*/ 11531 w 21344"/>
              <a:gd name="T93" fmla="*/ 13063 h 13875"/>
              <a:gd name="T94" fmla="*/ 8281 w 21344"/>
              <a:gd name="T95" fmla="*/ 12438 h 13875"/>
              <a:gd name="T96" fmla="*/ 11094 w 21344"/>
              <a:gd name="T97" fmla="*/ 13500 h 13875"/>
              <a:gd name="T98" fmla="*/ 12094 w 21344"/>
              <a:gd name="T99" fmla="*/ 13688 h 13875"/>
              <a:gd name="T100" fmla="*/ 6437 w 21344"/>
              <a:gd name="T101" fmla="*/ 12188 h 13875"/>
              <a:gd name="T102" fmla="*/ 3344 w 21344"/>
              <a:gd name="T103" fmla="*/ 9625 h 13875"/>
              <a:gd name="T104" fmla="*/ 1719 w 21344"/>
              <a:gd name="T105" fmla="*/ 7813 h 13875"/>
              <a:gd name="T106" fmla="*/ 8312 w 21344"/>
              <a:gd name="T107" fmla="*/ 1907 h 13875"/>
              <a:gd name="T108" fmla="*/ 17656 w 21344"/>
              <a:gd name="T109" fmla="*/ 13219 h 13875"/>
              <a:gd name="T110" fmla="*/ 18562 w 21344"/>
              <a:gd name="T111" fmla="*/ 12938 h 13875"/>
              <a:gd name="T112" fmla="*/ 15156 w 21344"/>
              <a:gd name="T113" fmla="*/ 13094 h 13875"/>
              <a:gd name="T114" fmla="*/ 10219 w 21344"/>
              <a:gd name="T115" fmla="*/ 532 h 13875"/>
              <a:gd name="T116" fmla="*/ 7937 w 21344"/>
              <a:gd name="T117" fmla="*/ 2125 h 13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344" h="13875">
                <a:moveTo>
                  <a:pt x="1281" y="6563"/>
                </a:moveTo>
                <a:cubicBezTo>
                  <a:pt x="1219" y="6657"/>
                  <a:pt x="1312" y="6688"/>
                  <a:pt x="1312" y="6782"/>
                </a:cubicBezTo>
                <a:cubicBezTo>
                  <a:pt x="1344" y="6688"/>
                  <a:pt x="1375" y="6625"/>
                  <a:pt x="1312" y="6532"/>
                </a:cubicBezTo>
                <a:cubicBezTo>
                  <a:pt x="1312" y="6532"/>
                  <a:pt x="1281" y="6563"/>
                  <a:pt x="1281" y="6563"/>
                </a:cubicBezTo>
                <a:close/>
                <a:moveTo>
                  <a:pt x="62" y="5594"/>
                </a:moveTo>
                <a:cubicBezTo>
                  <a:pt x="31" y="5594"/>
                  <a:pt x="0" y="5688"/>
                  <a:pt x="0" y="5750"/>
                </a:cubicBezTo>
                <a:cubicBezTo>
                  <a:pt x="31" y="5813"/>
                  <a:pt x="0" y="5907"/>
                  <a:pt x="94" y="5907"/>
                </a:cubicBezTo>
                <a:cubicBezTo>
                  <a:pt x="187" y="5938"/>
                  <a:pt x="125" y="5875"/>
                  <a:pt x="156" y="5813"/>
                </a:cubicBezTo>
                <a:cubicBezTo>
                  <a:pt x="94" y="5750"/>
                  <a:pt x="187" y="5625"/>
                  <a:pt x="62" y="5594"/>
                </a:cubicBezTo>
                <a:close/>
                <a:moveTo>
                  <a:pt x="1719" y="7813"/>
                </a:moveTo>
                <a:cubicBezTo>
                  <a:pt x="1719" y="7813"/>
                  <a:pt x="1719" y="7813"/>
                  <a:pt x="1750" y="7813"/>
                </a:cubicBezTo>
                <a:cubicBezTo>
                  <a:pt x="1844" y="7875"/>
                  <a:pt x="1875" y="7813"/>
                  <a:pt x="1844" y="7719"/>
                </a:cubicBezTo>
                <a:cubicBezTo>
                  <a:pt x="1812" y="7657"/>
                  <a:pt x="1781" y="7594"/>
                  <a:pt x="1781" y="7532"/>
                </a:cubicBezTo>
                <a:cubicBezTo>
                  <a:pt x="1844" y="7532"/>
                  <a:pt x="1812" y="7625"/>
                  <a:pt x="1875" y="7594"/>
                </a:cubicBezTo>
                <a:cubicBezTo>
                  <a:pt x="1937" y="7563"/>
                  <a:pt x="1875" y="7500"/>
                  <a:pt x="1906" y="7469"/>
                </a:cubicBezTo>
                <a:cubicBezTo>
                  <a:pt x="1812" y="7125"/>
                  <a:pt x="1594" y="6844"/>
                  <a:pt x="1469" y="6500"/>
                </a:cubicBezTo>
                <a:cubicBezTo>
                  <a:pt x="1437" y="6344"/>
                  <a:pt x="1469" y="6188"/>
                  <a:pt x="1437" y="6032"/>
                </a:cubicBezTo>
                <a:cubicBezTo>
                  <a:pt x="1406" y="6000"/>
                  <a:pt x="1437" y="5969"/>
                  <a:pt x="1500" y="6000"/>
                </a:cubicBezTo>
                <a:cubicBezTo>
                  <a:pt x="1531" y="6032"/>
                  <a:pt x="1562" y="6032"/>
                  <a:pt x="1625" y="6000"/>
                </a:cubicBezTo>
                <a:cubicBezTo>
                  <a:pt x="1594" y="5907"/>
                  <a:pt x="1500" y="5813"/>
                  <a:pt x="1469" y="5719"/>
                </a:cubicBezTo>
                <a:cubicBezTo>
                  <a:pt x="1469" y="5657"/>
                  <a:pt x="1344" y="5594"/>
                  <a:pt x="1281" y="5657"/>
                </a:cubicBezTo>
                <a:cubicBezTo>
                  <a:pt x="1125" y="5750"/>
                  <a:pt x="1062" y="5688"/>
                  <a:pt x="1000" y="5563"/>
                </a:cubicBezTo>
                <a:cubicBezTo>
                  <a:pt x="937" y="5532"/>
                  <a:pt x="1031" y="5375"/>
                  <a:pt x="906" y="5375"/>
                </a:cubicBezTo>
                <a:cubicBezTo>
                  <a:pt x="812" y="5532"/>
                  <a:pt x="781" y="5688"/>
                  <a:pt x="812" y="5844"/>
                </a:cubicBezTo>
                <a:cubicBezTo>
                  <a:pt x="812" y="5969"/>
                  <a:pt x="781" y="6000"/>
                  <a:pt x="656" y="5969"/>
                </a:cubicBezTo>
                <a:cubicBezTo>
                  <a:pt x="594" y="5938"/>
                  <a:pt x="469" y="5938"/>
                  <a:pt x="406" y="5969"/>
                </a:cubicBezTo>
                <a:cubicBezTo>
                  <a:pt x="281" y="6063"/>
                  <a:pt x="250" y="6000"/>
                  <a:pt x="219" y="5907"/>
                </a:cubicBezTo>
                <a:cubicBezTo>
                  <a:pt x="187" y="5657"/>
                  <a:pt x="219" y="5469"/>
                  <a:pt x="281" y="5250"/>
                </a:cubicBezTo>
                <a:cubicBezTo>
                  <a:pt x="344" y="5125"/>
                  <a:pt x="469" y="5125"/>
                  <a:pt x="562" y="5032"/>
                </a:cubicBezTo>
                <a:cubicBezTo>
                  <a:pt x="625" y="4969"/>
                  <a:pt x="750" y="4938"/>
                  <a:pt x="812" y="4844"/>
                </a:cubicBezTo>
                <a:cubicBezTo>
                  <a:pt x="844" y="4813"/>
                  <a:pt x="875" y="4782"/>
                  <a:pt x="906" y="4813"/>
                </a:cubicBezTo>
                <a:cubicBezTo>
                  <a:pt x="1094" y="4969"/>
                  <a:pt x="1156" y="4813"/>
                  <a:pt x="1219" y="4688"/>
                </a:cubicBezTo>
                <a:cubicBezTo>
                  <a:pt x="1281" y="4719"/>
                  <a:pt x="1344" y="4875"/>
                  <a:pt x="1469" y="4719"/>
                </a:cubicBezTo>
                <a:cubicBezTo>
                  <a:pt x="1500" y="4657"/>
                  <a:pt x="1531" y="4750"/>
                  <a:pt x="1562" y="4813"/>
                </a:cubicBezTo>
                <a:cubicBezTo>
                  <a:pt x="1562" y="4844"/>
                  <a:pt x="1531" y="4907"/>
                  <a:pt x="1531" y="4938"/>
                </a:cubicBezTo>
                <a:cubicBezTo>
                  <a:pt x="1531" y="5000"/>
                  <a:pt x="1531" y="5032"/>
                  <a:pt x="1625" y="5032"/>
                </a:cubicBezTo>
                <a:cubicBezTo>
                  <a:pt x="1687" y="5032"/>
                  <a:pt x="1687" y="5000"/>
                  <a:pt x="1687" y="4969"/>
                </a:cubicBezTo>
                <a:cubicBezTo>
                  <a:pt x="1656" y="4782"/>
                  <a:pt x="1750" y="4594"/>
                  <a:pt x="1719" y="4438"/>
                </a:cubicBezTo>
                <a:cubicBezTo>
                  <a:pt x="1719" y="4344"/>
                  <a:pt x="1781" y="4313"/>
                  <a:pt x="1812" y="4250"/>
                </a:cubicBezTo>
                <a:cubicBezTo>
                  <a:pt x="1875" y="4125"/>
                  <a:pt x="2031" y="4063"/>
                  <a:pt x="2125" y="3938"/>
                </a:cubicBezTo>
                <a:cubicBezTo>
                  <a:pt x="2156" y="3907"/>
                  <a:pt x="2219" y="3907"/>
                  <a:pt x="2281" y="3938"/>
                </a:cubicBezTo>
                <a:cubicBezTo>
                  <a:pt x="2406" y="4000"/>
                  <a:pt x="2531" y="4000"/>
                  <a:pt x="2531" y="3813"/>
                </a:cubicBezTo>
                <a:cubicBezTo>
                  <a:pt x="2562" y="3719"/>
                  <a:pt x="2625" y="3688"/>
                  <a:pt x="2687" y="3657"/>
                </a:cubicBezTo>
                <a:cubicBezTo>
                  <a:pt x="2719" y="3782"/>
                  <a:pt x="2969" y="3688"/>
                  <a:pt x="2875" y="3875"/>
                </a:cubicBezTo>
                <a:cubicBezTo>
                  <a:pt x="2844" y="3938"/>
                  <a:pt x="2812" y="4094"/>
                  <a:pt x="3000" y="4094"/>
                </a:cubicBezTo>
                <a:cubicBezTo>
                  <a:pt x="3062" y="4094"/>
                  <a:pt x="2969" y="4219"/>
                  <a:pt x="3062" y="4250"/>
                </a:cubicBezTo>
                <a:cubicBezTo>
                  <a:pt x="3094" y="4282"/>
                  <a:pt x="3062" y="4344"/>
                  <a:pt x="3125" y="4344"/>
                </a:cubicBezTo>
                <a:cubicBezTo>
                  <a:pt x="3219" y="4344"/>
                  <a:pt x="3187" y="4282"/>
                  <a:pt x="3187" y="4250"/>
                </a:cubicBezTo>
                <a:cubicBezTo>
                  <a:pt x="3187" y="4125"/>
                  <a:pt x="3250" y="4157"/>
                  <a:pt x="3312" y="4188"/>
                </a:cubicBezTo>
                <a:cubicBezTo>
                  <a:pt x="3344" y="4250"/>
                  <a:pt x="3406" y="4313"/>
                  <a:pt x="3406" y="4375"/>
                </a:cubicBezTo>
                <a:cubicBezTo>
                  <a:pt x="3437" y="4594"/>
                  <a:pt x="3500" y="4813"/>
                  <a:pt x="3594" y="5000"/>
                </a:cubicBezTo>
                <a:cubicBezTo>
                  <a:pt x="3656" y="5094"/>
                  <a:pt x="3750" y="4969"/>
                  <a:pt x="3812" y="4938"/>
                </a:cubicBezTo>
                <a:cubicBezTo>
                  <a:pt x="3812" y="4782"/>
                  <a:pt x="3812" y="4657"/>
                  <a:pt x="3781" y="4500"/>
                </a:cubicBezTo>
                <a:cubicBezTo>
                  <a:pt x="3687" y="4375"/>
                  <a:pt x="3750" y="4219"/>
                  <a:pt x="3687" y="4063"/>
                </a:cubicBezTo>
                <a:cubicBezTo>
                  <a:pt x="3656" y="4000"/>
                  <a:pt x="3687" y="3938"/>
                  <a:pt x="3594" y="3907"/>
                </a:cubicBezTo>
                <a:cubicBezTo>
                  <a:pt x="3594" y="4188"/>
                  <a:pt x="3625" y="4438"/>
                  <a:pt x="3656" y="4719"/>
                </a:cubicBezTo>
                <a:cubicBezTo>
                  <a:pt x="3562" y="4532"/>
                  <a:pt x="3406" y="4344"/>
                  <a:pt x="3469" y="4125"/>
                </a:cubicBezTo>
                <a:cubicBezTo>
                  <a:pt x="3469" y="4094"/>
                  <a:pt x="3469" y="4094"/>
                  <a:pt x="3469" y="4094"/>
                </a:cubicBezTo>
                <a:cubicBezTo>
                  <a:pt x="3250" y="4032"/>
                  <a:pt x="3250" y="4032"/>
                  <a:pt x="3375" y="3844"/>
                </a:cubicBezTo>
                <a:cubicBezTo>
                  <a:pt x="3375" y="3813"/>
                  <a:pt x="3375" y="3750"/>
                  <a:pt x="3437" y="3782"/>
                </a:cubicBezTo>
                <a:cubicBezTo>
                  <a:pt x="3469" y="3782"/>
                  <a:pt x="3437" y="3844"/>
                  <a:pt x="3406" y="3875"/>
                </a:cubicBezTo>
                <a:cubicBezTo>
                  <a:pt x="3406" y="3938"/>
                  <a:pt x="3406" y="4000"/>
                  <a:pt x="3500" y="4032"/>
                </a:cubicBezTo>
                <a:cubicBezTo>
                  <a:pt x="3469" y="3907"/>
                  <a:pt x="3625" y="3782"/>
                  <a:pt x="3500" y="3657"/>
                </a:cubicBezTo>
                <a:cubicBezTo>
                  <a:pt x="3219" y="3719"/>
                  <a:pt x="3281" y="3938"/>
                  <a:pt x="3219" y="4125"/>
                </a:cubicBezTo>
                <a:cubicBezTo>
                  <a:pt x="3156" y="4094"/>
                  <a:pt x="3187" y="4063"/>
                  <a:pt x="3187" y="4000"/>
                </a:cubicBezTo>
                <a:cubicBezTo>
                  <a:pt x="3187" y="3969"/>
                  <a:pt x="3187" y="3907"/>
                  <a:pt x="3187" y="3875"/>
                </a:cubicBezTo>
                <a:cubicBezTo>
                  <a:pt x="3156" y="3813"/>
                  <a:pt x="3187" y="3657"/>
                  <a:pt x="3000" y="3719"/>
                </a:cubicBezTo>
                <a:cubicBezTo>
                  <a:pt x="2969" y="3719"/>
                  <a:pt x="2937" y="3563"/>
                  <a:pt x="2969" y="3500"/>
                </a:cubicBezTo>
                <a:cubicBezTo>
                  <a:pt x="3000" y="3407"/>
                  <a:pt x="3094" y="3344"/>
                  <a:pt x="3187" y="3282"/>
                </a:cubicBezTo>
                <a:cubicBezTo>
                  <a:pt x="3406" y="3063"/>
                  <a:pt x="3625" y="2813"/>
                  <a:pt x="4000" y="2782"/>
                </a:cubicBezTo>
                <a:cubicBezTo>
                  <a:pt x="4094" y="2750"/>
                  <a:pt x="4187" y="2719"/>
                  <a:pt x="4312" y="2750"/>
                </a:cubicBezTo>
                <a:cubicBezTo>
                  <a:pt x="4344" y="2750"/>
                  <a:pt x="4437" y="2750"/>
                  <a:pt x="4375" y="2657"/>
                </a:cubicBezTo>
                <a:cubicBezTo>
                  <a:pt x="4375" y="2625"/>
                  <a:pt x="4375" y="2625"/>
                  <a:pt x="4375" y="2625"/>
                </a:cubicBezTo>
                <a:cubicBezTo>
                  <a:pt x="4531" y="2625"/>
                  <a:pt x="4594" y="2500"/>
                  <a:pt x="4719" y="2469"/>
                </a:cubicBezTo>
                <a:cubicBezTo>
                  <a:pt x="4750" y="2438"/>
                  <a:pt x="4781" y="2407"/>
                  <a:pt x="4781" y="2375"/>
                </a:cubicBezTo>
                <a:cubicBezTo>
                  <a:pt x="4812" y="2313"/>
                  <a:pt x="4844" y="2250"/>
                  <a:pt x="4906" y="2219"/>
                </a:cubicBezTo>
                <a:cubicBezTo>
                  <a:pt x="4937" y="2188"/>
                  <a:pt x="5000" y="2000"/>
                  <a:pt x="5031" y="2219"/>
                </a:cubicBezTo>
                <a:cubicBezTo>
                  <a:pt x="5031" y="2219"/>
                  <a:pt x="5062" y="2250"/>
                  <a:pt x="5094" y="2250"/>
                </a:cubicBezTo>
                <a:cubicBezTo>
                  <a:pt x="5125" y="2250"/>
                  <a:pt x="5156" y="2219"/>
                  <a:pt x="5125" y="2188"/>
                </a:cubicBezTo>
                <a:cubicBezTo>
                  <a:pt x="5125" y="2063"/>
                  <a:pt x="5156" y="2063"/>
                  <a:pt x="5250" y="2094"/>
                </a:cubicBezTo>
                <a:cubicBezTo>
                  <a:pt x="5344" y="2125"/>
                  <a:pt x="5437" y="2094"/>
                  <a:pt x="5469" y="2000"/>
                </a:cubicBezTo>
                <a:cubicBezTo>
                  <a:pt x="5500" y="1844"/>
                  <a:pt x="5687" y="1688"/>
                  <a:pt x="5844" y="1688"/>
                </a:cubicBezTo>
                <a:cubicBezTo>
                  <a:pt x="5875" y="1688"/>
                  <a:pt x="5906" y="1719"/>
                  <a:pt x="5906" y="1719"/>
                </a:cubicBezTo>
                <a:cubicBezTo>
                  <a:pt x="6000" y="1469"/>
                  <a:pt x="6281" y="1625"/>
                  <a:pt x="6406" y="1500"/>
                </a:cubicBezTo>
                <a:cubicBezTo>
                  <a:pt x="6406" y="1500"/>
                  <a:pt x="6437" y="1532"/>
                  <a:pt x="6437" y="1532"/>
                </a:cubicBezTo>
                <a:cubicBezTo>
                  <a:pt x="6500" y="1563"/>
                  <a:pt x="6562" y="1563"/>
                  <a:pt x="6625" y="1563"/>
                </a:cubicBezTo>
                <a:cubicBezTo>
                  <a:pt x="6812" y="1594"/>
                  <a:pt x="7031" y="1594"/>
                  <a:pt x="7219" y="1625"/>
                </a:cubicBezTo>
                <a:cubicBezTo>
                  <a:pt x="7281" y="1625"/>
                  <a:pt x="7250" y="1657"/>
                  <a:pt x="7250" y="1719"/>
                </a:cubicBezTo>
                <a:cubicBezTo>
                  <a:pt x="7250" y="1813"/>
                  <a:pt x="7250" y="1938"/>
                  <a:pt x="7281" y="2032"/>
                </a:cubicBezTo>
                <a:cubicBezTo>
                  <a:pt x="7312" y="2125"/>
                  <a:pt x="7437" y="2094"/>
                  <a:pt x="7500" y="2063"/>
                </a:cubicBezTo>
                <a:cubicBezTo>
                  <a:pt x="7594" y="2000"/>
                  <a:pt x="7625" y="2032"/>
                  <a:pt x="7687" y="2094"/>
                </a:cubicBezTo>
                <a:cubicBezTo>
                  <a:pt x="7781" y="2188"/>
                  <a:pt x="7906" y="2188"/>
                  <a:pt x="8000" y="2282"/>
                </a:cubicBezTo>
                <a:cubicBezTo>
                  <a:pt x="8250" y="2438"/>
                  <a:pt x="8281" y="2500"/>
                  <a:pt x="8219" y="2750"/>
                </a:cubicBezTo>
                <a:cubicBezTo>
                  <a:pt x="8187" y="2782"/>
                  <a:pt x="8219" y="2813"/>
                  <a:pt x="8219" y="2844"/>
                </a:cubicBezTo>
                <a:cubicBezTo>
                  <a:pt x="8250" y="2875"/>
                  <a:pt x="8312" y="2875"/>
                  <a:pt x="8344" y="2875"/>
                </a:cubicBezTo>
                <a:cubicBezTo>
                  <a:pt x="8375" y="2844"/>
                  <a:pt x="8406" y="2844"/>
                  <a:pt x="8375" y="2813"/>
                </a:cubicBezTo>
                <a:cubicBezTo>
                  <a:pt x="8344" y="2719"/>
                  <a:pt x="8375" y="2594"/>
                  <a:pt x="8312" y="2500"/>
                </a:cubicBezTo>
                <a:cubicBezTo>
                  <a:pt x="8250" y="2375"/>
                  <a:pt x="8281" y="2094"/>
                  <a:pt x="8375" y="2000"/>
                </a:cubicBezTo>
                <a:cubicBezTo>
                  <a:pt x="8406" y="2032"/>
                  <a:pt x="8344" y="2157"/>
                  <a:pt x="8469" y="2188"/>
                </a:cubicBezTo>
                <a:cubicBezTo>
                  <a:pt x="8531" y="2063"/>
                  <a:pt x="8344" y="2000"/>
                  <a:pt x="8437" y="1907"/>
                </a:cubicBezTo>
                <a:cubicBezTo>
                  <a:pt x="8500" y="1844"/>
                  <a:pt x="8625" y="1813"/>
                  <a:pt x="8687" y="1750"/>
                </a:cubicBezTo>
                <a:cubicBezTo>
                  <a:pt x="8687" y="1782"/>
                  <a:pt x="8719" y="1844"/>
                  <a:pt x="8719" y="1907"/>
                </a:cubicBezTo>
                <a:cubicBezTo>
                  <a:pt x="8812" y="1750"/>
                  <a:pt x="8906" y="1782"/>
                  <a:pt x="8937" y="1907"/>
                </a:cubicBezTo>
                <a:cubicBezTo>
                  <a:pt x="8969" y="2063"/>
                  <a:pt x="9094" y="2157"/>
                  <a:pt x="9094" y="2313"/>
                </a:cubicBezTo>
                <a:cubicBezTo>
                  <a:pt x="9094" y="2344"/>
                  <a:pt x="9125" y="2375"/>
                  <a:pt x="9156" y="2344"/>
                </a:cubicBezTo>
                <a:cubicBezTo>
                  <a:pt x="9187" y="2344"/>
                  <a:pt x="9219" y="2313"/>
                  <a:pt x="9156" y="2282"/>
                </a:cubicBezTo>
                <a:cubicBezTo>
                  <a:pt x="9125" y="2219"/>
                  <a:pt x="9094" y="2157"/>
                  <a:pt x="9219" y="2125"/>
                </a:cubicBezTo>
                <a:cubicBezTo>
                  <a:pt x="9250" y="2125"/>
                  <a:pt x="9250" y="2094"/>
                  <a:pt x="9250" y="2094"/>
                </a:cubicBezTo>
                <a:cubicBezTo>
                  <a:pt x="9156" y="2000"/>
                  <a:pt x="9250" y="1875"/>
                  <a:pt x="9125" y="1782"/>
                </a:cubicBezTo>
                <a:cubicBezTo>
                  <a:pt x="9062" y="1750"/>
                  <a:pt x="9062" y="1657"/>
                  <a:pt x="9094" y="1563"/>
                </a:cubicBezTo>
                <a:cubicBezTo>
                  <a:pt x="9125" y="1500"/>
                  <a:pt x="9187" y="1563"/>
                  <a:pt x="9219" y="1563"/>
                </a:cubicBezTo>
                <a:cubicBezTo>
                  <a:pt x="9312" y="1594"/>
                  <a:pt x="9219" y="1438"/>
                  <a:pt x="9344" y="1469"/>
                </a:cubicBezTo>
                <a:cubicBezTo>
                  <a:pt x="9375" y="1469"/>
                  <a:pt x="9531" y="1469"/>
                  <a:pt x="9375" y="1344"/>
                </a:cubicBezTo>
                <a:cubicBezTo>
                  <a:pt x="9344" y="1313"/>
                  <a:pt x="9406" y="1282"/>
                  <a:pt x="9437" y="1282"/>
                </a:cubicBezTo>
                <a:cubicBezTo>
                  <a:pt x="9500" y="1250"/>
                  <a:pt x="9594" y="1282"/>
                  <a:pt x="9594" y="1344"/>
                </a:cubicBezTo>
                <a:cubicBezTo>
                  <a:pt x="9656" y="1532"/>
                  <a:pt x="9750" y="1438"/>
                  <a:pt x="9844" y="1375"/>
                </a:cubicBezTo>
                <a:cubicBezTo>
                  <a:pt x="9906" y="1313"/>
                  <a:pt x="9937" y="1282"/>
                  <a:pt x="9875" y="1188"/>
                </a:cubicBezTo>
                <a:cubicBezTo>
                  <a:pt x="9844" y="1188"/>
                  <a:pt x="9844" y="1157"/>
                  <a:pt x="9875" y="1094"/>
                </a:cubicBezTo>
                <a:cubicBezTo>
                  <a:pt x="9875" y="1063"/>
                  <a:pt x="9937" y="1063"/>
                  <a:pt x="9969" y="1094"/>
                </a:cubicBezTo>
                <a:cubicBezTo>
                  <a:pt x="10062" y="1188"/>
                  <a:pt x="10125" y="1125"/>
                  <a:pt x="10156" y="1032"/>
                </a:cubicBezTo>
                <a:cubicBezTo>
                  <a:pt x="10187" y="1000"/>
                  <a:pt x="10219" y="907"/>
                  <a:pt x="10312" y="1000"/>
                </a:cubicBezTo>
                <a:cubicBezTo>
                  <a:pt x="10312" y="1032"/>
                  <a:pt x="10344" y="1032"/>
                  <a:pt x="10375" y="1032"/>
                </a:cubicBezTo>
                <a:cubicBezTo>
                  <a:pt x="10406" y="1000"/>
                  <a:pt x="10406" y="969"/>
                  <a:pt x="10375" y="938"/>
                </a:cubicBezTo>
                <a:cubicBezTo>
                  <a:pt x="10281" y="844"/>
                  <a:pt x="10375" y="875"/>
                  <a:pt x="10437" y="844"/>
                </a:cubicBezTo>
                <a:cubicBezTo>
                  <a:pt x="10562" y="844"/>
                  <a:pt x="10687" y="750"/>
                  <a:pt x="10812" y="875"/>
                </a:cubicBezTo>
                <a:cubicBezTo>
                  <a:pt x="10812" y="907"/>
                  <a:pt x="10844" y="907"/>
                  <a:pt x="10844" y="907"/>
                </a:cubicBezTo>
                <a:cubicBezTo>
                  <a:pt x="11125" y="750"/>
                  <a:pt x="11406" y="1000"/>
                  <a:pt x="11687" y="907"/>
                </a:cubicBezTo>
                <a:cubicBezTo>
                  <a:pt x="11719" y="907"/>
                  <a:pt x="11719" y="907"/>
                  <a:pt x="11719" y="875"/>
                </a:cubicBezTo>
                <a:cubicBezTo>
                  <a:pt x="11687" y="844"/>
                  <a:pt x="11719" y="844"/>
                  <a:pt x="11750" y="813"/>
                </a:cubicBezTo>
                <a:cubicBezTo>
                  <a:pt x="11687" y="750"/>
                  <a:pt x="11625" y="750"/>
                  <a:pt x="11531" y="719"/>
                </a:cubicBezTo>
                <a:cubicBezTo>
                  <a:pt x="11344" y="719"/>
                  <a:pt x="11156" y="782"/>
                  <a:pt x="10969" y="688"/>
                </a:cubicBezTo>
                <a:cubicBezTo>
                  <a:pt x="10906" y="657"/>
                  <a:pt x="10844" y="750"/>
                  <a:pt x="10781" y="688"/>
                </a:cubicBezTo>
                <a:cubicBezTo>
                  <a:pt x="10937" y="532"/>
                  <a:pt x="10719" y="563"/>
                  <a:pt x="10656" y="469"/>
                </a:cubicBezTo>
                <a:cubicBezTo>
                  <a:pt x="10812" y="469"/>
                  <a:pt x="10937" y="438"/>
                  <a:pt x="10906" y="250"/>
                </a:cubicBezTo>
                <a:cubicBezTo>
                  <a:pt x="10906" y="250"/>
                  <a:pt x="10937" y="219"/>
                  <a:pt x="10969" y="219"/>
                </a:cubicBezTo>
                <a:cubicBezTo>
                  <a:pt x="11000" y="219"/>
                  <a:pt x="11000" y="250"/>
                  <a:pt x="11031" y="282"/>
                </a:cubicBezTo>
                <a:cubicBezTo>
                  <a:pt x="11031" y="344"/>
                  <a:pt x="10969" y="438"/>
                  <a:pt x="11062" y="469"/>
                </a:cubicBezTo>
                <a:cubicBezTo>
                  <a:pt x="11187" y="500"/>
                  <a:pt x="11312" y="532"/>
                  <a:pt x="11406" y="469"/>
                </a:cubicBezTo>
                <a:cubicBezTo>
                  <a:pt x="11531" y="375"/>
                  <a:pt x="11687" y="313"/>
                  <a:pt x="11875" y="407"/>
                </a:cubicBezTo>
                <a:cubicBezTo>
                  <a:pt x="12000" y="469"/>
                  <a:pt x="12187" y="500"/>
                  <a:pt x="12344" y="500"/>
                </a:cubicBezTo>
                <a:cubicBezTo>
                  <a:pt x="12406" y="469"/>
                  <a:pt x="12500" y="500"/>
                  <a:pt x="12531" y="563"/>
                </a:cubicBezTo>
                <a:cubicBezTo>
                  <a:pt x="12594" y="594"/>
                  <a:pt x="12625" y="594"/>
                  <a:pt x="12656" y="625"/>
                </a:cubicBezTo>
                <a:cubicBezTo>
                  <a:pt x="12844" y="625"/>
                  <a:pt x="12937" y="688"/>
                  <a:pt x="13031" y="813"/>
                </a:cubicBezTo>
                <a:cubicBezTo>
                  <a:pt x="13031" y="813"/>
                  <a:pt x="13031" y="813"/>
                  <a:pt x="13031" y="813"/>
                </a:cubicBezTo>
                <a:cubicBezTo>
                  <a:pt x="13156" y="813"/>
                  <a:pt x="13219" y="907"/>
                  <a:pt x="13312" y="938"/>
                </a:cubicBezTo>
                <a:cubicBezTo>
                  <a:pt x="13500" y="1032"/>
                  <a:pt x="13656" y="969"/>
                  <a:pt x="13844" y="907"/>
                </a:cubicBezTo>
                <a:cubicBezTo>
                  <a:pt x="13969" y="875"/>
                  <a:pt x="13969" y="938"/>
                  <a:pt x="13969" y="1032"/>
                </a:cubicBezTo>
                <a:cubicBezTo>
                  <a:pt x="14031" y="1032"/>
                  <a:pt x="14094" y="1032"/>
                  <a:pt x="14156" y="1032"/>
                </a:cubicBezTo>
                <a:cubicBezTo>
                  <a:pt x="14281" y="813"/>
                  <a:pt x="14469" y="875"/>
                  <a:pt x="14656" y="938"/>
                </a:cubicBezTo>
                <a:cubicBezTo>
                  <a:pt x="14719" y="938"/>
                  <a:pt x="14750" y="907"/>
                  <a:pt x="14781" y="907"/>
                </a:cubicBezTo>
                <a:cubicBezTo>
                  <a:pt x="14937" y="719"/>
                  <a:pt x="15156" y="657"/>
                  <a:pt x="15312" y="500"/>
                </a:cubicBezTo>
                <a:cubicBezTo>
                  <a:pt x="15344" y="500"/>
                  <a:pt x="15375" y="500"/>
                  <a:pt x="15375" y="500"/>
                </a:cubicBezTo>
                <a:cubicBezTo>
                  <a:pt x="15594" y="625"/>
                  <a:pt x="15750" y="438"/>
                  <a:pt x="15906" y="344"/>
                </a:cubicBezTo>
                <a:cubicBezTo>
                  <a:pt x="16000" y="313"/>
                  <a:pt x="16062" y="282"/>
                  <a:pt x="16125" y="344"/>
                </a:cubicBezTo>
                <a:cubicBezTo>
                  <a:pt x="16187" y="407"/>
                  <a:pt x="16250" y="407"/>
                  <a:pt x="16312" y="375"/>
                </a:cubicBezTo>
                <a:cubicBezTo>
                  <a:pt x="16437" y="344"/>
                  <a:pt x="16562" y="375"/>
                  <a:pt x="16719" y="219"/>
                </a:cubicBezTo>
                <a:cubicBezTo>
                  <a:pt x="16656" y="438"/>
                  <a:pt x="16500" y="594"/>
                  <a:pt x="16687" y="750"/>
                </a:cubicBezTo>
                <a:cubicBezTo>
                  <a:pt x="16750" y="719"/>
                  <a:pt x="16812" y="688"/>
                  <a:pt x="16875" y="657"/>
                </a:cubicBezTo>
                <a:cubicBezTo>
                  <a:pt x="17125" y="469"/>
                  <a:pt x="17344" y="250"/>
                  <a:pt x="17687" y="407"/>
                </a:cubicBezTo>
                <a:cubicBezTo>
                  <a:pt x="17562" y="563"/>
                  <a:pt x="17375" y="594"/>
                  <a:pt x="17281" y="750"/>
                </a:cubicBezTo>
                <a:cubicBezTo>
                  <a:pt x="17375" y="782"/>
                  <a:pt x="17469" y="813"/>
                  <a:pt x="17500" y="750"/>
                </a:cubicBezTo>
                <a:cubicBezTo>
                  <a:pt x="17594" y="594"/>
                  <a:pt x="17781" y="532"/>
                  <a:pt x="17875" y="407"/>
                </a:cubicBezTo>
                <a:cubicBezTo>
                  <a:pt x="17937" y="313"/>
                  <a:pt x="18062" y="407"/>
                  <a:pt x="18156" y="344"/>
                </a:cubicBezTo>
                <a:cubicBezTo>
                  <a:pt x="18187" y="282"/>
                  <a:pt x="18281" y="282"/>
                  <a:pt x="18312" y="250"/>
                </a:cubicBezTo>
                <a:cubicBezTo>
                  <a:pt x="18437" y="157"/>
                  <a:pt x="18500" y="0"/>
                  <a:pt x="18687" y="125"/>
                </a:cubicBezTo>
                <a:cubicBezTo>
                  <a:pt x="18719" y="125"/>
                  <a:pt x="18781" y="94"/>
                  <a:pt x="18844" y="63"/>
                </a:cubicBezTo>
                <a:cubicBezTo>
                  <a:pt x="18844" y="63"/>
                  <a:pt x="18844" y="63"/>
                  <a:pt x="18875" y="32"/>
                </a:cubicBezTo>
                <a:cubicBezTo>
                  <a:pt x="18875" y="63"/>
                  <a:pt x="18875" y="63"/>
                  <a:pt x="18875" y="94"/>
                </a:cubicBezTo>
                <a:cubicBezTo>
                  <a:pt x="18687" y="188"/>
                  <a:pt x="18531" y="313"/>
                  <a:pt x="18375" y="438"/>
                </a:cubicBezTo>
                <a:cubicBezTo>
                  <a:pt x="18344" y="469"/>
                  <a:pt x="18281" y="469"/>
                  <a:pt x="18281" y="532"/>
                </a:cubicBezTo>
                <a:cubicBezTo>
                  <a:pt x="18312" y="563"/>
                  <a:pt x="18375" y="563"/>
                  <a:pt x="18406" y="563"/>
                </a:cubicBezTo>
                <a:cubicBezTo>
                  <a:pt x="18531" y="469"/>
                  <a:pt x="18625" y="375"/>
                  <a:pt x="18781" y="375"/>
                </a:cubicBezTo>
                <a:cubicBezTo>
                  <a:pt x="18781" y="469"/>
                  <a:pt x="18656" y="469"/>
                  <a:pt x="18625" y="532"/>
                </a:cubicBezTo>
                <a:cubicBezTo>
                  <a:pt x="18594" y="688"/>
                  <a:pt x="18687" y="625"/>
                  <a:pt x="18750" y="594"/>
                </a:cubicBezTo>
                <a:cubicBezTo>
                  <a:pt x="18875" y="594"/>
                  <a:pt x="18937" y="438"/>
                  <a:pt x="19125" y="469"/>
                </a:cubicBezTo>
                <a:cubicBezTo>
                  <a:pt x="18969" y="625"/>
                  <a:pt x="18781" y="719"/>
                  <a:pt x="18625" y="813"/>
                </a:cubicBezTo>
                <a:cubicBezTo>
                  <a:pt x="18406" y="938"/>
                  <a:pt x="18187" y="1063"/>
                  <a:pt x="18000" y="1219"/>
                </a:cubicBezTo>
                <a:cubicBezTo>
                  <a:pt x="18000" y="1313"/>
                  <a:pt x="18000" y="1375"/>
                  <a:pt x="18000" y="1469"/>
                </a:cubicBezTo>
                <a:cubicBezTo>
                  <a:pt x="18031" y="1438"/>
                  <a:pt x="18094" y="1438"/>
                  <a:pt x="18125" y="1469"/>
                </a:cubicBezTo>
                <a:cubicBezTo>
                  <a:pt x="18219" y="1188"/>
                  <a:pt x="18219" y="1188"/>
                  <a:pt x="18562" y="1063"/>
                </a:cubicBezTo>
                <a:cubicBezTo>
                  <a:pt x="18750" y="1000"/>
                  <a:pt x="18937" y="907"/>
                  <a:pt x="19125" y="782"/>
                </a:cubicBezTo>
                <a:cubicBezTo>
                  <a:pt x="19375" y="594"/>
                  <a:pt x="19656" y="438"/>
                  <a:pt x="19937" y="282"/>
                </a:cubicBezTo>
                <a:cubicBezTo>
                  <a:pt x="19969" y="344"/>
                  <a:pt x="19969" y="375"/>
                  <a:pt x="19906" y="407"/>
                </a:cubicBezTo>
                <a:cubicBezTo>
                  <a:pt x="19719" y="500"/>
                  <a:pt x="19562" y="688"/>
                  <a:pt x="19344" y="813"/>
                </a:cubicBezTo>
                <a:cubicBezTo>
                  <a:pt x="19250" y="844"/>
                  <a:pt x="19156" y="907"/>
                  <a:pt x="19312" y="1000"/>
                </a:cubicBezTo>
                <a:cubicBezTo>
                  <a:pt x="19344" y="1000"/>
                  <a:pt x="19375" y="1000"/>
                  <a:pt x="19375" y="1000"/>
                </a:cubicBezTo>
                <a:cubicBezTo>
                  <a:pt x="19406" y="938"/>
                  <a:pt x="19437" y="938"/>
                  <a:pt x="19500" y="938"/>
                </a:cubicBezTo>
                <a:cubicBezTo>
                  <a:pt x="19500" y="938"/>
                  <a:pt x="19531" y="938"/>
                  <a:pt x="19531" y="938"/>
                </a:cubicBezTo>
                <a:cubicBezTo>
                  <a:pt x="19562" y="875"/>
                  <a:pt x="19625" y="844"/>
                  <a:pt x="19687" y="844"/>
                </a:cubicBezTo>
                <a:cubicBezTo>
                  <a:pt x="19781" y="750"/>
                  <a:pt x="19844" y="688"/>
                  <a:pt x="19969" y="657"/>
                </a:cubicBezTo>
                <a:cubicBezTo>
                  <a:pt x="20000" y="782"/>
                  <a:pt x="19906" y="813"/>
                  <a:pt x="19844" y="875"/>
                </a:cubicBezTo>
                <a:cubicBezTo>
                  <a:pt x="19844" y="907"/>
                  <a:pt x="19812" y="907"/>
                  <a:pt x="19781" y="938"/>
                </a:cubicBezTo>
                <a:cubicBezTo>
                  <a:pt x="19719" y="969"/>
                  <a:pt x="19625" y="1032"/>
                  <a:pt x="19656" y="1125"/>
                </a:cubicBezTo>
                <a:cubicBezTo>
                  <a:pt x="19719" y="1219"/>
                  <a:pt x="19781" y="1125"/>
                  <a:pt x="19875" y="1125"/>
                </a:cubicBezTo>
                <a:cubicBezTo>
                  <a:pt x="20031" y="1032"/>
                  <a:pt x="20187" y="969"/>
                  <a:pt x="20344" y="875"/>
                </a:cubicBezTo>
                <a:cubicBezTo>
                  <a:pt x="20281" y="938"/>
                  <a:pt x="20219" y="1000"/>
                  <a:pt x="20156" y="1032"/>
                </a:cubicBezTo>
                <a:cubicBezTo>
                  <a:pt x="20094" y="1063"/>
                  <a:pt x="20062" y="1094"/>
                  <a:pt x="20094" y="1125"/>
                </a:cubicBezTo>
                <a:cubicBezTo>
                  <a:pt x="20094" y="1157"/>
                  <a:pt x="20156" y="1157"/>
                  <a:pt x="20187" y="1157"/>
                </a:cubicBezTo>
                <a:cubicBezTo>
                  <a:pt x="20187" y="1157"/>
                  <a:pt x="20219" y="1125"/>
                  <a:pt x="20219" y="1125"/>
                </a:cubicBezTo>
                <a:cubicBezTo>
                  <a:pt x="20281" y="1125"/>
                  <a:pt x="20281" y="1157"/>
                  <a:pt x="20312" y="1157"/>
                </a:cubicBezTo>
                <a:cubicBezTo>
                  <a:pt x="20312" y="1188"/>
                  <a:pt x="20281" y="1219"/>
                  <a:pt x="20250" y="1219"/>
                </a:cubicBezTo>
                <a:cubicBezTo>
                  <a:pt x="20187" y="1250"/>
                  <a:pt x="20062" y="1219"/>
                  <a:pt x="20156" y="1375"/>
                </a:cubicBezTo>
                <a:cubicBezTo>
                  <a:pt x="20187" y="1375"/>
                  <a:pt x="20250" y="1375"/>
                  <a:pt x="20312" y="1375"/>
                </a:cubicBezTo>
                <a:cubicBezTo>
                  <a:pt x="20187" y="1532"/>
                  <a:pt x="20000" y="1563"/>
                  <a:pt x="19875" y="1688"/>
                </a:cubicBezTo>
                <a:cubicBezTo>
                  <a:pt x="19562" y="1875"/>
                  <a:pt x="19312" y="2188"/>
                  <a:pt x="18969" y="2375"/>
                </a:cubicBezTo>
                <a:cubicBezTo>
                  <a:pt x="18906" y="2407"/>
                  <a:pt x="18844" y="2438"/>
                  <a:pt x="18906" y="2532"/>
                </a:cubicBezTo>
                <a:cubicBezTo>
                  <a:pt x="19187" y="2500"/>
                  <a:pt x="19375" y="2313"/>
                  <a:pt x="19625" y="2188"/>
                </a:cubicBezTo>
                <a:cubicBezTo>
                  <a:pt x="19719" y="2125"/>
                  <a:pt x="19844" y="2157"/>
                  <a:pt x="19937" y="2094"/>
                </a:cubicBezTo>
                <a:cubicBezTo>
                  <a:pt x="19969" y="2094"/>
                  <a:pt x="20000" y="2094"/>
                  <a:pt x="20000" y="2125"/>
                </a:cubicBezTo>
                <a:cubicBezTo>
                  <a:pt x="20000" y="2157"/>
                  <a:pt x="19969" y="2188"/>
                  <a:pt x="19969" y="2188"/>
                </a:cubicBezTo>
                <a:cubicBezTo>
                  <a:pt x="19875" y="2250"/>
                  <a:pt x="19844" y="2375"/>
                  <a:pt x="19687" y="2407"/>
                </a:cubicBezTo>
                <a:cubicBezTo>
                  <a:pt x="19687" y="2407"/>
                  <a:pt x="19687" y="2407"/>
                  <a:pt x="19687" y="2407"/>
                </a:cubicBezTo>
                <a:cubicBezTo>
                  <a:pt x="19625" y="2469"/>
                  <a:pt x="19500" y="2500"/>
                  <a:pt x="19531" y="2594"/>
                </a:cubicBezTo>
                <a:cubicBezTo>
                  <a:pt x="19594" y="2688"/>
                  <a:pt x="19656" y="2563"/>
                  <a:pt x="19750" y="2563"/>
                </a:cubicBezTo>
                <a:cubicBezTo>
                  <a:pt x="19625" y="2688"/>
                  <a:pt x="19500" y="2782"/>
                  <a:pt x="19375" y="2875"/>
                </a:cubicBezTo>
                <a:cubicBezTo>
                  <a:pt x="19281" y="2907"/>
                  <a:pt x="19187" y="2969"/>
                  <a:pt x="19219" y="3094"/>
                </a:cubicBezTo>
                <a:cubicBezTo>
                  <a:pt x="19219" y="3125"/>
                  <a:pt x="19187" y="3188"/>
                  <a:pt x="19219" y="3188"/>
                </a:cubicBezTo>
                <a:cubicBezTo>
                  <a:pt x="19281" y="3188"/>
                  <a:pt x="19344" y="3188"/>
                  <a:pt x="19375" y="3157"/>
                </a:cubicBezTo>
                <a:cubicBezTo>
                  <a:pt x="19562" y="3000"/>
                  <a:pt x="19719" y="2844"/>
                  <a:pt x="19969" y="2844"/>
                </a:cubicBezTo>
                <a:cubicBezTo>
                  <a:pt x="19969" y="2813"/>
                  <a:pt x="19969" y="2813"/>
                  <a:pt x="19969" y="2813"/>
                </a:cubicBezTo>
                <a:cubicBezTo>
                  <a:pt x="20062" y="2813"/>
                  <a:pt x="20062" y="2625"/>
                  <a:pt x="20156" y="2719"/>
                </a:cubicBezTo>
                <a:cubicBezTo>
                  <a:pt x="20187" y="2750"/>
                  <a:pt x="20062" y="2844"/>
                  <a:pt x="20000" y="2875"/>
                </a:cubicBezTo>
                <a:cubicBezTo>
                  <a:pt x="20000" y="2907"/>
                  <a:pt x="19969" y="2907"/>
                  <a:pt x="19969" y="2907"/>
                </a:cubicBezTo>
                <a:cubicBezTo>
                  <a:pt x="19937" y="2969"/>
                  <a:pt x="19812" y="3000"/>
                  <a:pt x="19875" y="3094"/>
                </a:cubicBezTo>
                <a:cubicBezTo>
                  <a:pt x="19906" y="3125"/>
                  <a:pt x="19969" y="3094"/>
                  <a:pt x="20031" y="3094"/>
                </a:cubicBezTo>
                <a:cubicBezTo>
                  <a:pt x="20094" y="3094"/>
                  <a:pt x="20125" y="3094"/>
                  <a:pt x="20187" y="3125"/>
                </a:cubicBezTo>
                <a:cubicBezTo>
                  <a:pt x="20250" y="3125"/>
                  <a:pt x="20219" y="3032"/>
                  <a:pt x="20281" y="3063"/>
                </a:cubicBezTo>
                <a:lnTo>
                  <a:pt x="20281" y="3063"/>
                </a:lnTo>
                <a:cubicBezTo>
                  <a:pt x="20219" y="3032"/>
                  <a:pt x="20219" y="3063"/>
                  <a:pt x="20187" y="3125"/>
                </a:cubicBezTo>
                <a:cubicBezTo>
                  <a:pt x="20187" y="3157"/>
                  <a:pt x="20187" y="3157"/>
                  <a:pt x="20187" y="3157"/>
                </a:cubicBezTo>
                <a:cubicBezTo>
                  <a:pt x="20125" y="3219"/>
                  <a:pt x="20094" y="3282"/>
                  <a:pt x="20062" y="3313"/>
                </a:cubicBezTo>
                <a:cubicBezTo>
                  <a:pt x="20062" y="3313"/>
                  <a:pt x="20094" y="3344"/>
                  <a:pt x="20094" y="3344"/>
                </a:cubicBezTo>
                <a:cubicBezTo>
                  <a:pt x="20156" y="3407"/>
                  <a:pt x="20219" y="3407"/>
                  <a:pt x="20281" y="3344"/>
                </a:cubicBezTo>
                <a:cubicBezTo>
                  <a:pt x="20500" y="3313"/>
                  <a:pt x="20594" y="3125"/>
                  <a:pt x="20781" y="3032"/>
                </a:cubicBezTo>
                <a:cubicBezTo>
                  <a:pt x="20844" y="3000"/>
                  <a:pt x="20875" y="2938"/>
                  <a:pt x="20969" y="2969"/>
                </a:cubicBezTo>
                <a:cubicBezTo>
                  <a:pt x="20875" y="3094"/>
                  <a:pt x="20750" y="3157"/>
                  <a:pt x="20656" y="3219"/>
                </a:cubicBezTo>
                <a:cubicBezTo>
                  <a:pt x="20594" y="3250"/>
                  <a:pt x="20500" y="3313"/>
                  <a:pt x="20562" y="3375"/>
                </a:cubicBezTo>
                <a:cubicBezTo>
                  <a:pt x="20594" y="3469"/>
                  <a:pt x="20687" y="3438"/>
                  <a:pt x="20750" y="3407"/>
                </a:cubicBezTo>
                <a:cubicBezTo>
                  <a:pt x="20781" y="3375"/>
                  <a:pt x="20844" y="3375"/>
                  <a:pt x="20875" y="3375"/>
                </a:cubicBezTo>
                <a:cubicBezTo>
                  <a:pt x="20750" y="3500"/>
                  <a:pt x="20531" y="3532"/>
                  <a:pt x="20437" y="3750"/>
                </a:cubicBezTo>
                <a:cubicBezTo>
                  <a:pt x="20625" y="3688"/>
                  <a:pt x="20781" y="3563"/>
                  <a:pt x="21031" y="3594"/>
                </a:cubicBezTo>
                <a:cubicBezTo>
                  <a:pt x="20844" y="3782"/>
                  <a:pt x="20625" y="3875"/>
                  <a:pt x="20437" y="4063"/>
                </a:cubicBezTo>
                <a:cubicBezTo>
                  <a:pt x="20625" y="4063"/>
                  <a:pt x="20719" y="3907"/>
                  <a:pt x="20844" y="3844"/>
                </a:cubicBezTo>
                <a:cubicBezTo>
                  <a:pt x="20844" y="3844"/>
                  <a:pt x="20875" y="3813"/>
                  <a:pt x="20875" y="3844"/>
                </a:cubicBezTo>
                <a:cubicBezTo>
                  <a:pt x="20906" y="3844"/>
                  <a:pt x="20875" y="3875"/>
                  <a:pt x="20875" y="3875"/>
                </a:cubicBezTo>
                <a:cubicBezTo>
                  <a:pt x="20875" y="4000"/>
                  <a:pt x="20812" y="4063"/>
                  <a:pt x="20719" y="4125"/>
                </a:cubicBezTo>
                <a:cubicBezTo>
                  <a:pt x="20656" y="4157"/>
                  <a:pt x="20562" y="4188"/>
                  <a:pt x="20531" y="4282"/>
                </a:cubicBezTo>
                <a:cubicBezTo>
                  <a:pt x="20719" y="4313"/>
                  <a:pt x="20844" y="4157"/>
                  <a:pt x="21000" y="4188"/>
                </a:cubicBezTo>
                <a:cubicBezTo>
                  <a:pt x="21000" y="4188"/>
                  <a:pt x="21031" y="4188"/>
                  <a:pt x="21031" y="4188"/>
                </a:cubicBezTo>
                <a:cubicBezTo>
                  <a:pt x="21031" y="4157"/>
                  <a:pt x="21031" y="4157"/>
                  <a:pt x="21031" y="4157"/>
                </a:cubicBezTo>
                <a:lnTo>
                  <a:pt x="21031" y="4157"/>
                </a:lnTo>
                <a:cubicBezTo>
                  <a:pt x="21031" y="4157"/>
                  <a:pt x="21031" y="4157"/>
                  <a:pt x="21031" y="4157"/>
                </a:cubicBezTo>
                <a:cubicBezTo>
                  <a:pt x="21031" y="4157"/>
                  <a:pt x="21031" y="4188"/>
                  <a:pt x="21031" y="4188"/>
                </a:cubicBezTo>
                <a:cubicBezTo>
                  <a:pt x="21000" y="4188"/>
                  <a:pt x="21000" y="4188"/>
                  <a:pt x="21000" y="4188"/>
                </a:cubicBezTo>
                <a:cubicBezTo>
                  <a:pt x="20875" y="4407"/>
                  <a:pt x="20656" y="4500"/>
                  <a:pt x="20437" y="4625"/>
                </a:cubicBezTo>
                <a:cubicBezTo>
                  <a:pt x="20312" y="4688"/>
                  <a:pt x="20156" y="4782"/>
                  <a:pt x="20031" y="4875"/>
                </a:cubicBezTo>
                <a:cubicBezTo>
                  <a:pt x="19969" y="4907"/>
                  <a:pt x="19937" y="4938"/>
                  <a:pt x="20000" y="5000"/>
                </a:cubicBezTo>
                <a:cubicBezTo>
                  <a:pt x="20281" y="4938"/>
                  <a:pt x="20469" y="4750"/>
                  <a:pt x="20719" y="4657"/>
                </a:cubicBezTo>
                <a:cubicBezTo>
                  <a:pt x="20562" y="4813"/>
                  <a:pt x="20344" y="4938"/>
                  <a:pt x="20156" y="5032"/>
                </a:cubicBezTo>
                <a:cubicBezTo>
                  <a:pt x="20000" y="5125"/>
                  <a:pt x="19875" y="5219"/>
                  <a:pt x="19750" y="5282"/>
                </a:cubicBezTo>
                <a:cubicBezTo>
                  <a:pt x="19625" y="5344"/>
                  <a:pt x="19656" y="5438"/>
                  <a:pt x="19562" y="5500"/>
                </a:cubicBezTo>
                <a:cubicBezTo>
                  <a:pt x="19125" y="5844"/>
                  <a:pt x="18656" y="6063"/>
                  <a:pt x="18187" y="6344"/>
                </a:cubicBezTo>
                <a:cubicBezTo>
                  <a:pt x="18125" y="6407"/>
                  <a:pt x="17969" y="6375"/>
                  <a:pt x="18031" y="6563"/>
                </a:cubicBezTo>
                <a:cubicBezTo>
                  <a:pt x="18031" y="6563"/>
                  <a:pt x="17937" y="6657"/>
                  <a:pt x="17844" y="6688"/>
                </a:cubicBezTo>
                <a:cubicBezTo>
                  <a:pt x="17937" y="6782"/>
                  <a:pt x="18031" y="6688"/>
                  <a:pt x="18094" y="6657"/>
                </a:cubicBezTo>
                <a:cubicBezTo>
                  <a:pt x="18375" y="6563"/>
                  <a:pt x="18656" y="6469"/>
                  <a:pt x="18875" y="6282"/>
                </a:cubicBezTo>
                <a:cubicBezTo>
                  <a:pt x="18875" y="6282"/>
                  <a:pt x="18906" y="6250"/>
                  <a:pt x="18937" y="6282"/>
                </a:cubicBezTo>
                <a:cubicBezTo>
                  <a:pt x="18969" y="6313"/>
                  <a:pt x="18937" y="6375"/>
                  <a:pt x="18906" y="6375"/>
                </a:cubicBezTo>
                <a:cubicBezTo>
                  <a:pt x="18656" y="6407"/>
                  <a:pt x="18625" y="6750"/>
                  <a:pt x="18375" y="6813"/>
                </a:cubicBezTo>
                <a:cubicBezTo>
                  <a:pt x="18375" y="6813"/>
                  <a:pt x="18375" y="6844"/>
                  <a:pt x="18344" y="6875"/>
                </a:cubicBezTo>
                <a:cubicBezTo>
                  <a:pt x="18375" y="6875"/>
                  <a:pt x="18406" y="6907"/>
                  <a:pt x="18437" y="6875"/>
                </a:cubicBezTo>
                <a:cubicBezTo>
                  <a:pt x="18469" y="6875"/>
                  <a:pt x="18500" y="6875"/>
                  <a:pt x="18562" y="6844"/>
                </a:cubicBezTo>
                <a:cubicBezTo>
                  <a:pt x="18719" y="6782"/>
                  <a:pt x="18844" y="6657"/>
                  <a:pt x="19031" y="6657"/>
                </a:cubicBezTo>
                <a:cubicBezTo>
                  <a:pt x="18906" y="6719"/>
                  <a:pt x="18781" y="6813"/>
                  <a:pt x="18656" y="6875"/>
                </a:cubicBezTo>
                <a:cubicBezTo>
                  <a:pt x="18500" y="7157"/>
                  <a:pt x="18187" y="7219"/>
                  <a:pt x="18000" y="7438"/>
                </a:cubicBezTo>
                <a:cubicBezTo>
                  <a:pt x="18094" y="7407"/>
                  <a:pt x="18219" y="7407"/>
                  <a:pt x="18312" y="7344"/>
                </a:cubicBezTo>
                <a:cubicBezTo>
                  <a:pt x="18344" y="7313"/>
                  <a:pt x="18406" y="7282"/>
                  <a:pt x="18437" y="7344"/>
                </a:cubicBezTo>
                <a:cubicBezTo>
                  <a:pt x="18469" y="7375"/>
                  <a:pt x="18406" y="7407"/>
                  <a:pt x="18375" y="7438"/>
                </a:cubicBezTo>
                <a:cubicBezTo>
                  <a:pt x="18156" y="7532"/>
                  <a:pt x="17969" y="7657"/>
                  <a:pt x="17750" y="7750"/>
                </a:cubicBezTo>
                <a:cubicBezTo>
                  <a:pt x="17375" y="7938"/>
                  <a:pt x="17000" y="8125"/>
                  <a:pt x="16594" y="8282"/>
                </a:cubicBezTo>
                <a:cubicBezTo>
                  <a:pt x="16812" y="8313"/>
                  <a:pt x="17000" y="8125"/>
                  <a:pt x="17219" y="8188"/>
                </a:cubicBezTo>
                <a:cubicBezTo>
                  <a:pt x="17250" y="8157"/>
                  <a:pt x="17281" y="8125"/>
                  <a:pt x="17344" y="8125"/>
                </a:cubicBezTo>
                <a:cubicBezTo>
                  <a:pt x="17375" y="8125"/>
                  <a:pt x="17437" y="8125"/>
                  <a:pt x="17469" y="8125"/>
                </a:cubicBezTo>
                <a:cubicBezTo>
                  <a:pt x="17531" y="8125"/>
                  <a:pt x="17562" y="8094"/>
                  <a:pt x="17625" y="8094"/>
                </a:cubicBezTo>
                <a:cubicBezTo>
                  <a:pt x="17656" y="8094"/>
                  <a:pt x="17656" y="8094"/>
                  <a:pt x="17687" y="8063"/>
                </a:cubicBezTo>
                <a:cubicBezTo>
                  <a:pt x="17812" y="8000"/>
                  <a:pt x="17937" y="7938"/>
                  <a:pt x="18031" y="7875"/>
                </a:cubicBezTo>
                <a:cubicBezTo>
                  <a:pt x="18000" y="8000"/>
                  <a:pt x="17875" y="8063"/>
                  <a:pt x="17750" y="8094"/>
                </a:cubicBezTo>
                <a:cubicBezTo>
                  <a:pt x="17750" y="8094"/>
                  <a:pt x="17719" y="8125"/>
                  <a:pt x="17687" y="8125"/>
                </a:cubicBezTo>
                <a:cubicBezTo>
                  <a:pt x="17656" y="8157"/>
                  <a:pt x="17625" y="8188"/>
                  <a:pt x="17594" y="8188"/>
                </a:cubicBezTo>
                <a:cubicBezTo>
                  <a:pt x="17312" y="8375"/>
                  <a:pt x="17000" y="8469"/>
                  <a:pt x="16719" y="8625"/>
                </a:cubicBezTo>
                <a:cubicBezTo>
                  <a:pt x="16687" y="8625"/>
                  <a:pt x="16687" y="8625"/>
                  <a:pt x="16656" y="8625"/>
                </a:cubicBezTo>
                <a:cubicBezTo>
                  <a:pt x="16344" y="8969"/>
                  <a:pt x="15875" y="8844"/>
                  <a:pt x="15469" y="9000"/>
                </a:cubicBezTo>
                <a:cubicBezTo>
                  <a:pt x="15437" y="9000"/>
                  <a:pt x="15437" y="9000"/>
                  <a:pt x="15437" y="9032"/>
                </a:cubicBezTo>
                <a:cubicBezTo>
                  <a:pt x="15594" y="9094"/>
                  <a:pt x="15781" y="9000"/>
                  <a:pt x="15937" y="9000"/>
                </a:cubicBezTo>
                <a:cubicBezTo>
                  <a:pt x="16062" y="8969"/>
                  <a:pt x="16187" y="8875"/>
                  <a:pt x="16344" y="9000"/>
                </a:cubicBezTo>
                <a:cubicBezTo>
                  <a:pt x="16375" y="9032"/>
                  <a:pt x="16437" y="9000"/>
                  <a:pt x="16500" y="8969"/>
                </a:cubicBezTo>
                <a:cubicBezTo>
                  <a:pt x="16656" y="8907"/>
                  <a:pt x="16844" y="8844"/>
                  <a:pt x="17000" y="8844"/>
                </a:cubicBezTo>
                <a:cubicBezTo>
                  <a:pt x="17125" y="8719"/>
                  <a:pt x="17156" y="8875"/>
                  <a:pt x="17219" y="8907"/>
                </a:cubicBezTo>
                <a:cubicBezTo>
                  <a:pt x="17250" y="8907"/>
                  <a:pt x="17281" y="8907"/>
                  <a:pt x="17312" y="8875"/>
                </a:cubicBezTo>
                <a:cubicBezTo>
                  <a:pt x="17344" y="8875"/>
                  <a:pt x="17375" y="8844"/>
                  <a:pt x="17437" y="8844"/>
                </a:cubicBezTo>
                <a:cubicBezTo>
                  <a:pt x="17531" y="8907"/>
                  <a:pt x="17625" y="8750"/>
                  <a:pt x="17719" y="8844"/>
                </a:cubicBezTo>
                <a:cubicBezTo>
                  <a:pt x="17875" y="8938"/>
                  <a:pt x="18000" y="8782"/>
                  <a:pt x="18125" y="8875"/>
                </a:cubicBezTo>
                <a:cubicBezTo>
                  <a:pt x="18156" y="8844"/>
                  <a:pt x="18187" y="8844"/>
                  <a:pt x="18187" y="8844"/>
                </a:cubicBezTo>
                <a:cubicBezTo>
                  <a:pt x="18219" y="8813"/>
                  <a:pt x="18250" y="8782"/>
                  <a:pt x="18250" y="8750"/>
                </a:cubicBezTo>
                <a:cubicBezTo>
                  <a:pt x="18281" y="8657"/>
                  <a:pt x="18375" y="8657"/>
                  <a:pt x="18437" y="8657"/>
                </a:cubicBezTo>
                <a:cubicBezTo>
                  <a:pt x="18500" y="8657"/>
                  <a:pt x="18594" y="8657"/>
                  <a:pt x="18656" y="8625"/>
                </a:cubicBezTo>
                <a:cubicBezTo>
                  <a:pt x="18656" y="8563"/>
                  <a:pt x="18687" y="8563"/>
                  <a:pt x="18750" y="8563"/>
                </a:cubicBezTo>
                <a:cubicBezTo>
                  <a:pt x="18750" y="8563"/>
                  <a:pt x="18750" y="8563"/>
                  <a:pt x="18781" y="8563"/>
                </a:cubicBezTo>
                <a:cubicBezTo>
                  <a:pt x="18781" y="8532"/>
                  <a:pt x="18812" y="8532"/>
                  <a:pt x="18812" y="8500"/>
                </a:cubicBezTo>
                <a:cubicBezTo>
                  <a:pt x="18969" y="8375"/>
                  <a:pt x="19156" y="8407"/>
                  <a:pt x="19344" y="8313"/>
                </a:cubicBezTo>
                <a:cubicBezTo>
                  <a:pt x="19375" y="8282"/>
                  <a:pt x="19469" y="8219"/>
                  <a:pt x="19531" y="8188"/>
                </a:cubicBezTo>
                <a:cubicBezTo>
                  <a:pt x="19625" y="8125"/>
                  <a:pt x="19719" y="8032"/>
                  <a:pt x="19875" y="8032"/>
                </a:cubicBezTo>
                <a:cubicBezTo>
                  <a:pt x="20000" y="7938"/>
                  <a:pt x="20094" y="7813"/>
                  <a:pt x="20281" y="7782"/>
                </a:cubicBezTo>
                <a:cubicBezTo>
                  <a:pt x="20344" y="7782"/>
                  <a:pt x="20437" y="7688"/>
                  <a:pt x="20500" y="7625"/>
                </a:cubicBezTo>
                <a:cubicBezTo>
                  <a:pt x="20562" y="7563"/>
                  <a:pt x="20625" y="7532"/>
                  <a:pt x="20750" y="7500"/>
                </a:cubicBezTo>
                <a:cubicBezTo>
                  <a:pt x="20469" y="7750"/>
                  <a:pt x="20187" y="7938"/>
                  <a:pt x="19875" y="8094"/>
                </a:cubicBezTo>
                <a:cubicBezTo>
                  <a:pt x="19812" y="8125"/>
                  <a:pt x="19781" y="8157"/>
                  <a:pt x="19719" y="8188"/>
                </a:cubicBezTo>
                <a:cubicBezTo>
                  <a:pt x="19687" y="8188"/>
                  <a:pt x="19687" y="8219"/>
                  <a:pt x="19687" y="8219"/>
                </a:cubicBezTo>
                <a:cubicBezTo>
                  <a:pt x="19625" y="8250"/>
                  <a:pt x="19594" y="8313"/>
                  <a:pt x="19531" y="8282"/>
                </a:cubicBezTo>
                <a:cubicBezTo>
                  <a:pt x="19437" y="8344"/>
                  <a:pt x="19344" y="8438"/>
                  <a:pt x="19250" y="8500"/>
                </a:cubicBezTo>
                <a:cubicBezTo>
                  <a:pt x="19156" y="8532"/>
                  <a:pt x="19125" y="8594"/>
                  <a:pt x="19156" y="8688"/>
                </a:cubicBezTo>
                <a:cubicBezTo>
                  <a:pt x="19187" y="8719"/>
                  <a:pt x="19187" y="8719"/>
                  <a:pt x="19187" y="8719"/>
                </a:cubicBezTo>
                <a:cubicBezTo>
                  <a:pt x="19250" y="8688"/>
                  <a:pt x="19312" y="8657"/>
                  <a:pt x="19375" y="8625"/>
                </a:cubicBezTo>
                <a:cubicBezTo>
                  <a:pt x="19406" y="8563"/>
                  <a:pt x="19469" y="8594"/>
                  <a:pt x="19500" y="8594"/>
                </a:cubicBezTo>
                <a:cubicBezTo>
                  <a:pt x="19594" y="8563"/>
                  <a:pt x="19687" y="8532"/>
                  <a:pt x="19781" y="8500"/>
                </a:cubicBezTo>
                <a:cubicBezTo>
                  <a:pt x="19781" y="8375"/>
                  <a:pt x="19937" y="8375"/>
                  <a:pt x="20031" y="8313"/>
                </a:cubicBezTo>
                <a:cubicBezTo>
                  <a:pt x="20125" y="8313"/>
                  <a:pt x="20219" y="8313"/>
                  <a:pt x="20312" y="8344"/>
                </a:cubicBezTo>
                <a:cubicBezTo>
                  <a:pt x="20344" y="8375"/>
                  <a:pt x="20344" y="8407"/>
                  <a:pt x="20312" y="8438"/>
                </a:cubicBezTo>
                <a:cubicBezTo>
                  <a:pt x="20312" y="8438"/>
                  <a:pt x="20312" y="8469"/>
                  <a:pt x="20281" y="8469"/>
                </a:cubicBezTo>
                <a:cubicBezTo>
                  <a:pt x="20375" y="8688"/>
                  <a:pt x="20219" y="8750"/>
                  <a:pt x="20094" y="8782"/>
                </a:cubicBezTo>
                <a:cubicBezTo>
                  <a:pt x="19937" y="8813"/>
                  <a:pt x="19969" y="8969"/>
                  <a:pt x="19812" y="8969"/>
                </a:cubicBezTo>
                <a:cubicBezTo>
                  <a:pt x="19812" y="9000"/>
                  <a:pt x="19812" y="9000"/>
                  <a:pt x="19844" y="9032"/>
                </a:cubicBezTo>
                <a:cubicBezTo>
                  <a:pt x="19844" y="9063"/>
                  <a:pt x="19906" y="9063"/>
                  <a:pt x="19937" y="9063"/>
                </a:cubicBezTo>
                <a:cubicBezTo>
                  <a:pt x="20000" y="9000"/>
                  <a:pt x="20094" y="8938"/>
                  <a:pt x="20187" y="8907"/>
                </a:cubicBezTo>
                <a:cubicBezTo>
                  <a:pt x="20469" y="8844"/>
                  <a:pt x="20750" y="8719"/>
                  <a:pt x="21000" y="8563"/>
                </a:cubicBezTo>
                <a:cubicBezTo>
                  <a:pt x="21000" y="8563"/>
                  <a:pt x="21000" y="8563"/>
                  <a:pt x="21031" y="8532"/>
                </a:cubicBezTo>
                <a:cubicBezTo>
                  <a:pt x="21031" y="8532"/>
                  <a:pt x="21031" y="8532"/>
                  <a:pt x="21031" y="8563"/>
                </a:cubicBezTo>
                <a:cubicBezTo>
                  <a:pt x="20812" y="8750"/>
                  <a:pt x="20656" y="8969"/>
                  <a:pt x="20437" y="9157"/>
                </a:cubicBezTo>
                <a:cubicBezTo>
                  <a:pt x="20750" y="9282"/>
                  <a:pt x="20875" y="8875"/>
                  <a:pt x="21156" y="8969"/>
                </a:cubicBezTo>
                <a:cubicBezTo>
                  <a:pt x="21000" y="9063"/>
                  <a:pt x="20875" y="9188"/>
                  <a:pt x="20719" y="9282"/>
                </a:cubicBezTo>
                <a:cubicBezTo>
                  <a:pt x="20656" y="9313"/>
                  <a:pt x="20562" y="9344"/>
                  <a:pt x="20625" y="9407"/>
                </a:cubicBezTo>
                <a:cubicBezTo>
                  <a:pt x="20656" y="9469"/>
                  <a:pt x="20719" y="9375"/>
                  <a:pt x="20750" y="9375"/>
                </a:cubicBezTo>
                <a:cubicBezTo>
                  <a:pt x="20812" y="9344"/>
                  <a:pt x="20875" y="9250"/>
                  <a:pt x="20937" y="9344"/>
                </a:cubicBezTo>
                <a:cubicBezTo>
                  <a:pt x="21000" y="9407"/>
                  <a:pt x="20937" y="9469"/>
                  <a:pt x="20875" y="9500"/>
                </a:cubicBezTo>
                <a:cubicBezTo>
                  <a:pt x="20781" y="9594"/>
                  <a:pt x="20687" y="9719"/>
                  <a:pt x="20594" y="9844"/>
                </a:cubicBezTo>
                <a:lnTo>
                  <a:pt x="20594" y="9844"/>
                </a:lnTo>
                <a:cubicBezTo>
                  <a:pt x="20906" y="9938"/>
                  <a:pt x="21062" y="9625"/>
                  <a:pt x="21344" y="9594"/>
                </a:cubicBezTo>
                <a:cubicBezTo>
                  <a:pt x="21312" y="9657"/>
                  <a:pt x="21250" y="9688"/>
                  <a:pt x="21219" y="9719"/>
                </a:cubicBezTo>
                <a:cubicBezTo>
                  <a:pt x="20812" y="9969"/>
                  <a:pt x="20469" y="10282"/>
                  <a:pt x="20094" y="10594"/>
                </a:cubicBezTo>
                <a:cubicBezTo>
                  <a:pt x="20031" y="10625"/>
                  <a:pt x="19937" y="10657"/>
                  <a:pt x="19969" y="10719"/>
                </a:cubicBezTo>
                <a:cubicBezTo>
                  <a:pt x="20031" y="10782"/>
                  <a:pt x="20125" y="10782"/>
                  <a:pt x="20187" y="10719"/>
                </a:cubicBezTo>
                <a:cubicBezTo>
                  <a:pt x="20281" y="10657"/>
                  <a:pt x="20344" y="10594"/>
                  <a:pt x="20469" y="10625"/>
                </a:cubicBezTo>
                <a:cubicBezTo>
                  <a:pt x="20531" y="10438"/>
                  <a:pt x="20750" y="10438"/>
                  <a:pt x="20906" y="10313"/>
                </a:cubicBezTo>
                <a:cubicBezTo>
                  <a:pt x="20781" y="10469"/>
                  <a:pt x="20656" y="10625"/>
                  <a:pt x="20469" y="10688"/>
                </a:cubicBezTo>
                <a:cubicBezTo>
                  <a:pt x="20250" y="10813"/>
                  <a:pt x="20031" y="10907"/>
                  <a:pt x="19812" y="11063"/>
                </a:cubicBezTo>
                <a:cubicBezTo>
                  <a:pt x="19469" y="11344"/>
                  <a:pt x="19031" y="11500"/>
                  <a:pt x="18687" y="11782"/>
                </a:cubicBezTo>
                <a:cubicBezTo>
                  <a:pt x="18344" y="12094"/>
                  <a:pt x="17906" y="12094"/>
                  <a:pt x="17531" y="12188"/>
                </a:cubicBezTo>
                <a:cubicBezTo>
                  <a:pt x="17344" y="12250"/>
                  <a:pt x="17156" y="12250"/>
                  <a:pt x="17031" y="12375"/>
                </a:cubicBezTo>
                <a:cubicBezTo>
                  <a:pt x="16969" y="12407"/>
                  <a:pt x="16906" y="12407"/>
                  <a:pt x="16875" y="12407"/>
                </a:cubicBezTo>
                <a:cubicBezTo>
                  <a:pt x="16562" y="12407"/>
                  <a:pt x="16312" y="12563"/>
                  <a:pt x="16031" y="12594"/>
                </a:cubicBezTo>
                <a:cubicBezTo>
                  <a:pt x="16000" y="12594"/>
                  <a:pt x="15969" y="12625"/>
                  <a:pt x="15937" y="12657"/>
                </a:cubicBezTo>
                <a:cubicBezTo>
                  <a:pt x="16156" y="12750"/>
                  <a:pt x="16344" y="12594"/>
                  <a:pt x="16562" y="12657"/>
                </a:cubicBezTo>
                <a:cubicBezTo>
                  <a:pt x="16469" y="12688"/>
                  <a:pt x="16406" y="12719"/>
                  <a:pt x="16312" y="12750"/>
                </a:cubicBezTo>
                <a:cubicBezTo>
                  <a:pt x="16219" y="12750"/>
                  <a:pt x="16094" y="12719"/>
                  <a:pt x="16031" y="12875"/>
                </a:cubicBezTo>
                <a:cubicBezTo>
                  <a:pt x="16000" y="12938"/>
                  <a:pt x="15781" y="12938"/>
                  <a:pt x="15656" y="12938"/>
                </a:cubicBezTo>
                <a:cubicBezTo>
                  <a:pt x="15219" y="12938"/>
                  <a:pt x="14812" y="12938"/>
                  <a:pt x="14375" y="12938"/>
                </a:cubicBezTo>
                <a:cubicBezTo>
                  <a:pt x="14312" y="12938"/>
                  <a:pt x="14281" y="12969"/>
                  <a:pt x="14219" y="12969"/>
                </a:cubicBezTo>
                <a:cubicBezTo>
                  <a:pt x="14312" y="13063"/>
                  <a:pt x="14469" y="12969"/>
                  <a:pt x="14562" y="13063"/>
                </a:cubicBezTo>
                <a:cubicBezTo>
                  <a:pt x="14469" y="13125"/>
                  <a:pt x="14375" y="13125"/>
                  <a:pt x="14281" y="13094"/>
                </a:cubicBezTo>
                <a:cubicBezTo>
                  <a:pt x="13906" y="13063"/>
                  <a:pt x="13531" y="13125"/>
                  <a:pt x="13156" y="13063"/>
                </a:cubicBezTo>
                <a:cubicBezTo>
                  <a:pt x="13125" y="13063"/>
                  <a:pt x="13062" y="13063"/>
                  <a:pt x="13062" y="13094"/>
                </a:cubicBezTo>
                <a:cubicBezTo>
                  <a:pt x="12937" y="13250"/>
                  <a:pt x="12812" y="13157"/>
                  <a:pt x="12687" y="13157"/>
                </a:cubicBezTo>
                <a:cubicBezTo>
                  <a:pt x="12500" y="13125"/>
                  <a:pt x="12312" y="13094"/>
                  <a:pt x="12125" y="13125"/>
                </a:cubicBezTo>
                <a:cubicBezTo>
                  <a:pt x="11906" y="13125"/>
                  <a:pt x="11687" y="13032"/>
                  <a:pt x="11469" y="12969"/>
                </a:cubicBezTo>
                <a:cubicBezTo>
                  <a:pt x="11406" y="12969"/>
                  <a:pt x="11344" y="12938"/>
                  <a:pt x="11250" y="12969"/>
                </a:cubicBezTo>
                <a:cubicBezTo>
                  <a:pt x="11344" y="13063"/>
                  <a:pt x="11437" y="13063"/>
                  <a:pt x="11531" y="13063"/>
                </a:cubicBezTo>
                <a:cubicBezTo>
                  <a:pt x="11594" y="13063"/>
                  <a:pt x="11687" y="13032"/>
                  <a:pt x="11719" y="13094"/>
                </a:cubicBezTo>
                <a:cubicBezTo>
                  <a:pt x="11719" y="13188"/>
                  <a:pt x="11625" y="13157"/>
                  <a:pt x="11562" y="13219"/>
                </a:cubicBezTo>
                <a:cubicBezTo>
                  <a:pt x="11656" y="13250"/>
                  <a:pt x="11781" y="13282"/>
                  <a:pt x="11875" y="13282"/>
                </a:cubicBezTo>
                <a:cubicBezTo>
                  <a:pt x="11687" y="13407"/>
                  <a:pt x="11500" y="13282"/>
                  <a:pt x="11312" y="13250"/>
                </a:cubicBezTo>
                <a:cubicBezTo>
                  <a:pt x="10625" y="13125"/>
                  <a:pt x="9969" y="12844"/>
                  <a:pt x="9250" y="12657"/>
                </a:cubicBezTo>
                <a:cubicBezTo>
                  <a:pt x="8875" y="12563"/>
                  <a:pt x="8500" y="12407"/>
                  <a:pt x="8094" y="12282"/>
                </a:cubicBezTo>
                <a:cubicBezTo>
                  <a:pt x="8062" y="12250"/>
                  <a:pt x="8000" y="12250"/>
                  <a:pt x="7937" y="12282"/>
                </a:cubicBezTo>
                <a:cubicBezTo>
                  <a:pt x="8062" y="12375"/>
                  <a:pt x="8156" y="12407"/>
                  <a:pt x="8281" y="12438"/>
                </a:cubicBezTo>
                <a:cubicBezTo>
                  <a:pt x="8531" y="12532"/>
                  <a:pt x="8719" y="12688"/>
                  <a:pt x="8969" y="12782"/>
                </a:cubicBezTo>
                <a:cubicBezTo>
                  <a:pt x="9062" y="12844"/>
                  <a:pt x="9156" y="12875"/>
                  <a:pt x="9281" y="12875"/>
                </a:cubicBezTo>
                <a:cubicBezTo>
                  <a:pt x="9375" y="12907"/>
                  <a:pt x="9469" y="12938"/>
                  <a:pt x="9469" y="13063"/>
                </a:cubicBezTo>
                <a:cubicBezTo>
                  <a:pt x="9437" y="13125"/>
                  <a:pt x="9500" y="13157"/>
                  <a:pt x="9531" y="13157"/>
                </a:cubicBezTo>
                <a:cubicBezTo>
                  <a:pt x="9906" y="13219"/>
                  <a:pt x="10281" y="13375"/>
                  <a:pt x="10656" y="13407"/>
                </a:cubicBezTo>
                <a:cubicBezTo>
                  <a:pt x="10687" y="13375"/>
                  <a:pt x="10750" y="13375"/>
                  <a:pt x="10750" y="13438"/>
                </a:cubicBezTo>
                <a:cubicBezTo>
                  <a:pt x="10844" y="13438"/>
                  <a:pt x="10906" y="13438"/>
                  <a:pt x="10969" y="13438"/>
                </a:cubicBezTo>
                <a:cubicBezTo>
                  <a:pt x="11031" y="13438"/>
                  <a:pt x="11062" y="13438"/>
                  <a:pt x="11094" y="13500"/>
                </a:cubicBezTo>
                <a:cubicBezTo>
                  <a:pt x="11156" y="13500"/>
                  <a:pt x="11250" y="13500"/>
                  <a:pt x="11312" y="13500"/>
                </a:cubicBezTo>
                <a:cubicBezTo>
                  <a:pt x="11750" y="13500"/>
                  <a:pt x="12187" y="13500"/>
                  <a:pt x="12656" y="13500"/>
                </a:cubicBezTo>
                <a:cubicBezTo>
                  <a:pt x="12812" y="13500"/>
                  <a:pt x="12969" y="13500"/>
                  <a:pt x="13156" y="13500"/>
                </a:cubicBezTo>
                <a:cubicBezTo>
                  <a:pt x="13687" y="13407"/>
                  <a:pt x="14250" y="13375"/>
                  <a:pt x="14812" y="13407"/>
                </a:cubicBezTo>
                <a:cubicBezTo>
                  <a:pt x="14500" y="13407"/>
                  <a:pt x="14187" y="13469"/>
                  <a:pt x="13875" y="13500"/>
                </a:cubicBezTo>
                <a:cubicBezTo>
                  <a:pt x="13625" y="13500"/>
                  <a:pt x="13375" y="13532"/>
                  <a:pt x="13156" y="13532"/>
                </a:cubicBezTo>
                <a:cubicBezTo>
                  <a:pt x="13094" y="13532"/>
                  <a:pt x="13000" y="13532"/>
                  <a:pt x="12937" y="13563"/>
                </a:cubicBezTo>
                <a:cubicBezTo>
                  <a:pt x="12656" y="13594"/>
                  <a:pt x="12375" y="13625"/>
                  <a:pt x="12094" y="13688"/>
                </a:cubicBezTo>
                <a:cubicBezTo>
                  <a:pt x="11875" y="13750"/>
                  <a:pt x="11625" y="13782"/>
                  <a:pt x="11406" y="13844"/>
                </a:cubicBezTo>
                <a:cubicBezTo>
                  <a:pt x="11187" y="13875"/>
                  <a:pt x="10969" y="13844"/>
                  <a:pt x="10750" y="13719"/>
                </a:cubicBezTo>
                <a:cubicBezTo>
                  <a:pt x="10406" y="13688"/>
                  <a:pt x="10094" y="13594"/>
                  <a:pt x="9750" y="13500"/>
                </a:cubicBezTo>
                <a:cubicBezTo>
                  <a:pt x="9531" y="13438"/>
                  <a:pt x="9312" y="13407"/>
                  <a:pt x="9094" y="13282"/>
                </a:cubicBezTo>
                <a:cubicBezTo>
                  <a:pt x="8812" y="13125"/>
                  <a:pt x="8500" y="13094"/>
                  <a:pt x="8219" y="12969"/>
                </a:cubicBezTo>
                <a:cubicBezTo>
                  <a:pt x="7969" y="12813"/>
                  <a:pt x="7656" y="12875"/>
                  <a:pt x="7437" y="12719"/>
                </a:cubicBezTo>
                <a:cubicBezTo>
                  <a:pt x="7219" y="12563"/>
                  <a:pt x="6937" y="12500"/>
                  <a:pt x="6687" y="12344"/>
                </a:cubicBezTo>
                <a:cubicBezTo>
                  <a:pt x="6594" y="12313"/>
                  <a:pt x="6531" y="12250"/>
                  <a:pt x="6437" y="12188"/>
                </a:cubicBezTo>
                <a:cubicBezTo>
                  <a:pt x="6125" y="12125"/>
                  <a:pt x="5875" y="11907"/>
                  <a:pt x="5594" y="11719"/>
                </a:cubicBezTo>
                <a:cubicBezTo>
                  <a:pt x="5406" y="11563"/>
                  <a:pt x="5219" y="11375"/>
                  <a:pt x="5031" y="11250"/>
                </a:cubicBezTo>
                <a:cubicBezTo>
                  <a:pt x="4812" y="11094"/>
                  <a:pt x="4656" y="10907"/>
                  <a:pt x="4469" y="10750"/>
                </a:cubicBezTo>
                <a:cubicBezTo>
                  <a:pt x="4344" y="10657"/>
                  <a:pt x="4281" y="10469"/>
                  <a:pt x="4094" y="10469"/>
                </a:cubicBezTo>
                <a:cubicBezTo>
                  <a:pt x="4062" y="10282"/>
                  <a:pt x="3844" y="10219"/>
                  <a:pt x="3812" y="10032"/>
                </a:cubicBezTo>
                <a:cubicBezTo>
                  <a:pt x="3750" y="10032"/>
                  <a:pt x="3781" y="9907"/>
                  <a:pt x="3687" y="9907"/>
                </a:cubicBezTo>
                <a:cubicBezTo>
                  <a:pt x="3594" y="9938"/>
                  <a:pt x="3500" y="9938"/>
                  <a:pt x="3500" y="9782"/>
                </a:cubicBezTo>
                <a:cubicBezTo>
                  <a:pt x="3500" y="9719"/>
                  <a:pt x="3406" y="9688"/>
                  <a:pt x="3344" y="9625"/>
                </a:cubicBezTo>
                <a:cubicBezTo>
                  <a:pt x="3125" y="9344"/>
                  <a:pt x="2844" y="9094"/>
                  <a:pt x="2562" y="8844"/>
                </a:cubicBezTo>
                <a:cubicBezTo>
                  <a:pt x="2500" y="8813"/>
                  <a:pt x="2469" y="8750"/>
                  <a:pt x="2437" y="8688"/>
                </a:cubicBezTo>
                <a:cubicBezTo>
                  <a:pt x="2406" y="8563"/>
                  <a:pt x="2281" y="8469"/>
                  <a:pt x="2156" y="8407"/>
                </a:cubicBezTo>
                <a:cubicBezTo>
                  <a:pt x="2094" y="8375"/>
                  <a:pt x="2062" y="8375"/>
                  <a:pt x="2094" y="8313"/>
                </a:cubicBezTo>
                <a:cubicBezTo>
                  <a:pt x="2125" y="8219"/>
                  <a:pt x="2094" y="8188"/>
                  <a:pt x="2000" y="8157"/>
                </a:cubicBezTo>
                <a:cubicBezTo>
                  <a:pt x="1906" y="8094"/>
                  <a:pt x="1875" y="8000"/>
                  <a:pt x="1812" y="7938"/>
                </a:cubicBezTo>
                <a:cubicBezTo>
                  <a:pt x="1812" y="7875"/>
                  <a:pt x="1781" y="7844"/>
                  <a:pt x="1750" y="7813"/>
                </a:cubicBezTo>
                <a:cubicBezTo>
                  <a:pt x="1719" y="7813"/>
                  <a:pt x="1719" y="7813"/>
                  <a:pt x="1719" y="7813"/>
                </a:cubicBezTo>
                <a:cubicBezTo>
                  <a:pt x="1719" y="7813"/>
                  <a:pt x="1687" y="7813"/>
                  <a:pt x="1687" y="7813"/>
                </a:cubicBezTo>
                <a:lnTo>
                  <a:pt x="1687" y="7813"/>
                </a:lnTo>
                <a:cubicBezTo>
                  <a:pt x="1719" y="7813"/>
                  <a:pt x="1719" y="7813"/>
                  <a:pt x="1719" y="7813"/>
                </a:cubicBezTo>
                <a:close/>
                <a:moveTo>
                  <a:pt x="8219" y="2188"/>
                </a:moveTo>
                <a:cubicBezTo>
                  <a:pt x="8219" y="2125"/>
                  <a:pt x="8125" y="2094"/>
                  <a:pt x="8094" y="2063"/>
                </a:cubicBezTo>
                <a:cubicBezTo>
                  <a:pt x="8031" y="2125"/>
                  <a:pt x="8031" y="2157"/>
                  <a:pt x="8031" y="2219"/>
                </a:cubicBezTo>
                <a:cubicBezTo>
                  <a:pt x="8094" y="2219"/>
                  <a:pt x="8187" y="2282"/>
                  <a:pt x="8219" y="2188"/>
                </a:cubicBezTo>
                <a:close/>
                <a:moveTo>
                  <a:pt x="8312" y="1907"/>
                </a:moveTo>
                <a:cubicBezTo>
                  <a:pt x="8375" y="1907"/>
                  <a:pt x="8312" y="1813"/>
                  <a:pt x="8344" y="1782"/>
                </a:cubicBezTo>
                <a:cubicBezTo>
                  <a:pt x="8312" y="1719"/>
                  <a:pt x="8375" y="1594"/>
                  <a:pt x="8281" y="1594"/>
                </a:cubicBezTo>
                <a:cubicBezTo>
                  <a:pt x="8187" y="1563"/>
                  <a:pt x="8219" y="1657"/>
                  <a:pt x="8219" y="1688"/>
                </a:cubicBezTo>
                <a:cubicBezTo>
                  <a:pt x="8219" y="1782"/>
                  <a:pt x="8187" y="1875"/>
                  <a:pt x="8312" y="1907"/>
                </a:cubicBezTo>
                <a:close/>
                <a:moveTo>
                  <a:pt x="19000" y="12625"/>
                </a:moveTo>
                <a:cubicBezTo>
                  <a:pt x="18875" y="12688"/>
                  <a:pt x="18719" y="12782"/>
                  <a:pt x="18594" y="12844"/>
                </a:cubicBezTo>
                <a:cubicBezTo>
                  <a:pt x="18469" y="12844"/>
                  <a:pt x="18437" y="12969"/>
                  <a:pt x="18312" y="12969"/>
                </a:cubicBezTo>
                <a:cubicBezTo>
                  <a:pt x="18094" y="13063"/>
                  <a:pt x="17844" y="13063"/>
                  <a:pt x="17656" y="13219"/>
                </a:cubicBezTo>
                <a:cubicBezTo>
                  <a:pt x="17625" y="13219"/>
                  <a:pt x="17562" y="13250"/>
                  <a:pt x="17531" y="13250"/>
                </a:cubicBezTo>
                <a:cubicBezTo>
                  <a:pt x="17500" y="13219"/>
                  <a:pt x="17469" y="13250"/>
                  <a:pt x="17437" y="13282"/>
                </a:cubicBezTo>
                <a:cubicBezTo>
                  <a:pt x="17406" y="13282"/>
                  <a:pt x="17375" y="13250"/>
                  <a:pt x="17375" y="13313"/>
                </a:cubicBezTo>
                <a:cubicBezTo>
                  <a:pt x="17375" y="13344"/>
                  <a:pt x="17406" y="13344"/>
                  <a:pt x="17437" y="13344"/>
                </a:cubicBezTo>
                <a:cubicBezTo>
                  <a:pt x="17531" y="13313"/>
                  <a:pt x="17594" y="13282"/>
                  <a:pt x="17687" y="13282"/>
                </a:cubicBezTo>
                <a:cubicBezTo>
                  <a:pt x="17906" y="13188"/>
                  <a:pt x="18156" y="13125"/>
                  <a:pt x="18375" y="13000"/>
                </a:cubicBezTo>
                <a:cubicBezTo>
                  <a:pt x="18437" y="13000"/>
                  <a:pt x="18469" y="12969"/>
                  <a:pt x="18531" y="12969"/>
                </a:cubicBezTo>
                <a:cubicBezTo>
                  <a:pt x="18531" y="12969"/>
                  <a:pt x="18531" y="12969"/>
                  <a:pt x="18562" y="12938"/>
                </a:cubicBezTo>
                <a:cubicBezTo>
                  <a:pt x="18562" y="12938"/>
                  <a:pt x="18594" y="12938"/>
                  <a:pt x="18594" y="12938"/>
                </a:cubicBezTo>
                <a:cubicBezTo>
                  <a:pt x="18750" y="12875"/>
                  <a:pt x="18875" y="12813"/>
                  <a:pt x="19031" y="12750"/>
                </a:cubicBezTo>
                <a:cubicBezTo>
                  <a:pt x="19094" y="12719"/>
                  <a:pt x="19125" y="12719"/>
                  <a:pt x="19125" y="12657"/>
                </a:cubicBezTo>
                <a:cubicBezTo>
                  <a:pt x="19094" y="12594"/>
                  <a:pt x="19031" y="12625"/>
                  <a:pt x="19000" y="12625"/>
                </a:cubicBezTo>
                <a:close/>
                <a:moveTo>
                  <a:pt x="15156" y="13750"/>
                </a:moveTo>
                <a:cubicBezTo>
                  <a:pt x="15406" y="13782"/>
                  <a:pt x="15594" y="13688"/>
                  <a:pt x="15781" y="13688"/>
                </a:cubicBezTo>
                <a:cubicBezTo>
                  <a:pt x="15594" y="13688"/>
                  <a:pt x="15375" y="13657"/>
                  <a:pt x="15156" y="13750"/>
                </a:cubicBezTo>
                <a:close/>
                <a:moveTo>
                  <a:pt x="15156" y="13094"/>
                </a:moveTo>
                <a:cubicBezTo>
                  <a:pt x="15437" y="13125"/>
                  <a:pt x="15750" y="13094"/>
                  <a:pt x="16031" y="13032"/>
                </a:cubicBezTo>
                <a:cubicBezTo>
                  <a:pt x="15750" y="13000"/>
                  <a:pt x="15437" y="13094"/>
                  <a:pt x="15156" y="13094"/>
                </a:cubicBezTo>
                <a:close/>
                <a:moveTo>
                  <a:pt x="8844" y="1625"/>
                </a:moveTo>
                <a:cubicBezTo>
                  <a:pt x="8875" y="1625"/>
                  <a:pt x="8906" y="1625"/>
                  <a:pt x="8906" y="1594"/>
                </a:cubicBezTo>
                <a:cubicBezTo>
                  <a:pt x="8906" y="1532"/>
                  <a:pt x="8875" y="1500"/>
                  <a:pt x="8812" y="1469"/>
                </a:cubicBezTo>
                <a:cubicBezTo>
                  <a:pt x="8781" y="1469"/>
                  <a:pt x="8750" y="1500"/>
                  <a:pt x="8750" y="1532"/>
                </a:cubicBezTo>
                <a:cubicBezTo>
                  <a:pt x="8750" y="1594"/>
                  <a:pt x="8781" y="1625"/>
                  <a:pt x="8844" y="1625"/>
                </a:cubicBezTo>
                <a:close/>
                <a:moveTo>
                  <a:pt x="10219" y="532"/>
                </a:moveTo>
                <a:cubicBezTo>
                  <a:pt x="10281" y="500"/>
                  <a:pt x="10344" y="532"/>
                  <a:pt x="10375" y="438"/>
                </a:cubicBezTo>
                <a:cubicBezTo>
                  <a:pt x="10344" y="407"/>
                  <a:pt x="10312" y="407"/>
                  <a:pt x="10281" y="407"/>
                </a:cubicBezTo>
                <a:cubicBezTo>
                  <a:pt x="10219" y="407"/>
                  <a:pt x="10156" y="438"/>
                  <a:pt x="10156" y="500"/>
                </a:cubicBezTo>
                <a:cubicBezTo>
                  <a:pt x="10156" y="532"/>
                  <a:pt x="10187" y="532"/>
                  <a:pt x="10219" y="532"/>
                </a:cubicBezTo>
                <a:close/>
                <a:moveTo>
                  <a:pt x="7937" y="2125"/>
                </a:moveTo>
                <a:cubicBezTo>
                  <a:pt x="7969" y="2063"/>
                  <a:pt x="7937" y="2000"/>
                  <a:pt x="7875" y="1969"/>
                </a:cubicBezTo>
                <a:cubicBezTo>
                  <a:pt x="7875" y="1969"/>
                  <a:pt x="7844" y="1969"/>
                  <a:pt x="7844" y="1969"/>
                </a:cubicBezTo>
                <a:cubicBezTo>
                  <a:pt x="7844" y="2063"/>
                  <a:pt x="7875" y="2094"/>
                  <a:pt x="7937" y="2125"/>
                </a:cubicBezTo>
                <a:close/>
                <a:moveTo>
                  <a:pt x="11344" y="407"/>
                </a:moveTo>
                <a:cubicBezTo>
                  <a:pt x="11344" y="407"/>
                  <a:pt x="11344" y="407"/>
                  <a:pt x="11312" y="407"/>
                </a:cubicBezTo>
                <a:cubicBezTo>
                  <a:pt x="11312" y="407"/>
                  <a:pt x="11312" y="407"/>
                  <a:pt x="11312" y="407"/>
                </a:cubicBezTo>
                <a:cubicBezTo>
                  <a:pt x="11312" y="407"/>
                  <a:pt x="11312" y="438"/>
                  <a:pt x="11344" y="438"/>
                </a:cubicBezTo>
                <a:cubicBezTo>
                  <a:pt x="11344" y="438"/>
                  <a:pt x="11344" y="438"/>
                  <a:pt x="11344" y="40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5841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1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1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0-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7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1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0-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7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4" y="273050"/>
            <a:ext cx="4011084" cy="1162051"/>
          </a:xfrm>
        </p:spPr>
        <p:txBody>
          <a:bodyPr anchor="b"/>
          <a:lstStyle>
            <a:lvl1pPr algn="l">
              <a:defRPr sz="266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6"/>
            </a:lvl1pPr>
            <a:lvl2pPr>
              <a:defRPr sz="3732"/>
            </a:lvl2pPr>
            <a:lvl3pPr>
              <a:defRPr sz="3199"/>
            </a:lvl3pPr>
            <a:lvl4pPr>
              <a:defRPr sz="2666"/>
            </a:lvl4pPr>
            <a:lvl5pPr>
              <a:defRPr sz="2666"/>
            </a:lvl5pPr>
            <a:lvl6pPr>
              <a:defRPr sz="2666"/>
            </a:lvl6pPr>
            <a:lvl7pPr>
              <a:defRPr sz="2666"/>
            </a:lvl7pPr>
            <a:lvl8pPr>
              <a:defRPr sz="2666"/>
            </a:lvl8pPr>
            <a:lvl9pPr>
              <a:defRPr sz="26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4" y="1435103"/>
            <a:ext cx="4011084" cy="4691063"/>
          </a:xfrm>
        </p:spPr>
        <p:txBody>
          <a:bodyPr/>
          <a:lstStyle>
            <a:lvl1pPr marL="0" indent="0">
              <a:buNone/>
              <a:defRPr sz="1866"/>
            </a:lvl1pPr>
            <a:lvl2pPr marL="609422" indent="0">
              <a:buNone/>
              <a:defRPr sz="1600"/>
            </a:lvl2pPr>
            <a:lvl3pPr marL="1218845" indent="0">
              <a:buNone/>
              <a:defRPr sz="1333"/>
            </a:lvl3pPr>
            <a:lvl4pPr marL="1828267" indent="0">
              <a:buNone/>
              <a:defRPr sz="1200"/>
            </a:lvl4pPr>
            <a:lvl5pPr marL="2437689" indent="0">
              <a:buNone/>
              <a:defRPr sz="1200"/>
            </a:lvl5pPr>
            <a:lvl6pPr marL="3047111" indent="0">
              <a:buNone/>
              <a:defRPr sz="1200"/>
            </a:lvl6pPr>
            <a:lvl7pPr marL="3656534" indent="0">
              <a:buNone/>
              <a:defRPr sz="1200"/>
            </a:lvl7pPr>
            <a:lvl8pPr marL="4265955" indent="0">
              <a:buNone/>
              <a:defRPr sz="1200"/>
            </a:lvl8pPr>
            <a:lvl9pPr marL="48753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08792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95">
            <a:extLst>
              <a:ext uri="{FF2B5EF4-FFF2-40B4-BE49-F238E27FC236}">
                <a16:creationId xmlns:a16="http://schemas.microsoft.com/office/drawing/2014/main" id="{CDD59C5E-DA7F-414D-8B06-59662FD2C5BA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0" y="477014"/>
            <a:ext cx="12192000" cy="6380986"/>
          </a:xfrm>
          <a:custGeom>
            <a:avLst/>
            <a:gdLst>
              <a:gd name="T0" fmla="*/ 2531 w 27093"/>
              <a:gd name="T1" fmla="*/ 17437 h 18531"/>
              <a:gd name="T2" fmla="*/ 3312 w 27093"/>
              <a:gd name="T3" fmla="*/ 15844 h 18531"/>
              <a:gd name="T4" fmla="*/ 4218 w 27093"/>
              <a:gd name="T5" fmla="*/ 15438 h 18531"/>
              <a:gd name="T6" fmla="*/ 4812 w 27093"/>
              <a:gd name="T7" fmla="*/ 15500 h 18531"/>
              <a:gd name="T8" fmla="*/ 4625 w 27093"/>
              <a:gd name="T9" fmla="*/ 16875 h 18531"/>
              <a:gd name="T10" fmla="*/ 7156 w 27093"/>
              <a:gd name="T11" fmla="*/ 14156 h 18531"/>
              <a:gd name="T12" fmla="*/ 7312 w 27093"/>
              <a:gd name="T13" fmla="*/ 12938 h 18531"/>
              <a:gd name="T14" fmla="*/ 9656 w 27093"/>
              <a:gd name="T15" fmla="*/ 11344 h 18531"/>
              <a:gd name="T16" fmla="*/ 15718 w 27093"/>
              <a:gd name="T17" fmla="*/ 14750 h 18531"/>
              <a:gd name="T18" fmla="*/ 14437 w 27093"/>
              <a:gd name="T19" fmla="*/ 14563 h 18531"/>
              <a:gd name="T20" fmla="*/ 9187 w 27093"/>
              <a:gd name="T21" fmla="*/ 14344 h 18531"/>
              <a:gd name="T22" fmla="*/ 24843 w 27093"/>
              <a:gd name="T23" fmla="*/ 10375 h 18531"/>
              <a:gd name="T24" fmla="*/ 21781 w 27093"/>
              <a:gd name="T25" fmla="*/ 2563 h 18531"/>
              <a:gd name="T26" fmla="*/ 27093 w 27093"/>
              <a:gd name="T27" fmla="*/ 6938 h 18531"/>
              <a:gd name="T28" fmla="*/ 20750 w 27093"/>
              <a:gd name="T29" fmla="*/ 3500 h 18531"/>
              <a:gd name="T30" fmla="*/ 16625 w 27093"/>
              <a:gd name="T31" fmla="*/ 10063 h 18531"/>
              <a:gd name="T32" fmla="*/ 0 w 27093"/>
              <a:gd name="T33" fmla="*/ 16906 h 18531"/>
              <a:gd name="T34" fmla="*/ 5968 w 27093"/>
              <a:gd name="T35" fmla="*/ 12219 h 18531"/>
              <a:gd name="T36" fmla="*/ 3750 w 27093"/>
              <a:gd name="T37" fmla="*/ 15906 h 18531"/>
              <a:gd name="T38" fmla="*/ 2750 w 27093"/>
              <a:gd name="T39" fmla="*/ 17000 h 18531"/>
              <a:gd name="T40" fmla="*/ 3062 w 27093"/>
              <a:gd name="T41" fmla="*/ 16219 h 18531"/>
              <a:gd name="T42" fmla="*/ 2437 w 27093"/>
              <a:gd name="T43" fmla="*/ 16906 h 18531"/>
              <a:gd name="T44" fmla="*/ 4562 w 27093"/>
              <a:gd name="T45" fmla="*/ 13750 h 18531"/>
              <a:gd name="T46" fmla="*/ 15968 w 27093"/>
              <a:gd name="T47" fmla="*/ 16000 h 18531"/>
              <a:gd name="T48" fmla="*/ 22000 w 27093"/>
              <a:gd name="T49" fmla="*/ 2344 h 18531"/>
              <a:gd name="T50" fmla="*/ 21906 w 27093"/>
              <a:gd name="T51" fmla="*/ 5844 h 18531"/>
              <a:gd name="T52" fmla="*/ 23062 w 27093"/>
              <a:gd name="T53" fmla="*/ 7625 h 18531"/>
              <a:gd name="T54" fmla="*/ 12593 w 27093"/>
              <a:gd name="T55" fmla="*/ 13469 h 18531"/>
              <a:gd name="T56" fmla="*/ 1375 w 27093"/>
              <a:gd name="T57" fmla="*/ 14344 h 18531"/>
              <a:gd name="T58" fmla="*/ 2000 w 27093"/>
              <a:gd name="T59" fmla="*/ 14719 h 18531"/>
              <a:gd name="T60" fmla="*/ 2468 w 27093"/>
              <a:gd name="T61" fmla="*/ 12250 h 18531"/>
              <a:gd name="T62" fmla="*/ 4718 w 27093"/>
              <a:gd name="T63" fmla="*/ 9938 h 18531"/>
              <a:gd name="T64" fmla="*/ 3343 w 27093"/>
              <a:gd name="T65" fmla="*/ 12938 h 18531"/>
              <a:gd name="T66" fmla="*/ 3968 w 27093"/>
              <a:gd name="T67" fmla="*/ 11031 h 18531"/>
              <a:gd name="T68" fmla="*/ 4875 w 27093"/>
              <a:gd name="T69" fmla="*/ 12750 h 18531"/>
              <a:gd name="T70" fmla="*/ 5906 w 27093"/>
              <a:gd name="T71" fmla="*/ 11938 h 18531"/>
              <a:gd name="T72" fmla="*/ 5250 w 27093"/>
              <a:gd name="T73" fmla="*/ 15875 h 18531"/>
              <a:gd name="T74" fmla="*/ 6562 w 27093"/>
              <a:gd name="T75" fmla="*/ 13750 h 18531"/>
              <a:gd name="T76" fmla="*/ 6187 w 27093"/>
              <a:gd name="T77" fmla="*/ 13969 h 18531"/>
              <a:gd name="T78" fmla="*/ 7687 w 27093"/>
              <a:gd name="T79" fmla="*/ 10344 h 18531"/>
              <a:gd name="T80" fmla="*/ 7187 w 27093"/>
              <a:gd name="T81" fmla="*/ 11313 h 18531"/>
              <a:gd name="T82" fmla="*/ 9468 w 27093"/>
              <a:gd name="T83" fmla="*/ 10563 h 18531"/>
              <a:gd name="T84" fmla="*/ 10906 w 27093"/>
              <a:gd name="T85" fmla="*/ 10469 h 18531"/>
              <a:gd name="T86" fmla="*/ 11187 w 27093"/>
              <a:gd name="T87" fmla="*/ 10563 h 18531"/>
              <a:gd name="T88" fmla="*/ 11906 w 27093"/>
              <a:gd name="T89" fmla="*/ 11750 h 18531"/>
              <a:gd name="T90" fmla="*/ 14500 w 27093"/>
              <a:gd name="T91" fmla="*/ 11125 h 18531"/>
              <a:gd name="T92" fmla="*/ 15593 w 27093"/>
              <a:gd name="T93" fmla="*/ 12719 h 18531"/>
              <a:gd name="T94" fmla="*/ 15187 w 27093"/>
              <a:gd name="T95" fmla="*/ 12781 h 18531"/>
              <a:gd name="T96" fmla="*/ 16437 w 27093"/>
              <a:gd name="T97" fmla="*/ 13406 h 18531"/>
              <a:gd name="T98" fmla="*/ 18468 w 27093"/>
              <a:gd name="T99" fmla="*/ 15125 h 18531"/>
              <a:gd name="T100" fmla="*/ 17125 w 27093"/>
              <a:gd name="T101" fmla="*/ 13750 h 18531"/>
              <a:gd name="T102" fmla="*/ 17125 w 27093"/>
              <a:gd name="T103" fmla="*/ 10938 h 18531"/>
              <a:gd name="T104" fmla="*/ 19000 w 27093"/>
              <a:gd name="T105" fmla="*/ 15938 h 18531"/>
              <a:gd name="T106" fmla="*/ 20156 w 27093"/>
              <a:gd name="T107" fmla="*/ 13281 h 18531"/>
              <a:gd name="T108" fmla="*/ 21500 w 27093"/>
              <a:gd name="T109" fmla="*/ 1719 h 18531"/>
              <a:gd name="T110" fmla="*/ 21031 w 27093"/>
              <a:gd name="T111" fmla="*/ 5156 h 18531"/>
              <a:gd name="T112" fmla="*/ 20843 w 27093"/>
              <a:gd name="T113" fmla="*/ 12719 h 18531"/>
              <a:gd name="T114" fmla="*/ 21406 w 27093"/>
              <a:gd name="T115" fmla="*/ 14594 h 18531"/>
              <a:gd name="T116" fmla="*/ 21343 w 27093"/>
              <a:gd name="T117" fmla="*/ 7406 h 18531"/>
              <a:gd name="T118" fmla="*/ 21906 w 27093"/>
              <a:gd name="T119" fmla="*/ 7531 h 18531"/>
              <a:gd name="T120" fmla="*/ 21656 w 27093"/>
              <a:gd name="T121" fmla="*/ 1656 h 18531"/>
              <a:gd name="T122" fmla="*/ 24625 w 27093"/>
              <a:gd name="T123" fmla="*/ 2125 h 18531"/>
              <a:gd name="T124" fmla="*/ 3843 w 27093"/>
              <a:gd name="T125" fmla="*/ 15781 h 18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093" h="18531">
                <a:moveTo>
                  <a:pt x="7593" y="12406"/>
                </a:moveTo>
                <a:cubicBezTo>
                  <a:pt x="7593" y="12406"/>
                  <a:pt x="7593" y="12438"/>
                  <a:pt x="7562" y="12438"/>
                </a:cubicBezTo>
                <a:cubicBezTo>
                  <a:pt x="7593" y="12438"/>
                  <a:pt x="7625" y="12438"/>
                  <a:pt x="7625" y="12406"/>
                </a:cubicBezTo>
                <a:cubicBezTo>
                  <a:pt x="7656" y="12406"/>
                  <a:pt x="7687" y="12406"/>
                  <a:pt x="7718" y="12406"/>
                </a:cubicBezTo>
                <a:cubicBezTo>
                  <a:pt x="7687" y="12406"/>
                  <a:pt x="7687" y="12406"/>
                  <a:pt x="7687" y="12375"/>
                </a:cubicBezTo>
                <a:cubicBezTo>
                  <a:pt x="7656" y="12375"/>
                  <a:pt x="7625" y="12375"/>
                  <a:pt x="7625" y="12406"/>
                </a:cubicBezTo>
                <a:cubicBezTo>
                  <a:pt x="7625" y="12406"/>
                  <a:pt x="7625" y="12406"/>
                  <a:pt x="7625" y="12406"/>
                </a:cubicBezTo>
                <a:cubicBezTo>
                  <a:pt x="7625" y="12406"/>
                  <a:pt x="7593" y="12406"/>
                  <a:pt x="7593" y="12406"/>
                </a:cubicBezTo>
                <a:close/>
                <a:moveTo>
                  <a:pt x="5250" y="13313"/>
                </a:moveTo>
                <a:lnTo>
                  <a:pt x="5250" y="13313"/>
                </a:lnTo>
                <a:lnTo>
                  <a:pt x="5250" y="13313"/>
                </a:lnTo>
                <a:close/>
                <a:moveTo>
                  <a:pt x="4375" y="14219"/>
                </a:moveTo>
                <a:cubicBezTo>
                  <a:pt x="4375" y="14219"/>
                  <a:pt x="4375" y="14219"/>
                  <a:pt x="4343" y="14219"/>
                </a:cubicBezTo>
                <a:cubicBezTo>
                  <a:pt x="4312" y="14250"/>
                  <a:pt x="4281" y="14281"/>
                  <a:pt x="4250" y="14313"/>
                </a:cubicBezTo>
                <a:cubicBezTo>
                  <a:pt x="4187" y="14375"/>
                  <a:pt x="4156" y="14438"/>
                  <a:pt x="4093" y="14500"/>
                </a:cubicBezTo>
                <a:cubicBezTo>
                  <a:pt x="4093" y="14500"/>
                  <a:pt x="4093" y="14500"/>
                  <a:pt x="4093" y="14500"/>
                </a:cubicBezTo>
                <a:cubicBezTo>
                  <a:pt x="4062" y="14531"/>
                  <a:pt x="4031" y="14563"/>
                  <a:pt x="4000" y="14625"/>
                </a:cubicBezTo>
                <a:cubicBezTo>
                  <a:pt x="4000" y="14625"/>
                  <a:pt x="4000" y="14625"/>
                  <a:pt x="4000" y="14625"/>
                </a:cubicBezTo>
                <a:cubicBezTo>
                  <a:pt x="3968" y="14656"/>
                  <a:pt x="3937" y="14656"/>
                  <a:pt x="3937" y="14688"/>
                </a:cubicBezTo>
                <a:cubicBezTo>
                  <a:pt x="3875" y="14750"/>
                  <a:pt x="3843" y="14813"/>
                  <a:pt x="3781" y="14875"/>
                </a:cubicBezTo>
                <a:cubicBezTo>
                  <a:pt x="3812" y="14875"/>
                  <a:pt x="3812" y="14875"/>
                  <a:pt x="3843" y="14844"/>
                </a:cubicBezTo>
                <a:cubicBezTo>
                  <a:pt x="3875" y="14813"/>
                  <a:pt x="3937" y="14750"/>
                  <a:pt x="3968" y="14688"/>
                </a:cubicBezTo>
                <a:cubicBezTo>
                  <a:pt x="3937" y="14688"/>
                  <a:pt x="3937" y="14688"/>
                  <a:pt x="3937" y="14688"/>
                </a:cubicBezTo>
                <a:cubicBezTo>
                  <a:pt x="3968" y="14688"/>
                  <a:pt x="3968" y="14688"/>
                  <a:pt x="4000" y="14688"/>
                </a:cubicBezTo>
                <a:cubicBezTo>
                  <a:pt x="4000" y="14656"/>
                  <a:pt x="4000" y="14656"/>
                  <a:pt x="4000" y="14656"/>
                </a:cubicBezTo>
                <a:cubicBezTo>
                  <a:pt x="4062" y="14594"/>
                  <a:pt x="4093" y="14563"/>
                  <a:pt x="4125" y="14500"/>
                </a:cubicBezTo>
                <a:cubicBezTo>
                  <a:pt x="4156" y="14469"/>
                  <a:pt x="4218" y="14406"/>
                  <a:pt x="4250" y="14375"/>
                </a:cubicBezTo>
                <a:cubicBezTo>
                  <a:pt x="4281" y="14313"/>
                  <a:pt x="4343" y="14281"/>
                  <a:pt x="4375" y="14219"/>
                </a:cubicBezTo>
                <a:cubicBezTo>
                  <a:pt x="4375" y="14219"/>
                  <a:pt x="4375" y="14219"/>
                  <a:pt x="4375" y="14219"/>
                </a:cubicBezTo>
                <a:cubicBezTo>
                  <a:pt x="4375" y="14219"/>
                  <a:pt x="4375" y="14219"/>
                  <a:pt x="4375" y="14219"/>
                </a:cubicBezTo>
                <a:close/>
                <a:moveTo>
                  <a:pt x="4250" y="15250"/>
                </a:moveTo>
                <a:cubicBezTo>
                  <a:pt x="4218" y="15250"/>
                  <a:pt x="4218" y="15250"/>
                  <a:pt x="4218" y="15281"/>
                </a:cubicBezTo>
                <a:cubicBezTo>
                  <a:pt x="4218" y="15281"/>
                  <a:pt x="4218" y="15281"/>
                  <a:pt x="4218" y="15313"/>
                </a:cubicBezTo>
                <a:cubicBezTo>
                  <a:pt x="4218" y="15313"/>
                  <a:pt x="4218" y="15313"/>
                  <a:pt x="4187" y="15313"/>
                </a:cubicBezTo>
                <a:cubicBezTo>
                  <a:pt x="4187" y="15313"/>
                  <a:pt x="4156" y="15344"/>
                  <a:pt x="4156" y="15344"/>
                </a:cubicBezTo>
                <a:lnTo>
                  <a:pt x="4156" y="15344"/>
                </a:lnTo>
                <a:cubicBezTo>
                  <a:pt x="4156" y="15344"/>
                  <a:pt x="4187" y="15344"/>
                  <a:pt x="4187" y="15344"/>
                </a:cubicBezTo>
                <a:cubicBezTo>
                  <a:pt x="4187" y="15344"/>
                  <a:pt x="4187" y="15344"/>
                  <a:pt x="4187" y="15344"/>
                </a:cubicBezTo>
                <a:cubicBezTo>
                  <a:pt x="4187" y="15344"/>
                  <a:pt x="4187" y="15344"/>
                  <a:pt x="4187" y="15313"/>
                </a:cubicBezTo>
                <a:cubicBezTo>
                  <a:pt x="4187" y="15313"/>
                  <a:pt x="4187" y="15313"/>
                  <a:pt x="4187" y="15313"/>
                </a:cubicBezTo>
                <a:cubicBezTo>
                  <a:pt x="4218" y="15313"/>
                  <a:pt x="4218" y="15313"/>
                  <a:pt x="4218" y="15313"/>
                </a:cubicBezTo>
                <a:cubicBezTo>
                  <a:pt x="4250" y="15313"/>
                  <a:pt x="4250" y="15281"/>
                  <a:pt x="4250" y="15250"/>
                </a:cubicBezTo>
                <a:cubicBezTo>
                  <a:pt x="4250" y="15250"/>
                  <a:pt x="4250" y="15250"/>
                  <a:pt x="4250" y="15250"/>
                </a:cubicBezTo>
                <a:cubicBezTo>
                  <a:pt x="4250" y="15250"/>
                  <a:pt x="4250" y="15250"/>
                  <a:pt x="4250" y="15250"/>
                </a:cubicBezTo>
                <a:cubicBezTo>
                  <a:pt x="4250" y="15250"/>
                  <a:pt x="4250" y="15250"/>
                  <a:pt x="4250" y="15250"/>
                </a:cubicBezTo>
                <a:close/>
                <a:moveTo>
                  <a:pt x="3718" y="16000"/>
                </a:moveTo>
                <a:lnTo>
                  <a:pt x="3718" y="16000"/>
                </a:lnTo>
                <a:lnTo>
                  <a:pt x="3718" y="16000"/>
                </a:lnTo>
                <a:close/>
                <a:moveTo>
                  <a:pt x="2531" y="17437"/>
                </a:moveTo>
                <a:cubicBezTo>
                  <a:pt x="2531" y="17437"/>
                  <a:pt x="2562" y="17437"/>
                  <a:pt x="2562" y="17437"/>
                </a:cubicBezTo>
                <a:cubicBezTo>
                  <a:pt x="2562" y="17437"/>
                  <a:pt x="2562" y="17437"/>
                  <a:pt x="2562" y="17437"/>
                </a:cubicBezTo>
                <a:cubicBezTo>
                  <a:pt x="2562" y="17437"/>
                  <a:pt x="2562" y="17437"/>
                  <a:pt x="2531" y="17437"/>
                </a:cubicBezTo>
                <a:cubicBezTo>
                  <a:pt x="2531" y="17437"/>
                  <a:pt x="2531" y="17437"/>
                  <a:pt x="2531" y="17437"/>
                </a:cubicBezTo>
                <a:close/>
                <a:moveTo>
                  <a:pt x="5750" y="12594"/>
                </a:moveTo>
                <a:cubicBezTo>
                  <a:pt x="5750" y="12594"/>
                  <a:pt x="5750" y="12594"/>
                  <a:pt x="5750" y="12594"/>
                </a:cubicBezTo>
                <a:cubicBezTo>
                  <a:pt x="5781" y="12594"/>
                  <a:pt x="5781" y="12594"/>
                  <a:pt x="5781" y="12594"/>
                </a:cubicBezTo>
                <a:cubicBezTo>
                  <a:pt x="5843" y="12531"/>
                  <a:pt x="5906" y="12531"/>
                  <a:pt x="5968" y="12500"/>
                </a:cubicBezTo>
                <a:cubicBezTo>
                  <a:pt x="6062" y="12469"/>
                  <a:pt x="6156" y="12406"/>
                  <a:pt x="6281" y="12344"/>
                </a:cubicBezTo>
                <a:cubicBezTo>
                  <a:pt x="6343" y="12313"/>
                  <a:pt x="6406" y="12313"/>
                  <a:pt x="6437" y="12250"/>
                </a:cubicBezTo>
                <a:cubicBezTo>
                  <a:pt x="6437" y="12219"/>
                  <a:pt x="6468" y="12219"/>
                  <a:pt x="6500" y="12219"/>
                </a:cubicBezTo>
                <a:cubicBezTo>
                  <a:pt x="6531" y="12219"/>
                  <a:pt x="6531" y="12219"/>
                  <a:pt x="6562" y="12219"/>
                </a:cubicBezTo>
                <a:cubicBezTo>
                  <a:pt x="6562" y="12219"/>
                  <a:pt x="6562" y="12219"/>
                  <a:pt x="6562" y="12219"/>
                </a:cubicBezTo>
                <a:cubicBezTo>
                  <a:pt x="6562" y="12281"/>
                  <a:pt x="6500" y="12250"/>
                  <a:pt x="6500" y="12313"/>
                </a:cubicBezTo>
                <a:cubicBezTo>
                  <a:pt x="6468" y="12344"/>
                  <a:pt x="6437" y="12375"/>
                  <a:pt x="6406" y="12375"/>
                </a:cubicBezTo>
                <a:cubicBezTo>
                  <a:pt x="6406" y="12375"/>
                  <a:pt x="6406" y="12375"/>
                  <a:pt x="6406" y="12375"/>
                </a:cubicBezTo>
                <a:cubicBezTo>
                  <a:pt x="6250" y="12438"/>
                  <a:pt x="6093" y="12531"/>
                  <a:pt x="5968" y="12625"/>
                </a:cubicBezTo>
                <a:cubicBezTo>
                  <a:pt x="5843" y="12719"/>
                  <a:pt x="5750" y="12781"/>
                  <a:pt x="5593" y="12875"/>
                </a:cubicBezTo>
                <a:cubicBezTo>
                  <a:pt x="5687" y="12875"/>
                  <a:pt x="5718" y="12813"/>
                  <a:pt x="5781" y="12813"/>
                </a:cubicBezTo>
                <a:cubicBezTo>
                  <a:pt x="5781" y="12813"/>
                  <a:pt x="5781" y="12813"/>
                  <a:pt x="5781" y="12813"/>
                </a:cubicBezTo>
                <a:cubicBezTo>
                  <a:pt x="5718" y="12906"/>
                  <a:pt x="5593" y="12969"/>
                  <a:pt x="5531" y="13063"/>
                </a:cubicBezTo>
                <a:cubicBezTo>
                  <a:pt x="5531" y="13031"/>
                  <a:pt x="5531" y="13031"/>
                  <a:pt x="5531" y="13031"/>
                </a:cubicBezTo>
                <a:cubicBezTo>
                  <a:pt x="5531" y="13063"/>
                  <a:pt x="5531" y="13063"/>
                  <a:pt x="5531" y="13063"/>
                </a:cubicBezTo>
                <a:cubicBezTo>
                  <a:pt x="5531" y="13063"/>
                  <a:pt x="5531" y="13063"/>
                  <a:pt x="5531" y="13063"/>
                </a:cubicBezTo>
                <a:cubicBezTo>
                  <a:pt x="5468" y="13156"/>
                  <a:pt x="5343" y="13188"/>
                  <a:pt x="5281" y="13281"/>
                </a:cubicBezTo>
                <a:cubicBezTo>
                  <a:pt x="5468" y="13156"/>
                  <a:pt x="5656" y="13031"/>
                  <a:pt x="5843" y="12906"/>
                </a:cubicBezTo>
                <a:cubicBezTo>
                  <a:pt x="5937" y="12844"/>
                  <a:pt x="6031" y="12813"/>
                  <a:pt x="6125" y="12719"/>
                </a:cubicBezTo>
                <a:cubicBezTo>
                  <a:pt x="6125" y="12719"/>
                  <a:pt x="6156" y="12719"/>
                  <a:pt x="6187" y="12688"/>
                </a:cubicBezTo>
                <a:cubicBezTo>
                  <a:pt x="6187" y="12688"/>
                  <a:pt x="6187" y="12688"/>
                  <a:pt x="6187" y="12688"/>
                </a:cubicBezTo>
                <a:cubicBezTo>
                  <a:pt x="6218" y="12688"/>
                  <a:pt x="6218" y="12656"/>
                  <a:pt x="6218" y="12656"/>
                </a:cubicBezTo>
                <a:cubicBezTo>
                  <a:pt x="6218" y="12656"/>
                  <a:pt x="6218" y="12656"/>
                  <a:pt x="6218" y="12656"/>
                </a:cubicBezTo>
                <a:cubicBezTo>
                  <a:pt x="6281" y="12656"/>
                  <a:pt x="6312" y="12594"/>
                  <a:pt x="6375" y="12594"/>
                </a:cubicBezTo>
                <a:cubicBezTo>
                  <a:pt x="6406" y="12594"/>
                  <a:pt x="6406" y="12594"/>
                  <a:pt x="6406" y="12594"/>
                </a:cubicBezTo>
                <a:cubicBezTo>
                  <a:pt x="6156" y="12750"/>
                  <a:pt x="5937" y="12906"/>
                  <a:pt x="5718" y="13094"/>
                </a:cubicBezTo>
                <a:cubicBezTo>
                  <a:pt x="5718" y="13094"/>
                  <a:pt x="5687" y="13094"/>
                  <a:pt x="5687" y="13094"/>
                </a:cubicBezTo>
                <a:cubicBezTo>
                  <a:pt x="5687" y="13094"/>
                  <a:pt x="5687" y="13094"/>
                  <a:pt x="5687" y="13094"/>
                </a:cubicBezTo>
                <a:cubicBezTo>
                  <a:pt x="5687" y="13094"/>
                  <a:pt x="5687" y="13094"/>
                  <a:pt x="5687" y="13125"/>
                </a:cubicBezTo>
                <a:cubicBezTo>
                  <a:pt x="5656" y="13125"/>
                  <a:pt x="5656" y="13125"/>
                  <a:pt x="5656" y="13125"/>
                </a:cubicBezTo>
                <a:cubicBezTo>
                  <a:pt x="5593" y="13156"/>
                  <a:pt x="5531" y="13219"/>
                  <a:pt x="5500" y="13250"/>
                </a:cubicBezTo>
                <a:cubicBezTo>
                  <a:pt x="5218" y="13469"/>
                  <a:pt x="4968" y="13688"/>
                  <a:pt x="4718" y="13938"/>
                </a:cubicBezTo>
                <a:cubicBezTo>
                  <a:pt x="4656" y="14000"/>
                  <a:pt x="4656" y="14094"/>
                  <a:pt x="4593" y="14156"/>
                </a:cubicBezTo>
                <a:cubicBezTo>
                  <a:pt x="4468" y="14250"/>
                  <a:pt x="4375" y="14375"/>
                  <a:pt x="4281" y="14469"/>
                </a:cubicBezTo>
                <a:cubicBezTo>
                  <a:pt x="4250" y="14531"/>
                  <a:pt x="4218" y="14531"/>
                  <a:pt x="4218" y="14594"/>
                </a:cubicBezTo>
                <a:cubicBezTo>
                  <a:pt x="4187" y="14594"/>
                  <a:pt x="4187" y="14594"/>
                  <a:pt x="4187" y="14625"/>
                </a:cubicBezTo>
                <a:lnTo>
                  <a:pt x="4187" y="14625"/>
                </a:lnTo>
                <a:cubicBezTo>
                  <a:pt x="3875" y="15000"/>
                  <a:pt x="3593" y="15375"/>
                  <a:pt x="3312" y="15781"/>
                </a:cubicBezTo>
                <a:cubicBezTo>
                  <a:pt x="3312" y="15813"/>
                  <a:pt x="3281" y="15813"/>
                  <a:pt x="3312" y="15844"/>
                </a:cubicBezTo>
                <a:cubicBezTo>
                  <a:pt x="3281" y="15844"/>
                  <a:pt x="3281" y="15844"/>
                  <a:pt x="3281" y="15844"/>
                </a:cubicBezTo>
                <a:cubicBezTo>
                  <a:pt x="3281" y="15844"/>
                  <a:pt x="3312" y="15844"/>
                  <a:pt x="3312" y="15844"/>
                </a:cubicBezTo>
                <a:cubicBezTo>
                  <a:pt x="3312" y="15844"/>
                  <a:pt x="3343" y="15813"/>
                  <a:pt x="3343" y="15813"/>
                </a:cubicBezTo>
                <a:cubicBezTo>
                  <a:pt x="3562" y="15469"/>
                  <a:pt x="3812" y="15156"/>
                  <a:pt x="4062" y="14844"/>
                </a:cubicBezTo>
                <a:cubicBezTo>
                  <a:pt x="4125" y="14750"/>
                  <a:pt x="4187" y="14688"/>
                  <a:pt x="4218" y="14625"/>
                </a:cubicBezTo>
                <a:cubicBezTo>
                  <a:pt x="4250" y="14594"/>
                  <a:pt x="4250" y="14594"/>
                  <a:pt x="4250" y="14594"/>
                </a:cubicBezTo>
                <a:cubicBezTo>
                  <a:pt x="4406" y="14438"/>
                  <a:pt x="4531" y="14313"/>
                  <a:pt x="4656" y="14188"/>
                </a:cubicBezTo>
                <a:cubicBezTo>
                  <a:pt x="4687" y="14125"/>
                  <a:pt x="4718" y="14094"/>
                  <a:pt x="4781" y="14125"/>
                </a:cubicBezTo>
                <a:cubicBezTo>
                  <a:pt x="4750" y="14188"/>
                  <a:pt x="4625" y="14219"/>
                  <a:pt x="4593" y="14344"/>
                </a:cubicBezTo>
                <a:cubicBezTo>
                  <a:pt x="4750" y="14188"/>
                  <a:pt x="4906" y="14031"/>
                  <a:pt x="5031" y="13906"/>
                </a:cubicBezTo>
                <a:cubicBezTo>
                  <a:pt x="5062" y="13875"/>
                  <a:pt x="5031" y="13875"/>
                  <a:pt x="5031" y="13875"/>
                </a:cubicBezTo>
                <a:cubicBezTo>
                  <a:pt x="5031" y="13875"/>
                  <a:pt x="5031" y="13875"/>
                  <a:pt x="5031" y="13875"/>
                </a:cubicBezTo>
                <a:cubicBezTo>
                  <a:pt x="5187" y="13719"/>
                  <a:pt x="5343" y="13594"/>
                  <a:pt x="5500" y="13469"/>
                </a:cubicBezTo>
                <a:cubicBezTo>
                  <a:pt x="5625" y="13375"/>
                  <a:pt x="5750" y="13313"/>
                  <a:pt x="5843" y="13188"/>
                </a:cubicBezTo>
                <a:cubicBezTo>
                  <a:pt x="6062" y="13063"/>
                  <a:pt x="6250" y="12938"/>
                  <a:pt x="6468" y="12813"/>
                </a:cubicBezTo>
                <a:cubicBezTo>
                  <a:pt x="6468" y="12813"/>
                  <a:pt x="6500" y="12813"/>
                  <a:pt x="6500" y="12844"/>
                </a:cubicBezTo>
                <a:cubicBezTo>
                  <a:pt x="6406" y="12875"/>
                  <a:pt x="6312" y="12938"/>
                  <a:pt x="6250" y="12969"/>
                </a:cubicBezTo>
                <a:cubicBezTo>
                  <a:pt x="6218" y="13031"/>
                  <a:pt x="6125" y="13031"/>
                  <a:pt x="6125" y="13094"/>
                </a:cubicBezTo>
                <a:cubicBezTo>
                  <a:pt x="6093" y="13094"/>
                  <a:pt x="6062" y="13094"/>
                  <a:pt x="6062" y="13125"/>
                </a:cubicBezTo>
                <a:cubicBezTo>
                  <a:pt x="5750" y="13313"/>
                  <a:pt x="5500" y="13531"/>
                  <a:pt x="5250" y="13781"/>
                </a:cubicBezTo>
                <a:cubicBezTo>
                  <a:pt x="5312" y="13750"/>
                  <a:pt x="5343" y="13688"/>
                  <a:pt x="5406" y="13656"/>
                </a:cubicBezTo>
                <a:cubicBezTo>
                  <a:pt x="5437" y="13656"/>
                  <a:pt x="5437" y="13656"/>
                  <a:pt x="5437" y="13656"/>
                </a:cubicBezTo>
                <a:cubicBezTo>
                  <a:pt x="5406" y="13719"/>
                  <a:pt x="5375" y="13781"/>
                  <a:pt x="5312" y="13813"/>
                </a:cubicBezTo>
                <a:cubicBezTo>
                  <a:pt x="5312" y="13844"/>
                  <a:pt x="5281" y="13844"/>
                  <a:pt x="5281" y="13875"/>
                </a:cubicBezTo>
                <a:cubicBezTo>
                  <a:pt x="5312" y="13938"/>
                  <a:pt x="5281" y="14000"/>
                  <a:pt x="5218" y="14063"/>
                </a:cubicBezTo>
                <a:cubicBezTo>
                  <a:pt x="4968" y="14281"/>
                  <a:pt x="4718" y="14531"/>
                  <a:pt x="4531" y="14813"/>
                </a:cubicBezTo>
                <a:cubicBezTo>
                  <a:pt x="4500" y="14875"/>
                  <a:pt x="4437" y="14969"/>
                  <a:pt x="4375" y="15063"/>
                </a:cubicBezTo>
                <a:cubicBezTo>
                  <a:pt x="4375" y="15094"/>
                  <a:pt x="4375" y="15094"/>
                  <a:pt x="4375" y="15094"/>
                </a:cubicBezTo>
                <a:cubicBezTo>
                  <a:pt x="4375" y="15125"/>
                  <a:pt x="4375" y="15156"/>
                  <a:pt x="4343" y="15156"/>
                </a:cubicBezTo>
                <a:cubicBezTo>
                  <a:pt x="4343" y="15156"/>
                  <a:pt x="4343" y="15156"/>
                  <a:pt x="4312" y="15156"/>
                </a:cubicBezTo>
                <a:cubicBezTo>
                  <a:pt x="4343" y="15156"/>
                  <a:pt x="4343" y="15156"/>
                  <a:pt x="4343" y="15156"/>
                </a:cubicBezTo>
                <a:cubicBezTo>
                  <a:pt x="4343" y="15188"/>
                  <a:pt x="4312" y="15219"/>
                  <a:pt x="4281" y="15219"/>
                </a:cubicBezTo>
                <a:cubicBezTo>
                  <a:pt x="4281" y="15188"/>
                  <a:pt x="4281" y="15156"/>
                  <a:pt x="4312" y="15156"/>
                </a:cubicBezTo>
                <a:lnTo>
                  <a:pt x="4312" y="15156"/>
                </a:lnTo>
                <a:cubicBezTo>
                  <a:pt x="4312" y="15125"/>
                  <a:pt x="4343" y="15094"/>
                  <a:pt x="4375" y="15094"/>
                </a:cubicBezTo>
                <a:cubicBezTo>
                  <a:pt x="4406" y="15094"/>
                  <a:pt x="4406" y="15094"/>
                  <a:pt x="4437" y="15063"/>
                </a:cubicBezTo>
                <a:cubicBezTo>
                  <a:pt x="4437" y="15156"/>
                  <a:pt x="4375" y="15188"/>
                  <a:pt x="4343" y="15250"/>
                </a:cubicBezTo>
                <a:cubicBezTo>
                  <a:pt x="4312" y="15281"/>
                  <a:pt x="4281" y="15313"/>
                  <a:pt x="4281" y="15344"/>
                </a:cubicBezTo>
                <a:cubicBezTo>
                  <a:pt x="4218" y="15375"/>
                  <a:pt x="4218" y="15406"/>
                  <a:pt x="4218" y="15438"/>
                </a:cubicBezTo>
                <a:lnTo>
                  <a:pt x="4218" y="15438"/>
                </a:lnTo>
                <a:cubicBezTo>
                  <a:pt x="4125" y="15531"/>
                  <a:pt x="4031" y="15656"/>
                  <a:pt x="3968" y="15750"/>
                </a:cubicBezTo>
                <a:cubicBezTo>
                  <a:pt x="3906" y="15813"/>
                  <a:pt x="3843" y="15875"/>
                  <a:pt x="3843" y="15969"/>
                </a:cubicBezTo>
                <a:cubicBezTo>
                  <a:pt x="3750" y="16063"/>
                  <a:pt x="3687" y="16156"/>
                  <a:pt x="3625" y="16281"/>
                </a:cubicBezTo>
                <a:cubicBezTo>
                  <a:pt x="3562" y="16313"/>
                  <a:pt x="3562" y="16406"/>
                  <a:pt x="3531" y="16438"/>
                </a:cubicBezTo>
                <a:lnTo>
                  <a:pt x="3531" y="16438"/>
                </a:lnTo>
                <a:cubicBezTo>
                  <a:pt x="3593" y="16406"/>
                  <a:pt x="3593" y="16344"/>
                  <a:pt x="3625" y="16281"/>
                </a:cubicBezTo>
                <a:cubicBezTo>
                  <a:pt x="3750" y="16188"/>
                  <a:pt x="3781" y="16094"/>
                  <a:pt x="3843" y="15969"/>
                </a:cubicBezTo>
                <a:cubicBezTo>
                  <a:pt x="3843" y="15969"/>
                  <a:pt x="3875" y="15969"/>
                  <a:pt x="3875" y="15938"/>
                </a:cubicBezTo>
                <a:cubicBezTo>
                  <a:pt x="3937" y="15844"/>
                  <a:pt x="4031" y="15750"/>
                  <a:pt x="4125" y="15625"/>
                </a:cubicBezTo>
                <a:cubicBezTo>
                  <a:pt x="4156" y="15594"/>
                  <a:pt x="4218" y="15531"/>
                  <a:pt x="4218" y="15438"/>
                </a:cubicBezTo>
                <a:cubicBezTo>
                  <a:pt x="4218" y="15438"/>
                  <a:pt x="4218" y="15438"/>
                  <a:pt x="4218" y="15438"/>
                </a:cubicBezTo>
                <a:cubicBezTo>
                  <a:pt x="4250" y="15438"/>
                  <a:pt x="4281" y="15406"/>
                  <a:pt x="4281" y="15375"/>
                </a:cubicBezTo>
                <a:cubicBezTo>
                  <a:pt x="4312" y="15375"/>
                  <a:pt x="4312" y="15344"/>
                  <a:pt x="4343" y="15313"/>
                </a:cubicBezTo>
                <a:cubicBezTo>
                  <a:pt x="4468" y="15156"/>
                  <a:pt x="4625" y="15000"/>
                  <a:pt x="4750" y="14844"/>
                </a:cubicBezTo>
                <a:cubicBezTo>
                  <a:pt x="4781" y="14844"/>
                  <a:pt x="4781" y="14813"/>
                  <a:pt x="4812" y="14813"/>
                </a:cubicBezTo>
                <a:cubicBezTo>
                  <a:pt x="4812" y="14813"/>
                  <a:pt x="4812" y="14813"/>
                  <a:pt x="4812" y="14813"/>
                </a:cubicBezTo>
                <a:cubicBezTo>
                  <a:pt x="4812" y="14813"/>
                  <a:pt x="4812" y="14813"/>
                  <a:pt x="4812" y="14813"/>
                </a:cubicBezTo>
                <a:cubicBezTo>
                  <a:pt x="4812" y="14906"/>
                  <a:pt x="4750" y="14906"/>
                  <a:pt x="4718" y="14969"/>
                </a:cubicBezTo>
                <a:cubicBezTo>
                  <a:pt x="4687" y="15031"/>
                  <a:pt x="4625" y="15063"/>
                  <a:pt x="4625" y="15125"/>
                </a:cubicBezTo>
                <a:cubicBezTo>
                  <a:pt x="4593" y="15188"/>
                  <a:pt x="4593" y="15219"/>
                  <a:pt x="4562" y="15250"/>
                </a:cubicBezTo>
                <a:cubicBezTo>
                  <a:pt x="4156" y="15781"/>
                  <a:pt x="3781" y="16313"/>
                  <a:pt x="3437" y="16875"/>
                </a:cubicBezTo>
                <a:cubicBezTo>
                  <a:pt x="3156" y="17375"/>
                  <a:pt x="2875" y="17906"/>
                  <a:pt x="2625" y="18437"/>
                </a:cubicBezTo>
                <a:cubicBezTo>
                  <a:pt x="2593" y="18437"/>
                  <a:pt x="2562" y="18469"/>
                  <a:pt x="2625" y="18500"/>
                </a:cubicBezTo>
                <a:cubicBezTo>
                  <a:pt x="2656" y="18500"/>
                  <a:pt x="2656" y="18469"/>
                  <a:pt x="2656" y="18469"/>
                </a:cubicBezTo>
                <a:cubicBezTo>
                  <a:pt x="2750" y="18250"/>
                  <a:pt x="2875" y="18031"/>
                  <a:pt x="2968" y="17844"/>
                </a:cubicBezTo>
                <a:cubicBezTo>
                  <a:pt x="3031" y="17719"/>
                  <a:pt x="3093" y="17594"/>
                  <a:pt x="3187" y="17469"/>
                </a:cubicBezTo>
                <a:cubicBezTo>
                  <a:pt x="3187" y="17469"/>
                  <a:pt x="3187" y="17469"/>
                  <a:pt x="3187" y="17469"/>
                </a:cubicBezTo>
                <a:cubicBezTo>
                  <a:pt x="3187" y="17500"/>
                  <a:pt x="3187" y="17531"/>
                  <a:pt x="3156" y="17531"/>
                </a:cubicBezTo>
                <a:cubicBezTo>
                  <a:pt x="3062" y="17750"/>
                  <a:pt x="2937" y="17969"/>
                  <a:pt x="2843" y="18156"/>
                </a:cubicBezTo>
                <a:cubicBezTo>
                  <a:pt x="2781" y="18281"/>
                  <a:pt x="2718" y="18375"/>
                  <a:pt x="2687" y="18500"/>
                </a:cubicBezTo>
                <a:cubicBezTo>
                  <a:pt x="2750" y="18500"/>
                  <a:pt x="2781" y="18500"/>
                  <a:pt x="2781" y="18469"/>
                </a:cubicBezTo>
                <a:cubicBezTo>
                  <a:pt x="2875" y="18312"/>
                  <a:pt x="2937" y="18156"/>
                  <a:pt x="3031" y="18000"/>
                </a:cubicBezTo>
                <a:cubicBezTo>
                  <a:pt x="3062" y="17937"/>
                  <a:pt x="3062" y="17875"/>
                  <a:pt x="3125" y="17844"/>
                </a:cubicBezTo>
                <a:cubicBezTo>
                  <a:pt x="3125" y="17969"/>
                  <a:pt x="3031" y="18062"/>
                  <a:pt x="3000" y="18156"/>
                </a:cubicBezTo>
                <a:cubicBezTo>
                  <a:pt x="2937" y="18281"/>
                  <a:pt x="2875" y="18375"/>
                  <a:pt x="2843" y="18500"/>
                </a:cubicBezTo>
                <a:cubicBezTo>
                  <a:pt x="2906" y="18500"/>
                  <a:pt x="2906" y="18469"/>
                  <a:pt x="2906" y="18437"/>
                </a:cubicBezTo>
                <a:cubicBezTo>
                  <a:pt x="3000" y="18250"/>
                  <a:pt x="3093" y="18031"/>
                  <a:pt x="3187" y="17844"/>
                </a:cubicBezTo>
                <a:cubicBezTo>
                  <a:pt x="3500" y="17312"/>
                  <a:pt x="3812" y="16750"/>
                  <a:pt x="4156" y="16219"/>
                </a:cubicBezTo>
                <a:cubicBezTo>
                  <a:pt x="4406" y="15875"/>
                  <a:pt x="4656" y="15531"/>
                  <a:pt x="4968" y="15188"/>
                </a:cubicBezTo>
                <a:cubicBezTo>
                  <a:pt x="4968" y="15156"/>
                  <a:pt x="5000" y="15125"/>
                  <a:pt x="4968" y="15094"/>
                </a:cubicBezTo>
                <a:cubicBezTo>
                  <a:pt x="5125" y="14906"/>
                  <a:pt x="5312" y="14719"/>
                  <a:pt x="5500" y="14563"/>
                </a:cubicBezTo>
                <a:cubicBezTo>
                  <a:pt x="5531" y="14563"/>
                  <a:pt x="5562" y="14563"/>
                  <a:pt x="5562" y="14563"/>
                </a:cubicBezTo>
                <a:cubicBezTo>
                  <a:pt x="5562" y="14563"/>
                  <a:pt x="5562" y="14563"/>
                  <a:pt x="5562" y="14563"/>
                </a:cubicBezTo>
                <a:cubicBezTo>
                  <a:pt x="5562" y="14563"/>
                  <a:pt x="5562" y="14563"/>
                  <a:pt x="5562" y="14563"/>
                </a:cubicBezTo>
                <a:cubicBezTo>
                  <a:pt x="5562" y="14563"/>
                  <a:pt x="5562" y="14594"/>
                  <a:pt x="5531" y="14594"/>
                </a:cubicBezTo>
                <a:cubicBezTo>
                  <a:pt x="5468" y="14688"/>
                  <a:pt x="5375" y="14750"/>
                  <a:pt x="5312" y="14844"/>
                </a:cubicBezTo>
                <a:cubicBezTo>
                  <a:pt x="5250" y="14875"/>
                  <a:pt x="5218" y="14938"/>
                  <a:pt x="5187" y="14969"/>
                </a:cubicBezTo>
                <a:lnTo>
                  <a:pt x="5187" y="14969"/>
                </a:lnTo>
                <a:cubicBezTo>
                  <a:pt x="5187" y="14969"/>
                  <a:pt x="5187" y="15000"/>
                  <a:pt x="5187" y="15000"/>
                </a:cubicBezTo>
                <a:cubicBezTo>
                  <a:pt x="5187" y="15000"/>
                  <a:pt x="5156" y="15000"/>
                  <a:pt x="5156" y="15031"/>
                </a:cubicBezTo>
                <a:lnTo>
                  <a:pt x="5156" y="15031"/>
                </a:lnTo>
                <a:cubicBezTo>
                  <a:pt x="5125" y="15000"/>
                  <a:pt x="5156" y="15000"/>
                  <a:pt x="5187" y="15000"/>
                </a:cubicBezTo>
                <a:cubicBezTo>
                  <a:pt x="5187" y="14969"/>
                  <a:pt x="5187" y="14969"/>
                  <a:pt x="5187" y="14969"/>
                </a:cubicBezTo>
                <a:cubicBezTo>
                  <a:pt x="5218" y="14938"/>
                  <a:pt x="5281" y="14906"/>
                  <a:pt x="5312" y="14844"/>
                </a:cubicBezTo>
                <a:cubicBezTo>
                  <a:pt x="5312" y="14844"/>
                  <a:pt x="5343" y="14844"/>
                  <a:pt x="5343" y="14875"/>
                </a:cubicBezTo>
                <a:cubicBezTo>
                  <a:pt x="5375" y="14875"/>
                  <a:pt x="5343" y="14906"/>
                  <a:pt x="5312" y="14906"/>
                </a:cubicBezTo>
                <a:cubicBezTo>
                  <a:pt x="5156" y="15094"/>
                  <a:pt x="5000" y="15250"/>
                  <a:pt x="4875" y="15438"/>
                </a:cubicBezTo>
                <a:cubicBezTo>
                  <a:pt x="4875" y="15469"/>
                  <a:pt x="4906" y="15469"/>
                  <a:pt x="4906" y="15438"/>
                </a:cubicBezTo>
                <a:cubicBezTo>
                  <a:pt x="4906" y="15469"/>
                  <a:pt x="4875" y="15469"/>
                  <a:pt x="4875" y="15438"/>
                </a:cubicBezTo>
                <a:cubicBezTo>
                  <a:pt x="4843" y="15469"/>
                  <a:pt x="4812" y="15469"/>
                  <a:pt x="4812" y="15500"/>
                </a:cubicBezTo>
                <a:cubicBezTo>
                  <a:pt x="4812" y="15500"/>
                  <a:pt x="4812" y="15531"/>
                  <a:pt x="4812" y="15531"/>
                </a:cubicBezTo>
                <a:cubicBezTo>
                  <a:pt x="4781" y="15531"/>
                  <a:pt x="4781" y="15563"/>
                  <a:pt x="4750" y="15563"/>
                </a:cubicBezTo>
                <a:cubicBezTo>
                  <a:pt x="4750" y="15594"/>
                  <a:pt x="4718" y="15594"/>
                  <a:pt x="4718" y="15625"/>
                </a:cubicBezTo>
                <a:cubicBezTo>
                  <a:pt x="4718" y="15625"/>
                  <a:pt x="4718" y="15625"/>
                  <a:pt x="4718" y="15625"/>
                </a:cubicBezTo>
                <a:cubicBezTo>
                  <a:pt x="4625" y="15719"/>
                  <a:pt x="4531" y="15813"/>
                  <a:pt x="4468" y="15938"/>
                </a:cubicBezTo>
                <a:cubicBezTo>
                  <a:pt x="4468" y="15938"/>
                  <a:pt x="4468" y="15938"/>
                  <a:pt x="4468" y="15938"/>
                </a:cubicBezTo>
                <a:cubicBezTo>
                  <a:pt x="4468" y="15969"/>
                  <a:pt x="4437" y="15969"/>
                  <a:pt x="4437" y="16000"/>
                </a:cubicBezTo>
                <a:cubicBezTo>
                  <a:pt x="4343" y="16125"/>
                  <a:pt x="4250" y="16250"/>
                  <a:pt x="4156" y="16375"/>
                </a:cubicBezTo>
                <a:cubicBezTo>
                  <a:pt x="3718" y="17031"/>
                  <a:pt x="3343" y="17719"/>
                  <a:pt x="3000" y="18437"/>
                </a:cubicBezTo>
                <a:cubicBezTo>
                  <a:pt x="2968" y="18469"/>
                  <a:pt x="2968" y="18500"/>
                  <a:pt x="2968" y="18500"/>
                </a:cubicBezTo>
                <a:cubicBezTo>
                  <a:pt x="3000" y="18500"/>
                  <a:pt x="3031" y="18469"/>
                  <a:pt x="3031" y="18469"/>
                </a:cubicBezTo>
                <a:cubicBezTo>
                  <a:pt x="3187" y="18156"/>
                  <a:pt x="3343" y="17844"/>
                  <a:pt x="3500" y="17531"/>
                </a:cubicBezTo>
                <a:cubicBezTo>
                  <a:pt x="3750" y="17094"/>
                  <a:pt x="4031" y="16625"/>
                  <a:pt x="4343" y="16188"/>
                </a:cubicBezTo>
                <a:cubicBezTo>
                  <a:pt x="4375" y="16156"/>
                  <a:pt x="4406" y="16063"/>
                  <a:pt x="4500" y="16031"/>
                </a:cubicBezTo>
                <a:cubicBezTo>
                  <a:pt x="4500" y="16031"/>
                  <a:pt x="4500" y="16031"/>
                  <a:pt x="4500" y="16031"/>
                </a:cubicBezTo>
                <a:cubicBezTo>
                  <a:pt x="4500" y="16031"/>
                  <a:pt x="4500" y="16031"/>
                  <a:pt x="4500" y="16063"/>
                </a:cubicBezTo>
                <a:cubicBezTo>
                  <a:pt x="4500" y="16031"/>
                  <a:pt x="4500" y="16031"/>
                  <a:pt x="4500" y="16031"/>
                </a:cubicBezTo>
                <a:cubicBezTo>
                  <a:pt x="4500" y="16000"/>
                  <a:pt x="4500" y="16000"/>
                  <a:pt x="4500" y="15969"/>
                </a:cubicBezTo>
                <a:cubicBezTo>
                  <a:pt x="4593" y="15969"/>
                  <a:pt x="4593" y="15969"/>
                  <a:pt x="4593" y="15906"/>
                </a:cubicBezTo>
                <a:cubicBezTo>
                  <a:pt x="4593" y="15906"/>
                  <a:pt x="4593" y="15906"/>
                  <a:pt x="4593" y="15906"/>
                </a:cubicBezTo>
                <a:cubicBezTo>
                  <a:pt x="4593" y="15875"/>
                  <a:pt x="4593" y="15844"/>
                  <a:pt x="4625" y="15844"/>
                </a:cubicBezTo>
                <a:cubicBezTo>
                  <a:pt x="4625" y="15844"/>
                  <a:pt x="4625" y="15844"/>
                  <a:pt x="4625" y="15844"/>
                </a:cubicBezTo>
                <a:cubicBezTo>
                  <a:pt x="4656" y="15875"/>
                  <a:pt x="4687" y="15844"/>
                  <a:pt x="4656" y="15813"/>
                </a:cubicBezTo>
                <a:cubicBezTo>
                  <a:pt x="4656" y="15781"/>
                  <a:pt x="4656" y="15750"/>
                  <a:pt x="4687" y="15750"/>
                </a:cubicBezTo>
                <a:cubicBezTo>
                  <a:pt x="4687" y="15750"/>
                  <a:pt x="4687" y="15750"/>
                  <a:pt x="4687" y="15750"/>
                </a:cubicBezTo>
                <a:cubicBezTo>
                  <a:pt x="4718" y="15750"/>
                  <a:pt x="4718" y="15750"/>
                  <a:pt x="4718" y="15750"/>
                </a:cubicBezTo>
                <a:cubicBezTo>
                  <a:pt x="4718" y="15750"/>
                  <a:pt x="4718" y="15750"/>
                  <a:pt x="4718" y="15750"/>
                </a:cubicBezTo>
                <a:cubicBezTo>
                  <a:pt x="4718" y="15719"/>
                  <a:pt x="4718" y="15719"/>
                  <a:pt x="4718" y="15688"/>
                </a:cubicBezTo>
                <a:cubicBezTo>
                  <a:pt x="4750" y="15750"/>
                  <a:pt x="4781" y="15719"/>
                  <a:pt x="4781" y="15688"/>
                </a:cubicBezTo>
                <a:cubicBezTo>
                  <a:pt x="4843" y="15594"/>
                  <a:pt x="4906" y="15531"/>
                  <a:pt x="4968" y="15469"/>
                </a:cubicBezTo>
                <a:cubicBezTo>
                  <a:pt x="5000" y="15438"/>
                  <a:pt x="5031" y="15375"/>
                  <a:pt x="5093" y="15375"/>
                </a:cubicBezTo>
                <a:cubicBezTo>
                  <a:pt x="5031" y="15469"/>
                  <a:pt x="4968" y="15531"/>
                  <a:pt x="4906" y="15594"/>
                </a:cubicBezTo>
                <a:cubicBezTo>
                  <a:pt x="4843" y="15656"/>
                  <a:pt x="4843" y="15781"/>
                  <a:pt x="4750" y="15813"/>
                </a:cubicBezTo>
                <a:cubicBezTo>
                  <a:pt x="4781" y="15844"/>
                  <a:pt x="4687" y="15844"/>
                  <a:pt x="4718" y="15875"/>
                </a:cubicBezTo>
                <a:cubicBezTo>
                  <a:pt x="4781" y="15938"/>
                  <a:pt x="4718" y="15969"/>
                  <a:pt x="4718" y="16000"/>
                </a:cubicBezTo>
                <a:cubicBezTo>
                  <a:pt x="4562" y="16219"/>
                  <a:pt x="4406" y="16438"/>
                  <a:pt x="4281" y="16687"/>
                </a:cubicBezTo>
                <a:cubicBezTo>
                  <a:pt x="4250" y="16750"/>
                  <a:pt x="4187" y="16781"/>
                  <a:pt x="4218" y="16812"/>
                </a:cubicBezTo>
                <a:cubicBezTo>
                  <a:pt x="4218" y="16906"/>
                  <a:pt x="4156" y="16969"/>
                  <a:pt x="4125" y="17031"/>
                </a:cubicBezTo>
                <a:cubicBezTo>
                  <a:pt x="4031" y="17125"/>
                  <a:pt x="3968" y="17281"/>
                  <a:pt x="3906" y="17406"/>
                </a:cubicBezTo>
                <a:cubicBezTo>
                  <a:pt x="3812" y="17562"/>
                  <a:pt x="3718" y="17719"/>
                  <a:pt x="3656" y="17844"/>
                </a:cubicBezTo>
                <a:cubicBezTo>
                  <a:pt x="3531" y="18062"/>
                  <a:pt x="3437" y="18250"/>
                  <a:pt x="3343" y="18437"/>
                </a:cubicBezTo>
                <a:cubicBezTo>
                  <a:pt x="3312" y="18500"/>
                  <a:pt x="3343" y="18500"/>
                  <a:pt x="3375" y="18500"/>
                </a:cubicBezTo>
                <a:cubicBezTo>
                  <a:pt x="3437" y="18500"/>
                  <a:pt x="3531" y="18500"/>
                  <a:pt x="3593" y="18500"/>
                </a:cubicBezTo>
                <a:cubicBezTo>
                  <a:pt x="3656" y="18500"/>
                  <a:pt x="3687" y="18469"/>
                  <a:pt x="3718" y="18406"/>
                </a:cubicBezTo>
                <a:cubicBezTo>
                  <a:pt x="3875" y="18125"/>
                  <a:pt x="4031" y="17812"/>
                  <a:pt x="4218" y="17531"/>
                </a:cubicBezTo>
                <a:cubicBezTo>
                  <a:pt x="4250" y="17437"/>
                  <a:pt x="4343" y="17344"/>
                  <a:pt x="4375" y="17219"/>
                </a:cubicBezTo>
                <a:cubicBezTo>
                  <a:pt x="4375" y="17156"/>
                  <a:pt x="4375" y="17094"/>
                  <a:pt x="4468" y="17094"/>
                </a:cubicBezTo>
                <a:cubicBezTo>
                  <a:pt x="4500" y="17094"/>
                  <a:pt x="4500" y="17062"/>
                  <a:pt x="4500" y="17031"/>
                </a:cubicBezTo>
                <a:cubicBezTo>
                  <a:pt x="4531" y="17000"/>
                  <a:pt x="4593" y="16937"/>
                  <a:pt x="4625" y="16875"/>
                </a:cubicBezTo>
                <a:cubicBezTo>
                  <a:pt x="4656" y="16844"/>
                  <a:pt x="4687" y="16812"/>
                  <a:pt x="4718" y="16875"/>
                </a:cubicBezTo>
                <a:cubicBezTo>
                  <a:pt x="4718" y="16875"/>
                  <a:pt x="4718" y="16875"/>
                  <a:pt x="4718" y="16875"/>
                </a:cubicBezTo>
                <a:cubicBezTo>
                  <a:pt x="4687" y="16937"/>
                  <a:pt x="4656" y="16969"/>
                  <a:pt x="4625" y="17031"/>
                </a:cubicBezTo>
                <a:cubicBezTo>
                  <a:pt x="4562" y="17125"/>
                  <a:pt x="4468" y="17219"/>
                  <a:pt x="4437" y="17344"/>
                </a:cubicBezTo>
                <a:cubicBezTo>
                  <a:pt x="4437" y="17375"/>
                  <a:pt x="4437" y="17375"/>
                  <a:pt x="4406" y="17375"/>
                </a:cubicBezTo>
                <a:cubicBezTo>
                  <a:pt x="4375" y="17437"/>
                  <a:pt x="4312" y="17531"/>
                  <a:pt x="4281" y="17594"/>
                </a:cubicBezTo>
                <a:cubicBezTo>
                  <a:pt x="4125" y="17875"/>
                  <a:pt x="3968" y="18156"/>
                  <a:pt x="3812" y="18437"/>
                </a:cubicBezTo>
                <a:cubicBezTo>
                  <a:pt x="3812" y="18500"/>
                  <a:pt x="3812" y="18500"/>
                  <a:pt x="3843" y="18500"/>
                </a:cubicBezTo>
                <a:cubicBezTo>
                  <a:pt x="3937" y="18500"/>
                  <a:pt x="4031" y="18500"/>
                  <a:pt x="4125" y="18500"/>
                </a:cubicBezTo>
                <a:cubicBezTo>
                  <a:pt x="4187" y="18500"/>
                  <a:pt x="4250" y="18500"/>
                  <a:pt x="4312" y="18500"/>
                </a:cubicBezTo>
                <a:cubicBezTo>
                  <a:pt x="4437" y="18312"/>
                  <a:pt x="4531" y="18094"/>
                  <a:pt x="4656" y="17906"/>
                </a:cubicBezTo>
                <a:cubicBezTo>
                  <a:pt x="4531" y="18094"/>
                  <a:pt x="4437" y="18312"/>
                  <a:pt x="4312" y="18500"/>
                </a:cubicBezTo>
                <a:cubicBezTo>
                  <a:pt x="4343" y="18500"/>
                  <a:pt x="4375" y="18500"/>
                  <a:pt x="4406" y="18500"/>
                </a:cubicBezTo>
                <a:cubicBezTo>
                  <a:pt x="4406" y="18469"/>
                  <a:pt x="4406" y="18469"/>
                  <a:pt x="4406" y="18469"/>
                </a:cubicBezTo>
                <a:cubicBezTo>
                  <a:pt x="4406" y="18469"/>
                  <a:pt x="4406" y="18469"/>
                  <a:pt x="4406" y="18500"/>
                </a:cubicBezTo>
                <a:cubicBezTo>
                  <a:pt x="4406" y="18500"/>
                  <a:pt x="4406" y="18500"/>
                  <a:pt x="4437" y="18500"/>
                </a:cubicBezTo>
                <a:cubicBezTo>
                  <a:pt x="4468" y="18406"/>
                  <a:pt x="4531" y="18312"/>
                  <a:pt x="4593" y="18219"/>
                </a:cubicBezTo>
                <a:cubicBezTo>
                  <a:pt x="4531" y="18312"/>
                  <a:pt x="4468" y="18406"/>
                  <a:pt x="4437" y="18500"/>
                </a:cubicBezTo>
                <a:cubicBezTo>
                  <a:pt x="4437" y="18500"/>
                  <a:pt x="4468" y="18500"/>
                  <a:pt x="4500" y="18500"/>
                </a:cubicBezTo>
                <a:cubicBezTo>
                  <a:pt x="4562" y="18500"/>
                  <a:pt x="4625" y="18500"/>
                  <a:pt x="4687" y="18500"/>
                </a:cubicBezTo>
                <a:cubicBezTo>
                  <a:pt x="4718" y="18469"/>
                  <a:pt x="4718" y="18469"/>
                  <a:pt x="4718" y="18469"/>
                </a:cubicBezTo>
                <a:cubicBezTo>
                  <a:pt x="4875" y="18187"/>
                  <a:pt x="5031" y="17875"/>
                  <a:pt x="5218" y="17625"/>
                </a:cubicBezTo>
                <a:cubicBezTo>
                  <a:pt x="5437" y="17250"/>
                  <a:pt x="5687" y="16906"/>
                  <a:pt x="5937" y="16594"/>
                </a:cubicBezTo>
                <a:cubicBezTo>
                  <a:pt x="6187" y="16250"/>
                  <a:pt x="6468" y="15969"/>
                  <a:pt x="6750" y="15656"/>
                </a:cubicBezTo>
                <a:cubicBezTo>
                  <a:pt x="6812" y="15594"/>
                  <a:pt x="6812" y="15531"/>
                  <a:pt x="6812" y="15438"/>
                </a:cubicBezTo>
                <a:cubicBezTo>
                  <a:pt x="6812" y="15406"/>
                  <a:pt x="6812" y="15406"/>
                  <a:pt x="6812" y="15406"/>
                </a:cubicBezTo>
                <a:cubicBezTo>
                  <a:pt x="6687" y="15406"/>
                  <a:pt x="6625" y="15281"/>
                  <a:pt x="6562" y="15219"/>
                </a:cubicBezTo>
                <a:cubicBezTo>
                  <a:pt x="6531" y="15188"/>
                  <a:pt x="6531" y="15125"/>
                  <a:pt x="6468" y="15156"/>
                </a:cubicBezTo>
                <a:cubicBezTo>
                  <a:pt x="6437" y="15156"/>
                  <a:pt x="6406" y="15094"/>
                  <a:pt x="6406" y="15094"/>
                </a:cubicBezTo>
                <a:cubicBezTo>
                  <a:pt x="6437" y="15031"/>
                  <a:pt x="6437" y="15000"/>
                  <a:pt x="6406" y="14969"/>
                </a:cubicBezTo>
                <a:cubicBezTo>
                  <a:pt x="6375" y="14938"/>
                  <a:pt x="6375" y="14875"/>
                  <a:pt x="6406" y="14875"/>
                </a:cubicBezTo>
                <a:cubicBezTo>
                  <a:pt x="6437" y="14844"/>
                  <a:pt x="6468" y="14875"/>
                  <a:pt x="6468" y="14906"/>
                </a:cubicBezTo>
                <a:cubicBezTo>
                  <a:pt x="6500" y="14938"/>
                  <a:pt x="6531" y="15000"/>
                  <a:pt x="6593" y="14938"/>
                </a:cubicBezTo>
                <a:cubicBezTo>
                  <a:pt x="6625" y="14906"/>
                  <a:pt x="6718" y="14875"/>
                  <a:pt x="6625" y="14781"/>
                </a:cubicBezTo>
                <a:cubicBezTo>
                  <a:pt x="6593" y="14750"/>
                  <a:pt x="6625" y="14719"/>
                  <a:pt x="6656" y="14688"/>
                </a:cubicBezTo>
                <a:cubicBezTo>
                  <a:pt x="6687" y="14656"/>
                  <a:pt x="6718" y="14688"/>
                  <a:pt x="6718" y="14719"/>
                </a:cubicBezTo>
                <a:cubicBezTo>
                  <a:pt x="6750" y="14781"/>
                  <a:pt x="6781" y="14813"/>
                  <a:pt x="6843" y="14750"/>
                </a:cubicBezTo>
                <a:cubicBezTo>
                  <a:pt x="6875" y="14719"/>
                  <a:pt x="6906" y="14719"/>
                  <a:pt x="6906" y="14781"/>
                </a:cubicBezTo>
                <a:cubicBezTo>
                  <a:pt x="6937" y="14781"/>
                  <a:pt x="6937" y="14813"/>
                  <a:pt x="6968" y="14813"/>
                </a:cubicBezTo>
                <a:cubicBezTo>
                  <a:pt x="7000" y="14813"/>
                  <a:pt x="7000" y="14750"/>
                  <a:pt x="7000" y="14750"/>
                </a:cubicBezTo>
                <a:cubicBezTo>
                  <a:pt x="6968" y="14656"/>
                  <a:pt x="7000" y="14594"/>
                  <a:pt x="7062" y="14563"/>
                </a:cubicBezTo>
                <a:cubicBezTo>
                  <a:pt x="7156" y="14469"/>
                  <a:pt x="7250" y="14438"/>
                  <a:pt x="7312" y="14344"/>
                </a:cubicBezTo>
                <a:cubicBezTo>
                  <a:pt x="7343" y="14344"/>
                  <a:pt x="7343" y="14344"/>
                  <a:pt x="7343" y="14344"/>
                </a:cubicBezTo>
                <a:lnTo>
                  <a:pt x="7343" y="14344"/>
                </a:lnTo>
                <a:cubicBezTo>
                  <a:pt x="7343" y="14344"/>
                  <a:pt x="7343" y="14344"/>
                  <a:pt x="7312" y="14344"/>
                </a:cubicBezTo>
                <a:cubicBezTo>
                  <a:pt x="7250" y="14344"/>
                  <a:pt x="7187" y="14438"/>
                  <a:pt x="7093" y="14438"/>
                </a:cubicBezTo>
                <a:cubicBezTo>
                  <a:pt x="7218" y="14313"/>
                  <a:pt x="7343" y="14281"/>
                  <a:pt x="7437" y="14188"/>
                </a:cubicBezTo>
                <a:cubicBezTo>
                  <a:pt x="7500" y="14156"/>
                  <a:pt x="7500" y="14125"/>
                  <a:pt x="7500" y="14063"/>
                </a:cubicBezTo>
                <a:cubicBezTo>
                  <a:pt x="7375" y="14125"/>
                  <a:pt x="7281" y="14188"/>
                  <a:pt x="7156" y="14156"/>
                </a:cubicBezTo>
                <a:cubicBezTo>
                  <a:pt x="7125" y="14156"/>
                  <a:pt x="7187" y="14125"/>
                  <a:pt x="7156" y="14094"/>
                </a:cubicBezTo>
                <a:cubicBezTo>
                  <a:pt x="7125" y="14094"/>
                  <a:pt x="7125" y="14125"/>
                  <a:pt x="7093" y="14125"/>
                </a:cubicBezTo>
                <a:cubicBezTo>
                  <a:pt x="7062" y="14156"/>
                  <a:pt x="7031" y="14188"/>
                  <a:pt x="6968" y="14188"/>
                </a:cubicBezTo>
                <a:cubicBezTo>
                  <a:pt x="6875" y="14250"/>
                  <a:pt x="6812" y="14313"/>
                  <a:pt x="6718" y="14344"/>
                </a:cubicBezTo>
                <a:cubicBezTo>
                  <a:pt x="6718" y="14313"/>
                  <a:pt x="6750" y="14313"/>
                  <a:pt x="6750" y="14313"/>
                </a:cubicBezTo>
                <a:cubicBezTo>
                  <a:pt x="6656" y="14219"/>
                  <a:pt x="6750" y="14188"/>
                  <a:pt x="6781" y="14156"/>
                </a:cubicBezTo>
                <a:cubicBezTo>
                  <a:pt x="6875" y="14125"/>
                  <a:pt x="6937" y="14063"/>
                  <a:pt x="7000" y="14000"/>
                </a:cubicBezTo>
                <a:cubicBezTo>
                  <a:pt x="7031" y="13938"/>
                  <a:pt x="7093" y="13875"/>
                  <a:pt x="7156" y="13813"/>
                </a:cubicBezTo>
                <a:cubicBezTo>
                  <a:pt x="7218" y="13750"/>
                  <a:pt x="7312" y="13688"/>
                  <a:pt x="7343" y="13594"/>
                </a:cubicBezTo>
                <a:cubicBezTo>
                  <a:pt x="7343" y="13563"/>
                  <a:pt x="7375" y="13563"/>
                  <a:pt x="7406" y="13563"/>
                </a:cubicBezTo>
                <a:cubicBezTo>
                  <a:pt x="7468" y="13500"/>
                  <a:pt x="7562" y="13469"/>
                  <a:pt x="7625" y="13406"/>
                </a:cubicBezTo>
                <a:cubicBezTo>
                  <a:pt x="7531" y="13469"/>
                  <a:pt x="7406" y="13438"/>
                  <a:pt x="7312" y="13531"/>
                </a:cubicBezTo>
                <a:cubicBezTo>
                  <a:pt x="7312" y="13563"/>
                  <a:pt x="7281" y="13563"/>
                  <a:pt x="7250" y="13563"/>
                </a:cubicBezTo>
                <a:cubicBezTo>
                  <a:pt x="7187" y="13594"/>
                  <a:pt x="7125" y="13656"/>
                  <a:pt x="7000" y="13656"/>
                </a:cubicBezTo>
                <a:cubicBezTo>
                  <a:pt x="6937" y="13625"/>
                  <a:pt x="6875" y="13719"/>
                  <a:pt x="6812" y="13750"/>
                </a:cubicBezTo>
                <a:cubicBezTo>
                  <a:pt x="6781" y="13781"/>
                  <a:pt x="6750" y="13813"/>
                  <a:pt x="6718" y="13781"/>
                </a:cubicBezTo>
                <a:cubicBezTo>
                  <a:pt x="6843" y="13656"/>
                  <a:pt x="7000" y="13594"/>
                  <a:pt x="7156" y="13500"/>
                </a:cubicBezTo>
                <a:cubicBezTo>
                  <a:pt x="7093" y="13469"/>
                  <a:pt x="7062" y="13563"/>
                  <a:pt x="7000" y="13531"/>
                </a:cubicBezTo>
                <a:cubicBezTo>
                  <a:pt x="7000" y="13531"/>
                  <a:pt x="7000" y="13531"/>
                  <a:pt x="7000" y="13531"/>
                </a:cubicBezTo>
                <a:cubicBezTo>
                  <a:pt x="7031" y="13500"/>
                  <a:pt x="7062" y="13469"/>
                  <a:pt x="7093" y="13469"/>
                </a:cubicBezTo>
                <a:cubicBezTo>
                  <a:pt x="7125" y="13469"/>
                  <a:pt x="7125" y="13469"/>
                  <a:pt x="7156" y="13406"/>
                </a:cubicBezTo>
                <a:cubicBezTo>
                  <a:pt x="7156" y="13406"/>
                  <a:pt x="7156" y="13406"/>
                  <a:pt x="7156" y="13406"/>
                </a:cubicBezTo>
                <a:cubicBezTo>
                  <a:pt x="7187" y="13406"/>
                  <a:pt x="7250" y="13406"/>
                  <a:pt x="7250" y="13344"/>
                </a:cubicBezTo>
                <a:cubicBezTo>
                  <a:pt x="7250" y="13344"/>
                  <a:pt x="7250" y="13344"/>
                  <a:pt x="7250" y="13344"/>
                </a:cubicBezTo>
                <a:cubicBezTo>
                  <a:pt x="7375" y="13344"/>
                  <a:pt x="7468" y="13281"/>
                  <a:pt x="7562" y="13219"/>
                </a:cubicBezTo>
                <a:cubicBezTo>
                  <a:pt x="7562" y="13219"/>
                  <a:pt x="7562" y="13219"/>
                  <a:pt x="7562" y="13219"/>
                </a:cubicBezTo>
                <a:cubicBezTo>
                  <a:pt x="7593" y="13219"/>
                  <a:pt x="7625" y="13219"/>
                  <a:pt x="7625" y="13188"/>
                </a:cubicBezTo>
                <a:cubicBezTo>
                  <a:pt x="7718" y="13188"/>
                  <a:pt x="7812" y="13125"/>
                  <a:pt x="7906" y="13094"/>
                </a:cubicBezTo>
                <a:cubicBezTo>
                  <a:pt x="7812" y="13125"/>
                  <a:pt x="7718" y="13125"/>
                  <a:pt x="7625" y="13188"/>
                </a:cubicBezTo>
                <a:cubicBezTo>
                  <a:pt x="7625" y="13188"/>
                  <a:pt x="7625" y="13188"/>
                  <a:pt x="7625" y="13188"/>
                </a:cubicBezTo>
                <a:cubicBezTo>
                  <a:pt x="7593" y="13188"/>
                  <a:pt x="7562" y="13188"/>
                  <a:pt x="7562" y="13219"/>
                </a:cubicBezTo>
                <a:cubicBezTo>
                  <a:pt x="7468" y="13219"/>
                  <a:pt x="7406" y="13281"/>
                  <a:pt x="7343" y="13281"/>
                </a:cubicBezTo>
                <a:cubicBezTo>
                  <a:pt x="7343" y="13281"/>
                  <a:pt x="7343" y="13281"/>
                  <a:pt x="7343" y="13281"/>
                </a:cubicBezTo>
                <a:cubicBezTo>
                  <a:pt x="7312" y="13281"/>
                  <a:pt x="7312" y="13281"/>
                  <a:pt x="7312" y="13281"/>
                </a:cubicBezTo>
                <a:cubicBezTo>
                  <a:pt x="7312" y="13281"/>
                  <a:pt x="7312" y="13281"/>
                  <a:pt x="7312" y="13281"/>
                </a:cubicBezTo>
                <a:cubicBezTo>
                  <a:pt x="7312" y="13281"/>
                  <a:pt x="7312" y="13281"/>
                  <a:pt x="7312" y="13281"/>
                </a:cubicBezTo>
                <a:cubicBezTo>
                  <a:pt x="7312" y="13281"/>
                  <a:pt x="7312" y="13281"/>
                  <a:pt x="7312" y="13313"/>
                </a:cubicBezTo>
                <a:cubicBezTo>
                  <a:pt x="7250" y="13313"/>
                  <a:pt x="7218" y="13375"/>
                  <a:pt x="7156" y="13344"/>
                </a:cubicBezTo>
                <a:cubicBezTo>
                  <a:pt x="7031" y="13375"/>
                  <a:pt x="6906" y="13438"/>
                  <a:pt x="6812" y="13500"/>
                </a:cubicBezTo>
                <a:cubicBezTo>
                  <a:pt x="6781" y="13500"/>
                  <a:pt x="6750" y="13531"/>
                  <a:pt x="6750" y="13531"/>
                </a:cubicBezTo>
                <a:cubicBezTo>
                  <a:pt x="6593" y="13594"/>
                  <a:pt x="6500" y="13750"/>
                  <a:pt x="6343" y="13750"/>
                </a:cubicBezTo>
                <a:cubicBezTo>
                  <a:pt x="6343" y="13688"/>
                  <a:pt x="6406" y="13688"/>
                  <a:pt x="6406" y="13625"/>
                </a:cubicBezTo>
                <a:cubicBezTo>
                  <a:pt x="6343" y="13656"/>
                  <a:pt x="6281" y="13719"/>
                  <a:pt x="6187" y="13750"/>
                </a:cubicBezTo>
                <a:cubicBezTo>
                  <a:pt x="6187" y="13719"/>
                  <a:pt x="6218" y="13719"/>
                  <a:pt x="6250" y="13688"/>
                </a:cubicBezTo>
                <a:cubicBezTo>
                  <a:pt x="6406" y="13563"/>
                  <a:pt x="6593" y="13469"/>
                  <a:pt x="6750" y="13344"/>
                </a:cubicBezTo>
                <a:cubicBezTo>
                  <a:pt x="6843" y="13313"/>
                  <a:pt x="6906" y="13250"/>
                  <a:pt x="6968" y="13188"/>
                </a:cubicBezTo>
                <a:cubicBezTo>
                  <a:pt x="7031" y="13094"/>
                  <a:pt x="7125" y="13063"/>
                  <a:pt x="7218" y="13031"/>
                </a:cubicBezTo>
                <a:cubicBezTo>
                  <a:pt x="7281" y="13000"/>
                  <a:pt x="7343" y="13000"/>
                  <a:pt x="7375" y="12938"/>
                </a:cubicBezTo>
                <a:cubicBezTo>
                  <a:pt x="7343" y="12906"/>
                  <a:pt x="7343" y="12938"/>
                  <a:pt x="7312" y="12938"/>
                </a:cubicBezTo>
                <a:cubicBezTo>
                  <a:pt x="7125" y="13000"/>
                  <a:pt x="6906" y="13125"/>
                  <a:pt x="6718" y="13219"/>
                </a:cubicBezTo>
                <a:cubicBezTo>
                  <a:pt x="6687" y="13250"/>
                  <a:pt x="6656" y="13250"/>
                  <a:pt x="6593" y="13219"/>
                </a:cubicBezTo>
                <a:cubicBezTo>
                  <a:pt x="6656" y="13188"/>
                  <a:pt x="6687" y="13156"/>
                  <a:pt x="6718" y="13125"/>
                </a:cubicBezTo>
                <a:cubicBezTo>
                  <a:pt x="6718" y="13125"/>
                  <a:pt x="6718" y="13125"/>
                  <a:pt x="6718" y="13125"/>
                </a:cubicBezTo>
                <a:cubicBezTo>
                  <a:pt x="6718" y="13125"/>
                  <a:pt x="6750" y="13125"/>
                  <a:pt x="6750" y="13094"/>
                </a:cubicBezTo>
                <a:cubicBezTo>
                  <a:pt x="6750" y="13094"/>
                  <a:pt x="6750" y="13094"/>
                  <a:pt x="6750" y="13094"/>
                </a:cubicBezTo>
                <a:cubicBezTo>
                  <a:pt x="6718" y="13094"/>
                  <a:pt x="6718" y="13094"/>
                  <a:pt x="6718" y="13125"/>
                </a:cubicBezTo>
                <a:cubicBezTo>
                  <a:pt x="6687" y="13094"/>
                  <a:pt x="6656" y="13156"/>
                  <a:pt x="6593" y="13125"/>
                </a:cubicBezTo>
                <a:cubicBezTo>
                  <a:pt x="6750" y="13063"/>
                  <a:pt x="6812" y="12906"/>
                  <a:pt x="6968" y="12844"/>
                </a:cubicBezTo>
                <a:cubicBezTo>
                  <a:pt x="7000" y="12844"/>
                  <a:pt x="7031" y="12813"/>
                  <a:pt x="7031" y="12750"/>
                </a:cubicBezTo>
                <a:cubicBezTo>
                  <a:pt x="7062" y="12719"/>
                  <a:pt x="7093" y="12688"/>
                  <a:pt x="7125" y="12656"/>
                </a:cubicBezTo>
                <a:cubicBezTo>
                  <a:pt x="7218" y="12594"/>
                  <a:pt x="7343" y="12563"/>
                  <a:pt x="7437" y="12500"/>
                </a:cubicBezTo>
                <a:cubicBezTo>
                  <a:pt x="7468" y="12500"/>
                  <a:pt x="7531" y="12500"/>
                  <a:pt x="7531" y="12438"/>
                </a:cubicBezTo>
                <a:cubicBezTo>
                  <a:pt x="7500" y="12406"/>
                  <a:pt x="7468" y="12469"/>
                  <a:pt x="7406" y="12438"/>
                </a:cubicBezTo>
                <a:cubicBezTo>
                  <a:pt x="7593" y="12375"/>
                  <a:pt x="7781" y="12313"/>
                  <a:pt x="7937" y="12281"/>
                </a:cubicBezTo>
                <a:cubicBezTo>
                  <a:pt x="8125" y="12219"/>
                  <a:pt x="8312" y="12188"/>
                  <a:pt x="8500" y="12156"/>
                </a:cubicBezTo>
                <a:cubicBezTo>
                  <a:pt x="8687" y="12125"/>
                  <a:pt x="8875" y="12094"/>
                  <a:pt x="9062" y="12094"/>
                </a:cubicBezTo>
                <a:cubicBezTo>
                  <a:pt x="8687" y="12094"/>
                  <a:pt x="8343" y="12125"/>
                  <a:pt x="8000" y="12219"/>
                </a:cubicBezTo>
                <a:cubicBezTo>
                  <a:pt x="7687" y="12281"/>
                  <a:pt x="7375" y="12375"/>
                  <a:pt x="7062" y="12500"/>
                </a:cubicBezTo>
                <a:cubicBezTo>
                  <a:pt x="7000" y="12531"/>
                  <a:pt x="6937" y="12531"/>
                  <a:pt x="6906" y="12594"/>
                </a:cubicBezTo>
                <a:cubicBezTo>
                  <a:pt x="6875" y="12594"/>
                  <a:pt x="6843" y="12594"/>
                  <a:pt x="6843" y="12625"/>
                </a:cubicBezTo>
                <a:cubicBezTo>
                  <a:pt x="6781" y="12594"/>
                  <a:pt x="6750" y="12594"/>
                  <a:pt x="6687" y="12625"/>
                </a:cubicBezTo>
                <a:cubicBezTo>
                  <a:pt x="6625" y="12656"/>
                  <a:pt x="6562" y="12719"/>
                  <a:pt x="6500" y="12719"/>
                </a:cubicBezTo>
                <a:cubicBezTo>
                  <a:pt x="6500" y="12719"/>
                  <a:pt x="6500" y="12719"/>
                  <a:pt x="6500" y="12719"/>
                </a:cubicBezTo>
                <a:cubicBezTo>
                  <a:pt x="6500" y="12688"/>
                  <a:pt x="6500" y="12656"/>
                  <a:pt x="6531" y="12656"/>
                </a:cubicBezTo>
                <a:cubicBezTo>
                  <a:pt x="6656" y="12594"/>
                  <a:pt x="6781" y="12531"/>
                  <a:pt x="6906" y="12438"/>
                </a:cubicBezTo>
                <a:cubicBezTo>
                  <a:pt x="7000" y="12344"/>
                  <a:pt x="7125" y="12313"/>
                  <a:pt x="7250" y="12250"/>
                </a:cubicBezTo>
                <a:cubicBezTo>
                  <a:pt x="7500" y="12156"/>
                  <a:pt x="7781" y="12063"/>
                  <a:pt x="8031" y="12000"/>
                </a:cubicBezTo>
                <a:cubicBezTo>
                  <a:pt x="8187" y="11969"/>
                  <a:pt x="8343" y="11938"/>
                  <a:pt x="8500" y="11906"/>
                </a:cubicBezTo>
                <a:cubicBezTo>
                  <a:pt x="8156" y="11906"/>
                  <a:pt x="7781" y="12000"/>
                  <a:pt x="7437" y="12094"/>
                </a:cubicBezTo>
                <a:cubicBezTo>
                  <a:pt x="7687" y="11938"/>
                  <a:pt x="7968" y="11906"/>
                  <a:pt x="8250" y="11813"/>
                </a:cubicBezTo>
                <a:cubicBezTo>
                  <a:pt x="8062" y="11813"/>
                  <a:pt x="7906" y="11844"/>
                  <a:pt x="7781" y="11875"/>
                </a:cubicBezTo>
                <a:cubicBezTo>
                  <a:pt x="7781" y="11875"/>
                  <a:pt x="7812" y="11844"/>
                  <a:pt x="7843" y="11844"/>
                </a:cubicBezTo>
                <a:cubicBezTo>
                  <a:pt x="8062" y="11813"/>
                  <a:pt x="8312" y="11750"/>
                  <a:pt x="8531" y="11719"/>
                </a:cubicBezTo>
                <a:cubicBezTo>
                  <a:pt x="9093" y="11656"/>
                  <a:pt x="9656" y="11688"/>
                  <a:pt x="10187" y="11781"/>
                </a:cubicBezTo>
                <a:cubicBezTo>
                  <a:pt x="10250" y="11781"/>
                  <a:pt x="10312" y="11813"/>
                  <a:pt x="10375" y="11813"/>
                </a:cubicBezTo>
                <a:cubicBezTo>
                  <a:pt x="10406" y="11813"/>
                  <a:pt x="10437" y="11781"/>
                  <a:pt x="10468" y="11750"/>
                </a:cubicBezTo>
                <a:cubicBezTo>
                  <a:pt x="10468" y="11719"/>
                  <a:pt x="10406" y="11719"/>
                  <a:pt x="10406" y="11719"/>
                </a:cubicBezTo>
                <a:cubicBezTo>
                  <a:pt x="10281" y="11688"/>
                  <a:pt x="10156" y="11688"/>
                  <a:pt x="10031" y="11656"/>
                </a:cubicBezTo>
                <a:cubicBezTo>
                  <a:pt x="9812" y="11594"/>
                  <a:pt x="9562" y="11625"/>
                  <a:pt x="9343" y="11594"/>
                </a:cubicBezTo>
                <a:cubicBezTo>
                  <a:pt x="9125" y="11531"/>
                  <a:pt x="8906" y="11563"/>
                  <a:pt x="8718" y="11563"/>
                </a:cubicBezTo>
                <a:cubicBezTo>
                  <a:pt x="8593" y="11594"/>
                  <a:pt x="8500" y="11594"/>
                  <a:pt x="8406" y="11594"/>
                </a:cubicBezTo>
                <a:cubicBezTo>
                  <a:pt x="8593" y="11563"/>
                  <a:pt x="8781" y="11500"/>
                  <a:pt x="8968" y="11531"/>
                </a:cubicBezTo>
                <a:cubicBezTo>
                  <a:pt x="8656" y="11500"/>
                  <a:pt x="8375" y="11531"/>
                  <a:pt x="8062" y="11594"/>
                </a:cubicBezTo>
                <a:cubicBezTo>
                  <a:pt x="7906" y="11625"/>
                  <a:pt x="7718" y="11625"/>
                  <a:pt x="7531" y="11625"/>
                </a:cubicBezTo>
                <a:cubicBezTo>
                  <a:pt x="7562" y="11594"/>
                  <a:pt x="7593" y="11563"/>
                  <a:pt x="7625" y="11563"/>
                </a:cubicBezTo>
                <a:cubicBezTo>
                  <a:pt x="7812" y="11531"/>
                  <a:pt x="7968" y="11469"/>
                  <a:pt x="8156" y="11438"/>
                </a:cubicBezTo>
                <a:cubicBezTo>
                  <a:pt x="8343" y="11406"/>
                  <a:pt x="8562" y="11375"/>
                  <a:pt x="8750" y="11344"/>
                </a:cubicBezTo>
                <a:cubicBezTo>
                  <a:pt x="9062" y="11344"/>
                  <a:pt x="9343" y="11344"/>
                  <a:pt x="9656" y="11344"/>
                </a:cubicBezTo>
                <a:cubicBezTo>
                  <a:pt x="9718" y="11375"/>
                  <a:pt x="9781" y="11375"/>
                  <a:pt x="9812" y="11375"/>
                </a:cubicBezTo>
                <a:cubicBezTo>
                  <a:pt x="10000" y="11438"/>
                  <a:pt x="10156" y="11406"/>
                  <a:pt x="10312" y="11469"/>
                </a:cubicBezTo>
                <a:cubicBezTo>
                  <a:pt x="10500" y="11500"/>
                  <a:pt x="10656" y="11531"/>
                  <a:pt x="10843" y="11594"/>
                </a:cubicBezTo>
                <a:cubicBezTo>
                  <a:pt x="11031" y="11656"/>
                  <a:pt x="11218" y="11719"/>
                  <a:pt x="11437" y="11813"/>
                </a:cubicBezTo>
                <a:cubicBezTo>
                  <a:pt x="11500" y="11813"/>
                  <a:pt x="11562" y="11844"/>
                  <a:pt x="11593" y="11875"/>
                </a:cubicBezTo>
                <a:cubicBezTo>
                  <a:pt x="11625" y="11875"/>
                  <a:pt x="11656" y="11906"/>
                  <a:pt x="11656" y="11938"/>
                </a:cubicBezTo>
                <a:cubicBezTo>
                  <a:pt x="11625" y="11969"/>
                  <a:pt x="11593" y="11938"/>
                  <a:pt x="11593" y="11938"/>
                </a:cubicBezTo>
                <a:cubicBezTo>
                  <a:pt x="11406" y="11875"/>
                  <a:pt x="11218" y="11844"/>
                  <a:pt x="11062" y="11781"/>
                </a:cubicBezTo>
                <a:cubicBezTo>
                  <a:pt x="11031" y="11781"/>
                  <a:pt x="11031" y="11781"/>
                  <a:pt x="11000" y="11813"/>
                </a:cubicBezTo>
                <a:cubicBezTo>
                  <a:pt x="10968" y="11844"/>
                  <a:pt x="10968" y="11844"/>
                  <a:pt x="10937" y="11844"/>
                </a:cubicBezTo>
                <a:cubicBezTo>
                  <a:pt x="10812" y="11781"/>
                  <a:pt x="10687" y="11750"/>
                  <a:pt x="10562" y="11781"/>
                </a:cubicBezTo>
                <a:cubicBezTo>
                  <a:pt x="10531" y="11781"/>
                  <a:pt x="10500" y="11781"/>
                  <a:pt x="10500" y="11813"/>
                </a:cubicBezTo>
                <a:cubicBezTo>
                  <a:pt x="10500" y="11844"/>
                  <a:pt x="10531" y="11844"/>
                  <a:pt x="10562" y="11844"/>
                </a:cubicBezTo>
                <a:cubicBezTo>
                  <a:pt x="10625" y="11875"/>
                  <a:pt x="10750" y="11844"/>
                  <a:pt x="10781" y="11969"/>
                </a:cubicBezTo>
                <a:cubicBezTo>
                  <a:pt x="10781" y="11969"/>
                  <a:pt x="10812" y="11969"/>
                  <a:pt x="10812" y="11969"/>
                </a:cubicBezTo>
                <a:cubicBezTo>
                  <a:pt x="10968" y="12000"/>
                  <a:pt x="11156" y="12063"/>
                  <a:pt x="11312" y="12125"/>
                </a:cubicBezTo>
                <a:cubicBezTo>
                  <a:pt x="11437" y="12156"/>
                  <a:pt x="11531" y="12219"/>
                  <a:pt x="11656" y="12250"/>
                </a:cubicBezTo>
                <a:cubicBezTo>
                  <a:pt x="11406" y="12219"/>
                  <a:pt x="11156" y="12125"/>
                  <a:pt x="10906" y="12094"/>
                </a:cubicBezTo>
                <a:cubicBezTo>
                  <a:pt x="11968" y="12375"/>
                  <a:pt x="12968" y="12844"/>
                  <a:pt x="13968" y="13344"/>
                </a:cubicBezTo>
                <a:cubicBezTo>
                  <a:pt x="13937" y="13375"/>
                  <a:pt x="13906" y="13344"/>
                  <a:pt x="13875" y="13344"/>
                </a:cubicBezTo>
                <a:cubicBezTo>
                  <a:pt x="13875" y="13344"/>
                  <a:pt x="13875" y="13344"/>
                  <a:pt x="13875" y="13344"/>
                </a:cubicBezTo>
                <a:cubicBezTo>
                  <a:pt x="13843" y="13281"/>
                  <a:pt x="13781" y="13281"/>
                  <a:pt x="13718" y="13281"/>
                </a:cubicBezTo>
                <a:cubicBezTo>
                  <a:pt x="13593" y="13219"/>
                  <a:pt x="13468" y="13125"/>
                  <a:pt x="13343" y="13125"/>
                </a:cubicBezTo>
                <a:cubicBezTo>
                  <a:pt x="13343" y="13125"/>
                  <a:pt x="13343" y="13125"/>
                  <a:pt x="13343" y="13125"/>
                </a:cubicBezTo>
                <a:cubicBezTo>
                  <a:pt x="13312" y="13063"/>
                  <a:pt x="13281" y="13094"/>
                  <a:pt x="13250" y="13063"/>
                </a:cubicBezTo>
                <a:cubicBezTo>
                  <a:pt x="13187" y="13031"/>
                  <a:pt x="13093" y="13031"/>
                  <a:pt x="13031" y="13000"/>
                </a:cubicBezTo>
                <a:cubicBezTo>
                  <a:pt x="12687" y="12844"/>
                  <a:pt x="12312" y="12719"/>
                  <a:pt x="11937" y="12594"/>
                </a:cubicBezTo>
                <a:cubicBezTo>
                  <a:pt x="11593" y="12469"/>
                  <a:pt x="11281" y="12375"/>
                  <a:pt x="10937" y="12281"/>
                </a:cubicBezTo>
                <a:cubicBezTo>
                  <a:pt x="10843" y="12281"/>
                  <a:pt x="10781" y="12250"/>
                  <a:pt x="10687" y="12250"/>
                </a:cubicBezTo>
                <a:cubicBezTo>
                  <a:pt x="10937" y="12344"/>
                  <a:pt x="11187" y="12375"/>
                  <a:pt x="11437" y="12469"/>
                </a:cubicBezTo>
                <a:cubicBezTo>
                  <a:pt x="11406" y="12500"/>
                  <a:pt x="11375" y="12469"/>
                  <a:pt x="11375" y="12500"/>
                </a:cubicBezTo>
                <a:cubicBezTo>
                  <a:pt x="11468" y="12531"/>
                  <a:pt x="11531" y="12563"/>
                  <a:pt x="11625" y="12594"/>
                </a:cubicBezTo>
                <a:cubicBezTo>
                  <a:pt x="11687" y="12625"/>
                  <a:pt x="11750" y="12656"/>
                  <a:pt x="11812" y="12656"/>
                </a:cubicBezTo>
                <a:cubicBezTo>
                  <a:pt x="11843" y="12688"/>
                  <a:pt x="11843" y="12750"/>
                  <a:pt x="11875" y="12750"/>
                </a:cubicBezTo>
                <a:cubicBezTo>
                  <a:pt x="11937" y="12781"/>
                  <a:pt x="12031" y="12844"/>
                  <a:pt x="12093" y="12875"/>
                </a:cubicBezTo>
                <a:cubicBezTo>
                  <a:pt x="12343" y="12938"/>
                  <a:pt x="12562" y="13031"/>
                  <a:pt x="12812" y="13125"/>
                </a:cubicBezTo>
                <a:cubicBezTo>
                  <a:pt x="13031" y="13219"/>
                  <a:pt x="13250" y="13375"/>
                  <a:pt x="13500" y="13469"/>
                </a:cubicBezTo>
                <a:cubicBezTo>
                  <a:pt x="13500" y="13469"/>
                  <a:pt x="13531" y="13500"/>
                  <a:pt x="13531" y="13500"/>
                </a:cubicBezTo>
                <a:cubicBezTo>
                  <a:pt x="13468" y="13563"/>
                  <a:pt x="13531" y="13563"/>
                  <a:pt x="13562" y="13563"/>
                </a:cubicBezTo>
                <a:cubicBezTo>
                  <a:pt x="13625" y="13625"/>
                  <a:pt x="13718" y="13656"/>
                  <a:pt x="13781" y="13688"/>
                </a:cubicBezTo>
                <a:cubicBezTo>
                  <a:pt x="13781" y="13688"/>
                  <a:pt x="13781" y="13688"/>
                  <a:pt x="13781" y="13719"/>
                </a:cubicBezTo>
                <a:cubicBezTo>
                  <a:pt x="13531" y="13625"/>
                  <a:pt x="13281" y="13469"/>
                  <a:pt x="13000" y="13406"/>
                </a:cubicBezTo>
                <a:cubicBezTo>
                  <a:pt x="13031" y="13438"/>
                  <a:pt x="13031" y="13438"/>
                  <a:pt x="13062" y="13469"/>
                </a:cubicBezTo>
                <a:cubicBezTo>
                  <a:pt x="13281" y="13563"/>
                  <a:pt x="13531" y="13688"/>
                  <a:pt x="13750" y="13813"/>
                </a:cubicBezTo>
                <a:cubicBezTo>
                  <a:pt x="14000" y="13938"/>
                  <a:pt x="14250" y="14031"/>
                  <a:pt x="14500" y="14156"/>
                </a:cubicBezTo>
                <a:cubicBezTo>
                  <a:pt x="14750" y="14281"/>
                  <a:pt x="15000" y="14375"/>
                  <a:pt x="15250" y="14500"/>
                </a:cubicBezTo>
                <a:cubicBezTo>
                  <a:pt x="15406" y="14594"/>
                  <a:pt x="15562" y="14656"/>
                  <a:pt x="15687" y="14750"/>
                </a:cubicBezTo>
                <a:cubicBezTo>
                  <a:pt x="15687" y="14750"/>
                  <a:pt x="15718" y="14750"/>
                  <a:pt x="15718" y="14750"/>
                </a:cubicBezTo>
                <a:cubicBezTo>
                  <a:pt x="15718" y="14750"/>
                  <a:pt x="15718" y="14750"/>
                  <a:pt x="15718" y="14750"/>
                </a:cubicBezTo>
                <a:cubicBezTo>
                  <a:pt x="15718" y="14750"/>
                  <a:pt x="15687" y="14750"/>
                  <a:pt x="15687" y="14750"/>
                </a:cubicBezTo>
                <a:cubicBezTo>
                  <a:pt x="15687" y="14750"/>
                  <a:pt x="15656" y="14719"/>
                  <a:pt x="15625" y="14719"/>
                </a:cubicBezTo>
                <a:cubicBezTo>
                  <a:pt x="15625" y="14719"/>
                  <a:pt x="15625" y="14719"/>
                  <a:pt x="15625" y="14719"/>
                </a:cubicBezTo>
                <a:cubicBezTo>
                  <a:pt x="15625" y="14719"/>
                  <a:pt x="15593" y="14688"/>
                  <a:pt x="15593" y="14719"/>
                </a:cubicBezTo>
                <a:cubicBezTo>
                  <a:pt x="15593" y="14750"/>
                  <a:pt x="15625" y="14719"/>
                  <a:pt x="15625" y="14750"/>
                </a:cubicBezTo>
                <a:cubicBezTo>
                  <a:pt x="15625" y="14781"/>
                  <a:pt x="15656" y="14781"/>
                  <a:pt x="15687" y="14781"/>
                </a:cubicBezTo>
                <a:cubicBezTo>
                  <a:pt x="15718" y="14781"/>
                  <a:pt x="15718" y="14813"/>
                  <a:pt x="15750" y="14813"/>
                </a:cubicBezTo>
                <a:cubicBezTo>
                  <a:pt x="16000" y="14938"/>
                  <a:pt x="16250" y="15031"/>
                  <a:pt x="16500" y="15156"/>
                </a:cubicBezTo>
                <a:cubicBezTo>
                  <a:pt x="16281" y="15094"/>
                  <a:pt x="16093" y="15000"/>
                  <a:pt x="15875" y="14906"/>
                </a:cubicBezTo>
                <a:cubicBezTo>
                  <a:pt x="15750" y="14844"/>
                  <a:pt x="15625" y="14781"/>
                  <a:pt x="15500" y="14750"/>
                </a:cubicBezTo>
                <a:cubicBezTo>
                  <a:pt x="15500" y="14750"/>
                  <a:pt x="15500" y="14781"/>
                  <a:pt x="15468" y="14781"/>
                </a:cubicBezTo>
                <a:cubicBezTo>
                  <a:pt x="15500" y="14781"/>
                  <a:pt x="15500" y="14750"/>
                  <a:pt x="15500" y="14750"/>
                </a:cubicBezTo>
                <a:cubicBezTo>
                  <a:pt x="15468" y="14719"/>
                  <a:pt x="15437" y="14719"/>
                  <a:pt x="15375" y="14719"/>
                </a:cubicBezTo>
                <a:cubicBezTo>
                  <a:pt x="15375" y="14719"/>
                  <a:pt x="15375" y="14719"/>
                  <a:pt x="15375" y="14719"/>
                </a:cubicBezTo>
                <a:cubicBezTo>
                  <a:pt x="15375" y="14688"/>
                  <a:pt x="15343" y="14688"/>
                  <a:pt x="15343" y="14688"/>
                </a:cubicBezTo>
                <a:cubicBezTo>
                  <a:pt x="15312" y="14688"/>
                  <a:pt x="15312" y="14688"/>
                  <a:pt x="15312" y="14719"/>
                </a:cubicBezTo>
                <a:cubicBezTo>
                  <a:pt x="15312" y="14719"/>
                  <a:pt x="15312" y="14719"/>
                  <a:pt x="15312" y="14719"/>
                </a:cubicBezTo>
                <a:cubicBezTo>
                  <a:pt x="15312" y="14688"/>
                  <a:pt x="15312" y="14688"/>
                  <a:pt x="15343" y="14688"/>
                </a:cubicBezTo>
                <a:cubicBezTo>
                  <a:pt x="15312" y="14656"/>
                  <a:pt x="15312" y="14656"/>
                  <a:pt x="15281" y="14656"/>
                </a:cubicBezTo>
                <a:cubicBezTo>
                  <a:pt x="15281" y="14656"/>
                  <a:pt x="15250" y="14656"/>
                  <a:pt x="15250" y="14688"/>
                </a:cubicBezTo>
                <a:cubicBezTo>
                  <a:pt x="15250" y="14688"/>
                  <a:pt x="15250" y="14688"/>
                  <a:pt x="15250" y="14688"/>
                </a:cubicBezTo>
                <a:cubicBezTo>
                  <a:pt x="15250" y="14656"/>
                  <a:pt x="15281" y="14656"/>
                  <a:pt x="15281" y="14656"/>
                </a:cubicBezTo>
                <a:cubicBezTo>
                  <a:pt x="15250" y="14625"/>
                  <a:pt x="15187" y="14594"/>
                  <a:pt x="15156" y="14594"/>
                </a:cubicBezTo>
                <a:cubicBezTo>
                  <a:pt x="15156" y="14594"/>
                  <a:pt x="15156" y="14594"/>
                  <a:pt x="15125" y="14625"/>
                </a:cubicBezTo>
                <a:cubicBezTo>
                  <a:pt x="15156" y="14594"/>
                  <a:pt x="15156" y="14594"/>
                  <a:pt x="15156" y="14594"/>
                </a:cubicBezTo>
                <a:cubicBezTo>
                  <a:pt x="15125" y="14563"/>
                  <a:pt x="15062" y="14531"/>
                  <a:pt x="15031" y="14531"/>
                </a:cubicBezTo>
                <a:cubicBezTo>
                  <a:pt x="15031" y="14531"/>
                  <a:pt x="15031" y="14531"/>
                  <a:pt x="15031" y="14531"/>
                </a:cubicBezTo>
                <a:cubicBezTo>
                  <a:pt x="15000" y="14500"/>
                  <a:pt x="14968" y="14469"/>
                  <a:pt x="14906" y="14500"/>
                </a:cubicBezTo>
                <a:cubicBezTo>
                  <a:pt x="14906" y="14500"/>
                  <a:pt x="14906" y="14500"/>
                  <a:pt x="14906" y="14500"/>
                </a:cubicBezTo>
                <a:cubicBezTo>
                  <a:pt x="14906" y="14469"/>
                  <a:pt x="14875" y="14469"/>
                  <a:pt x="14843" y="14500"/>
                </a:cubicBezTo>
                <a:cubicBezTo>
                  <a:pt x="14843" y="14469"/>
                  <a:pt x="14843" y="14469"/>
                  <a:pt x="14843" y="14469"/>
                </a:cubicBezTo>
                <a:cubicBezTo>
                  <a:pt x="14812" y="14406"/>
                  <a:pt x="14750" y="14375"/>
                  <a:pt x="14687" y="14406"/>
                </a:cubicBezTo>
                <a:cubicBezTo>
                  <a:pt x="14375" y="14281"/>
                  <a:pt x="14093" y="14125"/>
                  <a:pt x="13781" y="14000"/>
                </a:cubicBezTo>
                <a:cubicBezTo>
                  <a:pt x="13750" y="14000"/>
                  <a:pt x="13750" y="14000"/>
                  <a:pt x="13750" y="14031"/>
                </a:cubicBezTo>
                <a:cubicBezTo>
                  <a:pt x="13937" y="14094"/>
                  <a:pt x="14093" y="14188"/>
                  <a:pt x="14281" y="14250"/>
                </a:cubicBezTo>
                <a:cubicBezTo>
                  <a:pt x="14250" y="14313"/>
                  <a:pt x="14312" y="14313"/>
                  <a:pt x="14343" y="14344"/>
                </a:cubicBezTo>
                <a:cubicBezTo>
                  <a:pt x="14500" y="14438"/>
                  <a:pt x="14687" y="14500"/>
                  <a:pt x="14843" y="14594"/>
                </a:cubicBezTo>
                <a:cubicBezTo>
                  <a:pt x="14968" y="14656"/>
                  <a:pt x="15062" y="14719"/>
                  <a:pt x="15218" y="14750"/>
                </a:cubicBezTo>
                <a:cubicBezTo>
                  <a:pt x="15218" y="14750"/>
                  <a:pt x="15218" y="14750"/>
                  <a:pt x="15218" y="14750"/>
                </a:cubicBezTo>
                <a:cubicBezTo>
                  <a:pt x="15250" y="14813"/>
                  <a:pt x="15343" y="14781"/>
                  <a:pt x="15375" y="14844"/>
                </a:cubicBezTo>
                <a:cubicBezTo>
                  <a:pt x="15375" y="14844"/>
                  <a:pt x="15375" y="14844"/>
                  <a:pt x="15375" y="14844"/>
                </a:cubicBezTo>
                <a:cubicBezTo>
                  <a:pt x="15375" y="14844"/>
                  <a:pt x="15375" y="14844"/>
                  <a:pt x="15375" y="14844"/>
                </a:cubicBezTo>
                <a:cubicBezTo>
                  <a:pt x="15375" y="14844"/>
                  <a:pt x="15375" y="14844"/>
                  <a:pt x="15375" y="14844"/>
                </a:cubicBezTo>
                <a:cubicBezTo>
                  <a:pt x="15218" y="14781"/>
                  <a:pt x="15062" y="14719"/>
                  <a:pt x="14937" y="14656"/>
                </a:cubicBezTo>
                <a:cubicBezTo>
                  <a:pt x="14718" y="14594"/>
                  <a:pt x="14531" y="14500"/>
                  <a:pt x="14343" y="14406"/>
                </a:cubicBezTo>
                <a:cubicBezTo>
                  <a:pt x="14250" y="14375"/>
                  <a:pt x="14156" y="14313"/>
                  <a:pt x="14062" y="14281"/>
                </a:cubicBezTo>
                <a:cubicBezTo>
                  <a:pt x="14031" y="14281"/>
                  <a:pt x="14000" y="14281"/>
                  <a:pt x="14000" y="14281"/>
                </a:cubicBezTo>
                <a:cubicBezTo>
                  <a:pt x="14000" y="14313"/>
                  <a:pt x="14000" y="14313"/>
                  <a:pt x="14031" y="14313"/>
                </a:cubicBezTo>
                <a:cubicBezTo>
                  <a:pt x="14187" y="14375"/>
                  <a:pt x="14281" y="14500"/>
                  <a:pt x="14437" y="14563"/>
                </a:cubicBezTo>
                <a:cubicBezTo>
                  <a:pt x="14531" y="14625"/>
                  <a:pt x="14656" y="14656"/>
                  <a:pt x="14750" y="14750"/>
                </a:cubicBezTo>
                <a:cubicBezTo>
                  <a:pt x="14875" y="14844"/>
                  <a:pt x="15000" y="14906"/>
                  <a:pt x="15093" y="14969"/>
                </a:cubicBezTo>
                <a:cubicBezTo>
                  <a:pt x="15375" y="15125"/>
                  <a:pt x="15625" y="15250"/>
                  <a:pt x="15906" y="15375"/>
                </a:cubicBezTo>
                <a:cubicBezTo>
                  <a:pt x="15937" y="15375"/>
                  <a:pt x="16031" y="15406"/>
                  <a:pt x="16000" y="15469"/>
                </a:cubicBezTo>
                <a:cubicBezTo>
                  <a:pt x="15968" y="15500"/>
                  <a:pt x="15906" y="15438"/>
                  <a:pt x="15875" y="15438"/>
                </a:cubicBezTo>
                <a:cubicBezTo>
                  <a:pt x="15781" y="15438"/>
                  <a:pt x="15718" y="15281"/>
                  <a:pt x="15625" y="15406"/>
                </a:cubicBezTo>
                <a:cubicBezTo>
                  <a:pt x="15625" y="15406"/>
                  <a:pt x="15625" y="15406"/>
                  <a:pt x="15625" y="15406"/>
                </a:cubicBezTo>
                <a:cubicBezTo>
                  <a:pt x="15468" y="15313"/>
                  <a:pt x="15312" y="15281"/>
                  <a:pt x="15156" y="15219"/>
                </a:cubicBezTo>
                <a:cubicBezTo>
                  <a:pt x="15093" y="15188"/>
                  <a:pt x="15031" y="15125"/>
                  <a:pt x="14906" y="15156"/>
                </a:cubicBezTo>
                <a:cubicBezTo>
                  <a:pt x="15093" y="15250"/>
                  <a:pt x="15281" y="15344"/>
                  <a:pt x="15468" y="15438"/>
                </a:cubicBezTo>
                <a:cubicBezTo>
                  <a:pt x="15437" y="15469"/>
                  <a:pt x="15406" y="15438"/>
                  <a:pt x="15375" y="15469"/>
                </a:cubicBezTo>
                <a:cubicBezTo>
                  <a:pt x="15593" y="15531"/>
                  <a:pt x="15750" y="15656"/>
                  <a:pt x="15937" y="15750"/>
                </a:cubicBezTo>
                <a:cubicBezTo>
                  <a:pt x="15968" y="15750"/>
                  <a:pt x="16000" y="15750"/>
                  <a:pt x="15968" y="15781"/>
                </a:cubicBezTo>
                <a:cubicBezTo>
                  <a:pt x="15968" y="15813"/>
                  <a:pt x="15937" y="15781"/>
                  <a:pt x="15937" y="15781"/>
                </a:cubicBezTo>
                <a:cubicBezTo>
                  <a:pt x="15906" y="15781"/>
                  <a:pt x="15906" y="15750"/>
                  <a:pt x="15875" y="15750"/>
                </a:cubicBezTo>
                <a:cubicBezTo>
                  <a:pt x="15812" y="15750"/>
                  <a:pt x="15781" y="15688"/>
                  <a:pt x="15687" y="15688"/>
                </a:cubicBezTo>
                <a:cubicBezTo>
                  <a:pt x="16062" y="15938"/>
                  <a:pt x="16500" y="16031"/>
                  <a:pt x="16843" y="16313"/>
                </a:cubicBezTo>
                <a:cubicBezTo>
                  <a:pt x="16562" y="16313"/>
                  <a:pt x="16343" y="16156"/>
                  <a:pt x="16093" y="16063"/>
                </a:cubicBezTo>
                <a:cubicBezTo>
                  <a:pt x="16093" y="16125"/>
                  <a:pt x="16125" y="16125"/>
                  <a:pt x="16156" y="16125"/>
                </a:cubicBezTo>
                <a:cubicBezTo>
                  <a:pt x="16218" y="16156"/>
                  <a:pt x="16281" y="16188"/>
                  <a:pt x="16312" y="16219"/>
                </a:cubicBezTo>
                <a:cubicBezTo>
                  <a:pt x="16343" y="16313"/>
                  <a:pt x="16406" y="16313"/>
                  <a:pt x="16468" y="16344"/>
                </a:cubicBezTo>
                <a:cubicBezTo>
                  <a:pt x="16531" y="16406"/>
                  <a:pt x="16625" y="16469"/>
                  <a:pt x="16656" y="16562"/>
                </a:cubicBezTo>
                <a:cubicBezTo>
                  <a:pt x="16625" y="16562"/>
                  <a:pt x="16625" y="16562"/>
                  <a:pt x="16625" y="16562"/>
                </a:cubicBezTo>
                <a:cubicBezTo>
                  <a:pt x="16593" y="16531"/>
                  <a:pt x="16593" y="16531"/>
                  <a:pt x="16562" y="16531"/>
                </a:cubicBezTo>
                <a:cubicBezTo>
                  <a:pt x="16562" y="16531"/>
                  <a:pt x="16562" y="16531"/>
                  <a:pt x="16562" y="16531"/>
                </a:cubicBezTo>
                <a:cubicBezTo>
                  <a:pt x="16500" y="16500"/>
                  <a:pt x="16437" y="16469"/>
                  <a:pt x="16406" y="16469"/>
                </a:cubicBezTo>
                <a:cubicBezTo>
                  <a:pt x="16156" y="16344"/>
                  <a:pt x="15937" y="16250"/>
                  <a:pt x="15718" y="16125"/>
                </a:cubicBezTo>
                <a:cubicBezTo>
                  <a:pt x="15687" y="16125"/>
                  <a:pt x="15625" y="16125"/>
                  <a:pt x="15593" y="16094"/>
                </a:cubicBezTo>
                <a:cubicBezTo>
                  <a:pt x="15593" y="16094"/>
                  <a:pt x="15593" y="16094"/>
                  <a:pt x="15593" y="16063"/>
                </a:cubicBezTo>
                <a:cubicBezTo>
                  <a:pt x="15593" y="16063"/>
                  <a:pt x="15562" y="16063"/>
                  <a:pt x="15531" y="16063"/>
                </a:cubicBezTo>
                <a:cubicBezTo>
                  <a:pt x="15531" y="16063"/>
                  <a:pt x="15531" y="16063"/>
                  <a:pt x="15531" y="16063"/>
                </a:cubicBezTo>
                <a:cubicBezTo>
                  <a:pt x="15531" y="16031"/>
                  <a:pt x="15468" y="16000"/>
                  <a:pt x="15437" y="16000"/>
                </a:cubicBezTo>
                <a:cubicBezTo>
                  <a:pt x="15437" y="16000"/>
                  <a:pt x="15437" y="16000"/>
                  <a:pt x="15437" y="16000"/>
                </a:cubicBezTo>
                <a:cubicBezTo>
                  <a:pt x="15375" y="15969"/>
                  <a:pt x="15312" y="15938"/>
                  <a:pt x="15218" y="15906"/>
                </a:cubicBezTo>
                <a:cubicBezTo>
                  <a:pt x="15218" y="15906"/>
                  <a:pt x="15218" y="15906"/>
                  <a:pt x="15218" y="15906"/>
                </a:cubicBezTo>
                <a:cubicBezTo>
                  <a:pt x="15187" y="15875"/>
                  <a:pt x="15156" y="15844"/>
                  <a:pt x="15125" y="15844"/>
                </a:cubicBezTo>
                <a:cubicBezTo>
                  <a:pt x="15125" y="15844"/>
                  <a:pt x="15125" y="15844"/>
                  <a:pt x="15125" y="15844"/>
                </a:cubicBezTo>
                <a:cubicBezTo>
                  <a:pt x="15093" y="15813"/>
                  <a:pt x="15031" y="15781"/>
                  <a:pt x="15000" y="15781"/>
                </a:cubicBezTo>
                <a:cubicBezTo>
                  <a:pt x="15000" y="15781"/>
                  <a:pt x="15000" y="15781"/>
                  <a:pt x="15000" y="15781"/>
                </a:cubicBezTo>
                <a:cubicBezTo>
                  <a:pt x="14937" y="15750"/>
                  <a:pt x="14875" y="15719"/>
                  <a:pt x="14781" y="15688"/>
                </a:cubicBezTo>
                <a:cubicBezTo>
                  <a:pt x="14781" y="15688"/>
                  <a:pt x="14781" y="15688"/>
                  <a:pt x="14781" y="15688"/>
                </a:cubicBezTo>
                <a:cubicBezTo>
                  <a:pt x="14625" y="15563"/>
                  <a:pt x="14468" y="15500"/>
                  <a:pt x="14312" y="15438"/>
                </a:cubicBezTo>
                <a:cubicBezTo>
                  <a:pt x="14218" y="15375"/>
                  <a:pt x="14125" y="15344"/>
                  <a:pt x="14031" y="15281"/>
                </a:cubicBezTo>
                <a:cubicBezTo>
                  <a:pt x="13468" y="15031"/>
                  <a:pt x="12875" y="14781"/>
                  <a:pt x="12281" y="14594"/>
                </a:cubicBezTo>
                <a:cubicBezTo>
                  <a:pt x="11812" y="14438"/>
                  <a:pt x="11343" y="14313"/>
                  <a:pt x="10843" y="14281"/>
                </a:cubicBezTo>
                <a:cubicBezTo>
                  <a:pt x="10812" y="14250"/>
                  <a:pt x="10812" y="14250"/>
                  <a:pt x="10781" y="14250"/>
                </a:cubicBezTo>
                <a:cubicBezTo>
                  <a:pt x="10656" y="14250"/>
                  <a:pt x="10531" y="14219"/>
                  <a:pt x="10406" y="14219"/>
                </a:cubicBezTo>
                <a:cubicBezTo>
                  <a:pt x="10125" y="14219"/>
                  <a:pt x="9843" y="14250"/>
                  <a:pt x="9593" y="14281"/>
                </a:cubicBezTo>
                <a:cubicBezTo>
                  <a:pt x="9468" y="14281"/>
                  <a:pt x="9312" y="14313"/>
                  <a:pt x="9187" y="14344"/>
                </a:cubicBezTo>
                <a:cubicBezTo>
                  <a:pt x="9031" y="14406"/>
                  <a:pt x="8843" y="14438"/>
                  <a:pt x="8687" y="14500"/>
                </a:cubicBezTo>
                <a:cubicBezTo>
                  <a:pt x="8312" y="14656"/>
                  <a:pt x="7968" y="14844"/>
                  <a:pt x="7625" y="15063"/>
                </a:cubicBezTo>
                <a:cubicBezTo>
                  <a:pt x="7562" y="15094"/>
                  <a:pt x="7500" y="15156"/>
                  <a:pt x="7437" y="15188"/>
                </a:cubicBezTo>
                <a:cubicBezTo>
                  <a:pt x="7468" y="15188"/>
                  <a:pt x="7500" y="15188"/>
                  <a:pt x="7531" y="15156"/>
                </a:cubicBezTo>
                <a:cubicBezTo>
                  <a:pt x="7812" y="14969"/>
                  <a:pt x="8125" y="14813"/>
                  <a:pt x="8437" y="14656"/>
                </a:cubicBezTo>
                <a:cubicBezTo>
                  <a:pt x="8625" y="14594"/>
                  <a:pt x="8843" y="14500"/>
                  <a:pt x="9062" y="14500"/>
                </a:cubicBezTo>
                <a:cubicBezTo>
                  <a:pt x="9125" y="14500"/>
                  <a:pt x="9187" y="14469"/>
                  <a:pt x="9250" y="14469"/>
                </a:cubicBezTo>
                <a:cubicBezTo>
                  <a:pt x="9250" y="14500"/>
                  <a:pt x="9218" y="14500"/>
                  <a:pt x="9218" y="14531"/>
                </a:cubicBezTo>
                <a:cubicBezTo>
                  <a:pt x="9500" y="14469"/>
                  <a:pt x="9781" y="14406"/>
                  <a:pt x="10062" y="14375"/>
                </a:cubicBezTo>
                <a:cubicBezTo>
                  <a:pt x="10437" y="14375"/>
                  <a:pt x="10812" y="14375"/>
                  <a:pt x="11187" y="14438"/>
                </a:cubicBezTo>
                <a:cubicBezTo>
                  <a:pt x="11531" y="14500"/>
                  <a:pt x="11843" y="14563"/>
                  <a:pt x="12156" y="14656"/>
                </a:cubicBezTo>
                <a:cubicBezTo>
                  <a:pt x="12625" y="14813"/>
                  <a:pt x="13062" y="14969"/>
                  <a:pt x="13468" y="15156"/>
                </a:cubicBezTo>
                <a:cubicBezTo>
                  <a:pt x="13906" y="15344"/>
                  <a:pt x="14343" y="15531"/>
                  <a:pt x="14750" y="15750"/>
                </a:cubicBezTo>
                <a:cubicBezTo>
                  <a:pt x="15312" y="16031"/>
                  <a:pt x="15843" y="16313"/>
                  <a:pt x="16406" y="16562"/>
                </a:cubicBezTo>
                <a:cubicBezTo>
                  <a:pt x="16750" y="16719"/>
                  <a:pt x="17093" y="16875"/>
                  <a:pt x="17437" y="17000"/>
                </a:cubicBezTo>
                <a:cubicBezTo>
                  <a:pt x="17875" y="17156"/>
                  <a:pt x="18312" y="17281"/>
                  <a:pt x="18781" y="17375"/>
                </a:cubicBezTo>
                <a:cubicBezTo>
                  <a:pt x="19312" y="17469"/>
                  <a:pt x="19812" y="17437"/>
                  <a:pt x="20343" y="17281"/>
                </a:cubicBezTo>
                <a:cubicBezTo>
                  <a:pt x="20843" y="17125"/>
                  <a:pt x="21281" y="16844"/>
                  <a:pt x="21625" y="16438"/>
                </a:cubicBezTo>
                <a:cubicBezTo>
                  <a:pt x="21750" y="16313"/>
                  <a:pt x="21843" y="16156"/>
                  <a:pt x="21906" y="15969"/>
                </a:cubicBezTo>
                <a:cubicBezTo>
                  <a:pt x="21843" y="16063"/>
                  <a:pt x="21812" y="16156"/>
                  <a:pt x="21750" y="16188"/>
                </a:cubicBezTo>
                <a:cubicBezTo>
                  <a:pt x="21687" y="16250"/>
                  <a:pt x="21656" y="16313"/>
                  <a:pt x="21593" y="16344"/>
                </a:cubicBezTo>
                <a:cubicBezTo>
                  <a:pt x="21562" y="16344"/>
                  <a:pt x="21562" y="16344"/>
                  <a:pt x="21562" y="16344"/>
                </a:cubicBezTo>
                <a:cubicBezTo>
                  <a:pt x="21562" y="16344"/>
                  <a:pt x="21562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656" y="16219"/>
                  <a:pt x="21750" y="16063"/>
                  <a:pt x="21812" y="15938"/>
                </a:cubicBezTo>
                <a:cubicBezTo>
                  <a:pt x="21937" y="15719"/>
                  <a:pt x="22000" y="15500"/>
                  <a:pt x="22031" y="15281"/>
                </a:cubicBezTo>
                <a:cubicBezTo>
                  <a:pt x="22031" y="15281"/>
                  <a:pt x="22031" y="15281"/>
                  <a:pt x="22031" y="15281"/>
                </a:cubicBezTo>
                <a:cubicBezTo>
                  <a:pt x="22093" y="15156"/>
                  <a:pt x="22093" y="15031"/>
                  <a:pt x="22093" y="14938"/>
                </a:cubicBezTo>
                <a:cubicBezTo>
                  <a:pt x="22156" y="14719"/>
                  <a:pt x="22125" y="14531"/>
                  <a:pt x="22125" y="14344"/>
                </a:cubicBezTo>
                <a:cubicBezTo>
                  <a:pt x="22125" y="14250"/>
                  <a:pt x="22125" y="14125"/>
                  <a:pt x="22093" y="14031"/>
                </a:cubicBezTo>
                <a:cubicBezTo>
                  <a:pt x="22093" y="14000"/>
                  <a:pt x="22093" y="14000"/>
                  <a:pt x="22093" y="13969"/>
                </a:cubicBezTo>
                <a:cubicBezTo>
                  <a:pt x="22093" y="13813"/>
                  <a:pt x="22093" y="13625"/>
                  <a:pt x="22031" y="13469"/>
                </a:cubicBezTo>
                <a:cubicBezTo>
                  <a:pt x="22031" y="13344"/>
                  <a:pt x="22093" y="13281"/>
                  <a:pt x="22187" y="13219"/>
                </a:cubicBezTo>
                <a:cubicBezTo>
                  <a:pt x="22281" y="13125"/>
                  <a:pt x="22375" y="13031"/>
                  <a:pt x="22531" y="13000"/>
                </a:cubicBezTo>
                <a:cubicBezTo>
                  <a:pt x="22687" y="12969"/>
                  <a:pt x="22812" y="12844"/>
                  <a:pt x="22968" y="12813"/>
                </a:cubicBezTo>
                <a:cubicBezTo>
                  <a:pt x="23312" y="12688"/>
                  <a:pt x="23656" y="12563"/>
                  <a:pt x="23968" y="12375"/>
                </a:cubicBezTo>
                <a:cubicBezTo>
                  <a:pt x="24156" y="12281"/>
                  <a:pt x="24312" y="12156"/>
                  <a:pt x="24437" y="12000"/>
                </a:cubicBezTo>
                <a:cubicBezTo>
                  <a:pt x="24437" y="12000"/>
                  <a:pt x="24437" y="12000"/>
                  <a:pt x="24437" y="12000"/>
                </a:cubicBezTo>
                <a:cubicBezTo>
                  <a:pt x="24468" y="12000"/>
                  <a:pt x="24468" y="12000"/>
                  <a:pt x="24468" y="11969"/>
                </a:cubicBezTo>
                <a:cubicBezTo>
                  <a:pt x="24531" y="11938"/>
                  <a:pt x="24562" y="11875"/>
                  <a:pt x="24593" y="11844"/>
                </a:cubicBezTo>
                <a:cubicBezTo>
                  <a:pt x="24656" y="11750"/>
                  <a:pt x="24718" y="11656"/>
                  <a:pt x="24750" y="11563"/>
                </a:cubicBezTo>
                <a:cubicBezTo>
                  <a:pt x="24781" y="11500"/>
                  <a:pt x="24812" y="11469"/>
                  <a:pt x="24812" y="11406"/>
                </a:cubicBezTo>
                <a:cubicBezTo>
                  <a:pt x="24843" y="11344"/>
                  <a:pt x="24843" y="11281"/>
                  <a:pt x="24875" y="11188"/>
                </a:cubicBezTo>
                <a:cubicBezTo>
                  <a:pt x="24906" y="11094"/>
                  <a:pt x="24937" y="10969"/>
                  <a:pt x="24906" y="10781"/>
                </a:cubicBezTo>
                <a:cubicBezTo>
                  <a:pt x="24906" y="10656"/>
                  <a:pt x="24906" y="10500"/>
                  <a:pt x="24843" y="10375"/>
                </a:cubicBezTo>
                <a:cubicBezTo>
                  <a:pt x="24843" y="10375"/>
                  <a:pt x="24843" y="10375"/>
                  <a:pt x="24843" y="10375"/>
                </a:cubicBezTo>
                <a:cubicBezTo>
                  <a:pt x="24843" y="10406"/>
                  <a:pt x="24843" y="10406"/>
                  <a:pt x="24843" y="10438"/>
                </a:cubicBezTo>
                <a:cubicBezTo>
                  <a:pt x="24593" y="9563"/>
                  <a:pt x="24531" y="9469"/>
                  <a:pt x="24531" y="9469"/>
                </a:cubicBezTo>
                <a:cubicBezTo>
                  <a:pt x="24531" y="9469"/>
                  <a:pt x="24562" y="9563"/>
                  <a:pt x="24562" y="9656"/>
                </a:cubicBezTo>
                <a:cubicBezTo>
                  <a:pt x="24437" y="9281"/>
                  <a:pt x="24375" y="8875"/>
                  <a:pt x="24187" y="8469"/>
                </a:cubicBezTo>
                <a:cubicBezTo>
                  <a:pt x="24187" y="8594"/>
                  <a:pt x="24218" y="8656"/>
                  <a:pt x="24250" y="8750"/>
                </a:cubicBezTo>
                <a:cubicBezTo>
                  <a:pt x="24343" y="9031"/>
                  <a:pt x="24437" y="9344"/>
                  <a:pt x="24468" y="9656"/>
                </a:cubicBezTo>
                <a:cubicBezTo>
                  <a:pt x="24500" y="9719"/>
                  <a:pt x="24531" y="9781"/>
                  <a:pt x="24562" y="9813"/>
                </a:cubicBezTo>
                <a:cubicBezTo>
                  <a:pt x="24562" y="9938"/>
                  <a:pt x="24531" y="10031"/>
                  <a:pt x="24437" y="10000"/>
                </a:cubicBezTo>
                <a:cubicBezTo>
                  <a:pt x="24343" y="9969"/>
                  <a:pt x="24250" y="9938"/>
                  <a:pt x="24187" y="9906"/>
                </a:cubicBezTo>
                <a:cubicBezTo>
                  <a:pt x="24156" y="9813"/>
                  <a:pt x="24093" y="9719"/>
                  <a:pt x="24062" y="9594"/>
                </a:cubicBezTo>
                <a:cubicBezTo>
                  <a:pt x="24062" y="9531"/>
                  <a:pt x="24062" y="9469"/>
                  <a:pt x="24000" y="9406"/>
                </a:cubicBezTo>
                <a:cubicBezTo>
                  <a:pt x="23968" y="9531"/>
                  <a:pt x="24062" y="9625"/>
                  <a:pt x="24031" y="9750"/>
                </a:cubicBezTo>
                <a:cubicBezTo>
                  <a:pt x="23968" y="9531"/>
                  <a:pt x="23937" y="9344"/>
                  <a:pt x="23843" y="9156"/>
                </a:cubicBezTo>
                <a:cubicBezTo>
                  <a:pt x="23843" y="9188"/>
                  <a:pt x="23843" y="9250"/>
                  <a:pt x="23843" y="9313"/>
                </a:cubicBezTo>
                <a:cubicBezTo>
                  <a:pt x="23906" y="9438"/>
                  <a:pt x="23906" y="9563"/>
                  <a:pt x="23937" y="9719"/>
                </a:cubicBezTo>
                <a:cubicBezTo>
                  <a:pt x="23968" y="9781"/>
                  <a:pt x="23968" y="9844"/>
                  <a:pt x="23968" y="9906"/>
                </a:cubicBezTo>
                <a:cubicBezTo>
                  <a:pt x="23968" y="9938"/>
                  <a:pt x="23968" y="9938"/>
                  <a:pt x="23937" y="10000"/>
                </a:cubicBezTo>
                <a:cubicBezTo>
                  <a:pt x="23937" y="9938"/>
                  <a:pt x="23906" y="9875"/>
                  <a:pt x="23875" y="9813"/>
                </a:cubicBezTo>
                <a:cubicBezTo>
                  <a:pt x="23875" y="9813"/>
                  <a:pt x="23875" y="9813"/>
                  <a:pt x="23875" y="9813"/>
                </a:cubicBezTo>
                <a:cubicBezTo>
                  <a:pt x="23875" y="9813"/>
                  <a:pt x="23875" y="9813"/>
                  <a:pt x="23875" y="9813"/>
                </a:cubicBezTo>
                <a:cubicBezTo>
                  <a:pt x="23875" y="9813"/>
                  <a:pt x="23875" y="9813"/>
                  <a:pt x="23875" y="9813"/>
                </a:cubicBezTo>
                <a:cubicBezTo>
                  <a:pt x="23875" y="9750"/>
                  <a:pt x="23875" y="9719"/>
                  <a:pt x="23875" y="9688"/>
                </a:cubicBezTo>
                <a:cubicBezTo>
                  <a:pt x="23843" y="9719"/>
                  <a:pt x="23875" y="9750"/>
                  <a:pt x="23843" y="9750"/>
                </a:cubicBezTo>
                <a:cubicBezTo>
                  <a:pt x="23843" y="9750"/>
                  <a:pt x="23843" y="9750"/>
                  <a:pt x="23843" y="9750"/>
                </a:cubicBezTo>
                <a:cubicBezTo>
                  <a:pt x="23843" y="9719"/>
                  <a:pt x="23843" y="9688"/>
                  <a:pt x="23812" y="9688"/>
                </a:cubicBezTo>
                <a:cubicBezTo>
                  <a:pt x="23812" y="9625"/>
                  <a:pt x="23781" y="9594"/>
                  <a:pt x="23781" y="9531"/>
                </a:cubicBezTo>
                <a:cubicBezTo>
                  <a:pt x="23718" y="9188"/>
                  <a:pt x="23593" y="8844"/>
                  <a:pt x="23468" y="8500"/>
                </a:cubicBezTo>
                <a:cubicBezTo>
                  <a:pt x="23375" y="8188"/>
                  <a:pt x="23281" y="7875"/>
                  <a:pt x="23156" y="7563"/>
                </a:cubicBezTo>
                <a:cubicBezTo>
                  <a:pt x="23093" y="7375"/>
                  <a:pt x="23000" y="7156"/>
                  <a:pt x="22906" y="6938"/>
                </a:cubicBezTo>
                <a:cubicBezTo>
                  <a:pt x="22906" y="6938"/>
                  <a:pt x="22906" y="6906"/>
                  <a:pt x="22906" y="6906"/>
                </a:cubicBezTo>
                <a:cubicBezTo>
                  <a:pt x="22843" y="6719"/>
                  <a:pt x="22781" y="6563"/>
                  <a:pt x="22718" y="6375"/>
                </a:cubicBezTo>
                <a:cubicBezTo>
                  <a:pt x="22593" y="6094"/>
                  <a:pt x="22468" y="5813"/>
                  <a:pt x="22375" y="5531"/>
                </a:cubicBezTo>
                <a:cubicBezTo>
                  <a:pt x="22250" y="5250"/>
                  <a:pt x="22156" y="4969"/>
                  <a:pt x="22062" y="4656"/>
                </a:cubicBezTo>
                <a:cubicBezTo>
                  <a:pt x="21968" y="4438"/>
                  <a:pt x="21906" y="4188"/>
                  <a:pt x="21812" y="3969"/>
                </a:cubicBezTo>
                <a:cubicBezTo>
                  <a:pt x="21781" y="3875"/>
                  <a:pt x="21781" y="3750"/>
                  <a:pt x="21718" y="3688"/>
                </a:cubicBezTo>
                <a:cubicBezTo>
                  <a:pt x="21687" y="3594"/>
                  <a:pt x="21687" y="3531"/>
                  <a:pt x="21656" y="3438"/>
                </a:cubicBezTo>
                <a:cubicBezTo>
                  <a:pt x="21687" y="3375"/>
                  <a:pt x="21656" y="3344"/>
                  <a:pt x="21656" y="3281"/>
                </a:cubicBezTo>
                <a:cubicBezTo>
                  <a:pt x="21625" y="3188"/>
                  <a:pt x="21593" y="3063"/>
                  <a:pt x="21593" y="2969"/>
                </a:cubicBezTo>
                <a:cubicBezTo>
                  <a:pt x="21718" y="3313"/>
                  <a:pt x="21812" y="3656"/>
                  <a:pt x="21937" y="4000"/>
                </a:cubicBezTo>
                <a:cubicBezTo>
                  <a:pt x="21968" y="3969"/>
                  <a:pt x="21968" y="3938"/>
                  <a:pt x="21937" y="3938"/>
                </a:cubicBezTo>
                <a:cubicBezTo>
                  <a:pt x="21937" y="3875"/>
                  <a:pt x="21906" y="3813"/>
                  <a:pt x="21875" y="3750"/>
                </a:cubicBezTo>
                <a:cubicBezTo>
                  <a:pt x="21875" y="3719"/>
                  <a:pt x="21875" y="3688"/>
                  <a:pt x="21906" y="3688"/>
                </a:cubicBezTo>
                <a:cubicBezTo>
                  <a:pt x="21937" y="3656"/>
                  <a:pt x="21937" y="3656"/>
                  <a:pt x="21937" y="3625"/>
                </a:cubicBezTo>
                <a:cubicBezTo>
                  <a:pt x="21875" y="3375"/>
                  <a:pt x="21812" y="3125"/>
                  <a:pt x="21750" y="2906"/>
                </a:cubicBezTo>
                <a:cubicBezTo>
                  <a:pt x="21750" y="2875"/>
                  <a:pt x="21656" y="2781"/>
                  <a:pt x="21781" y="2813"/>
                </a:cubicBezTo>
                <a:cubicBezTo>
                  <a:pt x="21781" y="2813"/>
                  <a:pt x="21781" y="2781"/>
                  <a:pt x="21781" y="2750"/>
                </a:cubicBezTo>
                <a:cubicBezTo>
                  <a:pt x="21781" y="2688"/>
                  <a:pt x="21750" y="2594"/>
                  <a:pt x="21750" y="2531"/>
                </a:cubicBezTo>
                <a:cubicBezTo>
                  <a:pt x="21781" y="2531"/>
                  <a:pt x="21750" y="2563"/>
                  <a:pt x="21781" y="2563"/>
                </a:cubicBezTo>
                <a:cubicBezTo>
                  <a:pt x="21812" y="2531"/>
                  <a:pt x="21781" y="2500"/>
                  <a:pt x="21781" y="2469"/>
                </a:cubicBezTo>
                <a:cubicBezTo>
                  <a:pt x="21781" y="2375"/>
                  <a:pt x="21718" y="2313"/>
                  <a:pt x="21781" y="2250"/>
                </a:cubicBezTo>
                <a:cubicBezTo>
                  <a:pt x="21781" y="2250"/>
                  <a:pt x="21781" y="2250"/>
                  <a:pt x="21781" y="2250"/>
                </a:cubicBezTo>
                <a:cubicBezTo>
                  <a:pt x="21781" y="2313"/>
                  <a:pt x="21812" y="2344"/>
                  <a:pt x="21812" y="2406"/>
                </a:cubicBezTo>
                <a:cubicBezTo>
                  <a:pt x="21843" y="2469"/>
                  <a:pt x="21812" y="2531"/>
                  <a:pt x="21875" y="2594"/>
                </a:cubicBezTo>
                <a:cubicBezTo>
                  <a:pt x="21875" y="2594"/>
                  <a:pt x="21875" y="2594"/>
                  <a:pt x="21875" y="2594"/>
                </a:cubicBezTo>
                <a:cubicBezTo>
                  <a:pt x="21875" y="2625"/>
                  <a:pt x="21875" y="2688"/>
                  <a:pt x="21906" y="2719"/>
                </a:cubicBezTo>
                <a:cubicBezTo>
                  <a:pt x="21968" y="2906"/>
                  <a:pt x="22031" y="3063"/>
                  <a:pt x="22093" y="3250"/>
                </a:cubicBezTo>
                <a:cubicBezTo>
                  <a:pt x="22187" y="3438"/>
                  <a:pt x="22250" y="3656"/>
                  <a:pt x="22343" y="3875"/>
                </a:cubicBezTo>
                <a:cubicBezTo>
                  <a:pt x="22375" y="3969"/>
                  <a:pt x="22437" y="4094"/>
                  <a:pt x="22468" y="4188"/>
                </a:cubicBezTo>
                <a:cubicBezTo>
                  <a:pt x="22468" y="4188"/>
                  <a:pt x="22500" y="4188"/>
                  <a:pt x="22500" y="4188"/>
                </a:cubicBezTo>
                <a:cubicBezTo>
                  <a:pt x="22281" y="3594"/>
                  <a:pt x="22125" y="2969"/>
                  <a:pt x="21937" y="2375"/>
                </a:cubicBezTo>
                <a:cubicBezTo>
                  <a:pt x="21937" y="2344"/>
                  <a:pt x="21937" y="2344"/>
                  <a:pt x="21937" y="2344"/>
                </a:cubicBezTo>
                <a:cubicBezTo>
                  <a:pt x="21937" y="2313"/>
                  <a:pt x="21937" y="2281"/>
                  <a:pt x="21906" y="2281"/>
                </a:cubicBezTo>
                <a:cubicBezTo>
                  <a:pt x="21906" y="2281"/>
                  <a:pt x="21906" y="2250"/>
                  <a:pt x="21906" y="2250"/>
                </a:cubicBezTo>
                <a:cubicBezTo>
                  <a:pt x="21906" y="2219"/>
                  <a:pt x="21906" y="2188"/>
                  <a:pt x="21875" y="2156"/>
                </a:cubicBezTo>
                <a:cubicBezTo>
                  <a:pt x="21875" y="2094"/>
                  <a:pt x="21843" y="2031"/>
                  <a:pt x="21875" y="1969"/>
                </a:cubicBezTo>
                <a:cubicBezTo>
                  <a:pt x="21906" y="2125"/>
                  <a:pt x="21968" y="2250"/>
                  <a:pt x="22031" y="2344"/>
                </a:cubicBezTo>
                <a:cubicBezTo>
                  <a:pt x="22062" y="2406"/>
                  <a:pt x="22093" y="2500"/>
                  <a:pt x="22125" y="2594"/>
                </a:cubicBezTo>
                <a:cubicBezTo>
                  <a:pt x="22125" y="2594"/>
                  <a:pt x="22125" y="2594"/>
                  <a:pt x="22125" y="2594"/>
                </a:cubicBezTo>
                <a:cubicBezTo>
                  <a:pt x="22125" y="2594"/>
                  <a:pt x="22125" y="2594"/>
                  <a:pt x="22125" y="2594"/>
                </a:cubicBezTo>
                <a:cubicBezTo>
                  <a:pt x="22156" y="2719"/>
                  <a:pt x="22187" y="2844"/>
                  <a:pt x="22250" y="2938"/>
                </a:cubicBezTo>
                <a:cubicBezTo>
                  <a:pt x="22312" y="2906"/>
                  <a:pt x="22343" y="2906"/>
                  <a:pt x="22406" y="2906"/>
                </a:cubicBezTo>
                <a:cubicBezTo>
                  <a:pt x="22343" y="2906"/>
                  <a:pt x="22312" y="2906"/>
                  <a:pt x="22250" y="2938"/>
                </a:cubicBezTo>
                <a:cubicBezTo>
                  <a:pt x="22250" y="3031"/>
                  <a:pt x="22312" y="3094"/>
                  <a:pt x="22343" y="3188"/>
                </a:cubicBezTo>
                <a:cubicBezTo>
                  <a:pt x="22468" y="3531"/>
                  <a:pt x="22593" y="3875"/>
                  <a:pt x="22750" y="4219"/>
                </a:cubicBezTo>
                <a:cubicBezTo>
                  <a:pt x="22875" y="4531"/>
                  <a:pt x="23000" y="4844"/>
                  <a:pt x="23156" y="5188"/>
                </a:cubicBezTo>
                <a:cubicBezTo>
                  <a:pt x="23156" y="5188"/>
                  <a:pt x="23156" y="5188"/>
                  <a:pt x="23156" y="5219"/>
                </a:cubicBezTo>
                <a:cubicBezTo>
                  <a:pt x="23156" y="5250"/>
                  <a:pt x="23187" y="5250"/>
                  <a:pt x="23187" y="5281"/>
                </a:cubicBezTo>
                <a:cubicBezTo>
                  <a:pt x="23218" y="5344"/>
                  <a:pt x="23218" y="5406"/>
                  <a:pt x="23281" y="5469"/>
                </a:cubicBezTo>
                <a:cubicBezTo>
                  <a:pt x="23250" y="5500"/>
                  <a:pt x="23281" y="5500"/>
                  <a:pt x="23281" y="5531"/>
                </a:cubicBezTo>
                <a:cubicBezTo>
                  <a:pt x="23312" y="5594"/>
                  <a:pt x="23343" y="5688"/>
                  <a:pt x="23406" y="5750"/>
                </a:cubicBezTo>
                <a:cubicBezTo>
                  <a:pt x="23406" y="5719"/>
                  <a:pt x="23468" y="5719"/>
                  <a:pt x="23468" y="5719"/>
                </a:cubicBezTo>
                <a:cubicBezTo>
                  <a:pt x="23468" y="5719"/>
                  <a:pt x="23406" y="5719"/>
                  <a:pt x="23406" y="5750"/>
                </a:cubicBezTo>
                <a:cubicBezTo>
                  <a:pt x="23406" y="5844"/>
                  <a:pt x="23437" y="5906"/>
                  <a:pt x="23500" y="5969"/>
                </a:cubicBezTo>
                <a:cubicBezTo>
                  <a:pt x="23500" y="5969"/>
                  <a:pt x="23500" y="5969"/>
                  <a:pt x="23500" y="5969"/>
                </a:cubicBezTo>
                <a:cubicBezTo>
                  <a:pt x="23500" y="6000"/>
                  <a:pt x="23531" y="6031"/>
                  <a:pt x="23531" y="6063"/>
                </a:cubicBezTo>
                <a:cubicBezTo>
                  <a:pt x="23562" y="6188"/>
                  <a:pt x="23625" y="6281"/>
                  <a:pt x="23656" y="6375"/>
                </a:cubicBezTo>
                <a:cubicBezTo>
                  <a:pt x="23687" y="6438"/>
                  <a:pt x="23718" y="6469"/>
                  <a:pt x="23750" y="6469"/>
                </a:cubicBezTo>
                <a:cubicBezTo>
                  <a:pt x="24062" y="6625"/>
                  <a:pt x="24343" y="6813"/>
                  <a:pt x="24625" y="6969"/>
                </a:cubicBezTo>
                <a:cubicBezTo>
                  <a:pt x="25125" y="7281"/>
                  <a:pt x="25625" y="7594"/>
                  <a:pt x="26125" y="7906"/>
                </a:cubicBezTo>
                <a:cubicBezTo>
                  <a:pt x="26343" y="8063"/>
                  <a:pt x="26593" y="8188"/>
                  <a:pt x="26812" y="8313"/>
                </a:cubicBezTo>
                <a:cubicBezTo>
                  <a:pt x="26906" y="8375"/>
                  <a:pt x="27000" y="8438"/>
                  <a:pt x="27093" y="8469"/>
                </a:cubicBezTo>
                <a:cubicBezTo>
                  <a:pt x="27093" y="8375"/>
                  <a:pt x="27093" y="8250"/>
                  <a:pt x="27093" y="8156"/>
                </a:cubicBezTo>
                <a:cubicBezTo>
                  <a:pt x="27093" y="8125"/>
                  <a:pt x="27093" y="8094"/>
                  <a:pt x="27093" y="8094"/>
                </a:cubicBezTo>
                <a:cubicBezTo>
                  <a:pt x="27093" y="7969"/>
                  <a:pt x="27093" y="7844"/>
                  <a:pt x="27093" y="7719"/>
                </a:cubicBezTo>
                <a:cubicBezTo>
                  <a:pt x="27093" y="7688"/>
                  <a:pt x="27093" y="7656"/>
                  <a:pt x="27093" y="7625"/>
                </a:cubicBezTo>
                <a:cubicBezTo>
                  <a:pt x="27093" y="7406"/>
                  <a:pt x="27093" y="7219"/>
                  <a:pt x="27093" y="7000"/>
                </a:cubicBezTo>
                <a:cubicBezTo>
                  <a:pt x="27093" y="6969"/>
                  <a:pt x="27093" y="6938"/>
                  <a:pt x="27093" y="6938"/>
                </a:cubicBezTo>
                <a:cubicBezTo>
                  <a:pt x="27093" y="6688"/>
                  <a:pt x="27093" y="6438"/>
                  <a:pt x="27093" y="6188"/>
                </a:cubicBezTo>
                <a:cubicBezTo>
                  <a:pt x="27093" y="6125"/>
                  <a:pt x="27093" y="6094"/>
                  <a:pt x="27093" y="6031"/>
                </a:cubicBezTo>
                <a:cubicBezTo>
                  <a:pt x="27093" y="6031"/>
                  <a:pt x="27093" y="6000"/>
                  <a:pt x="27093" y="6000"/>
                </a:cubicBezTo>
                <a:cubicBezTo>
                  <a:pt x="27093" y="5938"/>
                  <a:pt x="27093" y="5906"/>
                  <a:pt x="27093" y="5875"/>
                </a:cubicBezTo>
                <a:cubicBezTo>
                  <a:pt x="27093" y="5813"/>
                  <a:pt x="27093" y="5750"/>
                  <a:pt x="27093" y="5688"/>
                </a:cubicBezTo>
                <a:cubicBezTo>
                  <a:pt x="27093" y="5656"/>
                  <a:pt x="27093" y="5625"/>
                  <a:pt x="27093" y="5594"/>
                </a:cubicBezTo>
                <a:cubicBezTo>
                  <a:pt x="27093" y="5531"/>
                  <a:pt x="27093" y="5469"/>
                  <a:pt x="27093" y="5406"/>
                </a:cubicBezTo>
                <a:cubicBezTo>
                  <a:pt x="27093" y="5344"/>
                  <a:pt x="27093" y="5313"/>
                  <a:pt x="27093" y="5281"/>
                </a:cubicBezTo>
                <a:cubicBezTo>
                  <a:pt x="27093" y="5219"/>
                  <a:pt x="27093" y="5188"/>
                  <a:pt x="27093" y="5125"/>
                </a:cubicBezTo>
                <a:cubicBezTo>
                  <a:pt x="27093" y="5094"/>
                  <a:pt x="27093" y="5094"/>
                  <a:pt x="27093" y="5063"/>
                </a:cubicBezTo>
                <a:cubicBezTo>
                  <a:pt x="27093" y="5031"/>
                  <a:pt x="27093" y="5000"/>
                  <a:pt x="27093" y="4969"/>
                </a:cubicBezTo>
                <a:cubicBezTo>
                  <a:pt x="27093" y="4938"/>
                  <a:pt x="27093" y="4938"/>
                  <a:pt x="27093" y="4938"/>
                </a:cubicBezTo>
                <a:cubicBezTo>
                  <a:pt x="27093" y="4906"/>
                  <a:pt x="27093" y="4844"/>
                  <a:pt x="27093" y="4813"/>
                </a:cubicBezTo>
                <a:cubicBezTo>
                  <a:pt x="27093" y="4750"/>
                  <a:pt x="27093" y="4688"/>
                  <a:pt x="27093" y="4625"/>
                </a:cubicBezTo>
                <a:cubicBezTo>
                  <a:pt x="27093" y="4625"/>
                  <a:pt x="27093" y="4594"/>
                  <a:pt x="27093" y="4594"/>
                </a:cubicBezTo>
                <a:cubicBezTo>
                  <a:pt x="27093" y="4281"/>
                  <a:pt x="27093" y="4000"/>
                  <a:pt x="27093" y="3719"/>
                </a:cubicBezTo>
                <a:cubicBezTo>
                  <a:pt x="27093" y="3219"/>
                  <a:pt x="27093" y="2750"/>
                  <a:pt x="27093" y="2281"/>
                </a:cubicBezTo>
                <a:cubicBezTo>
                  <a:pt x="27093" y="2250"/>
                  <a:pt x="27093" y="2219"/>
                  <a:pt x="27093" y="2219"/>
                </a:cubicBezTo>
                <a:cubicBezTo>
                  <a:pt x="27093" y="1875"/>
                  <a:pt x="27093" y="1563"/>
                  <a:pt x="27093" y="1250"/>
                </a:cubicBezTo>
                <a:cubicBezTo>
                  <a:pt x="27031" y="1250"/>
                  <a:pt x="27000" y="1219"/>
                  <a:pt x="26968" y="1188"/>
                </a:cubicBezTo>
                <a:lnTo>
                  <a:pt x="26968" y="1188"/>
                </a:lnTo>
                <a:cubicBezTo>
                  <a:pt x="26812" y="1094"/>
                  <a:pt x="26687" y="1000"/>
                  <a:pt x="26500" y="938"/>
                </a:cubicBezTo>
                <a:cubicBezTo>
                  <a:pt x="26468" y="938"/>
                  <a:pt x="26468" y="906"/>
                  <a:pt x="26437" y="906"/>
                </a:cubicBezTo>
                <a:cubicBezTo>
                  <a:pt x="25906" y="656"/>
                  <a:pt x="25375" y="406"/>
                  <a:pt x="24781" y="250"/>
                </a:cubicBezTo>
                <a:cubicBezTo>
                  <a:pt x="24687" y="219"/>
                  <a:pt x="24593" y="188"/>
                  <a:pt x="24500" y="188"/>
                </a:cubicBezTo>
                <a:cubicBezTo>
                  <a:pt x="24468" y="188"/>
                  <a:pt x="24437" y="188"/>
                  <a:pt x="24437" y="188"/>
                </a:cubicBezTo>
                <a:cubicBezTo>
                  <a:pt x="24437" y="188"/>
                  <a:pt x="24468" y="188"/>
                  <a:pt x="24500" y="188"/>
                </a:cubicBezTo>
                <a:cubicBezTo>
                  <a:pt x="24343" y="125"/>
                  <a:pt x="24187" y="125"/>
                  <a:pt x="24062" y="125"/>
                </a:cubicBezTo>
                <a:cubicBezTo>
                  <a:pt x="24062" y="125"/>
                  <a:pt x="24062" y="125"/>
                  <a:pt x="24062" y="125"/>
                </a:cubicBezTo>
                <a:cubicBezTo>
                  <a:pt x="24031" y="125"/>
                  <a:pt x="24031" y="94"/>
                  <a:pt x="24031" y="94"/>
                </a:cubicBezTo>
                <a:cubicBezTo>
                  <a:pt x="24000" y="94"/>
                  <a:pt x="23937" y="94"/>
                  <a:pt x="23906" y="94"/>
                </a:cubicBezTo>
                <a:cubicBezTo>
                  <a:pt x="23875" y="94"/>
                  <a:pt x="23843" y="94"/>
                  <a:pt x="23812" y="94"/>
                </a:cubicBezTo>
                <a:cubicBezTo>
                  <a:pt x="23750" y="63"/>
                  <a:pt x="23656" y="63"/>
                  <a:pt x="23562" y="63"/>
                </a:cubicBezTo>
                <a:cubicBezTo>
                  <a:pt x="23531" y="31"/>
                  <a:pt x="23500" y="31"/>
                  <a:pt x="23468" y="31"/>
                </a:cubicBezTo>
                <a:cubicBezTo>
                  <a:pt x="23156" y="0"/>
                  <a:pt x="22875" y="63"/>
                  <a:pt x="22593" y="94"/>
                </a:cubicBezTo>
                <a:cubicBezTo>
                  <a:pt x="22406" y="125"/>
                  <a:pt x="22250" y="156"/>
                  <a:pt x="22125" y="250"/>
                </a:cubicBezTo>
                <a:cubicBezTo>
                  <a:pt x="22125" y="250"/>
                  <a:pt x="22125" y="250"/>
                  <a:pt x="22125" y="250"/>
                </a:cubicBezTo>
                <a:cubicBezTo>
                  <a:pt x="22031" y="313"/>
                  <a:pt x="21937" y="375"/>
                  <a:pt x="21875" y="469"/>
                </a:cubicBezTo>
                <a:cubicBezTo>
                  <a:pt x="21718" y="781"/>
                  <a:pt x="21531" y="1125"/>
                  <a:pt x="21406" y="1438"/>
                </a:cubicBezTo>
                <a:cubicBezTo>
                  <a:pt x="21250" y="1719"/>
                  <a:pt x="21156" y="2031"/>
                  <a:pt x="21031" y="2344"/>
                </a:cubicBezTo>
                <a:cubicBezTo>
                  <a:pt x="21000" y="2375"/>
                  <a:pt x="21000" y="2438"/>
                  <a:pt x="21062" y="2469"/>
                </a:cubicBezTo>
                <a:cubicBezTo>
                  <a:pt x="21062" y="2531"/>
                  <a:pt x="21031" y="2531"/>
                  <a:pt x="21000" y="2531"/>
                </a:cubicBezTo>
                <a:cubicBezTo>
                  <a:pt x="20968" y="2531"/>
                  <a:pt x="20968" y="2500"/>
                  <a:pt x="20968" y="2531"/>
                </a:cubicBezTo>
                <a:cubicBezTo>
                  <a:pt x="20968" y="2594"/>
                  <a:pt x="20906" y="2656"/>
                  <a:pt x="20906" y="2719"/>
                </a:cubicBezTo>
                <a:cubicBezTo>
                  <a:pt x="20906" y="2813"/>
                  <a:pt x="20843" y="2875"/>
                  <a:pt x="20875" y="2938"/>
                </a:cubicBezTo>
                <a:cubicBezTo>
                  <a:pt x="20875" y="3000"/>
                  <a:pt x="20843" y="3031"/>
                  <a:pt x="20843" y="3063"/>
                </a:cubicBezTo>
                <a:cubicBezTo>
                  <a:pt x="20843" y="3031"/>
                  <a:pt x="20843" y="3063"/>
                  <a:pt x="20875" y="3063"/>
                </a:cubicBezTo>
                <a:cubicBezTo>
                  <a:pt x="20843" y="3063"/>
                  <a:pt x="20843" y="3031"/>
                  <a:pt x="20843" y="3063"/>
                </a:cubicBezTo>
                <a:cubicBezTo>
                  <a:pt x="20812" y="3219"/>
                  <a:pt x="20750" y="3375"/>
                  <a:pt x="20750" y="3500"/>
                </a:cubicBezTo>
                <a:cubicBezTo>
                  <a:pt x="20718" y="3781"/>
                  <a:pt x="20656" y="4063"/>
                  <a:pt x="20656" y="4313"/>
                </a:cubicBezTo>
                <a:cubicBezTo>
                  <a:pt x="20656" y="4344"/>
                  <a:pt x="20625" y="4375"/>
                  <a:pt x="20593" y="4375"/>
                </a:cubicBezTo>
                <a:cubicBezTo>
                  <a:pt x="20437" y="4375"/>
                  <a:pt x="20312" y="4406"/>
                  <a:pt x="20156" y="4406"/>
                </a:cubicBezTo>
                <a:cubicBezTo>
                  <a:pt x="19875" y="4406"/>
                  <a:pt x="19625" y="4469"/>
                  <a:pt x="19343" y="4500"/>
                </a:cubicBezTo>
                <a:cubicBezTo>
                  <a:pt x="19250" y="4500"/>
                  <a:pt x="19156" y="4563"/>
                  <a:pt x="19062" y="4531"/>
                </a:cubicBezTo>
                <a:cubicBezTo>
                  <a:pt x="19000" y="4531"/>
                  <a:pt x="18937" y="4531"/>
                  <a:pt x="18875" y="4563"/>
                </a:cubicBezTo>
                <a:cubicBezTo>
                  <a:pt x="18875" y="4563"/>
                  <a:pt x="18875" y="4563"/>
                  <a:pt x="18875" y="4563"/>
                </a:cubicBezTo>
                <a:cubicBezTo>
                  <a:pt x="18843" y="4563"/>
                  <a:pt x="18843" y="4563"/>
                  <a:pt x="18812" y="4563"/>
                </a:cubicBezTo>
                <a:cubicBezTo>
                  <a:pt x="18812" y="4563"/>
                  <a:pt x="18781" y="4594"/>
                  <a:pt x="18781" y="4594"/>
                </a:cubicBezTo>
                <a:cubicBezTo>
                  <a:pt x="18750" y="4594"/>
                  <a:pt x="18718" y="4594"/>
                  <a:pt x="18718" y="4594"/>
                </a:cubicBezTo>
                <a:cubicBezTo>
                  <a:pt x="18687" y="4594"/>
                  <a:pt x="18656" y="4594"/>
                  <a:pt x="18625" y="4594"/>
                </a:cubicBezTo>
                <a:cubicBezTo>
                  <a:pt x="18343" y="4625"/>
                  <a:pt x="18062" y="4688"/>
                  <a:pt x="17812" y="4781"/>
                </a:cubicBezTo>
                <a:cubicBezTo>
                  <a:pt x="17812" y="4813"/>
                  <a:pt x="17812" y="4813"/>
                  <a:pt x="17812" y="4813"/>
                </a:cubicBezTo>
                <a:cubicBezTo>
                  <a:pt x="17781" y="4813"/>
                  <a:pt x="17781" y="4813"/>
                  <a:pt x="17781" y="4813"/>
                </a:cubicBezTo>
                <a:cubicBezTo>
                  <a:pt x="17750" y="4844"/>
                  <a:pt x="17687" y="4844"/>
                  <a:pt x="17656" y="4875"/>
                </a:cubicBezTo>
                <a:cubicBezTo>
                  <a:pt x="17656" y="4875"/>
                  <a:pt x="17656" y="4875"/>
                  <a:pt x="17656" y="4875"/>
                </a:cubicBezTo>
                <a:cubicBezTo>
                  <a:pt x="17656" y="4875"/>
                  <a:pt x="17656" y="4875"/>
                  <a:pt x="17656" y="4844"/>
                </a:cubicBezTo>
                <a:cubicBezTo>
                  <a:pt x="17656" y="4844"/>
                  <a:pt x="17656" y="4844"/>
                  <a:pt x="17656" y="4844"/>
                </a:cubicBezTo>
                <a:cubicBezTo>
                  <a:pt x="17531" y="4906"/>
                  <a:pt x="17406" y="4938"/>
                  <a:pt x="17281" y="5000"/>
                </a:cubicBezTo>
                <a:cubicBezTo>
                  <a:pt x="17281" y="5000"/>
                  <a:pt x="17281" y="5000"/>
                  <a:pt x="17281" y="5000"/>
                </a:cubicBezTo>
                <a:cubicBezTo>
                  <a:pt x="17218" y="5000"/>
                  <a:pt x="17156" y="5031"/>
                  <a:pt x="17125" y="5063"/>
                </a:cubicBezTo>
                <a:cubicBezTo>
                  <a:pt x="17093" y="5063"/>
                  <a:pt x="17062" y="5094"/>
                  <a:pt x="17062" y="5094"/>
                </a:cubicBezTo>
                <a:cubicBezTo>
                  <a:pt x="17000" y="5125"/>
                  <a:pt x="16968" y="5156"/>
                  <a:pt x="16906" y="5188"/>
                </a:cubicBezTo>
                <a:cubicBezTo>
                  <a:pt x="16781" y="5219"/>
                  <a:pt x="16718" y="5313"/>
                  <a:pt x="16656" y="5406"/>
                </a:cubicBezTo>
                <a:cubicBezTo>
                  <a:pt x="16625" y="5406"/>
                  <a:pt x="16625" y="5438"/>
                  <a:pt x="16625" y="5469"/>
                </a:cubicBezTo>
                <a:cubicBezTo>
                  <a:pt x="16562" y="5531"/>
                  <a:pt x="16500" y="5656"/>
                  <a:pt x="16500" y="5750"/>
                </a:cubicBezTo>
                <a:cubicBezTo>
                  <a:pt x="16562" y="5656"/>
                  <a:pt x="16625" y="5563"/>
                  <a:pt x="16687" y="5531"/>
                </a:cubicBezTo>
                <a:cubicBezTo>
                  <a:pt x="16718" y="5563"/>
                  <a:pt x="16656" y="5594"/>
                  <a:pt x="16687" y="5656"/>
                </a:cubicBezTo>
                <a:cubicBezTo>
                  <a:pt x="16718" y="5625"/>
                  <a:pt x="16750" y="5594"/>
                  <a:pt x="16781" y="5563"/>
                </a:cubicBezTo>
                <a:cubicBezTo>
                  <a:pt x="16812" y="5594"/>
                  <a:pt x="16781" y="5625"/>
                  <a:pt x="16781" y="5656"/>
                </a:cubicBezTo>
                <a:cubicBezTo>
                  <a:pt x="16781" y="5656"/>
                  <a:pt x="16781" y="5656"/>
                  <a:pt x="16781" y="5656"/>
                </a:cubicBezTo>
                <a:cubicBezTo>
                  <a:pt x="16781" y="5656"/>
                  <a:pt x="16781" y="5656"/>
                  <a:pt x="16781" y="5656"/>
                </a:cubicBezTo>
                <a:cubicBezTo>
                  <a:pt x="16750" y="5750"/>
                  <a:pt x="16750" y="5750"/>
                  <a:pt x="16781" y="5781"/>
                </a:cubicBezTo>
                <a:cubicBezTo>
                  <a:pt x="16781" y="5813"/>
                  <a:pt x="16781" y="5844"/>
                  <a:pt x="16781" y="5906"/>
                </a:cubicBezTo>
                <a:cubicBezTo>
                  <a:pt x="16718" y="6125"/>
                  <a:pt x="16718" y="6344"/>
                  <a:pt x="16687" y="6594"/>
                </a:cubicBezTo>
                <a:cubicBezTo>
                  <a:pt x="16687" y="6688"/>
                  <a:pt x="16687" y="6750"/>
                  <a:pt x="16687" y="6844"/>
                </a:cubicBezTo>
                <a:cubicBezTo>
                  <a:pt x="16687" y="6938"/>
                  <a:pt x="16687" y="7000"/>
                  <a:pt x="16687" y="7094"/>
                </a:cubicBezTo>
                <a:cubicBezTo>
                  <a:pt x="16687" y="7000"/>
                  <a:pt x="16687" y="6938"/>
                  <a:pt x="16687" y="6844"/>
                </a:cubicBezTo>
                <a:cubicBezTo>
                  <a:pt x="16656" y="6844"/>
                  <a:pt x="16656" y="6875"/>
                  <a:pt x="16656" y="6875"/>
                </a:cubicBezTo>
                <a:cubicBezTo>
                  <a:pt x="16656" y="7250"/>
                  <a:pt x="16656" y="7625"/>
                  <a:pt x="16687" y="7969"/>
                </a:cubicBezTo>
                <a:cubicBezTo>
                  <a:pt x="16656" y="8000"/>
                  <a:pt x="16687" y="8063"/>
                  <a:pt x="16687" y="8094"/>
                </a:cubicBezTo>
                <a:cubicBezTo>
                  <a:pt x="16687" y="8375"/>
                  <a:pt x="16718" y="8656"/>
                  <a:pt x="16750" y="8938"/>
                </a:cubicBezTo>
                <a:cubicBezTo>
                  <a:pt x="16781" y="9531"/>
                  <a:pt x="16812" y="10125"/>
                  <a:pt x="16781" y="10719"/>
                </a:cubicBezTo>
                <a:cubicBezTo>
                  <a:pt x="16750" y="10844"/>
                  <a:pt x="16750" y="10969"/>
                  <a:pt x="16718" y="11063"/>
                </a:cubicBezTo>
                <a:cubicBezTo>
                  <a:pt x="16593" y="11031"/>
                  <a:pt x="16500" y="11000"/>
                  <a:pt x="16406" y="10938"/>
                </a:cubicBezTo>
                <a:cubicBezTo>
                  <a:pt x="16406" y="10938"/>
                  <a:pt x="16437" y="10938"/>
                  <a:pt x="16437" y="10906"/>
                </a:cubicBezTo>
                <a:cubicBezTo>
                  <a:pt x="16468" y="10813"/>
                  <a:pt x="16468" y="10688"/>
                  <a:pt x="16562" y="10594"/>
                </a:cubicBezTo>
                <a:cubicBezTo>
                  <a:pt x="16562" y="10594"/>
                  <a:pt x="16562" y="10563"/>
                  <a:pt x="16562" y="10563"/>
                </a:cubicBezTo>
                <a:cubicBezTo>
                  <a:pt x="16562" y="10375"/>
                  <a:pt x="16593" y="10219"/>
                  <a:pt x="16625" y="10063"/>
                </a:cubicBezTo>
                <a:cubicBezTo>
                  <a:pt x="16656" y="10344"/>
                  <a:pt x="16562" y="10625"/>
                  <a:pt x="16656" y="10906"/>
                </a:cubicBezTo>
                <a:cubicBezTo>
                  <a:pt x="16687" y="10625"/>
                  <a:pt x="16750" y="10344"/>
                  <a:pt x="16718" y="10063"/>
                </a:cubicBezTo>
                <a:cubicBezTo>
                  <a:pt x="16750" y="10156"/>
                  <a:pt x="16718" y="10219"/>
                  <a:pt x="16750" y="10281"/>
                </a:cubicBezTo>
                <a:cubicBezTo>
                  <a:pt x="16750" y="10250"/>
                  <a:pt x="16750" y="10219"/>
                  <a:pt x="16750" y="10188"/>
                </a:cubicBezTo>
                <a:cubicBezTo>
                  <a:pt x="16750" y="9781"/>
                  <a:pt x="16750" y="9406"/>
                  <a:pt x="16687" y="9031"/>
                </a:cubicBezTo>
                <a:cubicBezTo>
                  <a:pt x="16687" y="8938"/>
                  <a:pt x="16687" y="8844"/>
                  <a:pt x="16687" y="8750"/>
                </a:cubicBezTo>
                <a:cubicBezTo>
                  <a:pt x="16687" y="8688"/>
                  <a:pt x="16656" y="8719"/>
                  <a:pt x="16625" y="8750"/>
                </a:cubicBezTo>
                <a:cubicBezTo>
                  <a:pt x="16625" y="8750"/>
                  <a:pt x="16625" y="8750"/>
                  <a:pt x="16625" y="8750"/>
                </a:cubicBezTo>
                <a:cubicBezTo>
                  <a:pt x="16625" y="8688"/>
                  <a:pt x="16656" y="8625"/>
                  <a:pt x="16656" y="8563"/>
                </a:cubicBezTo>
                <a:cubicBezTo>
                  <a:pt x="16656" y="8531"/>
                  <a:pt x="16625" y="8469"/>
                  <a:pt x="16625" y="8438"/>
                </a:cubicBezTo>
                <a:cubicBezTo>
                  <a:pt x="16593" y="8156"/>
                  <a:pt x="16562" y="7844"/>
                  <a:pt x="16562" y="7563"/>
                </a:cubicBezTo>
                <a:cubicBezTo>
                  <a:pt x="16531" y="7344"/>
                  <a:pt x="16500" y="7094"/>
                  <a:pt x="16500" y="6875"/>
                </a:cubicBezTo>
                <a:cubicBezTo>
                  <a:pt x="16500" y="7406"/>
                  <a:pt x="16500" y="7906"/>
                  <a:pt x="16500" y="8438"/>
                </a:cubicBezTo>
                <a:cubicBezTo>
                  <a:pt x="16500" y="8375"/>
                  <a:pt x="16500" y="8344"/>
                  <a:pt x="16500" y="8281"/>
                </a:cubicBezTo>
                <a:cubicBezTo>
                  <a:pt x="16468" y="8156"/>
                  <a:pt x="16437" y="8031"/>
                  <a:pt x="16406" y="7906"/>
                </a:cubicBezTo>
                <a:cubicBezTo>
                  <a:pt x="16343" y="7594"/>
                  <a:pt x="16312" y="7281"/>
                  <a:pt x="16312" y="7000"/>
                </a:cubicBezTo>
                <a:cubicBezTo>
                  <a:pt x="16312" y="7031"/>
                  <a:pt x="16312" y="7063"/>
                  <a:pt x="16312" y="7094"/>
                </a:cubicBezTo>
                <a:cubicBezTo>
                  <a:pt x="16281" y="7813"/>
                  <a:pt x="16375" y="8531"/>
                  <a:pt x="16406" y="9281"/>
                </a:cubicBezTo>
                <a:cubicBezTo>
                  <a:pt x="16437" y="9813"/>
                  <a:pt x="16437" y="10375"/>
                  <a:pt x="16375" y="10906"/>
                </a:cubicBezTo>
                <a:cubicBezTo>
                  <a:pt x="16343" y="10906"/>
                  <a:pt x="16312" y="10906"/>
                  <a:pt x="16312" y="10906"/>
                </a:cubicBezTo>
                <a:cubicBezTo>
                  <a:pt x="16156" y="10844"/>
                  <a:pt x="16031" y="10781"/>
                  <a:pt x="15906" y="10719"/>
                </a:cubicBezTo>
                <a:cubicBezTo>
                  <a:pt x="15500" y="10531"/>
                  <a:pt x="15125" y="10375"/>
                  <a:pt x="14750" y="10188"/>
                </a:cubicBezTo>
                <a:cubicBezTo>
                  <a:pt x="14437" y="10063"/>
                  <a:pt x="14093" y="9938"/>
                  <a:pt x="13781" y="9781"/>
                </a:cubicBezTo>
                <a:cubicBezTo>
                  <a:pt x="13531" y="9656"/>
                  <a:pt x="13250" y="9594"/>
                  <a:pt x="13000" y="9469"/>
                </a:cubicBezTo>
                <a:cubicBezTo>
                  <a:pt x="12781" y="9375"/>
                  <a:pt x="12562" y="9313"/>
                  <a:pt x="12343" y="9250"/>
                </a:cubicBezTo>
                <a:cubicBezTo>
                  <a:pt x="11875" y="9094"/>
                  <a:pt x="11437" y="8969"/>
                  <a:pt x="10937" y="8844"/>
                </a:cubicBezTo>
                <a:cubicBezTo>
                  <a:pt x="10625" y="8781"/>
                  <a:pt x="10312" y="8719"/>
                  <a:pt x="9968" y="8688"/>
                </a:cubicBezTo>
                <a:cubicBezTo>
                  <a:pt x="9562" y="8625"/>
                  <a:pt x="9156" y="8594"/>
                  <a:pt x="8750" y="8625"/>
                </a:cubicBezTo>
                <a:cubicBezTo>
                  <a:pt x="8000" y="8594"/>
                  <a:pt x="7593" y="8719"/>
                  <a:pt x="7406" y="8781"/>
                </a:cubicBezTo>
                <a:cubicBezTo>
                  <a:pt x="7218" y="8813"/>
                  <a:pt x="7031" y="8844"/>
                  <a:pt x="6843" y="8906"/>
                </a:cubicBezTo>
                <a:cubicBezTo>
                  <a:pt x="6343" y="9063"/>
                  <a:pt x="5843" y="9250"/>
                  <a:pt x="5375" y="9469"/>
                </a:cubicBezTo>
                <a:cubicBezTo>
                  <a:pt x="5000" y="9688"/>
                  <a:pt x="4625" y="9906"/>
                  <a:pt x="4281" y="10156"/>
                </a:cubicBezTo>
                <a:cubicBezTo>
                  <a:pt x="4062" y="10313"/>
                  <a:pt x="3843" y="10469"/>
                  <a:pt x="3656" y="10656"/>
                </a:cubicBezTo>
                <a:cubicBezTo>
                  <a:pt x="3656" y="10656"/>
                  <a:pt x="3656" y="10656"/>
                  <a:pt x="3656" y="10656"/>
                </a:cubicBezTo>
                <a:cubicBezTo>
                  <a:pt x="3343" y="10906"/>
                  <a:pt x="3031" y="11188"/>
                  <a:pt x="2750" y="11469"/>
                </a:cubicBezTo>
                <a:cubicBezTo>
                  <a:pt x="2593" y="11656"/>
                  <a:pt x="2437" y="11813"/>
                  <a:pt x="2281" y="12000"/>
                </a:cubicBezTo>
                <a:cubicBezTo>
                  <a:pt x="2250" y="12031"/>
                  <a:pt x="2187" y="12094"/>
                  <a:pt x="2156" y="12156"/>
                </a:cubicBezTo>
                <a:cubicBezTo>
                  <a:pt x="1812" y="12563"/>
                  <a:pt x="1468" y="12969"/>
                  <a:pt x="1156" y="13406"/>
                </a:cubicBezTo>
                <a:cubicBezTo>
                  <a:pt x="937" y="13750"/>
                  <a:pt x="687" y="14094"/>
                  <a:pt x="468" y="14438"/>
                </a:cubicBezTo>
                <a:cubicBezTo>
                  <a:pt x="312" y="14688"/>
                  <a:pt x="156" y="14906"/>
                  <a:pt x="31" y="15125"/>
                </a:cubicBezTo>
                <a:cubicBezTo>
                  <a:pt x="31" y="15156"/>
                  <a:pt x="31" y="15188"/>
                  <a:pt x="0" y="15156"/>
                </a:cubicBezTo>
                <a:cubicBezTo>
                  <a:pt x="0" y="15250"/>
                  <a:pt x="0" y="15313"/>
                  <a:pt x="0" y="15375"/>
                </a:cubicBezTo>
                <a:cubicBezTo>
                  <a:pt x="0" y="15438"/>
                  <a:pt x="0" y="15469"/>
                  <a:pt x="0" y="15500"/>
                </a:cubicBezTo>
                <a:cubicBezTo>
                  <a:pt x="0" y="15531"/>
                  <a:pt x="0" y="15563"/>
                  <a:pt x="0" y="15594"/>
                </a:cubicBezTo>
                <a:cubicBezTo>
                  <a:pt x="0" y="15750"/>
                  <a:pt x="0" y="15938"/>
                  <a:pt x="0" y="16125"/>
                </a:cubicBezTo>
                <a:cubicBezTo>
                  <a:pt x="0" y="16219"/>
                  <a:pt x="0" y="16313"/>
                  <a:pt x="0" y="16406"/>
                </a:cubicBezTo>
                <a:cubicBezTo>
                  <a:pt x="0" y="16469"/>
                  <a:pt x="0" y="16531"/>
                  <a:pt x="0" y="16594"/>
                </a:cubicBezTo>
                <a:cubicBezTo>
                  <a:pt x="0" y="16625"/>
                  <a:pt x="0" y="16687"/>
                  <a:pt x="0" y="16719"/>
                </a:cubicBezTo>
                <a:cubicBezTo>
                  <a:pt x="0" y="16781"/>
                  <a:pt x="0" y="16844"/>
                  <a:pt x="0" y="16906"/>
                </a:cubicBezTo>
                <a:cubicBezTo>
                  <a:pt x="0" y="17062"/>
                  <a:pt x="0" y="17250"/>
                  <a:pt x="0" y="17406"/>
                </a:cubicBezTo>
                <a:cubicBezTo>
                  <a:pt x="0" y="17469"/>
                  <a:pt x="0" y="17500"/>
                  <a:pt x="0" y="17562"/>
                </a:cubicBezTo>
                <a:cubicBezTo>
                  <a:pt x="0" y="17875"/>
                  <a:pt x="0" y="18187"/>
                  <a:pt x="0" y="18500"/>
                </a:cubicBezTo>
                <a:cubicBezTo>
                  <a:pt x="93" y="18500"/>
                  <a:pt x="218" y="18500"/>
                  <a:pt x="343" y="18500"/>
                </a:cubicBezTo>
                <a:cubicBezTo>
                  <a:pt x="406" y="18500"/>
                  <a:pt x="437" y="18500"/>
                  <a:pt x="468" y="18437"/>
                </a:cubicBezTo>
                <a:cubicBezTo>
                  <a:pt x="468" y="18437"/>
                  <a:pt x="468" y="18437"/>
                  <a:pt x="468" y="18437"/>
                </a:cubicBezTo>
                <a:cubicBezTo>
                  <a:pt x="468" y="18469"/>
                  <a:pt x="468" y="18500"/>
                  <a:pt x="500" y="18500"/>
                </a:cubicBezTo>
                <a:cubicBezTo>
                  <a:pt x="500" y="18500"/>
                  <a:pt x="531" y="18500"/>
                  <a:pt x="531" y="18469"/>
                </a:cubicBezTo>
                <a:cubicBezTo>
                  <a:pt x="625" y="18250"/>
                  <a:pt x="750" y="18031"/>
                  <a:pt x="843" y="17812"/>
                </a:cubicBezTo>
                <a:cubicBezTo>
                  <a:pt x="1093" y="17344"/>
                  <a:pt x="1343" y="16875"/>
                  <a:pt x="1625" y="16406"/>
                </a:cubicBezTo>
                <a:cubicBezTo>
                  <a:pt x="1656" y="16344"/>
                  <a:pt x="1687" y="16250"/>
                  <a:pt x="1750" y="16219"/>
                </a:cubicBezTo>
                <a:cubicBezTo>
                  <a:pt x="1750" y="16219"/>
                  <a:pt x="1750" y="16219"/>
                  <a:pt x="1750" y="16219"/>
                </a:cubicBezTo>
                <a:cubicBezTo>
                  <a:pt x="1750" y="16219"/>
                  <a:pt x="1750" y="16219"/>
                  <a:pt x="1750" y="16219"/>
                </a:cubicBezTo>
                <a:cubicBezTo>
                  <a:pt x="1750" y="16219"/>
                  <a:pt x="1750" y="16250"/>
                  <a:pt x="1750" y="16250"/>
                </a:cubicBezTo>
                <a:cubicBezTo>
                  <a:pt x="1656" y="16438"/>
                  <a:pt x="1562" y="16594"/>
                  <a:pt x="1468" y="16781"/>
                </a:cubicBezTo>
                <a:cubicBezTo>
                  <a:pt x="1312" y="17062"/>
                  <a:pt x="1125" y="17375"/>
                  <a:pt x="968" y="17656"/>
                </a:cubicBezTo>
                <a:cubicBezTo>
                  <a:pt x="843" y="17906"/>
                  <a:pt x="718" y="18187"/>
                  <a:pt x="593" y="18437"/>
                </a:cubicBezTo>
                <a:cubicBezTo>
                  <a:pt x="562" y="18469"/>
                  <a:pt x="562" y="18500"/>
                  <a:pt x="656" y="18500"/>
                </a:cubicBezTo>
                <a:cubicBezTo>
                  <a:pt x="750" y="18500"/>
                  <a:pt x="875" y="18500"/>
                  <a:pt x="1000" y="18500"/>
                </a:cubicBezTo>
                <a:cubicBezTo>
                  <a:pt x="1062" y="18500"/>
                  <a:pt x="1093" y="18469"/>
                  <a:pt x="1125" y="18437"/>
                </a:cubicBezTo>
                <a:cubicBezTo>
                  <a:pt x="1218" y="18219"/>
                  <a:pt x="1312" y="18031"/>
                  <a:pt x="1406" y="17812"/>
                </a:cubicBezTo>
                <a:cubicBezTo>
                  <a:pt x="1531" y="17594"/>
                  <a:pt x="1656" y="17375"/>
                  <a:pt x="1781" y="17125"/>
                </a:cubicBezTo>
                <a:cubicBezTo>
                  <a:pt x="1937" y="16844"/>
                  <a:pt x="2125" y="16531"/>
                  <a:pt x="2281" y="16250"/>
                </a:cubicBezTo>
                <a:cubicBezTo>
                  <a:pt x="2375" y="16063"/>
                  <a:pt x="2531" y="15875"/>
                  <a:pt x="2625" y="15688"/>
                </a:cubicBezTo>
                <a:cubicBezTo>
                  <a:pt x="2906" y="15281"/>
                  <a:pt x="3187" y="14844"/>
                  <a:pt x="3500" y="14438"/>
                </a:cubicBezTo>
                <a:cubicBezTo>
                  <a:pt x="3718" y="14188"/>
                  <a:pt x="3937" y="13906"/>
                  <a:pt x="4187" y="13656"/>
                </a:cubicBezTo>
                <a:cubicBezTo>
                  <a:pt x="4437" y="13406"/>
                  <a:pt x="4656" y="13156"/>
                  <a:pt x="4906" y="12938"/>
                </a:cubicBezTo>
                <a:cubicBezTo>
                  <a:pt x="4968" y="12906"/>
                  <a:pt x="5000" y="12875"/>
                  <a:pt x="5031" y="12813"/>
                </a:cubicBezTo>
                <a:cubicBezTo>
                  <a:pt x="5062" y="12719"/>
                  <a:pt x="5125" y="12688"/>
                  <a:pt x="5187" y="12625"/>
                </a:cubicBezTo>
                <a:cubicBezTo>
                  <a:pt x="5468" y="12406"/>
                  <a:pt x="5781" y="12188"/>
                  <a:pt x="6093" y="12031"/>
                </a:cubicBezTo>
                <a:cubicBezTo>
                  <a:pt x="6187" y="11969"/>
                  <a:pt x="6250" y="11875"/>
                  <a:pt x="6343" y="11844"/>
                </a:cubicBezTo>
                <a:cubicBezTo>
                  <a:pt x="6468" y="11781"/>
                  <a:pt x="6562" y="11719"/>
                  <a:pt x="6687" y="11656"/>
                </a:cubicBezTo>
                <a:cubicBezTo>
                  <a:pt x="6718" y="11656"/>
                  <a:pt x="6750" y="11656"/>
                  <a:pt x="6718" y="11625"/>
                </a:cubicBezTo>
                <a:cubicBezTo>
                  <a:pt x="6718" y="11594"/>
                  <a:pt x="6750" y="11594"/>
                  <a:pt x="6750" y="11594"/>
                </a:cubicBezTo>
                <a:cubicBezTo>
                  <a:pt x="6781" y="11594"/>
                  <a:pt x="6781" y="11594"/>
                  <a:pt x="6781" y="11594"/>
                </a:cubicBezTo>
                <a:cubicBezTo>
                  <a:pt x="6781" y="11594"/>
                  <a:pt x="6781" y="11594"/>
                  <a:pt x="6781" y="11594"/>
                </a:cubicBezTo>
                <a:cubicBezTo>
                  <a:pt x="6781" y="11594"/>
                  <a:pt x="6750" y="11594"/>
                  <a:pt x="6750" y="11594"/>
                </a:cubicBezTo>
                <a:cubicBezTo>
                  <a:pt x="6812" y="11656"/>
                  <a:pt x="6812" y="11625"/>
                  <a:pt x="6843" y="11594"/>
                </a:cubicBezTo>
                <a:cubicBezTo>
                  <a:pt x="6875" y="11531"/>
                  <a:pt x="6906" y="11531"/>
                  <a:pt x="6937" y="11500"/>
                </a:cubicBezTo>
                <a:cubicBezTo>
                  <a:pt x="7218" y="11438"/>
                  <a:pt x="7468" y="11375"/>
                  <a:pt x="7718" y="11313"/>
                </a:cubicBezTo>
                <a:cubicBezTo>
                  <a:pt x="7812" y="11281"/>
                  <a:pt x="7937" y="11250"/>
                  <a:pt x="8031" y="11281"/>
                </a:cubicBezTo>
                <a:cubicBezTo>
                  <a:pt x="8031" y="11313"/>
                  <a:pt x="8000" y="11313"/>
                  <a:pt x="8000" y="11313"/>
                </a:cubicBezTo>
                <a:cubicBezTo>
                  <a:pt x="7812" y="11313"/>
                  <a:pt x="7625" y="11375"/>
                  <a:pt x="7437" y="11438"/>
                </a:cubicBezTo>
                <a:cubicBezTo>
                  <a:pt x="7312" y="11469"/>
                  <a:pt x="7218" y="11531"/>
                  <a:pt x="7093" y="11594"/>
                </a:cubicBezTo>
                <a:cubicBezTo>
                  <a:pt x="6875" y="11656"/>
                  <a:pt x="6687" y="11750"/>
                  <a:pt x="6500" y="11875"/>
                </a:cubicBezTo>
                <a:cubicBezTo>
                  <a:pt x="6375" y="11969"/>
                  <a:pt x="6250" y="12031"/>
                  <a:pt x="6125" y="12125"/>
                </a:cubicBezTo>
                <a:cubicBezTo>
                  <a:pt x="6093" y="12156"/>
                  <a:pt x="6031" y="12156"/>
                  <a:pt x="6031" y="12219"/>
                </a:cubicBezTo>
                <a:cubicBezTo>
                  <a:pt x="6031" y="12219"/>
                  <a:pt x="6000" y="12219"/>
                  <a:pt x="6000" y="12219"/>
                </a:cubicBezTo>
                <a:cubicBezTo>
                  <a:pt x="6000" y="12219"/>
                  <a:pt x="5968" y="12219"/>
                  <a:pt x="5968" y="12219"/>
                </a:cubicBezTo>
                <a:cubicBezTo>
                  <a:pt x="5781" y="12344"/>
                  <a:pt x="5625" y="12469"/>
                  <a:pt x="5437" y="12594"/>
                </a:cubicBezTo>
                <a:cubicBezTo>
                  <a:pt x="5375" y="12625"/>
                  <a:pt x="5406" y="12656"/>
                  <a:pt x="5468" y="12688"/>
                </a:cubicBezTo>
                <a:cubicBezTo>
                  <a:pt x="5500" y="12719"/>
                  <a:pt x="5500" y="12688"/>
                  <a:pt x="5531" y="12656"/>
                </a:cubicBezTo>
                <a:cubicBezTo>
                  <a:pt x="5531" y="12656"/>
                  <a:pt x="5531" y="12656"/>
                  <a:pt x="5531" y="12656"/>
                </a:cubicBezTo>
                <a:cubicBezTo>
                  <a:pt x="5562" y="12656"/>
                  <a:pt x="5593" y="12625"/>
                  <a:pt x="5656" y="12594"/>
                </a:cubicBezTo>
                <a:cubicBezTo>
                  <a:pt x="5781" y="12500"/>
                  <a:pt x="5906" y="12406"/>
                  <a:pt x="6062" y="12344"/>
                </a:cubicBezTo>
                <a:cubicBezTo>
                  <a:pt x="6031" y="12406"/>
                  <a:pt x="6000" y="12406"/>
                  <a:pt x="5968" y="12438"/>
                </a:cubicBezTo>
                <a:cubicBezTo>
                  <a:pt x="5906" y="12500"/>
                  <a:pt x="5812" y="12500"/>
                  <a:pt x="5781" y="12594"/>
                </a:cubicBezTo>
                <a:cubicBezTo>
                  <a:pt x="5781" y="12594"/>
                  <a:pt x="5750" y="12594"/>
                  <a:pt x="5750" y="12594"/>
                </a:cubicBezTo>
                <a:close/>
                <a:moveTo>
                  <a:pt x="5187" y="13813"/>
                </a:moveTo>
                <a:cubicBezTo>
                  <a:pt x="5156" y="13813"/>
                  <a:pt x="5156" y="13844"/>
                  <a:pt x="5156" y="13844"/>
                </a:cubicBezTo>
                <a:cubicBezTo>
                  <a:pt x="5187" y="13844"/>
                  <a:pt x="5187" y="13844"/>
                  <a:pt x="5187" y="13813"/>
                </a:cubicBezTo>
                <a:cubicBezTo>
                  <a:pt x="5187" y="13813"/>
                  <a:pt x="5187" y="13813"/>
                  <a:pt x="5187" y="13813"/>
                </a:cubicBezTo>
                <a:close/>
                <a:moveTo>
                  <a:pt x="5187" y="13813"/>
                </a:moveTo>
                <a:cubicBezTo>
                  <a:pt x="5187" y="13813"/>
                  <a:pt x="5187" y="13813"/>
                  <a:pt x="5187" y="13813"/>
                </a:cubicBezTo>
                <a:lnTo>
                  <a:pt x="5187" y="13813"/>
                </a:lnTo>
                <a:cubicBezTo>
                  <a:pt x="5187" y="13813"/>
                  <a:pt x="5187" y="13813"/>
                  <a:pt x="5187" y="13813"/>
                </a:cubicBezTo>
                <a:cubicBezTo>
                  <a:pt x="5187" y="13813"/>
                  <a:pt x="5187" y="13813"/>
                  <a:pt x="5187" y="13813"/>
                </a:cubicBezTo>
                <a:close/>
                <a:moveTo>
                  <a:pt x="4406" y="14188"/>
                </a:moveTo>
                <a:cubicBezTo>
                  <a:pt x="4406" y="14188"/>
                  <a:pt x="4406" y="14188"/>
                  <a:pt x="4406" y="14156"/>
                </a:cubicBezTo>
                <a:cubicBezTo>
                  <a:pt x="4406" y="14156"/>
                  <a:pt x="4406" y="14156"/>
                  <a:pt x="4437" y="14156"/>
                </a:cubicBezTo>
                <a:cubicBezTo>
                  <a:pt x="4437" y="14156"/>
                  <a:pt x="4437" y="14156"/>
                  <a:pt x="4437" y="14125"/>
                </a:cubicBezTo>
                <a:cubicBezTo>
                  <a:pt x="4500" y="14094"/>
                  <a:pt x="4562" y="14031"/>
                  <a:pt x="4593" y="13969"/>
                </a:cubicBezTo>
                <a:cubicBezTo>
                  <a:pt x="4593" y="13938"/>
                  <a:pt x="4593" y="13938"/>
                  <a:pt x="4593" y="13938"/>
                </a:cubicBezTo>
                <a:cubicBezTo>
                  <a:pt x="4625" y="13969"/>
                  <a:pt x="4625" y="13938"/>
                  <a:pt x="4625" y="13938"/>
                </a:cubicBezTo>
                <a:lnTo>
                  <a:pt x="4625" y="13938"/>
                </a:lnTo>
                <a:cubicBezTo>
                  <a:pt x="4625" y="13938"/>
                  <a:pt x="4656" y="13938"/>
                  <a:pt x="4656" y="13938"/>
                </a:cubicBezTo>
                <a:cubicBezTo>
                  <a:pt x="4656" y="13938"/>
                  <a:pt x="4656" y="13906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87" y="13875"/>
                  <a:pt x="4750" y="13844"/>
                  <a:pt x="4781" y="13813"/>
                </a:cubicBezTo>
                <a:cubicBezTo>
                  <a:pt x="4781" y="13781"/>
                  <a:pt x="4812" y="13750"/>
                  <a:pt x="4875" y="13719"/>
                </a:cubicBezTo>
                <a:cubicBezTo>
                  <a:pt x="4843" y="13719"/>
                  <a:pt x="4843" y="13719"/>
                  <a:pt x="4843" y="13688"/>
                </a:cubicBezTo>
                <a:cubicBezTo>
                  <a:pt x="4781" y="13750"/>
                  <a:pt x="4718" y="13844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25" y="13906"/>
                  <a:pt x="4625" y="13938"/>
                  <a:pt x="4593" y="13938"/>
                </a:cubicBezTo>
                <a:cubicBezTo>
                  <a:pt x="4593" y="13969"/>
                  <a:pt x="4593" y="13969"/>
                  <a:pt x="4593" y="13969"/>
                </a:cubicBezTo>
                <a:cubicBezTo>
                  <a:pt x="4562" y="13969"/>
                  <a:pt x="4531" y="14000"/>
                  <a:pt x="4500" y="14031"/>
                </a:cubicBezTo>
                <a:cubicBezTo>
                  <a:pt x="4468" y="14063"/>
                  <a:pt x="4437" y="14094"/>
                  <a:pt x="4437" y="14125"/>
                </a:cubicBezTo>
                <a:cubicBezTo>
                  <a:pt x="4437" y="14125"/>
                  <a:pt x="4437" y="14125"/>
                  <a:pt x="4437" y="14125"/>
                </a:cubicBezTo>
                <a:cubicBezTo>
                  <a:pt x="4406" y="14125"/>
                  <a:pt x="4406" y="14156"/>
                  <a:pt x="4406" y="14156"/>
                </a:cubicBezTo>
                <a:cubicBezTo>
                  <a:pt x="4406" y="14156"/>
                  <a:pt x="4406" y="14156"/>
                  <a:pt x="4406" y="14156"/>
                </a:cubicBezTo>
                <a:cubicBezTo>
                  <a:pt x="4406" y="14156"/>
                  <a:pt x="4375" y="14188"/>
                  <a:pt x="4375" y="14188"/>
                </a:cubicBezTo>
                <a:cubicBezTo>
                  <a:pt x="4375" y="14188"/>
                  <a:pt x="4375" y="14188"/>
                  <a:pt x="4406" y="14188"/>
                </a:cubicBezTo>
                <a:close/>
                <a:moveTo>
                  <a:pt x="3750" y="15938"/>
                </a:moveTo>
                <a:cubicBezTo>
                  <a:pt x="3750" y="15938"/>
                  <a:pt x="3750" y="15938"/>
                  <a:pt x="3750" y="15938"/>
                </a:cubicBezTo>
                <a:cubicBezTo>
                  <a:pt x="3750" y="15938"/>
                  <a:pt x="3781" y="15938"/>
                  <a:pt x="3781" y="15938"/>
                </a:cubicBezTo>
                <a:cubicBezTo>
                  <a:pt x="3781" y="15906"/>
                  <a:pt x="3781" y="15906"/>
                  <a:pt x="3750" y="15906"/>
                </a:cubicBezTo>
                <a:cubicBezTo>
                  <a:pt x="3750" y="15906"/>
                  <a:pt x="3750" y="15938"/>
                  <a:pt x="3750" y="15938"/>
                </a:cubicBezTo>
                <a:close/>
                <a:moveTo>
                  <a:pt x="2968" y="16656"/>
                </a:moveTo>
                <a:cubicBezTo>
                  <a:pt x="3000" y="16656"/>
                  <a:pt x="3031" y="16656"/>
                  <a:pt x="3031" y="16625"/>
                </a:cubicBezTo>
                <a:cubicBezTo>
                  <a:pt x="3000" y="16625"/>
                  <a:pt x="2968" y="16656"/>
                  <a:pt x="2968" y="16656"/>
                </a:cubicBezTo>
                <a:close/>
                <a:moveTo>
                  <a:pt x="3968" y="15594"/>
                </a:moveTo>
                <a:cubicBezTo>
                  <a:pt x="3968" y="15594"/>
                  <a:pt x="3937" y="15625"/>
                  <a:pt x="3968" y="15656"/>
                </a:cubicBezTo>
                <a:cubicBezTo>
                  <a:pt x="3968" y="15625"/>
                  <a:pt x="4000" y="15625"/>
                  <a:pt x="4000" y="15594"/>
                </a:cubicBezTo>
                <a:cubicBezTo>
                  <a:pt x="4000" y="15594"/>
                  <a:pt x="4000" y="15594"/>
                  <a:pt x="3968" y="15594"/>
                </a:cubicBezTo>
                <a:close/>
                <a:moveTo>
                  <a:pt x="2875" y="16875"/>
                </a:moveTo>
                <a:cubicBezTo>
                  <a:pt x="2937" y="16844"/>
                  <a:pt x="2937" y="16781"/>
                  <a:pt x="2968" y="16719"/>
                </a:cubicBezTo>
                <a:cubicBezTo>
                  <a:pt x="2906" y="16750"/>
                  <a:pt x="2875" y="16812"/>
                  <a:pt x="2875" y="16844"/>
                </a:cubicBezTo>
                <a:cubicBezTo>
                  <a:pt x="2875" y="16875"/>
                  <a:pt x="2875" y="16875"/>
                  <a:pt x="2875" y="16875"/>
                </a:cubicBezTo>
                <a:cubicBezTo>
                  <a:pt x="2843" y="16875"/>
                  <a:pt x="2843" y="16875"/>
                  <a:pt x="2843" y="16906"/>
                </a:cubicBezTo>
                <a:cubicBezTo>
                  <a:pt x="2843" y="16906"/>
                  <a:pt x="2812" y="16906"/>
                  <a:pt x="2812" y="16906"/>
                </a:cubicBezTo>
                <a:cubicBezTo>
                  <a:pt x="2812" y="16937"/>
                  <a:pt x="2812" y="16937"/>
                  <a:pt x="2812" y="16937"/>
                </a:cubicBezTo>
                <a:cubicBezTo>
                  <a:pt x="2812" y="16937"/>
                  <a:pt x="2812" y="16937"/>
                  <a:pt x="2812" y="16969"/>
                </a:cubicBezTo>
                <a:cubicBezTo>
                  <a:pt x="2843" y="16969"/>
                  <a:pt x="2843" y="16937"/>
                  <a:pt x="2843" y="16906"/>
                </a:cubicBezTo>
                <a:cubicBezTo>
                  <a:pt x="2875" y="16906"/>
                  <a:pt x="2875" y="16906"/>
                  <a:pt x="2875" y="16875"/>
                </a:cubicBezTo>
                <a:close/>
                <a:moveTo>
                  <a:pt x="2375" y="17781"/>
                </a:moveTo>
                <a:cubicBezTo>
                  <a:pt x="2312" y="17812"/>
                  <a:pt x="2312" y="17844"/>
                  <a:pt x="2312" y="17875"/>
                </a:cubicBezTo>
                <a:cubicBezTo>
                  <a:pt x="2375" y="17875"/>
                  <a:pt x="2375" y="17844"/>
                  <a:pt x="2375" y="17781"/>
                </a:cubicBezTo>
                <a:close/>
                <a:moveTo>
                  <a:pt x="2312" y="17875"/>
                </a:moveTo>
                <a:cubicBezTo>
                  <a:pt x="2312" y="17875"/>
                  <a:pt x="2312" y="17875"/>
                  <a:pt x="2312" y="17906"/>
                </a:cubicBezTo>
                <a:cubicBezTo>
                  <a:pt x="2312" y="17906"/>
                  <a:pt x="2281" y="17906"/>
                  <a:pt x="2281" y="17906"/>
                </a:cubicBezTo>
                <a:cubicBezTo>
                  <a:pt x="2281" y="17906"/>
                  <a:pt x="2281" y="17906"/>
                  <a:pt x="2281" y="17906"/>
                </a:cubicBezTo>
                <a:cubicBezTo>
                  <a:pt x="2281" y="17906"/>
                  <a:pt x="2281" y="17906"/>
                  <a:pt x="2281" y="17906"/>
                </a:cubicBezTo>
                <a:cubicBezTo>
                  <a:pt x="2250" y="17906"/>
                  <a:pt x="2250" y="17906"/>
                  <a:pt x="2250" y="17906"/>
                </a:cubicBezTo>
                <a:cubicBezTo>
                  <a:pt x="2281" y="17844"/>
                  <a:pt x="2281" y="17781"/>
                  <a:pt x="2343" y="17750"/>
                </a:cubicBezTo>
                <a:cubicBezTo>
                  <a:pt x="2343" y="17719"/>
                  <a:pt x="2343" y="17719"/>
                  <a:pt x="2375" y="17687"/>
                </a:cubicBezTo>
                <a:cubicBezTo>
                  <a:pt x="2375" y="17687"/>
                  <a:pt x="2375" y="17687"/>
                  <a:pt x="2375" y="17687"/>
                </a:cubicBezTo>
                <a:cubicBezTo>
                  <a:pt x="2375" y="17687"/>
                  <a:pt x="2375" y="17687"/>
                  <a:pt x="2375" y="17687"/>
                </a:cubicBezTo>
                <a:cubicBezTo>
                  <a:pt x="2375" y="17750"/>
                  <a:pt x="2406" y="17781"/>
                  <a:pt x="2406" y="17750"/>
                </a:cubicBezTo>
                <a:cubicBezTo>
                  <a:pt x="2468" y="17656"/>
                  <a:pt x="2500" y="17594"/>
                  <a:pt x="2531" y="17500"/>
                </a:cubicBezTo>
                <a:cubicBezTo>
                  <a:pt x="2468" y="17531"/>
                  <a:pt x="2468" y="17562"/>
                  <a:pt x="2437" y="17594"/>
                </a:cubicBezTo>
                <a:cubicBezTo>
                  <a:pt x="2468" y="17469"/>
                  <a:pt x="2531" y="17375"/>
                  <a:pt x="2625" y="17250"/>
                </a:cubicBezTo>
                <a:cubicBezTo>
                  <a:pt x="2625" y="17281"/>
                  <a:pt x="2625" y="17281"/>
                  <a:pt x="2593" y="17312"/>
                </a:cubicBezTo>
                <a:cubicBezTo>
                  <a:pt x="2593" y="17344"/>
                  <a:pt x="2593" y="17344"/>
                  <a:pt x="2593" y="17375"/>
                </a:cubicBezTo>
                <a:cubicBezTo>
                  <a:pt x="2593" y="17375"/>
                  <a:pt x="2593" y="17375"/>
                  <a:pt x="2562" y="17406"/>
                </a:cubicBezTo>
                <a:cubicBezTo>
                  <a:pt x="2593" y="17406"/>
                  <a:pt x="2593" y="17406"/>
                  <a:pt x="2593" y="17406"/>
                </a:cubicBezTo>
                <a:cubicBezTo>
                  <a:pt x="2593" y="17375"/>
                  <a:pt x="2593" y="17375"/>
                  <a:pt x="2593" y="17375"/>
                </a:cubicBezTo>
                <a:cubicBezTo>
                  <a:pt x="2656" y="17344"/>
                  <a:pt x="2656" y="17312"/>
                  <a:pt x="2656" y="17250"/>
                </a:cubicBezTo>
                <a:cubicBezTo>
                  <a:pt x="2718" y="17219"/>
                  <a:pt x="2718" y="17156"/>
                  <a:pt x="2750" y="17094"/>
                </a:cubicBezTo>
                <a:lnTo>
                  <a:pt x="2750" y="17094"/>
                </a:lnTo>
                <a:cubicBezTo>
                  <a:pt x="2718" y="17125"/>
                  <a:pt x="2687" y="17156"/>
                  <a:pt x="2656" y="17219"/>
                </a:cubicBezTo>
                <a:cubicBezTo>
                  <a:pt x="2656" y="17219"/>
                  <a:pt x="2656" y="17250"/>
                  <a:pt x="2656" y="17250"/>
                </a:cubicBezTo>
                <a:cubicBezTo>
                  <a:pt x="2625" y="17250"/>
                  <a:pt x="2625" y="17250"/>
                  <a:pt x="2625" y="17250"/>
                </a:cubicBezTo>
                <a:cubicBezTo>
                  <a:pt x="2625" y="17156"/>
                  <a:pt x="2687" y="17094"/>
                  <a:pt x="2718" y="17031"/>
                </a:cubicBezTo>
                <a:cubicBezTo>
                  <a:pt x="2750" y="17031"/>
                  <a:pt x="2750" y="17000"/>
                  <a:pt x="2750" y="17000"/>
                </a:cubicBezTo>
                <a:cubicBezTo>
                  <a:pt x="2750" y="17000"/>
                  <a:pt x="2750" y="17000"/>
                  <a:pt x="2750" y="17000"/>
                </a:cubicBezTo>
                <a:cubicBezTo>
                  <a:pt x="2750" y="17031"/>
                  <a:pt x="2750" y="17031"/>
                  <a:pt x="2781" y="17062"/>
                </a:cubicBezTo>
                <a:cubicBezTo>
                  <a:pt x="2781" y="17062"/>
                  <a:pt x="2812" y="17031"/>
                  <a:pt x="2812" y="17031"/>
                </a:cubicBezTo>
                <a:cubicBezTo>
                  <a:pt x="2812" y="17000"/>
                  <a:pt x="2812" y="17000"/>
                  <a:pt x="2812" y="17000"/>
                </a:cubicBezTo>
                <a:cubicBezTo>
                  <a:pt x="2812" y="17000"/>
                  <a:pt x="2812" y="16969"/>
                  <a:pt x="2812" y="16969"/>
                </a:cubicBezTo>
                <a:cubicBezTo>
                  <a:pt x="2781" y="16969"/>
                  <a:pt x="2781" y="17000"/>
                  <a:pt x="2750" y="17000"/>
                </a:cubicBezTo>
                <a:cubicBezTo>
                  <a:pt x="2750" y="16969"/>
                  <a:pt x="2750" y="16937"/>
                  <a:pt x="2781" y="16906"/>
                </a:cubicBezTo>
                <a:cubicBezTo>
                  <a:pt x="2906" y="16687"/>
                  <a:pt x="3062" y="16469"/>
                  <a:pt x="3187" y="16219"/>
                </a:cubicBezTo>
                <a:cubicBezTo>
                  <a:pt x="3343" y="15969"/>
                  <a:pt x="3531" y="15719"/>
                  <a:pt x="3718" y="15469"/>
                </a:cubicBezTo>
                <a:cubicBezTo>
                  <a:pt x="3718" y="15438"/>
                  <a:pt x="3718" y="15438"/>
                  <a:pt x="3750" y="15406"/>
                </a:cubicBezTo>
                <a:cubicBezTo>
                  <a:pt x="3812" y="15313"/>
                  <a:pt x="3906" y="15219"/>
                  <a:pt x="3937" y="15094"/>
                </a:cubicBezTo>
                <a:cubicBezTo>
                  <a:pt x="3937" y="15094"/>
                  <a:pt x="3937" y="15094"/>
                  <a:pt x="3937" y="15094"/>
                </a:cubicBezTo>
                <a:cubicBezTo>
                  <a:pt x="3937" y="15094"/>
                  <a:pt x="3937" y="15094"/>
                  <a:pt x="3937" y="15094"/>
                </a:cubicBezTo>
                <a:cubicBezTo>
                  <a:pt x="3937" y="15094"/>
                  <a:pt x="3937" y="15094"/>
                  <a:pt x="3937" y="15094"/>
                </a:cubicBezTo>
                <a:cubicBezTo>
                  <a:pt x="3968" y="15094"/>
                  <a:pt x="3968" y="15094"/>
                  <a:pt x="4000" y="15063"/>
                </a:cubicBezTo>
                <a:cubicBezTo>
                  <a:pt x="4000" y="15063"/>
                  <a:pt x="4000" y="15063"/>
                  <a:pt x="4000" y="15031"/>
                </a:cubicBezTo>
                <a:cubicBezTo>
                  <a:pt x="4000" y="15031"/>
                  <a:pt x="4031" y="15031"/>
                  <a:pt x="4031" y="15031"/>
                </a:cubicBezTo>
                <a:cubicBezTo>
                  <a:pt x="4031" y="15031"/>
                  <a:pt x="4031" y="15000"/>
                  <a:pt x="4031" y="15000"/>
                </a:cubicBezTo>
                <a:cubicBezTo>
                  <a:pt x="4187" y="14844"/>
                  <a:pt x="4312" y="14688"/>
                  <a:pt x="4437" y="14531"/>
                </a:cubicBezTo>
                <a:cubicBezTo>
                  <a:pt x="4468" y="14500"/>
                  <a:pt x="4531" y="14469"/>
                  <a:pt x="4531" y="14406"/>
                </a:cubicBezTo>
                <a:cubicBezTo>
                  <a:pt x="4500" y="14375"/>
                  <a:pt x="4500" y="14406"/>
                  <a:pt x="4500" y="14406"/>
                </a:cubicBezTo>
                <a:cubicBezTo>
                  <a:pt x="4375" y="14563"/>
                  <a:pt x="4218" y="14719"/>
                  <a:pt x="4125" y="14844"/>
                </a:cubicBezTo>
                <a:cubicBezTo>
                  <a:pt x="4125" y="14875"/>
                  <a:pt x="4093" y="14875"/>
                  <a:pt x="4093" y="14875"/>
                </a:cubicBezTo>
                <a:cubicBezTo>
                  <a:pt x="4062" y="14938"/>
                  <a:pt x="4000" y="14969"/>
                  <a:pt x="4000" y="15031"/>
                </a:cubicBezTo>
                <a:cubicBezTo>
                  <a:pt x="4000" y="15031"/>
                  <a:pt x="4000" y="15031"/>
                  <a:pt x="4000" y="15031"/>
                </a:cubicBezTo>
                <a:cubicBezTo>
                  <a:pt x="4000" y="15031"/>
                  <a:pt x="4000" y="15031"/>
                  <a:pt x="4000" y="15031"/>
                </a:cubicBezTo>
                <a:cubicBezTo>
                  <a:pt x="4000" y="15031"/>
                  <a:pt x="4000" y="15031"/>
                  <a:pt x="4000" y="15031"/>
                </a:cubicBezTo>
                <a:cubicBezTo>
                  <a:pt x="3968" y="15031"/>
                  <a:pt x="3968" y="15063"/>
                  <a:pt x="3937" y="15063"/>
                </a:cubicBezTo>
                <a:cubicBezTo>
                  <a:pt x="3937" y="15063"/>
                  <a:pt x="3937" y="15094"/>
                  <a:pt x="3937" y="15094"/>
                </a:cubicBezTo>
                <a:cubicBezTo>
                  <a:pt x="3906" y="15094"/>
                  <a:pt x="3906" y="15125"/>
                  <a:pt x="3906" y="15125"/>
                </a:cubicBezTo>
                <a:cubicBezTo>
                  <a:pt x="3406" y="15781"/>
                  <a:pt x="3000" y="16438"/>
                  <a:pt x="2593" y="17156"/>
                </a:cubicBezTo>
                <a:cubicBezTo>
                  <a:pt x="2406" y="17500"/>
                  <a:pt x="2218" y="17875"/>
                  <a:pt x="2031" y="18219"/>
                </a:cubicBezTo>
                <a:cubicBezTo>
                  <a:pt x="2000" y="18312"/>
                  <a:pt x="1937" y="18406"/>
                  <a:pt x="1906" y="18531"/>
                </a:cubicBezTo>
                <a:cubicBezTo>
                  <a:pt x="1937" y="18500"/>
                  <a:pt x="1968" y="18469"/>
                  <a:pt x="2000" y="18437"/>
                </a:cubicBezTo>
                <a:cubicBezTo>
                  <a:pt x="2000" y="18437"/>
                  <a:pt x="2000" y="18437"/>
                  <a:pt x="2000" y="18437"/>
                </a:cubicBezTo>
                <a:cubicBezTo>
                  <a:pt x="2000" y="18437"/>
                  <a:pt x="2000" y="18437"/>
                  <a:pt x="2000" y="18437"/>
                </a:cubicBezTo>
                <a:cubicBezTo>
                  <a:pt x="2000" y="18469"/>
                  <a:pt x="2000" y="18469"/>
                  <a:pt x="2000" y="18500"/>
                </a:cubicBezTo>
                <a:cubicBezTo>
                  <a:pt x="2000" y="18500"/>
                  <a:pt x="2000" y="18500"/>
                  <a:pt x="2000" y="18500"/>
                </a:cubicBezTo>
                <a:cubicBezTo>
                  <a:pt x="2031" y="18500"/>
                  <a:pt x="2031" y="18500"/>
                  <a:pt x="2031" y="18469"/>
                </a:cubicBezTo>
                <a:cubicBezTo>
                  <a:pt x="2093" y="18375"/>
                  <a:pt x="2156" y="18312"/>
                  <a:pt x="2187" y="18219"/>
                </a:cubicBezTo>
                <a:cubicBezTo>
                  <a:pt x="2218" y="18094"/>
                  <a:pt x="2312" y="18000"/>
                  <a:pt x="2312" y="17906"/>
                </a:cubicBezTo>
                <a:cubicBezTo>
                  <a:pt x="2312" y="17906"/>
                  <a:pt x="2312" y="17906"/>
                  <a:pt x="2312" y="17875"/>
                </a:cubicBezTo>
                <a:close/>
                <a:moveTo>
                  <a:pt x="3187" y="16000"/>
                </a:moveTo>
                <a:cubicBezTo>
                  <a:pt x="3250" y="15969"/>
                  <a:pt x="3281" y="15906"/>
                  <a:pt x="3281" y="15844"/>
                </a:cubicBezTo>
                <a:cubicBezTo>
                  <a:pt x="3218" y="15875"/>
                  <a:pt x="3218" y="15938"/>
                  <a:pt x="3187" y="16000"/>
                </a:cubicBezTo>
                <a:cubicBezTo>
                  <a:pt x="3156" y="16031"/>
                  <a:pt x="3156" y="16031"/>
                  <a:pt x="3125" y="16063"/>
                </a:cubicBezTo>
                <a:lnTo>
                  <a:pt x="3125" y="16063"/>
                </a:lnTo>
                <a:cubicBezTo>
                  <a:pt x="3062" y="16156"/>
                  <a:pt x="3000" y="16281"/>
                  <a:pt x="2937" y="16375"/>
                </a:cubicBezTo>
                <a:cubicBezTo>
                  <a:pt x="2937" y="16375"/>
                  <a:pt x="2906" y="16406"/>
                  <a:pt x="2937" y="16438"/>
                </a:cubicBezTo>
                <a:cubicBezTo>
                  <a:pt x="2968" y="16375"/>
                  <a:pt x="3031" y="16281"/>
                  <a:pt x="3062" y="16219"/>
                </a:cubicBezTo>
                <a:cubicBezTo>
                  <a:pt x="3125" y="16156"/>
                  <a:pt x="3156" y="16094"/>
                  <a:pt x="3187" y="16000"/>
                </a:cubicBezTo>
                <a:close/>
                <a:moveTo>
                  <a:pt x="2250" y="17344"/>
                </a:moveTo>
                <a:cubicBezTo>
                  <a:pt x="2281" y="17312"/>
                  <a:pt x="2281" y="17281"/>
                  <a:pt x="2312" y="17250"/>
                </a:cubicBezTo>
                <a:cubicBezTo>
                  <a:pt x="2343" y="17187"/>
                  <a:pt x="2406" y="17094"/>
                  <a:pt x="2437" y="17000"/>
                </a:cubicBezTo>
                <a:cubicBezTo>
                  <a:pt x="2437" y="17000"/>
                  <a:pt x="2437" y="17000"/>
                  <a:pt x="2437" y="17000"/>
                </a:cubicBezTo>
                <a:cubicBezTo>
                  <a:pt x="2468" y="16969"/>
                  <a:pt x="2468" y="16969"/>
                  <a:pt x="2468" y="16937"/>
                </a:cubicBezTo>
                <a:cubicBezTo>
                  <a:pt x="2500" y="16906"/>
                  <a:pt x="2500" y="16906"/>
                  <a:pt x="2500" y="16875"/>
                </a:cubicBezTo>
                <a:cubicBezTo>
                  <a:pt x="2500" y="16875"/>
                  <a:pt x="2500" y="16875"/>
                  <a:pt x="2531" y="16844"/>
                </a:cubicBezTo>
                <a:cubicBezTo>
                  <a:pt x="2562" y="16781"/>
                  <a:pt x="2625" y="16719"/>
                  <a:pt x="2656" y="16625"/>
                </a:cubicBezTo>
                <a:cubicBezTo>
                  <a:pt x="2656" y="16625"/>
                  <a:pt x="2656" y="16625"/>
                  <a:pt x="2656" y="16625"/>
                </a:cubicBezTo>
                <a:cubicBezTo>
                  <a:pt x="2687" y="16594"/>
                  <a:pt x="2687" y="16562"/>
                  <a:pt x="2718" y="16531"/>
                </a:cubicBezTo>
                <a:cubicBezTo>
                  <a:pt x="2750" y="16500"/>
                  <a:pt x="2750" y="16469"/>
                  <a:pt x="2750" y="16438"/>
                </a:cubicBezTo>
                <a:cubicBezTo>
                  <a:pt x="2781" y="16438"/>
                  <a:pt x="2781" y="16406"/>
                  <a:pt x="2781" y="16406"/>
                </a:cubicBezTo>
                <a:cubicBezTo>
                  <a:pt x="2875" y="16281"/>
                  <a:pt x="2937" y="16156"/>
                  <a:pt x="3031" y="16031"/>
                </a:cubicBezTo>
                <a:cubicBezTo>
                  <a:pt x="3031" y="16031"/>
                  <a:pt x="3031" y="16000"/>
                  <a:pt x="3031" y="16000"/>
                </a:cubicBezTo>
                <a:cubicBezTo>
                  <a:pt x="3093" y="15906"/>
                  <a:pt x="3156" y="15844"/>
                  <a:pt x="3187" y="15750"/>
                </a:cubicBezTo>
                <a:cubicBezTo>
                  <a:pt x="3187" y="15750"/>
                  <a:pt x="3187" y="15750"/>
                  <a:pt x="3187" y="15750"/>
                </a:cubicBezTo>
                <a:cubicBezTo>
                  <a:pt x="3187" y="15750"/>
                  <a:pt x="3187" y="15750"/>
                  <a:pt x="3187" y="15750"/>
                </a:cubicBezTo>
                <a:cubicBezTo>
                  <a:pt x="3187" y="15750"/>
                  <a:pt x="3187" y="15750"/>
                  <a:pt x="3187" y="15750"/>
                </a:cubicBezTo>
                <a:cubicBezTo>
                  <a:pt x="3250" y="15719"/>
                  <a:pt x="3281" y="15688"/>
                  <a:pt x="3281" y="15625"/>
                </a:cubicBezTo>
                <a:cubicBezTo>
                  <a:pt x="3281" y="15625"/>
                  <a:pt x="3312" y="15594"/>
                  <a:pt x="3312" y="15594"/>
                </a:cubicBezTo>
                <a:cubicBezTo>
                  <a:pt x="3375" y="15531"/>
                  <a:pt x="3437" y="15406"/>
                  <a:pt x="3500" y="15344"/>
                </a:cubicBezTo>
                <a:cubicBezTo>
                  <a:pt x="3500" y="15313"/>
                  <a:pt x="3500" y="15313"/>
                  <a:pt x="3531" y="15281"/>
                </a:cubicBezTo>
                <a:cubicBezTo>
                  <a:pt x="3562" y="15250"/>
                  <a:pt x="3593" y="15188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87" y="15094"/>
                  <a:pt x="3718" y="15063"/>
                  <a:pt x="3718" y="15000"/>
                </a:cubicBezTo>
                <a:cubicBezTo>
                  <a:pt x="3718" y="15000"/>
                  <a:pt x="3718" y="15000"/>
                  <a:pt x="3718" y="15000"/>
                </a:cubicBezTo>
                <a:cubicBezTo>
                  <a:pt x="3750" y="14969"/>
                  <a:pt x="3781" y="14969"/>
                  <a:pt x="3781" y="14938"/>
                </a:cubicBezTo>
                <a:cubicBezTo>
                  <a:pt x="3781" y="14938"/>
                  <a:pt x="3781" y="14938"/>
                  <a:pt x="3781" y="14906"/>
                </a:cubicBezTo>
                <a:cubicBezTo>
                  <a:pt x="3750" y="14906"/>
                  <a:pt x="3718" y="14938"/>
                  <a:pt x="3718" y="14969"/>
                </a:cubicBezTo>
                <a:cubicBezTo>
                  <a:pt x="3656" y="15000"/>
                  <a:pt x="3625" y="15063"/>
                  <a:pt x="3625" y="15125"/>
                </a:cubicBezTo>
                <a:cubicBezTo>
                  <a:pt x="3593" y="15125"/>
                  <a:pt x="3593" y="15156"/>
                  <a:pt x="3562" y="15156"/>
                </a:cubicBezTo>
                <a:cubicBezTo>
                  <a:pt x="3468" y="15281"/>
                  <a:pt x="3375" y="15438"/>
                  <a:pt x="3281" y="15563"/>
                </a:cubicBezTo>
                <a:cubicBezTo>
                  <a:pt x="3281" y="15563"/>
                  <a:pt x="3281" y="15563"/>
                  <a:pt x="3281" y="15563"/>
                </a:cubicBezTo>
                <a:cubicBezTo>
                  <a:pt x="3250" y="15594"/>
                  <a:pt x="3250" y="15625"/>
                  <a:pt x="3218" y="15625"/>
                </a:cubicBezTo>
                <a:cubicBezTo>
                  <a:pt x="3218" y="15656"/>
                  <a:pt x="3187" y="15688"/>
                  <a:pt x="3187" y="15719"/>
                </a:cubicBezTo>
                <a:cubicBezTo>
                  <a:pt x="3062" y="15844"/>
                  <a:pt x="3000" y="15969"/>
                  <a:pt x="2937" y="16094"/>
                </a:cubicBezTo>
                <a:cubicBezTo>
                  <a:pt x="2906" y="16125"/>
                  <a:pt x="2906" y="16125"/>
                  <a:pt x="2906" y="16156"/>
                </a:cubicBezTo>
                <a:cubicBezTo>
                  <a:pt x="2843" y="16219"/>
                  <a:pt x="2781" y="16313"/>
                  <a:pt x="2750" y="16406"/>
                </a:cubicBezTo>
                <a:cubicBezTo>
                  <a:pt x="2750" y="16406"/>
                  <a:pt x="2750" y="16406"/>
                  <a:pt x="2750" y="16406"/>
                </a:cubicBezTo>
                <a:cubicBezTo>
                  <a:pt x="2687" y="16469"/>
                  <a:pt x="2656" y="16531"/>
                  <a:pt x="2656" y="16562"/>
                </a:cubicBezTo>
                <a:cubicBezTo>
                  <a:pt x="2656" y="16594"/>
                  <a:pt x="2625" y="16594"/>
                  <a:pt x="2625" y="16594"/>
                </a:cubicBezTo>
                <a:cubicBezTo>
                  <a:pt x="2625" y="16625"/>
                  <a:pt x="2593" y="16656"/>
                  <a:pt x="2593" y="16656"/>
                </a:cubicBezTo>
                <a:cubicBezTo>
                  <a:pt x="2531" y="16719"/>
                  <a:pt x="2500" y="16812"/>
                  <a:pt x="2468" y="16875"/>
                </a:cubicBezTo>
                <a:cubicBezTo>
                  <a:pt x="2468" y="16875"/>
                  <a:pt x="2468" y="16875"/>
                  <a:pt x="2468" y="16875"/>
                </a:cubicBezTo>
                <a:cubicBezTo>
                  <a:pt x="2468" y="16875"/>
                  <a:pt x="2437" y="16906"/>
                  <a:pt x="2437" y="16906"/>
                </a:cubicBezTo>
                <a:cubicBezTo>
                  <a:pt x="2437" y="16937"/>
                  <a:pt x="2437" y="16969"/>
                  <a:pt x="2406" y="16969"/>
                </a:cubicBezTo>
                <a:cubicBezTo>
                  <a:pt x="2375" y="17031"/>
                  <a:pt x="2343" y="17094"/>
                  <a:pt x="2312" y="17125"/>
                </a:cubicBezTo>
                <a:cubicBezTo>
                  <a:pt x="2312" y="17156"/>
                  <a:pt x="2281" y="17156"/>
                  <a:pt x="2281" y="17187"/>
                </a:cubicBezTo>
                <a:cubicBezTo>
                  <a:pt x="2062" y="17594"/>
                  <a:pt x="1843" y="18000"/>
                  <a:pt x="1656" y="18437"/>
                </a:cubicBezTo>
                <a:cubicBezTo>
                  <a:pt x="1625" y="18437"/>
                  <a:pt x="1593" y="18469"/>
                  <a:pt x="1625" y="18500"/>
                </a:cubicBezTo>
                <a:cubicBezTo>
                  <a:pt x="1687" y="18531"/>
                  <a:pt x="1687" y="18469"/>
                  <a:pt x="1687" y="18437"/>
                </a:cubicBezTo>
                <a:cubicBezTo>
                  <a:pt x="1781" y="18281"/>
                  <a:pt x="1843" y="18125"/>
                  <a:pt x="1937" y="17969"/>
                </a:cubicBezTo>
                <a:cubicBezTo>
                  <a:pt x="2031" y="17750"/>
                  <a:pt x="2156" y="17562"/>
                  <a:pt x="2250" y="17344"/>
                </a:cubicBezTo>
                <a:close/>
                <a:moveTo>
                  <a:pt x="4312" y="13719"/>
                </a:moveTo>
                <a:cubicBezTo>
                  <a:pt x="4343" y="13719"/>
                  <a:pt x="4343" y="13719"/>
                  <a:pt x="4343" y="13719"/>
                </a:cubicBezTo>
                <a:cubicBezTo>
                  <a:pt x="4343" y="13719"/>
                  <a:pt x="4343" y="13719"/>
                  <a:pt x="4343" y="13719"/>
                </a:cubicBezTo>
                <a:cubicBezTo>
                  <a:pt x="4343" y="13719"/>
                  <a:pt x="4343" y="13719"/>
                  <a:pt x="4312" y="13719"/>
                </a:cubicBezTo>
                <a:cubicBezTo>
                  <a:pt x="4312" y="13750"/>
                  <a:pt x="4312" y="13750"/>
                  <a:pt x="4312" y="13750"/>
                </a:cubicBezTo>
                <a:cubicBezTo>
                  <a:pt x="4312" y="13750"/>
                  <a:pt x="4312" y="13750"/>
                  <a:pt x="4312" y="13750"/>
                </a:cubicBezTo>
                <a:cubicBezTo>
                  <a:pt x="4281" y="13750"/>
                  <a:pt x="4250" y="13781"/>
                  <a:pt x="4218" y="13813"/>
                </a:cubicBezTo>
                <a:cubicBezTo>
                  <a:pt x="4218" y="13813"/>
                  <a:pt x="4218" y="13844"/>
                  <a:pt x="4218" y="13844"/>
                </a:cubicBezTo>
                <a:cubicBezTo>
                  <a:pt x="4218" y="13844"/>
                  <a:pt x="4187" y="13844"/>
                  <a:pt x="4187" y="13844"/>
                </a:cubicBezTo>
                <a:cubicBezTo>
                  <a:pt x="4156" y="13875"/>
                  <a:pt x="4156" y="13875"/>
                  <a:pt x="4156" y="13906"/>
                </a:cubicBezTo>
                <a:cubicBezTo>
                  <a:pt x="4156" y="13906"/>
                  <a:pt x="4125" y="13906"/>
                  <a:pt x="4125" y="13938"/>
                </a:cubicBezTo>
                <a:cubicBezTo>
                  <a:pt x="4031" y="14000"/>
                  <a:pt x="3937" y="14094"/>
                  <a:pt x="3875" y="14188"/>
                </a:cubicBezTo>
                <a:cubicBezTo>
                  <a:pt x="3875" y="14219"/>
                  <a:pt x="3781" y="14250"/>
                  <a:pt x="3875" y="14281"/>
                </a:cubicBezTo>
                <a:cubicBezTo>
                  <a:pt x="3906" y="14281"/>
                  <a:pt x="3875" y="14281"/>
                  <a:pt x="3875" y="14313"/>
                </a:cubicBezTo>
                <a:cubicBezTo>
                  <a:pt x="3875" y="14313"/>
                  <a:pt x="3843" y="14313"/>
                  <a:pt x="3843" y="14313"/>
                </a:cubicBezTo>
                <a:cubicBezTo>
                  <a:pt x="3781" y="14250"/>
                  <a:pt x="3781" y="14313"/>
                  <a:pt x="3750" y="14344"/>
                </a:cubicBezTo>
                <a:cubicBezTo>
                  <a:pt x="3312" y="14875"/>
                  <a:pt x="2875" y="15469"/>
                  <a:pt x="2531" y="16063"/>
                </a:cubicBezTo>
                <a:cubicBezTo>
                  <a:pt x="2312" y="16406"/>
                  <a:pt x="2125" y="16719"/>
                  <a:pt x="1937" y="17062"/>
                </a:cubicBezTo>
                <a:cubicBezTo>
                  <a:pt x="1750" y="17406"/>
                  <a:pt x="1593" y="17750"/>
                  <a:pt x="1406" y="18094"/>
                </a:cubicBezTo>
                <a:cubicBezTo>
                  <a:pt x="1343" y="18187"/>
                  <a:pt x="1312" y="18312"/>
                  <a:pt x="1250" y="18437"/>
                </a:cubicBezTo>
                <a:cubicBezTo>
                  <a:pt x="1250" y="18437"/>
                  <a:pt x="1187" y="18500"/>
                  <a:pt x="1250" y="18500"/>
                </a:cubicBezTo>
                <a:cubicBezTo>
                  <a:pt x="1343" y="18500"/>
                  <a:pt x="1437" y="18500"/>
                  <a:pt x="1531" y="18500"/>
                </a:cubicBezTo>
                <a:cubicBezTo>
                  <a:pt x="1531" y="18500"/>
                  <a:pt x="1531" y="18469"/>
                  <a:pt x="1562" y="18469"/>
                </a:cubicBezTo>
                <a:cubicBezTo>
                  <a:pt x="1750" y="18031"/>
                  <a:pt x="1968" y="17625"/>
                  <a:pt x="2187" y="17219"/>
                </a:cubicBezTo>
                <a:cubicBezTo>
                  <a:pt x="2437" y="16781"/>
                  <a:pt x="2656" y="16375"/>
                  <a:pt x="2906" y="15969"/>
                </a:cubicBezTo>
                <a:lnTo>
                  <a:pt x="2906" y="15969"/>
                </a:lnTo>
                <a:cubicBezTo>
                  <a:pt x="3125" y="15656"/>
                  <a:pt x="3312" y="15344"/>
                  <a:pt x="3531" y="15063"/>
                </a:cubicBezTo>
                <a:cubicBezTo>
                  <a:pt x="3781" y="14719"/>
                  <a:pt x="4062" y="14406"/>
                  <a:pt x="4343" y="14094"/>
                </a:cubicBezTo>
                <a:cubicBezTo>
                  <a:pt x="4343" y="14063"/>
                  <a:pt x="4375" y="14063"/>
                  <a:pt x="4375" y="14031"/>
                </a:cubicBezTo>
                <a:cubicBezTo>
                  <a:pt x="4375" y="14031"/>
                  <a:pt x="4375" y="14031"/>
                  <a:pt x="4375" y="14031"/>
                </a:cubicBezTo>
                <a:cubicBezTo>
                  <a:pt x="4375" y="14031"/>
                  <a:pt x="4375" y="14000"/>
                  <a:pt x="4375" y="14000"/>
                </a:cubicBezTo>
                <a:cubicBezTo>
                  <a:pt x="4375" y="14000"/>
                  <a:pt x="4375" y="14000"/>
                  <a:pt x="4375" y="14000"/>
                </a:cubicBezTo>
                <a:cubicBezTo>
                  <a:pt x="4375" y="14000"/>
                  <a:pt x="4375" y="14000"/>
                  <a:pt x="4375" y="14000"/>
                </a:cubicBezTo>
                <a:cubicBezTo>
                  <a:pt x="4406" y="14000"/>
                  <a:pt x="4437" y="14000"/>
                  <a:pt x="4437" y="13969"/>
                </a:cubicBezTo>
                <a:cubicBezTo>
                  <a:pt x="4437" y="13969"/>
                  <a:pt x="4437" y="13969"/>
                  <a:pt x="4437" y="13969"/>
                </a:cubicBezTo>
                <a:cubicBezTo>
                  <a:pt x="4437" y="13938"/>
                  <a:pt x="4437" y="13938"/>
                  <a:pt x="4437" y="13938"/>
                </a:cubicBezTo>
                <a:cubicBezTo>
                  <a:pt x="4500" y="13938"/>
                  <a:pt x="4531" y="13875"/>
                  <a:pt x="4593" y="13813"/>
                </a:cubicBezTo>
                <a:cubicBezTo>
                  <a:pt x="4625" y="13781"/>
                  <a:pt x="4562" y="13813"/>
                  <a:pt x="4531" y="13781"/>
                </a:cubicBezTo>
                <a:cubicBezTo>
                  <a:pt x="4531" y="13781"/>
                  <a:pt x="4531" y="13781"/>
                  <a:pt x="4531" y="13781"/>
                </a:cubicBezTo>
                <a:cubicBezTo>
                  <a:pt x="4531" y="13781"/>
                  <a:pt x="4531" y="13781"/>
                  <a:pt x="4531" y="13781"/>
                </a:cubicBezTo>
                <a:cubicBezTo>
                  <a:pt x="4531" y="13781"/>
                  <a:pt x="4562" y="13750"/>
                  <a:pt x="4562" y="13750"/>
                </a:cubicBezTo>
                <a:cubicBezTo>
                  <a:pt x="4750" y="13563"/>
                  <a:pt x="4937" y="13406"/>
                  <a:pt x="5093" y="13219"/>
                </a:cubicBezTo>
                <a:cubicBezTo>
                  <a:pt x="5093" y="13188"/>
                  <a:pt x="5125" y="13188"/>
                  <a:pt x="5125" y="13156"/>
                </a:cubicBezTo>
                <a:cubicBezTo>
                  <a:pt x="5125" y="13156"/>
                  <a:pt x="5093" y="13156"/>
                  <a:pt x="5093" y="13156"/>
                </a:cubicBezTo>
                <a:cubicBezTo>
                  <a:pt x="4968" y="13250"/>
                  <a:pt x="4843" y="13375"/>
                  <a:pt x="4718" y="13500"/>
                </a:cubicBezTo>
                <a:cubicBezTo>
                  <a:pt x="4625" y="13563"/>
                  <a:pt x="4531" y="13656"/>
                  <a:pt x="4437" y="13750"/>
                </a:cubicBezTo>
                <a:cubicBezTo>
                  <a:pt x="4375" y="13813"/>
                  <a:pt x="4312" y="13875"/>
                  <a:pt x="4218" y="13906"/>
                </a:cubicBezTo>
                <a:cubicBezTo>
                  <a:pt x="4218" y="13906"/>
                  <a:pt x="4218" y="13906"/>
                  <a:pt x="4218" y="13906"/>
                </a:cubicBezTo>
                <a:cubicBezTo>
                  <a:pt x="4218" y="13906"/>
                  <a:pt x="4218" y="13906"/>
                  <a:pt x="4218" y="13906"/>
                </a:cubicBezTo>
                <a:cubicBezTo>
                  <a:pt x="4218" y="13875"/>
                  <a:pt x="4218" y="13875"/>
                  <a:pt x="4218" y="13844"/>
                </a:cubicBezTo>
                <a:cubicBezTo>
                  <a:pt x="4250" y="13844"/>
                  <a:pt x="4281" y="13813"/>
                  <a:pt x="4281" y="13813"/>
                </a:cubicBezTo>
                <a:cubicBezTo>
                  <a:pt x="4312" y="13781"/>
                  <a:pt x="4312" y="13750"/>
                  <a:pt x="4312" y="13750"/>
                </a:cubicBezTo>
                <a:lnTo>
                  <a:pt x="4312" y="13750"/>
                </a:lnTo>
                <a:cubicBezTo>
                  <a:pt x="4312" y="13750"/>
                  <a:pt x="4312" y="13750"/>
                  <a:pt x="4312" y="13750"/>
                </a:cubicBezTo>
                <a:cubicBezTo>
                  <a:pt x="4312" y="13750"/>
                  <a:pt x="4312" y="13750"/>
                  <a:pt x="4312" y="13719"/>
                </a:cubicBezTo>
                <a:close/>
                <a:moveTo>
                  <a:pt x="6531" y="13563"/>
                </a:moveTo>
                <a:lnTo>
                  <a:pt x="6531" y="13563"/>
                </a:lnTo>
                <a:lnTo>
                  <a:pt x="6531" y="13563"/>
                </a:lnTo>
                <a:close/>
                <a:moveTo>
                  <a:pt x="15875" y="15969"/>
                </a:moveTo>
                <a:cubicBezTo>
                  <a:pt x="15875" y="15969"/>
                  <a:pt x="15875" y="15969"/>
                  <a:pt x="15875" y="15969"/>
                </a:cubicBezTo>
                <a:cubicBezTo>
                  <a:pt x="15875" y="15969"/>
                  <a:pt x="15875" y="15969"/>
                  <a:pt x="15875" y="15969"/>
                </a:cubicBezTo>
                <a:cubicBezTo>
                  <a:pt x="15875" y="15969"/>
                  <a:pt x="15875" y="15969"/>
                  <a:pt x="15875" y="15969"/>
                </a:cubicBezTo>
                <a:close/>
                <a:moveTo>
                  <a:pt x="6875" y="14875"/>
                </a:moveTo>
                <a:cubicBezTo>
                  <a:pt x="6875" y="14875"/>
                  <a:pt x="6875" y="14875"/>
                  <a:pt x="6875" y="14875"/>
                </a:cubicBezTo>
                <a:cubicBezTo>
                  <a:pt x="6875" y="14906"/>
                  <a:pt x="6875" y="14906"/>
                  <a:pt x="6875" y="14906"/>
                </a:cubicBezTo>
                <a:cubicBezTo>
                  <a:pt x="6875" y="14906"/>
                  <a:pt x="6875" y="14906"/>
                  <a:pt x="6875" y="14906"/>
                </a:cubicBezTo>
                <a:cubicBezTo>
                  <a:pt x="6875" y="14906"/>
                  <a:pt x="6875" y="14875"/>
                  <a:pt x="6875" y="14875"/>
                </a:cubicBezTo>
                <a:close/>
                <a:moveTo>
                  <a:pt x="11281" y="12469"/>
                </a:moveTo>
                <a:cubicBezTo>
                  <a:pt x="11281" y="12469"/>
                  <a:pt x="11281" y="12469"/>
                  <a:pt x="11281" y="12469"/>
                </a:cubicBezTo>
                <a:cubicBezTo>
                  <a:pt x="11281" y="12469"/>
                  <a:pt x="11281" y="12469"/>
                  <a:pt x="11281" y="12469"/>
                </a:cubicBezTo>
                <a:cubicBezTo>
                  <a:pt x="11281" y="12469"/>
                  <a:pt x="11281" y="12500"/>
                  <a:pt x="11281" y="12500"/>
                </a:cubicBezTo>
                <a:cubicBezTo>
                  <a:pt x="11312" y="12469"/>
                  <a:pt x="11312" y="12469"/>
                  <a:pt x="11281" y="12469"/>
                </a:cubicBezTo>
                <a:close/>
                <a:moveTo>
                  <a:pt x="13781" y="14188"/>
                </a:moveTo>
                <a:cubicBezTo>
                  <a:pt x="13781" y="14188"/>
                  <a:pt x="13781" y="14188"/>
                  <a:pt x="13781" y="14188"/>
                </a:cubicBezTo>
                <a:cubicBezTo>
                  <a:pt x="13781" y="14188"/>
                  <a:pt x="13781" y="14188"/>
                  <a:pt x="13781" y="14188"/>
                </a:cubicBezTo>
                <a:cubicBezTo>
                  <a:pt x="13781" y="14188"/>
                  <a:pt x="13781" y="14188"/>
                  <a:pt x="13812" y="14188"/>
                </a:cubicBezTo>
                <a:cubicBezTo>
                  <a:pt x="13781" y="14188"/>
                  <a:pt x="13781" y="14156"/>
                  <a:pt x="13781" y="14188"/>
                </a:cubicBezTo>
                <a:close/>
                <a:moveTo>
                  <a:pt x="13968" y="14281"/>
                </a:moveTo>
                <a:cubicBezTo>
                  <a:pt x="13968" y="14250"/>
                  <a:pt x="13968" y="14250"/>
                  <a:pt x="13968" y="14250"/>
                </a:cubicBezTo>
                <a:cubicBezTo>
                  <a:pt x="13937" y="14219"/>
                  <a:pt x="13906" y="14219"/>
                  <a:pt x="13875" y="14219"/>
                </a:cubicBezTo>
                <a:cubicBezTo>
                  <a:pt x="13875" y="14219"/>
                  <a:pt x="13875" y="14219"/>
                  <a:pt x="13875" y="14219"/>
                </a:cubicBezTo>
                <a:cubicBezTo>
                  <a:pt x="13843" y="14219"/>
                  <a:pt x="13843" y="14188"/>
                  <a:pt x="13843" y="14219"/>
                </a:cubicBezTo>
                <a:cubicBezTo>
                  <a:pt x="13812" y="14219"/>
                  <a:pt x="13812" y="14219"/>
                  <a:pt x="13812" y="14219"/>
                </a:cubicBezTo>
                <a:cubicBezTo>
                  <a:pt x="13843" y="14219"/>
                  <a:pt x="13843" y="14219"/>
                  <a:pt x="13875" y="14219"/>
                </a:cubicBezTo>
                <a:cubicBezTo>
                  <a:pt x="13875" y="14281"/>
                  <a:pt x="13906" y="14281"/>
                  <a:pt x="13968" y="14281"/>
                </a:cubicBezTo>
                <a:close/>
                <a:moveTo>
                  <a:pt x="15906" y="16000"/>
                </a:moveTo>
                <a:cubicBezTo>
                  <a:pt x="15906" y="16000"/>
                  <a:pt x="15906" y="16000"/>
                  <a:pt x="15906" y="16031"/>
                </a:cubicBezTo>
                <a:cubicBezTo>
                  <a:pt x="15906" y="16000"/>
                  <a:pt x="15906" y="16000"/>
                  <a:pt x="15906" y="16000"/>
                </a:cubicBezTo>
                <a:cubicBezTo>
                  <a:pt x="15906" y="16000"/>
                  <a:pt x="15906" y="16000"/>
                  <a:pt x="15906" y="16000"/>
                </a:cubicBezTo>
                <a:cubicBezTo>
                  <a:pt x="15937" y="16000"/>
                  <a:pt x="15937" y="16000"/>
                  <a:pt x="15968" y="16000"/>
                </a:cubicBezTo>
                <a:cubicBezTo>
                  <a:pt x="15968" y="16063"/>
                  <a:pt x="15968" y="16063"/>
                  <a:pt x="16000" y="16063"/>
                </a:cubicBezTo>
                <a:cubicBezTo>
                  <a:pt x="16031" y="16063"/>
                  <a:pt x="16031" y="16063"/>
                  <a:pt x="16062" y="16063"/>
                </a:cubicBezTo>
                <a:cubicBezTo>
                  <a:pt x="16062" y="16063"/>
                  <a:pt x="16062" y="16063"/>
                  <a:pt x="16062" y="16063"/>
                </a:cubicBezTo>
                <a:cubicBezTo>
                  <a:pt x="16031" y="16031"/>
                  <a:pt x="16031" y="16031"/>
                  <a:pt x="16031" y="16031"/>
                </a:cubicBezTo>
                <a:cubicBezTo>
                  <a:pt x="16031" y="16031"/>
                  <a:pt x="16000" y="16031"/>
                  <a:pt x="16000" y="16000"/>
                </a:cubicBezTo>
                <a:cubicBezTo>
                  <a:pt x="16000" y="16000"/>
                  <a:pt x="15968" y="16000"/>
                  <a:pt x="15968" y="16000"/>
                </a:cubicBezTo>
                <a:cubicBezTo>
                  <a:pt x="15937" y="16000"/>
                  <a:pt x="15937" y="16000"/>
                  <a:pt x="15937" y="16000"/>
                </a:cubicBezTo>
                <a:cubicBezTo>
                  <a:pt x="15937" y="16000"/>
                  <a:pt x="15937" y="16000"/>
                  <a:pt x="15937" y="16000"/>
                </a:cubicBezTo>
                <a:cubicBezTo>
                  <a:pt x="15906" y="16000"/>
                  <a:pt x="15906" y="16000"/>
                  <a:pt x="15906" y="16000"/>
                </a:cubicBezTo>
                <a:close/>
                <a:moveTo>
                  <a:pt x="6562" y="13531"/>
                </a:moveTo>
                <a:cubicBezTo>
                  <a:pt x="6562" y="13531"/>
                  <a:pt x="6562" y="13531"/>
                  <a:pt x="6593" y="13531"/>
                </a:cubicBezTo>
                <a:cubicBezTo>
                  <a:pt x="6593" y="13531"/>
                  <a:pt x="6593" y="13531"/>
                  <a:pt x="6593" y="13531"/>
                </a:cubicBezTo>
                <a:cubicBezTo>
                  <a:pt x="6593" y="13531"/>
                  <a:pt x="6562" y="13531"/>
                  <a:pt x="6562" y="13531"/>
                </a:cubicBezTo>
                <a:cubicBezTo>
                  <a:pt x="6562" y="13531"/>
                  <a:pt x="6562" y="13531"/>
                  <a:pt x="6562" y="13531"/>
                </a:cubicBezTo>
                <a:close/>
                <a:moveTo>
                  <a:pt x="23812" y="9094"/>
                </a:moveTo>
                <a:cubicBezTo>
                  <a:pt x="23812" y="9063"/>
                  <a:pt x="23843" y="9063"/>
                  <a:pt x="23843" y="9063"/>
                </a:cubicBezTo>
                <a:cubicBezTo>
                  <a:pt x="23843" y="9063"/>
                  <a:pt x="23812" y="9063"/>
                  <a:pt x="23812" y="9063"/>
                </a:cubicBezTo>
                <a:cubicBezTo>
                  <a:pt x="23812" y="9063"/>
                  <a:pt x="23812" y="9063"/>
                  <a:pt x="23812" y="9063"/>
                </a:cubicBezTo>
                <a:cubicBezTo>
                  <a:pt x="23812" y="9063"/>
                  <a:pt x="23812" y="9063"/>
                  <a:pt x="23812" y="9094"/>
                </a:cubicBezTo>
                <a:close/>
                <a:moveTo>
                  <a:pt x="7437" y="12906"/>
                </a:moveTo>
                <a:cubicBezTo>
                  <a:pt x="7437" y="12906"/>
                  <a:pt x="7437" y="12938"/>
                  <a:pt x="7437" y="12906"/>
                </a:cubicBezTo>
                <a:cubicBezTo>
                  <a:pt x="7437" y="12906"/>
                  <a:pt x="7437" y="12906"/>
                  <a:pt x="7468" y="12906"/>
                </a:cubicBezTo>
                <a:cubicBezTo>
                  <a:pt x="7437" y="12906"/>
                  <a:pt x="7437" y="12906"/>
                  <a:pt x="7437" y="12906"/>
                </a:cubicBezTo>
                <a:cubicBezTo>
                  <a:pt x="7437" y="12906"/>
                  <a:pt x="7437" y="12906"/>
                  <a:pt x="7437" y="12906"/>
                </a:cubicBezTo>
                <a:close/>
                <a:moveTo>
                  <a:pt x="6906" y="14844"/>
                </a:moveTo>
                <a:cubicBezTo>
                  <a:pt x="6906" y="14844"/>
                  <a:pt x="6906" y="14875"/>
                  <a:pt x="6906" y="14875"/>
                </a:cubicBezTo>
                <a:cubicBezTo>
                  <a:pt x="6906" y="14875"/>
                  <a:pt x="6906" y="14875"/>
                  <a:pt x="6906" y="14875"/>
                </a:cubicBezTo>
                <a:cubicBezTo>
                  <a:pt x="6906" y="14844"/>
                  <a:pt x="6906" y="14844"/>
                  <a:pt x="6906" y="14844"/>
                </a:cubicBezTo>
                <a:cubicBezTo>
                  <a:pt x="6906" y="14844"/>
                  <a:pt x="6906" y="14844"/>
                  <a:pt x="6906" y="14844"/>
                </a:cubicBezTo>
                <a:close/>
                <a:moveTo>
                  <a:pt x="15781" y="15938"/>
                </a:moveTo>
                <a:cubicBezTo>
                  <a:pt x="15781" y="15938"/>
                  <a:pt x="15781" y="15938"/>
                  <a:pt x="15781" y="15938"/>
                </a:cubicBezTo>
                <a:cubicBezTo>
                  <a:pt x="15781" y="15938"/>
                  <a:pt x="15812" y="15938"/>
                  <a:pt x="15812" y="15969"/>
                </a:cubicBezTo>
                <a:cubicBezTo>
                  <a:pt x="15812" y="15938"/>
                  <a:pt x="15812" y="15938"/>
                  <a:pt x="15812" y="15938"/>
                </a:cubicBezTo>
                <a:cubicBezTo>
                  <a:pt x="15812" y="15938"/>
                  <a:pt x="15781" y="15938"/>
                  <a:pt x="15781" y="15938"/>
                </a:cubicBezTo>
                <a:cubicBezTo>
                  <a:pt x="15781" y="15938"/>
                  <a:pt x="15781" y="15938"/>
                  <a:pt x="15781" y="15938"/>
                </a:cubicBezTo>
                <a:cubicBezTo>
                  <a:pt x="15781" y="15938"/>
                  <a:pt x="15781" y="15938"/>
                  <a:pt x="15781" y="15938"/>
                </a:cubicBezTo>
                <a:cubicBezTo>
                  <a:pt x="15781" y="15938"/>
                  <a:pt x="15781" y="15906"/>
                  <a:pt x="15750" y="15906"/>
                </a:cubicBezTo>
                <a:cubicBezTo>
                  <a:pt x="15750" y="15906"/>
                  <a:pt x="15750" y="15906"/>
                  <a:pt x="15750" y="15906"/>
                </a:cubicBezTo>
                <a:cubicBezTo>
                  <a:pt x="15750" y="15938"/>
                  <a:pt x="15750" y="15938"/>
                  <a:pt x="15750" y="15938"/>
                </a:cubicBezTo>
                <a:cubicBezTo>
                  <a:pt x="15750" y="15938"/>
                  <a:pt x="15781" y="15938"/>
                  <a:pt x="15781" y="15938"/>
                </a:cubicBezTo>
                <a:cubicBezTo>
                  <a:pt x="15781" y="15938"/>
                  <a:pt x="15781" y="15938"/>
                  <a:pt x="15781" y="15938"/>
                </a:cubicBezTo>
                <a:close/>
                <a:moveTo>
                  <a:pt x="24156" y="8469"/>
                </a:moveTo>
                <a:cubicBezTo>
                  <a:pt x="24156" y="8469"/>
                  <a:pt x="24187" y="8438"/>
                  <a:pt x="24187" y="8438"/>
                </a:cubicBezTo>
                <a:cubicBezTo>
                  <a:pt x="24187" y="8438"/>
                  <a:pt x="24187" y="8438"/>
                  <a:pt x="24156" y="8438"/>
                </a:cubicBezTo>
                <a:cubicBezTo>
                  <a:pt x="24156" y="8438"/>
                  <a:pt x="24156" y="8438"/>
                  <a:pt x="24156" y="8438"/>
                </a:cubicBezTo>
                <a:cubicBezTo>
                  <a:pt x="24156" y="8438"/>
                  <a:pt x="24156" y="8469"/>
                  <a:pt x="24156" y="8469"/>
                </a:cubicBezTo>
                <a:close/>
                <a:moveTo>
                  <a:pt x="22000" y="2375"/>
                </a:moveTo>
                <a:cubicBezTo>
                  <a:pt x="22000" y="2375"/>
                  <a:pt x="22000" y="2375"/>
                  <a:pt x="22000" y="2375"/>
                </a:cubicBezTo>
                <a:cubicBezTo>
                  <a:pt x="22000" y="2375"/>
                  <a:pt x="22000" y="2375"/>
                  <a:pt x="22000" y="2344"/>
                </a:cubicBezTo>
                <a:cubicBezTo>
                  <a:pt x="22000" y="2375"/>
                  <a:pt x="22000" y="2375"/>
                  <a:pt x="22000" y="2375"/>
                </a:cubicBezTo>
                <a:cubicBezTo>
                  <a:pt x="22000" y="2375"/>
                  <a:pt x="22000" y="2375"/>
                  <a:pt x="22000" y="2375"/>
                </a:cubicBezTo>
                <a:close/>
                <a:moveTo>
                  <a:pt x="10781" y="12063"/>
                </a:moveTo>
                <a:cubicBezTo>
                  <a:pt x="10812" y="12094"/>
                  <a:pt x="10812" y="12094"/>
                  <a:pt x="10843" y="12063"/>
                </a:cubicBezTo>
                <a:cubicBezTo>
                  <a:pt x="10843" y="12063"/>
                  <a:pt x="10812" y="12063"/>
                  <a:pt x="10781" y="12063"/>
                </a:cubicBezTo>
                <a:close/>
                <a:moveTo>
                  <a:pt x="6437" y="13594"/>
                </a:moveTo>
                <a:cubicBezTo>
                  <a:pt x="6437" y="13625"/>
                  <a:pt x="6437" y="13625"/>
                  <a:pt x="6468" y="13625"/>
                </a:cubicBezTo>
                <a:cubicBezTo>
                  <a:pt x="6468" y="13625"/>
                  <a:pt x="6500" y="13625"/>
                  <a:pt x="6500" y="13594"/>
                </a:cubicBezTo>
                <a:cubicBezTo>
                  <a:pt x="6500" y="13594"/>
                  <a:pt x="6468" y="13563"/>
                  <a:pt x="6468" y="13594"/>
                </a:cubicBezTo>
                <a:cubicBezTo>
                  <a:pt x="6468" y="13594"/>
                  <a:pt x="6437" y="13594"/>
                  <a:pt x="6437" y="13594"/>
                </a:cubicBezTo>
                <a:close/>
                <a:moveTo>
                  <a:pt x="22406" y="6406"/>
                </a:moveTo>
                <a:cubicBezTo>
                  <a:pt x="22406" y="6375"/>
                  <a:pt x="22406" y="6344"/>
                  <a:pt x="22375" y="6344"/>
                </a:cubicBezTo>
                <a:cubicBezTo>
                  <a:pt x="22375" y="6375"/>
                  <a:pt x="22375" y="6406"/>
                  <a:pt x="22406" y="6406"/>
                </a:cubicBezTo>
                <a:close/>
                <a:moveTo>
                  <a:pt x="21593" y="4156"/>
                </a:moveTo>
                <a:cubicBezTo>
                  <a:pt x="21625" y="4063"/>
                  <a:pt x="21593" y="4031"/>
                  <a:pt x="21562" y="3969"/>
                </a:cubicBezTo>
                <a:cubicBezTo>
                  <a:pt x="21562" y="4063"/>
                  <a:pt x="21593" y="4094"/>
                  <a:pt x="21593" y="4156"/>
                </a:cubicBezTo>
                <a:close/>
                <a:moveTo>
                  <a:pt x="15656" y="15688"/>
                </a:moveTo>
                <a:cubicBezTo>
                  <a:pt x="15625" y="15625"/>
                  <a:pt x="15593" y="15625"/>
                  <a:pt x="15531" y="15625"/>
                </a:cubicBezTo>
                <a:cubicBezTo>
                  <a:pt x="15562" y="15656"/>
                  <a:pt x="15593" y="15688"/>
                  <a:pt x="15656" y="15688"/>
                </a:cubicBezTo>
                <a:close/>
                <a:moveTo>
                  <a:pt x="6781" y="15219"/>
                </a:moveTo>
                <a:cubicBezTo>
                  <a:pt x="6781" y="15219"/>
                  <a:pt x="6781" y="15250"/>
                  <a:pt x="6750" y="15281"/>
                </a:cubicBezTo>
                <a:cubicBezTo>
                  <a:pt x="6781" y="15281"/>
                  <a:pt x="6812" y="15281"/>
                  <a:pt x="6812" y="15281"/>
                </a:cubicBezTo>
                <a:cubicBezTo>
                  <a:pt x="6843" y="15250"/>
                  <a:pt x="6875" y="15219"/>
                  <a:pt x="6906" y="15188"/>
                </a:cubicBezTo>
                <a:cubicBezTo>
                  <a:pt x="6906" y="15188"/>
                  <a:pt x="6906" y="15156"/>
                  <a:pt x="6906" y="15156"/>
                </a:cubicBezTo>
                <a:cubicBezTo>
                  <a:pt x="6843" y="15156"/>
                  <a:pt x="6812" y="15188"/>
                  <a:pt x="6781" y="15219"/>
                </a:cubicBezTo>
                <a:close/>
                <a:moveTo>
                  <a:pt x="22468" y="6563"/>
                </a:moveTo>
                <a:cubicBezTo>
                  <a:pt x="22468" y="6656"/>
                  <a:pt x="22468" y="6688"/>
                  <a:pt x="22531" y="6781"/>
                </a:cubicBezTo>
                <a:cubicBezTo>
                  <a:pt x="22531" y="6875"/>
                  <a:pt x="22562" y="6906"/>
                  <a:pt x="22593" y="6938"/>
                </a:cubicBezTo>
                <a:cubicBezTo>
                  <a:pt x="22656" y="7094"/>
                  <a:pt x="22687" y="7250"/>
                  <a:pt x="22750" y="7406"/>
                </a:cubicBezTo>
                <a:lnTo>
                  <a:pt x="22750" y="7406"/>
                </a:lnTo>
                <a:cubicBezTo>
                  <a:pt x="22781" y="7500"/>
                  <a:pt x="22812" y="7594"/>
                  <a:pt x="22843" y="7656"/>
                </a:cubicBezTo>
                <a:cubicBezTo>
                  <a:pt x="22843" y="7688"/>
                  <a:pt x="22843" y="7719"/>
                  <a:pt x="22875" y="7719"/>
                </a:cubicBezTo>
                <a:cubicBezTo>
                  <a:pt x="23000" y="8125"/>
                  <a:pt x="23125" y="8500"/>
                  <a:pt x="23250" y="8906"/>
                </a:cubicBezTo>
                <a:cubicBezTo>
                  <a:pt x="23281" y="9031"/>
                  <a:pt x="23343" y="9188"/>
                  <a:pt x="23375" y="9344"/>
                </a:cubicBezTo>
                <a:cubicBezTo>
                  <a:pt x="23406" y="9531"/>
                  <a:pt x="23500" y="9750"/>
                  <a:pt x="23468" y="9969"/>
                </a:cubicBezTo>
                <a:cubicBezTo>
                  <a:pt x="23468" y="9969"/>
                  <a:pt x="23468" y="10000"/>
                  <a:pt x="23500" y="10031"/>
                </a:cubicBezTo>
                <a:cubicBezTo>
                  <a:pt x="23500" y="10063"/>
                  <a:pt x="23500" y="10125"/>
                  <a:pt x="23531" y="10188"/>
                </a:cubicBezTo>
                <a:cubicBezTo>
                  <a:pt x="23531" y="10219"/>
                  <a:pt x="23531" y="10250"/>
                  <a:pt x="23531" y="10250"/>
                </a:cubicBezTo>
                <a:cubicBezTo>
                  <a:pt x="23531" y="10281"/>
                  <a:pt x="23500" y="10281"/>
                  <a:pt x="23500" y="10281"/>
                </a:cubicBezTo>
                <a:cubicBezTo>
                  <a:pt x="23468" y="10188"/>
                  <a:pt x="23468" y="10094"/>
                  <a:pt x="23437" y="10031"/>
                </a:cubicBezTo>
                <a:cubicBezTo>
                  <a:pt x="23437" y="10000"/>
                  <a:pt x="23437" y="9938"/>
                  <a:pt x="23406" y="9938"/>
                </a:cubicBezTo>
                <a:cubicBezTo>
                  <a:pt x="23312" y="9906"/>
                  <a:pt x="23312" y="9813"/>
                  <a:pt x="23281" y="9719"/>
                </a:cubicBezTo>
                <a:cubicBezTo>
                  <a:pt x="23250" y="9625"/>
                  <a:pt x="23250" y="9500"/>
                  <a:pt x="23187" y="9406"/>
                </a:cubicBezTo>
                <a:cubicBezTo>
                  <a:pt x="23156" y="9344"/>
                  <a:pt x="23125" y="9313"/>
                  <a:pt x="23125" y="9250"/>
                </a:cubicBezTo>
                <a:cubicBezTo>
                  <a:pt x="23093" y="9188"/>
                  <a:pt x="23062" y="9094"/>
                  <a:pt x="23031" y="9031"/>
                </a:cubicBezTo>
                <a:cubicBezTo>
                  <a:pt x="22937" y="8750"/>
                  <a:pt x="22843" y="8469"/>
                  <a:pt x="22750" y="8188"/>
                </a:cubicBezTo>
                <a:cubicBezTo>
                  <a:pt x="22656" y="7906"/>
                  <a:pt x="22562" y="7625"/>
                  <a:pt x="22437" y="7344"/>
                </a:cubicBezTo>
                <a:cubicBezTo>
                  <a:pt x="22343" y="7094"/>
                  <a:pt x="22281" y="6813"/>
                  <a:pt x="22156" y="6531"/>
                </a:cubicBezTo>
                <a:cubicBezTo>
                  <a:pt x="22062" y="6313"/>
                  <a:pt x="22000" y="6063"/>
                  <a:pt x="21906" y="5844"/>
                </a:cubicBezTo>
                <a:cubicBezTo>
                  <a:pt x="21750" y="5313"/>
                  <a:pt x="21562" y="4813"/>
                  <a:pt x="21437" y="4281"/>
                </a:cubicBezTo>
                <a:cubicBezTo>
                  <a:pt x="21343" y="3906"/>
                  <a:pt x="21312" y="3563"/>
                  <a:pt x="21281" y="3188"/>
                </a:cubicBezTo>
                <a:cubicBezTo>
                  <a:pt x="21312" y="3219"/>
                  <a:pt x="21281" y="3281"/>
                  <a:pt x="21343" y="3281"/>
                </a:cubicBezTo>
                <a:cubicBezTo>
                  <a:pt x="21343" y="3188"/>
                  <a:pt x="21312" y="3125"/>
                  <a:pt x="21281" y="3031"/>
                </a:cubicBezTo>
                <a:cubicBezTo>
                  <a:pt x="21312" y="3125"/>
                  <a:pt x="21343" y="3188"/>
                  <a:pt x="21343" y="3281"/>
                </a:cubicBezTo>
                <a:cubicBezTo>
                  <a:pt x="21343" y="3281"/>
                  <a:pt x="21343" y="3313"/>
                  <a:pt x="21343" y="3313"/>
                </a:cubicBezTo>
                <a:cubicBezTo>
                  <a:pt x="21343" y="3344"/>
                  <a:pt x="21343" y="3375"/>
                  <a:pt x="21343" y="3375"/>
                </a:cubicBezTo>
                <a:cubicBezTo>
                  <a:pt x="21375" y="3531"/>
                  <a:pt x="21437" y="3656"/>
                  <a:pt x="21500" y="3781"/>
                </a:cubicBezTo>
                <a:cubicBezTo>
                  <a:pt x="21500" y="3844"/>
                  <a:pt x="21500" y="3906"/>
                  <a:pt x="21531" y="3969"/>
                </a:cubicBezTo>
                <a:cubicBezTo>
                  <a:pt x="21562" y="3938"/>
                  <a:pt x="21562" y="3906"/>
                  <a:pt x="21562" y="3875"/>
                </a:cubicBezTo>
                <a:cubicBezTo>
                  <a:pt x="21500" y="3719"/>
                  <a:pt x="21437" y="3531"/>
                  <a:pt x="21437" y="3344"/>
                </a:cubicBezTo>
                <a:cubicBezTo>
                  <a:pt x="21437" y="3313"/>
                  <a:pt x="21406" y="3344"/>
                  <a:pt x="21406" y="3313"/>
                </a:cubicBezTo>
                <a:cubicBezTo>
                  <a:pt x="21406" y="3156"/>
                  <a:pt x="21375" y="3000"/>
                  <a:pt x="21343" y="2844"/>
                </a:cubicBezTo>
                <a:cubicBezTo>
                  <a:pt x="21281" y="2875"/>
                  <a:pt x="21250" y="2813"/>
                  <a:pt x="21187" y="2813"/>
                </a:cubicBezTo>
                <a:cubicBezTo>
                  <a:pt x="21187" y="2781"/>
                  <a:pt x="21187" y="2750"/>
                  <a:pt x="21156" y="2719"/>
                </a:cubicBezTo>
                <a:cubicBezTo>
                  <a:pt x="21156" y="2656"/>
                  <a:pt x="21156" y="2563"/>
                  <a:pt x="21187" y="2469"/>
                </a:cubicBezTo>
                <a:cubicBezTo>
                  <a:pt x="21187" y="2531"/>
                  <a:pt x="21218" y="2594"/>
                  <a:pt x="21250" y="2625"/>
                </a:cubicBezTo>
                <a:cubicBezTo>
                  <a:pt x="21250" y="2688"/>
                  <a:pt x="21250" y="2719"/>
                  <a:pt x="21312" y="2750"/>
                </a:cubicBezTo>
                <a:cubicBezTo>
                  <a:pt x="21312" y="2688"/>
                  <a:pt x="21343" y="2656"/>
                  <a:pt x="21250" y="2625"/>
                </a:cubicBezTo>
                <a:cubicBezTo>
                  <a:pt x="21250" y="2594"/>
                  <a:pt x="21250" y="2563"/>
                  <a:pt x="21281" y="2531"/>
                </a:cubicBezTo>
                <a:cubicBezTo>
                  <a:pt x="21281" y="2531"/>
                  <a:pt x="21281" y="2531"/>
                  <a:pt x="21281" y="2531"/>
                </a:cubicBezTo>
                <a:cubicBezTo>
                  <a:pt x="21281" y="2531"/>
                  <a:pt x="21281" y="2531"/>
                  <a:pt x="21281" y="2531"/>
                </a:cubicBezTo>
                <a:cubicBezTo>
                  <a:pt x="21312" y="2531"/>
                  <a:pt x="21312" y="2531"/>
                  <a:pt x="21343" y="2531"/>
                </a:cubicBezTo>
                <a:cubicBezTo>
                  <a:pt x="21343" y="2531"/>
                  <a:pt x="21343" y="2563"/>
                  <a:pt x="21375" y="2563"/>
                </a:cubicBezTo>
                <a:cubicBezTo>
                  <a:pt x="21375" y="2563"/>
                  <a:pt x="21406" y="2563"/>
                  <a:pt x="21437" y="2563"/>
                </a:cubicBezTo>
                <a:cubicBezTo>
                  <a:pt x="21437" y="2563"/>
                  <a:pt x="21468" y="2594"/>
                  <a:pt x="21500" y="2594"/>
                </a:cubicBezTo>
                <a:cubicBezTo>
                  <a:pt x="21562" y="2594"/>
                  <a:pt x="21562" y="2625"/>
                  <a:pt x="21531" y="2688"/>
                </a:cubicBezTo>
                <a:cubicBezTo>
                  <a:pt x="21500" y="2688"/>
                  <a:pt x="21500" y="2688"/>
                  <a:pt x="21468" y="2688"/>
                </a:cubicBezTo>
                <a:cubicBezTo>
                  <a:pt x="21468" y="2688"/>
                  <a:pt x="21468" y="2688"/>
                  <a:pt x="21468" y="2688"/>
                </a:cubicBezTo>
                <a:cubicBezTo>
                  <a:pt x="21468" y="2688"/>
                  <a:pt x="21468" y="2688"/>
                  <a:pt x="21437" y="2688"/>
                </a:cubicBezTo>
                <a:cubicBezTo>
                  <a:pt x="21437" y="2656"/>
                  <a:pt x="21406" y="2656"/>
                  <a:pt x="21375" y="2656"/>
                </a:cubicBezTo>
                <a:cubicBezTo>
                  <a:pt x="21312" y="2656"/>
                  <a:pt x="21343" y="2688"/>
                  <a:pt x="21343" y="2688"/>
                </a:cubicBezTo>
                <a:cubicBezTo>
                  <a:pt x="21343" y="2750"/>
                  <a:pt x="21375" y="2844"/>
                  <a:pt x="21406" y="2906"/>
                </a:cubicBezTo>
                <a:cubicBezTo>
                  <a:pt x="21406" y="2906"/>
                  <a:pt x="21375" y="2938"/>
                  <a:pt x="21406" y="2938"/>
                </a:cubicBezTo>
                <a:cubicBezTo>
                  <a:pt x="21437" y="3094"/>
                  <a:pt x="21468" y="3281"/>
                  <a:pt x="21531" y="3438"/>
                </a:cubicBezTo>
                <a:cubicBezTo>
                  <a:pt x="21531" y="3438"/>
                  <a:pt x="21531" y="3500"/>
                  <a:pt x="21562" y="3500"/>
                </a:cubicBezTo>
                <a:cubicBezTo>
                  <a:pt x="21593" y="3594"/>
                  <a:pt x="21625" y="3688"/>
                  <a:pt x="21656" y="3781"/>
                </a:cubicBezTo>
                <a:lnTo>
                  <a:pt x="21656" y="3781"/>
                </a:lnTo>
                <a:cubicBezTo>
                  <a:pt x="21781" y="4188"/>
                  <a:pt x="21937" y="4563"/>
                  <a:pt x="22062" y="4969"/>
                </a:cubicBezTo>
                <a:cubicBezTo>
                  <a:pt x="22187" y="5281"/>
                  <a:pt x="22312" y="5594"/>
                  <a:pt x="22437" y="5938"/>
                </a:cubicBezTo>
                <a:cubicBezTo>
                  <a:pt x="22468" y="6031"/>
                  <a:pt x="22500" y="6094"/>
                  <a:pt x="22531" y="6188"/>
                </a:cubicBezTo>
                <a:cubicBezTo>
                  <a:pt x="22562" y="6313"/>
                  <a:pt x="22625" y="6438"/>
                  <a:pt x="22656" y="6531"/>
                </a:cubicBezTo>
                <a:cubicBezTo>
                  <a:pt x="22656" y="6563"/>
                  <a:pt x="22687" y="6563"/>
                  <a:pt x="22687" y="6563"/>
                </a:cubicBezTo>
                <a:cubicBezTo>
                  <a:pt x="22718" y="6563"/>
                  <a:pt x="22750" y="6594"/>
                  <a:pt x="22750" y="6625"/>
                </a:cubicBezTo>
                <a:cubicBezTo>
                  <a:pt x="22750" y="6656"/>
                  <a:pt x="22718" y="6688"/>
                  <a:pt x="22750" y="6719"/>
                </a:cubicBezTo>
                <a:cubicBezTo>
                  <a:pt x="22781" y="6750"/>
                  <a:pt x="22781" y="6781"/>
                  <a:pt x="22812" y="6813"/>
                </a:cubicBezTo>
                <a:cubicBezTo>
                  <a:pt x="22781" y="6781"/>
                  <a:pt x="22781" y="6750"/>
                  <a:pt x="22750" y="6719"/>
                </a:cubicBezTo>
                <a:cubicBezTo>
                  <a:pt x="22718" y="6750"/>
                  <a:pt x="22750" y="6813"/>
                  <a:pt x="22750" y="6844"/>
                </a:cubicBezTo>
                <a:cubicBezTo>
                  <a:pt x="22875" y="7094"/>
                  <a:pt x="22968" y="7375"/>
                  <a:pt x="23062" y="7625"/>
                </a:cubicBezTo>
                <a:cubicBezTo>
                  <a:pt x="23218" y="8125"/>
                  <a:pt x="23406" y="8594"/>
                  <a:pt x="23531" y="9094"/>
                </a:cubicBezTo>
                <a:cubicBezTo>
                  <a:pt x="23500" y="9063"/>
                  <a:pt x="23468" y="9063"/>
                  <a:pt x="23437" y="9031"/>
                </a:cubicBezTo>
                <a:cubicBezTo>
                  <a:pt x="23468" y="9156"/>
                  <a:pt x="23531" y="9281"/>
                  <a:pt x="23562" y="9375"/>
                </a:cubicBezTo>
                <a:cubicBezTo>
                  <a:pt x="23593" y="9625"/>
                  <a:pt x="23656" y="9844"/>
                  <a:pt x="23718" y="10063"/>
                </a:cubicBezTo>
                <a:cubicBezTo>
                  <a:pt x="23687" y="10063"/>
                  <a:pt x="23687" y="10031"/>
                  <a:pt x="23656" y="10063"/>
                </a:cubicBezTo>
                <a:cubicBezTo>
                  <a:pt x="23625" y="10031"/>
                  <a:pt x="23625" y="10000"/>
                  <a:pt x="23625" y="9969"/>
                </a:cubicBezTo>
                <a:cubicBezTo>
                  <a:pt x="23625" y="10031"/>
                  <a:pt x="23625" y="10094"/>
                  <a:pt x="23625" y="10125"/>
                </a:cubicBezTo>
                <a:cubicBezTo>
                  <a:pt x="23593" y="10000"/>
                  <a:pt x="23531" y="9844"/>
                  <a:pt x="23500" y="9719"/>
                </a:cubicBezTo>
                <a:cubicBezTo>
                  <a:pt x="23437" y="9406"/>
                  <a:pt x="23343" y="9094"/>
                  <a:pt x="23250" y="8781"/>
                </a:cubicBezTo>
                <a:cubicBezTo>
                  <a:pt x="23187" y="8563"/>
                  <a:pt x="23093" y="8313"/>
                  <a:pt x="23031" y="8063"/>
                </a:cubicBezTo>
                <a:cubicBezTo>
                  <a:pt x="23000" y="8031"/>
                  <a:pt x="22968" y="7969"/>
                  <a:pt x="22968" y="7906"/>
                </a:cubicBezTo>
                <a:cubicBezTo>
                  <a:pt x="22937" y="7844"/>
                  <a:pt x="22906" y="7750"/>
                  <a:pt x="22843" y="7656"/>
                </a:cubicBezTo>
                <a:cubicBezTo>
                  <a:pt x="22843" y="7656"/>
                  <a:pt x="22843" y="7625"/>
                  <a:pt x="22843" y="7594"/>
                </a:cubicBezTo>
                <a:cubicBezTo>
                  <a:pt x="22843" y="7594"/>
                  <a:pt x="22843" y="7563"/>
                  <a:pt x="22843" y="7531"/>
                </a:cubicBezTo>
                <a:cubicBezTo>
                  <a:pt x="22750" y="7344"/>
                  <a:pt x="22718" y="7188"/>
                  <a:pt x="22625" y="7000"/>
                </a:cubicBezTo>
                <a:cubicBezTo>
                  <a:pt x="22593" y="6938"/>
                  <a:pt x="22593" y="6844"/>
                  <a:pt x="22531" y="6781"/>
                </a:cubicBezTo>
                <a:cubicBezTo>
                  <a:pt x="22531" y="6688"/>
                  <a:pt x="22500" y="6625"/>
                  <a:pt x="22468" y="6563"/>
                </a:cubicBezTo>
                <a:close/>
                <a:moveTo>
                  <a:pt x="7125" y="15000"/>
                </a:moveTo>
                <a:cubicBezTo>
                  <a:pt x="7062" y="15000"/>
                  <a:pt x="7031" y="15031"/>
                  <a:pt x="7000" y="15063"/>
                </a:cubicBezTo>
                <a:cubicBezTo>
                  <a:pt x="6968" y="15094"/>
                  <a:pt x="7000" y="15094"/>
                  <a:pt x="7031" y="15094"/>
                </a:cubicBezTo>
                <a:cubicBezTo>
                  <a:pt x="7093" y="15094"/>
                  <a:pt x="7125" y="15063"/>
                  <a:pt x="7125" y="15000"/>
                </a:cubicBezTo>
                <a:cubicBezTo>
                  <a:pt x="7156" y="15000"/>
                  <a:pt x="7125" y="14969"/>
                  <a:pt x="7125" y="15000"/>
                </a:cubicBezTo>
                <a:close/>
                <a:moveTo>
                  <a:pt x="22375" y="6281"/>
                </a:moveTo>
                <a:cubicBezTo>
                  <a:pt x="22312" y="6156"/>
                  <a:pt x="22281" y="6031"/>
                  <a:pt x="22218" y="5906"/>
                </a:cubicBezTo>
                <a:cubicBezTo>
                  <a:pt x="22250" y="6031"/>
                  <a:pt x="22281" y="6188"/>
                  <a:pt x="22343" y="6313"/>
                </a:cubicBezTo>
                <a:cubicBezTo>
                  <a:pt x="22343" y="6313"/>
                  <a:pt x="22375" y="6313"/>
                  <a:pt x="22375" y="6281"/>
                </a:cubicBezTo>
                <a:close/>
                <a:moveTo>
                  <a:pt x="7531" y="14719"/>
                </a:moveTo>
                <a:cubicBezTo>
                  <a:pt x="7531" y="14719"/>
                  <a:pt x="7500" y="14719"/>
                  <a:pt x="7468" y="14719"/>
                </a:cubicBezTo>
                <a:cubicBezTo>
                  <a:pt x="7406" y="14781"/>
                  <a:pt x="7343" y="14813"/>
                  <a:pt x="7250" y="14875"/>
                </a:cubicBezTo>
                <a:cubicBezTo>
                  <a:pt x="7250" y="14875"/>
                  <a:pt x="7218" y="14906"/>
                  <a:pt x="7218" y="14906"/>
                </a:cubicBezTo>
                <a:cubicBezTo>
                  <a:pt x="7250" y="14938"/>
                  <a:pt x="7250" y="14938"/>
                  <a:pt x="7281" y="14938"/>
                </a:cubicBezTo>
                <a:cubicBezTo>
                  <a:pt x="7312" y="14938"/>
                  <a:pt x="7343" y="14938"/>
                  <a:pt x="7343" y="14906"/>
                </a:cubicBezTo>
                <a:cubicBezTo>
                  <a:pt x="7375" y="14844"/>
                  <a:pt x="7437" y="14813"/>
                  <a:pt x="7500" y="14781"/>
                </a:cubicBezTo>
                <a:cubicBezTo>
                  <a:pt x="7531" y="14750"/>
                  <a:pt x="7531" y="14750"/>
                  <a:pt x="7531" y="14719"/>
                </a:cubicBezTo>
                <a:close/>
                <a:moveTo>
                  <a:pt x="13375" y="13844"/>
                </a:moveTo>
                <a:cubicBezTo>
                  <a:pt x="13375" y="13875"/>
                  <a:pt x="13406" y="13875"/>
                  <a:pt x="13437" y="13844"/>
                </a:cubicBezTo>
                <a:cubicBezTo>
                  <a:pt x="13437" y="13813"/>
                  <a:pt x="13406" y="13813"/>
                  <a:pt x="13375" y="13813"/>
                </a:cubicBezTo>
                <a:cubicBezTo>
                  <a:pt x="13218" y="13750"/>
                  <a:pt x="13062" y="13656"/>
                  <a:pt x="12875" y="13594"/>
                </a:cubicBezTo>
                <a:cubicBezTo>
                  <a:pt x="12875" y="13625"/>
                  <a:pt x="12906" y="13656"/>
                  <a:pt x="12937" y="13656"/>
                </a:cubicBezTo>
                <a:cubicBezTo>
                  <a:pt x="13062" y="13719"/>
                  <a:pt x="13218" y="13781"/>
                  <a:pt x="13375" y="13844"/>
                </a:cubicBezTo>
                <a:close/>
                <a:moveTo>
                  <a:pt x="8718" y="12875"/>
                </a:moveTo>
                <a:cubicBezTo>
                  <a:pt x="8468" y="12938"/>
                  <a:pt x="8187" y="12938"/>
                  <a:pt x="7968" y="13063"/>
                </a:cubicBezTo>
                <a:cubicBezTo>
                  <a:pt x="7968" y="13063"/>
                  <a:pt x="7968" y="13063"/>
                  <a:pt x="7968" y="13094"/>
                </a:cubicBezTo>
                <a:cubicBezTo>
                  <a:pt x="8218" y="13031"/>
                  <a:pt x="8468" y="12969"/>
                  <a:pt x="8718" y="12906"/>
                </a:cubicBezTo>
                <a:cubicBezTo>
                  <a:pt x="8718" y="12875"/>
                  <a:pt x="8718" y="12875"/>
                  <a:pt x="8718" y="12875"/>
                </a:cubicBezTo>
                <a:close/>
                <a:moveTo>
                  <a:pt x="12031" y="13313"/>
                </a:moveTo>
                <a:cubicBezTo>
                  <a:pt x="12125" y="13344"/>
                  <a:pt x="12250" y="13406"/>
                  <a:pt x="12343" y="13406"/>
                </a:cubicBezTo>
                <a:cubicBezTo>
                  <a:pt x="12468" y="13438"/>
                  <a:pt x="12562" y="13500"/>
                  <a:pt x="12656" y="13531"/>
                </a:cubicBezTo>
                <a:cubicBezTo>
                  <a:pt x="12625" y="13500"/>
                  <a:pt x="12593" y="13500"/>
                  <a:pt x="12593" y="13469"/>
                </a:cubicBezTo>
                <a:cubicBezTo>
                  <a:pt x="12500" y="13438"/>
                  <a:pt x="12406" y="13406"/>
                  <a:pt x="12312" y="13375"/>
                </a:cubicBezTo>
                <a:cubicBezTo>
                  <a:pt x="12062" y="13281"/>
                  <a:pt x="11781" y="13188"/>
                  <a:pt x="11500" y="13125"/>
                </a:cubicBezTo>
                <a:cubicBezTo>
                  <a:pt x="11437" y="13125"/>
                  <a:pt x="11406" y="13094"/>
                  <a:pt x="11375" y="13094"/>
                </a:cubicBezTo>
                <a:cubicBezTo>
                  <a:pt x="11468" y="13125"/>
                  <a:pt x="11531" y="13156"/>
                  <a:pt x="11625" y="13188"/>
                </a:cubicBezTo>
                <a:cubicBezTo>
                  <a:pt x="11625" y="13188"/>
                  <a:pt x="11656" y="13188"/>
                  <a:pt x="11656" y="13188"/>
                </a:cubicBezTo>
                <a:cubicBezTo>
                  <a:pt x="11750" y="13219"/>
                  <a:pt x="11843" y="13250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68" y="13281"/>
                  <a:pt x="12000" y="13313"/>
                  <a:pt x="12031" y="13313"/>
                </a:cubicBezTo>
                <a:close/>
                <a:moveTo>
                  <a:pt x="17468" y="8375"/>
                </a:moveTo>
                <a:cubicBezTo>
                  <a:pt x="17468" y="8313"/>
                  <a:pt x="17468" y="8281"/>
                  <a:pt x="17468" y="8219"/>
                </a:cubicBezTo>
                <a:cubicBezTo>
                  <a:pt x="17437" y="8281"/>
                  <a:pt x="17437" y="8313"/>
                  <a:pt x="17468" y="8375"/>
                </a:cubicBezTo>
                <a:close/>
                <a:moveTo>
                  <a:pt x="17656" y="9406"/>
                </a:moveTo>
                <a:cubicBezTo>
                  <a:pt x="17593" y="9094"/>
                  <a:pt x="17531" y="8781"/>
                  <a:pt x="17500" y="8438"/>
                </a:cubicBezTo>
                <a:cubicBezTo>
                  <a:pt x="17468" y="8438"/>
                  <a:pt x="17468" y="8438"/>
                  <a:pt x="17468" y="8438"/>
                </a:cubicBezTo>
                <a:cubicBezTo>
                  <a:pt x="17531" y="9188"/>
                  <a:pt x="17625" y="9969"/>
                  <a:pt x="17656" y="10719"/>
                </a:cubicBezTo>
                <a:cubicBezTo>
                  <a:pt x="17718" y="10500"/>
                  <a:pt x="17687" y="10250"/>
                  <a:pt x="17718" y="10031"/>
                </a:cubicBezTo>
                <a:cubicBezTo>
                  <a:pt x="17718" y="10125"/>
                  <a:pt x="17750" y="10188"/>
                  <a:pt x="17750" y="10281"/>
                </a:cubicBezTo>
                <a:cubicBezTo>
                  <a:pt x="17781" y="9875"/>
                  <a:pt x="17718" y="9469"/>
                  <a:pt x="17656" y="9063"/>
                </a:cubicBezTo>
                <a:cubicBezTo>
                  <a:pt x="17625" y="9188"/>
                  <a:pt x="17687" y="9313"/>
                  <a:pt x="17656" y="9406"/>
                </a:cubicBezTo>
                <a:close/>
                <a:moveTo>
                  <a:pt x="62" y="16063"/>
                </a:moveTo>
                <a:cubicBezTo>
                  <a:pt x="62" y="16063"/>
                  <a:pt x="62" y="16063"/>
                  <a:pt x="62" y="16063"/>
                </a:cubicBezTo>
                <a:cubicBezTo>
                  <a:pt x="93" y="16063"/>
                  <a:pt x="93" y="16094"/>
                  <a:pt x="93" y="16094"/>
                </a:cubicBezTo>
                <a:cubicBezTo>
                  <a:pt x="93" y="16094"/>
                  <a:pt x="93" y="16063"/>
                  <a:pt x="62" y="16063"/>
                </a:cubicBezTo>
                <a:close/>
                <a:moveTo>
                  <a:pt x="93" y="15500"/>
                </a:moveTo>
                <a:cubicBezTo>
                  <a:pt x="93" y="15531"/>
                  <a:pt x="125" y="15563"/>
                  <a:pt x="156" y="15563"/>
                </a:cubicBezTo>
                <a:cubicBezTo>
                  <a:pt x="156" y="15563"/>
                  <a:pt x="125" y="15594"/>
                  <a:pt x="125" y="15594"/>
                </a:cubicBezTo>
                <a:cubicBezTo>
                  <a:pt x="125" y="15594"/>
                  <a:pt x="156" y="15563"/>
                  <a:pt x="156" y="15563"/>
                </a:cubicBezTo>
                <a:cubicBezTo>
                  <a:pt x="125" y="15563"/>
                  <a:pt x="93" y="15531"/>
                  <a:pt x="93" y="15500"/>
                </a:cubicBezTo>
                <a:close/>
                <a:moveTo>
                  <a:pt x="156" y="16156"/>
                </a:moveTo>
                <a:cubicBezTo>
                  <a:pt x="156" y="16156"/>
                  <a:pt x="125" y="16125"/>
                  <a:pt x="125" y="16125"/>
                </a:cubicBezTo>
                <a:cubicBezTo>
                  <a:pt x="125" y="16125"/>
                  <a:pt x="156" y="16156"/>
                  <a:pt x="156" y="16156"/>
                </a:cubicBezTo>
                <a:cubicBezTo>
                  <a:pt x="156" y="16156"/>
                  <a:pt x="156" y="16156"/>
                  <a:pt x="156" y="16156"/>
                </a:cubicBezTo>
                <a:close/>
                <a:moveTo>
                  <a:pt x="156" y="15875"/>
                </a:moveTo>
                <a:cubicBezTo>
                  <a:pt x="156" y="15875"/>
                  <a:pt x="156" y="15875"/>
                  <a:pt x="156" y="15875"/>
                </a:cubicBezTo>
                <a:cubicBezTo>
                  <a:pt x="187" y="15906"/>
                  <a:pt x="218" y="15906"/>
                  <a:pt x="218" y="15938"/>
                </a:cubicBezTo>
                <a:cubicBezTo>
                  <a:pt x="218" y="15906"/>
                  <a:pt x="187" y="15906"/>
                  <a:pt x="156" y="15875"/>
                </a:cubicBezTo>
                <a:close/>
                <a:moveTo>
                  <a:pt x="1343" y="14469"/>
                </a:moveTo>
                <a:cubicBezTo>
                  <a:pt x="1343" y="14438"/>
                  <a:pt x="1343" y="14438"/>
                  <a:pt x="1343" y="14438"/>
                </a:cubicBezTo>
                <a:cubicBezTo>
                  <a:pt x="1343" y="14438"/>
                  <a:pt x="1343" y="14438"/>
                  <a:pt x="1343" y="14469"/>
                </a:cubicBezTo>
                <a:close/>
                <a:moveTo>
                  <a:pt x="1375" y="14438"/>
                </a:moveTo>
                <a:cubicBezTo>
                  <a:pt x="1375" y="14438"/>
                  <a:pt x="1375" y="14438"/>
                  <a:pt x="1375" y="14438"/>
                </a:cubicBezTo>
                <a:cubicBezTo>
                  <a:pt x="1375" y="14438"/>
                  <a:pt x="1375" y="14406"/>
                  <a:pt x="1375" y="14406"/>
                </a:cubicBezTo>
                <a:cubicBezTo>
                  <a:pt x="1375" y="14406"/>
                  <a:pt x="1375" y="14438"/>
                  <a:pt x="1375" y="14438"/>
                </a:cubicBezTo>
                <a:close/>
                <a:moveTo>
                  <a:pt x="1375" y="14344"/>
                </a:moveTo>
                <a:cubicBezTo>
                  <a:pt x="1375" y="14344"/>
                  <a:pt x="1375" y="14344"/>
                  <a:pt x="1375" y="14344"/>
                </a:cubicBezTo>
                <a:cubicBezTo>
                  <a:pt x="1437" y="14219"/>
                  <a:pt x="1500" y="14125"/>
                  <a:pt x="1593" y="14031"/>
                </a:cubicBezTo>
                <a:cubicBezTo>
                  <a:pt x="1500" y="14125"/>
                  <a:pt x="1437" y="14219"/>
                  <a:pt x="1375" y="14344"/>
                </a:cubicBezTo>
                <a:close/>
                <a:moveTo>
                  <a:pt x="1687" y="14938"/>
                </a:moveTo>
                <a:cubicBezTo>
                  <a:pt x="1656" y="14938"/>
                  <a:pt x="1656" y="14938"/>
                  <a:pt x="1656" y="14938"/>
                </a:cubicBezTo>
                <a:cubicBezTo>
                  <a:pt x="1656" y="14938"/>
                  <a:pt x="1656" y="14938"/>
                  <a:pt x="1687" y="14938"/>
                </a:cubicBezTo>
                <a:cubicBezTo>
                  <a:pt x="1687" y="14938"/>
                  <a:pt x="1687" y="14938"/>
                  <a:pt x="1687" y="14938"/>
                </a:cubicBezTo>
                <a:close/>
                <a:moveTo>
                  <a:pt x="1781" y="15031"/>
                </a:moveTo>
                <a:cubicBezTo>
                  <a:pt x="1781" y="15031"/>
                  <a:pt x="1781" y="15031"/>
                  <a:pt x="1781" y="15031"/>
                </a:cubicBezTo>
                <a:cubicBezTo>
                  <a:pt x="1781" y="15031"/>
                  <a:pt x="1781" y="15031"/>
                  <a:pt x="1781" y="15031"/>
                </a:cubicBezTo>
                <a:cubicBezTo>
                  <a:pt x="1781" y="15031"/>
                  <a:pt x="1781" y="15031"/>
                  <a:pt x="1781" y="15031"/>
                </a:cubicBezTo>
                <a:close/>
                <a:moveTo>
                  <a:pt x="1781" y="14781"/>
                </a:moveTo>
                <a:cubicBezTo>
                  <a:pt x="1781" y="14781"/>
                  <a:pt x="1781" y="14813"/>
                  <a:pt x="1750" y="14844"/>
                </a:cubicBezTo>
                <a:cubicBezTo>
                  <a:pt x="1781" y="14813"/>
                  <a:pt x="1781" y="14781"/>
                  <a:pt x="1781" y="14781"/>
                </a:cubicBezTo>
                <a:cubicBezTo>
                  <a:pt x="1781" y="14781"/>
                  <a:pt x="1781" y="14750"/>
                  <a:pt x="1781" y="14750"/>
                </a:cubicBezTo>
                <a:cubicBezTo>
                  <a:pt x="1781" y="14750"/>
                  <a:pt x="1781" y="14750"/>
                  <a:pt x="1781" y="14750"/>
                </a:cubicBezTo>
                <a:cubicBezTo>
                  <a:pt x="1781" y="14750"/>
                  <a:pt x="1781" y="14781"/>
                  <a:pt x="1781" y="14781"/>
                </a:cubicBezTo>
                <a:cubicBezTo>
                  <a:pt x="1781" y="14750"/>
                  <a:pt x="1812" y="14750"/>
                  <a:pt x="1812" y="14750"/>
                </a:cubicBezTo>
                <a:cubicBezTo>
                  <a:pt x="1812" y="14750"/>
                  <a:pt x="1781" y="14750"/>
                  <a:pt x="1781" y="14781"/>
                </a:cubicBezTo>
                <a:close/>
                <a:moveTo>
                  <a:pt x="1843" y="14938"/>
                </a:moveTo>
                <a:cubicBezTo>
                  <a:pt x="1843" y="14938"/>
                  <a:pt x="1843" y="14938"/>
                  <a:pt x="1843" y="14938"/>
                </a:cubicBezTo>
                <a:cubicBezTo>
                  <a:pt x="1843" y="14938"/>
                  <a:pt x="1843" y="14938"/>
                  <a:pt x="1843" y="14938"/>
                </a:cubicBezTo>
                <a:cubicBezTo>
                  <a:pt x="1843" y="14938"/>
                  <a:pt x="1843" y="14938"/>
                  <a:pt x="1843" y="14938"/>
                </a:cubicBezTo>
                <a:cubicBezTo>
                  <a:pt x="1843" y="14938"/>
                  <a:pt x="1843" y="14938"/>
                  <a:pt x="1843" y="14938"/>
                </a:cubicBezTo>
                <a:close/>
                <a:moveTo>
                  <a:pt x="1843" y="12656"/>
                </a:moveTo>
                <a:cubicBezTo>
                  <a:pt x="1843" y="12656"/>
                  <a:pt x="1843" y="12656"/>
                  <a:pt x="1843" y="12656"/>
                </a:cubicBezTo>
                <a:cubicBezTo>
                  <a:pt x="1843" y="12656"/>
                  <a:pt x="1843" y="12656"/>
                  <a:pt x="1843" y="12656"/>
                </a:cubicBezTo>
                <a:cubicBezTo>
                  <a:pt x="1843" y="12625"/>
                  <a:pt x="1843" y="12625"/>
                  <a:pt x="1875" y="12594"/>
                </a:cubicBezTo>
                <a:cubicBezTo>
                  <a:pt x="1843" y="12625"/>
                  <a:pt x="1843" y="12625"/>
                  <a:pt x="1843" y="12656"/>
                </a:cubicBezTo>
                <a:close/>
                <a:moveTo>
                  <a:pt x="1937" y="13844"/>
                </a:moveTo>
                <a:cubicBezTo>
                  <a:pt x="1937" y="13813"/>
                  <a:pt x="1937" y="13813"/>
                  <a:pt x="1937" y="13781"/>
                </a:cubicBezTo>
                <a:cubicBezTo>
                  <a:pt x="1937" y="13781"/>
                  <a:pt x="1937" y="13781"/>
                  <a:pt x="1937" y="13781"/>
                </a:cubicBezTo>
                <a:cubicBezTo>
                  <a:pt x="1937" y="13813"/>
                  <a:pt x="1937" y="13813"/>
                  <a:pt x="1937" y="13844"/>
                </a:cubicBezTo>
                <a:close/>
                <a:moveTo>
                  <a:pt x="1968" y="14781"/>
                </a:moveTo>
                <a:cubicBezTo>
                  <a:pt x="1968" y="14781"/>
                  <a:pt x="1968" y="14750"/>
                  <a:pt x="1937" y="14750"/>
                </a:cubicBezTo>
                <a:cubicBezTo>
                  <a:pt x="1968" y="14750"/>
                  <a:pt x="1968" y="14781"/>
                  <a:pt x="1968" y="14781"/>
                </a:cubicBezTo>
                <a:cubicBezTo>
                  <a:pt x="1968" y="14781"/>
                  <a:pt x="1968" y="14781"/>
                  <a:pt x="1968" y="14781"/>
                </a:cubicBezTo>
                <a:close/>
                <a:moveTo>
                  <a:pt x="2000" y="12469"/>
                </a:moveTo>
                <a:cubicBezTo>
                  <a:pt x="2000" y="12469"/>
                  <a:pt x="2000" y="12469"/>
                  <a:pt x="2000" y="12438"/>
                </a:cubicBezTo>
                <a:cubicBezTo>
                  <a:pt x="2000" y="12469"/>
                  <a:pt x="2000" y="12469"/>
                  <a:pt x="2000" y="12469"/>
                </a:cubicBezTo>
                <a:cubicBezTo>
                  <a:pt x="2000" y="12469"/>
                  <a:pt x="2000" y="12500"/>
                  <a:pt x="1968" y="12500"/>
                </a:cubicBezTo>
                <a:cubicBezTo>
                  <a:pt x="2000" y="12500"/>
                  <a:pt x="2000" y="12469"/>
                  <a:pt x="2000" y="12469"/>
                </a:cubicBezTo>
                <a:close/>
                <a:moveTo>
                  <a:pt x="2031" y="15344"/>
                </a:moveTo>
                <a:cubicBezTo>
                  <a:pt x="2031" y="15344"/>
                  <a:pt x="2031" y="15313"/>
                  <a:pt x="2062" y="15313"/>
                </a:cubicBezTo>
                <a:cubicBezTo>
                  <a:pt x="2062" y="15313"/>
                  <a:pt x="2031" y="15313"/>
                  <a:pt x="2031" y="15313"/>
                </a:cubicBezTo>
                <a:cubicBezTo>
                  <a:pt x="2031" y="15313"/>
                  <a:pt x="2062" y="15313"/>
                  <a:pt x="2062" y="15313"/>
                </a:cubicBezTo>
                <a:cubicBezTo>
                  <a:pt x="2031" y="15313"/>
                  <a:pt x="2031" y="15344"/>
                  <a:pt x="2031" y="15344"/>
                </a:cubicBezTo>
                <a:close/>
                <a:moveTo>
                  <a:pt x="2000" y="14719"/>
                </a:moveTo>
                <a:cubicBezTo>
                  <a:pt x="2000" y="14719"/>
                  <a:pt x="2000" y="14750"/>
                  <a:pt x="2000" y="14750"/>
                </a:cubicBezTo>
                <a:cubicBezTo>
                  <a:pt x="2000" y="14750"/>
                  <a:pt x="2000" y="14719"/>
                  <a:pt x="2000" y="14719"/>
                </a:cubicBezTo>
                <a:cubicBezTo>
                  <a:pt x="2062" y="14688"/>
                  <a:pt x="2093" y="14625"/>
                  <a:pt x="2125" y="14594"/>
                </a:cubicBezTo>
                <a:cubicBezTo>
                  <a:pt x="2093" y="14625"/>
                  <a:pt x="2062" y="14688"/>
                  <a:pt x="2000" y="14719"/>
                </a:cubicBezTo>
                <a:close/>
                <a:moveTo>
                  <a:pt x="2093" y="13531"/>
                </a:moveTo>
                <a:cubicBezTo>
                  <a:pt x="2093" y="13531"/>
                  <a:pt x="2093" y="13563"/>
                  <a:pt x="2093" y="13563"/>
                </a:cubicBezTo>
                <a:cubicBezTo>
                  <a:pt x="2093" y="13563"/>
                  <a:pt x="2093" y="13531"/>
                  <a:pt x="2093" y="13531"/>
                </a:cubicBezTo>
                <a:cubicBezTo>
                  <a:pt x="2093" y="13531"/>
                  <a:pt x="2093" y="13531"/>
                  <a:pt x="2125" y="13531"/>
                </a:cubicBezTo>
                <a:cubicBezTo>
                  <a:pt x="2093" y="13531"/>
                  <a:pt x="2093" y="13531"/>
                  <a:pt x="2093" y="13531"/>
                </a:cubicBezTo>
                <a:close/>
                <a:moveTo>
                  <a:pt x="2875" y="11844"/>
                </a:moveTo>
                <a:cubicBezTo>
                  <a:pt x="2875" y="11844"/>
                  <a:pt x="2875" y="11813"/>
                  <a:pt x="2875" y="11813"/>
                </a:cubicBezTo>
                <a:cubicBezTo>
                  <a:pt x="2875" y="11813"/>
                  <a:pt x="2875" y="11844"/>
                  <a:pt x="2875" y="11844"/>
                </a:cubicBezTo>
                <a:cubicBezTo>
                  <a:pt x="2812" y="11906"/>
                  <a:pt x="2750" y="11969"/>
                  <a:pt x="2687" y="12031"/>
                </a:cubicBezTo>
                <a:cubicBezTo>
                  <a:pt x="2750" y="11969"/>
                  <a:pt x="2812" y="11906"/>
                  <a:pt x="2875" y="11844"/>
                </a:cubicBezTo>
                <a:close/>
                <a:moveTo>
                  <a:pt x="2718" y="11625"/>
                </a:moveTo>
                <a:cubicBezTo>
                  <a:pt x="2718" y="11625"/>
                  <a:pt x="2718" y="11625"/>
                  <a:pt x="2718" y="11625"/>
                </a:cubicBezTo>
                <a:cubicBezTo>
                  <a:pt x="2656" y="11625"/>
                  <a:pt x="2625" y="11656"/>
                  <a:pt x="2593" y="11688"/>
                </a:cubicBezTo>
                <a:cubicBezTo>
                  <a:pt x="2625" y="11656"/>
                  <a:pt x="2656" y="11625"/>
                  <a:pt x="2718" y="11625"/>
                </a:cubicBezTo>
                <a:close/>
                <a:moveTo>
                  <a:pt x="2562" y="12281"/>
                </a:moveTo>
                <a:cubicBezTo>
                  <a:pt x="2562" y="12281"/>
                  <a:pt x="2562" y="12313"/>
                  <a:pt x="2562" y="12344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13"/>
                  <a:pt x="2562" y="12281"/>
                  <a:pt x="2562" y="12281"/>
                </a:cubicBezTo>
                <a:cubicBezTo>
                  <a:pt x="2562" y="12281"/>
                  <a:pt x="2562" y="12281"/>
                  <a:pt x="2562" y="12281"/>
                </a:cubicBezTo>
                <a:close/>
                <a:moveTo>
                  <a:pt x="2562" y="12313"/>
                </a:moveTo>
                <a:cubicBezTo>
                  <a:pt x="2562" y="12313"/>
                  <a:pt x="2562" y="12313"/>
                  <a:pt x="2562" y="12313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44"/>
                  <a:pt x="2562" y="12344"/>
                  <a:pt x="2562" y="12313"/>
                </a:cubicBezTo>
                <a:close/>
                <a:moveTo>
                  <a:pt x="2218" y="12188"/>
                </a:moveTo>
                <a:cubicBezTo>
                  <a:pt x="2218" y="12188"/>
                  <a:pt x="2250" y="12156"/>
                  <a:pt x="2250" y="12156"/>
                </a:cubicBezTo>
                <a:cubicBezTo>
                  <a:pt x="2250" y="12156"/>
                  <a:pt x="2218" y="12188"/>
                  <a:pt x="2218" y="12188"/>
                </a:cubicBezTo>
                <a:cubicBezTo>
                  <a:pt x="2218" y="12188"/>
                  <a:pt x="2218" y="12188"/>
                  <a:pt x="2187" y="12219"/>
                </a:cubicBezTo>
                <a:cubicBezTo>
                  <a:pt x="2218" y="12188"/>
                  <a:pt x="2218" y="12188"/>
                  <a:pt x="2218" y="12188"/>
                </a:cubicBezTo>
                <a:close/>
                <a:moveTo>
                  <a:pt x="2281" y="13313"/>
                </a:moveTo>
                <a:cubicBezTo>
                  <a:pt x="2281" y="13313"/>
                  <a:pt x="2281" y="13313"/>
                  <a:pt x="2281" y="13313"/>
                </a:cubicBezTo>
                <a:cubicBezTo>
                  <a:pt x="2281" y="13313"/>
                  <a:pt x="2281" y="13313"/>
                  <a:pt x="2281" y="13313"/>
                </a:cubicBezTo>
                <a:cubicBezTo>
                  <a:pt x="2250" y="13375"/>
                  <a:pt x="2218" y="13406"/>
                  <a:pt x="2187" y="13469"/>
                </a:cubicBezTo>
                <a:cubicBezTo>
                  <a:pt x="2218" y="13406"/>
                  <a:pt x="2250" y="13375"/>
                  <a:pt x="2281" y="13313"/>
                </a:cubicBezTo>
                <a:close/>
                <a:moveTo>
                  <a:pt x="2281" y="14344"/>
                </a:moveTo>
                <a:cubicBezTo>
                  <a:pt x="2281" y="14344"/>
                  <a:pt x="2281" y="14375"/>
                  <a:pt x="2250" y="14375"/>
                </a:cubicBezTo>
                <a:cubicBezTo>
                  <a:pt x="2281" y="14375"/>
                  <a:pt x="2281" y="14344"/>
                  <a:pt x="2281" y="14344"/>
                </a:cubicBezTo>
                <a:cubicBezTo>
                  <a:pt x="2281" y="14344"/>
                  <a:pt x="2281" y="14313"/>
                  <a:pt x="2312" y="14313"/>
                </a:cubicBezTo>
                <a:cubicBezTo>
                  <a:pt x="2281" y="14313"/>
                  <a:pt x="2281" y="14344"/>
                  <a:pt x="2281" y="14344"/>
                </a:cubicBezTo>
                <a:close/>
                <a:moveTo>
                  <a:pt x="2500" y="13031"/>
                </a:moveTo>
                <a:cubicBezTo>
                  <a:pt x="2468" y="13094"/>
                  <a:pt x="2437" y="13125"/>
                  <a:pt x="2406" y="13188"/>
                </a:cubicBezTo>
                <a:cubicBezTo>
                  <a:pt x="2437" y="13125"/>
                  <a:pt x="2468" y="13094"/>
                  <a:pt x="2500" y="13031"/>
                </a:cubicBezTo>
                <a:cubicBezTo>
                  <a:pt x="2500" y="13031"/>
                  <a:pt x="2500" y="13031"/>
                  <a:pt x="2500" y="13031"/>
                </a:cubicBezTo>
                <a:close/>
                <a:moveTo>
                  <a:pt x="2468" y="12250"/>
                </a:moveTo>
                <a:cubicBezTo>
                  <a:pt x="2406" y="12313"/>
                  <a:pt x="2375" y="12375"/>
                  <a:pt x="2343" y="12406"/>
                </a:cubicBezTo>
                <a:cubicBezTo>
                  <a:pt x="2375" y="12375"/>
                  <a:pt x="2406" y="12313"/>
                  <a:pt x="2468" y="12250"/>
                </a:cubicBezTo>
                <a:cubicBezTo>
                  <a:pt x="2468" y="12250"/>
                  <a:pt x="2500" y="12219"/>
                  <a:pt x="2500" y="12219"/>
                </a:cubicBezTo>
                <a:cubicBezTo>
                  <a:pt x="2500" y="12219"/>
                  <a:pt x="2468" y="12250"/>
                  <a:pt x="2468" y="12250"/>
                </a:cubicBezTo>
                <a:close/>
                <a:moveTo>
                  <a:pt x="2531" y="12969"/>
                </a:moveTo>
                <a:cubicBezTo>
                  <a:pt x="2531" y="13000"/>
                  <a:pt x="2531" y="13031"/>
                  <a:pt x="2500" y="13031"/>
                </a:cubicBezTo>
                <a:cubicBezTo>
                  <a:pt x="2531" y="13031"/>
                  <a:pt x="2531" y="13000"/>
                  <a:pt x="2531" y="12969"/>
                </a:cubicBezTo>
                <a:cubicBezTo>
                  <a:pt x="2531" y="12969"/>
                  <a:pt x="2531" y="12969"/>
                  <a:pt x="2531" y="12969"/>
                </a:cubicBezTo>
                <a:cubicBezTo>
                  <a:pt x="2593" y="12938"/>
                  <a:pt x="2593" y="12938"/>
                  <a:pt x="2625" y="12906"/>
                </a:cubicBezTo>
                <a:cubicBezTo>
                  <a:pt x="2593" y="12938"/>
                  <a:pt x="2593" y="12938"/>
                  <a:pt x="2531" y="12969"/>
                </a:cubicBezTo>
                <a:close/>
                <a:moveTo>
                  <a:pt x="2593" y="14688"/>
                </a:moveTo>
                <a:cubicBezTo>
                  <a:pt x="2593" y="14719"/>
                  <a:pt x="2593" y="14719"/>
                  <a:pt x="2593" y="14719"/>
                </a:cubicBezTo>
                <a:cubicBezTo>
                  <a:pt x="2593" y="14719"/>
                  <a:pt x="2593" y="14719"/>
                  <a:pt x="2593" y="14688"/>
                </a:cubicBezTo>
                <a:cubicBezTo>
                  <a:pt x="2625" y="14656"/>
                  <a:pt x="2625" y="14656"/>
                  <a:pt x="2656" y="14625"/>
                </a:cubicBezTo>
                <a:cubicBezTo>
                  <a:pt x="2625" y="14656"/>
                  <a:pt x="2625" y="14656"/>
                  <a:pt x="2593" y="14688"/>
                </a:cubicBezTo>
                <a:close/>
                <a:moveTo>
                  <a:pt x="2687" y="14594"/>
                </a:moveTo>
                <a:cubicBezTo>
                  <a:pt x="2687" y="14594"/>
                  <a:pt x="2687" y="14594"/>
                  <a:pt x="2687" y="14594"/>
                </a:cubicBezTo>
                <a:cubicBezTo>
                  <a:pt x="2687" y="14594"/>
                  <a:pt x="2687" y="14594"/>
                  <a:pt x="2687" y="14594"/>
                </a:cubicBezTo>
                <a:cubicBezTo>
                  <a:pt x="2687" y="14563"/>
                  <a:pt x="2687" y="14563"/>
                  <a:pt x="2718" y="14563"/>
                </a:cubicBezTo>
                <a:cubicBezTo>
                  <a:pt x="2687" y="14563"/>
                  <a:pt x="2687" y="14563"/>
                  <a:pt x="2687" y="14594"/>
                </a:cubicBezTo>
                <a:close/>
                <a:moveTo>
                  <a:pt x="2781" y="14469"/>
                </a:moveTo>
                <a:cubicBezTo>
                  <a:pt x="2750" y="14469"/>
                  <a:pt x="2750" y="14500"/>
                  <a:pt x="2750" y="14500"/>
                </a:cubicBezTo>
                <a:cubicBezTo>
                  <a:pt x="2750" y="14500"/>
                  <a:pt x="2750" y="14469"/>
                  <a:pt x="2781" y="14469"/>
                </a:cubicBezTo>
                <a:cubicBezTo>
                  <a:pt x="2781" y="14469"/>
                  <a:pt x="2781" y="14438"/>
                  <a:pt x="2781" y="14438"/>
                </a:cubicBezTo>
                <a:cubicBezTo>
                  <a:pt x="2781" y="14438"/>
                  <a:pt x="2781" y="14469"/>
                  <a:pt x="2781" y="14469"/>
                </a:cubicBezTo>
                <a:close/>
                <a:moveTo>
                  <a:pt x="2843" y="12063"/>
                </a:moveTo>
                <a:cubicBezTo>
                  <a:pt x="2812" y="12063"/>
                  <a:pt x="2781" y="12094"/>
                  <a:pt x="2781" y="12125"/>
                </a:cubicBezTo>
                <a:cubicBezTo>
                  <a:pt x="2781" y="12094"/>
                  <a:pt x="2812" y="12063"/>
                  <a:pt x="2843" y="12063"/>
                </a:cubicBezTo>
                <a:cubicBezTo>
                  <a:pt x="2843" y="12031"/>
                  <a:pt x="2875" y="12000"/>
                  <a:pt x="2906" y="12000"/>
                </a:cubicBezTo>
                <a:cubicBezTo>
                  <a:pt x="2875" y="12000"/>
                  <a:pt x="2843" y="12031"/>
                  <a:pt x="2843" y="12063"/>
                </a:cubicBezTo>
                <a:close/>
                <a:moveTo>
                  <a:pt x="5312" y="11313"/>
                </a:moveTo>
                <a:cubicBezTo>
                  <a:pt x="5375" y="11281"/>
                  <a:pt x="5437" y="11250"/>
                  <a:pt x="5500" y="11219"/>
                </a:cubicBezTo>
                <a:cubicBezTo>
                  <a:pt x="5437" y="11250"/>
                  <a:pt x="5375" y="11281"/>
                  <a:pt x="5312" y="11313"/>
                </a:cubicBezTo>
                <a:cubicBezTo>
                  <a:pt x="5218" y="11375"/>
                  <a:pt x="5125" y="11438"/>
                  <a:pt x="5031" y="11500"/>
                </a:cubicBezTo>
                <a:cubicBezTo>
                  <a:pt x="5125" y="11438"/>
                  <a:pt x="5218" y="11375"/>
                  <a:pt x="5312" y="11313"/>
                </a:cubicBezTo>
                <a:close/>
                <a:moveTo>
                  <a:pt x="4906" y="12500"/>
                </a:moveTo>
                <a:cubicBezTo>
                  <a:pt x="4906" y="12500"/>
                  <a:pt x="4906" y="12500"/>
                  <a:pt x="4906" y="12500"/>
                </a:cubicBezTo>
                <a:cubicBezTo>
                  <a:pt x="4906" y="12500"/>
                  <a:pt x="4906" y="12500"/>
                  <a:pt x="4875" y="12500"/>
                </a:cubicBezTo>
                <a:cubicBezTo>
                  <a:pt x="4906" y="12500"/>
                  <a:pt x="4906" y="12500"/>
                  <a:pt x="4906" y="12500"/>
                </a:cubicBezTo>
                <a:close/>
                <a:moveTo>
                  <a:pt x="4968" y="12563"/>
                </a:moveTo>
                <a:cubicBezTo>
                  <a:pt x="4937" y="12594"/>
                  <a:pt x="4906" y="12625"/>
                  <a:pt x="4875" y="12656"/>
                </a:cubicBezTo>
                <a:cubicBezTo>
                  <a:pt x="4875" y="12656"/>
                  <a:pt x="4875" y="12656"/>
                  <a:pt x="4875" y="12656"/>
                </a:cubicBezTo>
                <a:cubicBezTo>
                  <a:pt x="4906" y="12625"/>
                  <a:pt x="4937" y="12594"/>
                  <a:pt x="4968" y="12563"/>
                </a:cubicBezTo>
                <a:close/>
                <a:moveTo>
                  <a:pt x="4781" y="9875"/>
                </a:moveTo>
                <a:cubicBezTo>
                  <a:pt x="4812" y="9875"/>
                  <a:pt x="4812" y="9875"/>
                  <a:pt x="4812" y="9875"/>
                </a:cubicBezTo>
                <a:cubicBezTo>
                  <a:pt x="4812" y="9875"/>
                  <a:pt x="4812" y="9875"/>
                  <a:pt x="4781" y="9875"/>
                </a:cubicBezTo>
                <a:cubicBezTo>
                  <a:pt x="4781" y="9875"/>
                  <a:pt x="4781" y="9906"/>
                  <a:pt x="4750" y="9906"/>
                </a:cubicBezTo>
                <a:cubicBezTo>
                  <a:pt x="4781" y="9906"/>
                  <a:pt x="4781" y="9875"/>
                  <a:pt x="4781" y="9875"/>
                </a:cubicBezTo>
                <a:close/>
                <a:moveTo>
                  <a:pt x="4718" y="9938"/>
                </a:moveTo>
                <a:cubicBezTo>
                  <a:pt x="4718" y="9938"/>
                  <a:pt x="4718" y="9938"/>
                  <a:pt x="4718" y="9938"/>
                </a:cubicBezTo>
                <a:cubicBezTo>
                  <a:pt x="4718" y="9938"/>
                  <a:pt x="4718" y="9938"/>
                  <a:pt x="4718" y="9938"/>
                </a:cubicBezTo>
                <a:cubicBezTo>
                  <a:pt x="4718" y="9938"/>
                  <a:pt x="4718" y="9938"/>
                  <a:pt x="4718" y="9938"/>
                </a:cubicBezTo>
                <a:close/>
                <a:moveTo>
                  <a:pt x="4312" y="10750"/>
                </a:moveTo>
                <a:cubicBezTo>
                  <a:pt x="4343" y="10750"/>
                  <a:pt x="4343" y="10750"/>
                  <a:pt x="4343" y="10750"/>
                </a:cubicBezTo>
                <a:cubicBezTo>
                  <a:pt x="4343" y="10750"/>
                  <a:pt x="4343" y="10750"/>
                  <a:pt x="4312" y="10750"/>
                </a:cubicBezTo>
                <a:cubicBezTo>
                  <a:pt x="4312" y="10750"/>
                  <a:pt x="4312" y="10781"/>
                  <a:pt x="4312" y="10781"/>
                </a:cubicBezTo>
                <a:cubicBezTo>
                  <a:pt x="4312" y="10781"/>
                  <a:pt x="4312" y="10750"/>
                  <a:pt x="4312" y="10750"/>
                </a:cubicBezTo>
                <a:close/>
                <a:moveTo>
                  <a:pt x="3937" y="10500"/>
                </a:moveTo>
                <a:cubicBezTo>
                  <a:pt x="3937" y="10469"/>
                  <a:pt x="3937" y="10469"/>
                  <a:pt x="3937" y="10469"/>
                </a:cubicBezTo>
                <a:cubicBezTo>
                  <a:pt x="3937" y="10469"/>
                  <a:pt x="3937" y="10500"/>
                  <a:pt x="3937" y="10500"/>
                </a:cubicBezTo>
                <a:close/>
                <a:moveTo>
                  <a:pt x="3687" y="10688"/>
                </a:moveTo>
                <a:cubicBezTo>
                  <a:pt x="3687" y="10688"/>
                  <a:pt x="3687" y="10688"/>
                  <a:pt x="3687" y="10688"/>
                </a:cubicBezTo>
                <a:cubicBezTo>
                  <a:pt x="3687" y="10688"/>
                  <a:pt x="3687" y="10688"/>
                  <a:pt x="3687" y="10688"/>
                </a:cubicBezTo>
                <a:cubicBezTo>
                  <a:pt x="3687" y="10688"/>
                  <a:pt x="3687" y="10688"/>
                  <a:pt x="3687" y="10688"/>
                </a:cubicBezTo>
                <a:close/>
                <a:moveTo>
                  <a:pt x="3656" y="10750"/>
                </a:moveTo>
                <a:cubicBezTo>
                  <a:pt x="3656" y="10750"/>
                  <a:pt x="3625" y="10750"/>
                  <a:pt x="3625" y="10750"/>
                </a:cubicBezTo>
                <a:cubicBezTo>
                  <a:pt x="3625" y="10750"/>
                  <a:pt x="3625" y="10750"/>
                  <a:pt x="3625" y="10750"/>
                </a:cubicBezTo>
                <a:cubicBezTo>
                  <a:pt x="3625" y="10750"/>
                  <a:pt x="3656" y="10750"/>
                  <a:pt x="3656" y="10750"/>
                </a:cubicBezTo>
                <a:close/>
                <a:moveTo>
                  <a:pt x="3406" y="11125"/>
                </a:moveTo>
                <a:cubicBezTo>
                  <a:pt x="3593" y="10906"/>
                  <a:pt x="3812" y="10750"/>
                  <a:pt x="4031" y="10594"/>
                </a:cubicBezTo>
                <a:cubicBezTo>
                  <a:pt x="3812" y="10750"/>
                  <a:pt x="3593" y="10906"/>
                  <a:pt x="3406" y="11125"/>
                </a:cubicBezTo>
                <a:cubicBezTo>
                  <a:pt x="3281" y="11219"/>
                  <a:pt x="3156" y="11313"/>
                  <a:pt x="3062" y="11438"/>
                </a:cubicBezTo>
                <a:cubicBezTo>
                  <a:pt x="3156" y="11313"/>
                  <a:pt x="3281" y="11219"/>
                  <a:pt x="3406" y="11125"/>
                </a:cubicBezTo>
                <a:close/>
                <a:moveTo>
                  <a:pt x="3500" y="11688"/>
                </a:moveTo>
                <a:cubicBezTo>
                  <a:pt x="3500" y="11688"/>
                  <a:pt x="3468" y="11688"/>
                  <a:pt x="3468" y="11688"/>
                </a:cubicBezTo>
                <a:cubicBezTo>
                  <a:pt x="3468" y="11688"/>
                  <a:pt x="3468" y="11688"/>
                  <a:pt x="3468" y="11688"/>
                </a:cubicBezTo>
                <a:cubicBezTo>
                  <a:pt x="3468" y="11688"/>
                  <a:pt x="3500" y="11688"/>
                  <a:pt x="3500" y="11688"/>
                </a:cubicBezTo>
                <a:close/>
                <a:moveTo>
                  <a:pt x="3062" y="12219"/>
                </a:moveTo>
                <a:cubicBezTo>
                  <a:pt x="3062" y="12219"/>
                  <a:pt x="3062" y="12219"/>
                  <a:pt x="3062" y="12219"/>
                </a:cubicBezTo>
                <a:cubicBezTo>
                  <a:pt x="3062" y="12219"/>
                  <a:pt x="3093" y="12219"/>
                  <a:pt x="3093" y="12219"/>
                </a:cubicBezTo>
                <a:cubicBezTo>
                  <a:pt x="3093" y="12219"/>
                  <a:pt x="3062" y="12219"/>
                  <a:pt x="3062" y="12219"/>
                </a:cubicBezTo>
                <a:close/>
                <a:moveTo>
                  <a:pt x="3125" y="12156"/>
                </a:moveTo>
                <a:cubicBezTo>
                  <a:pt x="3125" y="12156"/>
                  <a:pt x="3125" y="12156"/>
                  <a:pt x="3125" y="12156"/>
                </a:cubicBezTo>
                <a:cubicBezTo>
                  <a:pt x="3125" y="12156"/>
                  <a:pt x="3125" y="12156"/>
                  <a:pt x="3125" y="12156"/>
                </a:cubicBezTo>
                <a:cubicBezTo>
                  <a:pt x="3125" y="12156"/>
                  <a:pt x="3125" y="12156"/>
                  <a:pt x="3125" y="12156"/>
                </a:cubicBezTo>
                <a:close/>
                <a:moveTo>
                  <a:pt x="3250" y="12031"/>
                </a:moveTo>
                <a:cubicBezTo>
                  <a:pt x="3250" y="12063"/>
                  <a:pt x="3250" y="12063"/>
                  <a:pt x="3218" y="12063"/>
                </a:cubicBezTo>
                <a:cubicBezTo>
                  <a:pt x="3250" y="12063"/>
                  <a:pt x="3250" y="12063"/>
                  <a:pt x="3250" y="12031"/>
                </a:cubicBezTo>
                <a:cubicBezTo>
                  <a:pt x="3281" y="12031"/>
                  <a:pt x="3281" y="12031"/>
                  <a:pt x="3312" y="12000"/>
                </a:cubicBezTo>
                <a:cubicBezTo>
                  <a:pt x="3375" y="11969"/>
                  <a:pt x="3437" y="11906"/>
                  <a:pt x="3468" y="11875"/>
                </a:cubicBezTo>
                <a:cubicBezTo>
                  <a:pt x="3437" y="11906"/>
                  <a:pt x="3375" y="11969"/>
                  <a:pt x="3312" y="12000"/>
                </a:cubicBezTo>
                <a:cubicBezTo>
                  <a:pt x="3281" y="12031"/>
                  <a:pt x="3281" y="12031"/>
                  <a:pt x="3250" y="12031"/>
                </a:cubicBezTo>
                <a:close/>
                <a:moveTo>
                  <a:pt x="3468" y="12813"/>
                </a:moveTo>
                <a:cubicBezTo>
                  <a:pt x="3468" y="12813"/>
                  <a:pt x="3468" y="12813"/>
                  <a:pt x="3468" y="12813"/>
                </a:cubicBezTo>
                <a:cubicBezTo>
                  <a:pt x="3468" y="12813"/>
                  <a:pt x="3468" y="12813"/>
                  <a:pt x="3468" y="12813"/>
                </a:cubicBezTo>
                <a:cubicBezTo>
                  <a:pt x="3468" y="12813"/>
                  <a:pt x="3468" y="12813"/>
                  <a:pt x="3468" y="12813"/>
                </a:cubicBezTo>
                <a:close/>
                <a:moveTo>
                  <a:pt x="3343" y="12938"/>
                </a:moveTo>
                <a:cubicBezTo>
                  <a:pt x="3343" y="12938"/>
                  <a:pt x="3343" y="12938"/>
                  <a:pt x="3343" y="12938"/>
                </a:cubicBezTo>
                <a:cubicBezTo>
                  <a:pt x="3343" y="12938"/>
                  <a:pt x="3343" y="12938"/>
                  <a:pt x="3343" y="12938"/>
                </a:cubicBezTo>
                <a:cubicBezTo>
                  <a:pt x="3343" y="12938"/>
                  <a:pt x="3343" y="12938"/>
                  <a:pt x="3343" y="12938"/>
                </a:cubicBezTo>
                <a:close/>
                <a:moveTo>
                  <a:pt x="3343" y="14156"/>
                </a:moveTo>
                <a:cubicBezTo>
                  <a:pt x="3343" y="14156"/>
                  <a:pt x="3343" y="14156"/>
                  <a:pt x="3343" y="14156"/>
                </a:cubicBezTo>
                <a:cubicBezTo>
                  <a:pt x="3343" y="14125"/>
                  <a:pt x="3343" y="14125"/>
                  <a:pt x="3343" y="14125"/>
                </a:cubicBezTo>
                <a:cubicBezTo>
                  <a:pt x="3343" y="14125"/>
                  <a:pt x="3343" y="14125"/>
                  <a:pt x="3343" y="14156"/>
                </a:cubicBezTo>
                <a:close/>
                <a:moveTo>
                  <a:pt x="3406" y="12875"/>
                </a:moveTo>
                <a:cubicBezTo>
                  <a:pt x="3437" y="12875"/>
                  <a:pt x="3437" y="12875"/>
                  <a:pt x="3437" y="12844"/>
                </a:cubicBezTo>
                <a:cubicBezTo>
                  <a:pt x="3437" y="12875"/>
                  <a:pt x="3437" y="12875"/>
                  <a:pt x="3406" y="12875"/>
                </a:cubicBezTo>
                <a:cubicBezTo>
                  <a:pt x="3406" y="12906"/>
                  <a:pt x="3406" y="12906"/>
                  <a:pt x="3375" y="12938"/>
                </a:cubicBezTo>
                <a:cubicBezTo>
                  <a:pt x="3406" y="12906"/>
                  <a:pt x="3406" y="12906"/>
                  <a:pt x="3406" y="12875"/>
                </a:cubicBezTo>
                <a:close/>
                <a:moveTo>
                  <a:pt x="3406" y="13781"/>
                </a:moveTo>
                <a:cubicBezTo>
                  <a:pt x="3406" y="13781"/>
                  <a:pt x="3406" y="13781"/>
                  <a:pt x="3406" y="13813"/>
                </a:cubicBezTo>
                <a:cubicBezTo>
                  <a:pt x="3406" y="13781"/>
                  <a:pt x="3406" y="13781"/>
                  <a:pt x="3406" y="13781"/>
                </a:cubicBezTo>
                <a:cubicBezTo>
                  <a:pt x="3437" y="13750"/>
                  <a:pt x="3468" y="13719"/>
                  <a:pt x="3500" y="13688"/>
                </a:cubicBezTo>
                <a:cubicBezTo>
                  <a:pt x="3468" y="13719"/>
                  <a:pt x="3437" y="13750"/>
                  <a:pt x="3406" y="13781"/>
                </a:cubicBezTo>
                <a:close/>
                <a:moveTo>
                  <a:pt x="3500" y="11688"/>
                </a:moveTo>
                <a:cubicBezTo>
                  <a:pt x="3500" y="11688"/>
                  <a:pt x="3500" y="11688"/>
                  <a:pt x="3500" y="11688"/>
                </a:cubicBezTo>
                <a:cubicBezTo>
                  <a:pt x="3500" y="11656"/>
                  <a:pt x="3500" y="11656"/>
                  <a:pt x="3500" y="11656"/>
                </a:cubicBezTo>
                <a:cubicBezTo>
                  <a:pt x="3500" y="11656"/>
                  <a:pt x="3500" y="11656"/>
                  <a:pt x="3500" y="11688"/>
                </a:cubicBezTo>
                <a:close/>
                <a:moveTo>
                  <a:pt x="3500" y="11656"/>
                </a:moveTo>
                <a:cubicBezTo>
                  <a:pt x="3500" y="11656"/>
                  <a:pt x="3500" y="11656"/>
                  <a:pt x="3500" y="11656"/>
                </a:cubicBezTo>
                <a:cubicBezTo>
                  <a:pt x="3531" y="11656"/>
                  <a:pt x="3531" y="11656"/>
                  <a:pt x="3531" y="11625"/>
                </a:cubicBezTo>
                <a:cubicBezTo>
                  <a:pt x="3531" y="11656"/>
                  <a:pt x="3531" y="11656"/>
                  <a:pt x="3500" y="11656"/>
                </a:cubicBezTo>
                <a:close/>
                <a:moveTo>
                  <a:pt x="3843" y="11125"/>
                </a:moveTo>
                <a:cubicBezTo>
                  <a:pt x="3843" y="11125"/>
                  <a:pt x="3843" y="11094"/>
                  <a:pt x="3875" y="11094"/>
                </a:cubicBezTo>
                <a:cubicBezTo>
                  <a:pt x="3843" y="11094"/>
                  <a:pt x="3843" y="11125"/>
                  <a:pt x="3843" y="11125"/>
                </a:cubicBezTo>
                <a:cubicBezTo>
                  <a:pt x="3781" y="11156"/>
                  <a:pt x="3718" y="11188"/>
                  <a:pt x="3687" y="11250"/>
                </a:cubicBezTo>
                <a:cubicBezTo>
                  <a:pt x="3718" y="11188"/>
                  <a:pt x="3781" y="11156"/>
                  <a:pt x="3843" y="11125"/>
                </a:cubicBezTo>
                <a:close/>
                <a:moveTo>
                  <a:pt x="3843" y="12438"/>
                </a:moveTo>
                <a:cubicBezTo>
                  <a:pt x="3843" y="12438"/>
                  <a:pt x="3843" y="12438"/>
                  <a:pt x="3843" y="12438"/>
                </a:cubicBezTo>
                <a:cubicBezTo>
                  <a:pt x="3843" y="12438"/>
                  <a:pt x="3843" y="12438"/>
                  <a:pt x="3843" y="12438"/>
                </a:cubicBezTo>
                <a:cubicBezTo>
                  <a:pt x="3812" y="12438"/>
                  <a:pt x="3812" y="12438"/>
                  <a:pt x="3812" y="12438"/>
                </a:cubicBezTo>
                <a:cubicBezTo>
                  <a:pt x="3812" y="12438"/>
                  <a:pt x="3812" y="12438"/>
                  <a:pt x="3843" y="12438"/>
                </a:cubicBezTo>
                <a:cubicBezTo>
                  <a:pt x="3843" y="12406"/>
                  <a:pt x="3843" y="12406"/>
                  <a:pt x="3843" y="12406"/>
                </a:cubicBezTo>
                <a:cubicBezTo>
                  <a:pt x="3843" y="12406"/>
                  <a:pt x="3843" y="12406"/>
                  <a:pt x="3843" y="12438"/>
                </a:cubicBezTo>
                <a:cubicBezTo>
                  <a:pt x="3843" y="12438"/>
                  <a:pt x="3843" y="12438"/>
                  <a:pt x="3843" y="12438"/>
                </a:cubicBezTo>
                <a:close/>
                <a:moveTo>
                  <a:pt x="3812" y="13344"/>
                </a:moveTo>
                <a:cubicBezTo>
                  <a:pt x="3843" y="13313"/>
                  <a:pt x="3875" y="13281"/>
                  <a:pt x="3875" y="13250"/>
                </a:cubicBezTo>
                <a:cubicBezTo>
                  <a:pt x="3906" y="13250"/>
                  <a:pt x="3937" y="13219"/>
                  <a:pt x="3968" y="13188"/>
                </a:cubicBezTo>
                <a:cubicBezTo>
                  <a:pt x="3937" y="13219"/>
                  <a:pt x="3906" y="13250"/>
                  <a:pt x="3875" y="13250"/>
                </a:cubicBezTo>
                <a:cubicBezTo>
                  <a:pt x="3875" y="13281"/>
                  <a:pt x="3843" y="13313"/>
                  <a:pt x="3812" y="13344"/>
                </a:cubicBezTo>
                <a:close/>
                <a:moveTo>
                  <a:pt x="3937" y="13625"/>
                </a:moveTo>
                <a:cubicBezTo>
                  <a:pt x="3937" y="13625"/>
                  <a:pt x="3937" y="13625"/>
                  <a:pt x="3937" y="13625"/>
                </a:cubicBezTo>
                <a:cubicBezTo>
                  <a:pt x="3937" y="13625"/>
                  <a:pt x="3937" y="13625"/>
                  <a:pt x="3937" y="13625"/>
                </a:cubicBezTo>
                <a:close/>
                <a:moveTo>
                  <a:pt x="4000" y="13469"/>
                </a:moveTo>
                <a:cubicBezTo>
                  <a:pt x="3968" y="13469"/>
                  <a:pt x="3968" y="13500"/>
                  <a:pt x="3937" y="13500"/>
                </a:cubicBezTo>
                <a:cubicBezTo>
                  <a:pt x="3968" y="13500"/>
                  <a:pt x="3968" y="13469"/>
                  <a:pt x="4000" y="13469"/>
                </a:cubicBezTo>
                <a:cubicBezTo>
                  <a:pt x="4000" y="13469"/>
                  <a:pt x="4000" y="13469"/>
                  <a:pt x="4000" y="13469"/>
                </a:cubicBezTo>
                <a:close/>
                <a:moveTo>
                  <a:pt x="4000" y="11000"/>
                </a:moveTo>
                <a:cubicBezTo>
                  <a:pt x="4000" y="11031"/>
                  <a:pt x="4000" y="11031"/>
                  <a:pt x="3968" y="11031"/>
                </a:cubicBezTo>
                <a:cubicBezTo>
                  <a:pt x="4000" y="11031"/>
                  <a:pt x="4000" y="11031"/>
                  <a:pt x="4000" y="11000"/>
                </a:cubicBezTo>
                <a:cubicBezTo>
                  <a:pt x="4000" y="11000"/>
                  <a:pt x="4000" y="11000"/>
                  <a:pt x="4000" y="11000"/>
                </a:cubicBezTo>
                <a:cubicBezTo>
                  <a:pt x="4000" y="11000"/>
                  <a:pt x="4000" y="11000"/>
                  <a:pt x="4000" y="11000"/>
                </a:cubicBezTo>
                <a:cubicBezTo>
                  <a:pt x="4000" y="11000"/>
                  <a:pt x="4000" y="11000"/>
                  <a:pt x="4000" y="11000"/>
                </a:cubicBezTo>
                <a:cubicBezTo>
                  <a:pt x="4031" y="11000"/>
                  <a:pt x="4031" y="11000"/>
                  <a:pt x="4062" y="10969"/>
                </a:cubicBezTo>
                <a:cubicBezTo>
                  <a:pt x="4031" y="11000"/>
                  <a:pt x="4031" y="11000"/>
                  <a:pt x="4000" y="11000"/>
                </a:cubicBezTo>
                <a:close/>
                <a:moveTo>
                  <a:pt x="4125" y="10906"/>
                </a:moveTo>
                <a:cubicBezTo>
                  <a:pt x="4093" y="10906"/>
                  <a:pt x="4093" y="10906"/>
                  <a:pt x="4093" y="10906"/>
                </a:cubicBezTo>
                <a:cubicBezTo>
                  <a:pt x="4125" y="10906"/>
                  <a:pt x="4125" y="10906"/>
                  <a:pt x="4125" y="10906"/>
                </a:cubicBezTo>
                <a:close/>
                <a:moveTo>
                  <a:pt x="4125" y="13031"/>
                </a:moveTo>
                <a:cubicBezTo>
                  <a:pt x="4125" y="13000"/>
                  <a:pt x="4156" y="13000"/>
                  <a:pt x="4187" y="12969"/>
                </a:cubicBezTo>
                <a:cubicBezTo>
                  <a:pt x="4187" y="12969"/>
                  <a:pt x="4187" y="12969"/>
                  <a:pt x="4187" y="12938"/>
                </a:cubicBezTo>
                <a:cubicBezTo>
                  <a:pt x="4187" y="12969"/>
                  <a:pt x="4187" y="12969"/>
                  <a:pt x="4187" y="12969"/>
                </a:cubicBezTo>
                <a:cubicBezTo>
                  <a:pt x="4156" y="13000"/>
                  <a:pt x="4125" y="13000"/>
                  <a:pt x="4125" y="13031"/>
                </a:cubicBezTo>
                <a:close/>
                <a:moveTo>
                  <a:pt x="4281" y="13313"/>
                </a:moveTo>
                <a:cubicBezTo>
                  <a:pt x="4281" y="13313"/>
                  <a:pt x="4281" y="13313"/>
                  <a:pt x="4281" y="13313"/>
                </a:cubicBezTo>
                <a:cubicBezTo>
                  <a:pt x="4281" y="13313"/>
                  <a:pt x="4281" y="13313"/>
                  <a:pt x="4281" y="13313"/>
                </a:cubicBezTo>
                <a:cubicBezTo>
                  <a:pt x="4281" y="13313"/>
                  <a:pt x="4281" y="13313"/>
                  <a:pt x="4281" y="13313"/>
                </a:cubicBezTo>
                <a:cubicBezTo>
                  <a:pt x="4218" y="13313"/>
                  <a:pt x="4187" y="13344"/>
                  <a:pt x="4187" y="13375"/>
                </a:cubicBezTo>
                <a:cubicBezTo>
                  <a:pt x="4187" y="13344"/>
                  <a:pt x="4218" y="13313"/>
                  <a:pt x="4281" y="13313"/>
                </a:cubicBezTo>
                <a:cubicBezTo>
                  <a:pt x="4281" y="13250"/>
                  <a:pt x="4312" y="13219"/>
                  <a:pt x="4343" y="13219"/>
                </a:cubicBezTo>
                <a:cubicBezTo>
                  <a:pt x="4312" y="13219"/>
                  <a:pt x="4281" y="13250"/>
                  <a:pt x="4281" y="13313"/>
                </a:cubicBezTo>
                <a:close/>
                <a:moveTo>
                  <a:pt x="4375" y="13188"/>
                </a:moveTo>
                <a:cubicBezTo>
                  <a:pt x="4375" y="13188"/>
                  <a:pt x="4375" y="13188"/>
                  <a:pt x="4375" y="13188"/>
                </a:cubicBezTo>
                <a:cubicBezTo>
                  <a:pt x="4375" y="13188"/>
                  <a:pt x="4375" y="13188"/>
                  <a:pt x="4375" y="13188"/>
                </a:cubicBezTo>
                <a:close/>
                <a:moveTo>
                  <a:pt x="4406" y="10906"/>
                </a:moveTo>
                <a:cubicBezTo>
                  <a:pt x="4406" y="10906"/>
                  <a:pt x="4406" y="10906"/>
                  <a:pt x="4406" y="10906"/>
                </a:cubicBezTo>
                <a:cubicBezTo>
                  <a:pt x="4406" y="10906"/>
                  <a:pt x="4406" y="10906"/>
                  <a:pt x="4406" y="10906"/>
                </a:cubicBezTo>
                <a:cubicBezTo>
                  <a:pt x="4437" y="10906"/>
                  <a:pt x="4437" y="10906"/>
                  <a:pt x="4437" y="10906"/>
                </a:cubicBezTo>
                <a:cubicBezTo>
                  <a:pt x="4437" y="10906"/>
                  <a:pt x="4437" y="10906"/>
                  <a:pt x="4406" y="10906"/>
                </a:cubicBezTo>
                <a:close/>
                <a:moveTo>
                  <a:pt x="4437" y="13156"/>
                </a:moveTo>
                <a:cubicBezTo>
                  <a:pt x="4437" y="13156"/>
                  <a:pt x="4437" y="13156"/>
                  <a:pt x="4437" y="13156"/>
                </a:cubicBezTo>
                <a:cubicBezTo>
                  <a:pt x="4437" y="13156"/>
                  <a:pt x="4437" y="13156"/>
                  <a:pt x="4437" y="13156"/>
                </a:cubicBezTo>
                <a:cubicBezTo>
                  <a:pt x="4468" y="13156"/>
                  <a:pt x="4468" y="13125"/>
                  <a:pt x="4500" y="13125"/>
                </a:cubicBezTo>
                <a:cubicBezTo>
                  <a:pt x="4468" y="13125"/>
                  <a:pt x="4468" y="13156"/>
                  <a:pt x="4437" y="13156"/>
                </a:cubicBezTo>
                <a:close/>
                <a:moveTo>
                  <a:pt x="4750" y="10094"/>
                </a:moveTo>
                <a:cubicBezTo>
                  <a:pt x="4750" y="10094"/>
                  <a:pt x="4781" y="10094"/>
                  <a:pt x="4781" y="10063"/>
                </a:cubicBezTo>
                <a:cubicBezTo>
                  <a:pt x="4781" y="10094"/>
                  <a:pt x="4750" y="10094"/>
                  <a:pt x="4750" y="10094"/>
                </a:cubicBezTo>
                <a:cubicBezTo>
                  <a:pt x="4687" y="10156"/>
                  <a:pt x="4593" y="10188"/>
                  <a:pt x="4531" y="10250"/>
                </a:cubicBezTo>
                <a:cubicBezTo>
                  <a:pt x="4593" y="10188"/>
                  <a:pt x="4687" y="10156"/>
                  <a:pt x="4750" y="10094"/>
                </a:cubicBezTo>
                <a:close/>
                <a:moveTo>
                  <a:pt x="4687" y="12813"/>
                </a:moveTo>
                <a:cubicBezTo>
                  <a:pt x="4687" y="12813"/>
                  <a:pt x="4687" y="12813"/>
                  <a:pt x="4687" y="12813"/>
                </a:cubicBezTo>
                <a:cubicBezTo>
                  <a:pt x="4718" y="12781"/>
                  <a:pt x="4718" y="12750"/>
                  <a:pt x="4750" y="12719"/>
                </a:cubicBezTo>
                <a:cubicBezTo>
                  <a:pt x="4718" y="12750"/>
                  <a:pt x="4718" y="12781"/>
                  <a:pt x="4687" y="12813"/>
                </a:cubicBezTo>
                <a:close/>
                <a:moveTo>
                  <a:pt x="4875" y="12656"/>
                </a:moveTo>
                <a:cubicBezTo>
                  <a:pt x="4875" y="12656"/>
                  <a:pt x="4875" y="12656"/>
                  <a:pt x="4875" y="12656"/>
                </a:cubicBezTo>
                <a:cubicBezTo>
                  <a:pt x="4843" y="12656"/>
                  <a:pt x="4812" y="12688"/>
                  <a:pt x="4781" y="12719"/>
                </a:cubicBezTo>
                <a:cubicBezTo>
                  <a:pt x="4812" y="12688"/>
                  <a:pt x="4843" y="12656"/>
                  <a:pt x="4875" y="12656"/>
                </a:cubicBezTo>
                <a:close/>
                <a:moveTo>
                  <a:pt x="4875" y="12750"/>
                </a:moveTo>
                <a:cubicBezTo>
                  <a:pt x="4875" y="12781"/>
                  <a:pt x="4843" y="12813"/>
                  <a:pt x="4843" y="12813"/>
                </a:cubicBezTo>
                <a:cubicBezTo>
                  <a:pt x="4843" y="12813"/>
                  <a:pt x="4875" y="12781"/>
                  <a:pt x="4875" y="12750"/>
                </a:cubicBezTo>
                <a:cubicBezTo>
                  <a:pt x="4906" y="12750"/>
                  <a:pt x="4968" y="12719"/>
                  <a:pt x="5000" y="12688"/>
                </a:cubicBezTo>
                <a:cubicBezTo>
                  <a:pt x="4968" y="12719"/>
                  <a:pt x="4906" y="12750"/>
                  <a:pt x="4875" y="12750"/>
                </a:cubicBezTo>
                <a:close/>
                <a:moveTo>
                  <a:pt x="5093" y="12594"/>
                </a:moveTo>
                <a:cubicBezTo>
                  <a:pt x="5031" y="12625"/>
                  <a:pt x="4968" y="12656"/>
                  <a:pt x="4937" y="12688"/>
                </a:cubicBezTo>
                <a:cubicBezTo>
                  <a:pt x="4968" y="12656"/>
                  <a:pt x="5031" y="12625"/>
                  <a:pt x="5093" y="12594"/>
                </a:cubicBezTo>
                <a:cubicBezTo>
                  <a:pt x="5093" y="12563"/>
                  <a:pt x="5093" y="12563"/>
                  <a:pt x="5125" y="12531"/>
                </a:cubicBezTo>
                <a:cubicBezTo>
                  <a:pt x="5093" y="12563"/>
                  <a:pt x="5093" y="12563"/>
                  <a:pt x="5093" y="12594"/>
                </a:cubicBezTo>
                <a:close/>
                <a:moveTo>
                  <a:pt x="5093" y="12375"/>
                </a:moveTo>
                <a:cubicBezTo>
                  <a:pt x="5093" y="12375"/>
                  <a:pt x="5093" y="12375"/>
                  <a:pt x="5093" y="12375"/>
                </a:cubicBezTo>
                <a:cubicBezTo>
                  <a:pt x="5093" y="12375"/>
                  <a:pt x="5093" y="12375"/>
                  <a:pt x="5093" y="12375"/>
                </a:cubicBezTo>
                <a:cubicBezTo>
                  <a:pt x="5093" y="12375"/>
                  <a:pt x="5093" y="12375"/>
                  <a:pt x="5093" y="12375"/>
                </a:cubicBezTo>
                <a:close/>
                <a:moveTo>
                  <a:pt x="5312" y="12438"/>
                </a:moveTo>
                <a:cubicBezTo>
                  <a:pt x="5312" y="12438"/>
                  <a:pt x="5312" y="12438"/>
                  <a:pt x="5312" y="12438"/>
                </a:cubicBezTo>
                <a:cubicBezTo>
                  <a:pt x="5312" y="12438"/>
                  <a:pt x="5312" y="12438"/>
                  <a:pt x="5312" y="12438"/>
                </a:cubicBezTo>
                <a:cubicBezTo>
                  <a:pt x="5312" y="12438"/>
                  <a:pt x="5312" y="12438"/>
                  <a:pt x="5312" y="12438"/>
                </a:cubicBezTo>
                <a:cubicBezTo>
                  <a:pt x="5250" y="12438"/>
                  <a:pt x="5218" y="12469"/>
                  <a:pt x="5187" y="12500"/>
                </a:cubicBezTo>
                <a:cubicBezTo>
                  <a:pt x="5218" y="12469"/>
                  <a:pt x="5250" y="12438"/>
                  <a:pt x="5312" y="12438"/>
                </a:cubicBezTo>
                <a:cubicBezTo>
                  <a:pt x="5312" y="12406"/>
                  <a:pt x="5343" y="12375"/>
                  <a:pt x="5406" y="12344"/>
                </a:cubicBezTo>
                <a:cubicBezTo>
                  <a:pt x="5343" y="12375"/>
                  <a:pt x="5312" y="12406"/>
                  <a:pt x="5312" y="12438"/>
                </a:cubicBezTo>
                <a:close/>
                <a:moveTo>
                  <a:pt x="5468" y="12125"/>
                </a:moveTo>
                <a:cubicBezTo>
                  <a:pt x="5468" y="12125"/>
                  <a:pt x="5468" y="12125"/>
                  <a:pt x="5468" y="12125"/>
                </a:cubicBezTo>
                <a:cubicBezTo>
                  <a:pt x="5468" y="12125"/>
                  <a:pt x="5468" y="12125"/>
                  <a:pt x="5468" y="12125"/>
                </a:cubicBezTo>
                <a:cubicBezTo>
                  <a:pt x="5468" y="12125"/>
                  <a:pt x="5468" y="12094"/>
                  <a:pt x="5468" y="12094"/>
                </a:cubicBezTo>
                <a:cubicBezTo>
                  <a:pt x="5468" y="12094"/>
                  <a:pt x="5468" y="12094"/>
                  <a:pt x="5468" y="12094"/>
                </a:cubicBezTo>
                <a:cubicBezTo>
                  <a:pt x="5468" y="12094"/>
                  <a:pt x="5468" y="12125"/>
                  <a:pt x="5468" y="12125"/>
                </a:cubicBezTo>
                <a:cubicBezTo>
                  <a:pt x="5468" y="12094"/>
                  <a:pt x="5500" y="12094"/>
                  <a:pt x="5500" y="12094"/>
                </a:cubicBezTo>
                <a:cubicBezTo>
                  <a:pt x="5500" y="12094"/>
                  <a:pt x="5468" y="12094"/>
                  <a:pt x="5468" y="12125"/>
                </a:cubicBezTo>
                <a:close/>
                <a:moveTo>
                  <a:pt x="5562" y="11938"/>
                </a:moveTo>
                <a:cubicBezTo>
                  <a:pt x="5562" y="11938"/>
                  <a:pt x="5562" y="11938"/>
                  <a:pt x="5562" y="11969"/>
                </a:cubicBezTo>
                <a:cubicBezTo>
                  <a:pt x="5562" y="11938"/>
                  <a:pt x="5562" y="11938"/>
                  <a:pt x="5562" y="11938"/>
                </a:cubicBezTo>
                <a:cubicBezTo>
                  <a:pt x="5562" y="11938"/>
                  <a:pt x="5562" y="11938"/>
                  <a:pt x="5562" y="11938"/>
                </a:cubicBezTo>
                <a:close/>
                <a:moveTo>
                  <a:pt x="5625" y="12219"/>
                </a:moveTo>
                <a:cubicBezTo>
                  <a:pt x="5625" y="12219"/>
                  <a:pt x="5625" y="12219"/>
                  <a:pt x="5625" y="12219"/>
                </a:cubicBezTo>
                <a:cubicBezTo>
                  <a:pt x="5625" y="12219"/>
                  <a:pt x="5625" y="12219"/>
                  <a:pt x="5625" y="12219"/>
                </a:cubicBezTo>
                <a:cubicBezTo>
                  <a:pt x="5625" y="12219"/>
                  <a:pt x="5625" y="12219"/>
                  <a:pt x="5625" y="12219"/>
                </a:cubicBezTo>
                <a:close/>
                <a:moveTo>
                  <a:pt x="5468" y="11844"/>
                </a:moveTo>
                <a:cubicBezTo>
                  <a:pt x="5312" y="11938"/>
                  <a:pt x="5125" y="12063"/>
                  <a:pt x="4968" y="12188"/>
                </a:cubicBezTo>
                <a:cubicBezTo>
                  <a:pt x="5125" y="12063"/>
                  <a:pt x="5312" y="11938"/>
                  <a:pt x="5468" y="11844"/>
                </a:cubicBezTo>
                <a:cubicBezTo>
                  <a:pt x="5562" y="11813"/>
                  <a:pt x="5625" y="11750"/>
                  <a:pt x="5687" y="11719"/>
                </a:cubicBezTo>
                <a:cubicBezTo>
                  <a:pt x="5625" y="11750"/>
                  <a:pt x="5562" y="11813"/>
                  <a:pt x="5468" y="11844"/>
                </a:cubicBezTo>
                <a:close/>
                <a:moveTo>
                  <a:pt x="5781" y="11906"/>
                </a:moveTo>
                <a:cubicBezTo>
                  <a:pt x="5781" y="11906"/>
                  <a:pt x="5781" y="11906"/>
                  <a:pt x="5781" y="11906"/>
                </a:cubicBezTo>
                <a:cubicBezTo>
                  <a:pt x="5781" y="11906"/>
                  <a:pt x="5812" y="11906"/>
                  <a:pt x="5812" y="11906"/>
                </a:cubicBezTo>
                <a:cubicBezTo>
                  <a:pt x="5812" y="11906"/>
                  <a:pt x="5781" y="11906"/>
                  <a:pt x="5781" y="11906"/>
                </a:cubicBezTo>
                <a:close/>
                <a:moveTo>
                  <a:pt x="5906" y="11938"/>
                </a:moveTo>
                <a:cubicBezTo>
                  <a:pt x="5906" y="11938"/>
                  <a:pt x="5906" y="11938"/>
                  <a:pt x="5906" y="11938"/>
                </a:cubicBezTo>
                <a:cubicBezTo>
                  <a:pt x="5906" y="11938"/>
                  <a:pt x="5906" y="11938"/>
                  <a:pt x="5906" y="11938"/>
                </a:cubicBezTo>
                <a:cubicBezTo>
                  <a:pt x="5906" y="11938"/>
                  <a:pt x="5906" y="11938"/>
                  <a:pt x="5906" y="11938"/>
                </a:cubicBezTo>
                <a:close/>
                <a:moveTo>
                  <a:pt x="5718" y="11563"/>
                </a:moveTo>
                <a:cubicBezTo>
                  <a:pt x="5593" y="11656"/>
                  <a:pt x="5468" y="11719"/>
                  <a:pt x="5343" y="11813"/>
                </a:cubicBezTo>
                <a:cubicBezTo>
                  <a:pt x="5468" y="11719"/>
                  <a:pt x="5593" y="11656"/>
                  <a:pt x="5718" y="11563"/>
                </a:cubicBezTo>
                <a:cubicBezTo>
                  <a:pt x="5875" y="11500"/>
                  <a:pt x="6031" y="11406"/>
                  <a:pt x="6187" y="11344"/>
                </a:cubicBezTo>
                <a:cubicBezTo>
                  <a:pt x="6031" y="11406"/>
                  <a:pt x="5875" y="11500"/>
                  <a:pt x="5718" y="11563"/>
                </a:cubicBezTo>
                <a:close/>
                <a:moveTo>
                  <a:pt x="6125" y="11813"/>
                </a:moveTo>
                <a:cubicBezTo>
                  <a:pt x="6156" y="11781"/>
                  <a:pt x="6218" y="11750"/>
                  <a:pt x="6281" y="11719"/>
                </a:cubicBezTo>
                <a:cubicBezTo>
                  <a:pt x="6281" y="11719"/>
                  <a:pt x="6281" y="11719"/>
                  <a:pt x="6281" y="11719"/>
                </a:cubicBezTo>
                <a:cubicBezTo>
                  <a:pt x="6218" y="11750"/>
                  <a:pt x="6156" y="11781"/>
                  <a:pt x="6125" y="11813"/>
                </a:cubicBezTo>
                <a:close/>
                <a:moveTo>
                  <a:pt x="6500" y="12125"/>
                </a:moveTo>
                <a:cubicBezTo>
                  <a:pt x="6500" y="12125"/>
                  <a:pt x="6500" y="12125"/>
                  <a:pt x="6500" y="12125"/>
                </a:cubicBezTo>
                <a:cubicBezTo>
                  <a:pt x="6500" y="12125"/>
                  <a:pt x="6500" y="12125"/>
                  <a:pt x="6500" y="12125"/>
                </a:cubicBezTo>
                <a:cubicBezTo>
                  <a:pt x="6500" y="12125"/>
                  <a:pt x="6500" y="12125"/>
                  <a:pt x="6500" y="12125"/>
                </a:cubicBezTo>
                <a:cubicBezTo>
                  <a:pt x="6500" y="12125"/>
                  <a:pt x="6500" y="12125"/>
                  <a:pt x="6500" y="12125"/>
                </a:cubicBezTo>
                <a:close/>
                <a:moveTo>
                  <a:pt x="3562" y="17094"/>
                </a:moveTo>
                <a:cubicBezTo>
                  <a:pt x="3562" y="17062"/>
                  <a:pt x="3562" y="17062"/>
                  <a:pt x="3562" y="17062"/>
                </a:cubicBezTo>
                <a:cubicBezTo>
                  <a:pt x="3562" y="17062"/>
                  <a:pt x="3562" y="17062"/>
                  <a:pt x="3562" y="17094"/>
                </a:cubicBezTo>
                <a:cubicBezTo>
                  <a:pt x="3562" y="17094"/>
                  <a:pt x="3562" y="17094"/>
                  <a:pt x="3562" y="17094"/>
                </a:cubicBezTo>
                <a:close/>
                <a:moveTo>
                  <a:pt x="3656" y="16906"/>
                </a:moveTo>
                <a:cubicBezTo>
                  <a:pt x="3656" y="16906"/>
                  <a:pt x="3656" y="16906"/>
                  <a:pt x="3656" y="16906"/>
                </a:cubicBezTo>
                <a:cubicBezTo>
                  <a:pt x="3656" y="16906"/>
                  <a:pt x="3656" y="16906"/>
                  <a:pt x="3656" y="16906"/>
                </a:cubicBezTo>
                <a:close/>
                <a:moveTo>
                  <a:pt x="3781" y="16687"/>
                </a:moveTo>
                <a:cubicBezTo>
                  <a:pt x="3781" y="16687"/>
                  <a:pt x="3781" y="16719"/>
                  <a:pt x="3781" y="16719"/>
                </a:cubicBezTo>
                <a:cubicBezTo>
                  <a:pt x="3781" y="16719"/>
                  <a:pt x="3781" y="16719"/>
                  <a:pt x="3781" y="16719"/>
                </a:cubicBezTo>
                <a:cubicBezTo>
                  <a:pt x="3781" y="16719"/>
                  <a:pt x="3781" y="16687"/>
                  <a:pt x="3781" y="16687"/>
                </a:cubicBezTo>
                <a:cubicBezTo>
                  <a:pt x="3781" y="16687"/>
                  <a:pt x="3781" y="16687"/>
                  <a:pt x="3781" y="16687"/>
                </a:cubicBezTo>
                <a:cubicBezTo>
                  <a:pt x="3781" y="16687"/>
                  <a:pt x="3781" y="16687"/>
                  <a:pt x="3781" y="16656"/>
                </a:cubicBezTo>
                <a:cubicBezTo>
                  <a:pt x="3781" y="16687"/>
                  <a:pt x="3781" y="16687"/>
                  <a:pt x="3781" y="16687"/>
                </a:cubicBezTo>
                <a:cubicBezTo>
                  <a:pt x="3781" y="16687"/>
                  <a:pt x="3781" y="16687"/>
                  <a:pt x="3781" y="16687"/>
                </a:cubicBezTo>
                <a:close/>
                <a:moveTo>
                  <a:pt x="4062" y="16063"/>
                </a:moveTo>
                <a:cubicBezTo>
                  <a:pt x="4093" y="16000"/>
                  <a:pt x="4125" y="15969"/>
                  <a:pt x="4156" y="15938"/>
                </a:cubicBezTo>
                <a:cubicBezTo>
                  <a:pt x="4125" y="15969"/>
                  <a:pt x="4093" y="16000"/>
                  <a:pt x="4062" y="16063"/>
                </a:cubicBezTo>
                <a:close/>
                <a:moveTo>
                  <a:pt x="4750" y="17937"/>
                </a:moveTo>
                <a:cubicBezTo>
                  <a:pt x="4750" y="17969"/>
                  <a:pt x="4750" y="18000"/>
                  <a:pt x="4750" y="18031"/>
                </a:cubicBezTo>
                <a:cubicBezTo>
                  <a:pt x="4750" y="18000"/>
                  <a:pt x="4750" y="17969"/>
                  <a:pt x="4750" y="17937"/>
                </a:cubicBezTo>
                <a:close/>
                <a:moveTo>
                  <a:pt x="4812" y="17844"/>
                </a:moveTo>
                <a:cubicBezTo>
                  <a:pt x="4812" y="17875"/>
                  <a:pt x="4812" y="17875"/>
                  <a:pt x="4812" y="17875"/>
                </a:cubicBezTo>
                <a:cubicBezTo>
                  <a:pt x="4812" y="17875"/>
                  <a:pt x="4812" y="17875"/>
                  <a:pt x="4812" y="17844"/>
                </a:cubicBezTo>
                <a:close/>
                <a:moveTo>
                  <a:pt x="4812" y="17844"/>
                </a:moveTo>
                <a:cubicBezTo>
                  <a:pt x="4812" y="17844"/>
                  <a:pt x="4781" y="17875"/>
                  <a:pt x="4781" y="17875"/>
                </a:cubicBezTo>
                <a:cubicBezTo>
                  <a:pt x="4781" y="17875"/>
                  <a:pt x="4812" y="17844"/>
                  <a:pt x="4812" y="17844"/>
                </a:cubicBezTo>
                <a:cubicBezTo>
                  <a:pt x="4812" y="17844"/>
                  <a:pt x="4812" y="17844"/>
                  <a:pt x="4812" y="17812"/>
                </a:cubicBezTo>
                <a:cubicBezTo>
                  <a:pt x="4812" y="17844"/>
                  <a:pt x="4812" y="17844"/>
                  <a:pt x="4812" y="17844"/>
                </a:cubicBezTo>
                <a:close/>
                <a:moveTo>
                  <a:pt x="5375" y="15969"/>
                </a:moveTo>
                <a:cubicBezTo>
                  <a:pt x="5375" y="15969"/>
                  <a:pt x="5375" y="15969"/>
                  <a:pt x="5375" y="15969"/>
                </a:cubicBezTo>
                <a:cubicBezTo>
                  <a:pt x="5375" y="15969"/>
                  <a:pt x="5375" y="15969"/>
                  <a:pt x="5375" y="15969"/>
                </a:cubicBezTo>
                <a:cubicBezTo>
                  <a:pt x="5375" y="15969"/>
                  <a:pt x="5375" y="15969"/>
                  <a:pt x="5375" y="15969"/>
                </a:cubicBezTo>
                <a:close/>
                <a:moveTo>
                  <a:pt x="5250" y="15875"/>
                </a:moveTo>
                <a:cubicBezTo>
                  <a:pt x="5250" y="15875"/>
                  <a:pt x="5250" y="15875"/>
                  <a:pt x="5250" y="15875"/>
                </a:cubicBezTo>
                <a:close/>
                <a:moveTo>
                  <a:pt x="5375" y="16000"/>
                </a:moveTo>
                <a:cubicBezTo>
                  <a:pt x="5375" y="16000"/>
                  <a:pt x="5375" y="16000"/>
                  <a:pt x="5375" y="16000"/>
                </a:cubicBezTo>
                <a:cubicBezTo>
                  <a:pt x="5375" y="16000"/>
                  <a:pt x="5375" y="16000"/>
                  <a:pt x="5375" y="16000"/>
                </a:cubicBezTo>
                <a:cubicBezTo>
                  <a:pt x="5312" y="16094"/>
                  <a:pt x="5218" y="16188"/>
                  <a:pt x="5156" y="16281"/>
                </a:cubicBezTo>
                <a:cubicBezTo>
                  <a:pt x="5218" y="16188"/>
                  <a:pt x="5312" y="16094"/>
                  <a:pt x="5375" y="16000"/>
                </a:cubicBezTo>
                <a:close/>
                <a:moveTo>
                  <a:pt x="5187" y="16344"/>
                </a:moveTo>
                <a:cubicBezTo>
                  <a:pt x="5187" y="16281"/>
                  <a:pt x="5218" y="16250"/>
                  <a:pt x="5250" y="16219"/>
                </a:cubicBezTo>
                <a:cubicBezTo>
                  <a:pt x="5218" y="16250"/>
                  <a:pt x="5187" y="16281"/>
                  <a:pt x="5187" y="16344"/>
                </a:cubicBezTo>
                <a:cubicBezTo>
                  <a:pt x="5187" y="16344"/>
                  <a:pt x="5187" y="16344"/>
                  <a:pt x="5187" y="16344"/>
                </a:cubicBezTo>
                <a:cubicBezTo>
                  <a:pt x="5187" y="16344"/>
                  <a:pt x="5187" y="16344"/>
                  <a:pt x="5187" y="16344"/>
                </a:cubicBezTo>
                <a:cubicBezTo>
                  <a:pt x="5187" y="16344"/>
                  <a:pt x="5187" y="16344"/>
                  <a:pt x="5187" y="16344"/>
                </a:cubicBezTo>
                <a:cubicBezTo>
                  <a:pt x="5187" y="16344"/>
                  <a:pt x="5156" y="16344"/>
                  <a:pt x="5125" y="16344"/>
                </a:cubicBezTo>
                <a:cubicBezTo>
                  <a:pt x="5156" y="16344"/>
                  <a:pt x="5187" y="16344"/>
                  <a:pt x="5187" y="16344"/>
                </a:cubicBezTo>
                <a:close/>
                <a:moveTo>
                  <a:pt x="4937" y="16719"/>
                </a:moveTo>
                <a:cubicBezTo>
                  <a:pt x="4937" y="16719"/>
                  <a:pt x="4906" y="16719"/>
                  <a:pt x="4906" y="16719"/>
                </a:cubicBezTo>
                <a:cubicBezTo>
                  <a:pt x="4906" y="16719"/>
                  <a:pt x="4906" y="16719"/>
                  <a:pt x="4906" y="16719"/>
                </a:cubicBezTo>
                <a:cubicBezTo>
                  <a:pt x="4906" y="16719"/>
                  <a:pt x="4937" y="16719"/>
                  <a:pt x="4937" y="16719"/>
                </a:cubicBezTo>
                <a:cubicBezTo>
                  <a:pt x="4937" y="16719"/>
                  <a:pt x="4937" y="16719"/>
                  <a:pt x="4937" y="16719"/>
                </a:cubicBezTo>
                <a:close/>
                <a:moveTo>
                  <a:pt x="5125" y="17156"/>
                </a:moveTo>
                <a:cubicBezTo>
                  <a:pt x="5125" y="17156"/>
                  <a:pt x="5093" y="17187"/>
                  <a:pt x="5062" y="17219"/>
                </a:cubicBezTo>
                <a:cubicBezTo>
                  <a:pt x="5093" y="17187"/>
                  <a:pt x="5125" y="17156"/>
                  <a:pt x="5125" y="17156"/>
                </a:cubicBezTo>
                <a:cubicBezTo>
                  <a:pt x="5156" y="17125"/>
                  <a:pt x="5156" y="17094"/>
                  <a:pt x="5156" y="17094"/>
                </a:cubicBezTo>
                <a:cubicBezTo>
                  <a:pt x="5156" y="17094"/>
                  <a:pt x="5156" y="17125"/>
                  <a:pt x="5125" y="17156"/>
                </a:cubicBezTo>
                <a:close/>
                <a:moveTo>
                  <a:pt x="5312" y="16906"/>
                </a:moveTo>
                <a:cubicBezTo>
                  <a:pt x="5281" y="16937"/>
                  <a:pt x="5250" y="16969"/>
                  <a:pt x="5218" y="17000"/>
                </a:cubicBezTo>
                <a:cubicBezTo>
                  <a:pt x="5250" y="16969"/>
                  <a:pt x="5281" y="16937"/>
                  <a:pt x="5312" y="16906"/>
                </a:cubicBezTo>
                <a:cubicBezTo>
                  <a:pt x="5312" y="16906"/>
                  <a:pt x="5312" y="16875"/>
                  <a:pt x="5312" y="16875"/>
                </a:cubicBezTo>
                <a:cubicBezTo>
                  <a:pt x="5312" y="16875"/>
                  <a:pt x="5312" y="16906"/>
                  <a:pt x="5312" y="16906"/>
                </a:cubicBezTo>
                <a:close/>
                <a:moveTo>
                  <a:pt x="5406" y="16281"/>
                </a:moveTo>
                <a:cubicBezTo>
                  <a:pt x="5312" y="16344"/>
                  <a:pt x="5250" y="16438"/>
                  <a:pt x="5187" y="16562"/>
                </a:cubicBezTo>
                <a:cubicBezTo>
                  <a:pt x="5187" y="16562"/>
                  <a:pt x="5156" y="16562"/>
                  <a:pt x="5156" y="16562"/>
                </a:cubicBezTo>
                <a:cubicBezTo>
                  <a:pt x="5156" y="16562"/>
                  <a:pt x="5187" y="16562"/>
                  <a:pt x="5187" y="16562"/>
                </a:cubicBezTo>
                <a:cubicBezTo>
                  <a:pt x="5250" y="16438"/>
                  <a:pt x="5312" y="16344"/>
                  <a:pt x="5406" y="16281"/>
                </a:cubicBezTo>
                <a:cubicBezTo>
                  <a:pt x="5406" y="16250"/>
                  <a:pt x="5406" y="16250"/>
                  <a:pt x="5406" y="16250"/>
                </a:cubicBezTo>
                <a:cubicBezTo>
                  <a:pt x="5406" y="16250"/>
                  <a:pt x="5406" y="16250"/>
                  <a:pt x="5406" y="16281"/>
                </a:cubicBezTo>
                <a:close/>
                <a:moveTo>
                  <a:pt x="7031" y="14219"/>
                </a:moveTo>
                <a:cubicBezTo>
                  <a:pt x="7031" y="14219"/>
                  <a:pt x="7031" y="14219"/>
                  <a:pt x="7031" y="14219"/>
                </a:cubicBezTo>
                <a:cubicBezTo>
                  <a:pt x="7031" y="14219"/>
                  <a:pt x="7031" y="14219"/>
                  <a:pt x="7031" y="14219"/>
                </a:cubicBezTo>
                <a:cubicBezTo>
                  <a:pt x="7000" y="14219"/>
                  <a:pt x="7000" y="14250"/>
                  <a:pt x="7000" y="14250"/>
                </a:cubicBezTo>
                <a:cubicBezTo>
                  <a:pt x="7000" y="14250"/>
                  <a:pt x="7000" y="14219"/>
                  <a:pt x="7031" y="14219"/>
                </a:cubicBezTo>
                <a:close/>
                <a:moveTo>
                  <a:pt x="7000" y="13469"/>
                </a:moveTo>
                <a:cubicBezTo>
                  <a:pt x="7000" y="13469"/>
                  <a:pt x="7000" y="13469"/>
                  <a:pt x="7031" y="13438"/>
                </a:cubicBezTo>
                <a:cubicBezTo>
                  <a:pt x="7000" y="13469"/>
                  <a:pt x="7000" y="13469"/>
                  <a:pt x="7000" y="13469"/>
                </a:cubicBezTo>
                <a:cubicBezTo>
                  <a:pt x="6968" y="13469"/>
                  <a:pt x="6968" y="13469"/>
                  <a:pt x="6968" y="13469"/>
                </a:cubicBezTo>
                <a:cubicBezTo>
                  <a:pt x="6968" y="13469"/>
                  <a:pt x="6968" y="13469"/>
                  <a:pt x="7000" y="13469"/>
                </a:cubicBezTo>
                <a:close/>
                <a:moveTo>
                  <a:pt x="6562" y="13750"/>
                </a:moveTo>
                <a:cubicBezTo>
                  <a:pt x="6562" y="13750"/>
                  <a:pt x="6562" y="13750"/>
                  <a:pt x="6562" y="13750"/>
                </a:cubicBezTo>
                <a:cubicBezTo>
                  <a:pt x="6562" y="13750"/>
                  <a:pt x="6562" y="13750"/>
                  <a:pt x="6562" y="13750"/>
                </a:cubicBezTo>
                <a:cubicBezTo>
                  <a:pt x="6562" y="13750"/>
                  <a:pt x="6562" y="13750"/>
                  <a:pt x="6562" y="13750"/>
                </a:cubicBezTo>
                <a:close/>
                <a:moveTo>
                  <a:pt x="6656" y="13688"/>
                </a:moveTo>
                <a:cubicBezTo>
                  <a:pt x="6656" y="13688"/>
                  <a:pt x="6656" y="13688"/>
                  <a:pt x="6656" y="13688"/>
                </a:cubicBezTo>
                <a:cubicBezTo>
                  <a:pt x="6656" y="13688"/>
                  <a:pt x="6656" y="13688"/>
                  <a:pt x="6656" y="13688"/>
                </a:cubicBezTo>
                <a:close/>
                <a:moveTo>
                  <a:pt x="6687" y="13656"/>
                </a:moveTo>
                <a:cubicBezTo>
                  <a:pt x="6687" y="13656"/>
                  <a:pt x="6687" y="13625"/>
                  <a:pt x="6718" y="13625"/>
                </a:cubicBezTo>
                <a:cubicBezTo>
                  <a:pt x="6718" y="13625"/>
                  <a:pt x="6718" y="13625"/>
                  <a:pt x="6718" y="13625"/>
                </a:cubicBezTo>
                <a:cubicBezTo>
                  <a:pt x="6718" y="13625"/>
                  <a:pt x="6718" y="13625"/>
                  <a:pt x="6718" y="13625"/>
                </a:cubicBezTo>
                <a:cubicBezTo>
                  <a:pt x="6687" y="13625"/>
                  <a:pt x="6687" y="13656"/>
                  <a:pt x="6687" y="13656"/>
                </a:cubicBezTo>
                <a:cubicBezTo>
                  <a:pt x="6625" y="13656"/>
                  <a:pt x="6562" y="13688"/>
                  <a:pt x="6500" y="13750"/>
                </a:cubicBezTo>
                <a:cubicBezTo>
                  <a:pt x="6562" y="13688"/>
                  <a:pt x="6625" y="13656"/>
                  <a:pt x="6687" y="13656"/>
                </a:cubicBezTo>
                <a:close/>
                <a:moveTo>
                  <a:pt x="6406" y="13844"/>
                </a:moveTo>
                <a:cubicBezTo>
                  <a:pt x="6406" y="13844"/>
                  <a:pt x="6406" y="13844"/>
                  <a:pt x="6406" y="13844"/>
                </a:cubicBezTo>
                <a:cubicBezTo>
                  <a:pt x="6406" y="13844"/>
                  <a:pt x="6406" y="13875"/>
                  <a:pt x="6406" y="13875"/>
                </a:cubicBezTo>
                <a:cubicBezTo>
                  <a:pt x="6406" y="13875"/>
                  <a:pt x="6406" y="13844"/>
                  <a:pt x="6406" y="13844"/>
                </a:cubicBezTo>
                <a:close/>
                <a:moveTo>
                  <a:pt x="5593" y="16500"/>
                </a:moveTo>
                <a:cubicBezTo>
                  <a:pt x="5593" y="16500"/>
                  <a:pt x="5593" y="16500"/>
                  <a:pt x="5593" y="16500"/>
                </a:cubicBezTo>
                <a:cubicBezTo>
                  <a:pt x="5593" y="16500"/>
                  <a:pt x="5593" y="16500"/>
                  <a:pt x="5593" y="16500"/>
                </a:cubicBezTo>
                <a:cubicBezTo>
                  <a:pt x="5593" y="16500"/>
                  <a:pt x="5593" y="16500"/>
                  <a:pt x="5593" y="16500"/>
                </a:cubicBezTo>
                <a:close/>
                <a:moveTo>
                  <a:pt x="5718" y="14031"/>
                </a:moveTo>
                <a:cubicBezTo>
                  <a:pt x="5718" y="14031"/>
                  <a:pt x="5718" y="14000"/>
                  <a:pt x="5718" y="14000"/>
                </a:cubicBezTo>
                <a:cubicBezTo>
                  <a:pt x="5718" y="14000"/>
                  <a:pt x="5718" y="14000"/>
                  <a:pt x="5718" y="14000"/>
                </a:cubicBezTo>
                <a:cubicBezTo>
                  <a:pt x="5718" y="14000"/>
                  <a:pt x="5718" y="14031"/>
                  <a:pt x="5718" y="14031"/>
                </a:cubicBezTo>
                <a:close/>
                <a:moveTo>
                  <a:pt x="5843" y="13844"/>
                </a:moveTo>
                <a:cubicBezTo>
                  <a:pt x="5843" y="13844"/>
                  <a:pt x="5843" y="13844"/>
                  <a:pt x="5843" y="13844"/>
                </a:cubicBezTo>
                <a:cubicBezTo>
                  <a:pt x="5843" y="13844"/>
                  <a:pt x="5843" y="13844"/>
                  <a:pt x="5843" y="13844"/>
                </a:cubicBezTo>
                <a:cubicBezTo>
                  <a:pt x="5843" y="13844"/>
                  <a:pt x="5843" y="13844"/>
                  <a:pt x="5843" y="13844"/>
                </a:cubicBezTo>
                <a:close/>
                <a:moveTo>
                  <a:pt x="5937" y="13781"/>
                </a:moveTo>
                <a:cubicBezTo>
                  <a:pt x="5937" y="13813"/>
                  <a:pt x="5906" y="13813"/>
                  <a:pt x="5906" y="13813"/>
                </a:cubicBezTo>
                <a:cubicBezTo>
                  <a:pt x="5906" y="13813"/>
                  <a:pt x="5937" y="13813"/>
                  <a:pt x="5937" y="13781"/>
                </a:cubicBezTo>
                <a:cubicBezTo>
                  <a:pt x="5937" y="13781"/>
                  <a:pt x="5968" y="13781"/>
                  <a:pt x="6000" y="13750"/>
                </a:cubicBezTo>
                <a:cubicBezTo>
                  <a:pt x="5968" y="13781"/>
                  <a:pt x="5937" y="13781"/>
                  <a:pt x="5937" y="13781"/>
                </a:cubicBezTo>
                <a:close/>
                <a:moveTo>
                  <a:pt x="6062" y="14406"/>
                </a:moveTo>
                <a:cubicBezTo>
                  <a:pt x="6062" y="14406"/>
                  <a:pt x="6062" y="14438"/>
                  <a:pt x="6031" y="14438"/>
                </a:cubicBezTo>
                <a:cubicBezTo>
                  <a:pt x="6062" y="14438"/>
                  <a:pt x="6062" y="14406"/>
                  <a:pt x="6062" y="14406"/>
                </a:cubicBezTo>
                <a:cubicBezTo>
                  <a:pt x="6062" y="14375"/>
                  <a:pt x="6062" y="14375"/>
                  <a:pt x="6062" y="14375"/>
                </a:cubicBezTo>
                <a:cubicBezTo>
                  <a:pt x="6062" y="14375"/>
                  <a:pt x="6062" y="14375"/>
                  <a:pt x="6062" y="14375"/>
                </a:cubicBezTo>
                <a:cubicBezTo>
                  <a:pt x="6062" y="14375"/>
                  <a:pt x="6062" y="14375"/>
                  <a:pt x="6062" y="14406"/>
                </a:cubicBezTo>
                <a:cubicBezTo>
                  <a:pt x="6093" y="14375"/>
                  <a:pt x="6125" y="14375"/>
                  <a:pt x="6125" y="14375"/>
                </a:cubicBezTo>
                <a:cubicBezTo>
                  <a:pt x="6125" y="14375"/>
                  <a:pt x="6093" y="14375"/>
                  <a:pt x="6062" y="14406"/>
                </a:cubicBezTo>
                <a:close/>
                <a:moveTo>
                  <a:pt x="6250" y="14250"/>
                </a:moveTo>
                <a:cubicBezTo>
                  <a:pt x="6250" y="14250"/>
                  <a:pt x="6250" y="14250"/>
                  <a:pt x="6250" y="14250"/>
                </a:cubicBezTo>
                <a:cubicBezTo>
                  <a:pt x="6250" y="14250"/>
                  <a:pt x="6250" y="14250"/>
                  <a:pt x="6281" y="14219"/>
                </a:cubicBezTo>
                <a:cubicBezTo>
                  <a:pt x="6250" y="14250"/>
                  <a:pt x="6250" y="14250"/>
                  <a:pt x="6250" y="14250"/>
                </a:cubicBezTo>
                <a:close/>
                <a:moveTo>
                  <a:pt x="6187" y="13969"/>
                </a:moveTo>
                <a:cubicBezTo>
                  <a:pt x="6218" y="13969"/>
                  <a:pt x="6250" y="13938"/>
                  <a:pt x="6250" y="13938"/>
                </a:cubicBezTo>
                <a:cubicBezTo>
                  <a:pt x="6250" y="13938"/>
                  <a:pt x="6218" y="13969"/>
                  <a:pt x="6187" y="13969"/>
                </a:cubicBezTo>
                <a:cubicBezTo>
                  <a:pt x="6093" y="14031"/>
                  <a:pt x="6031" y="14094"/>
                  <a:pt x="5937" y="14156"/>
                </a:cubicBezTo>
                <a:cubicBezTo>
                  <a:pt x="6031" y="14094"/>
                  <a:pt x="6093" y="14031"/>
                  <a:pt x="6187" y="13969"/>
                </a:cubicBezTo>
                <a:close/>
                <a:moveTo>
                  <a:pt x="6218" y="13094"/>
                </a:moveTo>
                <a:cubicBezTo>
                  <a:pt x="6218" y="13094"/>
                  <a:pt x="6218" y="13094"/>
                  <a:pt x="6218" y="13094"/>
                </a:cubicBezTo>
                <a:cubicBezTo>
                  <a:pt x="6218" y="13094"/>
                  <a:pt x="6218" y="13094"/>
                  <a:pt x="6218" y="13094"/>
                </a:cubicBezTo>
                <a:cubicBezTo>
                  <a:pt x="6218" y="13094"/>
                  <a:pt x="6218" y="13094"/>
                  <a:pt x="6218" y="13094"/>
                </a:cubicBezTo>
                <a:close/>
                <a:moveTo>
                  <a:pt x="10218" y="9406"/>
                </a:moveTo>
                <a:cubicBezTo>
                  <a:pt x="10218" y="9406"/>
                  <a:pt x="10218" y="9406"/>
                  <a:pt x="10218" y="9406"/>
                </a:cubicBezTo>
                <a:cubicBezTo>
                  <a:pt x="10218" y="9375"/>
                  <a:pt x="10187" y="9375"/>
                  <a:pt x="10187" y="9375"/>
                </a:cubicBezTo>
                <a:cubicBezTo>
                  <a:pt x="10187" y="9375"/>
                  <a:pt x="10218" y="9375"/>
                  <a:pt x="10218" y="9406"/>
                </a:cubicBezTo>
                <a:close/>
                <a:moveTo>
                  <a:pt x="9250" y="9281"/>
                </a:moveTo>
                <a:cubicBezTo>
                  <a:pt x="9281" y="9281"/>
                  <a:pt x="9281" y="9281"/>
                  <a:pt x="9312" y="9281"/>
                </a:cubicBezTo>
                <a:cubicBezTo>
                  <a:pt x="9281" y="9281"/>
                  <a:pt x="9281" y="9281"/>
                  <a:pt x="9250" y="9281"/>
                </a:cubicBezTo>
                <a:cubicBezTo>
                  <a:pt x="9156" y="9281"/>
                  <a:pt x="9093" y="9281"/>
                  <a:pt x="9000" y="9281"/>
                </a:cubicBezTo>
                <a:cubicBezTo>
                  <a:pt x="9000" y="9281"/>
                  <a:pt x="9000" y="9281"/>
                  <a:pt x="9000" y="9281"/>
                </a:cubicBezTo>
                <a:cubicBezTo>
                  <a:pt x="9093" y="9281"/>
                  <a:pt x="9156" y="9281"/>
                  <a:pt x="9250" y="9281"/>
                </a:cubicBezTo>
                <a:close/>
                <a:moveTo>
                  <a:pt x="9312" y="9750"/>
                </a:moveTo>
                <a:cubicBezTo>
                  <a:pt x="9312" y="9750"/>
                  <a:pt x="9312" y="9750"/>
                  <a:pt x="9312" y="9750"/>
                </a:cubicBezTo>
                <a:cubicBezTo>
                  <a:pt x="9281" y="9750"/>
                  <a:pt x="9250" y="9750"/>
                  <a:pt x="9250" y="9750"/>
                </a:cubicBezTo>
                <a:cubicBezTo>
                  <a:pt x="9250" y="9750"/>
                  <a:pt x="9281" y="9750"/>
                  <a:pt x="9312" y="9750"/>
                </a:cubicBezTo>
                <a:close/>
                <a:moveTo>
                  <a:pt x="8843" y="9344"/>
                </a:moveTo>
                <a:cubicBezTo>
                  <a:pt x="8937" y="9344"/>
                  <a:pt x="9031" y="9344"/>
                  <a:pt x="9156" y="9344"/>
                </a:cubicBezTo>
                <a:cubicBezTo>
                  <a:pt x="9156" y="9344"/>
                  <a:pt x="9156" y="9344"/>
                  <a:pt x="9156" y="9344"/>
                </a:cubicBezTo>
                <a:cubicBezTo>
                  <a:pt x="9031" y="9344"/>
                  <a:pt x="8937" y="9344"/>
                  <a:pt x="8843" y="9344"/>
                </a:cubicBezTo>
                <a:close/>
                <a:moveTo>
                  <a:pt x="8968" y="9844"/>
                </a:moveTo>
                <a:cubicBezTo>
                  <a:pt x="8937" y="9844"/>
                  <a:pt x="8937" y="9844"/>
                  <a:pt x="8937" y="9844"/>
                </a:cubicBezTo>
                <a:cubicBezTo>
                  <a:pt x="8937" y="9844"/>
                  <a:pt x="8937" y="9844"/>
                  <a:pt x="8968" y="9844"/>
                </a:cubicBezTo>
                <a:cubicBezTo>
                  <a:pt x="8968" y="9844"/>
                  <a:pt x="8968" y="9844"/>
                  <a:pt x="8968" y="9844"/>
                </a:cubicBezTo>
                <a:close/>
                <a:moveTo>
                  <a:pt x="7093" y="10969"/>
                </a:moveTo>
                <a:cubicBezTo>
                  <a:pt x="7093" y="10969"/>
                  <a:pt x="7093" y="10969"/>
                  <a:pt x="7093" y="10969"/>
                </a:cubicBezTo>
                <a:cubicBezTo>
                  <a:pt x="7062" y="10969"/>
                  <a:pt x="7062" y="10969"/>
                  <a:pt x="7031" y="10969"/>
                </a:cubicBezTo>
                <a:cubicBezTo>
                  <a:pt x="7062" y="10969"/>
                  <a:pt x="7062" y="10969"/>
                  <a:pt x="7093" y="10969"/>
                </a:cubicBezTo>
                <a:close/>
                <a:moveTo>
                  <a:pt x="6843" y="9656"/>
                </a:moveTo>
                <a:cubicBezTo>
                  <a:pt x="6843" y="9656"/>
                  <a:pt x="6875" y="9656"/>
                  <a:pt x="6875" y="9656"/>
                </a:cubicBezTo>
                <a:cubicBezTo>
                  <a:pt x="6875" y="9656"/>
                  <a:pt x="6875" y="9656"/>
                  <a:pt x="6875" y="9656"/>
                </a:cubicBezTo>
                <a:cubicBezTo>
                  <a:pt x="6875" y="9656"/>
                  <a:pt x="6843" y="9656"/>
                  <a:pt x="6843" y="9656"/>
                </a:cubicBezTo>
                <a:cubicBezTo>
                  <a:pt x="6843" y="9656"/>
                  <a:pt x="6812" y="9656"/>
                  <a:pt x="6812" y="9656"/>
                </a:cubicBezTo>
                <a:cubicBezTo>
                  <a:pt x="6812" y="9656"/>
                  <a:pt x="6843" y="9656"/>
                  <a:pt x="6843" y="9656"/>
                </a:cubicBezTo>
                <a:close/>
                <a:moveTo>
                  <a:pt x="7187" y="10625"/>
                </a:moveTo>
                <a:cubicBezTo>
                  <a:pt x="7187" y="10625"/>
                  <a:pt x="7156" y="10625"/>
                  <a:pt x="7125" y="10656"/>
                </a:cubicBezTo>
                <a:cubicBezTo>
                  <a:pt x="7156" y="10625"/>
                  <a:pt x="7187" y="10625"/>
                  <a:pt x="7187" y="10625"/>
                </a:cubicBezTo>
                <a:close/>
                <a:moveTo>
                  <a:pt x="7843" y="10906"/>
                </a:moveTo>
                <a:cubicBezTo>
                  <a:pt x="7843" y="10906"/>
                  <a:pt x="7843" y="10906"/>
                  <a:pt x="7843" y="10906"/>
                </a:cubicBezTo>
                <a:cubicBezTo>
                  <a:pt x="7593" y="10938"/>
                  <a:pt x="7375" y="11000"/>
                  <a:pt x="7125" y="11094"/>
                </a:cubicBezTo>
                <a:cubicBezTo>
                  <a:pt x="7375" y="11000"/>
                  <a:pt x="7593" y="10938"/>
                  <a:pt x="7843" y="10906"/>
                </a:cubicBezTo>
                <a:close/>
                <a:moveTo>
                  <a:pt x="7687" y="10375"/>
                </a:moveTo>
                <a:cubicBezTo>
                  <a:pt x="7593" y="10438"/>
                  <a:pt x="7468" y="10438"/>
                  <a:pt x="7375" y="10469"/>
                </a:cubicBezTo>
                <a:cubicBezTo>
                  <a:pt x="7468" y="10438"/>
                  <a:pt x="7593" y="10438"/>
                  <a:pt x="7687" y="10375"/>
                </a:cubicBezTo>
                <a:cubicBezTo>
                  <a:pt x="7781" y="10375"/>
                  <a:pt x="7906" y="10344"/>
                  <a:pt x="8000" y="10344"/>
                </a:cubicBezTo>
                <a:cubicBezTo>
                  <a:pt x="7906" y="10344"/>
                  <a:pt x="7781" y="10375"/>
                  <a:pt x="7687" y="10375"/>
                </a:cubicBezTo>
                <a:close/>
                <a:moveTo>
                  <a:pt x="7687" y="10344"/>
                </a:moveTo>
                <a:cubicBezTo>
                  <a:pt x="7718" y="10344"/>
                  <a:pt x="7718" y="10344"/>
                  <a:pt x="7750" y="10344"/>
                </a:cubicBezTo>
                <a:cubicBezTo>
                  <a:pt x="7750" y="10344"/>
                  <a:pt x="7750" y="10344"/>
                  <a:pt x="7750" y="10344"/>
                </a:cubicBezTo>
                <a:cubicBezTo>
                  <a:pt x="7718" y="10344"/>
                  <a:pt x="7718" y="10344"/>
                  <a:pt x="7687" y="10344"/>
                </a:cubicBezTo>
                <a:close/>
                <a:moveTo>
                  <a:pt x="8125" y="10844"/>
                </a:moveTo>
                <a:cubicBezTo>
                  <a:pt x="8125" y="10844"/>
                  <a:pt x="8125" y="10844"/>
                  <a:pt x="8125" y="10844"/>
                </a:cubicBezTo>
                <a:cubicBezTo>
                  <a:pt x="8031" y="10875"/>
                  <a:pt x="7968" y="10875"/>
                  <a:pt x="7875" y="10906"/>
                </a:cubicBezTo>
                <a:cubicBezTo>
                  <a:pt x="7968" y="10875"/>
                  <a:pt x="8031" y="10875"/>
                  <a:pt x="8125" y="10844"/>
                </a:cubicBezTo>
                <a:close/>
                <a:moveTo>
                  <a:pt x="7968" y="10781"/>
                </a:moveTo>
                <a:cubicBezTo>
                  <a:pt x="7968" y="10781"/>
                  <a:pt x="7968" y="10781"/>
                  <a:pt x="7968" y="10781"/>
                </a:cubicBezTo>
                <a:cubicBezTo>
                  <a:pt x="8000" y="10781"/>
                  <a:pt x="8031" y="10781"/>
                  <a:pt x="8093" y="10750"/>
                </a:cubicBezTo>
                <a:cubicBezTo>
                  <a:pt x="8031" y="10781"/>
                  <a:pt x="8000" y="10781"/>
                  <a:pt x="7968" y="10781"/>
                </a:cubicBezTo>
                <a:close/>
                <a:moveTo>
                  <a:pt x="7937" y="10438"/>
                </a:moveTo>
                <a:cubicBezTo>
                  <a:pt x="7906" y="10438"/>
                  <a:pt x="7906" y="10438"/>
                  <a:pt x="7875" y="10438"/>
                </a:cubicBezTo>
                <a:cubicBezTo>
                  <a:pt x="7906" y="10438"/>
                  <a:pt x="7906" y="10438"/>
                  <a:pt x="7937" y="10438"/>
                </a:cubicBezTo>
                <a:cubicBezTo>
                  <a:pt x="8000" y="10438"/>
                  <a:pt x="8062" y="10438"/>
                  <a:pt x="8125" y="10438"/>
                </a:cubicBezTo>
                <a:cubicBezTo>
                  <a:pt x="8062" y="10438"/>
                  <a:pt x="8000" y="10438"/>
                  <a:pt x="7937" y="10438"/>
                </a:cubicBezTo>
                <a:close/>
                <a:moveTo>
                  <a:pt x="6656" y="11625"/>
                </a:moveTo>
                <a:cubicBezTo>
                  <a:pt x="6656" y="11625"/>
                  <a:pt x="6656" y="11625"/>
                  <a:pt x="6687" y="11625"/>
                </a:cubicBezTo>
                <a:cubicBezTo>
                  <a:pt x="6687" y="11625"/>
                  <a:pt x="6687" y="11625"/>
                  <a:pt x="6687" y="11625"/>
                </a:cubicBezTo>
                <a:cubicBezTo>
                  <a:pt x="6656" y="11625"/>
                  <a:pt x="6656" y="11625"/>
                  <a:pt x="6656" y="11625"/>
                </a:cubicBezTo>
                <a:close/>
                <a:moveTo>
                  <a:pt x="6656" y="11250"/>
                </a:moveTo>
                <a:cubicBezTo>
                  <a:pt x="6656" y="11250"/>
                  <a:pt x="6625" y="11250"/>
                  <a:pt x="6625" y="11250"/>
                </a:cubicBezTo>
                <a:cubicBezTo>
                  <a:pt x="6625" y="11250"/>
                  <a:pt x="6625" y="11250"/>
                  <a:pt x="6625" y="11281"/>
                </a:cubicBezTo>
                <a:cubicBezTo>
                  <a:pt x="6625" y="11281"/>
                  <a:pt x="6625" y="11281"/>
                  <a:pt x="6656" y="11281"/>
                </a:cubicBezTo>
                <a:cubicBezTo>
                  <a:pt x="6625" y="11281"/>
                  <a:pt x="6625" y="11281"/>
                  <a:pt x="6625" y="11281"/>
                </a:cubicBezTo>
                <a:cubicBezTo>
                  <a:pt x="6625" y="11250"/>
                  <a:pt x="6625" y="11250"/>
                  <a:pt x="6625" y="11250"/>
                </a:cubicBezTo>
                <a:cubicBezTo>
                  <a:pt x="6625" y="11250"/>
                  <a:pt x="6656" y="11250"/>
                  <a:pt x="6656" y="11250"/>
                </a:cubicBezTo>
                <a:cubicBezTo>
                  <a:pt x="6750" y="11219"/>
                  <a:pt x="6843" y="11188"/>
                  <a:pt x="6937" y="11156"/>
                </a:cubicBezTo>
                <a:cubicBezTo>
                  <a:pt x="6843" y="11188"/>
                  <a:pt x="6750" y="11219"/>
                  <a:pt x="6656" y="11250"/>
                </a:cubicBezTo>
                <a:close/>
                <a:moveTo>
                  <a:pt x="7250" y="11125"/>
                </a:moveTo>
                <a:cubicBezTo>
                  <a:pt x="7218" y="11125"/>
                  <a:pt x="7218" y="11125"/>
                  <a:pt x="7187" y="11125"/>
                </a:cubicBezTo>
                <a:cubicBezTo>
                  <a:pt x="7218" y="11125"/>
                  <a:pt x="7218" y="11125"/>
                  <a:pt x="7250" y="11125"/>
                </a:cubicBezTo>
                <a:cubicBezTo>
                  <a:pt x="7250" y="11125"/>
                  <a:pt x="7281" y="11125"/>
                  <a:pt x="7281" y="11125"/>
                </a:cubicBezTo>
                <a:cubicBezTo>
                  <a:pt x="7281" y="11125"/>
                  <a:pt x="7250" y="11125"/>
                  <a:pt x="7250" y="11125"/>
                </a:cubicBezTo>
                <a:cubicBezTo>
                  <a:pt x="7156" y="11156"/>
                  <a:pt x="7062" y="11188"/>
                  <a:pt x="7000" y="11219"/>
                </a:cubicBezTo>
                <a:cubicBezTo>
                  <a:pt x="7062" y="11188"/>
                  <a:pt x="7156" y="11156"/>
                  <a:pt x="7250" y="11125"/>
                </a:cubicBezTo>
                <a:close/>
                <a:moveTo>
                  <a:pt x="7000" y="11438"/>
                </a:moveTo>
                <a:cubicBezTo>
                  <a:pt x="7000" y="11438"/>
                  <a:pt x="7000" y="11406"/>
                  <a:pt x="7000" y="11406"/>
                </a:cubicBezTo>
                <a:cubicBezTo>
                  <a:pt x="7000" y="11406"/>
                  <a:pt x="7000" y="11438"/>
                  <a:pt x="7000" y="11438"/>
                </a:cubicBezTo>
                <a:cubicBezTo>
                  <a:pt x="7000" y="11438"/>
                  <a:pt x="7000" y="11438"/>
                  <a:pt x="7031" y="11438"/>
                </a:cubicBezTo>
                <a:cubicBezTo>
                  <a:pt x="7000" y="11438"/>
                  <a:pt x="7000" y="11438"/>
                  <a:pt x="7000" y="11438"/>
                </a:cubicBezTo>
                <a:close/>
                <a:moveTo>
                  <a:pt x="7187" y="11344"/>
                </a:moveTo>
                <a:cubicBezTo>
                  <a:pt x="7218" y="11344"/>
                  <a:pt x="7218" y="11344"/>
                  <a:pt x="7250" y="11344"/>
                </a:cubicBezTo>
                <a:cubicBezTo>
                  <a:pt x="7250" y="11344"/>
                  <a:pt x="7250" y="11344"/>
                  <a:pt x="7250" y="11344"/>
                </a:cubicBezTo>
                <a:cubicBezTo>
                  <a:pt x="7218" y="11344"/>
                  <a:pt x="7218" y="11344"/>
                  <a:pt x="7187" y="11344"/>
                </a:cubicBezTo>
                <a:close/>
                <a:moveTo>
                  <a:pt x="7187" y="11313"/>
                </a:moveTo>
                <a:cubicBezTo>
                  <a:pt x="7187" y="11313"/>
                  <a:pt x="7218" y="11313"/>
                  <a:pt x="7218" y="11313"/>
                </a:cubicBezTo>
                <a:cubicBezTo>
                  <a:pt x="7218" y="11313"/>
                  <a:pt x="7218" y="11313"/>
                  <a:pt x="7218" y="11313"/>
                </a:cubicBezTo>
                <a:cubicBezTo>
                  <a:pt x="7218" y="11313"/>
                  <a:pt x="7187" y="11313"/>
                  <a:pt x="7187" y="11313"/>
                </a:cubicBezTo>
                <a:close/>
                <a:moveTo>
                  <a:pt x="7093" y="11250"/>
                </a:moveTo>
                <a:cubicBezTo>
                  <a:pt x="7093" y="11250"/>
                  <a:pt x="7093" y="11250"/>
                  <a:pt x="7093" y="11250"/>
                </a:cubicBezTo>
                <a:cubicBezTo>
                  <a:pt x="7187" y="11219"/>
                  <a:pt x="7250" y="11188"/>
                  <a:pt x="7343" y="11156"/>
                </a:cubicBezTo>
                <a:cubicBezTo>
                  <a:pt x="7250" y="11188"/>
                  <a:pt x="7187" y="11219"/>
                  <a:pt x="7093" y="11250"/>
                </a:cubicBezTo>
                <a:close/>
                <a:moveTo>
                  <a:pt x="7343" y="11094"/>
                </a:moveTo>
                <a:cubicBezTo>
                  <a:pt x="7343" y="11094"/>
                  <a:pt x="7343" y="11094"/>
                  <a:pt x="7343" y="11094"/>
                </a:cubicBezTo>
                <a:cubicBezTo>
                  <a:pt x="7343" y="11094"/>
                  <a:pt x="7343" y="11094"/>
                  <a:pt x="7343" y="11094"/>
                </a:cubicBezTo>
                <a:cubicBezTo>
                  <a:pt x="7406" y="11094"/>
                  <a:pt x="7500" y="11063"/>
                  <a:pt x="7562" y="11063"/>
                </a:cubicBezTo>
                <a:cubicBezTo>
                  <a:pt x="7500" y="11063"/>
                  <a:pt x="7406" y="11094"/>
                  <a:pt x="7343" y="11094"/>
                </a:cubicBezTo>
                <a:close/>
                <a:moveTo>
                  <a:pt x="7687" y="11125"/>
                </a:moveTo>
                <a:cubicBezTo>
                  <a:pt x="7687" y="11125"/>
                  <a:pt x="7687" y="11125"/>
                  <a:pt x="7687" y="11125"/>
                </a:cubicBezTo>
                <a:cubicBezTo>
                  <a:pt x="7843" y="11094"/>
                  <a:pt x="8000" y="11063"/>
                  <a:pt x="8187" y="11031"/>
                </a:cubicBezTo>
                <a:cubicBezTo>
                  <a:pt x="8000" y="11063"/>
                  <a:pt x="7843" y="11094"/>
                  <a:pt x="7687" y="11125"/>
                </a:cubicBezTo>
                <a:close/>
                <a:moveTo>
                  <a:pt x="8187" y="10750"/>
                </a:moveTo>
                <a:cubicBezTo>
                  <a:pt x="8156" y="10750"/>
                  <a:pt x="8156" y="10750"/>
                  <a:pt x="8125" y="10750"/>
                </a:cubicBezTo>
                <a:cubicBezTo>
                  <a:pt x="8156" y="10750"/>
                  <a:pt x="8156" y="10750"/>
                  <a:pt x="8187" y="10750"/>
                </a:cubicBezTo>
                <a:cubicBezTo>
                  <a:pt x="8187" y="10750"/>
                  <a:pt x="8187" y="10750"/>
                  <a:pt x="8187" y="10750"/>
                </a:cubicBezTo>
                <a:close/>
                <a:moveTo>
                  <a:pt x="8218" y="10219"/>
                </a:moveTo>
                <a:cubicBezTo>
                  <a:pt x="8218" y="10219"/>
                  <a:pt x="8187" y="10219"/>
                  <a:pt x="8187" y="10219"/>
                </a:cubicBezTo>
                <a:cubicBezTo>
                  <a:pt x="8187" y="10219"/>
                  <a:pt x="8218" y="10219"/>
                  <a:pt x="8218" y="10219"/>
                </a:cubicBezTo>
                <a:cubicBezTo>
                  <a:pt x="8218" y="10219"/>
                  <a:pt x="8218" y="10219"/>
                  <a:pt x="8218" y="10219"/>
                </a:cubicBezTo>
                <a:close/>
                <a:moveTo>
                  <a:pt x="8437" y="9750"/>
                </a:moveTo>
                <a:cubicBezTo>
                  <a:pt x="8468" y="9750"/>
                  <a:pt x="8468" y="9750"/>
                  <a:pt x="8500" y="9750"/>
                </a:cubicBezTo>
                <a:cubicBezTo>
                  <a:pt x="8468" y="9750"/>
                  <a:pt x="8468" y="9750"/>
                  <a:pt x="8437" y="9750"/>
                </a:cubicBezTo>
                <a:cubicBezTo>
                  <a:pt x="8375" y="9750"/>
                  <a:pt x="8312" y="9750"/>
                  <a:pt x="8250" y="9750"/>
                </a:cubicBezTo>
                <a:cubicBezTo>
                  <a:pt x="8312" y="9750"/>
                  <a:pt x="8375" y="9750"/>
                  <a:pt x="8437" y="9750"/>
                </a:cubicBezTo>
                <a:close/>
                <a:moveTo>
                  <a:pt x="8312" y="11063"/>
                </a:moveTo>
                <a:cubicBezTo>
                  <a:pt x="8312" y="11094"/>
                  <a:pt x="8281" y="11094"/>
                  <a:pt x="8281" y="11094"/>
                </a:cubicBezTo>
                <a:cubicBezTo>
                  <a:pt x="8281" y="11094"/>
                  <a:pt x="8312" y="11094"/>
                  <a:pt x="8312" y="11063"/>
                </a:cubicBezTo>
                <a:cubicBezTo>
                  <a:pt x="8312" y="11063"/>
                  <a:pt x="8312" y="11063"/>
                  <a:pt x="8312" y="11063"/>
                </a:cubicBezTo>
                <a:cubicBezTo>
                  <a:pt x="8312" y="11063"/>
                  <a:pt x="8312" y="11063"/>
                  <a:pt x="8312" y="11063"/>
                </a:cubicBezTo>
                <a:close/>
                <a:moveTo>
                  <a:pt x="8375" y="10813"/>
                </a:moveTo>
                <a:cubicBezTo>
                  <a:pt x="8343" y="10813"/>
                  <a:pt x="8312" y="10813"/>
                  <a:pt x="8281" y="10813"/>
                </a:cubicBezTo>
                <a:cubicBezTo>
                  <a:pt x="8312" y="10813"/>
                  <a:pt x="8343" y="10813"/>
                  <a:pt x="8375" y="10813"/>
                </a:cubicBezTo>
                <a:cubicBezTo>
                  <a:pt x="8375" y="10813"/>
                  <a:pt x="8375" y="10813"/>
                  <a:pt x="8375" y="10813"/>
                </a:cubicBezTo>
                <a:close/>
                <a:moveTo>
                  <a:pt x="8406" y="10781"/>
                </a:moveTo>
                <a:cubicBezTo>
                  <a:pt x="8406" y="10781"/>
                  <a:pt x="8437" y="10781"/>
                  <a:pt x="8468" y="10781"/>
                </a:cubicBezTo>
                <a:cubicBezTo>
                  <a:pt x="8437" y="10781"/>
                  <a:pt x="8406" y="10781"/>
                  <a:pt x="8406" y="10781"/>
                </a:cubicBezTo>
                <a:close/>
                <a:moveTo>
                  <a:pt x="8468" y="10125"/>
                </a:moveTo>
                <a:cubicBezTo>
                  <a:pt x="8468" y="10125"/>
                  <a:pt x="8468" y="10125"/>
                  <a:pt x="8468" y="10125"/>
                </a:cubicBezTo>
                <a:cubicBezTo>
                  <a:pt x="8781" y="10125"/>
                  <a:pt x="9093" y="10125"/>
                  <a:pt x="9406" y="10156"/>
                </a:cubicBezTo>
                <a:cubicBezTo>
                  <a:pt x="9093" y="10125"/>
                  <a:pt x="8781" y="10125"/>
                  <a:pt x="8468" y="10125"/>
                </a:cubicBezTo>
                <a:close/>
                <a:moveTo>
                  <a:pt x="9156" y="10531"/>
                </a:moveTo>
                <a:cubicBezTo>
                  <a:pt x="9187" y="10531"/>
                  <a:pt x="9250" y="10531"/>
                  <a:pt x="9281" y="10563"/>
                </a:cubicBezTo>
                <a:cubicBezTo>
                  <a:pt x="9250" y="10531"/>
                  <a:pt x="9187" y="10531"/>
                  <a:pt x="9156" y="10531"/>
                </a:cubicBezTo>
                <a:close/>
                <a:moveTo>
                  <a:pt x="9468" y="10563"/>
                </a:moveTo>
                <a:cubicBezTo>
                  <a:pt x="9406" y="10563"/>
                  <a:pt x="9375" y="10563"/>
                  <a:pt x="9343" y="10563"/>
                </a:cubicBezTo>
                <a:cubicBezTo>
                  <a:pt x="9375" y="10563"/>
                  <a:pt x="9406" y="10563"/>
                  <a:pt x="9468" y="10563"/>
                </a:cubicBezTo>
                <a:cubicBezTo>
                  <a:pt x="9468" y="10563"/>
                  <a:pt x="9468" y="10563"/>
                  <a:pt x="9468" y="10563"/>
                </a:cubicBezTo>
                <a:close/>
                <a:moveTo>
                  <a:pt x="9468" y="10406"/>
                </a:moveTo>
                <a:cubicBezTo>
                  <a:pt x="9437" y="10406"/>
                  <a:pt x="9406" y="10406"/>
                  <a:pt x="9375" y="10375"/>
                </a:cubicBezTo>
                <a:cubicBezTo>
                  <a:pt x="9406" y="10406"/>
                  <a:pt x="9437" y="10406"/>
                  <a:pt x="9468" y="10406"/>
                </a:cubicBezTo>
                <a:cubicBezTo>
                  <a:pt x="9468" y="10406"/>
                  <a:pt x="9468" y="10406"/>
                  <a:pt x="9468" y="10406"/>
                </a:cubicBezTo>
                <a:close/>
                <a:moveTo>
                  <a:pt x="9718" y="10219"/>
                </a:moveTo>
                <a:cubicBezTo>
                  <a:pt x="9687" y="10219"/>
                  <a:pt x="9656" y="10219"/>
                  <a:pt x="9625" y="10219"/>
                </a:cubicBezTo>
                <a:cubicBezTo>
                  <a:pt x="9656" y="10219"/>
                  <a:pt x="9687" y="10219"/>
                  <a:pt x="9718" y="10219"/>
                </a:cubicBezTo>
                <a:cubicBezTo>
                  <a:pt x="9718" y="10219"/>
                  <a:pt x="9718" y="10219"/>
                  <a:pt x="9718" y="10219"/>
                </a:cubicBezTo>
                <a:close/>
                <a:moveTo>
                  <a:pt x="9812" y="10250"/>
                </a:moveTo>
                <a:cubicBezTo>
                  <a:pt x="9781" y="10250"/>
                  <a:pt x="9781" y="10250"/>
                  <a:pt x="9781" y="10281"/>
                </a:cubicBezTo>
                <a:cubicBezTo>
                  <a:pt x="9781" y="10281"/>
                  <a:pt x="9781" y="10281"/>
                  <a:pt x="9781" y="10281"/>
                </a:cubicBezTo>
                <a:cubicBezTo>
                  <a:pt x="9781" y="10250"/>
                  <a:pt x="9781" y="10250"/>
                  <a:pt x="9812" y="10250"/>
                </a:cubicBezTo>
                <a:cubicBezTo>
                  <a:pt x="9781" y="10250"/>
                  <a:pt x="9781" y="10250"/>
                  <a:pt x="9750" y="10250"/>
                </a:cubicBezTo>
                <a:cubicBezTo>
                  <a:pt x="9781" y="10250"/>
                  <a:pt x="9781" y="10250"/>
                  <a:pt x="9812" y="10250"/>
                </a:cubicBezTo>
                <a:cubicBezTo>
                  <a:pt x="9812" y="10250"/>
                  <a:pt x="9843" y="10250"/>
                  <a:pt x="9875" y="10250"/>
                </a:cubicBezTo>
                <a:cubicBezTo>
                  <a:pt x="9843" y="10250"/>
                  <a:pt x="9812" y="10250"/>
                  <a:pt x="9812" y="10250"/>
                </a:cubicBezTo>
                <a:close/>
                <a:moveTo>
                  <a:pt x="10062" y="10281"/>
                </a:moveTo>
                <a:cubicBezTo>
                  <a:pt x="10062" y="10281"/>
                  <a:pt x="10062" y="10281"/>
                  <a:pt x="10031" y="10281"/>
                </a:cubicBezTo>
                <a:cubicBezTo>
                  <a:pt x="10062" y="10281"/>
                  <a:pt x="10062" y="10281"/>
                  <a:pt x="10062" y="10281"/>
                </a:cubicBezTo>
                <a:cubicBezTo>
                  <a:pt x="10093" y="10281"/>
                  <a:pt x="10093" y="10281"/>
                  <a:pt x="10093" y="10281"/>
                </a:cubicBezTo>
                <a:cubicBezTo>
                  <a:pt x="10093" y="10281"/>
                  <a:pt x="10093" y="10281"/>
                  <a:pt x="10062" y="10281"/>
                </a:cubicBezTo>
                <a:close/>
                <a:moveTo>
                  <a:pt x="10156" y="10313"/>
                </a:moveTo>
                <a:cubicBezTo>
                  <a:pt x="10156" y="10313"/>
                  <a:pt x="10156" y="10313"/>
                  <a:pt x="10156" y="10313"/>
                </a:cubicBezTo>
                <a:cubicBezTo>
                  <a:pt x="10156" y="10313"/>
                  <a:pt x="10156" y="10313"/>
                  <a:pt x="10156" y="10313"/>
                </a:cubicBezTo>
                <a:cubicBezTo>
                  <a:pt x="10125" y="10313"/>
                  <a:pt x="10125" y="10313"/>
                  <a:pt x="10093" y="10281"/>
                </a:cubicBezTo>
                <a:cubicBezTo>
                  <a:pt x="10125" y="10313"/>
                  <a:pt x="10125" y="10313"/>
                  <a:pt x="10156" y="10313"/>
                </a:cubicBezTo>
                <a:cubicBezTo>
                  <a:pt x="10187" y="10313"/>
                  <a:pt x="10187" y="10281"/>
                  <a:pt x="10218" y="10313"/>
                </a:cubicBezTo>
                <a:cubicBezTo>
                  <a:pt x="10187" y="10281"/>
                  <a:pt x="10187" y="10313"/>
                  <a:pt x="10156" y="10313"/>
                </a:cubicBezTo>
                <a:cubicBezTo>
                  <a:pt x="10156" y="10313"/>
                  <a:pt x="10156" y="10313"/>
                  <a:pt x="10156" y="10313"/>
                </a:cubicBezTo>
                <a:close/>
                <a:moveTo>
                  <a:pt x="10187" y="11125"/>
                </a:moveTo>
                <a:cubicBezTo>
                  <a:pt x="10187" y="11125"/>
                  <a:pt x="10187" y="11125"/>
                  <a:pt x="10187" y="11125"/>
                </a:cubicBezTo>
                <a:cubicBezTo>
                  <a:pt x="10187" y="11125"/>
                  <a:pt x="10218" y="11125"/>
                  <a:pt x="10218" y="11125"/>
                </a:cubicBezTo>
                <a:cubicBezTo>
                  <a:pt x="10218" y="11125"/>
                  <a:pt x="10187" y="11125"/>
                  <a:pt x="10187" y="11125"/>
                </a:cubicBezTo>
                <a:close/>
                <a:moveTo>
                  <a:pt x="10312" y="10313"/>
                </a:moveTo>
                <a:cubicBezTo>
                  <a:pt x="10281" y="10313"/>
                  <a:pt x="10250" y="10313"/>
                  <a:pt x="10218" y="10313"/>
                </a:cubicBezTo>
                <a:cubicBezTo>
                  <a:pt x="10250" y="10313"/>
                  <a:pt x="10281" y="10313"/>
                  <a:pt x="10312" y="10313"/>
                </a:cubicBezTo>
                <a:cubicBezTo>
                  <a:pt x="10312" y="10313"/>
                  <a:pt x="10312" y="10344"/>
                  <a:pt x="10312" y="10344"/>
                </a:cubicBezTo>
                <a:cubicBezTo>
                  <a:pt x="10312" y="10344"/>
                  <a:pt x="10312" y="10313"/>
                  <a:pt x="10312" y="10313"/>
                </a:cubicBezTo>
                <a:close/>
                <a:moveTo>
                  <a:pt x="11062" y="9625"/>
                </a:moveTo>
                <a:cubicBezTo>
                  <a:pt x="11093" y="9625"/>
                  <a:pt x="11125" y="9625"/>
                  <a:pt x="11187" y="9625"/>
                </a:cubicBezTo>
                <a:cubicBezTo>
                  <a:pt x="11125" y="9625"/>
                  <a:pt x="11093" y="9625"/>
                  <a:pt x="11062" y="9625"/>
                </a:cubicBezTo>
                <a:cubicBezTo>
                  <a:pt x="10937" y="9563"/>
                  <a:pt x="10843" y="9531"/>
                  <a:pt x="10750" y="9531"/>
                </a:cubicBezTo>
                <a:cubicBezTo>
                  <a:pt x="10843" y="9531"/>
                  <a:pt x="10937" y="9563"/>
                  <a:pt x="11062" y="9625"/>
                </a:cubicBezTo>
                <a:close/>
                <a:moveTo>
                  <a:pt x="10937" y="10469"/>
                </a:moveTo>
                <a:cubicBezTo>
                  <a:pt x="10968" y="10469"/>
                  <a:pt x="10968" y="10469"/>
                  <a:pt x="10968" y="10469"/>
                </a:cubicBezTo>
                <a:cubicBezTo>
                  <a:pt x="10968" y="10500"/>
                  <a:pt x="10968" y="10500"/>
                  <a:pt x="11000" y="10500"/>
                </a:cubicBezTo>
                <a:cubicBezTo>
                  <a:pt x="11000" y="10500"/>
                  <a:pt x="11000" y="10500"/>
                  <a:pt x="11000" y="10500"/>
                </a:cubicBezTo>
                <a:cubicBezTo>
                  <a:pt x="10968" y="10500"/>
                  <a:pt x="10968" y="10500"/>
                  <a:pt x="10968" y="10469"/>
                </a:cubicBezTo>
                <a:cubicBezTo>
                  <a:pt x="10937" y="10500"/>
                  <a:pt x="10937" y="10469"/>
                  <a:pt x="10906" y="10469"/>
                </a:cubicBezTo>
                <a:cubicBezTo>
                  <a:pt x="10937" y="10469"/>
                  <a:pt x="10937" y="10500"/>
                  <a:pt x="10968" y="10469"/>
                </a:cubicBezTo>
                <a:cubicBezTo>
                  <a:pt x="10968" y="10469"/>
                  <a:pt x="10968" y="10469"/>
                  <a:pt x="10937" y="10469"/>
                </a:cubicBezTo>
                <a:close/>
                <a:moveTo>
                  <a:pt x="10968" y="10438"/>
                </a:moveTo>
                <a:cubicBezTo>
                  <a:pt x="11000" y="10438"/>
                  <a:pt x="11000" y="10438"/>
                  <a:pt x="11031" y="10469"/>
                </a:cubicBezTo>
                <a:cubicBezTo>
                  <a:pt x="11031" y="10469"/>
                  <a:pt x="11031" y="10469"/>
                  <a:pt x="11031" y="10469"/>
                </a:cubicBezTo>
                <a:cubicBezTo>
                  <a:pt x="11000" y="10438"/>
                  <a:pt x="11000" y="10438"/>
                  <a:pt x="10968" y="10438"/>
                </a:cubicBezTo>
                <a:close/>
                <a:moveTo>
                  <a:pt x="11031" y="9656"/>
                </a:moveTo>
                <a:cubicBezTo>
                  <a:pt x="11031" y="9656"/>
                  <a:pt x="11062" y="9688"/>
                  <a:pt x="11093" y="9656"/>
                </a:cubicBezTo>
                <a:cubicBezTo>
                  <a:pt x="11093" y="9656"/>
                  <a:pt x="11093" y="9656"/>
                  <a:pt x="11093" y="9656"/>
                </a:cubicBezTo>
                <a:cubicBezTo>
                  <a:pt x="11093" y="9656"/>
                  <a:pt x="11093" y="9656"/>
                  <a:pt x="11093" y="9656"/>
                </a:cubicBezTo>
                <a:cubicBezTo>
                  <a:pt x="11093" y="9656"/>
                  <a:pt x="11093" y="9656"/>
                  <a:pt x="11093" y="9656"/>
                </a:cubicBezTo>
                <a:cubicBezTo>
                  <a:pt x="11062" y="9688"/>
                  <a:pt x="11031" y="9656"/>
                  <a:pt x="11031" y="9656"/>
                </a:cubicBezTo>
                <a:close/>
                <a:moveTo>
                  <a:pt x="11000" y="9625"/>
                </a:moveTo>
                <a:cubicBezTo>
                  <a:pt x="11000" y="9625"/>
                  <a:pt x="11031" y="9625"/>
                  <a:pt x="11031" y="9625"/>
                </a:cubicBezTo>
                <a:cubicBezTo>
                  <a:pt x="11031" y="9625"/>
                  <a:pt x="11000" y="9625"/>
                  <a:pt x="11000" y="9625"/>
                </a:cubicBezTo>
                <a:cubicBezTo>
                  <a:pt x="10875" y="9594"/>
                  <a:pt x="10750" y="9563"/>
                  <a:pt x="10625" y="9531"/>
                </a:cubicBezTo>
                <a:cubicBezTo>
                  <a:pt x="10750" y="9563"/>
                  <a:pt x="10875" y="9594"/>
                  <a:pt x="11000" y="9625"/>
                </a:cubicBezTo>
                <a:close/>
                <a:moveTo>
                  <a:pt x="10875" y="10438"/>
                </a:moveTo>
                <a:cubicBezTo>
                  <a:pt x="10875" y="10438"/>
                  <a:pt x="10875" y="10438"/>
                  <a:pt x="10875" y="10438"/>
                </a:cubicBezTo>
                <a:cubicBezTo>
                  <a:pt x="10875" y="10438"/>
                  <a:pt x="10875" y="10438"/>
                  <a:pt x="10875" y="10438"/>
                </a:cubicBezTo>
                <a:close/>
                <a:moveTo>
                  <a:pt x="10781" y="10438"/>
                </a:moveTo>
                <a:cubicBezTo>
                  <a:pt x="10781" y="10438"/>
                  <a:pt x="10781" y="10438"/>
                  <a:pt x="10781" y="10438"/>
                </a:cubicBezTo>
                <a:cubicBezTo>
                  <a:pt x="10781" y="10438"/>
                  <a:pt x="10750" y="10438"/>
                  <a:pt x="10750" y="10438"/>
                </a:cubicBezTo>
                <a:cubicBezTo>
                  <a:pt x="10750" y="10438"/>
                  <a:pt x="10781" y="10438"/>
                  <a:pt x="10781" y="10438"/>
                </a:cubicBezTo>
                <a:close/>
                <a:moveTo>
                  <a:pt x="10625" y="10406"/>
                </a:moveTo>
                <a:cubicBezTo>
                  <a:pt x="10625" y="10406"/>
                  <a:pt x="10625" y="10406"/>
                  <a:pt x="10625" y="10406"/>
                </a:cubicBezTo>
                <a:cubicBezTo>
                  <a:pt x="10625" y="10406"/>
                  <a:pt x="10593" y="10375"/>
                  <a:pt x="10593" y="10375"/>
                </a:cubicBezTo>
                <a:cubicBezTo>
                  <a:pt x="10593" y="10375"/>
                  <a:pt x="10625" y="10406"/>
                  <a:pt x="10625" y="10406"/>
                </a:cubicBezTo>
                <a:close/>
                <a:moveTo>
                  <a:pt x="10437" y="10344"/>
                </a:moveTo>
                <a:cubicBezTo>
                  <a:pt x="10437" y="10344"/>
                  <a:pt x="10437" y="10344"/>
                  <a:pt x="10437" y="10344"/>
                </a:cubicBezTo>
                <a:cubicBezTo>
                  <a:pt x="10437" y="10344"/>
                  <a:pt x="10437" y="10344"/>
                  <a:pt x="10437" y="10344"/>
                </a:cubicBezTo>
                <a:cubicBezTo>
                  <a:pt x="10437" y="10344"/>
                  <a:pt x="10437" y="10344"/>
                  <a:pt x="10437" y="10344"/>
                </a:cubicBezTo>
                <a:close/>
                <a:moveTo>
                  <a:pt x="10500" y="11219"/>
                </a:moveTo>
                <a:cubicBezTo>
                  <a:pt x="10468" y="11188"/>
                  <a:pt x="10406" y="11188"/>
                  <a:pt x="10343" y="11188"/>
                </a:cubicBezTo>
                <a:cubicBezTo>
                  <a:pt x="10406" y="11188"/>
                  <a:pt x="10468" y="11188"/>
                  <a:pt x="10500" y="11219"/>
                </a:cubicBezTo>
                <a:cubicBezTo>
                  <a:pt x="10500" y="11219"/>
                  <a:pt x="10500" y="11219"/>
                  <a:pt x="10500" y="11219"/>
                </a:cubicBezTo>
                <a:cubicBezTo>
                  <a:pt x="10500" y="11219"/>
                  <a:pt x="10500" y="11219"/>
                  <a:pt x="10500" y="11219"/>
                </a:cubicBezTo>
                <a:close/>
                <a:moveTo>
                  <a:pt x="11093" y="10563"/>
                </a:moveTo>
                <a:cubicBezTo>
                  <a:pt x="10906" y="10531"/>
                  <a:pt x="10687" y="10469"/>
                  <a:pt x="10500" y="10406"/>
                </a:cubicBezTo>
                <a:cubicBezTo>
                  <a:pt x="10687" y="10469"/>
                  <a:pt x="10906" y="10531"/>
                  <a:pt x="11093" y="10563"/>
                </a:cubicBezTo>
                <a:cubicBezTo>
                  <a:pt x="11093" y="10563"/>
                  <a:pt x="11093" y="10563"/>
                  <a:pt x="11093" y="10563"/>
                </a:cubicBezTo>
                <a:close/>
                <a:moveTo>
                  <a:pt x="11187" y="10563"/>
                </a:moveTo>
                <a:cubicBezTo>
                  <a:pt x="11156" y="10594"/>
                  <a:pt x="11156" y="10594"/>
                  <a:pt x="11125" y="10594"/>
                </a:cubicBezTo>
                <a:cubicBezTo>
                  <a:pt x="11156" y="10594"/>
                  <a:pt x="11156" y="10594"/>
                  <a:pt x="11187" y="10563"/>
                </a:cubicBezTo>
                <a:cubicBezTo>
                  <a:pt x="11187" y="10563"/>
                  <a:pt x="11187" y="10563"/>
                  <a:pt x="11187" y="10563"/>
                </a:cubicBezTo>
                <a:close/>
                <a:moveTo>
                  <a:pt x="11187" y="10563"/>
                </a:moveTo>
                <a:cubicBezTo>
                  <a:pt x="11187" y="10563"/>
                  <a:pt x="11187" y="10563"/>
                  <a:pt x="11187" y="10563"/>
                </a:cubicBezTo>
                <a:cubicBezTo>
                  <a:pt x="11187" y="10594"/>
                  <a:pt x="11218" y="10594"/>
                  <a:pt x="11218" y="10594"/>
                </a:cubicBezTo>
                <a:cubicBezTo>
                  <a:pt x="11218" y="10594"/>
                  <a:pt x="11187" y="10594"/>
                  <a:pt x="11187" y="10563"/>
                </a:cubicBezTo>
                <a:close/>
                <a:moveTo>
                  <a:pt x="13312" y="13125"/>
                </a:moveTo>
                <a:cubicBezTo>
                  <a:pt x="13312" y="13125"/>
                  <a:pt x="13312" y="13125"/>
                  <a:pt x="13312" y="13125"/>
                </a:cubicBezTo>
                <a:cubicBezTo>
                  <a:pt x="13312" y="13125"/>
                  <a:pt x="13312" y="13125"/>
                  <a:pt x="13312" y="13125"/>
                </a:cubicBezTo>
                <a:cubicBezTo>
                  <a:pt x="13312" y="13125"/>
                  <a:pt x="13312" y="13125"/>
                  <a:pt x="13312" y="13125"/>
                </a:cubicBezTo>
                <a:close/>
                <a:moveTo>
                  <a:pt x="13531" y="13250"/>
                </a:moveTo>
                <a:cubicBezTo>
                  <a:pt x="13531" y="13250"/>
                  <a:pt x="13531" y="13250"/>
                  <a:pt x="13531" y="13250"/>
                </a:cubicBezTo>
                <a:cubicBezTo>
                  <a:pt x="13531" y="13250"/>
                  <a:pt x="13531" y="13250"/>
                  <a:pt x="13531" y="13250"/>
                </a:cubicBezTo>
                <a:cubicBezTo>
                  <a:pt x="13531" y="13250"/>
                  <a:pt x="13531" y="13250"/>
                  <a:pt x="13531" y="13250"/>
                </a:cubicBezTo>
                <a:close/>
                <a:moveTo>
                  <a:pt x="11875" y="9813"/>
                </a:moveTo>
                <a:cubicBezTo>
                  <a:pt x="11906" y="9813"/>
                  <a:pt x="11937" y="9813"/>
                  <a:pt x="11968" y="9813"/>
                </a:cubicBezTo>
                <a:cubicBezTo>
                  <a:pt x="11937" y="9813"/>
                  <a:pt x="11906" y="9813"/>
                  <a:pt x="11875" y="9813"/>
                </a:cubicBezTo>
                <a:cubicBezTo>
                  <a:pt x="11875" y="9844"/>
                  <a:pt x="11843" y="9844"/>
                  <a:pt x="11812" y="9844"/>
                </a:cubicBezTo>
                <a:cubicBezTo>
                  <a:pt x="11843" y="9844"/>
                  <a:pt x="11875" y="9844"/>
                  <a:pt x="11875" y="9813"/>
                </a:cubicBezTo>
                <a:close/>
                <a:moveTo>
                  <a:pt x="12156" y="9969"/>
                </a:moveTo>
                <a:cubicBezTo>
                  <a:pt x="12312" y="10031"/>
                  <a:pt x="12468" y="10063"/>
                  <a:pt x="12625" y="10125"/>
                </a:cubicBezTo>
                <a:cubicBezTo>
                  <a:pt x="12468" y="10063"/>
                  <a:pt x="12312" y="10031"/>
                  <a:pt x="12156" y="9969"/>
                </a:cubicBezTo>
                <a:cubicBezTo>
                  <a:pt x="11937" y="9906"/>
                  <a:pt x="11750" y="9844"/>
                  <a:pt x="11531" y="9781"/>
                </a:cubicBezTo>
                <a:cubicBezTo>
                  <a:pt x="11750" y="9844"/>
                  <a:pt x="11937" y="9906"/>
                  <a:pt x="12156" y="9969"/>
                </a:cubicBezTo>
                <a:close/>
                <a:moveTo>
                  <a:pt x="11468" y="10750"/>
                </a:moveTo>
                <a:cubicBezTo>
                  <a:pt x="11468" y="10750"/>
                  <a:pt x="11468" y="10750"/>
                  <a:pt x="11437" y="10750"/>
                </a:cubicBezTo>
                <a:cubicBezTo>
                  <a:pt x="11468" y="10750"/>
                  <a:pt x="11468" y="10750"/>
                  <a:pt x="11468" y="10750"/>
                </a:cubicBezTo>
                <a:cubicBezTo>
                  <a:pt x="11500" y="10750"/>
                  <a:pt x="11531" y="10750"/>
                  <a:pt x="11562" y="10750"/>
                </a:cubicBezTo>
                <a:cubicBezTo>
                  <a:pt x="11531" y="10750"/>
                  <a:pt x="11500" y="10750"/>
                  <a:pt x="11468" y="10750"/>
                </a:cubicBezTo>
                <a:close/>
                <a:moveTo>
                  <a:pt x="11625" y="10813"/>
                </a:moveTo>
                <a:cubicBezTo>
                  <a:pt x="11625" y="10813"/>
                  <a:pt x="11625" y="10813"/>
                  <a:pt x="11625" y="10813"/>
                </a:cubicBezTo>
                <a:cubicBezTo>
                  <a:pt x="11593" y="10813"/>
                  <a:pt x="11593" y="10813"/>
                  <a:pt x="11562" y="10813"/>
                </a:cubicBezTo>
                <a:cubicBezTo>
                  <a:pt x="11593" y="10813"/>
                  <a:pt x="11593" y="10813"/>
                  <a:pt x="11625" y="10813"/>
                </a:cubicBezTo>
                <a:close/>
                <a:moveTo>
                  <a:pt x="11593" y="11406"/>
                </a:moveTo>
                <a:cubicBezTo>
                  <a:pt x="11625" y="11438"/>
                  <a:pt x="11656" y="11438"/>
                  <a:pt x="11656" y="11469"/>
                </a:cubicBezTo>
                <a:cubicBezTo>
                  <a:pt x="11781" y="11469"/>
                  <a:pt x="11875" y="11500"/>
                  <a:pt x="11968" y="11531"/>
                </a:cubicBezTo>
                <a:cubicBezTo>
                  <a:pt x="11875" y="11500"/>
                  <a:pt x="11781" y="11469"/>
                  <a:pt x="11656" y="11469"/>
                </a:cubicBezTo>
                <a:cubicBezTo>
                  <a:pt x="11656" y="11438"/>
                  <a:pt x="11625" y="11438"/>
                  <a:pt x="11593" y="11406"/>
                </a:cubicBezTo>
                <a:close/>
                <a:moveTo>
                  <a:pt x="11625" y="11563"/>
                </a:moveTo>
                <a:cubicBezTo>
                  <a:pt x="11875" y="11656"/>
                  <a:pt x="12125" y="11750"/>
                  <a:pt x="12375" y="11844"/>
                </a:cubicBezTo>
                <a:cubicBezTo>
                  <a:pt x="12375" y="11844"/>
                  <a:pt x="12406" y="11844"/>
                  <a:pt x="12437" y="11875"/>
                </a:cubicBezTo>
                <a:cubicBezTo>
                  <a:pt x="12406" y="11844"/>
                  <a:pt x="12375" y="11844"/>
                  <a:pt x="12375" y="11844"/>
                </a:cubicBezTo>
                <a:cubicBezTo>
                  <a:pt x="12125" y="11750"/>
                  <a:pt x="11875" y="11656"/>
                  <a:pt x="11625" y="11563"/>
                </a:cubicBezTo>
                <a:close/>
                <a:moveTo>
                  <a:pt x="11843" y="11719"/>
                </a:moveTo>
                <a:cubicBezTo>
                  <a:pt x="11843" y="11688"/>
                  <a:pt x="11843" y="11688"/>
                  <a:pt x="11812" y="11688"/>
                </a:cubicBezTo>
                <a:cubicBezTo>
                  <a:pt x="11781" y="11688"/>
                  <a:pt x="11781" y="11688"/>
                  <a:pt x="11781" y="11719"/>
                </a:cubicBezTo>
                <a:cubicBezTo>
                  <a:pt x="11781" y="11688"/>
                  <a:pt x="11781" y="11688"/>
                  <a:pt x="11812" y="11688"/>
                </a:cubicBezTo>
                <a:cubicBezTo>
                  <a:pt x="11843" y="11688"/>
                  <a:pt x="11843" y="11688"/>
                  <a:pt x="11843" y="11719"/>
                </a:cubicBezTo>
                <a:close/>
                <a:moveTo>
                  <a:pt x="11812" y="11750"/>
                </a:moveTo>
                <a:cubicBezTo>
                  <a:pt x="11781" y="11750"/>
                  <a:pt x="11781" y="11750"/>
                  <a:pt x="11750" y="11750"/>
                </a:cubicBezTo>
                <a:cubicBezTo>
                  <a:pt x="11781" y="11750"/>
                  <a:pt x="11781" y="11750"/>
                  <a:pt x="11812" y="11750"/>
                </a:cubicBezTo>
                <a:cubicBezTo>
                  <a:pt x="11906" y="11781"/>
                  <a:pt x="12000" y="11844"/>
                  <a:pt x="12093" y="11906"/>
                </a:cubicBezTo>
                <a:cubicBezTo>
                  <a:pt x="12000" y="11844"/>
                  <a:pt x="11906" y="11781"/>
                  <a:pt x="11812" y="11750"/>
                </a:cubicBezTo>
                <a:close/>
                <a:moveTo>
                  <a:pt x="12562" y="11938"/>
                </a:moveTo>
                <a:cubicBezTo>
                  <a:pt x="12343" y="11875"/>
                  <a:pt x="12125" y="11813"/>
                  <a:pt x="11906" y="11750"/>
                </a:cubicBezTo>
                <a:cubicBezTo>
                  <a:pt x="12125" y="11813"/>
                  <a:pt x="12343" y="11875"/>
                  <a:pt x="12562" y="11938"/>
                </a:cubicBezTo>
                <a:cubicBezTo>
                  <a:pt x="12562" y="11938"/>
                  <a:pt x="12562" y="11938"/>
                  <a:pt x="12562" y="11938"/>
                </a:cubicBezTo>
                <a:close/>
                <a:moveTo>
                  <a:pt x="13031" y="12656"/>
                </a:moveTo>
                <a:cubicBezTo>
                  <a:pt x="13000" y="12656"/>
                  <a:pt x="12937" y="12625"/>
                  <a:pt x="12906" y="12594"/>
                </a:cubicBezTo>
                <a:cubicBezTo>
                  <a:pt x="12937" y="12625"/>
                  <a:pt x="13000" y="12656"/>
                  <a:pt x="13031" y="12656"/>
                </a:cubicBezTo>
                <a:cubicBezTo>
                  <a:pt x="13031" y="12656"/>
                  <a:pt x="13031" y="12656"/>
                  <a:pt x="13062" y="12656"/>
                </a:cubicBezTo>
                <a:lnTo>
                  <a:pt x="13031" y="12656"/>
                </a:lnTo>
                <a:close/>
                <a:moveTo>
                  <a:pt x="13093" y="12688"/>
                </a:moveTo>
                <a:cubicBezTo>
                  <a:pt x="13093" y="12688"/>
                  <a:pt x="13062" y="12688"/>
                  <a:pt x="13062" y="12656"/>
                </a:cubicBezTo>
                <a:cubicBezTo>
                  <a:pt x="13062" y="12688"/>
                  <a:pt x="13093" y="12688"/>
                  <a:pt x="13093" y="12688"/>
                </a:cubicBezTo>
                <a:cubicBezTo>
                  <a:pt x="13093" y="12688"/>
                  <a:pt x="13093" y="12688"/>
                  <a:pt x="13093" y="12688"/>
                </a:cubicBezTo>
                <a:cubicBezTo>
                  <a:pt x="13093" y="12688"/>
                  <a:pt x="13093" y="12688"/>
                  <a:pt x="13093" y="12688"/>
                </a:cubicBezTo>
                <a:close/>
                <a:moveTo>
                  <a:pt x="13187" y="12031"/>
                </a:moveTo>
                <a:cubicBezTo>
                  <a:pt x="12968" y="11938"/>
                  <a:pt x="12750" y="11844"/>
                  <a:pt x="12562" y="11750"/>
                </a:cubicBezTo>
                <a:cubicBezTo>
                  <a:pt x="12750" y="11844"/>
                  <a:pt x="12968" y="11938"/>
                  <a:pt x="13187" y="12031"/>
                </a:cubicBezTo>
                <a:cubicBezTo>
                  <a:pt x="13187" y="12031"/>
                  <a:pt x="13187" y="12031"/>
                  <a:pt x="13187" y="12031"/>
                </a:cubicBezTo>
                <a:close/>
                <a:moveTo>
                  <a:pt x="13187" y="12000"/>
                </a:moveTo>
                <a:cubicBezTo>
                  <a:pt x="13187" y="12000"/>
                  <a:pt x="13187" y="12000"/>
                  <a:pt x="13187" y="12000"/>
                </a:cubicBezTo>
                <a:cubicBezTo>
                  <a:pt x="13187" y="12000"/>
                  <a:pt x="13187" y="12000"/>
                  <a:pt x="13187" y="12000"/>
                </a:cubicBezTo>
                <a:cubicBezTo>
                  <a:pt x="13187" y="12000"/>
                  <a:pt x="13187" y="12000"/>
                  <a:pt x="13187" y="12000"/>
                </a:cubicBezTo>
                <a:close/>
                <a:moveTo>
                  <a:pt x="13218" y="12000"/>
                </a:moveTo>
                <a:cubicBezTo>
                  <a:pt x="13218" y="12000"/>
                  <a:pt x="13218" y="12000"/>
                  <a:pt x="13218" y="12000"/>
                </a:cubicBezTo>
                <a:cubicBezTo>
                  <a:pt x="13218" y="12000"/>
                  <a:pt x="13218" y="12000"/>
                  <a:pt x="13218" y="12000"/>
                </a:cubicBezTo>
                <a:close/>
                <a:moveTo>
                  <a:pt x="13937" y="11563"/>
                </a:moveTo>
                <a:cubicBezTo>
                  <a:pt x="13906" y="11563"/>
                  <a:pt x="13906" y="11563"/>
                  <a:pt x="13875" y="11563"/>
                </a:cubicBezTo>
                <a:cubicBezTo>
                  <a:pt x="13906" y="11563"/>
                  <a:pt x="13906" y="11563"/>
                  <a:pt x="13937" y="11563"/>
                </a:cubicBezTo>
                <a:cubicBezTo>
                  <a:pt x="13937" y="11563"/>
                  <a:pt x="13968" y="11563"/>
                  <a:pt x="14000" y="11563"/>
                </a:cubicBezTo>
                <a:cubicBezTo>
                  <a:pt x="13968" y="11563"/>
                  <a:pt x="13937" y="11563"/>
                  <a:pt x="13937" y="11563"/>
                </a:cubicBezTo>
                <a:close/>
                <a:moveTo>
                  <a:pt x="14000" y="11500"/>
                </a:moveTo>
                <a:cubicBezTo>
                  <a:pt x="13906" y="11469"/>
                  <a:pt x="13812" y="11406"/>
                  <a:pt x="13687" y="11375"/>
                </a:cubicBezTo>
                <a:cubicBezTo>
                  <a:pt x="13812" y="11406"/>
                  <a:pt x="13906" y="11469"/>
                  <a:pt x="14000" y="11500"/>
                </a:cubicBezTo>
                <a:cubicBezTo>
                  <a:pt x="14062" y="11500"/>
                  <a:pt x="14093" y="11531"/>
                  <a:pt x="14156" y="11563"/>
                </a:cubicBezTo>
                <a:cubicBezTo>
                  <a:pt x="14093" y="11531"/>
                  <a:pt x="14062" y="11500"/>
                  <a:pt x="14000" y="11500"/>
                </a:cubicBezTo>
                <a:close/>
                <a:moveTo>
                  <a:pt x="14406" y="10875"/>
                </a:moveTo>
                <a:cubicBezTo>
                  <a:pt x="14406" y="10875"/>
                  <a:pt x="14406" y="10875"/>
                  <a:pt x="14437" y="10875"/>
                </a:cubicBezTo>
                <a:cubicBezTo>
                  <a:pt x="14437" y="10875"/>
                  <a:pt x="14437" y="10875"/>
                  <a:pt x="14437" y="10906"/>
                </a:cubicBezTo>
                <a:cubicBezTo>
                  <a:pt x="14437" y="10906"/>
                  <a:pt x="14437" y="10906"/>
                  <a:pt x="14437" y="10906"/>
                </a:cubicBezTo>
                <a:cubicBezTo>
                  <a:pt x="14437" y="10875"/>
                  <a:pt x="14437" y="10875"/>
                  <a:pt x="14437" y="10875"/>
                </a:cubicBezTo>
                <a:cubicBezTo>
                  <a:pt x="14406" y="10875"/>
                  <a:pt x="14406" y="10875"/>
                  <a:pt x="14406" y="10875"/>
                </a:cubicBezTo>
                <a:cubicBezTo>
                  <a:pt x="14343" y="10844"/>
                  <a:pt x="14250" y="10813"/>
                  <a:pt x="14187" y="10781"/>
                </a:cubicBezTo>
                <a:cubicBezTo>
                  <a:pt x="14250" y="10813"/>
                  <a:pt x="14343" y="10844"/>
                  <a:pt x="14406" y="10875"/>
                </a:cubicBezTo>
                <a:close/>
                <a:moveTo>
                  <a:pt x="14187" y="13375"/>
                </a:moveTo>
                <a:cubicBezTo>
                  <a:pt x="14250" y="13406"/>
                  <a:pt x="14312" y="13438"/>
                  <a:pt x="14375" y="13438"/>
                </a:cubicBezTo>
                <a:cubicBezTo>
                  <a:pt x="14375" y="13438"/>
                  <a:pt x="14375" y="13438"/>
                  <a:pt x="14375" y="13438"/>
                </a:cubicBezTo>
                <a:cubicBezTo>
                  <a:pt x="14312" y="13438"/>
                  <a:pt x="14250" y="13406"/>
                  <a:pt x="14187" y="13375"/>
                </a:cubicBezTo>
                <a:close/>
                <a:moveTo>
                  <a:pt x="14375" y="11063"/>
                </a:moveTo>
                <a:cubicBezTo>
                  <a:pt x="14406" y="11094"/>
                  <a:pt x="14437" y="11125"/>
                  <a:pt x="14468" y="11125"/>
                </a:cubicBezTo>
                <a:cubicBezTo>
                  <a:pt x="14437" y="11125"/>
                  <a:pt x="14406" y="11094"/>
                  <a:pt x="14375" y="11063"/>
                </a:cubicBezTo>
                <a:close/>
                <a:moveTo>
                  <a:pt x="14500" y="11125"/>
                </a:moveTo>
                <a:cubicBezTo>
                  <a:pt x="14531" y="11125"/>
                  <a:pt x="14531" y="11125"/>
                  <a:pt x="14562" y="11125"/>
                </a:cubicBezTo>
                <a:cubicBezTo>
                  <a:pt x="14562" y="11125"/>
                  <a:pt x="14562" y="11125"/>
                  <a:pt x="14562" y="11125"/>
                </a:cubicBezTo>
                <a:cubicBezTo>
                  <a:pt x="14531" y="11125"/>
                  <a:pt x="14531" y="11125"/>
                  <a:pt x="14500" y="11125"/>
                </a:cubicBezTo>
                <a:close/>
                <a:moveTo>
                  <a:pt x="14562" y="12719"/>
                </a:moveTo>
                <a:cubicBezTo>
                  <a:pt x="14562" y="12719"/>
                  <a:pt x="14562" y="12719"/>
                  <a:pt x="14531" y="12719"/>
                </a:cubicBezTo>
                <a:cubicBezTo>
                  <a:pt x="14562" y="12719"/>
                  <a:pt x="14562" y="12719"/>
                  <a:pt x="14562" y="12719"/>
                </a:cubicBezTo>
                <a:cubicBezTo>
                  <a:pt x="14562" y="12719"/>
                  <a:pt x="14562" y="12719"/>
                  <a:pt x="14562" y="12719"/>
                </a:cubicBezTo>
                <a:close/>
                <a:moveTo>
                  <a:pt x="14562" y="11781"/>
                </a:moveTo>
                <a:cubicBezTo>
                  <a:pt x="14562" y="11781"/>
                  <a:pt x="14562" y="11781"/>
                  <a:pt x="14562" y="11781"/>
                </a:cubicBezTo>
                <a:cubicBezTo>
                  <a:pt x="14562" y="11781"/>
                  <a:pt x="14562" y="11781"/>
                  <a:pt x="14562" y="11781"/>
                </a:cubicBezTo>
                <a:cubicBezTo>
                  <a:pt x="14562" y="11781"/>
                  <a:pt x="14562" y="11781"/>
                  <a:pt x="14562" y="11781"/>
                </a:cubicBezTo>
                <a:close/>
                <a:moveTo>
                  <a:pt x="14562" y="11125"/>
                </a:moveTo>
                <a:cubicBezTo>
                  <a:pt x="14562" y="11125"/>
                  <a:pt x="14562" y="11125"/>
                  <a:pt x="14562" y="11125"/>
                </a:cubicBezTo>
                <a:cubicBezTo>
                  <a:pt x="14593" y="11156"/>
                  <a:pt x="14593" y="11156"/>
                  <a:pt x="14625" y="11188"/>
                </a:cubicBezTo>
                <a:cubicBezTo>
                  <a:pt x="14593" y="11156"/>
                  <a:pt x="14593" y="11156"/>
                  <a:pt x="14562" y="11125"/>
                </a:cubicBezTo>
                <a:close/>
                <a:moveTo>
                  <a:pt x="14937" y="14563"/>
                </a:moveTo>
                <a:cubicBezTo>
                  <a:pt x="14937" y="14563"/>
                  <a:pt x="14906" y="14563"/>
                  <a:pt x="14875" y="14531"/>
                </a:cubicBezTo>
                <a:cubicBezTo>
                  <a:pt x="14906" y="14563"/>
                  <a:pt x="14937" y="14563"/>
                  <a:pt x="14937" y="14563"/>
                </a:cubicBezTo>
                <a:cubicBezTo>
                  <a:pt x="14937" y="14563"/>
                  <a:pt x="14968" y="14563"/>
                  <a:pt x="14968" y="14531"/>
                </a:cubicBezTo>
                <a:cubicBezTo>
                  <a:pt x="14968" y="14563"/>
                  <a:pt x="14937" y="14563"/>
                  <a:pt x="14937" y="14563"/>
                </a:cubicBezTo>
                <a:close/>
                <a:moveTo>
                  <a:pt x="16562" y="11875"/>
                </a:moveTo>
                <a:cubicBezTo>
                  <a:pt x="16562" y="11875"/>
                  <a:pt x="16562" y="11875"/>
                  <a:pt x="16562" y="11875"/>
                </a:cubicBezTo>
                <a:cubicBezTo>
                  <a:pt x="16562" y="11875"/>
                  <a:pt x="16562" y="11844"/>
                  <a:pt x="16531" y="11844"/>
                </a:cubicBezTo>
                <a:cubicBezTo>
                  <a:pt x="16562" y="11844"/>
                  <a:pt x="16562" y="11875"/>
                  <a:pt x="16562" y="11875"/>
                </a:cubicBezTo>
                <a:close/>
                <a:moveTo>
                  <a:pt x="16468" y="11844"/>
                </a:moveTo>
                <a:cubicBezTo>
                  <a:pt x="16468" y="11844"/>
                  <a:pt x="16468" y="11844"/>
                  <a:pt x="16468" y="11844"/>
                </a:cubicBezTo>
                <a:cubicBezTo>
                  <a:pt x="16468" y="11844"/>
                  <a:pt x="16437" y="11844"/>
                  <a:pt x="16406" y="11813"/>
                </a:cubicBezTo>
                <a:cubicBezTo>
                  <a:pt x="16437" y="11844"/>
                  <a:pt x="16468" y="11844"/>
                  <a:pt x="16468" y="11844"/>
                </a:cubicBezTo>
                <a:close/>
                <a:moveTo>
                  <a:pt x="15718" y="12375"/>
                </a:moveTo>
                <a:cubicBezTo>
                  <a:pt x="15781" y="12500"/>
                  <a:pt x="15812" y="12531"/>
                  <a:pt x="15843" y="12531"/>
                </a:cubicBezTo>
                <a:cubicBezTo>
                  <a:pt x="15812" y="12531"/>
                  <a:pt x="15781" y="12500"/>
                  <a:pt x="15718" y="12375"/>
                </a:cubicBezTo>
                <a:cubicBezTo>
                  <a:pt x="15656" y="12375"/>
                  <a:pt x="15593" y="12344"/>
                  <a:pt x="15531" y="12313"/>
                </a:cubicBezTo>
                <a:cubicBezTo>
                  <a:pt x="15593" y="12344"/>
                  <a:pt x="15656" y="12375"/>
                  <a:pt x="15718" y="12375"/>
                </a:cubicBezTo>
                <a:close/>
                <a:moveTo>
                  <a:pt x="15718" y="12531"/>
                </a:moveTo>
                <a:cubicBezTo>
                  <a:pt x="15718" y="12531"/>
                  <a:pt x="15687" y="12500"/>
                  <a:pt x="15687" y="12500"/>
                </a:cubicBezTo>
                <a:cubicBezTo>
                  <a:pt x="15687" y="12500"/>
                  <a:pt x="15687" y="12500"/>
                  <a:pt x="15687" y="12469"/>
                </a:cubicBezTo>
                <a:cubicBezTo>
                  <a:pt x="15687" y="12500"/>
                  <a:pt x="15687" y="12500"/>
                  <a:pt x="15687" y="12500"/>
                </a:cubicBezTo>
                <a:cubicBezTo>
                  <a:pt x="15687" y="12500"/>
                  <a:pt x="15718" y="12531"/>
                  <a:pt x="15718" y="12531"/>
                </a:cubicBezTo>
                <a:close/>
                <a:moveTo>
                  <a:pt x="15593" y="12438"/>
                </a:moveTo>
                <a:cubicBezTo>
                  <a:pt x="15593" y="12438"/>
                  <a:pt x="15593" y="12438"/>
                  <a:pt x="15625" y="12406"/>
                </a:cubicBezTo>
                <a:cubicBezTo>
                  <a:pt x="15593" y="12438"/>
                  <a:pt x="15593" y="12438"/>
                  <a:pt x="15593" y="12438"/>
                </a:cubicBezTo>
                <a:cubicBezTo>
                  <a:pt x="15562" y="12469"/>
                  <a:pt x="15562" y="12469"/>
                  <a:pt x="15531" y="12500"/>
                </a:cubicBezTo>
                <a:cubicBezTo>
                  <a:pt x="15562" y="12469"/>
                  <a:pt x="15562" y="12469"/>
                  <a:pt x="15593" y="12438"/>
                </a:cubicBezTo>
                <a:close/>
                <a:moveTo>
                  <a:pt x="15593" y="12719"/>
                </a:moveTo>
                <a:cubicBezTo>
                  <a:pt x="15593" y="12719"/>
                  <a:pt x="15593" y="12719"/>
                  <a:pt x="15593" y="12719"/>
                </a:cubicBezTo>
                <a:cubicBezTo>
                  <a:pt x="15593" y="12719"/>
                  <a:pt x="15562" y="12719"/>
                  <a:pt x="15562" y="12688"/>
                </a:cubicBezTo>
                <a:cubicBezTo>
                  <a:pt x="15562" y="12719"/>
                  <a:pt x="15531" y="12719"/>
                  <a:pt x="15531" y="12719"/>
                </a:cubicBezTo>
                <a:cubicBezTo>
                  <a:pt x="15531" y="12719"/>
                  <a:pt x="15562" y="12719"/>
                  <a:pt x="15562" y="12688"/>
                </a:cubicBezTo>
                <a:cubicBezTo>
                  <a:pt x="15562" y="12719"/>
                  <a:pt x="15593" y="12719"/>
                  <a:pt x="15593" y="12719"/>
                </a:cubicBezTo>
                <a:close/>
                <a:moveTo>
                  <a:pt x="15468" y="12563"/>
                </a:moveTo>
                <a:cubicBezTo>
                  <a:pt x="15468" y="12563"/>
                  <a:pt x="15468" y="12563"/>
                  <a:pt x="15468" y="12563"/>
                </a:cubicBezTo>
                <a:cubicBezTo>
                  <a:pt x="15468" y="12563"/>
                  <a:pt x="15468" y="12563"/>
                  <a:pt x="15468" y="12563"/>
                </a:cubicBezTo>
                <a:cubicBezTo>
                  <a:pt x="15468" y="12563"/>
                  <a:pt x="15468" y="12563"/>
                  <a:pt x="15468" y="12563"/>
                </a:cubicBezTo>
                <a:close/>
                <a:moveTo>
                  <a:pt x="15281" y="12656"/>
                </a:moveTo>
                <a:cubicBezTo>
                  <a:pt x="15312" y="12656"/>
                  <a:pt x="15343" y="12656"/>
                  <a:pt x="15343" y="12656"/>
                </a:cubicBezTo>
                <a:cubicBezTo>
                  <a:pt x="15343" y="12656"/>
                  <a:pt x="15343" y="12656"/>
                  <a:pt x="15343" y="12656"/>
                </a:cubicBezTo>
                <a:cubicBezTo>
                  <a:pt x="15343" y="12656"/>
                  <a:pt x="15312" y="12656"/>
                  <a:pt x="15281" y="12656"/>
                </a:cubicBezTo>
                <a:cubicBezTo>
                  <a:pt x="15281" y="12656"/>
                  <a:pt x="15281" y="12688"/>
                  <a:pt x="15281" y="12688"/>
                </a:cubicBezTo>
                <a:cubicBezTo>
                  <a:pt x="15281" y="12688"/>
                  <a:pt x="15281" y="12688"/>
                  <a:pt x="15281" y="12688"/>
                </a:cubicBezTo>
                <a:cubicBezTo>
                  <a:pt x="15281" y="12688"/>
                  <a:pt x="15281" y="12688"/>
                  <a:pt x="15281" y="12688"/>
                </a:cubicBezTo>
                <a:cubicBezTo>
                  <a:pt x="15281" y="12688"/>
                  <a:pt x="15281" y="12656"/>
                  <a:pt x="15281" y="12656"/>
                </a:cubicBezTo>
                <a:close/>
                <a:moveTo>
                  <a:pt x="14906" y="12656"/>
                </a:moveTo>
                <a:cubicBezTo>
                  <a:pt x="14906" y="12656"/>
                  <a:pt x="14906" y="12656"/>
                  <a:pt x="14937" y="12656"/>
                </a:cubicBezTo>
                <a:cubicBezTo>
                  <a:pt x="14906" y="12656"/>
                  <a:pt x="14906" y="12656"/>
                  <a:pt x="14906" y="12656"/>
                </a:cubicBezTo>
                <a:cubicBezTo>
                  <a:pt x="14906" y="12656"/>
                  <a:pt x="14906" y="12656"/>
                  <a:pt x="14906" y="12656"/>
                </a:cubicBezTo>
                <a:close/>
                <a:moveTo>
                  <a:pt x="14906" y="12656"/>
                </a:moveTo>
                <a:cubicBezTo>
                  <a:pt x="14906" y="12656"/>
                  <a:pt x="14906" y="12656"/>
                  <a:pt x="14906" y="12656"/>
                </a:cubicBezTo>
                <a:cubicBezTo>
                  <a:pt x="14906" y="12625"/>
                  <a:pt x="14875" y="12625"/>
                  <a:pt x="14875" y="12594"/>
                </a:cubicBezTo>
                <a:cubicBezTo>
                  <a:pt x="14875" y="12625"/>
                  <a:pt x="14906" y="12625"/>
                  <a:pt x="14906" y="12656"/>
                </a:cubicBezTo>
                <a:close/>
                <a:moveTo>
                  <a:pt x="14875" y="12969"/>
                </a:moveTo>
                <a:cubicBezTo>
                  <a:pt x="14843" y="12969"/>
                  <a:pt x="14843" y="12969"/>
                  <a:pt x="14843" y="12969"/>
                </a:cubicBezTo>
                <a:cubicBezTo>
                  <a:pt x="14843" y="12969"/>
                  <a:pt x="14843" y="12969"/>
                  <a:pt x="14875" y="12969"/>
                </a:cubicBezTo>
                <a:cubicBezTo>
                  <a:pt x="14875" y="13031"/>
                  <a:pt x="14937" y="13063"/>
                  <a:pt x="14968" y="13094"/>
                </a:cubicBezTo>
                <a:cubicBezTo>
                  <a:pt x="14937" y="13063"/>
                  <a:pt x="14875" y="13031"/>
                  <a:pt x="14875" y="12969"/>
                </a:cubicBezTo>
                <a:close/>
                <a:moveTo>
                  <a:pt x="14968" y="12688"/>
                </a:moveTo>
                <a:cubicBezTo>
                  <a:pt x="14968" y="12688"/>
                  <a:pt x="14968" y="12688"/>
                  <a:pt x="14968" y="12688"/>
                </a:cubicBezTo>
                <a:cubicBezTo>
                  <a:pt x="14968" y="12656"/>
                  <a:pt x="14968" y="12656"/>
                  <a:pt x="14968" y="12656"/>
                </a:cubicBezTo>
                <a:cubicBezTo>
                  <a:pt x="14968" y="12656"/>
                  <a:pt x="14968" y="12656"/>
                  <a:pt x="14968" y="12688"/>
                </a:cubicBezTo>
                <a:close/>
                <a:moveTo>
                  <a:pt x="15062" y="12719"/>
                </a:moveTo>
                <a:cubicBezTo>
                  <a:pt x="15062" y="12719"/>
                  <a:pt x="15093" y="12719"/>
                  <a:pt x="15125" y="12750"/>
                </a:cubicBezTo>
                <a:cubicBezTo>
                  <a:pt x="15093" y="12719"/>
                  <a:pt x="15062" y="12719"/>
                  <a:pt x="15062" y="12719"/>
                </a:cubicBezTo>
                <a:cubicBezTo>
                  <a:pt x="15031" y="12719"/>
                  <a:pt x="15031" y="12719"/>
                  <a:pt x="15000" y="12719"/>
                </a:cubicBezTo>
                <a:cubicBezTo>
                  <a:pt x="15031" y="12719"/>
                  <a:pt x="15031" y="12719"/>
                  <a:pt x="15062" y="12719"/>
                </a:cubicBezTo>
                <a:close/>
                <a:moveTo>
                  <a:pt x="15031" y="13188"/>
                </a:moveTo>
                <a:cubicBezTo>
                  <a:pt x="15031" y="13188"/>
                  <a:pt x="15031" y="13219"/>
                  <a:pt x="15000" y="13250"/>
                </a:cubicBezTo>
                <a:cubicBezTo>
                  <a:pt x="15031" y="13219"/>
                  <a:pt x="15031" y="13188"/>
                  <a:pt x="15031" y="13188"/>
                </a:cubicBezTo>
                <a:cubicBezTo>
                  <a:pt x="15062" y="13156"/>
                  <a:pt x="15062" y="13156"/>
                  <a:pt x="15093" y="13188"/>
                </a:cubicBezTo>
                <a:cubicBezTo>
                  <a:pt x="15062" y="13156"/>
                  <a:pt x="15062" y="13156"/>
                  <a:pt x="15031" y="13188"/>
                </a:cubicBezTo>
                <a:close/>
                <a:moveTo>
                  <a:pt x="15062" y="12844"/>
                </a:moveTo>
                <a:cubicBezTo>
                  <a:pt x="15062" y="12844"/>
                  <a:pt x="15062" y="12844"/>
                  <a:pt x="15062" y="12844"/>
                </a:cubicBezTo>
                <a:cubicBezTo>
                  <a:pt x="15093" y="12844"/>
                  <a:pt x="15093" y="12844"/>
                  <a:pt x="15125" y="12844"/>
                </a:cubicBezTo>
                <a:cubicBezTo>
                  <a:pt x="15093" y="12844"/>
                  <a:pt x="15093" y="12844"/>
                  <a:pt x="15062" y="12844"/>
                </a:cubicBezTo>
                <a:close/>
                <a:moveTo>
                  <a:pt x="15125" y="12844"/>
                </a:moveTo>
                <a:cubicBezTo>
                  <a:pt x="15125" y="12844"/>
                  <a:pt x="15125" y="12844"/>
                  <a:pt x="15125" y="12844"/>
                </a:cubicBezTo>
                <a:cubicBezTo>
                  <a:pt x="15156" y="12844"/>
                  <a:pt x="15156" y="12875"/>
                  <a:pt x="15187" y="12875"/>
                </a:cubicBezTo>
                <a:cubicBezTo>
                  <a:pt x="15156" y="12875"/>
                  <a:pt x="15156" y="12844"/>
                  <a:pt x="15125" y="12844"/>
                </a:cubicBezTo>
                <a:close/>
                <a:moveTo>
                  <a:pt x="15156" y="12781"/>
                </a:moveTo>
                <a:cubicBezTo>
                  <a:pt x="15187" y="12781"/>
                  <a:pt x="15187" y="12781"/>
                  <a:pt x="15187" y="12781"/>
                </a:cubicBezTo>
                <a:cubicBezTo>
                  <a:pt x="15187" y="12781"/>
                  <a:pt x="15187" y="12781"/>
                  <a:pt x="15156" y="12781"/>
                </a:cubicBezTo>
                <a:cubicBezTo>
                  <a:pt x="15187" y="12813"/>
                  <a:pt x="15187" y="12813"/>
                  <a:pt x="15187" y="12813"/>
                </a:cubicBezTo>
                <a:cubicBezTo>
                  <a:pt x="15187" y="12813"/>
                  <a:pt x="15187" y="12813"/>
                  <a:pt x="15156" y="12781"/>
                </a:cubicBezTo>
                <a:close/>
                <a:moveTo>
                  <a:pt x="15281" y="12719"/>
                </a:moveTo>
                <a:cubicBezTo>
                  <a:pt x="15281" y="12719"/>
                  <a:pt x="15281" y="12688"/>
                  <a:pt x="15281" y="12688"/>
                </a:cubicBezTo>
                <a:cubicBezTo>
                  <a:pt x="15281" y="12688"/>
                  <a:pt x="15281" y="12719"/>
                  <a:pt x="15281" y="12719"/>
                </a:cubicBezTo>
                <a:cubicBezTo>
                  <a:pt x="15250" y="12719"/>
                  <a:pt x="15218" y="12688"/>
                  <a:pt x="15187" y="12688"/>
                </a:cubicBezTo>
                <a:cubicBezTo>
                  <a:pt x="15218" y="12688"/>
                  <a:pt x="15250" y="12719"/>
                  <a:pt x="15281" y="12719"/>
                </a:cubicBezTo>
                <a:close/>
                <a:moveTo>
                  <a:pt x="15250" y="13000"/>
                </a:moveTo>
                <a:cubicBezTo>
                  <a:pt x="15218" y="12969"/>
                  <a:pt x="15218" y="12969"/>
                  <a:pt x="15187" y="13000"/>
                </a:cubicBezTo>
                <a:cubicBezTo>
                  <a:pt x="15218" y="12969"/>
                  <a:pt x="15218" y="12969"/>
                  <a:pt x="15250" y="13000"/>
                </a:cubicBezTo>
                <a:cubicBezTo>
                  <a:pt x="15281" y="13031"/>
                  <a:pt x="15343" y="13031"/>
                  <a:pt x="15375" y="13063"/>
                </a:cubicBezTo>
                <a:cubicBezTo>
                  <a:pt x="15343" y="13031"/>
                  <a:pt x="15281" y="13031"/>
                  <a:pt x="15250" y="13000"/>
                </a:cubicBezTo>
                <a:close/>
                <a:moveTo>
                  <a:pt x="15531" y="12813"/>
                </a:moveTo>
                <a:cubicBezTo>
                  <a:pt x="15531" y="12813"/>
                  <a:pt x="15531" y="12813"/>
                  <a:pt x="15531" y="12813"/>
                </a:cubicBezTo>
                <a:cubicBezTo>
                  <a:pt x="15500" y="12844"/>
                  <a:pt x="15468" y="12844"/>
                  <a:pt x="15437" y="12844"/>
                </a:cubicBezTo>
                <a:cubicBezTo>
                  <a:pt x="15468" y="12844"/>
                  <a:pt x="15500" y="12844"/>
                  <a:pt x="15531" y="12813"/>
                </a:cubicBezTo>
                <a:close/>
                <a:moveTo>
                  <a:pt x="16000" y="14750"/>
                </a:moveTo>
                <a:cubicBezTo>
                  <a:pt x="15968" y="14750"/>
                  <a:pt x="15968" y="14781"/>
                  <a:pt x="15968" y="14781"/>
                </a:cubicBezTo>
                <a:cubicBezTo>
                  <a:pt x="15968" y="14781"/>
                  <a:pt x="15968" y="14781"/>
                  <a:pt x="15968" y="14781"/>
                </a:cubicBezTo>
                <a:cubicBezTo>
                  <a:pt x="15968" y="14781"/>
                  <a:pt x="15968" y="14750"/>
                  <a:pt x="16000" y="14750"/>
                </a:cubicBezTo>
                <a:cubicBezTo>
                  <a:pt x="15812" y="14656"/>
                  <a:pt x="15656" y="14594"/>
                  <a:pt x="15468" y="14531"/>
                </a:cubicBezTo>
                <a:cubicBezTo>
                  <a:pt x="15656" y="14594"/>
                  <a:pt x="15812" y="14656"/>
                  <a:pt x="16000" y="14750"/>
                </a:cubicBezTo>
                <a:cubicBezTo>
                  <a:pt x="16062" y="14781"/>
                  <a:pt x="16156" y="14813"/>
                  <a:pt x="16218" y="14844"/>
                </a:cubicBezTo>
                <a:cubicBezTo>
                  <a:pt x="16156" y="14813"/>
                  <a:pt x="16062" y="14781"/>
                  <a:pt x="16000" y="14750"/>
                </a:cubicBezTo>
                <a:close/>
                <a:moveTo>
                  <a:pt x="15687" y="13938"/>
                </a:moveTo>
                <a:cubicBezTo>
                  <a:pt x="15718" y="13969"/>
                  <a:pt x="15718" y="13969"/>
                  <a:pt x="15750" y="14000"/>
                </a:cubicBezTo>
                <a:cubicBezTo>
                  <a:pt x="15750" y="14000"/>
                  <a:pt x="15750" y="14000"/>
                  <a:pt x="15750" y="14000"/>
                </a:cubicBezTo>
                <a:cubicBezTo>
                  <a:pt x="15750" y="14000"/>
                  <a:pt x="15750" y="14000"/>
                  <a:pt x="15750" y="14000"/>
                </a:cubicBezTo>
                <a:cubicBezTo>
                  <a:pt x="15718" y="13969"/>
                  <a:pt x="15718" y="13969"/>
                  <a:pt x="15687" y="13938"/>
                </a:cubicBezTo>
                <a:close/>
                <a:moveTo>
                  <a:pt x="15781" y="12875"/>
                </a:moveTo>
                <a:cubicBezTo>
                  <a:pt x="15781" y="12875"/>
                  <a:pt x="15781" y="12875"/>
                  <a:pt x="15781" y="12875"/>
                </a:cubicBezTo>
                <a:cubicBezTo>
                  <a:pt x="15781" y="12875"/>
                  <a:pt x="15781" y="12875"/>
                  <a:pt x="15781" y="12875"/>
                </a:cubicBezTo>
                <a:close/>
                <a:moveTo>
                  <a:pt x="16218" y="13594"/>
                </a:moveTo>
                <a:cubicBezTo>
                  <a:pt x="16281" y="13625"/>
                  <a:pt x="16312" y="13625"/>
                  <a:pt x="16343" y="13625"/>
                </a:cubicBezTo>
                <a:cubicBezTo>
                  <a:pt x="16343" y="13625"/>
                  <a:pt x="16343" y="13625"/>
                  <a:pt x="16343" y="13625"/>
                </a:cubicBezTo>
                <a:cubicBezTo>
                  <a:pt x="16312" y="13625"/>
                  <a:pt x="16281" y="13625"/>
                  <a:pt x="16218" y="13594"/>
                </a:cubicBezTo>
                <a:close/>
                <a:moveTo>
                  <a:pt x="16312" y="14938"/>
                </a:moveTo>
                <a:cubicBezTo>
                  <a:pt x="16312" y="14938"/>
                  <a:pt x="16312" y="14938"/>
                  <a:pt x="16312" y="14938"/>
                </a:cubicBezTo>
                <a:cubicBezTo>
                  <a:pt x="16312" y="14969"/>
                  <a:pt x="16312" y="14969"/>
                  <a:pt x="16343" y="15000"/>
                </a:cubicBezTo>
                <a:cubicBezTo>
                  <a:pt x="16312" y="14969"/>
                  <a:pt x="16312" y="14969"/>
                  <a:pt x="16312" y="14938"/>
                </a:cubicBezTo>
                <a:close/>
                <a:moveTo>
                  <a:pt x="16187" y="13469"/>
                </a:moveTo>
                <a:cubicBezTo>
                  <a:pt x="16187" y="13469"/>
                  <a:pt x="16187" y="13469"/>
                  <a:pt x="16187" y="13469"/>
                </a:cubicBezTo>
                <a:cubicBezTo>
                  <a:pt x="16187" y="13469"/>
                  <a:pt x="16187" y="13469"/>
                  <a:pt x="16187" y="13469"/>
                </a:cubicBezTo>
                <a:cubicBezTo>
                  <a:pt x="16281" y="13531"/>
                  <a:pt x="16375" y="13563"/>
                  <a:pt x="16500" y="13625"/>
                </a:cubicBezTo>
                <a:cubicBezTo>
                  <a:pt x="16375" y="13563"/>
                  <a:pt x="16281" y="13531"/>
                  <a:pt x="16187" y="13469"/>
                </a:cubicBezTo>
                <a:close/>
                <a:moveTo>
                  <a:pt x="16437" y="13406"/>
                </a:moveTo>
                <a:cubicBezTo>
                  <a:pt x="16437" y="13406"/>
                  <a:pt x="16437" y="13406"/>
                  <a:pt x="16437" y="13406"/>
                </a:cubicBezTo>
                <a:cubicBezTo>
                  <a:pt x="16437" y="13406"/>
                  <a:pt x="16437" y="13406"/>
                  <a:pt x="16437" y="13406"/>
                </a:cubicBezTo>
                <a:cubicBezTo>
                  <a:pt x="16437" y="13406"/>
                  <a:pt x="16437" y="13406"/>
                  <a:pt x="16437" y="13406"/>
                </a:cubicBezTo>
                <a:close/>
                <a:moveTo>
                  <a:pt x="15656" y="12719"/>
                </a:moveTo>
                <a:cubicBezTo>
                  <a:pt x="15656" y="12719"/>
                  <a:pt x="15656" y="12719"/>
                  <a:pt x="15625" y="12719"/>
                </a:cubicBezTo>
                <a:cubicBezTo>
                  <a:pt x="15656" y="12719"/>
                  <a:pt x="15656" y="12719"/>
                  <a:pt x="15656" y="12719"/>
                </a:cubicBezTo>
                <a:cubicBezTo>
                  <a:pt x="15968" y="12844"/>
                  <a:pt x="16281" y="12969"/>
                  <a:pt x="16562" y="13125"/>
                </a:cubicBezTo>
                <a:cubicBezTo>
                  <a:pt x="16281" y="12969"/>
                  <a:pt x="15968" y="12844"/>
                  <a:pt x="15656" y="12719"/>
                </a:cubicBezTo>
                <a:close/>
                <a:moveTo>
                  <a:pt x="16718" y="15375"/>
                </a:moveTo>
                <a:cubicBezTo>
                  <a:pt x="16531" y="15281"/>
                  <a:pt x="16343" y="15188"/>
                  <a:pt x="16156" y="15125"/>
                </a:cubicBezTo>
                <a:cubicBezTo>
                  <a:pt x="16031" y="15063"/>
                  <a:pt x="15906" y="15000"/>
                  <a:pt x="15781" y="14969"/>
                </a:cubicBezTo>
                <a:cubicBezTo>
                  <a:pt x="15906" y="15000"/>
                  <a:pt x="16031" y="15063"/>
                  <a:pt x="16156" y="15125"/>
                </a:cubicBezTo>
                <a:cubicBezTo>
                  <a:pt x="16343" y="15188"/>
                  <a:pt x="16531" y="15281"/>
                  <a:pt x="16718" y="15375"/>
                </a:cubicBezTo>
                <a:cubicBezTo>
                  <a:pt x="16718" y="15375"/>
                  <a:pt x="16718" y="15406"/>
                  <a:pt x="16750" y="15406"/>
                </a:cubicBezTo>
                <a:cubicBezTo>
                  <a:pt x="16718" y="15406"/>
                  <a:pt x="16718" y="15375"/>
                  <a:pt x="16718" y="15375"/>
                </a:cubicBezTo>
                <a:close/>
                <a:moveTo>
                  <a:pt x="10406" y="14281"/>
                </a:moveTo>
                <a:cubicBezTo>
                  <a:pt x="10406" y="14281"/>
                  <a:pt x="10375" y="14281"/>
                  <a:pt x="10375" y="14281"/>
                </a:cubicBezTo>
                <a:cubicBezTo>
                  <a:pt x="10375" y="14281"/>
                  <a:pt x="10406" y="14281"/>
                  <a:pt x="10406" y="14281"/>
                </a:cubicBezTo>
                <a:cubicBezTo>
                  <a:pt x="10406" y="14281"/>
                  <a:pt x="10406" y="14281"/>
                  <a:pt x="10406" y="14281"/>
                </a:cubicBezTo>
                <a:close/>
                <a:moveTo>
                  <a:pt x="10468" y="14281"/>
                </a:moveTo>
                <a:cubicBezTo>
                  <a:pt x="10437" y="14281"/>
                  <a:pt x="10437" y="14281"/>
                  <a:pt x="10406" y="14281"/>
                </a:cubicBezTo>
                <a:cubicBezTo>
                  <a:pt x="10437" y="14281"/>
                  <a:pt x="10437" y="14281"/>
                  <a:pt x="10468" y="14281"/>
                </a:cubicBezTo>
                <a:cubicBezTo>
                  <a:pt x="10500" y="14281"/>
                  <a:pt x="10531" y="14281"/>
                  <a:pt x="10562" y="14281"/>
                </a:cubicBezTo>
                <a:cubicBezTo>
                  <a:pt x="10531" y="14281"/>
                  <a:pt x="10500" y="14281"/>
                  <a:pt x="10468" y="14281"/>
                </a:cubicBezTo>
                <a:close/>
                <a:moveTo>
                  <a:pt x="10812" y="14313"/>
                </a:moveTo>
                <a:cubicBezTo>
                  <a:pt x="10812" y="14313"/>
                  <a:pt x="10812" y="14313"/>
                  <a:pt x="10812" y="14313"/>
                </a:cubicBezTo>
                <a:cubicBezTo>
                  <a:pt x="10812" y="14313"/>
                  <a:pt x="10812" y="14313"/>
                  <a:pt x="10812" y="14313"/>
                </a:cubicBezTo>
                <a:cubicBezTo>
                  <a:pt x="10812" y="14313"/>
                  <a:pt x="10812" y="14313"/>
                  <a:pt x="10812" y="14313"/>
                </a:cubicBezTo>
                <a:close/>
                <a:moveTo>
                  <a:pt x="10906" y="14313"/>
                </a:moveTo>
                <a:cubicBezTo>
                  <a:pt x="10906" y="14313"/>
                  <a:pt x="10906" y="14313"/>
                  <a:pt x="10906" y="14313"/>
                </a:cubicBezTo>
                <a:cubicBezTo>
                  <a:pt x="10937" y="14344"/>
                  <a:pt x="10968" y="14344"/>
                  <a:pt x="11000" y="14375"/>
                </a:cubicBezTo>
                <a:cubicBezTo>
                  <a:pt x="10968" y="14344"/>
                  <a:pt x="10937" y="14344"/>
                  <a:pt x="10906" y="14313"/>
                </a:cubicBezTo>
                <a:close/>
                <a:moveTo>
                  <a:pt x="18562" y="11281"/>
                </a:moveTo>
                <a:cubicBezTo>
                  <a:pt x="18562" y="11250"/>
                  <a:pt x="18562" y="11219"/>
                  <a:pt x="18593" y="11188"/>
                </a:cubicBezTo>
                <a:cubicBezTo>
                  <a:pt x="18593" y="11313"/>
                  <a:pt x="18593" y="11438"/>
                  <a:pt x="18562" y="11594"/>
                </a:cubicBezTo>
                <a:cubicBezTo>
                  <a:pt x="18562" y="11594"/>
                  <a:pt x="18562" y="11594"/>
                  <a:pt x="18562" y="11594"/>
                </a:cubicBezTo>
                <a:cubicBezTo>
                  <a:pt x="18562" y="11469"/>
                  <a:pt x="18562" y="11375"/>
                  <a:pt x="18562" y="11281"/>
                </a:cubicBezTo>
                <a:close/>
                <a:moveTo>
                  <a:pt x="18531" y="15125"/>
                </a:moveTo>
                <a:cubicBezTo>
                  <a:pt x="18562" y="15125"/>
                  <a:pt x="18593" y="15125"/>
                  <a:pt x="18625" y="15156"/>
                </a:cubicBezTo>
                <a:cubicBezTo>
                  <a:pt x="18593" y="15125"/>
                  <a:pt x="18562" y="15125"/>
                  <a:pt x="18531" y="15125"/>
                </a:cubicBezTo>
                <a:cubicBezTo>
                  <a:pt x="18531" y="15094"/>
                  <a:pt x="18500" y="15094"/>
                  <a:pt x="18500" y="15063"/>
                </a:cubicBezTo>
                <a:cubicBezTo>
                  <a:pt x="18500" y="15094"/>
                  <a:pt x="18531" y="15094"/>
                  <a:pt x="18531" y="15125"/>
                </a:cubicBezTo>
                <a:close/>
                <a:moveTo>
                  <a:pt x="18593" y="15656"/>
                </a:moveTo>
                <a:cubicBezTo>
                  <a:pt x="18593" y="15656"/>
                  <a:pt x="18562" y="15656"/>
                  <a:pt x="18562" y="15656"/>
                </a:cubicBezTo>
                <a:cubicBezTo>
                  <a:pt x="18562" y="15688"/>
                  <a:pt x="18562" y="15688"/>
                  <a:pt x="18531" y="15688"/>
                </a:cubicBezTo>
                <a:cubicBezTo>
                  <a:pt x="18562" y="15688"/>
                  <a:pt x="18562" y="15688"/>
                  <a:pt x="18562" y="15656"/>
                </a:cubicBezTo>
                <a:cubicBezTo>
                  <a:pt x="18562" y="15656"/>
                  <a:pt x="18593" y="15656"/>
                  <a:pt x="18593" y="15656"/>
                </a:cubicBezTo>
                <a:close/>
                <a:moveTo>
                  <a:pt x="18531" y="15125"/>
                </a:moveTo>
                <a:cubicBezTo>
                  <a:pt x="18500" y="15125"/>
                  <a:pt x="18500" y="15125"/>
                  <a:pt x="18468" y="15125"/>
                </a:cubicBezTo>
                <a:cubicBezTo>
                  <a:pt x="18500" y="15188"/>
                  <a:pt x="18531" y="15219"/>
                  <a:pt x="18562" y="15250"/>
                </a:cubicBezTo>
                <a:cubicBezTo>
                  <a:pt x="18531" y="15219"/>
                  <a:pt x="18500" y="15188"/>
                  <a:pt x="18468" y="15125"/>
                </a:cubicBezTo>
                <a:cubicBezTo>
                  <a:pt x="18500" y="15125"/>
                  <a:pt x="18500" y="15125"/>
                  <a:pt x="18531" y="15125"/>
                </a:cubicBezTo>
                <a:close/>
                <a:moveTo>
                  <a:pt x="18468" y="11438"/>
                </a:moveTo>
                <a:cubicBezTo>
                  <a:pt x="18468" y="11500"/>
                  <a:pt x="18468" y="11594"/>
                  <a:pt x="18468" y="11656"/>
                </a:cubicBezTo>
                <a:cubicBezTo>
                  <a:pt x="18437" y="11625"/>
                  <a:pt x="18468" y="11594"/>
                  <a:pt x="18437" y="11563"/>
                </a:cubicBezTo>
                <a:cubicBezTo>
                  <a:pt x="18406" y="11656"/>
                  <a:pt x="18406" y="11719"/>
                  <a:pt x="18375" y="11813"/>
                </a:cubicBezTo>
                <a:cubicBezTo>
                  <a:pt x="18375" y="11813"/>
                  <a:pt x="18343" y="11781"/>
                  <a:pt x="18343" y="11781"/>
                </a:cubicBezTo>
                <a:cubicBezTo>
                  <a:pt x="18375" y="11719"/>
                  <a:pt x="18375" y="11656"/>
                  <a:pt x="18343" y="11625"/>
                </a:cubicBezTo>
                <a:cubicBezTo>
                  <a:pt x="18343" y="11625"/>
                  <a:pt x="18343" y="11625"/>
                  <a:pt x="18343" y="11594"/>
                </a:cubicBezTo>
                <a:cubicBezTo>
                  <a:pt x="18375" y="11625"/>
                  <a:pt x="18437" y="11531"/>
                  <a:pt x="18468" y="11438"/>
                </a:cubicBezTo>
                <a:close/>
                <a:moveTo>
                  <a:pt x="17000" y="5344"/>
                </a:moveTo>
                <a:cubicBezTo>
                  <a:pt x="17031" y="5281"/>
                  <a:pt x="17062" y="5250"/>
                  <a:pt x="17125" y="5219"/>
                </a:cubicBezTo>
                <a:cubicBezTo>
                  <a:pt x="17062" y="5250"/>
                  <a:pt x="17031" y="5281"/>
                  <a:pt x="17000" y="5344"/>
                </a:cubicBezTo>
                <a:cubicBezTo>
                  <a:pt x="17000" y="5344"/>
                  <a:pt x="17000" y="5375"/>
                  <a:pt x="17000" y="5375"/>
                </a:cubicBezTo>
                <a:cubicBezTo>
                  <a:pt x="17000" y="5375"/>
                  <a:pt x="17000" y="5344"/>
                  <a:pt x="17000" y="5344"/>
                </a:cubicBezTo>
                <a:close/>
                <a:moveTo>
                  <a:pt x="17062" y="5344"/>
                </a:moveTo>
                <a:cubicBezTo>
                  <a:pt x="17062" y="5344"/>
                  <a:pt x="17062" y="5344"/>
                  <a:pt x="17062" y="5344"/>
                </a:cubicBezTo>
                <a:cubicBezTo>
                  <a:pt x="17062" y="5375"/>
                  <a:pt x="17062" y="5375"/>
                  <a:pt x="17062" y="5375"/>
                </a:cubicBezTo>
                <a:cubicBezTo>
                  <a:pt x="17062" y="5375"/>
                  <a:pt x="17062" y="5375"/>
                  <a:pt x="17062" y="5344"/>
                </a:cubicBezTo>
                <a:close/>
                <a:moveTo>
                  <a:pt x="16875" y="5500"/>
                </a:moveTo>
                <a:cubicBezTo>
                  <a:pt x="16875" y="5500"/>
                  <a:pt x="16875" y="5500"/>
                  <a:pt x="16875" y="5500"/>
                </a:cubicBezTo>
                <a:cubicBezTo>
                  <a:pt x="16875" y="5500"/>
                  <a:pt x="16875" y="5531"/>
                  <a:pt x="16875" y="5563"/>
                </a:cubicBezTo>
                <a:cubicBezTo>
                  <a:pt x="16875" y="5531"/>
                  <a:pt x="16875" y="5500"/>
                  <a:pt x="16875" y="5500"/>
                </a:cubicBezTo>
                <a:close/>
                <a:moveTo>
                  <a:pt x="16843" y="5719"/>
                </a:moveTo>
                <a:cubicBezTo>
                  <a:pt x="16843" y="5719"/>
                  <a:pt x="16843" y="5719"/>
                  <a:pt x="16843" y="5719"/>
                </a:cubicBezTo>
                <a:cubicBezTo>
                  <a:pt x="16843" y="5719"/>
                  <a:pt x="16843" y="5719"/>
                  <a:pt x="16843" y="5719"/>
                </a:cubicBezTo>
                <a:cubicBezTo>
                  <a:pt x="16843" y="5719"/>
                  <a:pt x="16843" y="5719"/>
                  <a:pt x="16843" y="5719"/>
                </a:cubicBezTo>
                <a:close/>
                <a:moveTo>
                  <a:pt x="16750" y="7313"/>
                </a:moveTo>
                <a:cubicBezTo>
                  <a:pt x="16718" y="7063"/>
                  <a:pt x="16718" y="6844"/>
                  <a:pt x="16750" y="6625"/>
                </a:cubicBezTo>
                <a:cubicBezTo>
                  <a:pt x="16750" y="6438"/>
                  <a:pt x="16750" y="6281"/>
                  <a:pt x="16781" y="6125"/>
                </a:cubicBezTo>
                <a:cubicBezTo>
                  <a:pt x="16781" y="6000"/>
                  <a:pt x="16843" y="5875"/>
                  <a:pt x="16843" y="5719"/>
                </a:cubicBezTo>
                <a:cubicBezTo>
                  <a:pt x="16875" y="5688"/>
                  <a:pt x="16875" y="5656"/>
                  <a:pt x="16906" y="5594"/>
                </a:cubicBezTo>
                <a:cubicBezTo>
                  <a:pt x="16906" y="5594"/>
                  <a:pt x="16906" y="5563"/>
                  <a:pt x="16906" y="5563"/>
                </a:cubicBezTo>
                <a:cubicBezTo>
                  <a:pt x="16937" y="5531"/>
                  <a:pt x="16937" y="5500"/>
                  <a:pt x="16968" y="5469"/>
                </a:cubicBezTo>
                <a:cubicBezTo>
                  <a:pt x="16968" y="5438"/>
                  <a:pt x="17000" y="5438"/>
                  <a:pt x="17031" y="5406"/>
                </a:cubicBezTo>
                <a:cubicBezTo>
                  <a:pt x="17031" y="5406"/>
                  <a:pt x="17031" y="5406"/>
                  <a:pt x="17031" y="5406"/>
                </a:cubicBezTo>
                <a:cubicBezTo>
                  <a:pt x="16875" y="5688"/>
                  <a:pt x="16718" y="6219"/>
                  <a:pt x="16750" y="7313"/>
                </a:cubicBezTo>
                <a:close/>
                <a:moveTo>
                  <a:pt x="16843" y="9750"/>
                </a:moveTo>
                <a:cubicBezTo>
                  <a:pt x="16843" y="9750"/>
                  <a:pt x="16843" y="9750"/>
                  <a:pt x="16843" y="9719"/>
                </a:cubicBezTo>
                <a:cubicBezTo>
                  <a:pt x="16843" y="9719"/>
                  <a:pt x="16843" y="9719"/>
                  <a:pt x="16843" y="9719"/>
                </a:cubicBezTo>
                <a:cubicBezTo>
                  <a:pt x="16843" y="9719"/>
                  <a:pt x="16843" y="9719"/>
                  <a:pt x="16843" y="9719"/>
                </a:cubicBezTo>
                <a:cubicBezTo>
                  <a:pt x="16843" y="9750"/>
                  <a:pt x="16843" y="9750"/>
                  <a:pt x="16843" y="9750"/>
                </a:cubicBezTo>
                <a:close/>
                <a:moveTo>
                  <a:pt x="17250" y="15344"/>
                </a:moveTo>
                <a:cubicBezTo>
                  <a:pt x="17093" y="15281"/>
                  <a:pt x="16937" y="15219"/>
                  <a:pt x="16781" y="15156"/>
                </a:cubicBezTo>
                <a:cubicBezTo>
                  <a:pt x="16937" y="15219"/>
                  <a:pt x="17093" y="15281"/>
                  <a:pt x="17250" y="15344"/>
                </a:cubicBezTo>
                <a:cubicBezTo>
                  <a:pt x="17250" y="15344"/>
                  <a:pt x="17250" y="15344"/>
                  <a:pt x="17281" y="15344"/>
                </a:cubicBezTo>
                <a:cubicBezTo>
                  <a:pt x="17250" y="15344"/>
                  <a:pt x="17250" y="15344"/>
                  <a:pt x="17250" y="15344"/>
                </a:cubicBezTo>
                <a:close/>
                <a:moveTo>
                  <a:pt x="17000" y="13750"/>
                </a:moveTo>
                <a:cubicBezTo>
                  <a:pt x="17031" y="13750"/>
                  <a:pt x="17062" y="13750"/>
                  <a:pt x="17125" y="13750"/>
                </a:cubicBezTo>
                <a:cubicBezTo>
                  <a:pt x="17125" y="13750"/>
                  <a:pt x="17125" y="13750"/>
                  <a:pt x="17125" y="13750"/>
                </a:cubicBezTo>
                <a:cubicBezTo>
                  <a:pt x="17062" y="13750"/>
                  <a:pt x="17031" y="13750"/>
                  <a:pt x="17000" y="13750"/>
                </a:cubicBezTo>
                <a:close/>
                <a:moveTo>
                  <a:pt x="17125" y="13719"/>
                </a:moveTo>
                <a:cubicBezTo>
                  <a:pt x="17125" y="13719"/>
                  <a:pt x="17156" y="13719"/>
                  <a:pt x="17156" y="13719"/>
                </a:cubicBezTo>
                <a:cubicBezTo>
                  <a:pt x="17156" y="13719"/>
                  <a:pt x="17125" y="13719"/>
                  <a:pt x="17125" y="13719"/>
                </a:cubicBezTo>
                <a:cubicBezTo>
                  <a:pt x="17125" y="13719"/>
                  <a:pt x="17125" y="13719"/>
                  <a:pt x="17125" y="13719"/>
                </a:cubicBezTo>
                <a:close/>
                <a:moveTo>
                  <a:pt x="17218" y="13719"/>
                </a:moveTo>
                <a:cubicBezTo>
                  <a:pt x="17250" y="13750"/>
                  <a:pt x="17250" y="13750"/>
                  <a:pt x="17281" y="13750"/>
                </a:cubicBezTo>
                <a:cubicBezTo>
                  <a:pt x="17281" y="13750"/>
                  <a:pt x="17281" y="13750"/>
                  <a:pt x="17281" y="13750"/>
                </a:cubicBezTo>
                <a:cubicBezTo>
                  <a:pt x="17250" y="13750"/>
                  <a:pt x="17250" y="13750"/>
                  <a:pt x="17218" y="13719"/>
                </a:cubicBezTo>
                <a:close/>
                <a:moveTo>
                  <a:pt x="17437" y="15625"/>
                </a:moveTo>
                <a:cubicBezTo>
                  <a:pt x="17531" y="15656"/>
                  <a:pt x="17625" y="15688"/>
                  <a:pt x="17750" y="15688"/>
                </a:cubicBezTo>
                <a:cubicBezTo>
                  <a:pt x="17625" y="15688"/>
                  <a:pt x="17531" y="15656"/>
                  <a:pt x="17437" y="15625"/>
                </a:cubicBezTo>
                <a:close/>
                <a:moveTo>
                  <a:pt x="17781" y="15969"/>
                </a:moveTo>
                <a:cubicBezTo>
                  <a:pt x="17781" y="15969"/>
                  <a:pt x="17781" y="15969"/>
                  <a:pt x="17781" y="15969"/>
                </a:cubicBezTo>
                <a:cubicBezTo>
                  <a:pt x="17812" y="15938"/>
                  <a:pt x="17875" y="15969"/>
                  <a:pt x="17906" y="15969"/>
                </a:cubicBezTo>
                <a:cubicBezTo>
                  <a:pt x="17875" y="15969"/>
                  <a:pt x="17812" y="15938"/>
                  <a:pt x="17781" y="15969"/>
                </a:cubicBezTo>
                <a:close/>
                <a:moveTo>
                  <a:pt x="17781" y="15531"/>
                </a:moveTo>
                <a:cubicBezTo>
                  <a:pt x="17812" y="15531"/>
                  <a:pt x="17843" y="15531"/>
                  <a:pt x="17843" y="15531"/>
                </a:cubicBezTo>
                <a:cubicBezTo>
                  <a:pt x="17843" y="15531"/>
                  <a:pt x="17843" y="15531"/>
                  <a:pt x="17843" y="15531"/>
                </a:cubicBezTo>
                <a:cubicBezTo>
                  <a:pt x="17843" y="15531"/>
                  <a:pt x="17843" y="15531"/>
                  <a:pt x="17843" y="15531"/>
                </a:cubicBezTo>
                <a:cubicBezTo>
                  <a:pt x="17843" y="15531"/>
                  <a:pt x="17812" y="15531"/>
                  <a:pt x="17781" y="15531"/>
                </a:cubicBezTo>
                <a:close/>
                <a:moveTo>
                  <a:pt x="17843" y="15750"/>
                </a:moveTo>
                <a:cubicBezTo>
                  <a:pt x="17875" y="15719"/>
                  <a:pt x="17906" y="15750"/>
                  <a:pt x="17937" y="15750"/>
                </a:cubicBezTo>
                <a:cubicBezTo>
                  <a:pt x="17937" y="15750"/>
                  <a:pt x="17937" y="15750"/>
                  <a:pt x="17937" y="15750"/>
                </a:cubicBezTo>
                <a:cubicBezTo>
                  <a:pt x="17906" y="15750"/>
                  <a:pt x="17875" y="15719"/>
                  <a:pt x="17843" y="15750"/>
                </a:cubicBezTo>
                <a:close/>
                <a:moveTo>
                  <a:pt x="17968" y="16125"/>
                </a:moveTo>
                <a:cubicBezTo>
                  <a:pt x="17968" y="16125"/>
                  <a:pt x="17968" y="16094"/>
                  <a:pt x="17968" y="16063"/>
                </a:cubicBezTo>
                <a:cubicBezTo>
                  <a:pt x="17968" y="16063"/>
                  <a:pt x="17968" y="16063"/>
                  <a:pt x="17968" y="16063"/>
                </a:cubicBezTo>
                <a:cubicBezTo>
                  <a:pt x="17968" y="16094"/>
                  <a:pt x="17968" y="16125"/>
                  <a:pt x="17968" y="16125"/>
                </a:cubicBezTo>
                <a:cubicBezTo>
                  <a:pt x="18031" y="16125"/>
                  <a:pt x="18062" y="16156"/>
                  <a:pt x="18093" y="16156"/>
                </a:cubicBezTo>
                <a:cubicBezTo>
                  <a:pt x="18062" y="16156"/>
                  <a:pt x="18031" y="16125"/>
                  <a:pt x="17968" y="16125"/>
                </a:cubicBezTo>
                <a:close/>
                <a:moveTo>
                  <a:pt x="18125" y="11688"/>
                </a:moveTo>
                <a:cubicBezTo>
                  <a:pt x="18093" y="11688"/>
                  <a:pt x="18062" y="11656"/>
                  <a:pt x="18031" y="11656"/>
                </a:cubicBezTo>
                <a:cubicBezTo>
                  <a:pt x="17843" y="11563"/>
                  <a:pt x="17656" y="11500"/>
                  <a:pt x="17468" y="11438"/>
                </a:cubicBezTo>
                <a:cubicBezTo>
                  <a:pt x="17437" y="11406"/>
                  <a:pt x="17312" y="11344"/>
                  <a:pt x="17187" y="11313"/>
                </a:cubicBezTo>
                <a:cubicBezTo>
                  <a:pt x="17187" y="11281"/>
                  <a:pt x="17187" y="11281"/>
                  <a:pt x="17187" y="11281"/>
                </a:cubicBezTo>
                <a:cubicBezTo>
                  <a:pt x="17187" y="11281"/>
                  <a:pt x="17187" y="11281"/>
                  <a:pt x="17156" y="11281"/>
                </a:cubicBezTo>
                <a:cubicBezTo>
                  <a:pt x="17125" y="11250"/>
                  <a:pt x="17062" y="11250"/>
                  <a:pt x="17062" y="11219"/>
                </a:cubicBezTo>
                <a:cubicBezTo>
                  <a:pt x="17031" y="11219"/>
                  <a:pt x="17031" y="11219"/>
                  <a:pt x="17031" y="11219"/>
                </a:cubicBezTo>
                <a:cubicBezTo>
                  <a:pt x="17031" y="11219"/>
                  <a:pt x="17031" y="11219"/>
                  <a:pt x="17031" y="11219"/>
                </a:cubicBezTo>
                <a:cubicBezTo>
                  <a:pt x="17031" y="11219"/>
                  <a:pt x="17031" y="11219"/>
                  <a:pt x="17031" y="11219"/>
                </a:cubicBezTo>
                <a:cubicBezTo>
                  <a:pt x="17000" y="11219"/>
                  <a:pt x="17000" y="11219"/>
                  <a:pt x="16968" y="11188"/>
                </a:cubicBezTo>
                <a:cubicBezTo>
                  <a:pt x="16937" y="11188"/>
                  <a:pt x="16906" y="11188"/>
                  <a:pt x="16906" y="11156"/>
                </a:cubicBezTo>
                <a:cubicBezTo>
                  <a:pt x="16906" y="11094"/>
                  <a:pt x="16906" y="11031"/>
                  <a:pt x="16906" y="10969"/>
                </a:cubicBezTo>
                <a:cubicBezTo>
                  <a:pt x="16937" y="10750"/>
                  <a:pt x="17000" y="10531"/>
                  <a:pt x="17000" y="10313"/>
                </a:cubicBezTo>
                <a:cubicBezTo>
                  <a:pt x="17000" y="10156"/>
                  <a:pt x="17000" y="9969"/>
                  <a:pt x="17000" y="9813"/>
                </a:cubicBezTo>
                <a:cubicBezTo>
                  <a:pt x="17031" y="10188"/>
                  <a:pt x="17062" y="10563"/>
                  <a:pt x="17031" y="10969"/>
                </a:cubicBezTo>
                <a:cubicBezTo>
                  <a:pt x="17093" y="10906"/>
                  <a:pt x="17093" y="10813"/>
                  <a:pt x="17125" y="10750"/>
                </a:cubicBezTo>
                <a:cubicBezTo>
                  <a:pt x="17125" y="10813"/>
                  <a:pt x="17125" y="10875"/>
                  <a:pt x="17125" y="10938"/>
                </a:cubicBezTo>
                <a:cubicBezTo>
                  <a:pt x="17187" y="10781"/>
                  <a:pt x="17218" y="10625"/>
                  <a:pt x="17218" y="10469"/>
                </a:cubicBezTo>
                <a:cubicBezTo>
                  <a:pt x="17218" y="10438"/>
                  <a:pt x="17218" y="10375"/>
                  <a:pt x="17250" y="10375"/>
                </a:cubicBezTo>
                <a:cubicBezTo>
                  <a:pt x="17343" y="10375"/>
                  <a:pt x="17343" y="10313"/>
                  <a:pt x="17343" y="10250"/>
                </a:cubicBezTo>
                <a:cubicBezTo>
                  <a:pt x="17343" y="10219"/>
                  <a:pt x="17343" y="10156"/>
                  <a:pt x="17343" y="10125"/>
                </a:cubicBezTo>
                <a:cubicBezTo>
                  <a:pt x="17343" y="10188"/>
                  <a:pt x="17343" y="10250"/>
                  <a:pt x="17375" y="10375"/>
                </a:cubicBezTo>
                <a:cubicBezTo>
                  <a:pt x="17375" y="10313"/>
                  <a:pt x="17375" y="10281"/>
                  <a:pt x="17375" y="10250"/>
                </a:cubicBezTo>
                <a:cubicBezTo>
                  <a:pt x="17375" y="9969"/>
                  <a:pt x="17375" y="9719"/>
                  <a:pt x="17343" y="9438"/>
                </a:cubicBezTo>
                <a:cubicBezTo>
                  <a:pt x="17375" y="9438"/>
                  <a:pt x="17375" y="9438"/>
                  <a:pt x="17375" y="9469"/>
                </a:cubicBezTo>
                <a:cubicBezTo>
                  <a:pt x="17375" y="9594"/>
                  <a:pt x="17406" y="9688"/>
                  <a:pt x="17406" y="9781"/>
                </a:cubicBezTo>
                <a:cubicBezTo>
                  <a:pt x="17406" y="10125"/>
                  <a:pt x="17500" y="10469"/>
                  <a:pt x="17500" y="10813"/>
                </a:cubicBezTo>
                <a:cubicBezTo>
                  <a:pt x="17500" y="10844"/>
                  <a:pt x="17468" y="10875"/>
                  <a:pt x="17531" y="10875"/>
                </a:cubicBezTo>
                <a:cubicBezTo>
                  <a:pt x="17531" y="10875"/>
                  <a:pt x="17562" y="10875"/>
                  <a:pt x="17562" y="10813"/>
                </a:cubicBezTo>
                <a:cubicBezTo>
                  <a:pt x="17625" y="10406"/>
                  <a:pt x="17562" y="10000"/>
                  <a:pt x="17531" y="9594"/>
                </a:cubicBezTo>
                <a:cubicBezTo>
                  <a:pt x="17500" y="9344"/>
                  <a:pt x="17468" y="9094"/>
                  <a:pt x="17437" y="8844"/>
                </a:cubicBezTo>
                <a:cubicBezTo>
                  <a:pt x="17406" y="8625"/>
                  <a:pt x="17375" y="8438"/>
                  <a:pt x="17375" y="8250"/>
                </a:cubicBezTo>
                <a:cubicBezTo>
                  <a:pt x="17531" y="7938"/>
                  <a:pt x="17718" y="7781"/>
                  <a:pt x="17750" y="8656"/>
                </a:cubicBezTo>
                <a:cubicBezTo>
                  <a:pt x="17718" y="8594"/>
                  <a:pt x="17750" y="8531"/>
                  <a:pt x="17718" y="8500"/>
                </a:cubicBezTo>
                <a:cubicBezTo>
                  <a:pt x="17718" y="8813"/>
                  <a:pt x="17750" y="9125"/>
                  <a:pt x="17781" y="9406"/>
                </a:cubicBezTo>
                <a:cubicBezTo>
                  <a:pt x="17812" y="9625"/>
                  <a:pt x="17812" y="9813"/>
                  <a:pt x="17843" y="10000"/>
                </a:cubicBezTo>
                <a:cubicBezTo>
                  <a:pt x="17906" y="10156"/>
                  <a:pt x="17843" y="10313"/>
                  <a:pt x="18000" y="10406"/>
                </a:cubicBezTo>
                <a:cubicBezTo>
                  <a:pt x="18031" y="10438"/>
                  <a:pt x="18031" y="10469"/>
                  <a:pt x="18062" y="10438"/>
                </a:cubicBezTo>
                <a:cubicBezTo>
                  <a:pt x="18093" y="10438"/>
                  <a:pt x="18062" y="10406"/>
                  <a:pt x="18062" y="10375"/>
                </a:cubicBezTo>
                <a:cubicBezTo>
                  <a:pt x="18093" y="10219"/>
                  <a:pt x="18031" y="10063"/>
                  <a:pt x="18031" y="9906"/>
                </a:cubicBezTo>
                <a:cubicBezTo>
                  <a:pt x="18031" y="9875"/>
                  <a:pt x="18031" y="9844"/>
                  <a:pt x="18031" y="9844"/>
                </a:cubicBezTo>
                <a:cubicBezTo>
                  <a:pt x="18250" y="10188"/>
                  <a:pt x="18500" y="10188"/>
                  <a:pt x="18218" y="11406"/>
                </a:cubicBezTo>
                <a:cubicBezTo>
                  <a:pt x="18218" y="11438"/>
                  <a:pt x="18250" y="11500"/>
                  <a:pt x="18250" y="11500"/>
                </a:cubicBezTo>
                <a:cubicBezTo>
                  <a:pt x="18218" y="11563"/>
                  <a:pt x="18156" y="11625"/>
                  <a:pt x="18125" y="11688"/>
                </a:cubicBezTo>
                <a:close/>
                <a:moveTo>
                  <a:pt x="17343" y="9438"/>
                </a:moveTo>
                <a:cubicBezTo>
                  <a:pt x="17312" y="9406"/>
                  <a:pt x="17343" y="9375"/>
                  <a:pt x="17343" y="9375"/>
                </a:cubicBezTo>
                <a:cubicBezTo>
                  <a:pt x="17343" y="9250"/>
                  <a:pt x="17312" y="9125"/>
                  <a:pt x="17281" y="9031"/>
                </a:cubicBezTo>
                <a:cubicBezTo>
                  <a:pt x="17281" y="8969"/>
                  <a:pt x="17281" y="8875"/>
                  <a:pt x="17281" y="8813"/>
                </a:cubicBezTo>
                <a:cubicBezTo>
                  <a:pt x="17250" y="8906"/>
                  <a:pt x="17281" y="8969"/>
                  <a:pt x="17250" y="9031"/>
                </a:cubicBezTo>
                <a:cubicBezTo>
                  <a:pt x="17250" y="8875"/>
                  <a:pt x="17187" y="8719"/>
                  <a:pt x="17156" y="8563"/>
                </a:cubicBezTo>
                <a:cubicBezTo>
                  <a:pt x="17218" y="8531"/>
                  <a:pt x="17250" y="8469"/>
                  <a:pt x="17281" y="8406"/>
                </a:cubicBezTo>
                <a:cubicBezTo>
                  <a:pt x="17281" y="8500"/>
                  <a:pt x="17281" y="8594"/>
                  <a:pt x="17312" y="8688"/>
                </a:cubicBezTo>
                <a:cubicBezTo>
                  <a:pt x="17312" y="8938"/>
                  <a:pt x="17375" y="9188"/>
                  <a:pt x="17343" y="9438"/>
                </a:cubicBezTo>
                <a:close/>
                <a:moveTo>
                  <a:pt x="18312" y="15844"/>
                </a:moveTo>
                <a:cubicBezTo>
                  <a:pt x="18312" y="15844"/>
                  <a:pt x="18312" y="15844"/>
                  <a:pt x="18343" y="15844"/>
                </a:cubicBezTo>
                <a:cubicBezTo>
                  <a:pt x="18500" y="15875"/>
                  <a:pt x="18687" y="15906"/>
                  <a:pt x="18843" y="15938"/>
                </a:cubicBezTo>
                <a:cubicBezTo>
                  <a:pt x="18687" y="15906"/>
                  <a:pt x="18500" y="15875"/>
                  <a:pt x="18343" y="15844"/>
                </a:cubicBezTo>
                <a:cubicBezTo>
                  <a:pt x="18312" y="15844"/>
                  <a:pt x="18312" y="15844"/>
                  <a:pt x="18312" y="15844"/>
                </a:cubicBezTo>
                <a:close/>
                <a:moveTo>
                  <a:pt x="18781" y="16781"/>
                </a:moveTo>
                <a:cubicBezTo>
                  <a:pt x="18781" y="16781"/>
                  <a:pt x="18781" y="16781"/>
                  <a:pt x="18781" y="16781"/>
                </a:cubicBezTo>
                <a:cubicBezTo>
                  <a:pt x="18812" y="16781"/>
                  <a:pt x="18843" y="16781"/>
                  <a:pt x="18875" y="16781"/>
                </a:cubicBezTo>
                <a:cubicBezTo>
                  <a:pt x="18843" y="16781"/>
                  <a:pt x="18812" y="16781"/>
                  <a:pt x="18781" y="16781"/>
                </a:cubicBezTo>
                <a:close/>
                <a:moveTo>
                  <a:pt x="18968" y="15938"/>
                </a:moveTo>
                <a:cubicBezTo>
                  <a:pt x="18968" y="15938"/>
                  <a:pt x="18968" y="15938"/>
                  <a:pt x="18937" y="15938"/>
                </a:cubicBezTo>
                <a:cubicBezTo>
                  <a:pt x="18968" y="15938"/>
                  <a:pt x="18968" y="15938"/>
                  <a:pt x="18968" y="15938"/>
                </a:cubicBezTo>
                <a:cubicBezTo>
                  <a:pt x="19000" y="15938"/>
                  <a:pt x="19000" y="15938"/>
                  <a:pt x="19000" y="15938"/>
                </a:cubicBezTo>
                <a:cubicBezTo>
                  <a:pt x="19000" y="15938"/>
                  <a:pt x="19000" y="15938"/>
                  <a:pt x="18968" y="15938"/>
                </a:cubicBezTo>
                <a:close/>
                <a:moveTo>
                  <a:pt x="19000" y="11625"/>
                </a:moveTo>
                <a:cubicBezTo>
                  <a:pt x="19000" y="11688"/>
                  <a:pt x="18968" y="11719"/>
                  <a:pt x="18906" y="11688"/>
                </a:cubicBezTo>
                <a:cubicBezTo>
                  <a:pt x="18906" y="11688"/>
                  <a:pt x="18906" y="11688"/>
                  <a:pt x="18906" y="11688"/>
                </a:cubicBezTo>
                <a:cubicBezTo>
                  <a:pt x="18812" y="11750"/>
                  <a:pt x="18843" y="11688"/>
                  <a:pt x="18812" y="11656"/>
                </a:cubicBezTo>
                <a:cubicBezTo>
                  <a:pt x="18812" y="11563"/>
                  <a:pt x="18843" y="11438"/>
                  <a:pt x="18812" y="11313"/>
                </a:cubicBezTo>
                <a:cubicBezTo>
                  <a:pt x="18750" y="11531"/>
                  <a:pt x="18656" y="11688"/>
                  <a:pt x="18687" y="11875"/>
                </a:cubicBezTo>
                <a:cubicBezTo>
                  <a:pt x="18656" y="11750"/>
                  <a:pt x="18625" y="11625"/>
                  <a:pt x="18625" y="11500"/>
                </a:cubicBezTo>
                <a:cubicBezTo>
                  <a:pt x="18625" y="11344"/>
                  <a:pt x="18625" y="11188"/>
                  <a:pt x="18625" y="11063"/>
                </a:cubicBezTo>
                <a:cubicBezTo>
                  <a:pt x="18656" y="11031"/>
                  <a:pt x="18656" y="11000"/>
                  <a:pt x="18656" y="10969"/>
                </a:cubicBezTo>
                <a:cubicBezTo>
                  <a:pt x="18687" y="10969"/>
                  <a:pt x="18687" y="11000"/>
                  <a:pt x="18687" y="11000"/>
                </a:cubicBezTo>
                <a:cubicBezTo>
                  <a:pt x="18687" y="10969"/>
                  <a:pt x="18687" y="10938"/>
                  <a:pt x="18687" y="10938"/>
                </a:cubicBezTo>
                <a:cubicBezTo>
                  <a:pt x="18843" y="10500"/>
                  <a:pt x="19000" y="10250"/>
                  <a:pt x="19031" y="11563"/>
                </a:cubicBezTo>
                <a:cubicBezTo>
                  <a:pt x="19031" y="11563"/>
                  <a:pt x="19031" y="11594"/>
                  <a:pt x="19000" y="11625"/>
                </a:cubicBezTo>
                <a:close/>
                <a:moveTo>
                  <a:pt x="20625" y="4500"/>
                </a:moveTo>
                <a:cubicBezTo>
                  <a:pt x="20625" y="4500"/>
                  <a:pt x="20593" y="4531"/>
                  <a:pt x="20562" y="4531"/>
                </a:cubicBezTo>
                <a:cubicBezTo>
                  <a:pt x="20562" y="4531"/>
                  <a:pt x="20562" y="4531"/>
                  <a:pt x="20562" y="4531"/>
                </a:cubicBezTo>
                <a:cubicBezTo>
                  <a:pt x="20593" y="4531"/>
                  <a:pt x="20625" y="4500"/>
                  <a:pt x="20625" y="4500"/>
                </a:cubicBezTo>
                <a:close/>
                <a:moveTo>
                  <a:pt x="20437" y="4688"/>
                </a:moveTo>
                <a:cubicBezTo>
                  <a:pt x="20468" y="4656"/>
                  <a:pt x="20500" y="4656"/>
                  <a:pt x="20531" y="4656"/>
                </a:cubicBezTo>
                <a:cubicBezTo>
                  <a:pt x="20500" y="4656"/>
                  <a:pt x="20468" y="4656"/>
                  <a:pt x="20437" y="4688"/>
                </a:cubicBezTo>
                <a:cubicBezTo>
                  <a:pt x="20406" y="4688"/>
                  <a:pt x="20343" y="4719"/>
                  <a:pt x="20281" y="4719"/>
                </a:cubicBezTo>
                <a:cubicBezTo>
                  <a:pt x="20343" y="4719"/>
                  <a:pt x="20406" y="4688"/>
                  <a:pt x="20437" y="4688"/>
                </a:cubicBezTo>
                <a:close/>
                <a:moveTo>
                  <a:pt x="20562" y="13063"/>
                </a:moveTo>
                <a:cubicBezTo>
                  <a:pt x="20531" y="13063"/>
                  <a:pt x="20500" y="13063"/>
                  <a:pt x="20500" y="13094"/>
                </a:cubicBezTo>
                <a:cubicBezTo>
                  <a:pt x="20468" y="13094"/>
                  <a:pt x="20468" y="13094"/>
                  <a:pt x="20437" y="13094"/>
                </a:cubicBezTo>
                <a:cubicBezTo>
                  <a:pt x="20468" y="13094"/>
                  <a:pt x="20468" y="13094"/>
                  <a:pt x="20500" y="13094"/>
                </a:cubicBezTo>
                <a:cubicBezTo>
                  <a:pt x="20500" y="13063"/>
                  <a:pt x="20531" y="13063"/>
                  <a:pt x="20562" y="13063"/>
                </a:cubicBezTo>
                <a:close/>
                <a:moveTo>
                  <a:pt x="20468" y="4719"/>
                </a:moveTo>
                <a:cubicBezTo>
                  <a:pt x="20468" y="4719"/>
                  <a:pt x="20500" y="4719"/>
                  <a:pt x="20500" y="4719"/>
                </a:cubicBezTo>
                <a:cubicBezTo>
                  <a:pt x="20500" y="4719"/>
                  <a:pt x="20468" y="4719"/>
                  <a:pt x="20468" y="4719"/>
                </a:cubicBezTo>
                <a:cubicBezTo>
                  <a:pt x="20375" y="4750"/>
                  <a:pt x="20312" y="4750"/>
                  <a:pt x="20250" y="4781"/>
                </a:cubicBezTo>
                <a:cubicBezTo>
                  <a:pt x="20312" y="4750"/>
                  <a:pt x="20375" y="4750"/>
                  <a:pt x="20468" y="4719"/>
                </a:cubicBezTo>
                <a:close/>
                <a:moveTo>
                  <a:pt x="19500" y="11625"/>
                </a:moveTo>
                <a:cubicBezTo>
                  <a:pt x="19500" y="11531"/>
                  <a:pt x="19468" y="11438"/>
                  <a:pt x="19468" y="11344"/>
                </a:cubicBezTo>
                <a:cubicBezTo>
                  <a:pt x="19468" y="11594"/>
                  <a:pt x="19406" y="11844"/>
                  <a:pt x="19312" y="12063"/>
                </a:cubicBezTo>
                <a:cubicBezTo>
                  <a:pt x="19312" y="11969"/>
                  <a:pt x="19312" y="11844"/>
                  <a:pt x="19281" y="11750"/>
                </a:cubicBezTo>
                <a:cubicBezTo>
                  <a:pt x="19406" y="10969"/>
                  <a:pt x="19531" y="9844"/>
                  <a:pt x="19500" y="11625"/>
                </a:cubicBezTo>
                <a:close/>
                <a:moveTo>
                  <a:pt x="19625" y="16906"/>
                </a:moveTo>
                <a:cubicBezTo>
                  <a:pt x="19625" y="16906"/>
                  <a:pt x="19625" y="16906"/>
                  <a:pt x="19656" y="16906"/>
                </a:cubicBezTo>
                <a:cubicBezTo>
                  <a:pt x="19656" y="16906"/>
                  <a:pt x="19656" y="16906"/>
                  <a:pt x="19656" y="16906"/>
                </a:cubicBezTo>
                <a:cubicBezTo>
                  <a:pt x="19625" y="16906"/>
                  <a:pt x="19625" y="16906"/>
                  <a:pt x="19625" y="16906"/>
                </a:cubicBezTo>
                <a:close/>
                <a:moveTo>
                  <a:pt x="19656" y="16906"/>
                </a:moveTo>
                <a:cubicBezTo>
                  <a:pt x="19656" y="16906"/>
                  <a:pt x="19656" y="16937"/>
                  <a:pt x="19687" y="16937"/>
                </a:cubicBezTo>
                <a:cubicBezTo>
                  <a:pt x="19656" y="16937"/>
                  <a:pt x="19656" y="16906"/>
                  <a:pt x="19656" y="16906"/>
                </a:cubicBezTo>
                <a:close/>
                <a:moveTo>
                  <a:pt x="20156" y="13281"/>
                </a:moveTo>
                <a:cubicBezTo>
                  <a:pt x="20156" y="13281"/>
                  <a:pt x="20156" y="13281"/>
                  <a:pt x="20156" y="13281"/>
                </a:cubicBezTo>
                <a:cubicBezTo>
                  <a:pt x="20156" y="13281"/>
                  <a:pt x="20187" y="13281"/>
                  <a:pt x="20187" y="13281"/>
                </a:cubicBezTo>
                <a:cubicBezTo>
                  <a:pt x="20187" y="13281"/>
                  <a:pt x="20156" y="13281"/>
                  <a:pt x="20156" y="13281"/>
                </a:cubicBezTo>
                <a:close/>
                <a:moveTo>
                  <a:pt x="20281" y="16438"/>
                </a:moveTo>
                <a:cubicBezTo>
                  <a:pt x="20281" y="16438"/>
                  <a:pt x="20281" y="16438"/>
                  <a:pt x="20281" y="16438"/>
                </a:cubicBezTo>
                <a:cubicBezTo>
                  <a:pt x="20281" y="16438"/>
                  <a:pt x="20281" y="16438"/>
                  <a:pt x="20281" y="16438"/>
                </a:cubicBezTo>
                <a:cubicBezTo>
                  <a:pt x="20281" y="16438"/>
                  <a:pt x="20281" y="16438"/>
                  <a:pt x="20281" y="16438"/>
                </a:cubicBezTo>
                <a:close/>
                <a:moveTo>
                  <a:pt x="20281" y="14313"/>
                </a:moveTo>
                <a:cubicBezTo>
                  <a:pt x="20250" y="14313"/>
                  <a:pt x="20250" y="14313"/>
                  <a:pt x="20218" y="14313"/>
                </a:cubicBezTo>
                <a:cubicBezTo>
                  <a:pt x="20250" y="14313"/>
                  <a:pt x="20250" y="14313"/>
                  <a:pt x="20281" y="14313"/>
                </a:cubicBezTo>
                <a:close/>
                <a:moveTo>
                  <a:pt x="20375" y="14313"/>
                </a:moveTo>
                <a:cubicBezTo>
                  <a:pt x="20343" y="14313"/>
                  <a:pt x="20312" y="14313"/>
                  <a:pt x="20281" y="14313"/>
                </a:cubicBezTo>
                <a:cubicBezTo>
                  <a:pt x="20312" y="14313"/>
                  <a:pt x="20343" y="14313"/>
                  <a:pt x="20375" y="14313"/>
                </a:cubicBezTo>
                <a:cubicBezTo>
                  <a:pt x="20375" y="14281"/>
                  <a:pt x="20375" y="14281"/>
                  <a:pt x="20375" y="14281"/>
                </a:cubicBezTo>
                <a:cubicBezTo>
                  <a:pt x="20375" y="14281"/>
                  <a:pt x="20375" y="14281"/>
                  <a:pt x="20375" y="14313"/>
                </a:cubicBezTo>
                <a:close/>
                <a:moveTo>
                  <a:pt x="20593" y="13688"/>
                </a:moveTo>
                <a:cubicBezTo>
                  <a:pt x="20593" y="13688"/>
                  <a:pt x="20593" y="13688"/>
                  <a:pt x="20593" y="13719"/>
                </a:cubicBezTo>
                <a:cubicBezTo>
                  <a:pt x="20593" y="13719"/>
                  <a:pt x="20593" y="13719"/>
                  <a:pt x="20593" y="13750"/>
                </a:cubicBezTo>
                <a:cubicBezTo>
                  <a:pt x="20593" y="13719"/>
                  <a:pt x="20593" y="13719"/>
                  <a:pt x="20593" y="13719"/>
                </a:cubicBezTo>
                <a:cubicBezTo>
                  <a:pt x="20562" y="13688"/>
                  <a:pt x="20500" y="13719"/>
                  <a:pt x="20468" y="13719"/>
                </a:cubicBezTo>
                <a:cubicBezTo>
                  <a:pt x="20500" y="13719"/>
                  <a:pt x="20562" y="13688"/>
                  <a:pt x="20593" y="13719"/>
                </a:cubicBezTo>
                <a:cubicBezTo>
                  <a:pt x="20593" y="13688"/>
                  <a:pt x="20593" y="13688"/>
                  <a:pt x="20593" y="13688"/>
                </a:cubicBezTo>
                <a:cubicBezTo>
                  <a:pt x="20625" y="13688"/>
                  <a:pt x="20625" y="13688"/>
                  <a:pt x="20625" y="13688"/>
                </a:cubicBezTo>
                <a:cubicBezTo>
                  <a:pt x="20625" y="13688"/>
                  <a:pt x="20625" y="13688"/>
                  <a:pt x="20593" y="13688"/>
                </a:cubicBezTo>
                <a:close/>
                <a:moveTo>
                  <a:pt x="20625" y="13500"/>
                </a:moveTo>
                <a:cubicBezTo>
                  <a:pt x="20625" y="13500"/>
                  <a:pt x="20625" y="13531"/>
                  <a:pt x="20625" y="13531"/>
                </a:cubicBezTo>
                <a:cubicBezTo>
                  <a:pt x="20625" y="13531"/>
                  <a:pt x="20625" y="13531"/>
                  <a:pt x="20625" y="13531"/>
                </a:cubicBezTo>
                <a:cubicBezTo>
                  <a:pt x="20625" y="13531"/>
                  <a:pt x="20625" y="13500"/>
                  <a:pt x="20625" y="13500"/>
                </a:cubicBezTo>
                <a:close/>
                <a:moveTo>
                  <a:pt x="20593" y="13438"/>
                </a:moveTo>
                <a:cubicBezTo>
                  <a:pt x="20468" y="13438"/>
                  <a:pt x="20375" y="13406"/>
                  <a:pt x="20281" y="13375"/>
                </a:cubicBezTo>
                <a:cubicBezTo>
                  <a:pt x="20375" y="13406"/>
                  <a:pt x="20468" y="13438"/>
                  <a:pt x="20593" y="13438"/>
                </a:cubicBezTo>
                <a:cubicBezTo>
                  <a:pt x="20593" y="13406"/>
                  <a:pt x="20625" y="13375"/>
                  <a:pt x="20625" y="13313"/>
                </a:cubicBezTo>
                <a:cubicBezTo>
                  <a:pt x="20625" y="13375"/>
                  <a:pt x="20593" y="13406"/>
                  <a:pt x="20593" y="13438"/>
                </a:cubicBezTo>
                <a:close/>
                <a:moveTo>
                  <a:pt x="20625" y="13063"/>
                </a:moveTo>
                <a:cubicBezTo>
                  <a:pt x="20593" y="13063"/>
                  <a:pt x="20562" y="13063"/>
                  <a:pt x="20562" y="13063"/>
                </a:cubicBezTo>
                <a:cubicBezTo>
                  <a:pt x="20562" y="13063"/>
                  <a:pt x="20593" y="13063"/>
                  <a:pt x="20625" y="13063"/>
                </a:cubicBezTo>
                <a:cubicBezTo>
                  <a:pt x="20625" y="13063"/>
                  <a:pt x="20625" y="13031"/>
                  <a:pt x="20625" y="13031"/>
                </a:cubicBezTo>
                <a:cubicBezTo>
                  <a:pt x="20625" y="13031"/>
                  <a:pt x="20625" y="13063"/>
                  <a:pt x="20625" y="13063"/>
                </a:cubicBezTo>
                <a:close/>
                <a:moveTo>
                  <a:pt x="20625" y="4563"/>
                </a:moveTo>
                <a:cubicBezTo>
                  <a:pt x="20625" y="4563"/>
                  <a:pt x="20625" y="4563"/>
                  <a:pt x="20625" y="4531"/>
                </a:cubicBezTo>
                <a:cubicBezTo>
                  <a:pt x="20625" y="4563"/>
                  <a:pt x="20625" y="4563"/>
                  <a:pt x="20625" y="4563"/>
                </a:cubicBezTo>
                <a:cubicBezTo>
                  <a:pt x="20625" y="4563"/>
                  <a:pt x="20625" y="4563"/>
                  <a:pt x="20625" y="4563"/>
                </a:cubicBezTo>
                <a:close/>
                <a:moveTo>
                  <a:pt x="23875" y="9875"/>
                </a:moveTo>
                <a:cubicBezTo>
                  <a:pt x="23875" y="9906"/>
                  <a:pt x="23875" y="9938"/>
                  <a:pt x="23875" y="9969"/>
                </a:cubicBezTo>
                <a:cubicBezTo>
                  <a:pt x="23875" y="9938"/>
                  <a:pt x="23875" y="9906"/>
                  <a:pt x="23875" y="9875"/>
                </a:cubicBezTo>
                <a:cubicBezTo>
                  <a:pt x="23875" y="9875"/>
                  <a:pt x="23875" y="9844"/>
                  <a:pt x="23875" y="9844"/>
                </a:cubicBezTo>
                <a:cubicBezTo>
                  <a:pt x="23875" y="9844"/>
                  <a:pt x="23875" y="9875"/>
                  <a:pt x="23875" y="9875"/>
                </a:cubicBezTo>
                <a:close/>
                <a:moveTo>
                  <a:pt x="21562" y="1563"/>
                </a:moveTo>
                <a:cubicBezTo>
                  <a:pt x="21562" y="1563"/>
                  <a:pt x="21562" y="1563"/>
                  <a:pt x="21562" y="1563"/>
                </a:cubicBezTo>
                <a:cubicBezTo>
                  <a:pt x="21562" y="1563"/>
                  <a:pt x="21562" y="1531"/>
                  <a:pt x="21562" y="1531"/>
                </a:cubicBezTo>
                <a:cubicBezTo>
                  <a:pt x="21562" y="1531"/>
                  <a:pt x="21562" y="1563"/>
                  <a:pt x="21562" y="1563"/>
                </a:cubicBezTo>
                <a:close/>
                <a:moveTo>
                  <a:pt x="21500" y="1719"/>
                </a:moveTo>
                <a:cubicBezTo>
                  <a:pt x="21500" y="1719"/>
                  <a:pt x="21500" y="1719"/>
                  <a:pt x="21500" y="1719"/>
                </a:cubicBezTo>
                <a:cubicBezTo>
                  <a:pt x="21500" y="1688"/>
                  <a:pt x="21500" y="1688"/>
                  <a:pt x="21500" y="1656"/>
                </a:cubicBezTo>
                <a:cubicBezTo>
                  <a:pt x="21500" y="1688"/>
                  <a:pt x="21500" y="1688"/>
                  <a:pt x="21500" y="1719"/>
                </a:cubicBezTo>
                <a:close/>
                <a:moveTo>
                  <a:pt x="21468" y="1875"/>
                </a:moveTo>
                <a:cubicBezTo>
                  <a:pt x="21437" y="1906"/>
                  <a:pt x="21437" y="1938"/>
                  <a:pt x="21437" y="1969"/>
                </a:cubicBezTo>
                <a:cubicBezTo>
                  <a:pt x="21437" y="1938"/>
                  <a:pt x="21437" y="1906"/>
                  <a:pt x="21468" y="1875"/>
                </a:cubicBezTo>
                <a:close/>
                <a:moveTo>
                  <a:pt x="21437" y="2563"/>
                </a:moveTo>
                <a:cubicBezTo>
                  <a:pt x="21437" y="2563"/>
                  <a:pt x="21437" y="2563"/>
                  <a:pt x="21437" y="2563"/>
                </a:cubicBezTo>
                <a:cubicBezTo>
                  <a:pt x="21406" y="2500"/>
                  <a:pt x="21406" y="2406"/>
                  <a:pt x="21406" y="2344"/>
                </a:cubicBezTo>
                <a:cubicBezTo>
                  <a:pt x="21406" y="2406"/>
                  <a:pt x="21406" y="2500"/>
                  <a:pt x="21437" y="2563"/>
                </a:cubicBezTo>
                <a:close/>
                <a:moveTo>
                  <a:pt x="21375" y="1719"/>
                </a:moveTo>
                <a:cubicBezTo>
                  <a:pt x="21375" y="1719"/>
                  <a:pt x="21375" y="1750"/>
                  <a:pt x="21375" y="1750"/>
                </a:cubicBezTo>
                <a:cubicBezTo>
                  <a:pt x="21375" y="1750"/>
                  <a:pt x="21375" y="1719"/>
                  <a:pt x="21375" y="1719"/>
                </a:cubicBezTo>
                <a:cubicBezTo>
                  <a:pt x="21375" y="1719"/>
                  <a:pt x="21375" y="1719"/>
                  <a:pt x="21375" y="1719"/>
                </a:cubicBezTo>
                <a:close/>
                <a:moveTo>
                  <a:pt x="21343" y="1813"/>
                </a:moveTo>
                <a:cubicBezTo>
                  <a:pt x="21343" y="1813"/>
                  <a:pt x="21343" y="1844"/>
                  <a:pt x="21343" y="1844"/>
                </a:cubicBezTo>
                <a:cubicBezTo>
                  <a:pt x="21343" y="1844"/>
                  <a:pt x="21343" y="1813"/>
                  <a:pt x="21343" y="1813"/>
                </a:cubicBezTo>
                <a:close/>
                <a:moveTo>
                  <a:pt x="21250" y="2500"/>
                </a:moveTo>
                <a:cubicBezTo>
                  <a:pt x="21250" y="2500"/>
                  <a:pt x="21250" y="2500"/>
                  <a:pt x="21250" y="2500"/>
                </a:cubicBezTo>
                <a:cubicBezTo>
                  <a:pt x="21218" y="2500"/>
                  <a:pt x="21218" y="2469"/>
                  <a:pt x="21218" y="2438"/>
                </a:cubicBezTo>
                <a:cubicBezTo>
                  <a:pt x="21218" y="2469"/>
                  <a:pt x="21218" y="2500"/>
                  <a:pt x="21250" y="2500"/>
                </a:cubicBezTo>
                <a:close/>
                <a:moveTo>
                  <a:pt x="21156" y="2938"/>
                </a:moveTo>
                <a:cubicBezTo>
                  <a:pt x="21125" y="2969"/>
                  <a:pt x="21125" y="3000"/>
                  <a:pt x="21125" y="3000"/>
                </a:cubicBezTo>
                <a:cubicBezTo>
                  <a:pt x="21125" y="3000"/>
                  <a:pt x="21125" y="3000"/>
                  <a:pt x="21125" y="3000"/>
                </a:cubicBezTo>
                <a:cubicBezTo>
                  <a:pt x="21125" y="3000"/>
                  <a:pt x="21125" y="2969"/>
                  <a:pt x="21156" y="2938"/>
                </a:cubicBezTo>
                <a:close/>
                <a:moveTo>
                  <a:pt x="21125" y="4531"/>
                </a:moveTo>
                <a:cubicBezTo>
                  <a:pt x="21125" y="4563"/>
                  <a:pt x="21125" y="4563"/>
                  <a:pt x="21125" y="4563"/>
                </a:cubicBezTo>
                <a:cubicBezTo>
                  <a:pt x="21125" y="4594"/>
                  <a:pt x="21125" y="4594"/>
                  <a:pt x="21125" y="4594"/>
                </a:cubicBezTo>
                <a:cubicBezTo>
                  <a:pt x="21125" y="4594"/>
                  <a:pt x="21125" y="4563"/>
                  <a:pt x="21125" y="4563"/>
                </a:cubicBezTo>
                <a:cubicBezTo>
                  <a:pt x="21125" y="4563"/>
                  <a:pt x="21125" y="4563"/>
                  <a:pt x="21125" y="4531"/>
                </a:cubicBezTo>
                <a:close/>
                <a:moveTo>
                  <a:pt x="21125" y="4844"/>
                </a:moveTo>
                <a:cubicBezTo>
                  <a:pt x="21125" y="4844"/>
                  <a:pt x="21125" y="4844"/>
                  <a:pt x="21125" y="4844"/>
                </a:cubicBezTo>
                <a:cubicBezTo>
                  <a:pt x="21125" y="4844"/>
                  <a:pt x="21125" y="4844"/>
                  <a:pt x="21125" y="4844"/>
                </a:cubicBezTo>
                <a:cubicBezTo>
                  <a:pt x="21125" y="4844"/>
                  <a:pt x="21093" y="4844"/>
                  <a:pt x="21093" y="4844"/>
                </a:cubicBezTo>
                <a:cubicBezTo>
                  <a:pt x="21093" y="4844"/>
                  <a:pt x="21093" y="4844"/>
                  <a:pt x="21093" y="4844"/>
                </a:cubicBezTo>
                <a:cubicBezTo>
                  <a:pt x="21093" y="4844"/>
                  <a:pt x="21125" y="4844"/>
                  <a:pt x="21125" y="4844"/>
                </a:cubicBezTo>
                <a:cubicBezTo>
                  <a:pt x="21125" y="4844"/>
                  <a:pt x="21125" y="4844"/>
                  <a:pt x="21125" y="4844"/>
                </a:cubicBezTo>
                <a:close/>
                <a:moveTo>
                  <a:pt x="21093" y="6156"/>
                </a:moveTo>
                <a:cubicBezTo>
                  <a:pt x="21093" y="6156"/>
                  <a:pt x="21062" y="6156"/>
                  <a:pt x="21062" y="6156"/>
                </a:cubicBezTo>
                <a:cubicBezTo>
                  <a:pt x="21062" y="6156"/>
                  <a:pt x="21062" y="6156"/>
                  <a:pt x="21062" y="6156"/>
                </a:cubicBezTo>
                <a:cubicBezTo>
                  <a:pt x="21062" y="6156"/>
                  <a:pt x="21093" y="6156"/>
                  <a:pt x="21093" y="6156"/>
                </a:cubicBezTo>
                <a:close/>
                <a:moveTo>
                  <a:pt x="21062" y="3406"/>
                </a:moveTo>
                <a:cubicBezTo>
                  <a:pt x="21062" y="3438"/>
                  <a:pt x="21062" y="3469"/>
                  <a:pt x="21062" y="3500"/>
                </a:cubicBezTo>
                <a:cubicBezTo>
                  <a:pt x="21062" y="3469"/>
                  <a:pt x="21062" y="3438"/>
                  <a:pt x="21062" y="3406"/>
                </a:cubicBezTo>
                <a:cubicBezTo>
                  <a:pt x="21062" y="3438"/>
                  <a:pt x="21093" y="3438"/>
                  <a:pt x="21093" y="3469"/>
                </a:cubicBezTo>
                <a:cubicBezTo>
                  <a:pt x="21093" y="3438"/>
                  <a:pt x="21062" y="3438"/>
                  <a:pt x="21062" y="3406"/>
                </a:cubicBezTo>
                <a:close/>
                <a:moveTo>
                  <a:pt x="21031" y="5156"/>
                </a:moveTo>
                <a:cubicBezTo>
                  <a:pt x="21031" y="5188"/>
                  <a:pt x="21031" y="5219"/>
                  <a:pt x="21062" y="5250"/>
                </a:cubicBezTo>
                <a:cubicBezTo>
                  <a:pt x="21031" y="5219"/>
                  <a:pt x="21031" y="5188"/>
                  <a:pt x="21031" y="5156"/>
                </a:cubicBezTo>
                <a:cubicBezTo>
                  <a:pt x="21031" y="5125"/>
                  <a:pt x="21031" y="5125"/>
                  <a:pt x="21031" y="5125"/>
                </a:cubicBezTo>
                <a:cubicBezTo>
                  <a:pt x="21031" y="5125"/>
                  <a:pt x="21031" y="5125"/>
                  <a:pt x="21031" y="5156"/>
                </a:cubicBezTo>
                <a:close/>
                <a:moveTo>
                  <a:pt x="21000" y="4063"/>
                </a:moveTo>
                <a:cubicBezTo>
                  <a:pt x="21000" y="4063"/>
                  <a:pt x="21000" y="4063"/>
                  <a:pt x="21000" y="4063"/>
                </a:cubicBezTo>
                <a:cubicBezTo>
                  <a:pt x="21000" y="4031"/>
                  <a:pt x="21031" y="4031"/>
                  <a:pt x="21031" y="4031"/>
                </a:cubicBezTo>
                <a:cubicBezTo>
                  <a:pt x="21031" y="4031"/>
                  <a:pt x="21000" y="4031"/>
                  <a:pt x="21000" y="4063"/>
                </a:cubicBezTo>
                <a:close/>
                <a:moveTo>
                  <a:pt x="21031" y="4250"/>
                </a:moveTo>
                <a:cubicBezTo>
                  <a:pt x="21031" y="4250"/>
                  <a:pt x="21031" y="4250"/>
                  <a:pt x="21031" y="4219"/>
                </a:cubicBezTo>
                <a:cubicBezTo>
                  <a:pt x="21031" y="4250"/>
                  <a:pt x="21031" y="4250"/>
                  <a:pt x="21031" y="4250"/>
                </a:cubicBezTo>
                <a:cubicBezTo>
                  <a:pt x="21031" y="4250"/>
                  <a:pt x="21062" y="4250"/>
                  <a:pt x="21062" y="4281"/>
                </a:cubicBezTo>
                <a:cubicBezTo>
                  <a:pt x="21062" y="4250"/>
                  <a:pt x="21031" y="4250"/>
                  <a:pt x="21031" y="4250"/>
                </a:cubicBezTo>
                <a:close/>
                <a:moveTo>
                  <a:pt x="21000" y="3281"/>
                </a:moveTo>
                <a:cubicBezTo>
                  <a:pt x="21031" y="3281"/>
                  <a:pt x="21062" y="3281"/>
                  <a:pt x="21062" y="3313"/>
                </a:cubicBezTo>
                <a:cubicBezTo>
                  <a:pt x="21062" y="3313"/>
                  <a:pt x="21062" y="3313"/>
                  <a:pt x="21062" y="3313"/>
                </a:cubicBezTo>
                <a:cubicBezTo>
                  <a:pt x="21062" y="3313"/>
                  <a:pt x="21062" y="3313"/>
                  <a:pt x="21062" y="3313"/>
                </a:cubicBezTo>
                <a:cubicBezTo>
                  <a:pt x="21062" y="3281"/>
                  <a:pt x="21031" y="3281"/>
                  <a:pt x="21000" y="3281"/>
                </a:cubicBezTo>
                <a:cubicBezTo>
                  <a:pt x="21000" y="3281"/>
                  <a:pt x="21000" y="3281"/>
                  <a:pt x="21000" y="3281"/>
                </a:cubicBezTo>
                <a:cubicBezTo>
                  <a:pt x="21000" y="3219"/>
                  <a:pt x="21000" y="3188"/>
                  <a:pt x="21000" y="3156"/>
                </a:cubicBezTo>
                <a:cubicBezTo>
                  <a:pt x="21000" y="3188"/>
                  <a:pt x="21000" y="3219"/>
                  <a:pt x="21000" y="3281"/>
                </a:cubicBezTo>
                <a:close/>
                <a:moveTo>
                  <a:pt x="20968" y="4094"/>
                </a:moveTo>
                <a:cubicBezTo>
                  <a:pt x="20968" y="4125"/>
                  <a:pt x="20968" y="4125"/>
                  <a:pt x="20968" y="4125"/>
                </a:cubicBezTo>
                <a:cubicBezTo>
                  <a:pt x="20968" y="4156"/>
                  <a:pt x="20968" y="4156"/>
                  <a:pt x="20968" y="4156"/>
                </a:cubicBezTo>
                <a:cubicBezTo>
                  <a:pt x="20968" y="4156"/>
                  <a:pt x="20968" y="4156"/>
                  <a:pt x="20968" y="4125"/>
                </a:cubicBezTo>
                <a:cubicBezTo>
                  <a:pt x="20968" y="4125"/>
                  <a:pt x="20968" y="4125"/>
                  <a:pt x="20968" y="4094"/>
                </a:cubicBezTo>
                <a:close/>
                <a:moveTo>
                  <a:pt x="20968" y="3750"/>
                </a:moveTo>
                <a:cubicBezTo>
                  <a:pt x="20968" y="3750"/>
                  <a:pt x="20968" y="3750"/>
                  <a:pt x="20968" y="3750"/>
                </a:cubicBezTo>
                <a:cubicBezTo>
                  <a:pt x="20937" y="3750"/>
                  <a:pt x="20937" y="3719"/>
                  <a:pt x="20937" y="3719"/>
                </a:cubicBezTo>
                <a:cubicBezTo>
                  <a:pt x="20937" y="3719"/>
                  <a:pt x="20937" y="3750"/>
                  <a:pt x="20968" y="3750"/>
                </a:cubicBezTo>
                <a:close/>
                <a:moveTo>
                  <a:pt x="20937" y="4000"/>
                </a:moveTo>
                <a:cubicBezTo>
                  <a:pt x="20968" y="3969"/>
                  <a:pt x="20968" y="3938"/>
                  <a:pt x="20968" y="3938"/>
                </a:cubicBezTo>
                <a:cubicBezTo>
                  <a:pt x="20968" y="3938"/>
                  <a:pt x="20968" y="3969"/>
                  <a:pt x="20937" y="4000"/>
                </a:cubicBezTo>
                <a:cubicBezTo>
                  <a:pt x="20937" y="4000"/>
                  <a:pt x="20937" y="4000"/>
                  <a:pt x="20937" y="4000"/>
                </a:cubicBezTo>
                <a:close/>
                <a:moveTo>
                  <a:pt x="20937" y="5406"/>
                </a:moveTo>
                <a:cubicBezTo>
                  <a:pt x="20968" y="5438"/>
                  <a:pt x="20968" y="5500"/>
                  <a:pt x="20968" y="5531"/>
                </a:cubicBezTo>
                <a:cubicBezTo>
                  <a:pt x="20968" y="5500"/>
                  <a:pt x="20968" y="5438"/>
                  <a:pt x="20937" y="5406"/>
                </a:cubicBezTo>
                <a:cubicBezTo>
                  <a:pt x="20906" y="5281"/>
                  <a:pt x="20906" y="5125"/>
                  <a:pt x="20875" y="5000"/>
                </a:cubicBezTo>
                <a:cubicBezTo>
                  <a:pt x="20906" y="5125"/>
                  <a:pt x="20906" y="5281"/>
                  <a:pt x="20937" y="5406"/>
                </a:cubicBezTo>
                <a:close/>
                <a:moveTo>
                  <a:pt x="20781" y="12938"/>
                </a:moveTo>
                <a:cubicBezTo>
                  <a:pt x="20781" y="12938"/>
                  <a:pt x="20781" y="12938"/>
                  <a:pt x="20781" y="12938"/>
                </a:cubicBezTo>
                <a:cubicBezTo>
                  <a:pt x="20781" y="12938"/>
                  <a:pt x="20781" y="12938"/>
                  <a:pt x="20781" y="12938"/>
                </a:cubicBezTo>
                <a:cubicBezTo>
                  <a:pt x="20781" y="12938"/>
                  <a:pt x="20781" y="12938"/>
                  <a:pt x="20781" y="12938"/>
                </a:cubicBezTo>
                <a:close/>
                <a:moveTo>
                  <a:pt x="20843" y="12719"/>
                </a:moveTo>
                <a:cubicBezTo>
                  <a:pt x="20875" y="12719"/>
                  <a:pt x="20875" y="12719"/>
                  <a:pt x="20875" y="12719"/>
                </a:cubicBezTo>
                <a:cubicBezTo>
                  <a:pt x="20906" y="12688"/>
                  <a:pt x="20906" y="12688"/>
                  <a:pt x="20906" y="12688"/>
                </a:cubicBezTo>
                <a:cubicBezTo>
                  <a:pt x="20906" y="12688"/>
                  <a:pt x="20906" y="12688"/>
                  <a:pt x="20875" y="12719"/>
                </a:cubicBezTo>
                <a:cubicBezTo>
                  <a:pt x="20875" y="12719"/>
                  <a:pt x="20875" y="12719"/>
                  <a:pt x="20843" y="12719"/>
                </a:cubicBezTo>
                <a:close/>
                <a:moveTo>
                  <a:pt x="20875" y="12719"/>
                </a:moveTo>
                <a:cubicBezTo>
                  <a:pt x="20875" y="12719"/>
                  <a:pt x="20875" y="12719"/>
                  <a:pt x="20875" y="12719"/>
                </a:cubicBezTo>
                <a:cubicBezTo>
                  <a:pt x="20843" y="12719"/>
                  <a:pt x="20843" y="12719"/>
                  <a:pt x="20843" y="12719"/>
                </a:cubicBezTo>
                <a:cubicBezTo>
                  <a:pt x="20843" y="12719"/>
                  <a:pt x="20843" y="12719"/>
                  <a:pt x="20875" y="12719"/>
                </a:cubicBezTo>
                <a:close/>
                <a:moveTo>
                  <a:pt x="20687" y="16375"/>
                </a:moveTo>
                <a:cubicBezTo>
                  <a:pt x="20687" y="16375"/>
                  <a:pt x="20687" y="16375"/>
                  <a:pt x="20687" y="16344"/>
                </a:cubicBezTo>
                <a:cubicBezTo>
                  <a:pt x="20687" y="16344"/>
                  <a:pt x="20687" y="16344"/>
                  <a:pt x="20687" y="16344"/>
                </a:cubicBezTo>
                <a:cubicBezTo>
                  <a:pt x="20687" y="16375"/>
                  <a:pt x="20687" y="16375"/>
                  <a:pt x="20687" y="16375"/>
                </a:cubicBezTo>
                <a:close/>
                <a:moveTo>
                  <a:pt x="20750" y="13750"/>
                </a:moveTo>
                <a:cubicBezTo>
                  <a:pt x="20750" y="13750"/>
                  <a:pt x="20718" y="13750"/>
                  <a:pt x="20718" y="13750"/>
                </a:cubicBezTo>
                <a:cubicBezTo>
                  <a:pt x="20718" y="13750"/>
                  <a:pt x="20750" y="13750"/>
                  <a:pt x="20750" y="13750"/>
                </a:cubicBezTo>
                <a:cubicBezTo>
                  <a:pt x="20750" y="13750"/>
                  <a:pt x="20750" y="13750"/>
                  <a:pt x="20750" y="13750"/>
                </a:cubicBezTo>
                <a:close/>
                <a:moveTo>
                  <a:pt x="20687" y="13219"/>
                </a:moveTo>
                <a:cubicBezTo>
                  <a:pt x="20718" y="13219"/>
                  <a:pt x="20718" y="13219"/>
                  <a:pt x="20750" y="13250"/>
                </a:cubicBezTo>
                <a:cubicBezTo>
                  <a:pt x="20781" y="13250"/>
                  <a:pt x="20843" y="13250"/>
                  <a:pt x="20875" y="13250"/>
                </a:cubicBezTo>
                <a:cubicBezTo>
                  <a:pt x="20843" y="13250"/>
                  <a:pt x="20781" y="13250"/>
                  <a:pt x="20750" y="13250"/>
                </a:cubicBezTo>
                <a:cubicBezTo>
                  <a:pt x="20718" y="13219"/>
                  <a:pt x="20718" y="13219"/>
                  <a:pt x="20687" y="13219"/>
                </a:cubicBezTo>
                <a:close/>
                <a:moveTo>
                  <a:pt x="20781" y="13781"/>
                </a:moveTo>
                <a:cubicBezTo>
                  <a:pt x="20781" y="13781"/>
                  <a:pt x="20750" y="13781"/>
                  <a:pt x="20750" y="13781"/>
                </a:cubicBezTo>
                <a:cubicBezTo>
                  <a:pt x="20750" y="13781"/>
                  <a:pt x="20781" y="13781"/>
                  <a:pt x="20781" y="13781"/>
                </a:cubicBezTo>
                <a:cubicBezTo>
                  <a:pt x="20781" y="13813"/>
                  <a:pt x="20781" y="13844"/>
                  <a:pt x="20781" y="13844"/>
                </a:cubicBezTo>
                <a:cubicBezTo>
                  <a:pt x="20781" y="13844"/>
                  <a:pt x="20781" y="13813"/>
                  <a:pt x="20781" y="13781"/>
                </a:cubicBezTo>
                <a:close/>
                <a:moveTo>
                  <a:pt x="20875" y="13781"/>
                </a:moveTo>
                <a:cubicBezTo>
                  <a:pt x="20968" y="13750"/>
                  <a:pt x="21031" y="13719"/>
                  <a:pt x="21062" y="13688"/>
                </a:cubicBezTo>
                <a:cubicBezTo>
                  <a:pt x="21031" y="13719"/>
                  <a:pt x="20968" y="13750"/>
                  <a:pt x="20875" y="13781"/>
                </a:cubicBezTo>
                <a:cubicBezTo>
                  <a:pt x="20875" y="13781"/>
                  <a:pt x="20843" y="13781"/>
                  <a:pt x="20812" y="13781"/>
                </a:cubicBezTo>
                <a:cubicBezTo>
                  <a:pt x="20843" y="13781"/>
                  <a:pt x="20875" y="13781"/>
                  <a:pt x="20875" y="13781"/>
                </a:cubicBezTo>
                <a:close/>
                <a:moveTo>
                  <a:pt x="20843" y="14656"/>
                </a:moveTo>
                <a:cubicBezTo>
                  <a:pt x="20843" y="14656"/>
                  <a:pt x="20843" y="14656"/>
                  <a:pt x="20843" y="14656"/>
                </a:cubicBezTo>
                <a:cubicBezTo>
                  <a:pt x="20843" y="14656"/>
                  <a:pt x="20843" y="14656"/>
                  <a:pt x="20843" y="14656"/>
                </a:cubicBezTo>
                <a:cubicBezTo>
                  <a:pt x="20843" y="14656"/>
                  <a:pt x="20843" y="14656"/>
                  <a:pt x="20843" y="14656"/>
                </a:cubicBezTo>
                <a:close/>
                <a:moveTo>
                  <a:pt x="21125" y="14688"/>
                </a:moveTo>
                <a:cubicBezTo>
                  <a:pt x="21125" y="14656"/>
                  <a:pt x="21156" y="14656"/>
                  <a:pt x="21156" y="14656"/>
                </a:cubicBezTo>
                <a:cubicBezTo>
                  <a:pt x="21156" y="14656"/>
                  <a:pt x="21125" y="14656"/>
                  <a:pt x="21125" y="14688"/>
                </a:cubicBezTo>
                <a:cubicBezTo>
                  <a:pt x="21031" y="14719"/>
                  <a:pt x="20937" y="14781"/>
                  <a:pt x="20843" y="14844"/>
                </a:cubicBezTo>
                <a:cubicBezTo>
                  <a:pt x="20937" y="14781"/>
                  <a:pt x="21031" y="14719"/>
                  <a:pt x="21125" y="14688"/>
                </a:cubicBezTo>
                <a:close/>
                <a:moveTo>
                  <a:pt x="20875" y="15406"/>
                </a:moveTo>
                <a:cubicBezTo>
                  <a:pt x="20875" y="15406"/>
                  <a:pt x="20875" y="15406"/>
                  <a:pt x="20875" y="15406"/>
                </a:cubicBezTo>
                <a:cubicBezTo>
                  <a:pt x="20875" y="15406"/>
                  <a:pt x="20875" y="15406"/>
                  <a:pt x="20875" y="15406"/>
                </a:cubicBezTo>
                <a:close/>
                <a:moveTo>
                  <a:pt x="20875" y="16906"/>
                </a:moveTo>
                <a:cubicBezTo>
                  <a:pt x="20906" y="16875"/>
                  <a:pt x="20906" y="16875"/>
                  <a:pt x="20906" y="16875"/>
                </a:cubicBezTo>
                <a:cubicBezTo>
                  <a:pt x="20906" y="16875"/>
                  <a:pt x="20906" y="16875"/>
                  <a:pt x="20906" y="16875"/>
                </a:cubicBezTo>
                <a:cubicBezTo>
                  <a:pt x="20906" y="16875"/>
                  <a:pt x="20906" y="16875"/>
                  <a:pt x="20875" y="16906"/>
                </a:cubicBezTo>
                <a:close/>
                <a:moveTo>
                  <a:pt x="21125" y="16156"/>
                </a:moveTo>
                <a:cubicBezTo>
                  <a:pt x="21125" y="16156"/>
                  <a:pt x="21125" y="16188"/>
                  <a:pt x="21093" y="16188"/>
                </a:cubicBezTo>
                <a:cubicBezTo>
                  <a:pt x="21125" y="16188"/>
                  <a:pt x="21125" y="16156"/>
                  <a:pt x="21125" y="16156"/>
                </a:cubicBezTo>
                <a:cubicBezTo>
                  <a:pt x="21125" y="16125"/>
                  <a:pt x="21156" y="16125"/>
                  <a:pt x="21187" y="16094"/>
                </a:cubicBezTo>
                <a:cubicBezTo>
                  <a:pt x="21156" y="16125"/>
                  <a:pt x="21125" y="16125"/>
                  <a:pt x="21125" y="16156"/>
                </a:cubicBezTo>
                <a:close/>
                <a:moveTo>
                  <a:pt x="21406" y="14594"/>
                </a:moveTo>
                <a:cubicBezTo>
                  <a:pt x="21406" y="14594"/>
                  <a:pt x="21406" y="14594"/>
                  <a:pt x="21406" y="14594"/>
                </a:cubicBezTo>
                <a:cubicBezTo>
                  <a:pt x="21406" y="14594"/>
                  <a:pt x="21406" y="14594"/>
                  <a:pt x="21406" y="14594"/>
                </a:cubicBezTo>
                <a:cubicBezTo>
                  <a:pt x="21406" y="14594"/>
                  <a:pt x="21406" y="14594"/>
                  <a:pt x="21406" y="14594"/>
                </a:cubicBezTo>
                <a:close/>
                <a:moveTo>
                  <a:pt x="20968" y="12750"/>
                </a:moveTo>
                <a:cubicBezTo>
                  <a:pt x="20968" y="12750"/>
                  <a:pt x="20968" y="12750"/>
                  <a:pt x="20968" y="12750"/>
                </a:cubicBezTo>
                <a:cubicBezTo>
                  <a:pt x="21125" y="12813"/>
                  <a:pt x="21281" y="12844"/>
                  <a:pt x="21437" y="12875"/>
                </a:cubicBezTo>
                <a:cubicBezTo>
                  <a:pt x="21281" y="12844"/>
                  <a:pt x="21125" y="12813"/>
                  <a:pt x="20968" y="12750"/>
                </a:cubicBezTo>
                <a:close/>
                <a:moveTo>
                  <a:pt x="21156" y="6563"/>
                </a:moveTo>
                <a:cubicBezTo>
                  <a:pt x="21156" y="6563"/>
                  <a:pt x="21156" y="6563"/>
                  <a:pt x="21187" y="6563"/>
                </a:cubicBezTo>
                <a:cubicBezTo>
                  <a:pt x="21187" y="6563"/>
                  <a:pt x="21187" y="6563"/>
                  <a:pt x="21187" y="6563"/>
                </a:cubicBezTo>
                <a:cubicBezTo>
                  <a:pt x="21156" y="6563"/>
                  <a:pt x="21156" y="6563"/>
                  <a:pt x="21156" y="6563"/>
                </a:cubicBezTo>
                <a:close/>
                <a:moveTo>
                  <a:pt x="21218" y="6469"/>
                </a:moveTo>
                <a:cubicBezTo>
                  <a:pt x="21218" y="6531"/>
                  <a:pt x="21250" y="6563"/>
                  <a:pt x="21250" y="6594"/>
                </a:cubicBezTo>
                <a:cubicBezTo>
                  <a:pt x="21250" y="6594"/>
                  <a:pt x="21250" y="6594"/>
                  <a:pt x="21250" y="6594"/>
                </a:cubicBezTo>
                <a:cubicBezTo>
                  <a:pt x="21250" y="6563"/>
                  <a:pt x="21218" y="6531"/>
                  <a:pt x="21218" y="6469"/>
                </a:cubicBezTo>
                <a:close/>
                <a:moveTo>
                  <a:pt x="21250" y="6781"/>
                </a:moveTo>
                <a:cubicBezTo>
                  <a:pt x="21250" y="6781"/>
                  <a:pt x="21250" y="6750"/>
                  <a:pt x="21218" y="6750"/>
                </a:cubicBezTo>
                <a:cubicBezTo>
                  <a:pt x="21218" y="6750"/>
                  <a:pt x="21218" y="6750"/>
                  <a:pt x="21218" y="6750"/>
                </a:cubicBezTo>
                <a:cubicBezTo>
                  <a:pt x="21250" y="6750"/>
                  <a:pt x="21250" y="6781"/>
                  <a:pt x="21250" y="6781"/>
                </a:cubicBezTo>
                <a:close/>
                <a:moveTo>
                  <a:pt x="21218" y="3375"/>
                </a:moveTo>
                <a:cubicBezTo>
                  <a:pt x="21218" y="3375"/>
                  <a:pt x="21218" y="3375"/>
                  <a:pt x="21218" y="3375"/>
                </a:cubicBezTo>
                <a:cubicBezTo>
                  <a:pt x="21218" y="3375"/>
                  <a:pt x="21218" y="3406"/>
                  <a:pt x="21218" y="3438"/>
                </a:cubicBezTo>
                <a:cubicBezTo>
                  <a:pt x="21218" y="3406"/>
                  <a:pt x="21218" y="3375"/>
                  <a:pt x="21218" y="3375"/>
                </a:cubicBezTo>
                <a:close/>
                <a:moveTo>
                  <a:pt x="21218" y="6750"/>
                </a:moveTo>
                <a:cubicBezTo>
                  <a:pt x="21218" y="6750"/>
                  <a:pt x="21218" y="6750"/>
                  <a:pt x="21218" y="6750"/>
                </a:cubicBezTo>
                <a:cubicBezTo>
                  <a:pt x="21218" y="6750"/>
                  <a:pt x="21187" y="6719"/>
                  <a:pt x="21187" y="6688"/>
                </a:cubicBezTo>
                <a:cubicBezTo>
                  <a:pt x="21187" y="6719"/>
                  <a:pt x="21218" y="6750"/>
                  <a:pt x="21218" y="6750"/>
                </a:cubicBezTo>
                <a:close/>
                <a:moveTo>
                  <a:pt x="21312" y="7063"/>
                </a:moveTo>
                <a:cubicBezTo>
                  <a:pt x="21343" y="7156"/>
                  <a:pt x="21375" y="7250"/>
                  <a:pt x="21406" y="7375"/>
                </a:cubicBezTo>
                <a:cubicBezTo>
                  <a:pt x="21375" y="7250"/>
                  <a:pt x="21343" y="7156"/>
                  <a:pt x="21312" y="7063"/>
                </a:cubicBezTo>
                <a:cubicBezTo>
                  <a:pt x="21281" y="7000"/>
                  <a:pt x="21250" y="6969"/>
                  <a:pt x="21250" y="6906"/>
                </a:cubicBezTo>
                <a:cubicBezTo>
                  <a:pt x="21250" y="6969"/>
                  <a:pt x="21281" y="7000"/>
                  <a:pt x="21312" y="7063"/>
                </a:cubicBezTo>
                <a:close/>
                <a:moveTo>
                  <a:pt x="21281" y="5156"/>
                </a:moveTo>
                <a:cubicBezTo>
                  <a:pt x="21281" y="5156"/>
                  <a:pt x="21281" y="5156"/>
                  <a:pt x="21281" y="5188"/>
                </a:cubicBezTo>
                <a:cubicBezTo>
                  <a:pt x="21312" y="5219"/>
                  <a:pt x="21312" y="5250"/>
                  <a:pt x="21312" y="5281"/>
                </a:cubicBezTo>
                <a:cubicBezTo>
                  <a:pt x="21312" y="5250"/>
                  <a:pt x="21312" y="5219"/>
                  <a:pt x="21281" y="5188"/>
                </a:cubicBezTo>
                <a:cubicBezTo>
                  <a:pt x="21281" y="5156"/>
                  <a:pt x="21281" y="5156"/>
                  <a:pt x="21281" y="5156"/>
                </a:cubicBezTo>
                <a:close/>
                <a:moveTo>
                  <a:pt x="21343" y="5719"/>
                </a:moveTo>
                <a:cubicBezTo>
                  <a:pt x="21343" y="5719"/>
                  <a:pt x="21375" y="5719"/>
                  <a:pt x="21375" y="5719"/>
                </a:cubicBezTo>
                <a:cubicBezTo>
                  <a:pt x="21375" y="5719"/>
                  <a:pt x="21375" y="5719"/>
                  <a:pt x="21375" y="5719"/>
                </a:cubicBezTo>
                <a:cubicBezTo>
                  <a:pt x="21375" y="5719"/>
                  <a:pt x="21343" y="5719"/>
                  <a:pt x="21343" y="5719"/>
                </a:cubicBezTo>
                <a:close/>
                <a:moveTo>
                  <a:pt x="21375" y="5813"/>
                </a:moveTo>
                <a:cubicBezTo>
                  <a:pt x="21375" y="5813"/>
                  <a:pt x="21375" y="5813"/>
                  <a:pt x="21406" y="5813"/>
                </a:cubicBezTo>
                <a:cubicBezTo>
                  <a:pt x="21406" y="5813"/>
                  <a:pt x="21406" y="5813"/>
                  <a:pt x="21406" y="5813"/>
                </a:cubicBezTo>
                <a:cubicBezTo>
                  <a:pt x="21375" y="5813"/>
                  <a:pt x="21375" y="5813"/>
                  <a:pt x="21375" y="5813"/>
                </a:cubicBezTo>
                <a:close/>
                <a:moveTo>
                  <a:pt x="21375" y="12750"/>
                </a:moveTo>
                <a:cubicBezTo>
                  <a:pt x="21375" y="12750"/>
                  <a:pt x="21375" y="12750"/>
                  <a:pt x="21375" y="12750"/>
                </a:cubicBezTo>
                <a:cubicBezTo>
                  <a:pt x="21343" y="12750"/>
                  <a:pt x="21312" y="12750"/>
                  <a:pt x="21312" y="12750"/>
                </a:cubicBezTo>
                <a:cubicBezTo>
                  <a:pt x="21312" y="12750"/>
                  <a:pt x="21343" y="12750"/>
                  <a:pt x="21375" y="12750"/>
                </a:cubicBezTo>
                <a:close/>
                <a:moveTo>
                  <a:pt x="21312" y="7344"/>
                </a:moveTo>
                <a:cubicBezTo>
                  <a:pt x="21312" y="7344"/>
                  <a:pt x="21312" y="7375"/>
                  <a:pt x="21343" y="7375"/>
                </a:cubicBezTo>
                <a:cubicBezTo>
                  <a:pt x="21343" y="7375"/>
                  <a:pt x="21343" y="7375"/>
                  <a:pt x="21343" y="7406"/>
                </a:cubicBezTo>
                <a:cubicBezTo>
                  <a:pt x="21343" y="7375"/>
                  <a:pt x="21343" y="7375"/>
                  <a:pt x="21343" y="7375"/>
                </a:cubicBezTo>
                <a:cubicBezTo>
                  <a:pt x="21312" y="7375"/>
                  <a:pt x="21312" y="7344"/>
                  <a:pt x="21312" y="7344"/>
                </a:cubicBezTo>
                <a:close/>
                <a:moveTo>
                  <a:pt x="21343" y="7438"/>
                </a:moveTo>
                <a:cubicBezTo>
                  <a:pt x="21343" y="7500"/>
                  <a:pt x="21375" y="7531"/>
                  <a:pt x="21406" y="7594"/>
                </a:cubicBezTo>
                <a:cubicBezTo>
                  <a:pt x="21406" y="7594"/>
                  <a:pt x="21406" y="7594"/>
                  <a:pt x="21406" y="7594"/>
                </a:cubicBezTo>
                <a:cubicBezTo>
                  <a:pt x="21406" y="7594"/>
                  <a:pt x="21406" y="7594"/>
                  <a:pt x="21406" y="7594"/>
                </a:cubicBezTo>
                <a:cubicBezTo>
                  <a:pt x="21375" y="7531"/>
                  <a:pt x="21343" y="7500"/>
                  <a:pt x="21343" y="7438"/>
                </a:cubicBezTo>
                <a:close/>
                <a:moveTo>
                  <a:pt x="21312" y="7281"/>
                </a:moveTo>
                <a:cubicBezTo>
                  <a:pt x="21312" y="7281"/>
                  <a:pt x="21312" y="7281"/>
                  <a:pt x="21312" y="7281"/>
                </a:cubicBezTo>
                <a:cubicBezTo>
                  <a:pt x="21281" y="7281"/>
                  <a:pt x="21281" y="7281"/>
                  <a:pt x="21281" y="7281"/>
                </a:cubicBezTo>
                <a:cubicBezTo>
                  <a:pt x="21281" y="7281"/>
                  <a:pt x="21281" y="7281"/>
                  <a:pt x="21312" y="7281"/>
                </a:cubicBezTo>
                <a:close/>
                <a:moveTo>
                  <a:pt x="21406" y="7406"/>
                </a:moveTo>
                <a:cubicBezTo>
                  <a:pt x="21406" y="7406"/>
                  <a:pt x="21406" y="7406"/>
                  <a:pt x="21406" y="7406"/>
                </a:cubicBezTo>
                <a:cubicBezTo>
                  <a:pt x="21437" y="7438"/>
                  <a:pt x="21437" y="7500"/>
                  <a:pt x="21437" y="7563"/>
                </a:cubicBezTo>
                <a:cubicBezTo>
                  <a:pt x="21437" y="7500"/>
                  <a:pt x="21437" y="7438"/>
                  <a:pt x="21406" y="7406"/>
                </a:cubicBezTo>
                <a:close/>
                <a:moveTo>
                  <a:pt x="21437" y="5969"/>
                </a:moveTo>
                <a:cubicBezTo>
                  <a:pt x="21437" y="5969"/>
                  <a:pt x="21437" y="5969"/>
                  <a:pt x="21437" y="6000"/>
                </a:cubicBezTo>
                <a:cubicBezTo>
                  <a:pt x="21437" y="6000"/>
                  <a:pt x="21437" y="6000"/>
                  <a:pt x="21437" y="6000"/>
                </a:cubicBezTo>
                <a:cubicBezTo>
                  <a:pt x="21437" y="5969"/>
                  <a:pt x="21437" y="5969"/>
                  <a:pt x="21437" y="5969"/>
                </a:cubicBezTo>
                <a:close/>
                <a:moveTo>
                  <a:pt x="21500" y="14688"/>
                </a:moveTo>
                <a:cubicBezTo>
                  <a:pt x="21500" y="14688"/>
                  <a:pt x="21468" y="14719"/>
                  <a:pt x="21468" y="14719"/>
                </a:cubicBezTo>
                <a:cubicBezTo>
                  <a:pt x="21468" y="14719"/>
                  <a:pt x="21500" y="14688"/>
                  <a:pt x="21500" y="14688"/>
                </a:cubicBezTo>
                <a:cubicBezTo>
                  <a:pt x="21500" y="14688"/>
                  <a:pt x="21500" y="14688"/>
                  <a:pt x="21500" y="14688"/>
                </a:cubicBezTo>
                <a:cubicBezTo>
                  <a:pt x="21531" y="14656"/>
                  <a:pt x="21531" y="14625"/>
                  <a:pt x="21562" y="14594"/>
                </a:cubicBezTo>
                <a:cubicBezTo>
                  <a:pt x="21531" y="14625"/>
                  <a:pt x="21531" y="14656"/>
                  <a:pt x="21500" y="14688"/>
                </a:cubicBezTo>
                <a:close/>
                <a:moveTo>
                  <a:pt x="21562" y="6219"/>
                </a:moveTo>
                <a:cubicBezTo>
                  <a:pt x="21562" y="6156"/>
                  <a:pt x="21531" y="6125"/>
                  <a:pt x="21500" y="6094"/>
                </a:cubicBezTo>
                <a:cubicBezTo>
                  <a:pt x="21500" y="6031"/>
                  <a:pt x="21500" y="6000"/>
                  <a:pt x="21468" y="5969"/>
                </a:cubicBezTo>
                <a:cubicBezTo>
                  <a:pt x="21500" y="6000"/>
                  <a:pt x="21500" y="6031"/>
                  <a:pt x="21500" y="6094"/>
                </a:cubicBezTo>
                <a:cubicBezTo>
                  <a:pt x="21531" y="6125"/>
                  <a:pt x="21562" y="6156"/>
                  <a:pt x="21562" y="6219"/>
                </a:cubicBezTo>
                <a:close/>
                <a:moveTo>
                  <a:pt x="21781" y="8563"/>
                </a:moveTo>
                <a:cubicBezTo>
                  <a:pt x="21750" y="8531"/>
                  <a:pt x="21750" y="8500"/>
                  <a:pt x="21718" y="8469"/>
                </a:cubicBezTo>
                <a:cubicBezTo>
                  <a:pt x="21750" y="8500"/>
                  <a:pt x="21750" y="8531"/>
                  <a:pt x="21781" y="8563"/>
                </a:cubicBezTo>
                <a:cubicBezTo>
                  <a:pt x="21781" y="8656"/>
                  <a:pt x="21812" y="8719"/>
                  <a:pt x="21843" y="8813"/>
                </a:cubicBezTo>
                <a:cubicBezTo>
                  <a:pt x="21812" y="8719"/>
                  <a:pt x="21781" y="8656"/>
                  <a:pt x="21781" y="8563"/>
                </a:cubicBezTo>
                <a:close/>
                <a:moveTo>
                  <a:pt x="21781" y="8531"/>
                </a:moveTo>
                <a:cubicBezTo>
                  <a:pt x="21781" y="8500"/>
                  <a:pt x="21781" y="8500"/>
                  <a:pt x="21812" y="8500"/>
                </a:cubicBezTo>
                <a:cubicBezTo>
                  <a:pt x="21812" y="8500"/>
                  <a:pt x="21812" y="8500"/>
                  <a:pt x="21812" y="8500"/>
                </a:cubicBezTo>
                <a:cubicBezTo>
                  <a:pt x="21781" y="8500"/>
                  <a:pt x="21781" y="8500"/>
                  <a:pt x="21781" y="8531"/>
                </a:cubicBezTo>
                <a:close/>
                <a:moveTo>
                  <a:pt x="22000" y="7906"/>
                </a:moveTo>
                <a:cubicBezTo>
                  <a:pt x="22000" y="7875"/>
                  <a:pt x="21968" y="7844"/>
                  <a:pt x="21968" y="7844"/>
                </a:cubicBezTo>
                <a:cubicBezTo>
                  <a:pt x="21968" y="7844"/>
                  <a:pt x="21968" y="7844"/>
                  <a:pt x="21968" y="7844"/>
                </a:cubicBezTo>
                <a:cubicBezTo>
                  <a:pt x="21968" y="7844"/>
                  <a:pt x="22000" y="7875"/>
                  <a:pt x="22000" y="7906"/>
                </a:cubicBezTo>
                <a:close/>
                <a:moveTo>
                  <a:pt x="21968" y="7625"/>
                </a:moveTo>
                <a:cubicBezTo>
                  <a:pt x="21968" y="7625"/>
                  <a:pt x="21968" y="7625"/>
                  <a:pt x="21968" y="7625"/>
                </a:cubicBezTo>
                <a:cubicBezTo>
                  <a:pt x="21968" y="7625"/>
                  <a:pt x="21968" y="7625"/>
                  <a:pt x="22000" y="7625"/>
                </a:cubicBezTo>
                <a:cubicBezTo>
                  <a:pt x="21968" y="7625"/>
                  <a:pt x="21968" y="7625"/>
                  <a:pt x="21968" y="7625"/>
                </a:cubicBezTo>
                <a:cubicBezTo>
                  <a:pt x="21968" y="7625"/>
                  <a:pt x="21968" y="7625"/>
                  <a:pt x="21968" y="7625"/>
                </a:cubicBezTo>
                <a:close/>
                <a:moveTo>
                  <a:pt x="21906" y="7531"/>
                </a:moveTo>
                <a:cubicBezTo>
                  <a:pt x="21906" y="7531"/>
                  <a:pt x="21906" y="7531"/>
                  <a:pt x="21906" y="7531"/>
                </a:cubicBezTo>
                <a:cubicBezTo>
                  <a:pt x="21937" y="7531"/>
                  <a:pt x="21968" y="7563"/>
                  <a:pt x="21968" y="7563"/>
                </a:cubicBezTo>
                <a:cubicBezTo>
                  <a:pt x="21968" y="7563"/>
                  <a:pt x="21937" y="7531"/>
                  <a:pt x="21906" y="7531"/>
                </a:cubicBezTo>
                <a:close/>
                <a:moveTo>
                  <a:pt x="21968" y="13781"/>
                </a:moveTo>
                <a:cubicBezTo>
                  <a:pt x="21968" y="13750"/>
                  <a:pt x="21968" y="13750"/>
                  <a:pt x="21968" y="13719"/>
                </a:cubicBezTo>
                <a:cubicBezTo>
                  <a:pt x="21968" y="13750"/>
                  <a:pt x="21968" y="13750"/>
                  <a:pt x="21968" y="13781"/>
                </a:cubicBezTo>
                <a:cubicBezTo>
                  <a:pt x="21968" y="13813"/>
                  <a:pt x="21968" y="13844"/>
                  <a:pt x="21968" y="13906"/>
                </a:cubicBezTo>
                <a:cubicBezTo>
                  <a:pt x="21968" y="13844"/>
                  <a:pt x="21968" y="13813"/>
                  <a:pt x="21968" y="13781"/>
                </a:cubicBezTo>
                <a:close/>
                <a:moveTo>
                  <a:pt x="21937" y="8844"/>
                </a:moveTo>
                <a:cubicBezTo>
                  <a:pt x="22000" y="9125"/>
                  <a:pt x="22062" y="9375"/>
                  <a:pt x="22156" y="9625"/>
                </a:cubicBezTo>
                <a:cubicBezTo>
                  <a:pt x="22156" y="9625"/>
                  <a:pt x="22156" y="9656"/>
                  <a:pt x="22156" y="9656"/>
                </a:cubicBezTo>
                <a:cubicBezTo>
                  <a:pt x="22156" y="9656"/>
                  <a:pt x="22156" y="9625"/>
                  <a:pt x="22156" y="9625"/>
                </a:cubicBezTo>
                <a:cubicBezTo>
                  <a:pt x="22062" y="9375"/>
                  <a:pt x="22000" y="9125"/>
                  <a:pt x="21937" y="8844"/>
                </a:cubicBezTo>
                <a:close/>
                <a:moveTo>
                  <a:pt x="22375" y="9063"/>
                </a:moveTo>
                <a:cubicBezTo>
                  <a:pt x="22375" y="9031"/>
                  <a:pt x="22343" y="9031"/>
                  <a:pt x="22343" y="9031"/>
                </a:cubicBezTo>
                <a:cubicBezTo>
                  <a:pt x="22343" y="9031"/>
                  <a:pt x="22375" y="9031"/>
                  <a:pt x="22375" y="9063"/>
                </a:cubicBezTo>
                <a:close/>
                <a:moveTo>
                  <a:pt x="22312" y="8750"/>
                </a:moveTo>
                <a:cubicBezTo>
                  <a:pt x="22312" y="8750"/>
                  <a:pt x="22312" y="8750"/>
                  <a:pt x="22312" y="8750"/>
                </a:cubicBezTo>
                <a:cubicBezTo>
                  <a:pt x="22343" y="8781"/>
                  <a:pt x="22343" y="8813"/>
                  <a:pt x="22343" y="8844"/>
                </a:cubicBezTo>
                <a:cubicBezTo>
                  <a:pt x="22343" y="8813"/>
                  <a:pt x="22343" y="8781"/>
                  <a:pt x="22312" y="8750"/>
                </a:cubicBezTo>
                <a:close/>
                <a:moveTo>
                  <a:pt x="22375" y="8938"/>
                </a:moveTo>
                <a:cubicBezTo>
                  <a:pt x="22375" y="8938"/>
                  <a:pt x="22375" y="8938"/>
                  <a:pt x="22375" y="8938"/>
                </a:cubicBezTo>
                <a:cubicBezTo>
                  <a:pt x="22375" y="8938"/>
                  <a:pt x="22375" y="8938"/>
                  <a:pt x="22375" y="8938"/>
                </a:cubicBezTo>
                <a:cubicBezTo>
                  <a:pt x="22406" y="8969"/>
                  <a:pt x="22406" y="9031"/>
                  <a:pt x="22437" y="9094"/>
                </a:cubicBezTo>
                <a:cubicBezTo>
                  <a:pt x="22406" y="9031"/>
                  <a:pt x="22406" y="8969"/>
                  <a:pt x="22375" y="8938"/>
                </a:cubicBezTo>
                <a:close/>
                <a:moveTo>
                  <a:pt x="22437" y="8250"/>
                </a:moveTo>
                <a:cubicBezTo>
                  <a:pt x="22437" y="8250"/>
                  <a:pt x="22437" y="8250"/>
                  <a:pt x="22437" y="8250"/>
                </a:cubicBezTo>
                <a:cubicBezTo>
                  <a:pt x="22468" y="8281"/>
                  <a:pt x="22468" y="8281"/>
                  <a:pt x="22468" y="8281"/>
                </a:cubicBezTo>
                <a:cubicBezTo>
                  <a:pt x="22468" y="8281"/>
                  <a:pt x="22468" y="8281"/>
                  <a:pt x="22437" y="8250"/>
                </a:cubicBezTo>
                <a:close/>
                <a:moveTo>
                  <a:pt x="23187" y="10031"/>
                </a:moveTo>
                <a:cubicBezTo>
                  <a:pt x="23187" y="10031"/>
                  <a:pt x="23187" y="10031"/>
                  <a:pt x="23187" y="10031"/>
                </a:cubicBezTo>
                <a:cubicBezTo>
                  <a:pt x="23187" y="10031"/>
                  <a:pt x="23187" y="10031"/>
                  <a:pt x="23187" y="10031"/>
                </a:cubicBezTo>
                <a:cubicBezTo>
                  <a:pt x="23187" y="10031"/>
                  <a:pt x="23187" y="10031"/>
                  <a:pt x="23187" y="10031"/>
                </a:cubicBezTo>
                <a:close/>
                <a:moveTo>
                  <a:pt x="23250" y="10656"/>
                </a:moveTo>
                <a:cubicBezTo>
                  <a:pt x="23250" y="10688"/>
                  <a:pt x="23250" y="10719"/>
                  <a:pt x="23250" y="10719"/>
                </a:cubicBezTo>
                <a:cubicBezTo>
                  <a:pt x="23250" y="10719"/>
                  <a:pt x="23250" y="10688"/>
                  <a:pt x="23250" y="10656"/>
                </a:cubicBezTo>
                <a:cubicBezTo>
                  <a:pt x="23250" y="10656"/>
                  <a:pt x="23250" y="10656"/>
                  <a:pt x="23250" y="10656"/>
                </a:cubicBezTo>
                <a:cubicBezTo>
                  <a:pt x="23250" y="10656"/>
                  <a:pt x="23250" y="10656"/>
                  <a:pt x="23250" y="10656"/>
                </a:cubicBezTo>
                <a:close/>
                <a:moveTo>
                  <a:pt x="21437" y="2969"/>
                </a:moveTo>
                <a:cubicBezTo>
                  <a:pt x="21437" y="2938"/>
                  <a:pt x="21437" y="2938"/>
                  <a:pt x="21437" y="2906"/>
                </a:cubicBezTo>
                <a:cubicBezTo>
                  <a:pt x="21437" y="2906"/>
                  <a:pt x="21437" y="2906"/>
                  <a:pt x="21437" y="2906"/>
                </a:cubicBezTo>
                <a:cubicBezTo>
                  <a:pt x="21437" y="2906"/>
                  <a:pt x="21437" y="2906"/>
                  <a:pt x="21437" y="2906"/>
                </a:cubicBezTo>
                <a:cubicBezTo>
                  <a:pt x="21437" y="2938"/>
                  <a:pt x="21437" y="2938"/>
                  <a:pt x="21437" y="2969"/>
                </a:cubicBezTo>
                <a:close/>
                <a:moveTo>
                  <a:pt x="21687" y="1875"/>
                </a:moveTo>
                <a:cubicBezTo>
                  <a:pt x="21687" y="1875"/>
                  <a:pt x="21687" y="1906"/>
                  <a:pt x="21718" y="1906"/>
                </a:cubicBezTo>
                <a:cubicBezTo>
                  <a:pt x="21687" y="1906"/>
                  <a:pt x="21687" y="1875"/>
                  <a:pt x="21687" y="1875"/>
                </a:cubicBezTo>
                <a:close/>
                <a:moveTo>
                  <a:pt x="21656" y="1656"/>
                </a:moveTo>
                <a:cubicBezTo>
                  <a:pt x="21656" y="1656"/>
                  <a:pt x="21656" y="1688"/>
                  <a:pt x="21656" y="1688"/>
                </a:cubicBezTo>
                <a:cubicBezTo>
                  <a:pt x="21656" y="1688"/>
                  <a:pt x="21656" y="1656"/>
                  <a:pt x="21656" y="1656"/>
                </a:cubicBezTo>
                <a:close/>
                <a:moveTo>
                  <a:pt x="21656" y="1563"/>
                </a:moveTo>
                <a:cubicBezTo>
                  <a:pt x="21656" y="1563"/>
                  <a:pt x="21656" y="1563"/>
                  <a:pt x="21656" y="1563"/>
                </a:cubicBezTo>
                <a:cubicBezTo>
                  <a:pt x="21687" y="1531"/>
                  <a:pt x="21687" y="1500"/>
                  <a:pt x="21687" y="1500"/>
                </a:cubicBezTo>
                <a:cubicBezTo>
                  <a:pt x="21687" y="1500"/>
                  <a:pt x="21687" y="1531"/>
                  <a:pt x="21656" y="1563"/>
                </a:cubicBezTo>
                <a:close/>
                <a:moveTo>
                  <a:pt x="21687" y="1969"/>
                </a:moveTo>
                <a:cubicBezTo>
                  <a:pt x="21687" y="1969"/>
                  <a:pt x="21718" y="1969"/>
                  <a:pt x="21718" y="1969"/>
                </a:cubicBezTo>
                <a:cubicBezTo>
                  <a:pt x="21718" y="1969"/>
                  <a:pt x="21718" y="1969"/>
                  <a:pt x="21718" y="1969"/>
                </a:cubicBezTo>
                <a:cubicBezTo>
                  <a:pt x="21718" y="1969"/>
                  <a:pt x="21687" y="1969"/>
                  <a:pt x="21687" y="1969"/>
                </a:cubicBezTo>
                <a:close/>
                <a:moveTo>
                  <a:pt x="21718" y="2031"/>
                </a:moveTo>
                <a:cubicBezTo>
                  <a:pt x="21718" y="2031"/>
                  <a:pt x="21718" y="2000"/>
                  <a:pt x="21718" y="2000"/>
                </a:cubicBezTo>
                <a:cubicBezTo>
                  <a:pt x="21718" y="2000"/>
                  <a:pt x="21718" y="2000"/>
                  <a:pt x="21718" y="2000"/>
                </a:cubicBezTo>
                <a:cubicBezTo>
                  <a:pt x="21718" y="2000"/>
                  <a:pt x="21718" y="2031"/>
                  <a:pt x="21718" y="2031"/>
                </a:cubicBezTo>
                <a:close/>
                <a:moveTo>
                  <a:pt x="21781" y="1281"/>
                </a:moveTo>
                <a:cubicBezTo>
                  <a:pt x="21781" y="1281"/>
                  <a:pt x="21781" y="1281"/>
                  <a:pt x="21781" y="1281"/>
                </a:cubicBezTo>
                <a:cubicBezTo>
                  <a:pt x="21781" y="1281"/>
                  <a:pt x="21781" y="1281"/>
                  <a:pt x="21781" y="1281"/>
                </a:cubicBezTo>
                <a:cubicBezTo>
                  <a:pt x="21812" y="1313"/>
                  <a:pt x="21812" y="1344"/>
                  <a:pt x="21812" y="1344"/>
                </a:cubicBezTo>
                <a:cubicBezTo>
                  <a:pt x="21812" y="1344"/>
                  <a:pt x="21812" y="1313"/>
                  <a:pt x="21781" y="1281"/>
                </a:cubicBezTo>
                <a:close/>
                <a:moveTo>
                  <a:pt x="21843" y="1594"/>
                </a:moveTo>
                <a:cubicBezTo>
                  <a:pt x="21843" y="1594"/>
                  <a:pt x="21843" y="1594"/>
                  <a:pt x="21812" y="1625"/>
                </a:cubicBezTo>
                <a:cubicBezTo>
                  <a:pt x="21843" y="1594"/>
                  <a:pt x="21843" y="1594"/>
                  <a:pt x="21843" y="1594"/>
                </a:cubicBezTo>
                <a:cubicBezTo>
                  <a:pt x="21875" y="1656"/>
                  <a:pt x="21875" y="1750"/>
                  <a:pt x="21906" y="1844"/>
                </a:cubicBezTo>
                <a:cubicBezTo>
                  <a:pt x="21875" y="1750"/>
                  <a:pt x="21875" y="1656"/>
                  <a:pt x="21843" y="1594"/>
                </a:cubicBezTo>
                <a:close/>
                <a:moveTo>
                  <a:pt x="22031" y="500"/>
                </a:moveTo>
                <a:cubicBezTo>
                  <a:pt x="22031" y="500"/>
                  <a:pt x="22031" y="500"/>
                  <a:pt x="22031" y="469"/>
                </a:cubicBezTo>
                <a:cubicBezTo>
                  <a:pt x="22031" y="469"/>
                  <a:pt x="22031" y="469"/>
                  <a:pt x="22031" y="469"/>
                </a:cubicBezTo>
                <a:cubicBezTo>
                  <a:pt x="22031" y="500"/>
                  <a:pt x="22031" y="500"/>
                  <a:pt x="22031" y="500"/>
                </a:cubicBezTo>
                <a:close/>
                <a:moveTo>
                  <a:pt x="22781" y="1313"/>
                </a:moveTo>
                <a:cubicBezTo>
                  <a:pt x="22781" y="1375"/>
                  <a:pt x="22718" y="1406"/>
                  <a:pt x="22656" y="1406"/>
                </a:cubicBezTo>
                <a:cubicBezTo>
                  <a:pt x="22718" y="1406"/>
                  <a:pt x="22781" y="1375"/>
                  <a:pt x="22781" y="1313"/>
                </a:cubicBezTo>
                <a:cubicBezTo>
                  <a:pt x="22812" y="1281"/>
                  <a:pt x="22812" y="1281"/>
                  <a:pt x="22843" y="1281"/>
                </a:cubicBezTo>
                <a:cubicBezTo>
                  <a:pt x="22812" y="1281"/>
                  <a:pt x="22812" y="1281"/>
                  <a:pt x="22781" y="1313"/>
                </a:cubicBezTo>
                <a:close/>
                <a:moveTo>
                  <a:pt x="23875" y="5656"/>
                </a:moveTo>
                <a:cubicBezTo>
                  <a:pt x="23875" y="5656"/>
                  <a:pt x="23875" y="5656"/>
                  <a:pt x="23843" y="5625"/>
                </a:cubicBezTo>
                <a:cubicBezTo>
                  <a:pt x="23875" y="5656"/>
                  <a:pt x="23875" y="5656"/>
                  <a:pt x="23875" y="5656"/>
                </a:cubicBezTo>
                <a:close/>
                <a:moveTo>
                  <a:pt x="23750" y="5188"/>
                </a:moveTo>
                <a:cubicBezTo>
                  <a:pt x="23718" y="5188"/>
                  <a:pt x="23718" y="5188"/>
                  <a:pt x="23718" y="5188"/>
                </a:cubicBezTo>
                <a:cubicBezTo>
                  <a:pt x="23718" y="5188"/>
                  <a:pt x="23718" y="5188"/>
                  <a:pt x="23750" y="5188"/>
                </a:cubicBezTo>
                <a:cubicBezTo>
                  <a:pt x="23812" y="5219"/>
                  <a:pt x="23906" y="5250"/>
                  <a:pt x="23968" y="5250"/>
                </a:cubicBezTo>
                <a:cubicBezTo>
                  <a:pt x="23906" y="5250"/>
                  <a:pt x="23812" y="5219"/>
                  <a:pt x="23750" y="5188"/>
                </a:cubicBezTo>
                <a:close/>
                <a:moveTo>
                  <a:pt x="24031" y="5781"/>
                </a:moveTo>
                <a:cubicBezTo>
                  <a:pt x="24031" y="5781"/>
                  <a:pt x="24031" y="5781"/>
                  <a:pt x="24031" y="5781"/>
                </a:cubicBezTo>
                <a:cubicBezTo>
                  <a:pt x="24062" y="5781"/>
                  <a:pt x="24062" y="5781"/>
                  <a:pt x="24062" y="5781"/>
                </a:cubicBezTo>
                <a:cubicBezTo>
                  <a:pt x="24062" y="5781"/>
                  <a:pt x="24062" y="5781"/>
                  <a:pt x="24031" y="5781"/>
                </a:cubicBezTo>
                <a:close/>
                <a:moveTo>
                  <a:pt x="24531" y="2531"/>
                </a:moveTo>
                <a:cubicBezTo>
                  <a:pt x="24531" y="2531"/>
                  <a:pt x="24531" y="2531"/>
                  <a:pt x="24531" y="2531"/>
                </a:cubicBezTo>
                <a:cubicBezTo>
                  <a:pt x="24531" y="2531"/>
                  <a:pt x="24531" y="2531"/>
                  <a:pt x="24531" y="2531"/>
                </a:cubicBezTo>
                <a:cubicBezTo>
                  <a:pt x="24531" y="2531"/>
                  <a:pt x="24531" y="2531"/>
                  <a:pt x="24531" y="2531"/>
                </a:cubicBezTo>
                <a:close/>
                <a:moveTo>
                  <a:pt x="24625" y="2156"/>
                </a:moveTo>
                <a:cubicBezTo>
                  <a:pt x="24625" y="2156"/>
                  <a:pt x="24625" y="2125"/>
                  <a:pt x="24625" y="2125"/>
                </a:cubicBezTo>
                <a:cubicBezTo>
                  <a:pt x="24625" y="2125"/>
                  <a:pt x="24625" y="2156"/>
                  <a:pt x="24625" y="2156"/>
                </a:cubicBezTo>
                <a:cubicBezTo>
                  <a:pt x="24625" y="2156"/>
                  <a:pt x="24625" y="2156"/>
                  <a:pt x="24625" y="2156"/>
                </a:cubicBezTo>
                <a:close/>
                <a:moveTo>
                  <a:pt x="24750" y="5625"/>
                </a:moveTo>
                <a:cubicBezTo>
                  <a:pt x="24750" y="5625"/>
                  <a:pt x="24750" y="5625"/>
                  <a:pt x="24750" y="5625"/>
                </a:cubicBezTo>
                <a:cubicBezTo>
                  <a:pt x="24750" y="5625"/>
                  <a:pt x="24750" y="5625"/>
                  <a:pt x="24750" y="5625"/>
                </a:cubicBezTo>
                <a:cubicBezTo>
                  <a:pt x="24750" y="5625"/>
                  <a:pt x="24750" y="5625"/>
                  <a:pt x="24750" y="5625"/>
                </a:cubicBezTo>
                <a:close/>
                <a:moveTo>
                  <a:pt x="24750" y="5656"/>
                </a:moveTo>
                <a:cubicBezTo>
                  <a:pt x="24781" y="5656"/>
                  <a:pt x="24812" y="5656"/>
                  <a:pt x="24843" y="5656"/>
                </a:cubicBezTo>
                <a:cubicBezTo>
                  <a:pt x="24812" y="5656"/>
                  <a:pt x="24781" y="5656"/>
                  <a:pt x="24750" y="5656"/>
                </a:cubicBezTo>
                <a:close/>
                <a:moveTo>
                  <a:pt x="25281" y="5906"/>
                </a:moveTo>
                <a:cubicBezTo>
                  <a:pt x="25281" y="5906"/>
                  <a:pt x="25281" y="5906"/>
                  <a:pt x="25281" y="5906"/>
                </a:cubicBezTo>
                <a:cubicBezTo>
                  <a:pt x="25343" y="5938"/>
                  <a:pt x="25406" y="5969"/>
                  <a:pt x="25468" y="6031"/>
                </a:cubicBezTo>
                <a:cubicBezTo>
                  <a:pt x="25406" y="5969"/>
                  <a:pt x="25343" y="5938"/>
                  <a:pt x="25281" y="5906"/>
                </a:cubicBezTo>
                <a:close/>
                <a:moveTo>
                  <a:pt x="25906" y="1844"/>
                </a:moveTo>
                <a:cubicBezTo>
                  <a:pt x="25906" y="1844"/>
                  <a:pt x="25906" y="1844"/>
                  <a:pt x="25906" y="1813"/>
                </a:cubicBezTo>
                <a:cubicBezTo>
                  <a:pt x="25906" y="1813"/>
                  <a:pt x="25906" y="1813"/>
                  <a:pt x="25906" y="1813"/>
                </a:cubicBezTo>
                <a:cubicBezTo>
                  <a:pt x="25906" y="1844"/>
                  <a:pt x="25906" y="1844"/>
                  <a:pt x="25906" y="1844"/>
                </a:cubicBezTo>
                <a:close/>
                <a:moveTo>
                  <a:pt x="25906" y="1625"/>
                </a:moveTo>
                <a:cubicBezTo>
                  <a:pt x="25906" y="1594"/>
                  <a:pt x="25906" y="1594"/>
                  <a:pt x="25906" y="1594"/>
                </a:cubicBezTo>
                <a:cubicBezTo>
                  <a:pt x="25906" y="1594"/>
                  <a:pt x="25906" y="1594"/>
                  <a:pt x="25906" y="1594"/>
                </a:cubicBezTo>
                <a:cubicBezTo>
                  <a:pt x="25906" y="1594"/>
                  <a:pt x="25906" y="1594"/>
                  <a:pt x="25906" y="1625"/>
                </a:cubicBezTo>
                <a:close/>
                <a:moveTo>
                  <a:pt x="26593" y="5344"/>
                </a:moveTo>
                <a:cubicBezTo>
                  <a:pt x="26593" y="5344"/>
                  <a:pt x="26593" y="5344"/>
                  <a:pt x="26593" y="5344"/>
                </a:cubicBezTo>
                <a:cubicBezTo>
                  <a:pt x="26593" y="5344"/>
                  <a:pt x="26593" y="5344"/>
                  <a:pt x="26593" y="5344"/>
                </a:cubicBezTo>
                <a:close/>
                <a:moveTo>
                  <a:pt x="26687" y="6781"/>
                </a:moveTo>
                <a:cubicBezTo>
                  <a:pt x="26687" y="6781"/>
                  <a:pt x="26687" y="6781"/>
                  <a:pt x="26687" y="6781"/>
                </a:cubicBezTo>
                <a:cubicBezTo>
                  <a:pt x="26750" y="6781"/>
                  <a:pt x="26781" y="6813"/>
                  <a:pt x="26843" y="6875"/>
                </a:cubicBezTo>
                <a:cubicBezTo>
                  <a:pt x="26781" y="6813"/>
                  <a:pt x="26750" y="6781"/>
                  <a:pt x="26687" y="6781"/>
                </a:cubicBezTo>
                <a:close/>
                <a:moveTo>
                  <a:pt x="5593" y="12906"/>
                </a:move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lose/>
                <a:moveTo>
                  <a:pt x="5125" y="13906"/>
                </a:moveTo>
                <a:cubicBezTo>
                  <a:pt x="5125" y="13906"/>
                  <a:pt x="5125" y="13906"/>
                  <a:pt x="5125" y="13906"/>
                </a:cubicBezTo>
                <a:cubicBezTo>
                  <a:pt x="5125" y="13906"/>
                  <a:pt x="5125" y="13906"/>
                  <a:pt x="5125" y="13906"/>
                </a:cubicBezTo>
                <a:cubicBezTo>
                  <a:pt x="5125" y="13906"/>
                  <a:pt x="5125" y="13906"/>
                  <a:pt x="5093" y="13906"/>
                </a:cubicBezTo>
                <a:cubicBezTo>
                  <a:pt x="5093" y="13906"/>
                  <a:pt x="5093" y="13906"/>
                  <a:pt x="5093" y="13906"/>
                </a:cubicBezTo>
                <a:cubicBezTo>
                  <a:pt x="5093" y="13906"/>
                  <a:pt x="5093" y="13906"/>
                  <a:pt x="5093" y="13906"/>
                </a:cubicBezTo>
                <a:cubicBezTo>
                  <a:pt x="5093" y="13906"/>
                  <a:pt x="5093" y="13906"/>
                  <a:pt x="5093" y="13906"/>
                </a:cubicBezTo>
                <a:cubicBezTo>
                  <a:pt x="5125" y="13906"/>
                  <a:pt x="5125" y="13906"/>
                  <a:pt x="5125" y="13906"/>
                </a:cubicBezTo>
                <a:close/>
                <a:moveTo>
                  <a:pt x="3906" y="15719"/>
                </a:moveTo>
                <a:cubicBezTo>
                  <a:pt x="3906" y="15719"/>
                  <a:pt x="3906" y="15719"/>
                  <a:pt x="3906" y="15750"/>
                </a:cubicBezTo>
                <a:cubicBezTo>
                  <a:pt x="3875" y="15750"/>
                  <a:pt x="3875" y="15750"/>
                  <a:pt x="3875" y="15750"/>
                </a:cubicBezTo>
                <a:cubicBezTo>
                  <a:pt x="3843" y="15750"/>
                  <a:pt x="3843" y="15781"/>
                  <a:pt x="3843" y="15813"/>
                </a:cubicBezTo>
                <a:lnTo>
                  <a:pt x="3843" y="15813"/>
                </a:lnTo>
                <a:cubicBezTo>
                  <a:pt x="3843" y="15813"/>
                  <a:pt x="3843" y="15813"/>
                  <a:pt x="3843" y="15781"/>
                </a:cubicBezTo>
                <a:cubicBezTo>
                  <a:pt x="3875" y="15781"/>
                  <a:pt x="3875" y="15750"/>
                  <a:pt x="3906" y="15750"/>
                </a:cubicBezTo>
                <a:cubicBezTo>
                  <a:pt x="3906" y="15750"/>
                  <a:pt x="3906" y="15750"/>
                  <a:pt x="3906" y="15719"/>
                </a:cubicBezTo>
                <a:cubicBezTo>
                  <a:pt x="3906" y="15719"/>
                  <a:pt x="3906" y="15719"/>
                  <a:pt x="3906" y="15719"/>
                </a:cubicBezTo>
                <a:cubicBezTo>
                  <a:pt x="3937" y="15719"/>
                  <a:pt x="3937" y="15688"/>
                  <a:pt x="3937" y="15688"/>
                </a:cubicBezTo>
                <a:cubicBezTo>
                  <a:pt x="3906" y="15688"/>
                  <a:pt x="3906" y="15719"/>
                  <a:pt x="3906" y="15719"/>
                </a:cubicBezTo>
                <a:close/>
                <a:moveTo>
                  <a:pt x="3937" y="15688"/>
                </a:moveTo>
                <a:cubicBezTo>
                  <a:pt x="3937" y="15688"/>
                  <a:pt x="3937" y="15688"/>
                  <a:pt x="3937" y="15688"/>
                </a:cubicBezTo>
                <a:close/>
                <a:moveTo>
                  <a:pt x="3937" y="15688"/>
                </a:moveTo>
                <a:cubicBezTo>
                  <a:pt x="3937" y="15688"/>
                  <a:pt x="3937" y="15688"/>
                  <a:pt x="3937" y="15688"/>
                </a:cubicBezTo>
                <a:lnTo>
                  <a:pt x="3937" y="15688"/>
                </a:lnTo>
                <a:cubicBezTo>
                  <a:pt x="3937" y="15688"/>
                  <a:pt x="3937" y="15688"/>
                  <a:pt x="3937" y="15688"/>
                </a:cubicBezTo>
                <a:cubicBezTo>
                  <a:pt x="3937" y="15688"/>
                  <a:pt x="3937" y="15688"/>
                  <a:pt x="3937" y="1568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 dirty="0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101" y="2097006"/>
            <a:ext cx="4355917" cy="1151995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47931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1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12" grpId="0"/>
          <p:bldP spid="13" grpId="0">
            <p:tmplLst>
              <p:tmpl>
                <p:tnLst>
                  <p:par>
                    <p:cTn presetID="2" presetClass="entr" presetSubtype="1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0-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12" grpId="0"/>
          <p:bldP spid="13" grpId="0">
            <p:tmplLst>
              <p:tmpl>
                <p:tnLst>
                  <p:par>
                    <p:cTn presetID="2" presetClass="entr" presetSubtype="1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0-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4">
            <a:extLst>
              <a:ext uri="{FF2B5EF4-FFF2-40B4-BE49-F238E27FC236}">
                <a16:creationId xmlns:a16="http://schemas.microsoft.com/office/drawing/2014/main" id="{B2B44A93-2BB8-7546-86EA-795C22632255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552106" y="117015"/>
            <a:ext cx="11195786" cy="4715978"/>
          </a:xfrm>
          <a:custGeom>
            <a:avLst/>
            <a:gdLst>
              <a:gd name="T0" fmla="*/ 23250 w 27250"/>
              <a:gd name="T1" fmla="*/ 5750 h 21468"/>
              <a:gd name="T2" fmla="*/ 22063 w 27250"/>
              <a:gd name="T3" fmla="*/ 4969 h 21468"/>
              <a:gd name="T4" fmla="*/ 23032 w 27250"/>
              <a:gd name="T5" fmla="*/ 11656 h 21468"/>
              <a:gd name="T6" fmla="*/ 21907 w 27250"/>
              <a:gd name="T7" fmla="*/ 8406 h 21468"/>
              <a:gd name="T8" fmla="*/ 20938 w 27250"/>
              <a:gd name="T9" fmla="*/ 6625 h 21468"/>
              <a:gd name="T10" fmla="*/ 13407 w 27250"/>
              <a:gd name="T11" fmla="*/ 3375 h 21468"/>
              <a:gd name="T12" fmla="*/ 10250 w 27250"/>
              <a:gd name="T13" fmla="*/ 625 h 21468"/>
              <a:gd name="T14" fmla="*/ 7032 w 27250"/>
              <a:gd name="T15" fmla="*/ 2219 h 21468"/>
              <a:gd name="T16" fmla="*/ 5313 w 27250"/>
              <a:gd name="T17" fmla="*/ 3312 h 21468"/>
              <a:gd name="T18" fmla="*/ 6563 w 27250"/>
              <a:gd name="T19" fmla="*/ 6937 h 21468"/>
              <a:gd name="T20" fmla="*/ 8188 w 27250"/>
              <a:gd name="T21" fmla="*/ 9969 h 21468"/>
              <a:gd name="T22" fmla="*/ 10438 w 27250"/>
              <a:gd name="T23" fmla="*/ 16375 h 21468"/>
              <a:gd name="T24" fmla="*/ 10563 w 27250"/>
              <a:gd name="T25" fmla="*/ 14250 h 21468"/>
              <a:gd name="T26" fmla="*/ 15938 w 27250"/>
              <a:gd name="T27" fmla="*/ 17093 h 21468"/>
              <a:gd name="T28" fmla="*/ 18250 w 27250"/>
              <a:gd name="T29" fmla="*/ 18250 h 21468"/>
              <a:gd name="T30" fmla="*/ 15938 w 27250"/>
              <a:gd name="T31" fmla="*/ 16750 h 21468"/>
              <a:gd name="T32" fmla="*/ 16875 w 27250"/>
              <a:gd name="T33" fmla="*/ 17406 h 21468"/>
              <a:gd name="T34" fmla="*/ 18313 w 27250"/>
              <a:gd name="T35" fmla="*/ 18187 h 21468"/>
              <a:gd name="T36" fmla="*/ 20344 w 27250"/>
              <a:gd name="T37" fmla="*/ 18593 h 21468"/>
              <a:gd name="T38" fmla="*/ 16282 w 27250"/>
              <a:gd name="T39" fmla="*/ 16562 h 21468"/>
              <a:gd name="T40" fmla="*/ 11032 w 27250"/>
              <a:gd name="T41" fmla="*/ 12312 h 21468"/>
              <a:gd name="T42" fmla="*/ 9625 w 27250"/>
              <a:gd name="T43" fmla="*/ 10250 h 21468"/>
              <a:gd name="T44" fmla="*/ 16032 w 27250"/>
              <a:gd name="T45" fmla="*/ 15219 h 21468"/>
              <a:gd name="T46" fmla="*/ 21500 w 27250"/>
              <a:gd name="T47" fmla="*/ 17562 h 21468"/>
              <a:gd name="T48" fmla="*/ 24438 w 27250"/>
              <a:gd name="T49" fmla="*/ 15500 h 21468"/>
              <a:gd name="T50" fmla="*/ 22563 w 27250"/>
              <a:gd name="T51" fmla="*/ 15062 h 21468"/>
              <a:gd name="T52" fmla="*/ 19344 w 27250"/>
              <a:gd name="T53" fmla="*/ 13000 h 21468"/>
              <a:gd name="T54" fmla="*/ 14125 w 27250"/>
              <a:gd name="T55" fmla="*/ 7094 h 21468"/>
              <a:gd name="T56" fmla="*/ 22563 w 27250"/>
              <a:gd name="T57" fmla="*/ 13406 h 21468"/>
              <a:gd name="T58" fmla="*/ 13500 w 27250"/>
              <a:gd name="T59" fmla="*/ 4937 h 21468"/>
              <a:gd name="T60" fmla="*/ 22313 w 27250"/>
              <a:gd name="T61" fmla="*/ 11812 h 21468"/>
              <a:gd name="T62" fmla="*/ 27219 w 27250"/>
              <a:gd name="T63" fmla="*/ 12281 h 21468"/>
              <a:gd name="T64" fmla="*/ 25657 w 27250"/>
              <a:gd name="T65" fmla="*/ 6219 h 21468"/>
              <a:gd name="T66" fmla="*/ 24282 w 27250"/>
              <a:gd name="T67" fmla="*/ 4062 h 21468"/>
              <a:gd name="T68" fmla="*/ 23782 w 27250"/>
              <a:gd name="T69" fmla="*/ 5000 h 21468"/>
              <a:gd name="T70" fmla="*/ 10688 w 27250"/>
              <a:gd name="T71" fmla="*/ 844 h 21468"/>
              <a:gd name="T72" fmla="*/ 11000 w 27250"/>
              <a:gd name="T73" fmla="*/ 1156 h 21468"/>
              <a:gd name="T74" fmla="*/ 11782 w 27250"/>
              <a:gd name="T75" fmla="*/ 1812 h 21468"/>
              <a:gd name="T76" fmla="*/ 11407 w 27250"/>
              <a:gd name="T77" fmla="*/ 1437 h 21468"/>
              <a:gd name="T78" fmla="*/ 1032 w 27250"/>
              <a:gd name="T79" fmla="*/ 12937 h 21468"/>
              <a:gd name="T80" fmla="*/ 20813 w 27250"/>
              <a:gd name="T81" fmla="*/ 18093 h 21468"/>
              <a:gd name="T82" fmla="*/ 4969 w 27250"/>
              <a:gd name="T83" fmla="*/ 8812 h 21468"/>
              <a:gd name="T84" fmla="*/ 3750 w 27250"/>
              <a:gd name="T85" fmla="*/ 10000 h 21468"/>
              <a:gd name="T86" fmla="*/ 7594 w 27250"/>
              <a:gd name="T87" fmla="*/ 17937 h 21468"/>
              <a:gd name="T88" fmla="*/ 2500 w 27250"/>
              <a:gd name="T89" fmla="*/ 16375 h 21468"/>
              <a:gd name="T90" fmla="*/ 9094 w 27250"/>
              <a:gd name="T91" fmla="*/ 16000 h 21468"/>
              <a:gd name="T92" fmla="*/ 6157 w 27250"/>
              <a:gd name="T93" fmla="*/ 18562 h 21468"/>
              <a:gd name="T94" fmla="*/ 3782 w 27250"/>
              <a:gd name="T95" fmla="*/ 11250 h 21468"/>
              <a:gd name="T96" fmla="*/ 6344 w 27250"/>
              <a:gd name="T97" fmla="*/ 16968 h 21468"/>
              <a:gd name="T98" fmla="*/ 6344 w 27250"/>
              <a:gd name="T99" fmla="*/ 10156 h 21468"/>
              <a:gd name="T100" fmla="*/ 7188 w 27250"/>
              <a:gd name="T101" fmla="*/ 14594 h 21468"/>
              <a:gd name="T102" fmla="*/ 9500 w 27250"/>
              <a:gd name="T103" fmla="*/ 19187 h 21468"/>
              <a:gd name="T104" fmla="*/ 5594 w 27250"/>
              <a:gd name="T105" fmla="*/ 17656 h 21468"/>
              <a:gd name="T106" fmla="*/ 2750 w 27250"/>
              <a:gd name="T107" fmla="*/ 10812 h 21468"/>
              <a:gd name="T108" fmla="*/ 188 w 27250"/>
              <a:gd name="T109" fmla="*/ 7156 h 21468"/>
              <a:gd name="T110" fmla="*/ 500 w 27250"/>
              <a:gd name="T111" fmla="*/ 10062 h 21468"/>
              <a:gd name="T112" fmla="*/ 1157 w 27250"/>
              <a:gd name="T113" fmla="*/ 11156 h 21468"/>
              <a:gd name="T114" fmla="*/ 2875 w 27250"/>
              <a:gd name="T115" fmla="*/ 15812 h 21468"/>
              <a:gd name="T116" fmla="*/ 5563 w 27250"/>
              <a:gd name="T117" fmla="*/ 21125 h 21468"/>
              <a:gd name="T118" fmla="*/ 5907 w 27250"/>
              <a:gd name="T119" fmla="*/ 20343 h 21468"/>
              <a:gd name="T120" fmla="*/ 2594 w 27250"/>
              <a:gd name="T121" fmla="*/ 12219 h 21468"/>
              <a:gd name="T122" fmla="*/ 19532 w 27250"/>
              <a:gd name="T123" fmla="*/ 12500 h 21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250" h="21468">
                <a:moveTo>
                  <a:pt x="12969" y="6531"/>
                </a:moveTo>
                <a:cubicBezTo>
                  <a:pt x="12969" y="6531"/>
                  <a:pt x="12969" y="6531"/>
                  <a:pt x="12969" y="6531"/>
                </a:cubicBezTo>
                <a:cubicBezTo>
                  <a:pt x="12969" y="6469"/>
                  <a:pt x="12938" y="6469"/>
                  <a:pt x="12875" y="6437"/>
                </a:cubicBezTo>
                <a:cubicBezTo>
                  <a:pt x="12907" y="6500"/>
                  <a:pt x="12938" y="6531"/>
                  <a:pt x="12969" y="6531"/>
                </a:cubicBezTo>
                <a:cubicBezTo>
                  <a:pt x="13000" y="6594"/>
                  <a:pt x="13063" y="6656"/>
                  <a:pt x="13157" y="6687"/>
                </a:cubicBezTo>
                <a:cubicBezTo>
                  <a:pt x="13125" y="6656"/>
                  <a:pt x="13125" y="6656"/>
                  <a:pt x="13125" y="6656"/>
                </a:cubicBezTo>
                <a:cubicBezTo>
                  <a:pt x="13094" y="6594"/>
                  <a:pt x="13063" y="6531"/>
                  <a:pt x="12969" y="6531"/>
                </a:cubicBezTo>
                <a:close/>
                <a:moveTo>
                  <a:pt x="21032" y="6531"/>
                </a:moveTo>
                <a:cubicBezTo>
                  <a:pt x="21032" y="6531"/>
                  <a:pt x="21032" y="6531"/>
                  <a:pt x="21000" y="6531"/>
                </a:cubicBezTo>
                <a:cubicBezTo>
                  <a:pt x="21000" y="6531"/>
                  <a:pt x="21000" y="6531"/>
                  <a:pt x="21000" y="6531"/>
                </a:cubicBezTo>
                <a:cubicBezTo>
                  <a:pt x="21000" y="6562"/>
                  <a:pt x="21000" y="6562"/>
                  <a:pt x="21000" y="6562"/>
                </a:cubicBezTo>
                <a:cubicBezTo>
                  <a:pt x="21032" y="6562"/>
                  <a:pt x="21032" y="6562"/>
                  <a:pt x="21032" y="6531"/>
                </a:cubicBezTo>
                <a:close/>
                <a:moveTo>
                  <a:pt x="23438" y="4875"/>
                </a:moveTo>
                <a:cubicBezTo>
                  <a:pt x="23438" y="4875"/>
                  <a:pt x="23438" y="4906"/>
                  <a:pt x="23438" y="4906"/>
                </a:cubicBezTo>
                <a:cubicBezTo>
                  <a:pt x="23438" y="4906"/>
                  <a:pt x="23438" y="4875"/>
                  <a:pt x="23438" y="4875"/>
                </a:cubicBezTo>
                <a:cubicBezTo>
                  <a:pt x="23438" y="4875"/>
                  <a:pt x="23438" y="4875"/>
                  <a:pt x="23438" y="4875"/>
                </a:cubicBezTo>
                <a:close/>
                <a:moveTo>
                  <a:pt x="23438" y="4906"/>
                </a:moveTo>
                <a:cubicBezTo>
                  <a:pt x="23438" y="4969"/>
                  <a:pt x="23407" y="5062"/>
                  <a:pt x="23407" y="5125"/>
                </a:cubicBezTo>
                <a:cubicBezTo>
                  <a:pt x="23438" y="5281"/>
                  <a:pt x="23438" y="5406"/>
                  <a:pt x="23500" y="5562"/>
                </a:cubicBezTo>
                <a:cubicBezTo>
                  <a:pt x="23532" y="5625"/>
                  <a:pt x="23532" y="5719"/>
                  <a:pt x="23532" y="5781"/>
                </a:cubicBezTo>
                <a:cubicBezTo>
                  <a:pt x="23469" y="5781"/>
                  <a:pt x="23469" y="5687"/>
                  <a:pt x="23407" y="5719"/>
                </a:cubicBezTo>
                <a:cubicBezTo>
                  <a:pt x="23407" y="5781"/>
                  <a:pt x="23438" y="5844"/>
                  <a:pt x="23438" y="5906"/>
                </a:cubicBezTo>
                <a:cubicBezTo>
                  <a:pt x="23407" y="5906"/>
                  <a:pt x="23375" y="5906"/>
                  <a:pt x="23375" y="5906"/>
                </a:cubicBezTo>
                <a:cubicBezTo>
                  <a:pt x="23375" y="5906"/>
                  <a:pt x="23375" y="5906"/>
                  <a:pt x="23375" y="5906"/>
                </a:cubicBezTo>
                <a:cubicBezTo>
                  <a:pt x="23375" y="5875"/>
                  <a:pt x="23375" y="5875"/>
                  <a:pt x="23375" y="5875"/>
                </a:cubicBezTo>
                <a:cubicBezTo>
                  <a:pt x="23375" y="5875"/>
                  <a:pt x="23375" y="5875"/>
                  <a:pt x="23344" y="5875"/>
                </a:cubicBezTo>
                <a:cubicBezTo>
                  <a:pt x="23344" y="5875"/>
                  <a:pt x="23344" y="5844"/>
                  <a:pt x="23344" y="5844"/>
                </a:cubicBezTo>
                <a:cubicBezTo>
                  <a:pt x="23313" y="5844"/>
                  <a:pt x="23313" y="5844"/>
                  <a:pt x="23313" y="5812"/>
                </a:cubicBezTo>
                <a:cubicBezTo>
                  <a:pt x="23282" y="5812"/>
                  <a:pt x="23282" y="5812"/>
                  <a:pt x="23282" y="5812"/>
                </a:cubicBezTo>
                <a:cubicBezTo>
                  <a:pt x="23282" y="5812"/>
                  <a:pt x="23282" y="5781"/>
                  <a:pt x="23282" y="5781"/>
                </a:cubicBezTo>
                <a:cubicBezTo>
                  <a:pt x="23282" y="5781"/>
                  <a:pt x="23282" y="5750"/>
                  <a:pt x="23250" y="5750"/>
                </a:cubicBezTo>
                <a:cubicBezTo>
                  <a:pt x="23250" y="5750"/>
                  <a:pt x="23250" y="5750"/>
                  <a:pt x="23250" y="5750"/>
                </a:cubicBezTo>
                <a:cubicBezTo>
                  <a:pt x="23250" y="5750"/>
                  <a:pt x="23250" y="5750"/>
                  <a:pt x="23250" y="5750"/>
                </a:cubicBezTo>
                <a:cubicBezTo>
                  <a:pt x="23250" y="5719"/>
                  <a:pt x="23250" y="5719"/>
                  <a:pt x="23250" y="5719"/>
                </a:cubicBezTo>
                <a:cubicBezTo>
                  <a:pt x="23219" y="5687"/>
                  <a:pt x="23219" y="5656"/>
                  <a:pt x="23188" y="5656"/>
                </a:cubicBezTo>
                <a:cubicBezTo>
                  <a:pt x="23188" y="5656"/>
                  <a:pt x="23188" y="5656"/>
                  <a:pt x="23188" y="5687"/>
                </a:cubicBezTo>
                <a:cubicBezTo>
                  <a:pt x="23125" y="5719"/>
                  <a:pt x="23094" y="5687"/>
                  <a:pt x="23032" y="5656"/>
                </a:cubicBezTo>
                <a:cubicBezTo>
                  <a:pt x="22969" y="5781"/>
                  <a:pt x="23094" y="5906"/>
                  <a:pt x="23094" y="6062"/>
                </a:cubicBezTo>
                <a:cubicBezTo>
                  <a:pt x="22907" y="5781"/>
                  <a:pt x="22844" y="5437"/>
                  <a:pt x="22657" y="5187"/>
                </a:cubicBezTo>
                <a:cubicBezTo>
                  <a:pt x="22532" y="5312"/>
                  <a:pt x="22563" y="5437"/>
                  <a:pt x="22625" y="5562"/>
                </a:cubicBezTo>
                <a:cubicBezTo>
                  <a:pt x="22688" y="5719"/>
                  <a:pt x="22750" y="5906"/>
                  <a:pt x="22813" y="6062"/>
                </a:cubicBezTo>
                <a:cubicBezTo>
                  <a:pt x="22938" y="6312"/>
                  <a:pt x="23032" y="6594"/>
                  <a:pt x="23125" y="6844"/>
                </a:cubicBezTo>
                <a:cubicBezTo>
                  <a:pt x="23219" y="7125"/>
                  <a:pt x="23344" y="7406"/>
                  <a:pt x="23438" y="7687"/>
                </a:cubicBezTo>
                <a:cubicBezTo>
                  <a:pt x="23500" y="7906"/>
                  <a:pt x="23563" y="8156"/>
                  <a:pt x="23657" y="8406"/>
                </a:cubicBezTo>
                <a:cubicBezTo>
                  <a:pt x="23719" y="8656"/>
                  <a:pt x="23813" y="8906"/>
                  <a:pt x="23907" y="9156"/>
                </a:cubicBezTo>
                <a:cubicBezTo>
                  <a:pt x="23969" y="9469"/>
                  <a:pt x="24063" y="9750"/>
                  <a:pt x="24157" y="10062"/>
                </a:cubicBezTo>
                <a:cubicBezTo>
                  <a:pt x="24188" y="10281"/>
                  <a:pt x="24219" y="10469"/>
                  <a:pt x="24282" y="10656"/>
                </a:cubicBezTo>
                <a:cubicBezTo>
                  <a:pt x="24344" y="10812"/>
                  <a:pt x="24375" y="11000"/>
                  <a:pt x="24407" y="11187"/>
                </a:cubicBezTo>
                <a:cubicBezTo>
                  <a:pt x="24438" y="11281"/>
                  <a:pt x="24469" y="11406"/>
                  <a:pt x="24500" y="11531"/>
                </a:cubicBezTo>
                <a:cubicBezTo>
                  <a:pt x="24500" y="11562"/>
                  <a:pt x="24500" y="11594"/>
                  <a:pt x="24438" y="11594"/>
                </a:cubicBezTo>
                <a:cubicBezTo>
                  <a:pt x="24438" y="11625"/>
                  <a:pt x="24407" y="11625"/>
                  <a:pt x="24375" y="11594"/>
                </a:cubicBezTo>
                <a:cubicBezTo>
                  <a:pt x="24313" y="11500"/>
                  <a:pt x="24250" y="11406"/>
                  <a:pt x="24250" y="11281"/>
                </a:cubicBezTo>
                <a:cubicBezTo>
                  <a:pt x="24157" y="10937"/>
                  <a:pt x="24094" y="10625"/>
                  <a:pt x="24000" y="10281"/>
                </a:cubicBezTo>
                <a:cubicBezTo>
                  <a:pt x="23938" y="10000"/>
                  <a:pt x="23844" y="9719"/>
                  <a:pt x="23782" y="9437"/>
                </a:cubicBezTo>
                <a:cubicBezTo>
                  <a:pt x="23688" y="9156"/>
                  <a:pt x="23625" y="8875"/>
                  <a:pt x="23532" y="8594"/>
                </a:cubicBezTo>
                <a:cubicBezTo>
                  <a:pt x="23469" y="8375"/>
                  <a:pt x="23375" y="8125"/>
                  <a:pt x="23313" y="7906"/>
                </a:cubicBezTo>
                <a:cubicBezTo>
                  <a:pt x="23219" y="7594"/>
                  <a:pt x="23094" y="7281"/>
                  <a:pt x="23000" y="6969"/>
                </a:cubicBezTo>
                <a:cubicBezTo>
                  <a:pt x="22907" y="6687"/>
                  <a:pt x="22782" y="6406"/>
                  <a:pt x="22688" y="6125"/>
                </a:cubicBezTo>
                <a:cubicBezTo>
                  <a:pt x="22594" y="5906"/>
                  <a:pt x="22500" y="5687"/>
                  <a:pt x="22438" y="5469"/>
                </a:cubicBezTo>
                <a:cubicBezTo>
                  <a:pt x="22407" y="5375"/>
                  <a:pt x="22313" y="5344"/>
                  <a:pt x="22282" y="5281"/>
                </a:cubicBezTo>
                <a:cubicBezTo>
                  <a:pt x="22219" y="5187"/>
                  <a:pt x="22157" y="5125"/>
                  <a:pt x="22094" y="5031"/>
                </a:cubicBezTo>
                <a:cubicBezTo>
                  <a:pt x="22094" y="5000"/>
                  <a:pt x="22094" y="4969"/>
                  <a:pt x="22063" y="4969"/>
                </a:cubicBezTo>
                <a:cubicBezTo>
                  <a:pt x="22032" y="4969"/>
                  <a:pt x="22032" y="5000"/>
                  <a:pt x="22032" y="5000"/>
                </a:cubicBezTo>
                <a:cubicBezTo>
                  <a:pt x="22032" y="5094"/>
                  <a:pt x="21969" y="5062"/>
                  <a:pt x="21907" y="5062"/>
                </a:cubicBezTo>
                <a:cubicBezTo>
                  <a:pt x="21969" y="5187"/>
                  <a:pt x="22000" y="5250"/>
                  <a:pt x="22032" y="5344"/>
                </a:cubicBezTo>
                <a:cubicBezTo>
                  <a:pt x="22094" y="5500"/>
                  <a:pt x="22125" y="5656"/>
                  <a:pt x="22188" y="5812"/>
                </a:cubicBezTo>
                <a:cubicBezTo>
                  <a:pt x="22250" y="6062"/>
                  <a:pt x="22344" y="6281"/>
                  <a:pt x="22438" y="6531"/>
                </a:cubicBezTo>
                <a:cubicBezTo>
                  <a:pt x="22469" y="6687"/>
                  <a:pt x="22532" y="6875"/>
                  <a:pt x="22563" y="7031"/>
                </a:cubicBezTo>
                <a:cubicBezTo>
                  <a:pt x="22657" y="7219"/>
                  <a:pt x="22719" y="7406"/>
                  <a:pt x="22750" y="7594"/>
                </a:cubicBezTo>
                <a:cubicBezTo>
                  <a:pt x="22813" y="7781"/>
                  <a:pt x="22875" y="7937"/>
                  <a:pt x="22907" y="8125"/>
                </a:cubicBezTo>
                <a:cubicBezTo>
                  <a:pt x="22969" y="8312"/>
                  <a:pt x="23032" y="8531"/>
                  <a:pt x="23094" y="8750"/>
                </a:cubicBezTo>
                <a:cubicBezTo>
                  <a:pt x="23125" y="8844"/>
                  <a:pt x="23157" y="8969"/>
                  <a:pt x="23188" y="9062"/>
                </a:cubicBezTo>
                <a:cubicBezTo>
                  <a:pt x="23219" y="9187"/>
                  <a:pt x="23282" y="9281"/>
                  <a:pt x="23282" y="9406"/>
                </a:cubicBezTo>
                <a:cubicBezTo>
                  <a:pt x="23313" y="9531"/>
                  <a:pt x="23344" y="9625"/>
                  <a:pt x="23375" y="9750"/>
                </a:cubicBezTo>
                <a:cubicBezTo>
                  <a:pt x="23407" y="9906"/>
                  <a:pt x="23469" y="10062"/>
                  <a:pt x="23500" y="10187"/>
                </a:cubicBezTo>
                <a:cubicBezTo>
                  <a:pt x="23532" y="10312"/>
                  <a:pt x="23532" y="10437"/>
                  <a:pt x="23594" y="10531"/>
                </a:cubicBezTo>
                <a:cubicBezTo>
                  <a:pt x="23657" y="10719"/>
                  <a:pt x="23594" y="10906"/>
                  <a:pt x="23688" y="11094"/>
                </a:cubicBezTo>
                <a:cubicBezTo>
                  <a:pt x="23719" y="11094"/>
                  <a:pt x="23719" y="11156"/>
                  <a:pt x="23657" y="11156"/>
                </a:cubicBezTo>
                <a:cubicBezTo>
                  <a:pt x="23625" y="11156"/>
                  <a:pt x="23625" y="11125"/>
                  <a:pt x="23625" y="11094"/>
                </a:cubicBezTo>
                <a:cubicBezTo>
                  <a:pt x="23625" y="10969"/>
                  <a:pt x="23563" y="10844"/>
                  <a:pt x="23532" y="10719"/>
                </a:cubicBezTo>
                <a:cubicBezTo>
                  <a:pt x="23532" y="10687"/>
                  <a:pt x="23532" y="10656"/>
                  <a:pt x="23469" y="10656"/>
                </a:cubicBezTo>
                <a:cubicBezTo>
                  <a:pt x="23532" y="11000"/>
                  <a:pt x="23625" y="11344"/>
                  <a:pt x="23688" y="11656"/>
                </a:cubicBezTo>
                <a:cubicBezTo>
                  <a:pt x="23688" y="11781"/>
                  <a:pt x="23719" y="11875"/>
                  <a:pt x="23719" y="12000"/>
                </a:cubicBezTo>
                <a:cubicBezTo>
                  <a:pt x="23688" y="12000"/>
                  <a:pt x="23657" y="11969"/>
                  <a:pt x="23625" y="11969"/>
                </a:cubicBezTo>
                <a:cubicBezTo>
                  <a:pt x="23532" y="11937"/>
                  <a:pt x="23469" y="11875"/>
                  <a:pt x="23407" y="11844"/>
                </a:cubicBezTo>
                <a:cubicBezTo>
                  <a:pt x="23344" y="11750"/>
                  <a:pt x="23250" y="11719"/>
                  <a:pt x="23188" y="11719"/>
                </a:cubicBezTo>
                <a:cubicBezTo>
                  <a:pt x="23157" y="11719"/>
                  <a:pt x="23157" y="11719"/>
                  <a:pt x="23157" y="11719"/>
                </a:cubicBezTo>
                <a:cubicBezTo>
                  <a:pt x="23125" y="11719"/>
                  <a:pt x="23125" y="11687"/>
                  <a:pt x="23125" y="11687"/>
                </a:cubicBezTo>
                <a:cubicBezTo>
                  <a:pt x="23125" y="11687"/>
                  <a:pt x="23125" y="11656"/>
                  <a:pt x="23125" y="11656"/>
                </a:cubicBezTo>
                <a:cubicBezTo>
                  <a:pt x="23125" y="11656"/>
                  <a:pt x="23125" y="11625"/>
                  <a:pt x="23125" y="11625"/>
                </a:cubicBezTo>
                <a:cubicBezTo>
                  <a:pt x="23125" y="11594"/>
                  <a:pt x="23125" y="11531"/>
                  <a:pt x="23094" y="11500"/>
                </a:cubicBezTo>
                <a:cubicBezTo>
                  <a:pt x="23032" y="11469"/>
                  <a:pt x="23063" y="11344"/>
                  <a:pt x="23000" y="11281"/>
                </a:cubicBezTo>
                <a:cubicBezTo>
                  <a:pt x="23000" y="11406"/>
                  <a:pt x="23000" y="11531"/>
                  <a:pt x="23032" y="11656"/>
                </a:cubicBezTo>
                <a:cubicBezTo>
                  <a:pt x="22969" y="11656"/>
                  <a:pt x="22938" y="11625"/>
                  <a:pt x="22938" y="11562"/>
                </a:cubicBezTo>
                <a:cubicBezTo>
                  <a:pt x="22907" y="11375"/>
                  <a:pt x="22875" y="11187"/>
                  <a:pt x="22813" y="11000"/>
                </a:cubicBezTo>
                <a:cubicBezTo>
                  <a:pt x="22719" y="10656"/>
                  <a:pt x="22688" y="10344"/>
                  <a:pt x="22594" y="10000"/>
                </a:cubicBezTo>
                <a:cubicBezTo>
                  <a:pt x="22469" y="9656"/>
                  <a:pt x="22407" y="9281"/>
                  <a:pt x="22313" y="8906"/>
                </a:cubicBezTo>
                <a:cubicBezTo>
                  <a:pt x="22250" y="8719"/>
                  <a:pt x="22219" y="8531"/>
                  <a:pt x="22157" y="8375"/>
                </a:cubicBezTo>
                <a:cubicBezTo>
                  <a:pt x="22094" y="8094"/>
                  <a:pt x="22032" y="7844"/>
                  <a:pt x="21938" y="7594"/>
                </a:cubicBezTo>
                <a:cubicBezTo>
                  <a:pt x="21875" y="7312"/>
                  <a:pt x="21782" y="7062"/>
                  <a:pt x="21688" y="6812"/>
                </a:cubicBezTo>
                <a:cubicBezTo>
                  <a:pt x="21688" y="6781"/>
                  <a:pt x="21688" y="6750"/>
                  <a:pt x="21688" y="6750"/>
                </a:cubicBezTo>
                <a:cubicBezTo>
                  <a:pt x="21657" y="6719"/>
                  <a:pt x="21657" y="6687"/>
                  <a:pt x="21657" y="6687"/>
                </a:cubicBezTo>
                <a:cubicBezTo>
                  <a:pt x="21657" y="6656"/>
                  <a:pt x="21657" y="6625"/>
                  <a:pt x="21625" y="6625"/>
                </a:cubicBezTo>
                <a:cubicBezTo>
                  <a:pt x="21594" y="6531"/>
                  <a:pt x="21532" y="6437"/>
                  <a:pt x="21438" y="6375"/>
                </a:cubicBezTo>
                <a:cubicBezTo>
                  <a:pt x="21438" y="6375"/>
                  <a:pt x="21407" y="6375"/>
                  <a:pt x="21407" y="6344"/>
                </a:cubicBezTo>
                <a:cubicBezTo>
                  <a:pt x="21438" y="6250"/>
                  <a:pt x="21375" y="6156"/>
                  <a:pt x="21313" y="6094"/>
                </a:cubicBezTo>
                <a:cubicBezTo>
                  <a:pt x="21313" y="6094"/>
                  <a:pt x="21282" y="6031"/>
                  <a:pt x="21250" y="6062"/>
                </a:cubicBezTo>
                <a:cubicBezTo>
                  <a:pt x="21250" y="6094"/>
                  <a:pt x="21250" y="6094"/>
                  <a:pt x="21250" y="6125"/>
                </a:cubicBezTo>
                <a:cubicBezTo>
                  <a:pt x="21282" y="6156"/>
                  <a:pt x="21282" y="6219"/>
                  <a:pt x="21282" y="6250"/>
                </a:cubicBezTo>
                <a:cubicBezTo>
                  <a:pt x="21282" y="6281"/>
                  <a:pt x="21250" y="6312"/>
                  <a:pt x="21250" y="6344"/>
                </a:cubicBezTo>
                <a:cubicBezTo>
                  <a:pt x="21250" y="6406"/>
                  <a:pt x="21344" y="6469"/>
                  <a:pt x="21375" y="6500"/>
                </a:cubicBezTo>
                <a:cubicBezTo>
                  <a:pt x="21438" y="6594"/>
                  <a:pt x="21469" y="6687"/>
                  <a:pt x="21469" y="6781"/>
                </a:cubicBezTo>
                <a:cubicBezTo>
                  <a:pt x="21469" y="6969"/>
                  <a:pt x="21532" y="7156"/>
                  <a:pt x="21563" y="7312"/>
                </a:cubicBezTo>
                <a:cubicBezTo>
                  <a:pt x="21625" y="7437"/>
                  <a:pt x="21688" y="7531"/>
                  <a:pt x="21625" y="7656"/>
                </a:cubicBezTo>
                <a:cubicBezTo>
                  <a:pt x="21594" y="7687"/>
                  <a:pt x="21625" y="7750"/>
                  <a:pt x="21657" y="7781"/>
                </a:cubicBezTo>
                <a:cubicBezTo>
                  <a:pt x="21782" y="7844"/>
                  <a:pt x="21813" y="7969"/>
                  <a:pt x="21750" y="8094"/>
                </a:cubicBezTo>
                <a:cubicBezTo>
                  <a:pt x="21750" y="8125"/>
                  <a:pt x="21750" y="8187"/>
                  <a:pt x="21782" y="8219"/>
                </a:cubicBezTo>
                <a:cubicBezTo>
                  <a:pt x="21782" y="8250"/>
                  <a:pt x="21782" y="8250"/>
                  <a:pt x="21782" y="8250"/>
                </a:cubicBezTo>
                <a:cubicBezTo>
                  <a:pt x="21750" y="8250"/>
                  <a:pt x="21688" y="8219"/>
                  <a:pt x="21688" y="8281"/>
                </a:cubicBezTo>
                <a:cubicBezTo>
                  <a:pt x="21688" y="8344"/>
                  <a:pt x="21657" y="8406"/>
                  <a:pt x="21750" y="8469"/>
                </a:cubicBezTo>
                <a:cubicBezTo>
                  <a:pt x="21782" y="8500"/>
                  <a:pt x="21813" y="8469"/>
                  <a:pt x="21813" y="8406"/>
                </a:cubicBezTo>
                <a:cubicBezTo>
                  <a:pt x="21844" y="8375"/>
                  <a:pt x="21844" y="8344"/>
                  <a:pt x="21844" y="8281"/>
                </a:cubicBezTo>
                <a:cubicBezTo>
                  <a:pt x="21875" y="8312"/>
                  <a:pt x="21907" y="8344"/>
                  <a:pt x="21907" y="8375"/>
                </a:cubicBezTo>
                <a:cubicBezTo>
                  <a:pt x="21907" y="8375"/>
                  <a:pt x="21907" y="8406"/>
                  <a:pt x="21907" y="8406"/>
                </a:cubicBezTo>
                <a:cubicBezTo>
                  <a:pt x="21875" y="8562"/>
                  <a:pt x="21938" y="8687"/>
                  <a:pt x="22000" y="8812"/>
                </a:cubicBezTo>
                <a:cubicBezTo>
                  <a:pt x="22032" y="8844"/>
                  <a:pt x="22032" y="8875"/>
                  <a:pt x="22032" y="8906"/>
                </a:cubicBezTo>
                <a:cubicBezTo>
                  <a:pt x="22032" y="8906"/>
                  <a:pt x="22032" y="8906"/>
                  <a:pt x="22032" y="8906"/>
                </a:cubicBezTo>
                <a:cubicBezTo>
                  <a:pt x="22032" y="8906"/>
                  <a:pt x="22000" y="8906"/>
                  <a:pt x="22000" y="8906"/>
                </a:cubicBezTo>
                <a:cubicBezTo>
                  <a:pt x="22000" y="8937"/>
                  <a:pt x="22000" y="8937"/>
                  <a:pt x="22000" y="8937"/>
                </a:cubicBezTo>
                <a:cubicBezTo>
                  <a:pt x="21969" y="8937"/>
                  <a:pt x="21969" y="8969"/>
                  <a:pt x="22000" y="9000"/>
                </a:cubicBezTo>
                <a:cubicBezTo>
                  <a:pt x="22000" y="9000"/>
                  <a:pt x="22000" y="9000"/>
                  <a:pt x="22000" y="9000"/>
                </a:cubicBezTo>
                <a:cubicBezTo>
                  <a:pt x="21969" y="9000"/>
                  <a:pt x="21969" y="9000"/>
                  <a:pt x="21969" y="9000"/>
                </a:cubicBezTo>
                <a:cubicBezTo>
                  <a:pt x="21969" y="9000"/>
                  <a:pt x="21969" y="8969"/>
                  <a:pt x="21969" y="8969"/>
                </a:cubicBezTo>
                <a:cubicBezTo>
                  <a:pt x="21969" y="8969"/>
                  <a:pt x="21969" y="8969"/>
                  <a:pt x="21969" y="8969"/>
                </a:cubicBezTo>
                <a:cubicBezTo>
                  <a:pt x="21969" y="8969"/>
                  <a:pt x="21969" y="8937"/>
                  <a:pt x="21969" y="8937"/>
                </a:cubicBezTo>
                <a:cubicBezTo>
                  <a:pt x="21969" y="8937"/>
                  <a:pt x="21938" y="8937"/>
                  <a:pt x="21938" y="8906"/>
                </a:cubicBezTo>
                <a:cubicBezTo>
                  <a:pt x="21938" y="8937"/>
                  <a:pt x="21907" y="8969"/>
                  <a:pt x="21875" y="9000"/>
                </a:cubicBezTo>
                <a:cubicBezTo>
                  <a:pt x="21813" y="8937"/>
                  <a:pt x="21844" y="9031"/>
                  <a:pt x="21813" y="9062"/>
                </a:cubicBezTo>
                <a:cubicBezTo>
                  <a:pt x="21813" y="9062"/>
                  <a:pt x="21813" y="9062"/>
                  <a:pt x="21813" y="9062"/>
                </a:cubicBezTo>
                <a:cubicBezTo>
                  <a:pt x="21813" y="9094"/>
                  <a:pt x="21813" y="9094"/>
                  <a:pt x="21782" y="9094"/>
                </a:cubicBezTo>
                <a:cubicBezTo>
                  <a:pt x="21782" y="9094"/>
                  <a:pt x="21782" y="9062"/>
                  <a:pt x="21782" y="9031"/>
                </a:cubicBezTo>
                <a:cubicBezTo>
                  <a:pt x="21782" y="9031"/>
                  <a:pt x="21782" y="9000"/>
                  <a:pt x="21782" y="9000"/>
                </a:cubicBezTo>
                <a:cubicBezTo>
                  <a:pt x="21782" y="9000"/>
                  <a:pt x="21782" y="9000"/>
                  <a:pt x="21750" y="9000"/>
                </a:cubicBezTo>
                <a:cubicBezTo>
                  <a:pt x="21688" y="8781"/>
                  <a:pt x="21625" y="8594"/>
                  <a:pt x="21594" y="8375"/>
                </a:cubicBezTo>
                <a:cubicBezTo>
                  <a:pt x="21532" y="8187"/>
                  <a:pt x="21469" y="7969"/>
                  <a:pt x="21407" y="7781"/>
                </a:cubicBezTo>
                <a:cubicBezTo>
                  <a:pt x="21375" y="7656"/>
                  <a:pt x="21313" y="7531"/>
                  <a:pt x="21282" y="7406"/>
                </a:cubicBezTo>
                <a:cubicBezTo>
                  <a:pt x="21250" y="7281"/>
                  <a:pt x="21219" y="7156"/>
                  <a:pt x="21188" y="7062"/>
                </a:cubicBezTo>
                <a:cubicBezTo>
                  <a:pt x="21188" y="7062"/>
                  <a:pt x="21188" y="7062"/>
                  <a:pt x="21188" y="7062"/>
                </a:cubicBezTo>
                <a:cubicBezTo>
                  <a:pt x="21188" y="6906"/>
                  <a:pt x="21094" y="6750"/>
                  <a:pt x="21032" y="6625"/>
                </a:cubicBezTo>
                <a:cubicBezTo>
                  <a:pt x="21032" y="6656"/>
                  <a:pt x="21032" y="6687"/>
                  <a:pt x="21032" y="6719"/>
                </a:cubicBezTo>
                <a:cubicBezTo>
                  <a:pt x="21032" y="6750"/>
                  <a:pt x="21032" y="6750"/>
                  <a:pt x="21032" y="6750"/>
                </a:cubicBezTo>
                <a:cubicBezTo>
                  <a:pt x="21063" y="6844"/>
                  <a:pt x="21125" y="6906"/>
                  <a:pt x="21094" y="7000"/>
                </a:cubicBezTo>
                <a:cubicBezTo>
                  <a:pt x="21032" y="6937"/>
                  <a:pt x="21000" y="6844"/>
                  <a:pt x="21000" y="6781"/>
                </a:cubicBezTo>
                <a:cubicBezTo>
                  <a:pt x="20969" y="6750"/>
                  <a:pt x="20969" y="6750"/>
                  <a:pt x="20969" y="6719"/>
                </a:cubicBezTo>
                <a:cubicBezTo>
                  <a:pt x="20969" y="6687"/>
                  <a:pt x="20938" y="6656"/>
                  <a:pt x="20938" y="6625"/>
                </a:cubicBezTo>
                <a:cubicBezTo>
                  <a:pt x="20938" y="6437"/>
                  <a:pt x="20844" y="6312"/>
                  <a:pt x="20782" y="6156"/>
                </a:cubicBezTo>
                <a:cubicBezTo>
                  <a:pt x="20782" y="6156"/>
                  <a:pt x="20782" y="6187"/>
                  <a:pt x="20750" y="6219"/>
                </a:cubicBezTo>
                <a:cubicBezTo>
                  <a:pt x="20750" y="6344"/>
                  <a:pt x="20782" y="6469"/>
                  <a:pt x="20875" y="6562"/>
                </a:cubicBezTo>
                <a:cubicBezTo>
                  <a:pt x="21250" y="7812"/>
                  <a:pt x="21625" y="9031"/>
                  <a:pt x="21938" y="10281"/>
                </a:cubicBezTo>
                <a:cubicBezTo>
                  <a:pt x="21969" y="10469"/>
                  <a:pt x="22032" y="10625"/>
                  <a:pt x="22063" y="10812"/>
                </a:cubicBezTo>
                <a:cubicBezTo>
                  <a:pt x="21907" y="10750"/>
                  <a:pt x="21844" y="10625"/>
                  <a:pt x="21719" y="10594"/>
                </a:cubicBezTo>
                <a:cubicBezTo>
                  <a:pt x="21594" y="10531"/>
                  <a:pt x="21532" y="10437"/>
                  <a:pt x="21438" y="10375"/>
                </a:cubicBezTo>
                <a:cubicBezTo>
                  <a:pt x="20969" y="10000"/>
                  <a:pt x="20500" y="9625"/>
                  <a:pt x="20063" y="9250"/>
                </a:cubicBezTo>
                <a:cubicBezTo>
                  <a:pt x="19657" y="8906"/>
                  <a:pt x="19282" y="8594"/>
                  <a:pt x="18907" y="8250"/>
                </a:cubicBezTo>
                <a:cubicBezTo>
                  <a:pt x="18563" y="7937"/>
                  <a:pt x="18250" y="7625"/>
                  <a:pt x="17907" y="7312"/>
                </a:cubicBezTo>
                <a:cubicBezTo>
                  <a:pt x="17250" y="6687"/>
                  <a:pt x="16563" y="6062"/>
                  <a:pt x="15907" y="5437"/>
                </a:cubicBezTo>
                <a:cubicBezTo>
                  <a:pt x="15532" y="5094"/>
                  <a:pt x="15157" y="4781"/>
                  <a:pt x="14782" y="4437"/>
                </a:cubicBezTo>
                <a:cubicBezTo>
                  <a:pt x="14532" y="4187"/>
                  <a:pt x="14250" y="3937"/>
                  <a:pt x="14000" y="3687"/>
                </a:cubicBezTo>
                <a:cubicBezTo>
                  <a:pt x="13938" y="3656"/>
                  <a:pt x="13938" y="3656"/>
                  <a:pt x="13907" y="3687"/>
                </a:cubicBezTo>
                <a:cubicBezTo>
                  <a:pt x="13907" y="3719"/>
                  <a:pt x="13844" y="3687"/>
                  <a:pt x="13813" y="3719"/>
                </a:cubicBezTo>
                <a:cubicBezTo>
                  <a:pt x="13782" y="3687"/>
                  <a:pt x="13782" y="3687"/>
                  <a:pt x="13750" y="3687"/>
                </a:cubicBezTo>
                <a:cubicBezTo>
                  <a:pt x="13688" y="3656"/>
                  <a:pt x="13625" y="3656"/>
                  <a:pt x="13563" y="3625"/>
                </a:cubicBezTo>
                <a:cubicBezTo>
                  <a:pt x="13563" y="3625"/>
                  <a:pt x="13563" y="3625"/>
                  <a:pt x="13563" y="3625"/>
                </a:cubicBezTo>
                <a:cubicBezTo>
                  <a:pt x="13563" y="3594"/>
                  <a:pt x="13563" y="3594"/>
                  <a:pt x="13532" y="3594"/>
                </a:cubicBezTo>
                <a:cubicBezTo>
                  <a:pt x="13532" y="3594"/>
                  <a:pt x="13532" y="3594"/>
                  <a:pt x="13532" y="3594"/>
                </a:cubicBezTo>
                <a:cubicBezTo>
                  <a:pt x="13532" y="3594"/>
                  <a:pt x="13532" y="3594"/>
                  <a:pt x="13532" y="3594"/>
                </a:cubicBezTo>
                <a:cubicBezTo>
                  <a:pt x="13500" y="3594"/>
                  <a:pt x="13500" y="3562"/>
                  <a:pt x="13469" y="3562"/>
                </a:cubicBezTo>
                <a:cubicBezTo>
                  <a:pt x="13469" y="3562"/>
                  <a:pt x="13438" y="3531"/>
                  <a:pt x="13438" y="3531"/>
                </a:cubicBezTo>
                <a:cubicBezTo>
                  <a:pt x="13282" y="3500"/>
                  <a:pt x="13157" y="3406"/>
                  <a:pt x="13063" y="3312"/>
                </a:cubicBezTo>
                <a:cubicBezTo>
                  <a:pt x="13000" y="3250"/>
                  <a:pt x="13000" y="3250"/>
                  <a:pt x="13063" y="3250"/>
                </a:cubicBezTo>
                <a:cubicBezTo>
                  <a:pt x="13094" y="3250"/>
                  <a:pt x="13125" y="3250"/>
                  <a:pt x="13157" y="3281"/>
                </a:cubicBezTo>
                <a:cubicBezTo>
                  <a:pt x="13219" y="3312"/>
                  <a:pt x="13313" y="3375"/>
                  <a:pt x="13407" y="3375"/>
                </a:cubicBezTo>
                <a:cubicBezTo>
                  <a:pt x="13407" y="3375"/>
                  <a:pt x="13407" y="3375"/>
                  <a:pt x="13407" y="3375"/>
                </a:cubicBezTo>
                <a:cubicBezTo>
                  <a:pt x="13438" y="3437"/>
                  <a:pt x="13500" y="3469"/>
                  <a:pt x="13563" y="3469"/>
                </a:cubicBezTo>
                <a:cubicBezTo>
                  <a:pt x="13563" y="3500"/>
                  <a:pt x="13563" y="3500"/>
                  <a:pt x="13594" y="3500"/>
                </a:cubicBezTo>
                <a:cubicBezTo>
                  <a:pt x="13532" y="3437"/>
                  <a:pt x="13500" y="3375"/>
                  <a:pt x="13407" y="3375"/>
                </a:cubicBezTo>
                <a:cubicBezTo>
                  <a:pt x="13407" y="3312"/>
                  <a:pt x="13375" y="3312"/>
                  <a:pt x="13344" y="3281"/>
                </a:cubicBezTo>
                <a:cubicBezTo>
                  <a:pt x="13219" y="3187"/>
                  <a:pt x="13094" y="3125"/>
                  <a:pt x="12969" y="3031"/>
                </a:cubicBezTo>
                <a:cubicBezTo>
                  <a:pt x="12969" y="3031"/>
                  <a:pt x="12938" y="3000"/>
                  <a:pt x="12938" y="3000"/>
                </a:cubicBezTo>
                <a:cubicBezTo>
                  <a:pt x="12907" y="3000"/>
                  <a:pt x="12907" y="2969"/>
                  <a:pt x="12907" y="2969"/>
                </a:cubicBezTo>
                <a:cubicBezTo>
                  <a:pt x="12875" y="2937"/>
                  <a:pt x="12844" y="2906"/>
                  <a:pt x="12782" y="2906"/>
                </a:cubicBezTo>
                <a:cubicBezTo>
                  <a:pt x="12782" y="2906"/>
                  <a:pt x="12782" y="2906"/>
                  <a:pt x="12782" y="2906"/>
                </a:cubicBezTo>
                <a:cubicBezTo>
                  <a:pt x="12782" y="2906"/>
                  <a:pt x="12782" y="2875"/>
                  <a:pt x="12782" y="2875"/>
                </a:cubicBezTo>
                <a:cubicBezTo>
                  <a:pt x="12750" y="2875"/>
                  <a:pt x="12750" y="2875"/>
                  <a:pt x="12719" y="2875"/>
                </a:cubicBezTo>
                <a:cubicBezTo>
                  <a:pt x="12719" y="2875"/>
                  <a:pt x="12719" y="2875"/>
                  <a:pt x="12719" y="2875"/>
                </a:cubicBezTo>
                <a:cubicBezTo>
                  <a:pt x="12719" y="2844"/>
                  <a:pt x="12719" y="2844"/>
                  <a:pt x="12688" y="2844"/>
                </a:cubicBezTo>
                <a:cubicBezTo>
                  <a:pt x="12688" y="2844"/>
                  <a:pt x="12688" y="2844"/>
                  <a:pt x="12688" y="2844"/>
                </a:cubicBezTo>
                <a:cubicBezTo>
                  <a:pt x="12688" y="2812"/>
                  <a:pt x="12688" y="2812"/>
                  <a:pt x="12657" y="2812"/>
                </a:cubicBezTo>
                <a:cubicBezTo>
                  <a:pt x="12657" y="2812"/>
                  <a:pt x="12657" y="2812"/>
                  <a:pt x="12657" y="2812"/>
                </a:cubicBezTo>
                <a:cubicBezTo>
                  <a:pt x="12657" y="2812"/>
                  <a:pt x="12657" y="2812"/>
                  <a:pt x="12657" y="2812"/>
                </a:cubicBezTo>
                <a:cubicBezTo>
                  <a:pt x="12657" y="2781"/>
                  <a:pt x="12657" y="2781"/>
                  <a:pt x="12625" y="2781"/>
                </a:cubicBezTo>
                <a:cubicBezTo>
                  <a:pt x="12375" y="2594"/>
                  <a:pt x="12157" y="2375"/>
                  <a:pt x="11907" y="2187"/>
                </a:cubicBezTo>
                <a:cubicBezTo>
                  <a:pt x="11813" y="2125"/>
                  <a:pt x="11750" y="2062"/>
                  <a:pt x="11657" y="2000"/>
                </a:cubicBezTo>
                <a:cubicBezTo>
                  <a:pt x="11469" y="1844"/>
                  <a:pt x="11250" y="1687"/>
                  <a:pt x="11094" y="1500"/>
                </a:cubicBezTo>
                <a:cubicBezTo>
                  <a:pt x="11032" y="1406"/>
                  <a:pt x="10875" y="1375"/>
                  <a:pt x="10813" y="1250"/>
                </a:cubicBezTo>
                <a:cubicBezTo>
                  <a:pt x="10813" y="1250"/>
                  <a:pt x="10813" y="1250"/>
                  <a:pt x="10813" y="1250"/>
                </a:cubicBezTo>
                <a:cubicBezTo>
                  <a:pt x="10688" y="1250"/>
                  <a:pt x="10594" y="1156"/>
                  <a:pt x="10532" y="1062"/>
                </a:cubicBezTo>
                <a:cubicBezTo>
                  <a:pt x="10500" y="1031"/>
                  <a:pt x="10469" y="1031"/>
                  <a:pt x="10438" y="1031"/>
                </a:cubicBezTo>
                <a:cubicBezTo>
                  <a:pt x="10407" y="1031"/>
                  <a:pt x="10375" y="1000"/>
                  <a:pt x="10344" y="1000"/>
                </a:cubicBezTo>
                <a:cubicBezTo>
                  <a:pt x="10344" y="969"/>
                  <a:pt x="10344" y="937"/>
                  <a:pt x="10313" y="937"/>
                </a:cubicBezTo>
                <a:cubicBezTo>
                  <a:pt x="10282" y="875"/>
                  <a:pt x="10250" y="875"/>
                  <a:pt x="10188" y="844"/>
                </a:cubicBezTo>
                <a:cubicBezTo>
                  <a:pt x="10157" y="812"/>
                  <a:pt x="10125" y="781"/>
                  <a:pt x="10125" y="750"/>
                </a:cubicBezTo>
                <a:cubicBezTo>
                  <a:pt x="10157" y="750"/>
                  <a:pt x="10188" y="812"/>
                  <a:pt x="10282" y="781"/>
                </a:cubicBezTo>
                <a:cubicBezTo>
                  <a:pt x="10188" y="750"/>
                  <a:pt x="10188" y="656"/>
                  <a:pt x="10125" y="594"/>
                </a:cubicBezTo>
                <a:cubicBezTo>
                  <a:pt x="10157" y="594"/>
                  <a:pt x="10188" y="625"/>
                  <a:pt x="10188" y="625"/>
                </a:cubicBezTo>
                <a:cubicBezTo>
                  <a:pt x="10219" y="625"/>
                  <a:pt x="10219" y="625"/>
                  <a:pt x="10250" y="625"/>
                </a:cubicBezTo>
                <a:cubicBezTo>
                  <a:pt x="10250" y="625"/>
                  <a:pt x="10250" y="625"/>
                  <a:pt x="10250" y="625"/>
                </a:cubicBezTo>
                <a:cubicBezTo>
                  <a:pt x="10282" y="687"/>
                  <a:pt x="10344" y="719"/>
                  <a:pt x="10375" y="750"/>
                </a:cubicBezTo>
                <a:cubicBezTo>
                  <a:pt x="10375" y="750"/>
                  <a:pt x="10375" y="750"/>
                  <a:pt x="10375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375" y="750"/>
                  <a:pt x="10375" y="750"/>
                  <a:pt x="10375" y="750"/>
                </a:cubicBezTo>
                <a:cubicBezTo>
                  <a:pt x="10375" y="687"/>
                  <a:pt x="10313" y="656"/>
                  <a:pt x="10250" y="625"/>
                </a:cubicBezTo>
                <a:cubicBezTo>
                  <a:pt x="10125" y="469"/>
                  <a:pt x="9969" y="406"/>
                  <a:pt x="9782" y="312"/>
                </a:cubicBezTo>
                <a:cubicBezTo>
                  <a:pt x="9500" y="219"/>
                  <a:pt x="9188" y="94"/>
                  <a:pt x="8844" y="94"/>
                </a:cubicBezTo>
                <a:cubicBezTo>
                  <a:pt x="8844" y="94"/>
                  <a:pt x="8844" y="62"/>
                  <a:pt x="8844" y="62"/>
                </a:cubicBezTo>
                <a:cubicBezTo>
                  <a:pt x="8844" y="62"/>
                  <a:pt x="8813" y="62"/>
                  <a:pt x="8813" y="62"/>
                </a:cubicBezTo>
                <a:cubicBezTo>
                  <a:pt x="8782" y="62"/>
                  <a:pt x="8782" y="62"/>
                  <a:pt x="8782" y="62"/>
                </a:cubicBezTo>
                <a:cubicBezTo>
                  <a:pt x="8750" y="0"/>
                  <a:pt x="8719" y="0"/>
                  <a:pt x="8657" y="0"/>
                </a:cubicBezTo>
                <a:cubicBezTo>
                  <a:pt x="8563" y="31"/>
                  <a:pt x="8438" y="31"/>
                  <a:pt x="8344" y="31"/>
                </a:cubicBezTo>
                <a:cubicBezTo>
                  <a:pt x="8282" y="31"/>
                  <a:pt x="8250" y="62"/>
                  <a:pt x="8219" y="62"/>
                </a:cubicBezTo>
                <a:cubicBezTo>
                  <a:pt x="7844" y="250"/>
                  <a:pt x="7750" y="594"/>
                  <a:pt x="7657" y="937"/>
                </a:cubicBezTo>
                <a:cubicBezTo>
                  <a:pt x="7563" y="1344"/>
                  <a:pt x="7594" y="1750"/>
                  <a:pt x="7563" y="2125"/>
                </a:cubicBezTo>
                <a:cubicBezTo>
                  <a:pt x="7563" y="2156"/>
                  <a:pt x="7563" y="2219"/>
                  <a:pt x="7532" y="2219"/>
                </a:cubicBezTo>
                <a:cubicBezTo>
                  <a:pt x="7500" y="2219"/>
                  <a:pt x="7500" y="2187"/>
                  <a:pt x="7500" y="2156"/>
                </a:cubicBezTo>
                <a:cubicBezTo>
                  <a:pt x="7469" y="2156"/>
                  <a:pt x="7469" y="2125"/>
                  <a:pt x="7438" y="2125"/>
                </a:cubicBezTo>
                <a:cubicBezTo>
                  <a:pt x="7438" y="2156"/>
                  <a:pt x="7438" y="2187"/>
                  <a:pt x="7438" y="2219"/>
                </a:cubicBezTo>
                <a:cubicBezTo>
                  <a:pt x="7407" y="2312"/>
                  <a:pt x="7438" y="2406"/>
                  <a:pt x="7375" y="2469"/>
                </a:cubicBezTo>
                <a:cubicBezTo>
                  <a:pt x="7313" y="2531"/>
                  <a:pt x="7313" y="2594"/>
                  <a:pt x="7313" y="2656"/>
                </a:cubicBezTo>
                <a:cubicBezTo>
                  <a:pt x="7313" y="2844"/>
                  <a:pt x="7313" y="3031"/>
                  <a:pt x="7313" y="3219"/>
                </a:cubicBezTo>
                <a:cubicBezTo>
                  <a:pt x="7313" y="3125"/>
                  <a:pt x="7250" y="3062"/>
                  <a:pt x="7250" y="2969"/>
                </a:cubicBezTo>
                <a:cubicBezTo>
                  <a:pt x="7219" y="2719"/>
                  <a:pt x="7282" y="2469"/>
                  <a:pt x="7188" y="2219"/>
                </a:cubicBezTo>
                <a:cubicBezTo>
                  <a:pt x="7157" y="2187"/>
                  <a:pt x="7188" y="2156"/>
                  <a:pt x="7157" y="2125"/>
                </a:cubicBezTo>
                <a:cubicBezTo>
                  <a:pt x="7125" y="2125"/>
                  <a:pt x="7094" y="2156"/>
                  <a:pt x="7094" y="2187"/>
                </a:cubicBezTo>
                <a:cubicBezTo>
                  <a:pt x="7063" y="2187"/>
                  <a:pt x="7063" y="2219"/>
                  <a:pt x="7032" y="2219"/>
                </a:cubicBezTo>
                <a:cubicBezTo>
                  <a:pt x="7000" y="2219"/>
                  <a:pt x="7000" y="2187"/>
                  <a:pt x="7000" y="2156"/>
                </a:cubicBezTo>
                <a:cubicBezTo>
                  <a:pt x="7000" y="2062"/>
                  <a:pt x="6969" y="1969"/>
                  <a:pt x="7000" y="1875"/>
                </a:cubicBezTo>
                <a:cubicBezTo>
                  <a:pt x="7000" y="1812"/>
                  <a:pt x="6907" y="1687"/>
                  <a:pt x="6813" y="1687"/>
                </a:cubicBezTo>
                <a:cubicBezTo>
                  <a:pt x="6719" y="1719"/>
                  <a:pt x="6750" y="1812"/>
                  <a:pt x="6750" y="1844"/>
                </a:cubicBezTo>
                <a:cubicBezTo>
                  <a:pt x="6750" y="2031"/>
                  <a:pt x="6750" y="2187"/>
                  <a:pt x="6750" y="2375"/>
                </a:cubicBezTo>
                <a:cubicBezTo>
                  <a:pt x="6750" y="2406"/>
                  <a:pt x="6782" y="2437"/>
                  <a:pt x="6750" y="2437"/>
                </a:cubicBezTo>
                <a:cubicBezTo>
                  <a:pt x="6625" y="2406"/>
                  <a:pt x="6688" y="2500"/>
                  <a:pt x="6688" y="2531"/>
                </a:cubicBezTo>
                <a:cubicBezTo>
                  <a:pt x="6688" y="2562"/>
                  <a:pt x="6688" y="2625"/>
                  <a:pt x="6688" y="2687"/>
                </a:cubicBezTo>
                <a:cubicBezTo>
                  <a:pt x="6688" y="3062"/>
                  <a:pt x="6688" y="3406"/>
                  <a:pt x="6750" y="3781"/>
                </a:cubicBezTo>
                <a:cubicBezTo>
                  <a:pt x="6782" y="3875"/>
                  <a:pt x="6688" y="3875"/>
                  <a:pt x="6657" y="3875"/>
                </a:cubicBezTo>
                <a:cubicBezTo>
                  <a:pt x="6594" y="3906"/>
                  <a:pt x="6532" y="3875"/>
                  <a:pt x="6532" y="3812"/>
                </a:cubicBezTo>
                <a:cubicBezTo>
                  <a:pt x="6500" y="3656"/>
                  <a:pt x="6469" y="3531"/>
                  <a:pt x="6438" y="3375"/>
                </a:cubicBezTo>
                <a:cubicBezTo>
                  <a:pt x="6438" y="3187"/>
                  <a:pt x="6344" y="3000"/>
                  <a:pt x="6375" y="2812"/>
                </a:cubicBezTo>
                <a:cubicBezTo>
                  <a:pt x="6375" y="2781"/>
                  <a:pt x="6344" y="2750"/>
                  <a:pt x="6313" y="2750"/>
                </a:cubicBezTo>
                <a:cubicBezTo>
                  <a:pt x="6282" y="2750"/>
                  <a:pt x="6282" y="2781"/>
                  <a:pt x="6282" y="2812"/>
                </a:cubicBezTo>
                <a:cubicBezTo>
                  <a:pt x="6313" y="3125"/>
                  <a:pt x="6313" y="3469"/>
                  <a:pt x="6375" y="3781"/>
                </a:cubicBezTo>
                <a:cubicBezTo>
                  <a:pt x="6375" y="3812"/>
                  <a:pt x="6375" y="3844"/>
                  <a:pt x="6313" y="3875"/>
                </a:cubicBezTo>
                <a:cubicBezTo>
                  <a:pt x="6250" y="3875"/>
                  <a:pt x="6250" y="3937"/>
                  <a:pt x="6250" y="4000"/>
                </a:cubicBezTo>
                <a:cubicBezTo>
                  <a:pt x="6282" y="4062"/>
                  <a:pt x="6250" y="4094"/>
                  <a:pt x="6250" y="4156"/>
                </a:cubicBezTo>
                <a:cubicBezTo>
                  <a:pt x="6219" y="4250"/>
                  <a:pt x="6188" y="4281"/>
                  <a:pt x="6094" y="4219"/>
                </a:cubicBezTo>
                <a:cubicBezTo>
                  <a:pt x="6032" y="4187"/>
                  <a:pt x="5969" y="4156"/>
                  <a:pt x="5907" y="4094"/>
                </a:cubicBezTo>
                <a:cubicBezTo>
                  <a:pt x="5938" y="4187"/>
                  <a:pt x="6000" y="4250"/>
                  <a:pt x="5938" y="4312"/>
                </a:cubicBezTo>
                <a:cubicBezTo>
                  <a:pt x="5938" y="4312"/>
                  <a:pt x="5938" y="4312"/>
                  <a:pt x="5938" y="4312"/>
                </a:cubicBezTo>
                <a:cubicBezTo>
                  <a:pt x="5844" y="4187"/>
                  <a:pt x="5938" y="4000"/>
                  <a:pt x="5719" y="3937"/>
                </a:cubicBezTo>
                <a:cubicBezTo>
                  <a:pt x="5719" y="3937"/>
                  <a:pt x="5719" y="3937"/>
                  <a:pt x="5719" y="3937"/>
                </a:cubicBezTo>
                <a:cubicBezTo>
                  <a:pt x="5750" y="3844"/>
                  <a:pt x="5625" y="3750"/>
                  <a:pt x="5657" y="3656"/>
                </a:cubicBezTo>
                <a:cubicBezTo>
                  <a:pt x="5657" y="3500"/>
                  <a:pt x="5625" y="3375"/>
                  <a:pt x="5657" y="3250"/>
                </a:cubicBezTo>
                <a:cubicBezTo>
                  <a:pt x="5657" y="3125"/>
                  <a:pt x="5594" y="3031"/>
                  <a:pt x="5563" y="2969"/>
                </a:cubicBezTo>
                <a:cubicBezTo>
                  <a:pt x="5532" y="2875"/>
                  <a:pt x="5438" y="2875"/>
                  <a:pt x="5375" y="2875"/>
                </a:cubicBezTo>
                <a:cubicBezTo>
                  <a:pt x="5313" y="2875"/>
                  <a:pt x="5313" y="2906"/>
                  <a:pt x="5313" y="2937"/>
                </a:cubicBezTo>
                <a:cubicBezTo>
                  <a:pt x="5313" y="3062"/>
                  <a:pt x="5282" y="3187"/>
                  <a:pt x="5313" y="3312"/>
                </a:cubicBezTo>
                <a:cubicBezTo>
                  <a:pt x="5375" y="3562"/>
                  <a:pt x="5375" y="3812"/>
                  <a:pt x="5407" y="4062"/>
                </a:cubicBezTo>
                <a:cubicBezTo>
                  <a:pt x="5438" y="4312"/>
                  <a:pt x="5469" y="4531"/>
                  <a:pt x="5532" y="4781"/>
                </a:cubicBezTo>
                <a:cubicBezTo>
                  <a:pt x="5563" y="5062"/>
                  <a:pt x="5625" y="5344"/>
                  <a:pt x="5688" y="5656"/>
                </a:cubicBezTo>
                <a:cubicBezTo>
                  <a:pt x="5719" y="5875"/>
                  <a:pt x="5750" y="6125"/>
                  <a:pt x="5813" y="6375"/>
                </a:cubicBezTo>
                <a:cubicBezTo>
                  <a:pt x="5875" y="6562"/>
                  <a:pt x="5907" y="6781"/>
                  <a:pt x="5969" y="7000"/>
                </a:cubicBezTo>
                <a:cubicBezTo>
                  <a:pt x="6000" y="7125"/>
                  <a:pt x="6000" y="7219"/>
                  <a:pt x="6032" y="7344"/>
                </a:cubicBezTo>
                <a:cubicBezTo>
                  <a:pt x="6125" y="7625"/>
                  <a:pt x="6188" y="7906"/>
                  <a:pt x="6250" y="8156"/>
                </a:cubicBezTo>
                <a:cubicBezTo>
                  <a:pt x="6282" y="8344"/>
                  <a:pt x="6344" y="8531"/>
                  <a:pt x="6375" y="8719"/>
                </a:cubicBezTo>
                <a:cubicBezTo>
                  <a:pt x="6407" y="8906"/>
                  <a:pt x="6469" y="9031"/>
                  <a:pt x="6625" y="9156"/>
                </a:cubicBezTo>
                <a:cubicBezTo>
                  <a:pt x="6750" y="9250"/>
                  <a:pt x="6907" y="9344"/>
                  <a:pt x="6938" y="9531"/>
                </a:cubicBezTo>
                <a:cubicBezTo>
                  <a:pt x="6907" y="9562"/>
                  <a:pt x="6907" y="9562"/>
                  <a:pt x="6907" y="9594"/>
                </a:cubicBezTo>
                <a:cubicBezTo>
                  <a:pt x="6938" y="9719"/>
                  <a:pt x="6969" y="9844"/>
                  <a:pt x="7032" y="9969"/>
                </a:cubicBezTo>
                <a:cubicBezTo>
                  <a:pt x="7063" y="10125"/>
                  <a:pt x="8125" y="13687"/>
                  <a:pt x="8188" y="13812"/>
                </a:cubicBezTo>
                <a:cubicBezTo>
                  <a:pt x="8219" y="13906"/>
                  <a:pt x="8250" y="14031"/>
                  <a:pt x="8282" y="14125"/>
                </a:cubicBezTo>
                <a:cubicBezTo>
                  <a:pt x="8313" y="14219"/>
                  <a:pt x="8282" y="14312"/>
                  <a:pt x="8344" y="14375"/>
                </a:cubicBezTo>
                <a:cubicBezTo>
                  <a:pt x="8407" y="14469"/>
                  <a:pt x="8407" y="14594"/>
                  <a:pt x="8469" y="14719"/>
                </a:cubicBezTo>
                <a:cubicBezTo>
                  <a:pt x="8532" y="14875"/>
                  <a:pt x="8563" y="15094"/>
                  <a:pt x="8657" y="15281"/>
                </a:cubicBezTo>
                <a:cubicBezTo>
                  <a:pt x="8719" y="15406"/>
                  <a:pt x="8782" y="15562"/>
                  <a:pt x="8813" y="15687"/>
                </a:cubicBezTo>
                <a:cubicBezTo>
                  <a:pt x="8844" y="15781"/>
                  <a:pt x="8907" y="15781"/>
                  <a:pt x="8969" y="15781"/>
                </a:cubicBezTo>
                <a:cubicBezTo>
                  <a:pt x="9000" y="15781"/>
                  <a:pt x="9000" y="15781"/>
                  <a:pt x="9000" y="15718"/>
                </a:cubicBezTo>
                <a:cubicBezTo>
                  <a:pt x="9000" y="15625"/>
                  <a:pt x="8938" y="15500"/>
                  <a:pt x="8907" y="15406"/>
                </a:cubicBezTo>
                <a:cubicBezTo>
                  <a:pt x="8750" y="15031"/>
                  <a:pt x="8657" y="14656"/>
                  <a:pt x="8532" y="14281"/>
                </a:cubicBezTo>
                <a:cubicBezTo>
                  <a:pt x="8407" y="13844"/>
                  <a:pt x="7250" y="10281"/>
                  <a:pt x="7000" y="9656"/>
                </a:cubicBezTo>
                <a:cubicBezTo>
                  <a:pt x="7032" y="9656"/>
                  <a:pt x="7032" y="9656"/>
                  <a:pt x="7032" y="9656"/>
                </a:cubicBezTo>
                <a:cubicBezTo>
                  <a:pt x="7063" y="9625"/>
                  <a:pt x="7032" y="9594"/>
                  <a:pt x="7032" y="9594"/>
                </a:cubicBezTo>
                <a:cubicBezTo>
                  <a:pt x="7032" y="9500"/>
                  <a:pt x="6969" y="9437"/>
                  <a:pt x="6969" y="9344"/>
                </a:cubicBezTo>
                <a:cubicBezTo>
                  <a:pt x="7000" y="9156"/>
                  <a:pt x="6938" y="9031"/>
                  <a:pt x="6907" y="8844"/>
                </a:cubicBezTo>
                <a:cubicBezTo>
                  <a:pt x="6844" y="8625"/>
                  <a:pt x="6782" y="8406"/>
                  <a:pt x="6719" y="8187"/>
                </a:cubicBezTo>
                <a:cubicBezTo>
                  <a:pt x="6657" y="7937"/>
                  <a:pt x="6625" y="7719"/>
                  <a:pt x="6594" y="7500"/>
                </a:cubicBezTo>
                <a:cubicBezTo>
                  <a:pt x="6563" y="7406"/>
                  <a:pt x="6532" y="7281"/>
                  <a:pt x="6500" y="7187"/>
                </a:cubicBezTo>
                <a:cubicBezTo>
                  <a:pt x="6500" y="7094"/>
                  <a:pt x="6563" y="7031"/>
                  <a:pt x="6563" y="6937"/>
                </a:cubicBezTo>
                <a:cubicBezTo>
                  <a:pt x="6594" y="6875"/>
                  <a:pt x="6594" y="6844"/>
                  <a:pt x="6657" y="6906"/>
                </a:cubicBezTo>
                <a:cubicBezTo>
                  <a:pt x="6688" y="6937"/>
                  <a:pt x="6750" y="6906"/>
                  <a:pt x="6719" y="6844"/>
                </a:cubicBezTo>
                <a:cubicBezTo>
                  <a:pt x="6688" y="6750"/>
                  <a:pt x="6688" y="6625"/>
                  <a:pt x="6657" y="6531"/>
                </a:cubicBezTo>
                <a:cubicBezTo>
                  <a:pt x="6625" y="6344"/>
                  <a:pt x="6563" y="6156"/>
                  <a:pt x="6532" y="5937"/>
                </a:cubicBezTo>
                <a:cubicBezTo>
                  <a:pt x="6500" y="5594"/>
                  <a:pt x="6469" y="5250"/>
                  <a:pt x="6375" y="4906"/>
                </a:cubicBezTo>
                <a:cubicBezTo>
                  <a:pt x="6375" y="4875"/>
                  <a:pt x="6344" y="4812"/>
                  <a:pt x="6438" y="4781"/>
                </a:cubicBezTo>
                <a:cubicBezTo>
                  <a:pt x="6500" y="4781"/>
                  <a:pt x="6532" y="4812"/>
                  <a:pt x="6532" y="4875"/>
                </a:cubicBezTo>
                <a:cubicBezTo>
                  <a:pt x="6563" y="5125"/>
                  <a:pt x="6594" y="5375"/>
                  <a:pt x="6657" y="5625"/>
                </a:cubicBezTo>
                <a:cubicBezTo>
                  <a:pt x="6719" y="5906"/>
                  <a:pt x="6782" y="6219"/>
                  <a:pt x="6844" y="6531"/>
                </a:cubicBezTo>
                <a:cubicBezTo>
                  <a:pt x="6938" y="6969"/>
                  <a:pt x="7000" y="7406"/>
                  <a:pt x="7125" y="7844"/>
                </a:cubicBezTo>
                <a:cubicBezTo>
                  <a:pt x="7219" y="8219"/>
                  <a:pt x="7282" y="8625"/>
                  <a:pt x="7438" y="9000"/>
                </a:cubicBezTo>
                <a:cubicBezTo>
                  <a:pt x="7469" y="9031"/>
                  <a:pt x="7438" y="9062"/>
                  <a:pt x="7500" y="9062"/>
                </a:cubicBezTo>
                <a:cubicBezTo>
                  <a:pt x="7532" y="9062"/>
                  <a:pt x="7500" y="9031"/>
                  <a:pt x="7500" y="9000"/>
                </a:cubicBezTo>
                <a:cubicBezTo>
                  <a:pt x="7532" y="8906"/>
                  <a:pt x="7469" y="8844"/>
                  <a:pt x="7469" y="8750"/>
                </a:cubicBezTo>
                <a:cubicBezTo>
                  <a:pt x="7438" y="8500"/>
                  <a:pt x="7375" y="8219"/>
                  <a:pt x="7313" y="7969"/>
                </a:cubicBezTo>
                <a:cubicBezTo>
                  <a:pt x="7188" y="7469"/>
                  <a:pt x="7094" y="6969"/>
                  <a:pt x="7000" y="6500"/>
                </a:cubicBezTo>
                <a:cubicBezTo>
                  <a:pt x="6875" y="5969"/>
                  <a:pt x="6782" y="5437"/>
                  <a:pt x="6688" y="4906"/>
                </a:cubicBezTo>
                <a:cubicBezTo>
                  <a:pt x="6657" y="4875"/>
                  <a:pt x="6657" y="4812"/>
                  <a:pt x="6719" y="4812"/>
                </a:cubicBezTo>
                <a:cubicBezTo>
                  <a:pt x="6782" y="4781"/>
                  <a:pt x="6782" y="4812"/>
                  <a:pt x="6813" y="4875"/>
                </a:cubicBezTo>
                <a:cubicBezTo>
                  <a:pt x="6844" y="5094"/>
                  <a:pt x="6875" y="5312"/>
                  <a:pt x="6907" y="5531"/>
                </a:cubicBezTo>
                <a:cubicBezTo>
                  <a:pt x="6969" y="5906"/>
                  <a:pt x="7063" y="6250"/>
                  <a:pt x="7125" y="6625"/>
                </a:cubicBezTo>
                <a:cubicBezTo>
                  <a:pt x="7188" y="6875"/>
                  <a:pt x="7250" y="7156"/>
                  <a:pt x="7313" y="7406"/>
                </a:cubicBezTo>
                <a:cubicBezTo>
                  <a:pt x="7344" y="7500"/>
                  <a:pt x="7375" y="7594"/>
                  <a:pt x="7375" y="7687"/>
                </a:cubicBezTo>
                <a:cubicBezTo>
                  <a:pt x="7375" y="7781"/>
                  <a:pt x="7407" y="7875"/>
                  <a:pt x="7438" y="7969"/>
                </a:cubicBezTo>
                <a:cubicBezTo>
                  <a:pt x="7469" y="8031"/>
                  <a:pt x="7407" y="8125"/>
                  <a:pt x="7532" y="8156"/>
                </a:cubicBezTo>
                <a:cubicBezTo>
                  <a:pt x="7532" y="8219"/>
                  <a:pt x="7563" y="8250"/>
                  <a:pt x="7594" y="8281"/>
                </a:cubicBezTo>
                <a:cubicBezTo>
                  <a:pt x="7625" y="8531"/>
                  <a:pt x="7750" y="8750"/>
                  <a:pt x="7813" y="9000"/>
                </a:cubicBezTo>
                <a:cubicBezTo>
                  <a:pt x="7875" y="9219"/>
                  <a:pt x="7938" y="9406"/>
                  <a:pt x="7969" y="9625"/>
                </a:cubicBezTo>
                <a:cubicBezTo>
                  <a:pt x="8000" y="9687"/>
                  <a:pt x="8000" y="9719"/>
                  <a:pt x="8063" y="9719"/>
                </a:cubicBezTo>
                <a:cubicBezTo>
                  <a:pt x="8157" y="9750"/>
                  <a:pt x="8188" y="9812"/>
                  <a:pt x="8219" y="9875"/>
                </a:cubicBezTo>
                <a:cubicBezTo>
                  <a:pt x="8282" y="9937"/>
                  <a:pt x="8157" y="9937"/>
                  <a:pt x="8188" y="9969"/>
                </a:cubicBezTo>
                <a:cubicBezTo>
                  <a:pt x="8188" y="10000"/>
                  <a:pt x="8157" y="10000"/>
                  <a:pt x="8157" y="10031"/>
                </a:cubicBezTo>
                <a:cubicBezTo>
                  <a:pt x="8250" y="10094"/>
                  <a:pt x="8250" y="10219"/>
                  <a:pt x="8282" y="10312"/>
                </a:cubicBezTo>
                <a:cubicBezTo>
                  <a:pt x="8375" y="10500"/>
                  <a:pt x="8375" y="10687"/>
                  <a:pt x="8469" y="10875"/>
                </a:cubicBezTo>
                <a:cubicBezTo>
                  <a:pt x="8500" y="11000"/>
                  <a:pt x="8500" y="11125"/>
                  <a:pt x="8563" y="11250"/>
                </a:cubicBezTo>
                <a:cubicBezTo>
                  <a:pt x="8594" y="11344"/>
                  <a:pt x="8625" y="11437"/>
                  <a:pt x="8657" y="11531"/>
                </a:cubicBezTo>
                <a:cubicBezTo>
                  <a:pt x="8719" y="11781"/>
                  <a:pt x="8782" y="12062"/>
                  <a:pt x="8844" y="12312"/>
                </a:cubicBezTo>
                <a:cubicBezTo>
                  <a:pt x="8875" y="12437"/>
                  <a:pt x="8907" y="12562"/>
                  <a:pt x="8907" y="12687"/>
                </a:cubicBezTo>
                <a:cubicBezTo>
                  <a:pt x="8907" y="12875"/>
                  <a:pt x="9000" y="13000"/>
                  <a:pt x="9032" y="13187"/>
                </a:cubicBezTo>
                <a:cubicBezTo>
                  <a:pt x="9063" y="13344"/>
                  <a:pt x="9157" y="13500"/>
                  <a:pt x="9125" y="13656"/>
                </a:cubicBezTo>
                <a:cubicBezTo>
                  <a:pt x="9125" y="13687"/>
                  <a:pt x="9125" y="13719"/>
                  <a:pt x="9125" y="13750"/>
                </a:cubicBezTo>
                <a:cubicBezTo>
                  <a:pt x="9188" y="13937"/>
                  <a:pt x="9250" y="14125"/>
                  <a:pt x="9313" y="14312"/>
                </a:cubicBezTo>
                <a:cubicBezTo>
                  <a:pt x="9438" y="14719"/>
                  <a:pt x="9563" y="15094"/>
                  <a:pt x="9688" y="15469"/>
                </a:cubicBezTo>
                <a:cubicBezTo>
                  <a:pt x="9782" y="15781"/>
                  <a:pt x="9875" y="16062"/>
                  <a:pt x="10000" y="16375"/>
                </a:cubicBezTo>
                <a:cubicBezTo>
                  <a:pt x="10032" y="16468"/>
                  <a:pt x="10063" y="16593"/>
                  <a:pt x="10125" y="16687"/>
                </a:cubicBezTo>
                <a:cubicBezTo>
                  <a:pt x="10125" y="16593"/>
                  <a:pt x="10125" y="16531"/>
                  <a:pt x="10125" y="16468"/>
                </a:cubicBezTo>
                <a:cubicBezTo>
                  <a:pt x="10125" y="16468"/>
                  <a:pt x="10125" y="16468"/>
                  <a:pt x="10125" y="16468"/>
                </a:cubicBezTo>
                <a:cubicBezTo>
                  <a:pt x="10125" y="16468"/>
                  <a:pt x="10125" y="16468"/>
                  <a:pt x="10125" y="16468"/>
                </a:cubicBezTo>
                <a:cubicBezTo>
                  <a:pt x="10219" y="16593"/>
                  <a:pt x="10282" y="16718"/>
                  <a:pt x="10313" y="16875"/>
                </a:cubicBezTo>
                <a:cubicBezTo>
                  <a:pt x="10344" y="16875"/>
                  <a:pt x="10344" y="16906"/>
                  <a:pt x="10344" y="16937"/>
                </a:cubicBezTo>
                <a:cubicBezTo>
                  <a:pt x="10375" y="16968"/>
                  <a:pt x="10375" y="17000"/>
                  <a:pt x="10407" y="17031"/>
                </a:cubicBezTo>
                <a:cubicBezTo>
                  <a:pt x="10407" y="17062"/>
                  <a:pt x="10438" y="17093"/>
                  <a:pt x="10438" y="17125"/>
                </a:cubicBezTo>
                <a:cubicBezTo>
                  <a:pt x="10469" y="17031"/>
                  <a:pt x="10469" y="16968"/>
                  <a:pt x="10532" y="17031"/>
                </a:cubicBezTo>
                <a:cubicBezTo>
                  <a:pt x="10563" y="17062"/>
                  <a:pt x="10594" y="17062"/>
                  <a:pt x="10594" y="17000"/>
                </a:cubicBezTo>
                <a:cubicBezTo>
                  <a:pt x="10594" y="16812"/>
                  <a:pt x="10500" y="16656"/>
                  <a:pt x="10407" y="16531"/>
                </a:cubicBezTo>
                <a:cubicBezTo>
                  <a:pt x="10407" y="16500"/>
                  <a:pt x="10375" y="16500"/>
                  <a:pt x="10375" y="16468"/>
                </a:cubicBezTo>
                <a:cubicBezTo>
                  <a:pt x="10375" y="16468"/>
                  <a:pt x="10375" y="16468"/>
                  <a:pt x="10375" y="16437"/>
                </a:cubicBezTo>
                <a:cubicBezTo>
                  <a:pt x="10375" y="16437"/>
                  <a:pt x="10375" y="16406"/>
                  <a:pt x="10375" y="16406"/>
                </a:cubicBezTo>
                <a:cubicBezTo>
                  <a:pt x="10375" y="16375"/>
                  <a:pt x="10375" y="16375"/>
                  <a:pt x="10375" y="16375"/>
                </a:cubicBezTo>
                <a:cubicBezTo>
                  <a:pt x="10407" y="16375"/>
                  <a:pt x="10407" y="16375"/>
                  <a:pt x="10407" y="16375"/>
                </a:cubicBezTo>
                <a:cubicBezTo>
                  <a:pt x="10407" y="16375"/>
                  <a:pt x="10407" y="16375"/>
                  <a:pt x="10407" y="16406"/>
                </a:cubicBezTo>
                <a:cubicBezTo>
                  <a:pt x="10438" y="16406"/>
                  <a:pt x="10438" y="16375"/>
                  <a:pt x="10438" y="16375"/>
                </a:cubicBezTo>
                <a:cubicBezTo>
                  <a:pt x="10407" y="16343"/>
                  <a:pt x="10407" y="16343"/>
                  <a:pt x="10407" y="16343"/>
                </a:cubicBezTo>
                <a:cubicBezTo>
                  <a:pt x="10407" y="16312"/>
                  <a:pt x="10407" y="16312"/>
                  <a:pt x="10407" y="16312"/>
                </a:cubicBezTo>
                <a:cubicBezTo>
                  <a:pt x="10407" y="16281"/>
                  <a:pt x="10375" y="16250"/>
                  <a:pt x="10375" y="16218"/>
                </a:cubicBezTo>
                <a:cubicBezTo>
                  <a:pt x="10407" y="16218"/>
                  <a:pt x="10438" y="16187"/>
                  <a:pt x="10438" y="16187"/>
                </a:cubicBezTo>
                <a:cubicBezTo>
                  <a:pt x="10438" y="16156"/>
                  <a:pt x="10438" y="16156"/>
                  <a:pt x="10407" y="16125"/>
                </a:cubicBezTo>
                <a:cubicBezTo>
                  <a:pt x="10407" y="16093"/>
                  <a:pt x="10375" y="16062"/>
                  <a:pt x="10375" y="16000"/>
                </a:cubicBezTo>
                <a:cubicBezTo>
                  <a:pt x="10375" y="16000"/>
                  <a:pt x="10407" y="16000"/>
                  <a:pt x="10407" y="16000"/>
                </a:cubicBezTo>
                <a:cubicBezTo>
                  <a:pt x="10407" y="16000"/>
                  <a:pt x="10407" y="16000"/>
                  <a:pt x="10438" y="16000"/>
                </a:cubicBezTo>
                <a:cubicBezTo>
                  <a:pt x="10438" y="16000"/>
                  <a:pt x="10438" y="16000"/>
                  <a:pt x="10438" y="16000"/>
                </a:cubicBezTo>
                <a:cubicBezTo>
                  <a:pt x="10438" y="16000"/>
                  <a:pt x="10438" y="16000"/>
                  <a:pt x="10438" y="16000"/>
                </a:cubicBezTo>
                <a:cubicBezTo>
                  <a:pt x="10438" y="16000"/>
                  <a:pt x="10469" y="16000"/>
                  <a:pt x="10469" y="16000"/>
                </a:cubicBezTo>
                <a:cubicBezTo>
                  <a:pt x="10469" y="15968"/>
                  <a:pt x="10438" y="15937"/>
                  <a:pt x="10407" y="15937"/>
                </a:cubicBezTo>
                <a:cubicBezTo>
                  <a:pt x="10407" y="15906"/>
                  <a:pt x="10407" y="15906"/>
                  <a:pt x="10407" y="15906"/>
                </a:cubicBezTo>
                <a:cubicBezTo>
                  <a:pt x="10407" y="15875"/>
                  <a:pt x="10407" y="15875"/>
                  <a:pt x="10407" y="15875"/>
                </a:cubicBezTo>
                <a:cubicBezTo>
                  <a:pt x="10500" y="15843"/>
                  <a:pt x="10469" y="15812"/>
                  <a:pt x="10469" y="15750"/>
                </a:cubicBezTo>
                <a:cubicBezTo>
                  <a:pt x="10469" y="15750"/>
                  <a:pt x="10469" y="15718"/>
                  <a:pt x="10469" y="15718"/>
                </a:cubicBezTo>
                <a:cubicBezTo>
                  <a:pt x="10469" y="15687"/>
                  <a:pt x="10407" y="15625"/>
                  <a:pt x="10469" y="15625"/>
                </a:cubicBezTo>
                <a:cubicBezTo>
                  <a:pt x="10500" y="15625"/>
                  <a:pt x="10594" y="15562"/>
                  <a:pt x="10625" y="15656"/>
                </a:cubicBezTo>
                <a:cubicBezTo>
                  <a:pt x="10657" y="15687"/>
                  <a:pt x="10688" y="15750"/>
                  <a:pt x="10719" y="15812"/>
                </a:cubicBezTo>
                <a:cubicBezTo>
                  <a:pt x="10844" y="15968"/>
                  <a:pt x="10969" y="16156"/>
                  <a:pt x="11094" y="16343"/>
                </a:cubicBezTo>
                <a:cubicBezTo>
                  <a:pt x="11094" y="16375"/>
                  <a:pt x="11125" y="16437"/>
                  <a:pt x="11157" y="16406"/>
                </a:cubicBezTo>
                <a:cubicBezTo>
                  <a:pt x="11219" y="16406"/>
                  <a:pt x="11188" y="16343"/>
                  <a:pt x="11188" y="16312"/>
                </a:cubicBezTo>
                <a:cubicBezTo>
                  <a:pt x="11188" y="16281"/>
                  <a:pt x="11188" y="16250"/>
                  <a:pt x="11188" y="16250"/>
                </a:cubicBezTo>
                <a:cubicBezTo>
                  <a:pt x="11219" y="16093"/>
                  <a:pt x="11188" y="16000"/>
                  <a:pt x="11125" y="15875"/>
                </a:cubicBezTo>
                <a:cubicBezTo>
                  <a:pt x="11063" y="15781"/>
                  <a:pt x="11032" y="15687"/>
                  <a:pt x="11000" y="15562"/>
                </a:cubicBezTo>
                <a:cubicBezTo>
                  <a:pt x="10844" y="15187"/>
                  <a:pt x="10719" y="14781"/>
                  <a:pt x="10594" y="14406"/>
                </a:cubicBezTo>
                <a:cubicBezTo>
                  <a:pt x="10594" y="14375"/>
                  <a:pt x="10594" y="14375"/>
                  <a:pt x="10594" y="14375"/>
                </a:cubicBezTo>
                <a:cubicBezTo>
                  <a:pt x="10594" y="14344"/>
                  <a:pt x="10594" y="14344"/>
                  <a:pt x="10563" y="14344"/>
                </a:cubicBezTo>
                <a:cubicBezTo>
                  <a:pt x="10563" y="14312"/>
                  <a:pt x="10563" y="14281"/>
                  <a:pt x="10563" y="14281"/>
                </a:cubicBezTo>
                <a:cubicBezTo>
                  <a:pt x="10563" y="14281"/>
                  <a:pt x="10563" y="14250"/>
                  <a:pt x="10563" y="14250"/>
                </a:cubicBezTo>
                <a:cubicBezTo>
                  <a:pt x="10563" y="14250"/>
                  <a:pt x="10563" y="14250"/>
                  <a:pt x="10563" y="14250"/>
                </a:cubicBezTo>
                <a:cubicBezTo>
                  <a:pt x="10563" y="14250"/>
                  <a:pt x="10563" y="14250"/>
                  <a:pt x="10563" y="14250"/>
                </a:cubicBezTo>
                <a:cubicBezTo>
                  <a:pt x="10563" y="14250"/>
                  <a:pt x="10532" y="14219"/>
                  <a:pt x="10532" y="14219"/>
                </a:cubicBezTo>
                <a:cubicBezTo>
                  <a:pt x="10532" y="14219"/>
                  <a:pt x="10532" y="14187"/>
                  <a:pt x="10532" y="14187"/>
                </a:cubicBezTo>
                <a:cubicBezTo>
                  <a:pt x="10532" y="14187"/>
                  <a:pt x="10532" y="14187"/>
                  <a:pt x="10532" y="14156"/>
                </a:cubicBezTo>
                <a:cubicBezTo>
                  <a:pt x="10500" y="14125"/>
                  <a:pt x="10500" y="14094"/>
                  <a:pt x="10469" y="14062"/>
                </a:cubicBezTo>
                <a:cubicBezTo>
                  <a:pt x="10469" y="14031"/>
                  <a:pt x="10469" y="14031"/>
                  <a:pt x="10438" y="14000"/>
                </a:cubicBezTo>
                <a:cubicBezTo>
                  <a:pt x="10469" y="14000"/>
                  <a:pt x="10469" y="13969"/>
                  <a:pt x="10469" y="13969"/>
                </a:cubicBezTo>
                <a:cubicBezTo>
                  <a:pt x="10469" y="13937"/>
                  <a:pt x="10438" y="13906"/>
                  <a:pt x="10438" y="13906"/>
                </a:cubicBezTo>
                <a:cubicBezTo>
                  <a:pt x="10407" y="13875"/>
                  <a:pt x="10407" y="13875"/>
                  <a:pt x="10407" y="13875"/>
                </a:cubicBezTo>
                <a:cubicBezTo>
                  <a:pt x="10407" y="13844"/>
                  <a:pt x="10407" y="13844"/>
                  <a:pt x="10407" y="13844"/>
                </a:cubicBezTo>
                <a:cubicBezTo>
                  <a:pt x="10407" y="13844"/>
                  <a:pt x="10407" y="13844"/>
                  <a:pt x="10407" y="13844"/>
                </a:cubicBezTo>
                <a:cubicBezTo>
                  <a:pt x="10407" y="13844"/>
                  <a:pt x="10407" y="13844"/>
                  <a:pt x="10407" y="13844"/>
                </a:cubicBezTo>
                <a:cubicBezTo>
                  <a:pt x="10407" y="13812"/>
                  <a:pt x="10407" y="13812"/>
                  <a:pt x="10375" y="13781"/>
                </a:cubicBezTo>
                <a:cubicBezTo>
                  <a:pt x="10282" y="13469"/>
                  <a:pt x="10188" y="13187"/>
                  <a:pt x="10063" y="12875"/>
                </a:cubicBezTo>
                <a:cubicBezTo>
                  <a:pt x="10063" y="12750"/>
                  <a:pt x="10000" y="12625"/>
                  <a:pt x="9969" y="12500"/>
                </a:cubicBezTo>
                <a:cubicBezTo>
                  <a:pt x="9969" y="12469"/>
                  <a:pt x="9969" y="12437"/>
                  <a:pt x="9938" y="12437"/>
                </a:cubicBezTo>
                <a:cubicBezTo>
                  <a:pt x="9938" y="12312"/>
                  <a:pt x="9844" y="12250"/>
                  <a:pt x="9875" y="12125"/>
                </a:cubicBezTo>
                <a:cubicBezTo>
                  <a:pt x="10469" y="12656"/>
                  <a:pt x="11094" y="13219"/>
                  <a:pt x="11688" y="13750"/>
                </a:cubicBezTo>
                <a:cubicBezTo>
                  <a:pt x="12375" y="14344"/>
                  <a:pt x="13063" y="14906"/>
                  <a:pt x="13782" y="15469"/>
                </a:cubicBezTo>
                <a:cubicBezTo>
                  <a:pt x="14344" y="15906"/>
                  <a:pt x="14907" y="16343"/>
                  <a:pt x="15469" y="16750"/>
                </a:cubicBezTo>
                <a:cubicBezTo>
                  <a:pt x="15500" y="16781"/>
                  <a:pt x="15500" y="16781"/>
                  <a:pt x="15532" y="16812"/>
                </a:cubicBezTo>
                <a:cubicBezTo>
                  <a:pt x="15563" y="16843"/>
                  <a:pt x="15594" y="16875"/>
                  <a:pt x="15657" y="16875"/>
                </a:cubicBezTo>
                <a:cubicBezTo>
                  <a:pt x="15657" y="16875"/>
                  <a:pt x="15657" y="16875"/>
                  <a:pt x="15657" y="16875"/>
                </a:cubicBezTo>
                <a:cubicBezTo>
                  <a:pt x="15657" y="16875"/>
                  <a:pt x="15657" y="16875"/>
                  <a:pt x="15657" y="16875"/>
                </a:cubicBezTo>
                <a:cubicBezTo>
                  <a:pt x="15657" y="16875"/>
                  <a:pt x="15657" y="16906"/>
                  <a:pt x="15688" y="16906"/>
                </a:cubicBezTo>
                <a:cubicBezTo>
                  <a:pt x="15688" y="16937"/>
                  <a:pt x="15719" y="16937"/>
                  <a:pt x="15750" y="16937"/>
                </a:cubicBezTo>
                <a:cubicBezTo>
                  <a:pt x="15750" y="16937"/>
                  <a:pt x="15750" y="16937"/>
                  <a:pt x="15750" y="16937"/>
                </a:cubicBezTo>
                <a:cubicBezTo>
                  <a:pt x="15750" y="16968"/>
                  <a:pt x="15782" y="16968"/>
                  <a:pt x="15782" y="17000"/>
                </a:cubicBezTo>
                <a:cubicBezTo>
                  <a:pt x="15813" y="17031"/>
                  <a:pt x="15844" y="17031"/>
                  <a:pt x="15875" y="17062"/>
                </a:cubicBezTo>
                <a:cubicBezTo>
                  <a:pt x="15875" y="17062"/>
                  <a:pt x="15907" y="17062"/>
                  <a:pt x="15938" y="17062"/>
                </a:cubicBezTo>
                <a:cubicBezTo>
                  <a:pt x="15938" y="17093"/>
                  <a:pt x="15938" y="17093"/>
                  <a:pt x="15938" y="17093"/>
                </a:cubicBezTo>
                <a:cubicBezTo>
                  <a:pt x="15969" y="17125"/>
                  <a:pt x="16032" y="17156"/>
                  <a:pt x="16063" y="17187"/>
                </a:cubicBezTo>
                <a:cubicBezTo>
                  <a:pt x="16157" y="17250"/>
                  <a:pt x="16219" y="17312"/>
                  <a:pt x="16313" y="17343"/>
                </a:cubicBezTo>
                <a:cubicBezTo>
                  <a:pt x="16313" y="17343"/>
                  <a:pt x="16313" y="17343"/>
                  <a:pt x="16313" y="17343"/>
                </a:cubicBezTo>
                <a:cubicBezTo>
                  <a:pt x="16344" y="17375"/>
                  <a:pt x="16344" y="17375"/>
                  <a:pt x="16375" y="17406"/>
                </a:cubicBezTo>
                <a:cubicBezTo>
                  <a:pt x="16375" y="17406"/>
                  <a:pt x="16407" y="17437"/>
                  <a:pt x="16438" y="17437"/>
                </a:cubicBezTo>
                <a:cubicBezTo>
                  <a:pt x="16438" y="17437"/>
                  <a:pt x="16438" y="17437"/>
                  <a:pt x="16438" y="17437"/>
                </a:cubicBezTo>
                <a:cubicBezTo>
                  <a:pt x="16469" y="17468"/>
                  <a:pt x="16500" y="17468"/>
                  <a:pt x="16532" y="17468"/>
                </a:cubicBezTo>
                <a:cubicBezTo>
                  <a:pt x="16532" y="17500"/>
                  <a:pt x="16532" y="17500"/>
                  <a:pt x="16532" y="17500"/>
                </a:cubicBezTo>
                <a:cubicBezTo>
                  <a:pt x="16563" y="17562"/>
                  <a:pt x="16657" y="17593"/>
                  <a:pt x="16719" y="17625"/>
                </a:cubicBezTo>
                <a:cubicBezTo>
                  <a:pt x="17344" y="18031"/>
                  <a:pt x="17969" y="18375"/>
                  <a:pt x="18657" y="18625"/>
                </a:cubicBezTo>
                <a:cubicBezTo>
                  <a:pt x="18969" y="18750"/>
                  <a:pt x="19282" y="18781"/>
                  <a:pt x="19594" y="18843"/>
                </a:cubicBezTo>
                <a:cubicBezTo>
                  <a:pt x="19625" y="18843"/>
                  <a:pt x="19625" y="18843"/>
                  <a:pt x="19657" y="18812"/>
                </a:cubicBezTo>
                <a:cubicBezTo>
                  <a:pt x="19688" y="18812"/>
                  <a:pt x="19750" y="18812"/>
                  <a:pt x="19813" y="18812"/>
                </a:cubicBezTo>
                <a:cubicBezTo>
                  <a:pt x="19813" y="18812"/>
                  <a:pt x="19813" y="18812"/>
                  <a:pt x="19813" y="18812"/>
                </a:cubicBezTo>
                <a:cubicBezTo>
                  <a:pt x="19813" y="18812"/>
                  <a:pt x="19813" y="18812"/>
                  <a:pt x="19813" y="18812"/>
                </a:cubicBezTo>
                <a:cubicBezTo>
                  <a:pt x="19844" y="18812"/>
                  <a:pt x="19875" y="18812"/>
                  <a:pt x="19907" y="18812"/>
                </a:cubicBezTo>
                <a:cubicBezTo>
                  <a:pt x="19938" y="18812"/>
                  <a:pt x="20000" y="18812"/>
                  <a:pt x="20032" y="18781"/>
                </a:cubicBezTo>
                <a:cubicBezTo>
                  <a:pt x="20032" y="18781"/>
                  <a:pt x="20063" y="18781"/>
                  <a:pt x="20063" y="18781"/>
                </a:cubicBezTo>
                <a:cubicBezTo>
                  <a:pt x="20125" y="18781"/>
                  <a:pt x="20125" y="18750"/>
                  <a:pt x="20219" y="18750"/>
                </a:cubicBezTo>
                <a:cubicBezTo>
                  <a:pt x="20188" y="18750"/>
                  <a:pt x="20188" y="18718"/>
                  <a:pt x="20157" y="18718"/>
                </a:cubicBezTo>
                <a:cubicBezTo>
                  <a:pt x="20125" y="18718"/>
                  <a:pt x="20094" y="18718"/>
                  <a:pt x="20063" y="18718"/>
                </a:cubicBezTo>
                <a:cubicBezTo>
                  <a:pt x="20032" y="18718"/>
                  <a:pt x="19969" y="18687"/>
                  <a:pt x="19938" y="18687"/>
                </a:cubicBezTo>
                <a:cubicBezTo>
                  <a:pt x="19813" y="18687"/>
                  <a:pt x="19688" y="18687"/>
                  <a:pt x="19563" y="18687"/>
                </a:cubicBezTo>
                <a:cubicBezTo>
                  <a:pt x="19532" y="18656"/>
                  <a:pt x="19500" y="18656"/>
                  <a:pt x="19500" y="18656"/>
                </a:cubicBezTo>
                <a:cubicBezTo>
                  <a:pt x="19469" y="18656"/>
                  <a:pt x="19438" y="18656"/>
                  <a:pt x="19438" y="18625"/>
                </a:cubicBezTo>
                <a:cubicBezTo>
                  <a:pt x="19438" y="18625"/>
                  <a:pt x="19407" y="18625"/>
                  <a:pt x="19407" y="18625"/>
                </a:cubicBezTo>
                <a:cubicBezTo>
                  <a:pt x="19375" y="18625"/>
                  <a:pt x="19375" y="18625"/>
                  <a:pt x="19344" y="18625"/>
                </a:cubicBezTo>
                <a:cubicBezTo>
                  <a:pt x="19344" y="18625"/>
                  <a:pt x="19313" y="18625"/>
                  <a:pt x="19313" y="18625"/>
                </a:cubicBezTo>
                <a:cubicBezTo>
                  <a:pt x="19219" y="18593"/>
                  <a:pt x="19157" y="18593"/>
                  <a:pt x="19094" y="18562"/>
                </a:cubicBezTo>
                <a:cubicBezTo>
                  <a:pt x="18969" y="18531"/>
                  <a:pt x="18875" y="18500"/>
                  <a:pt x="18750" y="18468"/>
                </a:cubicBezTo>
                <a:cubicBezTo>
                  <a:pt x="18594" y="18406"/>
                  <a:pt x="18407" y="18343"/>
                  <a:pt x="18250" y="18250"/>
                </a:cubicBezTo>
                <a:cubicBezTo>
                  <a:pt x="17844" y="18062"/>
                  <a:pt x="17438" y="17843"/>
                  <a:pt x="17063" y="17593"/>
                </a:cubicBezTo>
                <a:cubicBezTo>
                  <a:pt x="17063" y="17593"/>
                  <a:pt x="17063" y="17593"/>
                  <a:pt x="17032" y="17562"/>
                </a:cubicBezTo>
                <a:cubicBezTo>
                  <a:pt x="17032" y="17562"/>
                  <a:pt x="17032" y="17562"/>
                  <a:pt x="17000" y="17562"/>
                </a:cubicBezTo>
                <a:cubicBezTo>
                  <a:pt x="16969" y="17531"/>
                  <a:pt x="16907" y="17500"/>
                  <a:pt x="16844" y="17468"/>
                </a:cubicBezTo>
                <a:cubicBezTo>
                  <a:pt x="16844" y="17468"/>
                  <a:pt x="16844" y="17437"/>
                  <a:pt x="16844" y="17437"/>
                </a:cubicBezTo>
                <a:cubicBezTo>
                  <a:pt x="16844" y="17437"/>
                  <a:pt x="16813" y="17437"/>
                  <a:pt x="16813" y="17437"/>
                </a:cubicBezTo>
                <a:cubicBezTo>
                  <a:pt x="16750" y="17406"/>
                  <a:pt x="16719" y="17375"/>
                  <a:pt x="16657" y="17343"/>
                </a:cubicBezTo>
                <a:cubicBezTo>
                  <a:pt x="16657" y="17343"/>
                  <a:pt x="16657" y="17343"/>
                  <a:pt x="16657" y="17312"/>
                </a:cubicBezTo>
                <a:cubicBezTo>
                  <a:pt x="16657" y="17312"/>
                  <a:pt x="16625" y="17312"/>
                  <a:pt x="16594" y="17312"/>
                </a:cubicBezTo>
                <a:cubicBezTo>
                  <a:pt x="16563" y="17281"/>
                  <a:pt x="16532" y="17250"/>
                  <a:pt x="16500" y="17250"/>
                </a:cubicBezTo>
                <a:cubicBezTo>
                  <a:pt x="16469" y="17218"/>
                  <a:pt x="16469" y="17218"/>
                  <a:pt x="16469" y="17218"/>
                </a:cubicBezTo>
                <a:cubicBezTo>
                  <a:pt x="16438" y="17187"/>
                  <a:pt x="16438" y="17187"/>
                  <a:pt x="16438" y="17187"/>
                </a:cubicBezTo>
                <a:cubicBezTo>
                  <a:pt x="16438" y="17156"/>
                  <a:pt x="16407" y="17156"/>
                  <a:pt x="16407" y="17156"/>
                </a:cubicBezTo>
                <a:cubicBezTo>
                  <a:pt x="16375" y="17156"/>
                  <a:pt x="16313" y="17125"/>
                  <a:pt x="16282" y="17093"/>
                </a:cubicBezTo>
                <a:cubicBezTo>
                  <a:pt x="16282" y="17093"/>
                  <a:pt x="16250" y="17093"/>
                  <a:pt x="16250" y="17062"/>
                </a:cubicBezTo>
                <a:cubicBezTo>
                  <a:pt x="16250" y="17062"/>
                  <a:pt x="16250" y="17062"/>
                  <a:pt x="16250" y="17031"/>
                </a:cubicBezTo>
                <a:cubicBezTo>
                  <a:pt x="16219" y="17031"/>
                  <a:pt x="16219" y="17031"/>
                  <a:pt x="16219" y="17031"/>
                </a:cubicBezTo>
                <a:cubicBezTo>
                  <a:pt x="16157" y="17000"/>
                  <a:pt x="16094" y="16968"/>
                  <a:pt x="16063" y="16937"/>
                </a:cubicBezTo>
                <a:cubicBezTo>
                  <a:pt x="16063" y="16937"/>
                  <a:pt x="16063" y="16937"/>
                  <a:pt x="16063" y="16906"/>
                </a:cubicBezTo>
                <a:cubicBezTo>
                  <a:pt x="16063" y="16906"/>
                  <a:pt x="16032" y="16906"/>
                  <a:pt x="16032" y="16906"/>
                </a:cubicBezTo>
                <a:cubicBezTo>
                  <a:pt x="16032" y="16906"/>
                  <a:pt x="16032" y="16906"/>
                  <a:pt x="16000" y="16906"/>
                </a:cubicBezTo>
                <a:cubicBezTo>
                  <a:pt x="15969" y="16875"/>
                  <a:pt x="15907" y="16843"/>
                  <a:pt x="15875" y="16812"/>
                </a:cubicBezTo>
                <a:cubicBezTo>
                  <a:pt x="15875" y="16781"/>
                  <a:pt x="15875" y="16781"/>
                  <a:pt x="15875" y="16781"/>
                </a:cubicBezTo>
                <a:cubicBezTo>
                  <a:pt x="15844" y="16781"/>
                  <a:pt x="15844" y="16781"/>
                  <a:pt x="15813" y="16781"/>
                </a:cubicBezTo>
                <a:cubicBezTo>
                  <a:pt x="15813" y="16750"/>
                  <a:pt x="15813" y="16750"/>
                  <a:pt x="15813" y="16750"/>
                </a:cubicBezTo>
                <a:cubicBezTo>
                  <a:pt x="15813" y="16718"/>
                  <a:pt x="15844" y="16718"/>
                  <a:pt x="15875" y="16718"/>
                </a:cubicBezTo>
                <a:cubicBezTo>
                  <a:pt x="15875" y="16718"/>
                  <a:pt x="15875" y="16750"/>
                  <a:pt x="15907" y="16750"/>
                </a:cubicBezTo>
                <a:cubicBezTo>
                  <a:pt x="15907" y="16750"/>
                  <a:pt x="15907" y="16750"/>
                  <a:pt x="15907" y="16750"/>
                </a:cubicBezTo>
                <a:cubicBezTo>
                  <a:pt x="15907" y="16750"/>
                  <a:pt x="15907" y="16750"/>
                  <a:pt x="15938" y="16750"/>
                </a:cubicBezTo>
                <a:cubicBezTo>
                  <a:pt x="15938" y="16750"/>
                  <a:pt x="15938" y="16750"/>
                  <a:pt x="15938" y="16750"/>
                </a:cubicBezTo>
                <a:cubicBezTo>
                  <a:pt x="15938" y="16750"/>
                  <a:pt x="15938" y="16750"/>
                  <a:pt x="15938" y="16750"/>
                </a:cubicBezTo>
                <a:cubicBezTo>
                  <a:pt x="15938" y="16750"/>
                  <a:pt x="15969" y="16781"/>
                  <a:pt x="15969" y="16812"/>
                </a:cubicBezTo>
                <a:cubicBezTo>
                  <a:pt x="16000" y="16812"/>
                  <a:pt x="16032" y="16843"/>
                  <a:pt x="16063" y="16875"/>
                </a:cubicBezTo>
                <a:cubicBezTo>
                  <a:pt x="16063" y="16875"/>
                  <a:pt x="16094" y="16875"/>
                  <a:pt x="16094" y="16875"/>
                </a:cubicBezTo>
                <a:cubicBezTo>
                  <a:pt x="16094" y="16875"/>
                  <a:pt x="16125" y="16875"/>
                  <a:pt x="16125" y="16875"/>
                </a:cubicBezTo>
                <a:cubicBezTo>
                  <a:pt x="16125" y="16875"/>
                  <a:pt x="16125" y="16875"/>
                  <a:pt x="16125" y="16875"/>
                </a:cubicBezTo>
                <a:cubicBezTo>
                  <a:pt x="16125" y="16875"/>
                  <a:pt x="16125" y="16875"/>
                  <a:pt x="16125" y="16875"/>
                </a:cubicBezTo>
                <a:cubicBezTo>
                  <a:pt x="16157" y="16906"/>
                  <a:pt x="16157" y="16937"/>
                  <a:pt x="16157" y="16937"/>
                </a:cubicBezTo>
                <a:cubicBezTo>
                  <a:pt x="16188" y="16937"/>
                  <a:pt x="16188" y="16937"/>
                  <a:pt x="16188" y="16937"/>
                </a:cubicBezTo>
                <a:cubicBezTo>
                  <a:pt x="16219" y="16937"/>
                  <a:pt x="16219" y="16937"/>
                  <a:pt x="16219" y="16937"/>
                </a:cubicBezTo>
                <a:cubicBezTo>
                  <a:pt x="16219" y="16937"/>
                  <a:pt x="16219" y="16937"/>
                  <a:pt x="16219" y="16937"/>
                </a:cubicBezTo>
                <a:cubicBezTo>
                  <a:pt x="16219" y="16937"/>
                  <a:pt x="16219" y="16968"/>
                  <a:pt x="16250" y="16968"/>
                </a:cubicBezTo>
                <a:cubicBezTo>
                  <a:pt x="16250" y="17000"/>
                  <a:pt x="16282" y="17000"/>
                  <a:pt x="16282" y="17000"/>
                </a:cubicBezTo>
                <a:cubicBezTo>
                  <a:pt x="16313" y="17000"/>
                  <a:pt x="16313" y="17000"/>
                  <a:pt x="16344" y="17000"/>
                </a:cubicBezTo>
                <a:cubicBezTo>
                  <a:pt x="16344" y="17000"/>
                  <a:pt x="16344" y="17000"/>
                  <a:pt x="16344" y="17000"/>
                </a:cubicBezTo>
                <a:cubicBezTo>
                  <a:pt x="16344" y="17031"/>
                  <a:pt x="16375" y="17062"/>
                  <a:pt x="16375" y="17062"/>
                </a:cubicBezTo>
                <a:cubicBezTo>
                  <a:pt x="16407" y="17093"/>
                  <a:pt x="16407" y="17093"/>
                  <a:pt x="16438" y="17125"/>
                </a:cubicBezTo>
                <a:cubicBezTo>
                  <a:pt x="16438" y="17125"/>
                  <a:pt x="16469" y="17125"/>
                  <a:pt x="16469" y="17125"/>
                </a:cubicBezTo>
                <a:cubicBezTo>
                  <a:pt x="16469" y="17125"/>
                  <a:pt x="16469" y="17125"/>
                  <a:pt x="16500" y="17125"/>
                </a:cubicBezTo>
                <a:cubicBezTo>
                  <a:pt x="16500" y="17156"/>
                  <a:pt x="16532" y="17156"/>
                  <a:pt x="16532" y="17156"/>
                </a:cubicBezTo>
                <a:cubicBezTo>
                  <a:pt x="16532" y="17156"/>
                  <a:pt x="16532" y="17156"/>
                  <a:pt x="16532" y="17156"/>
                </a:cubicBezTo>
                <a:cubicBezTo>
                  <a:pt x="16532" y="17156"/>
                  <a:pt x="16532" y="17156"/>
                  <a:pt x="16532" y="17156"/>
                </a:cubicBezTo>
                <a:cubicBezTo>
                  <a:pt x="16563" y="17187"/>
                  <a:pt x="16563" y="17218"/>
                  <a:pt x="16594" y="17218"/>
                </a:cubicBezTo>
                <a:cubicBezTo>
                  <a:pt x="16625" y="17250"/>
                  <a:pt x="16657" y="17250"/>
                  <a:pt x="16688" y="17281"/>
                </a:cubicBezTo>
                <a:cubicBezTo>
                  <a:pt x="16719" y="17281"/>
                  <a:pt x="16719" y="17281"/>
                  <a:pt x="16719" y="17281"/>
                </a:cubicBezTo>
                <a:cubicBezTo>
                  <a:pt x="16719" y="17281"/>
                  <a:pt x="16750" y="17281"/>
                  <a:pt x="16750" y="17281"/>
                </a:cubicBezTo>
                <a:cubicBezTo>
                  <a:pt x="16750" y="17281"/>
                  <a:pt x="16750" y="17281"/>
                  <a:pt x="16750" y="17281"/>
                </a:cubicBezTo>
                <a:cubicBezTo>
                  <a:pt x="16750" y="17312"/>
                  <a:pt x="16750" y="17312"/>
                  <a:pt x="16750" y="17312"/>
                </a:cubicBezTo>
                <a:cubicBezTo>
                  <a:pt x="16782" y="17343"/>
                  <a:pt x="16782" y="17343"/>
                  <a:pt x="16782" y="17343"/>
                </a:cubicBezTo>
                <a:cubicBezTo>
                  <a:pt x="16813" y="17343"/>
                  <a:pt x="16813" y="17343"/>
                  <a:pt x="16844" y="17343"/>
                </a:cubicBezTo>
                <a:cubicBezTo>
                  <a:pt x="16844" y="17343"/>
                  <a:pt x="16844" y="17343"/>
                  <a:pt x="16844" y="17343"/>
                </a:cubicBezTo>
                <a:cubicBezTo>
                  <a:pt x="16844" y="17375"/>
                  <a:pt x="16844" y="17406"/>
                  <a:pt x="16875" y="17406"/>
                </a:cubicBezTo>
                <a:cubicBezTo>
                  <a:pt x="16875" y="17406"/>
                  <a:pt x="16907" y="17406"/>
                  <a:pt x="16907" y="17406"/>
                </a:cubicBezTo>
                <a:cubicBezTo>
                  <a:pt x="16907" y="17406"/>
                  <a:pt x="16938" y="17406"/>
                  <a:pt x="16938" y="17406"/>
                </a:cubicBezTo>
                <a:cubicBezTo>
                  <a:pt x="16938" y="17406"/>
                  <a:pt x="16938" y="17406"/>
                  <a:pt x="16938" y="17406"/>
                </a:cubicBezTo>
                <a:cubicBezTo>
                  <a:pt x="17000" y="17468"/>
                  <a:pt x="17032" y="17500"/>
                  <a:pt x="17094" y="17531"/>
                </a:cubicBezTo>
                <a:cubicBezTo>
                  <a:pt x="17157" y="17562"/>
                  <a:pt x="17188" y="17593"/>
                  <a:pt x="17250" y="17593"/>
                </a:cubicBezTo>
                <a:cubicBezTo>
                  <a:pt x="17250" y="17625"/>
                  <a:pt x="17282" y="17625"/>
                  <a:pt x="17282" y="17625"/>
                </a:cubicBezTo>
                <a:cubicBezTo>
                  <a:pt x="17282" y="17625"/>
                  <a:pt x="17282" y="17625"/>
                  <a:pt x="17282" y="17625"/>
                </a:cubicBezTo>
                <a:cubicBezTo>
                  <a:pt x="17313" y="17656"/>
                  <a:pt x="17344" y="17687"/>
                  <a:pt x="17375" y="17718"/>
                </a:cubicBezTo>
                <a:cubicBezTo>
                  <a:pt x="17407" y="17718"/>
                  <a:pt x="17438" y="17750"/>
                  <a:pt x="17438" y="17750"/>
                </a:cubicBezTo>
                <a:cubicBezTo>
                  <a:pt x="17500" y="17781"/>
                  <a:pt x="17563" y="17812"/>
                  <a:pt x="17625" y="17812"/>
                </a:cubicBezTo>
                <a:cubicBezTo>
                  <a:pt x="17625" y="17812"/>
                  <a:pt x="17625" y="17812"/>
                  <a:pt x="17625" y="17812"/>
                </a:cubicBezTo>
                <a:cubicBezTo>
                  <a:pt x="17625" y="17812"/>
                  <a:pt x="17625" y="17812"/>
                  <a:pt x="17625" y="17843"/>
                </a:cubicBezTo>
                <a:cubicBezTo>
                  <a:pt x="17625" y="17843"/>
                  <a:pt x="17625" y="17843"/>
                  <a:pt x="17657" y="17843"/>
                </a:cubicBezTo>
                <a:cubicBezTo>
                  <a:pt x="17657" y="17875"/>
                  <a:pt x="17657" y="17875"/>
                  <a:pt x="17688" y="17875"/>
                </a:cubicBezTo>
                <a:cubicBezTo>
                  <a:pt x="17688" y="17875"/>
                  <a:pt x="17719" y="17875"/>
                  <a:pt x="17719" y="17875"/>
                </a:cubicBezTo>
                <a:cubicBezTo>
                  <a:pt x="17719" y="17875"/>
                  <a:pt x="17719" y="17875"/>
                  <a:pt x="17750" y="17875"/>
                </a:cubicBezTo>
                <a:cubicBezTo>
                  <a:pt x="17750" y="17875"/>
                  <a:pt x="17750" y="17875"/>
                  <a:pt x="17750" y="17875"/>
                </a:cubicBezTo>
                <a:cubicBezTo>
                  <a:pt x="17750" y="17906"/>
                  <a:pt x="17750" y="17906"/>
                  <a:pt x="17750" y="17906"/>
                </a:cubicBezTo>
                <a:cubicBezTo>
                  <a:pt x="17782" y="17937"/>
                  <a:pt x="17813" y="17937"/>
                  <a:pt x="17844" y="17937"/>
                </a:cubicBezTo>
                <a:cubicBezTo>
                  <a:pt x="17844" y="17937"/>
                  <a:pt x="17875" y="17937"/>
                  <a:pt x="17875" y="17968"/>
                </a:cubicBezTo>
                <a:cubicBezTo>
                  <a:pt x="17875" y="17968"/>
                  <a:pt x="17875" y="17968"/>
                  <a:pt x="17875" y="17968"/>
                </a:cubicBezTo>
                <a:cubicBezTo>
                  <a:pt x="17875" y="17968"/>
                  <a:pt x="17907" y="18000"/>
                  <a:pt x="17907" y="18000"/>
                </a:cubicBezTo>
                <a:cubicBezTo>
                  <a:pt x="17907" y="18000"/>
                  <a:pt x="17938" y="18000"/>
                  <a:pt x="17969" y="18000"/>
                </a:cubicBezTo>
                <a:cubicBezTo>
                  <a:pt x="18000" y="18000"/>
                  <a:pt x="18000" y="18031"/>
                  <a:pt x="18000" y="18031"/>
                </a:cubicBezTo>
                <a:cubicBezTo>
                  <a:pt x="18000" y="18031"/>
                  <a:pt x="18032" y="18031"/>
                  <a:pt x="18032" y="18031"/>
                </a:cubicBezTo>
                <a:cubicBezTo>
                  <a:pt x="18032" y="18062"/>
                  <a:pt x="18063" y="18062"/>
                  <a:pt x="18094" y="18062"/>
                </a:cubicBezTo>
                <a:cubicBezTo>
                  <a:pt x="18125" y="18093"/>
                  <a:pt x="18125" y="18093"/>
                  <a:pt x="18157" y="18093"/>
                </a:cubicBezTo>
                <a:cubicBezTo>
                  <a:pt x="18157" y="18093"/>
                  <a:pt x="18157" y="18125"/>
                  <a:pt x="18188" y="18125"/>
                </a:cubicBezTo>
                <a:cubicBezTo>
                  <a:pt x="18219" y="18125"/>
                  <a:pt x="18219" y="18156"/>
                  <a:pt x="18250" y="18156"/>
                </a:cubicBezTo>
                <a:cubicBezTo>
                  <a:pt x="18282" y="18156"/>
                  <a:pt x="18282" y="18156"/>
                  <a:pt x="18282" y="18156"/>
                </a:cubicBezTo>
                <a:cubicBezTo>
                  <a:pt x="18282" y="18187"/>
                  <a:pt x="18313" y="18187"/>
                  <a:pt x="18313" y="18187"/>
                </a:cubicBezTo>
                <a:cubicBezTo>
                  <a:pt x="18313" y="18187"/>
                  <a:pt x="18344" y="18187"/>
                  <a:pt x="18344" y="18218"/>
                </a:cubicBezTo>
                <a:cubicBezTo>
                  <a:pt x="18344" y="18218"/>
                  <a:pt x="18375" y="18218"/>
                  <a:pt x="18375" y="18218"/>
                </a:cubicBezTo>
                <a:cubicBezTo>
                  <a:pt x="18375" y="18218"/>
                  <a:pt x="18375" y="18218"/>
                  <a:pt x="18375" y="18218"/>
                </a:cubicBezTo>
                <a:cubicBezTo>
                  <a:pt x="18375" y="18218"/>
                  <a:pt x="18407" y="18218"/>
                  <a:pt x="18407" y="18218"/>
                </a:cubicBezTo>
                <a:cubicBezTo>
                  <a:pt x="18438" y="18218"/>
                  <a:pt x="18438" y="18218"/>
                  <a:pt x="18438" y="18218"/>
                </a:cubicBezTo>
                <a:cubicBezTo>
                  <a:pt x="18438" y="18218"/>
                  <a:pt x="18438" y="18218"/>
                  <a:pt x="18438" y="18250"/>
                </a:cubicBezTo>
                <a:cubicBezTo>
                  <a:pt x="18469" y="18281"/>
                  <a:pt x="18500" y="18281"/>
                  <a:pt x="18563" y="18281"/>
                </a:cubicBezTo>
                <a:cubicBezTo>
                  <a:pt x="18563" y="18281"/>
                  <a:pt x="18594" y="18281"/>
                  <a:pt x="18625" y="18281"/>
                </a:cubicBezTo>
                <a:cubicBezTo>
                  <a:pt x="18625" y="18312"/>
                  <a:pt x="18657" y="18343"/>
                  <a:pt x="18688" y="18343"/>
                </a:cubicBezTo>
                <a:cubicBezTo>
                  <a:pt x="18719" y="18343"/>
                  <a:pt x="18719" y="18343"/>
                  <a:pt x="18750" y="18343"/>
                </a:cubicBezTo>
                <a:cubicBezTo>
                  <a:pt x="18782" y="18343"/>
                  <a:pt x="18782" y="18343"/>
                  <a:pt x="18813" y="18343"/>
                </a:cubicBezTo>
                <a:cubicBezTo>
                  <a:pt x="18813" y="18375"/>
                  <a:pt x="18844" y="18375"/>
                  <a:pt x="18844" y="18375"/>
                </a:cubicBezTo>
                <a:cubicBezTo>
                  <a:pt x="18844" y="18406"/>
                  <a:pt x="18875" y="18406"/>
                  <a:pt x="18875" y="18406"/>
                </a:cubicBezTo>
                <a:cubicBezTo>
                  <a:pt x="18875" y="18406"/>
                  <a:pt x="18907" y="18406"/>
                  <a:pt x="18907" y="18406"/>
                </a:cubicBezTo>
                <a:cubicBezTo>
                  <a:pt x="18907" y="18406"/>
                  <a:pt x="18907" y="18406"/>
                  <a:pt x="18907" y="18406"/>
                </a:cubicBezTo>
                <a:cubicBezTo>
                  <a:pt x="18938" y="18406"/>
                  <a:pt x="18938" y="18406"/>
                  <a:pt x="18938" y="18406"/>
                </a:cubicBezTo>
                <a:cubicBezTo>
                  <a:pt x="18969" y="18406"/>
                  <a:pt x="19000" y="18406"/>
                  <a:pt x="19000" y="18437"/>
                </a:cubicBezTo>
                <a:cubicBezTo>
                  <a:pt x="19032" y="18437"/>
                  <a:pt x="19032" y="18437"/>
                  <a:pt x="19032" y="18468"/>
                </a:cubicBezTo>
                <a:cubicBezTo>
                  <a:pt x="19063" y="18468"/>
                  <a:pt x="19125" y="18468"/>
                  <a:pt x="19157" y="18468"/>
                </a:cubicBezTo>
                <a:cubicBezTo>
                  <a:pt x="19313" y="18500"/>
                  <a:pt x="19469" y="18531"/>
                  <a:pt x="19625" y="18562"/>
                </a:cubicBezTo>
                <a:cubicBezTo>
                  <a:pt x="19657" y="18562"/>
                  <a:pt x="19688" y="18562"/>
                  <a:pt x="19719" y="18562"/>
                </a:cubicBezTo>
                <a:cubicBezTo>
                  <a:pt x="19719" y="18593"/>
                  <a:pt x="19719" y="18593"/>
                  <a:pt x="19750" y="18593"/>
                </a:cubicBezTo>
                <a:cubicBezTo>
                  <a:pt x="19750" y="18593"/>
                  <a:pt x="19782" y="18593"/>
                  <a:pt x="19813" y="18593"/>
                </a:cubicBezTo>
                <a:cubicBezTo>
                  <a:pt x="19844" y="18593"/>
                  <a:pt x="19875" y="18593"/>
                  <a:pt x="19907" y="18593"/>
                </a:cubicBezTo>
                <a:cubicBezTo>
                  <a:pt x="19907" y="18593"/>
                  <a:pt x="19907" y="18593"/>
                  <a:pt x="19938" y="18593"/>
                </a:cubicBezTo>
                <a:cubicBezTo>
                  <a:pt x="19938" y="18593"/>
                  <a:pt x="19969" y="18593"/>
                  <a:pt x="19969" y="18562"/>
                </a:cubicBezTo>
                <a:cubicBezTo>
                  <a:pt x="20000" y="18562"/>
                  <a:pt x="20032" y="18562"/>
                  <a:pt x="20063" y="18562"/>
                </a:cubicBezTo>
                <a:cubicBezTo>
                  <a:pt x="20063" y="18593"/>
                  <a:pt x="20094" y="18593"/>
                  <a:pt x="20125" y="18593"/>
                </a:cubicBezTo>
                <a:cubicBezTo>
                  <a:pt x="20125" y="18593"/>
                  <a:pt x="20125" y="18593"/>
                  <a:pt x="20125" y="18593"/>
                </a:cubicBezTo>
                <a:cubicBezTo>
                  <a:pt x="20188" y="18625"/>
                  <a:pt x="20250" y="18625"/>
                  <a:pt x="20313" y="18593"/>
                </a:cubicBezTo>
                <a:cubicBezTo>
                  <a:pt x="20313" y="18593"/>
                  <a:pt x="20344" y="18593"/>
                  <a:pt x="20344" y="18593"/>
                </a:cubicBezTo>
                <a:cubicBezTo>
                  <a:pt x="20375" y="18593"/>
                  <a:pt x="20407" y="18593"/>
                  <a:pt x="20438" y="18562"/>
                </a:cubicBezTo>
                <a:cubicBezTo>
                  <a:pt x="20438" y="18562"/>
                  <a:pt x="20438" y="18562"/>
                  <a:pt x="20438" y="18562"/>
                </a:cubicBezTo>
                <a:cubicBezTo>
                  <a:pt x="20469" y="18562"/>
                  <a:pt x="20500" y="18562"/>
                  <a:pt x="20532" y="18562"/>
                </a:cubicBezTo>
                <a:cubicBezTo>
                  <a:pt x="20532" y="18562"/>
                  <a:pt x="20532" y="18562"/>
                  <a:pt x="20532" y="18562"/>
                </a:cubicBezTo>
                <a:cubicBezTo>
                  <a:pt x="20563" y="18562"/>
                  <a:pt x="20594" y="18562"/>
                  <a:pt x="20594" y="18531"/>
                </a:cubicBezTo>
                <a:cubicBezTo>
                  <a:pt x="20625" y="18531"/>
                  <a:pt x="20625" y="18531"/>
                  <a:pt x="20625" y="18531"/>
                </a:cubicBezTo>
                <a:cubicBezTo>
                  <a:pt x="20657" y="18531"/>
                  <a:pt x="20657" y="18531"/>
                  <a:pt x="20657" y="18500"/>
                </a:cubicBezTo>
                <a:cubicBezTo>
                  <a:pt x="20688" y="18500"/>
                  <a:pt x="20688" y="18468"/>
                  <a:pt x="20719" y="18468"/>
                </a:cubicBezTo>
                <a:cubicBezTo>
                  <a:pt x="20719" y="18406"/>
                  <a:pt x="20625" y="18375"/>
                  <a:pt x="20594" y="18343"/>
                </a:cubicBezTo>
                <a:cubicBezTo>
                  <a:pt x="20594" y="18343"/>
                  <a:pt x="20594" y="18343"/>
                  <a:pt x="20563" y="18343"/>
                </a:cubicBezTo>
                <a:cubicBezTo>
                  <a:pt x="20563" y="18312"/>
                  <a:pt x="20532" y="18312"/>
                  <a:pt x="20500" y="18312"/>
                </a:cubicBezTo>
                <a:cubicBezTo>
                  <a:pt x="20500" y="18312"/>
                  <a:pt x="20469" y="18343"/>
                  <a:pt x="20438" y="18343"/>
                </a:cubicBezTo>
                <a:cubicBezTo>
                  <a:pt x="20438" y="18343"/>
                  <a:pt x="20438" y="18343"/>
                  <a:pt x="20407" y="18343"/>
                </a:cubicBezTo>
                <a:cubicBezTo>
                  <a:pt x="20407" y="18343"/>
                  <a:pt x="20375" y="18343"/>
                  <a:pt x="20375" y="18343"/>
                </a:cubicBezTo>
                <a:cubicBezTo>
                  <a:pt x="20313" y="18343"/>
                  <a:pt x="20282" y="18343"/>
                  <a:pt x="20250" y="18343"/>
                </a:cubicBezTo>
                <a:cubicBezTo>
                  <a:pt x="20219" y="18343"/>
                  <a:pt x="20188" y="18343"/>
                  <a:pt x="20157" y="18343"/>
                </a:cubicBezTo>
                <a:cubicBezTo>
                  <a:pt x="20125" y="18343"/>
                  <a:pt x="20125" y="18343"/>
                  <a:pt x="20125" y="18343"/>
                </a:cubicBezTo>
                <a:cubicBezTo>
                  <a:pt x="19532" y="18281"/>
                  <a:pt x="18969" y="18093"/>
                  <a:pt x="18438" y="17875"/>
                </a:cubicBezTo>
                <a:cubicBezTo>
                  <a:pt x="17969" y="17656"/>
                  <a:pt x="17563" y="17406"/>
                  <a:pt x="17157" y="17156"/>
                </a:cubicBezTo>
                <a:cubicBezTo>
                  <a:pt x="16907" y="17000"/>
                  <a:pt x="16688" y="16875"/>
                  <a:pt x="16469" y="16687"/>
                </a:cubicBezTo>
                <a:cubicBezTo>
                  <a:pt x="16469" y="16687"/>
                  <a:pt x="16469" y="16687"/>
                  <a:pt x="16469" y="16687"/>
                </a:cubicBezTo>
                <a:cubicBezTo>
                  <a:pt x="16469" y="16687"/>
                  <a:pt x="16469" y="16687"/>
                  <a:pt x="16438" y="16687"/>
                </a:cubicBezTo>
                <a:cubicBezTo>
                  <a:pt x="16438" y="16687"/>
                  <a:pt x="16407" y="16656"/>
                  <a:pt x="16407" y="16656"/>
                </a:cubicBezTo>
                <a:cubicBezTo>
                  <a:pt x="16407" y="16656"/>
                  <a:pt x="16407" y="16656"/>
                  <a:pt x="16407" y="16625"/>
                </a:cubicBezTo>
                <a:cubicBezTo>
                  <a:pt x="16407" y="16625"/>
                  <a:pt x="16407" y="16625"/>
                  <a:pt x="16407" y="16625"/>
                </a:cubicBezTo>
                <a:cubicBezTo>
                  <a:pt x="16407" y="16625"/>
                  <a:pt x="16375" y="16625"/>
                  <a:pt x="16344" y="16625"/>
                </a:cubicBezTo>
                <a:cubicBezTo>
                  <a:pt x="16344" y="16625"/>
                  <a:pt x="16344" y="16625"/>
                  <a:pt x="16344" y="16593"/>
                </a:cubicBezTo>
                <a:cubicBezTo>
                  <a:pt x="16344" y="16593"/>
                  <a:pt x="16344" y="16593"/>
                  <a:pt x="16344" y="16593"/>
                </a:cubicBezTo>
                <a:cubicBezTo>
                  <a:pt x="16344" y="16593"/>
                  <a:pt x="16344" y="16593"/>
                  <a:pt x="16344" y="16562"/>
                </a:cubicBezTo>
                <a:cubicBezTo>
                  <a:pt x="16344" y="16562"/>
                  <a:pt x="16344" y="16562"/>
                  <a:pt x="16344" y="16562"/>
                </a:cubicBezTo>
                <a:cubicBezTo>
                  <a:pt x="16313" y="16562"/>
                  <a:pt x="16313" y="16562"/>
                  <a:pt x="16282" y="16562"/>
                </a:cubicBezTo>
                <a:cubicBezTo>
                  <a:pt x="16219" y="16531"/>
                  <a:pt x="16188" y="16500"/>
                  <a:pt x="16125" y="16468"/>
                </a:cubicBezTo>
                <a:cubicBezTo>
                  <a:pt x="16125" y="16468"/>
                  <a:pt x="16125" y="16468"/>
                  <a:pt x="16125" y="16468"/>
                </a:cubicBezTo>
                <a:cubicBezTo>
                  <a:pt x="16125" y="16406"/>
                  <a:pt x="16125" y="16406"/>
                  <a:pt x="16063" y="16406"/>
                </a:cubicBezTo>
                <a:cubicBezTo>
                  <a:pt x="16063" y="16406"/>
                  <a:pt x="16063" y="16406"/>
                  <a:pt x="16063" y="16406"/>
                </a:cubicBezTo>
                <a:cubicBezTo>
                  <a:pt x="16063" y="16375"/>
                  <a:pt x="16032" y="16375"/>
                  <a:pt x="16000" y="16375"/>
                </a:cubicBezTo>
                <a:cubicBezTo>
                  <a:pt x="15907" y="16312"/>
                  <a:pt x="15844" y="16250"/>
                  <a:pt x="15750" y="16187"/>
                </a:cubicBezTo>
                <a:cubicBezTo>
                  <a:pt x="15719" y="16187"/>
                  <a:pt x="15688" y="16156"/>
                  <a:pt x="15657" y="16156"/>
                </a:cubicBezTo>
                <a:cubicBezTo>
                  <a:pt x="15657" y="16125"/>
                  <a:pt x="15657" y="16093"/>
                  <a:pt x="15657" y="16093"/>
                </a:cubicBezTo>
                <a:cubicBezTo>
                  <a:pt x="15657" y="16093"/>
                  <a:pt x="15657" y="16093"/>
                  <a:pt x="15657" y="16093"/>
                </a:cubicBezTo>
                <a:cubicBezTo>
                  <a:pt x="15657" y="16093"/>
                  <a:pt x="15625" y="16093"/>
                  <a:pt x="15594" y="16093"/>
                </a:cubicBezTo>
                <a:cubicBezTo>
                  <a:pt x="15594" y="16093"/>
                  <a:pt x="15594" y="16062"/>
                  <a:pt x="15594" y="16062"/>
                </a:cubicBezTo>
                <a:cubicBezTo>
                  <a:pt x="15594" y="16031"/>
                  <a:pt x="15563" y="16031"/>
                  <a:pt x="15532" y="16031"/>
                </a:cubicBezTo>
                <a:cubicBezTo>
                  <a:pt x="15532" y="16031"/>
                  <a:pt x="15500" y="16031"/>
                  <a:pt x="15500" y="16000"/>
                </a:cubicBezTo>
                <a:cubicBezTo>
                  <a:pt x="15500" y="16000"/>
                  <a:pt x="15500" y="16000"/>
                  <a:pt x="15500" y="16000"/>
                </a:cubicBezTo>
                <a:cubicBezTo>
                  <a:pt x="15500" y="16000"/>
                  <a:pt x="15469" y="16000"/>
                  <a:pt x="15469" y="16000"/>
                </a:cubicBezTo>
                <a:cubicBezTo>
                  <a:pt x="15344" y="15906"/>
                  <a:pt x="15188" y="15812"/>
                  <a:pt x="15063" y="15687"/>
                </a:cubicBezTo>
                <a:cubicBezTo>
                  <a:pt x="14875" y="15562"/>
                  <a:pt x="14657" y="15406"/>
                  <a:pt x="14469" y="15250"/>
                </a:cubicBezTo>
                <a:cubicBezTo>
                  <a:pt x="14469" y="15250"/>
                  <a:pt x="14469" y="15250"/>
                  <a:pt x="14469" y="15219"/>
                </a:cubicBezTo>
                <a:cubicBezTo>
                  <a:pt x="14157" y="15000"/>
                  <a:pt x="13875" y="14781"/>
                  <a:pt x="13594" y="14531"/>
                </a:cubicBezTo>
                <a:cubicBezTo>
                  <a:pt x="13594" y="14531"/>
                  <a:pt x="13563" y="14531"/>
                  <a:pt x="13563" y="14531"/>
                </a:cubicBezTo>
                <a:cubicBezTo>
                  <a:pt x="13563" y="14531"/>
                  <a:pt x="13563" y="14531"/>
                  <a:pt x="13563" y="14531"/>
                </a:cubicBezTo>
                <a:cubicBezTo>
                  <a:pt x="13532" y="14531"/>
                  <a:pt x="13532" y="14531"/>
                  <a:pt x="13532" y="14531"/>
                </a:cubicBezTo>
                <a:cubicBezTo>
                  <a:pt x="13469" y="14500"/>
                  <a:pt x="13469" y="14469"/>
                  <a:pt x="13407" y="14437"/>
                </a:cubicBezTo>
                <a:cubicBezTo>
                  <a:pt x="13407" y="14406"/>
                  <a:pt x="13407" y="14406"/>
                  <a:pt x="13375" y="14406"/>
                </a:cubicBezTo>
                <a:cubicBezTo>
                  <a:pt x="13032" y="14125"/>
                  <a:pt x="12688" y="13844"/>
                  <a:pt x="12344" y="13562"/>
                </a:cubicBezTo>
                <a:cubicBezTo>
                  <a:pt x="12094" y="13344"/>
                  <a:pt x="11875" y="13125"/>
                  <a:pt x="11625" y="12937"/>
                </a:cubicBezTo>
                <a:cubicBezTo>
                  <a:pt x="11563" y="12875"/>
                  <a:pt x="11500" y="12812"/>
                  <a:pt x="11438" y="12781"/>
                </a:cubicBezTo>
                <a:cubicBezTo>
                  <a:pt x="11282" y="12625"/>
                  <a:pt x="11125" y="12469"/>
                  <a:pt x="10938" y="12344"/>
                </a:cubicBezTo>
                <a:cubicBezTo>
                  <a:pt x="10938" y="12312"/>
                  <a:pt x="10938" y="12281"/>
                  <a:pt x="10969" y="12281"/>
                </a:cubicBezTo>
                <a:cubicBezTo>
                  <a:pt x="10969" y="12281"/>
                  <a:pt x="10969" y="12281"/>
                  <a:pt x="10969" y="12281"/>
                </a:cubicBezTo>
                <a:cubicBezTo>
                  <a:pt x="11000" y="12281"/>
                  <a:pt x="11000" y="12281"/>
                  <a:pt x="11032" y="12312"/>
                </a:cubicBezTo>
                <a:cubicBezTo>
                  <a:pt x="11188" y="12469"/>
                  <a:pt x="11344" y="12594"/>
                  <a:pt x="11500" y="12719"/>
                </a:cubicBezTo>
                <a:cubicBezTo>
                  <a:pt x="11719" y="12844"/>
                  <a:pt x="11907" y="13000"/>
                  <a:pt x="12094" y="13187"/>
                </a:cubicBezTo>
                <a:cubicBezTo>
                  <a:pt x="12469" y="13469"/>
                  <a:pt x="12844" y="13750"/>
                  <a:pt x="13219" y="14062"/>
                </a:cubicBezTo>
                <a:cubicBezTo>
                  <a:pt x="13438" y="14250"/>
                  <a:pt x="13688" y="14406"/>
                  <a:pt x="13875" y="14562"/>
                </a:cubicBezTo>
                <a:cubicBezTo>
                  <a:pt x="14219" y="14844"/>
                  <a:pt x="14563" y="15062"/>
                  <a:pt x="14875" y="15312"/>
                </a:cubicBezTo>
                <a:cubicBezTo>
                  <a:pt x="15157" y="15531"/>
                  <a:pt x="15438" y="15718"/>
                  <a:pt x="15719" y="15937"/>
                </a:cubicBezTo>
                <a:cubicBezTo>
                  <a:pt x="16000" y="16125"/>
                  <a:pt x="16282" y="16312"/>
                  <a:pt x="16563" y="16500"/>
                </a:cubicBezTo>
                <a:cubicBezTo>
                  <a:pt x="16813" y="16656"/>
                  <a:pt x="17094" y="16843"/>
                  <a:pt x="17344" y="17000"/>
                </a:cubicBezTo>
                <a:cubicBezTo>
                  <a:pt x="17625" y="17156"/>
                  <a:pt x="17907" y="17312"/>
                  <a:pt x="18188" y="17468"/>
                </a:cubicBezTo>
                <a:cubicBezTo>
                  <a:pt x="18407" y="17593"/>
                  <a:pt x="18657" y="17718"/>
                  <a:pt x="18907" y="17812"/>
                </a:cubicBezTo>
                <a:cubicBezTo>
                  <a:pt x="18969" y="17812"/>
                  <a:pt x="19032" y="17875"/>
                  <a:pt x="19094" y="17875"/>
                </a:cubicBezTo>
                <a:cubicBezTo>
                  <a:pt x="19219" y="17906"/>
                  <a:pt x="19344" y="17968"/>
                  <a:pt x="19500" y="18000"/>
                </a:cubicBezTo>
                <a:cubicBezTo>
                  <a:pt x="19625" y="18031"/>
                  <a:pt x="19719" y="18093"/>
                  <a:pt x="19875" y="18093"/>
                </a:cubicBezTo>
                <a:cubicBezTo>
                  <a:pt x="20000" y="18093"/>
                  <a:pt x="20125" y="18125"/>
                  <a:pt x="20282" y="18125"/>
                </a:cubicBezTo>
                <a:cubicBezTo>
                  <a:pt x="20344" y="18000"/>
                  <a:pt x="20250" y="18000"/>
                  <a:pt x="20157" y="18000"/>
                </a:cubicBezTo>
                <a:cubicBezTo>
                  <a:pt x="19938" y="17968"/>
                  <a:pt x="19719" y="17906"/>
                  <a:pt x="19500" y="17843"/>
                </a:cubicBezTo>
                <a:cubicBezTo>
                  <a:pt x="19157" y="17750"/>
                  <a:pt x="18844" y="17625"/>
                  <a:pt x="18532" y="17468"/>
                </a:cubicBezTo>
                <a:cubicBezTo>
                  <a:pt x="18125" y="17250"/>
                  <a:pt x="17719" y="17031"/>
                  <a:pt x="17344" y="16781"/>
                </a:cubicBezTo>
                <a:cubicBezTo>
                  <a:pt x="16907" y="16500"/>
                  <a:pt x="16469" y="16218"/>
                  <a:pt x="16063" y="15906"/>
                </a:cubicBezTo>
                <a:cubicBezTo>
                  <a:pt x="15563" y="15562"/>
                  <a:pt x="15094" y="15219"/>
                  <a:pt x="14625" y="14844"/>
                </a:cubicBezTo>
                <a:cubicBezTo>
                  <a:pt x="14282" y="14594"/>
                  <a:pt x="13938" y="14344"/>
                  <a:pt x="13625" y="14062"/>
                </a:cubicBezTo>
                <a:cubicBezTo>
                  <a:pt x="13188" y="13719"/>
                  <a:pt x="12782" y="13375"/>
                  <a:pt x="12344" y="13031"/>
                </a:cubicBezTo>
                <a:cubicBezTo>
                  <a:pt x="11969" y="12719"/>
                  <a:pt x="11625" y="12406"/>
                  <a:pt x="11250" y="12094"/>
                </a:cubicBezTo>
                <a:cubicBezTo>
                  <a:pt x="11032" y="11937"/>
                  <a:pt x="10813" y="11750"/>
                  <a:pt x="10657" y="11531"/>
                </a:cubicBezTo>
                <a:cubicBezTo>
                  <a:pt x="10625" y="11469"/>
                  <a:pt x="10532" y="11469"/>
                  <a:pt x="10500" y="11406"/>
                </a:cubicBezTo>
                <a:cubicBezTo>
                  <a:pt x="10469" y="11312"/>
                  <a:pt x="10375" y="11219"/>
                  <a:pt x="10313" y="11125"/>
                </a:cubicBezTo>
                <a:cubicBezTo>
                  <a:pt x="10032" y="10906"/>
                  <a:pt x="9813" y="10625"/>
                  <a:pt x="9563" y="10344"/>
                </a:cubicBezTo>
                <a:cubicBezTo>
                  <a:pt x="9563" y="10344"/>
                  <a:pt x="9563" y="10344"/>
                  <a:pt x="9532" y="10344"/>
                </a:cubicBezTo>
                <a:cubicBezTo>
                  <a:pt x="9532" y="10312"/>
                  <a:pt x="9532" y="10281"/>
                  <a:pt x="9532" y="10281"/>
                </a:cubicBezTo>
                <a:cubicBezTo>
                  <a:pt x="9563" y="10250"/>
                  <a:pt x="9563" y="10250"/>
                  <a:pt x="9594" y="10250"/>
                </a:cubicBezTo>
                <a:cubicBezTo>
                  <a:pt x="9594" y="10250"/>
                  <a:pt x="9625" y="10250"/>
                  <a:pt x="9625" y="10250"/>
                </a:cubicBezTo>
                <a:cubicBezTo>
                  <a:pt x="9625" y="10281"/>
                  <a:pt x="9625" y="10281"/>
                  <a:pt x="9625" y="10281"/>
                </a:cubicBezTo>
                <a:cubicBezTo>
                  <a:pt x="9625" y="10281"/>
                  <a:pt x="9625" y="10312"/>
                  <a:pt x="9657" y="10281"/>
                </a:cubicBezTo>
                <a:cubicBezTo>
                  <a:pt x="9750" y="10375"/>
                  <a:pt x="9844" y="10437"/>
                  <a:pt x="9907" y="10500"/>
                </a:cubicBezTo>
                <a:cubicBezTo>
                  <a:pt x="9969" y="10562"/>
                  <a:pt x="10032" y="10625"/>
                  <a:pt x="10125" y="10687"/>
                </a:cubicBezTo>
                <a:cubicBezTo>
                  <a:pt x="10219" y="10781"/>
                  <a:pt x="10344" y="10875"/>
                  <a:pt x="10469" y="10969"/>
                </a:cubicBezTo>
                <a:cubicBezTo>
                  <a:pt x="10469" y="10969"/>
                  <a:pt x="10438" y="10969"/>
                  <a:pt x="10469" y="10969"/>
                </a:cubicBezTo>
                <a:cubicBezTo>
                  <a:pt x="10469" y="10969"/>
                  <a:pt x="10469" y="10969"/>
                  <a:pt x="10469" y="10969"/>
                </a:cubicBezTo>
                <a:cubicBezTo>
                  <a:pt x="10469" y="11000"/>
                  <a:pt x="10469" y="11000"/>
                  <a:pt x="10469" y="11000"/>
                </a:cubicBezTo>
                <a:cubicBezTo>
                  <a:pt x="10469" y="11000"/>
                  <a:pt x="10469" y="11031"/>
                  <a:pt x="10500" y="11031"/>
                </a:cubicBezTo>
                <a:cubicBezTo>
                  <a:pt x="10688" y="11219"/>
                  <a:pt x="10875" y="11375"/>
                  <a:pt x="11094" y="11562"/>
                </a:cubicBezTo>
                <a:cubicBezTo>
                  <a:pt x="11719" y="12094"/>
                  <a:pt x="12344" y="12656"/>
                  <a:pt x="13000" y="13156"/>
                </a:cubicBezTo>
                <a:cubicBezTo>
                  <a:pt x="13282" y="13375"/>
                  <a:pt x="13532" y="13625"/>
                  <a:pt x="13813" y="13844"/>
                </a:cubicBezTo>
                <a:cubicBezTo>
                  <a:pt x="14407" y="14312"/>
                  <a:pt x="15032" y="14781"/>
                  <a:pt x="15657" y="15250"/>
                </a:cubicBezTo>
                <a:cubicBezTo>
                  <a:pt x="15719" y="15281"/>
                  <a:pt x="15750" y="15312"/>
                  <a:pt x="15782" y="15344"/>
                </a:cubicBezTo>
                <a:cubicBezTo>
                  <a:pt x="15813" y="15344"/>
                  <a:pt x="15844" y="15344"/>
                  <a:pt x="15875" y="15312"/>
                </a:cubicBezTo>
                <a:cubicBezTo>
                  <a:pt x="15875" y="15281"/>
                  <a:pt x="15844" y="15281"/>
                  <a:pt x="15844" y="15250"/>
                </a:cubicBezTo>
                <a:cubicBezTo>
                  <a:pt x="15782" y="15250"/>
                  <a:pt x="15750" y="15219"/>
                  <a:pt x="15719" y="15187"/>
                </a:cubicBezTo>
                <a:cubicBezTo>
                  <a:pt x="14875" y="14562"/>
                  <a:pt x="14094" y="13937"/>
                  <a:pt x="13282" y="13281"/>
                </a:cubicBezTo>
                <a:cubicBezTo>
                  <a:pt x="12782" y="12875"/>
                  <a:pt x="12282" y="12437"/>
                  <a:pt x="11750" y="12000"/>
                </a:cubicBezTo>
                <a:cubicBezTo>
                  <a:pt x="11407" y="11719"/>
                  <a:pt x="11032" y="11406"/>
                  <a:pt x="10688" y="11094"/>
                </a:cubicBezTo>
                <a:cubicBezTo>
                  <a:pt x="10625" y="11031"/>
                  <a:pt x="10594" y="10937"/>
                  <a:pt x="10500" y="10937"/>
                </a:cubicBezTo>
                <a:cubicBezTo>
                  <a:pt x="10438" y="10875"/>
                  <a:pt x="10407" y="10844"/>
                  <a:pt x="10375" y="10812"/>
                </a:cubicBezTo>
                <a:cubicBezTo>
                  <a:pt x="10375" y="10812"/>
                  <a:pt x="10375" y="10781"/>
                  <a:pt x="10375" y="10781"/>
                </a:cubicBezTo>
                <a:cubicBezTo>
                  <a:pt x="10407" y="10781"/>
                  <a:pt x="10438" y="10781"/>
                  <a:pt x="10438" y="10812"/>
                </a:cubicBezTo>
                <a:cubicBezTo>
                  <a:pt x="10469" y="10812"/>
                  <a:pt x="10469" y="10812"/>
                  <a:pt x="10469" y="10812"/>
                </a:cubicBezTo>
                <a:cubicBezTo>
                  <a:pt x="10657" y="10969"/>
                  <a:pt x="10844" y="11125"/>
                  <a:pt x="11032" y="11281"/>
                </a:cubicBezTo>
                <a:cubicBezTo>
                  <a:pt x="11532" y="11719"/>
                  <a:pt x="12032" y="12156"/>
                  <a:pt x="12532" y="12562"/>
                </a:cubicBezTo>
                <a:cubicBezTo>
                  <a:pt x="13032" y="12969"/>
                  <a:pt x="13532" y="13406"/>
                  <a:pt x="14032" y="13781"/>
                </a:cubicBezTo>
                <a:cubicBezTo>
                  <a:pt x="14657" y="14281"/>
                  <a:pt x="15282" y="14719"/>
                  <a:pt x="15875" y="15187"/>
                </a:cubicBezTo>
                <a:cubicBezTo>
                  <a:pt x="15907" y="15219"/>
                  <a:pt x="15907" y="15219"/>
                  <a:pt x="15938" y="15219"/>
                </a:cubicBezTo>
                <a:cubicBezTo>
                  <a:pt x="15969" y="15219"/>
                  <a:pt x="16000" y="15219"/>
                  <a:pt x="16032" y="15219"/>
                </a:cubicBezTo>
                <a:cubicBezTo>
                  <a:pt x="16032" y="15219"/>
                  <a:pt x="16032" y="15219"/>
                  <a:pt x="16032" y="15219"/>
                </a:cubicBezTo>
                <a:cubicBezTo>
                  <a:pt x="16032" y="15219"/>
                  <a:pt x="16032" y="15219"/>
                  <a:pt x="16032" y="15219"/>
                </a:cubicBezTo>
                <a:cubicBezTo>
                  <a:pt x="16032" y="15219"/>
                  <a:pt x="16032" y="15219"/>
                  <a:pt x="16032" y="15219"/>
                </a:cubicBezTo>
                <a:cubicBezTo>
                  <a:pt x="16063" y="15250"/>
                  <a:pt x="16094" y="15281"/>
                  <a:pt x="16125" y="15250"/>
                </a:cubicBezTo>
                <a:cubicBezTo>
                  <a:pt x="16157" y="15250"/>
                  <a:pt x="16157" y="15250"/>
                  <a:pt x="16188" y="15219"/>
                </a:cubicBezTo>
                <a:cubicBezTo>
                  <a:pt x="16219" y="15219"/>
                  <a:pt x="16250" y="15187"/>
                  <a:pt x="16250" y="15219"/>
                </a:cubicBezTo>
                <a:cubicBezTo>
                  <a:pt x="16344" y="15281"/>
                  <a:pt x="16438" y="15344"/>
                  <a:pt x="16438" y="15469"/>
                </a:cubicBezTo>
                <a:cubicBezTo>
                  <a:pt x="16344" y="15469"/>
                  <a:pt x="16344" y="15375"/>
                  <a:pt x="16313" y="15344"/>
                </a:cubicBezTo>
                <a:cubicBezTo>
                  <a:pt x="16282" y="15312"/>
                  <a:pt x="16250" y="15281"/>
                  <a:pt x="16188" y="15312"/>
                </a:cubicBezTo>
                <a:cubicBezTo>
                  <a:pt x="16157" y="15344"/>
                  <a:pt x="16188" y="15375"/>
                  <a:pt x="16219" y="15406"/>
                </a:cubicBezTo>
                <a:cubicBezTo>
                  <a:pt x="16282" y="15469"/>
                  <a:pt x="16344" y="15531"/>
                  <a:pt x="16407" y="15562"/>
                </a:cubicBezTo>
                <a:cubicBezTo>
                  <a:pt x="17000" y="15968"/>
                  <a:pt x="17594" y="16375"/>
                  <a:pt x="18188" y="16718"/>
                </a:cubicBezTo>
                <a:cubicBezTo>
                  <a:pt x="18500" y="16906"/>
                  <a:pt x="18813" y="17062"/>
                  <a:pt x="19125" y="17187"/>
                </a:cubicBezTo>
                <a:cubicBezTo>
                  <a:pt x="19438" y="17343"/>
                  <a:pt x="19782" y="17437"/>
                  <a:pt x="20157" y="17531"/>
                </a:cubicBezTo>
                <a:cubicBezTo>
                  <a:pt x="20157" y="17531"/>
                  <a:pt x="20157" y="17531"/>
                  <a:pt x="20188" y="17562"/>
                </a:cubicBezTo>
                <a:cubicBezTo>
                  <a:pt x="20219" y="17562"/>
                  <a:pt x="20250" y="17562"/>
                  <a:pt x="20282" y="17562"/>
                </a:cubicBezTo>
                <a:cubicBezTo>
                  <a:pt x="20282" y="17562"/>
                  <a:pt x="20313" y="17562"/>
                  <a:pt x="20344" y="17562"/>
                </a:cubicBezTo>
                <a:cubicBezTo>
                  <a:pt x="20344" y="17562"/>
                  <a:pt x="20375" y="17562"/>
                  <a:pt x="20375" y="17562"/>
                </a:cubicBezTo>
                <a:cubicBezTo>
                  <a:pt x="20375" y="17562"/>
                  <a:pt x="20375" y="17562"/>
                  <a:pt x="20407" y="17562"/>
                </a:cubicBezTo>
                <a:cubicBezTo>
                  <a:pt x="20438" y="17625"/>
                  <a:pt x="20469" y="17593"/>
                  <a:pt x="20532" y="17562"/>
                </a:cubicBezTo>
                <a:cubicBezTo>
                  <a:pt x="20563" y="17531"/>
                  <a:pt x="20594" y="17562"/>
                  <a:pt x="20625" y="17562"/>
                </a:cubicBezTo>
                <a:cubicBezTo>
                  <a:pt x="20625" y="17593"/>
                  <a:pt x="20625" y="17593"/>
                  <a:pt x="20625" y="17593"/>
                </a:cubicBezTo>
                <a:cubicBezTo>
                  <a:pt x="20750" y="17625"/>
                  <a:pt x="20875" y="17656"/>
                  <a:pt x="20969" y="17562"/>
                </a:cubicBezTo>
                <a:cubicBezTo>
                  <a:pt x="21032" y="17562"/>
                  <a:pt x="21063" y="17562"/>
                  <a:pt x="21125" y="17562"/>
                </a:cubicBezTo>
                <a:cubicBezTo>
                  <a:pt x="21125" y="17593"/>
                  <a:pt x="21125" y="17593"/>
                  <a:pt x="21157" y="17593"/>
                </a:cubicBezTo>
                <a:cubicBezTo>
                  <a:pt x="21188" y="17625"/>
                  <a:pt x="21282" y="17625"/>
                  <a:pt x="21313" y="17562"/>
                </a:cubicBezTo>
                <a:cubicBezTo>
                  <a:pt x="21313" y="17562"/>
                  <a:pt x="21313" y="17562"/>
                  <a:pt x="21313" y="17562"/>
                </a:cubicBezTo>
                <a:cubicBezTo>
                  <a:pt x="21344" y="17562"/>
                  <a:pt x="21375" y="17562"/>
                  <a:pt x="21375" y="17562"/>
                </a:cubicBezTo>
                <a:cubicBezTo>
                  <a:pt x="21407" y="17531"/>
                  <a:pt x="21438" y="17531"/>
                  <a:pt x="21469" y="17531"/>
                </a:cubicBezTo>
                <a:cubicBezTo>
                  <a:pt x="21469" y="17531"/>
                  <a:pt x="21469" y="17562"/>
                  <a:pt x="21500" y="17562"/>
                </a:cubicBezTo>
                <a:cubicBezTo>
                  <a:pt x="21500" y="17562"/>
                  <a:pt x="21500" y="17562"/>
                  <a:pt x="21500" y="17562"/>
                </a:cubicBezTo>
                <a:cubicBezTo>
                  <a:pt x="21532" y="17562"/>
                  <a:pt x="21532" y="17562"/>
                  <a:pt x="21532" y="17562"/>
                </a:cubicBezTo>
                <a:cubicBezTo>
                  <a:pt x="21532" y="17562"/>
                  <a:pt x="21563" y="17531"/>
                  <a:pt x="21563" y="17531"/>
                </a:cubicBezTo>
                <a:cubicBezTo>
                  <a:pt x="21563" y="17531"/>
                  <a:pt x="21563" y="17531"/>
                  <a:pt x="21563" y="17500"/>
                </a:cubicBezTo>
                <a:cubicBezTo>
                  <a:pt x="21594" y="17500"/>
                  <a:pt x="21625" y="17500"/>
                  <a:pt x="21625" y="17500"/>
                </a:cubicBezTo>
                <a:cubicBezTo>
                  <a:pt x="21657" y="17468"/>
                  <a:pt x="21688" y="17468"/>
                  <a:pt x="21688" y="17437"/>
                </a:cubicBezTo>
                <a:cubicBezTo>
                  <a:pt x="21688" y="17406"/>
                  <a:pt x="21688" y="17375"/>
                  <a:pt x="21688" y="17343"/>
                </a:cubicBezTo>
                <a:cubicBezTo>
                  <a:pt x="21719" y="17312"/>
                  <a:pt x="21719" y="17281"/>
                  <a:pt x="21750" y="17250"/>
                </a:cubicBezTo>
                <a:cubicBezTo>
                  <a:pt x="21813" y="17187"/>
                  <a:pt x="21875" y="17156"/>
                  <a:pt x="21969" y="17125"/>
                </a:cubicBezTo>
                <a:cubicBezTo>
                  <a:pt x="22032" y="17093"/>
                  <a:pt x="22094" y="17093"/>
                  <a:pt x="22188" y="17062"/>
                </a:cubicBezTo>
                <a:cubicBezTo>
                  <a:pt x="22282" y="17031"/>
                  <a:pt x="22344" y="16968"/>
                  <a:pt x="22407" y="16875"/>
                </a:cubicBezTo>
                <a:cubicBezTo>
                  <a:pt x="22407" y="16875"/>
                  <a:pt x="22438" y="16843"/>
                  <a:pt x="22438" y="16843"/>
                </a:cubicBezTo>
                <a:cubicBezTo>
                  <a:pt x="22469" y="16843"/>
                  <a:pt x="22469" y="16812"/>
                  <a:pt x="22500" y="16781"/>
                </a:cubicBezTo>
                <a:cubicBezTo>
                  <a:pt x="22532" y="16718"/>
                  <a:pt x="22563" y="16687"/>
                  <a:pt x="22625" y="16656"/>
                </a:cubicBezTo>
                <a:cubicBezTo>
                  <a:pt x="22657" y="16656"/>
                  <a:pt x="22657" y="16625"/>
                  <a:pt x="22688" y="16625"/>
                </a:cubicBezTo>
                <a:cubicBezTo>
                  <a:pt x="22719" y="16625"/>
                  <a:pt x="22782" y="16593"/>
                  <a:pt x="22844" y="16562"/>
                </a:cubicBezTo>
                <a:cubicBezTo>
                  <a:pt x="22844" y="16562"/>
                  <a:pt x="22875" y="16562"/>
                  <a:pt x="22907" y="16562"/>
                </a:cubicBezTo>
                <a:cubicBezTo>
                  <a:pt x="22938" y="16562"/>
                  <a:pt x="22938" y="16531"/>
                  <a:pt x="22969" y="16500"/>
                </a:cubicBezTo>
                <a:cubicBezTo>
                  <a:pt x="23000" y="16500"/>
                  <a:pt x="23032" y="16468"/>
                  <a:pt x="23063" y="16468"/>
                </a:cubicBezTo>
                <a:cubicBezTo>
                  <a:pt x="23063" y="16468"/>
                  <a:pt x="23063" y="16468"/>
                  <a:pt x="23094" y="16437"/>
                </a:cubicBezTo>
                <a:cubicBezTo>
                  <a:pt x="23094" y="16437"/>
                  <a:pt x="23094" y="16437"/>
                  <a:pt x="23094" y="16437"/>
                </a:cubicBezTo>
                <a:cubicBezTo>
                  <a:pt x="23188" y="16375"/>
                  <a:pt x="23219" y="16250"/>
                  <a:pt x="23282" y="16187"/>
                </a:cubicBezTo>
                <a:cubicBezTo>
                  <a:pt x="23344" y="16156"/>
                  <a:pt x="23407" y="16093"/>
                  <a:pt x="23438" y="16031"/>
                </a:cubicBezTo>
                <a:cubicBezTo>
                  <a:pt x="23469" y="16031"/>
                  <a:pt x="23500" y="16031"/>
                  <a:pt x="23500" y="16000"/>
                </a:cubicBezTo>
                <a:cubicBezTo>
                  <a:pt x="23625" y="15937"/>
                  <a:pt x="23782" y="15906"/>
                  <a:pt x="23875" y="15812"/>
                </a:cubicBezTo>
                <a:cubicBezTo>
                  <a:pt x="24000" y="15812"/>
                  <a:pt x="24094" y="15750"/>
                  <a:pt x="24219" y="15687"/>
                </a:cubicBezTo>
                <a:cubicBezTo>
                  <a:pt x="24125" y="15656"/>
                  <a:pt x="24032" y="15687"/>
                  <a:pt x="23969" y="15687"/>
                </a:cubicBezTo>
                <a:cubicBezTo>
                  <a:pt x="23875" y="15718"/>
                  <a:pt x="23813" y="15718"/>
                  <a:pt x="23719" y="15687"/>
                </a:cubicBezTo>
                <a:cubicBezTo>
                  <a:pt x="23813" y="15625"/>
                  <a:pt x="23907" y="15594"/>
                  <a:pt x="24000" y="15594"/>
                </a:cubicBezTo>
                <a:cubicBezTo>
                  <a:pt x="24094" y="15625"/>
                  <a:pt x="24219" y="15594"/>
                  <a:pt x="24344" y="15562"/>
                </a:cubicBezTo>
                <a:cubicBezTo>
                  <a:pt x="24344" y="15562"/>
                  <a:pt x="24344" y="15562"/>
                  <a:pt x="24375" y="15562"/>
                </a:cubicBezTo>
                <a:cubicBezTo>
                  <a:pt x="24407" y="15562"/>
                  <a:pt x="24438" y="15531"/>
                  <a:pt x="24438" y="15500"/>
                </a:cubicBezTo>
                <a:cubicBezTo>
                  <a:pt x="24469" y="15500"/>
                  <a:pt x="24469" y="15500"/>
                  <a:pt x="24469" y="15500"/>
                </a:cubicBezTo>
                <a:cubicBezTo>
                  <a:pt x="24500" y="15469"/>
                  <a:pt x="24500" y="15437"/>
                  <a:pt x="24532" y="15406"/>
                </a:cubicBezTo>
                <a:cubicBezTo>
                  <a:pt x="24532" y="15375"/>
                  <a:pt x="24532" y="15375"/>
                  <a:pt x="24563" y="15375"/>
                </a:cubicBezTo>
                <a:cubicBezTo>
                  <a:pt x="24500" y="15375"/>
                  <a:pt x="24438" y="15375"/>
                  <a:pt x="24375" y="15344"/>
                </a:cubicBezTo>
                <a:cubicBezTo>
                  <a:pt x="24407" y="15344"/>
                  <a:pt x="24407" y="15344"/>
                  <a:pt x="24438" y="15312"/>
                </a:cubicBezTo>
                <a:cubicBezTo>
                  <a:pt x="24438" y="15312"/>
                  <a:pt x="24469" y="15312"/>
                  <a:pt x="24469" y="15312"/>
                </a:cubicBezTo>
                <a:cubicBezTo>
                  <a:pt x="24532" y="15281"/>
                  <a:pt x="24594" y="15312"/>
                  <a:pt x="24657" y="15250"/>
                </a:cubicBezTo>
                <a:cubicBezTo>
                  <a:pt x="24563" y="15250"/>
                  <a:pt x="24500" y="15219"/>
                  <a:pt x="24438" y="15219"/>
                </a:cubicBezTo>
                <a:cubicBezTo>
                  <a:pt x="24219" y="15219"/>
                  <a:pt x="24000" y="15187"/>
                  <a:pt x="23782" y="15125"/>
                </a:cubicBezTo>
                <a:cubicBezTo>
                  <a:pt x="23282" y="15000"/>
                  <a:pt x="22844" y="14781"/>
                  <a:pt x="22375" y="14562"/>
                </a:cubicBezTo>
                <a:cubicBezTo>
                  <a:pt x="21969" y="14312"/>
                  <a:pt x="21532" y="14062"/>
                  <a:pt x="21157" y="13781"/>
                </a:cubicBezTo>
                <a:cubicBezTo>
                  <a:pt x="20719" y="13469"/>
                  <a:pt x="20313" y="13156"/>
                  <a:pt x="19938" y="12844"/>
                </a:cubicBezTo>
                <a:cubicBezTo>
                  <a:pt x="19844" y="12750"/>
                  <a:pt x="19844" y="12750"/>
                  <a:pt x="19688" y="12781"/>
                </a:cubicBezTo>
                <a:cubicBezTo>
                  <a:pt x="20157" y="13125"/>
                  <a:pt x="20594" y="13500"/>
                  <a:pt x="21063" y="13844"/>
                </a:cubicBezTo>
                <a:cubicBezTo>
                  <a:pt x="21500" y="14156"/>
                  <a:pt x="21969" y="14437"/>
                  <a:pt x="22469" y="14687"/>
                </a:cubicBezTo>
                <a:cubicBezTo>
                  <a:pt x="22500" y="14719"/>
                  <a:pt x="22594" y="14719"/>
                  <a:pt x="22625" y="14812"/>
                </a:cubicBezTo>
                <a:cubicBezTo>
                  <a:pt x="22625" y="14844"/>
                  <a:pt x="22625" y="14875"/>
                  <a:pt x="22625" y="14906"/>
                </a:cubicBezTo>
                <a:cubicBezTo>
                  <a:pt x="22563" y="14875"/>
                  <a:pt x="22500" y="14844"/>
                  <a:pt x="22438" y="14812"/>
                </a:cubicBezTo>
                <a:cubicBezTo>
                  <a:pt x="22344" y="14781"/>
                  <a:pt x="22250" y="14719"/>
                  <a:pt x="22157" y="14656"/>
                </a:cubicBezTo>
                <a:cubicBezTo>
                  <a:pt x="21844" y="14531"/>
                  <a:pt x="21563" y="14344"/>
                  <a:pt x="21282" y="14156"/>
                </a:cubicBezTo>
                <a:cubicBezTo>
                  <a:pt x="21000" y="13969"/>
                  <a:pt x="20719" y="13812"/>
                  <a:pt x="20438" y="13625"/>
                </a:cubicBezTo>
                <a:cubicBezTo>
                  <a:pt x="20157" y="13406"/>
                  <a:pt x="19844" y="13187"/>
                  <a:pt x="19563" y="12969"/>
                </a:cubicBezTo>
                <a:cubicBezTo>
                  <a:pt x="19500" y="12906"/>
                  <a:pt x="19407" y="12844"/>
                  <a:pt x="19313" y="12812"/>
                </a:cubicBezTo>
                <a:cubicBezTo>
                  <a:pt x="19344" y="12875"/>
                  <a:pt x="19375" y="12906"/>
                  <a:pt x="19407" y="12937"/>
                </a:cubicBezTo>
                <a:cubicBezTo>
                  <a:pt x="19500" y="13000"/>
                  <a:pt x="19469" y="13125"/>
                  <a:pt x="19563" y="13187"/>
                </a:cubicBezTo>
                <a:cubicBezTo>
                  <a:pt x="19938" y="13406"/>
                  <a:pt x="20313" y="13687"/>
                  <a:pt x="20688" y="13937"/>
                </a:cubicBezTo>
                <a:cubicBezTo>
                  <a:pt x="20938" y="14125"/>
                  <a:pt x="21219" y="14281"/>
                  <a:pt x="21532" y="14469"/>
                </a:cubicBezTo>
                <a:cubicBezTo>
                  <a:pt x="21594" y="14500"/>
                  <a:pt x="21688" y="14562"/>
                  <a:pt x="21782" y="14625"/>
                </a:cubicBezTo>
                <a:cubicBezTo>
                  <a:pt x="22063" y="14750"/>
                  <a:pt x="22344" y="14906"/>
                  <a:pt x="22625" y="15031"/>
                </a:cubicBezTo>
                <a:cubicBezTo>
                  <a:pt x="22625" y="15031"/>
                  <a:pt x="22625" y="15031"/>
                  <a:pt x="22625" y="15062"/>
                </a:cubicBezTo>
                <a:cubicBezTo>
                  <a:pt x="22594" y="15094"/>
                  <a:pt x="22594" y="15094"/>
                  <a:pt x="22563" y="15062"/>
                </a:cubicBezTo>
                <a:cubicBezTo>
                  <a:pt x="22563" y="15062"/>
                  <a:pt x="22532" y="15062"/>
                  <a:pt x="22532" y="15062"/>
                </a:cubicBezTo>
                <a:cubicBezTo>
                  <a:pt x="22438" y="15031"/>
                  <a:pt x="22313" y="14969"/>
                  <a:pt x="22219" y="14937"/>
                </a:cubicBezTo>
                <a:cubicBezTo>
                  <a:pt x="21782" y="14687"/>
                  <a:pt x="21344" y="14437"/>
                  <a:pt x="20907" y="14156"/>
                </a:cubicBezTo>
                <a:cubicBezTo>
                  <a:pt x="20407" y="13844"/>
                  <a:pt x="19938" y="13531"/>
                  <a:pt x="19469" y="13187"/>
                </a:cubicBezTo>
                <a:cubicBezTo>
                  <a:pt x="19438" y="13187"/>
                  <a:pt x="19438" y="13125"/>
                  <a:pt x="19407" y="13156"/>
                </a:cubicBezTo>
                <a:cubicBezTo>
                  <a:pt x="19344" y="13250"/>
                  <a:pt x="19313" y="13156"/>
                  <a:pt x="19282" y="13125"/>
                </a:cubicBezTo>
                <a:cubicBezTo>
                  <a:pt x="19219" y="13094"/>
                  <a:pt x="19188" y="13031"/>
                  <a:pt x="19157" y="13000"/>
                </a:cubicBezTo>
                <a:cubicBezTo>
                  <a:pt x="19157" y="12969"/>
                  <a:pt x="19157" y="12969"/>
                  <a:pt x="19157" y="12969"/>
                </a:cubicBezTo>
                <a:cubicBezTo>
                  <a:pt x="19125" y="12969"/>
                  <a:pt x="19125" y="12969"/>
                  <a:pt x="19125" y="12969"/>
                </a:cubicBezTo>
                <a:cubicBezTo>
                  <a:pt x="19125" y="12969"/>
                  <a:pt x="19125" y="12969"/>
                  <a:pt x="19125" y="12969"/>
                </a:cubicBezTo>
                <a:cubicBezTo>
                  <a:pt x="19094" y="12969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63" y="12937"/>
                </a:cubicBezTo>
                <a:cubicBezTo>
                  <a:pt x="19032" y="12844"/>
                  <a:pt x="18907" y="12812"/>
                  <a:pt x="18875" y="12719"/>
                </a:cubicBezTo>
                <a:cubicBezTo>
                  <a:pt x="18875" y="12719"/>
                  <a:pt x="18875" y="12719"/>
                  <a:pt x="18875" y="12719"/>
                </a:cubicBezTo>
                <a:cubicBezTo>
                  <a:pt x="18875" y="12719"/>
                  <a:pt x="18875" y="12719"/>
                  <a:pt x="18875" y="12719"/>
                </a:cubicBezTo>
                <a:cubicBezTo>
                  <a:pt x="18907" y="12719"/>
                  <a:pt x="18938" y="12719"/>
                  <a:pt x="18969" y="12750"/>
                </a:cubicBezTo>
                <a:cubicBezTo>
                  <a:pt x="18969" y="12750"/>
                  <a:pt x="18969" y="12750"/>
                  <a:pt x="19000" y="12781"/>
                </a:cubicBezTo>
                <a:cubicBezTo>
                  <a:pt x="19000" y="12781"/>
                  <a:pt x="19032" y="12812"/>
                  <a:pt x="19063" y="12812"/>
                </a:cubicBezTo>
                <a:cubicBezTo>
                  <a:pt x="19125" y="12875"/>
                  <a:pt x="19188" y="12906"/>
                  <a:pt x="19282" y="12937"/>
                </a:cubicBezTo>
                <a:cubicBezTo>
                  <a:pt x="19282" y="12937"/>
                  <a:pt x="19282" y="12937"/>
                  <a:pt x="19282" y="12937"/>
                </a:cubicBezTo>
                <a:cubicBezTo>
                  <a:pt x="19282" y="12969"/>
                  <a:pt x="19313" y="13000"/>
                  <a:pt x="19344" y="13000"/>
                </a:cubicBezTo>
                <a:cubicBezTo>
                  <a:pt x="19344" y="13000"/>
                  <a:pt x="19344" y="13000"/>
                  <a:pt x="19344" y="13000"/>
                </a:cubicBezTo>
                <a:cubicBezTo>
                  <a:pt x="19344" y="13000"/>
                  <a:pt x="19344" y="13000"/>
                  <a:pt x="19344" y="13000"/>
                </a:cubicBezTo>
                <a:cubicBezTo>
                  <a:pt x="19375" y="13000"/>
                  <a:pt x="19375" y="13031"/>
                  <a:pt x="19375" y="13031"/>
                </a:cubicBezTo>
                <a:cubicBezTo>
                  <a:pt x="19375" y="13031"/>
                  <a:pt x="19375" y="13031"/>
                  <a:pt x="19375" y="13031"/>
                </a:cubicBezTo>
                <a:cubicBezTo>
                  <a:pt x="19375" y="13031"/>
                  <a:pt x="19375" y="13031"/>
                  <a:pt x="19375" y="13031"/>
                </a:cubicBezTo>
                <a:cubicBezTo>
                  <a:pt x="19375" y="13031"/>
                  <a:pt x="19375" y="13031"/>
                  <a:pt x="19375" y="13031"/>
                </a:cubicBezTo>
                <a:cubicBezTo>
                  <a:pt x="19375" y="13000"/>
                  <a:pt x="19375" y="13000"/>
                  <a:pt x="19344" y="13000"/>
                </a:cubicBezTo>
                <a:cubicBezTo>
                  <a:pt x="19344" y="12969"/>
                  <a:pt x="19313" y="12937"/>
                  <a:pt x="19282" y="12937"/>
                </a:cubicBezTo>
                <a:cubicBezTo>
                  <a:pt x="19250" y="12844"/>
                  <a:pt x="19157" y="12781"/>
                  <a:pt x="19157" y="12687"/>
                </a:cubicBezTo>
                <a:cubicBezTo>
                  <a:pt x="19157" y="12656"/>
                  <a:pt x="19125" y="12656"/>
                  <a:pt x="19125" y="12625"/>
                </a:cubicBezTo>
                <a:cubicBezTo>
                  <a:pt x="18938" y="12469"/>
                  <a:pt x="18750" y="12344"/>
                  <a:pt x="18563" y="12187"/>
                </a:cubicBezTo>
                <a:cubicBezTo>
                  <a:pt x="18094" y="11719"/>
                  <a:pt x="17594" y="11281"/>
                  <a:pt x="17125" y="10812"/>
                </a:cubicBezTo>
                <a:cubicBezTo>
                  <a:pt x="16407" y="10094"/>
                  <a:pt x="15688" y="9375"/>
                  <a:pt x="14938" y="8719"/>
                </a:cubicBezTo>
                <a:cubicBezTo>
                  <a:pt x="14532" y="8375"/>
                  <a:pt x="14157" y="8031"/>
                  <a:pt x="13782" y="7687"/>
                </a:cubicBezTo>
                <a:cubicBezTo>
                  <a:pt x="13532" y="7437"/>
                  <a:pt x="13282" y="7250"/>
                  <a:pt x="13032" y="7000"/>
                </a:cubicBezTo>
                <a:cubicBezTo>
                  <a:pt x="12625" y="6656"/>
                  <a:pt x="12219" y="6281"/>
                  <a:pt x="11813" y="5937"/>
                </a:cubicBezTo>
                <a:cubicBezTo>
                  <a:pt x="11782" y="5906"/>
                  <a:pt x="11782" y="5906"/>
                  <a:pt x="11750" y="5875"/>
                </a:cubicBezTo>
                <a:cubicBezTo>
                  <a:pt x="11719" y="5844"/>
                  <a:pt x="11657" y="5812"/>
                  <a:pt x="11625" y="5750"/>
                </a:cubicBezTo>
                <a:cubicBezTo>
                  <a:pt x="11594" y="5750"/>
                  <a:pt x="11563" y="5719"/>
                  <a:pt x="11532" y="5719"/>
                </a:cubicBezTo>
                <a:cubicBezTo>
                  <a:pt x="11532" y="5687"/>
                  <a:pt x="11500" y="5687"/>
                  <a:pt x="11500" y="5656"/>
                </a:cubicBezTo>
                <a:cubicBezTo>
                  <a:pt x="11469" y="5625"/>
                  <a:pt x="11438" y="5594"/>
                  <a:pt x="11407" y="5594"/>
                </a:cubicBezTo>
                <a:cubicBezTo>
                  <a:pt x="11375" y="5562"/>
                  <a:pt x="11344" y="5531"/>
                  <a:pt x="11313" y="5500"/>
                </a:cubicBezTo>
                <a:cubicBezTo>
                  <a:pt x="11313" y="5500"/>
                  <a:pt x="11282" y="5500"/>
                  <a:pt x="11282" y="5469"/>
                </a:cubicBezTo>
                <a:cubicBezTo>
                  <a:pt x="11250" y="5437"/>
                  <a:pt x="11219" y="5406"/>
                  <a:pt x="11188" y="5375"/>
                </a:cubicBezTo>
                <a:cubicBezTo>
                  <a:pt x="11219" y="5281"/>
                  <a:pt x="11344" y="5281"/>
                  <a:pt x="11375" y="5187"/>
                </a:cubicBezTo>
                <a:cubicBezTo>
                  <a:pt x="11375" y="5156"/>
                  <a:pt x="11407" y="5219"/>
                  <a:pt x="11438" y="5219"/>
                </a:cubicBezTo>
                <a:cubicBezTo>
                  <a:pt x="11532" y="5312"/>
                  <a:pt x="11625" y="5375"/>
                  <a:pt x="11719" y="5469"/>
                </a:cubicBezTo>
                <a:cubicBezTo>
                  <a:pt x="11750" y="5500"/>
                  <a:pt x="11782" y="5500"/>
                  <a:pt x="11813" y="5469"/>
                </a:cubicBezTo>
                <a:cubicBezTo>
                  <a:pt x="11844" y="5437"/>
                  <a:pt x="11782" y="5406"/>
                  <a:pt x="11782" y="5406"/>
                </a:cubicBezTo>
                <a:cubicBezTo>
                  <a:pt x="11625" y="5250"/>
                  <a:pt x="11438" y="5125"/>
                  <a:pt x="11282" y="4969"/>
                </a:cubicBezTo>
                <a:cubicBezTo>
                  <a:pt x="11219" y="4906"/>
                  <a:pt x="11157" y="4875"/>
                  <a:pt x="11094" y="4812"/>
                </a:cubicBezTo>
                <a:cubicBezTo>
                  <a:pt x="11032" y="4750"/>
                  <a:pt x="11032" y="4687"/>
                  <a:pt x="11063" y="4625"/>
                </a:cubicBezTo>
                <a:cubicBezTo>
                  <a:pt x="11125" y="4562"/>
                  <a:pt x="11157" y="4625"/>
                  <a:pt x="11219" y="4656"/>
                </a:cubicBezTo>
                <a:cubicBezTo>
                  <a:pt x="11219" y="4656"/>
                  <a:pt x="11250" y="4656"/>
                  <a:pt x="11282" y="4687"/>
                </a:cubicBezTo>
                <a:cubicBezTo>
                  <a:pt x="11563" y="4937"/>
                  <a:pt x="11875" y="5187"/>
                  <a:pt x="12157" y="5437"/>
                </a:cubicBezTo>
                <a:cubicBezTo>
                  <a:pt x="12438" y="5687"/>
                  <a:pt x="12719" y="5937"/>
                  <a:pt x="13032" y="6187"/>
                </a:cubicBezTo>
                <a:cubicBezTo>
                  <a:pt x="13157" y="6281"/>
                  <a:pt x="13313" y="6375"/>
                  <a:pt x="13438" y="6469"/>
                </a:cubicBezTo>
                <a:cubicBezTo>
                  <a:pt x="13657" y="6687"/>
                  <a:pt x="13875" y="6875"/>
                  <a:pt x="14125" y="7094"/>
                </a:cubicBezTo>
                <a:cubicBezTo>
                  <a:pt x="14438" y="7375"/>
                  <a:pt x="14782" y="7687"/>
                  <a:pt x="15094" y="7969"/>
                </a:cubicBezTo>
                <a:cubicBezTo>
                  <a:pt x="15532" y="8344"/>
                  <a:pt x="15969" y="8750"/>
                  <a:pt x="16375" y="9125"/>
                </a:cubicBezTo>
                <a:cubicBezTo>
                  <a:pt x="16782" y="9500"/>
                  <a:pt x="17157" y="9875"/>
                  <a:pt x="17563" y="10250"/>
                </a:cubicBezTo>
                <a:cubicBezTo>
                  <a:pt x="18032" y="10719"/>
                  <a:pt x="18500" y="11187"/>
                  <a:pt x="18969" y="11625"/>
                </a:cubicBezTo>
                <a:cubicBezTo>
                  <a:pt x="19407" y="12000"/>
                  <a:pt x="19813" y="12375"/>
                  <a:pt x="20282" y="12750"/>
                </a:cubicBezTo>
                <a:cubicBezTo>
                  <a:pt x="20782" y="13156"/>
                  <a:pt x="21313" y="13562"/>
                  <a:pt x="21844" y="13906"/>
                </a:cubicBezTo>
                <a:cubicBezTo>
                  <a:pt x="22094" y="14062"/>
                  <a:pt x="22344" y="14219"/>
                  <a:pt x="22594" y="14375"/>
                </a:cubicBezTo>
                <a:cubicBezTo>
                  <a:pt x="23000" y="14562"/>
                  <a:pt x="23407" y="14781"/>
                  <a:pt x="23844" y="14906"/>
                </a:cubicBezTo>
                <a:cubicBezTo>
                  <a:pt x="24250" y="15031"/>
                  <a:pt x="24688" y="15156"/>
                  <a:pt x="25125" y="15062"/>
                </a:cubicBezTo>
                <a:cubicBezTo>
                  <a:pt x="25313" y="15000"/>
                  <a:pt x="25500" y="14937"/>
                  <a:pt x="25625" y="14750"/>
                </a:cubicBezTo>
                <a:cubicBezTo>
                  <a:pt x="25657" y="14750"/>
                  <a:pt x="25688" y="14719"/>
                  <a:pt x="25657" y="14687"/>
                </a:cubicBezTo>
                <a:cubicBezTo>
                  <a:pt x="25657" y="14656"/>
                  <a:pt x="25625" y="14687"/>
                  <a:pt x="25594" y="14687"/>
                </a:cubicBezTo>
                <a:cubicBezTo>
                  <a:pt x="25594" y="14656"/>
                  <a:pt x="25563" y="14656"/>
                  <a:pt x="25532" y="14687"/>
                </a:cubicBezTo>
                <a:cubicBezTo>
                  <a:pt x="25532" y="14687"/>
                  <a:pt x="25532" y="14687"/>
                  <a:pt x="25500" y="14687"/>
                </a:cubicBezTo>
                <a:cubicBezTo>
                  <a:pt x="25500" y="14687"/>
                  <a:pt x="25500" y="14687"/>
                  <a:pt x="25500" y="14687"/>
                </a:cubicBezTo>
                <a:cubicBezTo>
                  <a:pt x="25500" y="14687"/>
                  <a:pt x="25469" y="14687"/>
                  <a:pt x="25438" y="14625"/>
                </a:cubicBezTo>
                <a:cubicBezTo>
                  <a:pt x="25438" y="14625"/>
                  <a:pt x="25469" y="14625"/>
                  <a:pt x="25469" y="14594"/>
                </a:cubicBezTo>
                <a:cubicBezTo>
                  <a:pt x="25500" y="14594"/>
                  <a:pt x="25500" y="14594"/>
                  <a:pt x="25532" y="14562"/>
                </a:cubicBezTo>
                <a:cubicBezTo>
                  <a:pt x="25532" y="14562"/>
                  <a:pt x="25532" y="14562"/>
                  <a:pt x="25532" y="14562"/>
                </a:cubicBezTo>
                <a:cubicBezTo>
                  <a:pt x="25563" y="14531"/>
                  <a:pt x="25532" y="14500"/>
                  <a:pt x="25500" y="14500"/>
                </a:cubicBezTo>
                <a:cubicBezTo>
                  <a:pt x="25625" y="14469"/>
                  <a:pt x="25719" y="14406"/>
                  <a:pt x="25844" y="14406"/>
                </a:cubicBezTo>
                <a:cubicBezTo>
                  <a:pt x="25875" y="14406"/>
                  <a:pt x="25938" y="14406"/>
                  <a:pt x="25969" y="14406"/>
                </a:cubicBezTo>
                <a:cubicBezTo>
                  <a:pt x="25844" y="14375"/>
                  <a:pt x="25719" y="14312"/>
                  <a:pt x="25594" y="14312"/>
                </a:cubicBezTo>
                <a:cubicBezTo>
                  <a:pt x="25407" y="14281"/>
                  <a:pt x="25188" y="14250"/>
                  <a:pt x="25032" y="14187"/>
                </a:cubicBezTo>
                <a:cubicBezTo>
                  <a:pt x="24500" y="14031"/>
                  <a:pt x="24032" y="13812"/>
                  <a:pt x="23563" y="13562"/>
                </a:cubicBezTo>
                <a:cubicBezTo>
                  <a:pt x="23469" y="13531"/>
                  <a:pt x="23375" y="13469"/>
                  <a:pt x="23282" y="13406"/>
                </a:cubicBezTo>
                <a:cubicBezTo>
                  <a:pt x="23125" y="13312"/>
                  <a:pt x="23000" y="13219"/>
                  <a:pt x="22844" y="13156"/>
                </a:cubicBezTo>
                <a:cubicBezTo>
                  <a:pt x="22750" y="13094"/>
                  <a:pt x="22688" y="13031"/>
                  <a:pt x="22563" y="13000"/>
                </a:cubicBezTo>
                <a:cubicBezTo>
                  <a:pt x="22500" y="12969"/>
                  <a:pt x="22500" y="13000"/>
                  <a:pt x="22500" y="13062"/>
                </a:cubicBezTo>
                <a:cubicBezTo>
                  <a:pt x="22532" y="13125"/>
                  <a:pt x="22500" y="13219"/>
                  <a:pt x="22563" y="13312"/>
                </a:cubicBezTo>
                <a:cubicBezTo>
                  <a:pt x="22563" y="13344"/>
                  <a:pt x="22563" y="13375"/>
                  <a:pt x="22563" y="13406"/>
                </a:cubicBezTo>
                <a:cubicBezTo>
                  <a:pt x="22563" y="13500"/>
                  <a:pt x="22594" y="13562"/>
                  <a:pt x="22594" y="13656"/>
                </a:cubicBezTo>
                <a:cubicBezTo>
                  <a:pt x="22594" y="13656"/>
                  <a:pt x="22563" y="13656"/>
                  <a:pt x="22532" y="13625"/>
                </a:cubicBezTo>
                <a:cubicBezTo>
                  <a:pt x="22407" y="13562"/>
                  <a:pt x="22313" y="13469"/>
                  <a:pt x="22188" y="13406"/>
                </a:cubicBezTo>
                <a:cubicBezTo>
                  <a:pt x="21907" y="13250"/>
                  <a:pt x="21657" y="13062"/>
                  <a:pt x="21407" y="12875"/>
                </a:cubicBezTo>
                <a:cubicBezTo>
                  <a:pt x="21188" y="12750"/>
                  <a:pt x="20969" y="12562"/>
                  <a:pt x="20750" y="12406"/>
                </a:cubicBezTo>
                <a:cubicBezTo>
                  <a:pt x="20438" y="12187"/>
                  <a:pt x="20125" y="11937"/>
                  <a:pt x="19844" y="11719"/>
                </a:cubicBezTo>
                <a:cubicBezTo>
                  <a:pt x="19563" y="11500"/>
                  <a:pt x="19313" y="11281"/>
                  <a:pt x="19032" y="11062"/>
                </a:cubicBezTo>
                <a:cubicBezTo>
                  <a:pt x="18813" y="10875"/>
                  <a:pt x="18594" y="10719"/>
                  <a:pt x="18375" y="10531"/>
                </a:cubicBezTo>
                <a:cubicBezTo>
                  <a:pt x="18094" y="10312"/>
                  <a:pt x="17813" y="10031"/>
                  <a:pt x="17500" y="9781"/>
                </a:cubicBezTo>
                <a:cubicBezTo>
                  <a:pt x="17282" y="9594"/>
                  <a:pt x="17032" y="9375"/>
                  <a:pt x="16782" y="9156"/>
                </a:cubicBezTo>
                <a:cubicBezTo>
                  <a:pt x="16469" y="8875"/>
                  <a:pt x="16157" y="8625"/>
                  <a:pt x="15844" y="8312"/>
                </a:cubicBezTo>
                <a:cubicBezTo>
                  <a:pt x="15532" y="8031"/>
                  <a:pt x="15188" y="7750"/>
                  <a:pt x="14907" y="7406"/>
                </a:cubicBezTo>
                <a:cubicBezTo>
                  <a:pt x="14750" y="7187"/>
                  <a:pt x="14532" y="7000"/>
                  <a:pt x="14313" y="6812"/>
                </a:cubicBezTo>
                <a:cubicBezTo>
                  <a:pt x="14032" y="6562"/>
                  <a:pt x="13719" y="6312"/>
                  <a:pt x="13469" y="6000"/>
                </a:cubicBezTo>
                <a:cubicBezTo>
                  <a:pt x="13438" y="5937"/>
                  <a:pt x="13344" y="5844"/>
                  <a:pt x="13344" y="5781"/>
                </a:cubicBezTo>
                <a:cubicBezTo>
                  <a:pt x="13375" y="5719"/>
                  <a:pt x="13344" y="5719"/>
                  <a:pt x="13313" y="5687"/>
                </a:cubicBezTo>
                <a:cubicBezTo>
                  <a:pt x="13282" y="5656"/>
                  <a:pt x="13250" y="5625"/>
                  <a:pt x="13219" y="5594"/>
                </a:cubicBezTo>
                <a:cubicBezTo>
                  <a:pt x="12969" y="5375"/>
                  <a:pt x="12750" y="5156"/>
                  <a:pt x="12532" y="4969"/>
                </a:cubicBezTo>
                <a:cubicBezTo>
                  <a:pt x="12407" y="4875"/>
                  <a:pt x="12282" y="4750"/>
                  <a:pt x="12157" y="4656"/>
                </a:cubicBezTo>
                <a:cubicBezTo>
                  <a:pt x="12157" y="4625"/>
                  <a:pt x="12125" y="4625"/>
                  <a:pt x="12125" y="4594"/>
                </a:cubicBezTo>
                <a:cubicBezTo>
                  <a:pt x="12157" y="4594"/>
                  <a:pt x="12157" y="4594"/>
                  <a:pt x="12157" y="4594"/>
                </a:cubicBezTo>
                <a:cubicBezTo>
                  <a:pt x="12219" y="4625"/>
                  <a:pt x="12313" y="4594"/>
                  <a:pt x="12407" y="4656"/>
                </a:cubicBezTo>
                <a:cubicBezTo>
                  <a:pt x="12625" y="4844"/>
                  <a:pt x="12844" y="5062"/>
                  <a:pt x="13063" y="5250"/>
                </a:cubicBezTo>
                <a:cubicBezTo>
                  <a:pt x="13094" y="5281"/>
                  <a:pt x="13125" y="5281"/>
                  <a:pt x="13157" y="5219"/>
                </a:cubicBezTo>
                <a:cubicBezTo>
                  <a:pt x="13157" y="5156"/>
                  <a:pt x="13250" y="5125"/>
                  <a:pt x="13282" y="5187"/>
                </a:cubicBezTo>
                <a:cubicBezTo>
                  <a:pt x="13438" y="5344"/>
                  <a:pt x="13657" y="5375"/>
                  <a:pt x="13813" y="5531"/>
                </a:cubicBezTo>
                <a:cubicBezTo>
                  <a:pt x="13844" y="5562"/>
                  <a:pt x="13875" y="5562"/>
                  <a:pt x="13875" y="5562"/>
                </a:cubicBezTo>
                <a:cubicBezTo>
                  <a:pt x="13938" y="5562"/>
                  <a:pt x="13938" y="5562"/>
                  <a:pt x="13938" y="5531"/>
                </a:cubicBezTo>
                <a:cubicBezTo>
                  <a:pt x="13875" y="5469"/>
                  <a:pt x="13875" y="5406"/>
                  <a:pt x="13813" y="5375"/>
                </a:cubicBezTo>
                <a:cubicBezTo>
                  <a:pt x="13688" y="5281"/>
                  <a:pt x="13594" y="5156"/>
                  <a:pt x="13469" y="5031"/>
                </a:cubicBezTo>
                <a:cubicBezTo>
                  <a:pt x="13438" y="5000"/>
                  <a:pt x="13438" y="4969"/>
                  <a:pt x="13500" y="4937"/>
                </a:cubicBezTo>
                <a:cubicBezTo>
                  <a:pt x="13532" y="4937"/>
                  <a:pt x="13594" y="4906"/>
                  <a:pt x="13625" y="4906"/>
                </a:cubicBezTo>
                <a:cubicBezTo>
                  <a:pt x="13719" y="4937"/>
                  <a:pt x="13782" y="4906"/>
                  <a:pt x="13875" y="4844"/>
                </a:cubicBezTo>
                <a:cubicBezTo>
                  <a:pt x="13907" y="4844"/>
                  <a:pt x="13969" y="4844"/>
                  <a:pt x="14000" y="4875"/>
                </a:cubicBezTo>
                <a:cubicBezTo>
                  <a:pt x="14313" y="5156"/>
                  <a:pt x="14594" y="5437"/>
                  <a:pt x="14907" y="5687"/>
                </a:cubicBezTo>
                <a:cubicBezTo>
                  <a:pt x="15344" y="6094"/>
                  <a:pt x="15750" y="6500"/>
                  <a:pt x="16188" y="6875"/>
                </a:cubicBezTo>
                <a:cubicBezTo>
                  <a:pt x="16250" y="6906"/>
                  <a:pt x="16282" y="6969"/>
                  <a:pt x="16313" y="7000"/>
                </a:cubicBezTo>
                <a:cubicBezTo>
                  <a:pt x="16344" y="7031"/>
                  <a:pt x="16407" y="7062"/>
                  <a:pt x="16438" y="7062"/>
                </a:cubicBezTo>
                <a:cubicBezTo>
                  <a:pt x="16469" y="7062"/>
                  <a:pt x="16469" y="7094"/>
                  <a:pt x="16469" y="7094"/>
                </a:cubicBezTo>
                <a:cubicBezTo>
                  <a:pt x="16469" y="7094"/>
                  <a:pt x="16469" y="7125"/>
                  <a:pt x="16500" y="7125"/>
                </a:cubicBezTo>
                <a:cubicBezTo>
                  <a:pt x="16500" y="7125"/>
                  <a:pt x="16500" y="7125"/>
                  <a:pt x="16500" y="7125"/>
                </a:cubicBezTo>
                <a:cubicBezTo>
                  <a:pt x="16500" y="7094"/>
                  <a:pt x="16469" y="7062"/>
                  <a:pt x="16469" y="7062"/>
                </a:cubicBezTo>
                <a:cubicBezTo>
                  <a:pt x="16375" y="6937"/>
                  <a:pt x="16250" y="6812"/>
                  <a:pt x="16125" y="6687"/>
                </a:cubicBezTo>
                <a:cubicBezTo>
                  <a:pt x="15688" y="6281"/>
                  <a:pt x="15250" y="5906"/>
                  <a:pt x="14844" y="5500"/>
                </a:cubicBezTo>
                <a:cubicBezTo>
                  <a:pt x="14657" y="5344"/>
                  <a:pt x="14500" y="5187"/>
                  <a:pt x="14313" y="5031"/>
                </a:cubicBezTo>
                <a:cubicBezTo>
                  <a:pt x="14250" y="4969"/>
                  <a:pt x="14157" y="4906"/>
                  <a:pt x="14094" y="4812"/>
                </a:cubicBezTo>
                <a:cubicBezTo>
                  <a:pt x="14125" y="4812"/>
                  <a:pt x="14125" y="4812"/>
                  <a:pt x="14125" y="4812"/>
                </a:cubicBezTo>
                <a:cubicBezTo>
                  <a:pt x="14157" y="4781"/>
                  <a:pt x="14188" y="4781"/>
                  <a:pt x="14219" y="4781"/>
                </a:cubicBezTo>
                <a:cubicBezTo>
                  <a:pt x="14219" y="4781"/>
                  <a:pt x="14219" y="4812"/>
                  <a:pt x="14250" y="4812"/>
                </a:cubicBezTo>
                <a:cubicBezTo>
                  <a:pt x="14250" y="4812"/>
                  <a:pt x="14250" y="4812"/>
                  <a:pt x="14250" y="4812"/>
                </a:cubicBezTo>
                <a:cubicBezTo>
                  <a:pt x="14250" y="4812"/>
                  <a:pt x="14250" y="4812"/>
                  <a:pt x="14250" y="4844"/>
                </a:cubicBezTo>
                <a:cubicBezTo>
                  <a:pt x="14250" y="4844"/>
                  <a:pt x="14250" y="4844"/>
                  <a:pt x="14250" y="4844"/>
                </a:cubicBezTo>
                <a:cubicBezTo>
                  <a:pt x="14563" y="5125"/>
                  <a:pt x="14875" y="5375"/>
                  <a:pt x="15188" y="5656"/>
                </a:cubicBezTo>
                <a:cubicBezTo>
                  <a:pt x="15688" y="6156"/>
                  <a:pt x="16219" y="6625"/>
                  <a:pt x="16719" y="7094"/>
                </a:cubicBezTo>
                <a:cubicBezTo>
                  <a:pt x="17282" y="7594"/>
                  <a:pt x="17875" y="8125"/>
                  <a:pt x="18438" y="8656"/>
                </a:cubicBezTo>
                <a:cubicBezTo>
                  <a:pt x="18844" y="9031"/>
                  <a:pt x="19250" y="9406"/>
                  <a:pt x="19657" y="9812"/>
                </a:cubicBezTo>
                <a:cubicBezTo>
                  <a:pt x="19750" y="9906"/>
                  <a:pt x="19875" y="10031"/>
                  <a:pt x="20000" y="10125"/>
                </a:cubicBezTo>
                <a:cubicBezTo>
                  <a:pt x="20250" y="10312"/>
                  <a:pt x="20532" y="10531"/>
                  <a:pt x="20782" y="10719"/>
                </a:cubicBezTo>
                <a:cubicBezTo>
                  <a:pt x="21125" y="10969"/>
                  <a:pt x="21469" y="11250"/>
                  <a:pt x="21844" y="11500"/>
                </a:cubicBezTo>
                <a:cubicBezTo>
                  <a:pt x="21875" y="11500"/>
                  <a:pt x="21907" y="11531"/>
                  <a:pt x="21938" y="11562"/>
                </a:cubicBezTo>
                <a:cubicBezTo>
                  <a:pt x="22063" y="11625"/>
                  <a:pt x="22188" y="11719"/>
                  <a:pt x="22313" y="11781"/>
                </a:cubicBezTo>
                <a:cubicBezTo>
                  <a:pt x="22313" y="11781"/>
                  <a:pt x="22313" y="11812"/>
                  <a:pt x="22313" y="11812"/>
                </a:cubicBezTo>
                <a:cubicBezTo>
                  <a:pt x="22344" y="11812"/>
                  <a:pt x="22344" y="11812"/>
                  <a:pt x="22344" y="11812"/>
                </a:cubicBezTo>
                <a:cubicBezTo>
                  <a:pt x="22594" y="11969"/>
                  <a:pt x="22782" y="12125"/>
                  <a:pt x="23032" y="12250"/>
                </a:cubicBezTo>
                <a:cubicBezTo>
                  <a:pt x="23125" y="12375"/>
                  <a:pt x="23282" y="12437"/>
                  <a:pt x="23407" y="12500"/>
                </a:cubicBezTo>
                <a:cubicBezTo>
                  <a:pt x="23438" y="12531"/>
                  <a:pt x="23469" y="12562"/>
                  <a:pt x="23500" y="12562"/>
                </a:cubicBezTo>
                <a:cubicBezTo>
                  <a:pt x="23594" y="12625"/>
                  <a:pt x="23719" y="12719"/>
                  <a:pt x="23844" y="12750"/>
                </a:cubicBezTo>
                <a:cubicBezTo>
                  <a:pt x="23844" y="12750"/>
                  <a:pt x="23844" y="12781"/>
                  <a:pt x="23875" y="12781"/>
                </a:cubicBezTo>
                <a:cubicBezTo>
                  <a:pt x="24282" y="13031"/>
                  <a:pt x="24719" y="13250"/>
                  <a:pt x="25188" y="13469"/>
                </a:cubicBezTo>
                <a:cubicBezTo>
                  <a:pt x="25407" y="13562"/>
                  <a:pt x="25657" y="13656"/>
                  <a:pt x="25907" y="13687"/>
                </a:cubicBezTo>
                <a:cubicBezTo>
                  <a:pt x="25969" y="13750"/>
                  <a:pt x="26032" y="13719"/>
                  <a:pt x="26125" y="13750"/>
                </a:cubicBezTo>
                <a:cubicBezTo>
                  <a:pt x="26282" y="13812"/>
                  <a:pt x="26469" y="13812"/>
                  <a:pt x="26625" y="13781"/>
                </a:cubicBezTo>
                <a:cubicBezTo>
                  <a:pt x="26782" y="13781"/>
                  <a:pt x="26938" y="13719"/>
                  <a:pt x="27032" y="13562"/>
                </a:cubicBezTo>
                <a:cubicBezTo>
                  <a:pt x="27032" y="13531"/>
                  <a:pt x="27063" y="13500"/>
                  <a:pt x="27032" y="13469"/>
                </a:cubicBezTo>
                <a:cubicBezTo>
                  <a:pt x="27000" y="13469"/>
                  <a:pt x="26969" y="13469"/>
                  <a:pt x="26969" y="13500"/>
                </a:cubicBezTo>
                <a:cubicBezTo>
                  <a:pt x="26813" y="13594"/>
                  <a:pt x="26657" y="13625"/>
                  <a:pt x="26500" y="13656"/>
                </a:cubicBezTo>
                <a:cubicBezTo>
                  <a:pt x="26563" y="13562"/>
                  <a:pt x="26625" y="13500"/>
                  <a:pt x="26750" y="13469"/>
                </a:cubicBezTo>
                <a:cubicBezTo>
                  <a:pt x="26907" y="13406"/>
                  <a:pt x="27094" y="13312"/>
                  <a:pt x="27188" y="13156"/>
                </a:cubicBezTo>
                <a:cubicBezTo>
                  <a:pt x="27219" y="13125"/>
                  <a:pt x="27219" y="13094"/>
                  <a:pt x="27219" y="13062"/>
                </a:cubicBezTo>
                <a:cubicBezTo>
                  <a:pt x="27219" y="13000"/>
                  <a:pt x="27188" y="12969"/>
                  <a:pt x="27188" y="12906"/>
                </a:cubicBezTo>
                <a:lnTo>
                  <a:pt x="27188" y="12906"/>
                </a:lnTo>
                <a:cubicBezTo>
                  <a:pt x="27188" y="12906"/>
                  <a:pt x="27188" y="12875"/>
                  <a:pt x="27188" y="12875"/>
                </a:cubicBezTo>
                <a:cubicBezTo>
                  <a:pt x="27188" y="12875"/>
                  <a:pt x="27188" y="12844"/>
                  <a:pt x="27188" y="12844"/>
                </a:cubicBezTo>
                <a:cubicBezTo>
                  <a:pt x="27188" y="12844"/>
                  <a:pt x="27188" y="12844"/>
                  <a:pt x="27188" y="12844"/>
                </a:cubicBezTo>
                <a:cubicBezTo>
                  <a:pt x="27219" y="12844"/>
                  <a:pt x="27219" y="12844"/>
                  <a:pt x="27219" y="12844"/>
                </a:cubicBezTo>
                <a:cubicBezTo>
                  <a:pt x="27219" y="12844"/>
                  <a:pt x="27219" y="12844"/>
                  <a:pt x="27219" y="12844"/>
                </a:cubicBezTo>
                <a:cubicBezTo>
                  <a:pt x="27219" y="12812"/>
                  <a:pt x="27219" y="12812"/>
                  <a:pt x="27219" y="12812"/>
                </a:cubicBezTo>
                <a:cubicBezTo>
                  <a:pt x="27219" y="12812"/>
                  <a:pt x="27219" y="12781"/>
                  <a:pt x="27219" y="12781"/>
                </a:cubicBezTo>
                <a:cubicBezTo>
                  <a:pt x="27219" y="12719"/>
                  <a:pt x="27250" y="12656"/>
                  <a:pt x="27250" y="12594"/>
                </a:cubicBezTo>
                <a:cubicBezTo>
                  <a:pt x="27250" y="12562"/>
                  <a:pt x="27250" y="12531"/>
                  <a:pt x="27250" y="12500"/>
                </a:cubicBezTo>
                <a:cubicBezTo>
                  <a:pt x="27250" y="12469"/>
                  <a:pt x="27250" y="12469"/>
                  <a:pt x="27250" y="12437"/>
                </a:cubicBezTo>
                <a:cubicBezTo>
                  <a:pt x="27219" y="12406"/>
                  <a:pt x="27219" y="12375"/>
                  <a:pt x="27219" y="12312"/>
                </a:cubicBezTo>
                <a:cubicBezTo>
                  <a:pt x="27219" y="12312"/>
                  <a:pt x="27219" y="12312"/>
                  <a:pt x="27219" y="12281"/>
                </a:cubicBezTo>
                <a:cubicBezTo>
                  <a:pt x="27219" y="12281"/>
                  <a:pt x="27219" y="12281"/>
                  <a:pt x="27219" y="12250"/>
                </a:cubicBezTo>
                <a:cubicBezTo>
                  <a:pt x="27219" y="12219"/>
                  <a:pt x="27219" y="12219"/>
                  <a:pt x="27188" y="12187"/>
                </a:cubicBezTo>
                <a:cubicBezTo>
                  <a:pt x="27219" y="12125"/>
                  <a:pt x="27219" y="12094"/>
                  <a:pt x="27219" y="12031"/>
                </a:cubicBezTo>
                <a:cubicBezTo>
                  <a:pt x="27219" y="12031"/>
                  <a:pt x="27219" y="12000"/>
                  <a:pt x="27219" y="11969"/>
                </a:cubicBezTo>
                <a:cubicBezTo>
                  <a:pt x="27219" y="11969"/>
                  <a:pt x="27219" y="11937"/>
                  <a:pt x="27219" y="11937"/>
                </a:cubicBezTo>
                <a:cubicBezTo>
                  <a:pt x="27219" y="11937"/>
                  <a:pt x="27219" y="11906"/>
                  <a:pt x="27219" y="11906"/>
                </a:cubicBezTo>
                <a:cubicBezTo>
                  <a:pt x="27219" y="11906"/>
                  <a:pt x="27219" y="11875"/>
                  <a:pt x="27188" y="11875"/>
                </a:cubicBezTo>
                <a:cubicBezTo>
                  <a:pt x="27157" y="11500"/>
                  <a:pt x="27125" y="11156"/>
                  <a:pt x="27094" y="10781"/>
                </a:cubicBezTo>
                <a:cubicBezTo>
                  <a:pt x="27094" y="10656"/>
                  <a:pt x="27063" y="10531"/>
                  <a:pt x="27063" y="10437"/>
                </a:cubicBezTo>
                <a:cubicBezTo>
                  <a:pt x="27000" y="10000"/>
                  <a:pt x="26907" y="9594"/>
                  <a:pt x="26813" y="9187"/>
                </a:cubicBezTo>
                <a:cubicBezTo>
                  <a:pt x="26782" y="9031"/>
                  <a:pt x="26657" y="8906"/>
                  <a:pt x="26657" y="8750"/>
                </a:cubicBezTo>
                <a:cubicBezTo>
                  <a:pt x="26625" y="8656"/>
                  <a:pt x="26625" y="8562"/>
                  <a:pt x="26563" y="8500"/>
                </a:cubicBezTo>
                <a:cubicBezTo>
                  <a:pt x="26563" y="8469"/>
                  <a:pt x="26532" y="8469"/>
                  <a:pt x="26500" y="8437"/>
                </a:cubicBezTo>
                <a:cubicBezTo>
                  <a:pt x="26500" y="8406"/>
                  <a:pt x="26500" y="8375"/>
                  <a:pt x="26500" y="8344"/>
                </a:cubicBezTo>
                <a:cubicBezTo>
                  <a:pt x="26500" y="8312"/>
                  <a:pt x="26500" y="8281"/>
                  <a:pt x="26500" y="8281"/>
                </a:cubicBezTo>
                <a:cubicBezTo>
                  <a:pt x="26500" y="8281"/>
                  <a:pt x="26500" y="8281"/>
                  <a:pt x="26500" y="8281"/>
                </a:cubicBezTo>
                <a:cubicBezTo>
                  <a:pt x="26500" y="8187"/>
                  <a:pt x="26469" y="8125"/>
                  <a:pt x="26375" y="8062"/>
                </a:cubicBezTo>
                <a:cubicBezTo>
                  <a:pt x="26344" y="8000"/>
                  <a:pt x="26344" y="7937"/>
                  <a:pt x="26344" y="7875"/>
                </a:cubicBezTo>
                <a:cubicBezTo>
                  <a:pt x="26344" y="7844"/>
                  <a:pt x="26344" y="7844"/>
                  <a:pt x="26344" y="7844"/>
                </a:cubicBezTo>
                <a:cubicBezTo>
                  <a:pt x="26344" y="7781"/>
                  <a:pt x="26344" y="7750"/>
                  <a:pt x="26344" y="7719"/>
                </a:cubicBezTo>
                <a:cubicBezTo>
                  <a:pt x="26344" y="7687"/>
                  <a:pt x="26344" y="7687"/>
                  <a:pt x="26344" y="7687"/>
                </a:cubicBezTo>
                <a:cubicBezTo>
                  <a:pt x="26313" y="7687"/>
                  <a:pt x="26313" y="7656"/>
                  <a:pt x="26313" y="7656"/>
                </a:cubicBezTo>
                <a:cubicBezTo>
                  <a:pt x="26313" y="7625"/>
                  <a:pt x="26282" y="7594"/>
                  <a:pt x="26250" y="7594"/>
                </a:cubicBezTo>
                <a:cubicBezTo>
                  <a:pt x="26188" y="7531"/>
                  <a:pt x="26188" y="7469"/>
                  <a:pt x="26157" y="7406"/>
                </a:cubicBezTo>
                <a:cubicBezTo>
                  <a:pt x="26157" y="7375"/>
                  <a:pt x="26125" y="7344"/>
                  <a:pt x="26157" y="7312"/>
                </a:cubicBezTo>
                <a:cubicBezTo>
                  <a:pt x="26157" y="7312"/>
                  <a:pt x="26157" y="7281"/>
                  <a:pt x="26157" y="7281"/>
                </a:cubicBezTo>
                <a:cubicBezTo>
                  <a:pt x="26157" y="7219"/>
                  <a:pt x="26094" y="7187"/>
                  <a:pt x="26063" y="7125"/>
                </a:cubicBezTo>
                <a:cubicBezTo>
                  <a:pt x="26063" y="7125"/>
                  <a:pt x="26063" y="7094"/>
                  <a:pt x="26063" y="7094"/>
                </a:cubicBezTo>
                <a:cubicBezTo>
                  <a:pt x="26063" y="7094"/>
                  <a:pt x="26063" y="7094"/>
                  <a:pt x="26063" y="7094"/>
                </a:cubicBezTo>
                <a:cubicBezTo>
                  <a:pt x="25938" y="6875"/>
                  <a:pt x="25813" y="6656"/>
                  <a:pt x="25719" y="6406"/>
                </a:cubicBezTo>
                <a:cubicBezTo>
                  <a:pt x="25719" y="6344"/>
                  <a:pt x="25719" y="6250"/>
                  <a:pt x="25657" y="6219"/>
                </a:cubicBezTo>
                <a:cubicBezTo>
                  <a:pt x="25625" y="6094"/>
                  <a:pt x="25563" y="6000"/>
                  <a:pt x="25532" y="5875"/>
                </a:cubicBezTo>
                <a:cubicBezTo>
                  <a:pt x="25469" y="5719"/>
                  <a:pt x="25407" y="5531"/>
                  <a:pt x="25344" y="5375"/>
                </a:cubicBezTo>
                <a:cubicBezTo>
                  <a:pt x="25125" y="4937"/>
                  <a:pt x="24875" y="4531"/>
                  <a:pt x="24625" y="4094"/>
                </a:cubicBezTo>
                <a:cubicBezTo>
                  <a:pt x="24625" y="4094"/>
                  <a:pt x="24625" y="4094"/>
                  <a:pt x="24625" y="4094"/>
                </a:cubicBezTo>
                <a:cubicBezTo>
                  <a:pt x="24625" y="4062"/>
                  <a:pt x="24625" y="4062"/>
                  <a:pt x="24594" y="4062"/>
                </a:cubicBezTo>
                <a:cubicBezTo>
                  <a:pt x="24594" y="4031"/>
                  <a:pt x="24563" y="4031"/>
                  <a:pt x="24563" y="4000"/>
                </a:cubicBezTo>
                <a:cubicBezTo>
                  <a:pt x="24563" y="4000"/>
                  <a:pt x="24563" y="4000"/>
                  <a:pt x="24563" y="4000"/>
                </a:cubicBezTo>
                <a:cubicBezTo>
                  <a:pt x="24563" y="3969"/>
                  <a:pt x="24563" y="3969"/>
                  <a:pt x="24563" y="3937"/>
                </a:cubicBezTo>
                <a:cubicBezTo>
                  <a:pt x="24532" y="3937"/>
                  <a:pt x="24532" y="3906"/>
                  <a:pt x="24500" y="3906"/>
                </a:cubicBezTo>
                <a:cubicBezTo>
                  <a:pt x="24500" y="3906"/>
                  <a:pt x="24500" y="3906"/>
                  <a:pt x="24500" y="3906"/>
                </a:cubicBezTo>
                <a:cubicBezTo>
                  <a:pt x="24438" y="3719"/>
                  <a:pt x="24313" y="3625"/>
                  <a:pt x="24188" y="3500"/>
                </a:cubicBezTo>
                <a:cubicBezTo>
                  <a:pt x="24157" y="3469"/>
                  <a:pt x="24125" y="3500"/>
                  <a:pt x="24157" y="3531"/>
                </a:cubicBezTo>
                <a:cubicBezTo>
                  <a:pt x="24157" y="3562"/>
                  <a:pt x="24157" y="3625"/>
                  <a:pt x="24188" y="3656"/>
                </a:cubicBezTo>
                <a:cubicBezTo>
                  <a:pt x="24188" y="3719"/>
                  <a:pt x="24250" y="3750"/>
                  <a:pt x="24282" y="3781"/>
                </a:cubicBezTo>
                <a:cubicBezTo>
                  <a:pt x="24313" y="3812"/>
                  <a:pt x="24313" y="3812"/>
                  <a:pt x="24313" y="3844"/>
                </a:cubicBezTo>
                <a:cubicBezTo>
                  <a:pt x="24313" y="3844"/>
                  <a:pt x="24313" y="3875"/>
                  <a:pt x="24313" y="3875"/>
                </a:cubicBezTo>
                <a:cubicBezTo>
                  <a:pt x="24313" y="3875"/>
                  <a:pt x="24313" y="3875"/>
                  <a:pt x="24344" y="3875"/>
                </a:cubicBezTo>
                <a:cubicBezTo>
                  <a:pt x="24344" y="3875"/>
                  <a:pt x="24344" y="3875"/>
                  <a:pt x="24344" y="3875"/>
                </a:cubicBezTo>
                <a:cubicBezTo>
                  <a:pt x="24344" y="3906"/>
                  <a:pt x="24344" y="3906"/>
                  <a:pt x="24344" y="3906"/>
                </a:cubicBezTo>
                <a:cubicBezTo>
                  <a:pt x="24344" y="3906"/>
                  <a:pt x="24344" y="3906"/>
                  <a:pt x="24344" y="3906"/>
                </a:cubicBezTo>
                <a:cubicBezTo>
                  <a:pt x="24344" y="3906"/>
                  <a:pt x="24344" y="3906"/>
                  <a:pt x="24344" y="3906"/>
                </a:cubicBezTo>
                <a:cubicBezTo>
                  <a:pt x="24407" y="4000"/>
                  <a:pt x="24469" y="4094"/>
                  <a:pt x="24532" y="4219"/>
                </a:cubicBezTo>
                <a:cubicBezTo>
                  <a:pt x="24532" y="4219"/>
                  <a:pt x="24532" y="4219"/>
                  <a:pt x="24532" y="4250"/>
                </a:cubicBezTo>
                <a:cubicBezTo>
                  <a:pt x="24532" y="4250"/>
                  <a:pt x="24532" y="4281"/>
                  <a:pt x="24563" y="4281"/>
                </a:cubicBezTo>
                <a:cubicBezTo>
                  <a:pt x="24563" y="4281"/>
                  <a:pt x="24594" y="4312"/>
                  <a:pt x="24594" y="4312"/>
                </a:cubicBezTo>
                <a:cubicBezTo>
                  <a:pt x="24563" y="4344"/>
                  <a:pt x="24563" y="4344"/>
                  <a:pt x="24532" y="4344"/>
                </a:cubicBezTo>
                <a:cubicBezTo>
                  <a:pt x="24532" y="4344"/>
                  <a:pt x="24532" y="4344"/>
                  <a:pt x="24532" y="4344"/>
                </a:cubicBezTo>
                <a:cubicBezTo>
                  <a:pt x="24532" y="4344"/>
                  <a:pt x="24532" y="4344"/>
                  <a:pt x="24532" y="4344"/>
                </a:cubicBezTo>
                <a:cubicBezTo>
                  <a:pt x="24532" y="4312"/>
                  <a:pt x="24500" y="4312"/>
                  <a:pt x="24500" y="4312"/>
                </a:cubicBezTo>
                <a:cubicBezTo>
                  <a:pt x="24500" y="4312"/>
                  <a:pt x="24500" y="4281"/>
                  <a:pt x="24500" y="4281"/>
                </a:cubicBezTo>
                <a:cubicBezTo>
                  <a:pt x="24407" y="4219"/>
                  <a:pt x="24344" y="4156"/>
                  <a:pt x="24282" y="4062"/>
                </a:cubicBezTo>
                <a:cubicBezTo>
                  <a:pt x="24282" y="4062"/>
                  <a:pt x="24282" y="4031"/>
                  <a:pt x="24250" y="4062"/>
                </a:cubicBezTo>
                <a:cubicBezTo>
                  <a:pt x="24219" y="4062"/>
                  <a:pt x="24250" y="4094"/>
                  <a:pt x="24250" y="4094"/>
                </a:cubicBezTo>
                <a:cubicBezTo>
                  <a:pt x="24282" y="4156"/>
                  <a:pt x="24313" y="4219"/>
                  <a:pt x="24344" y="4281"/>
                </a:cubicBezTo>
                <a:cubicBezTo>
                  <a:pt x="24344" y="4281"/>
                  <a:pt x="24375" y="4312"/>
                  <a:pt x="24375" y="4312"/>
                </a:cubicBezTo>
                <a:cubicBezTo>
                  <a:pt x="24407" y="4375"/>
                  <a:pt x="24438" y="4437"/>
                  <a:pt x="24344" y="4500"/>
                </a:cubicBezTo>
                <a:cubicBezTo>
                  <a:pt x="24313" y="4500"/>
                  <a:pt x="24313" y="4500"/>
                  <a:pt x="24282" y="4469"/>
                </a:cubicBezTo>
                <a:cubicBezTo>
                  <a:pt x="24313" y="4469"/>
                  <a:pt x="24313" y="4469"/>
                  <a:pt x="24313" y="4469"/>
                </a:cubicBezTo>
                <a:cubicBezTo>
                  <a:pt x="24313" y="4437"/>
                  <a:pt x="24282" y="4437"/>
                  <a:pt x="24282" y="4437"/>
                </a:cubicBezTo>
                <a:cubicBezTo>
                  <a:pt x="24282" y="4437"/>
                  <a:pt x="24282" y="4437"/>
                  <a:pt x="24282" y="4437"/>
                </a:cubicBezTo>
                <a:cubicBezTo>
                  <a:pt x="24282" y="4437"/>
                  <a:pt x="24250" y="4437"/>
                  <a:pt x="24250" y="4437"/>
                </a:cubicBezTo>
                <a:cubicBezTo>
                  <a:pt x="24219" y="4312"/>
                  <a:pt x="24157" y="4187"/>
                  <a:pt x="24063" y="4125"/>
                </a:cubicBezTo>
                <a:cubicBezTo>
                  <a:pt x="24032" y="4094"/>
                  <a:pt x="24000" y="4062"/>
                  <a:pt x="23969" y="4094"/>
                </a:cubicBezTo>
                <a:cubicBezTo>
                  <a:pt x="23969" y="4187"/>
                  <a:pt x="23875" y="4219"/>
                  <a:pt x="23875" y="4281"/>
                </a:cubicBezTo>
                <a:cubicBezTo>
                  <a:pt x="23875" y="4281"/>
                  <a:pt x="23875" y="4281"/>
                  <a:pt x="23875" y="4281"/>
                </a:cubicBezTo>
                <a:cubicBezTo>
                  <a:pt x="23875" y="4312"/>
                  <a:pt x="23875" y="4312"/>
                  <a:pt x="23875" y="4312"/>
                </a:cubicBezTo>
                <a:cubicBezTo>
                  <a:pt x="23875" y="4312"/>
                  <a:pt x="23844" y="4312"/>
                  <a:pt x="23844" y="4312"/>
                </a:cubicBezTo>
                <a:cubicBezTo>
                  <a:pt x="23844" y="4312"/>
                  <a:pt x="23844" y="4312"/>
                  <a:pt x="23844" y="4312"/>
                </a:cubicBezTo>
                <a:cubicBezTo>
                  <a:pt x="23813" y="4187"/>
                  <a:pt x="23719" y="4125"/>
                  <a:pt x="23688" y="4031"/>
                </a:cubicBezTo>
                <a:cubicBezTo>
                  <a:pt x="23657" y="4000"/>
                  <a:pt x="23657" y="4000"/>
                  <a:pt x="23657" y="3969"/>
                </a:cubicBezTo>
                <a:cubicBezTo>
                  <a:pt x="23625" y="3906"/>
                  <a:pt x="23532" y="3844"/>
                  <a:pt x="23469" y="3812"/>
                </a:cubicBezTo>
                <a:cubicBezTo>
                  <a:pt x="23438" y="3781"/>
                  <a:pt x="23407" y="3750"/>
                  <a:pt x="23375" y="3719"/>
                </a:cubicBezTo>
                <a:cubicBezTo>
                  <a:pt x="23375" y="3687"/>
                  <a:pt x="23344" y="3687"/>
                  <a:pt x="23344" y="3687"/>
                </a:cubicBezTo>
                <a:cubicBezTo>
                  <a:pt x="23344" y="3656"/>
                  <a:pt x="23344" y="3656"/>
                  <a:pt x="23313" y="3625"/>
                </a:cubicBezTo>
                <a:cubicBezTo>
                  <a:pt x="23313" y="3687"/>
                  <a:pt x="23344" y="3687"/>
                  <a:pt x="23375" y="3719"/>
                </a:cubicBezTo>
                <a:cubicBezTo>
                  <a:pt x="23375" y="3750"/>
                  <a:pt x="23375" y="3781"/>
                  <a:pt x="23375" y="3812"/>
                </a:cubicBezTo>
                <a:cubicBezTo>
                  <a:pt x="23594" y="4156"/>
                  <a:pt x="23719" y="4531"/>
                  <a:pt x="23938" y="4875"/>
                </a:cubicBezTo>
                <a:cubicBezTo>
                  <a:pt x="23969" y="4906"/>
                  <a:pt x="24032" y="4969"/>
                  <a:pt x="24032" y="5062"/>
                </a:cubicBezTo>
                <a:cubicBezTo>
                  <a:pt x="23938" y="5031"/>
                  <a:pt x="23938" y="4937"/>
                  <a:pt x="23875" y="4906"/>
                </a:cubicBezTo>
                <a:cubicBezTo>
                  <a:pt x="23844" y="4875"/>
                  <a:pt x="23813" y="4844"/>
                  <a:pt x="23782" y="4844"/>
                </a:cubicBezTo>
                <a:cubicBezTo>
                  <a:pt x="23750" y="4875"/>
                  <a:pt x="23782" y="4937"/>
                  <a:pt x="23782" y="4969"/>
                </a:cubicBezTo>
                <a:cubicBezTo>
                  <a:pt x="23782" y="4969"/>
                  <a:pt x="23782" y="5000"/>
                  <a:pt x="23782" y="5000"/>
                </a:cubicBezTo>
                <a:cubicBezTo>
                  <a:pt x="23844" y="5125"/>
                  <a:pt x="23875" y="5219"/>
                  <a:pt x="23938" y="5312"/>
                </a:cubicBezTo>
                <a:cubicBezTo>
                  <a:pt x="23969" y="5344"/>
                  <a:pt x="23969" y="5344"/>
                  <a:pt x="23938" y="5375"/>
                </a:cubicBezTo>
                <a:cubicBezTo>
                  <a:pt x="23938" y="5375"/>
                  <a:pt x="23907" y="5344"/>
                  <a:pt x="23907" y="5344"/>
                </a:cubicBezTo>
                <a:cubicBezTo>
                  <a:pt x="23875" y="5281"/>
                  <a:pt x="23844" y="5219"/>
                  <a:pt x="23782" y="5156"/>
                </a:cubicBezTo>
                <a:cubicBezTo>
                  <a:pt x="23750" y="5156"/>
                  <a:pt x="23750" y="5094"/>
                  <a:pt x="23719" y="5094"/>
                </a:cubicBezTo>
                <a:cubicBezTo>
                  <a:pt x="23688" y="5125"/>
                  <a:pt x="23719" y="5156"/>
                  <a:pt x="23719" y="5187"/>
                </a:cubicBezTo>
                <a:cubicBezTo>
                  <a:pt x="23719" y="5187"/>
                  <a:pt x="23719" y="5219"/>
                  <a:pt x="23750" y="5219"/>
                </a:cubicBezTo>
                <a:cubicBezTo>
                  <a:pt x="23750" y="5219"/>
                  <a:pt x="23719" y="5250"/>
                  <a:pt x="23688" y="5250"/>
                </a:cubicBezTo>
                <a:cubicBezTo>
                  <a:pt x="23688" y="5250"/>
                  <a:pt x="23688" y="5219"/>
                  <a:pt x="23688" y="5219"/>
                </a:cubicBezTo>
                <a:cubicBezTo>
                  <a:pt x="23657" y="5187"/>
                  <a:pt x="23657" y="5156"/>
                  <a:pt x="23625" y="5156"/>
                </a:cubicBezTo>
                <a:cubicBezTo>
                  <a:pt x="23563" y="5062"/>
                  <a:pt x="23563" y="4937"/>
                  <a:pt x="23438" y="4906"/>
                </a:cubicBezTo>
                <a:close/>
                <a:moveTo>
                  <a:pt x="2875" y="11437"/>
                </a:moveTo>
                <a:cubicBezTo>
                  <a:pt x="2875" y="11437"/>
                  <a:pt x="2907" y="11437"/>
                  <a:pt x="2907" y="11437"/>
                </a:cubicBezTo>
                <a:cubicBezTo>
                  <a:pt x="2907" y="11437"/>
                  <a:pt x="2907" y="11437"/>
                  <a:pt x="2907" y="11437"/>
                </a:cubicBezTo>
                <a:cubicBezTo>
                  <a:pt x="2907" y="11406"/>
                  <a:pt x="2907" y="11406"/>
                  <a:pt x="2875" y="11406"/>
                </a:cubicBezTo>
                <a:cubicBezTo>
                  <a:pt x="2875" y="11406"/>
                  <a:pt x="2875" y="11437"/>
                  <a:pt x="2875" y="11437"/>
                </a:cubicBezTo>
                <a:close/>
                <a:moveTo>
                  <a:pt x="13219" y="6750"/>
                </a:moveTo>
                <a:cubicBezTo>
                  <a:pt x="13219" y="6750"/>
                  <a:pt x="13219" y="6750"/>
                  <a:pt x="13219" y="6750"/>
                </a:cubicBezTo>
                <a:cubicBezTo>
                  <a:pt x="13219" y="6750"/>
                  <a:pt x="13219" y="6750"/>
                  <a:pt x="13219" y="6781"/>
                </a:cubicBezTo>
                <a:cubicBezTo>
                  <a:pt x="13219" y="6781"/>
                  <a:pt x="13219" y="6781"/>
                  <a:pt x="13219" y="6781"/>
                </a:cubicBezTo>
                <a:cubicBezTo>
                  <a:pt x="13219" y="6781"/>
                  <a:pt x="13219" y="6781"/>
                  <a:pt x="13219" y="6781"/>
                </a:cubicBezTo>
                <a:cubicBezTo>
                  <a:pt x="13219" y="6781"/>
                  <a:pt x="13219" y="6781"/>
                  <a:pt x="13219" y="6781"/>
                </a:cubicBezTo>
                <a:cubicBezTo>
                  <a:pt x="13219" y="6781"/>
                  <a:pt x="13219" y="6750"/>
                  <a:pt x="13219" y="6750"/>
                </a:cubicBezTo>
                <a:cubicBezTo>
                  <a:pt x="13219" y="6750"/>
                  <a:pt x="13219" y="6750"/>
                  <a:pt x="13219" y="6750"/>
                </a:cubicBezTo>
                <a:cubicBezTo>
                  <a:pt x="13219" y="6750"/>
                  <a:pt x="13219" y="6750"/>
                  <a:pt x="13219" y="6750"/>
                </a:cubicBezTo>
                <a:close/>
                <a:moveTo>
                  <a:pt x="2844" y="11281"/>
                </a:moveTo>
                <a:cubicBezTo>
                  <a:pt x="2844" y="11312"/>
                  <a:pt x="2844" y="11312"/>
                  <a:pt x="2844" y="11312"/>
                </a:cubicBezTo>
                <a:cubicBezTo>
                  <a:pt x="2844" y="11312"/>
                  <a:pt x="2844" y="11344"/>
                  <a:pt x="2844" y="11344"/>
                </a:cubicBezTo>
                <a:cubicBezTo>
                  <a:pt x="2875" y="11312"/>
                  <a:pt x="2875" y="11312"/>
                  <a:pt x="2875" y="11312"/>
                </a:cubicBezTo>
                <a:cubicBezTo>
                  <a:pt x="2875" y="11281"/>
                  <a:pt x="2844" y="11281"/>
                  <a:pt x="2844" y="11281"/>
                </a:cubicBezTo>
                <a:close/>
                <a:moveTo>
                  <a:pt x="10688" y="844"/>
                </a:moveTo>
                <a:cubicBezTo>
                  <a:pt x="10719" y="875"/>
                  <a:pt x="10782" y="906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50" y="969"/>
                  <a:pt x="10719" y="937"/>
                  <a:pt x="10719" y="969"/>
                </a:cubicBezTo>
                <a:cubicBezTo>
                  <a:pt x="10719" y="1000"/>
                  <a:pt x="10750" y="1031"/>
                  <a:pt x="10782" y="1031"/>
                </a:cubicBezTo>
                <a:cubicBezTo>
                  <a:pt x="10844" y="1000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813" y="969"/>
                  <a:pt x="10844" y="969"/>
                  <a:pt x="10875" y="1000"/>
                </a:cubicBezTo>
                <a:cubicBezTo>
                  <a:pt x="10907" y="1000"/>
                  <a:pt x="10907" y="1031"/>
                  <a:pt x="10938" y="1031"/>
                </a:cubicBezTo>
                <a:cubicBezTo>
                  <a:pt x="10969" y="1062"/>
                  <a:pt x="10969" y="1062"/>
                  <a:pt x="11000" y="1094"/>
                </a:cubicBezTo>
                <a:cubicBezTo>
                  <a:pt x="11000" y="1094"/>
                  <a:pt x="11000" y="1094"/>
                  <a:pt x="11000" y="1094"/>
                </a:cubicBezTo>
                <a:cubicBezTo>
                  <a:pt x="11000" y="1094"/>
                  <a:pt x="11000" y="1094"/>
                  <a:pt x="11000" y="1094"/>
                </a:cubicBezTo>
                <a:cubicBezTo>
                  <a:pt x="11000" y="1094"/>
                  <a:pt x="11000" y="1094"/>
                  <a:pt x="10969" y="1094"/>
                </a:cubicBezTo>
                <a:cubicBezTo>
                  <a:pt x="10969" y="1094"/>
                  <a:pt x="10938" y="1094"/>
                  <a:pt x="10907" y="1094"/>
                </a:cubicBezTo>
                <a:cubicBezTo>
                  <a:pt x="10907" y="1094"/>
                  <a:pt x="10907" y="1094"/>
                  <a:pt x="10907" y="1094"/>
                </a:cubicBezTo>
                <a:cubicBezTo>
                  <a:pt x="10907" y="1094"/>
                  <a:pt x="10907" y="1094"/>
                  <a:pt x="10907" y="1094"/>
                </a:cubicBezTo>
                <a:cubicBezTo>
                  <a:pt x="10907" y="1094"/>
                  <a:pt x="10907" y="1094"/>
                  <a:pt x="10907" y="1094"/>
                </a:cubicBezTo>
                <a:cubicBezTo>
                  <a:pt x="10907" y="1062"/>
                  <a:pt x="10875" y="1062"/>
                  <a:pt x="10875" y="1031"/>
                </a:cubicBezTo>
                <a:cubicBezTo>
                  <a:pt x="10875" y="1031"/>
                  <a:pt x="10875" y="1031"/>
                  <a:pt x="10875" y="1031"/>
                </a:cubicBezTo>
                <a:cubicBezTo>
                  <a:pt x="10875" y="1031"/>
                  <a:pt x="10875" y="1031"/>
                  <a:pt x="10875" y="1031"/>
                </a:cubicBezTo>
                <a:cubicBezTo>
                  <a:pt x="10875" y="1031"/>
                  <a:pt x="10875" y="1031"/>
                  <a:pt x="10875" y="1031"/>
                </a:cubicBezTo>
                <a:cubicBezTo>
                  <a:pt x="10844" y="1031"/>
                  <a:pt x="10844" y="1031"/>
                  <a:pt x="10844" y="1031"/>
                </a:cubicBezTo>
                <a:cubicBezTo>
                  <a:pt x="10844" y="1031"/>
                  <a:pt x="10844" y="1062"/>
                  <a:pt x="10844" y="1062"/>
                </a:cubicBezTo>
                <a:cubicBezTo>
                  <a:pt x="10844" y="1094"/>
                  <a:pt x="10875" y="1094"/>
                  <a:pt x="10907" y="1094"/>
                </a:cubicBezTo>
                <a:cubicBezTo>
                  <a:pt x="10907" y="1125"/>
                  <a:pt x="10907" y="1125"/>
                  <a:pt x="10907" y="1125"/>
                </a:cubicBezTo>
                <a:cubicBezTo>
                  <a:pt x="10938" y="1156"/>
                  <a:pt x="10969" y="1156"/>
                  <a:pt x="11000" y="1156"/>
                </a:cubicBezTo>
                <a:cubicBezTo>
                  <a:pt x="11032" y="1219"/>
                  <a:pt x="11063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81"/>
                  <a:pt x="11125" y="1281"/>
                  <a:pt x="11125" y="1312"/>
                </a:cubicBezTo>
                <a:cubicBezTo>
                  <a:pt x="11094" y="1312"/>
                  <a:pt x="11063" y="1281"/>
                  <a:pt x="11032" y="1312"/>
                </a:cubicBezTo>
                <a:cubicBezTo>
                  <a:pt x="10938" y="1187"/>
                  <a:pt x="10875" y="1156"/>
                  <a:pt x="10750" y="1187"/>
                </a:cubicBezTo>
                <a:lnTo>
                  <a:pt x="10750" y="1187"/>
                </a:lnTo>
                <a:cubicBezTo>
                  <a:pt x="10875" y="1187"/>
                  <a:pt x="10907" y="1312"/>
                  <a:pt x="11032" y="1312"/>
                </a:cubicBezTo>
                <a:cubicBezTo>
                  <a:pt x="11282" y="1625"/>
                  <a:pt x="11657" y="1750"/>
                  <a:pt x="11907" y="2031"/>
                </a:cubicBezTo>
                <a:cubicBezTo>
                  <a:pt x="11844" y="2062"/>
                  <a:pt x="11844" y="1969"/>
                  <a:pt x="11782" y="2000"/>
                </a:cubicBezTo>
                <a:cubicBezTo>
                  <a:pt x="11782" y="2031"/>
                  <a:pt x="11813" y="2062"/>
                  <a:pt x="11844" y="2062"/>
                </a:cubicBezTo>
                <a:cubicBezTo>
                  <a:pt x="11969" y="2156"/>
                  <a:pt x="12125" y="2281"/>
                  <a:pt x="12282" y="2375"/>
                </a:cubicBezTo>
                <a:cubicBezTo>
                  <a:pt x="12375" y="2469"/>
                  <a:pt x="12469" y="2562"/>
                  <a:pt x="12594" y="2594"/>
                </a:cubicBezTo>
                <a:cubicBezTo>
                  <a:pt x="12719" y="2687"/>
                  <a:pt x="12813" y="2750"/>
                  <a:pt x="12907" y="2844"/>
                </a:cubicBezTo>
                <a:cubicBezTo>
                  <a:pt x="13000" y="2906"/>
                  <a:pt x="13094" y="3000"/>
                  <a:pt x="13188" y="3031"/>
                </a:cubicBezTo>
                <a:cubicBezTo>
                  <a:pt x="13282" y="3156"/>
                  <a:pt x="13407" y="3187"/>
                  <a:pt x="13500" y="3250"/>
                </a:cubicBezTo>
                <a:cubicBezTo>
                  <a:pt x="13469" y="3219"/>
                  <a:pt x="13407" y="3156"/>
                  <a:pt x="13375" y="3125"/>
                </a:cubicBezTo>
                <a:cubicBezTo>
                  <a:pt x="13313" y="3062"/>
                  <a:pt x="13282" y="3031"/>
                  <a:pt x="13188" y="3000"/>
                </a:cubicBezTo>
                <a:cubicBezTo>
                  <a:pt x="13188" y="3000"/>
                  <a:pt x="13188" y="2969"/>
                  <a:pt x="13157" y="2969"/>
                </a:cubicBezTo>
                <a:cubicBezTo>
                  <a:pt x="13188" y="2969"/>
                  <a:pt x="13188" y="2969"/>
                  <a:pt x="13157" y="2969"/>
                </a:cubicBezTo>
                <a:cubicBezTo>
                  <a:pt x="13157" y="2937"/>
                  <a:pt x="13157" y="2937"/>
                  <a:pt x="13125" y="2937"/>
                </a:cubicBezTo>
                <a:cubicBezTo>
                  <a:pt x="13063" y="2875"/>
                  <a:pt x="13000" y="2781"/>
                  <a:pt x="12938" y="2719"/>
                </a:cubicBezTo>
                <a:cubicBezTo>
                  <a:pt x="12625" y="2437"/>
                  <a:pt x="12344" y="2156"/>
                  <a:pt x="12000" y="1937"/>
                </a:cubicBezTo>
                <a:cubicBezTo>
                  <a:pt x="11969" y="1906"/>
                  <a:pt x="11969" y="1906"/>
                  <a:pt x="11938" y="1906"/>
                </a:cubicBezTo>
                <a:cubicBezTo>
                  <a:pt x="11907" y="1875"/>
                  <a:pt x="11907" y="1875"/>
                  <a:pt x="11875" y="1875"/>
                </a:cubicBezTo>
                <a:cubicBezTo>
                  <a:pt x="11875" y="1875"/>
                  <a:pt x="11875" y="1875"/>
                  <a:pt x="11875" y="1875"/>
                </a:cubicBezTo>
                <a:cubicBezTo>
                  <a:pt x="11875" y="1844"/>
                  <a:pt x="11844" y="1844"/>
                  <a:pt x="11844" y="1844"/>
                </a:cubicBezTo>
                <a:cubicBezTo>
                  <a:pt x="11844" y="1812"/>
                  <a:pt x="11844" y="1812"/>
                  <a:pt x="11813" y="1812"/>
                </a:cubicBezTo>
                <a:cubicBezTo>
                  <a:pt x="11813" y="1812"/>
                  <a:pt x="11813" y="1844"/>
                  <a:pt x="11782" y="1844"/>
                </a:cubicBezTo>
                <a:cubicBezTo>
                  <a:pt x="11813" y="1812"/>
                  <a:pt x="11813" y="1812"/>
                  <a:pt x="11813" y="1812"/>
                </a:cubicBezTo>
                <a:cubicBezTo>
                  <a:pt x="11813" y="1812"/>
                  <a:pt x="11813" y="1812"/>
                  <a:pt x="11782" y="1812"/>
                </a:cubicBezTo>
                <a:cubicBezTo>
                  <a:pt x="11782" y="1781"/>
                  <a:pt x="11782" y="1781"/>
                  <a:pt x="11782" y="1750"/>
                </a:cubicBezTo>
                <a:cubicBezTo>
                  <a:pt x="11782" y="1750"/>
                  <a:pt x="11782" y="1750"/>
                  <a:pt x="11782" y="1750"/>
                </a:cubicBezTo>
                <a:cubicBezTo>
                  <a:pt x="11782" y="1750"/>
                  <a:pt x="11782" y="1750"/>
                  <a:pt x="11782" y="1750"/>
                </a:cubicBezTo>
                <a:cubicBezTo>
                  <a:pt x="11813" y="1750"/>
                  <a:pt x="11844" y="1781"/>
                  <a:pt x="11844" y="1750"/>
                </a:cubicBezTo>
                <a:cubicBezTo>
                  <a:pt x="11844" y="1719"/>
                  <a:pt x="11813" y="1719"/>
                  <a:pt x="11782" y="1687"/>
                </a:cubicBezTo>
                <a:cubicBezTo>
                  <a:pt x="11719" y="1625"/>
                  <a:pt x="11657" y="1594"/>
                  <a:pt x="11657" y="1656"/>
                </a:cubicBezTo>
                <a:cubicBezTo>
                  <a:pt x="11688" y="1719"/>
                  <a:pt x="11657" y="1687"/>
                  <a:pt x="11625" y="1687"/>
                </a:cubicBezTo>
                <a:cubicBezTo>
                  <a:pt x="11469" y="1594"/>
                  <a:pt x="11344" y="1500"/>
                  <a:pt x="11188" y="1375"/>
                </a:cubicBezTo>
                <a:cubicBezTo>
                  <a:pt x="11157" y="1375"/>
                  <a:pt x="11125" y="1344"/>
                  <a:pt x="11125" y="1312"/>
                </a:cubicBezTo>
                <a:cubicBezTo>
                  <a:pt x="11157" y="1281"/>
                  <a:pt x="11188" y="1281"/>
                  <a:pt x="11157" y="1250"/>
                </a:cubicBezTo>
                <a:cubicBezTo>
                  <a:pt x="11157" y="1250"/>
                  <a:pt x="11157" y="1250"/>
                  <a:pt x="11157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19"/>
                  <a:pt x="11125" y="1219"/>
                </a:cubicBezTo>
                <a:cubicBezTo>
                  <a:pt x="11125" y="1219"/>
                  <a:pt x="11157" y="1219"/>
                  <a:pt x="11157" y="1219"/>
                </a:cubicBezTo>
                <a:cubicBezTo>
                  <a:pt x="11157" y="1219"/>
                  <a:pt x="11188" y="1219"/>
                  <a:pt x="11188" y="1219"/>
                </a:cubicBezTo>
                <a:cubicBezTo>
                  <a:pt x="11219" y="1219"/>
                  <a:pt x="11219" y="1219"/>
                  <a:pt x="11219" y="1219"/>
                </a:cubicBezTo>
                <a:cubicBezTo>
                  <a:pt x="11188" y="1156"/>
                  <a:pt x="11157" y="1125"/>
                  <a:pt x="11094" y="1125"/>
                </a:cubicBezTo>
                <a:cubicBezTo>
                  <a:pt x="11094" y="1094"/>
                  <a:pt x="11094" y="1094"/>
                  <a:pt x="11063" y="1094"/>
                </a:cubicBezTo>
                <a:cubicBezTo>
                  <a:pt x="11063" y="1062"/>
                  <a:pt x="11063" y="1062"/>
                  <a:pt x="11063" y="1062"/>
                </a:cubicBezTo>
                <a:cubicBezTo>
                  <a:pt x="11032" y="1031"/>
                  <a:pt x="11032" y="1031"/>
                  <a:pt x="11032" y="1031"/>
                </a:cubicBezTo>
                <a:cubicBezTo>
                  <a:pt x="10907" y="969"/>
                  <a:pt x="10813" y="906"/>
                  <a:pt x="10719" y="812"/>
                </a:cubicBezTo>
                <a:cubicBezTo>
                  <a:pt x="10719" y="781"/>
                  <a:pt x="10688" y="781"/>
                  <a:pt x="10657" y="781"/>
                </a:cubicBezTo>
                <a:cubicBezTo>
                  <a:pt x="10657" y="781"/>
                  <a:pt x="10625" y="781"/>
                  <a:pt x="10657" y="812"/>
                </a:cubicBezTo>
                <a:cubicBezTo>
                  <a:pt x="10657" y="812"/>
                  <a:pt x="10657" y="812"/>
                  <a:pt x="10657" y="812"/>
                </a:cubicBezTo>
                <a:cubicBezTo>
                  <a:pt x="10657" y="844"/>
                  <a:pt x="10688" y="844"/>
                  <a:pt x="10688" y="844"/>
                </a:cubicBezTo>
                <a:close/>
                <a:moveTo>
                  <a:pt x="11219" y="1219"/>
                </a:moveTo>
                <a:cubicBezTo>
                  <a:pt x="11219" y="1250"/>
                  <a:pt x="11219" y="1281"/>
                  <a:pt x="11188" y="1312"/>
                </a:cubicBezTo>
                <a:cubicBezTo>
                  <a:pt x="11219" y="1344"/>
                  <a:pt x="11250" y="1344"/>
                  <a:pt x="11282" y="1375"/>
                </a:cubicBezTo>
                <a:cubicBezTo>
                  <a:pt x="11313" y="1406"/>
                  <a:pt x="11344" y="1406"/>
                  <a:pt x="11407" y="1437"/>
                </a:cubicBezTo>
                <a:cubicBezTo>
                  <a:pt x="11407" y="1469"/>
                  <a:pt x="11469" y="1500"/>
                  <a:pt x="11532" y="1531"/>
                </a:cubicBezTo>
                <a:cubicBezTo>
                  <a:pt x="11563" y="1531"/>
                  <a:pt x="11594" y="1562"/>
                  <a:pt x="11594" y="1594"/>
                </a:cubicBezTo>
                <a:cubicBezTo>
                  <a:pt x="11594" y="1562"/>
                  <a:pt x="11625" y="1500"/>
                  <a:pt x="11563" y="1469"/>
                </a:cubicBezTo>
                <a:cubicBezTo>
                  <a:pt x="11532" y="1406"/>
                  <a:pt x="11469" y="1375"/>
                  <a:pt x="11407" y="1312"/>
                </a:cubicBezTo>
                <a:cubicBezTo>
                  <a:pt x="11344" y="1281"/>
                  <a:pt x="11282" y="1219"/>
                  <a:pt x="11219" y="1219"/>
                </a:cubicBezTo>
                <a:close/>
                <a:moveTo>
                  <a:pt x="1063" y="12719"/>
                </a:moveTo>
                <a:cubicBezTo>
                  <a:pt x="1032" y="12656"/>
                  <a:pt x="1032" y="12625"/>
                  <a:pt x="1032" y="12594"/>
                </a:cubicBezTo>
                <a:cubicBezTo>
                  <a:pt x="969" y="12656"/>
                  <a:pt x="969" y="12687"/>
                  <a:pt x="1063" y="12719"/>
                </a:cubicBezTo>
                <a:close/>
                <a:moveTo>
                  <a:pt x="6750" y="17406"/>
                </a:moveTo>
                <a:cubicBezTo>
                  <a:pt x="6719" y="17343"/>
                  <a:pt x="6719" y="17281"/>
                  <a:pt x="6688" y="17281"/>
                </a:cubicBezTo>
                <a:cubicBezTo>
                  <a:pt x="6657" y="17250"/>
                  <a:pt x="6657" y="17281"/>
                  <a:pt x="6657" y="17281"/>
                </a:cubicBezTo>
                <a:cubicBezTo>
                  <a:pt x="6657" y="17343"/>
                  <a:pt x="6657" y="17375"/>
                  <a:pt x="6750" y="17406"/>
                </a:cubicBezTo>
                <a:close/>
                <a:moveTo>
                  <a:pt x="875" y="12500"/>
                </a:moveTo>
                <a:cubicBezTo>
                  <a:pt x="907" y="12437"/>
                  <a:pt x="875" y="12406"/>
                  <a:pt x="844" y="12344"/>
                </a:cubicBezTo>
                <a:cubicBezTo>
                  <a:pt x="813" y="12406"/>
                  <a:pt x="875" y="12469"/>
                  <a:pt x="875" y="12500"/>
                </a:cubicBezTo>
                <a:close/>
                <a:moveTo>
                  <a:pt x="12719" y="6250"/>
                </a:moveTo>
                <a:cubicBezTo>
                  <a:pt x="12719" y="6250"/>
                  <a:pt x="12688" y="6250"/>
                  <a:pt x="12688" y="6250"/>
                </a:cubicBezTo>
                <a:cubicBezTo>
                  <a:pt x="12657" y="6281"/>
                  <a:pt x="12657" y="6281"/>
                  <a:pt x="12688" y="6281"/>
                </a:cubicBezTo>
                <a:cubicBezTo>
                  <a:pt x="12719" y="6312"/>
                  <a:pt x="12750" y="6375"/>
                  <a:pt x="12813" y="6406"/>
                </a:cubicBezTo>
                <a:cubicBezTo>
                  <a:pt x="12813" y="6312"/>
                  <a:pt x="12750" y="6312"/>
                  <a:pt x="12719" y="6250"/>
                </a:cubicBezTo>
                <a:close/>
                <a:moveTo>
                  <a:pt x="12563" y="6156"/>
                </a:moveTo>
                <a:cubicBezTo>
                  <a:pt x="12500" y="6062"/>
                  <a:pt x="12469" y="6031"/>
                  <a:pt x="12375" y="6000"/>
                </a:cubicBezTo>
                <a:cubicBezTo>
                  <a:pt x="12407" y="6062"/>
                  <a:pt x="12438" y="6125"/>
                  <a:pt x="12563" y="6156"/>
                </a:cubicBezTo>
                <a:close/>
                <a:moveTo>
                  <a:pt x="15938" y="15437"/>
                </a:moveTo>
                <a:cubicBezTo>
                  <a:pt x="15938" y="15437"/>
                  <a:pt x="15969" y="15469"/>
                  <a:pt x="15969" y="15469"/>
                </a:cubicBezTo>
                <a:cubicBezTo>
                  <a:pt x="16032" y="15500"/>
                  <a:pt x="16063" y="15500"/>
                  <a:pt x="16125" y="15500"/>
                </a:cubicBezTo>
                <a:cubicBezTo>
                  <a:pt x="16094" y="15469"/>
                  <a:pt x="16063" y="15406"/>
                  <a:pt x="16000" y="15406"/>
                </a:cubicBezTo>
                <a:cubicBezTo>
                  <a:pt x="15969" y="15406"/>
                  <a:pt x="15969" y="15406"/>
                  <a:pt x="15938" y="15437"/>
                </a:cubicBezTo>
                <a:close/>
                <a:moveTo>
                  <a:pt x="969" y="12750"/>
                </a:moveTo>
                <a:cubicBezTo>
                  <a:pt x="938" y="12781"/>
                  <a:pt x="969" y="12844"/>
                  <a:pt x="1000" y="12875"/>
                </a:cubicBezTo>
                <a:cubicBezTo>
                  <a:pt x="1000" y="12906"/>
                  <a:pt x="1000" y="12937"/>
                  <a:pt x="1032" y="12937"/>
                </a:cubicBezTo>
                <a:cubicBezTo>
                  <a:pt x="1063" y="12906"/>
                  <a:pt x="1063" y="12875"/>
                  <a:pt x="1063" y="12875"/>
                </a:cubicBezTo>
                <a:cubicBezTo>
                  <a:pt x="1032" y="12812"/>
                  <a:pt x="1032" y="12781"/>
                  <a:pt x="969" y="12750"/>
                </a:cubicBezTo>
                <a:close/>
                <a:moveTo>
                  <a:pt x="32" y="6906"/>
                </a:moveTo>
                <a:cubicBezTo>
                  <a:pt x="32" y="7000"/>
                  <a:pt x="0" y="7062"/>
                  <a:pt x="32" y="7187"/>
                </a:cubicBezTo>
                <a:cubicBezTo>
                  <a:pt x="125" y="7062"/>
                  <a:pt x="63" y="7000"/>
                  <a:pt x="32" y="6906"/>
                </a:cubicBezTo>
                <a:close/>
                <a:moveTo>
                  <a:pt x="13282" y="6781"/>
                </a:moveTo>
                <a:cubicBezTo>
                  <a:pt x="13282" y="6781"/>
                  <a:pt x="13250" y="6812"/>
                  <a:pt x="13282" y="6844"/>
                </a:cubicBezTo>
                <a:cubicBezTo>
                  <a:pt x="13313" y="6875"/>
                  <a:pt x="13375" y="6937"/>
                  <a:pt x="13407" y="6969"/>
                </a:cubicBezTo>
                <a:cubicBezTo>
                  <a:pt x="13438" y="7000"/>
                  <a:pt x="13469" y="6969"/>
                  <a:pt x="13469" y="6937"/>
                </a:cubicBezTo>
                <a:cubicBezTo>
                  <a:pt x="13469" y="6937"/>
                  <a:pt x="13313" y="6781"/>
                  <a:pt x="13282" y="6781"/>
                </a:cubicBezTo>
                <a:close/>
                <a:moveTo>
                  <a:pt x="13594" y="7094"/>
                </a:moveTo>
                <a:cubicBezTo>
                  <a:pt x="13657" y="7156"/>
                  <a:pt x="13688" y="7250"/>
                  <a:pt x="13813" y="7281"/>
                </a:cubicBezTo>
                <a:cubicBezTo>
                  <a:pt x="13750" y="7219"/>
                  <a:pt x="13688" y="7094"/>
                  <a:pt x="13594" y="7094"/>
                </a:cubicBezTo>
                <a:close/>
                <a:moveTo>
                  <a:pt x="14188" y="7594"/>
                </a:moveTo>
                <a:cubicBezTo>
                  <a:pt x="14188" y="7594"/>
                  <a:pt x="14157" y="7594"/>
                  <a:pt x="14157" y="7594"/>
                </a:cubicBezTo>
                <a:cubicBezTo>
                  <a:pt x="14250" y="7687"/>
                  <a:pt x="14313" y="7750"/>
                  <a:pt x="14407" y="7844"/>
                </a:cubicBezTo>
                <a:cubicBezTo>
                  <a:pt x="14407" y="7844"/>
                  <a:pt x="14407" y="7844"/>
                  <a:pt x="14438" y="7844"/>
                </a:cubicBezTo>
                <a:cubicBezTo>
                  <a:pt x="14438" y="7812"/>
                  <a:pt x="14438" y="7812"/>
                  <a:pt x="14407" y="7781"/>
                </a:cubicBezTo>
                <a:cubicBezTo>
                  <a:pt x="14344" y="7719"/>
                  <a:pt x="14282" y="7625"/>
                  <a:pt x="14188" y="7594"/>
                </a:cubicBezTo>
                <a:close/>
                <a:moveTo>
                  <a:pt x="13938" y="7344"/>
                </a:moveTo>
                <a:cubicBezTo>
                  <a:pt x="13938" y="7344"/>
                  <a:pt x="13907" y="7312"/>
                  <a:pt x="13875" y="7312"/>
                </a:cubicBezTo>
                <a:cubicBezTo>
                  <a:pt x="13875" y="7312"/>
                  <a:pt x="13875" y="7344"/>
                  <a:pt x="13875" y="7344"/>
                </a:cubicBezTo>
                <a:cubicBezTo>
                  <a:pt x="13875" y="7344"/>
                  <a:pt x="13875" y="7375"/>
                  <a:pt x="13875" y="7375"/>
                </a:cubicBezTo>
                <a:cubicBezTo>
                  <a:pt x="13938" y="7437"/>
                  <a:pt x="14000" y="7500"/>
                  <a:pt x="14063" y="7562"/>
                </a:cubicBezTo>
                <a:cubicBezTo>
                  <a:pt x="14094" y="7562"/>
                  <a:pt x="14094" y="7594"/>
                  <a:pt x="14125" y="7562"/>
                </a:cubicBezTo>
                <a:cubicBezTo>
                  <a:pt x="14157" y="7531"/>
                  <a:pt x="14125" y="7531"/>
                  <a:pt x="14094" y="7500"/>
                </a:cubicBezTo>
                <a:cubicBezTo>
                  <a:pt x="14063" y="7469"/>
                  <a:pt x="14000" y="7406"/>
                  <a:pt x="13938" y="7344"/>
                </a:cubicBezTo>
                <a:close/>
                <a:moveTo>
                  <a:pt x="20625" y="18031"/>
                </a:moveTo>
                <a:cubicBezTo>
                  <a:pt x="20594" y="18000"/>
                  <a:pt x="20532" y="18000"/>
                  <a:pt x="20532" y="18062"/>
                </a:cubicBezTo>
                <a:cubicBezTo>
                  <a:pt x="20532" y="18093"/>
                  <a:pt x="20563" y="18125"/>
                  <a:pt x="20625" y="18125"/>
                </a:cubicBezTo>
                <a:cubicBezTo>
                  <a:pt x="20688" y="18125"/>
                  <a:pt x="20750" y="18125"/>
                  <a:pt x="20813" y="18093"/>
                </a:cubicBezTo>
                <a:cubicBezTo>
                  <a:pt x="20813" y="18093"/>
                  <a:pt x="20844" y="18125"/>
                  <a:pt x="20844" y="18125"/>
                </a:cubicBezTo>
                <a:cubicBezTo>
                  <a:pt x="20844" y="18093"/>
                  <a:pt x="20813" y="18093"/>
                  <a:pt x="20813" y="18093"/>
                </a:cubicBezTo>
                <a:cubicBezTo>
                  <a:pt x="20813" y="17968"/>
                  <a:pt x="20688" y="18031"/>
                  <a:pt x="20625" y="18031"/>
                </a:cubicBezTo>
                <a:close/>
                <a:moveTo>
                  <a:pt x="21563" y="7844"/>
                </a:moveTo>
                <a:cubicBezTo>
                  <a:pt x="21500" y="7594"/>
                  <a:pt x="21407" y="7312"/>
                  <a:pt x="21313" y="7062"/>
                </a:cubicBezTo>
                <a:cubicBezTo>
                  <a:pt x="21313" y="7344"/>
                  <a:pt x="21438" y="7625"/>
                  <a:pt x="21500" y="7906"/>
                </a:cubicBezTo>
                <a:cubicBezTo>
                  <a:pt x="21532" y="7875"/>
                  <a:pt x="21563" y="7875"/>
                  <a:pt x="21563" y="7844"/>
                </a:cubicBezTo>
                <a:close/>
                <a:moveTo>
                  <a:pt x="8219" y="18000"/>
                </a:moveTo>
                <a:cubicBezTo>
                  <a:pt x="8219" y="17937"/>
                  <a:pt x="8188" y="17875"/>
                  <a:pt x="8125" y="17812"/>
                </a:cubicBezTo>
                <a:cubicBezTo>
                  <a:pt x="8125" y="17781"/>
                  <a:pt x="8125" y="17718"/>
                  <a:pt x="8094" y="17687"/>
                </a:cubicBezTo>
                <a:cubicBezTo>
                  <a:pt x="8000" y="17437"/>
                  <a:pt x="7907" y="17218"/>
                  <a:pt x="7813" y="17000"/>
                </a:cubicBezTo>
                <a:cubicBezTo>
                  <a:pt x="7813" y="16968"/>
                  <a:pt x="7813" y="16968"/>
                  <a:pt x="7813" y="16968"/>
                </a:cubicBezTo>
                <a:cubicBezTo>
                  <a:pt x="7813" y="16937"/>
                  <a:pt x="7813" y="16937"/>
                  <a:pt x="7813" y="16937"/>
                </a:cubicBezTo>
                <a:cubicBezTo>
                  <a:pt x="7813" y="16937"/>
                  <a:pt x="7813" y="16937"/>
                  <a:pt x="7782" y="16937"/>
                </a:cubicBezTo>
                <a:cubicBezTo>
                  <a:pt x="7782" y="16906"/>
                  <a:pt x="7782" y="16906"/>
                  <a:pt x="7750" y="16875"/>
                </a:cubicBezTo>
                <a:cubicBezTo>
                  <a:pt x="7719" y="16750"/>
                  <a:pt x="7657" y="16625"/>
                  <a:pt x="7594" y="16500"/>
                </a:cubicBezTo>
                <a:cubicBezTo>
                  <a:pt x="7563" y="16406"/>
                  <a:pt x="7532" y="16343"/>
                  <a:pt x="7500" y="16250"/>
                </a:cubicBezTo>
                <a:cubicBezTo>
                  <a:pt x="7375" y="15812"/>
                  <a:pt x="7188" y="15406"/>
                  <a:pt x="7000" y="15000"/>
                </a:cubicBezTo>
                <a:cubicBezTo>
                  <a:pt x="6907" y="14750"/>
                  <a:pt x="6813" y="14500"/>
                  <a:pt x="6719" y="14219"/>
                </a:cubicBezTo>
                <a:cubicBezTo>
                  <a:pt x="6719" y="14219"/>
                  <a:pt x="6719" y="14219"/>
                  <a:pt x="6719" y="14219"/>
                </a:cubicBezTo>
                <a:cubicBezTo>
                  <a:pt x="6719" y="14187"/>
                  <a:pt x="6719" y="14187"/>
                  <a:pt x="6688" y="14187"/>
                </a:cubicBezTo>
                <a:cubicBezTo>
                  <a:pt x="6688" y="14187"/>
                  <a:pt x="6688" y="14187"/>
                  <a:pt x="6688" y="14187"/>
                </a:cubicBezTo>
                <a:cubicBezTo>
                  <a:pt x="6688" y="14156"/>
                  <a:pt x="6657" y="14156"/>
                  <a:pt x="6657" y="14156"/>
                </a:cubicBezTo>
                <a:cubicBezTo>
                  <a:pt x="6657" y="14031"/>
                  <a:pt x="5938" y="12094"/>
                  <a:pt x="5594" y="11187"/>
                </a:cubicBezTo>
                <a:cubicBezTo>
                  <a:pt x="5625" y="11187"/>
                  <a:pt x="5594" y="11156"/>
                  <a:pt x="5594" y="11156"/>
                </a:cubicBezTo>
                <a:cubicBezTo>
                  <a:pt x="5594" y="10937"/>
                  <a:pt x="5500" y="10750"/>
                  <a:pt x="5438" y="10562"/>
                </a:cubicBezTo>
                <a:cubicBezTo>
                  <a:pt x="5375" y="10312"/>
                  <a:pt x="5282" y="10031"/>
                  <a:pt x="5219" y="9781"/>
                </a:cubicBezTo>
                <a:cubicBezTo>
                  <a:pt x="5219" y="9781"/>
                  <a:pt x="5219" y="9750"/>
                  <a:pt x="5219" y="9719"/>
                </a:cubicBezTo>
                <a:cubicBezTo>
                  <a:pt x="5188" y="9687"/>
                  <a:pt x="5188" y="9625"/>
                  <a:pt x="5157" y="9562"/>
                </a:cubicBezTo>
                <a:cubicBezTo>
                  <a:pt x="5094" y="9375"/>
                  <a:pt x="5063" y="9187"/>
                  <a:pt x="5000" y="9000"/>
                </a:cubicBezTo>
                <a:cubicBezTo>
                  <a:pt x="5000" y="8937"/>
                  <a:pt x="4969" y="8875"/>
                  <a:pt x="4969" y="8812"/>
                </a:cubicBezTo>
                <a:cubicBezTo>
                  <a:pt x="4813" y="8250"/>
                  <a:pt x="4688" y="7656"/>
                  <a:pt x="4563" y="7094"/>
                </a:cubicBezTo>
                <a:cubicBezTo>
                  <a:pt x="4500" y="6812"/>
                  <a:pt x="4438" y="6531"/>
                  <a:pt x="4375" y="6250"/>
                </a:cubicBezTo>
                <a:cubicBezTo>
                  <a:pt x="4313" y="5969"/>
                  <a:pt x="4282" y="5656"/>
                  <a:pt x="4219" y="5375"/>
                </a:cubicBezTo>
                <a:cubicBezTo>
                  <a:pt x="4188" y="5125"/>
                  <a:pt x="4125" y="4875"/>
                  <a:pt x="4094" y="4656"/>
                </a:cubicBezTo>
                <a:cubicBezTo>
                  <a:pt x="4094" y="4594"/>
                  <a:pt x="4094" y="4562"/>
                  <a:pt x="4094" y="4531"/>
                </a:cubicBezTo>
                <a:cubicBezTo>
                  <a:pt x="4032" y="4125"/>
                  <a:pt x="4032" y="3687"/>
                  <a:pt x="4000" y="3250"/>
                </a:cubicBezTo>
                <a:cubicBezTo>
                  <a:pt x="4000" y="3187"/>
                  <a:pt x="4000" y="3125"/>
                  <a:pt x="3907" y="3156"/>
                </a:cubicBezTo>
                <a:cubicBezTo>
                  <a:pt x="3813" y="3156"/>
                  <a:pt x="3719" y="3094"/>
                  <a:pt x="3719" y="3250"/>
                </a:cubicBezTo>
                <a:cubicBezTo>
                  <a:pt x="3719" y="3344"/>
                  <a:pt x="3563" y="3469"/>
                  <a:pt x="3500" y="3469"/>
                </a:cubicBezTo>
                <a:cubicBezTo>
                  <a:pt x="3469" y="3469"/>
                  <a:pt x="3438" y="3437"/>
                  <a:pt x="3438" y="3406"/>
                </a:cubicBezTo>
                <a:cubicBezTo>
                  <a:pt x="3438" y="3375"/>
                  <a:pt x="3438" y="3312"/>
                  <a:pt x="3438" y="3281"/>
                </a:cubicBezTo>
                <a:cubicBezTo>
                  <a:pt x="3469" y="3187"/>
                  <a:pt x="3407" y="3187"/>
                  <a:pt x="3344" y="3219"/>
                </a:cubicBezTo>
                <a:cubicBezTo>
                  <a:pt x="3250" y="3250"/>
                  <a:pt x="3157" y="3344"/>
                  <a:pt x="3000" y="3344"/>
                </a:cubicBezTo>
                <a:cubicBezTo>
                  <a:pt x="2969" y="3312"/>
                  <a:pt x="2969" y="3375"/>
                  <a:pt x="2969" y="3406"/>
                </a:cubicBezTo>
                <a:cubicBezTo>
                  <a:pt x="2938" y="3719"/>
                  <a:pt x="2844" y="4000"/>
                  <a:pt x="2844" y="4312"/>
                </a:cubicBezTo>
                <a:cubicBezTo>
                  <a:pt x="2813" y="3906"/>
                  <a:pt x="2844" y="3469"/>
                  <a:pt x="2907" y="3062"/>
                </a:cubicBezTo>
                <a:cubicBezTo>
                  <a:pt x="2907" y="3125"/>
                  <a:pt x="2844" y="3156"/>
                  <a:pt x="2844" y="3219"/>
                </a:cubicBezTo>
                <a:cubicBezTo>
                  <a:pt x="2782" y="3594"/>
                  <a:pt x="2719" y="3969"/>
                  <a:pt x="2719" y="4344"/>
                </a:cubicBezTo>
                <a:cubicBezTo>
                  <a:pt x="2688" y="4562"/>
                  <a:pt x="2688" y="4781"/>
                  <a:pt x="2688" y="5000"/>
                </a:cubicBezTo>
                <a:cubicBezTo>
                  <a:pt x="2688" y="5000"/>
                  <a:pt x="2688" y="5000"/>
                  <a:pt x="2688" y="5000"/>
                </a:cubicBezTo>
                <a:cubicBezTo>
                  <a:pt x="2688" y="5000"/>
                  <a:pt x="2688" y="5031"/>
                  <a:pt x="2688" y="5031"/>
                </a:cubicBezTo>
                <a:cubicBezTo>
                  <a:pt x="2688" y="5031"/>
                  <a:pt x="2688" y="5031"/>
                  <a:pt x="2688" y="5062"/>
                </a:cubicBezTo>
                <a:cubicBezTo>
                  <a:pt x="2688" y="5062"/>
                  <a:pt x="2688" y="5062"/>
                  <a:pt x="2688" y="5062"/>
                </a:cubicBezTo>
                <a:cubicBezTo>
                  <a:pt x="2719" y="5062"/>
                  <a:pt x="2719" y="5094"/>
                  <a:pt x="2750" y="5094"/>
                </a:cubicBezTo>
                <a:cubicBezTo>
                  <a:pt x="2750" y="5344"/>
                  <a:pt x="2750" y="5594"/>
                  <a:pt x="2782" y="5844"/>
                </a:cubicBezTo>
                <a:cubicBezTo>
                  <a:pt x="2813" y="5937"/>
                  <a:pt x="2813" y="6031"/>
                  <a:pt x="2844" y="6094"/>
                </a:cubicBezTo>
                <a:cubicBezTo>
                  <a:pt x="2907" y="6562"/>
                  <a:pt x="2969" y="7000"/>
                  <a:pt x="3094" y="7437"/>
                </a:cubicBezTo>
                <a:cubicBezTo>
                  <a:pt x="3094" y="7562"/>
                  <a:pt x="3157" y="7656"/>
                  <a:pt x="3157" y="7781"/>
                </a:cubicBezTo>
                <a:cubicBezTo>
                  <a:pt x="3125" y="7812"/>
                  <a:pt x="3125" y="7844"/>
                  <a:pt x="3157" y="7875"/>
                </a:cubicBezTo>
                <a:cubicBezTo>
                  <a:pt x="3219" y="8312"/>
                  <a:pt x="3344" y="8719"/>
                  <a:pt x="3469" y="9125"/>
                </a:cubicBezTo>
                <a:cubicBezTo>
                  <a:pt x="3563" y="9406"/>
                  <a:pt x="3657" y="9719"/>
                  <a:pt x="3750" y="10000"/>
                </a:cubicBezTo>
                <a:cubicBezTo>
                  <a:pt x="3844" y="10250"/>
                  <a:pt x="3938" y="10531"/>
                  <a:pt x="4063" y="10750"/>
                </a:cubicBezTo>
                <a:cubicBezTo>
                  <a:pt x="4094" y="10781"/>
                  <a:pt x="4094" y="10812"/>
                  <a:pt x="4094" y="10844"/>
                </a:cubicBezTo>
                <a:cubicBezTo>
                  <a:pt x="4219" y="11156"/>
                  <a:pt x="4344" y="11469"/>
                  <a:pt x="4438" y="11781"/>
                </a:cubicBezTo>
                <a:cubicBezTo>
                  <a:pt x="4438" y="11812"/>
                  <a:pt x="4469" y="11812"/>
                  <a:pt x="4469" y="11812"/>
                </a:cubicBezTo>
                <a:cubicBezTo>
                  <a:pt x="4500" y="11844"/>
                  <a:pt x="4500" y="11812"/>
                  <a:pt x="4500" y="11812"/>
                </a:cubicBezTo>
                <a:cubicBezTo>
                  <a:pt x="4500" y="11781"/>
                  <a:pt x="4500" y="11781"/>
                  <a:pt x="4500" y="11781"/>
                </a:cubicBezTo>
                <a:cubicBezTo>
                  <a:pt x="4844" y="12719"/>
                  <a:pt x="5219" y="13750"/>
                  <a:pt x="5250" y="13875"/>
                </a:cubicBezTo>
                <a:cubicBezTo>
                  <a:pt x="5282" y="14000"/>
                  <a:pt x="5313" y="14125"/>
                  <a:pt x="5375" y="14281"/>
                </a:cubicBezTo>
                <a:cubicBezTo>
                  <a:pt x="5532" y="14656"/>
                  <a:pt x="5688" y="15031"/>
                  <a:pt x="5844" y="15406"/>
                </a:cubicBezTo>
                <a:cubicBezTo>
                  <a:pt x="5969" y="15625"/>
                  <a:pt x="6063" y="15875"/>
                  <a:pt x="6188" y="16093"/>
                </a:cubicBezTo>
                <a:cubicBezTo>
                  <a:pt x="6313" y="16343"/>
                  <a:pt x="6407" y="16593"/>
                  <a:pt x="6563" y="16843"/>
                </a:cubicBezTo>
                <a:cubicBezTo>
                  <a:pt x="6594" y="16843"/>
                  <a:pt x="6594" y="16843"/>
                  <a:pt x="6594" y="16843"/>
                </a:cubicBezTo>
                <a:cubicBezTo>
                  <a:pt x="6594" y="16875"/>
                  <a:pt x="6594" y="16875"/>
                  <a:pt x="6594" y="16875"/>
                </a:cubicBezTo>
                <a:cubicBezTo>
                  <a:pt x="6625" y="16875"/>
                  <a:pt x="6625" y="16875"/>
                  <a:pt x="6657" y="16875"/>
                </a:cubicBezTo>
                <a:cubicBezTo>
                  <a:pt x="6657" y="16875"/>
                  <a:pt x="6657" y="16875"/>
                  <a:pt x="6657" y="16875"/>
                </a:cubicBezTo>
                <a:cubicBezTo>
                  <a:pt x="6719" y="16968"/>
                  <a:pt x="6750" y="17031"/>
                  <a:pt x="6813" y="17093"/>
                </a:cubicBezTo>
                <a:cubicBezTo>
                  <a:pt x="6813" y="17093"/>
                  <a:pt x="6813" y="17093"/>
                  <a:pt x="6813" y="17093"/>
                </a:cubicBezTo>
                <a:cubicBezTo>
                  <a:pt x="6813" y="17093"/>
                  <a:pt x="6813" y="17093"/>
                  <a:pt x="6813" y="17093"/>
                </a:cubicBezTo>
                <a:cubicBezTo>
                  <a:pt x="6813" y="17093"/>
                  <a:pt x="6813" y="17093"/>
                  <a:pt x="6813" y="17093"/>
                </a:cubicBezTo>
                <a:cubicBezTo>
                  <a:pt x="6813" y="17156"/>
                  <a:pt x="6844" y="17187"/>
                  <a:pt x="6875" y="17218"/>
                </a:cubicBezTo>
                <a:cubicBezTo>
                  <a:pt x="6938" y="17406"/>
                  <a:pt x="7032" y="17531"/>
                  <a:pt x="7125" y="17687"/>
                </a:cubicBezTo>
                <a:cubicBezTo>
                  <a:pt x="7125" y="17687"/>
                  <a:pt x="7125" y="17718"/>
                  <a:pt x="7125" y="17718"/>
                </a:cubicBezTo>
                <a:cubicBezTo>
                  <a:pt x="7125" y="17718"/>
                  <a:pt x="7157" y="17718"/>
                  <a:pt x="7157" y="17718"/>
                </a:cubicBezTo>
                <a:cubicBezTo>
                  <a:pt x="7157" y="17718"/>
                  <a:pt x="7157" y="17750"/>
                  <a:pt x="7157" y="17750"/>
                </a:cubicBezTo>
                <a:cubicBezTo>
                  <a:pt x="7157" y="17750"/>
                  <a:pt x="7157" y="17750"/>
                  <a:pt x="7157" y="17781"/>
                </a:cubicBezTo>
                <a:cubicBezTo>
                  <a:pt x="7188" y="17812"/>
                  <a:pt x="7188" y="17843"/>
                  <a:pt x="7188" y="17843"/>
                </a:cubicBezTo>
                <a:cubicBezTo>
                  <a:pt x="7219" y="17875"/>
                  <a:pt x="7219" y="17906"/>
                  <a:pt x="7250" y="17906"/>
                </a:cubicBezTo>
                <a:cubicBezTo>
                  <a:pt x="7282" y="17937"/>
                  <a:pt x="7282" y="17968"/>
                  <a:pt x="7313" y="18000"/>
                </a:cubicBezTo>
                <a:cubicBezTo>
                  <a:pt x="7313" y="17906"/>
                  <a:pt x="7375" y="17875"/>
                  <a:pt x="7438" y="17875"/>
                </a:cubicBezTo>
                <a:cubicBezTo>
                  <a:pt x="7469" y="17875"/>
                  <a:pt x="7500" y="17875"/>
                  <a:pt x="7532" y="17906"/>
                </a:cubicBezTo>
                <a:cubicBezTo>
                  <a:pt x="7532" y="17937"/>
                  <a:pt x="7563" y="17968"/>
                  <a:pt x="7594" y="17937"/>
                </a:cubicBezTo>
                <a:cubicBezTo>
                  <a:pt x="7625" y="17937"/>
                  <a:pt x="7594" y="17906"/>
                  <a:pt x="7594" y="17875"/>
                </a:cubicBezTo>
                <a:cubicBezTo>
                  <a:pt x="7594" y="17843"/>
                  <a:pt x="7594" y="17812"/>
                  <a:pt x="7594" y="17781"/>
                </a:cubicBezTo>
                <a:cubicBezTo>
                  <a:pt x="7594" y="17750"/>
                  <a:pt x="7594" y="17687"/>
                  <a:pt x="7594" y="17656"/>
                </a:cubicBezTo>
                <a:cubicBezTo>
                  <a:pt x="7594" y="17625"/>
                  <a:pt x="7594" y="17593"/>
                  <a:pt x="7563" y="17562"/>
                </a:cubicBezTo>
                <a:cubicBezTo>
                  <a:pt x="7563" y="17500"/>
                  <a:pt x="7500" y="17468"/>
                  <a:pt x="7469" y="17406"/>
                </a:cubicBezTo>
                <a:cubicBezTo>
                  <a:pt x="7469" y="17406"/>
                  <a:pt x="7469" y="17406"/>
                  <a:pt x="7469" y="17406"/>
                </a:cubicBezTo>
                <a:cubicBezTo>
                  <a:pt x="7469" y="17406"/>
                  <a:pt x="7469" y="17406"/>
                  <a:pt x="7469" y="17406"/>
                </a:cubicBezTo>
                <a:cubicBezTo>
                  <a:pt x="7469" y="17375"/>
                  <a:pt x="7469" y="17375"/>
                  <a:pt x="7469" y="17375"/>
                </a:cubicBezTo>
                <a:cubicBezTo>
                  <a:pt x="7469" y="17375"/>
                  <a:pt x="7438" y="17375"/>
                  <a:pt x="7438" y="17375"/>
                </a:cubicBezTo>
                <a:cubicBezTo>
                  <a:pt x="7438" y="17375"/>
                  <a:pt x="7438" y="17375"/>
                  <a:pt x="7438" y="17343"/>
                </a:cubicBezTo>
                <a:cubicBezTo>
                  <a:pt x="7438" y="17343"/>
                  <a:pt x="7438" y="17343"/>
                  <a:pt x="7438" y="17343"/>
                </a:cubicBezTo>
                <a:cubicBezTo>
                  <a:pt x="7438" y="17312"/>
                  <a:pt x="7438" y="17281"/>
                  <a:pt x="7407" y="17250"/>
                </a:cubicBezTo>
                <a:cubicBezTo>
                  <a:pt x="7407" y="17218"/>
                  <a:pt x="7375" y="17156"/>
                  <a:pt x="7344" y="17125"/>
                </a:cubicBezTo>
                <a:cubicBezTo>
                  <a:pt x="7344" y="17093"/>
                  <a:pt x="7375" y="17062"/>
                  <a:pt x="7375" y="17062"/>
                </a:cubicBezTo>
                <a:cubicBezTo>
                  <a:pt x="7469" y="17187"/>
                  <a:pt x="7532" y="17312"/>
                  <a:pt x="7594" y="17468"/>
                </a:cubicBezTo>
                <a:cubicBezTo>
                  <a:pt x="7657" y="17593"/>
                  <a:pt x="7719" y="17718"/>
                  <a:pt x="7782" y="17843"/>
                </a:cubicBezTo>
                <a:cubicBezTo>
                  <a:pt x="7844" y="18000"/>
                  <a:pt x="7938" y="18125"/>
                  <a:pt x="8063" y="18218"/>
                </a:cubicBezTo>
                <a:cubicBezTo>
                  <a:pt x="8063" y="18218"/>
                  <a:pt x="8063" y="18218"/>
                  <a:pt x="8063" y="18218"/>
                </a:cubicBezTo>
                <a:cubicBezTo>
                  <a:pt x="8063" y="18250"/>
                  <a:pt x="8063" y="18250"/>
                  <a:pt x="8063" y="18281"/>
                </a:cubicBezTo>
                <a:cubicBezTo>
                  <a:pt x="8063" y="18281"/>
                  <a:pt x="8063" y="18281"/>
                  <a:pt x="8063" y="18312"/>
                </a:cubicBezTo>
                <a:cubicBezTo>
                  <a:pt x="8063" y="18312"/>
                  <a:pt x="8063" y="18312"/>
                  <a:pt x="8063" y="18343"/>
                </a:cubicBezTo>
                <a:cubicBezTo>
                  <a:pt x="8063" y="18343"/>
                  <a:pt x="8094" y="18343"/>
                  <a:pt x="8094" y="18343"/>
                </a:cubicBezTo>
                <a:cubicBezTo>
                  <a:pt x="8094" y="18343"/>
                  <a:pt x="8125" y="18343"/>
                  <a:pt x="8125" y="18312"/>
                </a:cubicBezTo>
                <a:cubicBezTo>
                  <a:pt x="8094" y="18218"/>
                  <a:pt x="8188" y="18218"/>
                  <a:pt x="8219" y="18156"/>
                </a:cubicBezTo>
                <a:cubicBezTo>
                  <a:pt x="8250" y="18125"/>
                  <a:pt x="8250" y="18093"/>
                  <a:pt x="8250" y="18062"/>
                </a:cubicBezTo>
                <a:cubicBezTo>
                  <a:pt x="8250" y="18031"/>
                  <a:pt x="8250" y="18000"/>
                  <a:pt x="8219" y="18000"/>
                </a:cubicBezTo>
                <a:close/>
                <a:moveTo>
                  <a:pt x="2532" y="16437"/>
                </a:moveTo>
                <a:cubicBezTo>
                  <a:pt x="2563" y="16437"/>
                  <a:pt x="2563" y="16406"/>
                  <a:pt x="2563" y="16406"/>
                </a:cubicBezTo>
                <a:cubicBezTo>
                  <a:pt x="2563" y="16406"/>
                  <a:pt x="2563" y="16406"/>
                  <a:pt x="2563" y="16406"/>
                </a:cubicBezTo>
                <a:cubicBezTo>
                  <a:pt x="2563" y="16406"/>
                  <a:pt x="2532" y="16437"/>
                  <a:pt x="2532" y="16437"/>
                </a:cubicBezTo>
                <a:cubicBezTo>
                  <a:pt x="2500" y="16437"/>
                  <a:pt x="2500" y="16406"/>
                  <a:pt x="2500" y="16375"/>
                </a:cubicBezTo>
                <a:cubicBezTo>
                  <a:pt x="2532" y="16343"/>
                  <a:pt x="2532" y="16312"/>
                  <a:pt x="2500" y="16281"/>
                </a:cubicBezTo>
                <a:cubicBezTo>
                  <a:pt x="2500" y="16281"/>
                  <a:pt x="2500" y="16281"/>
                  <a:pt x="2500" y="16281"/>
                </a:cubicBezTo>
                <a:cubicBezTo>
                  <a:pt x="2500" y="16250"/>
                  <a:pt x="2500" y="16218"/>
                  <a:pt x="2500" y="16218"/>
                </a:cubicBezTo>
                <a:cubicBezTo>
                  <a:pt x="2500" y="16218"/>
                  <a:pt x="2500" y="16218"/>
                  <a:pt x="2469" y="16218"/>
                </a:cubicBezTo>
                <a:cubicBezTo>
                  <a:pt x="2438" y="16218"/>
                  <a:pt x="2438" y="16187"/>
                  <a:pt x="2438" y="16187"/>
                </a:cubicBezTo>
                <a:cubicBezTo>
                  <a:pt x="2438" y="16156"/>
                  <a:pt x="2438" y="16156"/>
                  <a:pt x="2438" y="16156"/>
                </a:cubicBezTo>
                <a:cubicBezTo>
                  <a:pt x="2438" y="16156"/>
                  <a:pt x="2438" y="16156"/>
                  <a:pt x="2438" y="16156"/>
                </a:cubicBezTo>
                <a:cubicBezTo>
                  <a:pt x="2438" y="16156"/>
                  <a:pt x="2438" y="16156"/>
                  <a:pt x="2438" y="16156"/>
                </a:cubicBezTo>
                <a:cubicBezTo>
                  <a:pt x="2469" y="16125"/>
                  <a:pt x="2469" y="16093"/>
                  <a:pt x="2438" y="16062"/>
                </a:cubicBezTo>
                <a:cubicBezTo>
                  <a:pt x="2438" y="16000"/>
                  <a:pt x="2375" y="16031"/>
                  <a:pt x="2375" y="16031"/>
                </a:cubicBezTo>
                <a:cubicBezTo>
                  <a:pt x="2344" y="15875"/>
                  <a:pt x="2282" y="15781"/>
                  <a:pt x="2250" y="15625"/>
                </a:cubicBezTo>
                <a:cubicBezTo>
                  <a:pt x="2188" y="15500"/>
                  <a:pt x="2157" y="15375"/>
                  <a:pt x="2094" y="15250"/>
                </a:cubicBezTo>
                <a:cubicBezTo>
                  <a:pt x="2032" y="15125"/>
                  <a:pt x="1969" y="14969"/>
                  <a:pt x="1875" y="14844"/>
                </a:cubicBezTo>
                <a:cubicBezTo>
                  <a:pt x="1875" y="14844"/>
                  <a:pt x="1875" y="14812"/>
                  <a:pt x="1875" y="14781"/>
                </a:cubicBezTo>
                <a:cubicBezTo>
                  <a:pt x="1844" y="14781"/>
                  <a:pt x="1844" y="14781"/>
                  <a:pt x="1844" y="14750"/>
                </a:cubicBezTo>
                <a:cubicBezTo>
                  <a:pt x="1844" y="14750"/>
                  <a:pt x="1844" y="14719"/>
                  <a:pt x="1844" y="14719"/>
                </a:cubicBezTo>
                <a:cubicBezTo>
                  <a:pt x="1813" y="14687"/>
                  <a:pt x="1813" y="14687"/>
                  <a:pt x="1750" y="14656"/>
                </a:cubicBezTo>
                <a:cubicBezTo>
                  <a:pt x="1750" y="14656"/>
                  <a:pt x="1750" y="14656"/>
                  <a:pt x="1750" y="14656"/>
                </a:cubicBezTo>
                <a:cubicBezTo>
                  <a:pt x="1750" y="14656"/>
                  <a:pt x="1750" y="14625"/>
                  <a:pt x="1750" y="14594"/>
                </a:cubicBezTo>
                <a:cubicBezTo>
                  <a:pt x="1750" y="14625"/>
                  <a:pt x="1750" y="14656"/>
                  <a:pt x="1750" y="14656"/>
                </a:cubicBezTo>
                <a:cubicBezTo>
                  <a:pt x="1750" y="14781"/>
                  <a:pt x="1813" y="14875"/>
                  <a:pt x="1844" y="14969"/>
                </a:cubicBezTo>
                <a:cubicBezTo>
                  <a:pt x="1969" y="15437"/>
                  <a:pt x="2188" y="15875"/>
                  <a:pt x="2407" y="16312"/>
                </a:cubicBezTo>
                <a:cubicBezTo>
                  <a:pt x="2407" y="16343"/>
                  <a:pt x="2438" y="16375"/>
                  <a:pt x="2438" y="16406"/>
                </a:cubicBezTo>
                <a:cubicBezTo>
                  <a:pt x="2469" y="16468"/>
                  <a:pt x="2500" y="16500"/>
                  <a:pt x="2532" y="16531"/>
                </a:cubicBezTo>
                <a:cubicBezTo>
                  <a:pt x="2532" y="16562"/>
                  <a:pt x="2563" y="16562"/>
                  <a:pt x="2563" y="16593"/>
                </a:cubicBezTo>
                <a:cubicBezTo>
                  <a:pt x="2563" y="16593"/>
                  <a:pt x="2563" y="16593"/>
                  <a:pt x="2563" y="16593"/>
                </a:cubicBezTo>
                <a:cubicBezTo>
                  <a:pt x="2563" y="16562"/>
                  <a:pt x="2563" y="16562"/>
                  <a:pt x="2532" y="16531"/>
                </a:cubicBezTo>
                <a:cubicBezTo>
                  <a:pt x="2532" y="16500"/>
                  <a:pt x="2532" y="16468"/>
                  <a:pt x="2532" y="16437"/>
                </a:cubicBezTo>
                <a:close/>
                <a:moveTo>
                  <a:pt x="9688" y="17718"/>
                </a:moveTo>
                <a:cubicBezTo>
                  <a:pt x="9625" y="17500"/>
                  <a:pt x="9532" y="17281"/>
                  <a:pt x="9469" y="17062"/>
                </a:cubicBezTo>
                <a:cubicBezTo>
                  <a:pt x="9344" y="16718"/>
                  <a:pt x="9219" y="16343"/>
                  <a:pt x="9094" y="16000"/>
                </a:cubicBezTo>
                <a:cubicBezTo>
                  <a:pt x="9063" y="15937"/>
                  <a:pt x="9000" y="15906"/>
                  <a:pt x="8938" y="15937"/>
                </a:cubicBezTo>
                <a:cubicBezTo>
                  <a:pt x="8875" y="15937"/>
                  <a:pt x="8938" y="16000"/>
                  <a:pt x="8938" y="16062"/>
                </a:cubicBezTo>
                <a:cubicBezTo>
                  <a:pt x="9032" y="16250"/>
                  <a:pt x="9094" y="16468"/>
                  <a:pt x="9188" y="16687"/>
                </a:cubicBezTo>
                <a:cubicBezTo>
                  <a:pt x="9282" y="17031"/>
                  <a:pt x="9407" y="17375"/>
                  <a:pt x="9532" y="17718"/>
                </a:cubicBezTo>
                <a:cubicBezTo>
                  <a:pt x="9625" y="17937"/>
                  <a:pt x="9719" y="18187"/>
                  <a:pt x="9782" y="18406"/>
                </a:cubicBezTo>
                <a:cubicBezTo>
                  <a:pt x="9813" y="18468"/>
                  <a:pt x="9844" y="18500"/>
                  <a:pt x="9907" y="18500"/>
                </a:cubicBezTo>
                <a:cubicBezTo>
                  <a:pt x="9907" y="18531"/>
                  <a:pt x="9938" y="18531"/>
                  <a:pt x="9938" y="18468"/>
                </a:cubicBezTo>
                <a:cubicBezTo>
                  <a:pt x="9938" y="18468"/>
                  <a:pt x="9938" y="18468"/>
                  <a:pt x="9938" y="18437"/>
                </a:cubicBezTo>
                <a:cubicBezTo>
                  <a:pt x="9875" y="18187"/>
                  <a:pt x="9782" y="17968"/>
                  <a:pt x="9688" y="17718"/>
                </a:cubicBezTo>
                <a:close/>
                <a:moveTo>
                  <a:pt x="20469" y="17687"/>
                </a:moveTo>
                <a:cubicBezTo>
                  <a:pt x="20000" y="17625"/>
                  <a:pt x="19594" y="17500"/>
                  <a:pt x="19188" y="17312"/>
                </a:cubicBezTo>
                <a:cubicBezTo>
                  <a:pt x="18875" y="17187"/>
                  <a:pt x="18563" y="17031"/>
                  <a:pt x="18282" y="16875"/>
                </a:cubicBezTo>
                <a:cubicBezTo>
                  <a:pt x="17750" y="16593"/>
                  <a:pt x="17250" y="16250"/>
                  <a:pt x="16719" y="15906"/>
                </a:cubicBezTo>
                <a:cubicBezTo>
                  <a:pt x="16563" y="15781"/>
                  <a:pt x="16375" y="15625"/>
                  <a:pt x="16157" y="15531"/>
                </a:cubicBezTo>
                <a:cubicBezTo>
                  <a:pt x="16188" y="15625"/>
                  <a:pt x="16219" y="15656"/>
                  <a:pt x="16250" y="15687"/>
                </a:cubicBezTo>
                <a:cubicBezTo>
                  <a:pt x="16563" y="15906"/>
                  <a:pt x="16875" y="16093"/>
                  <a:pt x="17188" y="16312"/>
                </a:cubicBezTo>
                <a:cubicBezTo>
                  <a:pt x="17563" y="16562"/>
                  <a:pt x="17938" y="16781"/>
                  <a:pt x="18313" y="17000"/>
                </a:cubicBezTo>
                <a:cubicBezTo>
                  <a:pt x="18844" y="17281"/>
                  <a:pt x="19344" y="17531"/>
                  <a:pt x="19938" y="17656"/>
                </a:cubicBezTo>
                <a:cubicBezTo>
                  <a:pt x="20094" y="17687"/>
                  <a:pt x="20282" y="17750"/>
                  <a:pt x="20469" y="17750"/>
                </a:cubicBezTo>
                <a:cubicBezTo>
                  <a:pt x="20500" y="17750"/>
                  <a:pt x="20532" y="17781"/>
                  <a:pt x="20532" y="17718"/>
                </a:cubicBezTo>
                <a:cubicBezTo>
                  <a:pt x="20532" y="17687"/>
                  <a:pt x="20500" y="17687"/>
                  <a:pt x="20469" y="17687"/>
                </a:cubicBezTo>
                <a:close/>
                <a:moveTo>
                  <a:pt x="4688" y="15250"/>
                </a:moveTo>
                <a:cubicBezTo>
                  <a:pt x="4813" y="15562"/>
                  <a:pt x="5000" y="15875"/>
                  <a:pt x="5125" y="16187"/>
                </a:cubicBezTo>
                <a:cubicBezTo>
                  <a:pt x="5282" y="16468"/>
                  <a:pt x="5438" y="16750"/>
                  <a:pt x="5563" y="17031"/>
                </a:cubicBezTo>
                <a:cubicBezTo>
                  <a:pt x="5688" y="17250"/>
                  <a:pt x="5750" y="17500"/>
                  <a:pt x="5938" y="17656"/>
                </a:cubicBezTo>
                <a:cubicBezTo>
                  <a:pt x="5969" y="17687"/>
                  <a:pt x="5969" y="17718"/>
                  <a:pt x="5969" y="17750"/>
                </a:cubicBezTo>
                <a:cubicBezTo>
                  <a:pt x="6032" y="17875"/>
                  <a:pt x="6000" y="18031"/>
                  <a:pt x="6157" y="18125"/>
                </a:cubicBezTo>
                <a:cubicBezTo>
                  <a:pt x="6188" y="18125"/>
                  <a:pt x="6219" y="18187"/>
                  <a:pt x="6188" y="18218"/>
                </a:cubicBezTo>
                <a:cubicBezTo>
                  <a:pt x="6157" y="18250"/>
                  <a:pt x="6125" y="18250"/>
                  <a:pt x="6094" y="18250"/>
                </a:cubicBezTo>
                <a:cubicBezTo>
                  <a:pt x="6063" y="18218"/>
                  <a:pt x="6032" y="18187"/>
                  <a:pt x="5969" y="18218"/>
                </a:cubicBezTo>
                <a:cubicBezTo>
                  <a:pt x="6063" y="18312"/>
                  <a:pt x="6094" y="18437"/>
                  <a:pt x="6157" y="18562"/>
                </a:cubicBezTo>
                <a:cubicBezTo>
                  <a:pt x="6219" y="18687"/>
                  <a:pt x="6313" y="18781"/>
                  <a:pt x="6407" y="18875"/>
                </a:cubicBezTo>
                <a:cubicBezTo>
                  <a:pt x="6407" y="18906"/>
                  <a:pt x="6407" y="18968"/>
                  <a:pt x="6469" y="18968"/>
                </a:cubicBezTo>
                <a:cubicBezTo>
                  <a:pt x="6500" y="18937"/>
                  <a:pt x="6500" y="18906"/>
                  <a:pt x="6500" y="18875"/>
                </a:cubicBezTo>
                <a:cubicBezTo>
                  <a:pt x="6500" y="18812"/>
                  <a:pt x="6500" y="18781"/>
                  <a:pt x="6469" y="18750"/>
                </a:cubicBezTo>
                <a:cubicBezTo>
                  <a:pt x="6438" y="18750"/>
                  <a:pt x="6438" y="18718"/>
                  <a:pt x="6469" y="18687"/>
                </a:cubicBezTo>
                <a:cubicBezTo>
                  <a:pt x="6500" y="18687"/>
                  <a:pt x="6500" y="18718"/>
                  <a:pt x="6532" y="18718"/>
                </a:cubicBezTo>
                <a:cubicBezTo>
                  <a:pt x="6594" y="18843"/>
                  <a:pt x="6688" y="18968"/>
                  <a:pt x="6782" y="19062"/>
                </a:cubicBezTo>
                <a:cubicBezTo>
                  <a:pt x="6782" y="18906"/>
                  <a:pt x="6750" y="18781"/>
                  <a:pt x="6657" y="18656"/>
                </a:cubicBezTo>
                <a:cubicBezTo>
                  <a:pt x="6594" y="18562"/>
                  <a:pt x="6532" y="18468"/>
                  <a:pt x="6469" y="18375"/>
                </a:cubicBezTo>
                <a:cubicBezTo>
                  <a:pt x="6313" y="18062"/>
                  <a:pt x="6094" y="17781"/>
                  <a:pt x="5969" y="17468"/>
                </a:cubicBezTo>
                <a:cubicBezTo>
                  <a:pt x="5907" y="17312"/>
                  <a:pt x="5813" y="17125"/>
                  <a:pt x="5719" y="16968"/>
                </a:cubicBezTo>
                <a:cubicBezTo>
                  <a:pt x="5532" y="16562"/>
                  <a:pt x="5344" y="16187"/>
                  <a:pt x="5157" y="15781"/>
                </a:cubicBezTo>
                <a:cubicBezTo>
                  <a:pt x="5000" y="15531"/>
                  <a:pt x="4875" y="15250"/>
                  <a:pt x="4782" y="14969"/>
                </a:cubicBezTo>
                <a:cubicBezTo>
                  <a:pt x="4657" y="14750"/>
                  <a:pt x="4563" y="14531"/>
                  <a:pt x="4438" y="14312"/>
                </a:cubicBezTo>
                <a:cubicBezTo>
                  <a:pt x="4407" y="14250"/>
                  <a:pt x="4375" y="14281"/>
                  <a:pt x="4344" y="14281"/>
                </a:cubicBezTo>
                <a:cubicBezTo>
                  <a:pt x="4313" y="14281"/>
                  <a:pt x="3938" y="13312"/>
                  <a:pt x="3625" y="12531"/>
                </a:cubicBezTo>
                <a:cubicBezTo>
                  <a:pt x="3532" y="12281"/>
                  <a:pt x="3438" y="12094"/>
                  <a:pt x="3375" y="11906"/>
                </a:cubicBezTo>
                <a:cubicBezTo>
                  <a:pt x="3407" y="11906"/>
                  <a:pt x="3407" y="11906"/>
                  <a:pt x="3407" y="11906"/>
                </a:cubicBezTo>
                <a:cubicBezTo>
                  <a:pt x="3438" y="11906"/>
                  <a:pt x="3438" y="11875"/>
                  <a:pt x="3438" y="11875"/>
                </a:cubicBezTo>
                <a:cubicBezTo>
                  <a:pt x="3375" y="11781"/>
                  <a:pt x="3375" y="11656"/>
                  <a:pt x="3344" y="11562"/>
                </a:cubicBezTo>
                <a:cubicBezTo>
                  <a:pt x="3282" y="11375"/>
                  <a:pt x="3188" y="11187"/>
                  <a:pt x="3125" y="11000"/>
                </a:cubicBezTo>
                <a:cubicBezTo>
                  <a:pt x="3063" y="10687"/>
                  <a:pt x="2938" y="10406"/>
                  <a:pt x="2813" y="10125"/>
                </a:cubicBezTo>
                <a:cubicBezTo>
                  <a:pt x="2750" y="10000"/>
                  <a:pt x="2782" y="9875"/>
                  <a:pt x="2750" y="9781"/>
                </a:cubicBezTo>
                <a:cubicBezTo>
                  <a:pt x="2719" y="9656"/>
                  <a:pt x="2657" y="9531"/>
                  <a:pt x="2625" y="9406"/>
                </a:cubicBezTo>
                <a:cubicBezTo>
                  <a:pt x="2625" y="9375"/>
                  <a:pt x="2594" y="9312"/>
                  <a:pt x="2625" y="9312"/>
                </a:cubicBezTo>
                <a:cubicBezTo>
                  <a:pt x="2657" y="9312"/>
                  <a:pt x="2688" y="9344"/>
                  <a:pt x="2719" y="9375"/>
                </a:cubicBezTo>
                <a:cubicBezTo>
                  <a:pt x="2782" y="9531"/>
                  <a:pt x="2875" y="9687"/>
                  <a:pt x="2907" y="9844"/>
                </a:cubicBezTo>
                <a:cubicBezTo>
                  <a:pt x="2938" y="9937"/>
                  <a:pt x="2969" y="10031"/>
                  <a:pt x="3032" y="10125"/>
                </a:cubicBezTo>
                <a:cubicBezTo>
                  <a:pt x="3157" y="10250"/>
                  <a:pt x="3188" y="10375"/>
                  <a:pt x="3282" y="10531"/>
                </a:cubicBezTo>
                <a:cubicBezTo>
                  <a:pt x="3407" y="10750"/>
                  <a:pt x="3532" y="10969"/>
                  <a:pt x="3657" y="11187"/>
                </a:cubicBezTo>
                <a:cubicBezTo>
                  <a:pt x="3657" y="11250"/>
                  <a:pt x="3719" y="11281"/>
                  <a:pt x="3782" y="11250"/>
                </a:cubicBezTo>
                <a:cubicBezTo>
                  <a:pt x="3813" y="11219"/>
                  <a:pt x="3875" y="11187"/>
                  <a:pt x="3907" y="11187"/>
                </a:cubicBezTo>
                <a:cubicBezTo>
                  <a:pt x="4000" y="11187"/>
                  <a:pt x="4000" y="11125"/>
                  <a:pt x="4000" y="11094"/>
                </a:cubicBezTo>
                <a:cubicBezTo>
                  <a:pt x="3938" y="10969"/>
                  <a:pt x="3907" y="10844"/>
                  <a:pt x="3875" y="10719"/>
                </a:cubicBezTo>
                <a:cubicBezTo>
                  <a:pt x="3719" y="10250"/>
                  <a:pt x="3563" y="9812"/>
                  <a:pt x="3438" y="9344"/>
                </a:cubicBezTo>
                <a:cubicBezTo>
                  <a:pt x="3344" y="9031"/>
                  <a:pt x="3250" y="8750"/>
                  <a:pt x="3157" y="8437"/>
                </a:cubicBezTo>
                <a:cubicBezTo>
                  <a:pt x="3094" y="8156"/>
                  <a:pt x="3032" y="7906"/>
                  <a:pt x="2969" y="7656"/>
                </a:cubicBezTo>
                <a:cubicBezTo>
                  <a:pt x="2875" y="7219"/>
                  <a:pt x="2782" y="6812"/>
                  <a:pt x="2688" y="6375"/>
                </a:cubicBezTo>
                <a:cubicBezTo>
                  <a:pt x="2594" y="5812"/>
                  <a:pt x="2563" y="5281"/>
                  <a:pt x="2563" y="4781"/>
                </a:cubicBezTo>
                <a:cubicBezTo>
                  <a:pt x="2563" y="4500"/>
                  <a:pt x="2563" y="4281"/>
                  <a:pt x="2563" y="4062"/>
                </a:cubicBezTo>
                <a:cubicBezTo>
                  <a:pt x="2563" y="3937"/>
                  <a:pt x="2500" y="3937"/>
                  <a:pt x="2469" y="3969"/>
                </a:cubicBezTo>
                <a:cubicBezTo>
                  <a:pt x="2344" y="4062"/>
                  <a:pt x="2219" y="4125"/>
                  <a:pt x="2157" y="4250"/>
                </a:cubicBezTo>
                <a:cubicBezTo>
                  <a:pt x="2125" y="4281"/>
                  <a:pt x="2157" y="4312"/>
                  <a:pt x="2094" y="4281"/>
                </a:cubicBezTo>
                <a:cubicBezTo>
                  <a:pt x="2063" y="4281"/>
                  <a:pt x="2063" y="4250"/>
                  <a:pt x="2094" y="4219"/>
                </a:cubicBezTo>
                <a:cubicBezTo>
                  <a:pt x="2125" y="4094"/>
                  <a:pt x="2063" y="3937"/>
                  <a:pt x="2125" y="3812"/>
                </a:cubicBezTo>
                <a:cubicBezTo>
                  <a:pt x="2125" y="3750"/>
                  <a:pt x="2094" y="3687"/>
                  <a:pt x="2032" y="3719"/>
                </a:cubicBezTo>
                <a:cubicBezTo>
                  <a:pt x="1938" y="3719"/>
                  <a:pt x="1782" y="3875"/>
                  <a:pt x="1782" y="4000"/>
                </a:cubicBezTo>
                <a:cubicBezTo>
                  <a:pt x="1782" y="4469"/>
                  <a:pt x="1688" y="4969"/>
                  <a:pt x="1688" y="5437"/>
                </a:cubicBezTo>
                <a:lnTo>
                  <a:pt x="1688" y="5437"/>
                </a:lnTo>
                <a:cubicBezTo>
                  <a:pt x="1719" y="5875"/>
                  <a:pt x="1719" y="6281"/>
                  <a:pt x="1782" y="6719"/>
                </a:cubicBezTo>
                <a:cubicBezTo>
                  <a:pt x="1813" y="6937"/>
                  <a:pt x="1844" y="7156"/>
                  <a:pt x="1907" y="7406"/>
                </a:cubicBezTo>
                <a:cubicBezTo>
                  <a:pt x="1938" y="7750"/>
                  <a:pt x="2032" y="8094"/>
                  <a:pt x="2125" y="8437"/>
                </a:cubicBezTo>
                <a:cubicBezTo>
                  <a:pt x="2219" y="8812"/>
                  <a:pt x="2313" y="9156"/>
                  <a:pt x="2438" y="9531"/>
                </a:cubicBezTo>
                <a:cubicBezTo>
                  <a:pt x="2532" y="9875"/>
                  <a:pt x="2657" y="10250"/>
                  <a:pt x="2782" y="10594"/>
                </a:cubicBezTo>
                <a:cubicBezTo>
                  <a:pt x="2907" y="10937"/>
                  <a:pt x="3000" y="11281"/>
                  <a:pt x="3157" y="11594"/>
                </a:cubicBezTo>
                <a:cubicBezTo>
                  <a:pt x="3219" y="11687"/>
                  <a:pt x="3250" y="11781"/>
                  <a:pt x="3282" y="11875"/>
                </a:cubicBezTo>
                <a:cubicBezTo>
                  <a:pt x="3313" y="11906"/>
                  <a:pt x="3344" y="11906"/>
                  <a:pt x="3375" y="11906"/>
                </a:cubicBezTo>
                <a:cubicBezTo>
                  <a:pt x="3438" y="12094"/>
                  <a:pt x="3532" y="12281"/>
                  <a:pt x="3625" y="12531"/>
                </a:cubicBezTo>
                <a:cubicBezTo>
                  <a:pt x="3938" y="13406"/>
                  <a:pt x="4375" y="14500"/>
                  <a:pt x="4375" y="14562"/>
                </a:cubicBezTo>
                <a:cubicBezTo>
                  <a:pt x="4500" y="14781"/>
                  <a:pt x="4594" y="15031"/>
                  <a:pt x="4688" y="15250"/>
                </a:cubicBezTo>
                <a:close/>
                <a:moveTo>
                  <a:pt x="6313" y="16968"/>
                </a:moveTo>
                <a:cubicBezTo>
                  <a:pt x="6313" y="16937"/>
                  <a:pt x="6344" y="16968"/>
                  <a:pt x="6344" y="16968"/>
                </a:cubicBezTo>
                <a:cubicBezTo>
                  <a:pt x="6407" y="17031"/>
                  <a:pt x="6438" y="17093"/>
                  <a:pt x="6469" y="17156"/>
                </a:cubicBezTo>
                <a:cubicBezTo>
                  <a:pt x="6500" y="17156"/>
                  <a:pt x="6500" y="17218"/>
                  <a:pt x="6532" y="17187"/>
                </a:cubicBezTo>
                <a:cubicBezTo>
                  <a:pt x="6563" y="17187"/>
                  <a:pt x="6594" y="17156"/>
                  <a:pt x="6594" y="17125"/>
                </a:cubicBezTo>
                <a:cubicBezTo>
                  <a:pt x="6594" y="17093"/>
                  <a:pt x="6594" y="17062"/>
                  <a:pt x="6563" y="17031"/>
                </a:cubicBezTo>
                <a:cubicBezTo>
                  <a:pt x="6375" y="16718"/>
                  <a:pt x="6250" y="16406"/>
                  <a:pt x="6094" y="16062"/>
                </a:cubicBezTo>
                <a:cubicBezTo>
                  <a:pt x="5969" y="15843"/>
                  <a:pt x="5844" y="15594"/>
                  <a:pt x="5719" y="15344"/>
                </a:cubicBezTo>
                <a:cubicBezTo>
                  <a:pt x="5594" y="15031"/>
                  <a:pt x="5438" y="14719"/>
                  <a:pt x="5282" y="14406"/>
                </a:cubicBezTo>
                <a:cubicBezTo>
                  <a:pt x="5219" y="14469"/>
                  <a:pt x="5188" y="14531"/>
                  <a:pt x="5125" y="14562"/>
                </a:cubicBezTo>
                <a:cubicBezTo>
                  <a:pt x="5094" y="14562"/>
                  <a:pt x="5094" y="14562"/>
                  <a:pt x="5094" y="14594"/>
                </a:cubicBezTo>
                <a:cubicBezTo>
                  <a:pt x="5125" y="14656"/>
                  <a:pt x="5094" y="14719"/>
                  <a:pt x="5125" y="14781"/>
                </a:cubicBezTo>
                <a:cubicBezTo>
                  <a:pt x="5188" y="15000"/>
                  <a:pt x="5250" y="15187"/>
                  <a:pt x="5313" y="15406"/>
                </a:cubicBezTo>
                <a:cubicBezTo>
                  <a:pt x="5407" y="15625"/>
                  <a:pt x="5532" y="15875"/>
                  <a:pt x="5625" y="16093"/>
                </a:cubicBezTo>
                <a:cubicBezTo>
                  <a:pt x="5813" y="16437"/>
                  <a:pt x="5969" y="16781"/>
                  <a:pt x="6125" y="17125"/>
                </a:cubicBezTo>
                <a:cubicBezTo>
                  <a:pt x="6157" y="17187"/>
                  <a:pt x="6219" y="17281"/>
                  <a:pt x="6250" y="17343"/>
                </a:cubicBezTo>
                <a:cubicBezTo>
                  <a:pt x="6282" y="17375"/>
                  <a:pt x="6344" y="17375"/>
                  <a:pt x="6375" y="17375"/>
                </a:cubicBezTo>
                <a:cubicBezTo>
                  <a:pt x="6407" y="17375"/>
                  <a:pt x="6407" y="17375"/>
                  <a:pt x="6407" y="17343"/>
                </a:cubicBezTo>
                <a:cubicBezTo>
                  <a:pt x="6375" y="17250"/>
                  <a:pt x="6407" y="17093"/>
                  <a:pt x="6313" y="17000"/>
                </a:cubicBezTo>
                <a:cubicBezTo>
                  <a:pt x="6313" y="17000"/>
                  <a:pt x="6282" y="16968"/>
                  <a:pt x="6313" y="16968"/>
                </a:cubicBezTo>
                <a:close/>
                <a:moveTo>
                  <a:pt x="9594" y="19125"/>
                </a:moveTo>
                <a:cubicBezTo>
                  <a:pt x="9438" y="18687"/>
                  <a:pt x="9250" y="18250"/>
                  <a:pt x="9094" y="17843"/>
                </a:cubicBezTo>
                <a:cubicBezTo>
                  <a:pt x="8938" y="17375"/>
                  <a:pt x="8750" y="16906"/>
                  <a:pt x="8594" y="16437"/>
                </a:cubicBezTo>
                <a:cubicBezTo>
                  <a:pt x="8563" y="16375"/>
                  <a:pt x="8563" y="16375"/>
                  <a:pt x="8500" y="16375"/>
                </a:cubicBezTo>
                <a:cubicBezTo>
                  <a:pt x="8438" y="16375"/>
                  <a:pt x="8375" y="16312"/>
                  <a:pt x="8438" y="16281"/>
                </a:cubicBezTo>
                <a:cubicBezTo>
                  <a:pt x="8500" y="16218"/>
                  <a:pt x="8469" y="16156"/>
                  <a:pt x="8469" y="16062"/>
                </a:cubicBezTo>
                <a:cubicBezTo>
                  <a:pt x="8407" y="15812"/>
                  <a:pt x="8250" y="15594"/>
                  <a:pt x="8188" y="15344"/>
                </a:cubicBezTo>
                <a:cubicBezTo>
                  <a:pt x="8094" y="14937"/>
                  <a:pt x="7907" y="14500"/>
                  <a:pt x="7750" y="14062"/>
                </a:cubicBezTo>
                <a:cubicBezTo>
                  <a:pt x="7719" y="14156"/>
                  <a:pt x="7688" y="14156"/>
                  <a:pt x="7657" y="14062"/>
                </a:cubicBezTo>
                <a:cubicBezTo>
                  <a:pt x="7594" y="13969"/>
                  <a:pt x="7532" y="13844"/>
                  <a:pt x="7500" y="13719"/>
                </a:cubicBezTo>
                <a:cubicBezTo>
                  <a:pt x="7500" y="13625"/>
                  <a:pt x="7469" y="13531"/>
                  <a:pt x="7438" y="13469"/>
                </a:cubicBezTo>
                <a:cubicBezTo>
                  <a:pt x="7344" y="13344"/>
                  <a:pt x="6719" y="11656"/>
                  <a:pt x="6344" y="10687"/>
                </a:cubicBezTo>
                <a:cubicBezTo>
                  <a:pt x="6375" y="10531"/>
                  <a:pt x="6407" y="10344"/>
                  <a:pt x="6344" y="10156"/>
                </a:cubicBezTo>
                <a:cubicBezTo>
                  <a:pt x="6282" y="10031"/>
                  <a:pt x="6344" y="9844"/>
                  <a:pt x="6250" y="9719"/>
                </a:cubicBezTo>
                <a:cubicBezTo>
                  <a:pt x="6219" y="9656"/>
                  <a:pt x="6219" y="9594"/>
                  <a:pt x="6282" y="9531"/>
                </a:cubicBezTo>
                <a:cubicBezTo>
                  <a:pt x="6282" y="9500"/>
                  <a:pt x="6282" y="9500"/>
                  <a:pt x="6282" y="9469"/>
                </a:cubicBezTo>
                <a:cubicBezTo>
                  <a:pt x="6250" y="9344"/>
                  <a:pt x="6250" y="9187"/>
                  <a:pt x="6188" y="9031"/>
                </a:cubicBezTo>
                <a:cubicBezTo>
                  <a:pt x="6125" y="8812"/>
                  <a:pt x="6094" y="8594"/>
                  <a:pt x="6032" y="8375"/>
                </a:cubicBezTo>
                <a:cubicBezTo>
                  <a:pt x="5938" y="8062"/>
                  <a:pt x="5875" y="7719"/>
                  <a:pt x="5813" y="7406"/>
                </a:cubicBezTo>
                <a:cubicBezTo>
                  <a:pt x="5750" y="7250"/>
                  <a:pt x="5750" y="7094"/>
                  <a:pt x="5688" y="6937"/>
                </a:cubicBezTo>
                <a:cubicBezTo>
                  <a:pt x="5625" y="6719"/>
                  <a:pt x="5594" y="6469"/>
                  <a:pt x="5532" y="6219"/>
                </a:cubicBezTo>
                <a:cubicBezTo>
                  <a:pt x="5500" y="6062"/>
                  <a:pt x="5469" y="5844"/>
                  <a:pt x="5438" y="5687"/>
                </a:cubicBezTo>
                <a:cubicBezTo>
                  <a:pt x="5344" y="5250"/>
                  <a:pt x="5282" y="4844"/>
                  <a:pt x="5188" y="4437"/>
                </a:cubicBezTo>
                <a:cubicBezTo>
                  <a:pt x="5157" y="4312"/>
                  <a:pt x="5125" y="4219"/>
                  <a:pt x="5125" y="4094"/>
                </a:cubicBezTo>
                <a:cubicBezTo>
                  <a:pt x="5094" y="3969"/>
                  <a:pt x="5094" y="3844"/>
                  <a:pt x="5032" y="3750"/>
                </a:cubicBezTo>
                <a:cubicBezTo>
                  <a:pt x="5032" y="3750"/>
                  <a:pt x="5032" y="3812"/>
                  <a:pt x="5000" y="3812"/>
                </a:cubicBezTo>
                <a:cubicBezTo>
                  <a:pt x="4938" y="3812"/>
                  <a:pt x="4969" y="3750"/>
                  <a:pt x="4938" y="3750"/>
                </a:cubicBezTo>
                <a:cubicBezTo>
                  <a:pt x="4938" y="3687"/>
                  <a:pt x="4907" y="3625"/>
                  <a:pt x="4907" y="3594"/>
                </a:cubicBezTo>
                <a:cubicBezTo>
                  <a:pt x="4844" y="3375"/>
                  <a:pt x="4782" y="3187"/>
                  <a:pt x="4657" y="3031"/>
                </a:cubicBezTo>
                <a:cubicBezTo>
                  <a:pt x="4594" y="2969"/>
                  <a:pt x="4532" y="2937"/>
                  <a:pt x="4469" y="2937"/>
                </a:cubicBezTo>
                <a:cubicBezTo>
                  <a:pt x="4407" y="2969"/>
                  <a:pt x="4344" y="3031"/>
                  <a:pt x="4344" y="3094"/>
                </a:cubicBezTo>
                <a:cubicBezTo>
                  <a:pt x="4375" y="3500"/>
                  <a:pt x="4250" y="3875"/>
                  <a:pt x="4344" y="4250"/>
                </a:cubicBezTo>
                <a:cubicBezTo>
                  <a:pt x="4375" y="4469"/>
                  <a:pt x="4375" y="4687"/>
                  <a:pt x="4407" y="4906"/>
                </a:cubicBezTo>
                <a:cubicBezTo>
                  <a:pt x="4469" y="5406"/>
                  <a:pt x="4563" y="5875"/>
                  <a:pt x="4657" y="6375"/>
                </a:cubicBezTo>
                <a:cubicBezTo>
                  <a:pt x="4719" y="6719"/>
                  <a:pt x="4813" y="7094"/>
                  <a:pt x="4875" y="7469"/>
                </a:cubicBezTo>
                <a:cubicBezTo>
                  <a:pt x="4907" y="7625"/>
                  <a:pt x="4938" y="7781"/>
                  <a:pt x="5000" y="7937"/>
                </a:cubicBezTo>
                <a:cubicBezTo>
                  <a:pt x="5032" y="8187"/>
                  <a:pt x="5125" y="8406"/>
                  <a:pt x="5157" y="8656"/>
                </a:cubicBezTo>
                <a:cubicBezTo>
                  <a:pt x="5157" y="8656"/>
                  <a:pt x="5188" y="8656"/>
                  <a:pt x="5188" y="8687"/>
                </a:cubicBezTo>
                <a:cubicBezTo>
                  <a:pt x="5282" y="9094"/>
                  <a:pt x="5563" y="10094"/>
                  <a:pt x="5594" y="10219"/>
                </a:cubicBezTo>
                <a:cubicBezTo>
                  <a:pt x="5688" y="10531"/>
                  <a:pt x="6875" y="13781"/>
                  <a:pt x="7000" y="14094"/>
                </a:cubicBezTo>
                <a:cubicBezTo>
                  <a:pt x="7032" y="14187"/>
                  <a:pt x="7032" y="14281"/>
                  <a:pt x="7094" y="14344"/>
                </a:cubicBezTo>
                <a:cubicBezTo>
                  <a:pt x="7094" y="14375"/>
                  <a:pt x="7125" y="14406"/>
                  <a:pt x="7125" y="14437"/>
                </a:cubicBezTo>
                <a:cubicBezTo>
                  <a:pt x="7125" y="14437"/>
                  <a:pt x="7125" y="14469"/>
                  <a:pt x="7125" y="14469"/>
                </a:cubicBezTo>
                <a:cubicBezTo>
                  <a:pt x="7157" y="14500"/>
                  <a:pt x="7157" y="14562"/>
                  <a:pt x="7188" y="14594"/>
                </a:cubicBezTo>
                <a:cubicBezTo>
                  <a:pt x="7188" y="14594"/>
                  <a:pt x="7188" y="14625"/>
                  <a:pt x="7188" y="14625"/>
                </a:cubicBezTo>
                <a:cubicBezTo>
                  <a:pt x="7188" y="14625"/>
                  <a:pt x="7188" y="14625"/>
                  <a:pt x="7188" y="14656"/>
                </a:cubicBezTo>
                <a:cubicBezTo>
                  <a:pt x="7188" y="14656"/>
                  <a:pt x="7188" y="14656"/>
                  <a:pt x="7219" y="14656"/>
                </a:cubicBezTo>
                <a:cubicBezTo>
                  <a:pt x="7344" y="15000"/>
                  <a:pt x="7438" y="15344"/>
                  <a:pt x="7563" y="15687"/>
                </a:cubicBezTo>
                <a:cubicBezTo>
                  <a:pt x="7688" y="15968"/>
                  <a:pt x="7813" y="16250"/>
                  <a:pt x="7907" y="16531"/>
                </a:cubicBezTo>
                <a:cubicBezTo>
                  <a:pt x="7938" y="16562"/>
                  <a:pt x="7907" y="16625"/>
                  <a:pt x="7969" y="16625"/>
                </a:cubicBezTo>
                <a:cubicBezTo>
                  <a:pt x="7969" y="16656"/>
                  <a:pt x="7969" y="16687"/>
                  <a:pt x="8000" y="16718"/>
                </a:cubicBezTo>
                <a:cubicBezTo>
                  <a:pt x="8032" y="16812"/>
                  <a:pt x="8063" y="16906"/>
                  <a:pt x="8094" y="17000"/>
                </a:cubicBezTo>
                <a:cubicBezTo>
                  <a:pt x="8188" y="17218"/>
                  <a:pt x="8282" y="17468"/>
                  <a:pt x="8407" y="17718"/>
                </a:cubicBezTo>
                <a:cubicBezTo>
                  <a:pt x="8375" y="17843"/>
                  <a:pt x="8469" y="17906"/>
                  <a:pt x="8500" y="18000"/>
                </a:cubicBezTo>
                <a:cubicBezTo>
                  <a:pt x="8500" y="18031"/>
                  <a:pt x="8532" y="18000"/>
                  <a:pt x="8563" y="18000"/>
                </a:cubicBezTo>
                <a:cubicBezTo>
                  <a:pt x="8594" y="17875"/>
                  <a:pt x="8625" y="17968"/>
                  <a:pt x="8657" y="18000"/>
                </a:cubicBezTo>
                <a:cubicBezTo>
                  <a:pt x="8657" y="18000"/>
                  <a:pt x="8657" y="18031"/>
                  <a:pt x="8688" y="18031"/>
                </a:cubicBezTo>
                <a:cubicBezTo>
                  <a:pt x="8688" y="18031"/>
                  <a:pt x="8688" y="18062"/>
                  <a:pt x="8719" y="18093"/>
                </a:cubicBezTo>
                <a:cubicBezTo>
                  <a:pt x="8719" y="18093"/>
                  <a:pt x="8719" y="18125"/>
                  <a:pt x="8750" y="18125"/>
                </a:cubicBezTo>
                <a:cubicBezTo>
                  <a:pt x="8750" y="18156"/>
                  <a:pt x="8750" y="18156"/>
                  <a:pt x="8750" y="18156"/>
                </a:cubicBezTo>
                <a:cubicBezTo>
                  <a:pt x="8750" y="18156"/>
                  <a:pt x="8750" y="18187"/>
                  <a:pt x="8750" y="18187"/>
                </a:cubicBezTo>
                <a:cubicBezTo>
                  <a:pt x="8750" y="18187"/>
                  <a:pt x="8750" y="18187"/>
                  <a:pt x="8750" y="18187"/>
                </a:cubicBezTo>
                <a:cubicBezTo>
                  <a:pt x="8782" y="18187"/>
                  <a:pt x="8782" y="18218"/>
                  <a:pt x="8782" y="18218"/>
                </a:cubicBezTo>
                <a:cubicBezTo>
                  <a:pt x="8813" y="18250"/>
                  <a:pt x="8813" y="18250"/>
                  <a:pt x="8844" y="18281"/>
                </a:cubicBezTo>
                <a:cubicBezTo>
                  <a:pt x="8844" y="18281"/>
                  <a:pt x="8844" y="18312"/>
                  <a:pt x="8844" y="18312"/>
                </a:cubicBezTo>
                <a:cubicBezTo>
                  <a:pt x="8844" y="18312"/>
                  <a:pt x="8844" y="18312"/>
                  <a:pt x="8844" y="18343"/>
                </a:cubicBezTo>
                <a:cubicBezTo>
                  <a:pt x="8875" y="18343"/>
                  <a:pt x="8875" y="18375"/>
                  <a:pt x="8875" y="18375"/>
                </a:cubicBezTo>
                <a:cubicBezTo>
                  <a:pt x="8875" y="18375"/>
                  <a:pt x="8907" y="18375"/>
                  <a:pt x="8907" y="18406"/>
                </a:cubicBezTo>
                <a:cubicBezTo>
                  <a:pt x="8907" y="18406"/>
                  <a:pt x="8907" y="18406"/>
                  <a:pt x="8938" y="18406"/>
                </a:cubicBezTo>
                <a:cubicBezTo>
                  <a:pt x="8907" y="18437"/>
                  <a:pt x="8907" y="18468"/>
                  <a:pt x="8938" y="18468"/>
                </a:cubicBezTo>
                <a:cubicBezTo>
                  <a:pt x="8938" y="18500"/>
                  <a:pt x="8938" y="18500"/>
                  <a:pt x="8938" y="18500"/>
                </a:cubicBezTo>
                <a:cubicBezTo>
                  <a:pt x="8938" y="18531"/>
                  <a:pt x="8938" y="18531"/>
                  <a:pt x="8938" y="18531"/>
                </a:cubicBezTo>
                <a:cubicBezTo>
                  <a:pt x="9094" y="18781"/>
                  <a:pt x="9188" y="19031"/>
                  <a:pt x="9375" y="19250"/>
                </a:cubicBezTo>
                <a:cubicBezTo>
                  <a:pt x="9407" y="19281"/>
                  <a:pt x="9438" y="19375"/>
                  <a:pt x="9500" y="19375"/>
                </a:cubicBezTo>
                <a:cubicBezTo>
                  <a:pt x="9563" y="19343"/>
                  <a:pt x="9532" y="19250"/>
                  <a:pt x="9500" y="19187"/>
                </a:cubicBezTo>
                <a:cubicBezTo>
                  <a:pt x="9500" y="19093"/>
                  <a:pt x="9532" y="19093"/>
                  <a:pt x="9594" y="19125"/>
                </a:cubicBezTo>
                <a:close/>
                <a:moveTo>
                  <a:pt x="5313" y="8844"/>
                </a:moveTo>
                <a:cubicBezTo>
                  <a:pt x="5313" y="8844"/>
                  <a:pt x="5313" y="8844"/>
                  <a:pt x="5313" y="8844"/>
                </a:cubicBezTo>
                <a:cubicBezTo>
                  <a:pt x="5313" y="8875"/>
                  <a:pt x="5313" y="8875"/>
                  <a:pt x="5313" y="8875"/>
                </a:cubicBezTo>
                <a:cubicBezTo>
                  <a:pt x="5313" y="8906"/>
                  <a:pt x="5313" y="8969"/>
                  <a:pt x="5344" y="9000"/>
                </a:cubicBezTo>
                <a:cubicBezTo>
                  <a:pt x="5375" y="9031"/>
                  <a:pt x="5375" y="9062"/>
                  <a:pt x="5375" y="9094"/>
                </a:cubicBezTo>
                <a:cubicBezTo>
                  <a:pt x="5375" y="9094"/>
                  <a:pt x="5375" y="9125"/>
                  <a:pt x="5375" y="9125"/>
                </a:cubicBezTo>
                <a:cubicBezTo>
                  <a:pt x="5375" y="9125"/>
                  <a:pt x="5375" y="9125"/>
                  <a:pt x="5407" y="9156"/>
                </a:cubicBezTo>
                <a:cubicBezTo>
                  <a:pt x="5407" y="9156"/>
                  <a:pt x="5407" y="9156"/>
                  <a:pt x="5407" y="9156"/>
                </a:cubicBezTo>
                <a:cubicBezTo>
                  <a:pt x="5407" y="9156"/>
                  <a:pt x="5407" y="9187"/>
                  <a:pt x="5407" y="9187"/>
                </a:cubicBezTo>
                <a:cubicBezTo>
                  <a:pt x="5438" y="9344"/>
                  <a:pt x="5469" y="9469"/>
                  <a:pt x="5532" y="9625"/>
                </a:cubicBezTo>
                <a:cubicBezTo>
                  <a:pt x="5469" y="9562"/>
                  <a:pt x="5313" y="9062"/>
                  <a:pt x="5219" y="8719"/>
                </a:cubicBezTo>
                <a:cubicBezTo>
                  <a:pt x="5250" y="8781"/>
                  <a:pt x="5282" y="8812"/>
                  <a:pt x="5313" y="8844"/>
                </a:cubicBezTo>
                <a:close/>
                <a:moveTo>
                  <a:pt x="6313" y="19687"/>
                </a:moveTo>
                <a:cubicBezTo>
                  <a:pt x="6219" y="19500"/>
                  <a:pt x="6125" y="19343"/>
                  <a:pt x="6032" y="19187"/>
                </a:cubicBezTo>
                <a:cubicBezTo>
                  <a:pt x="5938" y="19031"/>
                  <a:pt x="5844" y="18906"/>
                  <a:pt x="5813" y="18750"/>
                </a:cubicBezTo>
                <a:cubicBezTo>
                  <a:pt x="5813" y="18750"/>
                  <a:pt x="5813" y="18750"/>
                  <a:pt x="5813" y="18750"/>
                </a:cubicBezTo>
                <a:cubicBezTo>
                  <a:pt x="5875" y="18812"/>
                  <a:pt x="5969" y="18875"/>
                  <a:pt x="6063" y="18937"/>
                </a:cubicBezTo>
                <a:cubicBezTo>
                  <a:pt x="6125" y="18968"/>
                  <a:pt x="6157" y="19000"/>
                  <a:pt x="6219" y="18937"/>
                </a:cubicBezTo>
                <a:cubicBezTo>
                  <a:pt x="6282" y="18906"/>
                  <a:pt x="6219" y="18875"/>
                  <a:pt x="6219" y="18843"/>
                </a:cubicBezTo>
                <a:cubicBezTo>
                  <a:pt x="6157" y="18718"/>
                  <a:pt x="6063" y="18656"/>
                  <a:pt x="6032" y="18531"/>
                </a:cubicBezTo>
                <a:cubicBezTo>
                  <a:pt x="6000" y="18468"/>
                  <a:pt x="5938" y="18406"/>
                  <a:pt x="5875" y="18437"/>
                </a:cubicBezTo>
                <a:cubicBezTo>
                  <a:pt x="5813" y="18437"/>
                  <a:pt x="5782" y="18406"/>
                  <a:pt x="5782" y="18343"/>
                </a:cubicBezTo>
                <a:cubicBezTo>
                  <a:pt x="5782" y="18343"/>
                  <a:pt x="5782" y="18281"/>
                  <a:pt x="5782" y="18281"/>
                </a:cubicBezTo>
                <a:cubicBezTo>
                  <a:pt x="5938" y="18281"/>
                  <a:pt x="5844" y="18218"/>
                  <a:pt x="5813" y="18187"/>
                </a:cubicBezTo>
                <a:cubicBezTo>
                  <a:pt x="5782" y="18125"/>
                  <a:pt x="5750" y="18062"/>
                  <a:pt x="5719" y="18000"/>
                </a:cubicBezTo>
                <a:cubicBezTo>
                  <a:pt x="5719" y="17968"/>
                  <a:pt x="5688" y="17937"/>
                  <a:pt x="5657" y="17968"/>
                </a:cubicBezTo>
                <a:cubicBezTo>
                  <a:pt x="5625" y="18000"/>
                  <a:pt x="5594" y="18000"/>
                  <a:pt x="5563" y="17968"/>
                </a:cubicBezTo>
                <a:cubicBezTo>
                  <a:pt x="5500" y="17875"/>
                  <a:pt x="5563" y="17875"/>
                  <a:pt x="5594" y="17843"/>
                </a:cubicBezTo>
                <a:cubicBezTo>
                  <a:pt x="5657" y="17812"/>
                  <a:pt x="5688" y="17781"/>
                  <a:pt x="5625" y="17718"/>
                </a:cubicBezTo>
                <a:cubicBezTo>
                  <a:pt x="5625" y="17687"/>
                  <a:pt x="5594" y="17687"/>
                  <a:pt x="5594" y="17656"/>
                </a:cubicBezTo>
                <a:cubicBezTo>
                  <a:pt x="5594" y="17625"/>
                  <a:pt x="5594" y="17593"/>
                  <a:pt x="5625" y="17562"/>
                </a:cubicBezTo>
                <a:cubicBezTo>
                  <a:pt x="5688" y="17531"/>
                  <a:pt x="5688" y="17593"/>
                  <a:pt x="5719" y="17593"/>
                </a:cubicBezTo>
                <a:cubicBezTo>
                  <a:pt x="5750" y="17625"/>
                  <a:pt x="5750" y="17656"/>
                  <a:pt x="5813" y="17656"/>
                </a:cubicBezTo>
                <a:cubicBezTo>
                  <a:pt x="5407" y="16968"/>
                  <a:pt x="5094" y="16218"/>
                  <a:pt x="4657" y="15531"/>
                </a:cubicBezTo>
                <a:cubicBezTo>
                  <a:pt x="4625" y="15562"/>
                  <a:pt x="4657" y="15625"/>
                  <a:pt x="4657" y="15656"/>
                </a:cubicBezTo>
                <a:cubicBezTo>
                  <a:pt x="4657" y="15750"/>
                  <a:pt x="4750" y="15812"/>
                  <a:pt x="4750" y="15875"/>
                </a:cubicBezTo>
                <a:cubicBezTo>
                  <a:pt x="4813" y="16093"/>
                  <a:pt x="4907" y="16250"/>
                  <a:pt x="5000" y="16437"/>
                </a:cubicBezTo>
                <a:cubicBezTo>
                  <a:pt x="5094" y="16593"/>
                  <a:pt x="5125" y="16750"/>
                  <a:pt x="5250" y="16906"/>
                </a:cubicBezTo>
                <a:cubicBezTo>
                  <a:pt x="5250" y="16906"/>
                  <a:pt x="5250" y="16968"/>
                  <a:pt x="5219" y="16968"/>
                </a:cubicBezTo>
                <a:cubicBezTo>
                  <a:pt x="5219" y="17000"/>
                  <a:pt x="5188" y="16968"/>
                  <a:pt x="5188" y="16937"/>
                </a:cubicBezTo>
                <a:cubicBezTo>
                  <a:pt x="5063" y="16718"/>
                  <a:pt x="4938" y="16531"/>
                  <a:pt x="4813" y="16312"/>
                </a:cubicBezTo>
                <a:cubicBezTo>
                  <a:pt x="4719" y="16187"/>
                  <a:pt x="4657" y="16000"/>
                  <a:pt x="4563" y="15843"/>
                </a:cubicBezTo>
                <a:cubicBezTo>
                  <a:pt x="4407" y="15656"/>
                  <a:pt x="4313" y="15437"/>
                  <a:pt x="4157" y="15219"/>
                </a:cubicBezTo>
                <a:cubicBezTo>
                  <a:pt x="4032" y="15000"/>
                  <a:pt x="2813" y="11969"/>
                  <a:pt x="2688" y="11750"/>
                </a:cubicBezTo>
                <a:cubicBezTo>
                  <a:pt x="2657" y="11719"/>
                  <a:pt x="2657" y="11687"/>
                  <a:pt x="2625" y="11687"/>
                </a:cubicBezTo>
                <a:cubicBezTo>
                  <a:pt x="2532" y="11469"/>
                  <a:pt x="2500" y="11250"/>
                  <a:pt x="2407" y="11031"/>
                </a:cubicBezTo>
                <a:cubicBezTo>
                  <a:pt x="2250" y="10562"/>
                  <a:pt x="2094" y="10125"/>
                  <a:pt x="1938" y="9656"/>
                </a:cubicBezTo>
                <a:cubicBezTo>
                  <a:pt x="1813" y="9219"/>
                  <a:pt x="1719" y="8781"/>
                  <a:pt x="1625" y="8344"/>
                </a:cubicBezTo>
                <a:cubicBezTo>
                  <a:pt x="1500" y="7906"/>
                  <a:pt x="1438" y="7437"/>
                  <a:pt x="1375" y="6969"/>
                </a:cubicBezTo>
                <a:cubicBezTo>
                  <a:pt x="1344" y="6656"/>
                  <a:pt x="1313" y="6312"/>
                  <a:pt x="1313" y="5969"/>
                </a:cubicBezTo>
                <a:cubicBezTo>
                  <a:pt x="1282" y="5687"/>
                  <a:pt x="1282" y="5375"/>
                  <a:pt x="1313" y="5094"/>
                </a:cubicBezTo>
                <a:cubicBezTo>
                  <a:pt x="1313" y="5031"/>
                  <a:pt x="1282" y="4969"/>
                  <a:pt x="1375" y="4969"/>
                </a:cubicBezTo>
                <a:cubicBezTo>
                  <a:pt x="1438" y="4969"/>
                  <a:pt x="1500" y="5000"/>
                  <a:pt x="1500" y="5094"/>
                </a:cubicBezTo>
                <a:cubicBezTo>
                  <a:pt x="1500" y="5531"/>
                  <a:pt x="1500" y="6000"/>
                  <a:pt x="1563" y="6437"/>
                </a:cubicBezTo>
                <a:cubicBezTo>
                  <a:pt x="1594" y="6812"/>
                  <a:pt x="1657" y="7156"/>
                  <a:pt x="1719" y="7531"/>
                </a:cubicBezTo>
                <a:cubicBezTo>
                  <a:pt x="1750" y="7812"/>
                  <a:pt x="1844" y="8094"/>
                  <a:pt x="1875" y="8375"/>
                </a:cubicBezTo>
                <a:cubicBezTo>
                  <a:pt x="1938" y="8687"/>
                  <a:pt x="2063" y="8969"/>
                  <a:pt x="2125" y="9281"/>
                </a:cubicBezTo>
                <a:cubicBezTo>
                  <a:pt x="2188" y="9531"/>
                  <a:pt x="2282" y="9750"/>
                  <a:pt x="2344" y="10000"/>
                </a:cubicBezTo>
                <a:cubicBezTo>
                  <a:pt x="2469" y="10375"/>
                  <a:pt x="2594" y="10719"/>
                  <a:pt x="2719" y="11062"/>
                </a:cubicBezTo>
                <a:cubicBezTo>
                  <a:pt x="2750" y="11125"/>
                  <a:pt x="2750" y="11187"/>
                  <a:pt x="2844" y="11250"/>
                </a:cubicBezTo>
                <a:cubicBezTo>
                  <a:pt x="2844" y="11094"/>
                  <a:pt x="2782" y="10969"/>
                  <a:pt x="2750" y="10812"/>
                </a:cubicBezTo>
                <a:cubicBezTo>
                  <a:pt x="2719" y="10656"/>
                  <a:pt x="2657" y="10500"/>
                  <a:pt x="2594" y="10312"/>
                </a:cubicBezTo>
                <a:cubicBezTo>
                  <a:pt x="2500" y="10031"/>
                  <a:pt x="2407" y="9781"/>
                  <a:pt x="2344" y="9469"/>
                </a:cubicBezTo>
                <a:cubicBezTo>
                  <a:pt x="2282" y="9312"/>
                  <a:pt x="2219" y="9125"/>
                  <a:pt x="2188" y="8937"/>
                </a:cubicBezTo>
                <a:cubicBezTo>
                  <a:pt x="2094" y="8625"/>
                  <a:pt x="2032" y="8344"/>
                  <a:pt x="1969" y="8031"/>
                </a:cubicBezTo>
                <a:cubicBezTo>
                  <a:pt x="1875" y="7656"/>
                  <a:pt x="1782" y="7250"/>
                  <a:pt x="1719" y="6844"/>
                </a:cubicBezTo>
                <a:cubicBezTo>
                  <a:pt x="1688" y="6344"/>
                  <a:pt x="1625" y="5812"/>
                  <a:pt x="1625" y="5281"/>
                </a:cubicBezTo>
                <a:cubicBezTo>
                  <a:pt x="1625" y="4906"/>
                  <a:pt x="1625" y="4531"/>
                  <a:pt x="1625" y="4125"/>
                </a:cubicBezTo>
                <a:cubicBezTo>
                  <a:pt x="1532" y="4187"/>
                  <a:pt x="1438" y="4219"/>
                  <a:pt x="1344" y="4219"/>
                </a:cubicBezTo>
                <a:cubicBezTo>
                  <a:pt x="1282" y="4219"/>
                  <a:pt x="1219" y="4281"/>
                  <a:pt x="1219" y="4344"/>
                </a:cubicBezTo>
                <a:cubicBezTo>
                  <a:pt x="1250" y="4562"/>
                  <a:pt x="1188" y="4781"/>
                  <a:pt x="1188" y="5000"/>
                </a:cubicBezTo>
                <a:cubicBezTo>
                  <a:pt x="1188" y="5156"/>
                  <a:pt x="1157" y="5312"/>
                  <a:pt x="1157" y="5469"/>
                </a:cubicBezTo>
                <a:cubicBezTo>
                  <a:pt x="1125" y="5125"/>
                  <a:pt x="1157" y="4812"/>
                  <a:pt x="1094" y="4500"/>
                </a:cubicBezTo>
                <a:cubicBezTo>
                  <a:pt x="1000" y="4594"/>
                  <a:pt x="907" y="4687"/>
                  <a:pt x="782" y="4750"/>
                </a:cubicBezTo>
                <a:cubicBezTo>
                  <a:pt x="750" y="4750"/>
                  <a:pt x="750" y="4750"/>
                  <a:pt x="750" y="4781"/>
                </a:cubicBezTo>
                <a:cubicBezTo>
                  <a:pt x="719" y="4781"/>
                  <a:pt x="688" y="4781"/>
                  <a:pt x="688" y="4812"/>
                </a:cubicBezTo>
                <a:cubicBezTo>
                  <a:pt x="688" y="4812"/>
                  <a:pt x="657" y="4812"/>
                  <a:pt x="657" y="4812"/>
                </a:cubicBezTo>
                <a:cubicBezTo>
                  <a:pt x="532" y="4844"/>
                  <a:pt x="469" y="4875"/>
                  <a:pt x="375" y="4969"/>
                </a:cubicBezTo>
                <a:cubicBezTo>
                  <a:pt x="344" y="5000"/>
                  <a:pt x="344" y="5062"/>
                  <a:pt x="313" y="5094"/>
                </a:cubicBezTo>
                <a:cubicBezTo>
                  <a:pt x="219" y="5281"/>
                  <a:pt x="125" y="5437"/>
                  <a:pt x="157" y="5656"/>
                </a:cubicBezTo>
                <a:cubicBezTo>
                  <a:pt x="219" y="5812"/>
                  <a:pt x="250" y="5969"/>
                  <a:pt x="282" y="6125"/>
                </a:cubicBezTo>
                <a:cubicBezTo>
                  <a:pt x="282" y="6156"/>
                  <a:pt x="313" y="6187"/>
                  <a:pt x="250" y="6187"/>
                </a:cubicBezTo>
                <a:cubicBezTo>
                  <a:pt x="219" y="6219"/>
                  <a:pt x="219" y="6187"/>
                  <a:pt x="188" y="6156"/>
                </a:cubicBezTo>
                <a:cubicBezTo>
                  <a:pt x="157" y="6125"/>
                  <a:pt x="157" y="6062"/>
                  <a:pt x="157" y="5969"/>
                </a:cubicBezTo>
                <a:cubicBezTo>
                  <a:pt x="94" y="6062"/>
                  <a:pt x="94" y="6125"/>
                  <a:pt x="94" y="6187"/>
                </a:cubicBezTo>
                <a:cubicBezTo>
                  <a:pt x="125" y="6281"/>
                  <a:pt x="94" y="6375"/>
                  <a:pt x="157" y="6469"/>
                </a:cubicBezTo>
                <a:cubicBezTo>
                  <a:pt x="157" y="6562"/>
                  <a:pt x="157" y="6656"/>
                  <a:pt x="157" y="6750"/>
                </a:cubicBezTo>
                <a:cubicBezTo>
                  <a:pt x="157" y="6781"/>
                  <a:pt x="157" y="6781"/>
                  <a:pt x="157" y="6781"/>
                </a:cubicBezTo>
                <a:cubicBezTo>
                  <a:pt x="157" y="6844"/>
                  <a:pt x="157" y="6875"/>
                  <a:pt x="157" y="6937"/>
                </a:cubicBezTo>
                <a:cubicBezTo>
                  <a:pt x="157" y="6937"/>
                  <a:pt x="188" y="6969"/>
                  <a:pt x="188" y="6969"/>
                </a:cubicBezTo>
                <a:cubicBezTo>
                  <a:pt x="188" y="7031"/>
                  <a:pt x="188" y="7094"/>
                  <a:pt x="219" y="7125"/>
                </a:cubicBezTo>
                <a:cubicBezTo>
                  <a:pt x="188" y="7156"/>
                  <a:pt x="188" y="7156"/>
                  <a:pt x="188" y="7156"/>
                </a:cubicBezTo>
                <a:cubicBezTo>
                  <a:pt x="188" y="7187"/>
                  <a:pt x="188" y="7187"/>
                  <a:pt x="188" y="7219"/>
                </a:cubicBezTo>
                <a:cubicBezTo>
                  <a:pt x="188" y="7219"/>
                  <a:pt x="188" y="7250"/>
                  <a:pt x="219" y="7281"/>
                </a:cubicBezTo>
                <a:cubicBezTo>
                  <a:pt x="219" y="7312"/>
                  <a:pt x="219" y="7344"/>
                  <a:pt x="219" y="7375"/>
                </a:cubicBezTo>
                <a:cubicBezTo>
                  <a:pt x="219" y="7656"/>
                  <a:pt x="282" y="7969"/>
                  <a:pt x="313" y="8281"/>
                </a:cubicBezTo>
                <a:cubicBezTo>
                  <a:pt x="313" y="8469"/>
                  <a:pt x="344" y="8687"/>
                  <a:pt x="313" y="8875"/>
                </a:cubicBezTo>
                <a:cubicBezTo>
                  <a:pt x="313" y="8937"/>
                  <a:pt x="313" y="9000"/>
                  <a:pt x="344" y="9031"/>
                </a:cubicBezTo>
                <a:cubicBezTo>
                  <a:pt x="375" y="9094"/>
                  <a:pt x="375" y="9187"/>
                  <a:pt x="344" y="9250"/>
                </a:cubicBezTo>
                <a:cubicBezTo>
                  <a:pt x="313" y="9250"/>
                  <a:pt x="282" y="9250"/>
                  <a:pt x="282" y="9219"/>
                </a:cubicBezTo>
                <a:cubicBezTo>
                  <a:pt x="282" y="9094"/>
                  <a:pt x="250" y="9000"/>
                  <a:pt x="219" y="8875"/>
                </a:cubicBezTo>
                <a:cubicBezTo>
                  <a:pt x="219" y="8656"/>
                  <a:pt x="157" y="8406"/>
                  <a:pt x="125" y="8156"/>
                </a:cubicBezTo>
                <a:cubicBezTo>
                  <a:pt x="125" y="8094"/>
                  <a:pt x="94" y="8031"/>
                  <a:pt x="125" y="7969"/>
                </a:cubicBezTo>
                <a:cubicBezTo>
                  <a:pt x="188" y="7969"/>
                  <a:pt x="157" y="8031"/>
                  <a:pt x="188" y="8031"/>
                </a:cubicBezTo>
                <a:cubicBezTo>
                  <a:pt x="219" y="8031"/>
                  <a:pt x="219" y="8000"/>
                  <a:pt x="219" y="7969"/>
                </a:cubicBezTo>
                <a:cubicBezTo>
                  <a:pt x="219" y="7781"/>
                  <a:pt x="157" y="7594"/>
                  <a:pt x="157" y="7406"/>
                </a:cubicBezTo>
                <a:cubicBezTo>
                  <a:pt x="157" y="7344"/>
                  <a:pt x="157" y="7281"/>
                  <a:pt x="125" y="7187"/>
                </a:cubicBezTo>
                <a:cubicBezTo>
                  <a:pt x="125" y="7281"/>
                  <a:pt x="32" y="7281"/>
                  <a:pt x="32" y="7375"/>
                </a:cubicBezTo>
                <a:cubicBezTo>
                  <a:pt x="32" y="7750"/>
                  <a:pt x="0" y="8125"/>
                  <a:pt x="94" y="8531"/>
                </a:cubicBezTo>
                <a:cubicBezTo>
                  <a:pt x="157" y="8875"/>
                  <a:pt x="188" y="9219"/>
                  <a:pt x="219" y="9562"/>
                </a:cubicBezTo>
                <a:cubicBezTo>
                  <a:pt x="282" y="9531"/>
                  <a:pt x="282" y="9469"/>
                  <a:pt x="282" y="9406"/>
                </a:cubicBezTo>
                <a:cubicBezTo>
                  <a:pt x="282" y="9406"/>
                  <a:pt x="282" y="9375"/>
                  <a:pt x="282" y="9375"/>
                </a:cubicBezTo>
                <a:cubicBezTo>
                  <a:pt x="282" y="9344"/>
                  <a:pt x="313" y="9312"/>
                  <a:pt x="344" y="9312"/>
                </a:cubicBezTo>
                <a:cubicBezTo>
                  <a:pt x="344" y="9344"/>
                  <a:pt x="375" y="9375"/>
                  <a:pt x="375" y="9406"/>
                </a:cubicBezTo>
                <a:cubicBezTo>
                  <a:pt x="407" y="9437"/>
                  <a:pt x="407" y="9437"/>
                  <a:pt x="407" y="9469"/>
                </a:cubicBezTo>
                <a:cubicBezTo>
                  <a:pt x="407" y="9500"/>
                  <a:pt x="407" y="9500"/>
                  <a:pt x="407" y="9531"/>
                </a:cubicBezTo>
                <a:cubicBezTo>
                  <a:pt x="407" y="9562"/>
                  <a:pt x="407" y="9594"/>
                  <a:pt x="375" y="9656"/>
                </a:cubicBezTo>
                <a:cubicBezTo>
                  <a:pt x="375" y="9656"/>
                  <a:pt x="344" y="9656"/>
                  <a:pt x="344" y="9656"/>
                </a:cubicBezTo>
                <a:cubicBezTo>
                  <a:pt x="344" y="9687"/>
                  <a:pt x="313" y="9719"/>
                  <a:pt x="313" y="9750"/>
                </a:cubicBezTo>
                <a:cubicBezTo>
                  <a:pt x="313" y="9750"/>
                  <a:pt x="313" y="9781"/>
                  <a:pt x="344" y="9781"/>
                </a:cubicBezTo>
                <a:cubicBezTo>
                  <a:pt x="407" y="9812"/>
                  <a:pt x="375" y="9719"/>
                  <a:pt x="407" y="9719"/>
                </a:cubicBezTo>
                <a:cubicBezTo>
                  <a:pt x="438" y="9750"/>
                  <a:pt x="469" y="9812"/>
                  <a:pt x="438" y="9844"/>
                </a:cubicBezTo>
                <a:cubicBezTo>
                  <a:pt x="407" y="9937"/>
                  <a:pt x="469" y="10000"/>
                  <a:pt x="500" y="10062"/>
                </a:cubicBezTo>
                <a:cubicBezTo>
                  <a:pt x="500" y="10094"/>
                  <a:pt x="500" y="10125"/>
                  <a:pt x="500" y="10125"/>
                </a:cubicBezTo>
                <a:cubicBezTo>
                  <a:pt x="469" y="10281"/>
                  <a:pt x="469" y="10437"/>
                  <a:pt x="532" y="10594"/>
                </a:cubicBezTo>
                <a:cubicBezTo>
                  <a:pt x="594" y="10687"/>
                  <a:pt x="563" y="10812"/>
                  <a:pt x="532" y="10937"/>
                </a:cubicBezTo>
                <a:cubicBezTo>
                  <a:pt x="500" y="10656"/>
                  <a:pt x="407" y="10375"/>
                  <a:pt x="407" y="10062"/>
                </a:cubicBezTo>
                <a:cubicBezTo>
                  <a:pt x="313" y="10250"/>
                  <a:pt x="313" y="10312"/>
                  <a:pt x="344" y="10406"/>
                </a:cubicBezTo>
                <a:cubicBezTo>
                  <a:pt x="375" y="10531"/>
                  <a:pt x="407" y="10687"/>
                  <a:pt x="438" y="10844"/>
                </a:cubicBezTo>
                <a:cubicBezTo>
                  <a:pt x="469" y="11031"/>
                  <a:pt x="500" y="11250"/>
                  <a:pt x="594" y="11469"/>
                </a:cubicBezTo>
                <a:cubicBezTo>
                  <a:pt x="657" y="11562"/>
                  <a:pt x="719" y="11656"/>
                  <a:pt x="657" y="11781"/>
                </a:cubicBezTo>
                <a:cubicBezTo>
                  <a:pt x="657" y="11812"/>
                  <a:pt x="688" y="11937"/>
                  <a:pt x="719" y="12000"/>
                </a:cubicBezTo>
                <a:cubicBezTo>
                  <a:pt x="782" y="12031"/>
                  <a:pt x="813" y="12094"/>
                  <a:pt x="844" y="12156"/>
                </a:cubicBezTo>
                <a:cubicBezTo>
                  <a:pt x="875" y="12125"/>
                  <a:pt x="907" y="12094"/>
                  <a:pt x="875" y="12062"/>
                </a:cubicBezTo>
                <a:cubicBezTo>
                  <a:pt x="844" y="11969"/>
                  <a:pt x="938" y="11969"/>
                  <a:pt x="938" y="11906"/>
                </a:cubicBezTo>
                <a:cubicBezTo>
                  <a:pt x="1000" y="11937"/>
                  <a:pt x="1000" y="11969"/>
                  <a:pt x="1000" y="12000"/>
                </a:cubicBezTo>
                <a:cubicBezTo>
                  <a:pt x="1032" y="12156"/>
                  <a:pt x="1125" y="12281"/>
                  <a:pt x="1157" y="12437"/>
                </a:cubicBezTo>
                <a:cubicBezTo>
                  <a:pt x="1188" y="12500"/>
                  <a:pt x="1188" y="12562"/>
                  <a:pt x="1250" y="12594"/>
                </a:cubicBezTo>
                <a:cubicBezTo>
                  <a:pt x="1219" y="12469"/>
                  <a:pt x="1188" y="12375"/>
                  <a:pt x="1157" y="12250"/>
                </a:cubicBezTo>
                <a:cubicBezTo>
                  <a:pt x="1125" y="12156"/>
                  <a:pt x="1125" y="12031"/>
                  <a:pt x="1063" y="11937"/>
                </a:cubicBezTo>
                <a:cubicBezTo>
                  <a:pt x="1032" y="11812"/>
                  <a:pt x="1000" y="11719"/>
                  <a:pt x="938" y="11594"/>
                </a:cubicBezTo>
                <a:cubicBezTo>
                  <a:pt x="907" y="11500"/>
                  <a:pt x="875" y="11375"/>
                  <a:pt x="875" y="11281"/>
                </a:cubicBezTo>
                <a:cubicBezTo>
                  <a:pt x="1000" y="11437"/>
                  <a:pt x="1032" y="11625"/>
                  <a:pt x="1094" y="11812"/>
                </a:cubicBezTo>
                <a:cubicBezTo>
                  <a:pt x="1219" y="12187"/>
                  <a:pt x="1344" y="12594"/>
                  <a:pt x="1500" y="12937"/>
                </a:cubicBezTo>
                <a:cubicBezTo>
                  <a:pt x="1500" y="13000"/>
                  <a:pt x="1532" y="13000"/>
                  <a:pt x="1563" y="13000"/>
                </a:cubicBezTo>
                <a:cubicBezTo>
                  <a:pt x="1594" y="12969"/>
                  <a:pt x="1594" y="12969"/>
                  <a:pt x="1594" y="12906"/>
                </a:cubicBezTo>
                <a:cubicBezTo>
                  <a:pt x="1532" y="12750"/>
                  <a:pt x="1500" y="12594"/>
                  <a:pt x="1438" y="12437"/>
                </a:cubicBezTo>
                <a:cubicBezTo>
                  <a:pt x="1407" y="12406"/>
                  <a:pt x="1438" y="12344"/>
                  <a:pt x="1407" y="12281"/>
                </a:cubicBezTo>
                <a:cubicBezTo>
                  <a:pt x="1438" y="12281"/>
                  <a:pt x="1438" y="12281"/>
                  <a:pt x="1438" y="12281"/>
                </a:cubicBezTo>
                <a:cubicBezTo>
                  <a:pt x="1532" y="12469"/>
                  <a:pt x="1594" y="12656"/>
                  <a:pt x="1688" y="12844"/>
                </a:cubicBezTo>
                <a:cubicBezTo>
                  <a:pt x="1625" y="12719"/>
                  <a:pt x="1625" y="12562"/>
                  <a:pt x="1563" y="12437"/>
                </a:cubicBezTo>
                <a:cubicBezTo>
                  <a:pt x="1438" y="12062"/>
                  <a:pt x="1313" y="11656"/>
                  <a:pt x="1188" y="11281"/>
                </a:cubicBezTo>
                <a:cubicBezTo>
                  <a:pt x="1188" y="11250"/>
                  <a:pt x="1188" y="11250"/>
                  <a:pt x="1188" y="11219"/>
                </a:cubicBezTo>
                <a:cubicBezTo>
                  <a:pt x="1157" y="11219"/>
                  <a:pt x="1157" y="11187"/>
                  <a:pt x="1157" y="11156"/>
                </a:cubicBezTo>
                <a:cubicBezTo>
                  <a:pt x="1157" y="11156"/>
                  <a:pt x="1157" y="11156"/>
                  <a:pt x="1157" y="11156"/>
                </a:cubicBezTo>
                <a:cubicBezTo>
                  <a:pt x="1157" y="11156"/>
                  <a:pt x="1157" y="11156"/>
                  <a:pt x="1157" y="11156"/>
                </a:cubicBezTo>
                <a:cubicBezTo>
                  <a:pt x="1157" y="11125"/>
                  <a:pt x="1188" y="11125"/>
                  <a:pt x="1188" y="11094"/>
                </a:cubicBezTo>
                <a:cubicBezTo>
                  <a:pt x="1188" y="11125"/>
                  <a:pt x="1188" y="11125"/>
                  <a:pt x="1188" y="11125"/>
                </a:cubicBezTo>
                <a:cubicBezTo>
                  <a:pt x="1188" y="11125"/>
                  <a:pt x="1188" y="11156"/>
                  <a:pt x="1188" y="11156"/>
                </a:cubicBezTo>
                <a:cubicBezTo>
                  <a:pt x="1188" y="11156"/>
                  <a:pt x="1188" y="11156"/>
                  <a:pt x="1188" y="11156"/>
                </a:cubicBezTo>
                <a:cubicBezTo>
                  <a:pt x="1188" y="11156"/>
                  <a:pt x="1188" y="11156"/>
                  <a:pt x="1188" y="11156"/>
                </a:cubicBezTo>
                <a:cubicBezTo>
                  <a:pt x="1188" y="11156"/>
                  <a:pt x="1188" y="11187"/>
                  <a:pt x="1188" y="11187"/>
                </a:cubicBezTo>
                <a:cubicBezTo>
                  <a:pt x="1188" y="11187"/>
                  <a:pt x="1188" y="11187"/>
                  <a:pt x="1188" y="11187"/>
                </a:cubicBezTo>
                <a:cubicBezTo>
                  <a:pt x="1188" y="11187"/>
                  <a:pt x="1219" y="11187"/>
                  <a:pt x="1219" y="11187"/>
                </a:cubicBezTo>
                <a:cubicBezTo>
                  <a:pt x="1282" y="11406"/>
                  <a:pt x="1375" y="11625"/>
                  <a:pt x="1438" y="11812"/>
                </a:cubicBezTo>
                <a:cubicBezTo>
                  <a:pt x="1438" y="11844"/>
                  <a:pt x="1438" y="11875"/>
                  <a:pt x="1438" y="11875"/>
                </a:cubicBezTo>
                <a:cubicBezTo>
                  <a:pt x="1532" y="12125"/>
                  <a:pt x="1594" y="12406"/>
                  <a:pt x="1719" y="12625"/>
                </a:cubicBezTo>
                <a:cubicBezTo>
                  <a:pt x="1750" y="12750"/>
                  <a:pt x="1782" y="12875"/>
                  <a:pt x="1844" y="12969"/>
                </a:cubicBezTo>
                <a:cubicBezTo>
                  <a:pt x="1844" y="13031"/>
                  <a:pt x="1875" y="13062"/>
                  <a:pt x="1938" y="13094"/>
                </a:cubicBezTo>
                <a:cubicBezTo>
                  <a:pt x="2219" y="13906"/>
                  <a:pt x="2563" y="14750"/>
                  <a:pt x="2594" y="14844"/>
                </a:cubicBezTo>
                <a:cubicBezTo>
                  <a:pt x="2719" y="15125"/>
                  <a:pt x="2875" y="15406"/>
                  <a:pt x="3000" y="15718"/>
                </a:cubicBezTo>
                <a:cubicBezTo>
                  <a:pt x="3032" y="15718"/>
                  <a:pt x="3032" y="15718"/>
                  <a:pt x="3032" y="15750"/>
                </a:cubicBezTo>
                <a:cubicBezTo>
                  <a:pt x="3032" y="15750"/>
                  <a:pt x="3032" y="15750"/>
                  <a:pt x="3063" y="15750"/>
                </a:cubicBezTo>
                <a:cubicBezTo>
                  <a:pt x="3063" y="15750"/>
                  <a:pt x="3063" y="15750"/>
                  <a:pt x="3063" y="15750"/>
                </a:cubicBezTo>
                <a:cubicBezTo>
                  <a:pt x="3094" y="15812"/>
                  <a:pt x="3094" y="15843"/>
                  <a:pt x="3125" y="15906"/>
                </a:cubicBezTo>
                <a:cubicBezTo>
                  <a:pt x="3125" y="15906"/>
                  <a:pt x="3125" y="15937"/>
                  <a:pt x="3157" y="15937"/>
                </a:cubicBezTo>
                <a:cubicBezTo>
                  <a:pt x="3219" y="16125"/>
                  <a:pt x="3313" y="16281"/>
                  <a:pt x="3375" y="16468"/>
                </a:cubicBezTo>
                <a:cubicBezTo>
                  <a:pt x="3344" y="16468"/>
                  <a:pt x="3344" y="16437"/>
                  <a:pt x="3313" y="16437"/>
                </a:cubicBezTo>
                <a:cubicBezTo>
                  <a:pt x="3313" y="16406"/>
                  <a:pt x="3282" y="16406"/>
                  <a:pt x="3282" y="16406"/>
                </a:cubicBezTo>
                <a:cubicBezTo>
                  <a:pt x="3282" y="16375"/>
                  <a:pt x="3282" y="16375"/>
                  <a:pt x="3282" y="16343"/>
                </a:cubicBezTo>
                <a:cubicBezTo>
                  <a:pt x="3125" y="16062"/>
                  <a:pt x="2969" y="15750"/>
                  <a:pt x="2813" y="15469"/>
                </a:cubicBezTo>
                <a:cubicBezTo>
                  <a:pt x="2750" y="15375"/>
                  <a:pt x="2750" y="15250"/>
                  <a:pt x="2657" y="15156"/>
                </a:cubicBezTo>
                <a:cubicBezTo>
                  <a:pt x="2625" y="15156"/>
                  <a:pt x="2625" y="15156"/>
                  <a:pt x="2625" y="15156"/>
                </a:cubicBezTo>
                <a:cubicBezTo>
                  <a:pt x="2750" y="15406"/>
                  <a:pt x="2844" y="15656"/>
                  <a:pt x="2969" y="15937"/>
                </a:cubicBezTo>
                <a:cubicBezTo>
                  <a:pt x="2875" y="15906"/>
                  <a:pt x="2907" y="15843"/>
                  <a:pt x="2875" y="15812"/>
                </a:cubicBezTo>
                <a:cubicBezTo>
                  <a:pt x="2688" y="15594"/>
                  <a:pt x="2625" y="15344"/>
                  <a:pt x="2500" y="15094"/>
                </a:cubicBezTo>
                <a:cubicBezTo>
                  <a:pt x="2438" y="14969"/>
                  <a:pt x="2407" y="14812"/>
                  <a:pt x="2313" y="14719"/>
                </a:cubicBezTo>
                <a:cubicBezTo>
                  <a:pt x="2282" y="14687"/>
                  <a:pt x="2282" y="14656"/>
                  <a:pt x="2250" y="14656"/>
                </a:cubicBezTo>
                <a:cubicBezTo>
                  <a:pt x="2219" y="14687"/>
                  <a:pt x="2250" y="14719"/>
                  <a:pt x="2219" y="14750"/>
                </a:cubicBezTo>
                <a:cubicBezTo>
                  <a:pt x="2219" y="14844"/>
                  <a:pt x="2282" y="14937"/>
                  <a:pt x="2313" y="15031"/>
                </a:cubicBezTo>
                <a:cubicBezTo>
                  <a:pt x="2344" y="15312"/>
                  <a:pt x="2375" y="15562"/>
                  <a:pt x="2469" y="15812"/>
                </a:cubicBezTo>
                <a:cubicBezTo>
                  <a:pt x="2563" y="16062"/>
                  <a:pt x="2625" y="16312"/>
                  <a:pt x="2719" y="16562"/>
                </a:cubicBezTo>
                <a:cubicBezTo>
                  <a:pt x="2750" y="16687"/>
                  <a:pt x="2782" y="16812"/>
                  <a:pt x="2875" y="16937"/>
                </a:cubicBezTo>
                <a:cubicBezTo>
                  <a:pt x="3000" y="17281"/>
                  <a:pt x="3157" y="17593"/>
                  <a:pt x="3313" y="17906"/>
                </a:cubicBezTo>
                <a:cubicBezTo>
                  <a:pt x="3344" y="17968"/>
                  <a:pt x="3375" y="18031"/>
                  <a:pt x="3407" y="18062"/>
                </a:cubicBezTo>
                <a:cubicBezTo>
                  <a:pt x="3594" y="18468"/>
                  <a:pt x="3844" y="18843"/>
                  <a:pt x="4094" y="19218"/>
                </a:cubicBezTo>
                <a:cubicBezTo>
                  <a:pt x="4094" y="19218"/>
                  <a:pt x="4125" y="19250"/>
                  <a:pt x="4125" y="19281"/>
                </a:cubicBezTo>
                <a:cubicBezTo>
                  <a:pt x="4125" y="19281"/>
                  <a:pt x="4125" y="19281"/>
                  <a:pt x="4125" y="19281"/>
                </a:cubicBezTo>
                <a:cubicBezTo>
                  <a:pt x="4125" y="19312"/>
                  <a:pt x="4157" y="19343"/>
                  <a:pt x="4157" y="19343"/>
                </a:cubicBezTo>
                <a:cubicBezTo>
                  <a:pt x="4188" y="19375"/>
                  <a:pt x="4188" y="19375"/>
                  <a:pt x="4188" y="19406"/>
                </a:cubicBezTo>
                <a:cubicBezTo>
                  <a:pt x="4250" y="19531"/>
                  <a:pt x="4282" y="19687"/>
                  <a:pt x="4407" y="19750"/>
                </a:cubicBezTo>
                <a:cubicBezTo>
                  <a:pt x="4438" y="19781"/>
                  <a:pt x="4438" y="19781"/>
                  <a:pt x="4438" y="19812"/>
                </a:cubicBezTo>
                <a:cubicBezTo>
                  <a:pt x="4438" y="19906"/>
                  <a:pt x="4469" y="19968"/>
                  <a:pt x="4563" y="20000"/>
                </a:cubicBezTo>
                <a:cubicBezTo>
                  <a:pt x="4625" y="20031"/>
                  <a:pt x="4657" y="20062"/>
                  <a:pt x="4657" y="20156"/>
                </a:cubicBezTo>
                <a:cubicBezTo>
                  <a:pt x="4657" y="20187"/>
                  <a:pt x="4657" y="20250"/>
                  <a:pt x="4719" y="20281"/>
                </a:cubicBezTo>
                <a:cubicBezTo>
                  <a:pt x="4750" y="20281"/>
                  <a:pt x="4750" y="20281"/>
                  <a:pt x="4750" y="20281"/>
                </a:cubicBezTo>
                <a:cubicBezTo>
                  <a:pt x="4782" y="20281"/>
                  <a:pt x="4782" y="20312"/>
                  <a:pt x="4782" y="20312"/>
                </a:cubicBezTo>
                <a:cubicBezTo>
                  <a:pt x="4813" y="20375"/>
                  <a:pt x="4813" y="20437"/>
                  <a:pt x="4875" y="20468"/>
                </a:cubicBezTo>
                <a:cubicBezTo>
                  <a:pt x="4938" y="20531"/>
                  <a:pt x="5000" y="20593"/>
                  <a:pt x="5032" y="20687"/>
                </a:cubicBezTo>
                <a:cubicBezTo>
                  <a:pt x="5063" y="20781"/>
                  <a:pt x="5094" y="20843"/>
                  <a:pt x="5157" y="20875"/>
                </a:cubicBezTo>
                <a:cubicBezTo>
                  <a:pt x="5282" y="20968"/>
                  <a:pt x="5313" y="21093"/>
                  <a:pt x="5407" y="21187"/>
                </a:cubicBezTo>
                <a:cubicBezTo>
                  <a:pt x="5407" y="21343"/>
                  <a:pt x="5532" y="21375"/>
                  <a:pt x="5657" y="21468"/>
                </a:cubicBezTo>
                <a:cubicBezTo>
                  <a:pt x="5657" y="21468"/>
                  <a:pt x="5688" y="21468"/>
                  <a:pt x="5688" y="21468"/>
                </a:cubicBezTo>
                <a:cubicBezTo>
                  <a:pt x="5719" y="21468"/>
                  <a:pt x="5719" y="21437"/>
                  <a:pt x="5719" y="21406"/>
                </a:cubicBezTo>
                <a:cubicBezTo>
                  <a:pt x="5719" y="21406"/>
                  <a:pt x="5688" y="21375"/>
                  <a:pt x="5688" y="21375"/>
                </a:cubicBezTo>
                <a:cubicBezTo>
                  <a:pt x="5688" y="21281"/>
                  <a:pt x="5625" y="21187"/>
                  <a:pt x="5563" y="21125"/>
                </a:cubicBezTo>
                <a:cubicBezTo>
                  <a:pt x="5563" y="21125"/>
                  <a:pt x="5532" y="21093"/>
                  <a:pt x="5532" y="21093"/>
                </a:cubicBezTo>
                <a:cubicBezTo>
                  <a:pt x="5532" y="21093"/>
                  <a:pt x="5500" y="21062"/>
                  <a:pt x="5500" y="21062"/>
                </a:cubicBezTo>
                <a:cubicBezTo>
                  <a:pt x="5500" y="21062"/>
                  <a:pt x="5500" y="21031"/>
                  <a:pt x="5500" y="21031"/>
                </a:cubicBezTo>
                <a:cubicBezTo>
                  <a:pt x="5500" y="21031"/>
                  <a:pt x="5500" y="21031"/>
                  <a:pt x="5500" y="21031"/>
                </a:cubicBezTo>
                <a:cubicBezTo>
                  <a:pt x="5500" y="21031"/>
                  <a:pt x="5500" y="21000"/>
                  <a:pt x="5500" y="21000"/>
                </a:cubicBezTo>
                <a:cubicBezTo>
                  <a:pt x="5500" y="21000"/>
                  <a:pt x="5500" y="21000"/>
                  <a:pt x="5500" y="20968"/>
                </a:cubicBezTo>
                <a:cubicBezTo>
                  <a:pt x="5500" y="20968"/>
                  <a:pt x="5469" y="20968"/>
                  <a:pt x="5438" y="20968"/>
                </a:cubicBezTo>
                <a:cubicBezTo>
                  <a:pt x="5438" y="20937"/>
                  <a:pt x="5438" y="20906"/>
                  <a:pt x="5407" y="20906"/>
                </a:cubicBezTo>
                <a:cubicBezTo>
                  <a:pt x="5469" y="20875"/>
                  <a:pt x="5500" y="20875"/>
                  <a:pt x="5532" y="20906"/>
                </a:cubicBezTo>
                <a:cubicBezTo>
                  <a:pt x="5563" y="20906"/>
                  <a:pt x="5563" y="20906"/>
                  <a:pt x="5563" y="20906"/>
                </a:cubicBezTo>
                <a:cubicBezTo>
                  <a:pt x="5594" y="20906"/>
                  <a:pt x="5594" y="20937"/>
                  <a:pt x="5594" y="20937"/>
                </a:cubicBezTo>
                <a:cubicBezTo>
                  <a:pt x="5625" y="20968"/>
                  <a:pt x="5688" y="20968"/>
                  <a:pt x="5719" y="20968"/>
                </a:cubicBezTo>
                <a:cubicBezTo>
                  <a:pt x="5782" y="20968"/>
                  <a:pt x="5813" y="20937"/>
                  <a:pt x="5782" y="20875"/>
                </a:cubicBezTo>
                <a:cubicBezTo>
                  <a:pt x="5782" y="20843"/>
                  <a:pt x="5750" y="20812"/>
                  <a:pt x="5750" y="20812"/>
                </a:cubicBezTo>
                <a:cubicBezTo>
                  <a:pt x="5719" y="20781"/>
                  <a:pt x="5719" y="20750"/>
                  <a:pt x="5719" y="20750"/>
                </a:cubicBezTo>
                <a:cubicBezTo>
                  <a:pt x="5657" y="20687"/>
                  <a:pt x="5625" y="20625"/>
                  <a:pt x="5594" y="20593"/>
                </a:cubicBezTo>
                <a:cubicBezTo>
                  <a:pt x="5594" y="20593"/>
                  <a:pt x="5594" y="20593"/>
                  <a:pt x="5594" y="20593"/>
                </a:cubicBezTo>
                <a:cubicBezTo>
                  <a:pt x="5594" y="20593"/>
                  <a:pt x="5594" y="20593"/>
                  <a:pt x="5594" y="20593"/>
                </a:cubicBezTo>
                <a:cubicBezTo>
                  <a:pt x="5594" y="20562"/>
                  <a:pt x="5594" y="20562"/>
                  <a:pt x="5594" y="20562"/>
                </a:cubicBezTo>
                <a:cubicBezTo>
                  <a:pt x="5594" y="20562"/>
                  <a:pt x="5563" y="20562"/>
                  <a:pt x="5563" y="20531"/>
                </a:cubicBezTo>
                <a:cubicBezTo>
                  <a:pt x="5563" y="20531"/>
                  <a:pt x="5563" y="20531"/>
                  <a:pt x="5563" y="20531"/>
                </a:cubicBezTo>
                <a:cubicBezTo>
                  <a:pt x="5563" y="20500"/>
                  <a:pt x="5563" y="20500"/>
                  <a:pt x="5563" y="20500"/>
                </a:cubicBezTo>
                <a:cubicBezTo>
                  <a:pt x="5563" y="20500"/>
                  <a:pt x="5563" y="20500"/>
                  <a:pt x="5563" y="20500"/>
                </a:cubicBezTo>
                <a:cubicBezTo>
                  <a:pt x="5563" y="20500"/>
                  <a:pt x="5563" y="20468"/>
                  <a:pt x="5563" y="20468"/>
                </a:cubicBezTo>
                <a:cubicBezTo>
                  <a:pt x="5563" y="20437"/>
                  <a:pt x="5563" y="20437"/>
                  <a:pt x="5500" y="20437"/>
                </a:cubicBezTo>
                <a:cubicBezTo>
                  <a:pt x="5500" y="20406"/>
                  <a:pt x="5500" y="20406"/>
                  <a:pt x="5500" y="20406"/>
                </a:cubicBezTo>
                <a:cubicBezTo>
                  <a:pt x="5469" y="20312"/>
                  <a:pt x="5563" y="20312"/>
                  <a:pt x="5594" y="20281"/>
                </a:cubicBezTo>
                <a:cubicBezTo>
                  <a:pt x="5594" y="20250"/>
                  <a:pt x="5625" y="20250"/>
                  <a:pt x="5625" y="20218"/>
                </a:cubicBezTo>
                <a:cubicBezTo>
                  <a:pt x="5688" y="20281"/>
                  <a:pt x="5719" y="20343"/>
                  <a:pt x="5750" y="20406"/>
                </a:cubicBezTo>
                <a:cubicBezTo>
                  <a:pt x="5782" y="20437"/>
                  <a:pt x="5813" y="20437"/>
                  <a:pt x="5844" y="20437"/>
                </a:cubicBezTo>
                <a:cubicBezTo>
                  <a:pt x="5907" y="20406"/>
                  <a:pt x="5907" y="20375"/>
                  <a:pt x="5907" y="20343"/>
                </a:cubicBezTo>
                <a:cubicBezTo>
                  <a:pt x="5907" y="20312"/>
                  <a:pt x="5938" y="20312"/>
                  <a:pt x="5938" y="20281"/>
                </a:cubicBezTo>
                <a:cubicBezTo>
                  <a:pt x="5938" y="20218"/>
                  <a:pt x="5969" y="20218"/>
                  <a:pt x="6000" y="20250"/>
                </a:cubicBezTo>
                <a:cubicBezTo>
                  <a:pt x="6125" y="20312"/>
                  <a:pt x="6125" y="20312"/>
                  <a:pt x="6125" y="20187"/>
                </a:cubicBezTo>
                <a:cubicBezTo>
                  <a:pt x="6125" y="20156"/>
                  <a:pt x="6125" y="20156"/>
                  <a:pt x="6125" y="20156"/>
                </a:cubicBezTo>
                <a:cubicBezTo>
                  <a:pt x="6219" y="20218"/>
                  <a:pt x="6250" y="20312"/>
                  <a:pt x="6313" y="20375"/>
                </a:cubicBezTo>
                <a:cubicBezTo>
                  <a:pt x="6313" y="20375"/>
                  <a:pt x="6313" y="20406"/>
                  <a:pt x="6313" y="20406"/>
                </a:cubicBezTo>
                <a:cubicBezTo>
                  <a:pt x="6313" y="20406"/>
                  <a:pt x="6313" y="20406"/>
                  <a:pt x="6313" y="20406"/>
                </a:cubicBezTo>
                <a:cubicBezTo>
                  <a:pt x="6344" y="20406"/>
                  <a:pt x="6344" y="20406"/>
                  <a:pt x="6344" y="20406"/>
                </a:cubicBezTo>
                <a:cubicBezTo>
                  <a:pt x="6344" y="20406"/>
                  <a:pt x="6375" y="20437"/>
                  <a:pt x="6375" y="20437"/>
                </a:cubicBezTo>
                <a:cubicBezTo>
                  <a:pt x="6375" y="20437"/>
                  <a:pt x="6375" y="20437"/>
                  <a:pt x="6375" y="20437"/>
                </a:cubicBezTo>
                <a:cubicBezTo>
                  <a:pt x="6375" y="20437"/>
                  <a:pt x="6375" y="20437"/>
                  <a:pt x="6375" y="20437"/>
                </a:cubicBezTo>
                <a:cubicBezTo>
                  <a:pt x="6375" y="20437"/>
                  <a:pt x="6375" y="20437"/>
                  <a:pt x="6375" y="20437"/>
                </a:cubicBezTo>
                <a:cubicBezTo>
                  <a:pt x="6438" y="20593"/>
                  <a:pt x="6532" y="20656"/>
                  <a:pt x="6594" y="20781"/>
                </a:cubicBezTo>
                <a:cubicBezTo>
                  <a:pt x="6625" y="20781"/>
                  <a:pt x="6625" y="20781"/>
                  <a:pt x="6625" y="20812"/>
                </a:cubicBezTo>
                <a:cubicBezTo>
                  <a:pt x="6688" y="20843"/>
                  <a:pt x="6719" y="20843"/>
                  <a:pt x="6782" y="20781"/>
                </a:cubicBezTo>
                <a:cubicBezTo>
                  <a:pt x="6782" y="20812"/>
                  <a:pt x="6813" y="20843"/>
                  <a:pt x="6813" y="20843"/>
                </a:cubicBezTo>
                <a:cubicBezTo>
                  <a:pt x="6844" y="20843"/>
                  <a:pt x="6844" y="20875"/>
                  <a:pt x="6875" y="20875"/>
                </a:cubicBezTo>
                <a:cubicBezTo>
                  <a:pt x="6907" y="20968"/>
                  <a:pt x="6969" y="21062"/>
                  <a:pt x="7032" y="21093"/>
                </a:cubicBezTo>
                <a:cubicBezTo>
                  <a:pt x="7063" y="21125"/>
                  <a:pt x="7063" y="21125"/>
                  <a:pt x="7094" y="21156"/>
                </a:cubicBezTo>
                <a:cubicBezTo>
                  <a:pt x="6969" y="20937"/>
                  <a:pt x="6875" y="20718"/>
                  <a:pt x="6750" y="20500"/>
                </a:cubicBezTo>
                <a:cubicBezTo>
                  <a:pt x="6594" y="20218"/>
                  <a:pt x="6469" y="19937"/>
                  <a:pt x="6313" y="19687"/>
                </a:cubicBezTo>
                <a:close/>
                <a:moveTo>
                  <a:pt x="4000" y="15625"/>
                </a:moveTo>
                <a:cubicBezTo>
                  <a:pt x="4000" y="15625"/>
                  <a:pt x="4000" y="15594"/>
                  <a:pt x="4000" y="15594"/>
                </a:cubicBezTo>
                <a:cubicBezTo>
                  <a:pt x="4000" y="15594"/>
                  <a:pt x="4000" y="15594"/>
                  <a:pt x="3969" y="15594"/>
                </a:cubicBezTo>
                <a:cubicBezTo>
                  <a:pt x="3907" y="15406"/>
                  <a:pt x="3813" y="15219"/>
                  <a:pt x="3719" y="15062"/>
                </a:cubicBezTo>
                <a:cubicBezTo>
                  <a:pt x="3719" y="15000"/>
                  <a:pt x="3719" y="14969"/>
                  <a:pt x="3688" y="14937"/>
                </a:cubicBezTo>
                <a:cubicBezTo>
                  <a:pt x="3688" y="14937"/>
                  <a:pt x="3688" y="14937"/>
                  <a:pt x="3688" y="14906"/>
                </a:cubicBezTo>
                <a:cubicBezTo>
                  <a:pt x="3594" y="14750"/>
                  <a:pt x="2438" y="11781"/>
                  <a:pt x="2344" y="11594"/>
                </a:cubicBezTo>
                <a:cubicBezTo>
                  <a:pt x="2344" y="11562"/>
                  <a:pt x="2344" y="11531"/>
                  <a:pt x="2344" y="11500"/>
                </a:cubicBezTo>
                <a:cubicBezTo>
                  <a:pt x="2344" y="11531"/>
                  <a:pt x="2344" y="11562"/>
                  <a:pt x="2375" y="11594"/>
                </a:cubicBezTo>
                <a:cubicBezTo>
                  <a:pt x="2438" y="11812"/>
                  <a:pt x="2532" y="12000"/>
                  <a:pt x="2594" y="12219"/>
                </a:cubicBezTo>
                <a:cubicBezTo>
                  <a:pt x="2625" y="12281"/>
                  <a:pt x="2657" y="12312"/>
                  <a:pt x="2719" y="12281"/>
                </a:cubicBezTo>
                <a:cubicBezTo>
                  <a:pt x="2750" y="12281"/>
                  <a:pt x="2750" y="12281"/>
                  <a:pt x="2750" y="12250"/>
                </a:cubicBezTo>
                <a:cubicBezTo>
                  <a:pt x="3063" y="13094"/>
                  <a:pt x="3625" y="14594"/>
                  <a:pt x="3657" y="14625"/>
                </a:cubicBezTo>
                <a:cubicBezTo>
                  <a:pt x="3688" y="14656"/>
                  <a:pt x="3688" y="14719"/>
                  <a:pt x="3719" y="14750"/>
                </a:cubicBezTo>
                <a:cubicBezTo>
                  <a:pt x="3750" y="14875"/>
                  <a:pt x="3782" y="15031"/>
                  <a:pt x="3875" y="15125"/>
                </a:cubicBezTo>
                <a:cubicBezTo>
                  <a:pt x="3969" y="15250"/>
                  <a:pt x="3969" y="15406"/>
                  <a:pt x="4032" y="15562"/>
                </a:cubicBezTo>
                <a:cubicBezTo>
                  <a:pt x="4063" y="15562"/>
                  <a:pt x="4032" y="15625"/>
                  <a:pt x="4000" y="15625"/>
                </a:cubicBezTo>
                <a:close/>
                <a:moveTo>
                  <a:pt x="12625" y="6219"/>
                </a:move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594" y="6219"/>
                </a:cubicBezTo>
                <a:cubicBezTo>
                  <a:pt x="12625" y="6219"/>
                  <a:pt x="12625" y="6250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lose/>
                <a:moveTo>
                  <a:pt x="8125" y="18375"/>
                </a:moveTo>
                <a:cubicBezTo>
                  <a:pt x="8125" y="18406"/>
                  <a:pt x="8125" y="18406"/>
                  <a:pt x="8125" y="18406"/>
                </a:cubicBezTo>
                <a:cubicBezTo>
                  <a:pt x="8125" y="18406"/>
                  <a:pt x="8125" y="18406"/>
                  <a:pt x="8125" y="18406"/>
                </a:cubicBezTo>
                <a:cubicBezTo>
                  <a:pt x="8125" y="18375"/>
                  <a:pt x="8125" y="18375"/>
                  <a:pt x="8125" y="18375"/>
                </a:cubicBezTo>
                <a:cubicBezTo>
                  <a:pt x="8125" y="18375"/>
                  <a:pt x="8125" y="18375"/>
                  <a:pt x="8125" y="18375"/>
                </a:cubicBezTo>
                <a:close/>
                <a:moveTo>
                  <a:pt x="13500" y="7000"/>
                </a:moveTo>
                <a:cubicBezTo>
                  <a:pt x="13500" y="7000"/>
                  <a:pt x="13500" y="7000"/>
                  <a:pt x="13500" y="7000"/>
                </a:cubicBezTo>
                <a:cubicBezTo>
                  <a:pt x="13500" y="7000"/>
                  <a:pt x="13500" y="7000"/>
                  <a:pt x="13500" y="7000"/>
                </a:cubicBezTo>
                <a:cubicBezTo>
                  <a:pt x="13500" y="7000"/>
                  <a:pt x="13500" y="7031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00" y="7000"/>
                  <a:pt x="13500" y="7000"/>
                </a:cubicBezTo>
                <a:close/>
                <a:moveTo>
                  <a:pt x="19532" y="12500"/>
                </a:moveTo>
                <a:cubicBezTo>
                  <a:pt x="19063" y="12125"/>
                  <a:pt x="18625" y="11687"/>
                  <a:pt x="18188" y="11281"/>
                </a:cubicBezTo>
                <a:cubicBezTo>
                  <a:pt x="18000" y="11094"/>
                  <a:pt x="17782" y="10937"/>
                  <a:pt x="17625" y="10750"/>
                </a:cubicBezTo>
                <a:cubicBezTo>
                  <a:pt x="17313" y="10406"/>
                  <a:pt x="16938" y="10156"/>
                  <a:pt x="16657" y="9812"/>
                </a:cubicBezTo>
                <a:cubicBezTo>
                  <a:pt x="16438" y="9562"/>
                  <a:pt x="16219" y="9375"/>
                  <a:pt x="15969" y="9156"/>
                </a:cubicBezTo>
                <a:cubicBezTo>
                  <a:pt x="15688" y="8875"/>
                  <a:pt x="15375" y="8625"/>
                  <a:pt x="15063" y="8344"/>
                </a:cubicBezTo>
                <a:cubicBezTo>
                  <a:pt x="14875" y="8219"/>
                  <a:pt x="14719" y="8094"/>
                  <a:pt x="14594" y="7937"/>
                </a:cubicBezTo>
                <a:cubicBezTo>
                  <a:pt x="14563" y="7906"/>
                  <a:pt x="14532" y="7844"/>
                  <a:pt x="14500" y="7875"/>
                </a:cubicBezTo>
                <a:cubicBezTo>
                  <a:pt x="14438" y="7906"/>
                  <a:pt x="14532" y="7937"/>
                  <a:pt x="14532" y="7969"/>
                </a:cubicBezTo>
                <a:cubicBezTo>
                  <a:pt x="14657" y="8094"/>
                  <a:pt x="14813" y="8187"/>
                  <a:pt x="14938" y="8344"/>
                </a:cubicBezTo>
                <a:cubicBezTo>
                  <a:pt x="15032" y="8406"/>
                  <a:pt x="15094" y="8469"/>
                  <a:pt x="15157" y="8531"/>
                </a:cubicBezTo>
                <a:cubicBezTo>
                  <a:pt x="15532" y="8844"/>
                  <a:pt x="15875" y="9156"/>
                  <a:pt x="16219" y="9500"/>
                </a:cubicBezTo>
                <a:cubicBezTo>
                  <a:pt x="16500" y="9781"/>
                  <a:pt x="16750" y="10031"/>
                  <a:pt x="17032" y="10312"/>
                </a:cubicBezTo>
                <a:cubicBezTo>
                  <a:pt x="17688" y="10969"/>
                  <a:pt x="18344" y="11594"/>
                  <a:pt x="19063" y="12219"/>
                </a:cubicBezTo>
                <a:cubicBezTo>
                  <a:pt x="19219" y="12375"/>
                  <a:pt x="19407" y="12531"/>
                  <a:pt x="19594" y="12687"/>
                </a:cubicBezTo>
                <a:cubicBezTo>
                  <a:pt x="19625" y="12719"/>
                  <a:pt x="19625" y="12750"/>
                  <a:pt x="19657" y="12719"/>
                </a:cubicBezTo>
                <a:cubicBezTo>
                  <a:pt x="19657" y="12719"/>
                  <a:pt x="19657" y="12719"/>
                  <a:pt x="19688" y="12719"/>
                </a:cubicBezTo>
                <a:cubicBezTo>
                  <a:pt x="19688" y="12719"/>
                  <a:pt x="19688" y="12687"/>
                  <a:pt x="19688" y="12687"/>
                </a:cubicBezTo>
                <a:cubicBezTo>
                  <a:pt x="19688" y="12656"/>
                  <a:pt x="19688" y="12625"/>
                  <a:pt x="19688" y="12625"/>
                </a:cubicBezTo>
                <a:cubicBezTo>
                  <a:pt x="19657" y="12625"/>
                  <a:pt x="19657" y="12625"/>
                  <a:pt x="19657" y="12625"/>
                </a:cubicBezTo>
                <a:cubicBezTo>
                  <a:pt x="19594" y="12594"/>
                  <a:pt x="19563" y="12531"/>
                  <a:pt x="19532" y="1250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93FF19B4-190A-4C41-9CFE-4DA2872EB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6F86B89D-BE00-9B4B-A858-4384BD1172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415032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693013"/>
            <a:ext cx="5507895" cy="1727992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45">
            <a:extLst>
              <a:ext uri="{FF2B5EF4-FFF2-40B4-BE49-F238E27FC236}">
                <a16:creationId xmlns:a16="http://schemas.microsoft.com/office/drawing/2014/main" id="{635191F1-70E2-C54E-8B66-7D4B3BEF0757}"/>
              </a:ext>
            </a:extLst>
          </p:cNvPr>
          <p:cNvSpPr>
            <a:spLocks noGrp="1" noEditPoints="1"/>
          </p:cNvSpPr>
          <p:nvPr>
            <p:ph type="pic" sz="quarter" idx="39"/>
          </p:nvPr>
        </p:nvSpPr>
        <p:spPr bwMode="auto">
          <a:xfrm>
            <a:off x="0" y="1989007"/>
            <a:ext cx="12192000" cy="6380986"/>
          </a:xfrm>
          <a:custGeom>
            <a:avLst/>
            <a:gdLst>
              <a:gd name="T0" fmla="*/ 25812 w 37844"/>
              <a:gd name="T1" fmla="*/ 18906 h 19094"/>
              <a:gd name="T2" fmla="*/ 16750 w 37844"/>
              <a:gd name="T3" fmla="*/ 4156 h 19094"/>
              <a:gd name="T4" fmla="*/ 17562 w 37844"/>
              <a:gd name="T5" fmla="*/ 4812 h 19094"/>
              <a:gd name="T6" fmla="*/ 17094 w 37844"/>
              <a:gd name="T7" fmla="*/ 4562 h 19094"/>
              <a:gd name="T8" fmla="*/ 35719 w 37844"/>
              <a:gd name="T9" fmla="*/ 7281 h 19094"/>
              <a:gd name="T10" fmla="*/ 36531 w 37844"/>
              <a:gd name="T11" fmla="*/ 7375 h 19094"/>
              <a:gd name="T12" fmla="*/ 16656 w 37844"/>
              <a:gd name="T13" fmla="*/ 1312 h 19094"/>
              <a:gd name="T14" fmla="*/ 7969 w 37844"/>
              <a:gd name="T15" fmla="*/ 94 h 19094"/>
              <a:gd name="T16" fmla="*/ 125 w 37844"/>
              <a:gd name="T17" fmla="*/ 1000 h 19094"/>
              <a:gd name="T18" fmla="*/ 4062 w 37844"/>
              <a:gd name="T19" fmla="*/ 750 h 19094"/>
              <a:gd name="T20" fmla="*/ 13250 w 37844"/>
              <a:gd name="T21" fmla="*/ 656 h 19094"/>
              <a:gd name="T22" fmla="*/ 9937 w 37844"/>
              <a:gd name="T23" fmla="*/ 1406 h 19094"/>
              <a:gd name="T24" fmla="*/ 1312 w 37844"/>
              <a:gd name="T25" fmla="*/ 2406 h 19094"/>
              <a:gd name="T26" fmla="*/ 12906 w 37844"/>
              <a:gd name="T27" fmla="*/ 2062 h 19094"/>
              <a:gd name="T28" fmla="*/ 10687 w 37844"/>
              <a:gd name="T29" fmla="*/ 2531 h 19094"/>
              <a:gd name="T30" fmla="*/ 13312 w 37844"/>
              <a:gd name="T31" fmla="*/ 3312 h 19094"/>
              <a:gd name="T32" fmla="*/ 125 w 37844"/>
              <a:gd name="T33" fmla="*/ 4906 h 19094"/>
              <a:gd name="T34" fmla="*/ 10750 w 37844"/>
              <a:gd name="T35" fmla="*/ 3469 h 19094"/>
              <a:gd name="T36" fmla="*/ 6969 w 37844"/>
              <a:gd name="T37" fmla="*/ 4312 h 19094"/>
              <a:gd name="T38" fmla="*/ 125 w 37844"/>
              <a:gd name="T39" fmla="*/ 9000 h 19094"/>
              <a:gd name="T40" fmla="*/ 2187 w 37844"/>
              <a:gd name="T41" fmla="*/ 8406 h 19094"/>
              <a:gd name="T42" fmla="*/ 14156 w 37844"/>
              <a:gd name="T43" fmla="*/ 5500 h 19094"/>
              <a:gd name="T44" fmla="*/ 10781 w 37844"/>
              <a:gd name="T45" fmla="*/ 6219 h 19094"/>
              <a:gd name="T46" fmla="*/ 2187 w 37844"/>
              <a:gd name="T47" fmla="*/ 8562 h 19094"/>
              <a:gd name="T48" fmla="*/ 7219 w 37844"/>
              <a:gd name="T49" fmla="*/ 8281 h 19094"/>
              <a:gd name="T50" fmla="*/ 18969 w 37844"/>
              <a:gd name="T51" fmla="*/ 6687 h 19094"/>
              <a:gd name="T52" fmla="*/ 19281 w 37844"/>
              <a:gd name="T53" fmla="*/ 15594 h 19094"/>
              <a:gd name="T54" fmla="*/ 19312 w 37844"/>
              <a:gd name="T55" fmla="*/ 15000 h 19094"/>
              <a:gd name="T56" fmla="*/ 20531 w 37844"/>
              <a:gd name="T57" fmla="*/ 15812 h 19094"/>
              <a:gd name="T58" fmla="*/ 24156 w 37844"/>
              <a:gd name="T59" fmla="*/ 15594 h 19094"/>
              <a:gd name="T60" fmla="*/ 37031 w 37844"/>
              <a:gd name="T61" fmla="*/ 11250 h 19094"/>
              <a:gd name="T62" fmla="*/ 36656 w 37844"/>
              <a:gd name="T63" fmla="*/ 8719 h 19094"/>
              <a:gd name="T64" fmla="*/ 36031 w 37844"/>
              <a:gd name="T65" fmla="*/ 8531 h 19094"/>
              <a:gd name="T66" fmla="*/ 35344 w 37844"/>
              <a:gd name="T67" fmla="*/ 7437 h 19094"/>
              <a:gd name="T68" fmla="*/ 34375 w 37844"/>
              <a:gd name="T69" fmla="*/ 7094 h 19094"/>
              <a:gd name="T70" fmla="*/ 34469 w 37844"/>
              <a:gd name="T71" fmla="*/ 5687 h 19094"/>
              <a:gd name="T72" fmla="*/ 34969 w 37844"/>
              <a:gd name="T73" fmla="*/ 4719 h 19094"/>
              <a:gd name="T74" fmla="*/ 33719 w 37844"/>
              <a:gd name="T75" fmla="*/ 4781 h 19094"/>
              <a:gd name="T76" fmla="*/ 33312 w 37844"/>
              <a:gd name="T77" fmla="*/ 3969 h 19094"/>
              <a:gd name="T78" fmla="*/ 35031 w 37844"/>
              <a:gd name="T79" fmla="*/ 2750 h 19094"/>
              <a:gd name="T80" fmla="*/ 31656 w 37844"/>
              <a:gd name="T81" fmla="*/ 3844 h 19094"/>
              <a:gd name="T82" fmla="*/ 20781 w 37844"/>
              <a:gd name="T83" fmla="*/ 8562 h 19094"/>
              <a:gd name="T84" fmla="*/ 17625 w 37844"/>
              <a:gd name="T85" fmla="*/ 2781 h 19094"/>
              <a:gd name="T86" fmla="*/ 16562 w 37844"/>
              <a:gd name="T87" fmla="*/ 1281 h 19094"/>
              <a:gd name="T88" fmla="*/ 1469 w 37844"/>
              <a:gd name="T89" fmla="*/ 281 h 19094"/>
              <a:gd name="T90" fmla="*/ 19187 w 37844"/>
              <a:gd name="T91" fmla="*/ 10656 h 19094"/>
              <a:gd name="T92" fmla="*/ 18156 w 37844"/>
              <a:gd name="T93" fmla="*/ 8969 h 19094"/>
              <a:gd name="T94" fmla="*/ 18937 w 37844"/>
              <a:gd name="T95" fmla="*/ 10969 h 19094"/>
              <a:gd name="T96" fmla="*/ 19906 w 37844"/>
              <a:gd name="T97" fmla="*/ 9344 h 19094"/>
              <a:gd name="T98" fmla="*/ 19375 w 37844"/>
              <a:gd name="T99" fmla="*/ 12250 h 19094"/>
              <a:gd name="T100" fmla="*/ 19062 w 37844"/>
              <a:gd name="T101" fmla="*/ 12406 h 19094"/>
              <a:gd name="T102" fmla="*/ 37844 w 37844"/>
              <a:gd name="T103" fmla="*/ 7250 h 19094"/>
              <a:gd name="T104" fmla="*/ 250 w 37844"/>
              <a:gd name="T105" fmla="*/ 3594 h 19094"/>
              <a:gd name="T106" fmla="*/ 125 w 37844"/>
              <a:gd name="T107" fmla="*/ 3375 h 19094"/>
              <a:gd name="T108" fmla="*/ 36500 w 37844"/>
              <a:gd name="T109" fmla="*/ 1875 h 19094"/>
              <a:gd name="T110" fmla="*/ 3281 w 37844"/>
              <a:gd name="T111" fmla="*/ 344 h 19094"/>
              <a:gd name="T112" fmla="*/ 4500 w 37844"/>
              <a:gd name="T113" fmla="*/ 250 h 19094"/>
              <a:gd name="T114" fmla="*/ 10562 w 37844"/>
              <a:gd name="T115" fmla="*/ 6375 h 19094"/>
              <a:gd name="T116" fmla="*/ 9187 w 37844"/>
              <a:gd name="T117" fmla="*/ 6687 h 19094"/>
              <a:gd name="T118" fmla="*/ 15812 w 37844"/>
              <a:gd name="T119" fmla="*/ 3750 h 19094"/>
              <a:gd name="T120" fmla="*/ 18969 w 37844"/>
              <a:gd name="T121" fmla="*/ 14062 h 19094"/>
              <a:gd name="T122" fmla="*/ 20406 w 37844"/>
              <a:gd name="T123" fmla="*/ 6781 h 19094"/>
              <a:gd name="T124" fmla="*/ 30562 w 37844"/>
              <a:gd name="T125" fmla="*/ 13562 h 19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7844" h="19094">
                <a:moveTo>
                  <a:pt x="22594" y="469"/>
                </a:moveTo>
                <a:cubicBezTo>
                  <a:pt x="22594" y="469"/>
                  <a:pt x="22594" y="469"/>
                  <a:pt x="22594" y="469"/>
                </a:cubicBezTo>
                <a:cubicBezTo>
                  <a:pt x="22594" y="469"/>
                  <a:pt x="22594" y="469"/>
                  <a:pt x="22594" y="437"/>
                </a:cubicBezTo>
                <a:cubicBezTo>
                  <a:pt x="22594" y="437"/>
                  <a:pt x="22594" y="469"/>
                  <a:pt x="22594" y="469"/>
                </a:cubicBezTo>
                <a:close/>
                <a:moveTo>
                  <a:pt x="17812" y="19094"/>
                </a:moveTo>
                <a:lnTo>
                  <a:pt x="17812" y="19094"/>
                </a:lnTo>
                <a:lnTo>
                  <a:pt x="17812" y="19094"/>
                </a:lnTo>
                <a:close/>
                <a:moveTo>
                  <a:pt x="25125" y="18844"/>
                </a:moveTo>
                <a:cubicBezTo>
                  <a:pt x="25125" y="18844"/>
                  <a:pt x="25125" y="18812"/>
                  <a:pt x="25125" y="18812"/>
                </a:cubicBezTo>
                <a:cubicBezTo>
                  <a:pt x="25094" y="18812"/>
                  <a:pt x="25062" y="18812"/>
                  <a:pt x="25062" y="18844"/>
                </a:cubicBezTo>
                <a:cubicBezTo>
                  <a:pt x="25094" y="18844"/>
                  <a:pt x="25125" y="18875"/>
                  <a:pt x="25125" y="18844"/>
                </a:cubicBezTo>
                <a:close/>
                <a:moveTo>
                  <a:pt x="25219" y="18812"/>
                </a:moveTo>
                <a:cubicBezTo>
                  <a:pt x="25406" y="18937"/>
                  <a:pt x="25594" y="18937"/>
                  <a:pt x="25812" y="18906"/>
                </a:cubicBezTo>
                <a:cubicBezTo>
                  <a:pt x="25812" y="18937"/>
                  <a:pt x="25812" y="18937"/>
                  <a:pt x="25844" y="18937"/>
                </a:cubicBezTo>
                <a:cubicBezTo>
                  <a:pt x="25844" y="18937"/>
                  <a:pt x="25844" y="18937"/>
                  <a:pt x="25844" y="18937"/>
                </a:cubicBezTo>
                <a:cubicBezTo>
                  <a:pt x="25844" y="18906"/>
                  <a:pt x="25812" y="18906"/>
                  <a:pt x="25812" y="18906"/>
                </a:cubicBezTo>
                <a:cubicBezTo>
                  <a:pt x="25812" y="18812"/>
                  <a:pt x="25719" y="18844"/>
                  <a:pt x="25656" y="18844"/>
                </a:cubicBezTo>
                <a:cubicBezTo>
                  <a:pt x="25531" y="18781"/>
                  <a:pt x="25437" y="18719"/>
                  <a:pt x="25312" y="18687"/>
                </a:cubicBezTo>
                <a:cubicBezTo>
                  <a:pt x="25250" y="18687"/>
                  <a:pt x="25219" y="18719"/>
                  <a:pt x="25187" y="18750"/>
                </a:cubicBezTo>
                <a:cubicBezTo>
                  <a:pt x="25187" y="18781"/>
                  <a:pt x="25187" y="18812"/>
                  <a:pt x="25219" y="18812"/>
                </a:cubicBezTo>
                <a:close/>
                <a:moveTo>
                  <a:pt x="17187" y="4719"/>
                </a:moveTo>
                <a:cubicBezTo>
                  <a:pt x="17219" y="4719"/>
                  <a:pt x="17219" y="4687"/>
                  <a:pt x="17219" y="4687"/>
                </a:cubicBezTo>
                <a:cubicBezTo>
                  <a:pt x="17219" y="4656"/>
                  <a:pt x="17187" y="4656"/>
                  <a:pt x="17187" y="4656"/>
                </a:cubicBezTo>
                <a:cubicBezTo>
                  <a:pt x="17156" y="4562"/>
                  <a:pt x="17187" y="4437"/>
                  <a:pt x="17031" y="4375"/>
                </a:cubicBezTo>
                <a:cubicBezTo>
                  <a:pt x="17031" y="4312"/>
                  <a:pt x="16969" y="4312"/>
                  <a:pt x="16906" y="4281"/>
                </a:cubicBezTo>
                <a:cubicBezTo>
                  <a:pt x="16844" y="4250"/>
                  <a:pt x="16781" y="4219"/>
                  <a:pt x="16750" y="4156"/>
                </a:cubicBezTo>
                <a:cubicBezTo>
                  <a:pt x="16781" y="4219"/>
                  <a:pt x="16844" y="4250"/>
                  <a:pt x="16906" y="4281"/>
                </a:cubicBezTo>
                <a:cubicBezTo>
                  <a:pt x="16937" y="4250"/>
                  <a:pt x="16937" y="4219"/>
                  <a:pt x="16937" y="4219"/>
                </a:cubicBezTo>
                <a:cubicBezTo>
                  <a:pt x="16812" y="4125"/>
                  <a:pt x="16719" y="3937"/>
                  <a:pt x="16562" y="3844"/>
                </a:cubicBezTo>
                <a:cubicBezTo>
                  <a:pt x="16719" y="3937"/>
                  <a:pt x="16812" y="4125"/>
                  <a:pt x="16937" y="4219"/>
                </a:cubicBezTo>
                <a:cubicBezTo>
                  <a:pt x="17000" y="4250"/>
                  <a:pt x="17031" y="4312"/>
                  <a:pt x="17062" y="4312"/>
                </a:cubicBezTo>
                <a:cubicBezTo>
                  <a:pt x="17187" y="4406"/>
                  <a:pt x="17281" y="4500"/>
                  <a:pt x="17406" y="4594"/>
                </a:cubicBezTo>
                <a:cubicBezTo>
                  <a:pt x="17469" y="4594"/>
                  <a:pt x="17469" y="4656"/>
                  <a:pt x="17500" y="4687"/>
                </a:cubicBezTo>
                <a:lnTo>
                  <a:pt x="17500" y="4687"/>
                </a:lnTo>
                <a:cubicBezTo>
                  <a:pt x="17406" y="4687"/>
                  <a:pt x="17406" y="4656"/>
                  <a:pt x="17406" y="4594"/>
                </a:cubicBezTo>
                <a:cubicBezTo>
                  <a:pt x="17406" y="4531"/>
                  <a:pt x="17375" y="4469"/>
                  <a:pt x="17344" y="4437"/>
                </a:cubicBezTo>
                <a:cubicBezTo>
                  <a:pt x="17312" y="4406"/>
                  <a:pt x="17312" y="4406"/>
                  <a:pt x="17344" y="4375"/>
                </a:cubicBezTo>
                <a:cubicBezTo>
                  <a:pt x="17344" y="4375"/>
                  <a:pt x="17375" y="4375"/>
                  <a:pt x="17375" y="4406"/>
                </a:cubicBezTo>
                <a:cubicBezTo>
                  <a:pt x="17437" y="4531"/>
                  <a:pt x="17562" y="4656"/>
                  <a:pt x="17562" y="4812"/>
                </a:cubicBezTo>
                <a:cubicBezTo>
                  <a:pt x="17562" y="4875"/>
                  <a:pt x="17562" y="4906"/>
                  <a:pt x="17500" y="4906"/>
                </a:cubicBezTo>
                <a:lnTo>
                  <a:pt x="17500" y="4906"/>
                </a:lnTo>
                <a:cubicBezTo>
                  <a:pt x="17312" y="4875"/>
                  <a:pt x="17156" y="4844"/>
                  <a:pt x="16969" y="4844"/>
                </a:cubicBezTo>
                <a:cubicBezTo>
                  <a:pt x="16937" y="4875"/>
                  <a:pt x="16906" y="4875"/>
                  <a:pt x="16844" y="4875"/>
                </a:cubicBezTo>
                <a:cubicBezTo>
                  <a:pt x="16906" y="4875"/>
                  <a:pt x="16937" y="4875"/>
                  <a:pt x="16969" y="4844"/>
                </a:cubicBezTo>
                <a:cubicBezTo>
                  <a:pt x="16969" y="4844"/>
                  <a:pt x="16969" y="4844"/>
                  <a:pt x="16969" y="4844"/>
                </a:cubicBezTo>
                <a:cubicBezTo>
                  <a:pt x="16937" y="4781"/>
                  <a:pt x="17062" y="4719"/>
                  <a:pt x="16969" y="4656"/>
                </a:cubicBezTo>
                <a:cubicBezTo>
                  <a:pt x="16906" y="4625"/>
                  <a:pt x="16844" y="4594"/>
                  <a:pt x="16812" y="4531"/>
                </a:cubicBezTo>
                <a:cubicBezTo>
                  <a:pt x="16812" y="4531"/>
                  <a:pt x="16781" y="4500"/>
                  <a:pt x="16781" y="4500"/>
                </a:cubicBezTo>
                <a:cubicBezTo>
                  <a:pt x="16781" y="4500"/>
                  <a:pt x="16781" y="4500"/>
                  <a:pt x="16781" y="4500"/>
                </a:cubicBezTo>
                <a:cubicBezTo>
                  <a:pt x="16781" y="4500"/>
                  <a:pt x="16812" y="4500"/>
                  <a:pt x="16812" y="4531"/>
                </a:cubicBezTo>
                <a:cubicBezTo>
                  <a:pt x="16937" y="4531"/>
                  <a:pt x="17000" y="4594"/>
                  <a:pt x="17094" y="4656"/>
                </a:cubicBezTo>
                <a:cubicBezTo>
                  <a:pt x="17125" y="4625"/>
                  <a:pt x="17125" y="4594"/>
                  <a:pt x="17094" y="4562"/>
                </a:cubicBezTo>
                <a:cubicBezTo>
                  <a:pt x="17125" y="4594"/>
                  <a:pt x="17125" y="4625"/>
                  <a:pt x="17094" y="4656"/>
                </a:cubicBezTo>
                <a:cubicBezTo>
                  <a:pt x="17125" y="4656"/>
                  <a:pt x="17125" y="4687"/>
                  <a:pt x="17156" y="4656"/>
                </a:cubicBezTo>
                <a:cubicBezTo>
                  <a:pt x="17187" y="4687"/>
                  <a:pt x="17187" y="4687"/>
                  <a:pt x="17187" y="4719"/>
                </a:cubicBezTo>
                <a:close/>
                <a:moveTo>
                  <a:pt x="35719" y="7281"/>
                </a:moveTo>
                <a:cubicBezTo>
                  <a:pt x="35750" y="7281"/>
                  <a:pt x="35781" y="7281"/>
                  <a:pt x="35781" y="7250"/>
                </a:cubicBezTo>
                <a:cubicBezTo>
                  <a:pt x="35781" y="7250"/>
                  <a:pt x="35781" y="7250"/>
                  <a:pt x="35781" y="7250"/>
                </a:cubicBezTo>
                <a:cubicBezTo>
                  <a:pt x="35750" y="7250"/>
                  <a:pt x="35750" y="7250"/>
                  <a:pt x="35719" y="7281"/>
                </a:cubicBezTo>
                <a:cubicBezTo>
                  <a:pt x="35656" y="7312"/>
                  <a:pt x="35625" y="7375"/>
                  <a:pt x="35531" y="7344"/>
                </a:cubicBezTo>
                <a:lnTo>
                  <a:pt x="35531" y="7344"/>
                </a:lnTo>
                <a:cubicBezTo>
                  <a:pt x="35594" y="7281"/>
                  <a:pt x="35656" y="7281"/>
                  <a:pt x="35719" y="7281"/>
                </a:cubicBezTo>
                <a:close/>
                <a:moveTo>
                  <a:pt x="35719" y="7281"/>
                </a:moveTo>
                <a:cubicBezTo>
                  <a:pt x="35719" y="7281"/>
                  <a:pt x="35719" y="7281"/>
                  <a:pt x="35719" y="7281"/>
                </a:cubicBezTo>
                <a:cubicBezTo>
                  <a:pt x="35719" y="7281"/>
                  <a:pt x="35719" y="7281"/>
                  <a:pt x="35719" y="7281"/>
                </a:cubicBezTo>
                <a:lnTo>
                  <a:pt x="35719" y="7281"/>
                </a:lnTo>
                <a:cubicBezTo>
                  <a:pt x="35719" y="7281"/>
                  <a:pt x="35719" y="7281"/>
                  <a:pt x="35719" y="7281"/>
                </a:cubicBezTo>
                <a:close/>
                <a:moveTo>
                  <a:pt x="37750" y="6875"/>
                </a:moveTo>
                <a:cubicBezTo>
                  <a:pt x="37750" y="6844"/>
                  <a:pt x="37719" y="6844"/>
                  <a:pt x="37687" y="6844"/>
                </a:cubicBezTo>
                <a:cubicBezTo>
                  <a:pt x="37625" y="6875"/>
                  <a:pt x="37562" y="6906"/>
                  <a:pt x="37469" y="6969"/>
                </a:cubicBezTo>
                <a:cubicBezTo>
                  <a:pt x="37594" y="7000"/>
                  <a:pt x="37656" y="6937"/>
                  <a:pt x="37719" y="6906"/>
                </a:cubicBezTo>
                <a:cubicBezTo>
                  <a:pt x="37750" y="6906"/>
                  <a:pt x="37781" y="6906"/>
                  <a:pt x="37750" y="6875"/>
                </a:cubicBezTo>
                <a:close/>
                <a:moveTo>
                  <a:pt x="37281" y="6875"/>
                </a:moveTo>
                <a:cubicBezTo>
                  <a:pt x="37281" y="6844"/>
                  <a:pt x="37281" y="6812"/>
                  <a:pt x="37250" y="6844"/>
                </a:cubicBezTo>
                <a:cubicBezTo>
                  <a:pt x="37094" y="6906"/>
                  <a:pt x="36937" y="6937"/>
                  <a:pt x="36844" y="7062"/>
                </a:cubicBezTo>
                <a:cubicBezTo>
                  <a:pt x="37000" y="7031"/>
                  <a:pt x="37125" y="6969"/>
                  <a:pt x="37250" y="6906"/>
                </a:cubicBezTo>
                <a:cubicBezTo>
                  <a:pt x="37281" y="6906"/>
                  <a:pt x="37312" y="6906"/>
                  <a:pt x="37281" y="6875"/>
                </a:cubicBezTo>
                <a:close/>
                <a:moveTo>
                  <a:pt x="36531" y="7375"/>
                </a:moveTo>
                <a:cubicBezTo>
                  <a:pt x="36625" y="7437"/>
                  <a:pt x="36687" y="7344"/>
                  <a:pt x="36781" y="7344"/>
                </a:cubicBezTo>
                <a:cubicBezTo>
                  <a:pt x="36781" y="7344"/>
                  <a:pt x="36781" y="7281"/>
                  <a:pt x="36781" y="7281"/>
                </a:cubicBezTo>
                <a:cubicBezTo>
                  <a:pt x="36719" y="7219"/>
                  <a:pt x="36687" y="7187"/>
                  <a:pt x="36656" y="7094"/>
                </a:cubicBezTo>
                <a:cubicBezTo>
                  <a:pt x="36656" y="7094"/>
                  <a:pt x="36656" y="7062"/>
                  <a:pt x="36594" y="7062"/>
                </a:cubicBezTo>
                <a:cubicBezTo>
                  <a:pt x="36562" y="7125"/>
                  <a:pt x="36594" y="7250"/>
                  <a:pt x="36500" y="7281"/>
                </a:cubicBezTo>
                <a:cubicBezTo>
                  <a:pt x="36469" y="7281"/>
                  <a:pt x="36500" y="7344"/>
                  <a:pt x="36500" y="7375"/>
                </a:cubicBezTo>
                <a:cubicBezTo>
                  <a:pt x="36500" y="7375"/>
                  <a:pt x="36500" y="7375"/>
                  <a:pt x="36531" y="7375"/>
                </a:cubicBezTo>
                <a:close/>
                <a:moveTo>
                  <a:pt x="16719" y="1375"/>
                </a:moveTo>
                <a:lnTo>
                  <a:pt x="16719" y="1375"/>
                </a:lnTo>
                <a:lnTo>
                  <a:pt x="16719" y="1375"/>
                </a:lnTo>
                <a:close/>
                <a:moveTo>
                  <a:pt x="16656" y="1344"/>
                </a:moveTo>
                <a:cubicBezTo>
                  <a:pt x="16656" y="1344"/>
                  <a:pt x="16656" y="1344"/>
                  <a:pt x="16687" y="1344"/>
                </a:cubicBezTo>
                <a:cubicBezTo>
                  <a:pt x="16656" y="1344"/>
                  <a:pt x="16656" y="1312"/>
                  <a:pt x="16656" y="1312"/>
                </a:cubicBezTo>
                <a:cubicBezTo>
                  <a:pt x="16625" y="1281"/>
                  <a:pt x="16594" y="1281"/>
                  <a:pt x="16562" y="1281"/>
                </a:cubicBezTo>
                <a:cubicBezTo>
                  <a:pt x="16469" y="1187"/>
                  <a:pt x="16375" y="1156"/>
                  <a:pt x="16281" y="1125"/>
                </a:cubicBezTo>
                <a:cubicBezTo>
                  <a:pt x="16000" y="1000"/>
                  <a:pt x="15719" y="906"/>
                  <a:pt x="15437" y="812"/>
                </a:cubicBezTo>
                <a:cubicBezTo>
                  <a:pt x="15187" y="719"/>
                  <a:pt x="14906" y="625"/>
                  <a:pt x="14625" y="562"/>
                </a:cubicBezTo>
                <a:cubicBezTo>
                  <a:pt x="14625" y="562"/>
                  <a:pt x="14625" y="562"/>
                  <a:pt x="14625" y="562"/>
                </a:cubicBezTo>
                <a:cubicBezTo>
                  <a:pt x="14594" y="562"/>
                  <a:pt x="14531" y="531"/>
                  <a:pt x="14469" y="531"/>
                </a:cubicBezTo>
                <a:cubicBezTo>
                  <a:pt x="14156" y="469"/>
                  <a:pt x="13875" y="406"/>
                  <a:pt x="13562" y="344"/>
                </a:cubicBezTo>
                <a:cubicBezTo>
                  <a:pt x="13219" y="281"/>
                  <a:pt x="12875" y="219"/>
                  <a:pt x="12500" y="219"/>
                </a:cubicBezTo>
                <a:cubicBezTo>
                  <a:pt x="12375" y="187"/>
                  <a:pt x="12219" y="187"/>
                  <a:pt x="12094" y="156"/>
                </a:cubicBezTo>
                <a:cubicBezTo>
                  <a:pt x="11656" y="125"/>
                  <a:pt x="11219" y="94"/>
                  <a:pt x="10812" y="94"/>
                </a:cubicBezTo>
                <a:cubicBezTo>
                  <a:pt x="10812" y="94"/>
                  <a:pt x="10812" y="94"/>
                  <a:pt x="10812" y="94"/>
                </a:cubicBezTo>
                <a:cubicBezTo>
                  <a:pt x="10687" y="62"/>
                  <a:pt x="10562" y="62"/>
                  <a:pt x="10406" y="62"/>
                </a:cubicBezTo>
                <a:cubicBezTo>
                  <a:pt x="9594" y="62"/>
                  <a:pt x="8781" y="31"/>
                  <a:pt x="7969" y="94"/>
                </a:cubicBezTo>
                <a:cubicBezTo>
                  <a:pt x="7344" y="125"/>
                  <a:pt x="6750" y="156"/>
                  <a:pt x="6125" y="125"/>
                </a:cubicBezTo>
                <a:cubicBezTo>
                  <a:pt x="5656" y="94"/>
                  <a:pt x="5156" y="156"/>
                  <a:pt x="4687" y="187"/>
                </a:cubicBezTo>
                <a:cubicBezTo>
                  <a:pt x="4187" y="219"/>
                  <a:pt x="3656" y="250"/>
                  <a:pt x="3156" y="281"/>
                </a:cubicBezTo>
                <a:cubicBezTo>
                  <a:pt x="3000" y="281"/>
                  <a:pt x="2844" y="281"/>
                  <a:pt x="2656" y="312"/>
                </a:cubicBezTo>
                <a:cubicBezTo>
                  <a:pt x="2625" y="312"/>
                  <a:pt x="2594" y="281"/>
                  <a:pt x="2562" y="312"/>
                </a:cubicBezTo>
                <a:cubicBezTo>
                  <a:pt x="2281" y="344"/>
                  <a:pt x="1969" y="344"/>
                  <a:pt x="1656" y="375"/>
                </a:cubicBezTo>
                <a:cubicBezTo>
                  <a:pt x="1625" y="375"/>
                  <a:pt x="1562" y="375"/>
                  <a:pt x="1531" y="375"/>
                </a:cubicBezTo>
                <a:cubicBezTo>
                  <a:pt x="1156" y="437"/>
                  <a:pt x="812" y="437"/>
                  <a:pt x="437" y="437"/>
                </a:cubicBezTo>
                <a:cubicBezTo>
                  <a:pt x="344" y="437"/>
                  <a:pt x="219" y="469"/>
                  <a:pt x="125" y="500"/>
                </a:cubicBezTo>
                <a:cubicBezTo>
                  <a:pt x="125" y="500"/>
                  <a:pt x="125" y="500"/>
                  <a:pt x="125" y="531"/>
                </a:cubicBezTo>
                <a:cubicBezTo>
                  <a:pt x="125" y="562"/>
                  <a:pt x="125" y="594"/>
                  <a:pt x="125" y="656"/>
                </a:cubicBezTo>
                <a:cubicBezTo>
                  <a:pt x="125" y="656"/>
                  <a:pt x="125" y="656"/>
                  <a:pt x="125" y="656"/>
                </a:cubicBezTo>
                <a:cubicBezTo>
                  <a:pt x="125" y="781"/>
                  <a:pt x="125" y="875"/>
                  <a:pt x="125" y="1000"/>
                </a:cubicBezTo>
                <a:cubicBezTo>
                  <a:pt x="406" y="969"/>
                  <a:pt x="687" y="969"/>
                  <a:pt x="1000" y="937"/>
                </a:cubicBezTo>
                <a:cubicBezTo>
                  <a:pt x="1125" y="937"/>
                  <a:pt x="1281" y="906"/>
                  <a:pt x="1437" y="906"/>
                </a:cubicBezTo>
                <a:cubicBezTo>
                  <a:pt x="1437" y="906"/>
                  <a:pt x="1437" y="906"/>
                  <a:pt x="1437" y="906"/>
                </a:cubicBezTo>
                <a:cubicBezTo>
                  <a:pt x="1000" y="937"/>
                  <a:pt x="562" y="969"/>
                  <a:pt x="125" y="1000"/>
                </a:cubicBezTo>
                <a:cubicBezTo>
                  <a:pt x="125" y="1000"/>
                  <a:pt x="125" y="1031"/>
                  <a:pt x="125" y="1062"/>
                </a:cubicBezTo>
                <a:cubicBezTo>
                  <a:pt x="219" y="1062"/>
                  <a:pt x="344" y="1062"/>
                  <a:pt x="437" y="1031"/>
                </a:cubicBezTo>
                <a:cubicBezTo>
                  <a:pt x="844" y="1031"/>
                  <a:pt x="1219" y="969"/>
                  <a:pt x="1625" y="937"/>
                </a:cubicBezTo>
                <a:cubicBezTo>
                  <a:pt x="1844" y="937"/>
                  <a:pt x="2062" y="937"/>
                  <a:pt x="2281" y="875"/>
                </a:cubicBezTo>
                <a:cubicBezTo>
                  <a:pt x="2406" y="844"/>
                  <a:pt x="2406" y="844"/>
                  <a:pt x="2406" y="844"/>
                </a:cubicBezTo>
                <a:cubicBezTo>
                  <a:pt x="2406" y="844"/>
                  <a:pt x="2406" y="844"/>
                  <a:pt x="2406" y="844"/>
                </a:cubicBezTo>
                <a:cubicBezTo>
                  <a:pt x="2469" y="937"/>
                  <a:pt x="2562" y="906"/>
                  <a:pt x="2625" y="875"/>
                </a:cubicBezTo>
                <a:cubicBezTo>
                  <a:pt x="2937" y="844"/>
                  <a:pt x="3219" y="812"/>
                  <a:pt x="3500" y="781"/>
                </a:cubicBezTo>
                <a:cubicBezTo>
                  <a:pt x="3687" y="781"/>
                  <a:pt x="3875" y="781"/>
                  <a:pt x="4062" y="750"/>
                </a:cubicBezTo>
                <a:cubicBezTo>
                  <a:pt x="4594" y="687"/>
                  <a:pt x="5156" y="687"/>
                  <a:pt x="5687" y="625"/>
                </a:cubicBezTo>
                <a:cubicBezTo>
                  <a:pt x="5812" y="625"/>
                  <a:pt x="5969" y="625"/>
                  <a:pt x="6094" y="562"/>
                </a:cubicBezTo>
                <a:cubicBezTo>
                  <a:pt x="6094" y="562"/>
                  <a:pt x="6094" y="562"/>
                  <a:pt x="6094" y="562"/>
                </a:cubicBezTo>
                <a:cubicBezTo>
                  <a:pt x="6094" y="562"/>
                  <a:pt x="6094" y="562"/>
                  <a:pt x="6094" y="562"/>
                </a:cubicBezTo>
                <a:cubicBezTo>
                  <a:pt x="6187" y="594"/>
                  <a:pt x="6281" y="594"/>
                  <a:pt x="6375" y="594"/>
                </a:cubicBezTo>
                <a:cubicBezTo>
                  <a:pt x="6906" y="562"/>
                  <a:pt x="7469" y="500"/>
                  <a:pt x="8000" y="469"/>
                </a:cubicBezTo>
                <a:cubicBezTo>
                  <a:pt x="8656" y="437"/>
                  <a:pt x="9312" y="437"/>
                  <a:pt x="10000" y="437"/>
                </a:cubicBezTo>
                <a:cubicBezTo>
                  <a:pt x="10469" y="437"/>
                  <a:pt x="10969" y="469"/>
                  <a:pt x="11469" y="500"/>
                </a:cubicBezTo>
                <a:cubicBezTo>
                  <a:pt x="11625" y="500"/>
                  <a:pt x="11812" y="531"/>
                  <a:pt x="11969" y="500"/>
                </a:cubicBezTo>
                <a:cubicBezTo>
                  <a:pt x="11969" y="500"/>
                  <a:pt x="11969" y="500"/>
                  <a:pt x="11969" y="500"/>
                </a:cubicBezTo>
                <a:cubicBezTo>
                  <a:pt x="12031" y="500"/>
                  <a:pt x="12062" y="500"/>
                  <a:pt x="12094" y="500"/>
                </a:cubicBezTo>
                <a:cubicBezTo>
                  <a:pt x="12312" y="531"/>
                  <a:pt x="12500" y="562"/>
                  <a:pt x="12719" y="594"/>
                </a:cubicBezTo>
                <a:cubicBezTo>
                  <a:pt x="12906" y="594"/>
                  <a:pt x="13062" y="594"/>
                  <a:pt x="13250" y="656"/>
                </a:cubicBezTo>
                <a:cubicBezTo>
                  <a:pt x="12844" y="719"/>
                  <a:pt x="12469" y="625"/>
                  <a:pt x="12062" y="656"/>
                </a:cubicBezTo>
                <a:cubicBezTo>
                  <a:pt x="12219" y="812"/>
                  <a:pt x="12406" y="875"/>
                  <a:pt x="12594" y="906"/>
                </a:cubicBezTo>
                <a:cubicBezTo>
                  <a:pt x="12844" y="906"/>
                  <a:pt x="13062" y="969"/>
                  <a:pt x="13281" y="1031"/>
                </a:cubicBezTo>
                <a:cubicBezTo>
                  <a:pt x="13375" y="1062"/>
                  <a:pt x="13344" y="1156"/>
                  <a:pt x="13375" y="1250"/>
                </a:cubicBezTo>
                <a:cubicBezTo>
                  <a:pt x="13406" y="1281"/>
                  <a:pt x="13344" y="1281"/>
                  <a:pt x="13312" y="1281"/>
                </a:cubicBezTo>
                <a:cubicBezTo>
                  <a:pt x="13031" y="1250"/>
                  <a:pt x="12719" y="1250"/>
                  <a:pt x="12406" y="1219"/>
                </a:cubicBezTo>
                <a:cubicBezTo>
                  <a:pt x="12281" y="1219"/>
                  <a:pt x="12156" y="1187"/>
                  <a:pt x="12031" y="1187"/>
                </a:cubicBezTo>
                <a:cubicBezTo>
                  <a:pt x="11219" y="1187"/>
                  <a:pt x="10406" y="1187"/>
                  <a:pt x="9594" y="1219"/>
                </a:cubicBezTo>
                <a:cubicBezTo>
                  <a:pt x="9187" y="1219"/>
                  <a:pt x="8781" y="1281"/>
                  <a:pt x="8312" y="1281"/>
                </a:cubicBezTo>
                <a:cubicBezTo>
                  <a:pt x="8406" y="1344"/>
                  <a:pt x="8437" y="1312"/>
                  <a:pt x="8500" y="1312"/>
                </a:cubicBezTo>
                <a:cubicBezTo>
                  <a:pt x="8969" y="1344"/>
                  <a:pt x="9437" y="1250"/>
                  <a:pt x="9937" y="1281"/>
                </a:cubicBezTo>
                <a:cubicBezTo>
                  <a:pt x="10000" y="1281"/>
                  <a:pt x="10125" y="1250"/>
                  <a:pt x="10125" y="1344"/>
                </a:cubicBezTo>
                <a:cubicBezTo>
                  <a:pt x="10125" y="1406"/>
                  <a:pt x="10000" y="1375"/>
                  <a:pt x="9937" y="1406"/>
                </a:cubicBezTo>
                <a:cubicBezTo>
                  <a:pt x="9469" y="1406"/>
                  <a:pt x="9000" y="1375"/>
                  <a:pt x="8531" y="1437"/>
                </a:cubicBezTo>
                <a:cubicBezTo>
                  <a:pt x="8000" y="1469"/>
                  <a:pt x="7437" y="1469"/>
                  <a:pt x="6906" y="1531"/>
                </a:cubicBezTo>
                <a:cubicBezTo>
                  <a:pt x="6750" y="1562"/>
                  <a:pt x="6594" y="1562"/>
                  <a:pt x="6469" y="1562"/>
                </a:cubicBezTo>
                <a:cubicBezTo>
                  <a:pt x="6031" y="1562"/>
                  <a:pt x="5625" y="1625"/>
                  <a:pt x="5219" y="1656"/>
                </a:cubicBezTo>
                <a:cubicBezTo>
                  <a:pt x="4781" y="1687"/>
                  <a:pt x="4312" y="1687"/>
                  <a:pt x="3875" y="1781"/>
                </a:cubicBezTo>
                <a:cubicBezTo>
                  <a:pt x="3875" y="1781"/>
                  <a:pt x="3875" y="1781"/>
                  <a:pt x="3875" y="1781"/>
                </a:cubicBezTo>
                <a:cubicBezTo>
                  <a:pt x="3469" y="1750"/>
                  <a:pt x="3062" y="1844"/>
                  <a:pt x="2656" y="1875"/>
                </a:cubicBezTo>
                <a:cubicBezTo>
                  <a:pt x="2312" y="1906"/>
                  <a:pt x="1969" y="1937"/>
                  <a:pt x="1625" y="1969"/>
                </a:cubicBezTo>
                <a:cubicBezTo>
                  <a:pt x="1312" y="2000"/>
                  <a:pt x="1000" y="2000"/>
                  <a:pt x="687" y="2031"/>
                </a:cubicBezTo>
                <a:cubicBezTo>
                  <a:pt x="500" y="2031"/>
                  <a:pt x="312" y="2094"/>
                  <a:pt x="125" y="2094"/>
                </a:cubicBezTo>
                <a:cubicBezTo>
                  <a:pt x="125" y="2219"/>
                  <a:pt x="125" y="2375"/>
                  <a:pt x="125" y="2500"/>
                </a:cubicBezTo>
                <a:cubicBezTo>
                  <a:pt x="375" y="2500"/>
                  <a:pt x="625" y="2469"/>
                  <a:pt x="875" y="2437"/>
                </a:cubicBezTo>
                <a:cubicBezTo>
                  <a:pt x="1031" y="2437"/>
                  <a:pt x="1187" y="2406"/>
                  <a:pt x="1312" y="2406"/>
                </a:cubicBezTo>
                <a:cubicBezTo>
                  <a:pt x="1625" y="2375"/>
                  <a:pt x="1906" y="2344"/>
                  <a:pt x="2187" y="2312"/>
                </a:cubicBezTo>
                <a:cubicBezTo>
                  <a:pt x="2656" y="2250"/>
                  <a:pt x="3094" y="2219"/>
                  <a:pt x="3562" y="2156"/>
                </a:cubicBezTo>
                <a:cubicBezTo>
                  <a:pt x="3844" y="2125"/>
                  <a:pt x="4156" y="2125"/>
                  <a:pt x="4437" y="2062"/>
                </a:cubicBezTo>
                <a:cubicBezTo>
                  <a:pt x="4781" y="2031"/>
                  <a:pt x="5094" y="2031"/>
                  <a:pt x="5406" y="1969"/>
                </a:cubicBezTo>
                <a:cubicBezTo>
                  <a:pt x="5500" y="1937"/>
                  <a:pt x="5625" y="1969"/>
                  <a:pt x="5719" y="1937"/>
                </a:cubicBezTo>
                <a:cubicBezTo>
                  <a:pt x="6469" y="1875"/>
                  <a:pt x="7250" y="1812"/>
                  <a:pt x="8000" y="1781"/>
                </a:cubicBezTo>
                <a:cubicBezTo>
                  <a:pt x="9031" y="1687"/>
                  <a:pt x="10094" y="1656"/>
                  <a:pt x="11125" y="1656"/>
                </a:cubicBezTo>
                <a:cubicBezTo>
                  <a:pt x="11437" y="1656"/>
                  <a:pt x="11750" y="1687"/>
                  <a:pt x="12062" y="1719"/>
                </a:cubicBezTo>
                <a:cubicBezTo>
                  <a:pt x="11812" y="1719"/>
                  <a:pt x="11562" y="1719"/>
                  <a:pt x="11344" y="1719"/>
                </a:cubicBezTo>
                <a:cubicBezTo>
                  <a:pt x="11344" y="1719"/>
                  <a:pt x="11344" y="1750"/>
                  <a:pt x="11344" y="1750"/>
                </a:cubicBezTo>
                <a:cubicBezTo>
                  <a:pt x="11594" y="1781"/>
                  <a:pt x="11875" y="1812"/>
                  <a:pt x="12125" y="1812"/>
                </a:cubicBezTo>
                <a:cubicBezTo>
                  <a:pt x="12344" y="1812"/>
                  <a:pt x="12531" y="1875"/>
                  <a:pt x="12750" y="1875"/>
                </a:cubicBezTo>
                <a:cubicBezTo>
                  <a:pt x="12812" y="1906"/>
                  <a:pt x="12844" y="2000"/>
                  <a:pt x="12906" y="2062"/>
                </a:cubicBezTo>
                <a:cubicBezTo>
                  <a:pt x="12906" y="2094"/>
                  <a:pt x="12906" y="2094"/>
                  <a:pt x="12875" y="2094"/>
                </a:cubicBezTo>
                <a:cubicBezTo>
                  <a:pt x="12844" y="2094"/>
                  <a:pt x="12812" y="2094"/>
                  <a:pt x="12781" y="2094"/>
                </a:cubicBezTo>
                <a:cubicBezTo>
                  <a:pt x="12750" y="2094"/>
                  <a:pt x="12719" y="2094"/>
                  <a:pt x="12719" y="2156"/>
                </a:cubicBezTo>
                <a:cubicBezTo>
                  <a:pt x="12719" y="2187"/>
                  <a:pt x="12750" y="2187"/>
                  <a:pt x="12781" y="2187"/>
                </a:cubicBezTo>
                <a:cubicBezTo>
                  <a:pt x="12812" y="2187"/>
                  <a:pt x="12812" y="2187"/>
                  <a:pt x="12844" y="2187"/>
                </a:cubicBezTo>
                <a:cubicBezTo>
                  <a:pt x="12906" y="2187"/>
                  <a:pt x="12969" y="2219"/>
                  <a:pt x="12969" y="2281"/>
                </a:cubicBezTo>
                <a:cubicBezTo>
                  <a:pt x="12969" y="2344"/>
                  <a:pt x="12906" y="2375"/>
                  <a:pt x="12844" y="2375"/>
                </a:cubicBezTo>
                <a:cubicBezTo>
                  <a:pt x="12625" y="2375"/>
                  <a:pt x="12406" y="2406"/>
                  <a:pt x="12156" y="2406"/>
                </a:cubicBezTo>
                <a:cubicBezTo>
                  <a:pt x="11656" y="2406"/>
                  <a:pt x="11156" y="2406"/>
                  <a:pt x="10656" y="2406"/>
                </a:cubicBezTo>
                <a:cubicBezTo>
                  <a:pt x="10594" y="2406"/>
                  <a:pt x="10562" y="2406"/>
                  <a:pt x="10531" y="2406"/>
                </a:cubicBezTo>
                <a:cubicBezTo>
                  <a:pt x="11187" y="2437"/>
                  <a:pt x="11875" y="2437"/>
                  <a:pt x="12531" y="2500"/>
                </a:cubicBezTo>
                <a:cubicBezTo>
                  <a:pt x="11875" y="2500"/>
                  <a:pt x="11219" y="2500"/>
                  <a:pt x="10562" y="2500"/>
                </a:cubicBezTo>
                <a:cubicBezTo>
                  <a:pt x="10594" y="2531"/>
                  <a:pt x="10625" y="2531"/>
                  <a:pt x="10687" y="2531"/>
                </a:cubicBezTo>
                <a:cubicBezTo>
                  <a:pt x="11094" y="2531"/>
                  <a:pt x="11500" y="2531"/>
                  <a:pt x="11906" y="2531"/>
                </a:cubicBezTo>
                <a:cubicBezTo>
                  <a:pt x="12094" y="2531"/>
                  <a:pt x="12281" y="2531"/>
                  <a:pt x="12469" y="2625"/>
                </a:cubicBezTo>
                <a:cubicBezTo>
                  <a:pt x="12406" y="2719"/>
                  <a:pt x="12281" y="2656"/>
                  <a:pt x="12187" y="2719"/>
                </a:cubicBezTo>
                <a:cubicBezTo>
                  <a:pt x="12562" y="2812"/>
                  <a:pt x="12969" y="2750"/>
                  <a:pt x="13312" y="2844"/>
                </a:cubicBezTo>
                <a:cubicBezTo>
                  <a:pt x="12906" y="2844"/>
                  <a:pt x="12500" y="2844"/>
                  <a:pt x="12094" y="2844"/>
                </a:cubicBezTo>
                <a:cubicBezTo>
                  <a:pt x="12469" y="2906"/>
                  <a:pt x="12844" y="2906"/>
                  <a:pt x="13219" y="3000"/>
                </a:cubicBezTo>
                <a:cubicBezTo>
                  <a:pt x="13125" y="3000"/>
                  <a:pt x="13031" y="3000"/>
                  <a:pt x="12906" y="3000"/>
                </a:cubicBezTo>
                <a:cubicBezTo>
                  <a:pt x="12875" y="3000"/>
                  <a:pt x="12844" y="3000"/>
                  <a:pt x="12812" y="3031"/>
                </a:cubicBezTo>
                <a:cubicBezTo>
                  <a:pt x="12812" y="3062"/>
                  <a:pt x="12750" y="3062"/>
                  <a:pt x="12750" y="3094"/>
                </a:cubicBezTo>
                <a:cubicBezTo>
                  <a:pt x="12750" y="3125"/>
                  <a:pt x="12812" y="3125"/>
                  <a:pt x="12844" y="3125"/>
                </a:cubicBezTo>
                <a:cubicBezTo>
                  <a:pt x="12969" y="3187"/>
                  <a:pt x="13156" y="3125"/>
                  <a:pt x="13281" y="3219"/>
                </a:cubicBezTo>
                <a:cubicBezTo>
                  <a:pt x="13219" y="3250"/>
                  <a:pt x="13125" y="3219"/>
                  <a:pt x="13031" y="3250"/>
                </a:cubicBezTo>
                <a:cubicBezTo>
                  <a:pt x="13156" y="3312"/>
                  <a:pt x="13219" y="3281"/>
                  <a:pt x="13312" y="3312"/>
                </a:cubicBezTo>
                <a:cubicBezTo>
                  <a:pt x="12969" y="3312"/>
                  <a:pt x="12625" y="3312"/>
                  <a:pt x="12312" y="3312"/>
                </a:cubicBezTo>
                <a:cubicBezTo>
                  <a:pt x="11500" y="3281"/>
                  <a:pt x="10719" y="3344"/>
                  <a:pt x="9937" y="3406"/>
                </a:cubicBezTo>
                <a:cubicBezTo>
                  <a:pt x="9437" y="3437"/>
                  <a:pt x="8906" y="3500"/>
                  <a:pt x="8406" y="3562"/>
                </a:cubicBezTo>
                <a:cubicBezTo>
                  <a:pt x="8000" y="3594"/>
                  <a:pt x="7594" y="3656"/>
                  <a:pt x="7187" y="3687"/>
                </a:cubicBezTo>
                <a:cubicBezTo>
                  <a:pt x="6812" y="3750"/>
                  <a:pt x="6437" y="3812"/>
                  <a:pt x="6031" y="3844"/>
                </a:cubicBezTo>
                <a:cubicBezTo>
                  <a:pt x="5687" y="3906"/>
                  <a:pt x="5344" y="3969"/>
                  <a:pt x="4969" y="4000"/>
                </a:cubicBezTo>
                <a:cubicBezTo>
                  <a:pt x="4656" y="4062"/>
                  <a:pt x="4312" y="4094"/>
                  <a:pt x="4000" y="4156"/>
                </a:cubicBezTo>
                <a:cubicBezTo>
                  <a:pt x="3750" y="4187"/>
                  <a:pt x="3500" y="4187"/>
                  <a:pt x="3281" y="4250"/>
                </a:cubicBezTo>
                <a:cubicBezTo>
                  <a:pt x="2906" y="4344"/>
                  <a:pt x="2531" y="4375"/>
                  <a:pt x="2187" y="4437"/>
                </a:cubicBezTo>
                <a:cubicBezTo>
                  <a:pt x="1781" y="4500"/>
                  <a:pt x="1344" y="4531"/>
                  <a:pt x="937" y="4594"/>
                </a:cubicBezTo>
                <a:cubicBezTo>
                  <a:pt x="719" y="4656"/>
                  <a:pt x="500" y="4656"/>
                  <a:pt x="281" y="4719"/>
                </a:cubicBezTo>
                <a:cubicBezTo>
                  <a:pt x="219" y="4719"/>
                  <a:pt x="156" y="4719"/>
                  <a:pt x="125" y="4719"/>
                </a:cubicBezTo>
                <a:cubicBezTo>
                  <a:pt x="125" y="4781"/>
                  <a:pt x="125" y="4844"/>
                  <a:pt x="125" y="4906"/>
                </a:cubicBezTo>
                <a:cubicBezTo>
                  <a:pt x="187" y="4875"/>
                  <a:pt x="312" y="4906"/>
                  <a:pt x="375" y="4875"/>
                </a:cubicBezTo>
                <a:cubicBezTo>
                  <a:pt x="625" y="4844"/>
                  <a:pt x="844" y="4812"/>
                  <a:pt x="1062" y="4781"/>
                </a:cubicBezTo>
                <a:cubicBezTo>
                  <a:pt x="1281" y="4750"/>
                  <a:pt x="1469" y="4719"/>
                  <a:pt x="1656" y="4687"/>
                </a:cubicBezTo>
                <a:cubicBezTo>
                  <a:pt x="1937" y="4625"/>
                  <a:pt x="2187" y="4594"/>
                  <a:pt x="2437" y="4562"/>
                </a:cubicBezTo>
                <a:cubicBezTo>
                  <a:pt x="2656" y="4531"/>
                  <a:pt x="2875" y="4500"/>
                  <a:pt x="3094" y="4469"/>
                </a:cubicBezTo>
                <a:cubicBezTo>
                  <a:pt x="3312" y="4406"/>
                  <a:pt x="3531" y="4375"/>
                  <a:pt x="3750" y="4344"/>
                </a:cubicBezTo>
                <a:cubicBezTo>
                  <a:pt x="4094" y="4250"/>
                  <a:pt x="4469" y="4250"/>
                  <a:pt x="4781" y="4156"/>
                </a:cubicBezTo>
                <a:cubicBezTo>
                  <a:pt x="4875" y="4125"/>
                  <a:pt x="4969" y="4125"/>
                  <a:pt x="5031" y="4125"/>
                </a:cubicBezTo>
                <a:cubicBezTo>
                  <a:pt x="5406" y="4062"/>
                  <a:pt x="5781" y="4000"/>
                  <a:pt x="6125" y="3937"/>
                </a:cubicBezTo>
                <a:cubicBezTo>
                  <a:pt x="6500" y="3906"/>
                  <a:pt x="6844" y="3844"/>
                  <a:pt x="7187" y="3812"/>
                </a:cubicBezTo>
                <a:cubicBezTo>
                  <a:pt x="7531" y="3750"/>
                  <a:pt x="7875" y="3719"/>
                  <a:pt x="8219" y="3687"/>
                </a:cubicBezTo>
                <a:cubicBezTo>
                  <a:pt x="8531" y="3625"/>
                  <a:pt x="8844" y="3625"/>
                  <a:pt x="9156" y="3562"/>
                </a:cubicBezTo>
                <a:cubicBezTo>
                  <a:pt x="9687" y="3500"/>
                  <a:pt x="10219" y="3500"/>
                  <a:pt x="10750" y="3469"/>
                </a:cubicBezTo>
                <a:cubicBezTo>
                  <a:pt x="11281" y="3437"/>
                  <a:pt x="11812" y="3437"/>
                  <a:pt x="12344" y="3469"/>
                </a:cubicBezTo>
                <a:cubicBezTo>
                  <a:pt x="12344" y="3469"/>
                  <a:pt x="12375" y="3469"/>
                  <a:pt x="12375" y="3469"/>
                </a:cubicBezTo>
                <a:cubicBezTo>
                  <a:pt x="12375" y="3531"/>
                  <a:pt x="12344" y="3500"/>
                  <a:pt x="12312" y="3500"/>
                </a:cubicBezTo>
                <a:cubicBezTo>
                  <a:pt x="12281" y="3531"/>
                  <a:pt x="12219" y="3500"/>
                  <a:pt x="12219" y="3562"/>
                </a:cubicBezTo>
                <a:cubicBezTo>
                  <a:pt x="12219" y="3594"/>
                  <a:pt x="12281" y="3594"/>
                  <a:pt x="12312" y="3594"/>
                </a:cubicBezTo>
                <a:cubicBezTo>
                  <a:pt x="12437" y="3562"/>
                  <a:pt x="12562" y="3687"/>
                  <a:pt x="12687" y="3656"/>
                </a:cubicBezTo>
                <a:cubicBezTo>
                  <a:pt x="12719" y="3656"/>
                  <a:pt x="12750" y="3687"/>
                  <a:pt x="12719" y="3719"/>
                </a:cubicBezTo>
                <a:cubicBezTo>
                  <a:pt x="12719" y="3750"/>
                  <a:pt x="12687" y="3750"/>
                  <a:pt x="12687" y="3750"/>
                </a:cubicBezTo>
                <a:cubicBezTo>
                  <a:pt x="12531" y="3750"/>
                  <a:pt x="12375" y="3750"/>
                  <a:pt x="12219" y="3750"/>
                </a:cubicBezTo>
                <a:cubicBezTo>
                  <a:pt x="11719" y="3750"/>
                  <a:pt x="11250" y="3812"/>
                  <a:pt x="10750" y="3844"/>
                </a:cubicBezTo>
                <a:cubicBezTo>
                  <a:pt x="10250" y="3906"/>
                  <a:pt x="9719" y="3937"/>
                  <a:pt x="9219" y="4000"/>
                </a:cubicBezTo>
                <a:cubicBezTo>
                  <a:pt x="8781" y="4062"/>
                  <a:pt x="8312" y="4125"/>
                  <a:pt x="7875" y="4187"/>
                </a:cubicBezTo>
                <a:cubicBezTo>
                  <a:pt x="7562" y="4219"/>
                  <a:pt x="7281" y="4250"/>
                  <a:pt x="6969" y="4312"/>
                </a:cubicBezTo>
                <a:cubicBezTo>
                  <a:pt x="6687" y="4281"/>
                  <a:pt x="5750" y="4469"/>
                  <a:pt x="5625" y="4469"/>
                </a:cubicBezTo>
                <a:cubicBezTo>
                  <a:pt x="5625" y="4469"/>
                  <a:pt x="5594" y="4500"/>
                  <a:pt x="5531" y="4531"/>
                </a:cubicBezTo>
                <a:cubicBezTo>
                  <a:pt x="5344" y="4562"/>
                  <a:pt x="5156" y="4562"/>
                  <a:pt x="5000" y="4594"/>
                </a:cubicBezTo>
                <a:cubicBezTo>
                  <a:pt x="4656" y="4656"/>
                  <a:pt x="4344" y="4687"/>
                  <a:pt x="4000" y="4750"/>
                </a:cubicBezTo>
                <a:cubicBezTo>
                  <a:pt x="3844" y="4781"/>
                  <a:pt x="3656" y="4781"/>
                  <a:pt x="3500" y="4875"/>
                </a:cubicBezTo>
                <a:cubicBezTo>
                  <a:pt x="3437" y="4906"/>
                  <a:pt x="3312" y="4906"/>
                  <a:pt x="3250" y="4906"/>
                </a:cubicBezTo>
                <a:cubicBezTo>
                  <a:pt x="3031" y="4906"/>
                  <a:pt x="2844" y="4969"/>
                  <a:pt x="2625" y="5000"/>
                </a:cubicBezTo>
                <a:cubicBezTo>
                  <a:pt x="2375" y="5031"/>
                  <a:pt x="2125" y="5062"/>
                  <a:pt x="1875" y="5094"/>
                </a:cubicBezTo>
                <a:cubicBezTo>
                  <a:pt x="1469" y="5156"/>
                  <a:pt x="1094" y="5219"/>
                  <a:pt x="719" y="5281"/>
                </a:cubicBezTo>
                <a:cubicBezTo>
                  <a:pt x="500" y="5312"/>
                  <a:pt x="312" y="5344"/>
                  <a:pt x="125" y="5375"/>
                </a:cubicBezTo>
                <a:cubicBezTo>
                  <a:pt x="125" y="6281"/>
                  <a:pt x="125" y="7187"/>
                  <a:pt x="125" y="8094"/>
                </a:cubicBezTo>
                <a:cubicBezTo>
                  <a:pt x="125" y="8094"/>
                  <a:pt x="125" y="8125"/>
                  <a:pt x="125" y="8125"/>
                </a:cubicBezTo>
                <a:cubicBezTo>
                  <a:pt x="125" y="8437"/>
                  <a:pt x="125" y="8719"/>
                  <a:pt x="125" y="9000"/>
                </a:cubicBezTo>
                <a:cubicBezTo>
                  <a:pt x="281" y="8937"/>
                  <a:pt x="281" y="8937"/>
                  <a:pt x="281" y="8937"/>
                </a:cubicBezTo>
                <a:cubicBezTo>
                  <a:pt x="344" y="8937"/>
                  <a:pt x="406" y="8937"/>
                  <a:pt x="469" y="8906"/>
                </a:cubicBezTo>
                <a:cubicBezTo>
                  <a:pt x="500" y="8906"/>
                  <a:pt x="531" y="8875"/>
                  <a:pt x="562" y="8875"/>
                </a:cubicBezTo>
                <a:cubicBezTo>
                  <a:pt x="781" y="8812"/>
                  <a:pt x="781" y="8812"/>
                  <a:pt x="781" y="8812"/>
                </a:cubicBezTo>
                <a:cubicBezTo>
                  <a:pt x="844" y="8812"/>
                  <a:pt x="875" y="8812"/>
                  <a:pt x="937" y="8781"/>
                </a:cubicBezTo>
                <a:cubicBezTo>
                  <a:pt x="937" y="8781"/>
                  <a:pt x="969" y="8781"/>
                  <a:pt x="969" y="8750"/>
                </a:cubicBezTo>
                <a:cubicBezTo>
                  <a:pt x="1312" y="8656"/>
                  <a:pt x="1312" y="8656"/>
                  <a:pt x="1312" y="8656"/>
                </a:cubicBezTo>
                <a:cubicBezTo>
                  <a:pt x="1312" y="8656"/>
                  <a:pt x="1312" y="8656"/>
                  <a:pt x="1344" y="8656"/>
                </a:cubicBezTo>
                <a:cubicBezTo>
                  <a:pt x="1375" y="8656"/>
                  <a:pt x="1437" y="8656"/>
                  <a:pt x="1469" y="8625"/>
                </a:cubicBezTo>
                <a:cubicBezTo>
                  <a:pt x="1469" y="8625"/>
                  <a:pt x="1469" y="8625"/>
                  <a:pt x="1469" y="8625"/>
                </a:cubicBezTo>
                <a:cubicBezTo>
                  <a:pt x="1875" y="8500"/>
                  <a:pt x="1875" y="8500"/>
                  <a:pt x="1875" y="8500"/>
                </a:cubicBezTo>
                <a:cubicBezTo>
                  <a:pt x="1969" y="8531"/>
                  <a:pt x="2062" y="8469"/>
                  <a:pt x="2156" y="8469"/>
                </a:cubicBezTo>
                <a:cubicBezTo>
                  <a:pt x="2187" y="8437"/>
                  <a:pt x="2187" y="8437"/>
                  <a:pt x="2187" y="8406"/>
                </a:cubicBezTo>
                <a:cubicBezTo>
                  <a:pt x="2375" y="8375"/>
                  <a:pt x="2375" y="8375"/>
                  <a:pt x="2375" y="8375"/>
                </a:cubicBezTo>
                <a:cubicBezTo>
                  <a:pt x="2437" y="8375"/>
                  <a:pt x="2500" y="8375"/>
                  <a:pt x="2594" y="8344"/>
                </a:cubicBezTo>
                <a:cubicBezTo>
                  <a:pt x="2687" y="8281"/>
                  <a:pt x="2812" y="8250"/>
                  <a:pt x="2937" y="8219"/>
                </a:cubicBezTo>
                <a:cubicBezTo>
                  <a:pt x="3531" y="8062"/>
                  <a:pt x="4094" y="7906"/>
                  <a:pt x="4687" y="7750"/>
                </a:cubicBezTo>
                <a:cubicBezTo>
                  <a:pt x="5125" y="7625"/>
                  <a:pt x="5562" y="7500"/>
                  <a:pt x="6000" y="7375"/>
                </a:cubicBezTo>
                <a:cubicBezTo>
                  <a:pt x="6500" y="7219"/>
                  <a:pt x="7000" y="7062"/>
                  <a:pt x="7469" y="6937"/>
                </a:cubicBezTo>
                <a:cubicBezTo>
                  <a:pt x="7812" y="6844"/>
                  <a:pt x="8156" y="6781"/>
                  <a:pt x="8500" y="6687"/>
                </a:cubicBezTo>
                <a:cubicBezTo>
                  <a:pt x="8937" y="6562"/>
                  <a:pt x="9375" y="6437"/>
                  <a:pt x="9812" y="6344"/>
                </a:cubicBezTo>
                <a:cubicBezTo>
                  <a:pt x="10187" y="6250"/>
                  <a:pt x="10562" y="6156"/>
                  <a:pt x="10937" y="6094"/>
                </a:cubicBezTo>
                <a:cubicBezTo>
                  <a:pt x="11500" y="5969"/>
                  <a:pt x="12031" y="5844"/>
                  <a:pt x="12594" y="5750"/>
                </a:cubicBezTo>
                <a:cubicBezTo>
                  <a:pt x="12812" y="5687"/>
                  <a:pt x="13062" y="5687"/>
                  <a:pt x="13281" y="5625"/>
                </a:cubicBezTo>
                <a:cubicBezTo>
                  <a:pt x="13562" y="5562"/>
                  <a:pt x="13844" y="5594"/>
                  <a:pt x="14125" y="5500"/>
                </a:cubicBezTo>
                <a:cubicBezTo>
                  <a:pt x="14125" y="5500"/>
                  <a:pt x="14156" y="5500"/>
                  <a:pt x="14156" y="5500"/>
                </a:cubicBezTo>
                <a:cubicBezTo>
                  <a:pt x="14219" y="5531"/>
                  <a:pt x="14281" y="5469"/>
                  <a:pt x="14281" y="5531"/>
                </a:cubicBezTo>
                <a:cubicBezTo>
                  <a:pt x="14281" y="5594"/>
                  <a:pt x="14219" y="5562"/>
                  <a:pt x="14187" y="5562"/>
                </a:cubicBezTo>
                <a:cubicBezTo>
                  <a:pt x="14125" y="5562"/>
                  <a:pt x="14094" y="5594"/>
                  <a:pt x="14062" y="5625"/>
                </a:cubicBezTo>
                <a:cubicBezTo>
                  <a:pt x="14031" y="5625"/>
                  <a:pt x="14000" y="5625"/>
                  <a:pt x="13969" y="5656"/>
                </a:cubicBezTo>
                <a:cubicBezTo>
                  <a:pt x="13906" y="5625"/>
                  <a:pt x="13875" y="5625"/>
                  <a:pt x="13844" y="5625"/>
                </a:cubicBezTo>
                <a:cubicBezTo>
                  <a:pt x="13687" y="5656"/>
                  <a:pt x="13500" y="5656"/>
                  <a:pt x="13312" y="5719"/>
                </a:cubicBezTo>
                <a:cubicBezTo>
                  <a:pt x="13281" y="5719"/>
                  <a:pt x="13187" y="5687"/>
                  <a:pt x="13156" y="5750"/>
                </a:cubicBezTo>
                <a:cubicBezTo>
                  <a:pt x="13125" y="5750"/>
                  <a:pt x="13125" y="5781"/>
                  <a:pt x="13125" y="5781"/>
                </a:cubicBezTo>
                <a:cubicBezTo>
                  <a:pt x="13031" y="5781"/>
                  <a:pt x="12906" y="5750"/>
                  <a:pt x="12844" y="5812"/>
                </a:cubicBezTo>
                <a:cubicBezTo>
                  <a:pt x="12781" y="5844"/>
                  <a:pt x="12750" y="5812"/>
                  <a:pt x="12719" y="5844"/>
                </a:cubicBezTo>
                <a:cubicBezTo>
                  <a:pt x="12531" y="5844"/>
                  <a:pt x="12406" y="5875"/>
                  <a:pt x="12250" y="5906"/>
                </a:cubicBezTo>
                <a:cubicBezTo>
                  <a:pt x="12031" y="5969"/>
                  <a:pt x="11812" y="5969"/>
                  <a:pt x="11594" y="6031"/>
                </a:cubicBezTo>
                <a:cubicBezTo>
                  <a:pt x="11344" y="6094"/>
                  <a:pt x="11062" y="6156"/>
                  <a:pt x="10781" y="6219"/>
                </a:cubicBezTo>
                <a:cubicBezTo>
                  <a:pt x="10594" y="6250"/>
                  <a:pt x="10437" y="6312"/>
                  <a:pt x="10250" y="6344"/>
                </a:cubicBezTo>
                <a:cubicBezTo>
                  <a:pt x="10031" y="6375"/>
                  <a:pt x="9812" y="6437"/>
                  <a:pt x="9594" y="6500"/>
                </a:cubicBezTo>
                <a:cubicBezTo>
                  <a:pt x="9406" y="6562"/>
                  <a:pt x="9250" y="6594"/>
                  <a:pt x="9062" y="6625"/>
                </a:cubicBezTo>
                <a:cubicBezTo>
                  <a:pt x="8875" y="6687"/>
                  <a:pt x="8656" y="6750"/>
                  <a:pt x="8469" y="6812"/>
                </a:cubicBezTo>
                <a:cubicBezTo>
                  <a:pt x="8250" y="6844"/>
                  <a:pt x="8062" y="6906"/>
                  <a:pt x="7875" y="6937"/>
                </a:cubicBezTo>
                <a:cubicBezTo>
                  <a:pt x="7656" y="6969"/>
                  <a:pt x="7437" y="7062"/>
                  <a:pt x="7219" y="7125"/>
                </a:cubicBezTo>
                <a:cubicBezTo>
                  <a:pt x="6906" y="7219"/>
                  <a:pt x="6625" y="7281"/>
                  <a:pt x="6344" y="7375"/>
                </a:cubicBezTo>
                <a:cubicBezTo>
                  <a:pt x="6000" y="7469"/>
                  <a:pt x="5656" y="7594"/>
                  <a:pt x="5312" y="7656"/>
                </a:cubicBezTo>
                <a:cubicBezTo>
                  <a:pt x="5094" y="7719"/>
                  <a:pt x="4875" y="7781"/>
                  <a:pt x="4656" y="7844"/>
                </a:cubicBezTo>
                <a:cubicBezTo>
                  <a:pt x="4437" y="7906"/>
                  <a:pt x="4219" y="7937"/>
                  <a:pt x="4000" y="8062"/>
                </a:cubicBezTo>
                <a:cubicBezTo>
                  <a:pt x="3906" y="8094"/>
                  <a:pt x="3812" y="8094"/>
                  <a:pt x="3719" y="8125"/>
                </a:cubicBezTo>
                <a:cubicBezTo>
                  <a:pt x="3531" y="8187"/>
                  <a:pt x="3375" y="8219"/>
                  <a:pt x="3187" y="8281"/>
                </a:cubicBezTo>
                <a:cubicBezTo>
                  <a:pt x="2875" y="8375"/>
                  <a:pt x="2531" y="8469"/>
                  <a:pt x="2187" y="8562"/>
                </a:cubicBezTo>
                <a:cubicBezTo>
                  <a:pt x="1594" y="8719"/>
                  <a:pt x="1594" y="8719"/>
                  <a:pt x="1594" y="8719"/>
                </a:cubicBezTo>
                <a:cubicBezTo>
                  <a:pt x="1531" y="8687"/>
                  <a:pt x="1469" y="8750"/>
                  <a:pt x="1406" y="8781"/>
                </a:cubicBezTo>
                <a:cubicBezTo>
                  <a:pt x="1375" y="8781"/>
                  <a:pt x="1375" y="8781"/>
                  <a:pt x="1344" y="8781"/>
                </a:cubicBezTo>
                <a:cubicBezTo>
                  <a:pt x="125" y="9125"/>
                  <a:pt x="125" y="9125"/>
                  <a:pt x="125" y="9125"/>
                </a:cubicBezTo>
                <a:cubicBezTo>
                  <a:pt x="125" y="9125"/>
                  <a:pt x="0" y="10469"/>
                  <a:pt x="125" y="10469"/>
                </a:cubicBezTo>
                <a:cubicBezTo>
                  <a:pt x="156" y="10469"/>
                  <a:pt x="187" y="10469"/>
                  <a:pt x="250" y="10437"/>
                </a:cubicBezTo>
                <a:cubicBezTo>
                  <a:pt x="531" y="10344"/>
                  <a:pt x="844" y="10250"/>
                  <a:pt x="1156" y="10156"/>
                </a:cubicBezTo>
                <a:cubicBezTo>
                  <a:pt x="1437" y="10094"/>
                  <a:pt x="1719" y="10000"/>
                  <a:pt x="2000" y="9906"/>
                </a:cubicBezTo>
                <a:cubicBezTo>
                  <a:pt x="2375" y="9812"/>
                  <a:pt x="2750" y="9687"/>
                  <a:pt x="3125" y="9562"/>
                </a:cubicBezTo>
                <a:cubicBezTo>
                  <a:pt x="3406" y="9500"/>
                  <a:pt x="3687" y="9406"/>
                  <a:pt x="3969" y="9312"/>
                </a:cubicBezTo>
                <a:cubicBezTo>
                  <a:pt x="4312" y="9187"/>
                  <a:pt x="4687" y="9094"/>
                  <a:pt x="5062" y="8969"/>
                </a:cubicBezTo>
                <a:cubicBezTo>
                  <a:pt x="5344" y="8875"/>
                  <a:pt x="5625" y="8812"/>
                  <a:pt x="5906" y="8719"/>
                </a:cubicBezTo>
                <a:cubicBezTo>
                  <a:pt x="6344" y="8562"/>
                  <a:pt x="6781" y="8437"/>
                  <a:pt x="7219" y="8281"/>
                </a:cubicBezTo>
                <a:cubicBezTo>
                  <a:pt x="7500" y="8219"/>
                  <a:pt x="7781" y="8125"/>
                  <a:pt x="8094" y="8031"/>
                </a:cubicBezTo>
                <a:cubicBezTo>
                  <a:pt x="8500" y="7906"/>
                  <a:pt x="8906" y="7781"/>
                  <a:pt x="9312" y="7687"/>
                </a:cubicBezTo>
                <a:cubicBezTo>
                  <a:pt x="9781" y="7531"/>
                  <a:pt x="10250" y="7406"/>
                  <a:pt x="10719" y="7281"/>
                </a:cubicBezTo>
                <a:cubicBezTo>
                  <a:pt x="11125" y="7187"/>
                  <a:pt x="11500" y="7094"/>
                  <a:pt x="11906" y="7000"/>
                </a:cubicBezTo>
                <a:cubicBezTo>
                  <a:pt x="11906" y="7000"/>
                  <a:pt x="12031" y="6969"/>
                  <a:pt x="12187" y="6937"/>
                </a:cubicBezTo>
                <a:cubicBezTo>
                  <a:pt x="12219" y="6937"/>
                  <a:pt x="12219" y="6937"/>
                  <a:pt x="12250" y="6937"/>
                </a:cubicBezTo>
                <a:cubicBezTo>
                  <a:pt x="12437" y="6875"/>
                  <a:pt x="12687" y="6844"/>
                  <a:pt x="12906" y="6781"/>
                </a:cubicBezTo>
                <a:cubicBezTo>
                  <a:pt x="12937" y="6781"/>
                  <a:pt x="12969" y="6781"/>
                  <a:pt x="13000" y="6781"/>
                </a:cubicBezTo>
                <a:cubicBezTo>
                  <a:pt x="13344" y="6687"/>
                  <a:pt x="13719" y="6625"/>
                  <a:pt x="14062" y="6562"/>
                </a:cubicBezTo>
                <a:cubicBezTo>
                  <a:pt x="14437" y="6500"/>
                  <a:pt x="14812" y="6469"/>
                  <a:pt x="15187" y="6406"/>
                </a:cubicBezTo>
                <a:cubicBezTo>
                  <a:pt x="15562" y="6375"/>
                  <a:pt x="15937" y="6375"/>
                  <a:pt x="16312" y="6344"/>
                </a:cubicBezTo>
                <a:cubicBezTo>
                  <a:pt x="16875" y="6312"/>
                  <a:pt x="17437" y="6375"/>
                  <a:pt x="18000" y="6437"/>
                </a:cubicBezTo>
                <a:cubicBezTo>
                  <a:pt x="18312" y="6500"/>
                  <a:pt x="18656" y="6562"/>
                  <a:pt x="18969" y="6687"/>
                </a:cubicBezTo>
                <a:cubicBezTo>
                  <a:pt x="19344" y="6844"/>
                  <a:pt x="19719" y="7062"/>
                  <a:pt x="20000" y="7406"/>
                </a:cubicBezTo>
                <a:cubicBezTo>
                  <a:pt x="20187" y="7625"/>
                  <a:pt x="20312" y="7875"/>
                  <a:pt x="20375" y="8156"/>
                </a:cubicBezTo>
                <a:cubicBezTo>
                  <a:pt x="20500" y="8719"/>
                  <a:pt x="20437" y="9281"/>
                  <a:pt x="20312" y="9812"/>
                </a:cubicBezTo>
                <a:cubicBezTo>
                  <a:pt x="20219" y="10219"/>
                  <a:pt x="20062" y="10625"/>
                  <a:pt x="19937" y="11031"/>
                </a:cubicBezTo>
                <a:cubicBezTo>
                  <a:pt x="19687" y="11719"/>
                  <a:pt x="19344" y="12375"/>
                  <a:pt x="19125" y="13094"/>
                </a:cubicBezTo>
                <a:cubicBezTo>
                  <a:pt x="18937" y="13531"/>
                  <a:pt x="18781" y="14000"/>
                  <a:pt x="18750" y="14469"/>
                </a:cubicBezTo>
                <a:cubicBezTo>
                  <a:pt x="18719" y="14719"/>
                  <a:pt x="18719" y="14969"/>
                  <a:pt x="18812" y="15219"/>
                </a:cubicBezTo>
                <a:cubicBezTo>
                  <a:pt x="18812" y="15219"/>
                  <a:pt x="18812" y="15219"/>
                  <a:pt x="18812" y="15219"/>
                </a:cubicBezTo>
                <a:cubicBezTo>
                  <a:pt x="18844" y="15219"/>
                  <a:pt x="18844" y="15250"/>
                  <a:pt x="18844" y="15281"/>
                </a:cubicBezTo>
                <a:cubicBezTo>
                  <a:pt x="18844" y="15250"/>
                  <a:pt x="18875" y="15250"/>
                  <a:pt x="18875" y="15250"/>
                </a:cubicBezTo>
                <a:cubicBezTo>
                  <a:pt x="18875" y="15219"/>
                  <a:pt x="18844" y="15219"/>
                  <a:pt x="18844" y="15219"/>
                </a:cubicBezTo>
                <a:cubicBezTo>
                  <a:pt x="18844" y="15156"/>
                  <a:pt x="18844" y="15125"/>
                  <a:pt x="18844" y="15062"/>
                </a:cubicBezTo>
                <a:cubicBezTo>
                  <a:pt x="18937" y="15281"/>
                  <a:pt x="19062" y="15500"/>
                  <a:pt x="19281" y="15594"/>
                </a:cubicBezTo>
                <a:cubicBezTo>
                  <a:pt x="19094" y="15437"/>
                  <a:pt x="18937" y="15219"/>
                  <a:pt x="18906" y="14969"/>
                </a:cubicBezTo>
                <a:cubicBezTo>
                  <a:pt x="18875" y="14594"/>
                  <a:pt x="18875" y="14375"/>
                  <a:pt x="18937" y="14250"/>
                </a:cubicBezTo>
                <a:cubicBezTo>
                  <a:pt x="18969" y="14281"/>
                  <a:pt x="18969" y="14312"/>
                  <a:pt x="18937" y="14375"/>
                </a:cubicBezTo>
                <a:cubicBezTo>
                  <a:pt x="18906" y="14594"/>
                  <a:pt x="18969" y="14812"/>
                  <a:pt x="19031" y="15031"/>
                </a:cubicBezTo>
                <a:cubicBezTo>
                  <a:pt x="19062" y="15094"/>
                  <a:pt x="19094" y="15125"/>
                  <a:pt x="19125" y="15156"/>
                </a:cubicBezTo>
                <a:cubicBezTo>
                  <a:pt x="19187" y="15156"/>
                  <a:pt x="19187" y="15156"/>
                  <a:pt x="19219" y="15187"/>
                </a:cubicBezTo>
                <a:cubicBezTo>
                  <a:pt x="19344" y="15406"/>
                  <a:pt x="19562" y="15531"/>
                  <a:pt x="19812" y="15594"/>
                </a:cubicBezTo>
                <a:cubicBezTo>
                  <a:pt x="19812" y="15594"/>
                  <a:pt x="19812" y="15562"/>
                  <a:pt x="19812" y="15562"/>
                </a:cubicBezTo>
                <a:cubicBezTo>
                  <a:pt x="19687" y="15469"/>
                  <a:pt x="19531" y="15375"/>
                  <a:pt x="19406" y="15250"/>
                </a:cubicBezTo>
                <a:cubicBezTo>
                  <a:pt x="19375" y="15219"/>
                  <a:pt x="19344" y="15187"/>
                  <a:pt x="19344" y="15125"/>
                </a:cubicBezTo>
                <a:cubicBezTo>
                  <a:pt x="19219" y="15000"/>
                  <a:pt x="19187" y="14844"/>
                  <a:pt x="19187" y="14656"/>
                </a:cubicBezTo>
                <a:cubicBezTo>
                  <a:pt x="19219" y="14781"/>
                  <a:pt x="19250" y="14875"/>
                  <a:pt x="19312" y="15000"/>
                </a:cubicBezTo>
                <a:cubicBezTo>
                  <a:pt x="19312" y="15000"/>
                  <a:pt x="19312" y="15000"/>
                  <a:pt x="19312" y="15000"/>
                </a:cubicBezTo>
                <a:cubicBezTo>
                  <a:pt x="19312" y="15000"/>
                  <a:pt x="19312" y="15062"/>
                  <a:pt x="19344" y="15062"/>
                </a:cubicBezTo>
                <a:cubicBezTo>
                  <a:pt x="19344" y="15094"/>
                  <a:pt x="19344" y="15094"/>
                  <a:pt x="19375" y="15125"/>
                </a:cubicBezTo>
                <a:cubicBezTo>
                  <a:pt x="19437" y="15187"/>
                  <a:pt x="19469" y="15312"/>
                  <a:pt x="19594" y="15312"/>
                </a:cubicBezTo>
                <a:cubicBezTo>
                  <a:pt x="19594" y="15375"/>
                  <a:pt x="19656" y="15406"/>
                  <a:pt x="19719" y="15437"/>
                </a:cubicBezTo>
                <a:cubicBezTo>
                  <a:pt x="19937" y="15562"/>
                  <a:pt x="20187" y="15656"/>
                  <a:pt x="20437" y="15687"/>
                </a:cubicBezTo>
                <a:cubicBezTo>
                  <a:pt x="20469" y="15687"/>
                  <a:pt x="20469" y="15719"/>
                  <a:pt x="20500" y="15750"/>
                </a:cubicBezTo>
                <a:cubicBezTo>
                  <a:pt x="20500" y="15750"/>
                  <a:pt x="20500" y="15750"/>
                  <a:pt x="20500" y="15750"/>
                </a:cubicBezTo>
                <a:cubicBezTo>
                  <a:pt x="20500" y="15750"/>
                  <a:pt x="20500" y="15750"/>
                  <a:pt x="20500" y="15750"/>
                </a:cubicBezTo>
                <a:cubicBezTo>
                  <a:pt x="20406" y="15719"/>
                  <a:pt x="20344" y="15719"/>
                  <a:pt x="20281" y="15719"/>
                </a:cubicBezTo>
                <a:cubicBezTo>
                  <a:pt x="20125" y="15656"/>
                  <a:pt x="19969" y="15625"/>
                  <a:pt x="19812" y="15562"/>
                </a:cubicBezTo>
                <a:cubicBezTo>
                  <a:pt x="19812" y="15562"/>
                  <a:pt x="19812" y="15594"/>
                  <a:pt x="19812" y="15594"/>
                </a:cubicBezTo>
                <a:cubicBezTo>
                  <a:pt x="19937" y="15687"/>
                  <a:pt x="20094" y="15719"/>
                  <a:pt x="20250" y="15750"/>
                </a:cubicBezTo>
                <a:cubicBezTo>
                  <a:pt x="20344" y="15812"/>
                  <a:pt x="20437" y="15812"/>
                  <a:pt x="20531" y="15812"/>
                </a:cubicBezTo>
                <a:cubicBezTo>
                  <a:pt x="20656" y="15844"/>
                  <a:pt x="20812" y="15781"/>
                  <a:pt x="20937" y="15812"/>
                </a:cubicBezTo>
                <a:cubicBezTo>
                  <a:pt x="21062" y="15875"/>
                  <a:pt x="21219" y="15875"/>
                  <a:pt x="21344" y="15875"/>
                </a:cubicBezTo>
                <a:cubicBezTo>
                  <a:pt x="21906" y="15906"/>
                  <a:pt x="22469" y="15844"/>
                  <a:pt x="23062" y="15812"/>
                </a:cubicBezTo>
                <a:cubicBezTo>
                  <a:pt x="23094" y="15812"/>
                  <a:pt x="23125" y="15812"/>
                  <a:pt x="23125" y="15781"/>
                </a:cubicBezTo>
                <a:cubicBezTo>
                  <a:pt x="23094" y="15750"/>
                  <a:pt x="23094" y="15750"/>
                  <a:pt x="23062" y="15750"/>
                </a:cubicBezTo>
                <a:cubicBezTo>
                  <a:pt x="23094" y="15750"/>
                  <a:pt x="23094" y="15750"/>
                  <a:pt x="23125" y="15750"/>
                </a:cubicBezTo>
                <a:cubicBezTo>
                  <a:pt x="23219" y="15750"/>
                  <a:pt x="23312" y="15781"/>
                  <a:pt x="23406" y="15750"/>
                </a:cubicBezTo>
                <a:cubicBezTo>
                  <a:pt x="23375" y="15719"/>
                  <a:pt x="23344" y="15719"/>
                  <a:pt x="23312" y="15719"/>
                </a:cubicBezTo>
                <a:cubicBezTo>
                  <a:pt x="23531" y="15750"/>
                  <a:pt x="23750" y="15719"/>
                  <a:pt x="23969" y="15656"/>
                </a:cubicBezTo>
                <a:cubicBezTo>
                  <a:pt x="23937" y="15656"/>
                  <a:pt x="23937" y="15656"/>
                  <a:pt x="23906" y="15656"/>
                </a:cubicBezTo>
                <a:cubicBezTo>
                  <a:pt x="23937" y="15625"/>
                  <a:pt x="23937" y="15656"/>
                  <a:pt x="23969" y="15656"/>
                </a:cubicBezTo>
                <a:cubicBezTo>
                  <a:pt x="24031" y="15625"/>
                  <a:pt x="24125" y="15719"/>
                  <a:pt x="24187" y="15625"/>
                </a:cubicBezTo>
                <a:cubicBezTo>
                  <a:pt x="24156" y="15625"/>
                  <a:pt x="24156" y="15594"/>
                  <a:pt x="24156" y="15594"/>
                </a:cubicBezTo>
                <a:cubicBezTo>
                  <a:pt x="24156" y="15594"/>
                  <a:pt x="24187" y="15594"/>
                  <a:pt x="24187" y="15625"/>
                </a:cubicBezTo>
                <a:cubicBezTo>
                  <a:pt x="24469" y="15625"/>
                  <a:pt x="24750" y="15531"/>
                  <a:pt x="25000" y="15469"/>
                </a:cubicBezTo>
                <a:cubicBezTo>
                  <a:pt x="25281" y="15406"/>
                  <a:pt x="25594" y="15375"/>
                  <a:pt x="25875" y="15281"/>
                </a:cubicBezTo>
                <a:cubicBezTo>
                  <a:pt x="26125" y="15219"/>
                  <a:pt x="26375" y="15156"/>
                  <a:pt x="26625" y="15094"/>
                </a:cubicBezTo>
                <a:cubicBezTo>
                  <a:pt x="26937" y="15000"/>
                  <a:pt x="27219" y="14906"/>
                  <a:pt x="27531" y="14812"/>
                </a:cubicBezTo>
                <a:cubicBezTo>
                  <a:pt x="28594" y="14562"/>
                  <a:pt x="30406" y="13844"/>
                  <a:pt x="30406" y="13844"/>
                </a:cubicBezTo>
                <a:cubicBezTo>
                  <a:pt x="30719" y="13719"/>
                  <a:pt x="31031" y="13625"/>
                  <a:pt x="31344" y="13500"/>
                </a:cubicBezTo>
                <a:cubicBezTo>
                  <a:pt x="31625" y="13375"/>
                  <a:pt x="31906" y="13281"/>
                  <a:pt x="32187" y="13187"/>
                </a:cubicBezTo>
                <a:cubicBezTo>
                  <a:pt x="32562" y="13031"/>
                  <a:pt x="32969" y="12875"/>
                  <a:pt x="33344" y="12719"/>
                </a:cubicBezTo>
                <a:cubicBezTo>
                  <a:pt x="33687" y="12594"/>
                  <a:pt x="34062" y="12469"/>
                  <a:pt x="34406" y="12312"/>
                </a:cubicBezTo>
                <a:cubicBezTo>
                  <a:pt x="34625" y="12219"/>
                  <a:pt x="34844" y="12156"/>
                  <a:pt x="35062" y="12062"/>
                </a:cubicBezTo>
                <a:cubicBezTo>
                  <a:pt x="35406" y="11906"/>
                  <a:pt x="35750" y="11781"/>
                  <a:pt x="36094" y="11625"/>
                </a:cubicBezTo>
                <a:cubicBezTo>
                  <a:pt x="36406" y="11500"/>
                  <a:pt x="36719" y="11375"/>
                  <a:pt x="37031" y="11250"/>
                </a:cubicBezTo>
                <a:cubicBezTo>
                  <a:pt x="37312" y="11156"/>
                  <a:pt x="37562" y="11031"/>
                  <a:pt x="37844" y="10969"/>
                </a:cubicBezTo>
                <a:cubicBezTo>
                  <a:pt x="37844" y="10906"/>
                  <a:pt x="37844" y="10875"/>
                  <a:pt x="37844" y="10844"/>
                </a:cubicBezTo>
                <a:cubicBezTo>
                  <a:pt x="37844" y="10750"/>
                  <a:pt x="37844" y="10687"/>
                  <a:pt x="37844" y="10594"/>
                </a:cubicBezTo>
                <a:cubicBezTo>
                  <a:pt x="37844" y="10531"/>
                  <a:pt x="37844" y="10500"/>
                  <a:pt x="37844" y="10437"/>
                </a:cubicBezTo>
                <a:cubicBezTo>
                  <a:pt x="37844" y="10375"/>
                  <a:pt x="37844" y="10344"/>
                  <a:pt x="37844" y="10312"/>
                </a:cubicBezTo>
                <a:cubicBezTo>
                  <a:pt x="37844" y="10125"/>
                  <a:pt x="37844" y="9937"/>
                  <a:pt x="37844" y="9781"/>
                </a:cubicBezTo>
                <a:cubicBezTo>
                  <a:pt x="37844" y="9750"/>
                  <a:pt x="37844" y="9750"/>
                  <a:pt x="37844" y="9719"/>
                </a:cubicBezTo>
                <a:cubicBezTo>
                  <a:pt x="37844" y="9656"/>
                  <a:pt x="37844" y="9562"/>
                  <a:pt x="37844" y="9500"/>
                </a:cubicBezTo>
                <a:cubicBezTo>
                  <a:pt x="37844" y="9469"/>
                  <a:pt x="37844" y="9437"/>
                  <a:pt x="37844" y="9437"/>
                </a:cubicBezTo>
                <a:cubicBezTo>
                  <a:pt x="37844" y="9031"/>
                  <a:pt x="37844" y="8656"/>
                  <a:pt x="37844" y="8281"/>
                </a:cubicBezTo>
                <a:cubicBezTo>
                  <a:pt x="37781" y="8281"/>
                  <a:pt x="37750" y="8312"/>
                  <a:pt x="37687" y="8344"/>
                </a:cubicBezTo>
                <a:cubicBezTo>
                  <a:pt x="37469" y="8406"/>
                  <a:pt x="37250" y="8500"/>
                  <a:pt x="37031" y="8594"/>
                </a:cubicBezTo>
                <a:cubicBezTo>
                  <a:pt x="36906" y="8625"/>
                  <a:pt x="36781" y="8656"/>
                  <a:pt x="36656" y="8719"/>
                </a:cubicBezTo>
                <a:cubicBezTo>
                  <a:pt x="36594" y="8750"/>
                  <a:pt x="36562" y="8687"/>
                  <a:pt x="36500" y="8719"/>
                </a:cubicBezTo>
                <a:cubicBezTo>
                  <a:pt x="36344" y="8719"/>
                  <a:pt x="36219" y="8781"/>
                  <a:pt x="36094" y="8844"/>
                </a:cubicBezTo>
                <a:cubicBezTo>
                  <a:pt x="36000" y="8875"/>
                  <a:pt x="35875" y="8937"/>
                  <a:pt x="35750" y="8937"/>
                </a:cubicBezTo>
                <a:cubicBezTo>
                  <a:pt x="35812" y="8875"/>
                  <a:pt x="35906" y="8844"/>
                  <a:pt x="35969" y="8812"/>
                </a:cubicBezTo>
                <a:cubicBezTo>
                  <a:pt x="36312" y="8656"/>
                  <a:pt x="36625" y="8531"/>
                  <a:pt x="36969" y="8406"/>
                </a:cubicBezTo>
                <a:cubicBezTo>
                  <a:pt x="37219" y="8281"/>
                  <a:pt x="37500" y="8187"/>
                  <a:pt x="37750" y="8062"/>
                </a:cubicBezTo>
                <a:cubicBezTo>
                  <a:pt x="37781" y="8062"/>
                  <a:pt x="37812" y="8062"/>
                  <a:pt x="37844" y="8062"/>
                </a:cubicBezTo>
                <a:cubicBezTo>
                  <a:pt x="37844" y="8031"/>
                  <a:pt x="37844" y="8000"/>
                  <a:pt x="37844" y="8000"/>
                </a:cubicBezTo>
                <a:cubicBezTo>
                  <a:pt x="37594" y="8094"/>
                  <a:pt x="37375" y="8156"/>
                  <a:pt x="37125" y="8250"/>
                </a:cubicBezTo>
                <a:cubicBezTo>
                  <a:pt x="37031" y="8312"/>
                  <a:pt x="36906" y="8312"/>
                  <a:pt x="36812" y="8344"/>
                </a:cubicBezTo>
                <a:cubicBezTo>
                  <a:pt x="36625" y="8406"/>
                  <a:pt x="36437" y="8469"/>
                  <a:pt x="36250" y="8531"/>
                </a:cubicBezTo>
                <a:cubicBezTo>
                  <a:pt x="36156" y="8594"/>
                  <a:pt x="36031" y="8594"/>
                  <a:pt x="35937" y="8656"/>
                </a:cubicBezTo>
                <a:cubicBezTo>
                  <a:pt x="35875" y="8687"/>
                  <a:pt x="35937" y="8594"/>
                  <a:pt x="36031" y="8531"/>
                </a:cubicBezTo>
                <a:cubicBezTo>
                  <a:pt x="36156" y="8437"/>
                  <a:pt x="36281" y="8312"/>
                  <a:pt x="36437" y="8250"/>
                </a:cubicBezTo>
                <a:cubicBezTo>
                  <a:pt x="36500" y="8219"/>
                  <a:pt x="36531" y="8156"/>
                  <a:pt x="36531" y="8062"/>
                </a:cubicBezTo>
                <a:cubicBezTo>
                  <a:pt x="36562" y="8000"/>
                  <a:pt x="36562" y="7969"/>
                  <a:pt x="36562" y="7906"/>
                </a:cubicBezTo>
                <a:cubicBezTo>
                  <a:pt x="36594" y="7750"/>
                  <a:pt x="36156" y="8000"/>
                  <a:pt x="36406" y="7687"/>
                </a:cubicBezTo>
                <a:cubicBezTo>
                  <a:pt x="36625" y="7375"/>
                  <a:pt x="36062" y="7594"/>
                  <a:pt x="36281" y="7406"/>
                </a:cubicBezTo>
                <a:cubicBezTo>
                  <a:pt x="36469" y="7250"/>
                  <a:pt x="36812" y="7062"/>
                  <a:pt x="36219" y="7250"/>
                </a:cubicBezTo>
                <a:cubicBezTo>
                  <a:pt x="36219" y="7250"/>
                  <a:pt x="36219" y="7250"/>
                  <a:pt x="36219" y="7250"/>
                </a:cubicBezTo>
                <a:cubicBezTo>
                  <a:pt x="36187" y="7250"/>
                  <a:pt x="36156" y="7281"/>
                  <a:pt x="36094" y="7281"/>
                </a:cubicBezTo>
                <a:cubicBezTo>
                  <a:pt x="36000" y="7312"/>
                  <a:pt x="35875" y="7375"/>
                  <a:pt x="35750" y="7406"/>
                </a:cubicBezTo>
                <a:cubicBezTo>
                  <a:pt x="35531" y="7500"/>
                  <a:pt x="35312" y="7562"/>
                  <a:pt x="35156" y="7625"/>
                </a:cubicBezTo>
                <a:cubicBezTo>
                  <a:pt x="35125" y="7625"/>
                  <a:pt x="35125" y="7625"/>
                  <a:pt x="35125" y="7594"/>
                </a:cubicBezTo>
                <a:cubicBezTo>
                  <a:pt x="35094" y="7562"/>
                  <a:pt x="35125" y="7531"/>
                  <a:pt x="35156" y="7531"/>
                </a:cubicBezTo>
                <a:cubicBezTo>
                  <a:pt x="35219" y="7531"/>
                  <a:pt x="35281" y="7469"/>
                  <a:pt x="35344" y="7437"/>
                </a:cubicBezTo>
                <a:cubicBezTo>
                  <a:pt x="35406" y="7437"/>
                  <a:pt x="35469" y="7375"/>
                  <a:pt x="35500" y="7312"/>
                </a:cubicBezTo>
                <a:cubicBezTo>
                  <a:pt x="35531" y="7250"/>
                  <a:pt x="35656" y="7219"/>
                  <a:pt x="35750" y="7156"/>
                </a:cubicBezTo>
                <a:cubicBezTo>
                  <a:pt x="36125" y="7000"/>
                  <a:pt x="36469" y="6844"/>
                  <a:pt x="36844" y="6719"/>
                </a:cubicBezTo>
                <a:cubicBezTo>
                  <a:pt x="37125" y="6625"/>
                  <a:pt x="37375" y="6469"/>
                  <a:pt x="37656" y="6406"/>
                </a:cubicBezTo>
                <a:cubicBezTo>
                  <a:pt x="37687" y="6406"/>
                  <a:pt x="37750" y="6406"/>
                  <a:pt x="37719" y="6344"/>
                </a:cubicBezTo>
                <a:cubicBezTo>
                  <a:pt x="37687" y="6281"/>
                  <a:pt x="37656" y="6312"/>
                  <a:pt x="37625" y="6312"/>
                </a:cubicBezTo>
                <a:cubicBezTo>
                  <a:pt x="37406" y="6406"/>
                  <a:pt x="37187" y="6469"/>
                  <a:pt x="36969" y="6562"/>
                </a:cubicBezTo>
                <a:cubicBezTo>
                  <a:pt x="36687" y="6687"/>
                  <a:pt x="36406" y="6781"/>
                  <a:pt x="36125" y="6906"/>
                </a:cubicBezTo>
                <a:cubicBezTo>
                  <a:pt x="35719" y="7094"/>
                  <a:pt x="35281" y="7250"/>
                  <a:pt x="34844" y="7437"/>
                </a:cubicBezTo>
                <a:cubicBezTo>
                  <a:pt x="34687" y="7500"/>
                  <a:pt x="34531" y="7531"/>
                  <a:pt x="34375" y="7594"/>
                </a:cubicBezTo>
                <a:cubicBezTo>
                  <a:pt x="34437" y="7531"/>
                  <a:pt x="34500" y="7469"/>
                  <a:pt x="34562" y="7437"/>
                </a:cubicBezTo>
                <a:cubicBezTo>
                  <a:pt x="34656" y="7406"/>
                  <a:pt x="34656" y="7344"/>
                  <a:pt x="34594" y="7281"/>
                </a:cubicBezTo>
                <a:cubicBezTo>
                  <a:pt x="34531" y="7219"/>
                  <a:pt x="34469" y="7156"/>
                  <a:pt x="34375" y="7094"/>
                </a:cubicBezTo>
                <a:cubicBezTo>
                  <a:pt x="34250" y="7031"/>
                  <a:pt x="34219" y="6906"/>
                  <a:pt x="34344" y="6781"/>
                </a:cubicBezTo>
                <a:cubicBezTo>
                  <a:pt x="34375" y="6750"/>
                  <a:pt x="34344" y="6719"/>
                  <a:pt x="34344" y="6687"/>
                </a:cubicBezTo>
                <a:cubicBezTo>
                  <a:pt x="34312" y="6562"/>
                  <a:pt x="34219" y="6562"/>
                  <a:pt x="34125" y="6562"/>
                </a:cubicBezTo>
                <a:cubicBezTo>
                  <a:pt x="34062" y="6594"/>
                  <a:pt x="34031" y="6531"/>
                  <a:pt x="34000" y="6469"/>
                </a:cubicBezTo>
                <a:cubicBezTo>
                  <a:pt x="33969" y="6437"/>
                  <a:pt x="34031" y="6406"/>
                  <a:pt x="34062" y="6375"/>
                </a:cubicBezTo>
                <a:cubicBezTo>
                  <a:pt x="34219" y="6094"/>
                  <a:pt x="34531" y="6094"/>
                  <a:pt x="34781" y="5937"/>
                </a:cubicBezTo>
                <a:cubicBezTo>
                  <a:pt x="34844" y="5937"/>
                  <a:pt x="34875" y="5906"/>
                  <a:pt x="34906" y="5906"/>
                </a:cubicBezTo>
                <a:cubicBezTo>
                  <a:pt x="34937" y="5906"/>
                  <a:pt x="34937" y="5875"/>
                  <a:pt x="34937" y="5875"/>
                </a:cubicBezTo>
                <a:cubicBezTo>
                  <a:pt x="34875" y="5844"/>
                  <a:pt x="34812" y="5875"/>
                  <a:pt x="34750" y="5906"/>
                </a:cubicBezTo>
                <a:cubicBezTo>
                  <a:pt x="34594" y="5969"/>
                  <a:pt x="34437" y="6062"/>
                  <a:pt x="34250" y="6000"/>
                </a:cubicBezTo>
                <a:cubicBezTo>
                  <a:pt x="34187" y="6000"/>
                  <a:pt x="34156" y="6000"/>
                  <a:pt x="34156" y="5937"/>
                </a:cubicBezTo>
                <a:cubicBezTo>
                  <a:pt x="34156" y="5875"/>
                  <a:pt x="34187" y="5875"/>
                  <a:pt x="34219" y="5875"/>
                </a:cubicBezTo>
                <a:cubicBezTo>
                  <a:pt x="34312" y="5812"/>
                  <a:pt x="34406" y="5781"/>
                  <a:pt x="34469" y="5687"/>
                </a:cubicBezTo>
                <a:cubicBezTo>
                  <a:pt x="34437" y="5656"/>
                  <a:pt x="34406" y="5687"/>
                  <a:pt x="34375" y="5656"/>
                </a:cubicBezTo>
                <a:cubicBezTo>
                  <a:pt x="34344" y="5625"/>
                  <a:pt x="34281" y="5656"/>
                  <a:pt x="34250" y="5594"/>
                </a:cubicBezTo>
                <a:cubicBezTo>
                  <a:pt x="34250" y="5562"/>
                  <a:pt x="34312" y="5531"/>
                  <a:pt x="34344" y="5500"/>
                </a:cubicBezTo>
                <a:cubicBezTo>
                  <a:pt x="34500" y="5406"/>
                  <a:pt x="34687" y="5344"/>
                  <a:pt x="34844" y="5250"/>
                </a:cubicBezTo>
                <a:cubicBezTo>
                  <a:pt x="35031" y="5125"/>
                  <a:pt x="35281" y="5094"/>
                  <a:pt x="35469" y="4937"/>
                </a:cubicBezTo>
                <a:cubicBezTo>
                  <a:pt x="35469" y="4937"/>
                  <a:pt x="35500" y="4937"/>
                  <a:pt x="35500" y="4906"/>
                </a:cubicBezTo>
                <a:cubicBezTo>
                  <a:pt x="35469" y="4844"/>
                  <a:pt x="35437" y="4875"/>
                  <a:pt x="35406" y="4875"/>
                </a:cubicBezTo>
                <a:cubicBezTo>
                  <a:pt x="35219" y="4969"/>
                  <a:pt x="35000" y="5062"/>
                  <a:pt x="34781" y="5156"/>
                </a:cubicBezTo>
                <a:cubicBezTo>
                  <a:pt x="34625" y="5219"/>
                  <a:pt x="34469" y="5281"/>
                  <a:pt x="34312" y="5344"/>
                </a:cubicBezTo>
                <a:cubicBezTo>
                  <a:pt x="34250" y="5344"/>
                  <a:pt x="34219" y="5375"/>
                  <a:pt x="34187" y="5312"/>
                </a:cubicBezTo>
                <a:cubicBezTo>
                  <a:pt x="34156" y="5281"/>
                  <a:pt x="34219" y="5219"/>
                  <a:pt x="34250" y="5187"/>
                </a:cubicBezTo>
                <a:cubicBezTo>
                  <a:pt x="34344" y="5125"/>
                  <a:pt x="34437" y="5031"/>
                  <a:pt x="34562" y="5000"/>
                </a:cubicBezTo>
                <a:cubicBezTo>
                  <a:pt x="34687" y="4906"/>
                  <a:pt x="34812" y="4812"/>
                  <a:pt x="34969" y="4719"/>
                </a:cubicBezTo>
                <a:cubicBezTo>
                  <a:pt x="35187" y="4562"/>
                  <a:pt x="35469" y="4500"/>
                  <a:pt x="35719" y="4375"/>
                </a:cubicBezTo>
                <a:cubicBezTo>
                  <a:pt x="35906" y="4250"/>
                  <a:pt x="36125" y="4156"/>
                  <a:pt x="36312" y="4031"/>
                </a:cubicBezTo>
                <a:cubicBezTo>
                  <a:pt x="36469" y="3969"/>
                  <a:pt x="36656" y="3906"/>
                  <a:pt x="36812" y="3844"/>
                </a:cubicBezTo>
                <a:cubicBezTo>
                  <a:pt x="37094" y="3719"/>
                  <a:pt x="37406" y="3594"/>
                  <a:pt x="37687" y="3469"/>
                </a:cubicBezTo>
                <a:cubicBezTo>
                  <a:pt x="37750" y="3469"/>
                  <a:pt x="37781" y="3437"/>
                  <a:pt x="37844" y="3437"/>
                </a:cubicBezTo>
                <a:cubicBezTo>
                  <a:pt x="37844" y="3344"/>
                  <a:pt x="37844" y="3250"/>
                  <a:pt x="37844" y="3156"/>
                </a:cubicBezTo>
                <a:cubicBezTo>
                  <a:pt x="37656" y="3250"/>
                  <a:pt x="37437" y="3312"/>
                  <a:pt x="37250" y="3406"/>
                </a:cubicBezTo>
                <a:cubicBezTo>
                  <a:pt x="36969" y="3562"/>
                  <a:pt x="36656" y="3687"/>
                  <a:pt x="36344" y="3844"/>
                </a:cubicBezTo>
                <a:cubicBezTo>
                  <a:pt x="35969" y="4000"/>
                  <a:pt x="35594" y="4156"/>
                  <a:pt x="35250" y="4344"/>
                </a:cubicBezTo>
                <a:cubicBezTo>
                  <a:pt x="34969" y="4469"/>
                  <a:pt x="34656" y="4594"/>
                  <a:pt x="34375" y="4719"/>
                </a:cubicBezTo>
                <a:cubicBezTo>
                  <a:pt x="34187" y="4812"/>
                  <a:pt x="34031" y="4875"/>
                  <a:pt x="33844" y="4969"/>
                </a:cubicBezTo>
                <a:cubicBezTo>
                  <a:pt x="33812" y="4969"/>
                  <a:pt x="33750" y="5031"/>
                  <a:pt x="33719" y="4969"/>
                </a:cubicBezTo>
                <a:cubicBezTo>
                  <a:pt x="33719" y="4906"/>
                  <a:pt x="33687" y="4844"/>
                  <a:pt x="33719" y="4781"/>
                </a:cubicBezTo>
                <a:cubicBezTo>
                  <a:pt x="33750" y="4750"/>
                  <a:pt x="33750" y="4750"/>
                  <a:pt x="33781" y="4719"/>
                </a:cubicBezTo>
                <a:cubicBezTo>
                  <a:pt x="33844" y="4656"/>
                  <a:pt x="33875" y="4594"/>
                  <a:pt x="33750" y="4562"/>
                </a:cubicBezTo>
                <a:cubicBezTo>
                  <a:pt x="33656" y="4531"/>
                  <a:pt x="33687" y="4500"/>
                  <a:pt x="33750" y="4437"/>
                </a:cubicBezTo>
                <a:cubicBezTo>
                  <a:pt x="33875" y="4344"/>
                  <a:pt x="34000" y="4281"/>
                  <a:pt x="34156" y="4187"/>
                </a:cubicBezTo>
                <a:cubicBezTo>
                  <a:pt x="34156" y="4187"/>
                  <a:pt x="34187" y="4187"/>
                  <a:pt x="34219" y="4187"/>
                </a:cubicBezTo>
                <a:cubicBezTo>
                  <a:pt x="34156" y="4094"/>
                  <a:pt x="34125" y="4187"/>
                  <a:pt x="34062" y="4156"/>
                </a:cubicBezTo>
                <a:cubicBezTo>
                  <a:pt x="34469" y="3906"/>
                  <a:pt x="34937" y="3750"/>
                  <a:pt x="35375" y="3500"/>
                </a:cubicBezTo>
                <a:cubicBezTo>
                  <a:pt x="35250" y="3469"/>
                  <a:pt x="35156" y="3500"/>
                  <a:pt x="35094" y="3531"/>
                </a:cubicBezTo>
                <a:cubicBezTo>
                  <a:pt x="34906" y="3656"/>
                  <a:pt x="34687" y="3719"/>
                  <a:pt x="34469" y="3812"/>
                </a:cubicBezTo>
                <a:cubicBezTo>
                  <a:pt x="34406" y="3844"/>
                  <a:pt x="34281" y="3875"/>
                  <a:pt x="34187" y="3844"/>
                </a:cubicBezTo>
                <a:cubicBezTo>
                  <a:pt x="34094" y="3812"/>
                  <a:pt x="34000" y="3812"/>
                  <a:pt x="33906" y="3844"/>
                </a:cubicBezTo>
                <a:cubicBezTo>
                  <a:pt x="33750" y="3906"/>
                  <a:pt x="33562" y="3937"/>
                  <a:pt x="33406" y="4031"/>
                </a:cubicBezTo>
                <a:cubicBezTo>
                  <a:pt x="33344" y="4062"/>
                  <a:pt x="33312" y="4031"/>
                  <a:pt x="33312" y="3969"/>
                </a:cubicBezTo>
                <a:cubicBezTo>
                  <a:pt x="33312" y="3969"/>
                  <a:pt x="33312" y="3969"/>
                  <a:pt x="33312" y="3969"/>
                </a:cubicBezTo>
                <a:cubicBezTo>
                  <a:pt x="33344" y="3969"/>
                  <a:pt x="33375" y="3969"/>
                  <a:pt x="33375" y="3906"/>
                </a:cubicBezTo>
                <a:cubicBezTo>
                  <a:pt x="33656" y="3781"/>
                  <a:pt x="33937" y="3656"/>
                  <a:pt x="34219" y="3531"/>
                </a:cubicBezTo>
                <a:cubicBezTo>
                  <a:pt x="34375" y="3500"/>
                  <a:pt x="34500" y="3406"/>
                  <a:pt x="34625" y="3344"/>
                </a:cubicBezTo>
                <a:cubicBezTo>
                  <a:pt x="35312" y="3000"/>
                  <a:pt x="35969" y="2687"/>
                  <a:pt x="36656" y="2375"/>
                </a:cubicBezTo>
                <a:cubicBezTo>
                  <a:pt x="37000" y="2219"/>
                  <a:pt x="37375" y="2062"/>
                  <a:pt x="37719" y="1875"/>
                </a:cubicBezTo>
                <a:cubicBezTo>
                  <a:pt x="37750" y="1875"/>
                  <a:pt x="37812" y="1875"/>
                  <a:pt x="37844" y="1844"/>
                </a:cubicBezTo>
                <a:cubicBezTo>
                  <a:pt x="37844" y="1750"/>
                  <a:pt x="37844" y="1656"/>
                  <a:pt x="37844" y="1562"/>
                </a:cubicBezTo>
                <a:cubicBezTo>
                  <a:pt x="37656" y="1562"/>
                  <a:pt x="37500" y="1687"/>
                  <a:pt x="37344" y="1750"/>
                </a:cubicBezTo>
                <a:cubicBezTo>
                  <a:pt x="37062" y="1844"/>
                  <a:pt x="36812" y="2000"/>
                  <a:pt x="36531" y="2125"/>
                </a:cubicBezTo>
                <a:cubicBezTo>
                  <a:pt x="36406" y="2156"/>
                  <a:pt x="36281" y="2250"/>
                  <a:pt x="36156" y="2281"/>
                </a:cubicBezTo>
                <a:cubicBezTo>
                  <a:pt x="36031" y="2344"/>
                  <a:pt x="35875" y="2406"/>
                  <a:pt x="35750" y="2437"/>
                </a:cubicBezTo>
                <a:cubicBezTo>
                  <a:pt x="35500" y="2531"/>
                  <a:pt x="35281" y="2656"/>
                  <a:pt x="35031" y="2750"/>
                </a:cubicBezTo>
                <a:cubicBezTo>
                  <a:pt x="35000" y="2750"/>
                  <a:pt x="34969" y="2781"/>
                  <a:pt x="34906" y="2781"/>
                </a:cubicBezTo>
                <a:cubicBezTo>
                  <a:pt x="34937" y="2687"/>
                  <a:pt x="35031" y="2656"/>
                  <a:pt x="35125" y="2625"/>
                </a:cubicBezTo>
                <a:lnTo>
                  <a:pt x="35125" y="2625"/>
                </a:lnTo>
                <a:cubicBezTo>
                  <a:pt x="35500" y="2437"/>
                  <a:pt x="35906" y="2281"/>
                  <a:pt x="36312" y="2062"/>
                </a:cubicBezTo>
                <a:cubicBezTo>
                  <a:pt x="36625" y="1906"/>
                  <a:pt x="36969" y="1812"/>
                  <a:pt x="37250" y="1625"/>
                </a:cubicBezTo>
                <a:cubicBezTo>
                  <a:pt x="37437" y="1531"/>
                  <a:pt x="37656" y="1469"/>
                  <a:pt x="37844" y="1344"/>
                </a:cubicBezTo>
                <a:cubicBezTo>
                  <a:pt x="37844" y="1250"/>
                  <a:pt x="37844" y="1156"/>
                  <a:pt x="37844" y="1062"/>
                </a:cubicBezTo>
                <a:cubicBezTo>
                  <a:pt x="37781" y="1094"/>
                  <a:pt x="37719" y="1094"/>
                  <a:pt x="37625" y="1125"/>
                </a:cubicBezTo>
                <a:cubicBezTo>
                  <a:pt x="37156" y="1344"/>
                  <a:pt x="36656" y="1594"/>
                  <a:pt x="36187" y="1812"/>
                </a:cubicBezTo>
                <a:cubicBezTo>
                  <a:pt x="35812" y="1969"/>
                  <a:pt x="35469" y="2125"/>
                  <a:pt x="35125" y="2281"/>
                </a:cubicBezTo>
                <a:cubicBezTo>
                  <a:pt x="34750" y="2437"/>
                  <a:pt x="34375" y="2625"/>
                  <a:pt x="34031" y="2781"/>
                </a:cubicBezTo>
                <a:cubicBezTo>
                  <a:pt x="33625" y="2969"/>
                  <a:pt x="33219" y="3156"/>
                  <a:pt x="32812" y="3344"/>
                </a:cubicBezTo>
                <a:cubicBezTo>
                  <a:pt x="32437" y="3500"/>
                  <a:pt x="32031" y="3687"/>
                  <a:pt x="31656" y="3844"/>
                </a:cubicBezTo>
                <a:cubicBezTo>
                  <a:pt x="31625" y="3875"/>
                  <a:pt x="31594" y="3875"/>
                  <a:pt x="31562" y="3906"/>
                </a:cubicBezTo>
                <a:cubicBezTo>
                  <a:pt x="31156" y="4094"/>
                  <a:pt x="30719" y="4281"/>
                  <a:pt x="30312" y="4469"/>
                </a:cubicBezTo>
                <a:cubicBezTo>
                  <a:pt x="29937" y="4625"/>
                  <a:pt x="29594" y="4812"/>
                  <a:pt x="29219" y="4969"/>
                </a:cubicBezTo>
                <a:cubicBezTo>
                  <a:pt x="28844" y="5125"/>
                  <a:pt x="28500" y="5281"/>
                  <a:pt x="28156" y="5437"/>
                </a:cubicBezTo>
                <a:cubicBezTo>
                  <a:pt x="27781" y="5625"/>
                  <a:pt x="27406" y="5781"/>
                  <a:pt x="27031" y="5937"/>
                </a:cubicBezTo>
                <a:cubicBezTo>
                  <a:pt x="26656" y="6094"/>
                  <a:pt x="26250" y="6250"/>
                  <a:pt x="25875" y="6437"/>
                </a:cubicBezTo>
                <a:cubicBezTo>
                  <a:pt x="25500" y="6594"/>
                  <a:pt x="25094" y="6750"/>
                  <a:pt x="24687" y="6906"/>
                </a:cubicBezTo>
                <a:cubicBezTo>
                  <a:pt x="24344" y="7062"/>
                  <a:pt x="23969" y="7187"/>
                  <a:pt x="23625" y="7312"/>
                </a:cubicBezTo>
                <a:cubicBezTo>
                  <a:pt x="23156" y="7500"/>
                  <a:pt x="22687" y="7656"/>
                  <a:pt x="22187" y="7812"/>
                </a:cubicBezTo>
                <a:cubicBezTo>
                  <a:pt x="21781" y="7969"/>
                  <a:pt x="21344" y="8094"/>
                  <a:pt x="20906" y="8187"/>
                </a:cubicBezTo>
                <a:cubicBezTo>
                  <a:pt x="20844" y="8219"/>
                  <a:pt x="20812" y="8281"/>
                  <a:pt x="20812" y="8344"/>
                </a:cubicBezTo>
                <a:cubicBezTo>
                  <a:pt x="20750" y="8406"/>
                  <a:pt x="20781" y="8437"/>
                  <a:pt x="20781" y="8500"/>
                </a:cubicBezTo>
                <a:cubicBezTo>
                  <a:pt x="20781" y="8531"/>
                  <a:pt x="20781" y="8531"/>
                  <a:pt x="20781" y="8562"/>
                </a:cubicBezTo>
                <a:cubicBezTo>
                  <a:pt x="20781" y="8594"/>
                  <a:pt x="20781" y="8625"/>
                  <a:pt x="20781" y="8656"/>
                </a:cubicBezTo>
                <a:cubicBezTo>
                  <a:pt x="20750" y="8562"/>
                  <a:pt x="20750" y="8500"/>
                  <a:pt x="20750" y="8406"/>
                </a:cubicBezTo>
                <a:cubicBezTo>
                  <a:pt x="20750" y="8156"/>
                  <a:pt x="20750" y="7906"/>
                  <a:pt x="20719" y="7656"/>
                </a:cubicBezTo>
                <a:cubicBezTo>
                  <a:pt x="20687" y="7437"/>
                  <a:pt x="20719" y="7219"/>
                  <a:pt x="20719" y="7000"/>
                </a:cubicBezTo>
                <a:cubicBezTo>
                  <a:pt x="20750" y="7000"/>
                  <a:pt x="20719" y="7062"/>
                  <a:pt x="20781" y="7062"/>
                </a:cubicBezTo>
                <a:cubicBezTo>
                  <a:pt x="20687" y="6625"/>
                  <a:pt x="20500" y="6250"/>
                  <a:pt x="20156" y="5937"/>
                </a:cubicBezTo>
                <a:cubicBezTo>
                  <a:pt x="20031" y="5781"/>
                  <a:pt x="19875" y="5656"/>
                  <a:pt x="19687" y="5594"/>
                </a:cubicBezTo>
                <a:cubicBezTo>
                  <a:pt x="19687" y="5594"/>
                  <a:pt x="19687" y="5594"/>
                  <a:pt x="19687" y="5594"/>
                </a:cubicBezTo>
                <a:cubicBezTo>
                  <a:pt x="19656" y="5562"/>
                  <a:pt x="19625" y="5531"/>
                  <a:pt x="19562" y="5500"/>
                </a:cubicBezTo>
                <a:cubicBezTo>
                  <a:pt x="19156" y="5281"/>
                  <a:pt x="18750" y="5125"/>
                  <a:pt x="18281" y="5031"/>
                </a:cubicBezTo>
                <a:cubicBezTo>
                  <a:pt x="18187" y="5031"/>
                  <a:pt x="18156" y="5000"/>
                  <a:pt x="18187" y="4906"/>
                </a:cubicBezTo>
                <a:cubicBezTo>
                  <a:pt x="18250" y="4625"/>
                  <a:pt x="18219" y="4344"/>
                  <a:pt x="18187" y="4062"/>
                </a:cubicBezTo>
                <a:cubicBezTo>
                  <a:pt x="18125" y="3562"/>
                  <a:pt x="17937" y="3156"/>
                  <a:pt x="17625" y="2781"/>
                </a:cubicBezTo>
                <a:cubicBezTo>
                  <a:pt x="17656" y="2687"/>
                  <a:pt x="17625" y="2594"/>
                  <a:pt x="17562" y="2500"/>
                </a:cubicBezTo>
                <a:cubicBezTo>
                  <a:pt x="17531" y="2469"/>
                  <a:pt x="17437" y="2406"/>
                  <a:pt x="17500" y="2312"/>
                </a:cubicBezTo>
                <a:cubicBezTo>
                  <a:pt x="17562" y="2250"/>
                  <a:pt x="17594" y="2375"/>
                  <a:pt x="17656" y="2375"/>
                </a:cubicBezTo>
                <a:cubicBezTo>
                  <a:pt x="17656" y="2375"/>
                  <a:pt x="17656" y="2375"/>
                  <a:pt x="17656" y="2375"/>
                </a:cubicBezTo>
                <a:cubicBezTo>
                  <a:pt x="17656" y="2406"/>
                  <a:pt x="17687" y="2406"/>
                  <a:pt x="17687" y="2406"/>
                </a:cubicBezTo>
                <a:cubicBezTo>
                  <a:pt x="17687" y="2375"/>
                  <a:pt x="17687" y="2375"/>
                  <a:pt x="17687" y="2375"/>
                </a:cubicBezTo>
                <a:cubicBezTo>
                  <a:pt x="17687" y="2375"/>
                  <a:pt x="17656" y="2375"/>
                  <a:pt x="17656" y="2375"/>
                </a:cubicBezTo>
                <a:cubicBezTo>
                  <a:pt x="17687" y="2375"/>
                  <a:pt x="17687" y="2375"/>
                  <a:pt x="17687" y="2375"/>
                </a:cubicBezTo>
                <a:cubicBezTo>
                  <a:pt x="17656" y="2250"/>
                  <a:pt x="17562" y="2219"/>
                  <a:pt x="17469" y="2125"/>
                </a:cubicBezTo>
                <a:cubicBezTo>
                  <a:pt x="17219" y="1875"/>
                  <a:pt x="16937" y="1656"/>
                  <a:pt x="16625" y="1469"/>
                </a:cubicBezTo>
                <a:cubicBezTo>
                  <a:pt x="16469" y="1375"/>
                  <a:pt x="16312" y="1281"/>
                  <a:pt x="16156" y="1187"/>
                </a:cubicBezTo>
                <a:cubicBezTo>
                  <a:pt x="16219" y="1156"/>
                  <a:pt x="16281" y="1187"/>
                  <a:pt x="16312" y="1219"/>
                </a:cubicBezTo>
                <a:cubicBezTo>
                  <a:pt x="16406" y="1250"/>
                  <a:pt x="16469" y="1281"/>
                  <a:pt x="16562" y="1281"/>
                </a:cubicBezTo>
                <a:cubicBezTo>
                  <a:pt x="16562" y="1281"/>
                  <a:pt x="16562" y="1281"/>
                  <a:pt x="16562" y="1281"/>
                </a:cubicBezTo>
                <a:cubicBezTo>
                  <a:pt x="16562" y="1281"/>
                  <a:pt x="16562" y="1281"/>
                  <a:pt x="16562" y="1281"/>
                </a:cubicBezTo>
                <a:cubicBezTo>
                  <a:pt x="16562" y="1344"/>
                  <a:pt x="16594" y="1312"/>
                  <a:pt x="16625" y="1312"/>
                </a:cubicBezTo>
                <a:cubicBezTo>
                  <a:pt x="16656" y="1344"/>
                  <a:pt x="16656" y="1344"/>
                  <a:pt x="16656" y="1344"/>
                </a:cubicBezTo>
                <a:close/>
                <a:moveTo>
                  <a:pt x="750" y="375"/>
                </a:moveTo>
                <a:cubicBezTo>
                  <a:pt x="750" y="375"/>
                  <a:pt x="750" y="344"/>
                  <a:pt x="750" y="344"/>
                </a:cubicBezTo>
                <a:cubicBezTo>
                  <a:pt x="625" y="344"/>
                  <a:pt x="469" y="344"/>
                  <a:pt x="312" y="344"/>
                </a:cubicBezTo>
                <a:cubicBezTo>
                  <a:pt x="312" y="344"/>
                  <a:pt x="312" y="375"/>
                  <a:pt x="312" y="375"/>
                </a:cubicBezTo>
                <a:cubicBezTo>
                  <a:pt x="469" y="375"/>
                  <a:pt x="625" y="375"/>
                  <a:pt x="750" y="375"/>
                </a:cubicBezTo>
                <a:close/>
                <a:moveTo>
                  <a:pt x="1969" y="281"/>
                </a:moveTo>
                <a:cubicBezTo>
                  <a:pt x="1969" y="281"/>
                  <a:pt x="1969" y="281"/>
                  <a:pt x="1969" y="281"/>
                </a:cubicBezTo>
                <a:cubicBezTo>
                  <a:pt x="1812" y="281"/>
                  <a:pt x="1625" y="281"/>
                  <a:pt x="1469" y="281"/>
                </a:cubicBezTo>
                <a:cubicBezTo>
                  <a:pt x="1469" y="281"/>
                  <a:pt x="1469" y="281"/>
                  <a:pt x="1469" y="281"/>
                </a:cubicBezTo>
                <a:cubicBezTo>
                  <a:pt x="1625" y="281"/>
                  <a:pt x="1812" y="281"/>
                  <a:pt x="1969" y="281"/>
                </a:cubicBezTo>
                <a:close/>
                <a:moveTo>
                  <a:pt x="1375" y="312"/>
                </a:moveTo>
                <a:cubicBezTo>
                  <a:pt x="1187" y="312"/>
                  <a:pt x="1031" y="312"/>
                  <a:pt x="844" y="312"/>
                </a:cubicBezTo>
                <a:cubicBezTo>
                  <a:pt x="969" y="375"/>
                  <a:pt x="1281" y="344"/>
                  <a:pt x="1375" y="312"/>
                </a:cubicBezTo>
                <a:close/>
                <a:moveTo>
                  <a:pt x="2344" y="250"/>
                </a:moveTo>
                <a:cubicBezTo>
                  <a:pt x="2656" y="219"/>
                  <a:pt x="3000" y="219"/>
                  <a:pt x="3312" y="187"/>
                </a:cubicBezTo>
                <a:cubicBezTo>
                  <a:pt x="3625" y="156"/>
                  <a:pt x="3937" y="125"/>
                  <a:pt x="4219" y="125"/>
                </a:cubicBezTo>
                <a:cubicBezTo>
                  <a:pt x="4250" y="125"/>
                  <a:pt x="4281" y="125"/>
                  <a:pt x="4281" y="125"/>
                </a:cubicBezTo>
                <a:cubicBezTo>
                  <a:pt x="4531" y="94"/>
                  <a:pt x="4750" y="62"/>
                  <a:pt x="4969" y="62"/>
                </a:cubicBezTo>
                <a:cubicBezTo>
                  <a:pt x="5312" y="62"/>
                  <a:pt x="5656" y="31"/>
                  <a:pt x="5969" y="0"/>
                </a:cubicBezTo>
                <a:cubicBezTo>
                  <a:pt x="4687" y="62"/>
                  <a:pt x="3406" y="156"/>
                  <a:pt x="2094" y="219"/>
                </a:cubicBezTo>
                <a:cubicBezTo>
                  <a:pt x="2187" y="250"/>
                  <a:pt x="2250" y="281"/>
                  <a:pt x="2344" y="250"/>
                </a:cubicBezTo>
                <a:close/>
                <a:moveTo>
                  <a:pt x="19187" y="10656"/>
                </a:moveTo>
                <a:cubicBezTo>
                  <a:pt x="19156" y="10687"/>
                  <a:pt x="19125" y="10750"/>
                  <a:pt x="19125" y="10812"/>
                </a:cubicBezTo>
                <a:cubicBezTo>
                  <a:pt x="19031" y="10937"/>
                  <a:pt x="19000" y="11094"/>
                  <a:pt x="18937" y="11250"/>
                </a:cubicBezTo>
                <a:cubicBezTo>
                  <a:pt x="18781" y="11562"/>
                  <a:pt x="18625" y="11906"/>
                  <a:pt x="18469" y="12250"/>
                </a:cubicBezTo>
                <a:cubicBezTo>
                  <a:pt x="18437" y="12344"/>
                  <a:pt x="18344" y="12437"/>
                  <a:pt x="18375" y="12562"/>
                </a:cubicBezTo>
                <a:cubicBezTo>
                  <a:pt x="18437" y="12437"/>
                  <a:pt x="18531" y="12312"/>
                  <a:pt x="18594" y="12156"/>
                </a:cubicBezTo>
                <a:cubicBezTo>
                  <a:pt x="18750" y="11781"/>
                  <a:pt x="18906" y="11437"/>
                  <a:pt x="19094" y="11062"/>
                </a:cubicBezTo>
                <a:cubicBezTo>
                  <a:pt x="19125" y="11000"/>
                  <a:pt x="19156" y="10906"/>
                  <a:pt x="19125" y="10844"/>
                </a:cubicBezTo>
                <a:cubicBezTo>
                  <a:pt x="19125" y="10844"/>
                  <a:pt x="19125" y="10844"/>
                  <a:pt x="19125" y="10844"/>
                </a:cubicBezTo>
                <a:cubicBezTo>
                  <a:pt x="19187" y="10781"/>
                  <a:pt x="19219" y="10719"/>
                  <a:pt x="19187" y="10656"/>
                </a:cubicBezTo>
                <a:close/>
                <a:moveTo>
                  <a:pt x="18156" y="8969"/>
                </a:moveTo>
                <a:cubicBezTo>
                  <a:pt x="18156" y="8969"/>
                  <a:pt x="18156" y="8969"/>
                  <a:pt x="18156" y="8969"/>
                </a:cubicBezTo>
                <a:cubicBezTo>
                  <a:pt x="18187" y="8906"/>
                  <a:pt x="18219" y="8844"/>
                  <a:pt x="18219" y="8750"/>
                </a:cubicBezTo>
                <a:cubicBezTo>
                  <a:pt x="18156" y="8812"/>
                  <a:pt x="18156" y="8906"/>
                  <a:pt x="18156" y="8969"/>
                </a:cubicBezTo>
                <a:cubicBezTo>
                  <a:pt x="18125" y="8969"/>
                  <a:pt x="18094" y="9031"/>
                  <a:pt x="18094" y="9031"/>
                </a:cubicBezTo>
                <a:cubicBezTo>
                  <a:pt x="17875" y="9531"/>
                  <a:pt x="17656" y="10000"/>
                  <a:pt x="17437" y="10437"/>
                </a:cubicBezTo>
                <a:cubicBezTo>
                  <a:pt x="17312" y="10687"/>
                  <a:pt x="17187" y="10906"/>
                  <a:pt x="17094" y="11156"/>
                </a:cubicBezTo>
                <a:cubicBezTo>
                  <a:pt x="17000" y="11281"/>
                  <a:pt x="16937" y="11406"/>
                  <a:pt x="16937" y="11531"/>
                </a:cubicBezTo>
                <a:cubicBezTo>
                  <a:pt x="16937" y="11531"/>
                  <a:pt x="16937" y="11531"/>
                  <a:pt x="16937" y="11531"/>
                </a:cubicBezTo>
                <a:cubicBezTo>
                  <a:pt x="16844" y="11656"/>
                  <a:pt x="16812" y="11781"/>
                  <a:pt x="16812" y="11937"/>
                </a:cubicBezTo>
                <a:cubicBezTo>
                  <a:pt x="16812" y="11844"/>
                  <a:pt x="16875" y="11812"/>
                  <a:pt x="16875" y="11750"/>
                </a:cubicBezTo>
                <a:cubicBezTo>
                  <a:pt x="16906" y="11656"/>
                  <a:pt x="16937" y="11625"/>
                  <a:pt x="16937" y="11531"/>
                </a:cubicBezTo>
                <a:cubicBezTo>
                  <a:pt x="17031" y="11437"/>
                  <a:pt x="17062" y="11312"/>
                  <a:pt x="17125" y="11187"/>
                </a:cubicBezTo>
                <a:cubicBezTo>
                  <a:pt x="17125" y="11156"/>
                  <a:pt x="17156" y="11125"/>
                  <a:pt x="17156" y="11125"/>
                </a:cubicBezTo>
                <a:cubicBezTo>
                  <a:pt x="17437" y="10562"/>
                  <a:pt x="17719" y="10000"/>
                  <a:pt x="17969" y="9437"/>
                </a:cubicBezTo>
                <a:cubicBezTo>
                  <a:pt x="18031" y="9281"/>
                  <a:pt x="18125" y="9125"/>
                  <a:pt x="18156" y="8969"/>
                </a:cubicBezTo>
                <a:close/>
                <a:moveTo>
                  <a:pt x="18937" y="10969"/>
                </a:moveTo>
                <a:cubicBezTo>
                  <a:pt x="19031" y="10750"/>
                  <a:pt x="19125" y="10500"/>
                  <a:pt x="19187" y="10250"/>
                </a:cubicBezTo>
                <a:cubicBezTo>
                  <a:pt x="19219" y="10219"/>
                  <a:pt x="19219" y="10187"/>
                  <a:pt x="19187" y="10187"/>
                </a:cubicBezTo>
                <a:cubicBezTo>
                  <a:pt x="19094" y="10344"/>
                  <a:pt x="19062" y="10500"/>
                  <a:pt x="19000" y="10656"/>
                </a:cubicBezTo>
                <a:cubicBezTo>
                  <a:pt x="18750" y="11250"/>
                  <a:pt x="18469" y="11812"/>
                  <a:pt x="18187" y="12437"/>
                </a:cubicBezTo>
                <a:cubicBezTo>
                  <a:pt x="18125" y="12594"/>
                  <a:pt x="18031" y="12750"/>
                  <a:pt x="18000" y="12937"/>
                </a:cubicBezTo>
                <a:cubicBezTo>
                  <a:pt x="18000" y="12937"/>
                  <a:pt x="18000" y="12937"/>
                  <a:pt x="18000" y="12937"/>
                </a:cubicBezTo>
                <a:cubicBezTo>
                  <a:pt x="17937" y="13000"/>
                  <a:pt x="17906" y="13062"/>
                  <a:pt x="17937" y="13156"/>
                </a:cubicBezTo>
                <a:cubicBezTo>
                  <a:pt x="17969" y="13062"/>
                  <a:pt x="18000" y="13000"/>
                  <a:pt x="18000" y="12937"/>
                </a:cubicBezTo>
                <a:cubicBezTo>
                  <a:pt x="18156" y="12656"/>
                  <a:pt x="18312" y="12375"/>
                  <a:pt x="18437" y="12062"/>
                </a:cubicBezTo>
                <a:cubicBezTo>
                  <a:pt x="18625" y="11719"/>
                  <a:pt x="18781" y="11344"/>
                  <a:pt x="18937" y="10969"/>
                </a:cubicBezTo>
                <a:close/>
                <a:moveTo>
                  <a:pt x="19969" y="9531"/>
                </a:moveTo>
                <a:cubicBezTo>
                  <a:pt x="20031" y="9156"/>
                  <a:pt x="20062" y="8812"/>
                  <a:pt x="19969" y="8500"/>
                </a:cubicBezTo>
                <a:cubicBezTo>
                  <a:pt x="19906" y="8750"/>
                  <a:pt x="19937" y="9031"/>
                  <a:pt x="19906" y="9344"/>
                </a:cubicBezTo>
                <a:cubicBezTo>
                  <a:pt x="19844" y="9687"/>
                  <a:pt x="19719" y="10031"/>
                  <a:pt x="19625" y="10406"/>
                </a:cubicBezTo>
                <a:cubicBezTo>
                  <a:pt x="19562" y="10687"/>
                  <a:pt x="19406" y="11000"/>
                  <a:pt x="19281" y="11312"/>
                </a:cubicBezTo>
                <a:cubicBezTo>
                  <a:pt x="19031" y="11937"/>
                  <a:pt x="18719" y="12531"/>
                  <a:pt x="18500" y="13187"/>
                </a:cubicBezTo>
                <a:cubicBezTo>
                  <a:pt x="18437" y="13375"/>
                  <a:pt x="18281" y="13562"/>
                  <a:pt x="18406" y="13781"/>
                </a:cubicBezTo>
                <a:cubicBezTo>
                  <a:pt x="18469" y="13562"/>
                  <a:pt x="18562" y="13375"/>
                  <a:pt x="18625" y="13156"/>
                </a:cubicBezTo>
                <a:cubicBezTo>
                  <a:pt x="18906" y="12500"/>
                  <a:pt x="19187" y="11875"/>
                  <a:pt x="19437" y="11250"/>
                </a:cubicBezTo>
                <a:cubicBezTo>
                  <a:pt x="19687" y="10687"/>
                  <a:pt x="19875" y="10125"/>
                  <a:pt x="19969" y="9531"/>
                </a:cubicBezTo>
                <a:close/>
                <a:moveTo>
                  <a:pt x="18844" y="13344"/>
                </a:moveTo>
                <a:cubicBezTo>
                  <a:pt x="18812" y="13406"/>
                  <a:pt x="18812" y="13531"/>
                  <a:pt x="18750" y="13594"/>
                </a:cubicBezTo>
                <a:cubicBezTo>
                  <a:pt x="18750" y="13625"/>
                  <a:pt x="18750" y="13656"/>
                  <a:pt x="18781" y="13687"/>
                </a:cubicBezTo>
                <a:cubicBezTo>
                  <a:pt x="18844" y="13687"/>
                  <a:pt x="18812" y="13656"/>
                  <a:pt x="18812" y="13625"/>
                </a:cubicBezTo>
                <a:cubicBezTo>
                  <a:pt x="18906" y="13437"/>
                  <a:pt x="18969" y="13281"/>
                  <a:pt x="19031" y="13094"/>
                </a:cubicBezTo>
                <a:cubicBezTo>
                  <a:pt x="19125" y="12812"/>
                  <a:pt x="19250" y="12531"/>
                  <a:pt x="19375" y="12250"/>
                </a:cubicBezTo>
                <a:cubicBezTo>
                  <a:pt x="19437" y="12094"/>
                  <a:pt x="19500" y="11937"/>
                  <a:pt x="19562" y="11750"/>
                </a:cubicBezTo>
                <a:cubicBezTo>
                  <a:pt x="19656" y="11531"/>
                  <a:pt x="19719" y="11312"/>
                  <a:pt x="19812" y="11125"/>
                </a:cubicBezTo>
                <a:cubicBezTo>
                  <a:pt x="19906" y="10875"/>
                  <a:pt x="19969" y="10625"/>
                  <a:pt x="20062" y="10406"/>
                </a:cubicBezTo>
                <a:cubicBezTo>
                  <a:pt x="20187" y="10062"/>
                  <a:pt x="20281" y="9687"/>
                  <a:pt x="20344" y="9312"/>
                </a:cubicBezTo>
                <a:cubicBezTo>
                  <a:pt x="20375" y="8969"/>
                  <a:pt x="20375" y="8594"/>
                  <a:pt x="20312" y="8219"/>
                </a:cubicBezTo>
                <a:cubicBezTo>
                  <a:pt x="20156" y="7625"/>
                  <a:pt x="19781" y="7219"/>
                  <a:pt x="19219" y="6937"/>
                </a:cubicBezTo>
                <a:cubicBezTo>
                  <a:pt x="19250" y="7000"/>
                  <a:pt x="19250" y="7062"/>
                  <a:pt x="19312" y="7062"/>
                </a:cubicBezTo>
                <a:cubicBezTo>
                  <a:pt x="19562" y="7219"/>
                  <a:pt x="19781" y="7437"/>
                  <a:pt x="19937" y="7656"/>
                </a:cubicBezTo>
                <a:cubicBezTo>
                  <a:pt x="20187" y="8031"/>
                  <a:pt x="20281" y="8437"/>
                  <a:pt x="20250" y="8875"/>
                </a:cubicBezTo>
                <a:cubicBezTo>
                  <a:pt x="20219" y="9031"/>
                  <a:pt x="20156" y="9187"/>
                  <a:pt x="20094" y="9344"/>
                </a:cubicBezTo>
                <a:cubicBezTo>
                  <a:pt x="20031" y="9656"/>
                  <a:pt x="19969" y="9937"/>
                  <a:pt x="19906" y="10219"/>
                </a:cubicBezTo>
                <a:cubicBezTo>
                  <a:pt x="19750" y="10750"/>
                  <a:pt x="19531" y="11250"/>
                  <a:pt x="19312" y="11781"/>
                </a:cubicBezTo>
                <a:cubicBezTo>
                  <a:pt x="19219" y="12000"/>
                  <a:pt x="19125" y="12187"/>
                  <a:pt x="19062" y="12406"/>
                </a:cubicBezTo>
                <a:cubicBezTo>
                  <a:pt x="19031" y="12437"/>
                  <a:pt x="19000" y="12500"/>
                  <a:pt x="19062" y="12500"/>
                </a:cubicBezTo>
                <a:cubicBezTo>
                  <a:pt x="19187" y="12500"/>
                  <a:pt x="19125" y="12594"/>
                  <a:pt x="19125" y="12625"/>
                </a:cubicBezTo>
                <a:cubicBezTo>
                  <a:pt x="19031" y="12875"/>
                  <a:pt x="18937" y="13094"/>
                  <a:pt x="18844" y="13344"/>
                </a:cubicBezTo>
                <a:close/>
                <a:moveTo>
                  <a:pt x="37437" y="6812"/>
                </a:moveTo>
                <a:cubicBezTo>
                  <a:pt x="37469" y="6844"/>
                  <a:pt x="37500" y="6844"/>
                  <a:pt x="37531" y="6812"/>
                </a:cubicBezTo>
                <a:cubicBezTo>
                  <a:pt x="37625" y="6781"/>
                  <a:pt x="37750" y="6719"/>
                  <a:pt x="37844" y="6687"/>
                </a:cubicBezTo>
                <a:cubicBezTo>
                  <a:pt x="37844" y="6656"/>
                  <a:pt x="37844" y="6625"/>
                  <a:pt x="37844" y="6594"/>
                </a:cubicBezTo>
                <a:cubicBezTo>
                  <a:pt x="37719" y="6625"/>
                  <a:pt x="37594" y="6687"/>
                  <a:pt x="37500" y="6750"/>
                </a:cubicBezTo>
                <a:cubicBezTo>
                  <a:pt x="37469" y="6750"/>
                  <a:pt x="37406" y="6750"/>
                  <a:pt x="37437" y="6812"/>
                </a:cubicBezTo>
                <a:close/>
                <a:moveTo>
                  <a:pt x="37000" y="7687"/>
                </a:moveTo>
                <a:cubicBezTo>
                  <a:pt x="37125" y="7562"/>
                  <a:pt x="37312" y="7531"/>
                  <a:pt x="37469" y="7469"/>
                </a:cubicBezTo>
                <a:cubicBezTo>
                  <a:pt x="37594" y="7406"/>
                  <a:pt x="37719" y="7344"/>
                  <a:pt x="37844" y="7312"/>
                </a:cubicBezTo>
                <a:cubicBezTo>
                  <a:pt x="37844" y="7281"/>
                  <a:pt x="37844" y="7250"/>
                  <a:pt x="37844" y="7250"/>
                </a:cubicBezTo>
                <a:cubicBezTo>
                  <a:pt x="37531" y="7344"/>
                  <a:pt x="37219" y="7500"/>
                  <a:pt x="36875" y="7625"/>
                </a:cubicBezTo>
                <a:cubicBezTo>
                  <a:pt x="36937" y="7625"/>
                  <a:pt x="36937" y="7719"/>
                  <a:pt x="37000" y="7687"/>
                </a:cubicBezTo>
                <a:close/>
                <a:moveTo>
                  <a:pt x="844" y="3531"/>
                </a:moveTo>
                <a:cubicBezTo>
                  <a:pt x="1125" y="3531"/>
                  <a:pt x="1406" y="3437"/>
                  <a:pt x="1719" y="3469"/>
                </a:cubicBezTo>
                <a:cubicBezTo>
                  <a:pt x="1750" y="3469"/>
                  <a:pt x="1781" y="3469"/>
                  <a:pt x="1781" y="3437"/>
                </a:cubicBezTo>
                <a:cubicBezTo>
                  <a:pt x="1906" y="3375"/>
                  <a:pt x="2062" y="3375"/>
                  <a:pt x="2187" y="3375"/>
                </a:cubicBezTo>
                <a:cubicBezTo>
                  <a:pt x="2281" y="3375"/>
                  <a:pt x="2344" y="3375"/>
                  <a:pt x="2437" y="3312"/>
                </a:cubicBezTo>
                <a:cubicBezTo>
                  <a:pt x="2281" y="3281"/>
                  <a:pt x="2187" y="3344"/>
                  <a:pt x="2062" y="3375"/>
                </a:cubicBezTo>
                <a:cubicBezTo>
                  <a:pt x="1781" y="3375"/>
                  <a:pt x="1531" y="3437"/>
                  <a:pt x="1250" y="3469"/>
                </a:cubicBezTo>
                <a:cubicBezTo>
                  <a:pt x="1125" y="3469"/>
                  <a:pt x="1031" y="3437"/>
                  <a:pt x="937" y="3469"/>
                </a:cubicBezTo>
                <a:cubicBezTo>
                  <a:pt x="656" y="3562"/>
                  <a:pt x="375" y="3531"/>
                  <a:pt x="125" y="3594"/>
                </a:cubicBezTo>
                <a:cubicBezTo>
                  <a:pt x="125" y="3625"/>
                  <a:pt x="125" y="3625"/>
                  <a:pt x="125" y="3656"/>
                </a:cubicBezTo>
                <a:cubicBezTo>
                  <a:pt x="156" y="3625"/>
                  <a:pt x="187" y="3625"/>
                  <a:pt x="250" y="3594"/>
                </a:cubicBezTo>
                <a:cubicBezTo>
                  <a:pt x="437" y="3594"/>
                  <a:pt x="656" y="3562"/>
                  <a:pt x="844" y="3531"/>
                </a:cubicBezTo>
                <a:close/>
                <a:moveTo>
                  <a:pt x="1656" y="3344"/>
                </a:moveTo>
                <a:cubicBezTo>
                  <a:pt x="1937" y="3281"/>
                  <a:pt x="2250" y="3281"/>
                  <a:pt x="2531" y="3250"/>
                </a:cubicBezTo>
                <a:cubicBezTo>
                  <a:pt x="2844" y="3187"/>
                  <a:pt x="3156" y="3156"/>
                  <a:pt x="3437" y="3125"/>
                </a:cubicBezTo>
                <a:cubicBezTo>
                  <a:pt x="3719" y="3094"/>
                  <a:pt x="3969" y="3031"/>
                  <a:pt x="4250" y="3000"/>
                </a:cubicBezTo>
                <a:cubicBezTo>
                  <a:pt x="4500" y="3000"/>
                  <a:pt x="4719" y="2937"/>
                  <a:pt x="4969" y="2906"/>
                </a:cubicBezTo>
                <a:cubicBezTo>
                  <a:pt x="4937" y="2906"/>
                  <a:pt x="4875" y="2906"/>
                  <a:pt x="4812" y="2906"/>
                </a:cubicBezTo>
                <a:cubicBezTo>
                  <a:pt x="4344" y="2937"/>
                  <a:pt x="3844" y="3000"/>
                  <a:pt x="3344" y="3062"/>
                </a:cubicBezTo>
                <a:cubicBezTo>
                  <a:pt x="3250" y="3094"/>
                  <a:pt x="3156" y="3062"/>
                  <a:pt x="3062" y="3094"/>
                </a:cubicBezTo>
                <a:cubicBezTo>
                  <a:pt x="2750" y="3156"/>
                  <a:pt x="2469" y="3125"/>
                  <a:pt x="2187" y="3187"/>
                </a:cubicBezTo>
                <a:cubicBezTo>
                  <a:pt x="1969" y="3250"/>
                  <a:pt x="1719" y="3219"/>
                  <a:pt x="1500" y="3281"/>
                </a:cubicBezTo>
                <a:cubicBezTo>
                  <a:pt x="1250" y="3312"/>
                  <a:pt x="969" y="3312"/>
                  <a:pt x="719" y="3344"/>
                </a:cubicBezTo>
                <a:cubicBezTo>
                  <a:pt x="500" y="3375"/>
                  <a:pt x="312" y="3375"/>
                  <a:pt x="125" y="3375"/>
                </a:cubicBezTo>
                <a:cubicBezTo>
                  <a:pt x="125" y="3437"/>
                  <a:pt x="125" y="3500"/>
                  <a:pt x="125" y="3531"/>
                </a:cubicBezTo>
                <a:cubicBezTo>
                  <a:pt x="500" y="3500"/>
                  <a:pt x="906" y="3437"/>
                  <a:pt x="1281" y="3375"/>
                </a:cubicBezTo>
                <a:cubicBezTo>
                  <a:pt x="1406" y="3375"/>
                  <a:pt x="1562" y="3375"/>
                  <a:pt x="1656" y="3344"/>
                </a:cubicBezTo>
                <a:close/>
                <a:moveTo>
                  <a:pt x="37531" y="1312"/>
                </a:moveTo>
                <a:cubicBezTo>
                  <a:pt x="37562" y="1312"/>
                  <a:pt x="37594" y="1344"/>
                  <a:pt x="37625" y="1344"/>
                </a:cubicBezTo>
                <a:cubicBezTo>
                  <a:pt x="37625" y="1406"/>
                  <a:pt x="37594" y="1406"/>
                  <a:pt x="37531" y="1406"/>
                </a:cubicBezTo>
                <a:cubicBezTo>
                  <a:pt x="37500" y="1406"/>
                  <a:pt x="37562" y="1344"/>
                  <a:pt x="37531" y="1312"/>
                </a:cubicBezTo>
                <a:close/>
                <a:moveTo>
                  <a:pt x="37437" y="1437"/>
                </a:moveTo>
                <a:cubicBezTo>
                  <a:pt x="37437" y="1437"/>
                  <a:pt x="37437" y="1437"/>
                  <a:pt x="37469" y="1437"/>
                </a:cubicBezTo>
                <a:cubicBezTo>
                  <a:pt x="37437" y="1437"/>
                  <a:pt x="37437" y="1469"/>
                  <a:pt x="37437" y="1469"/>
                </a:cubicBezTo>
                <a:cubicBezTo>
                  <a:pt x="37406" y="1469"/>
                  <a:pt x="37406" y="1469"/>
                  <a:pt x="37406" y="1437"/>
                </a:cubicBezTo>
                <a:cubicBezTo>
                  <a:pt x="37406" y="1437"/>
                  <a:pt x="37406" y="1437"/>
                  <a:pt x="37437" y="1437"/>
                </a:cubicBezTo>
                <a:close/>
                <a:moveTo>
                  <a:pt x="36500" y="1875"/>
                </a:moveTo>
                <a:cubicBezTo>
                  <a:pt x="36500" y="1875"/>
                  <a:pt x="36500" y="1875"/>
                  <a:pt x="36500" y="1875"/>
                </a:cubicBezTo>
                <a:cubicBezTo>
                  <a:pt x="36500" y="1875"/>
                  <a:pt x="36500" y="1875"/>
                  <a:pt x="36500" y="1875"/>
                </a:cubicBezTo>
                <a:cubicBezTo>
                  <a:pt x="36500" y="1875"/>
                  <a:pt x="36500" y="1875"/>
                  <a:pt x="36500" y="1875"/>
                </a:cubicBezTo>
                <a:close/>
                <a:moveTo>
                  <a:pt x="36437" y="1906"/>
                </a:moveTo>
                <a:cubicBezTo>
                  <a:pt x="36437" y="1875"/>
                  <a:pt x="36469" y="1875"/>
                  <a:pt x="36500" y="1875"/>
                </a:cubicBezTo>
                <a:cubicBezTo>
                  <a:pt x="36500" y="1906"/>
                  <a:pt x="36469" y="1906"/>
                  <a:pt x="36437" y="1906"/>
                </a:cubicBezTo>
                <a:cubicBezTo>
                  <a:pt x="36437" y="1906"/>
                  <a:pt x="36406" y="1906"/>
                  <a:pt x="36437" y="1906"/>
                </a:cubicBezTo>
                <a:close/>
                <a:moveTo>
                  <a:pt x="35250" y="2469"/>
                </a:moveTo>
                <a:cubicBezTo>
                  <a:pt x="35250" y="2469"/>
                  <a:pt x="35250" y="2469"/>
                  <a:pt x="35281" y="2469"/>
                </a:cubicBezTo>
                <a:cubicBezTo>
                  <a:pt x="35281" y="2469"/>
                  <a:pt x="35281" y="2500"/>
                  <a:pt x="35250" y="2500"/>
                </a:cubicBezTo>
                <a:cubicBezTo>
                  <a:pt x="35250" y="2469"/>
                  <a:pt x="35219" y="2469"/>
                  <a:pt x="35219" y="2469"/>
                </a:cubicBezTo>
                <a:cubicBezTo>
                  <a:pt x="35219" y="2469"/>
                  <a:pt x="35219" y="2469"/>
                  <a:pt x="35250" y="2469"/>
                </a:cubicBezTo>
                <a:close/>
                <a:moveTo>
                  <a:pt x="3281" y="344"/>
                </a:moveTo>
                <a:cubicBezTo>
                  <a:pt x="3156" y="344"/>
                  <a:pt x="3031" y="344"/>
                  <a:pt x="2875" y="344"/>
                </a:cubicBezTo>
                <a:cubicBezTo>
                  <a:pt x="3000" y="344"/>
                  <a:pt x="3156" y="344"/>
                  <a:pt x="3281" y="344"/>
                </a:cubicBezTo>
                <a:close/>
                <a:moveTo>
                  <a:pt x="3406" y="312"/>
                </a:moveTo>
                <a:cubicBezTo>
                  <a:pt x="3531" y="312"/>
                  <a:pt x="3656" y="312"/>
                  <a:pt x="3781" y="312"/>
                </a:cubicBezTo>
                <a:cubicBezTo>
                  <a:pt x="3656" y="344"/>
                  <a:pt x="3531" y="344"/>
                  <a:pt x="3406" y="312"/>
                </a:cubicBezTo>
                <a:close/>
                <a:moveTo>
                  <a:pt x="4281" y="281"/>
                </a:moveTo>
                <a:cubicBezTo>
                  <a:pt x="4156" y="281"/>
                  <a:pt x="4062" y="281"/>
                  <a:pt x="3969" y="281"/>
                </a:cubicBezTo>
                <a:cubicBezTo>
                  <a:pt x="4094" y="281"/>
                  <a:pt x="4219" y="281"/>
                  <a:pt x="4344" y="281"/>
                </a:cubicBezTo>
                <a:cubicBezTo>
                  <a:pt x="4344" y="281"/>
                  <a:pt x="4344" y="281"/>
                  <a:pt x="4344" y="281"/>
                </a:cubicBezTo>
                <a:cubicBezTo>
                  <a:pt x="4312" y="281"/>
                  <a:pt x="4281" y="281"/>
                  <a:pt x="4281" y="281"/>
                </a:cubicBezTo>
                <a:close/>
                <a:moveTo>
                  <a:pt x="4500" y="250"/>
                </a:moveTo>
                <a:cubicBezTo>
                  <a:pt x="4656" y="219"/>
                  <a:pt x="4781" y="219"/>
                  <a:pt x="4906" y="219"/>
                </a:cubicBezTo>
                <a:cubicBezTo>
                  <a:pt x="4781" y="281"/>
                  <a:pt x="4656" y="250"/>
                  <a:pt x="4500" y="250"/>
                </a:cubicBezTo>
                <a:close/>
                <a:moveTo>
                  <a:pt x="5094" y="219"/>
                </a:moveTo>
                <a:cubicBezTo>
                  <a:pt x="5062" y="187"/>
                  <a:pt x="5062" y="187"/>
                  <a:pt x="5062" y="187"/>
                </a:cubicBezTo>
                <a:cubicBezTo>
                  <a:pt x="5219" y="187"/>
                  <a:pt x="5375" y="187"/>
                  <a:pt x="5531" y="187"/>
                </a:cubicBezTo>
                <a:cubicBezTo>
                  <a:pt x="5531" y="187"/>
                  <a:pt x="5531" y="187"/>
                  <a:pt x="5531" y="219"/>
                </a:cubicBezTo>
                <a:cubicBezTo>
                  <a:pt x="5375" y="219"/>
                  <a:pt x="5219" y="219"/>
                  <a:pt x="5094" y="219"/>
                </a:cubicBezTo>
                <a:close/>
                <a:moveTo>
                  <a:pt x="5687" y="156"/>
                </a:moveTo>
                <a:cubicBezTo>
                  <a:pt x="5844" y="156"/>
                  <a:pt x="6000" y="156"/>
                  <a:pt x="6156" y="156"/>
                </a:cubicBezTo>
                <a:cubicBezTo>
                  <a:pt x="6031" y="187"/>
                  <a:pt x="5812" y="187"/>
                  <a:pt x="5687" y="156"/>
                </a:cubicBezTo>
                <a:close/>
                <a:moveTo>
                  <a:pt x="10625" y="6312"/>
                </a:moveTo>
                <a:cubicBezTo>
                  <a:pt x="10594" y="6312"/>
                  <a:pt x="10562" y="6344"/>
                  <a:pt x="10562" y="6375"/>
                </a:cubicBezTo>
                <a:cubicBezTo>
                  <a:pt x="10562" y="6375"/>
                  <a:pt x="10562" y="6375"/>
                  <a:pt x="10562" y="6375"/>
                </a:cubicBezTo>
                <a:cubicBezTo>
                  <a:pt x="10562" y="6344"/>
                  <a:pt x="10594" y="6312"/>
                  <a:pt x="10625" y="6312"/>
                </a:cubicBezTo>
                <a:close/>
                <a:moveTo>
                  <a:pt x="10562" y="6375"/>
                </a:moveTo>
                <a:cubicBezTo>
                  <a:pt x="10562" y="6375"/>
                  <a:pt x="10562" y="6375"/>
                  <a:pt x="10562" y="6375"/>
                </a:cubicBezTo>
                <a:cubicBezTo>
                  <a:pt x="10531" y="6375"/>
                  <a:pt x="10531" y="6375"/>
                  <a:pt x="10531" y="6375"/>
                </a:cubicBezTo>
                <a:cubicBezTo>
                  <a:pt x="10531" y="6375"/>
                  <a:pt x="10531" y="6375"/>
                  <a:pt x="10562" y="6375"/>
                </a:cubicBezTo>
                <a:close/>
                <a:moveTo>
                  <a:pt x="10375" y="6406"/>
                </a:moveTo>
                <a:cubicBezTo>
                  <a:pt x="10375" y="6406"/>
                  <a:pt x="10375" y="6406"/>
                  <a:pt x="10375" y="6406"/>
                </a:cubicBezTo>
                <a:cubicBezTo>
                  <a:pt x="10375" y="6406"/>
                  <a:pt x="10375" y="6406"/>
                  <a:pt x="10375" y="6406"/>
                </a:cubicBezTo>
                <a:cubicBezTo>
                  <a:pt x="10375" y="6406"/>
                  <a:pt x="10375" y="6406"/>
                  <a:pt x="10375" y="6406"/>
                </a:cubicBezTo>
                <a:cubicBezTo>
                  <a:pt x="10375" y="6406"/>
                  <a:pt x="10375" y="6437"/>
                  <a:pt x="10344" y="6437"/>
                </a:cubicBezTo>
                <a:cubicBezTo>
                  <a:pt x="10375" y="6437"/>
                  <a:pt x="10375" y="6406"/>
                  <a:pt x="10375" y="6406"/>
                </a:cubicBezTo>
                <a:close/>
                <a:moveTo>
                  <a:pt x="9187" y="6687"/>
                </a:moveTo>
                <a:cubicBezTo>
                  <a:pt x="9187" y="6687"/>
                  <a:pt x="9187" y="6687"/>
                  <a:pt x="9187" y="6687"/>
                </a:cubicBezTo>
                <a:cubicBezTo>
                  <a:pt x="9187" y="6687"/>
                  <a:pt x="9187" y="6687"/>
                  <a:pt x="9156" y="6719"/>
                </a:cubicBezTo>
                <a:cubicBezTo>
                  <a:pt x="9187" y="6687"/>
                  <a:pt x="9187" y="6687"/>
                  <a:pt x="9187" y="6687"/>
                </a:cubicBezTo>
                <a:close/>
                <a:moveTo>
                  <a:pt x="8187" y="6969"/>
                </a:moveTo>
                <a:cubicBezTo>
                  <a:pt x="8187" y="6969"/>
                  <a:pt x="8187" y="6969"/>
                  <a:pt x="8187" y="6969"/>
                </a:cubicBezTo>
                <a:cubicBezTo>
                  <a:pt x="8187" y="6969"/>
                  <a:pt x="8187" y="6969"/>
                  <a:pt x="8187" y="6969"/>
                </a:cubicBezTo>
                <a:close/>
                <a:moveTo>
                  <a:pt x="7500" y="7156"/>
                </a:moveTo>
                <a:cubicBezTo>
                  <a:pt x="7500" y="7156"/>
                  <a:pt x="7500" y="7156"/>
                  <a:pt x="7500" y="7156"/>
                </a:cubicBezTo>
                <a:cubicBezTo>
                  <a:pt x="7500" y="7156"/>
                  <a:pt x="7500" y="7156"/>
                  <a:pt x="7500" y="7156"/>
                </a:cubicBezTo>
                <a:cubicBezTo>
                  <a:pt x="7500" y="7156"/>
                  <a:pt x="7500" y="7156"/>
                  <a:pt x="7500" y="7156"/>
                </a:cubicBezTo>
                <a:close/>
                <a:moveTo>
                  <a:pt x="14375" y="5531"/>
                </a:moveTo>
                <a:cubicBezTo>
                  <a:pt x="14375" y="5500"/>
                  <a:pt x="14375" y="5500"/>
                  <a:pt x="14375" y="5500"/>
                </a:cubicBezTo>
                <a:cubicBezTo>
                  <a:pt x="14469" y="5500"/>
                  <a:pt x="14594" y="5500"/>
                  <a:pt x="14656" y="5500"/>
                </a:cubicBezTo>
                <a:cubicBezTo>
                  <a:pt x="14594" y="5500"/>
                  <a:pt x="14469" y="5500"/>
                  <a:pt x="14375" y="5531"/>
                </a:cubicBezTo>
                <a:close/>
                <a:moveTo>
                  <a:pt x="15812" y="3750"/>
                </a:moveTo>
                <a:cubicBezTo>
                  <a:pt x="15812" y="3750"/>
                  <a:pt x="15812" y="3750"/>
                  <a:pt x="15812" y="3750"/>
                </a:cubicBezTo>
                <a:cubicBezTo>
                  <a:pt x="15875" y="3750"/>
                  <a:pt x="15906" y="3750"/>
                  <a:pt x="15969" y="3750"/>
                </a:cubicBezTo>
                <a:cubicBezTo>
                  <a:pt x="15906" y="3750"/>
                  <a:pt x="15875" y="3750"/>
                  <a:pt x="15812" y="3750"/>
                </a:cubicBezTo>
                <a:close/>
                <a:moveTo>
                  <a:pt x="16406" y="3531"/>
                </a:moveTo>
                <a:cubicBezTo>
                  <a:pt x="16469" y="3594"/>
                  <a:pt x="16562" y="3562"/>
                  <a:pt x="16625" y="3594"/>
                </a:cubicBezTo>
                <a:cubicBezTo>
                  <a:pt x="16562" y="3562"/>
                  <a:pt x="16469" y="3594"/>
                  <a:pt x="16406" y="3531"/>
                </a:cubicBezTo>
                <a:close/>
                <a:moveTo>
                  <a:pt x="18000" y="5625"/>
                </a:moveTo>
                <a:cubicBezTo>
                  <a:pt x="18000" y="5625"/>
                  <a:pt x="18000" y="5625"/>
                  <a:pt x="18000" y="5625"/>
                </a:cubicBezTo>
                <a:cubicBezTo>
                  <a:pt x="18031" y="5625"/>
                  <a:pt x="18062" y="5625"/>
                  <a:pt x="18094" y="5625"/>
                </a:cubicBezTo>
                <a:cubicBezTo>
                  <a:pt x="18062" y="5625"/>
                  <a:pt x="18031" y="5625"/>
                  <a:pt x="18000" y="5625"/>
                </a:cubicBezTo>
                <a:close/>
                <a:moveTo>
                  <a:pt x="18969" y="14094"/>
                </a:moveTo>
                <a:cubicBezTo>
                  <a:pt x="18969" y="14062"/>
                  <a:pt x="18969" y="14062"/>
                  <a:pt x="18969" y="14062"/>
                </a:cubicBezTo>
                <a:cubicBezTo>
                  <a:pt x="18969" y="14062"/>
                  <a:pt x="18969" y="14031"/>
                  <a:pt x="18969" y="14031"/>
                </a:cubicBezTo>
                <a:cubicBezTo>
                  <a:pt x="18969" y="14062"/>
                  <a:pt x="18969" y="14062"/>
                  <a:pt x="18969" y="14062"/>
                </a:cubicBezTo>
                <a:cubicBezTo>
                  <a:pt x="18969" y="14062"/>
                  <a:pt x="18969" y="14094"/>
                  <a:pt x="18969" y="14094"/>
                </a:cubicBezTo>
                <a:close/>
                <a:moveTo>
                  <a:pt x="19156" y="14562"/>
                </a:moveTo>
                <a:cubicBezTo>
                  <a:pt x="19156" y="14562"/>
                  <a:pt x="19156" y="14562"/>
                  <a:pt x="19156" y="14562"/>
                </a:cubicBezTo>
                <a:cubicBezTo>
                  <a:pt x="19156" y="14437"/>
                  <a:pt x="19156" y="14312"/>
                  <a:pt x="19156" y="14187"/>
                </a:cubicBezTo>
                <a:cubicBezTo>
                  <a:pt x="19156" y="14187"/>
                  <a:pt x="19156" y="14187"/>
                  <a:pt x="19156" y="14187"/>
                </a:cubicBezTo>
                <a:cubicBezTo>
                  <a:pt x="19156" y="14312"/>
                  <a:pt x="19156" y="14437"/>
                  <a:pt x="19156" y="14562"/>
                </a:cubicBezTo>
                <a:close/>
                <a:moveTo>
                  <a:pt x="31594" y="12906"/>
                </a:moveTo>
                <a:cubicBezTo>
                  <a:pt x="31594" y="12906"/>
                  <a:pt x="31594" y="12906"/>
                  <a:pt x="31594" y="12906"/>
                </a:cubicBezTo>
                <a:cubicBezTo>
                  <a:pt x="31594" y="12906"/>
                  <a:pt x="31594" y="12906"/>
                  <a:pt x="31594" y="12906"/>
                </a:cubicBezTo>
                <a:cubicBezTo>
                  <a:pt x="31594" y="12906"/>
                  <a:pt x="31594" y="12906"/>
                  <a:pt x="31594" y="12906"/>
                </a:cubicBezTo>
                <a:close/>
                <a:moveTo>
                  <a:pt x="20406" y="6781"/>
                </a:moveTo>
                <a:cubicBezTo>
                  <a:pt x="20469" y="6844"/>
                  <a:pt x="20500" y="6906"/>
                  <a:pt x="20500" y="6969"/>
                </a:cubicBezTo>
                <a:cubicBezTo>
                  <a:pt x="20469" y="6906"/>
                  <a:pt x="20406" y="6875"/>
                  <a:pt x="20406" y="6781"/>
                </a:cubicBezTo>
                <a:close/>
                <a:moveTo>
                  <a:pt x="21344" y="15844"/>
                </a:moveTo>
                <a:cubicBezTo>
                  <a:pt x="21344" y="15844"/>
                  <a:pt x="21344" y="15812"/>
                  <a:pt x="21344" y="15812"/>
                </a:cubicBezTo>
                <a:cubicBezTo>
                  <a:pt x="21594" y="15812"/>
                  <a:pt x="21812" y="15812"/>
                  <a:pt x="22062" y="15812"/>
                </a:cubicBezTo>
                <a:cubicBezTo>
                  <a:pt x="22062" y="15812"/>
                  <a:pt x="22062" y="15844"/>
                  <a:pt x="22062" y="15844"/>
                </a:cubicBezTo>
                <a:cubicBezTo>
                  <a:pt x="21812" y="15844"/>
                  <a:pt x="21594" y="15844"/>
                  <a:pt x="21344" y="15844"/>
                </a:cubicBezTo>
                <a:close/>
                <a:moveTo>
                  <a:pt x="23687" y="15687"/>
                </a:moveTo>
                <a:cubicBezTo>
                  <a:pt x="23656" y="15687"/>
                  <a:pt x="23625" y="15687"/>
                  <a:pt x="23625" y="15687"/>
                </a:cubicBezTo>
                <a:cubicBezTo>
                  <a:pt x="23625" y="15687"/>
                  <a:pt x="23625" y="15687"/>
                  <a:pt x="23625" y="15687"/>
                </a:cubicBezTo>
                <a:cubicBezTo>
                  <a:pt x="23625" y="15687"/>
                  <a:pt x="23656" y="15687"/>
                  <a:pt x="23687" y="15687"/>
                </a:cubicBezTo>
                <a:cubicBezTo>
                  <a:pt x="23687" y="15687"/>
                  <a:pt x="23687" y="15687"/>
                  <a:pt x="23687" y="15687"/>
                </a:cubicBezTo>
                <a:close/>
                <a:moveTo>
                  <a:pt x="30375" y="13594"/>
                </a:moveTo>
                <a:cubicBezTo>
                  <a:pt x="30375" y="13594"/>
                  <a:pt x="30375" y="13594"/>
                  <a:pt x="30375" y="13594"/>
                </a:cubicBezTo>
                <a:cubicBezTo>
                  <a:pt x="30437" y="13594"/>
                  <a:pt x="30500" y="13562"/>
                  <a:pt x="30562" y="13562"/>
                </a:cubicBezTo>
                <a:cubicBezTo>
                  <a:pt x="30500" y="13562"/>
                  <a:pt x="30437" y="13594"/>
                  <a:pt x="30375" y="13594"/>
                </a:cubicBezTo>
                <a:close/>
                <a:moveTo>
                  <a:pt x="32562" y="12812"/>
                </a:moveTo>
                <a:cubicBezTo>
                  <a:pt x="32562" y="12812"/>
                  <a:pt x="32562" y="12812"/>
                  <a:pt x="32562" y="12812"/>
                </a:cubicBezTo>
                <a:close/>
                <a:moveTo>
                  <a:pt x="34750" y="2875"/>
                </a:moveTo>
                <a:cubicBezTo>
                  <a:pt x="34625" y="2937"/>
                  <a:pt x="34500" y="3000"/>
                  <a:pt x="34375" y="3031"/>
                </a:cubicBezTo>
                <a:cubicBezTo>
                  <a:pt x="34531" y="2906"/>
                  <a:pt x="34687" y="2844"/>
                  <a:pt x="34906" y="2781"/>
                </a:cubicBezTo>
                <a:cubicBezTo>
                  <a:pt x="34875" y="2875"/>
                  <a:pt x="34812" y="2844"/>
                  <a:pt x="34750" y="287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9925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1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1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0-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1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0-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6">
            <a:extLst>
              <a:ext uri="{FF2B5EF4-FFF2-40B4-BE49-F238E27FC236}">
                <a16:creationId xmlns:a16="http://schemas.microsoft.com/office/drawing/2014/main" id="{64D26A49-2AD0-B542-BC98-D15AA17F91C6}"/>
              </a:ext>
            </a:extLst>
          </p:cNvPr>
          <p:cNvSpPr>
            <a:spLocks noGrp="1" noEditPoints="1"/>
          </p:cNvSpPr>
          <p:nvPr>
            <p:ph type="pic" sz="quarter" idx="38"/>
          </p:nvPr>
        </p:nvSpPr>
        <p:spPr bwMode="auto">
          <a:xfrm>
            <a:off x="588105" y="477014"/>
            <a:ext cx="10979790" cy="3779982"/>
          </a:xfrm>
          <a:custGeom>
            <a:avLst/>
            <a:gdLst>
              <a:gd name="T0" fmla="*/ 32250 w 33250"/>
              <a:gd name="T1" fmla="*/ 4688 h 15969"/>
              <a:gd name="T2" fmla="*/ 28063 w 33250"/>
              <a:gd name="T3" fmla="*/ 4813 h 15969"/>
              <a:gd name="T4" fmla="*/ 26531 w 33250"/>
              <a:gd name="T5" fmla="*/ 1750 h 15969"/>
              <a:gd name="T6" fmla="*/ 19781 w 33250"/>
              <a:gd name="T7" fmla="*/ 2782 h 15969"/>
              <a:gd name="T8" fmla="*/ 12750 w 33250"/>
              <a:gd name="T9" fmla="*/ 1125 h 15969"/>
              <a:gd name="T10" fmla="*/ 8031 w 33250"/>
              <a:gd name="T11" fmla="*/ 1563 h 15969"/>
              <a:gd name="T12" fmla="*/ 6313 w 33250"/>
              <a:gd name="T13" fmla="*/ 2250 h 15969"/>
              <a:gd name="T14" fmla="*/ 2031 w 33250"/>
              <a:gd name="T15" fmla="*/ 5375 h 15969"/>
              <a:gd name="T16" fmla="*/ 1375 w 33250"/>
              <a:gd name="T17" fmla="*/ 9250 h 15969"/>
              <a:gd name="T18" fmla="*/ 1156 w 33250"/>
              <a:gd name="T19" fmla="*/ 12938 h 15969"/>
              <a:gd name="T20" fmla="*/ 10563 w 33250"/>
              <a:gd name="T21" fmla="*/ 9813 h 15969"/>
              <a:gd name="T22" fmla="*/ 11188 w 33250"/>
              <a:gd name="T23" fmla="*/ 11156 h 15969"/>
              <a:gd name="T24" fmla="*/ 19469 w 33250"/>
              <a:gd name="T25" fmla="*/ 14188 h 15969"/>
              <a:gd name="T26" fmla="*/ 23469 w 33250"/>
              <a:gd name="T27" fmla="*/ 15156 h 15969"/>
              <a:gd name="T28" fmla="*/ 28531 w 33250"/>
              <a:gd name="T29" fmla="*/ 15500 h 15969"/>
              <a:gd name="T30" fmla="*/ 25531 w 33250"/>
              <a:gd name="T31" fmla="*/ 15406 h 15969"/>
              <a:gd name="T32" fmla="*/ 31750 w 33250"/>
              <a:gd name="T33" fmla="*/ 13813 h 15969"/>
              <a:gd name="T34" fmla="*/ 8063 w 33250"/>
              <a:gd name="T35" fmla="*/ 2125 h 15969"/>
              <a:gd name="T36" fmla="*/ 14469 w 33250"/>
              <a:gd name="T37" fmla="*/ 7969 h 15969"/>
              <a:gd name="T38" fmla="*/ 5781 w 33250"/>
              <a:gd name="T39" fmla="*/ 10656 h 15969"/>
              <a:gd name="T40" fmla="*/ 5875 w 33250"/>
              <a:gd name="T41" fmla="*/ 11877 h 15969"/>
              <a:gd name="T42" fmla="*/ 5875 w 33250"/>
              <a:gd name="T43" fmla="*/ 11889 h 15969"/>
              <a:gd name="T44" fmla="*/ 5875 w 33250"/>
              <a:gd name="T45" fmla="*/ 11906 h 15969"/>
              <a:gd name="T46" fmla="*/ 18375 w 33250"/>
              <a:gd name="T47" fmla="*/ 2188 h 15969"/>
              <a:gd name="T48" fmla="*/ 12219 w 33250"/>
              <a:gd name="T49" fmla="*/ 11594 h 15969"/>
              <a:gd name="T50" fmla="*/ 7906 w 33250"/>
              <a:gd name="T51" fmla="*/ 10563 h 15969"/>
              <a:gd name="T52" fmla="*/ 8750 w 33250"/>
              <a:gd name="T53" fmla="*/ 10875 h 15969"/>
              <a:gd name="T54" fmla="*/ 6969 w 33250"/>
              <a:gd name="T55" fmla="*/ 1625 h 15969"/>
              <a:gd name="T56" fmla="*/ 2531 w 33250"/>
              <a:gd name="T57" fmla="*/ 12219 h 15969"/>
              <a:gd name="T58" fmla="*/ 3156 w 33250"/>
              <a:gd name="T59" fmla="*/ 12250 h 15969"/>
              <a:gd name="T60" fmla="*/ 750 w 33250"/>
              <a:gd name="T61" fmla="*/ 14969 h 15969"/>
              <a:gd name="T62" fmla="*/ 20500 w 33250"/>
              <a:gd name="T63" fmla="*/ 14375 h 15969"/>
              <a:gd name="T64" fmla="*/ 9188 w 33250"/>
              <a:gd name="T65" fmla="*/ 10656 h 15969"/>
              <a:gd name="T66" fmla="*/ 7125 w 33250"/>
              <a:gd name="T67" fmla="*/ 10563 h 15969"/>
              <a:gd name="T68" fmla="*/ 5688 w 33250"/>
              <a:gd name="T69" fmla="*/ 2125 h 15969"/>
              <a:gd name="T70" fmla="*/ 1375 w 33250"/>
              <a:gd name="T71" fmla="*/ 13094 h 15969"/>
              <a:gd name="T72" fmla="*/ 1656 w 33250"/>
              <a:gd name="T73" fmla="*/ 6625 h 15969"/>
              <a:gd name="T74" fmla="*/ 29531 w 33250"/>
              <a:gd name="T75" fmla="*/ 15781 h 15969"/>
              <a:gd name="T76" fmla="*/ 26063 w 33250"/>
              <a:gd name="T77" fmla="*/ 14125 h 15969"/>
              <a:gd name="T78" fmla="*/ 15375 w 33250"/>
              <a:gd name="T79" fmla="*/ 7250 h 15969"/>
              <a:gd name="T80" fmla="*/ 13844 w 33250"/>
              <a:gd name="T81" fmla="*/ 6813 h 15969"/>
              <a:gd name="T82" fmla="*/ 10750 w 33250"/>
              <a:gd name="T83" fmla="*/ 5688 h 15969"/>
              <a:gd name="T84" fmla="*/ 8969 w 33250"/>
              <a:gd name="T85" fmla="*/ 6219 h 15969"/>
              <a:gd name="T86" fmla="*/ 9875 w 33250"/>
              <a:gd name="T87" fmla="*/ 6031 h 15969"/>
              <a:gd name="T88" fmla="*/ 10781 w 33250"/>
              <a:gd name="T89" fmla="*/ 6656 h 15969"/>
              <a:gd name="T90" fmla="*/ 13188 w 33250"/>
              <a:gd name="T91" fmla="*/ 2375 h 15969"/>
              <a:gd name="T92" fmla="*/ 12969 w 33250"/>
              <a:gd name="T93" fmla="*/ 2313 h 15969"/>
              <a:gd name="T94" fmla="*/ 6906 w 33250"/>
              <a:gd name="T95" fmla="*/ 6406 h 15969"/>
              <a:gd name="T96" fmla="*/ 5813 w 33250"/>
              <a:gd name="T97" fmla="*/ 4781 h 15969"/>
              <a:gd name="T98" fmla="*/ 3969 w 33250"/>
              <a:gd name="T99" fmla="*/ 3844 h 15969"/>
              <a:gd name="T100" fmla="*/ 3094 w 33250"/>
              <a:gd name="T101" fmla="*/ 5656 h 15969"/>
              <a:gd name="T102" fmla="*/ 4750 w 33250"/>
              <a:gd name="T103" fmla="*/ 3500 h 15969"/>
              <a:gd name="T104" fmla="*/ 6469 w 33250"/>
              <a:gd name="T105" fmla="*/ 7625 h 15969"/>
              <a:gd name="T106" fmla="*/ 11563 w 33250"/>
              <a:gd name="T107" fmla="*/ 9188 h 15969"/>
              <a:gd name="T108" fmla="*/ 8500 w 33250"/>
              <a:gd name="T109" fmla="*/ 7719 h 15969"/>
              <a:gd name="T110" fmla="*/ 7719 w 33250"/>
              <a:gd name="T111" fmla="*/ 6469 h 15969"/>
              <a:gd name="T112" fmla="*/ 14281 w 33250"/>
              <a:gd name="T113" fmla="*/ 7781 h 15969"/>
              <a:gd name="T114" fmla="*/ 15250 w 33250"/>
              <a:gd name="T115" fmla="*/ 9063 h 15969"/>
              <a:gd name="T116" fmla="*/ 16688 w 33250"/>
              <a:gd name="T117" fmla="*/ 9250 h 15969"/>
              <a:gd name="T118" fmla="*/ 18781 w 33250"/>
              <a:gd name="T119" fmla="*/ 12375 h 15969"/>
              <a:gd name="T120" fmla="*/ 20219 w 33250"/>
              <a:gd name="T121" fmla="*/ 12938 h 15969"/>
              <a:gd name="T122" fmla="*/ 23125 w 33250"/>
              <a:gd name="T123" fmla="*/ 14125 h 159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250" h="15969">
                <a:moveTo>
                  <a:pt x="33125" y="10781"/>
                </a:moveTo>
                <a:cubicBezTo>
                  <a:pt x="33031" y="10750"/>
                  <a:pt x="32969" y="10719"/>
                  <a:pt x="32906" y="10656"/>
                </a:cubicBezTo>
                <a:cubicBezTo>
                  <a:pt x="33063" y="10531"/>
                  <a:pt x="33063" y="10344"/>
                  <a:pt x="32906" y="10219"/>
                </a:cubicBezTo>
                <a:cubicBezTo>
                  <a:pt x="32844" y="10188"/>
                  <a:pt x="32813" y="10156"/>
                  <a:pt x="32750" y="10125"/>
                </a:cubicBezTo>
                <a:cubicBezTo>
                  <a:pt x="32688" y="10094"/>
                  <a:pt x="32656" y="10031"/>
                  <a:pt x="32719" y="9969"/>
                </a:cubicBezTo>
                <a:cubicBezTo>
                  <a:pt x="32813" y="9844"/>
                  <a:pt x="32875" y="9719"/>
                  <a:pt x="33000" y="9625"/>
                </a:cubicBezTo>
                <a:cubicBezTo>
                  <a:pt x="33125" y="9563"/>
                  <a:pt x="33156" y="9500"/>
                  <a:pt x="33156" y="9375"/>
                </a:cubicBezTo>
                <a:cubicBezTo>
                  <a:pt x="33156" y="9281"/>
                  <a:pt x="33156" y="9219"/>
                  <a:pt x="33063" y="9250"/>
                </a:cubicBezTo>
                <a:cubicBezTo>
                  <a:pt x="32969" y="9250"/>
                  <a:pt x="32906" y="9219"/>
                  <a:pt x="32875" y="9188"/>
                </a:cubicBezTo>
                <a:cubicBezTo>
                  <a:pt x="32938" y="9094"/>
                  <a:pt x="32969" y="9000"/>
                  <a:pt x="32875" y="8906"/>
                </a:cubicBezTo>
                <a:cubicBezTo>
                  <a:pt x="32844" y="8844"/>
                  <a:pt x="32906" y="8813"/>
                  <a:pt x="32938" y="8781"/>
                </a:cubicBezTo>
                <a:cubicBezTo>
                  <a:pt x="33063" y="8656"/>
                  <a:pt x="33125" y="8500"/>
                  <a:pt x="33250" y="8406"/>
                </a:cubicBezTo>
                <a:cubicBezTo>
                  <a:pt x="33219" y="8406"/>
                  <a:pt x="33156" y="8375"/>
                  <a:pt x="33125" y="8406"/>
                </a:cubicBezTo>
                <a:cubicBezTo>
                  <a:pt x="33000" y="8438"/>
                  <a:pt x="32938" y="8344"/>
                  <a:pt x="32875" y="8250"/>
                </a:cubicBezTo>
                <a:cubicBezTo>
                  <a:pt x="32844" y="8250"/>
                  <a:pt x="32813" y="8188"/>
                  <a:pt x="32875" y="8188"/>
                </a:cubicBezTo>
                <a:cubicBezTo>
                  <a:pt x="33000" y="8156"/>
                  <a:pt x="33063" y="8031"/>
                  <a:pt x="33094" y="7938"/>
                </a:cubicBezTo>
                <a:cubicBezTo>
                  <a:pt x="33125" y="7938"/>
                  <a:pt x="33156" y="7906"/>
                  <a:pt x="33156" y="7875"/>
                </a:cubicBezTo>
                <a:cubicBezTo>
                  <a:pt x="33156" y="7875"/>
                  <a:pt x="33156" y="7875"/>
                  <a:pt x="33156" y="7875"/>
                </a:cubicBezTo>
                <a:cubicBezTo>
                  <a:pt x="33125" y="7875"/>
                  <a:pt x="33094" y="7875"/>
                  <a:pt x="33094" y="7906"/>
                </a:cubicBezTo>
                <a:cubicBezTo>
                  <a:pt x="33063" y="7906"/>
                  <a:pt x="33031" y="7938"/>
                  <a:pt x="33031" y="7906"/>
                </a:cubicBezTo>
                <a:cubicBezTo>
                  <a:pt x="32969" y="7813"/>
                  <a:pt x="32938" y="7688"/>
                  <a:pt x="32813" y="7813"/>
                </a:cubicBezTo>
                <a:cubicBezTo>
                  <a:pt x="32813" y="7813"/>
                  <a:pt x="32781" y="7813"/>
                  <a:pt x="32781" y="7781"/>
                </a:cubicBezTo>
                <a:cubicBezTo>
                  <a:pt x="32688" y="7688"/>
                  <a:pt x="32563" y="7688"/>
                  <a:pt x="32438" y="7656"/>
                </a:cubicBezTo>
                <a:cubicBezTo>
                  <a:pt x="32344" y="7656"/>
                  <a:pt x="32313" y="7625"/>
                  <a:pt x="32375" y="7500"/>
                </a:cubicBezTo>
                <a:cubicBezTo>
                  <a:pt x="32500" y="7281"/>
                  <a:pt x="32656" y="7125"/>
                  <a:pt x="32781" y="6906"/>
                </a:cubicBezTo>
                <a:cubicBezTo>
                  <a:pt x="32844" y="6781"/>
                  <a:pt x="32844" y="6656"/>
                  <a:pt x="32719" y="6594"/>
                </a:cubicBezTo>
                <a:cubicBezTo>
                  <a:pt x="32688" y="6594"/>
                  <a:pt x="32656" y="6563"/>
                  <a:pt x="32656" y="6531"/>
                </a:cubicBezTo>
                <a:cubicBezTo>
                  <a:pt x="32656" y="6438"/>
                  <a:pt x="32594" y="6406"/>
                  <a:pt x="32563" y="6375"/>
                </a:cubicBezTo>
                <a:cubicBezTo>
                  <a:pt x="32563" y="6313"/>
                  <a:pt x="32625" y="6344"/>
                  <a:pt x="32656" y="6281"/>
                </a:cubicBezTo>
                <a:cubicBezTo>
                  <a:pt x="32500" y="6250"/>
                  <a:pt x="32344" y="6250"/>
                  <a:pt x="32188" y="6250"/>
                </a:cubicBezTo>
                <a:cubicBezTo>
                  <a:pt x="32094" y="6250"/>
                  <a:pt x="32000" y="6250"/>
                  <a:pt x="31969" y="6375"/>
                </a:cubicBezTo>
                <a:cubicBezTo>
                  <a:pt x="31938" y="6500"/>
                  <a:pt x="32094" y="6438"/>
                  <a:pt x="32125" y="6500"/>
                </a:cubicBezTo>
                <a:cubicBezTo>
                  <a:pt x="31875" y="6438"/>
                  <a:pt x="31906" y="6781"/>
                  <a:pt x="31719" y="6781"/>
                </a:cubicBezTo>
                <a:cubicBezTo>
                  <a:pt x="31719" y="6781"/>
                  <a:pt x="31719" y="6750"/>
                  <a:pt x="31719" y="6750"/>
                </a:cubicBezTo>
                <a:cubicBezTo>
                  <a:pt x="31906" y="6344"/>
                  <a:pt x="32094" y="6000"/>
                  <a:pt x="32313" y="5625"/>
                </a:cubicBezTo>
                <a:cubicBezTo>
                  <a:pt x="32344" y="5594"/>
                  <a:pt x="32406" y="5563"/>
                  <a:pt x="32375" y="5500"/>
                </a:cubicBezTo>
                <a:cubicBezTo>
                  <a:pt x="32344" y="5438"/>
                  <a:pt x="32281" y="5500"/>
                  <a:pt x="32250" y="5500"/>
                </a:cubicBezTo>
                <a:cubicBezTo>
                  <a:pt x="32219" y="5500"/>
                  <a:pt x="32219" y="5469"/>
                  <a:pt x="32188" y="5469"/>
                </a:cubicBezTo>
                <a:cubicBezTo>
                  <a:pt x="32281" y="5469"/>
                  <a:pt x="32344" y="5438"/>
                  <a:pt x="32344" y="5375"/>
                </a:cubicBezTo>
                <a:cubicBezTo>
                  <a:pt x="32313" y="5313"/>
                  <a:pt x="32250" y="5375"/>
                  <a:pt x="32188" y="5375"/>
                </a:cubicBezTo>
                <a:cubicBezTo>
                  <a:pt x="32094" y="5375"/>
                  <a:pt x="31969" y="5438"/>
                  <a:pt x="31844" y="5406"/>
                </a:cubicBezTo>
                <a:cubicBezTo>
                  <a:pt x="31969" y="5313"/>
                  <a:pt x="32063" y="5219"/>
                  <a:pt x="32094" y="5094"/>
                </a:cubicBezTo>
                <a:cubicBezTo>
                  <a:pt x="32125" y="4969"/>
                  <a:pt x="32250" y="4938"/>
                  <a:pt x="32219" y="4813"/>
                </a:cubicBezTo>
                <a:cubicBezTo>
                  <a:pt x="32219" y="4781"/>
                  <a:pt x="32313" y="4719"/>
                  <a:pt x="32250" y="4688"/>
                </a:cubicBezTo>
                <a:cubicBezTo>
                  <a:pt x="32188" y="4688"/>
                  <a:pt x="32156" y="4719"/>
                  <a:pt x="32156" y="4781"/>
                </a:cubicBezTo>
                <a:cubicBezTo>
                  <a:pt x="32125" y="4875"/>
                  <a:pt x="32063" y="4875"/>
                  <a:pt x="32000" y="4875"/>
                </a:cubicBezTo>
                <a:cubicBezTo>
                  <a:pt x="31969" y="4844"/>
                  <a:pt x="31938" y="4875"/>
                  <a:pt x="31875" y="4875"/>
                </a:cubicBezTo>
                <a:cubicBezTo>
                  <a:pt x="31875" y="4875"/>
                  <a:pt x="31875" y="4875"/>
                  <a:pt x="31875" y="4875"/>
                </a:cubicBezTo>
                <a:cubicBezTo>
                  <a:pt x="31844" y="4781"/>
                  <a:pt x="31969" y="4750"/>
                  <a:pt x="32000" y="4656"/>
                </a:cubicBezTo>
                <a:cubicBezTo>
                  <a:pt x="32000" y="4656"/>
                  <a:pt x="32031" y="4625"/>
                  <a:pt x="32000" y="4594"/>
                </a:cubicBezTo>
                <a:cubicBezTo>
                  <a:pt x="32000" y="4563"/>
                  <a:pt x="31969" y="4563"/>
                  <a:pt x="31938" y="4563"/>
                </a:cubicBezTo>
                <a:cubicBezTo>
                  <a:pt x="31844" y="4594"/>
                  <a:pt x="31781" y="4625"/>
                  <a:pt x="31688" y="4656"/>
                </a:cubicBezTo>
                <a:cubicBezTo>
                  <a:pt x="31563" y="4719"/>
                  <a:pt x="31469" y="4844"/>
                  <a:pt x="31313" y="4906"/>
                </a:cubicBezTo>
                <a:cubicBezTo>
                  <a:pt x="31375" y="4719"/>
                  <a:pt x="31469" y="4594"/>
                  <a:pt x="31500" y="4438"/>
                </a:cubicBezTo>
                <a:cubicBezTo>
                  <a:pt x="31563" y="4313"/>
                  <a:pt x="31625" y="4188"/>
                  <a:pt x="31625" y="4031"/>
                </a:cubicBezTo>
                <a:cubicBezTo>
                  <a:pt x="31656" y="3938"/>
                  <a:pt x="31594" y="3906"/>
                  <a:pt x="31563" y="3844"/>
                </a:cubicBezTo>
                <a:cubicBezTo>
                  <a:pt x="31531" y="3813"/>
                  <a:pt x="31500" y="3906"/>
                  <a:pt x="31438" y="3906"/>
                </a:cubicBezTo>
                <a:cubicBezTo>
                  <a:pt x="31375" y="3938"/>
                  <a:pt x="31344" y="4000"/>
                  <a:pt x="31250" y="4000"/>
                </a:cubicBezTo>
                <a:cubicBezTo>
                  <a:pt x="31281" y="3906"/>
                  <a:pt x="31281" y="3813"/>
                  <a:pt x="31250" y="3688"/>
                </a:cubicBezTo>
                <a:cubicBezTo>
                  <a:pt x="31219" y="3656"/>
                  <a:pt x="31219" y="3625"/>
                  <a:pt x="31281" y="3563"/>
                </a:cubicBezTo>
                <a:cubicBezTo>
                  <a:pt x="31313" y="3563"/>
                  <a:pt x="31313" y="3469"/>
                  <a:pt x="31250" y="3469"/>
                </a:cubicBezTo>
                <a:cubicBezTo>
                  <a:pt x="31188" y="3438"/>
                  <a:pt x="31125" y="3406"/>
                  <a:pt x="31031" y="3469"/>
                </a:cubicBezTo>
                <a:cubicBezTo>
                  <a:pt x="30938" y="3531"/>
                  <a:pt x="30875" y="3625"/>
                  <a:pt x="30781" y="3656"/>
                </a:cubicBezTo>
                <a:cubicBezTo>
                  <a:pt x="30750" y="3781"/>
                  <a:pt x="30719" y="3875"/>
                  <a:pt x="30594" y="3969"/>
                </a:cubicBezTo>
                <a:cubicBezTo>
                  <a:pt x="30625" y="3813"/>
                  <a:pt x="30688" y="3688"/>
                  <a:pt x="30750" y="3594"/>
                </a:cubicBezTo>
                <a:cubicBezTo>
                  <a:pt x="30813" y="3438"/>
                  <a:pt x="30875" y="3313"/>
                  <a:pt x="30938" y="3188"/>
                </a:cubicBezTo>
                <a:cubicBezTo>
                  <a:pt x="30969" y="3094"/>
                  <a:pt x="31000" y="2938"/>
                  <a:pt x="30938" y="2906"/>
                </a:cubicBezTo>
                <a:cubicBezTo>
                  <a:pt x="30844" y="2875"/>
                  <a:pt x="30750" y="3000"/>
                  <a:pt x="30688" y="3094"/>
                </a:cubicBezTo>
                <a:cubicBezTo>
                  <a:pt x="30656" y="3125"/>
                  <a:pt x="30656" y="3219"/>
                  <a:pt x="30563" y="3250"/>
                </a:cubicBezTo>
                <a:cubicBezTo>
                  <a:pt x="30594" y="3156"/>
                  <a:pt x="30625" y="3094"/>
                  <a:pt x="30656" y="3000"/>
                </a:cubicBezTo>
                <a:cubicBezTo>
                  <a:pt x="30719" y="2875"/>
                  <a:pt x="30875" y="2750"/>
                  <a:pt x="30688" y="2563"/>
                </a:cubicBezTo>
                <a:cubicBezTo>
                  <a:pt x="30688" y="2563"/>
                  <a:pt x="30688" y="2532"/>
                  <a:pt x="30688" y="2532"/>
                </a:cubicBezTo>
                <a:cubicBezTo>
                  <a:pt x="30688" y="2407"/>
                  <a:pt x="30625" y="2407"/>
                  <a:pt x="30563" y="2469"/>
                </a:cubicBezTo>
                <a:cubicBezTo>
                  <a:pt x="30406" y="2657"/>
                  <a:pt x="30188" y="2813"/>
                  <a:pt x="30094" y="3063"/>
                </a:cubicBezTo>
                <a:cubicBezTo>
                  <a:pt x="30031" y="3250"/>
                  <a:pt x="29938" y="3438"/>
                  <a:pt x="29781" y="3531"/>
                </a:cubicBezTo>
                <a:cubicBezTo>
                  <a:pt x="29750" y="3563"/>
                  <a:pt x="29688" y="3594"/>
                  <a:pt x="29656" y="3563"/>
                </a:cubicBezTo>
                <a:cubicBezTo>
                  <a:pt x="29594" y="3531"/>
                  <a:pt x="29656" y="3500"/>
                  <a:pt x="29656" y="3469"/>
                </a:cubicBezTo>
                <a:cubicBezTo>
                  <a:pt x="29719" y="3313"/>
                  <a:pt x="29781" y="3156"/>
                  <a:pt x="29844" y="2969"/>
                </a:cubicBezTo>
                <a:cubicBezTo>
                  <a:pt x="29969" y="2594"/>
                  <a:pt x="30094" y="2219"/>
                  <a:pt x="30156" y="1813"/>
                </a:cubicBezTo>
                <a:cubicBezTo>
                  <a:pt x="30156" y="1782"/>
                  <a:pt x="30219" y="1719"/>
                  <a:pt x="30156" y="1719"/>
                </a:cubicBezTo>
                <a:cubicBezTo>
                  <a:pt x="30125" y="1688"/>
                  <a:pt x="30063" y="1688"/>
                  <a:pt x="30031" y="1750"/>
                </a:cubicBezTo>
                <a:cubicBezTo>
                  <a:pt x="30000" y="1782"/>
                  <a:pt x="29969" y="1813"/>
                  <a:pt x="29969" y="1844"/>
                </a:cubicBezTo>
                <a:cubicBezTo>
                  <a:pt x="29813" y="2157"/>
                  <a:pt x="29625" y="2438"/>
                  <a:pt x="29438" y="2750"/>
                </a:cubicBezTo>
                <a:cubicBezTo>
                  <a:pt x="29219" y="3125"/>
                  <a:pt x="28969" y="3500"/>
                  <a:pt x="28719" y="3875"/>
                </a:cubicBezTo>
                <a:cubicBezTo>
                  <a:pt x="28625" y="4031"/>
                  <a:pt x="28563" y="4188"/>
                  <a:pt x="28406" y="4281"/>
                </a:cubicBezTo>
                <a:cubicBezTo>
                  <a:pt x="28406" y="4281"/>
                  <a:pt x="28406" y="4281"/>
                  <a:pt x="28406" y="4281"/>
                </a:cubicBezTo>
                <a:cubicBezTo>
                  <a:pt x="28406" y="4313"/>
                  <a:pt x="28406" y="4344"/>
                  <a:pt x="28375" y="4344"/>
                </a:cubicBezTo>
                <a:cubicBezTo>
                  <a:pt x="28281" y="4531"/>
                  <a:pt x="28219" y="4688"/>
                  <a:pt x="28063" y="4813"/>
                </a:cubicBezTo>
                <a:cubicBezTo>
                  <a:pt x="28156" y="4625"/>
                  <a:pt x="28281" y="4406"/>
                  <a:pt x="28406" y="4219"/>
                </a:cubicBezTo>
                <a:cubicBezTo>
                  <a:pt x="28406" y="4156"/>
                  <a:pt x="28438" y="4125"/>
                  <a:pt x="28438" y="4094"/>
                </a:cubicBezTo>
                <a:cubicBezTo>
                  <a:pt x="28563" y="3813"/>
                  <a:pt x="28688" y="3531"/>
                  <a:pt x="28750" y="3219"/>
                </a:cubicBezTo>
                <a:cubicBezTo>
                  <a:pt x="28781" y="2906"/>
                  <a:pt x="28844" y="2625"/>
                  <a:pt x="28938" y="2313"/>
                </a:cubicBezTo>
                <a:cubicBezTo>
                  <a:pt x="29063" y="1875"/>
                  <a:pt x="29156" y="1438"/>
                  <a:pt x="29281" y="1000"/>
                </a:cubicBezTo>
                <a:cubicBezTo>
                  <a:pt x="29281" y="969"/>
                  <a:pt x="29313" y="938"/>
                  <a:pt x="29250" y="938"/>
                </a:cubicBezTo>
                <a:cubicBezTo>
                  <a:pt x="29188" y="938"/>
                  <a:pt x="29094" y="969"/>
                  <a:pt x="29094" y="1032"/>
                </a:cubicBezTo>
                <a:cubicBezTo>
                  <a:pt x="29000" y="1344"/>
                  <a:pt x="28844" y="1594"/>
                  <a:pt x="28719" y="1875"/>
                </a:cubicBezTo>
                <a:cubicBezTo>
                  <a:pt x="28719" y="1938"/>
                  <a:pt x="28688" y="2000"/>
                  <a:pt x="28594" y="1969"/>
                </a:cubicBezTo>
                <a:cubicBezTo>
                  <a:pt x="28531" y="1938"/>
                  <a:pt x="28531" y="1844"/>
                  <a:pt x="28563" y="1813"/>
                </a:cubicBezTo>
                <a:cubicBezTo>
                  <a:pt x="28625" y="1719"/>
                  <a:pt x="28625" y="1625"/>
                  <a:pt x="28656" y="1532"/>
                </a:cubicBezTo>
                <a:cubicBezTo>
                  <a:pt x="28750" y="1250"/>
                  <a:pt x="28750" y="969"/>
                  <a:pt x="28875" y="688"/>
                </a:cubicBezTo>
                <a:cubicBezTo>
                  <a:pt x="28906" y="625"/>
                  <a:pt x="28906" y="594"/>
                  <a:pt x="28906" y="532"/>
                </a:cubicBezTo>
                <a:cubicBezTo>
                  <a:pt x="28844" y="563"/>
                  <a:pt x="28844" y="594"/>
                  <a:pt x="28813" y="625"/>
                </a:cubicBezTo>
                <a:cubicBezTo>
                  <a:pt x="28688" y="1032"/>
                  <a:pt x="28531" y="1438"/>
                  <a:pt x="28313" y="1782"/>
                </a:cubicBezTo>
                <a:cubicBezTo>
                  <a:pt x="28313" y="1813"/>
                  <a:pt x="28313" y="1844"/>
                  <a:pt x="28281" y="1844"/>
                </a:cubicBezTo>
                <a:cubicBezTo>
                  <a:pt x="28219" y="1844"/>
                  <a:pt x="28219" y="1813"/>
                  <a:pt x="28219" y="1782"/>
                </a:cubicBezTo>
                <a:cubicBezTo>
                  <a:pt x="28219" y="1688"/>
                  <a:pt x="28219" y="1594"/>
                  <a:pt x="28250" y="1532"/>
                </a:cubicBezTo>
                <a:cubicBezTo>
                  <a:pt x="28375" y="1250"/>
                  <a:pt x="28406" y="938"/>
                  <a:pt x="28500" y="625"/>
                </a:cubicBezTo>
                <a:cubicBezTo>
                  <a:pt x="28531" y="594"/>
                  <a:pt x="28531" y="563"/>
                  <a:pt x="28469" y="563"/>
                </a:cubicBezTo>
                <a:cubicBezTo>
                  <a:pt x="28438" y="532"/>
                  <a:pt x="28406" y="532"/>
                  <a:pt x="28406" y="594"/>
                </a:cubicBezTo>
                <a:cubicBezTo>
                  <a:pt x="28344" y="813"/>
                  <a:pt x="28219" y="1032"/>
                  <a:pt x="28156" y="1219"/>
                </a:cubicBezTo>
                <a:cubicBezTo>
                  <a:pt x="28000" y="1532"/>
                  <a:pt x="27875" y="1813"/>
                  <a:pt x="27750" y="2094"/>
                </a:cubicBezTo>
                <a:cubicBezTo>
                  <a:pt x="27563" y="2438"/>
                  <a:pt x="27344" y="2782"/>
                  <a:pt x="27188" y="3125"/>
                </a:cubicBezTo>
                <a:cubicBezTo>
                  <a:pt x="27156" y="3250"/>
                  <a:pt x="27031" y="3344"/>
                  <a:pt x="26938" y="3406"/>
                </a:cubicBezTo>
                <a:cubicBezTo>
                  <a:pt x="26906" y="3438"/>
                  <a:pt x="26844" y="3438"/>
                  <a:pt x="26813" y="3406"/>
                </a:cubicBezTo>
                <a:cubicBezTo>
                  <a:pt x="26781" y="3406"/>
                  <a:pt x="26813" y="3375"/>
                  <a:pt x="26813" y="3344"/>
                </a:cubicBezTo>
                <a:cubicBezTo>
                  <a:pt x="27000" y="2844"/>
                  <a:pt x="27125" y="2344"/>
                  <a:pt x="27250" y="1844"/>
                </a:cubicBezTo>
                <a:cubicBezTo>
                  <a:pt x="27281" y="1594"/>
                  <a:pt x="27313" y="1375"/>
                  <a:pt x="27344" y="1157"/>
                </a:cubicBezTo>
                <a:cubicBezTo>
                  <a:pt x="27344" y="1125"/>
                  <a:pt x="27344" y="1094"/>
                  <a:pt x="27313" y="1094"/>
                </a:cubicBezTo>
                <a:cubicBezTo>
                  <a:pt x="27281" y="1094"/>
                  <a:pt x="27250" y="1125"/>
                  <a:pt x="27250" y="1157"/>
                </a:cubicBezTo>
                <a:cubicBezTo>
                  <a:pt x="27250" y="1219"/>
                  <a:pt x="27219" y="1282"/>
                  <a:pt x="27188" y="1344"/>
                </a:cubicBezTo>
                <a:cubicBezTo>
                  <a:pt x="27063" y="1782"/>
                  <a:pt x="26969" y="2219"/>
                  <a:pt x="26719" y="2625"/>
                </a:cubicBezTo>
                <a:cubicBezTo>
                  <a:pt x="26813" y="2157"/>
                  <a:pt x="26938" y="1750"/>
                  <a:pt x="27125" y="1344"/>
                </a:cubicBezTo>
                <a:cubicBezTo>
                  <a:pt x="27156" y="907"/>
                  <a:pt x="27188" y="469"/>
                  <a:pt x="27250" y="32"/>
                </a:cubicBezTo>
                <a:cubicBezTo>
                  <a:pt x="27250" y="0"/>
                  <a:pt x="27219" y="0"/>
                  <a:pt x="27219" y="32"/>
                </a:cubicBezTo>
                <a:cubicBezTo>
                  <a:pt x="27031" y="282"/>
                  <a:pt x="26938" y="532"/>
                  <a:pt x="26875" y="782"/>
                </a:cubicBezTo>
                <a:cubicBezTo>
                  <a:pt x="26750" y="1032"/>
                  <a:pt x="26688" y="1313"/>
                  <a:pt x="26563" y="1563"/>
                </a:cubicBezTo>
                <a:cubicBezTo>
                  <a:pt x="26531" y="1594"/>
                  <a:pt x="26531" y="1625"/>
                  <a:pt x="26531" y="1657"/>
                </a:cubicBezTo>
                <a:cubicBezTo>
                  <a:pt x="26563" y="1657"/>
                  <a:pt x="26594" y="1657"/>
                  <a:pt x="26594" y="1657"/>
                </a:cubicBezTo>
                <a:cubicBezTo>
                  <a:pt x="26656" y="1657"/>
                  <a:pt x="26719" y="1625"/>
                  <a:pt x="26719" y="1563"/>
                </a:cubicBezTo>
                <a:cubicBezTo>
                  <a:pt x="26719" y="1500"/>
                  <a:pt x="26688" y="1407"/>
                  <a:pt x="26813" y="1407"/>
                </a:cubicBezTo>
                <a:cubicBezTo>
                  <a:pt x="26875" y="1438"/>
                  <a:pt x="26844" y="1532"/>
                  <a:pt x="26844" y="1563"/>
                </a:cubicBezTo>
                <a:cubicBezTo>
                  <a:pt x="26813" y="1719"/>
                  <a:pt x="26656" y="1813"/>
                  <a:pt x="26531" y="1750"/>
                </a:cubicBezTo>
                <a:cubicBezTo>
                  <a:pt x="26469" y="1750"/>
                  <a:pt x="26469" y="1750"/>
                  <a:pt x="26438" y="1813"/>
                </a:cubicBezTo>
                <a:cubicBezTo>
                  <a:pt x="26406" y="1875"/>
                  <a:pt x="26406" y="2000"/>
                  <a:pt x="26313" y="2063"/>
                </a:cubicBezTo>
                <a:cubicBezTo>
                  <a:pt x="26281" y="2094"/>
                  <a:pt x="26250" y="2125"/>
                  <a:pt x="26219" y="2157"/>
                </a:cubicBezTo>
                <a:cubicBezTo>
                  <a:pt x="26000" y="2219"/>
                  <a:pt x="25813" y="2282"/>
                  <a:pt x="25594" y="2313"/>
                </a:cubicBezTo>
                <a:cubicBezTo>
                  <a:pt x="25219" y="2375"/>
                  <a:pt x="24875" y="2344"/>
                  <a:pt x="24531" y="2282"/>
                </a:cubicBezTo>
                <a:cubicBezTo>
                  <a:pt x="24219" y="2219"/>
                  <a:pt x="23938" y="2032"/>
                  <a:pt x="23625" y="1969"/>
                </a:cubicBezTo>
                <a:cubicBezTo>
                  <a:pt x="23594" y="1938"/>
                  <a:pt x="23531" y="1907"/>
                  <a:pt x="23469" y="1938"/>
                </a:cubicBezTo>
                <a:cubicBezTo>
                  <a:pt x="23469" y="2000"/>
                  <a:pt x="23500" y="2000"/>
                  <a:pt x="23531" y="2032"/>
                </a:cubicBezTo>
                <a:cubicBezTo>
                  <a:pt x="23656" y="2063"/>
                  <a:pt x="23781" y="2094"/>
                  <a:pt x="23875" y="2125"/>
                </a:cubicBezTo>
                <a:cubicBezTo>
                  <a:pt x="24000" y="2219"/>
                  <a:pt x="24125" y="2313"/>
                  <a:pt x="24250" y="2375"/>
                </a:cubicBezTo>
                <a:cubicBezTo>
                  <a:pt x="24313" y="2407"/>
                  <a:pt x="24344" y="2469"/>
                  <a:pt x="24313" y="2532"/>
                </a:cubicBezTo>
                <a:cubicBezTo>
                  <a:pt x="24313" y="2594"/>
                  <a:pt x="24313" y="2625"/>
                  <a:pt x="24406" y="2657"/>
                </a:cubicBezTo>
                <a:cubicBezTo>
                  <a:pt x="24656" y="2719"/>
                  <a:pt x="24938" y="2750"/>
                  <a:pt x="25219" y="2719"/>
                </a:cubicBezTo>
                <a:cubicBezTo>
                  <a:pt x="25500" y="2688"/>
                  <a:pt x="25813" y="2625"/>
                  <a:pt x="26094" y="2844"/>
                </a:cubicBezTo>
                <a:cubicBezTo>
                  <a:pt x="26031" y="2906"/>
                  <a:pt x="26000" y="2969"/>
                  <a:pt x="25906" y="3000"/>
                </a:cubicBezTo>
                <a:cubicBezTo>
                  <a:pt x="25719" y="3063"/>
                  <a:pt x="25563" y="3094"/>
                  <a:pt x="25406" y="3063"/>
                </a:cubicBezTo>
                <a:cubicBezTo>
                  <a:pt x="25188" y="3063"/>
                  <a:pt x="24969" y="3094"/>
                  <a:pt x="24750" y="3094"/>
                </a:cubicBezTo>
                <a:cubicBezTo>
                  <a:pt x="24594" y="3094"/>
                  <a:pt x="24469" y="3063"/>
                  <a:pt x="24344" y="3031"/>
                </a:cubicBezTo>
                <a:cubicBezTo>
                  <a:pt x="24250" y="3000"/>
                  <a:pt x="24156" y="3063"/>
                  <a:pt x="24063" y="3094"/>
                </a:cubicBezTo>
                <a:cubicBezTo>
                  <a:pt x="24188" y="3125"/>
                  <a:pt x="24313" y="3125"/>
                  <a:pt x="24344" y="3281"/>
                </a:cubicBezTo>
                <a:cubicBezTo>
                  <a:pt x="24344" y="3281"/>
                  <a:pt x="24406" y="3281"/>
                  <a:pt x="24438" y="3313"/>
                </a:cubicBezTo>
                <a:cubicBezTo>
                  <a:pt x="24563" y="3313"/>
                  <a:pt x="24688" y="3375"/>
                  <a:pt x="24844" y="3344"/>
                </a:cubicBezTo>
                <a:cubicBezTo>
                  <a:pt x="25031" y="3281"/>
                  <a:pt x="25219" y="3406"/>
                  <a:pt x="25406" y="3406"/>
                </a:cubicBezTo>
                <a:cubicBezTo>
                  <a:pt x="25500" y="3406"/>
                  <a:pt x="25594" y="3438"/>
                  <a:pt x="25563" y="3281"/>
                </a:cubicBezTo>
                <a:cubicBezTo>
                  <a:pt x="25625" y="3344"/>
                  <a:pt x="25750" y="3375"/>
                  <a:pt x="25781" y="3438"/>
                </a:cubicBezTo>
                <a:cubicBezTo>
                  <a:pt x="25813" y="3531"/>
                  <a:pt x="25875" y="3594"/>
                  <a:pt x="25969" y="3594"/>
                </a:cubicBezTo>
                <a:cubicBezTo>
                  <a:pt x="26000" y="3594"/>
                  <a:pt x="26031" y="3594"/>
                  <a:pt x="26000" y="3625"/>
                </a:cubicBezTo>
                <a:cubicBezTo>
                  <a:pt x="26000" y="3656"/>
                  <a:pt x="26000" y="3688"/>
                  <a:pt x="25969" y="3719"/>
                </a:cubicBezTo>
                <a:cubicBezTo>
                  <a:pt x="25781" y="3750"/>
                  <a:pt x="25625" y="3813"/>
                  <a:pt x="25438" y="3875"/>
                </a:cubicBezTo>
                <a:cubicBezTo>
                  <a:pt x="24719" y="3969"/>
                  <a:pt x="24031" y="3875"/>
                  <a:pt x="23313" y="3781"/>
                </a:cubicBezTo>
                <a:cubicBezTo>
                  <a:pt x="23063" y="3750"/>
                  <a:pt x="22844" y="3594"/>
                  <a:pt x="22563" y="3625"/>
                </a:cubicBezTo>
                <a:cubicBezTo>
                  <a:pt x="22563" y="3656"/>
                  <a:pt x="22531" y="3625"/>
                  <a:pt x="22500" y="3625"/>
                </a:cubicBezTo>
                <a:cubicBezTo>
                  <a:pt x="22469" y="3469"/>
                  <a:pt x="22344" y="3531"/>
                  <a:pt x="22250" y="3531"/>
                </a:cubicBezTo>
                <a:cubicBezTo>
                  <a:pt x="22219" y="3531"/>
                  <a:pt x="22188" y="3531"/>
                  <a:pt x="22156" y="3531"/>
                </a:cubicBezTo>
                <a:cubicBezTo>
                  <a:pt x="22063" y="3531"/>
                  <a:pt x="22000" y="3438"/>
                  <a:pt x="21906" y="3406"/>
                </a:cubicBezTo>
                <a:cubicBezTo>
                  <a:pt x="21750" y="3344"/>
                  <a:pt x="21563" y="3344"/>
                  <a:pt x="21406" y="3219"/>
                </a:cubicBezTo>
                <a:cubicBezTo>
                  <a:pt x="21406" y="3188"/>
                  <a:pt x="21375" y="3188"/>
                  <a:pt x="21375" y="3219"/>
                </a:cubicBezTo>
                <a:cubicBezTo>
                  <a:pt x="21313" y="3281"/>
                  <a:pt x="21281" y="3219"/>
                  <a:pt x="21219" y="3219"/>
                </a:cubicBezTo>
                <a:cubicBezTo>
                  <a:pt x="21125" y="3188"/>
                  <a:pt x="21031" y="3156"/>
                  <a:pt x="20938" y="3156"/>
                </a:cubicBezTo>
                <a:cubicBezTo>
                  <a:pt x="20750" y="3125"/>
                  <a:pt x="20563" y="3125"/>
                  <a:pt x="20406" y="2969"/>
                </a:cubicBezTo>
                <a:cubicBezTo>
                  <a:pt x="20375" y="2906"/>
                  <a:pt x="20375" y="2938"/>
                  <a:pt x="20344" y="2969"/>
                </a:cubicBezTo>
                <a:cubicBezTo>
                  <a:pt x="20281" y="3000"/>
                  <a:pt x="20250" y="2969"/>
                  <a:pt x="20219" y="2938"/>
                </a:cubicBezTo>
                <a:cubicBezTo>
                  <a:pt x="20156" y="2875"/>
                  <a:pt x="20156" y="2813"/>
                  <a:pt x="20156" y="2750"/>
                </a:cubicBezTo>
                <a:cubicBezTo>
                  <a:pt x="20000" y="2875"/>
                  <a:pt x="20000" y="2875"/>
                  <a:pt x="19781" y="2782"/>
                </a:cubicBezTo>
                <a:cubicBezTo>
                  <a:pt x="19750" y="2782"/>
                  <a:pt x="19750" y="2782"/>
                  <a:pt x="19719" y="2782"/>
                </a:cubicBezTo>
                <a:cubicBezTo>
                  <a:pt x="19406" y="2657"/>
                  <a:pt x="19063" y="2532"/>
                  <a:pt x="18719" y="2500"/>
                </a:cubicBezTo>
                <a:cubicBezTo>
                  <a:pt x="18656" y="2469"/>
                  <a:pt x="18594" y="2500"/>
                  <a:pt x="18625" y="2375"/>
                </a:cubicBezTo>
                <a:cubicBezTo>
                  <a:pt x="18656" y="2313"/>
                  <a:pt x="18563" y="2250"/>
                  <a:pt x="18500" y="2219"/>
                </a:cubicBezTo>
                <a:cubicBezTo>
                  <a:pt x="18438" y="2188"/>
                  <a:pt x="18469" y="2282"/>
                  <a:pt x="18438" y="2313"/>
                </a:cubicBezTo>
                <a:cubicBezTo>
                  <a:pt x="18406" y="2344"/>
                  <a:pt x="18375" y="2407"/>
                  <a:pt x="18313" y="2344"/>
                </a:cubicBezTo>
                <a:cubicBezTo>
                  <a:pt x="18250" y="2313"/>
                  <a:pt x="18219" y="2375"/>
                  <a:pt x="18188" y="2375"/>
                </a:cubicBezTo>
                <a:cubicBezTo>
                  <a:pt x="18156" y="2407"/>
                  <a:pt x="18125" y="2407"/>
                  <a:pt x="18094" y="2375"/>
                </a:cubicBezTo>
                <a:cubicBezTo>
                  <a:pt x="18094" y="2375"/>
                  <a:pt x="18094" y="2344"/>
                  <a:pt x="18094" y="2344"/>
                </a:cubicBezTo>
                <a:cubicBezTo>
                  <a:pt x="18094" y="2282"/>
                  <a:pt x="18125" y="2313"/>
                  <a:pt x="18156" y="2313"/>
                </a:cubicBezTo>
                <a:cubicBezTo>
                  <a:pt x="18188" y="2313"/>
                  <a:pt x="18219" y="2313"/>
                  <a:pt x="18250" y="2282"/>
                </a:cubicBezTo>
                <a:cubicBezTo>
                  <a:pt x="18219" y="2282"/>
                  <a:pt x="18188" y="2250"/>
                  <a:pt x="18156" y="2250"/>
                </a:cubicBezTo>
                <a:cubicBezTo>
                  <a:pt x="18156" y="2250"/>
                  <a:pt x="18156" y="2250"/>
                  <a:pt x="18125" y="2250"/>
                </a:cubicBezTo>
                <a:cubicBezTo>
                  <a:pt x="18125" y="2250"/>
                  <a:pt x="18125" y="2250"/>
                  <a:pt x="18125" y="2250"/>
                </a:cubicBezTo>
                <a:cubicBezTo>
                  <a:pt x="18094" y="2250"/>
                  <a:pt x="18094" y="2250"/>
                  <a:pt x="18094" y="2219"/>
                </a:cubicBezTo>
                <a:cubicBezTo>
                  <a:pt x="18031" y="2250"/>
                  <a:pt x="18000" y="2188"/>
                  <a:pt x="17938" y="2219"/>
                </a:cubicBezTo>
                <a:cubicBezTo>
                  <a:pt x="17625" y="2313"/>
                  <a:pt x="17375" y="2188"/>
                  <a:pt x="17156" y="2032"/>
                </a:cubicBezTo>
                <a:cubicBezTo>
                  <a:pt x="17031" y="2000"/>
                  <a:pt x="16906" y="2063"/>
                  <a:pt x="16781" y="2000"/>
                </a:cubicBezTo>
                <a:cubicBezTo>
                  <a:pt x="16781" y="1969"/>
                  <a:pt x="16656" y="2000"/>
                  <a:pt x="16750" y="1907"/>
                </a:cubicBezTo>
                <a:cubicBezTo>
                  <a:pt x="16750" y="1875"/>
                  <a:pt x="16719" y="1875"/>
                  <a:pt x="16688" y="1875"/>
                </a:cubicBezTo>
                <a:cubicBezTo>
                  <a:pt x="16625" y="1875"/>
                  <a:pt x="16531" y="1875"/>
                  <a:pt x="16469" y="1875"/>
                </a:cubicBezTo>
                <a:cubicBezTo>
                  <a:pt x="16313" y="1907"/>
                  <a:pt x="16125" y="1844"/>
                  <a:pt x="16031" y="1750"/>
                </a:cubicBezTo>
                <a:cubicBezTo>
                  <a:pt x="15938" y="1657"/>
                  <a:pt x="15906" y="1688"/>
                  <a:pt x="15813" y="1688"/>
                </a:cubicBezTo>
                <a:cubicBezTo>
                  <a:pt x="15781" y="1719"/>
                  <a:pt x="15750" y="1688"/>
                  <a:pt x="15719" y="1688"/>
                </a:cubicBezTo>
                <a:cubicBezTo>
                  <a:pt x="15531" y="1657"/>
                  <a:pt x="15406" y="1532"/>
                  <a:pt x="15219" y="1594"/>
                </a:cubicBezTo>
                <a:cubicBezTo>
                  <a:pt x="15219" y="1594"/>
                  <a:pt x="15188" y="1594"/>
                  <a:pt x="15188" y="1563"/>
                </a:cubicBezTo>
                <a:cubicBezTo>
                  <a:pt x="15094" y="1469"/>
                  <a:pt x="14938" y="1469"/>
                  <a:pt x="14813" y="1469"/>
                </a:cubicBezTo>
                <a:cubicBezTo>
                  <a:pt x="14781" y="1469"/>
                  <a:pt x="14719" y="1469"/>
                  <a:pt x="14719" y="1407"/>
                </a:cubicBezTo>
                <a:cubicBezTo>
                  <a:pt x="14719" y="1313"/>
                  <a:pt x="14688" y="1313"/>
                  <a:pt x="14594" y="1375"/>
                </a:cubicBezTo>
                <a:cubicBezTo>
                  <a:pt x="14563" y="1375"/>
                  <a:pt x="14531" y="1375"/>
                  <a:pt x="14469" y="1344"/>
                </a:cubicBezTo>
                <a:cubicBezTo>
                  <a:pt x="14406" y="1313"/>
                  <a:pt x="14313" y="1282"/>
                  <a:pt x="14219" y="1282"/>
                </a:cubicBezTo>
                <a:cubicBezTo>
                  <a:pt x="14188" y="1282"/>
                  <a:pt x="14188" y="1282"/>
                  <a:pt x="14156" y="1250"/>
                </a:cubicBezTo>
                <a:cubicBezTo>
                  <a:pt x="14094" y="1188"/>
                  <a:pt x="14063" y="1188"/>
                  <a:pt x="13969" y="1219"/>
                </a:cubicBezTo>
                <a:cubicBezTo>
                  <a:pt x="14000" y="1250"/>
                  <a:pt x="14031" y="1250"/>
                  <a:pt x="14125" y="1282"/>
                </a:cubicBezTo>
                <a:cubicBezTo>
                  <a:pt x="13938" y="1344"/>
                  <a:pt x="13875" y="1313"/>
                  <a:pt x="13844" y="1188"/>
                </a:cubicBezTo>
                <a:cubicBezTo>
                  <a:pt x="13844" y="1188"/>
                  <a:pt x="13813" y="1188"/>
                  <a:pt x="13813" y="1188"/>
                </a:cubicBezTo>
                <a:cubicBezTo>
                  <a:pt x="13688" y="1094"/>
                  <a:pt x="13531" y="1188"/>
                  <a:pt x="13406" y="1125"/>
                </a:cubicBezTo>
                <a:cubicBezTo>
                  <a:pt x="13375" y="1125"/>
                  <a:pt x="13281" y="1219"/>
                  <a:pt x="13281" y="1063"/>
                </a:cubicBezTo>
                <a:cubicBezTo>
                  <a:pt x="13313" y="1032"/>
                  <a:pt x="13250" y="1063"/>
                  <a:pt x="13219" y="1063"/>
                </a:cubicBezTo>
                <a:cubicBezTo>
                  <a:pt x="13188" y="1094"/>
                  <a:pt x="13094" y="1157"/>
                  <a:pt x="13094" y="1125"/>
                </a:cubicBezTo>
                <a:cubicBezTo>
                  <a:pt x="13031" y="1000"/>
                  <a:pt x="12969" y="1063"/>
                  <a:pt x="12938" y="1094"/>
                </a:cubicBezTo>
                <a:cubicBezTo>
                  <a:pt x="12906" y="1094"/>
                  <a:pt x="12906" y="1063"/>
                  <a:pt x="12875" y="1063"/>
                </a:cubicBezTo>
                <a:cubicBezTo>
                  <a:pt x="12875" y="1063"/>
                  <a:pt x="12844" y="1063"/>
                  <a:pt x="12813" y="1063"/>
                </a:cubicBezTo>
                <a:cubicBezTo>
                  <a:pt x="12813" y="1094"/>
                  <a:pt x="12750" y="1063"/>
                  <a:pt x="12750" y="1125"/>
                </a:cubicBezTo>
                <a:cubicBezTo>
                  <a:pt x="12750" y="1157"/>
                  <a:pt x="12781" y="1157"/>
                  <a:pt x="12813" y="1157"/>
                </a:cubicBezTo>
                <a:cubicBezTo>
                  <a:pt x="12875" y="1188"/>
                  <a:pt x="12969" y="1188"/>
                  <a:pt x="13031" y="1188"/>
                </a:cubicBezTo>
                <a:cubicBezTo>
                  <a:pt x="13094" y="1188"/>
                  <a:pt x="13156" y="1188"/>
                  <a:pt x="13219" y="1250"/>
                </a:cubicBezTo>
                <a:cubicBezTo>
                  <a:pt x="13000" y="1250"/>
                  <a:pt x="12781" y="1250"/>
                  <a:pt x="12625" y="1157"/>
                </a:cubicBezTo>
                <a:cubicBezTo>
                  <a:pt x="12563" y="1125"/>
                  <a:pt x="12531" y="1125"/>
                  <a:pt x="12500" y="1157"/>
                </a:cubicBezTo>
                <a:cubicBezTo>
                  <a:pt x="12406" y="1188"/>
                  <a:pt x="12313" y="1157"/>
                  <a:pt x="12188" y="1157"/>
                </a:cubicBezTo>
                <a:cubicBezTo>
                  <a:pt x="12156" y="1157"/>
                  <a:pt x="12156" y="1125"/>
                  <a:pt x="12125" y="1063"/>
                </a:cubicBezTo>
                <a:cubicBezTo>
                  <a:pt x="12125" y="1000"/>
                  <a:pt x="12125" y="1000"/>
                  <a:pt x="12063" y="1032"/>
                </a:cubicBezTo>
                <a:cubicBezTo>
                  <a:pt x="12000" y="1063"/>
                  <a:pt x="11938" y="1094"/>
                  <a:pt x="11844" y="1032"/>
                </a:cubicBezTo>
                <a:cubicBezTo>
                  <a:pt x="11844" y="1000"/>
                  <a:pt x="11844" y="969"/>
                  <a:pt x="11813" y="907"/>
                </a:cubicBezTo>
                <a:cubicBezTo>
                  <a:pt x="11813" y="907"/>
                  <a:pt x="11781" y="875"/>
                  <a:pt x="11750" y="875"/>
                </a:cubicBezTo>
                <a:cubicBezTo>
                  <a:pt x="11719" y="875"/>
                  <a:pt x="11750" y="938"/>
                  <a:pt x="11750" y="938"/>
                </a:cubicBezTo>
                <a:cubicBezTo>
                  <a:pt x="11719" y="1032"/>
                  <a:pt x="11781" y="1032"/>
                  <a:pt x="11844" y="1032"/>
                </a:cubicBezTo>
                <a:cubicBezTo>
                  <a:pt x="11688" y="1250"/>
                  <a:pt x="11719" y="1000"/>
                  <a:pt x="11656" y="969"/>
                </a:cubicBezTo>
                <a:cubicBezTo>
                  <a:pt x="11563" y="969"/>
                  <a:pt x="11531" y="875"/>
                  <a:pt x="11469" y="875"/>
                </a:cubicBezTo>
                <a:cubicBezTo>
                  <a:pt x="11313" y="844"/>
                  <a:pt x="11188" y="1032"/>
                  <a:pt x="11063" y="875"/>
                </a:cubicBezTo>
                <a:cubicBezTo>
                  <a:pt x="11063" y="875"/>
                  <a:pt x="11031" y="875"/>
                  <a:pt x="11000" y="907"/>
                </a:cubicBezTo>
                <a:cubicBezTo>
                  <a:pt x="10938" y="1000"/>
                  <a:pt x="10875" y="938"/>
                  <a:pt x="10813" y="875"/>
                </a:cubicBezTo>
                <a:cubicBezTo>
                  <a:pt x="10781" y="844"/>
                  <a:pt x="10750" y="844"/>
                  <a:pt x="10719" y="813"/>
                </a:cubicBezTo>
                <a:cubicBezTo>
                  <a:pt x="10469" y="782"/>
                  <a:pt x="10188" y="875"/>
                  <a:pt x="9938" y="813"/>
                </a:cubicBezTo>
                <a:cubicBezTo>
                  <a:pt x="9906" y="813"/>
                  <a:pt x="9875" y="813"/>
                  <a:pt x="9844" y="875"/>
                </a:cubicBezTo>
                <a:cubicBezTo>
                  <a:pt x="10000" y="907"/>
                  <a:pt x="10125" y="969"/>
                  <a:pt x="10313" y="907"/>
                </a:cubicBezTo>
                <a:cubicBezTo>
                  <a:pt x="10313" y="907"/>
                  <a:pt x="10375" y="875"/>
                  <a:pt x="10375" y="907"/>
                </a:cubicBezTo>
                <a:cubicBezTo>
                  <a:pt x="10406" y="969"/>
                  <a:pt x="10344" y="938"/>
                  <a:pt x="10281" y="969"/>
                </a:cubicBezTo>
                <a:cubicBezTo>
                  <a:pt x="10375" y="969"/>
                  <a:pt x="10438" y="969"/>
                  <a:pt x="10469" y="969"/>
                </a:cubicBezTo>
                <a:cubicBezTo>
                  <a:pt x="10750" y="1000"/>
                  <a:pt x="11000" y="969"/>
                  <a:pt x="11250" y="1000"/>
                </a:cubicBezTo>
                <a:cubicBezTo>
                  <a:pt x="11313" y="1032"/>
                  <a:pt x="11406" y="1125"/>
                  <a:pt x="11438" y="969"/>
                </a:cubicBezTo>
                <a:cubicBezTo>
                  <a:pt x="11438" y="969"/>
                  <a:pt x="11469" y="969"/>
                  <a:pt x="11469" y="969"/>
                </a:cubicBezTo>
                <a:cubicBezTo>
                  <a:pt x="11500" y="1000"/>
                  <a:pt x="11594" y="1032"/>
                  <a:pt x="11594" y="1125"/>
                </a:cubicBezTo>
                <a:cubicBezTo>
                  <a:pt x="11406" y="1125"/>
                  <a:pt x="11250" y="1125"/>
                  <a:pt x="11094" y="1125"/>
                </a:cubicBezTo>
                <a:cubicBezTo>
                  <a:pt x="10906" y="1125"/>
                  <a:pt x="10750" y="1094"/>
                  <a:pt x="10594" y="1094"/>
                </a:cubicBezTo>
                <a:cubicBezTo>
                  <a:pt x="10438" y="1063"/>
                  <a:pt x="10250" y="1125"/>
                  <a:pt x="10094" y="1125"/>
                </a:cubicBezTo>
                <a:cubicBezTo>
                  <a:pt x="9438" y="1125"/>
                  <a:pt x="8813" y="1219"/>
                  <a:pt x="8188" y="1313"/>
                </a:cubicBezTo>
                <a:cubicBezTo>
                  <a:pt x="8031" y="1344"/>
                  <a:pt x="7875" y="1469"/>
                  <a:pt x="7719" y="1375"/>
                </a:cubicBezTo>
                <a:cubicBezTo>
                  <a:pt x="7656" y="1407"/>
                  <a:pt x="7688" y="1438"/>
                  <a:pt x="7688" y="1469"/>
                </a:cubicBezTo>
                <a:cubicBezTo>
                  <a:pt x="7719" y="1500"/>
                  <a:pt x="7781" y="1532"/>
                  <a:pt x="7719" y="1563"/>
                </a:cubicBezTo>
                <a:cubicBezTo>
                  <a:pt x="7656" y="1594"/>
                  <a:pt x="7656" y="1532"/>
                  <a:pt x="7625" y="1500"/>
                </a:cubicBezTo>
                <a:cubicBezTo>
                  <a:pt x="7625" y="1469"/>
                  <a:pt x="7625" y="1469"/>
                  <a:pt x="7594" y="1438"/>
                </a:cubicBezTo>
                <a:cubicBezTo>
                  <a:pt x="7563" y="1438"/>
                  <a:pt x="7531" y="1438"/>
                  <a:pt x="7500" y="1438"/>
                </a:cubicBezTo>
                <a:cubicBezTo>
                  <a:pt x="7469" y="1500"/>
                  <a:pt x="7500" y="1532"/>
                  <a:pt x="7531" y="1563"/>
                </a:cubicBezTo>
                <a:cubicBezTo>
                  <a:pt x="7594" y="1625"/>
                  <a:pt x="7625" y="1657"/>
                  <a:pt x="7500" y="1688"/>
                </a:cubicBezTo>
                <a:cubicBezTo>
                  <a:pt x="7625" y="1750"/>
                  <a:pt x="7688" y="1688"/>
                  <a:pt x="7781" y="1688"/>
                </a:cubicBezTo>
                <a:cubicBezTo>
                  <a:pt x="7813" y="1657"/>
                  <a:pt x="7813" y="1657"/>
                  <a:pt x="7813" y="1657"/>
                </a:cubicBezTo>
                <a:cubicBezTo>
                  <a:pt x="7844" y="1438"/>
                  <a:pt x="7969" y="1563"/>
                  <a:pt x="8031" y="1563"/>
                </a:cubicBezTo>
                <a:cubicBezTo>
                  <a:pt x="8094" y="1594"/>
                  <a:pt x="8188" y="1657"/>
                  <a:pt x="8281" y="1625"/>
                </a:cubicBezTo>
                <a:cubicBezTo>
                  <a:pt x="8125" y="1750"/>
                  <a:pt x="7938" y="1688"/>
                  <a:pt x="7750" y="1750"/>
                </a:cubicBezTo>
                <a:cubicBezTo>
                  <a:pt x="7656" y="1782"/>
                  <a:pt x="7531" y="1813"/>
                  <a:pt x="7406" y="1813"/>
                </a:cubicBezTo>
                <a:cubicBezTo>
                  <a:pt x="7344" y="1813"/>
                  <a:pt x="7250" y="1844"/>
                  <a:pt x="7219" y="1938"/>
                </a:cubicBezTo>
                <a:cubicBezTo>
                  <a:pt x="7156" y="2094"/>
                  <a:pt x="7031" y="2125"/>
                  <a:pt x="6906" y="2000"/>
                </a:cubicBezTo>
                <a:cubicBezTo>
                  <a:pt x="6844" y="1938"/>
                  <a:pt x="6781" y="1969"/>
                  <a:pt x="6719" y="1969"/>
                </a:cubicBezTo>
                <a:cubicBezTo>
                  <a:pt x="6625" y="2000"/>
                  <a:pt x="6500" y="2032"/>
                  <a:pt x="6438" y="2094"/>
                </a:cubicBezTo>
                <a:cubicBezTo>
                  <a:pt x="6406" y="2125"/>
                  <a:pt x="6375" y="2157"/>
                  <a:pt x="6375" y="2125"/>
                </a:cubicBezTo>
                <a:cubicBezTo>
                  <a:pt x="6313" y="2032"/>
                  <a:pt x="6250" y="2094"/>
                  <a:pt x="6188" y="2125"/>
                </a:cubicBezTo>
                <a:cubicBezTo>
                  <a:pt x="5844" y="2188"/>
                  <a:pt x="5531" y="2282"/>
                  <a:pt x="5219" y="2407"/>
                </a:cubicBezTo>
                <a:cubicBezTo>
                  <a:pt x="4906" y="2500"/>
                  <a:pt x="4625" y="2625"/>
                  <a:pt x="4313" y="2750"/>
                </a:cubicBezTo>
                <a:cubicBezTo>
                  <a:pt x="4281" y="2750"/>
                  <a:pt x="4250" y="2782"/>
                  <a:pt x="4250" y="2813"/>
                </a:cubicBezTo>
                <a:cubicBezTo>
                  <a:pt x="4281" y="2844"/>
                  <a:pt x="4313" y="2875"/>
                  <a:pt x="4344" y="2844"/>
                </a:cubicBezTo>
                <a:cubicBezTo>
                  <a:pt x="4375" y="2813"/>
                  <a:pt x="4375" y="2813"/>
                  <a:pt x="4406" y="2844"/>
                </a:cubicBezTo>
                <a:cubicBezTo>
                  <a:pt x="4344" y="2906"/>
                  <a:pt x="4281" y="2938"/>
                  <a:pt x="4219" y="2969"/>
                </a:cubicBezTo>
                <a:cubicBezTo>
                  <a:pt x="4219" y="2969"/>
                  <a:pt x="4219" y="2969"/>
                  <a:pt x="4188" y="2969"/>
                </a:cubicBezTo>
                <a:cubicBezTo>
                  <a:pt x="4156" y="3000"/>
                  <a:pt x="4063" y="3000"/>
                  <a:pt x="4031" y="3000"/>
                </a:cubicBezTo>
                <a:cubicBezTo>
                  <a:pt x="3969" y="2969"/>
                  <a:pt x="4031" y="2906"/>
                  <a:pt x="4094" y="2906"/>
                </a:cubicBezTo>
                <a:cubicBezTo>
                  <a:pt x="4125" y="2906"/>
                  <a:pt x="4156" y="2906"/>
                  <a:pt x="4188" y="2906"/>
                </a:cubicBezTo>
                <a:cubicBezTo>
                  <a:pt x="4156" y="2782"/>
                  <a:pt x="4063" y="2813"/>
                  <a:pt x="3969" y="2844"/>
                </a:cubicBezTo>
                <a:cubicBezTo>
                  <a:pt x="3844" y="2906"/>
                  <a:pt x="3719" y="3031"/>
                  <a:pt x="3594" y="3063"/>
                </a:cubicBezTo>
                <a:cubicBezTo>
                  <a:pt x="3438" y="3125"/>
                  <a:pt x="3313" y="3156"/>
                  <a:pt x="3188" y="3250"/>
                </a:cubicBezTo>
                <a:cubicBezTo>
                  <a:pt x="3156" y="3250"/>
                  <a:pt x="3094" y="3250"/>
                  <a:pt x="3125" y="3281"/>
                </a:cubicBezTo>
                <a:cubicBezTo>
                  <a:pt x="3156" y="3344"/>
                  <a:pt x="3156" y="3406"/>
                  <a:pt x="3219" y="3438"/>
                </a:cubicBezTo>
                <a:cubicBezTo>
                  <a:pt x="3250" y="3438"/>
                  <a:pt x="3313" y="3438"/>
                  <a:pt x="3313" y="3375"/>
                </a:cubicBezTo>
                <a:cubicBezTo>
                  <a:pt x="3344" y="3313"/>
                  <a:pt x="3344" y="3281"/>
                  <a:pt x="3406" y="3344"/>
                </a:cubicBezTo>
                <a:cubicBezTo>
                  <a:pt x="3438" y="3375"/>
                  <a:pt x="3469" y="3344"/>
                  <a:pt x="3469" y="3313"/>
                </a:cubicBezTo>
                <a:cubicBezTo>
                  <a:pt x="3500" y="3250"/>
                  <a:pt x="3531" y="3250"/>
                  <a:pt x="3563" y="3313"/>
                </a:cubicBezTo>
                <a:cubicBezTo>
                  <a:pt x="3594" y="3344"/>
                  <a:pt x="3625" y="3344"/>
                  <a:pt x="3656" y="3313"/>
                </a:cubicBezTo>
                <a:cubicBezTo>
                  <a:pt x="3688" y="3313"/>
                  <a:pt x="3688" y="3250"/>
                  <a:pt x="3688" y="3219"/>
                </a:cubicBezTo>
                <a:cubicBezTo>
                  <a:pt x="3656" y="3188"/>
                  <a:pt x="3625" y="3156"/>
                  <a:pt x="3656" y="3125"/>
                </a:cubicBezTo>
                <a:cubicBezTo>
                  <a:pt x="3750" y="3094"/>
                  <a:pt x="3844" y="3156"/>
                  <a:pt x="3906" y="3188"/>
                </a:cubicBezTo>
                <a:cubicBezTo>
                  <a:pt x="4000" y="3219"/>
                  <a:pt x="4094" y="3281"/>
                  <a:pt x="4094" y="3125"/>
                </a:cubicBezTo>
                <a:cubicBezTo>
                  <a:pt x="4094" y="3094"/>
                  <a:pt x="4094" y="3094"/>
                  <a:pt x="4125" y="3094"/>
                </a:cubicBezTo>
                <a:cubicBezTo>
                  <a:pt x="4188" y="3156"/>
                  <a:pt x="4219" y="3063"/>
                  <a:pt x="4281" y="3031"/>
                </a:cubicBezTo>
                <a:cubicBezTo>
                  <a:pt x="4438" y="2906"/>
                  <a:pt x="4625" y="2906"/>
                  <a:pt x="4813" y="2844"/>
                </a:cubicBezTo>
                <a:cubicBezTo>
                  <a:pt x="4969" y="2782"/>
                  <a:pt x="5156" y="2750"/>
                  <a:pt x="5344" y="2813"/>
                </a:cubicBezTo>
                <a:cubicBezTo>
                  <a:pt x="5469" y="2844"/>
                  <a:pt x="5469" y="2844"/>
                  <a:pt x="5531" y="2750"/>
                </a:cubicBezTo>
                <a:cubicBezTo>
                  <a:pt x="5469" y="2719"/>
                  <a:pt x="5438" y="2750"/>
                  <a:pt x="5406" y="2719"/>
                </a:cubicBezTo>
                <a:cubicBezTo>
                  <a:pt x="5375" y="2719"/>
                  <a:pt x="5344" y="2688"/>
                  <a:pt x="5406" y="2657"/>
                </a:cubicBezTo>
                <a:cubicBezTo>
                  <a:pt x="5625" y="2563"/>
                  <a:pt x="5844" y="2407"/>
                  <a:pt x="6094" y="2407"/>
                </a:cubicBezTo>
                <a:cubicBezTo>
                  <a:pt x="6188" y="2407"/>
                  <a:pt x="6219" y="2375"/>
                  <a:pt x="6188" y="2282"/>
                </a:cubicBezTo>
                <a:cubicBezTo>
                  <a:pt x="6188" y="2250"/>
                  <a:pt x="6188" y="2188"/>
                  <a:pt x="6219" y="2188"/>
                </a:cubicBezTo>
                <a:cubicBezTo>
                  <a:pt x="6250" y="2188"/>
                  <a:pt x="6313" y="2219"/>
                  <a:pt x="6313" y="2250"/>
                </a:cubicBezTo>
                <a:cubicBezTo>
                  <a:pt x="6281" y="2344"/>
                  <a:pt x="6313" y="2344"/>
                  <a:pt x="6375" y="2375"/>
                </a:cubicBezTo>
                <a:cubicBezTo>
                  <a:pt x="6438" y="2375"/>
                  <a:pt x="6531" y="2407"/>
                  <a:pt x="6594" y="2438"/>
                </a:cubicBezTo>
                <a:cubicBezTo>
                  <a:pt x="6656" y="2438"/>
                  <a:pt x="6688" y="2407"/>
                  <a:pt x="6688" y="2344"/>
                </a:cubicBezTo>
                <a:cubicBezTo>
                  <a:pt x="6688" y="2250"/>
                  <a:pt x="6750" y="2219"/>
                  <a:pt x="6813" y="2219"/>
                </a:cubicBezTo>
                <a:cubicBezTo>
                  <a:pt x="7031" y="2282"/>
                  <a:pt x="7219" y="2219"/>
                  <a:pt x="7406" y="2157"/>
                </a:cubicBezTo>
                <a:cubicBezTo>
                  <a:pt x="7438" y="2188"/>
                  <a:pt x="7375" y="2219"/>
                  <a:pt x="7438" y="2282"/>
                </a:cubicBezTo>
                <a:cubicBezTo>
                  <a:pt x="7563" y="2125"/>
                  <a:pt x="7625" y="2250"/>
                  <a:pt x="7719" y="2313"/>
                </a:cubicBezTo>
                <a:cubicBezTo>
                  <a:pt x="7156" y="2469"/>
                  <a:pt x="6625" y="2657"/>
                  <a:pt x="6031" y="2688"/>
                </a:cubicBezTo>
                <a:cubicBezTo>
                  <a:pt x="6156" y="2782"/>
                  <a:pt x="6156" y="2782"/>
                  <a:pt x="6063" y="2844"/>
                </a:cubicBezTo>
                <a:cubicBezTo>
                  <a:pt x="6031" y="2906"/>
                  <a:pt x="6031" y="2969"/>
                  <a:pt x="6125" y="2938"/>
                </a:cubicBezTo>
                <a:cubicBezTo>
                  <a:pt x="6156" y="2938"/>
                  <a:pt x="6219" y="2938"/>
                  <a:pt x="6219" y="2969"/>
                </a:cubicBezTo>
                <a:cubicBezTo>
                  <a:pt x="6219" y="3031"/>
                  <a:pt x="6156" y="3000"/>
                  <a:pt x="6125" y="3000"/>
                </a:cubicBezTo>
                <a:cubicBezTo>
                  <a:pt x="6094" y="3000"/>
                  <a:pt x="6063" y="3031"/>
                  <a:pt x="6063" y="3063"/>
                </a:cubicBezTo>
                <a:cubicBezTo>
                  <a:pt x="6031" y="3094"/>
                  <a:pt x="6000" y="3031"/>
                  <a:pt x="6000" y="3031"/>
                </a:cubicBezTo>
                <a:cubicBezTo>
                  <a:pt x="6000" y="2906"/>
                  <a:pt x="5875" y="2938"/>
                  <a:pt x="5813" y="2875"/>
                </a:cubicBezTo>
                <a:cubicBezTo>
                  <a:pt x="5906" y="2875"/>
                  <a:pt x="5969" y="2844"/>
                  <a:pt x="6031" y="2813"/>
                </a:cubicBezTo>
                <a:cubicBezTo>
                  <a:pt x="6031" y="2750"/>
                  <a:pt x="6031" y="2750"/>
                  <a:pt x="5938" y="2782"/>
                </a:cubicBezTo>
                <a:cubicBezTo>
                  <a:pt x="5594" y="2813"/>
                  <a:pt x="5281" y="2938"/>
                  <a:pt x="4969" y="3031"/>
                </a:cubicBezTo>
                <a:cubicBezTo>
                  <a:pt x="4719" y="3125"/>
                  <a:pt x="4500" y="3219"/>
                  <a:pt x="4250" y="3313"/>
                </a:cubicBezTo>
                <a:cubicBezTo>
                  <a:pt x="4000" y="3438"/>
                  <a:pt x="3750" y="3469"/>
                  <a:pt x="3500" y="3594"/>
                </a:cubicBezTo>
                <a:cubicBezTo>
                  <a:pt x="3406" y="3625"/>
                  <a:pt x="3375" y="3656"/>
                  <a:pt x="3406" y="3750"/>
                </a:cubicBezTo>
                <a:cubicBezTo>
                  <a:pt x="3313" y="3781"/>
                  <a:pt x="3188" y="3813"/>
                  <a:pt x="3156" y="3906"/>
                </a:cubicBezTo>
                <a:cubicBezTo>
                  <a:pt x="3094" y="3938"/>
                  <a:pt x="3000" y="3906"/>
                  <a:pt x="2938" y="3938"/>
                </a:cubicBezTo>
                <a:cubicBezTo>
                  <a:pt x="2938" y="3938"/>
                  <a:pt x="2938" y="4000"/>
                  <a:pt x="2969" y="4000"/>
                </a:cubicBezTo>
                <a:cubicBezTo>
                  <a:pt x="3031" y="4031"/>
                  <a:pt x="3094" y="4000"/>
                  <a:pt x="3156" y="3938"/>
                </a:cubicBezTo>
                <a:cubicBezTo>
                  <a:pt x="3250" y="3875"/>
                  <a:pt x="3219" y="4063"/>
                  <a:pt x="3313" y="4031"/>
                </a:cubicBezTo>
                <a:cubicBezTo>
                  <a:pt x="3313" y="4031"/>
                  <a:pt x="3313" y="4063"/>
                  <a:pt x="3313" y="4063"/>
                </a:cubicBezTo>
                <a:cubicBezTo>
                  <a:pt x="3313" y="4063"/>
                  <a:pt x="3313" y="4094"/>
                  <a:pt x="3313" y="4094"/>
                </a:cubicBezTo>
                <a:cubicBezTo>
                  <a:pt x="3188" y="4156"/>
                  <a:pt x="3094" y="4219"/>
                  <a:pt x="2969" y="4250"/>
                </a:cubicBezTo>
                <a:cubicBezTo>
                  <a:pt x="2938" y="4281"/>
                  <a:pt x="2875" y="4281"/>
                  <a:pt x="2875" y="4250"/>
                </a:cubicBezTo>
                <a:cubicBezTo>
                  <a:pt x="2906" y="4125"/>
                  <a:pt x="2844" y="4219"/>
                  <a:pt x="2813" y="4219"/>
                </a:cubicBezTo>
                <a:cubicBezTo>
                  <a:pt x="2656" y="4250"/>
                  <a:pt x="2563" y="4438"/>
                  <a:pt x="2406" y="4438"/>
                </a:cubicBezTo>
                <a:cubicBezTo>
                  <a:pt x="2375" y="4500"/>
                  <a:pt x="2313" y="4500"/>
                  <a:pt x="2313" y="4563"/>
                </a:cubicBezTo>
                <a:cubicBezTo>
                  <a:pt x="2375" y="4594"/>
                  <a:pt x="2375" y="4531"/>
                  <a:pt x="2406" y="4500"/>
                </a:cubicBezTo>
                <a:cubicBezTo>
                  <a:pt x="2438" y="4469"/>
                  <a:pt x="2469" y="4500"/>
                  <a:pt x="2500" y="4500"/>
                </a:cubicBezTo>
                <a:cubicBezTo>
                  <a:pt x="2531" y="4531"/>
                  <a:pt x="2563" y="4531"/>
                  <a:pt x="2563" y="4563"/>
                </a:cubicBezTo>
                <a:cubicBezTo>
                  <a:pt x="2531" y="4594"/>
                  <a:pt x="2500" y="4594"/>
                  <a:pt x="2469" y="4594"/>
                </a:cubicBezTo>
                <a:cubicBezTo>
                  <a:pt x="2344" y="4625"/>
                  <a:pt x="2281" y="4719"/>
                  <a:pt x="2219" y="4844"/>
                </a:cubicBezTo>
                <a:cubicBezTo>
                  <a:pt x="2188" y="4875"/>
                  <a:pt x="2094" y="4906"/>
                  <a:pt x="2063" y="4938"/>
                </a:cubicBezTo>
                <a:cubicBezTo>
                  <a:pt x="2000" y="4969"/>
                  <a:pt x="1938" y="4969"/>
                  <a:pt x="1969" y="5063"/>
                </a:cubicBezTo>
                <a:cubicBezTo>
                  <a:pt x="2031" y="5188"/>
                  <a:pt x="2094" y="5031"/>
                  <a:pt x="2125" y="5094"/>
                </a:cubicBezTo>
                <a:cubicBezTo>
                  <a:pt x="2125" y="5125"/>
                  <a:pt x="2063" y="5188"/>
                  <a:pt x="2031" y="5188"/>
                </a:cubicBezTo>
                <a:cubicBezTo>
                  <a:pt x="1969" y="5219"/>
                  <a:pt x="1906" y="5219"/>
                  <a:pt x="1906" y="5281"/>
                </a:cubicBezTo>
                <a:cubicBezTo>
                  <a:pt x="1906" y="5375"/>
                  <a:pt x="2000" y="5313"/>
                  <a:pt x="2031" y="5375"/>
                </a:cubicBezTo>
                <a:cubicBezTo>
                  <a:pt x="2031" y="5375"/>
                  <a:pt x="2031" y="5375"/>
                  <a:pt x="2031" y="5375"/>
                </a:cubicBezTo>
                <a:cubicBezTo>
                  <a:pt x="1969" y="5500"/>
                  <a:pt x="1750" y="5406"/>
                  <a:pt x="1813" y="5625"/>
                </a:cubicBezTo>
                <a:cubicBezTo>
                  <a:pt x="1656" y="5563"/>
                  <a:pt x="1594" y="5594"/>
                  <a:pt x="1594" y="5750"/>
                </a:cubicBezTo>
                <a:cubicBezTo>
                  <a:pt x="1594" y="5813"/>
                  <a:pt x="1563" y="5844"/>
                  <a:pt x="1563" y="5875"/>
                </a:cubicBezTo>
                <a:cubicBezTo>
                  <a:pt x="1500" y="5938"/>
                  <a:pt x="1469" y="6031"/>
                  <a:pt x="1406" y="6094"/>
                </a:cubicBezTo>
                <a:cubicBezTo>
                  <a:pt x="1375" y="6188"/>
                  <a:pt x="1313" y="6219"/>
                  <a:pt x="1219" y="6156"/>
                </a:cubicBezTo>
                <a:cubicBezTo>
                  <a:pt x="1219" y="6156"/>
                  <a:pt x="1188" y="6125"/>
                  <a:pt x="1156" y="6156"/>
                </a:cubicBezTo>
                <a:cubicBezTo>
                  <a:pt x="1156" y="6219"/>
                  <a:pt x="1188" y="6219"/>
                  <a:pt x="1188" y="6219"/>
                </a:cubicBezTo>
                <a:cubicBezTo>
                  <a:pt x="1281" y="6250"/>
                  <a:pt x="1250" y="6313"/>
                  <a:pt x="1219" y="6375"/>
                </a:cubicBezTo>
                <a:cubicBezTo>
                  <a:pt x="1219" y="6406"/>
                  <a:pt x="1156" y="6438"/>
                  <a:pt x="1156" y="6500"/>
                </a:cubicBezTo>
                <a:cubicBezTo>
                  <a:pt x="1281" y="6469"/>
                  <a:pt x="1313" y="6406"/>
                  <a:pt x="1313" y="6313"/>
                </a:cubicBezTo>
                <a:cubicBezTo>
                  <a:pt x="1313" y="6250"/>
                  <a:pt x="1344" y="6250"/>
                  <a:pt x="1375" y="6250"/>
                </a:cubicBezTo>
                <a:cubicBezTo>
                  <a:pt x="1438" y="6250"/>
                  <a:pt x="1500" y="6469"/>
                  <a:pt x="1469" y="6469"/>
                </a:cubicBezTo>
                <a:cubicBezTo>
                  <a:pt x="1344" y="6500"/>
                  <a:pt x="1313" y="6625"/>
                  <a:pt x="1188" y="6656"/>
                </a:cubicBezTo>
                <a:cubicBezTo>
                  <a:pt x="1219" y="6719"/>
                  <a:pt x="1281" y="6719"/>
                  <a:pt x="1344" y="6750"/>
                </a:cubicBezTo>
                <a:cubicBezTo>
                  <a:pt x="1406" y="6750"/>
                  <a:pt x="1531" y="6781"/>
                  <a:pt x="1531" y="6781"/>
                </a:cubicBezTo>
                <a:cubicBezTo>
                  <a:pt x="1563" y="6938"/>
                  <a:pt x="1594" y="6844"/>
                  <a:pt x="1656" y="6813"/>
                </a:cubicBezTo>
                <a:cubicBezTo>
                  <a:pt x="1719" y="6750"/>
                  <a:pt x="1781" y="6719"/>
                  <a:pt x="1875" y="6656"/>
                </a:cubicBezTo>
                <a:cubicBezTo>
                  <a:pt x="1875" y="6656"/>
                  <a:pt x="1875" y="6656"/>
                  <a:pt x="1875" y="6656"/>
                </a:cubicBezTo>
                <a:cubicBezTo>
                  <a:pt x="1875" y="6656"/>
                  <a:pt x="1875" y="6625"/>
                  <a:pt x="1875" y="6625"/>
                </a:cubicBezTo>
                <a:cubicBezTo>
                  <a:pt x="1969" y="6531"/>
                  <a:pt x="1969" y="6531"/>
                  <a:pt x="2125" y="6531"/>
                </a:cubicBezTo>
                <a:cubicBezTo>
                  <a:pt x="2031" y="6625"/>
                  <a:pt x="1906" y="6625"/>
                  <a:pt x="1875" y="6719"/>
                </a:cubicBezTo>
                <a:cubicBezTo>
                  <a:pt x="1781" y="6938"/>
                  <a:pt x="1594" y="7125"/>
                  <a:pt x="1500" y="7313"/>
                </a:cubicBezTo>
                <a:cubicBezTo>
                  <a:pt x="1438" y="7438"/>
                  <a:pt x="1313" y="7531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406" y="7656"/>
                  <a:pt x="1375" y="7563"/>
                  <a:pt x="1469" y="7563"/>
                </a:cubicBezTo>
                <a:cubicBezTo>
                  <a:pt x="1469" y="7469"/>
                  <a:pt x="1531" y="7406"/>
                  <a:pt x="1625" y="7375"/>
                </a:cubicBezTo>
                <a:cubicBezTo>
                  <a:pt x="1563" y="7469"/>
                  <a:pt x="1531" y="7531"/>
                  <a:pt x="1469" y="7625"/>
                </a:cubicBezTo>
                <a:cubicBezTo>
                  <a:pt x="1469" y="7656"/>
                  <a:pt x="1469" y="7688"/>
                  <a:pt x="1438" y="7719"/>
                </a:cubicBezTo>
                <a:cubicBezTo>
                  <a:pt x="1375" y="7781"/>
                  <a:pt x="1375" y="7813"/>
                  <a:pt x="1469" y="7875"/>
                </a:cubicBezTo>
                <a:cubicBezTo>
                  <a:pt x="1406" y="7906"/>
                  <a:pt x="1313" y="7844"/>
                  <a:pt x="1344" y="7906"/>
                </a:cubicBezTo>
                <a:cubicBezTo>
                  <a:pt x="1406" y="8094"/>
                  <a:pt x="1250" y="8188"/>
                  <a:pt x="1250" y="8344"/>
                </a:cubicBezTo>
                <a:cubicBezTo>
                  <a:pt x="1250" y="8531"/>
                  <a:pt x="1125" y="8688"/>
                  <a:pt x="1063" y="8875"/>
                </a:cubicBezTo>
                <a:cubicBezTo>
                  <a:pt x="1156" y="8875"/>
                  <a:pt x="1219" y="8781"/>
                  <a:pt x="1281" y="8844"/>
                </a:cubicBezTo>
                <a:cubicBezTo>
                  <a:pt x="1344" y="8875"/>
                  <a:pt x="1313" y="9000"/>
                  <a:pt x="1406" y="9031"/>
                </a:cubicBezTo>
                <a:cubicBezTo>
                  <a:pt x="1438" y="8969"/>
                  <a:pt x="1375" y="8938"/>
                  <a:pt x="1375" y="8906"/>
                </a:cubicBezTo>
                <a:cubicBezTo>
                  <a:pt x="1375" y="8844"/>
                  <a:pt x="1375" y="8844"/>
                  <a:pt x="1406" y="8813"/>
                </a:cubicBezTo>
                <a:cubicBezTo>
                  <a:pt x="1438" y="8813"/>
                  <a:pt x="1500" y="8813"/>
                  <a:pt x="1469" y="8875"/>
                </a:cubicBezTo>
                <a:cubicBezTo>
                  <a:pt x="1438" y="8938"/>
                  <a:pt x="1500" y="9000"/>
                  <a:pt x="1531" y="9063"/>
                </a:cubicBezTo>
                <a:cubicBezTo>
                  <a:pt x="1563" y="9125"/>
                  <a:pt x="1531" y="9188"/>
                  <a:pt x="1469" y="9188"/>
                </a:cubicBezTo>
                <a:cubicBezTo>
                  <a:pt x="1438" y="9188"/>
                  <a:pt x="1375" y="9188"/>
                  <a:pt x="1375" y="9250"/>
                </a:cubicBezTo>
                <a:cubicBezTo>
                  <a:pt x="1406" y="9281"/>
                  <a:pt x="1438" y="9281"/>
                  <a:pt x="1469" y="9281"/>
                </a:cubicBezTo>
                <a:cubicBezTo>
                  <a:pt x="1531" y="9281"/>
                  <a:pt x="1563" y="9313"/>
                  <a:pt x="1563" y="9375"/>
                </a:cubicBezTo>
                <a:cubicBezTo>
                  <a:pt x="1563" y="9438"/>
                  <a:pt x="1500" y="9500"/>
                  <a:pt x="1438" y="9500"/>
                </a:cubicBezTo>
                <a:cubicBezTo>
                  <a:pt x="1375" y="9500"/>
                  <a:pt x="1406" y="9438"/>
                  <a:pt x="1375" y="9406"/>
                </a:cubicBezTo>
                <a:cubicBezTo>
                  <a:pt x="1375" y="9500"/>
                  <a:pt x="1344" y="9625"/>
                  <a:pt x="1406" y="9750"/>
                </a:cubicBezTo>
                <a:cubicBezTo>
                  <a:pt x="1344" y="9750"/>
                  <a:pt x="1250" y="9719"/>
                  <a:pt x="1219" y="9813"/>
                </a:cubicBezTo>
                <a:cubicBezTo>
                  <a:pt x="1281" y="9813"/>
                  <a:pt x="1375" y="9844"/>
                  <a:pt x="1438" y="9844"/>
                </a:cubicBezTo>
                <a:cubicBezTo>
                  <a:pt x="1375" y="9781"/>
                  <a:pt x="1438" y="9750"/>
                  <a:pt x="1469" y="9688"/>
                </a:cubicBezTo>
                <a:cubicBezTo>
                  <a:pt x="1531" y="9594"/>
                  <a:pt x="1594" y="9469"/>
                  <a:pt x="1625" y="9375"/>
                </a:cubicBezTo>
                <a:cubicBezTo>
                  <a:pt x="1688" y="9250"/>
                  <a:pt x="1719" y="9094"/>
                  <a:pt x="1875" y="9000"/>
                </a:cubicBezTo>
                <a:cubicBezTo>
                  <a:pt x="1875" y="9000"/>
                  <a:pt x="1906" y="8969"/>
                  <a:pt x="1906" y="9000"/>
                </a:cubicBezTo>
                <a:cubicBezTo>
                  <a:pt x="1906" y="9000"/>
                  <a:pt x="1906" y="9031"/>
                  <a:pt x="1875" y="9031"/>
                </a:cubicBezTo>
                <a:cubicBezTo>
                  <a:pt x="1844" y="9219"/>
                  <a:pt x="1750" y="9406"/>
                  <a:pt x="1688" y="9594"/>
                </a:cubicBezTo>
                <a:cubicBezTo>
                  <a:pt x="1656" y="9719"/>
                  <a:pt x="1594" y="9875"/>
                  <a:pt x="1563" y="10000"/>
                </a:cubicBezTo>
                <a:cubicBezTo>
                  <a:pt x="1531" y="10031"/>
                  <a:pt x="1563" y="10094"/>
                  <a:pt x="1531" y="10094"/>
                </a:cubicBezTo>
                <a:cubicBezTo>
                  <a:pt x="1438" y="10219"/>
                  <a:pt x="1469" y="10250"/>
                  <a:pt x="1594" y="10281"/>
                </a:cubicBezTo>
                <a:cubicBezTo>
                  <a:pt x="1625" y="10281"/>
                  <a:pt x="1625" y="10281"/>
                  <a:pt x="1625" y="10313"/>
                </a:cubicBezTo>
                <a:cubicBezTo>
                  <a:pt x="1625" y="10344"/>
                  <a:pt x="1594" y="10375"/>
                  <a:pt x="1563" y="10375"/>
                </a:cubicBezTo>
                <a:cubicBezTo>
                  <a:pt x="1563" y="10375"/>
                  <a:pt x="1531" y="10375"/>
                  <a:pt x="1531" y="10344"/>
                </a:cubicBezTo>
                <a:cubicBezTo>
                  <a:pt x="1500" y="10344"/>
                  <a:pt x="1500" y="10281"/>
                  <a:pt x="1469" y="10281"/>
                </a:cubicBezTo>
                <a:cubicBezTo>
                  <a:pt x="1438" y="10406"/>
                  <a:pt x="1375" y="10531"/>
                  <a:pt x="1375" y="10656"/>
                </a:cubicBezTo>
                <a:cubicBezTo>
                  <a:pt x="1375" y="10688"/>
                  <a:pt x="1344" y="10719"/>
                  <a:pt x="1406" y="10719"/>
                </a:cubicBezTo>
                <a:cubicBezTo>
                  <a:pt x="1563" y="10750"/>
                  <a:pt x="1563" y="10844"/>
                  <a:pt x="1500" y="10969"/>
                </a:cubicBezTo>
                <a:cubicBezTo>
                  <a:pt x="1469" y="11063"/>
                  <a:pt x="1438" y="11156"/>
                  <a:pt x="1406" y="11219"/>
                </a:cubicBezTo>
                <a:cubicBezTo>
                  <a:pt x="1344" y="11531"/>
                  <a:pt x="1250" y="11813"/>
                  <a:pt x="1188" y="12094"/>
                </a:cubicBezTo>
                <a:cubicBezTo>
                  <a:pt x="1156" y="12219"/>
                  <a:pt x="1250" y="12375"/>
                  <a:pt x="1094" y="12469"/>
                </a:cubicBezTo>
                <a:cubicBezTo>
                  <a:pt x="1156" y="12563"/>
                  <a:pt x="1031" y="12625"/>
                  <a:pt x="1031" y="12688"/>
                </a:cubicBezTo>
                <a:cubicBezTo>
                  <a:pt x="1094" y="12813"/>
                  <a:pt x="1031" y="12906"/>
                  <a:pt x="969" y="13000"/>
                </a:cubicBezTo>
                <a:cubicBezTo>
                  <a:pt x="969" y="13031"/>
                  <a:pt x="938" y="13063"/>
                  <a:pt x="969" y="13063"/>
                </a:cubicBezTo>
                <a:cubicBezTo>
                  <a:pt x="1000" y="13094"/>
                  <a:pt x="1031" y="13094"/>
                  <a:pt x="1063" y="13094"/>
                </a:cubicBezTo>
                <a:cubicBezTo>
                  <a:pt x="1094" y="13094"/>
                  <a:pt x="1094" y="13063"/>
                  <a:pt x="1094" y="13031"/>
                </a:cubicBezTo>
                <a:cubicBezTo>
                  <a:pt x="1094" y="13000"/>
                  <a:pt x="1094" y="12938"/>
                  <a:pt x="1156" y="12938"/>
                </a:cubicBez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cubicBezTo>
                  <a:pt x="1156" y="12969"/>
                  <a:pt x="1125" y="13063"/>
                  <a:pt x="1188" y="13063"/>
                </a:cubicBezTo>
                <a:lnTo>
                  <a:pt x="1188" y="13063"/>
                </a:lnTo>
                <a:cubicBezTo>
                  <a:pt x="1250" y="13094"/>
                  <a:pt x="1250" y="13000"/>
                  <a:pt x="1250" y="12969"/>
                </a:cubicBezTo>
                <a:cubicBezTo>
                  <a:pt x="1281" y="12969"/>
                  <a:pt x="1281" y="12938"/>
                  <a:pt x="1250" y="12906"/>
                </a:cubicBezTo>
                <a:cubicBezTo>
                  <a:pt x="1219" y="12875"/>
                  <a:pt x="1188" y="12969"/>
                  <a:pt x="1156" y="12938"/>
                </a:cubicBezTo>
                <a:cubicBezTo>
                  <a:pt x="1219" y="12750"/>
                  <a:pt x="1219" y="12750"/>
                  <a:pt x="1344" y="12688"/>
                </a:cubicBezTo>
                <a:cubicBezTo>
                  <a:pt x="1344" y="12688"/>
                  <a:pt x="1375" y="12656"/>
                  <a:pt x="1375" y="12656"/>
                </a:cubicBezTo>
                <a:cubicBezTo>
                  <a:pt x="1344" y="12500"/>
                  <a:pt x="1563" y="12469"/>
                  <a:pt x="1531" y="12281"/>
                </a:cubicBezTo>
                <a:cubicBezTo>
                  <a:pt x="1625" y="12250"/>
                  <a:pt x="1625" y="12188"/>
                  <a:pt x="1563" y="12094"/>
                </a:cubicBezTo>
                <a:cubicBezTo>
                  <a:pt x="1563" y="12094"/>
                  <a:pt x="1594" y="12063"/>
                  <a:pt x="1594" y="12063"/>
                </a:cubicBezTo>
                <a:cubicBezTo>
                  <a:pt x="1750" y="12000"/>
                  <a:pt x="1813" y="11875"/>
                  <a:pt x="1844" y="11719"/>
                </a:cubicBezTo>
                <a:cubicBezTo>
                  <a:pt x="1844" y="11656"/>
                  <a:pt x="1875" y="11656"/>
                  <a:pt x="1906" y="11656"/>
                </a:cubicBezTo>
                <a:cubicBezTo>
                  <a:pt x="2031" y="11688"/>
                  <a:pt x="2031" y="11625"/>
                  <a:pt x="2063" y="11531"/>
                </a:cubicBezTo>
                <a:cubicBezTo>
                  <a:pt x="2063" y="11375"/>
                  <a:pt x="2125" y="11344"/>
                  <a:pt x="2281" y="11344"/>
                </a:cubicBezTo>
                <a:cubicBezTo>
                  <a:pt x="2344" y="11375"/>
                  <a:pt x="2344" y="11344"/>
                  <a:pt x="2344" y="11281"/>
                </a:cubicBezTo>
                <a:cubicBezTo>
                  <a:pt x="2375" y="11156"/>
                  <a:pt x="2250" y="11250"/>
                  <a:pt x="2219" y="11219"/>
                </a:cubicBezTo>
                <a:cubicBezTo>
                  <a:pt x="2594" y="10813"/>
                  <a:pt x="3063" y="10531"/>
                  <a:pt x="3531" y="10313"/>
                </a:cubicBezTo>
                <a:cubicBezTo>
                  <a:pt x="4031" y="10063"/>
                  <a:pt x="4563" y="9906"/>
                  <a:pt x="5094" y="9750"/>
                </a:cubicBezTo>
                <a:cubicBezTo>
                  <a:pt x="5344" y="9688"/>
                  <a:pt x="5594" y="9625"/>
                  <a:pt x="5844" y="9563"/>
                </a:cubicBezTo>
                <a:cubicBezTo>
                  <a:pt x="5906" y="9531"/>
                  <a:pt x="6000" y="9469"/>
                  <a:pt x="6000" y="9625"/>
                </a:cubicBezTo>
                <a:cubicBezTo>
                  <a:pt x="6000" y="9656"/>
                  <a:pt x="6063" y="9656"/>
                  <a:pt x="6094" y="9625"/>
                </a:cubicBezTo>
                <a:cubicBezTo>
                  <a:pt x="6125" y="9625"/>
                  <a:pt x="6156" y="9625"/>
                  <a:pt x="6094" y="9563"/>
                </a:cubicBezTo>
                <a:cubicBezTo>
                  <a:pt x="6031" y="9500"/>
                  <a:pt x="6125" y="9500"/>
                  <a:pt x="6156" y="9500"/>
                </a:cubicBezTo>
                <a:cubicBezTo>
                  <a:pt x="6281" y="9469"/>
                  <a:pt x="6438" y="9438"/>
                  <a:pt x="6563" y="9438"/>
                </a:cubicBezTo>
                <a:cubicBezTo>
                  <a:pt x="7031" y="9344"/>
                  <a:pt x="7469" y="9250"/>
                  <a:pt x="7906" y="9250"/>
                </a:cubicBezTo>
                <a:cubicBezTo>
                  <a:pt x="8281" y="9250"/>
                  <a:pt x="8656" y="9313"/>
                  <a:pt x="9031" y="9344"/>
                </a:cubicBezTo>
                <a:cubicBezTo>
                  <a:pt x="9156" y="9344"/>
                  <a:pt x="9250" y="9375"/>
                  <a:pt x="9344" y="9375"/>
                </a:cubicBezTo>
                <a:cubicBezTo>
                  <a:pt x="9344" y="9406"/>
                  <a:pt x="9344" y="9406"/>
                  <a:pt x="9344" y="9406"/>
                </a:cubicBezTo>
                <a:cubicBezTo>
                  <a:pt x="9219" y="9406"/>
                  <a:pt x="9063" y="9406"/>
                  <a:pt x="8938" y="9406"/>
                </a:cubicBezTo>
                <a:cubicBezTo>
                  <a:pt x="8688" y="9438"/>
                  <a:pt x="8438" y="9375"/>
                  <a:pt x="8250" y="9594"/>
                </a:cubicBezTo>
                <a:cubicBezTo>
                  <a:pt x="8250" y="9594"/>
                  <a:pt x="8250" y="9594"/>
                  <a:pt x="8250" y="9594"/>
                </a:cubicBezTo>
                <a:cubicBezTo>
                  <a:pt x="8219" y="9625"/>
                  <a:pt x="8219" y="9625"/>
                  <a:pt x="8250" y="9656"/>
                </a:cubicBezTo>
                <a:cubicBezTo>
                  <a:pt x="8250" y="9656"/>
                  <a:pt x="8250" y="9625"/>
                  <a:pt x="8250" y="9625"/>
                </a:cubicBezTo>
                <a:cubicBezTo>
                  <a:pt x="8344" y="9563"/>
                  <a:pt x="8406" y="9688"/>
                  <a:pt x="8500" y="9688"/>
                </a:cubicBezTo>
                <a:cubicBezTo>
                  <a:pt x="8750" y="9594"/>
                  <a:pt x="9031" y="9563"/>
                  <a:pt x="9313" y="9563"/>
                </a:cubicBezTo>
                <a:cubicBezTo>
                  <a:pt x="9563" y="9563"/>
                  <a:pt x="9844" y="9625"/>
                  <a:pt x="10125" y="9688"/>
                </a:cubicBezTo>
                <a:cubicBezTo>
                  <a:pt x="10344" y="9750"/>
                  <a:pt x="10563" y="9750"/>
                  <a:pt x="10813" y="9781"/>
                </a:cubicBezTo>
                <a:cubicBezTo>
                  <a:pt x="10844" y="9781"/>
                  <a:pt x="10875" y="9750"/>
                  <a:pt x="10875" y="9813"/>
                </a:cubicBezTo>
                <a:cubicBezTo>
                  <a:pt x="10875" y="9844"/>
                  <a:pt x="10844" y="9844"/>
                  <a:pt x="10813" y="9844"/>
                </a:cubicBezTo>
                <a:cubicBezTo>
                  <a:pt x="10719" y="9875"/>
                  <a:pt x="10656" y="9813"/>
                  <a:pt x="10563" y="9813"/>
                </a:cubicBezTo>
                <a:cubicBezTo>
                  <a:pt x="10375" y="9813"/>
                  <a:pt x="10188" y="9719"/>
                  <a:pt x="10063" y="9969"/>
                </a:cubicBezTo>
                <a:cubicBezTo>
                  <a:pt x="10156" y="9969"/>
                  <a:pt x="10281" y="9969"/>
                  <a:pt x="10375" y="9969"/>
                </a:cubicBezTo>
                <a:cubicBezTo>
                  <a:pt x="10688" y="9906"/>
                  <a:pt x="10969" y="9906"/>
                  <a:pt x="11250" y="9969"/>
                </a:cubicBezTo>
                <a:cubicBezTo>
                  <a:pt x="11938" y="10094"/>
                  <a:pt x="12625" y="10250"/>
                  <a:pt x="13281" y="10438"/>
                </a:cubicBezTo>
                <a:cubicBezTo>
                  <a:pt x="13313" y="10438"/>
                  <a:pt x="13344" y="10438"/>
                  <a:pt x="13375" y="10469"/>
                </a:cubicBezTo>
                <a:cubicBezTo>
                  <a:pt x="13406" y="10656"/>
                  <a:pt x="13563" y="10594"/>
                  <a:pt x="13656" y="10625"/>
                </a:cubicBezTo>
                <a:cubicBezTo>
                  <a:pt x="13750" y="10625"/>
                  <a:pt x="13875" y="10594"/>
                  <a:pt x="13969" y="10719"/>
                </a:cubicBezTo>
                <a:cubicBezTo>
                  <a:pt x="13781" y="10750"/>
                  <a:pt x="13594" y="10688"/>
                  <a:pt x="13438" y="10656"/>
                </a:cubicBezTo>
                <a:cubicBezTo>
                  <a:pt x="13313" y="10625"/>
                  <a:pt x="13188" y="10563"/>
                  <a:pt x="13094" y="10719"/>
                </a:cubicBezTo>
                <a:cubicBezTo>
                  <a:pt x="13063" y="10750"/>
                  <a:pt x="13031" y="10719"/>
                  <a:pt x="13000" y="10719"/>
                </a:cubicBezTo>
                <a:cubicBezTo>
                  <a:pt x="12500" y="10656"/>
                  <a:pt x="12000" y="10688"/>
                  <a:pt x="11531" y="10813"/>
                </a:cubicBezTo>
                <a:cubicBezTo>
                  <a:pt x="11438" y="10844"/>
                  <a:pt x="11375" y="10844"/>
                  <a:pt x="11313" y="10938"/>
                </a:cubicBezTo>
                <a:cubicBezTo>
                  <a:pt x="11469" y="10969"/>
                  <a:pt x="11594" y="10875"/>
                  <a:pt x="11688" y="10906"/>
                </a:cubicBezTo>
                <a:cubicBezTo>
                  <a:pt x="11719" y="10938"/>
                  <a:pt x="11625" y="10969"/>
                  <a:pt x="11656" y="11000"/>
                </a:cubicBezTo>
                <a:cubicBezTo>
                  <a:pt x="11688" y="11031"/>
                  <a:pt x="11719" y="11031"/>
                  <a:pt x="11750" y="11031"/>
                </a:cubicBezTo>
                <a:cubicBezTo>
                  <a:pt x="12063" y="10906"/>
                  <a:pt x="12406" y="10875"/>
                  <a:pt x="12719" y="10844"/>
                </a:cubicBezTo>
                <a:cubicBezTo>
                  <a:pt x="13000" y="10844"/>
                  <a:pt x="13281" y="10844"/>
                  <a:pt x="13531" y="10906"/>
                </a:cubicBezTo>
                <a:cubicBezTo>
                  <a:pt x="13688" y="10938"/>
                  <a:pt x="13875" y="11000"/>
                  <a:pt x="14031" y="11031"/>
                </a:cubicBezTo>
                <a:cubicBezTo>
                  <a:pt x="14125" y="11094"/>
                  <a:pt x="14219" y="11063"/>
                  <a:pt x="14313" y="11063"/>
                </a:cubicBezTo>
                <a:cubicBezTo>
                  <a:pt x="14344" y="11063"/>
                  <a:pt x="14375" y="11063"/>
                  <a:pt x="14375" y="11094"/>
                </a:cubicBezTo>
                <a:cubicBezTo>
                  <a:pt x="14375" y="11125"/>
                  <a:pt x="14375" y="11125"/>
                  <a:pt x="14344" y="11125"/>
                </a:cubicBezTo>
                <a:cubicBezTo>
                  <a:pt x="14313" y="11156"/>
                  <a:pt x="14281" y="11125"/>
                  <a:pt x="14281" y="11188"/>
                </a:cubicBezTo>
                <a:cubicBezTo>
                  <a:pt x="14531" y="11219"/>
                  <a:pt x="14781" y="11156"/>
                  <a:pt x="15031" y="11250"/>
                </a:cubicBezTo>
                <a:cubicBezTo>
                  <a:pt x="14938" y="11406"/>
                  <a:pt x="14750" y="11250"/>
                  <a:pt x="14656" y="11375"/>
                </a:cubicBezTo>
                <a:cubicBezTo>
                  <a:pt x="14563" y="11344"/>
                  <a:pt x="14469" y="11219"/>
                  <a:pt x="14344" y="11281"/>
                </a:cubicBezTo>
                <a:cubicBezTo>
                  <a:pt x="14250" y="11313"/>
                  <a:pt x="14156" y="11250"/>
                  <a:pt x="14094" y="11281"/>
                </a:cubicBezTo>
                <a:cubicBezTo>
                  <a:pt x="14063" y="11281"/>
                  <a:pt x="14063" y="11281"/>
                  <a:pt x="14063" y="11250"/>
                </a:cubicBezTo>
                <a:cubicBezTo>
                  <a:pt x="14031" y="11156"/>
                  <a:pt x="14031" y="11156"/>
                  <a:pt x="13938" y="11156"/>
                </a:cubicBezTo>
                <a:cubicBezTo>
                  <a:pt x="13844" y="11156"/>
                  <a:pt x="13750" y="11125"/>
                  <a:pt x="13688" y="11125"/>
                </a:cubicBezTo>
                <a:cubicBezTo>
                  <a:pt x="13531" y="11125"/>
                  <a:pt x="13375" y="11031"/>
                  <a:pt x="13219" y="11063"/>
                </a:cubicBezTo>
                <a:cubicBezTo>
                  <a:pt x="13406" y="11219"/>
                  <a:pt x="13688" y="11125"/>
                  <a:pt x="13938" y="11313"/>
                </a:cubicBezTo>
                <a:cubicBezTo>
                  <a:pt x="13688" y="11344"/>
                  <a:pt x="13531" y="11281"/>
                  <a:pt x="13344" y="11219"/>
                </a:cubicBezTo>
                <a:cubicBezTo>
                  <a:pt x="13188" y="11188"/>
                  <a:pt x="13031" y="11313"/>
                  <a:pt x="12875" y="11156"/>
                </a:cubicBezTo>
                <a:cubicBezTo>
                  <a:pt x="12844" y="11125"/>
                  <a:pt x="12750" y="11125"/>
                  <a:pt x="12688" y="11156"/>
                </a:cubicBezTo>
                <a:cubicBezTo>
                  <a:pt x="12594" y="11156"/>
                  <a:pt x="12594" y="11125"/>
                  <a:pt x="12563" y="11063"/>
                </a:cubicBezTo>
                <a:cubicBezTo>
                  <a:pt x="12594" y="11094"/>
                  <a:pt x="12688" y="11094"/>
                  <a:pt x="12656" y="11031"/>
                </a:cubicBezTo>
                <a:cubicBezTo>
                  <a:pt x="12656" y="10969"/>
                  <a:pt x="12594" y="10938"/>
                  <a:pt x="12531" y="10969"/>
                </a:cubicBezTo>
                <a:cubicBezTo>
                  <a:pt x="12469" y="11031"/>
                  <a:pt x="12375" y="11000"/>
                  <a:pt x="12281" y="11031"/>
                </a:cubicBezTo>
                <a:cubicBezTo>
                  <a:pt x="12219" y="11063"/>
                  <a:pt x="12125" y="11125"/>
                  <a:pt x="12094" y="11000"/>
                </a:cubicBezTo>
                <a:cubicBezTo>
                  <a:pt x="11938" y="11031"/>
                  <a:pt x="11750" y="11031"/>
                  <a:pt x="11594" y="11125"/>
                </a:cubicBezTo>
                <a:cubicBezTo>
                  <a:pt x="11813" y="11313"/>
                  <a:pt x="12094" y="11188"/>
                  <a:pt x="12281" y="11313"/>
                </a:cubicBezTo>
                <a:cubicBezTo>
                  <a:pt x="12000" y="11344"/>
                  <a:pt x="11750" y="11250"/>
                  <a:pt x="11500" y="11250"/>
                </a:cubicBezTo>
                <a:cubicBezTo>
                  <a:pt x="11469" y="11188"/>
                  <a:pt x="11531" y="11188"/>
                  <a:pt x="11531" y="11156"/>
                </a:cubicBezTo>
                <a:cubicBezTo>
                  <a:pt x="11406" y="11156"/>
                  <a:pt x="11313" y="11156"/>
                  <a:pt x="11188" y="11156"/>
                </a:cubicBezTo>
                <a:cubicBezTo>
                  <a:pt x="11125" y="11156"/>
                  <a:pt x="11094" y="11156"/>
                  <a:pt x="11063" y="11219"/>
                </a:cubicBezTo>
                <a:cubicBezTo>
                  <a:pt x="11063" y="11219"/>
                  <a:pt x="11063" y="11219"/>
                  <a:pt x="11063" y="11219"/>
                </a:cubicBezTo>
                <a:cubicBezTo>
                  <a:pt x="11063" y="11219"/>
                  <a:pt x="11063" y="11219"/>
                  <a:pt x="11063" y="11219"/>
                </a:cubicBezTo>
                <a:cubicBezTo>
                  <a:pt x="11063" y="11219"/>
                  <a:pt x="11063" y="11219"/>
                  <a:pt x="11063" y="11219"/>
                </a:cubicBezTo>
                <a:cubicBezTo>
                  <a:pt x="11156" y="11188"/>
                  <a:pt x="11219" y="11219"/>
                  <a:pt x="11344" y="11250"/>
                </a:cubicBezTo>
                <a:cubicBezTo>
                  <a:pt x="11250" y="11281"/>
                  <a:pt x="11156" y="11250"/>
                  <a:pt x="11094" y="11313"/>
                </a:cubicBezTo>
                <a:cubicBezTo>
                  <a:pt x="11500" y="11344"/>
                  <a:pt x="11875" y="11406"/>
                  <a:pt x="12281" y="11469"/>
                </a:cubicBezTo>
                <a:cubicBezTo>
                  <a:pt x="12406" y="11469"/>
                  <a:pt x="12531" y="11469"/>
                  <a:pt x="12656" y="11500"/>
                </a:cubicBezTo>
                <a:cubicBezTo>
                  <a:pt x="12750" y="11531"/>
                  <a:pt x="12875" y="11625"/>
                  <a:pt x="13000" y="11531"/>
                </a:cubicBezTo>
                <a:cubicBezTo>
                  <a:pt x="13000" y="11531"/>
                  <a:pt x="13000" y="11500"/>
                  <a:pt x="13000" y="11531"/>
                </a:cubicBezTo>
                <a:cubicBezTo>
                  <a:pt x="13000" y="11656"/>
                  <a:pt x="13094" y="11594"/>
                  <a:pt x="13156" y="11625"/>
                </a:cubicBezTo>
                <a:cubicBezTo>
                  <a:pt x="13188" y="11625"/>
                  <a:pt x="13250" y="11625"/>
                  <a:pt x="13313" y="11688"/>
                </a:cubicBezTo>
                <a:cubicBezTo>
                  <a:pt x="13250" y="11719"/>
                  <a:pt x="13219" y="11719"/>
                  <a:pt x="13188" y="11719"/>
                </a:cubicBezTo>
                <a:cubicBezTo>
                  <a:pt x="13063" y="11656"/>
                  <a:pt x="12969" y="11625"/>
                  <a:pt x="12969" y="11813"/>
                </a:cubicBezTo>
                <a:cubicBezTo>
                  <a:pt x="12969" y="11813"/>
                  <a:pt x="12969" y="11813"/>
                  <a:pt x="13000" y="11844"/>
                </a:cubicBezTo>
                <a:cubicBezTo>
                  <a:pt x="13063" y="11813"/>
                  <a:pt x="13125" y="11719"/>
                  <a:pt x="13219" y="11750"/>
                </a:cubicBezTo>
                <a:cubicBezTo>
                  <a:pt x="13281" y="11781"/>
                  <a:pt x="13344" y="11813"/>
                  <a:pt x="13375" y="11719"/>
                </a:cubicBezTo>
                <a:cubicBezTo>
                  <a:pt x="13406" y="11688"/>
                  <a:pt x="13438" y="11656"/>
                  <a:pt x="13469" y="11719"/>
                </a:cubicBezTo>
                <a:cubicBezTo>
                  <a:pt x="13469" y="11750"/>
                  <a:pt x="13500" y="11750"/>
                  <a:pt x="13531" y="11750"/>
                </a:cubicBezTo>
                <a:cubicBezTo>
                  <a:pt x="13750" y="11781"/>
                  <a:pt x="13969" y="11813"/>
                  <a:pt x="14156" y="11844"/>
                </a:cubicBezTo>
                <a:cubicBezTo>
                  <a:pt x="14219" y="11844"/>
                  <a:pt x="14281" y="11844"/>
                  <a:pt x="14281" y="11906"/>
                </a:cubicBezTo>
                <a:cubicBezTo>
                  <a:pt x="14406" y="11875"/>
                  <a:pt x="14531" y="11906"/>
                  <a:pt x="14625" y="12000"/>
                </a:cubicBezTo>
                <a:cubicBezTo>
                  <a:pt x="14625" y="12000"/>
                  <a:pt x="14656" y="12000"/>
                  <a:pt x="14656" y="12000"/>
                </a:cubicBezTo>
                <a:cubicBezTo>
                  <a:pt x="15063" y="12094"/>
                  <a:pt x="15438" y="12219"/>
                  <a:pt x="15813" y="12344"/>
                </a:cubicBezTo>
                <a:cubicBezTo>
                  <a:pt x="16000" y="12375"/>
                  <a:pt x="16156" y="12469"/>
                  <a:pt x="16344" y="12500"/>
                </a:cubicBezTo>
                <a:cubicBezTo>
                  <a:pt x="16563" y="12531"/>
                  <a:pt x="16750" y="12688"/>
                  <a:pt x="16969" y="12750"/>
                </a:cubicBezTo>
                <a:cubicBezTo>
                  <a:pt x="16906" y="12781"/>
                  <a:pt x="16875" y="12781"/>
                  <a:pt x="16844" y="12750"/>
                </a:cubicBezTo>
                <a:cubicBezTo>
                  <a:pt x="16750" y="12750"/>
                  <a:pt x="16719" y="12750"/>
                  <a:pt x="16688" y="12875"/>
                </a:cubicBezTo>
                <a:cubicBezTo>
                  <a:pt x="16688" y="12938"/>
                  <a:pt x="16719" y="13031"/>
                  <a:pt x="16594" y="13031"/>
                </a:cubicBezTo>
                <a:cubicBezTo>
                  <a:pt x="16750" y="13094"/>
                  <a:pt x="16813" y="13094"/>
                  <a:pt x="16875" y="13031"/>
                </a:cubicBezTo>
                <a:cubicBezTo>
                  <a:pt x="16875" y="13031"/>
                  <a:pt x="16844" y="13031"/>
                  <a:pt x="16813" y="13031"/>
                </a:cubicBezTo>
                <a:cubicBezTo>
                  <a:pt x="16781" y="13000"/>
                  <a:pt x="16750" y="13031"/>
                  <a:pt x="16719" y="13000"/>
                </a:cubicBezTo>
                <a:cubicBezTo>
                  <a:pt x="16719" y="12906"/>
                  <a:pt x="16781" y="12938"/>
                  <a:pt x="16844" y="12938"/>
                </a:cubicBezTo>
                <a:cubicBezTo>
                  <a:pt x="16844" y="12938"/>
                  <a:pt x="16875" y="12938"/>
                  <a:pt x="16875" y="12938"/>
                </a:cubicBezTo>
                <a:cubicBezTo>
                  <a:pt x="16969" y="12969"/>
                  <a:pt x="16969" y="12938"/>
                  <a:pt x="16969" y="12875"/>
                </a:cubicBezTo>
                <a:cubicBezTo>
                  <a:pt x="16969" y="12750"/>
                  <a:pt x="16969" y="12750"/>
                  <a:pt x="17094" y="12781"/>
                </a:cubicBezTo>
                <a:cubicBezTo>
                  <a:pt x="17406" y="12906"/>
                  <a:pt x="17688" y="13000"/>
                  <a:pt x="18000" y="13125"/>
                </a:cubicBezTo>
                <a:cubicBezTo>
                  <a:pt x="18406" y="13281"/>
                  <a:pt x="18813" y="13406"/>
                  <a:pt x="19250" y="13594"/>
                </a:cubicBezTo>
                <a:cubicBezTo>
                  <a:pt x="19344" y="13625"/>
                  <a:pt x="19406" y="13719"/>
                  <a:pt x="19531" y="13719"/>
                </a:cubicBezTo>
                <a:cubicBezTo>
                  <a:pt x="19656" y="13688"/>
                  <a:pt x="19750" y="13781"/>
                  <a:pt x="19844" y="13875"/>
                </a:cubicBezTo>
                <a:cubicBezTo>
                  <a:pt x="19750" y="13875"/>
                  <a:pt x="19656" y="13875"/>
                  <a:pt x="19656" y="13969"/>
                </a:cubicBezTo>
                <a:cubicBezTo>
                  <a:pt x="19625" y="14031"/>
                  <a:pt x="19594" y="14031"/>
                  <a:pt x="19563" y="14031"/>
                </a:cubicBezTo>
                <a:cubicBezTo>
                  <a:pt x="19500" y="14031"/>
                  <a:pt x="19469" y="14031"/>
                  <a:pt x="19406" y="14031"/>
                </a:cubicBezTo>
                <a:cubicBezTo>
                  <a:pt x="19469" y="14094"/>
                  <a:pt x="19500" y="14125"/>
                  <a:pt x="19469" y="14188"/>
                </a:cubicBezTo>
                <a:cubicBezTo>
                  <a:pt x="19469" y="14188"/>
                  <a:pt x="19469" y="14188"/>
                  <a:pt x="19438" y="14188"/>
                </a:cubicBezTo>
                <a:cubicBezTo>
                  <a:pt x="19469" y="14188"/>
                  <a:pt x="19469" y="14188"/>
                  <a:pt x="19469" y="14188"/>
                </a:cubicBezTo>
                <a:cubicBezTo>
                  <a:pt x="19531" y="14188"/>
                  <a:pt x="19594" y="14188"/>
                  <a:pt x="19625" y="14219"/>
                </a:cubicBezTo>
                <a:cubicBezTo>
                  <a:pt x="19750" y="14250"/>
                  <a:pt x="19906" y="14156"/>
                  <a:pt x="19969" y="14313"/>
                </a:cubicBezTo>
                <a:cubicBezTo>
                  <a:pt x="19969" y="14344"/>
                  <a:pt x="20000" y="14344"/>
                  <a:pt x="20031" y="14313"/>
                </a:cubicBezTo>
                <a:cubicBezTo>
                  <a:pt x="20063" y="14281"/>
                  <a:pt x="20125" y="14281"/>
                  <a:pt x="20188" y="14281"/>
                </a:cubicBezTo>
                <a:cubicBezTo>
                  <a:pt x="20281" y="14281"/>
                  <a:pt x="20344" y="14344"/>
                  <a:pt x="20438" y="14344"/>
                </a:cubicBezTo>
                <a:cubicBezTo>
                  <a:pt x="20438" y="14219"/>
                  <a:pt x="20563" y="14219"/>
                  <a:pt x="20656" y="14156"/>
                </a:cubicBezTo>
                <a:cubicBezTo>
                  <a:pt x="20688" y="14125"/>
                  <a:pt x="20719" y="14156"/>
                  <a:pt x="20750" y="14219"/>
                </a:cubicBezTo>
                <a:cubicBezTo>
                  <a:pt x="20750" y="14250"/>
                  <a:pt x="20719" y="14313"/>
                  <a:pt x="20781" y="14281"/>
                </a:cubicBezTo>
                <a:cubicBezTo>
                  <a:pt x="20844" y="14281"/>
                  <a:pt x="20813" y="14219"/>
                  <a:pt x="20844" y="14188"/>
                </a:cubicBezTo>
                <a:cubicBezTo>
                  <a:pt x="20844" y="14156"/>
                  <a:pt x="20844" y="14125"/>
                  <a:pt x="20781" y="14125"/>
                </a:cubicBezTo>
                <a:cubicBezTo>
                  <a:pt x="20719" y="14125"/>
                  <a:pt x="20688" y="14125"/>
                  <a:pt x="20625" y="14063"/>
                </a:cubicBezTo>
                <a:cubicBezTo>
                  <a:pt x="20750" y="13969"/>
                  <a:pt x="20875" y="14000"/>
                  <a:pt x="20969" y="14125"/>
                </a:cubicBezTo>
                <a:cubicBezTo>
                  <a:pt x="21031" y="14188"/>
                  <a:pt x="21063" y="14188"/>
                  <a:pt x="21125" y="14188"/>
                </a:cubicBezTo>
                <a:cubicBezTo>
                  <a:pt x="21406" y="14156"/>
                  <a:pt x="21531" y="14375"/>
                  <a:pt x="21719" y="14531"/>
                </a:cubicBezTo>
                <a:cubicBezTo>
                  <a:pt x="21563" y="14563"/>
                  <a:pt x="21406" y="14531"/>
                  <a:pt x="21281" y="14500"/>
                </a:cubicBezTo>
                <a:cubicBezTo>
                  <a:pt x="21188" y="14500"/>
                  <a:pt x="21094" y="14500"/>
                  <a:pt x="21156" y="14625"/>
                </a:cubicBezTo>
                <a:cubicBezTo>
                  <a:pt x="21250" y="14719"/>
                  <a:pt x="21281" y="14844"/>
                  <a:pt x="21406" y="14844"/>
                </a:cubicBezTo>
                <a:cubicBezTo>
                  <a:pt x="21438" y="14781"/>
                  <a:pt x="21344" y="14781"/>
                  <a:pt x="21344" y="14719"/>
                </a:cubicBezTo>
                <a:cubicBezTo>
                  <a:pt x="21531" y="14719"/>
                  <a:pt x="21531" y="14719"/>
                  <a:pt x="21656" y="14656"/>
                </a:cubicBezTo>
                <a:cubicBezTo>
                  <a:pt x="21719" y="14625"/>
                  <a:pt x="21813" y="14625"/>
                  <a:pt x="21813" y="14500"/>
                </a:cubicBezTo>
                <a:cubicBezTo>
                  <a:pt x="21813" y="14469"/>
                  <a:pt x="21875" y="14438"/>
                  <a:pt x="21938" y="14438"/>
                </a:cubicBezTo>
                <a:cubicBezTo>
                  <a:pt x="22000" y="14438"/>
                  <a:pt x="22094" y="14438"/>
                  <a:pt x="22156" y="14438"/>
                </a:cubicBezTo>
                <a:cubicBezTo>
                  <a:pt x="22344" y="14438"/>
                  <a:pt x="22531" y="14406"/>
                  <a:pt x="22719" y="14469"/>
                </a:cubicBezTo>
                <a:cubicBezTo>
                  <a:pt x="22813" y="14500"/>
                  <a:pt x="22906" y="14500"/>
                  <a:pt x="22844" y="14625"/>
                </a:cubicBezTo>
                <a:cubicBezTo>
                  <a:pt x="23000" y="14625"/>
                  <a:pt x="23000" y="14625"/>
                  <a:pt x="23031" y="14719"/>
                </a:cubicBezTo>
                <a:cubicBezTo>
                  <a:pt x="22906" y="14719"/>
                  <a:pt x="22781" y="14719"/>
                  <a:pt x="22688" y="14750"/>
                </a:cubicBezTo>
                <a:cubicBezTo>
                  <a:pt x="22625" y="14781"/>
                  <a:pt x="22563" y="14844"/>
                  <a:pt x="22500" y="14750"/>
                </a:cubicBezTo>
                <a:cubicBezTo>
                  <a:pt x="22500" y="14719"/>
                  <a:pt x="22469" y="14719"/>
                  <a:pt x="22438" y="14750"/>
                </a:cubicBezTo>
                <a:cubicBezTo>
                  <a:pt x="22375" y="14844"/>
                  <a:pt x="22281" y="14813"/>
                  <a:pt x="22219" y="14781"/>
                </a:cubicBezTo>
                <a:cubicBezTo>
                  <a:pt x="22094" y="14750"/>
                  <a:pt x="22000" y="14688"/>
                  <a:pt x="21844" y="14750"/>
                </a:cubicBezTo>
                <a:cubicBezTo>
                  <a:pt x="21938" y="14781"/>
                  <a:pt x="22031" y="14781"/>
                  <a:pt x="22094" y="14813"/>
                </a:cubicBezTo>
                <a:cubicBezTo>
                  <a:pt x="22281" y="14938"/>
                  <a:pt x="22594" y="14781"/>
                  <a:pt x="22781" y="15031"/>
                </a:cubicBezTo>
                <a:cubicBezTo>
                  <a:pt x="22781" y="15031"/>
                  <a:pt x="22781" y="15031"/>
                  <a:pt x="22813" y="15031"/>
                </a:cubicBezTo>
                <a:cubicBezTo>
                  <a:pt x="22969" y="15031"/>
                  <a:pt x="23156" y="15063"/>
                  <a:pt x="23313" y="15063"/>
                </a:cubicBezTo>
                <a:cubicBezTo>
                  <a:pt x="23344" y="15063"/>
                  <a:pt x="23406" y="15063"/>
                  <a:pt x="23406" y="15031"/>
                </a:cubicBezTo>
                <a:cubicBezTo>
                  <a:pt x="23406" y="14969"/>
                  <a:pt x="23344" y="14969"/>
                  <a:pt x="23313" y="14969"/>
                </a:cubicBezTo>
                <a:cubicBezTo>
                  <a:pt x="23219" y="14938"/>
                  <a:pt x="23094" y="15000"/>
                  <a:pt x="23000" y="14906"/>
                </a:cubicBezTo>
                <a:cubicBezTo>
                  <a:pt x="23125" y="14875"/>
                  <a:pt x="23219" y="14844"/>
                  <a:pt x="23313" y="14750"/>
                </a:cubicBezTo>
                <a:cubicBezTo>
                  <a:pt x="23406" y="14656"/>
                  <a:pt x="23563" y="14656"/>
                  <a:pt x="23594" y="14813"/>
                </a:cubicBezTo>
                <a:cubicBezTo>
                  <a:pt x="23625" y="14844"/>
                  <a:pt x="23563" y="14875"/>
                  <a:pt x="23563" y="14938"/>
                </a:cubicBezTo>
                <a:cubicBezTo>
                  <a:pt x="23531" y="15000"/>
                  <a:pt x="23469" y="15125"/>
                  <a:pt x="23656" y="15125"/>
                </a:cubicBezTo>
                <a:cubicBezTo>
                  <a:pt x="23594" y="15156"/>
                  <a:pt x="23531" y="15156"/>
                  <a:pt x="23469" y="15156"/>
                </a:cubicBezTo>
                <a:cubicBezTo>
                  <a:pt x="23406" y="15156"/>
                  <a:pt x="23375" y="15156"/>
                  <a:pt x="23313" y="15188"/>
                </a:cubicBezTo>
                <a:cubicBezTo>
                  <a:pt x="23313" y="15219"/>
                  <a:pt x="23281" y="15250"/>
                  <a:pt x="23313" y="15281"/>
                </a:cubicBezTo>
                <a:cubicBezTo>
                  <a:pt x="23344" y="15313"/>
                  <a:pt x="23594" y="15344"/>
                  <a:pt x="23625" y="15281"/>
                </a:cubicBezTo>
                <a:cubicBezTo>
                  <a:pt x="23719" y="15156"/>
                  <a:pt x="23844" y="15125"/>
                  <a:pt x="23969" y="15156"/>
                </a:cubicBezTo>
                <a:cubicBezTo>
                  <a:pt x="24063" y="15188"/>
                  <a:pt x="24156" y="15219"/>
                  <a:pt x="24250" y="15219"/>
                </a:cubicBezTo>
                <a:cubicBezTo>
                  <a:pt x="24313" y="15219"/>
                  <a:pt x="24406" y="15219"/>
                  <a:pt x="24375" y="15188"/>
                </a:cubicBezTo>
                <a:cubicBezTo>
                  <a:pt x="24375" y="15094"/>
                  <a:pt x="24469" y="15094"/>
                  <a:pt x="24469" y="15031"/>
                </a:cubicBezTo>
                <a:cubicBezTo>
                  <a:pt x="24438" y="15031"/>
                  <a:pt x="24406" y="15000"/>
                  <a:pt x="24375" y="15000"/>
                </a:cubicBezTo>
                <a:cubicBezTo>
                  <a:pt x="24344" y="14969"/>
                  <a:pt x="24313" y="14969"/>
                  <a:pt x="24281" y="15000"/>
                </a:cubicBezTo>
                <a:cubicBezTo>
                  <a:pt x="24250" y="15000"/>
                  <a:pt x="24281" y="15031"/>
                  <a:pt x="24281" y="15063"/>
                </a:cubicBezTo>
                <a:cubicBezTo>
                  <a:pt x="24313" y="15094"/>
                  <a:pt x="24281" y="15125"/>
                  <a:pt x="24250" y="15125"/>
                </a:cubicBezTo>
                <a:cubicBezTo>
                  <a:pt x="24250" y="15156"/>
                  <a:pt x="24188" y="15156"/>
                  <a:pt x="24188" y="15125"/>
                </a:cubicBezTo>
                <a:cubicBezTo>
                  <a:pt x="24188" y="15031"/>
                  <a:pt x="24125" y="15063"/>
                  <a:pt x="24094" y="15063"/>
                </a:cubicBezTo>
                <a:cubicBezTo>
                  <a:pt x="24063" y="15063"/>
                  <a:pt x="24000" y="15063"/>
                  <a:pt x="23969" y="15063"/>
                </a:cubicBezTo>
                <a:cubicBezTo>
                  <a:pt x="24125" y="14875"/>
                  <a:pt x="24344" y="14844"/>
                  <a:pt x="24531" y="14969"/>
                </a:cubicBezTo>
                <a:cubicBezTo>
                  <a:pt x="24563" y="14969"/>
                  <a:pt x="24625" y="14969"/>
                  <a:pt x="24656" y="14969"/>
                </a:cubicBezTo>
                <a:cubicBezTo>
                  <a:pt x="24781" y="14844"/>
                  <a:pt x="25063" y="14844"/>
                  <a:pt x="25188" y="14969"/>
                </a:cubicBezTo>
                <a:cubicBezTo>
                  <a:pt x="25219" y="15000"/>
                  <a:pt x="25250" y="14969"/>
                  <a:pt x="25281" y="14969"/>
                </a:cubicBezTo>
                <a:cubicBezTo>
                  <a:pt x="25969" y="14969"/>
                  <a:pt x="26625" y="15063"/>
                  <a:pt x="27313" y="15125"/>
                </a:cubicBezTo>
                <a:cubicBezTo>
                  <a:pt x="28219" y="15219"/>
                  <a:pt x="29156" y="15281"/>
                  <a:pt x="30063" y="15219"/>
                </a:cubicBezTo>
                <a:cubicBezTo>
                  <a:pt x="30531" y="15188"/>
                  <a:pt x="30969" y="15063"/>
                  <a:pt x="31406" y="14938"/>
                </a:cubicBezTo>
                <a:cubicBezTo>
                  <a:pt x="31500" y="14875"/>
                  <a:pt x="31625" y="14875"/>
                  <a:pt x="31750" y="14781"/>
                </a:cubicBezTo>
                <a:cubicBezTo>
                  <a:pt x="31750" y="14844"/>
                  <a:pt x="31719" y="14875"/>
                  <a:pt x="31688" y="14906"/>
                </a:cubicBezTo>
                <a:cubicBezTo>
                  <a:pt x="31594" y="14938"/>
                  <a:pt x="31469" y="14969"/>
                  <a:pt x="31406" y="15063"/>
                </a:cubicBezTo>
                <a:cubicBezTo>
                  <a:pt x="31375" y="15063"/>
                  <a:pt x="31344" y="15094"/>
                  <a:pt x="31344" y="15125"/>
                </a:cubicBezTo>
                <a:cubicBezTo>
                  <a:pt x="31313" y="15156"/>
                  <a:pt x="31281" y="15188"/>
                  <a:pt x="31250" y="15188"/>
                </a:cubicBezTo>
                <a:cubicBezTo>
                  <a:pt x="31188" y="15156"/>
                  <a:pt x="31250" y="15125"/>
                  <a:pt x="31250" y="15094"/>
                </a:cubicBezTo>
                <a:cubicBezTo>
                  <a:pt x="31219" y="15031"/>
                  <a:pt x="31188" y="15063"/>
                  <a:pt x="31156" y="15094"/>
                </a:cubicBezTo>
                <a:cubicBezTo>
                  <a:pt x="31094" y="15156"/>
                  <a:pt x="31063" y="15219"/>
                  <a:pt x="31000" y="15281"/>
                </a:cubicBezTo>
                <a:cubicBezTo>
                  <a:pt x="30938" y="15313"/>
                  <a:pt x="30906" y="15344"/>
                  <a:pt x="30844" y="15281"/>
                </a:cubicBezTo>
                <a:cubicBezTo>
                  <a:pt x="30813" y="15219"/>
                  <a:pt x="30750" y="15188"/>
                  <a:pt x="30719" y="15281"/>
                </a:cubicBezTo>
                <a:cubicBezTo>
                  <a:pt x="30688" y="15375"/>
                  <a:pt x="30625" y="15344"/>
                  <a:pt x="30563" y="15344"/>
                </a:cubicBezTo>
                <a:cubicBezTo>
                  <a:pt x="30531" y="15344"/>
                  <a:pt x="30500" y="15344"/>
                  <a:pt x="30500" y="15313"/>
                </a:cubicBezTo>
                <a:cubicBezTo>
                  <a:pt x="30438" y="15250"/>
                  <a:pt x="30469" y="15625"/>
                  <a:pt x="30313" y="15375"/>
                </a:cubicBezTo>
                <a:cubicBezTo>
                  <a:pt x="30313" y="15344"/>
                  <a:pt x="30156" y="15438"/>
                  <a:pt x="30094" y="15469"/>
                </a:cubicBezTo>
                <a:cubicBezTo>
                  <a:pt x="30031" y="15531"/>
                  <a:pt x="29969" y="15594"/>
                  <a:pt x="29938" y="15438"/>
                </a:cubicBezTo>
                <a:cubicBezTo>
                  <a:pt x="29906" y="15375"/>
                  <a:pt x="29844" y="15406"/>
                  <a:pt x="29844" y="15406"/>
                </a:cubicBezTo>
                <a:cubicBezTo>
                  <a:pt x="29844" y="15531"/>
                  <a:pt x="29719" y="15469"/>
                  <a:pt x="29656" y="15563"/>
                </a:cubicBezTo>
                <a:cubicBezTo>
                  <a:pt x="29625" y="15594"/>
                  <a:pt x="29563" y="15563"/>
                  <a:pt x="29500" y="15563"/>
                </a:cubicBezTo>
                <a:cubicBezTo>
                  <a:pt x="29406" y="15500"/>
                  <a:pt x="29313" y="15500"/>
                  <a:pt x="29219" y="15563"/>
                </a:cubicBezTo>
                <a:cubicBezTo>
                  <a:pt x="29188" y="15563"/>
                  <a:pt x="29156" y="15563"/>
                  <a:pt x="29156" y="15563"/>
                </a:cubicBezTo>
                <a:cubicBezTo>
                  <a:pt x="29156" y="15375"/>
                  <a:pt x="29094" y="15500"/>
                  <a:pt x="29031" y="15500"/>
                </a:cubicBezTo>
                <a:cubicBezTo>
                  <a:pt x="28906" y="15531"/>
                  <a:pt x="28781" y="15594"/>
                  <a:pt x="28688" y="15469"/>
                </a:cubicBezTo>
                <a:cubicBezTo>
                  <a:pt x="28625" y="15375"/>
                  <a:pt x="28563" y="15469"/>
                  <a:pt x="28531" y="15500"/>
                </a:cubicBezTo>
                <a:cubicBezTo>
                  <a:pt x="28469" y="15500"/>
                  <a:pt x="28438" y="15563"/>
                  <a:pt x="28406" y="15531"/>
                </a:cubicBezTo>
                <a:cubicBezTo>
                  <a:pt x="28375" y="15469"/>
                  <a:pt x="28469" y="15469"/>
                  <a:pt x="28500" y="15438"/>
                </a:cubicBezTo>
                <a:cubicBezTo>
                  <a:pt x="28500" y="15406"/>
                  <a:pt x="28531" y="15406"/>
                  <a:pt x="28563" y="15375"/>
                </a:cubicBezTo>
                <a:cubicBezTo>
                  <a:pt x="28438" y="15313"/>
                  <a:pt x="28375" y="15281"/>
                  <a:pt x="28344" y="15469"/>
                </a:cubicBezTo>
                <a:cubicBezTo>
                  <a:pt x="28344" y="15500"/>
                  <a:pt x="28281" y="15531"/>
                  <a:pt x="28250" y="15531"/>
                </a:cubicBezTo>
                <a:cubicBezTo>
                  <a:pt x="28125" y="15500"/>
                  <a:pt x="28031" y="15469"/>
                  <a:pt x="27906" y="15469"/>
                </a:cubicBezTo>
                <a:cubicBezTo>
                  <a:pt x="27969" y="15406"/>
                  <a:pt x="28063" y="15469"/>
                  <a:pt x="28125" y="15406"/>
                </a:cubicBezTo>
                <a:cubicBezTo>
                  <a:pt x="28156" y="15406"/>
                  <a:pt x="28188" y="15406"/>
                  <a:pt x="28188" y="15344"/>
                </a:cubicBezTo>
                <a:cubicBezTo>
                  <a:pt x="28156" y="15313"/>
                  <a:pt x="28125" y="15344"/>
                  <a:pt x="28125" y="15344"/>
                </a:cubicBezTo>
                <a:cubicBezTo>
                  <a:pt x="28000" y="15375"/>
                  <a:pt x="27875" y="15344"/>
                  <a:pt x="27750" y="15406"/>
                </a:cubicBezTo>
                <a:cubicBezTo>
                  <a:pt x="27719" y="15406"/>
                  <a:pt x="27688" y="15406"/>
                  <a:pt x="27719" y="15344"/>
                </a:cubicBezTo>
                <a:cubicBezTo>
                  <a:pt x="27750" y="15281"/>
                  <a:pt x="27719" y="15281"/>
                  <a:pt x="27656" y="15250"/>
                </a:cubicBezTo>
                <a:cubicBezTo>
                  <a:pt x="27594" y="15219"/>
                  <a:pt x="27563" y="15219"/>
                  <a:pt x="27531" y="15281"/>
                </a:cubicBezTo>
                <a:cubicBezTo>
                  <a:pt x="27438" y="15375"/>
                  <a:pt x="27344" y="15406"/>
                  <a:pt x="27219" y="15406"/>
                </a:cubicBezTo>
                <a:cubicBezTo>
                  <a:pt x="27188" y="15344"/>
                  <a:pt x="27219" y="15281"/>
                  <a:pt x="27125" y="15344"/>
                </a:cubicBezTo>
                <a:cubicBezTo>
                  <a:pt x="27031" y="15438"/>
                  <a:pt x="26906" y="15406"/>
                  <a:pt x="26781" y="15375"/>
                </a:cubicBezTo>
                <a:cubicBezTo>
                  <a:pt x="26688" y="15375"/>
                  <a:pt x="26625" y="15344"/>
                  <a:pt x="26531" y="15375"/>
                </a:cubicBezTo>
                <a:cubicBezTo>
                  <a:pt x="26469" y="15406"/>
                  <a:pt x="26438" y="15375"/>
                  <a:pt x="26438" y="15313"/>
                </a:cubicBezTo>
                <a:cubicBezTo>
                  <a:pt x="26469" y="15313"/>
                  <a:pt x="26500" y="15313"/>
                  <a:pt x="26531" y="15313"/>
                </a:cubicBezTo>
                <a:cubicBezTo>
                  <a:pt x="26594" y="15313"/>
                  <a:pt x="26625" y="15250"/>
                  <a:pt x="26656" y="15219"/>
                </a:cubicBezTo>
                <a:cubicBezTo>
                  <a:pt x="26656" y="15188"/>
                  <a:pt x="26656" y="15156"/>
                  <a:pt x="26625" y="15156"/>
                </a:cubicBezTo>
                <a:cubicBezTo>
                  <a:pt x="26563" y="15125"/>
                  <a:pt x="26500" y="15125"/>
                  <a:pt x="26500" y="15156"/>
                </a:cubicBezTo>
                <a:cubicBezTo>
                  <a:pt x="26438" y="15250"/>
                  <a:pt x="26375" y="15219"/>
                  <a:pt x="26313" y="15188"/>
                </a:cubicBezTo>
                <a:cubicBezTo>
                  <a:pt x="26281" y="15188"/>
                  <a:pt x="26219" y="15188"/>
                  <a:pt x="26219" y="15219"/>
                </a:cubicBezTo>
                <a:cubicBezTo>
                  <a:pt x="26219" y="15250"/>
                  <a:pt x="26250" y="15250"/>
                  <a:pt x="26281" y="15281"/>
                </a:cubicBezTo>
                <a:cubicBezTo>
                  <a:pt x="26313" y="15281"/>
                  <a:pt x="26375" y="15250"/>
                  <a:pt x="26344" y="15313"/>
                </a:cubicBezTo>
                <a:cubicBezTo>
                  <a:pt x="26344" y="15344"/>
                  <a:pt x="26281" y="15344"/>
                  <a:pt x="26250" y="15344"/>
                </a:cubicBezTo>
                <a:cubicBezTo>
                  <a:pt x="26156" y="15313"/>
                  <a:pt x="26125" y="15188"/>
                  <a:pt x="26156" y="15063"/>
                </a:cubicBezTo>
                <a:cubicBezTo>
                  <a:pt x="26000" y="15094"/>
                  <a:pt x="25844" y="15063"/>
                  <a:pt x="25688" y="15063"/>
                </a:cubicBezTo>
                <a:cubicBezTo>
                  <a:pt x="25625" y="15063"/>
                  <a:pt x="25594" y="15094"/>
                  <a:pt x="25563" y="15156"/>
                </a:cubicBezTo>
                <a:cubicBezTo>
                  <a:pt x="25531" y="15188"/>
                  <a:pt x="25625" y="15188"/>
                  <a:pt x="25625" y="15219"/>
                </a:cubicBezTo>
                <a:cubicBezTo>
                  <a:pt x="25500" y="15219"/>
                  <a:pt x="25406" y="15219"/>
                  <a:pt x="25281" y="15219"/>
                </a:cubicBezTo>
                <a:cubicBezTo>
                  <a:pt x="25250" y="15219"/>
                  <a:pt x="25219" y="15219"/>
                  <a:pt x="25219" y="15188"/>
                </a:cubicBezTo>
                <a:cubicBezTo>
                  <a:pt x="25219" y="15125"/>
                  <a:pt x="25250" y="15156"/>
                  <a:pt x="25281" y="15156"/>
                </a:cubicBezTo>
                <a:cubicBezTo>
                  <a:pt x="25313" y="15094"/>
                  <a:pt x="25281" y="15063"/>
                  <a:pt x="25250" y="15063"/>
                </a:cubicBezTo>
                <a:cubicBezTo>
                  <a:pt x="25188" y="15063"/>
                  <a:pt x="25156" y="15063"/>
                  <a:pt x="25094" y="15063"/>
                </a:cubicBezTo>
                <a:cubicBezTo>
                  <a:pt x="25000" y="15063"/>
                  <a:pt x="24844" y="15094"/>
                  <a:pt x="24750" y="14969"/>
                </a:cubicBezTo>
                <a:cubicBezTo>
                  <a:pt x="24750" y="14969"/>
                  <a:pt x="24688" y="14969"/>
                  <a:pt x="24656" y="15000"/>
                </a:cubicBezTo>
                <a:cubicBezTo>
                  <a:pt x="24563" y="15031"/>
                  <a:pt x="24688" y="15094"/>
                  <a:pt x="24656" y="15156"/>
                </a:cubicBezTo>
                <a:cubicBezTo>
                  <a:pt x="24625" y="15188"/>
                  <a:pt x="24719" y="15188"/>
                  <a:pt x="24750" y="15188"/>
                </a:cubicBezTo>
                <a:cubicBezTo>
                  <a:pt x="24844" y="15188"/>
                  <a:pt x="24938" y="15156"/>
                  <a:pt x="25031" y="15156"/>
                </a:cubicBezTo>
                <a:cubicBezTo>
                  <a:pt x="25031" y="15281"/>
                  <a:pt x="24844" y="15188"/>
                  <a:pt x="24844" y="15313"/>
                </a:cubicBezTo>
                <a:cubicBezTo>
                  <a:pt x="25094" y="15219"/>
                  <a:pt x="25344" y="15313"/>
                  <a:pt x="25594" y="15313"/>
                </a:cubicBezTo>
                <a:cubicBezTo>
                  <a:pt x="25594" y="15375"/>
                  <a:pt x="25531" y="15344"/>
                  <a:pt x="25531" y="15406"/>
                </a:cubicBezTo>
                <a:cubicBezTo>
                  <a:pt x="25625" y="15406"/>
                  <a:pt x="25719" y="15438"/>
                  <a:pt x="25656" y="15531"/>
                </a:cubicBezTo>
                <a:cubicBezTo>
                  <a:pt x="25938" y="15625"/>
                  <a:pt x="26188" y="15594"/>
                  <a:pt x="26438" y="15469"/>
                </a:cubicBezTo>
                <a:cubicBezTo>
                  <a:pt x="26344" y="15469"/>
                  <a:pt x="26250" y="15469"/>
                  <a:pt x="26156" y="15469"/>
                </a:cubicBezTo>
                <a:cubicBezTo>
                  <a:pt x="26281" y="15375"/>
                  <a:pt x="26500" y="15406"/>
                  <a:pt x="26563" y="15531"/>
                </a:cubicBezTo>
                <a:cubicBezTo>
                  <a:pt x="26594" y="15594"/>
                  <a:pt x="26625" y="15594"/>
                  <a:pt x="26688" y="15594"/>
                </a:cubicBezTo>
                <a:cubicBezTo>
                  <a:pt x="26875" y="15500"/>
                  <a:pt x="27063" y="15531"/>
                  <a:pt x="27250" y="15563"/>
                </a:cubicBezTo>
                <a:cubicBezTo>
                  <a:pt x="27344" y="15563"/>
                  <a:pt x="27406" y="15656"/>
                  <a:pt x="27500" y="15625"/>
                </a:cubicBezTo>
                <a:cubicBezTo>
                  <a:pt x="27625" y="15594"/>
                  <a:pt x="27750" y="15594"/>
                  <a:pt x="27875" y="15594"/>
                </a:cubicBezTo>
                <a:cubicBezTo>
                  <a:pt x="28000" y="15594"/>
                  <a:pt x="28094" y="15656"/>
                  <a:pt x="28219" y="15625"/>
                </a:cubicBezTo>
                <a:cubicBezTo>
                  <a:pt x="28250" y="15594"/>
                  <a:pt x="28281" y="15594"/>
                  <a:pt x="28313" y="15625"/>
                </a:cubicBezTo>
                <a:cubicBezTo>
                  <a:pt x="28313" y="15656"/>
                  <a:pt x="28281" y="15688"/>
                  <a:pt x="28250" y="15750"/>
                </a:cubicBezTo>
                <a:cubicBezTo>
                  <a:pt x="28250" y="15813"/>
                  <a:pt x="28219" y="15750"/>
                  <a:pt x="28219" y="15750"/>
                </a:cubicBezTo>
                <a:cubicBezTo>
                  <a:pt x="27906" y="15750"/>
                  <a:pt x="27625" y="15750"/>
                  <a:pt x="27313" y="15750"/>
                </a:cubicBezTo>
                <a:cubicBezTo>
                  <a:pt x="27438" y="15781"/>
                  <a:pt x="27531" y="15781"/>
                  <a:pt x="27625" y="15781"/>
                </a:cubicBezTo>
                <a:cubicBezTo>
                  <a:pt x="27719" y="15781"/>
                  <a:pt x="27844" y="15781"/>
                  <a:pt x="27938" y="15844"/>
                </a:cubicBezTo>
                <a:cubicBezTo>
                  <a:pt x="27969" y="15906"/>
                  <a:pt x="28031" y="15969"/>
                  <a:pt x="28094" y="15844"/>
                </a:cubicBezTo>
                <a:cubicBezTo>
                  <a:pt x="28094" y="15813"/>
                  <a:pt x="28156" y="15813"/>
                  <a:pt x="28188" y="15844"/>
                </a:cubicBezTo>
                <a:cubicBezTo>
                  <a:pt x="28281" y="15875"/>
                  <a:pt x="28375" y="15875"/>
                  <a:pt x="28469" y="15875"/>
                </a:cubicBezTo>
                <a:cubicBezTo>
                  <a:pt x="28469" y="15875"/>
                  <a:pt x="28500" y="15875"/>
                  <a:pt x="28531" y="15875"/>
                </a:cubicBezTo>
                <a:cubicBezTo>
                  <a:pt x="28594" y="15938"/>
                  <a:pt x="28594" y="15938"/>
                  <a:pt x="28656" y="15938"/>
                </a:cubicBezTo>
                <a:cubicBezTo>
                  <a:pt x="28906" y="15875"/>
                  <a:pt x="29156" y="15844"/>
                  <a:pt x="29406" y="15844"/>
                </a:cubicBezTo>
                <a:cubicBezTo>
                  <a:pt x="29656" y="15844"/>
                  <a:pt x="29906" y="15875"/>
                  <a:pt x="30156" y="15813"/>
                </a:cubicBezTo>
                <a:cubicBezTo>
                  <a:pt x="30281" y="15781"/>
                  <a:pt x="30406" y="15813"/>
                  <a:pt x="30563" y="15719"/>
                </a:cubicBezTo>
                <a:cubicBezTo>
                  <a:pt x="30469" y="15688"/>
                  <a:pt x="30375" y="15625"/>
                  <a:pt x="30344" y="15563"/>
                </a:cubicBezTo>
                <a:cubicBezTo>
                  <a:pt x="30375" y="15531"/>
                  <a:pt x="30438" y="15531"/>
                  <a:pt x="30469" y="15531"/>
                </a:cubicBezTo>
                <a:cubicBezTo>
                  <a:pt x="30563" y="15531"/>
                  <a:pt x="30656" y="15500"/>
                  <a:pt x="30625" y="15656"/>
                </a:cubicBezTo>
                <a:cubicBezTo>
                  <a:pt x="30594" y="15719"/>
                  <a:pt x="30625" y="15719"/>
                  <a:pt x="30656" y="15719"/>
                </a:cubicBezTo>
                <a:cubicBezTo>
                  <a:pt x="30750" y="15719"/>
                  <a:pt x="30813" y="15750"/>
                  <a:pt x="30875" y="15781"/>
                </a:cubicBezTo>
                <a:cubicBezTo>
                  <a:pt x="30938" y="15813"/>
                  <a:pt x="30969" y="15781"/>
                  <a:pt x="31031" y="15750"/>
                </a:cubicBezTo>
                <a:cubicBezTo>
                  <a:pt x="31000" y="15719"/>
                  <a:pt x="30938" y="15781"/>
                  <a:pt x="30938" y="15688"/>
                </a:cubicBezTo>
                <a:cubicBezTo>
                  <a:pt x="30969" y="15594"/>
                  <a:pt x="30875" y="15594"/>
                  <a:pt x="30844" y="15625"/>
                </a:cubicBezTo>
                <a:cubicBezTo>
                  <a:pt x="30750" y="15688"/>
                  <a:pt x="30719" y="15563"/>
                  <a:pt x="30656" y="15563"/>
                </a:cubicBezTo>
                <a:cubicBezTo>
                  <a:pt x="30688" y="15531"/>
                  <a:pt x="30719" y="15500"/>
                  <a:pt x="30750" y="15469"/>
                </a:cubicBezTo>
                <a:cubicBezTo>
                  <a:pt x="31094" y="15344"/>
                  <a:pt x="31438" y="15188"/>
                  <a:pt x="31781" y="15031"/>
                </a:cubicBezTo>
                <a:cubicBezTo>
                  <a:pt x="31844" y="15031"/>
                  <a:pt x="31844" y="15031"/>
                  <a:pt x="31844" y="15063"/>
                </a:cubicBezTo>
                <a:cubicBezTo>
                  <a:pt x="31844" y="15125"/>
                  <a:pt x="31844" y="15188"/>
                  <a:pt x="31906" y="15188"/>
                </a:cubicBezTo>
                <a:cubicBezTo>
                  <a:pt x="31938" y="15188"/>
                  <a:pt x="31969" y="15125"/>
                  <a:pt x="31969" y="15063"/>
                </a:cubicBezTo>
                <a:cubicBezTo>
                  <a:pt x="32000" y="15000"/>
                  <a:pt x="32031" y="14938"/>
                  <a:pt x="32000" y="14875"/>
                </a:cubicBezTo>
                <a:cubicBezTo>
                  <a:pt x="31938" y="14719"/>
                  <a:pt x="32031" y="14625"/>
                  <a:pt x="32094" y="14531"/>
                </a:cubicBezTo>
                <a:cubicBezTo>
                  <a:pt x="32156" y="14438"/>
                  <a:pt x="32188" y="14313"/>
                  <a:pt x="32125" y="14188"/>
                </a:cubicBezTo>
                <a:cubicBezTo>
                  <a:pt x="32063" y="14031"/>
                  <a:pt x="31969" y="13875"/>
                  <a:pt x="31875" y="13688"/>
                </a:cubicBezTo>
                <a:cubicBezTo>
                  <a:pt x="31844" y="13625"/>
                  <a:pt x="31844" y="13594"/>
                  <a:pt x="31750" y="13625"/>
                </a:cubicBezTo>
                <a:cubicBezTo>
                  <a:pt x="31688" y="13656"/>
                  <a:pt x="31719" y="13688"/>
                  <a:pt x="31719" y="13750"/>
                </a:cubicBezTo>
                <a:cubicBezTo>
                  <a:pt x="31719" y="13781"/>
                  <a:pt x="31750" y="13781"/>
                  <a:pt x="31750" y="13813"/>
                </a:cubicBezTo>
                <a:cubicBezTo>
                  <a:pt x="31813" y="14000"/>
                  <a:pt x="31813" y="14000"/>
                  <a:pt x="31594" y="14031"/>
                </a:cubicBezTo>
                <a:cubicBezTo>
                  <a:pt x="31469" y="14031"/>
                  <a:pt x="31313" y="14031"/>
                  <a:pt x="31188" y="14031"/>
                </a:cubicBezTo>
                <a:cubicBezTo>
                  <a:pt x="31063" y="14063"/>
                  <a:pt x="31031" y="14125"/>
                  <a:pt x="31063" y="14219"/>
                </a:cubicBezTo>
                <a:cubicBezTo>
                  <a:pt x="31094" y="14156"/>
                  <a:pt x="31156" y="14063"/>
                  <a:pt x="31219" y="14094"/>
                </a:cubicBezTo>
                <a:cubicBezTo>
                  <a:pt x="31281" y="14188"/>
                  <a:pt x="31156" y="14188"/>
                  <a:pt x="31125" y="14250"/>
                </a:cubicBezTo>
                <a:cubicBezTo>
                  <a:pt x="31125" y="14281"/>
                  <a:pt x="31094" y="14313"/>
                  <a:pt x="31063" y="14313"/>
                </a:cubicBezTo>
                <a:cubicBezTo>
                  <a:pt x="31000" y="14344"/>
                  <a:pt x="31063" y="14406"/>
                  <a:pt x="31094" y="14438"/>
                </a:cubicBezTo>
                <a:cubicBezTo>
                  <a:pt x="30875" y="14563"/>
                  <a:pt x="30688" y="14594"/>
                  <a:pt x="30469" y="14500"/>
                </a:cubicBezTo>
                <a:cubicBezTo>
                  <a:pt x="30344" y="14438"/>
                  <a:pt x="30125" y="14469"/>
                  <a:pt x="30219" y="14250"/>
                </a:cubicBezTo>
                <a:cubicBezTo>
                  <a:pt x="30125" y="14250"/>
                  <a:pt x="30094" y="14375"/>
                  <a:pt x="30031" y="14313"/>
                </a:cubicBezTo>
                <a:cubicBezTo>
                  <a:pt x="29906" y="14250"/>
                  <a:pt x="29813" y="14188"/>
                  <a:pt x="29656" y="14250"/>
                </a:cubicBezTo>
                <a:cubicBezTo>
                  <a:pt x="29594" y="14281"/>
                  <a:pt x="29531" y="14250"/>
                  <a:pt x="29438" y="14250"/>
                </a:cubicBezTo>
                <a:cubicBezTo>
                  <a:pt x="29406" y="14250"/>
                  <a:pt x="29375" y="14250"/>
                  <a:pt x="29375" y="14219"/>
                </a:cubicBezTo>
                <a:cubicBezTo>
                  <a:pt x="29375" y="14125"/>
                  <a:pt x="29313" y="14125"/>
                  <a:pt x="29281" y="14125"/>
                </a:cubicBezTo>
                <a:cubicBezTo>
                  <a:pt x="29156" y="14125"/>
                  <a:pt x="29031" y="14094"/>
                  <a:pt x="28906" y="14094"/>
                </a:cubicBezTo>
                <a:cubicBezTo>
                  <a:pt x="28813" y="14063"/>
                  <a:pt x="28719" y="14063"/>
                  <a:pt x="28688" y="14188"/>
                </a:cubicBezTo>
                <a:cubicBezTo>
                  <a:pt x="28656" y="14219"/>
                  <a:pt x="28625" y="14219"/>
                  <a:pt x="28594" y="14219"/>
                </a:cubicBezTo>
                <a:cubicBezTo>
                  <a:pt x="28563" y="14188"/>
                  <a:pt x="28563" y="14156"/>
                  <a:pt x="28594" y="14125"/>
                </a:cubicBezTo>
                <a:cubicBezTo>
                  <a:pt x="28594" y="14094"/>
                  <a:pt x="28625" y="14063"/>
                  <a:pt x="28594" y="14031"/>
                </a:cubicBezTo>
                <a:cubicBezTo>
                  <a:pt x="28531" y="14031"/>
                  <a:pt x="28469" y="14063"/>
                  <a:pt x="28406" y="14000"/>
                </a:cubicBezTo>
                <a:cubicBezTo>
                  <a:pt x="28344" y="13938"/>
                  <a:pt x="28313" y="13938"/>
                  <a:pt x="28219" y="13969"/>
                </a:cubicBezTo>
                <a:cubicBezTo>
                  <a:pt x="28156" y="13969"/>
                  <a:pt x="28094" y="13969"/>
                  <a:pt x="28000" y="13969"/>
                </a:cubicBezTo>
                <a:cubicBezTo>
                  <a:pt x="27719" y="13906"/>
                  <a:pt x="27406" y="13781"/>
                  <a:pt x="27094" y="13875"/>
                </a:cubicBezTo>
                <a:cubicBezTo>
                  <a:pt x="27031" y="13875"/>
                  <a:pt x="27000" y="13844"/>
                  <a:pt x="27000" y="13813"/>
                </a:cubicBezTo>
                <a:cubicBezTo>
                  <a:pt x="27000" y="13750"/>
                  <a:pt x="27063" y="13750"/>
                  <a:pt x="27094" y="13750"/>
                </a:cubicBezTo>
                <a:cubicBezTo>
                  <a:pt x="27438" y="13781"/>
                  <a:pt x="27781" y="13688"/>
                  <a:pt x="28156" y="13750"/>
                </a:cubicBezTo>
                <a:cubicBezTo>
                  <a:pt x="28188" y="13750"/>
                  <a:pt x="28250" y="13750"/>
                  <a:pt x="28281" y="13750"/>
                </a:cubicBezTo>
                <a:cubicBezTo>
                  <a:pt x="28469" y="13656"/>
                  <a:pt x="28719" y="13656"/>
                  <a:pt x="28938" y="13625"/>
                </a:cubicBezTo>
                <a:cubicBezTo>
                  <a:pt x="29500" y="13594"/>
                  <a:pt x="30031" y="13438"/>
                  <a:pt x="30563" y="13250"/>
                </a:cubicBezTo>
                <a:cubicBezTo>
                  <a:pt x="31156" y="13063"/>
                  <a:pt x="31719" y="12813"/>
                  <a:pt x="32344" y="12688"/>
                </a:cubicBezTo>
                <a:cubicBezTo>
                  <a:pt x="32438" y="12688"/>
                  <a:pt x="32688" y="12531"/>
                  <a:pt x="32750" y="12469"/>
                </a:cubicBezTo>
                <a:cubicBezTo>
                  <a:pt x="32813" y="12375"/>
                  <a:pt x="32938" y="12344"/>
                  <a:pt x="33000" y="12219"/>
                </a:cubicBezTo>
                <a:cubicBezTo>
                  <a:pt x="33031" y="12188"/>
                  <a:pt x="33156" y="12125"/>
                  <a:pt x="33000" y="12094"/>
                </a:cubicBezTo>
                <a:cubicBezTo>
                  <a:pt x="32969" y="12063"/>
                  <a:pt x="33000" y="12031"/>
                  <a:pt x="33000" y="12000"/>
                </a:cubicBezTo>
                <a:cubicBezTo>
                  <a:pt x="33000" y="11969"/>
                  <a:pt x="33031" y="11969"/>
                  <a:pt x="33031" y="11906"/>
                </a:cubicBezTo>
                <a:cubicBezTo>
                  <a:pt x="32969" y="11813"/>
                  <a:pt x="32906" y="11719"/>
                  <a:pt x="32781" y="11688"/>
                </a:cubicBezTo>
                <a:cubicBezTo>
                  <a:pt x="32656" y="11625"/>
                  <a:pt x="32625" y="11563"/>
                  <a:pt x="32750" y="11469"/>
                </a:cubicBezTo>
                <a:cubicBezTo>
                  <a:pt x="32875" y="11375"/>
                  <a:pt x="33000" y="11281"/>
                  <a:pt x="33156" y="11188"/>
                </a:cubicBezTo>
                <a:cubicBezTo>
                  <a:pt x="33250" y="11094"/>
                  <a:pt x="33250" y="11000"/>
                  <a:pt x="33250" y="10906"/>
                </a:cubicBezTo>
                <a:cubicBezTo>
                  <a:pt x="33250" y="10813"/>
                  <a:pt x="33156" y="10813"/>
                  <a:pt x="33125" y="10781"/>
                </a:cubicBezTo>
                <a:close/>
                <a:moveTo>
                  <a:pt x="8063" y="2125"/>
                </a:moveTo>
                <a:cubicBezTo>
                  <a:pt x="8031" y="2125"/>
                  <a:pt x="8031" y="2094"/>
                  <a:pt x="8031" y="2094"/>
                </a:cubicBezTo>
                <a:cubicBezTo>
                  <a:pt x="8000" y="2094"/>
                  <a:pt x="7969" y="2094"/>
                  <a:pt x="7969" y="2125"/>
                </a:cubicBezTo>
                <a:cubicBezTo>
                  <a:pt x="8000" y="2157"/>
                  <a:pt x="8031" y="2157"/>
                  <a:pt x="8063" y="2125"/>
                </a:cubicBezTo>
                <a:close/>
                <a:moveTo>
                  <a:pt x="28219" y="14594"/>
                </a:moveTo>
                <a:cubicBezTo>
                  <a:pt x="28219" y="14531"/>
                  <a:pt x="28188" y="14563"/>
                  <a:pt x="28156" y="14563"/>
                </a:cubicBezTo>
                <a:cubicBezTo>
                  <a:pt x="28125" y="14563"/>
                  <a:pt x="28094" y="14594"/>
                  <a:pt x="28094" y="14625"/>
                </a:cubicBezTo>
                <a:cubicBezTo>
                  <a:pt x="28094" y="14656"/>
                  <a:pt x="28125" y="14688"/>
                  <a:pt x="28156" y="14688"/>
                </a:cubicBezTo>
                <a:cubicBezTo>
                  <a:pt x="28219" y="14688"/>
                  <a:pt x="28281" y="14688"/>
                  <a:pt x="28313" y="14625"/>
                </a:cubicBezTo>
                <a:cubicBezTo>
                  <a:pt x="28500" y="14625"/>
                  <a:pt x="28625" y="14719"/>
                  <a:pt x="28781" y="14781"/>
                </a:cubicBezTo>
                <a:cubicBezTo>
                  <a:pt x="28500" y="14844"/>
                  <a:pt x="28219" y="14813"/>
                  <a:pt x="27969" y="14781"/>
                </a:cubicBezTo>
                <a:cubicBezTo>
                  <a:pt x="27719" y="14750"/>
                  <a:pt x="27438" y="14688"/>
                  <a:pt x="27188" y="14781"/>
                </a:cubicBezTo>
                <a:cubicBezTo>
                  <a:pt x="27125" y="14813"/>
                  <a:pt x="27063" y="14844"/>
                  <a:pt x="27031" y="14750"/>
                </a:cubicBezTo>
                <a:cubicBezTo>
                  <a:pt x="27031" y="14688"/>
                  <a:pt x="27063" y="14656"/>
                  <a:pt x="27125" y="14625"/>
                </a:cubicBezTo>
                <a:lnTo>
                  <a:pt x="27125" y="14625"/>
                </a:lnTo>
                <a:cubicBezTo>
                  <a:pt x="27125" y="14625"/>
                  <a:pt x="27156" y="14625"/>
                  <a:pt x="27188" y="14625"/>
                </a:cubicBezTo>
                <a:cubicBezTo>
                  <a:pt x="27313" y="14625"/>
                  <a:pt x="27438" y="14656"/>
                  <a:pt x="27563" y="14594"/>
                </a:cubicBezTo>
                <a:cubicBezTo>
                  <a:pt x="27563" y="14594"/>
                  <a:pt x="27594" y="14594"/>
                  <a:pt x="27594" y="14594"/>
                </a:cubicBezTo>
                <a:cubicBezTo>
                  <a:pt x="27781" y="14688"/>
                  <a:pt x="27938" y="14531"/>
                  <a:pt x="28094" y="14500"/>
                </a:cubicBezTo>
                <a:cubicBezTo>
                  <a:pt x="28313" y="14438"/>
                  <a:pt x="28313" y="14438"/>
                  <a:pt x="28313" y="14625"/>
                </a:cubicBezTo>
                <a:cubicBezTo>
                  <a:pt x="28281" y="14625"/>
                  <a:pt x="28219" y="14656"/>
                  <a:pt x="28219" y="14594"/>
                </a:cubicBezTo>
                <a:close/>
                <a:moveTo>
                  <a:pt x="12250" y="8000"/>
                </a:moveTo>
                <a:cubicBezTo>
                  <a:pt x="12219" y="8000"/>
                  <a:pt x="12156" y="8000"/>
                  <a:pt x="12156" y="8063"/>
                </a:cubicBezTo>
                <a:cubicBezTo>
                  <a:pt x="12156" y="8125"/>
                  <a:pt x="12219" y="8094"/>
                  <a:pt x="12250" y="8094"/>
                </a:cubicBezTo>
                <a:cubicBezTo>
                  <a:pt x="12281" y="8094"/>
                  <a:pt x="12344" y="8125"/>
                  <a:pt x="12344" y="8063"/>
                </a:cubicBezTo>
                <a:cubicBezTo>
                  <a:pt x="12344" y="8000"/>
                  <a:pt x="12281" y="8000"/>
                  <a:pt x="12250" y="8000"/>
                </a:cubicBezTo>
                <a:close/>
                <a:moveTo>
                  <a:pt x="9156" y="7500"/>
                </a:moveTo>
                <a:cubicBezTo>
                  <a:pt x="9313" y="7531"/>
                  <a:pt x="9313" y="7531"/>
                  <a:pt x="9469" y="7469"/>
                </a:cubicBezTo>
                <a:cubicBezTo>
                  <a:pt x="9344" y="7469"/>
                  <a:pt x="9250" y="7438"/>
                  <a:pt x="9156" y="7500"/>
                </a:cubicBezTo>
                <a:close/>
                <a:moveTo>
                  <a:pt x="14406" y="8375"/>
                </a:moveTo>
                <a:cubicBezTo>
                  <a:pt x="14469" y="8500"/>
                  <a:pt x="14594" y="8438"/>
                  <a:pt x="14688" y="8469"/>
                </a:cubicBezTo>
                <a:cubicBezTo>
                  <a:pt x="14688" y="8406"/>
                  <a:pt x="14656" y="8406"/>
                  <a:pt x="14656" y="8375"/>
                </a:cubicBezTo>
                <a:cubicBezTo>
                  <a:pt x="14625" y="8344"/>
                  <a:pt x="14563" y="8344"/>
                  <a:pt x="14594" y="8281"/>
                </a:cubicBezTo>
                <a:cubicBezTo>
                  <a:pt x="14656" y="8250"/>
                  <a:pt x="14688" y="8281"/>
                  <a:pt x="14688" y="8313"/>
                </a:cubicBezTo>
                <a:cubicBezTo>
                  <a:pt x="14750" y="8375"/>
                  <a:pt x="14781" y="8375"/>
                  <a:pt x="14844" y="8375"/>
                </a:cubicBezTo>
                <a:cubicBezTo>
                  <a:pt x="14938" y="8406"/>
                  <a:pt x="15000" y="8406"/>
                  <a:pt x="15094" y="8406"/>
                </a:cubicBezTo>
                <a:cubicBezTo>
                  <a:pt x="15125" y="8406"/>
                  <a:pt x="15188" y="8406"/>
                  <a:pt x="15188" y="8469"/>
                </a:cubicBezTo>
                <a:cubicBezTo>
                  <a:pt x="15188" y="8531"/>
                  <a:pt x="15125" y="8500"/>
                  <a:pt x="15094" y="8500"/>
                </a:cubicBezTo>
                <a:cubicBezTo>
                  <a:pt x="15063" y="8531"/>
                  <a:pt x="15000" y="8500"/>
                  <a:pt x="14938" y="8531"/>
                </a:cubicBezTo>
                <a:cubicBezTo>
                  <a:pt x="15094" y="8656"/>
                  <a:pt x="15281" y="8563"/>
                  <a:pt x="15406" y="8688"/>
                </a:cubicBezTo>
                <a:cubicBezTo>
                  <a:pt x="15406" y="8563"/>
                  <a:pt x="15313" y="8594"/>
                  <a:pt x="15313" y="8531"/>
                </a:cubicBezTo>
                <a:cubicBezTo>
                  <a:pt x="15438" y="8438"/>
                  <a:pt x="15531" y="8688"/>
                  <a:pt x="15656" y="8531"/>
                </a:cubicBezTo>
                <a:cubicBezTo>
                  <a:pt x="15469" y="8438"/>
                  <a:pt x="15281" y="8344"/>
                  <a:pt x="15063" y="8313"/>
                </a:cubicBezTo>
                <a:cubicBezTo>
                  <a:pt x="15000" y="8313"/>
                  <a:pt x="14906" y="8313"/>
                  <a:pt x="14906" y="8281"/>
                </a:cubicBezTo>
                <a:cubicBezTo>
                  <a:pt x="14781" y="8156"/>
                  <a:pt x="14688" y="8156"/>
                  <a:pt x="14531" y="8250"/>
                </a:cubicBezTo>
                <a:cubicBezTo>
                  <a:pt x="14563" y="8188"/>
                  <a:pt x="14531" y="8094"/>
                  <a:pt x="14656" y="8094"/>
                </a:cubicBezTo>
                <a:cubicBezTo>
                  <a:pt x="14656" y="8063"/>
                  <a:pt x="14750" y="8031"/>
                  <a:pt x="14625" y="8000"/>
                </a:cubicBezTo>
                <a:cubicBezTo>
                  <a:pt x="14563" y="8000"/>
                  <a:pt x="14500" y="8000"/>
                  <a:pt x="14469" y="7969"/>
                </a:cubicBezTo>
                <a:cubicBezTo>
                  <a:pt x="14406" y="7938"/>
                  <a:pt x="14438" y="8000"/>
                  <a:pt x="14406" y="8000"/>
                </a:cubicBezTo>
                <a:cubicBezTo>
                  <a:pt x="14313" y="8094"/>
                  <a:pt x="14219" y="8031"/>
                  <a:pt x="14125" y="8031"/>
                </a:cubicBezTo>
                <a:cubicBezTo>
                  <a:pt x="14094" y="8000"/>
                  <a:pt x="14156" y="7969"/>
                  <a:pt x="14156" y="7906"/>
                </a:cubicBezTo>
                <a:cubicBezTo>
                  <a:pt x="14094" y="7906"/>
                  <a:pt x="14063" y="7906"/>
                  <a:pt x="14031" y="7906"/>
                </a:cubicBezTo>
                <a:cubicBezTo>
                  <a:pt x="13719" y="7906"/>
                  <a:pt x="13438" y="7781"/>
                  <a:pt x="13125" y="7844"/>
                </a:cubicBezTo>
                <a:cubicBezTo>
                  <a:pt x="13094" y="7844"/>
                  <a:pt x="13094" y="7844"/>
                  <a:pt x="13063" y="7844"/>
                </a:cubicBezTo>
                <a:cubicBezTo>
                  <a:pt x="13000" y="7750"/>
                  <a:pt x="12906" y="7688"/>
                  <a:pt x="12781" y="7750"/>
                </a:cubicBezTo>
                <a:cubicBezTo>
                  <a:pt x="12719" y="7781"/>
                  <a:pt x="12656" y="7750"/>
                  <a:pt x="12563" y="7750"/>
                </a:cubicBezTo>
                <a:cubicBezTo>
                  <a:pt x="12625" y="7813"/>
                  <a:pt x="12688" y="7844"/>
                  <a:pt x="12750" y="7813"/>
                </a:cubicBezTo>
                <a:cubicBezTo>
                  <a:pt x="12844" y="7813"/>
                  <a:pt x="12906" y="7875"/>
                  <a:pt x="12969" y="7906"/>
                </a:cubicBezTo>
                <a:cubicBezTo>
                  <a:pt x="13000" y="7938"/>
                  <a:pt x="13031" y="7969"/>
                  <a:pt x="13063" y="7938"/>
                </a:cubicBezTo>
                <a:cubicBezTo>
                  <a:pt x="13125" y="7906"/>
                  <a:pt x="13219" y="7938"/>
                  <a:pt x="13281" y="7938"/>
                </a:cubicBezTo>
                <a:cubicBezTo>
                  <a:pt x="13438" y="7875"/>
                  <a:pt x="13563" y="8063"/>
                  <a:pt x="13719" y="7938"/>
                </a:cubicBezTo>
                <a:cubicBezTo>
                  <a:pt x="13719" y="7938"/>
                  <a:pt x="13750" y="7938"/>
                  <a:pt x="13750" y="7938"/>
                </a:cubicBezTo>
                <a:cubicBezTo>
                  <a:pt x="13813" y="8063"/>
                  <a:pt x="14000" y="8031"/>
                  <a:pt x="14094" y="8125"/>
                </a:cubicBezTo>
                <a:cubicBezTo>
                  <a:pt x="14125" y="8156"/>
                  <a:pt x="14156" y="8188"/>
                  <a:pt x="14219" y="8188"/>
                </a:cubicBezTo>
                <a:cubicBezTo>
                  <a:pt x="14250" y="8188"/>
                  <a:pt x="14281" y="8156"/>
                  <a:pt x="14281" y="8219"/>
                </a:cubicBezTo>
                <a:cubicBezTo>
                  <a:pt x="14281" y="8250"/>
                  <a:pt x="14250" y="8250"/>
                  <a:pt x="14219" y="8250"/>
                </a:cubicBezTo>
                <a:cubicBezTo>
                  <a:pt x="14156" y="8250"/>
                  <a:pt x="14094" y="8250"/>
                  <a:pt x="14000" y="8250"/>
                </a:cubicBezTo>
                <a:cubicBezTo>
                  <a:pt x="14125" y="8344"/>
                  <a:pt x="14188" y="8406"/>
                  <a:pt x="14313" y="8344"/>
                </a:cubicBezTo>
                <a:cubicBezTo>
                  <a:pt x="14344" y="8313"/>
                  <a:pt x="14406" y="8344"/>
                  <a:pt x="14406" y="8375"/>
                </a:cubicBezTo>
                <a:close/>
                <a:moveTo>
                  <a:pt x="7406" y="1688"/>
                </a:moveTo>
                <a:cubicBezTo>
                  <a:pt x="7438" y="1688"/>
                  <a:pt x="7469" y="1657"/>
                  <a:pt x="7469" y="1625"/>
                </a:cubicBezTo>
                <a:cubicBezTo>
                  <a:pt x="7469" y="1594"/>
                  <a:pt x="7469" y="1563"/>
                  <a:pt x="7406" y="1563"/>
                </a:cubicBezTo>
                <a:cubicBezTo>
                  <a:pt x="7375" y="1563"/>
                  <a:pt x="7344" y="1594"/>
                  <a:pt x="7344" y="1657"/>
                </a:cubicBezTo>
                <a:cubicBezTo>
                  <a:pt x="7344" y="1688"/>
                  <a:pt x="7375" y="1688"/>
                  <a:pt x="7406" y="1688"/>
                </a:cubicBezTo>
                <a:close/>
                <a:moveTo>
                  <a:pt x="6969" y="1907"/>
                </a:moveTo>
                <a:cubicBezTo>
                  <a:pt x="6969" y="2000"/>
                  <a:pt x="7031" y="2000"/>
                  <a:pt x="7094" y="1969"/>
                </a:cubicBezTo>
                <a:cubicBezTo>
                  <a:pt x="7125" y="1969"/>
                  <a:pt x="7188" y="1938"/>
                  <a:pt x="7125" y="1875"/>
                </a:cubicBezTo>
                <a:cubicBezTo>
                  <a:pt x="7063" y="1875"/>
                  <a:pt x="7000" y="1875"/>
                  <a:pt x="6969" y="1907"/>
                </a:cubicBezTo>
                <a:close/>
                <a:moveTo>
                  <a:pt x="16656" y="1782"/>
                </a:moveTo>
                <a:cubicBezTo>
                  <a:pt x="16719" y="1813"/>
                  <a:pt x="16781" y="1875"/>
                  <a:pt x="16813" y="1782"/>
                </a:cubicBezTo>
                <a:cubicBezTo>
                  <a:pt x="16875" y="1688"/>
                  <a:pt x="16781" y="1688"/>
                  <a:pt x="16688" y="1657"/>
                </a:cubicBezTo>
                <a:cubicBezTo>
                  <a:pt x="16781" y="1750"/>
                  <a:pt x="16750" y="1782"/>
                  <a:pt x="16656" y="1782"/>
                </a:cubicBezTo>
                <a:close/>
                <a:moveTo>
                  <a:pt x="17125" y="1875"/>
                </a:moveTo>
                <a:cubicBezTo>
                  <a:pt x="17156" y="1875"/>
                  <a:pt x="17188" y="1875"/>
                  <a:pt x="17156" y="1844"/>
                </a:cubicBezTo>
                <a:cubicBezTo>
                  <a:pt x="17156" y="1782"/>
                  <a:pt x="17156" y="1719"/>
                  <a:pt x="17094" y="1750"/>
                </a:cubicBezTo>
                <a:cubicBezTo>
                  <a:pt x="17063" y="1750"/>
                  <a:pt x="17031" y="1782"/>
                  <a:pt x="17031" y="1813"/>
                </a:cubicBezTo>
                <a:cubicBezTo>
                  <a:pt x="17031" y="1844"/>
                  <a:pt x="17094" y="1875"/>
                  <a:pt x="17125" y="1875"/>
                </a:cubicBezTo>
                <a:close/>
                <a:moveTo>
                  <a:pt x="1563" y="13719"/>
                </a:moveTo>
                <a:cubicBezTo>
                  <a:pt x="1594" y="13719"/>
                  <a:pt x="1594" y="13750"/>
                  <a:pt x="1594" y="13750"/>
                </a:cubicBezTo>
                <a:cubicBezTo>
                  <a:pt x="1688" y="13750"/>
                  <a:pt x="1719" y="13688"/>
                  <a:pt x="1750" y="13625"/>
                </a:cubicBezTo>
                <a:cubicBezTo>
                  <a:pt x="1625" y="13563"/>
                  <a:pt x="1625" y="13688"/>
                  <a:pt x="1563" y="13719"/>
                </a:cubicBezTo>
                <a:close/>
                <a:moveTo>
                  <a:pt x="5781" y="10656"/>
                </a:moveTo>
                <a:cubicBezTo>
                  <a:pt x="5688" y="10625"/>
                  <a:pt x="5594" y="10656"/>
                  <a:pt x="5531" y="10719"/>
                </a:cubicBezTo>
                <a:cubicBezTo>
                  <a:pt x="5625" y="10719"/>
                  <a:pt x="5719" y="10750"/>
                  <a:pt x="5781" y="10656"/>
                </a:cubicBezTo>
                <a:close/>
                <a:moveTo>
                  <a:pt x="6000" y="11313"/>
                </a:moveTo>
                <a:cubicBezTo>
                  <a:pt x="5969" y="11219"/>
                  <a:pt x="5906" y="11219"/>
                  <a:pt x="5844" y="11250"/>
                </a:cubicBezTo>
                <a:cubicBezTo>
                  <a:pt x="5813" y="11281"/>
                  <a:pt x="5813" y="11281"/>
                  <a:pt x="5813" y="11313"/>
                </a:cubicBezTo>
                <a:cubicBezTo>
                  <a:pt x="5875" y="11406"/>
                  <a:pt x="5938" y="11281"/>
                  <a:pt x="6000" y="11313"/>
                </a:cubicBezTo>
                <a:close/>
                <a:moveTo>
                  <a:pt x="13469" y="11781"/>
                </a:moveTo>
                <a:cubicBezTo>
                  <a:pt x="13406" y="11781"/>
                  <a:pt x="13438" y="11844"/>
                  <a:pt x="13438" y="11875"/>
                </a:cubicBezTo>
                <a:cubicBezTo>
                  <a:pt x="13469" y="11906"/>
                  <a:pt x="13406" y="11969"/>
                  <a:pt x="13469" y="12000"/>
                </a:cubicBezTo>
                <a:cubicBezTo>
                  <a:pt x="13531" y="12000"/>
                  <a:pt x="13531" y="11969"/>
                  <a:pt x="13531" y="11906"/>
                </a:cubicBezTo>
                <a:cubicBezTo>
                  <a:pt x="13531" y="11875"/>
                  <a:pt x="13531" y="11813"/>
                  <a:pt x="13469" y="11781"/>
                </a:cubicBezTo>
                <a:close/>
                <a:moveTo>
                  <a:pt x="5844" y="11719"/>
                </a:moveTo>
                <a:cubicBezTo>
                  <a:pt x="5813" y="11781"/>
                  <a:pt x="5750" y="11750"/>
                  <a:pt x="5688" y="11813"/>
                </a:cubicBezTo>
                <a:cubicBezTo>
                  <a:pt x="5750" y="11844"/>
                  <a:pt x="5813" y="11875"/>
                  <a:pt x="5875" y="11875"/>
                </a:cubicBezTo>
                <a:cubicBezTo>
                  <a:pt x="5875" y="11844"/>
                  <a:pt x="5875" y="11781"/>
                  <a:pt x="5844" y="11719"/>
                </a:cubicBezTo>
                <a:close/>
                <a:moveTo>
                  <a:pt x="5875" y="11875"/>
                </a:move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9"/>
                </a:lnTo>
                <a:lnTo>
                  <a:pt x="5875" y="11879"/>
                </a:lnTo>
                <a:lnTo>
                  <a:pt x="5875" y="11879"/>
                </a:lnTo>
                <a:lnTo>
                  <a:pt x="5875" y="11879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1"/>
                </a:lnTo>
                <a:lnTo>
                  <a:pt x="5875" y="11881"/>
                </a:lnTo>
                <a:lnTo>
                  <a:pt x="5875" y="11881"/>
                </a:lnTo>
                <a:lnTo>
                  <a:pt x="5875" y="11881"/>
                </a:lnTo>
                <a:lnTo>
                  <a:pt x="5875" y="11882"/>
                </a:lnTo>
                <a:lnTo>
                  <a:pt x="5875" y="11882"/>
                </a:lnTo>
                <a:lnTo>
                  <a:pt x="5875" y="11882"/>
                </a:lnTo>
                <a:lnTo>
                  <a:pt x="5875" y="11882"/>
                </a:lnTo>
                <a:lnTo>
                  <a:pt x="5875" y="11883"/>
                </a:lnTo>
                <a:lnTo>
                  <a:pt x="5875" y="11883"/>
                </a:lnTo>
                <a:lnTo>
                  <a:pt x="5875" y="11883"/>
                </a:lnTo>
                <a:lnTo>
                  <a:pt x="5875" y="11884"/>
                </a:lnTo>
                <a:lnTo>
                  <a:pt x="5875" y="11884"/>
                </a:lnTo>
                <a:lnTo>
                  <a:pt x="5875" y="11884"/>
                </a:lnTo>
                <a:lnTo>
                  <a:pt x="5875" y="11885"/>
                </a:lnTo>
                <a:lnTo>
                  <a:pt x="5875" y="11885"/>
                </a:lnTo>
                <a:lnTo>
                  <a:pt x="5875" y="11885"/>
                </a:lnTo>
                <a:lnTo>
                  <a:pt x="5875" y="11886"/>
                </a:lnTo>
                <a:lnTo>
                  <a:pt x="5875" y="11886"/>
                </a:lnTo>
                <a:lnTo>
                  <a:pt x="5875" y="11887"/>
                </a:lnTo>
                <a:lnTo>
                  <a:pt x="5875" y="11887"/>
                </a:lnTo>
                <a:lnTo>
                  <a:pt x="5875" y="11887"/>
                </a:lnTo>
                <a:lnTo>
                  <a:pt x="5875" y="11888"/>
                </a:lnTo>
                <a:lnTo>
                  <a:pt x="5875" y="11888"/>
                </a:lnTo>
                <a:lnTo>
                  <a:pt x="5875" y="11888"/>
                </a:lnTo>
                <a:lnTo>
                  <a:pt x="5875" y="11889"/>
                </a:lnTo>
                <a:lnTo>
                  <a:pt x="5875" y="11889"/>
                </a:lnTo>
                <a:lnTo>
                  <a:pt x="5875" y="11889"/>
                </a:lnTo>
                <a:lnTo>
                  <a:pt x="5875" y="11890"/>
                </a:lnTo>
                <a:lnTo>
                  <a:pt x="5875" y="11890"/>
                </a:lnTo>
                <a:lnTo>
                  <a:pt x="5875" y="11891"/>
                </a:lnTo>
                <a:lnTo>
                  <a:pt x="5875" y="11891"/>
                </a:lnTo>
                <a:lnTo>
                  <a:pt x="5875" y="11892"/>
                </a:lnTo>
                <a:lnTo>
                  <a:pt x="5875" y="11892"/>
                </a:lnTo>
                <a:lnTo>
                  <a:pt x="5875" y="11892"/>
                </a:lnTo>
                <a:lnTo>
                  <a:pt x="5875" y="11893"/>
                </a:lnTo>
                <a:lnTo>
                  <a:pt x="5875" y="11893"/>
                </a:lnTo>
                <a:lnTo>
                  <a:pt x="5875" y="11894"/>
                </a:lnTo>
                <a:lnTo>
                  <a:pt x="5875" y="11894"/>
                </a:lnTo>
                <a:lnTo>
                  <a:pt x="5875" y="11894"/>
                </a:lnTo>
                <a:lnTo>
                  <a:pt x="5875" y="11895"/>
                </a:lnTo>
                <a:lnTo>
                  <a:pt x="5875" y="11895"/>
                </a:lnTo>
                <a:lnTo>
                  <a:pt x="5875" y="11896"/>
                </a:lnTo>
                <a:lnTo>
                  <a:pt x="5875" y="11896"/>
                </a:lnTo>
                <a:lnTo>
                  <a:pt x="5875" y="11897"/>
                </a:lnTo>
                <a:lnTo>
                  <a:pt x="5875" y="11897"/>
                </a:lnTo>
                <a:lnTo>
                  <a:pt x="5875" y="11897"/>
                </a:lnTo>
                <a:lnTo>
                  <a:pt x="5875" y="11898"/>
                </a:lnTo>
                <a:lnTo>
                  <a:pt x="5875" y="11898"/>
                </a:lnTo>
                <a:lnTo>
                  <a:pt x="5875" y="11899"/>
                </a:lnTo>
                <a:lnTo>
                  <a:pt x="5875" y="11899"/>
                </a:lnTo>
                <a:lnTo>
                  <a:pt x="5875" y="11900"/>
                </a:lnTo>
                <a:lnTo>
                  <a:pt x="5875" y="11900"/>
                </a:lnTo>
                <a:lnTo>
                  <a:pt x="5875" y="11900"/>
                </a:lnTo>
                <a:lnTo>
                  <a:pt x="5875" y="11901"/>
                </a:lnTo>
                <a:lnTo>
                  <a:pt x="5875" y="11901"/>
                </a:lnTo>
                <a:lnTo>
                  <a:pt x="5875" y="11902"/>
                </a:lnTo>
                <a:lnTo>
                  <a:pt x="5875" y="11902"/>
                </a:lnTo>
                <a:lnTo>
                  <a:pt x="5875" y="11902"/>
                </a:lnTo>
                <a:lnTo>
                  <a:pt x="5875" y="11903"/>
                </a:lnTo>
                <a:lnTo>
                  <a:pt x="5875" y="11903"/>
                </a:lnTo>
                <a:lnTo>
                  <a:pt x="5875" y="11904"/>
                </a:lnTo>
                <a:lnTo>
                  <a:pt x="5875" y="11904"/>
                </a:lnTo>
                <a:lnTo>
                  <a:pt x="5875" y="11904"/>
                </a:lnTo>
                <a:lnTo>
                  <a:pt x="5875" y="11904"/>
                </a:lnTo>
                <a:lnTo>
                  <a:pt x="5875" y="11905"/>
                </a:lnTo>
                <a:lnTo>
                  <a:pt x="5875" y="11905"/>
                </a:lnTo>
                <a:lnTo>
                  <a:pt x="5875" y="11905"/>
                </a:lnTo>
                <a:lnTo>
                  <a:pt x="5875" y="11905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875"/>
                </a:lnTo>
                <a:close/>
                <a:moveTo>
                  <a:pt x="5875" y="11906"/>
                </a:moveTo>
                <a:cubicBezTo>
                  <a:pt x="5875" y="11938"/>
                  <a:pt x="5813" y="11938"/>
                  <a:pt x="5844" y="12000"/>
                </a:cubicBezTo>
                <a:cubicBezTo>
                  <a:pt x="5906" y="12000"/>
                  <a:pt x="5969" y="12000"/>
                  <a:pt x="6031" y="12000"/>
                </a:cubicBezTo>
                <a:cubicBezTo>
                  <a:pt x="6125" y="12000"/>
                  <a:pt x="6156" y="11938"/>
                  <a:pt x="6156" y="11906"/>
                </a:cubicBezTo>
                <a:cubicBezTo>
                  <a:pt x="6156" y="11844"/>
                  <a:pt x="6094" y="11844"/>
                  <a:pt x="6031" y="11844"/>
                </a:cubicBezTo>
                <a:lnTo>
                  <a:pt x="6031" y="11844"/>
                </a:lnTo>
                <a:cubicBezTo>
                  <a:pt x="5969" y="11844"/>
                  <a:pt x="5938" y="11906"/>
                  <a:pt x="5875" y="11906"/>
                </a:cubicBezTo>
                <a:close/>
                <a:moveTo>
                  <a:pt x="7469" y="9906"/>
                </a:moveTo>
                <a:cubicBezTo>
                  <a:pt x="7469" y="9969"/>
                  <a:pt x="7531" y="9969"/>
                  <a:pt x="7563" y="9969"/>
                </a:cubicBezTo>
                <a:cubicBezTo>
                  <a:pt x="7594" y="9969"/>
                  <a:pt x="7688" y="10000"/>
                  <a:pt x="7688" y="9906"/>
                </a:cubicBezTo>
                <a:cubicBezTo>
                  <a:pt x="7656" y="9875"/>
                  <a:pt x="7625" y="9875"/>
                  <a:pt x="7563" y="9875"/>
                </a:cubicBezTo>
                <a:cubicBezTo>
                  <a:pt x="7531" y="9906"/>
                  <a:pt x="7469" y="9844"/>
                  <a:pt x="7469" y="9906"/>
                </a:cubicBezTo>
                <a:close/>
                <a:moveTo>
                  <a:pt x="7844" y="9781"/>
                </a:moveTo>
                <a:cubicBezTo>
                  <a:pt x="7750" y="9719"/>
                  <a:pt x="7625" y="9781"/>
                  <a:pt x="7500" y="9750"/>
                </a:cubicBezTo>
                <a:cubicBezTo>
                  <a:pt x="7500" y="9750"/>
                  <a:pt x="7469" y="9781"/>
                  <a:pt x="7469" y="9813"/>
                </a:cubicBezTo>
                <a:cubicBezTo>
                  <a:pt x="7500" y="9813"/>
                  <a:pt x="7531" y="9813"/>
                  <a:pt x="7531" y="9813"/>
                </a:cubicBezTo>
                <a:cubicBezTo>
                  <a:pt x="7625" y="9750"/>
                  <a:pt x="7688" y="9750"/>
                  <a:pt x="7750" y="9813"/>
                </a:cubicBezTo>
                <a:cubicBezTo>
                  <a:pt x="7781" y="9813"/>
                  <a:pt x="7844" y="9844"/>
                  <a:pt x="7844" y="9781"/>
                </a:cubicBezTo>
                <a:close/>
                <a:moveTo>
                  <a:pt x="21156" y="14906"/>
                </a:moveTo>
                <a:cubicBezTo>
                  <a:pt x="21250" y="15000"/>
                  <a:pt x="21344" y="14969"/>
                  <a:pt x="21438" y="14969"/>
                </a:cubicBezTo>
                <a:cubicBezTo>
                  <a:pt x="21344" y="14906"/>
                  <a:pt x="21281" y="14875"/>
                  <a:pt x="21156" y="14906"/>
                </a:cubicBezTo>
                <a:close/>
                <a:moveTo>
                  <a:pt x="3344" y="12906"/>
                </a:moveTo>
                <a:cubicBezTo>
                  <a:pt x="3250" y="12938"/>
                  <a:pt x="3219" y="12969"/>
                  <a:pt x="3250" y="13063"/>
                </a:cubicBezTo>
                <a:cubicBezTo>
                  <a:pt x="3313" y="13063"/>
                  <a:pt x="3313" y="12969"/>
                  <a:pt x="3375" y="13000"/>
                </a:cubicBezTo>
                <a:cubicBezTo>
                  <a:pt x="3406" y="13000"/>
                  <a:pt x="3438" y="13000"/>
                  <a:pt x="3438" y="12969"/>
                </a:cubicBezTo>
                <a:cubicBezTo>
                  <a:pt x="3406" y="12906"/>
                  <a:pt x="3375" y="12906"/>
                  <a:pt x="3344" y="12906"/>
                </a:cubicBezTo>
                <a:close/>
                <a:moveTo>
                  <a:pt x="8531" y="10813"/>
                </a:moveTo>
                <a:cubicBezTo>
                  <a:pt x="8500" y="10938"/>
                  <a:pt x="8375" y="10875"/>
                  <a:pt x="8344" y="10969"/>
                </a:cubicBezTo>
                <a:cubicBezTo>
                  <a:pt x="8531" y="11000"/>
                  <a:pt x="8563" y="10969"/>
                  <a:pt x="8531" y="10813"/>
                </a:cubicBezTo>
                <a:close/>
                <a:moveTo>
                  <a:pt x="23000" y="2688"/>
                </a:moveTo>
                <a:cubicBezTo>
                  <a:pt x="22938" y="2594"/>
                  <a:pt x="22875" y="2532"/>
                  <a:pt x="22750" y="2563"/>
                </a:cubicBezTo>
                <a:cubicBezTo>
                  <a:pt x="22813" y="2657"/>
                  <a:pt x="22906" y="2688"/>
                  <a:pt x="23000" y="2688"/>
                </a:cubicBezTo>
                <a:close/>
                <a:moveTo>
                  <a:pt x="21719" y="15094"/>
                </a:moveTo>
                <a:cubicBezTo>
                  <a:pt x="21781" y="15094"/>
                  <a:pt x="21875" y="15188"/>
                  <a:pt x="21938" y="15063"/>
                </a:cubicBezTo>
                <a:cubicBezTo>
                  <a:pt x="21844" y="15063"/>
                  <a:pt x="21781" y="15063"/>
                  <a:pt x="21688" y="15000"/>
                </a:cubicBezTo>
                <a:cubicBezTo>
                  <a:pt x="21688" y="15031"/>
                  <a:pt x="21656" y="15094"/>
                  <a:pt x="21719" y="15094"/>
                </a:cubicBezTo>
                <a:close/>
                <a:moveTo>
                  <a:pt x="18375" y="2188"/>
                </a:moveTo>
                <a:cubicBezTo>
                  <a:pt x="18406" y="2188"/>
                  <a:pt x="18406" y="2157"/>
                  <a:pt x="18406" y="2125"/>
                </a:cubicBezTo>
                <a:cubicBezTo>
                  <a:pt x="18344" y="2094"/>
                  <a:pt x="18313" y="2063"/>
                  <a:pt x="18250" y="2063"/>
                </a:cubicBezTo>
                <a:cubicBezTo>
                  <a:pt x="18219" y="2032"/>
                  <a:pt x="18188" y="2063"/>
                  <a:pt x="18188" y="2125"/>
                </a:cubicBezTo>
                <a:cubicBezTo>
                  <a:pt x="18219" y="2188"/>
                  <a:pt x="18313" y="2125"/>
                  <a:pt x="18375" y="2188"/>
                </a:cubicBezTo>
                <a:close/>
                <a:moveTo>
                  <a:pt x="12969" y="11031"/>
                </a:moveTo>
                <a:cubicBezTo>
                  <a:pt x="13063" y="11031"/>
                  <a:pt x="13156" y="11031"/>
                  <a:pt x="13219" y="10938"/>
                </a:cubicBezTo>
                <a:cubicBezTo>
                  <a:pt x="13125" y="10938"/>
                  <a:pt x="13063" y="10938"/>
                  <a:pt x="12969" y="10938"/>
                </a:cubicBezTo>
                <a:cubicBezTo>
                  <a:pt x="12938" y="10938"/>
                  <a:pt x="12906" y="10906"/>
                  <a:pt x="12906" y="10938"/>
                </a:cubicBezTo>
                <a:cubicBezTo>
                  <a:pt x="12875" y="11000"/>
                  <a:pt x="12938" y="11031"/>
                  <a:pt x="12969" y="11031"/>
                </a:cubicBezTo>
                <a:close/>
                <a:moveTo>
                  <a:pt x="6719" y="10125"/>
                </a:moveTo>
                <a:cubicBezTo>
                  <a:pt x="6625" y="10125"/>
                  <a:pt x="6563" y="10125"/>
                  <a:pt x="6469" y="10188"/>
                </a:cubicBezTo>
                <a:cubicBezTo>
                  <a:pt x="6625" y="10219"/>
                  <a:pt x="6625" y="10219"/>
                  <a:pt x="6719" y="10125"/>
                </a:cubicBezTo>
                <a:close/>
                <a:moveTo>
                  <a:pt x="2000" y="13688"/>
                </a:moveTo>
                <a:cubicBezTo>
                  <a:pt x="1906" y="13719"/>
                  <a:pt x="1844" y="13750"/>
                  <a:pt x="1781" y="13781"/>
                </a:cubicBezTo>
                <a:cubicBezTo>
                  <a:pt x="1750" y="13813"/>
                  <a:pt x="1781" y="13844"/>
                  <a:pt x="1781" y="13844"/>
                </a:cubicBezTo>
                <a:cubicBezTo>
                  <a:pt x="1844" y="13844"/>
                  <a:pt x="2000" y="13750"/>
                  <a:pt x="2031" y="13719"/>
                </a:cubicBezTo>
                <a:cubicBezTo>
                  <a:pt x="2000" y="13719"/>
                  <a:pt x="2000" y="13688"/>
                  <a:pt x="2000" y="13688"/>
                </a:cubicBezTo>
                <a:close/>
                <a:moveTo>
                  <a:pt x="8125" y="11531"/>
                </a:moveTo>
                <a:cubicBezTo>
                  <a:pt x="8063" y="11531"/>
                  <a:pt x="8094" y="11625"/>
                  <a:pt x="8063" y="11656"/>
                </a:cubicBezTo>
                <a:cubicBezTo>
                  <a:pt x="8031" y="11656"/>
                  <a:pt x="8063" y="11688"/>
                  <a:pt x="8094" y="11688"/>
                </a:cubicBezTo>
                <a:cubicBezTo>
                  <a:pt x="8125" y="11656"/>
                  <a:pt x="8219" y="11688"/>
                  <a:pt x="8219" y="11625"/>
                </a:cubicBezTo>
                <a:cubicBezTo>
                  <a:pt x="8219" y="11594"/>
                  <a:pt x="8156" y="11563"/>
                  <a:pt x="8125" y="11531"/>
                </a:cubicBezTo>
                <a:close/>
                <a:moveTo>
                  <a:pt x="22406" y="15031"/>
                </a:moveTo>
                <a:cubicBezTo>
                  <a:pt x="22375" y="15031"/>
                  <a:pt x="22344" y="15063"/>
                  <a:pt x="22344" y="15094"/>
                </a:cubicBezTo>
                <a:cubicBezTo>
                  <a:pt x="22344" y="15188"/>
                  <a:pt x="22406" y="15125"/>
                  <a:pt x="22469" y="15156"/>
                </a:cubicBezTo>
                <a:cubicBezTo>
                  <a:pt x="22500" y="15125"/>
                  <a:pt x="22563" y="15188"/>
                  <a:pt x="22563" y="15125"/>
                </a:cubicBezTo>
                <a:cubicBezTo>
                  <a:pt x="22563" y="15031"/>
                  <a:pt x="22469" y="15031"/>
                  <a:pt x="22406" y="15031"/>
                </a:cubicBezTo>
                <a:close/>
                <a:moveTo>
                  <a:pt x="22094" y="14656"/>
                </a:moveTo>
                <a:cubicBezTo>
                  <a:pt x="22125" y="14656"/>
                  <a:pt x="22188" y="14656"/>
                  <a:pt x="22188" y="14594"/>
                </a:cubicBezTo>
                <a:cubicBezTo>
                  <a:pt x="22188" y="14531"/>
                  <a:pt x="22125" y="14563"/>
                  <a:pt x="22094" y="14563"/>
                </a:cubicBezTo>
                <a:cubicBezTo>
                  <a:pt x="22063" y="14563"/>
                  <a:pt x="22000" y="14531"/>
                  <a:pt x="22000" y="14594"/>
                </a:cubicBezTo>
                <a:cubicBezTo>
                  <a:pt x="22000" y="14656"/>
                  <a:pt x="22031" y="14688"/>
                  <a:pt x="22094" y="14656"/>
                </a:cubicBezTo>
                <a:close/>
                <a:moveTo>
                  <a:pt x="7813" y="10344"/>
                </a:moveTo>
                <a:cubicBezTo>
                  <a:pt x="7750" y="10375"/>
                  <a:pt x="7688" y="10313"/>
                  <a:pt x="7625" y="10375"/>
                </a:cubicBezTo>
                <a:cubicBezTo>
                  <a:pt x="7656" y="10438"/>
                  <a:pt x="7750" y="10438"/>
                  <a:pt x="7813" y="10438"/>
                </a:cubicBezTo>
                <a:cubicBezTo>
                  <a:pt x="7844" y="10438"/>
                  <a:pt x="7875" y="10438"/>
                  <a:pt x="7875" y="10375"/>
                </a:cubicBezTo>
                <a:cubicBezTo>
                  <a:pt x="7875" y="10344"/>
                  <a:pt x="7844" y="10344"/>
                  <a:pt x="7813" y="10344"/>
                </a:cubicBezTo>
                <a:close/>
                <a:moveTo>
                  <a:pt x="25438" y="2813"/>
                </a:moveTo>
                <a:cubicBezTo>
                  <a:pt x="25375" y="2813"/>
                  <a:pt x="25313" y="2750"/>
                  <a:pt x="25250" y="2844"/>
                </a:cubicBezTo>
                <a:cubicBezTo>
                  <a:pt x="25250" y="2844"/>
                  <a:pt x="25250" y="2906"/>
                  <a:pt x="25250" y="2906"/>
                </a:cubicBezTo>
                <a:cubicBezTo>
                  <a:pt x="25344" y="2938"/>
                  <a:pt x="25406" y="2906"/>
                  <a:pt x="25438" y="2813"/>
                </a:cubicBezTo>
                <a:close/>
                <a:moveTo>
                  <a:pt x="12219" y="11594"/>
                </a:moveTo>
                <a:cubicBezTo>
                  <a:pt x="12344" y="11656"/>
                  <a:pt x="12438" y="11688"/>
                  <a:pt x="12594" y="11625"/>
                </a:cubicBezTo>
                <a:cubicBezTo>
                  <a:pt x="12469" y="11594"/>
                  <a:pt x="12375" y="11563"/>
                  <a:pt x="12219" y="11594"/>
                </a:cubicBezTo>
                <a:close/>
                <a:moveTo>
                  <a:pt x="23750" y="3000"/>
                </a:moveTo>
                <a:cubicBezTo>
                  <a:pt x="23781" y="3000"/>
                  <a:pt x="23813" y="2969"/>
                  <a:pt x="23813" y="2938"/>
                </a:cubicBezTo>
                <a:cubicBezTo>
                  <a:pt x="23813" y="2875"/>
                  <a:pt x="23844" y="2844"/>
                  <a:pt x="23906" y="2813"/>
                </a:cubicBezTo>
                <a:cubicBezTo>
                  <a:pt x="23844" y="2782"/>
                  <a:pt x="23813" y="2719"/>
                  <a:pt x="23719" y="2750"/>
                </a:cubicBezTo>
                <a:cubicBezTo>
                  <a:pt x="23781" y="2782"/>
                  <a:pt x="23813" y="2844"/>
                  <a:pt x="23750" y="2906"/>
                </a:cubicBezTo>
                <a:cubicBezTo>
                  <a:pt x="23719" y="2938"/>
                  <a:pt x="23688" y="2969"/>
                  <a:pt x="23750" y="3000"/>
                </a:cubicBezTo>
                <a:close/>
                <a:moveTo>
                  <a:pt x="11500" y="11531"/>
                </a:moveTo>
                <a:cubicBezTo>
                  <a:pt x="11469" y="11531"/>
                  <a:pt x="11438" y="11563"/>
                  <a:pt x="11438" y="11563"/>
                </a:cubicBezTo>
                <a:cubicBezTo>
                  <a:pt x="11438" y="11625"/>
                  <a:pt x="11469" y="11625"/>
                  <a:pt x="11500" y="11625"/>
                </a:cubicBezTo>
                <a:cubicBezTo>
                  <a:pt x="11594" y="11625"/>
                  <a:pt x="11656" y="11625"/>
                  <a:pt x="11750" y="11594"/>
                </a:cubicBezTo>
                <a:cubicBezTo>
                  <a:pt x="11656" y="11563"/>
                  <a:pt x="11594" y="11531"/>
                  <a:pt x="11500" y="11531"/>
                </a:cubicBezTo>
                <a:close/>
                <a:moveTo>
                  <a:pt x="6156" y="9813"/>
                </a:moveTo>
                <a:cubicBezTo>
                  <a:pt x="6281" y="9813"/>
                  <a:pt x="6375" y="9813"/>
                  <a:pt x="6500" y="9719"/>
                </a:cubicBezTo>
                <a:cubicBezTo>
                  <a:pt x="6313" y="9688"/>
                  <a:pt x="6250" y="9719"/>
                  <a:pt x="6156" y="9813"/>
                </a:cubicBezTo>
                <a:close/>
                <a:moveTo>
                  <a:pt x="6313" y="9563"/>
                </a:moveTo>
                <a:cubicBezTo>
                  <a:pt x="6438" y="9594"/>
                  <a:pt x="6531" y="9594"/>
                  <a:pt x="6656" y="9500"/>
                </a:cubicBezTo>
                <a:cubicBezTo>
                  <a:pt x="6531" y="9469"/>
                  <a:pt x="6438" y="9531"/>
                  <a:pt x="6313" y="9563"/>
                </a:cubicBezTo>
                <a:close/>
                <a:moveTo>
                  <a:pt x="5031" y="12219"/>
                </a:moveTo>
                <a:cubicBezTo>
                  <a:pt x="5000" y="12250"/>
                  <a:pt x="4938" y="12250"/>
                  <a:pt x="4938" y="12313"/>
                </a:cubicBezTo>
                <a:cubicBezTo>
                  <a:pt x="4969" y="12344"/>
                  <a:pt x="5031" y="12344"/>
                  <a:pt x="5063" y="12313"/>
                </a:cubicBezTo>
                <a:cubicBezTo>
                  <a:pt x="5125" y="12281"/>
                  <a:pt x="5188" y="12250"/>
                  <a:pt x="5156" y="12188"/>
                </a:cubicBezTo>
                <a:cubicBezTo>
                  <a:pt x="5125" y="12125"/>
                  <a:pt x="5063" y="12219"/>
                  <a:pt x="5031" y="12219"/>
                </a:cubicBezTo>
                <a:close/>
                <a:moveTo>
                  <a:pt x="6219" y="11625"/>
                </a:moveTo>
                <a:cubicBezTo>
                  <a:pt x="6125" y="11656"/>
                  <a:pt x="6031" y="11688"/>
                  <a:pt x="5969" y="11750"/>
                </a:cubicBezTo>
                <a:cubicBezTo>
                  <a:pt x="6125" y="11844"/>
                  <a:pt x="6188" y="11781"/>
                  <a:pt x="6219" y="11625"/>
                </a:cubicBezTo>
                <a:close/>
                <a:moveTo>
                  <a:pt x="23406" y="1875"/>
                </a:moveTo>
                <a:cubicBezTo>
                  <a:pt x="23281" y="1875"/>
                  <a:pt x="23188" y="1875"/>
                  <a:pt x="23094" y="1813"/>
                </a:cubicBezTo>
                <a:cubicBezTo>
                  <a:pt x="23094" y="1813"/>
                  <a:pt x="23063" y="1813"/>
                  <a:pt x="23063" y="1844"/>
                </a:cubicBezTo>
                <a:cubicBezTo>
                  <a:pt x="23063" y="1844"/>
                  <a:pt x="23063" y="1875"/>
                  <a:pt x="23063" y="1875"/>
                </a:cubicBezTo>
                <a:cubicBezTo>
                  <a:pt x="23125" y="1969"/>
                  <a:pt x="23313" y="1969"/>
                  <a:pt x="23406" y="1875"/>
                </a:cubicBezTo>
                <a:close/>
                <a:moveTo>
                  <a:pt x="3656" y="2906"/>
                </a:moveTo>
                <a:cubicBezTo>
                  <a:pt x="3500" y="2750"/>
                  <a:pt x="3406" y="2719"/>
                  <a:pt x="3344" y="2875"/>
                </a:cubicBezTo>
                <a:cubicBezTo>
                  <a:pt x="3438" y="2782"/>
                  <a:pt x="3531" y="2938"/>
                  <a:pt x="3656" y="2906"/>
                </a:cubicBezTo>
                <a:close/>
                <a:moveTo>
                  <a:pt x="2875" y="3750"/>
                </a:moveTo>
                <a:cubicBezTo>
                  <a:pt x="2906" y="3750"/>
                  <a:pt x="2938" y="3750"/>
                  <a:pt x="2938" y="3719"/>
                </a:cubicBezTo>
                <a:cubicBezTo>
                  <a:pt x="2906" y="3688"/>
                  <a:pt x="2969" y="3656"/>
                  <a:pt x="2938" y="3625"/>
                </a:cubicBezTo>
                <a:cubicBezTo>
                  <a:pt x="2938" y="3563"/>
                  <a:pt x="2906" y="3531"/>
                  <a:pt x="2875" y="3500"/>
                </a:cubicBezTo>
                <a:cubicBezTo>
                  <a:pt x="2844" y="3500"/>
                  <a:pt x="2813" y="3500"/>
                  <a:pt x="2813" y="3531"/>
                </a:cubicBezTo>
                <a:cubicBezTo>
                  <a:pt x="2875" y="3594"/>
                  <a:pt x="2813" y="3656"/>
                  <a:pt x="2813" y="3719"/>
                </a:cubicBezTo>
                <a:cubicBezTo>
                  <a:pt x="2813" y="3750"/>
                  <a:pt x="2844" y="3750"/>
                  <a:pt x="2875" y="3750"/>
                </a:cubicBezTo>
                <a:close/>
                <a:moveTo>
                  <a:pt x="8188" y="10500"/>
                </a:moveTo>
                <a:cubicBezTo>
                  <a:pt x="8188" y="10469"/>
                  <a:pt x="8156" y="10469"/>
                  <a:pt x="8125" y="10469"/>
                </a:cubicBezTo>
                <a:cubicBezTo>
                  <a:pt x="8063" y="10500"/>
                  <a:pt x="8031" y="10563"/>
                  <a:pt x="7969" y="10563"/>
                </a:cubicBezTo>
                <a:cubicBezTo>
                  <a:pt x="7938" y="10531"/>
                  <a:pt x="7906" y="10500"/>
                  <a:pt x="7906" y="10563"/>
                </a:cubicBezTo>
                <a:cubicBezTo>
                  <a:pt x="7906" y="10594"/>
                  <a:pt x="7906" y="10625"/>
                  <a:pt x="7969" y="10656"/>
                </a:cubicBezTo>
                <a:cubicBezTo>
                  <a:pt x="8063" y="10656"/>
                  <a:pt x="8094" y="10594"/>
                  <a:pt x="8156" y="10563"/>
                </a:cubicBezTo>
                <a:cubicBezTo>
                  <a:pt x="8188" y="10531"/>
                  <a:pt x="8219" y="10531"/>
                  <a:pt x="8188" y="10500"/>
                </a:cubicBezTo>
                <a:close/>
                <a:moveTo>
                  <a:pt x="6094" y="10125"/>
                </a:moveTo>
                <a:cubicBezTo>
                  <a:pt x="6125" y="10125"/>
                  <a:pt x="6125" y="10063"/>
                  <a:pt x="6125" y="10031"/>
                </a:cubicBezTo>
                <a:cubicBezTo>
                  <a:pt x="6125" y="10000"/>
                  <a:pt x="6125" y="10000"/>
                  <a:pt x="6094" y="10000"/>
                </a:cubicBezTo>
                <a:cubicBezTo>
                  <a:pt x="6031" y="10000"/>
                  <a:pt x="5969" y="10063"/>
                  <a:pt x="5938" y="10125"/>
                </a:cubicBezTo>
                <a:cubicBezTo>
                  <a:pt x="5906" y="10188"/>
                  <a:pt x="5938" y="10219"/>
                  <a:pt x="6000" y="10281"/>
                </a:cubicBezTo>
                <a:cubicBezTo>
                  <a:pt x="6000" y="10188"/>
                  <a:pt x="6031" y="10125"/>
                  <a:pt x="6094" y="10125"/>
                </a:cubicBezTo>
                <a:close/>
                <a:moveTo>
                  <a:pt x="6406" y="10500"/>
                </a:moveTo>
                <a:cubicBezTo>
                  <a:pt x="6375" y="10500"/>
                  <a:pt x="6344" y="10500"/>
                  <a:pt x="6313" y="10500"/>
                </a:cubicBezTo>
                <a:cubicBezTo>
                  <a:pt x="6313" y="10563"/>
                  <a:pt x="6344" y="10625"/>
                  <a:pt x="6313" y="10656"/>
                </a:cubicBezTo>
                <a:cubicBezTo>
                  <a:pt x="6344" y="10656"/>
                  <a:pt x="6375" y="10656"/>
                  <a:pt x="6375" y="10656"/>
                </a:cubicBezTo>
                <a:cubicBezTo>
                  <a:pt x="6375" y="10688"/>
                  <a:pt x="6375" y="10688"/>
                  <a:pt x="6375" y="10688"/>
                </a:cubicBezTo>
                <a:cubicBezTo>
                  <a:pt x="6406" y="10688"/>
                  <a:pt x="6406" y="10688"/>
                  <a:pt x="6406" y="10688"/>
                </a:cubicBezTo>
                <a:cubicBezTo>
                  <a:pt x="6438" y="10719"/>
                  <a:pt x="6438" y="10750"/>
                  <a:pt x="6469" y="10750"/>
                </a:cubicBezTo>
                <a:cubicBezTo>
                  <a:pt x="6531" y="10719"/>
                  <a:pt x="6563" y="10719"/>
                  <a:pt x="6625" y="10688"/>
                </a:cubicBezTo>
                <a:cubicBezTo>
                  <a:pt x="6625" y="10688"/>
                  <a:pt x="6625" y="10688"/>
                  <a:pt x="6625" y="10688"/>
                </a:cubicBezTo>
                <a:cubicBezTo>
                  <a:pt x="6656" y="10625"/>
                  <a:pt x="6594" y="10625"/>
                  <a:pt x="6563" y="10656"/>
                </a:cubicBezTo>
                <a:lnTo>
                  <a:pt x="6563" y="10656"/>
                </a:lnTo>
                <a:cubicBezTo>
                  <a:pt x="6531" y="10656"/>
                  <a:pt x="6469" y="10688"/>
                  <a:pt x="6406" y="10688"/>
                </a:cubicBezTo>
                <a:cubicBezTo>
                  <a:pt x="6406" y="10688"/>
                  <a:pt x="6406" y="10656"/>
                  <a:pt x="6375" y="10656"/>
                </a:cubicBezTo>
                <a:cubicBezTo>
                  <a:pt x="6406" y="10625"/>
                  <a:pt x="6406" y="10594"/>
                  <a:pt x="6406" y="10563"/>
                </a:cubicBezTo>
                <a:cubicBezTo>
                  <a:pt x="6438" y="10531"/>
                  <a:pt x="6438" y="10500"/>
                  <a:pt x="6406" y="10500"/>
                </a:cubicBezTo>
                <a:close/>
                <a:moveTo>
                  <a:pt x="31281" y="15531"/>
                </a:moveTo>
                <a:cubicBezTo>
                  <a:pt x="31313" y="15531"/>
                  <a:pt x="31375" y="15594"/>
                  <a:pt x="31375" y="15500"/>
                </a:cubicBezTo>
                <a:cubicBezTo>
                  <a:pt x="31375" y="15438"/>
                  <a:pt x="31438" y="15438"/>
                  <a:pt x="31500" y="15438"/>
                </a:cubicBezTo>
                <a:cubicBezTo>
                  <a:pt x="31563" y="15406"/>
                  <a:pt x="31594" y="15406"/>
                  <a:pt x="31625" y="15313"/>
                </a:cubicBezTo>
                <a:cubicBezTo>
                  <a:pt x="31500" y="15344"/>
                  <a:pt x="31406" y="15375"/>
                  <a:pt x="31313" y="15438"/>
                </a:cubicBezTo>
                <a:cubicBezTo>
                  <a:pt x="31281" y="15438"/>
                  <a:pt x="31250" y="15500"/>
                  <a:pt x="31281" y="15531"/>
                </a:cubicBezTo>
                <a:close/>
                <a:moveTo>
                  <a:pt x="1313" y="10281"/>
                </a:moveTo>
                <a:cubicBezTo>
                  <a:pt x="1344" y="10281"/>
                  <a:pt x="1344" y="10250"/>
                  <a:pt x="1344" y="10219"/>
                </a:cubicBezTo>
                <a:cubicBezTo>
                  <a:pt x="1313" y="10188"/>
                  <a:pt x="1344" y="10125"/>
                  <a:pt x="1281" y="10156"/>
                </a:cubicBezTo>
                <a:cubicBezTo>
                  <a:pt x="1219" y="10156"/>
                  <a:pt x="1156" y="10188"/>
                  <a:pt x="1156" y="10250"/>
                </a:cubicBezTo>
                <a:cubicBezTo>
                  <a:pt x="1188" y="10313"/>
                  <a:pt x="1188" y="10344"/>
                  <a:pt x="1156" y="10375"/>
                </a:cubicBezTo>
                <a:cubicBezTo>
                  <a:pt x="1156" y="10406"/>
                  <a:pt x="1156" y="10469"/>
                  <a:pt x="1188" y="10469"/>
                </a:cubicBezTo>
                <a:cubicBezTo>
                  <a:pt x="1219" y="10469"/>
                  <a:pt x="1250" y="10438"/>
                  <a:pt x="1250" y="10406"/>
                </a:cubicBezTo>
                <a:cubicBezTo>
                  <a:pt x="1250" y="10344"/>
                  <a:pt x="1219" y="10281"/>
                  <a:pt x="1313" y="10281"/>
                </a:cubicBezTo>
                <a:close/>
                <a:moveTo>
                  <a:pt x="17438" y="13156"/>
                </a:moveTo>
                <a:cubicBezTo>
                  <a:pt x="17531" y="13125"/>
                  <a:pt x="17656" y="13156"/>
                  <a:pt x="17781" y="13063"/>
                </a:cubicBezTo>
                <a:cubicBezTo>
                  <a:pt x="17656" y="13063"/>
                  <a:pt x="17531" y="13063"/>
                  <a:pt x="17438" y="13031"/>
                </a:cubicBezTo>
                <a:cubicBezTo>
                  <a:pt x="17406" y="13031"/>
                  <a:pt x="17375" y="13063"/>
                  <a:pt x="17344" y="13094"/>
                </a:cubicBezTo>
                <a:cubicBezTo>
                  <a:pt x="17375" y="13094"/>
                  <a:pt x="17375" y="13156"/>
                  <a:pt x="17438" y="13156"/>
                </a:cubicBezTo>
                <a:close/>
                <a:moveTo>
                  <a:pt x="8750" y="10875"/>
                </a:moveTo>
                <a:cubicBezTo>
                  <a:pt x="8719" y="10906"/>
                  <a:pt x="8719" y="10906"/>
                  <a:pt x="8719" y="10938"/>
                </a:cubicBezTo>
                <a:cubicBezTo>
                  <a:pt x="8719" y="10969"/>
                  <a:pt x="8750" y="10969"/>
                  <a:pt x="8750" y="10969"/>
                </a:cubicBezTo>
                <a:cubicBezTo>
                  <a:pt x="8875" y="10938"/>
                  <a:pt x="9000" y="10938"/>
                  <a:pt x="9156" y="10938"/>
                </a:cubicBezTo>
                <a:cubicBezTo>
                  <a:pt x="9000" y="10781"/>
                  <a:pt x="8875" y="10781"/>
                  <a:pt x="8750" y="10875"/>
                </a:cubicBezTo>
                <a:close/>
                <a:moveTo>
                  <a:pt x="7188" y="10250"/>
                </a:moveTo>
                <a:cubicBezTo>
                  <a:pt x="7344" y="10188"/>
                  <a:pt x="7531" y="10219"/>
                  <a:pt x="7656" y="10063"/>
                </a:cubicBezTo>
                <a:cubicBezTo>
                  <a:pt x="7406" y="10094"/>
                  <a:pt x="7219" y="10156"/>
                  <a:pt x="7188" y="10250"/>
                </a:cubicBezTo>
                <a:close/>
                <a:moveTo>
                  <a:pt x="9781" y="10125"/>
                </a:moveTo>
                <a:cubicBezTo>
                  <a:pt x="9563" y="10125"/>
                  <a:pt x="9313" y="10125"/>
                  <a:pt x="9094" y="10125"/>
                </a:cubicBezTo>
                <a:cubicBezTo>
                  <a:pt x="9313" y="10188"/>
                  <a:pt x="9563" y="10250"/>
                  <a:pt x="9781" y="10125"/>
                </a:cubicBezTo>
                <a:close/>
                <a:moveTo>
                  <a:pt x="5250" y="10813"/>
                </a:moveTo>
                <a:cubicBezTo>
                  <a:pt x="5094" y="10813"/>
                  <a:pt x="4938" y="10813"/>
                  <a:pt x="4875" y="11000"/>
                </a:cubicBezTo>
                <a:cubicBezTo>
                  <a:pt x="4938" y="11000"/>
                  <a:pt x="5000" y="10969"/>
                  <a:pt x="5031" y="11000"/>
                </a:cubicBezTo>
                <a:cubicBezTo>
                  <a:pt x="5094" y="11063"/>
                  <a:pt x="5094" y="11063"/>
                  <a:pt x="5188" y="11000"/>
                </a:cubicBezTo>
                <a:cubicBezTo>
                  <a:pt x="5000" y="10875"/>
                  <a:pt x="5219" y="10875"/>
                  <a:pt x="5250" y="10813"/>
                </a:cubicBezTo>
                <a:close/>
                <a:moveTo>
                  <a:pt x="14281" y="11906"/>
                </a:moveTo>
                <a:cubicBezTo>
                  <a:pt x="14156" y="12000"/>
                  <a:pt x="14000" y="11844"/>
                  <a:pt x="13875" y="11906"/>
                </a:cubicBezTo>
                <a:lnTo>
                  <a:pt x="13875" y="11906"/>
                </a:lnTo>
                <a:cubicBezTo>
                  <a:pt x="13969" y="12063"/>
                  <a:pt x="14094" y="12031"/>
                  <a:pt x="14188" y="12031"/>
                </a:cubicBezTo>
                <a:cubicBezTo>
                  <a:pt x="14281" y="12031"/>
                  <a:pt x="14313" y="12000"/>
                  <a:pt x="14281" y="11906"/>
                </a:cubicBezTo>
                <a:close/>
                <a:moveTo>
                  <a:pt x="21531" y="14875"/>
                </a:moveTo>
                <a:cubicBezTo>
                  <a:pt x="21594" y="14906"/>
                  <a:pt x="21656" y="14875"/>
                  <a:pt x="21719" y="14938"/>
                </a:cubicBezTo>
                <a:cubicBezTo>
                  <a:pt x="21813" y="15000"/>
                  <a:pt x="21906" y="15000"/>
                  <a:pt x="22000" y="14875"/>
                </a:cubicBezTo>
                <a:cubicBezTo>
                  <a:pt x="21563" y="14781"/>
                  <a:pt x="21563" y="14781"/>
                  <a:pt x="21531" y="14875"/>
                </a:cubicBezTo>
                <a:close/>
                <a:moveTo>
                  <a:pt x="19281" y="13781"/>
                </a:moveTo>
                <a:cubicBezTo>
                  <a:pt x="19250" y="13781"/>
                  <a:pt x="19219" y="13781"/>
                  <a:pt x="19219" y="13813"/>
                </a:cubicBezTo>
                <a:cubicBezTo>
                  <a:pt x="19219" y="13813"/>
                  <a:pt x="19250" y="13844"/>
                  <a:pt x="19281" y="13875"/>
                </a:cubicBezTo>
                <a:cubicBezTo>
                  <a:pt x="19219" y="13875"/>
                  <a:pt x="19156" y="13875"/>
                  <a:pt x="19094" y="13875"/>
                </a:cubicBezTo>
                <a:cubicBezTo>
                  <a:pt x="19063" y="13875"/>
                  <a:pt x="19000" y="13875"/>
                  <a:pt x="19000" y="13938"/>
                </a:cubicBezTo>
                <a:cubicBezTo>
                  <a:pt x="19000" y="13969"/>
                  <a:pt x="19063" y="13938"/>
                  <a:pt x="19094" y="13969"/>
                </a:cubicBezTo>
                <a:cubicBezTo>
                  <a:pt x="19281" y="14000"/>
                  <a:pt x="19406" y="13875"/>
                  <a:pt x="19563" y="13781"/>
                </a:cubicBezTo>
                <a:cubicBezTo>
                  <a:pt x="19469" y="13781"/>
                  <a:pt x="19375" y="13781"/>
                  <a:pt x="19281" y="13781"/>
                </a:cubicBezTo>
                <a:close/>
                <a:moveTo>
                  <a:pt x="8500" y="10531"/>
                </a:moveTo>
                <a:cubicBezTo>
                  <a:pt x="8656" y="10594"/>
                  <a:pt x="8656" y="10469"/>
                  <a:pt x="8719" y="10406"/>
                </a:cubicBezTo>
                <a:cubicBezTo>
                  <a:pt x="8469" y="10406"/>
                  <a:pt x="8344" y="10469"/>
                  <a:pt x="8250" y="10625"/>
                </a:cubicBezTo>
                <a:cubicBezTo>
                  <a:pt x="8313" y="10656"/>
                  <a:pt x="8375" y="10625"/>
                  <a:pt x="8406" y="10594"/>
                </a:cubicBezTo>
                <a:cubicBezTo>
                  <a:pt x="8438" y="10563"/>
                  <a:pt x="8500" y="10531"/>
                  <a:pt x="8500" y="10531"/>
                </a:cubicBezTo>
                <a:close/>
                <a:moveTo>
                  <a:pt x="6969" y="1782"/>
                </a:moveTo>
                <a:cubicBezTo>
                  <a:pt x="7031" y="1750"/>
                  <a:pt x="7094" y="1625"/>
                  <a:pt x="7188" y="1719"/>
                </a:cubicBezTo>
                <a:cubicBezTo>
                  <a:pt x="7188" y="1719"/>
                  <a:pt x="7219" y="1719"/>
                  <a:pt x="7219" y="1688"/>
                </a:cubicBezTo>
                <a:cubicBezTo>
                  <a:pt x="7250" y="1625"/>
                  <a:pt x="7375" y="1563"/>
                  <a:pt x="7344" y="1469"/>
                </a:cubicBezTo>
                <a:cubicBezTo>
                  <a:pt x="7313" y="1469"/>
                  <a:pt x="7281" y="1469"/>
                  <a:pt x="7250" y="1500"/>
                </a:cubicBezTo>
                <a:cubicBezTo>
                  <a:pt x="7188" y="1594"/>
                  <a:pt x="7125" y="1594"/>
                  <a:pt x="7031" y="1532"/>
                </a:cubicBezTo>
                <a:cubicBezTo>
                  <a:pt x="7031" y="1594"/>
                  <a:pt x="7031" y="1625"/>
                  <a:pt x="6969" y="1625"/>
                </a:cubicBezTo>
                <a:cubicBezTo>
                  <a:pt x="6938" y="1625"/>
                  <a:pt x="6875" y="1625"/>
                  <a:pt x="6844" y="1657"/>
                </a:cubicBezTo>
                <a:cubicBezTo>
                  <a:pt x="6844" y="1688"/>
                  <a:pt x="6781" y="1719"/>
                  <a:pt x="6844" y="1782"/>
                </a:cubicBezTo>
                <a:cubicBezTo>
                  <a:pt x="6875" y="1750"/>
                  <a:pt x="6938" y="1750"/>
                  <a:pt x="6969" y="1782"/>
                </a:cubicBezTo>
                <a:close/>
                <a:moveTo>
                  <a:pt x="344" y="15125"/>
                </a:moveTo>
                <a:cubicBezTo>
                  <a:pt x="281" y="15156"/>
                  <a:pt x="219" y="15156"/>
                  <a:pt x="188" y="15063"/>
                </a:cubicBezTo>
                <a:cubicBezTo>
                  <a:pt x="188" y="15063"/>
                  <a:pt x="188" y="15063"/>
                  <a:pt x="188" y="15063"/>
                </a:cubicBezTo>
                <a:cubicBezTo>
                  <a:pt x="188" y="15250"/>
                  <a:pt x="0" y="15313"/>
                  <a:pt x="0" y="15500"/>
                </a:cubicBezTo>
                <a:cubicBezTo>
                  <a:pt x="31" y="15500"/>
                  <a:pt x="63" y="15500"/>
                  <a:pt x="94" y="15500"/>
                </a:cubicBezTo>
                <a:cubicBezTo>
                  <a:pt x="125" y="15469"/>
                  <a:pt x="156" y="15438"/>
                  <a:pt x="156" y="15406"/>
                </a:cubicBezTo>
                <a:cubicBezTo>
                  <a:pt x="219" y="15313"/>
                  <a:pt x="250" y="15250"/>
                  <a:pt x="313" y="15406"/>
                </a:cubicBezTo>
                <a:cubicBezTo>
                  <a:pt x="313" y="15469"/>
                  <a:pt x="344" y="15438"/>
                  <a:pt x="375" y="15438"/>
                </a:cubicBezTo>
                <a:cubicBezTo>
                  <a:pt x="406" y="15344"/>
                  <a:pt x="281" y="15219"/>
                  <a:pt x="438" y="15156"/>
                </a:cubicBezTo>
                <a:cubicBezTo>
                  <a:pt x="438" y="15125"/>
                  <a:pt x="438" y="15094"/>
                  <a:pt x="438" y="15063"/>
                </a:cubicBezTo>
                <a:cubicBezTo>
                  <a:pt x="375" y="15031"/>
                  <a:pt x="344" y="14969"/>
                  <a:pt x="281" y="14938"/>
                </a:cubicBezTo>
                <a:cubicBezTo>
                  <a:pt x="375" y="14844"/>
                  <a:pt x="469" y="14781"/>
                  <a:pt x="438" y="14656"/>
                </a:cubicBezTo>
                <a:cubicBezTo>
                  <a:pt x="438" y="14625"/>
                  <a:pt x="469" y="14594"/>
                  <a:pt x="500" y="14594"/>
                </a:cubicBezTo>
                <a:cubicBezTo>
                  <a:pt x="656" y="14531"/>
                  <a:pt x="656" y="14375"/>
                  <a:pt x="625" y="14250"/>
                </a:cubicBezTo>
                <a:cubicBezTo>
                  <a:pt x="594" y="14219"/>
                  <a:pt x="625" y="14188"/>
                  <a:pt x="625" y="14156"/>
                </a:cubicBezTo>
                <a:cubicBezTo>
                  <a:pt x="688" y="14031"/>
                  <a:pt x="813" y="13969"/>
                  <a:pt x="844" y="13844"/>
                </a:cubicBezTo>
                <a:cubicBezTo>
                  <a:pt x="875" y="13813"/>
                  <a:pt x="875" y="13813"/>
                  <a:pt x="906" y="13813"/>
                </a:cubicBezTo>
                <a:cubicBezTo>
                  <a:pt x="1000" y="13844"/>
                  <a:pt x="1000" y="13781"/>
                  <a:pt x="1031" y="13750"/>
                </a:cubicBezTo>
                <a:cubicBezTo>
                  <a:pt x="1031" y="13719"/>
                  <a:pt x="1031" y="13688"/>
                  <a:pt x="1000" y="13688"/>
                </a:cubicBezTo>
                <a:cubicBezTo>
                  <a:pt x="969" y="13688"/>
                  <a:pt x="969" y="13688"/>
                  <a:pt x="938" y="13719"/>
                </a:cubicBezTo>
                <a:cubicBezTo>
                  <a:pt x="938" y="13750"/>
                  <a:pt x="969" y="13813"/>
                  <a:pt x="875" y="13781"/>
                </a:cubicBezTo>
                <a:cubicBezTo>
                  <a:pt x="844" y="13750"/>
                  <a:pt x="844" y="13656"/>
                  <a:pt x="875" y="13625"/>
                </a:cubicBezTo>
                <a:cubicBezTo>
                  <a:pt x="1000" y="13594"/>
                  <a:pt x="938" y="13438"/>
                  <a:pt x="1031" y="13375"/>
                </a:cubicBezTo>
                <a:cubicBezTo>
                  <a:pt x="1031" y="13375"/>
                  <a:pt x="1031" y="13344"/>
                  <a:pt x="1000" y="13344"/>
                </a:cubicBezTo>
                <a:cubicBezTo>
                  <a:pt x="906" y="13281"/>
                  <a:pt x="969" y="13219"/>
                  <a:pt x="938" y="13156"/>
                </a:cubicBezTo>
                <a:cubicBezTo>
                  <a:pt x="1063" y="13281"/>
                  <a:pt x="1125" y="13313"/>
                  <a:pt x="1250" y="13219"/>
                </a:cubicBezTo>
                <a:cubicBezTo>
                  <a:pt x="1250" y="13219"/>
                  <a:pt x="1281" y="13219"/>
                  <a:pt x="1281" y="13188"/>
                </a:cubicBezTo>
                <a:cubicBezTo>
                  <a:pt x="1250" y="13094"/>
                  <a:pt x="1375" y="13063"/>
                  <a:pt x="1375" y="12969"/>
                </a:cubicBezTo>
                <a:cubicBezTo>
                  <a:pt x="1375" y="12906"/>
                  <a:pt x="1438" y="12906"/>
                  <a:pt x="1469" y="12906"/>
                </a:cubicBezTo>
                <a:cubicBezTo>
                  <a:pt x="1625" y="12969"/>
                  <a:pt x="1688" y="12938"/>
                  <a:pt x="1719" y="12750"/>
                </a:cubicBezTo>
                <a:cubicBezTo>
                  <a:pt x="1781" y="12813"/>
                  <a:pt x="1875" y="12844"/>
                  <a:pt x="1938" y="12750"/>
                </a:cubicBezTo>
                <a:cubicBezTo>
                  <a:pt x="1938" y="12750"/>
                  <a:pt x="1969" y="12719"/>
                  <a:pt x="1969" y="12719"/>
                </a:cubicBezTo>
                <a:cubicBezTo>
                  <a:pt x="1938" y="12656"/>
                  <a:pt x="1906" y="12688"/>
                  <a:pt x="1906" y="12688"/>
                </a:cubicBezTo>
                <a:cubicBezTo>
                  <a:pt x="1844" y="12656"/>
                  <a:pt x="1750" y="12750"/>
                  <a:pt x="1719" y="12688"/>
                </a:cubicBezTo>
                <a:cubicBezTo>
                  <a:pt x="1719" y="12594"/>
                  <a:pt x="1813" y="12625"/>
                  <a:pt x="1875" y="12625"/>
                </a:cubicBezTo>
                <a:cubicBezTo>
                  <a:pt x="2063" y="12594"/>
                  <a:pt x="2156" y="12438"/>
                  <a:pt x="2281" y="12344"/>
                </a:cubicBezTo>
                <a:cubicBezTo>
                  <a:pt x="2313" y="12313"/>
                  <a:pt x="2313" y="12313"/>
                  <a:pt x="2281" y="12281"/>
                </a:cubicBezTo>
                <a:cubicBezTo>
                  <a:pt x="2250" y="12156"/>
                  <a:pt x="2375" y="12156"/>
                  <a:pt x="2469" y="12125"/>
                </a:cubicBezTo>
                <a:cubicBezTo>
                  <a:pt x="2469" y="12188"/>
                  <a:pt x="2344" y="12156"/>
                  <a:pt x="2406" y="12250"/>
                </a:cubicBezTo>
                <a:cubicBezTo>
                  <a:pt x="2438" y="12281"/>
                  <a:pt x="2469" y="12219"/>
                  <a:pt x="2500" y="12219"/>
                </a:cubicBezTo>
                <a:cubicBezTo>
                  <a:pt x="2500" y="12219"/>
                  <a:pt x="2531" y="12219"/>
                  <a:pt x="2531" y="12219"/>
                </a:cubicBezTo>
                <a:cubicBezTo>
                  <a:pt x="2563" y="12219"/>
                  <a:pt x="2625" y="12313"/>
                  <a:pt x="2656" y="12250"/>
                </a:cubicBezTo>
                <a:cubicBezTo>
                  <a:pt x="2719" y="12188"/>
                  <a:pt x="2625" y="12156"/>
                  <a:pt x="2594" y="12094"/>
                </a:cubicBezTo>
                <a:cubicBezTo>
                  <a:pt x="2688" y="12094"/>
                  <a:pt x="2781" y="12094"/>
                  <a:pt x="2781" y="11969"/>
                </a:cubicBezTo>
                <a:cubicBezTo>
                  <a:pt x="2813" y="11938"/>
                  <a:pt x="2844" y="11938"/>
                  <a:pt x="2906" y="11906"/>
                </a:cubicBezTo>
                <a:cubicBezTo>
                  <a:pt x="3000" y="11875"/>
                  <a:pt x="3125" y="11875"/>
                  <a:pt x="3188" y="11813"/>
                </a:cubicBezTo>
                <a:cubicBezTo>
                  <a:pt x="3219" y="11719"/>
                  <a:pt x="3344" y="11688"/>
                  <a:pt x="3375" y="11625"/>
                </a:cubicBezTo>
                <a:cubicBezTo>
                  <a:pt x="3406" y="11563"/>
                  <a:pt x="3469" y="11531"/>
                  <a:pt x="3344" y="11500"/>
                </a:cubicBezTo>
                <a:cubicBezTo>
                  <a:pt x="3313" y="11500"/>
                  <a:pt x="3344" y="11469"/>
                  <a:pt x="3344" y="11438"/>
                </a:cubicBezTo>
                <a:cubicBezTo>
                  <a:pt x="3406" y="11375"/>
                  <a:pt x="3469" y="11406"/>
                  <a:pt x="3531" y="11375"/>
                </a:cubicBezTo>
                <a:cubicBezTo>
                  <a:pt x="3500" y="11406"/>
                  <a:pt x="3500" y="11438"/>
                  <a:pt x="3469" y="11469"/>
                </a:cubicBezTo>
                <a:cubicBezTo>
                  <a:pt x="3469" y="11500"/>
                  <a:pt x="3406" y="11469"/>
                  <a:pt x="3406" y="11531"/>
                </a:cubicBezTo>
                <a:cubicBezTo>
                  <a:pt x="3438" y="11563"/>
                  <a:pt x="3469" y="11531"/>
                  <a:pt x="3500" y="11500"/>
                </a:cubicBezTo>
                <a:cubicBezTo>
                  <a:pt x="3531" y="11500"/>
                  <a:pt x="3594" y="11500"/>
                  <a:pt x="3625" y="11500"/>
                </a:cubicBezTo>
                <a:cubicBezTo>
                  <a:pt x="3594" y="11594"/>
                  <a:pt x="3469" y="11563"/>
                  <a:pt x="3438" y="11656"/>
                </a:cubicBezTo>
                <a:cubicBezTo>
                  <a:pt x="3625" y="11688"/>
                  <a:pt x="3781" y="11563"/>
                  <a:pt x="3938" y="11469"/>
                </a:cubicBezTo>
                <a:cubicBezTo>
                  <a:pt x="4000" y="11438"/>
                  <a:pt x="4094" y="11406"/>
                  <a:pt x="4188" y="11406"/>
                </a:cubicBezTo>
                <a:cubicBezTo>
                  <a:pt x="4219" y="11406"/>
                  <a:pt x="4250" y="11438"/>
                  <a:pt x="4250" y="11344"/>
                </a:cubicBezTo>
                <a:cubicBezTo>
                  <a:pt x="4250" y="11313"/>
                  <a:pt x="4219" y="11313"/>
                  <a:pt x="4188" y="11313"/>
                </a:cubicBezTo>
                <a:cubicBezTo>
                  <a:pt x="4156" y="11313"/>
                  <a:pt x="4125" y="11344"/>
                  <a:pt x="4094" y="11344"/>
                </a:cubicBezTo>
                <a:cubicBezTo>
                  <a:pt x="4281" y="11219"/>
                  <a:pt x="4438" y="11063"/>
                  <a:pt x="4688" y="11063"/>
                </a:cubicBezTo>
                <a:cubicBezTo>
                  <a:pt x="4625" y="11156"/>
                  <a:pt x="4500" y="11156"/>
                  <a:pt x="4438" y="11219"/>
                </a:cubicBezTo>
                <a:cubicBezTo>
                  <a:pt x="4531" y="11281"/>
                  <a:pt x="4625" y="11219"/>
                  <a:pt x="4719" y="11219"/>
                </a:cubicBezTo>
                <a:cubicBezTo>
                  <a:pt x="4906" y="11188"/>
                  <a:pt x="5125" y="11188"/>
                  <a:pt x="5281" y="11063"/>
                </a:cubicBezTo>
                <a:cubicBezTo>
                  <a:pt x="5313" y="11031"/>
                  <a:pt x="5344" y="11000"/>
                  <a:pt x="5375" y="11031"/>
                </a:cubicBezTo>
                <a:cubicBezTo>
                  <a:pt x="5469" y="11094"/>
                  <a:pt x="5531" y="11063"/>
                  <a:pt x="5594" y="11000"/>
                </a:cubicBezTo>
                <a:cubicBezTo>
                  <a:pt x="5656" y="10906"/>
                  <a:pt x="5750" y="10844"/>
                  <a:pt x="5875" y="10906"/>
                </a:cubicBezTo>
                <a:cubicBezTo>
                  <a:pt x="5969" y="10938"/>
                  <a:pt x="6031" y="10906"/>
                  <a:pt x="6094" y="10844"/>
                </a:cubicBezTo>
                <a:lnTo>
                  <a:pt x="6094" y="10844"/>
                </a:lnTo>
                <a:cubicBezTo>
                  <a:pt x="6125" y="10813"/>
                  <a:pt x="6188" y="10781"/>
                  <a:pt x="6281" y="10781"/>
                </a:cubicBezTo>
                <a:cubicBezTo>
                  <a:pt x="6281" y="10813"/>
                  <a:pt x="6344" y="10844"/>
                  <a:pt x="6344" y="10906"/>
                </a:cubicBezTo>
                <a:cubicBezTo>
                  <a:pt x="6188" y="10906"/>
                  <a:pt x="6000" y="10875"/>
                  <a:pt x="5875" y="11031"/>
                </a:cubicBezTo>
                <a:cubicBezTo>
                  <a:pt x="5844" y="11063"/>
                  <a:pt x="5781" y="11031"/>
                  <a:pt x="5719" y="11063"/>
                </a:cubicBezTo>
                <a:cubicBezTo>
                  <a:pt x="5500" y="11125"/>
                  <a:pt x="5281" y="11219"/>
                  <a:pt x="5031" y="11188"/>
                </a:cubicBezTo>
                <a:cubicBezTo>
                  <a:pt x="4906" y="11188"/>
                  <a:pt x="4750" y="11250"/>
                  <a:pt x="4625" y="11344"/>
                </a:cubicBezTo>
                <a:cubicBezTo>
                  <a:pt x="4406" y="11531"/>
                  <a:pt x="4125" y="11594"/>
                  <a:pt x="3875" y="11719"/>
                </a:cubicBezTo>
                <a:cubicBezTo>
                  <a:pt x="3781" y="11750"/>
                  <a:pt x="3656" y="11781"/>
                  <a:pt x="3563" y="11844"/>
                </a:cubicBezTo>
                <a:cubicBezTo>
                  <a:pt x="3531" y="11844"/>
                  <a:pt x="3500" y="11875"/>
                  <a:pt x="3500" y="11906"/>
                </a:cubicBezTo>
                <a:cubicBezTo>
                  <a:pt x="3531" y="11938"/>
                  <a:pt x="3563" y="11938"/>
                  <a:pt x="3594" y="11906"/>
                </a:cubicBezTo>
                <a:cubicBezTo>
                  <a:pt x="3625" y="11906"/>
                  <a:pt x="3656" y="11875"/>
                  <a:pt x="3688" y="11875"/>
                </a:cubicBezTo>
                <a:cubicBezTo>
                  <a:pt x="3781" y="11844"/>
                  <a:pt x="3844" y="11906"/>
                  <a:pt x="3844" y="12000"/>
                </a:cubicBezTo>
                <a:cubicBezTo>
                  <a:pt x="3844" y="12000"/>
                  <a:pt x="3813" y="12000"/>
                  <a:pt x="3813" y="12031"/>
                </a:cubicBezTo>
                <a:cubicBezTo>
                  <a:pt x="3688" y="11906"/>
                  <a:pt x="3563" y="12063"/>
                  <a:pt x="3438" y="11969"/>
                </a:cubicBezTo>
                <a:cubicBezTo>
                  <a:pt x="3438" y="11969"/>
                  <a:pt x="3438" y="11969"/>
                  <a:pt x="3406" y="11969"/>
                </a:cubicBezTo>
                <a:cubicBezTo>
                  <a:pt x="3406" y="12188"/>
                  <a:pt x="3375" y="12219"/>
                  <a:pt x="3156" y="12250"/>
                </a:cubicBezTo>
                <a:cubicBezTo>
                  <a:pt x="3125" y="12219"/>
                  <a:pt x="3188" y="12219"/>
                  <a:pt x="3188" y="12156"/>
                </a:cubicBezTo>
                <a:cubicBezTo>
                  <a:pt x="3188" y="12156"/>
                  <a:pt x="3156" y="12156"/>
                  <a:pt x="3156" y="12156"/>
                </a:cubicBezTo>
                <a:cubicBezTo>
                  <a:pt x="3031" y="12281"/>
                  <a:pt x="2844" y="12344"/>
                  <a:pt x="2719" y="12438"/>
                </a:cubicBezTo>
                <a:cubicBezTo>
                  <a:pt x="2656" y="12469"/>
                  <a:pt x="2625" y="12500"/>
                  <a:pt x="2625" y="12563"/>
                </a:cubicBezTo>
                <a:cubicBezTo>
                  <a:pt x="2656" y="12594"/>
                  <a:pt x="2594" y="12594"/>
                  <a:pt x="2594" y="12594"/>
                </a:cubicBezTo>
                <a:cubicBezTo>
                  <a:pt x="2500" y="12531"/>
                  <a:pt x="2438" y="12594"/>
                  <a:pt x="2406" y="12656"/>
                </a:cubicBezTo>
                <a:cubicBezTo>
                  <a:pt x="2219" y="12750"/>
                  <a:pt x="2063" y="12875"/>
                  <a:pt x="1938" y="13063"/>
                </a:cubicBezTo>
                <a:cubicBezTo>
                  <a:pt x="1938" y="13063"/>
                  <a:pt x="1906" y="13094"/>
                  <a:pt x="1906" y="13094"/>
                </a:cubicBezTo>
                <a:cubicBezTo>
                  <a:pt x="1750" y="13031"/>
                  <a:pt x="1719" y="13156"/>
                  <a:pt x="1656" y="13250"/>
                </a:cubicBezTo>
                <a:cubicBezTo>
                  <a:pt x="1594" y="13344"/>
                  <a:pt x="1500" y="13375"/>
                  <a:pt x="1438" y="13406"/>
                </a:cubicBezTo>
                <a:cubicBezTo>
                  <a:pt x="1375" y="13438"/>
                  <a:pt x="1313" y="13438"/>
                  <a:pt x="1313" y="13469"/>
                </a:cubicBezTo>
                <a:cubicBezTo>
                  <a:pt x="1281" y="13656"/>
                  <a:pt x="1063" y="13719"/>
                  <a:pt x="1031" y="13875"/>
                </a:cubicBezTo>
                <a:cubicBezTo>
                  <a:pt x="1031" y="13906"/>
                  <a:pt x="1000" y="13938"/>
                  <a:pt x="1000" y="13938"/>
                </a:cubicBezTo>
                <a:cubicBezTo>
                  <a:pt x="875" y="13938"/>
                  <a:pt x="906" y="14031"/>
                  <a:pt x="906" y="14125"/>
                </a:cubicBezTo>
                <a:cubicBezTo>
                  <a:pt x="969" y="14031"/>
                  <a:pt x="1125" y="14094"/>
                  <a:pt x="1125" y="13938"/>
                </a:cubicBezTo>
                <a:cubicBezTo>
                  <a:pt x="1125" y="13938"/>
                  <a:pt x="1156" y="13938"/>
                  <a:pt x="1156" y="13938"/>
                </a:cubicBezTo>
                <a:cubicBezTo>
                  <a:pt x="1313" y="14031"/>
                  <a:pt x="1313" y="13875"/>
                  <a:pt x="1375" y="13781"/>
                </a:cubicBezTo>
                <a:cubicBezTo>
                  <a:pt x="1375" y="13750"/>
                  <a:pt x="1406" y="13719"/>
                  <a:pt x="1469" y="13688"/>
                </a:cubicBezTo>
                <a:cubicBezTo>
                  <a:pt x="1438" y="13781"/>
                  <a:pt x="1500" y="13875"/>
                  <a:pt x="1438" y="13938"/>
                </a:cubicBezTo>
                <a:cubicBezTo>
                  <a:pt x="1281" y="14000"/>
                  <a:pt x="1188" y="14125"/>
                  <a:pt x="1000" y="14156"/>
                </a:cubicBezTo>
                <a:cubicBezTo>
                  <a:pt x="1000" y="14250"/>
                  <a:pt x="813" y="14188"/>
                  <a:pt x="844" y="14313"/>
                </a:cubicBezTo>
                <a:cubicBezTo>
                  <a:pt x="844" y="14344"/>
                  <a:pt x="781" y="14375"/>
                  <a:pt x="844" y="14406"/>
                </a:cubicBezTo>
                <a:cubicBezTo>
                  <a:pt x="875" y="14438"/>
                  <a:pt x="906" y="14406"/>
                  <a:pt x="938" y="14375"/>
                </a:cubicBezTo>
                <a:cubicBezTo>
                  <a:pt x="1000" y="14281"/>
                  <a:pt x="1031" y="14219"/>
                  <a:pt x="1094" y="14188"/>
                </a:cubicBezTo>
                <a:cubicBezTo>
                  <a:pt x="1125" y="14219"/>
                  <a:pt x="1156" y="14219"/>
                  <a:pt x="1219" y="14188"/>
                </a:cubicBezTo>
                <a:cubicBezTo>
                  <a:pt x="1313" y="14125"/>
                  <a:pt x="1406" y="14063"/>
                  <a:pt x="1469" y="13969"/>
                </a:cubicBezTo>
                <a:cubicBezTo>
                  <a:pt x="1531" y="13969"/>
                  <a:pt x="1594" y="13875"/>
                  <a:pt x="1688" y="13875"/>
                </a:cubicBezTo>
                <a:cubicBezTo>
                  <a:pt x="1625" y="14000"/>
                  <a:pt x="1438" y="14031"/>
                  <a:pt x="1469" y="14219"/>
                </a:cubicBezTo>
                <a:cubicBezTo>
                  <a:pt x="1531" y="14219"/>
                  <a:pt x="1594" y="14219"/>
                  <a:pt x="1688" y="14250"/>
                </a:cubicBezTo>
                <a:cubicBezTo>
                  <a:pt x="1688" y="14250"/>
                  <a:pt x="1750" y="14250"/>
                  <a:pt x="1719" y="14281"/>
                </a:cubicBezTo>
                <a:cubicBezTo>
                  <a:pt x="1719" y="14313"/>
                  <a:pt x="1719" y="14344"/>
                  <a:pt x="1688" y="14344"/>
                </a:cubicBezTo>
                <a:cubicBezTo>
                  <a:pt x="1469" y="14469"/>
                  <a:pt x="1250" y="14594"/>
                  <a:pt x="1000" y="14719"/>
                </a:cubicBezTo>
                <a:cubicBezTo>
                  <a:pt x="1031" y="14656"/>
                  <a:pt x="1031" y="14625"/>
                  <a:pt x="1031" y="14594"/>
                </a:cubicBezTo>
                <a:cubicBezTo>
                  <a:pt x="1031" y="14594"/>
                  <a:pt x="1031" y="14594"/>
                  <a:pt x="1031" y="14594"/>
                </a:cubicBezTo>
                <a:lnTo>
                  <a:pt x="1031" y="14594"/>
                </a:lnTo>
                <a:cubicBezTo>
                  <a:pt x="1094" y="14500"/>
                  <a:pt x="1250" y="14531"/>
                  <a:pt x="1219" y="14375"/>
                </a:cubicBezTo>
                <a:cubicBezTo>
                  <a:pt x="1125" y="14406"/>
                  <a:pt x="1031" y="14469"/>
                  <a:pt x="1031" y="14594"/>
                </a:cubicBezTo>
                <a:cubicBezTo>
                  <a:pt x="1031" y="14594"/>
                  <a:pt x="1031" y="14594"/>
                  <a:pt x="1031" y="14594"/>
                </a:cubicBezTo>
                <a:cubicBezTo>
                  <a:pt x="969" y="14594"/>
                  <a:pt x="875" y="14563"/>
                  <a:pt x="813" y="14625"/>
                </a:cubicBezTo>
                <a:cubicBezTo>
                  <a:pt x="813" y="14625"/>
                  <a:pt x="781" y="14656"/>
                  <a:pt x="781" y="14656"/>
                </a:cubicBezTo>
                <a:cubicBezTo>
                  <a:pt x="844" y="14813"/>
                  <a:pt x="688" y="14781"/>
                  <a:pt x="625" y="14875"/>
                </a:cubicBezTo>
                <a:cubicBezTo>
                  <a:pt x="594" y="14875"/>
                  <a:pt x="563" y="14938"/>
                  <a:pt x="594" y="14969"/>
                </a:cubicBezTo>
                <a:cubicBezTo>
                  <a:pt x="625" y="15000"/>
                  <a:pt x="656" y="15000"/>
                  <a:pt x="688" y="15000"/>
                </a:cubicBezTo>
                <a:cubicBezTo>
                  <a:pt x="719" y="14969"/>
                  <a:pt x="719" y="14969"/>
                  <a:pt x="750" y="14969"/>
                </a:cubicBezTo>
                <a:cubicBezTo>
                  <a:pt x="781" y="14969"/>
                  <a:pt x="844" y="14938"/>
                  <a:pt x="844" y="15000"/>
                </a:cubicBezTo>
                <a:cubicBezTo>
                  <a:pt x="875" y="15031"/>
                  <a:pt x="813" y="15063"/>
                  <a:pt x="750" y="15063"/>
                </a:cubicBezTo>
                <a:cubicBezTo>
                  <a:pt x="688" y="15063"/>
                  <a:pt x="688" y="15094"/>
                  <a:pt x="688" y="15156"/>
                </a:cubicBezTo>
                <a:cubicBezTo>
                  <a:pt x="688" y="15219"/>
                  <a:pt x="625" y="15250"/>
                  <a:pt x="531" y="15219"/>
                </a:cubicBezTo>
                <a:cubicBezTo>
                  <a:pt x="531" y="15219"/>
                  <a:pt x="531" y="15188"/>
                  <a:pt x="531" y="15188"/>
                </a:cubicBezTo>
                <a:cubicBezTo>
                  <a:pt x="531" y="15188"/>
                  <a:pt x="531" y="15156"/>
                  <a:pt x="531" y="15156"/>
                </a:cubicBezTo>
                <a:cubicBezTo>
                  <a:pt x="563" y="15125"/>
                  <a:pt x="625" y="15094"/>
                  <a:pt x="594" y="15031"/>
                </a:cubicBezTo>
                <a:cubicBezTo>
                  <a:pt x="531" y="14969"/>
                  <a:pt x="500" y="15063"/>
                  <a:pt x="469" y="15063"/>
                </a:cubicBezTo>
                <a:cubicBezTo>
                  <a:pt x="469" y="15063"/>
                  <a:pt x="438" y="15063"/>
                  <a:pt x="438" y="15063"/>
                </a:cubicBezTo>
                <a:cubicBezTo>
                  <a:pt x="375" y="15063"/>
                  <a:pt x="344" y="15031"/>
                  <a:pt x="344" y="15125"/>
                </a:cubicBezTo>
                <a:close/>
                <a:moveTo>
                  <a:pt x="3375" y="11156"/>
                </a:moveTo>
                <a:cubicBezTo>
                  <a:pt x="3406" y="11094"/>
                  <a:pt x="3469" y="11063"/>
                  <a:pt x="3500" y="11063"/>
                </a:cubicBezTo>
                <a:cubicBezTo>
                  <a:pt x="3563" y="11063"/>
                  <a:pt x="3625" y="11031"/>
                  <a:pt x="3656" y="11000"/>
                </a:cubicBezTo>
                <a:cubicBezTo>
                  <a:pt x="3500" y="10906"/>
                  <a:pt x="3250" y="10938"/>
                  <a:pt x="3156" y="11063"/>
                </a:cubicBezTo>
                <a:cubicBezTo>
                  <a:pt x="3156" y="11094"/>
                  <a:pt x="3125" y="11125"/>
                  <a:pt x="3156" y="11156"/>
                </a:cubicBezTo>
                <a:cubicBezTo>
                  <a:pt x="3219" y="11219"/>
                  <a:pt x="3313" y="11219"/>
                  <a:pt x="3375" y="11156"/>
                </a:cubicBezTo>
                <a:close/>
                <a:moveTo>
                  <a:pt x="16438" y="12875"/>
                </a:moveTo>
                <a:cubicBezTo>
                  <a:pt x="16375" y="12906"/>
                  <a:pt x="16313" y="12906"/>
                  <a:pt x="16313" y="12813"/>
                </a:cubicBezTo>
                <a:cubicBezTo>
                  <a:pt x="16281" y="12750"/>
                  <a:pt x="16250" y="12750"/>
                  <a:pt x="16219" y="12781"/>
                </a:cubicBezTo>
                <a:cubicBezTo>
                  <a:pt x="16125" y="12781"/>
                  <a:pt x="16031" y="12719"/>
                  <a:pt x="15906" y="12719"/>
                </a:cubicBezTo>
                <a:cubicBezTo>
                  <a:pt x="15813" y="12688"/>
                  <a:pt x="15688" y="12656"/>
                  <a:pt x="15563" y="12656"/>
                </a:cubicBezTo>
                <a:cubicBezTo>
                  <a:pt x="16281" y="12969"/>
                  <a:pt x="16438" y="13000"/>
                  <a:pt x="16594" y="12844"/>
                </a:cubicBezTo>
                <a:cubicBezTo>
                  <a:pt x="16531" y="12844"/>
                  <a:pt x="16500" y="12844"/>
                  <a:pt x="16438" y="12875"/>
                </a:cubicBezTo>
                <a:close/>
                <a:moveTo>
                  <a:pt x="5063" y="10375"/>
                </a:moveTo>
                <a:cubicBezTo>
                  <a:pt x="5063" y="10406"/>
                  <a:pt x="5000" y="10438"/>
                  <a:pt x="4969" y="10438"/>
                </a:cubicBezTo>
                <a:cubicBezTo>
                  <a:pt x="4813" y="10469"/>
                  <a:pt x="4719" y="10625"/>
                  <a:pt x="4563" y="10656"/>
                </a:cubicBezTo>
                <a:cubicBezTo>
                  <a:pt x="4531" y="10656"/>
                  <a:pt x="4500" y="10688"/>
                  <a:pt x="4531" y="10719"/>
                </a:cubicBezTo>
                <a:cubicBezTo>
                  <a:pt x="4844" y="10688"/>
                  <a:pt x="5156" y="10531"/>
                  <a:pt x="5313" y="10281"/>
                </a:cubicBezTo>
                <a:cubicBezTo>
                  <a:pt x="5219" y="10250"/>
                  <a:pt x="5125" y="10219"/>
                  <a:pt x="5063" y="10375"/>
                </a:cubicBezTo>
                <a:close/>
                <a:moveTo>
                  <a:pt x="10938" y="11125"/>
                </a:moveTo>
                <a:cubicBezTo>
                  <a:pt x="10781" y="11094"/>
                  <a:pt x="10656" y="11094"/>
                  <a:pt x="10500" y="11094"/>
                </a:cubicBezTo>
                <a:cubicBezTo>
                  <a:pt x="10469" y="11094"/>
                  <a:pt x="10438" y="11125"/>
                  <a:pt x="10438" y="11125"/>
                </a:cubicBezTo>
                <a:cubicBezTo>
                  <a:pt x="10500" y="11219"/>
                  <a:pt x="10406" y="11188"/>
                  <a:pt x="10375" y="11188"/>
                </a:cubicBezTo>
                <a:cubicBezTo>
                  <a:pt x="10281" y="11188"/>
                  <a:pt x="10219" y="11125"/>
                  <a:pt x="10125" y="11156"/>
                </a:cubicBezTo>
                <a:cubicBezTo>
                  <a:pt x="10125" y="11188"/>
                  <a:pt x="10125" y="11219"/>
                  <a:pt x="10156" y="11219"/>
                </a:cubicBezTo>
                <a:cubicBezTo>
                  <a:pt x="10406" y="11281"/>
                  <a:pt x="10688" y="11313"/>
                  <a:pt x="10938" y="11219"/>
                </a:cubicBezTo>
                <a:cubicBezTo>
                  <a:pt x="10969" y="11188"/>
                  <a:pt x="10969" y="11188"/>
                  <a:pt x="10969" y="11156"/>
                </a:cubicBezTo>
                <a:cubicBezTo>
                  <a:pt x="10969" y="11156"/>
                  <a:pt x="10969" y="11156"/>
                  <a:pt x="10938" y="11125"/>
                </a:cubicBezTo>
                <a:close/>
                <a:moveTo>
                  <a:pt x="21250" y="14469"/>
                </a:moveTo>
                <a:cubicBezTo>
                  <a:pt x="21313" y="14469"/>
                  <a:pt x="21406" y="14469"/>
                  <a:pt x="21406" y="14406"/>
                </a:cubicBezTo>
                <a:cubicBezTo>
                  <a:pt x="21281" y="14281"/>
                  <a:pt x="21063" y="14438"/>
                  <a:pt x="20938" y="14313"/>
                </a:cubicBezTo>
                <a:cubicBezTo>
                  <a:pt x="20938" y="14313"/>
                  <a:pt x="20906" y="14313"/>
                  <a:pt x="20875" y="14313"/>
                </a:cubicBezTo>
                <a:cubicBezTo>
                  <a:pt x="20813" y="14406"/>
                  <a:pt x="20688" y="14406"/>
                  <a:pt x="20594" y="14375"/>
                </a:cubicBezTo>
                <a:cubicBezTo>
                  <a:pt x="20563" y="14344"/>
                  <a:pt x="20531" y="14313"/>
                  <a:pt x="20500" y="14375"/>
                </a:cubicBezTo>
                <a:cubicBezTo>
                  <a:pt x="20563" y="14406"/>
                  <a:pt x="20656" y="14406"/>
                  <a:pt x="20594" y="14500"/>
                </a:cubicBezTo>
                <a:cubicBezTo>
                  <a:pt x="20594" y="14531"/>
                  <a:pt x="20594" y="14531"/>
                  <a:pt x="20625" y="14563"/>
                </a:cubicBezTo>
                <a:cubicBezTo>
                  <a:pt x="20750" y="14563"/>
                  <a:pt x="20906" y="14594"/>
                  <a:pt x="21063" y="14594"/>
                </a:cubicBezTo>
                <a:cubicBezTo>
                  <a:pt x="21063" y="14469"/>
                  <a:pt x="21125" y="14438"/>
                  <a:pt x="21250" y="14469"/>
                </a:cubicBezTo>
                <a:close/>
                <a:moveTo>
                  <a:pt x="4375" y="12563"/>
                </a:moveTo>
                <a:cubicBezTo>
                  <a:pt x="4344" y="12563"/>
                  <a:pt x="4281" y="12563"/>
                  <a:pt x="4250" y="12500"/>
                </a:cubicBezTo>
                <a:cubicBezTo>
                  <a:pt x="4219" y="12438"/>
                  <a:pt x="4313" y="12438"/>
                  <a:pt x="4344" y="12406"/>
                </a:cubicBezTo>
                <a:cubicBezTo>
                  <a:pt x="4219" y="12375"/>
                  <a:pt x="4219" y="12375"/>
                  <a:pt x="4156" y="12438"/>
                </a:cubicBezTo>
                <a:cubicBezTo>
                  <a:pt x="4094" y="12500"/>
                  <a:pt x="4000" y="12531"/>
                  <a:pt x="3938" y="12500"/>
                </a:cubicBezTo>
                <a:cubicBezTo>
                  <a:pt x="3875" y="12469"/>
                  <a:pt x="3906" y="12500"/>
                  <a:pt x="3875" y="12531"/>
                </a:cubicBezTo>
                <a:cubicBezTo>
                  <a:pt x="3844" y="12594"/>
                  <a:pt x="3781" y="12594"/>
                  <a:pt x="3750" y="12500"/>
                </a:cubicBezTo>
                <a:cubicBezTo>
                  <a:pt x="3750" y="12500"/>
                  <a:pt x="3719" y="12469"/>
                  <a:pt x="3688" y="12500"/>
                </a:cubicBezTo>
                <a:cubicBezTo>
                  <a:pt x="3625" y="12500"/>
                  <a:pt x="3625" y="12563"/>
                  <a:pt x="3625" y="12625"/>
                </a:cubicBezTo>
                <a:cubicBezTo>
                  <a:pt x="3625" y="12688"/>
                  <a:pt x="3656" y="12688"/>
                  <a:pt x="3719" y="12688"/>
                </a:cubicBezTo>
                <a:cubicBezTo>
                  <a:pt x="3750" y="12688"/>
                  <a:pt x="3813" y="12688"/>
                  <a:pt x="3875" y="12688"/>
                </a:cubicBezTo>
                <a:cubicBezTo>
                  <a:pt x="3906" y="12719"/>
                  <a:pt x="3969" y="12750"/>
                  <a:pt x="4000" y="12688"/>
                </a:cubicBezTo>
                <a:cubicBezTo>
                  <a:pt x="4000" y="12656"/>
                  <a:pt x="3938" y="12656"/>
                  <a:pt x="3938" y="12594"/>
                </a:cubicBezTo>
                <a:cubicBezTo>
                  <a:pt x="4000" y="12594"/>
                  <a:pt x="4031" y="12594"/>
                  <a:pt x="4094" y="12594"/>
                </a:cubicBezTo>
                <a:cubicBezTo>
                  <a:pt x="4094" y="12563"/>
                  <a:pt x="4125" y="12531"/>
                  <a:pt x="4156" y="12531"/>
                </a:cubicBezTo>
                <a:cubicBezTo>
                  <a:pt x="4156" y="12531"/>
                  <a:pt x="4156" y="12531"/>
                  <a:pt x="4188" y="12563"/>
                </a:cubicBezTo>
                <a:cubicBezTo>
                  <a:pt x="4188" y="12625"/>
                  <a:pt x="4125" y="12594"/>
                  <a:pt x="4094" y="12594"/>
                </a:cubicBezTo>
                <a:cubicBezTo>
                  <a:pt x="4094" y="12656"/>
                  <a:pt x="4031" y="12656"/>
                  <a:pt x="4063" y="12719"/>
                </a:cubicBezTo>
                <a:cubicBezTo>
                  <a:pt x="4063" y="12719"/>
                  <a:pt x="4063" y="12719"/>
                  <a:pt x="4094" y="12719"/>
                </a:cubicBezTo>
                <a:cubicBezTo>
                  <a:pt x="4188" y="12688"/>
                  <a:pt x="4281" y="12656"/>
                  <a:pt x="4406" y="12625"/>
                </a:cubicBezTo>
                <a:cubicBezTo>
                  <a:pt x="4406" y="12625"/>
                  <a:pt x="4438" y="12625"/>
                  <a:pt x="4438" y="12594"/>
                </a:cubicBezTo>
                <a:cubicBezTo>
                  <a:pt x="4438" y="12563"/>
                  <a:pt x="4406" y="12563"/>
                  <a:pt x="4375" y="12563"/>
                </a:cubicBezTo>
                <a:close/>
                <a:moveTo>
                  <a:pt x="4500" y="10469"/>
                </a:moveTo>
                <a:cubicBezTo>
                  <a:pt x="4500" y="10500"/>
                  <a:pt x="4469" y="10500"/>
                  <a:pt x="4469" y="10500"/>
                </a:cubicBezTo>
                <a:cubicBezTo>
                  <a:pt x="4344" y="10500"/>
                  <a:pt x="4250" y="10563"/>
                  <a:pt x="4188" y="10656"/>
                </a:cubicBezTo>
                <a:cubicBezTo>
                  <a:pt x="4125" y="10688"/>
                  <a:pt x="4063" y="10781"/>
                  <a:pt x="4000" y="10656"/>
                </a:cubicBezTo>
                <a:cubicBezTo>
                  <a:pt x="3969" y="10625"/>
                  <a:pt x="3938" y="10688"/>
                  <a:pt x="3906" y="10688"/>
                </a:cubicBezTo>
                <a:cubicBezTo>
                  <a:pt x="3781" y="10750"/>
                  <a:pt x="3750" y="10875"/>
                  <a:pt x="3719" y="10969"/>
                </a:cubicBezTo>
                <a:cubicBezTo>
                  <a:pt x="3844" y="11031"/>
                  <a:pt x="3938" y="10938"/>
                  <a:pt x="3969" y="10906"/>
                </a:cubicBezTo>
                <a:cubicBezTo>
                  <a:pt x="4063" y="10813"/>
                  <a:pt x="4125" y="10813"/>
                  <a:pt x="4219" y="10813"/>
                </a:cubicBezTo>
                <a:cubicBezTo>
                  <a:pt x="4250" y="10781"/>
                  <a:pt x="4313" y="10781"/>
                  <a:pt x="4375" y="10750"/>
                </a:cubicBezTo>
                <a:cubicBezTo>
                  <a:pt x="4313" y="10719"/>
                  <a:pt x="4281" y="10719"/>
                  <a:pt x="4250" y="10719"/>
                </a:cubicBezTo>
                <a:cubicBezTo>
                  <a:pt x="4344" y="10656"/>
                  <a:pt x="4469" y="10625"/>
                  <a:pt x="4531" y="10563"/>
                </a:cubicBezTo>
                <a:cubicBezTo>
                  <a:pt x="4594" y="10531"/>
                  <a:pt x="4688" y="10469"/>
                  <a:pt x="4656" y="10438"/>
                </a:cubicBezTo>
                <a:cubicBezTo>
                  <a:pt x="4594" y="10375"/>
                  <a:pt x="4563" y="10469"/>
                  <a:pt x="4500" y="10469"/>
                </a:cubicBezTo>
                <a:close/>
                <a:moveTo>
                  <a:pt x="10156" y="10281"/>
                </a:moveTo>
                <a:cubicBezTo>
                  <a:pt x="9938" y="10344"/>
                  <a:pt x="9719" y="10313"/>
                  <a:pt x="9500" y="10313"/>
                </a:cubicBezTo>
                <a:cubicBezTo>
                  <a:pt x="9406" y="10313"/>
                  <a:pt x="9344" y="10281"/>
                  <a:pt x="9344" y="10406"/>
                </a:cubicBezTo>
                <a:cubicBezTo>
                  <a:pt x="9375" y="10469"/>
                  <a:pt x="9313" y="10531"/>
                  <a:pt x="9281" y="10563"/>
                </a:cubicBezTo>
                <a:cubicBezTo>
                  <a:pt x="9219" y="10563"/>
                  <a:pt x="9219" y="10594"/>
                  <a:pt x="9188" y="10656"/>
                </a:cubicBezTo>
                <a:cubicBezTo>
                  <a:pt x="9344" y="10594"/>
                  <a:pt x="9563" y="10688"/>
                  <a:pt x="9656" y="10469"/>
                </a:cubicBezTo>
                <a:cubicBezTo>
                  <a:pt x="9656" y="10438"/>
                  <a:pt x="9688" y="10438"/>
                  <a:pt x="9719" y="10438"/>
                </a:cubicBezTo>
                <a:cubicBezTo>
                  <a:pt x="9875" y="10406"/>
                  <a:pt x="10000" y="10406"/>
                  <a:pt x="10156" y="10375"/>
                </a:cubicBezTo>
                <a:cubicBezTo>
                  <a:pt x="10156" y="10438"/>
                  <a:pt x="10094" y="10438"/>
                  <a:pt x="10063" y="10469"/>
                </a:cubicBezTo>
                <a:cubicBezTo>
                  <a:pt x="10000" y="10500"/>
                  <a:pt x="9906" y="10531"/>
                  <a:pt x="9844" y="10563"/>
                </a:cubicBezTo>
                <a:cubicBezTo>
                  <a:pt x="10125" y="10594"/>
                  <a:pt x="10406" y="10563"/>
                  <a:pt x="10688" y="10563"/>
                </a:cubicBezTo>
                <a:cubicBezTo>
                  <a:pt x="10656" y="10594"/>
                  <a:pt x="10594" y="10656"/>
                  <a:pt x="10688" y="10656"/>
                </a:cubicBezTo>
                <a:cubicBezTo>
                  <a:pt x="10781" y="10656"/>
                  <a:pt x="10813" y="10688"/>
                  <a:pt x="10813" y="10750"/>
                </a:cubicBezTo>
                <a:cubicBezTo>
                  <a:pt x="10813" y="10844"/>
                  <a:pt x="10750" y="10813"/>
                  <a:pt x="10688" y="10813"/>
                </a:cubicBezTo>
                <a:cubicBezTo>
                  <a:pt x="10563" y="10813"/>
                  <a:pt x="10438" y="10813"/>
                  <a:pt x="10313" y="10813"/>
                </a:cubicBezTo>
                <a:cubicBezTo>
                  <a:pt x="10281" y="10813"/>
                  <a:pt x="10250" y="10813"/>
                  <a:pt x="10219" y="10844"/>
                </a:cubicBezTo>
                <a:cubicBezTo>
                  <a:pt x="10125" y="10938"/>
                  <a:pt x="10031" y="10969"/>
                  <a:pt x="9906" y="10969"/>
                </a:cubicBezTo>
                <a:cubicBezTo>
                  <a:pt x="9563" y="11063"/>
                  <a:pt x="9188" y="11063"/>
                  <a:pt x="8844" y="11156"/>
                </a:cubicBezTo>
                <a:cubicBezTo>
                  <a:pt x="8719" y="11188"/>
                  <a:pt x="8594" y="11219"/>
                  <a:pt x="8469" y="11344"/>
                </a:cubicBezTo>
                <a:cubicBezTo>
                  <a:pt x="8594" y="11344"/>
                  <a:pt x="8656" y="11313"/>
                  <a:pt x="8750" y="11313"/>
                </a:cubicBezTo>
                <a:cubicBezTo>
                  <a:pt x="8813" y="11219"/>
                  <a:pt x="8875" y="11281"/>
                  <a:pt x="8938" y="11281"/>
                </a:cubicBezTo>
                <a:cubicBezTo>
                  <a:pt x="9031" y="11250"/>
                  <a:pt x="9125" y="11313"/>
                  <a:pt x="9219" y="11250"/>
                </a:cubicBezTo>
                <a:cubicBezTo>
                  <a:pt x="9313" y="11125"/>
                  <a:pt x="9406" y="11188"/>
                  <a:pt x="9500" y="11219"/>
                </a:cubicBezTo>
                <a:cubicBezTo>
                  <a:pt x="9594" y="11281"/>
                  <a:pt x="9688" y="11281"/>
                  <a:pt x="9813" y="11250"/>
                </a:cubicBezTo>
                <a:cubicBezTo>
                  <a:pt x="9781" y="11219"/>
                  <a:pt x="9750" y="11188"/>
                  <a:pt x="9688" y="11156"/>
                </a:cubicBezTo>
                <a:cubicBezTo>
                  <a:pt x="9906" y="11156"/>
                  <a:pt x="10094" y="11063"/>
                  <a:pt x="10281" y="11063"/>
                </a:cubicBezTo>
                <a:cubicBezTo>
                  <a:pt x="10344" y="11063"/>
                  <a:pt x="10406" y="11031"/>
                  <a:pt x="10469" y="11000"/>
                </a:cubicBezTo>
                <a:cubicBezTo>
                  <a:pt x="10563" y="10906"/>
                  <a:pt x="10563" y="10906"/>
                  <a:pt x="10656" y="10906"/>
                </a:cubicBezTo>
                <a:cubicBezTo>
                  <a:pt x="10750" y="10906"/>
                  <a:pt x="10844" y="10844"/>
                  <a:pt x="10938" y="10813"/>
                </a:cubicBezTo>
                <a:cubicBezTo>
                  <a:pt x="10969" y="10781"/>
                  <a:pt x="11031" y="10750"/>
                  <a:pt x="10969" y="10719"/>
                </a:cubicBezTo>
                <a:cubicBezTo>
                  <a:pt x="10875" y="10656"/>
                  <a:pt x="10844" y="10563"/>
                  <a:pt x="10750" y="10531"/>
                </a:cubicBezTo>
                <a:cubicBezTo>
                  <a:pt x="10906" y="10531"/>
                  <a:pt x="11031" y="10438"/>
                  <a:pt x="11188" y="10563"/>
                </a:cubicBezTo>
                <a:lnTo>
                  <a:pt x="11188" y="10563"/>
                </a:lnTo>
                <a:cubicBezTo>
                  <a:pt x="11344" y="10625"/>
                  <a:pt x="11531" y="10625"/>
                  <a:pt x="11719" y="10594"/>
                </a:cubicBezTo>
                <a:cubicBezTo>
                  <a:pt x="11938" y="10563"/>
                  <a:pt x="12188" y="10625"/>
                  <a:pt x="12438" y="10563"/>
                </a:cubicBezTo>
                <a:cubicBezTo>
                  <a:pt x="12531" y="10531"/>
                  <a:pt x="12656" y="10500"/>
                  <a:pt x="12750" y="10500"/>
                </a:cubicBezTo>
                <a:cubicBezTo>
                  <a:pt x="12813" y="10500"/>
                  <a:pt x="12813" y="10469"/>
                  <a:pt x="12781" y="10438"/>
                </a:cubicBezTo>
                <a:cubicBezTo>
                  <a:pt x="12750" y="10344"/>
                  <a:pt x="12688" y="10406"/>
                  <a:pt x="12656" y="10406"/>
                </a:cubicBezTo>
                <a:cubicBezTo>
                  <a:pt x="12625" y="10500"/>
                  <a:pt x="12563" y="10500"/>
                  <a:pt x="12469" y="10531"/>
                </a:cubicBezTo>
                <a:cubicBezTo>
                  <a:pt x="12375" y="10563"/>
                  <a:pt x="12438" y="10438"/>
                  <a:pt x="12375" y="10406"/>
                </a:cubicBezTo>
                <a:cubicBezTo>
                  <a:pt x="12313" y="10563"/>
                  <a:pt x="12188" y="10531"/>
                  <a:pt x="12094" y="10500"/>
                </a:cubicBezTo>
                <a:cubicBezTo>
                  <a:pt x="12000" y="10469"/>
                  <a:pt x="11938" y="10469"/>
                  <a:pt x="11875" y="10469"/>
                </a:cubicBezTo>
                <a:cubicBezTo>
                  <a:pt x="11688" y="10500"/>
                  <a:pt x="11531" y="10500"/>
                  <a:pt x="11375" y="10406"/>
                </a:cubicBezTo>
                <a:cubicBezTo>
                  <a:pt x="11188" y="10313"/>
                  <a:pt x="10969" y="10281"/>
                  <a:pt x="10750" y="10344"/>
                </a:cubicBezTo>
                <a:cubicBezTo>
                  <a:pt x="10563" y="10406"/>
                  <a:pt x="10344" y="10344"/>
                  <a:pt x="10156" y="10375"/>
                </a:cubicBezTo>
                <a:cubicBezTo>
                  <a:pt x="10125" y="10344"/>
                  <a:pt x="10188" y="10344"/>
                  <a:pt x="10156" y="10281"/>
                </a:cubicBezTo>
                <a:close/>
                <a:moveTo>
                  <a:pt x="7719" y="10531"/>
                </a:moveTo>
                <a:cubicBezTo>
                  <a:pt x="7656" y="10563"/>
                  <a:pt x="7563" y="10563"/>
                  <a:pt x="7469" y="10594"/>
                </a:cubicBezTo>
                <a:cubicBezTo>
                  <a:pt x="7375" y="10594"/>
                  <a:pt x="7250" y="10625"/>
                  <a:pt x="7125" y="10563"/>
                </a:cubicBezTo>
                <a:cubicBezTo>
                  <a:pt x="7219" y="10563"/>
                  <a:pt x="7281" y="10563"/>
                  <a:pt x="7344" y="10531"/>
                </a:cubicBezTo>
                <a:cubicBezTo>
                  <a:pt x="7406" y="10500"/>
                  <a:pt x="7406" y="10500"/>
                  <a:pt x="7469" y="10438"/>
                </a:cubicBezTo>
                <a:cubicBezTo>
                  <a:pt x="7313" y="10406"/>
                  <a:pt x="7156" y="10469"/>
                  <a:pt x="7031" y="10531"/>
                </a:cubicBezTo>
                <a:cubicBezTo>
                  <a:pt x="6938" y="10594"/>
                  <a:pt x="6875" y="10781"/>
                  <a:pt x="6688" y="10719"/>
                </a:cubicBezTo>
                <a:cubicBezTo>
                  <a:pt x="6656" y="10813"/>
                  <a:pt x="6750" y="10844"/>
                  <a:pt x="6781" y="10906"/>
                </a:cubicBezTo>
                <a:cubicBezTo>
                  <a:pt x="6969" y="10813"/>
                  <a:pt x="7188" y="10719"/>
                  <a:pt x="7406" y="10688"/>
                </a:cubicBezTo>
                <a:cubicBezTo>
                  <a:pt x="7500" y="10656"/>
                  <a:pt x="7625" y="10656"/>
                  <a:pt x="7750" y="10656"/>
                </a:cubicBezTo>
                <a:cubicBezTo>
                  <a:pt x="7813" y="10656"/>
                  <a:pt x="7844" y="10594"/>
                  <a:pt x="7813" y="10531"/>
                </a:cubicBezTo>
                <a:cubicBezTo>
                  <a:pt x="7813" y="10469"/>
                  <a:pt x="7750" y="10531"/>
                  <a:pt x="7719" y="10531"/>
                </a:cubicBezTo>
                <a:close/>
                <a:moveTo>
                  <a:pt x="18906" y="13594"/>
                </a:moveTo>
                <a:cubicBezTo>
                  <a:pt x="18844" y="13594"/>
                  <a:pt x="18781" y="13563"/>
                  <a:pt x="18750" y="13563"/>
                </a:cubicBezTo>
                <a:cubicBezTo>
                  <a:pt x="18438" y="13531"/>
                  <a:pt x="18156" y="13500"/>
                  <a:pt x="17844" y="13406"/>
                </a:cubicBezTo>
                <a:cubicBezTo>
                  <a:pt x="17781" y="13375"/>
                  <a:pt x="17781" y="13250"/>
                  <a:pt x="17688" y="13281"/>
                </a:cubicBezTo>
                <a:cubicBezTo>
                  <a:pt x="17563" y="13313"/>
                  <a:pt x="17438" y="13250"/>
                  <a:pt x="17313" y="13250"/>
                </a:cubicBezTo>
                <a:cubicBezTo>
                  <a:pt x="17281" y="13250"/>
                  <a:pt x="17219" y="13250"/>
                  <a:pt x="17250" y="13281"/>
                </a:cubicBezTo>
                <a:cubicBezTo>
                  <a:pt x="17250" y="13313"/>
                  <a:pt x="17250" y="13375"/>
                  <a:pt x="17313" y="13344"/>
                </a:cubicBezTo>
                <a:cubicBezTo>
                  <a:pt x="17406" y="13313"/>
                  <a:pt x="17406" y="13344"/>
                  <a:pt x="17438" y="13406"/>
                </a:cubicBezTo>
                <a:cubicBezTo>
                  <a:pt x="17469" y="13469"/>
                  <a:pt x="17563" y="13500"/>
                  <a:pt x="17625" y="13500"/>
                </a:cubicBezTo>
                <a:cubicBezTo>
                  <a:pt x="17719" y="13500"/>
                  <a:pt x="17813" y="13500"/>
                  <a:pt x="17938" y="13500"/>
                </a:cubicBezTo>
                <a:cubicBezTo>
                  <a:pt x="17969" y="13500"/>
                  <a:pt x="18094" y="13500"/>
                  <a:pt x="18000" y="13625"/>
                </a:cubicBezTo>
                <a:cubicBezTo>
                  <a:pt x="17969" y="13656"/>
                  <a:pt x="18031" y="13656"/>
                  <a:pt x="18031" y="13688"/>
                </a:cubicBezTo>
                <a:cubicBezTo>
                  <a:pt x="18063" y="13688"/>
                  <a:pt x="18125" y="13719"/>
                  <a:pt x="18125" y="13719"/>
                </a:cubicBezTo>
                <a:cubicBezTo>
                  <a:pt x="18063" y="13906"/>
                  <a:pt x="18219" y="13844"/>
                  <a:pt x="18281" y="13875"/>
                </a:cubicBezTo>
                <a:cubicBezTo>
                  <a:pt x="18344" y="13875"/>
                  <a:pt x="18406" y="13906"/>
                  <a:pt x="18500" y="13938"/>
                </a:cubicBezTo>
                <a:cubicBezTo>
                  <a:pt x="18563" y="13969"/>
                  <a:pt x="18625" y="14000"/>
                  <a:pt x="18719" y="14000"/>
                </a:cubicBezTo>
                <a:cubicBezTo>
                  <a:pt x="18750" y="14031"/>
                  <a:pt x="18781" y="14000"/>
                  <a:pt x="18781" y="13969"/>
                </a:cubicBezTo>
                <a:cubicBezTo>
                  <a:pt x="18781" y="13906"/>
                  <a:pt x="18750" y="13906"/>
                  <a:pt x="18719" y="13906"/>
                </a:cubicBezTo>
                <a:cubicBezTo>
                  <a:pt x="18563" y="13938"/>
                  <a:pt x="18500" y="13781"/>
                  <a:pt x="18375" y="13719"/>
                </a:cubicBezTo>
                <a:cubicBezTo>
                  <a:pt x="18469" y="13688"/>
                  <a:pt x="18531" y="13750"/>
                  <a:pt x="18625" y="13750"/>
                </a:cubicBezTo>
                <a:cubicBezTo>
                  <a:pt x="18688" y="13781"/>
                  <a:pt x="18719" y="13906"/>
                  <a:pt x="18781" y="13844"/>
                </a:cubicBezTo>
                <a:cubicBezTo>
                  <a:pt x="18813" y="13781"/>
                  <a:pt x="18688" y="13750"/>
                  <a:pt x="18688" y="13688"/>
                </a:cubicBezTo>
                <a:cubicBezTo>
                  <a:pt x="18688" y="13688"/>
                  <a:pt x="18688" y="13688"/>
                  <a:pt x="18688" y="13656"/>
                </a:cubicBezTo>
                <a:cubicBezTo>
                  <a:pt x="18750" y="13656"/>
                  <a:pt x="18813" y="13688"/>
                  <a:pt x="18875" y="13719"/>
                </a:cubicBezTo>
                <a:cubicBezTo>
                  <a:pt x="18938" y="13750"/>
                  <a:pt x="18938" y="13719"/>
                  <a:pt x="18969" y="13688"/>
                </a:cubicBezTo>
                <a:cubicBezTo>
                  <a:pt x="18969" y="13625"/>
                  <a:pt x="18969" y="13625"/>
                  <a:pt x="18906" y="13594"/>
                </a:cubicBezTo>
                <a:close/>
                <a:moveTo>
                  <a:pt x="4344" y="2625"/>
                </a:moveTo>
                <a:cubicBezTo>
                  <a:pt x="4344" y="2625"/>
                  <a:pt x="4406" y="2594"/>
                  <a:pt x="4406" y="2594"/>
                </a:cubicBezTo>
                <a:cubicBezTo>
                  <a:pt x="4406" y="2469"/>
                  <a:pt x="4563" y="2469"/>
                  <a:pt x="4625" y="2438"/>
                </a:cubicBezTo>
                <a:cubicBezTo>
                  <a:pt x="4813" y="2407"/>
                  <a:pt x="5000" y="2282"/>
                  <a:pt x="5188" y="2313"/>
                </a:cubicBezTo>
                <a:cubicBezTo>
                  <a:pt x="5219" y="2313"/>
                  <a:pt x="5250" y="2313"/>
                  <a:pt x="5281" y="2282"/>
                </a:cubicBezTo>
                <a:cubicBezTo>
                  <a:pt x="5281" y="2219"/>
                  <a:pt x="5313" y="2219"/>
                  <a:pt x="5344" y="2250"/>
                </a:cubicBezTo>
                <a:cubicBezTo>
                  <a:pt x="5406" y="2282"/>
                  <a:pt x="5438" y="2282"/>
                  <a:pt x="5438" y="2250"/>
                </a:cubicBezTo>
                <a:cubicBezTo>
                  <a:pt x="5469" y="2125"/>
                  <a:pt x="5531" y="2125"/>
                  <a:pt x="5625" y="2125"/>
                </a:cubicBezTo>
                <a:cubicBezTo>
                  <a:pt x="5656" y="2157"/>
                  <a:pt x="5656" y="2125"/>
                  <a:pt x="5688" y="2125"/>
                </a:cubicBezTo>
                <a:cubicBezTo>
                  <a:pt x="5688" y="2094"/>
                  <a:pt x="5625" y="2063"/>
                  <a:pt x="5625" y="2032"/>
                </a:cubicBezTo>
                <a:cubicBezTo>
                  <a:pt x="5688" y="2032"/>
                  <a:pt x="5750" y="2032"/>
                  <a:pt x="5813" y="2063"/>
                </a:cubicBezTo>
                <a:cubicBezTo>
                  <a:pt x="5906" y="2157"/>
                  <a:pt x="6000" y="2125"/>
                  <a:pt x="6031" y="2032"/>
                </a:cubicBezTo>
                <a:cubicBezTo>
                  <a:pt x="6063" y="2000"/>
                  <a:pt x="6063" y="2000"/>
                  <a:pt x="6125" y="1969"/>
                </a:cubicBezTo>
                <a:cubicBezTo>
                  <a:pt x="6219" y="1969"/>
                  <a:pt x="6313" y="1938"/>
                  <a:pt x="6406" y="1907"/>
                </a:cubicBezTo>
                <a:cubicBezTo>
                  <a:pt x="6438" y="1875"/>
                  <a:pt x="6500" y="1875"/>
                  <a:pt x="6531" y="1907"/>
                </a:cubicBezTo>
                <a:cubicBezTo>
                  <a:pt x="6563" y="1907"/>
                  <a:pt x="6594" y="1907"/>
                  <a:pt x="6625" y="1907"/>
                </a:cubicBezTo>
                <a:cubicBezTo>
                  <a:pt x="6656" y="1875"/>
                  <a:pt x="6719" y="1907"/>
                  <a:pt x="6781" y="1875"/>
                </a:cubicBezTo>
                <a:cubicBezTo>
                  <a:pt x="6781" y="1875"/>
                  <a:pt x="6781" y="1875"/>
                  <a:pt x="6781" y="1844"/>
                </a:cubicBezTo>
                <a:cubicBezTo>
                  <a:pt x="6688" y="1782"/>
                  <a:pt x="6719" y="1719"/>
                  <a:pt x="6750" y="1625"/>
                </a:cubicBezTo>
                <a:cubicBezTo>
                  <a:pt x="6719" y="1625"/>
                  <a:pt x="6688" y="1625"/>
                  <a:pt x="6625" y="1625"/>
                </a:cubicBezTo>
                <a:cubicBezTo>
                  <a:pt x="6406" y="1688"/>
                  <a:pt x="6188" y="1782"/>
                  <a:pt x="5938" y="1813"/>
                </a:cubicBezTo>
                <a:cubicBezTo>
                  <a:pt x="5906" y="1844"/>
                  <a:pt x="5875" y="1844"/>
                  <a:pt x="5844" y="1875"/>
                </a:cubicBezTo>
                <a:cubicBezTo>
                  <a:pt x="5781" y="1875"/>
                  <a:pt x="5688" y="1907"/>
                  <a:pt x="5625" y="1938"/>
                </a:cubicBezTo>
                <a:cubicBezTo>
                  <a:pt x="5563" y="1969"/>
                  <a:pt x="5531" y="2063"/>
                  <a:pt x="5500" y="2063"/>
                </a:cubicBezTo>
                <a:cubicBezTo>
                  <a:pt x="5375" y="1938"/>
                  <a:pt x="5281" y="2094"/>
                  <a:pt x="5156" y="2094"/>
                </a:cubicBezTo>
                <a:cubicBezTo>
                  <a:pt x="5125" y="2094"/>
                  <a:pt x="5094" y="2094"/>
                  <a:pt x="5094" y="2125"/>
                </a:cubicBezTo>
                <a:cubicBezTo>
                  <a:pt x="5063" y="2250"/>
                  <a:pt x="4906" y="2282"/>
                  <a:pt x="4813" y="2250"/>
                </a:cubicBezTo>
                <a:cubicBezTo>
                  <a:pt x="4719" y="2250"/>
                  <a:pt x="4656" y="2250"/>
                  <a:pt x="4625" y="2344"/>
                </a:cubicBezTo>
                <a:cubicBezTo>
                  <a:pt x="4625" y="2407"/>
                  <a:pt x="4563" y="2407"/>
                  <a:pt x="4531" y="2407"/>
                </a:cubicBezTo>
                <a:cubicBezTo>
                  <a:pt x="4500" y="2407"/>
                  <a:pt x="4531" y="2375"/>
                  <a:pt x="4531" y="2344"/>
                </a:cubicBezTo>
                <a:cubicBezTo>
                  <a:pt x="4531" y="2282"/>
                  <a:pt x="4469" y="2313"/>
                  <a:pt x="4469" y="2313"/>
                </a:cubicBezTo>
                <a:cubicBezTo>
                  <a:pt x="4438" y="2407"/>
                  <a:pt x="4344" y="2375"/>
                  <a:pt x="4281" y="2407"/>
                </a:cubicBezTo>
                <a:cubicBezTo>
                  <a:pt x="4250" y="2407"/>
                  <a:pt x="4219" y="2407"/>
                  <a:pt x="4219" y="2438"/>
                </a:cubicBezTo>
                <a:cubicBezTo>
                  <a:pt x="4156" y="2563"/>
                  <a:pt x="4031" y="2563"/>
                  <a:pt x="3938" y="2594"/>
                </a:cubicBezTo>
                <a:cubicBezTo>
                  <a:pt x="4094" y="2563"/>
                  <a:pt x="4219" y="2532"/>
                  <a:pt x="4344" y="2625"/>
                </a:cubicBezTo>
                <a:close/>
                <a:moveTo>
                  <a:pt x="5844" y="1875"/>
                </a:moveTo>
                <a:cubicBezTo>
                  <a:pt x="5906" y="1907"/>
                  <a:pt x="5969" y="1907"/>
                  <a:pt x="6031" y="1907"/>
                </a:cubicBezTo>
                <a:cubicBezTo>
                  <a:pt x="6000" y="2000"/>
                  <a:pt x="5906" y="1969"/>
                  <a:pt x="5844" y="1969"/>
                </a:cubicBezTo>
                <a:cubicBezTo>
                  <a:pt x="5813" y="1969"/>
                  <a:pt x="5844" y="1907"/>
                  <a:pt x="5844" y="1875"/>
                </a:cubicBezTo>
                <a:close/>
                <a:moveTo>
                  <a:pt x="1375" y="14250"/>
                </a:moveTo>
                <a:cubicBezTo>
                  <a:pt x="1469" y="14188"/>
                  <a:pt x="1469" y="14281"/>
                  <a:pt x="1531" y="14313"/>
                </a:cubicBezTo>
                <a:cubicBezTo>
                  <a:pt x="1469" y="14313"/>
                  <a:pt x="1469" y="14469"/>
                  <a:pt x="1375" y="14406"/>
                </a:cubicBezTo>
                <a:cubicBezTo>
                  <a:pt x="1344" y="14375"/>
                  <a:pt x="1344" y="14313"/>
                  <a:pt x="1375" y="14250"/>
                </a:cubicBezTo>
                <a:close/>
                <a:moveTo>
                  <a:pt x="1156" y="13500"/>
                </a:moveTo>
                <a:cubicBezTo>
                  <a:pt x="1125" y="13531"/>
                  <a:pt x="1125" y="13594"/>
                  <a:pt x="1063" y="13594"/>
                </a:cubicBezTo>
                <a:cubicBezTo>
                  <a:pt x="1031" y="13563"/>
                  <a:pt x="1031" y="13531"/>
                  <a:pt x="1031" y="13500"/>
                </a:cubicBezTo>
                <a:cubicBezTo>
                  <a:pt x="1031" y="13469"/>
                  <a:pt x="1063" y="13438"/>
                  <a:pt x="1094" y="13438"/>
                </a:cubicBezTo>
                <a:cubicBezTo>
                  <a:pt x="1156" y="13438"/>
                  <a:pt x="1156" y="13469"/>
                  <a:pt x="1156" y="13500"/>
                </a:cubicBezTo>
                <a:close/>
                <a:moveTo>
                  <a:pt x="1375" y="13094"/>
                </a:moveTo>
                <a:cubicBezTo>
                  <a:pt x="1375" y="13094"/>
                  <a:pt x="1375" y="13094"/>
                  <a:pt x="1375" y="13094"/>
                </a:cubicBezTo>
                <a:cubicBezTo>
                  <a:pt x="1375" y="13094"/>
                  <a:pt x="1375" y="13094"/>
                  <a:pt x="1375" y="13063"/>
                </a:cubicBezTo>
                <a:cubicBezTo>
                  <a:pt x="1375" y="13094"/>
                  <a:pt x="1375" y="13094"/>
                  <a:pt x="1406" y="13094"/>
                </a:cubicBezTo>
                <a:cubicBezTo>
                  <a:pt x="1375" y="13094"/>
                  <a:pt x="1375" y="13094"/>
                  <a:pt x="1375" y="13094"/>
                </a:cubicBezTo>
                <a:close/>
                <a:moveTo>
                  <a:pt x="1531" y="13188"/>
                </a:moveTo>
                <a:cubicBezTo>
                  <a:pt x="1500" y="13219"/>
                  <a:pt x="1500" y="13188"/>
                  <a:pt x="1500" y="13188"/>
                </a:cubicBezTo>
                <a:cubicBezTo>
                  <a:pt x="1500" y="13094"/>
                  <a:pt x="1531" y="13063"/>
                  <a:pt x="1625" y="13000"/>
                </a:cubicBezTo>
                <a:cubicBezTo>
                  <a:pt x="1594" y="13094"/>
                  <a:pt x="1625" y="13188"/>
                  <a:pt x="1531" y="13188"/>
                </a:cubicBezTo>
                <a:close/>
                <a:moveTo>
                  <a:pt x="3219" y="12156"/>
                </a:moveTo>
                <a:cubicBezTo>
                  <a:pt x="3219" y="12156"/>
                  <a:pt x="3188" y="12156"/>
                  <a:pt x="3219" y="12125"/>
                </a:cubicBezTo>
                <a:cubicBezTo>
                  <a:pt x="3219" y="12125"/>
                  <a:pt x="3219" y="12125"/>
                  <a:pt x="3250" y="12125"/>
                </a:cubicBezTo>
                <a:cubicBezTo>
                  <a:pt x="3250" y="12125"/>
                  <a:pt x="3250" y="12125"/>
                  <a:pt x="3281" y="12156"/>
                </a:cubicBezTo>
                <a:cubicBezTo>
                  <a:pt x="3250" y="12156"/>
                  <a:pt x="3250" y="12156"/>
                  <a:pt x="3219" y="12156"/>
                </a:cubicBezTo>
                <a:close/>
                <a:moveTo>
                  <a:pt x="1031" y="14594"/>
                </a:moveTo>
                <a:cubicBezTo>
                  <a:pt x="1031" y="14594"/>
                  <a:pt x="1031" y="14594"/>
                  <a:pt x="1031" y="14594"/>
                </a:cubicBezTo>
                <a:moveTo>
                  <a:pt x="31875" y="4844"/>
                </a:moveTo>
                <a:cubicBezTo>
                  <a:pt x="31875" y="4875"/>
                  <a:pt x="31875" y="4875"/>
                  <a:pt x="31875" y="4875"/>
                </a:cubicBezTo>
                <a:cubicBezTo>
                  <a:pt x="31875" y="4875"/>
                  <a:pt x="31875" y="4875"/>
                  <a:pt x="31875" y="4875"/>
                </a:cubicBezTo>
                <a:cubicBezTo>
                  <a:pt x="31875" y="4875"/>
                  <a:pt x="31875" y="4875"/>
                  <a:pt x="31875" y="4844"/>
                </a:cubicBezTo>
                <a:close/>
                <a:moveTo>
                  <a:pt x="24469" y="2625"/>
                </a:moveTo>
                <a:cubicBezTo>
                  <a:pt x="24406" y="2625"/>
                  <a:pt x="24406" y="2594"/>
                  <a:pt x="24406" y="2563"/>
                </a:cubicBezTo>
                <a:cubicBezTo>
                  <a:pt x="24406" y="2469"/>
                  <a:pt x="24469" y="2500"/>
                  <a:pt x="24500" y="2500"/>
                </a:cubicBezTo>
                <a:cubicBezTo>
                  <a:pt x="24531" y="2500"/>
                  <a:pt x="24563" y="2500"/>
                  <a:pt x="24563" y="2563"/>
                </a:cubicBezTo>
                <a:cubicBezTo>
                  <a:pt x="24563" y="2594"/>
                  <a:pt x="24500" y="2625"/>
                  <a:pt x="24469" y="2625"/>
                </a:cubicBezTo>
                <a:close/>
                <a:moveTo>
                  <a:pt x="24813" y="2625"/>
                </a:moveTo>
                <a:cubicBezTo>
                  <a:pt x="24750" y="2625"/>
                  <a:pt x="24688" y="2657"/>
                  <a:pt x="24625" y="2594"/>
                </a:cubicBezTo>
                <a:cubicBezTo>
                  <a:pt x="24625" y="2594"/>
                  <a:pt x="24594" y="2563"/>
                  <a:pt x="24625" y="2532"/>
                </a:cubicBezTo>
                <a:cubicBezTo>
                  <a:pt x="24688" y="2500"/>
                  <a:pt x="24719" y="2532"/>
                  <a:pt x="24781" y="2563"/>
                </a:cubicBezTo>
                <a:cubicBezTo>
                  <a:pt x="24813" y="2563"/>
                  <a:pt x="24844" y="2563"/>
                  <a:pt x="24875" y="2563"/>
                </a:cubicBezTo>
                <a:cubicBezTo>
                  <a:pt x="24844" y="2594"/>
                  <a:pt x="24813" y="2625"/>
                  <a:pt x="24813" y="2625"/>
                </a:cubicBezTo>
                <a:close/>
                <a:moveTo>
                  <a:pt x="5094" y="2625"/>
                </a:moveTo>
                <a:cubicBezTo>
                  <a:pt x="5063" y="2625"/>
                  <a:pt x="5000" y="2625"/>
                  <a:pt x="5000" y="2563"/>
                </a:cubicBezTo>
                <a:cubicBezTo>
                  <a:pt x="5031" y="2500"/>
                  <a:pt x="5094" y="2500"/>
                  <a:pt x="5125" y="2500"/>
                </a:cubicBezTo>
                <a:cubicBezTo>
                  <a:pt x="5188" y="2500"/>
                  <a:pt x="5188" y="2500"/>
                  <a:pt x="5188" y="2563"/>
                </a:cubicBezTo>
                <a:cubicBezTo>
                  <a:pt x="5188" y="2625"/>
                  <a:pt x="5125" y="2594"/>
                  <a:pt x="5094" y="2625"/>
                </a:cubicBezTo>
                <a:close/>
                <a:moveTo>
                  <a:pt x="1750" y="5844"/>
                </a:moveTo>
                <a:cubicBezTo>
                  <a:pt x="1781" y="5844"/>
                  <a:pt x="1813" y="5844"/>
                  <a:pt x="1781" y="5875"/>
                </a:cubicBezTo>
                <a:cubicBezTo>
                  <a:pt x="1781" y="5938"/>
                  <a:pt x="1719" y="5969"/>
                  <a:pt x="1656" y="6000"/>
                </a:cubicBezTo>
                <a:cubicBezTo>
                  <a:pt x="1625" y="6000"/>
                  <a:pt x="1625" y="6000"/>
                  <a:pt x="1625" y="5969"/>
                </a:cubicBezTo>
                <a:cubicBezTo>
                  <a:pt x="1625" y="5875"/>
                  <a:pt x="1688" y="5875"/>
                  <a:pt x="1750" y="5844"/>
                </a:cubicBezTo>
                <a:close/>
                <a:moveTo>
                  <a:pt x="1594" y="6219"/>
                </a:moveTo>
                <a:cubicBezTo>
                  <a:pt x="1531" y="6219"/>
                  <a:pt x="1469" y="6219"/>
                  <a:pt x="1469" y="6156"/>
                </a:cubicBezTo>
                <a:cubicBezTo>
                  <a:pt x="1469" y="6094"/>
                  <a:pt x="1531" y="6094"/>
                  <a:pt x="1563" y="6031"/>
                </a:cubicBezTo>
                <a:cubicBezTo>
                  <a:pt x="1625" y="6063"/>
                  <a:pt x="1656" y="6125"/>
                  <a:pt x="1656" y="6156"/>
                </a:cubicBezTo>
                <a:cubicBezTo>
                  <a:pt x="1656" y="6219"/>
                  <a:pt x="1625" y="6250"/>
                  <a:pt x="1594" y="6219"/>
                </a:cubicBezTo>
                <a:close/>
                <a:moveTo>
                  <a:pt x="1813" y="6563"/>
                </a:moveTo>
                <a:cubicBezTo>
                  <a:pt x="1781" y="6625"/>
                  <a:pt x="1719" y="6656"/>
                  <a:pt x="1656" y="6625"/>
                </a:cubicBezTo>
                <a:cubicBezTo>
                  <a:pt x="1656" y="6625"/>
                  <a:pt x="1656" y="6625"/>
                  <a:pt x="1656" y="6625"/>
                </a:cubicBezTo>
                <a:cubicBezTo>
                  <a:pt x="1688" y="6563"/>
                  <a:pt x="1719" y="6500"/>
                  <a:pt x="1813" y="6500"/>
                </a:cubicBezTo>
                <a:cubicBezTo>
                  <a:pt x="1813" y="6500"/>
                  <a:pt x="1844" y="6531"/>
                  <a:pt x="1813" y="6563"/>
                </a:cubicBezTo>
                <a:close/>
                <a:moveTo>
                  <a:pt x="1375" y="8531"/>
                </a:moveTo>
                <a:cubicBezTo>
                  <a:pt x="1344" y="8531"/>
                  <a:pt x="1281" y="8531"/>
                  <a:pt x="1281" y="8500"/>
                </a:cubicBezTo>
                <a:cubicBezTo>
                  <a:pt x="1313" y="8469"/>
                  <a:pt x="1313" y="8406"/>
                  <a:pt x="1375" y="8406"/>
                </a:cubicBezTo>
                <a:cubicBezTo>
                  <a:pt x="1406" y="8375"/>
                  <a:pt x="1406" y="8438"/>
                  <a:pt x="1406" y="8469"/>
                </a:cubicBezTo>
                <a:cubicBezTo>
                  <a:pt x="1406" y="8500"/>
                  <a:pt x="1406" y="8531"/>
                  <a:pt x="1375" y="8531"/>
                </a:cubicBezTo>
                <a:close/>
                <a:moveTo>
                  <a:pt x="1625" y="8031"/>
                </a:moveTo>
                <a:cubicBezTo>
                  <a:pt x="1625" y="8094"/>
                  <a:pt x="1625" y="8219"/>
                  <a:pt x="1469" y="8156"/>
                </a:cubicBezTo>
                <a:cubicBezTo>
                  <a:pt x="1531" y="8125"/>
                  <a:pt x="1531" y="8031"/>
                  <a:pt x="1563" y="8000"/>
                </a:cubicBezTo>
                <a:cubicBezTo>
                  <a:pt x="1594" y="7969"/>
                  <a:pt x="1594" y="7938"/>
                  <a:pt x="1625" y="7969"/>
                </a:cubicBezTo>
                <a:cubicBezTo>
                  <a:pt x="1656" y="7969"/>
                  <a:pt x="1625" y="8000"/>
                  <a:pt x="1625" y="8031"/>
                </a:cubicBezTo>
                <a:close/>
                <a:moveTo>
                  <a:pt x="12313" y="11156"/>
                </a:moveTo>
                <a:cubicBezTo>
                  <a:pt x="12375" y="11031"/>
                  <a:pt x="12469" y="11031"/>
                  <a:pt x="12563" y="11063"/>
                </a:cubicBezTo>
                <a:cubicBezTo>
                  <a:pt x="12469" y="11125"/>
                  <a:pt x="12406" y="11156"/>
                  <a:pt x="12313" y="11156"/>
                </a:cubicBezTo>
                <a:close/>
                <a:moveTo>
                  <a:pt x="12781" y="11406"/>
                </a:moveTo>
                <a:cubicBezTo>
                  <a:pt x="12844" y="11406"/>
                  <a:pt x="12906" y="11406"/>
                  <a:pt x="12969" y="11406"/>
                </a:cubicBezTo>
                <a:cubicBezTo>
                  <a:pt x="12906" y="11469"/>
                  <a:pt x="12844" y="11531"/>
                  <a:pt x="12781" y="11406"/>
                </a:cubicBezTo>
                <a:close/>
                <a:moveTo>
                  <a:pt x="22969" y="14875"/>
                </a:moveTo>
                <a:cubicBezTo>
                  <a:pt x="22969" y="14875"/>
                  <a:pt x="22969" y="14875"/>
                  <a:pt x="22969" y="14875"/>
                </a:cubicBezTo>
                <a:cubicBezTo>
                  <a:pt x="22969" y="14875"/>
                  <a:pt x="22969" y="14875"/>
                  <a:pt x="22969" y="14875"/>
                </a:cubicBezTo>
                <a:cubicBezTo>
                  <a:pt x="22969" y="14875"/>
                  <a:pt x="22969" y="14875"/>
                  <a:pt x="23000" y="14875"/>
                </a:cubicBezTo>
                <a:cubicBezTo>
                  <a:pt x="22969" y="14875"/>
                  <a:pt x="22969" y="14875"/>
                  <a:pt x="22969" y="14875"/>
                </a:cubicBezTo>
                <a:close/>
                <a:moveTo>
                  <a:pt x="27188" y="15406"/>
                </a:moveTo>
                <a:cubicBezTo>
                  <a:pt x="27188" y="15406"/>
                  <a:pt x="27188" y="15406"/>
                  <a:pt x="27188" y="15406"/>
                </a:cubicBezTo>
                <a:cubicBezTo>
                  <a:pt x="27188" y="15406"/>
                  <a:pt x="27188" y="15406"/>
                  <a:pt x="27219" y="15406"/>
                </a:cubicBezTo>
                <a:cubicBezTo>
                  <a:pt x="27219" y="15406"/>
                  <a:pt x="27188" y="15406"/>
                  <a:pt x="27188" y="15406"/>
                </a:cubicBezTo>
                <a:close/>
                <a:moveTo>
                  <a:pt x="27656" y="15438"/>
                </a:moveTo>
                <a:cubicBezTo>
                  <a:pt x="27656" y="15438"/>
                  <a:pt x="27625" y="15438"/>
                  <a:pt x="27625" y="15406"/>
                </a:cubicBezTo>
                <a:cubicBezTo>
                  <a:pt x="27625" y="15406"/>
                  <a:pt x="27656" y="15406"/>
                  <a:pt x="27656" y="15406"/>
                </a:cubicBezTo>
                <a:cubicBezTo>
                  <a:pt x="27656" y="15406"/>
                  <a:pt x="27688" y="15406"/>
                  <a:pt x="27688" y="15406"/>
                </a:cubicBezTo>
                <a:cubicBezTo>
                  <a:pt x="27688" y="15438"/>
                  <a:pt x="27656" y="15438"/>
                  <a:pt x="27656" y="15438"/>
                </a:cubicBezTo>
                <a:close/>
                <a:moveTo>
                  <a:pt x="28844" y="15781"/>
                </a:moveTo>
                <a:cubicBezTo>
                  <a:pt x="28750" y="15875"/>
                  <a:pt x="28625" y="15781"/>
                  <a:pt x="28563" y="15875"/>
                </a:cubicBezTo>
                <a:cubicBezTo>
                  <a:pt x="28531" y="15781"/>
                  <a:pt x="28563" y="15688"/>
                  <a:pt x="28594" y="15656"/>
                </a:cubicBezTo>
                <a:cubicBezTo>
                  <a:pt x="28688" y="15656"/>
                  <a:pt x="28813" y="15594"/>
                  <a:pt x="28906" y="15688"/>
                </a:cubicBezTo>
                <a:cubicBezTo>
                  <a:pt x="28844" y="15719"/>
                  <a:pt x="28781" y="15688"/>
                  <a:pt x="28719" y="15750"/>
                </a:cubicBezTo>
                <a:cubicBezTo>
                  <a:pt x="28750" y="15781"/>
                  <a:pt x="28781" y="15750"/>
                  <a:pt x="28813" y="15750"/>
                </a:cubicBezTo>
                <a:cubicBezTo>
                  <a:pt x="28844" y="15750"/>
                  <a:pt x="28906" y="15750"/>
                  <a:pt x="28938" y="15750"/>
                </a:cubicBezTo>
                <a:cubicBezTo>
                  <a:pt x="28906" y="15781"/>
                  <a:pt x="28875" y="15781"/>
                  <a:pt x="28844" y="15781"/>
                </a:cubicBezTo>
                <a:close/>
                <a:moveTo>
                  <a:pt x="29906" y="15688"/>
                </a:moveTo>
                <a:cubicBezTo>
                  <a:pt x="29875" y="15750"/>
                  <a:pt x="29813" y="15781"/>
                  <a:pt x="29750" y="15719"/>
                </a:cubicBezTo>
                <a:cubicBezTo>
                  <a:pt x="29719" y="15688"/>
                  <a:pt x="29688" y="15688"/>
                  <a:pt x="29688" y="15750"/>
                </a:cubicBezTo>
                <a:cubicBezTo>
                  <a:pt x="29625" y="15844"/>
                  <a:pt x="29531" y="15781"/>
                  <a:pt x="29531" y="15781"/>
                </a:cubicBezTo>
                <a:cubicBezTo>
                  <a:pt x="29500" y="15656"/>
                  <a:pt x="29438" y="15719"/>
                  <a:pt x="29375" y="15750"/>
                </a:cubicBezTo>
                <a:cubicBezTo>
                  <a:pt x="29313" y="15750"/>
                  <a:pt x="29250" y="15781"/>
                  <a:pt x="29156" y="15781"/>
                </a:cubicBezTo>
                <a:cubicBezTo>
                  <a:pt x="29125" y="15781"/>
                  <a:pt x="29094" y="15750"/>
                  <a:pt x="29094" y="15719"/>
                </a:cubicBezTo>
                <a:cubicBezTo>
                  <a:pt x="29063" y="15688"/>
                  <a:pt x="29094" y="15656"/>
                  <a:pt x="29125" y="15656"/>
                </a:cubicBezTo>
                <a:cubicBezTo>
                  <a:pt x="29406" y="15656"/>
                  <a:pt x="29688" y="15656"/>
                  <a:pt x="29969" y="15594"/>
                </a:cubicBezTo>
                <a:cubicBezTo>
                  <a:pt x="29969" y="15594"/>
                  <a:pt x="30000" y="15625"/>
                  <a:pt x="30031" y="15625"/>
                </a:cubicBezTo>
                <a:cubicBezTo>
                  <a:pt x="29969" y="15656"/>
                  <a:pt x="29938" y="15656"/>
                  <a:pt x="29906" y="15688"/>
                </a:cubicBezTo>
                <a:close/>
                <a:moveTo>
                  <a:pt x="30313" y="15656"/>
                </a:moveTo>
                <a:cubicBezTo>
                  <a:pt x="30313" y="15719"/>
                  <a:pt x="30250" y="15750"/>
                  <a:pt x="30188" y="15750"/>
                </a:cubicBezTo>
                <a:cubicBezTo>
                  <a:pt x="30156" y="15750"/>
                  <a:pt x="30125" y="15719"/>
                  <a:pt x="30094" y="15688"/>
                </a:cubicBezTo>
                <a:cubicBezTo>
                  <a:pt x="30094" y="15625"/>
                  <a:pt x="30125" y="15594"/>
                  <a:pt x="30188" y="15594"/>
                </a:cubicBezTo>
                <a:cubicBezTo>
                  <a:pt x="30219" y="15563"/>
                  <a:pt x="30281" y="15563"/>
                  <a:pt x="30313" y="15563"/>
                </a:cubicBezTo>
                <a:cubicBezTo>
                  <a:pt x="30344" y="15594"/>
                  <a:pt x="30281" y="15625"/>
                  <a:pt x="30313" y="15656"/>
                </a:cubicBezTo>
                <a:close/>
                <a:moveTo>
                  <a:pt x="31125" y="14438"/>
                </a:moveTo>
                <a:cubicBezTo>
                  <a:pt x="31250" y="14281"/>
                  <a:pt x="31250" y="14469"/>
                  <a:pt x="31313" y="14469"/>
                </a:cubicBezTo>
                <a:cubicBezTo>
                  <a:pt x="31313" y="14469"/>
                  <a:pt x="31313" y="14531"/>
                  <a:pt x="31313" y="14531"/>
                </a:cubicBezTo>
                <a:cubicBezTo>
                  <a:pt x="31313" y="14563"/>
                  <a:pt x="31281" y="14563"/>
                  <a:pt x="31250" y="14531"/>
                </a:cubicBezTo>
                <a:cubicBezTo>
                  <a:pt x="31188" y="14500"/>
                  <a:pt x="31156" y="14469"/>
                  <a:pt x="31094" y="14438"/>
                </a:cubicBezTo>
                <a:cubicBezTo>
                  <a:pt x="31125" y="14438"/>
                  <a:pt x="31125" y="14438"/>
                  <a:pt x="31125" y="14438"/>
                </a:cubicBezTo>
                <a:close/>
                <a:moveTo>
                  <a:pt x="29406" y="14563"/>
                </a:moveTo>
                <a:cubicBezTo>
                  <a:pt x="29625" y="14563"/>
                  <a:pt x="29875" y="14469"/>
                  <a:pt x="30094" y="14531"/>
                </a:cubicBezTo>
                <a:cubicBezTo>
                  <a:pt x="30188" y="14563"/>
                  <a:pt x="30219" y="14656"/>
                  <a:pt x="30313" y="14625"/>
                </a:cubicBezTo>
                <a:cubicBezTo>
                  <a:pt x="30281" y="14688"/>
                  <a:pt x="30250" y="14781"/>
                  <a:pt x="30188" y="14656"/>
                </a:cubicBezTo>
                <a:cubicBezTo>
                  <a:pt x="30156" y="14625"/>
                  <a:pt x="30094" y="14656"/>
                  <a:pt x="30063" y="14656"/>
                </a:cubicBezTo>
                <a:cubicBezTo>
                  <a:pt x="29938" y="14750"/>
                  <a:pt x="29781" y="14750"/>
                  <a:pt x="29656" y="14813"/>
                </a:cubicBezTo>
                <a:cubicBezTo>
                  <a:pt x="29594" y="14813"/>
                  <a:pt x="29594" y="14781"/>
                  <a:pt x="29594" y="14750"/>
                </a:cubicBezTo>
                <a:cubicBezTo>
                  <a:pt x="29594" y="14750"/>
                  <a:pt x="29594" y="14750"/>
                  <a:pt x="29594" y="14750"/>
                </a:cubicBezTo>
                <a:cubicBezTo>
                  <a:pt x="29656" y="14719"/>
                  <a:pt x="29750" y="14719"/>
                  <a:pt x="29750" y="14625"/>
                </a:cubicBezTo>
                <a:cubicBezTo>
                  <a:pt x="29688" y="14625"/>
                  <a:pt x="29625" y="14656"/>
                  <a:pt x="29594" y="14719"/>
                </a:cubicBezTo>
                <a:cubicBezTo>
                  <a:pt x="29563" y="14719"/>
                  <a:pt x="29531" y="14719"/>
                  <a:pt x="29500" y="14719"/>
                </a:cubicBezTo>
                <a:cubicBezTo>
                  <a:pt x="29406" y="14750"/>
                  <a:pt x="29375" y="14719"/>
                  <a:pt x="29406" y="14625"/>
                </a:cubicBezTo>
                <a:cubicBezTo>
                  <a:pt x="29375" y="14625"/>
                  <a:pt x="29375" y="14625"/>
                  <a:pt x="29375" y="14625"/>
                </a:cubicBezTo>
                <a:cubicBezTo>
                  <a:pt x="29344" y="14625"/>
                  <a:pt x="29281" y="14656"/>
                  <a:pt x="29250" y="14625"/>
                </a:cubicBezTo>
                <a:cubicBezTo>
                  <a:pt x="29250" y="14531"/>
                  <a:pt x="29344" y="14563"/>
                  <a:pt x="29406" y="14563"/>
                </a:cubicBezTo>
                <a:close/>
                <a:moveTo>
                  <a:pt x="27844" y="14031"/>
                </a:moveTo>
                <a:cubicBezTo>
                  <a:pt x="27906" y="14031"/>
                  <a:pt x="27906" y="14063"/>
                  <a:pt x="27906" y="14125"/>
                </a:cubicBezTo>
                <a:cubicBezTo>
                  <a:pt x="27875" y="14188"/>
                  <a:pt x="27813" y="14188"/>
                  <a:pt x="27781" y="14188"/>
                </a:cubicBezTo>
                <a:cubicBezTo>
                  <a:pt x="27719" y="14219"/>
                  <a:pt x="27719" y="14188"/>
                  <a:pt x="27719" y="14156"/>
                </a:cubicBezTo>
                <a:cubicBezTo>
                  <a:pt x="27719" y="14094"/>
                  <a:pt x="27781" y="14063"/>
                  <a:pt x="27844" y="14031"/>
                </a:cubicBezTo>
                <a:close/>
                <a:moveTo>
                  <a:pt x="26063" y="14125"/>
                </a:moveTo>
                <a:cubicBezTo>
                  <a:pt x="26063" y="14188"/>
                  <a:pt x="26031" y="14250"/>
                  <a:pt x="25938" y="14281"/>
                </a:cubicBezTo>
                <a:cubicBezTo>
                  <a:pt x="25938" y="14250"/>
                  <a:pt x="25938" y="14250"/>
                  <a:pt x="25938" y="14250"/>
                </a:cubicBezTo>
                <a:cubicBezTo>
                  <a:pt x="25969" y="14188"/>
                  <a:pt x="25938" y="14094"/>
                  <a:pt x="26031" y="14094"/>
                </a:cubicBezTo>
                <a:cubicBezTo>
                  <a:pt x="26031" y="14094"/>
                  <a:pt x="26063" y="14094"/>
                  <a:pt x="26063" y="14125"/>
                </a:cubicBezTo>
                <a:close/>
                <a:moveTo>
                  <a:pt x="24250" y="13875"/>
                </a:moveTo>
                <a:cubicBezTo>
                  <a:pt x="24125" y="13875"/>
                  <a:pt x="24031" y="13906"/>
                  <a:pt x="23906" y="13844"/>
                </a:cubicBezTo>
                <a:cubicBezTo>
                  <a:pt x="24031" y="13750"/>
                  <a:pt x="24125" y="13750"/>
                  <a:pt x="24250" y="13875"/>
                </a:cubicBezTo>
                <a:close/>
                <a:moveTo>
                  <a:pt x="23719" y="13781"/>
                </a:moveTo>
                <a:cubicBezTo>
                  <a:pt x="23625" y="13813"/>
                  <a:pt x="23625" y="13938"/>
                  <a:pt x="23469" y="13906"/>
                </a:cubicBezTo>
                <a:cubicBezTo>
                  <a:pt x="23563" y="13844"/>
                  <a:pt x="23563" y="13656"/>
                  <a:pt x="23719" y="13781"/>
                </a:cubicBezTo>
                <a:close/>
                <a:moveTo>
                  <a:pt x="21094" y="10313"/>
                </a:moveTo>
                <a:cubicBezTo>
                  <a:pt x="21000" y="10406"/>
                  <a:pt x="21000" y="10375"/>
                  <a:pt x="20906" y="10344"/>
                </a:cubicBezTo>
                <a:cubicBezTo>
                  <a:pt x="20813" y="10313"/>
                  <a:pt x="20719" y="10188"/>
                  <a:pt x="20625" y="10313"/>
                </a:cubicBezTo>
                <a:cubicBezTo>
                  <a:pt x="20594" y="10344"/>
                  <a:pt x="20563" y="10281"/>
                  <a:pt x="20563" y="10281"/>
                </a:cubicBezTo>
                <a:cubicBezTo>
                  <a:pt x="20531" y="10219"/>
                  <a:pt x="20531" y="10188"/>
                  <a:pt x="20594" y="10188"/>
                </a:cubicBezTo>
                <a:cubicBezTo>
                  <a:pt x="20656" y="10156"/>
                  <a:pt x="20719" y="10156"/>
                  <a:pt x="20781" y="10188"/>
                </a:cubicBezTo>
                <a:cubicBezTo>
                  <a:pt x="20875" y="10219"/>
                  <a:pt x="20969" y="10281"/>
                  <a:pt x="21094" y="10313"/>
                </a:cubicBezTo>
                <a:close/>
                <a:moveTo>
                  <a:pt x="19594" y="12719"/>
                </a:moveTo>
                <a:cubicBezTo>
                  <a:pt x="19625" y="12656"/>
                  <a:pt x="19719" y="12688"/>
                  <a:pt x="19781" y="12688"/>
                </a:cubicBezTo>
                <a:cubicBezTo>
                  <a:pt x="19875" y="12688"/>
                  <a:pt x="19969" y="12656"/>
                  <a:pt x="19906" y="12813"/>
                </a:cubicBezTo>
                <a:cubicBezTo>
                  <a:pt x="19875" y="12875"/>
                  <a:pt x="19844" y="12906"/>
                  <a:pt x="19781" y="12844"/>
                </a:cubicBezTo>
                <a:cubicBezTo>
                  <a:pt x="19781" y="12844"/>
                  <a:pt x="19750" y="12844"/>
                  <a:pt x="19750" y="12844"/>
                </a:cubicBezTo>
                <a:cubicBezTo>
                  <a:pt x="19688" y="12813"/>
                  <a:pt x="19594" y="12813"/>
                  <a:pt x="19594" y="12719"/>
                </a:cubicBezTo>
                <a:close/>
                <a:moveTo>
                  <a:pt x="19188" y="12500"/>
                </a:moveTo>
                <a:cubicBezTo>
                  <a:pt x="19375" y="12469"/>
                  <a:pt x="19531" y="12500"/>
                  <a:pt x="19688" y="12625"/>
                </a:cubicBezTo>
                <a:cubicBezTo>
                  <a:pt x="19500" y="12656"/>
                  <a:pt x="19313" y="12625"/>
                  <a:pt x="19188" y="12500"/>
                </a:cubicBezTo>
                <a:close/>
                <a:moveTo>
                  <a:pt x="19563" y="10281"/>
                </a:moveTo>
                <a:cubicBezTo>
                  <a:pt x="19125" y="10094"/>
                  <a:pt x="18688" y="9969"/>
                  <a:pt x="18219" y="9844"/>
                </a:cubicBezTo>
                <a:cubicBezTo>
                  <a:pt x="18281" y="9781"/>
                  <a:pt x="18313" y="9719"/>
                  <a:pt x="18188" y="9750"/>
                </a:cubicBezTo>
                <a:cubicBezTo>
                  <a:pt x="18031" y="9781"/>
                  <a:pt x="17906" y="9719"/>
                  <a:pt x="17750" y="9688"/>
                </a:cubicBezTo>
                <a:cubicBezTo>
                  <a:pt x="17688" y="9688"/>
                  <a:pt x="17688" y="9688"/>
                  <a:pt x="17719" y="9625"/>
                </a:cubicBezTo>
                <a:cubicBezTo>
                  <a:pt x="17750" y="9563"/>
                  <a:pt x="17688" y="9563"/>
                  <a:pt x="17656" y="9531"/>
                </a:cubicBezTo>
                <a:cubicBezTo>
                  <a:pt x="17813" y="9500"/>
                  <a:pt x="17969" y="9531"/>
                  <a:pt x="18125" y="9656"/>
                </a:cubicBezTo>
                <a:cubicBezTo>
                  <a:pt x="18156" y="9688"/>
                  <a:pt x="18156" y="9656"/>
                  <a:pt x="18188" y="9656"/>
                </a:cubicBezTo>
                <a:cubicBezTo>
                  <a:pt x="18250" y="9656"/>
                  <a:pt x="18281" y="9656"/>
                  <a:pt x="18313" y="9688"/>
                </a:cubicBezTo>
                <a:cubicBezTo>
                  <a:pt x="18344" y="9813"/>
                  <a:pt x="18438" y="9781"/>
                  <a:pt x="18563" y="9781"/>
                </a:cubicBezTo>
                <a:cubicBezTo>
                  <a:pt x="18719" y="9781"/>
                  <a:pt x="18844" y="9844"/>
                  <a:pt x="18969" y="9906"/>
                </a:cubicBezTo>
                <a:cubicBezTo>
                  <a:pt x="19188" y="10000"/>
                  <a:pt x="19406" y="10094"/>
                  <a:pt x="19625" y="10188"/>
                </a:cubicBezTo>
                <a:cubicBezTo>
                  <a:pt x="19781" y="10219"/>
                  <a:pt x="19906" y="10313"/>
                  <a:pt x="20031" y="10375"/>
                </a:cubicBezTo>
                <a:cubicBezTo>
                  <a:pt x="20094" y="10406"/>
                  <a:pt x="20063" y="10438"/>
                  <a:pt x="20063" y="10469"/>
                </a:cubicBezTo>
                <a:cubicBezTo>
                  <a:pt x="20031" y="10500"/>
                  <a:pt x="20000" y="10469"/>
                  <a:pt x="19969" y="10469"/>
                </a:cubicBezTo>
                <a:cubicBezTo>
                  <a:pt x="19844" y="10406"/>
                  <a:pt x="19688" y="10344"/>
                  <a:pt x="19563" y="10281"/>
                </a:cubicBezTo>
                <a:close/>
                <a:moveTo>
                  <a:pt x="18938" y="9531"/>
                </a:moveTo>
                <a:cubicBezTo>
                  <a:pt x="19000" y="9531"/>
                  <a:pt x="19031" y="9531"/>
                  <a:pt x="19031" y="9563"/>
                </a:cubicBezTo>
                <a:cubicBezTo>
                  <a:pt x="19063" y="9625"/>
                  <a:pt x="19031" y="9625"/>
                  <a:pt x="19000" y="9625"/>
                </a:cubicBezTo>
                <a:cubicBezTo>
                  <a:pt x="18969" y="9563"/>
                  <a:pt x="18906" y="9625"/>
                  <a:pt x="18875" y="9563"/>
                </a:cubicBezTo>
                <a:cubicBezTo>
                  <a:pt x="18875" y="9531"/>
                  <a:pt x="18938" y="9531"/>
                  <a:pt x="18938" y="9531"/>
                </a:cubicBezTo>
                <a:close/>
                <a:moveTo>
                  <a:pt x="15375" y="7250"/>
                </a:moveTo>
                <a:cubicBezTo>
                  <a:pt x="15438" y="7281"/>
                  <a:pt x="15563" y="7250"/>
                  <a:pt x="15594" y="7375"/>
                </a:cubicBezTo>
                <a:cubicBezTo>
                  <a:pt x="15594" y="7406"/>
                  <a:pt x="15563" y="7406"/>
                  <a:pt x="15563" y="7406"/>
                </a:cubicBezTo>
                <a:cubicBezTo>
                  <a:pt x="15469" y="7375"/>
                  <a:pt x="15375" y="7375"/>
                  <a:pt x="15313" y="7281"/>
                </a:cubicBezTo>
                <a:cubicBezTo>
                  <a:pt x="15313" y="7281"/>
                  <a:pt x="15344" y="7250"/>
                  <a:pt x="15375" y="7250"/>
                </a:cubicBezTo>
                <a:close/>
                <a:moveTo>
                  <a:pt x="15500" y="7719"/>
                </a:moveTo>
                <a:cubicBezTo>
                  <a:pt x="15500" y="7750"/>
                  <a:pt x="15469" y="7781"/>
                  <a:pt x="15406" y="7781"/>
                </a:cubicBezTo>
                <a:cubicBezTo>
                  <a:pt x="15375" y="7781"/>
                  <a:pt x="15344" y="7781"/>
                  <a:pt x="15344" y="7719"/>
                </a:cubicBezTo>
                <a:cubicBezTo>
                  <a:pt x="15375" y="7688"/>
                  <a:pt x="15406" y="7656"/>
                  <a:pt x="15438" y="7656"/>
                </a:cubicBezTo>
                <a:cubicBezTo>
                  <a:pt x="15469" y="7656"/>
                  <a:pt x="15500" y="7656"/>
                  <a:pt x="15500" y="7719"/>
                </a:cubicBezTo>
                <a:close/>
                <a:moveTo>
                  <a:pt x="14781" y="6969"/>
                </a:moveTo>
                <a:cubicBezTo>
                  <a:pt x="14781" y="7094"/>
                  <a:pt x="14906" y="7063"/>
                  <a:pt x="15000" y="7094"/>
                </a:cubicBezTo>
                <a:cubicBezTo>
                  <a:pt x="15000" y="7094"/>
                  <a:pt x="15031" y="7125"/>
                  <a:pt x="15000" y="7156"/>
                </a:cubicBezTo>
                <a:cubicBezTo>
                  <a:pt x="15000" y="7156"/>
                  <a:pt x="14969" y="7156"/>
                  <a:pt x="14938" y="7156"/>
                </a:cubicBezTo>
                <a:cubicBezTo>
                  <a:pt x="14906" y="7156"/>
                  <a:pt x="14844" y="7125"/>
                  <a:pt x="14813" y="7156"/>
                </a:cubicBezTo>
                <a:cubicBezTo>
                  <a:pt x="14781" y="7219"/>
                  <a:pt x="14875" y="7188"/>
                  <a:pt x="14875" y="7281"/>
                </a:cubicBezTo>
                <a:cubicBezTo>
                  <a:pt x="14750" y="7156"/>
                  <a:pt x="14594" y="7281"/>
                  <a:pt x="14500" y="7219"/>
                </a:cubicBezTo>
                <a:cubicBezTo>
                  <a:pt x="14406" y="7188"/>
                  <a:pt x="14344" y="7156"/>
                  <a:pt x="14250" y="7156"/>
                </a:cubicBezTo>
                <a:cubicBezTo>
                  <a:pt x="14188" y="7156"/>
                  <a:pt x="14156" y="7094"/>
                  <a:pt x="14188" y="7031"/>
                </a:cubicBezTo>
                <a:cubicBezTo>
                  <a:pt x="14188" y="6969"/>
                  <a:pt x="14250" y="7031"/>
                  <a:pt x="14281" y="7031"/>
                </a:cubicBezTo>
                <a:cubicBezTo>
                  <a:pt x="14344" y="7031"/>
                  <a:pt x="14438" y="7063"/>
                  <a:pt x="14500" y="7063"/>
                </a:cubicBezTo>
                <a:cubicBezTo>
                  <a:pt x="14531" y="7094"/>
                  <a:pt x="14563" y="7094"/>
                  <a:pt x="14594" y="7063"/>
                </a:cubicBezTo>
                <a:cubicBezTo>
                  <a:pt x="14594" y="7031"/>
                  <a:pt x="14594" y="7000"/>
                  <a:pt x="14563" y="7000"/>
                </a:cubicBezTo>
                <a:cubicBezTo>
                  <a:pt x="14531" y="6969"/>
                  <a:pt x="14531" y="7031"/>
                  <a:pt x="14500" y="7031"/>
                </a:cubicBezTo>
                <a:cubicBezTo>
                  <a:pt x="14469" y="7031"/>
                  <a:pt x="14438" y="7063"/>
                  <a:pt x="14406" y="7031"/>
                </a:cubicBezTo>
                <a:cubicBezTo>
                  <a:pt x="14406" y="7031"/>
                  <a:pt x="14406" y="7000"/>
                  <a:pt x="14406" y="6969"/>
                </a:cubicBezTo>
                <a:cubicBezTo>
                  <a:pt x="14438" y="6938"/>
                  <a:pt x="14469" y="6906"/>
                  <a:pt x="14531" y="6906"/>
                </a:cubicBezTo>
                <a:cubicBezTo>
                  <a:pt x="14594" y="6938"/>
                  <a:pt x="14688" y="7000"/>
                  <a:pt x="14781" y="6969"/>
                </a:cubicBezTo>
                <a:close/>
                <a:moveTo>
                  <a:pt x="14500" y="6375"/>
                </a:moveTo>
                <a:cubicBezTo>
                  <a:pt x="14531" y="6406"/>
                  <a:pt x="14594" y="6375"/>
                  <a:pt x="14625" y="6406"/>
                </a:cubicBezTo>
                <a:cubicBezTo>
                  <a:pt x="14625" y="6469"/>
                  <a:pt x="14594" y="6469"/>
                  <a:pt x="14563" y="6469"/>
                </a:cubicBezTo>
                <a:cubicBezTo>
                  <a:pt x="14531" y="6469"/>
                  <a:pt x="14469" y="6438"/>
                  <a:pt x="14469" y="6406"/>
                </a:cubicBezTo>
                <a:cubicBezTo>
                  <a:pt x="14438" y="6406"/>
                  <a:pt x="14344" y="6406"/>
                  <a:pt x="14375" y="6344"/>
                </a:cubicBezTo>
                <a:cubicBezTo>
                  <a:pt x="14406" y="6281"/>
                  <a:pt x="14469" y="6344"/>
                  <a:pt x="14500" y="6375"/>
                </a:cubicBezTo>
                <a:close/>
                <a:moveTo>
                  <a:pt x="13500" y="2313"/>
                </a:moveTo>
                <a:cubicBezTo>
                  <a:pt x="13656" y="2407"/>
                  <a:pt x="13844" y="2344"/>
                  <a:pt x="13969" y="2407"/>
                </a:cubicBezTo>
                <a:cubicBezTo>
                  <a:pt x="14063" y="2438"/>
                  <a:pt x="14125" y="2438"/>
                  <a:pt x="14188" y="2438"/>
                </a:cubicBezTo>
                <a:cubicBezTo>
                  <a:pt x="14219" y="2438"/>
                  <a:pt x="14250" y="2438"/>
                  <a:pt x="14313" y="2438"/>
                </a:cubicBezTo>
                <a:cubicBezTo>
                  <a:pt x="14344" y="2438"/>
                  <a:pt x="14406" y="2469"/>
                  <a:pt x="14406" y="2532"/>
                </a:cubicBezTo>
                <a:cubicBezTo>
                  <a:pt x="14406" y="2532"/>
                  <a:pt x="14406" y="2532"/>
                  <a:pt x="14406" y="2532"/>
                </a:cubicBezTo>
                <a:cubicBezTo>
                  <a:pt x="14313" y="2625"/>
                  <a:pt x="14313" y="2594"/>
                  <a:pt x="14250" y="2594"/>
                </a:cubicBezTo>
                <a:cubicBezTo>
                  <a:pt x="14063" y="2532"/>
                  <a:pt x="13875" y="2438"/>
                  <a:pt x="13656" y="2500"/>
                </a:cubicBezTo>
                <a:cubicBezTo>
                  <a:pt x="13563" y="2532"/>
                  <a:pt x="13469" y="2469"/>
                  <a:pt x="13438" y="2375"/>
                </a:cubicBezTo>
                <a:cubicBezTo>
                  <a:pt x="13438" y="2344"/>
                  <a:pt x="13438" y="2313"/>
                  <a:pt x="13500" y="2313"/>
                </a:cubicBezTo>
                <a:close/>
                <a:moveTo>
                  <a:pt x="13844" y="6813"/>
                </a:moveTo>
                <a:cubicBezTo>
                  <a:pt x="13906" y="6781"/>
                  <a:pt x="13969" y="6844"/>
                  <a:pt x="14031" y="6875"/>
                </a:cubicBezTo>
                <a:cubicBezTo>
                  <a:pt x="13969" y="6875"/>
                  <a:pt x="13906" y="7000"/>
                  <a:pt x="13844" y="6875"/>
                </a:cubicBezTo>
                <a:cubicBezTo>
                  <a:pt x="13813" y="6875"/>
                  <a:pt x="13781" y="6844"/>
                  <a:pt x="13844" y="6813"/>
                </a:cubicBezTo>
                <a:close/>
                <a:moveTo>
                  <a:pt x="13750" y="6250"/>
                </a:moveTo>
                <a:cubicBezTo>
                  <a:pt x="13875" y="6188"/>
                  <a:pt x="13938" y="6219"/>
                  <a:pt x="14031" y="6281"/>
                </a:cubicBezTo>
                <a:cubicBezTo>
                  <a:pt x="14063" y="6313"/>
                  <a:pt x="14031" y="6344"/>
                  <a:pt x="14031" y="6375"/>
                </a:cubicBezTo>
                <a:cubicBezTo>
                  <a:pt x="14000" y="6375"/>
                  <a:pt x="14000" y="6375"/>
                  <a:pt x="13969" y="6375"/>
                </a:cubicBezTo>
                <a:cubicBezTo>
                  <a:pt x="13906" y="6344"/>
                  <a:pt x="13844" y="6281"/>
                  <a:pt x="13750" y="6250"/>
                </a:cubicBezTo>
                <a:close/>
                <a:moveTo>
                  <a:pt x="14031" y="7156"/>
                </a:moveTo>
                <a:cubicBezTo>
                  <a:pt x="14125" y="7156"/>
                  <a:pt x="14125" y="7188"/>
                  <a:pt x="14125" y="7219"/>
                </a:cubicBezTo>
                <a:cubicBezTo>
                  <a:pt x="14125" y="7250"/>
                  <a:pt x="14125" y="7313"/>
                  <a:pt x="14063" y="7313"/>
                </a:cubicBezTo>
                <a:cubicBezTo>
                  <a:pt x="14000" y="7313"/>
                  <a:pt x="13969" y="7250"/>
                  <a:pt x="13969" y="7219"/>
                </a:cubicBezTo>
                <a:cubicBezTo>
                  <a:pt x="13969" y="7156"/>
                  <a:pt x="14031" y="7156"/>
                  <a:pt x="14031" y="7156"/>
                </a:cubicBezTo>
                <a:close/>
                <a:moveTo>
                  <a:pt x="12781" y="6688"/>
                </a:moveTo>
                <a:cubicBezTo>
                  <a:pt x="12750" y="6656"/>
                  <a:pt x="12750" y="6656"/>
                  <a:pt x="12719" y="6656"/>
                </a:cubicBezTo>
                <a:cubicBezTo>
                  <a:pt x="12750" y="6594"/>
                  <a:pt x="12781" y="6563"/>
                  <a:pt x="12844" y="6563"/>
                </a:cubicBezTo>
                <a:cubicBezTo>
                  <a:pt x="13156" y="6531"/>
                  <a:pt x="13406" y="6688"/>
                  <a:pt x="13719" y="6750"/>
                </a:cubicBezTo>
                <a:cubicBezTo>
                  <a:pt x="13719" y="6750"/>
                  <a:pt x="13750" y="6781"/>
                  <a:pt x="13750" y="6781"/>
                </a:cubicBezTo>
                <a:cubicBezTo>
                  <a:pt x="13750" y="6813"/>
                  <a:pt x="13719" y="6813"/>
                  <a:pt x="13688" y="6813"/>
                </a:cubicBezTo>
                <a:cubicBezTo>
                  <a:pt x="13625" y="6813"/>
                  <a:pt x="13563" y="6813"/>
                  <a:pt x="13500" y="6813"/>
                </a:cubicBezTo>
                <a:cubicBezTo>
                  <a:pt x="13281" y="6719"/>
                  <a:pt x="13031" y="6719"/>
                  <a:pt x="12781" y="6688"/>
                </a:cubicBezTo>
                <a:close/>
                <a:moveTo>
                  <a:pt x="13250" y="7094"/>
                </a:moveTo>
                <a:cubicBezTo>
                  <a:pt x="13188" y="7031"/>
                  <a:pt x="13188" y="7219"/>
                  <a:pt x="13094" y="7125"/>
                </a:cubicBezTo>
                <a:cubicBezTo>
                  <a:pt x="13063" y="7094"/>
                  <a:pt x="13031" y="7063"/>
                  <a:pt x="12969" y="7063"/>
                </a:cubicBezTo>
                <a:cubicBezTo>
                  <a:pt x="13031" y="6969"/>
                  <a:pt x="13125" y="7000"/>
                  <a:pt x="13219" y="7000"/>
                </a:cubicBezTo>
                <a:cubicBezTo>
                  <a:pt x="13250" y="7000"/>
                  <a:pt x="13250" y="7031"/>
                  <a:pt x="13250" y="7094"/>
                </a:cubicBezTo>
                <a:close/>
                <a:moveTo>
                  <a:pt x="11719" y="6219"/>
                </a:moveTo>
                <a:cubicBezTo>
                  <a:pt x="11781" y="6188"/>
                  <a:pt x="11813" y="6219"/>
                  <a:pt x="11844" y="6250"/>
                </a:cubicBezTo>
                <a:cubicBezTo>
                  <a:pt x="11906" y="6281"/>
                  <a:pt x="11969" y="6281"/>
                  <a:pt x="12031" y="6281"/>
                </a:cubicBezTo>
                <a:cubicBezTo>
                  <a:pt x="12000" y="6313"/>
                  <a:pt x="12000" y="6344"/>
                  <a:pt x="11938" y="6344"/>
                </a:cubicBezTo>
                <a:cubicBezTo>
                  <a:pt x="11906" y="6344"/>
                  <a:pt x="11844" y="6344"/>
                  <a:pt x="11875" y="6438"/>
                </a:cubicBezTo>
                <a:cubicBezTo>
                  <a:pt x="11875" y="6469"/>
                  <a:pt x="11750" y="6438"/>
                  <a:pt x="11656" y="6469"/>
                </a:cubicBezTo>
                <a:cubicBezTo>
                  <a:pt x="11625" y="6469"/>
                  <a:pt x="11594" y="6438"/>
                  <a:pt x="11563" y="6406"/>
                </a:cubicBezTo>
                <a:cubicBezTo>
                  <a:pt x="11563" y="6344"/>
                  <a:pt x="11594" y="6344"/>
                  <a:pt x="11625" y="6344"/>
                </a:cubicBezTo>
                <a:cubicBezTo>
                  <a:pt x="11656" y="6344"/>
                  <a:pt x="11719" y="6344"/>
                  <a:pt x="11750" y="6344"/>
                </a:cubicBezTo>
                <a:cubicBezTo>
                  <a:pt x="11781" y="6281"/>
                  <a:pt x="11688" y="6281"/>
                  <a:pt x="11719" y="6219"/>
                </a:cubicBezTo>
                <a:close/>
                <a:moveTo>
                  <a:pt x="11906" y="6531"/>
                </a:moveTo>
                <a:cubicBezTo>
                  <a:pt x="11969" y="6531"/>
                  <a:pt x="12063" y="6531"/>
                  <a:pt x="12063" y="6625"/>
                </a:cubicBezTo>
                <a:cubicBezTo>
                  <a:pt x="12094" y="6688"/>
                  <a:pt x="12000" y="6625"/>
                  <a:pt x="11969" y="6656"/>
                </a:cubicBezTo>
                <a:cubicBezTo>
                  <a:pt x="11906" y="6656"/>
                  <a:pt x="11844" y="6656"/>
                  <a:pt x="11813" y="6563"/>
                </a:cubicBezTo>
                <a:cubicBezTo>
                  <a:pt x="11813" y="6500"/>
                  <a:pt x="11875" y="6531"/>
                  <a:pt x="11906" y="6531"/>
                </a:cubicBezTo>
                <a:close/>
                <a:moveTo>
                  <a:pt x="11563" y="5875"/>
                </a:moveTo>
                <a:cubicBezTo>
                  <a:pt x="11344" y="5781"/>
                  <a:pt x="11094" y="5750"/>
                  <a:pt x="10875" y="5781"/>
                </a:cubicBezTo>
                <a:cubicBezTo>
                  <a:pt x="10781" y="5781"/>
                  <a:pt x="10750" y="5750"/>
                  <a:pt x="10750" y="5688"/>
                </a:cubicBezTo>
                <a:cubicBezTo>
                  <a:pt x="10750" y="5594"/>
                  <a:pt x="10750" y="5531"/>
                  <a:pt x="10875" y="5531"/>
                </a:cubicBezTo>
                <a:cubicBezTo>
                  <a:pt x="11188" y="5531"/>
                  <a:pt x="11500" y="5594"/>
                  <a:pt x="11781" y="5656"/>
                </a:cubicBezTo>
                <a:cubicBezTo>
                  <a:pt x="12281" y="5750"/>
                  <a:pt x="12750" y="5938"/>
                  <a:pt x="13219" y="6031"/>
                </a:cubicBezTo>
                <a:cubicBezTo>
                  <a:pt x="13250" y="6031"/>
                  <a:pt x="13313" y="6031"/>
                  <a:pt x="13344" y="6063"/>
                </a:cubicBezTo>
                <a:cubicBezTo>
                  <a:pt x="13250" y="6219"/>
                  <a:pt x="13125" y="6156"/>
                  <a:pt x="13031" y="6125"/>
                </a:cubicBezTo>
                <a:cubicBezTo>
                  <a:pt x="12875" y="6063"/>
                  <a:pt x="12719" y="6031"/>
                  <a:pt x="12594" y="6063"/>
                </a:cubicBezTo>
                <a:cubicBezTo>
                  <a:pt x="12469" y="6094"/>
                  <a:pt x="12406" y="5969"/>
                  <a:pt x="12281" y="5969"/>
                </a:cubicBezTo>
                <a:cubicBezTo>
                  <a:pt x="12063" y="5906"/>
                  <a:pt x="11781" y="5938"/>
                  <a:pt x="11563" y="5875"/>
                </a:cubicBezTo>
                <a:close/>
                <a:moveTo>
                  <a:pt x="7344" y="2938"/>
                </a:moveTo>
                <a:cubicBezTo>
                  <a:pt x="7469" y="2844"/>
                  <a:pt x="7594" y="2844"/>
                  <a:pt x="7719" y="2813"/>
                </a:cubicBezTo>
                <a:cubicBezTo>
                  <a:pt x="7938" y="2750"/>
                  <a:pt x="8156" y="2719"/>
                  <a:pt x="8375" y="2750"/>
                </a:cubicBezTo>
                <a:cubicBezTo>
                  <a:pt x="8406" y="2750"/>
                  <a:pt x="8438" y="2719"/>
                  <a:pt x="8469" y="2782"/>
                </a:cubicBezTo>
                <a:cubicBezTo>
                  <a:pt x="8469" y="2844"/>
                  <a:pt x="8406" y="2813"/>
                  <a:pt x="8375" y="2844"/>
                </a:cubicBezTo>
                <a:cubicBezTo>
                  <a:pt x="8250" y="2906"/>
                  <a:pt x="8125" y="2875"/>
                  <a:pt x="8000" y="2875"/>
                </a:cubicBezTo>
                <a:cubicBezTo>
                  <a:pt x="7781" y="2906"/>
                  <a:pt x="7594" y="2938"/>
                  <a:pt x="7344" y="2938"/>
                </a:cubicBezTo>
                <a:close/>
                <a:moveTo>
                  <a:pt x="7750" y="5750"/>
                </a:moveTo>
                <a:cubicBezTo>
                  <a:pt x="7719" y="5719"/>
                  <a:pt x="7656" y="5719"/>
                  <a:pt x="7656" y="5688"/>
                </a:cubicBezTo>
                <a:cubicBezTo>
                  <a:pt x="7688" y="5594"/>
                  <a:pt x="7781" y="5594"/>
                  <a:pt x="7875" y="5563"/>
                </a:cubicBezTo>
                <a:cubicBezTo>
                  <a:pt x="7938" y="5531"/>
                  <a:pt x="7906" y="5563"/>
                  <a:pt x="7938" y="5594"/>
                </a:cubicBezTo>
                <a:cubicBezTo>
                  <a:pt x="7938" y="5750"/>
                  <a:pt x="7781" y="5688"/>
                  <a:pt x="7750" y="5750"/>
                </a:cubicBezTo>
                <a:close/>
                <a:moveTo>
                  <a:pt x="8094" y="2594"/>
                </a:moveTo>
                <a:cubicBezTo>
                  <a:pt x="8094" y="2563"/>
                  <a:pt x="8094" y="2563"/>
                  <a:pt x="8125" y="2532"/>
                </a:cubicBezTo>
                <a:cubicBezTo>
                  <a:pt x="8219" y="2469"/>
                  <a:pt x="8313" y="2469"/>
                  <a:pt x="8438" y="2532"/>
                </a:cubicBezTo>
                <a:cubicBezTo>
                  <a:pt x="8344" y="2625"/>
                  <a:pt x="8250" y="2657"/>
                  <a:pt x="8156" y="2657"/>
                </a:cubicBezTo>
                <a:cubicBezTo>
                  <a:pt x="8125" y="2625"/>
                  <a:pt x="8094" y="2625"/>
                  <a:pt x="8094" y="2594"/>
                </a:cubicBezTo>
                <a:close/>
                <a:moveTo>
                  <a:pt x="8063" y="4281"/>
                </a:moveTo>
                <a:cubicBezTo>
                  <a:pt x="8094" y="4250"/>
                  <a:pt x="8094" y="4250"/>
                  <a:pt x="8125" y="4250"/>
                </a:cubicBezTo>
                <a:cubicBezTo>
                  <a:pt x="8219" y="4250"/>
                  <a:pt x="8281" y="4281"/>
                  <a:pt x="8344" y="4281"/>
                </a:cubicBezTo>
                <a:cubicBezTo>
                  <a:pt x="8313" y="4344"/>
                  <a:pt x="8094" y="4375"/>
                  <a:pt x="8063" y="4313"/>
                </a:cubicBezTo>
                <a:cubicBezTo>
                  <a:pt x="8063" y="4313"/>
                  <a:pt x="8063" y="4281"/>
                  <a:pt x="8063" y="4281"/>
                </a:cubicBezTo>
                <a:close/>
                <a:moveTo>
                  <a:pt x="8281" y="5781"/>
                </a:moveTo>
                <a:cubicBezTo>
                  <a:pt x="8250" y="5781"/>
                  <a:pt x="8188" y="5719"/>
                  <a:pt x="8188" y="5688"/>
                </a:cubicBezTo>
                <a:cubicBezTo>
                  <a:pt x="8156" y="5656"/>
                  <a:pt x="8219" y="5625"/>
                  <a:pt x="8250" y="5625"/>
                </a:cubicBezTo>
                <a:cubicBezTo>
                  <a:pt x="8344" y="5625"/>
                  <a:pt x="8313" y="5688"/>
                  <a:pt x="8313" y="5719"/>
                </a:cubicBezTo>
                <a:cubicBezTo>
                  <a:pt x="8313" y="5750"/>
                  <a:pt x="8344" y="5781"/>
                  <a:pt x="8281" y="5781"/>
                </a:cubicBezTo>
                <a:close/>
                <a:moveTo>
                  <a:pt x="8375" y="6281"/>
                </a:moveTo>
                <a:cubicBezTo>
                  <a:pt x="8375" y="6313"/>
                  <a:pt x="8406" y="6313"/>
                  <a:pt x="8375" y="6344"/>
                </a:cubicBezTo>
                <a:cubicBezTo>
                  <a:pt x="8281" y="6438"/>
                  <a:pt x="8250" y="6344"/>
                  <a:pt x="8125" y="6344"/>
                </a:cubicBezTo>
                <a:cubicBezTo>
                  <a:pt x="8219" y="6250"/>
                  <a:pt x="8281" y="6250"/>
                  <a:pt x="8375" y="6281"/>
                </a:cubicBezTo>
                <a:close/>
                <a:moveTo>
                  <a:pt x="8375" y="5563"/>
                </a:moveTo>
                <a:cubicBezTo>
                  <a:pt x="8344" y="5531"/>
                  <a:pt x="8313" y="5563"/>
                  <a:pt x="8313" y="5531"/>
                </a:cubicBezTo>
                <a:cubicBezTo>
                  <a:pt x="8406" y="5438"/>
                  <a:pt x="8500" y="5625"/>
                  <a:pt x="8625" y="5531"/>
                </a:cubicBezTo>
                <a:cubicBezTo>
                  <a:pt x="8531" y="5719"/>
                  <a:pt x="8500" y="5719"/>
                  <a:pt x="8375" y="5563"/>
                </a:cubicBezTo>
                <a:close/>
                <a:moveTo>
                  <a:pt x="8969" y="6219"/>
                </a:moveTo>
                <a:cubicBezTo>
                  <a:pt x="9000" y="6250"/>
                  <a:pt x="8969" y="6281"/>
                  <a:pt x="8969" y="6281"/>
                </a:cubicBezTo>
                <a:cubicBezTo>
                  <a:pt x="8906" y="6344"/>
                  <a:pt x="8844" y="6344"/>
                  <a:pt x="8781" y="6344"/>
                </a:cubicBezTo>
                <a:cubicBezTo>
                  <a:pt x="8688" y="6313"/>
                  <a:pt x="8625" y="6313"/>
                  <a:pt x="8563" y="6344"/>
                </a:cubicBezTo>
                <a:cubicBezTo>
                  <a:pt x="8656" y="6188"/>
                  <a:pt x="8844" y="6156"/>
                  <a:pt x="8969" y="6219"/>
                </a:cubicBezTo>
                <a:close/>
                <a:moveTo>
                  <a:pt x="8719" y="5469"/>
                </a:moveTo>
                <a:cubicBezTo>
                  <a:pt x="8875" y="5469"/>
                  <a:pt x="9031" y="5406"/>
                  <a:pt x="9156" y="5531"/>
                </a:cubicBezTo>
                <a:cubicBezTo>
                  <a:pt x="9000" y="5500"/>
                  <a:pt x="8844" y="5594"/>
                  <a:pt x="8719" y="5469"/>
                </a:cubicBezTo>
                <a:close/>
                <a:moveTo>
                  <a:pt x="8938" y="2688"/>
                </a:moveTo>
                <a:cubicBezTo>
                  <a:pt x="8969" y="2657"/>
                  <a:pt x="8969" y="2688"/>
                  <a:pt x="9000" y="2719"/>
                </a:cubicBezTo>
                <a:cubicBezTo>
                  <a:pt x="8969" y="2750"/>
                  <a:pt x="8938" y="2782"/>
                  <a:pt x="8906" y="2782"/>
                </a:cubicBezTo>
                <a:cubicBezTo>
                  <a:pt x="8844" y="2782"/>
                  <a:pt x="8781" y="2782"/>
                  <a:pt x="8813" y="2719"/>
                </a:cubicBezTo>
                <a:cubicBezTo>
                  <a:pt x="8813" y="2657"/>
                  <a:pt x="8906" y="2719"/>
                  <a:pt x="8938" y="2688"/>
                </a:cubicBezTo>
                <a:close/>
                <a:moveTo>
                  <a:pt x="8813" y="2375"/>
                </a:moveTo>
                <a:cubicBezTo>
                  <a:pt x="8875" y="2282"/>
                  <a:pt x="8906" y="2250"/>
                  <a:pt x="9125" y="2282"/>
                </a:cubicBezTo>
                <a:cubicBezTo>
                  <a:pt x="9000" y="2313"/>
                  <a:pt x="8906" y="2344"/>
                  <a:pt x="8813" y="2375"/>
                </a:cubicBezTo>
                <a:close/>
                <a:moveTo>
                  <a:pt x="9156" y="2438"/>
                </a:moveTo>
                <a:cubicBezTo>
                  <a:pt x="9156" y="2407"/>
                  <a:pt x="9188" y="2407"/>
                  <a:pt x="9188" y="2407"/>
                </a:cubicBezTo>
                <a:cubicBezTo>
                  <a:pt x="9250" y="2407"/>
                  <a:pt x="9281" y="2407"/>
                  <a:pt x="9281" y="2469"/>
                </a:cubicBezTo>
                <a:cubicBezTo>
                  <a:pt x="9281" y="2500"/>
                  <a:pt x="9250" y="2532"/>
                  <a:pt x="9219" y="2532"/>
                </a:cubicBezTo>
                <a:cubicBezTo>
                  <a:pt x="9156" y="2532"/>
                  <a:pt x="9156" y="2469"/>
                  <a:pt x="9156" y="2438"/>
                </a:cubicBezTo>
                <a:close/>
                <a:moveTo>
                  <a:pt x="9125" y="6250"/>
                </a:moveTo>
                <a:cubicBezTo>
                  <a:pt x="9156" y="6219"/>
                  <a:pt x="9188" y="6219"/>
                  <a:pt x="9219" y="6156"/>
                </a:cubicBezTo>
                <a:cubicBezTo>
                  <a:pt x="9250" y="6125"/>
                  <a:pt x="9313" y="6094"/>
                  <a:pt x="9375" y="6188"/>
                </a:cubicBezTo>
                <a:cubicBezTo>
                  <a:pt x="9406" y="6250"/>
                  <a:pt x="9438" y="6313"/>
                  <a:pt x="9500" y="6219"/>
                </a:cubicBezTo>
                <a:cubicBezTo>
                  <a:pt x="9531" y="6188"/>
                  <a:pt x="9531" y="6125"/>
                  <a:pt x="9594" y="6156"/>
                </a:cubicBezTo>
                <a:cubicBezTo>
                  <a:pt x="9656" y="6188"/>
                  <a:pt x="9563" y="6219"/>
                  <a:pt x="9594" y="6281"/>
                </a:cubicBezTo>
                <a:cubicBezTo>
                  <a:pt x="9750" y="6188"/>
                  <a:pt x="9875" y="6344"/>
                  <a:pt x="10031" y="6344"/>
                </a:cubicBezTo>
                <a:cubicBezTo>
                  <a:pt x="10063" y="6344"/>
                  <a:pt x="10125" y="6344"/>
                  <a:pt x="10156" y="6375"/>
                </a:cubicBezTo>
                <a:cubicBezTo>
                  <a:pt x="10188" y="6375"/>
                  <a:pt x="10219" y="6375"/>
                  <a:pt x="10250" y="6313"/>
                </a:cubicBezTo>
                <a:cubicBezTo>
                  <a:pt x="10250" y="6281"/>
                  <a:pt x="10188" y="6281"/>
                  <a:pt x="10156" y="6281"/>
                </a:cubicBezTo>
                <a:cubicBezTo>
                  <a:pt x="10094" y="6250"/>
                  <a:pt x="9969" y="6250"/>
                  <a:pt x="9906" y="6125"/>
                </a:cubicBezTo>
                <a:cubicBezTo>
                  <a:pt x="10063" y="6156"/>
                  <a:pt x="10219" y="6125"/>
                  <a:pt x="10344" y="6250"/>
                </a:cubicBezTo>
                <a:cubicBezTo>
                  <a:pt x="10375" y="6281"/>
                  <a:pt x="10375" y="6344"/>
                  <a:pt x="10313" y="6375"/>
                </a:cubicBezTo>
                <a:cubicBezTo>
                  <a:pt x="10219" y="6406"/>
                  <a:pt x="10156" y="6531"/>
                  <a:pt x="10031" y="6406"/>
                </a:cubicBezTo>
                <a:cubicBezTo>
                  <a:pt x="9781" y="6438"/>
                  <a:pt x="9531" y="6281"/>
                  <a:pt x="9281" y="6375"/>
                </a:cubicBezTo>
                <a:cubicBezTo>
                  <a:pt x="9250" y="6406"/>
                  <a:pt x="9188" y="6406"/>
                  <a:pt x="9156" y="6375"/>
                </a:cubicBezTo>
                <a:cubicBezTo>
                  <a:pt x="9063" y="6375"/>
                  <a:pt x="9031" y="6313"/>
                  <a:pt x="9125" y="6250"/>
                </a:cubicBezTo>
                <a:close/>
                <a:moveTo>
                  <a:pt x="10344" y="5656"/>
                </a:moveTo>
                <a:cubicBezTo>
                  <a:pt x="10313" y="5656"/>
                  <a:pt x="10250" y="5750"/>
                  <a:pt x="10188" y="5625"/>
                </a:cubicBezTo>
                <a:cubicBezTo>
                  <a:pt x="10188" y="5625"/>
                  <a:pt x="10156" y="5656"/>
                  <a:pt x="10125" y="5656"/>
                </a:cubicBezTo>
                <a:cubicBezTo>
                  <a:pt x="10125" y="5688"/>
                  <a:pt x="10094" y="5719"/>
                  <a:pt x="10063" y="5719"/>
                </a:cubicBezTo>
                <a:cubicBezTo>
                  <a:pt x="9906" y="5688"/>
                  <a:pt x="9906" y="5781"/>
                  <a:pt x="9938" y="5906"/>
                </a:cubicBezTo>
                <a:cubicBezTo>
                  <a:pt x="9938" y="5906"/>
                  <a:pt x="9938" y="5906"/>
                  <a:pt x="9938" y="5906"/>
                </a:cubicBezTo>
                <a:cubicBezTo>
                  <a:pt x="9938" y="5969"/>
                  <a:pt x="9938" y="6000"/>
                  <a:pt x="9875" y="6031"/>
                </a:cubicBezTo>
                <a:cubicBezTo>
                  <a:pt x="9875" y="6063"/>
                  <a:pt x="9844" y="6031"/>
                  <a:pt x="9844" y="6031"/>
                </a:cubicBezTo>
                <a:cubicBezTo>
                  <a:pt x="9813" y="6000"/>
                  <a:pt x="9844" y="5969"/>
                  <a:pt x="9844" y="5906"/>
                </a:cubicBezTo>
                <a:cubicBezTo>
                  <a:pt x="9844" y="5875"/>
                  <a:pt x="9844" y="5844"/>
                  <a:pt x="9875" y="5813"/>
                </a:cubicBezTo>
                <a:cubicBezTo>
                  <a:pt x="9938" y="5688"/>
                  <a:pt x="9906" y="5688"/>
                  <a:pt x="9781" y="5625"/>
                </a:cubicBezTo>
                <a:cubicBezTo>
                  <a:pt x="9594" y="5563"/>
                  <a:pt x="9406" y="5625"/>
                  <a:pt x="9219" y="5625"/>
                </a:cubicBezTo>
                <a:cubicBezTo>
                  <a:pt x="9313" y="5500"/>
                  <a:pt x="9438" y="5500"/>
                  <a:pt x="9531" y="5469"/>
                </a:cubicBezTo>
                <a:cubicBezTo>
                  <a:pt x="9656" y="5438"/>
                  <a:pt x="9750" y="5469"/>
                  <a:pt x="9875" y="5469"/>
                </a:cubicBezTo>
                <a:cubicBezTo>
                  <a:pt x="10094" y="5500"/>
                  <a:pt x="10313" y="5563"/>
                  <a:pt x="10563" y="5531"/>
                </a:cubicBezTo>
                <a:cubicBezTo>
                  <a:pt x="10625" y="5531"/>
                  <a:pt x="10688" y="5563"/>
                  <a:pt x="10656" y="5625"/>
                </a:cubicBezTo>
                <a:cubicBezTo>
                  <a:pt x="10656" y="5688"/>
                  <a:pt x="10594" y="5625"/>
                  <a:pt x="10563" y="5625"/>
                </a:cubicBezTo>
                <a:cubicBezTo>
                  <a:pt x="10500" y="5625"/>
                  <a:pt x="10406" y="5625"/>
                  <a:pt x="10344" y="5656"/>
                </a:cubicBezTo>
                <a:close/>
                <a:moveTo>
                  <a:pt x="9406" y="2625"/>
                </a:moveTo>
                <a:cubicBezTo>
                  <a:pt x="9406" y="2625"/>
                  <a:pt x="9406" y="2625"/>
                  <a:pt x="9438" y="2625"/>
                </a:cubicBezTo>
                <a:cubicBezTo>
                  <a:pt x="9750" y="2563"/>
                  <a:pt x="10063" y="2688"/>
                  <a:pt x="10406" y="2657"/>
                </a:cubicBezTo>
                <a:cubicBezTo>
                  <a:pt x="10438" y="2657"/>
                  <a:pt x="10469" y="2688"/>
                  <a:pt x="10500" y="2625"/>
                </a:cubicBezTo>
                <a:cubicBezTo>
                  <a:pt x="10531" y="2594"/>
                  <a:pt x="10563" y="2594"/>
                  <a:pt x="10594" y="2625"/>
                </a:cubicBezTo>
                <a:cubicBezTo>
                  <a:pt x="10594" y="2625"/>
                  <a:pt x="10625" y="2657"/>
                  <a:pt x="10625" y="2688"/>
                </a:cubicBezTo>
                <a:cubicBezTo>
                  <a:pt x="10625" y="2719"/>
                  <a:pt x="10594" y="2719"/>
                  <a:pt x="10563" y="2719"/>
                </a:cubicBezTo>
                <a:cubicBezTo>
                  <a:pt x="10438" y="2750"/>
                  <a:pt x="10344" y="2782"/>
                  <a:pt x="10219" y="2782"/>
                </a:cubicBezTo>
                <a:cubicBezTo>
                  <a:pt x="10094" y="2750"/>
                  <a:pt x="9969" y="2782"/>
                  <a:pt x="9875" y="2688"/>
                </a:cubicBezTo>
                <a:cubicBezTo>
                  <a:pt x="9813" y="2657"/>
                  <a:pt x="9813" y="2657"/>
                  <a:pt x="9750" y="2688"/>
                </a:cubicBezTo>
                <a:cubicBezTo>
                  <a:pt x="9656" y="2750"/>
                  <a:pt x="9531" y="2750"/>
                  <a:pt x="9406" y="2719"/>
                </a:cubicBezTo>
                <a:cubicBezTo>
                  <a:pt x="9344" y="2719"/>
                  <a:pt x="9313" y="2688"/>
                  <a:pt x="9281" y="2657"/>
                </a:cubicBezTo>
                <a:cubicBezTo>
                  <a:pt x="9281" y="2594"/>
                  <a:pt x="9344" y="2625"/>
                  <a:pt x="9406" y="2625"/>
                </a:cubicBezTo>
                <a:close/>
                <a:moveTo>
                  <a:pt x="9375" y="2438"/>
                </a:moveTo>
                <a:cubicBezTo>
                  <a:pt x="9375" y="2407"/>
                  <a:pt x="9438" y="2313"/>
                  <a:pt x="9438" y="2344"/>
                </a:cubicBezTo>
                <a:cubicBezTo>
                  <a:pt x="9500" y="2344"/>
                  <a:pt x="9563" y="2313"/>
                  <a:pt x="9625" y="2375"/>
                </a:cubicBezTo>
                <a:cubicBezTo>
                  <a:pt x="9594" y="2438"/>
                  <a:pt x="9563" y="2438"/>
                  <a:pt x="9531" y="2438"/>
                </a:cubicBezTo>
                <a:cubicBezTo>
                  <a:pt x="9500" y="2438"/>
                  <a:pt x="9469" y="2407"/>
                  <a:pt x="9469" y="2438"/>
                </a:cubicBezTo>
                <a:cubicBezTo>
                  <a:pt x="9438" y="2469"/>
                  <a:pt x="9406" y="2500"/>
                  <a:pt x="9375" y="2469"/>
                </a:cubicBezTo>
                <a:cubicBezTo>
                  <a:pt x="9375" y="2469"/>
                  <a:pt x="9344" y="2438"/>
                  <a:pt x="9375" y="2438"/>
                </a:cubicBezTo>
                <a:close/>
                <a:moveTo>
                  <a:pt x="9563" y="3500"/>
                </a:moveTo>
                <a:cubicBezTo>
                  <a:pt x="9531" y="3531"/>
                  <a:pt x="9531" y="3594"/>
                  <a:pt x="9469" y="3594"/>
                </a:cubicBezTo>
                <a:cubicBezTo>
                  <a:pt x="9406" y="3563"/>
                  <a:pt x="9438" y="3500"/>
                  <a:pt x="9375" y="3500"/>
                </a:cubicBezTo>
                <a:cubicBezTo>
                  <a:pt x="9406" y="3438"/>
                  <a:pt x="9406" y="3438"/>
                  <a:pt x="9469" y="3438"/>
                </a:cubicBezTo>
                <a:cubicBezTo>
                  <a:pt x="9500" y="3469"/>
                  <a:pt x="9531" y="3438"/>
                  <a:pt x="9563" y="3500"/>
                </a:cubicBezTo>
                <a:close/>
                <a:moveTo>
                  <a:pt x="11031" y="6281"/>
                </a:moveTo>
                <a:cubicBezTo>
                  <a:pt x="11094" y="6281"/>
                  <a:pt x="11063" y="6313"/>
                  <a:pt x="11063" y="6344"/>
                </a:cubicBezTo>
                <a:cubicBezTo>
                  <a:pt x="11000" y="6406"/>
                  <a:pt x="10906" y="6406"/>
                  <a:pt x="10844" y="6375"/>
                </a:cubicBezTo>
                <a:cubicBezTo>
                  <a:pt x="10750" y="6375"/>
                  <a:pt x="10656" y="6344"/>
                  <a:pt x="10563" y="6344"/>
                </a:cubicBezTo>
                <a:cubicBezTo>
                  <a:pt x="10500" y="6344"/>
                  <a:pt x="10500" y="6281"/>
                  <a:pt x="10469" y="6219"/>
                </a:cubicBezTo>
                <a:cubicBezTo>
                  <a:pt x="10656" y="6188"/>
                  <a:pt x="10844" y="6281"/>
                  <a:pt x="11031" y="6281"/>
                </a:cubicBezTo>
                <a:close/>
                <a:moveTo>
                  <a:pt x="10688" y="6656"/>
                </a:moveTo>
                <a:cubicBezTo>
                  <a:pt x="10719" y="6594"/>
                  <a:pt x="10750" y="6656"/>
                  <a:pt x="10781" y="6656"/>
                </a:cubicBezTo>
                <a:cubicBezTo>
                  <a:pt x="10938" y="6656"/>
                  <a:pt x="11094" y="6625"/>
                  <a:pt x="11250" y="6688"/>
                </a:cubicBezTo>
                <a:cubicBezTo>
                  <a:pt x="11281" y="6688"/>
                  <a:pt x="11313" y="6688"/>
                  <a:pt x="11344" y="6719"/>
                </a:cubicBezTo>
                <a:cubicBezTo>
                  <a:pt x="11375" y="6688"/>
                  <a:pt x="11375" y="6719"/>
                  <a:pt x="11375" y="6719"/>
                </a:cubicBezTo>
                <a:cubicBezTo>
                  <a:pt x="11375" y="6750"/>
                  <a:pt x="11375" y="6750"/>
                  <a:pt x="11344" y="6750"/>
                </a:cubicBezTo>
                <a:cubicBezTo>
                  <a:pt x="11281" y="6844"/>
                  <a:pt x="11188" y="6844"/>
                  <a:pt x="11094" y="6781"/>
                </a:cubicBezTo>
                <a:cubicBezTo>
                  <a:pt x="11063" y="6750"/>
                  <a:pt x="11031" y="6719"/>
                  <a:pt x="10969" y="6719"/>
                </a:cubicBezTo>
                <a:cubicBezTo>
                  <a:pt x="10906" y="6719"/>
                  <a:pt x="10844" y="6719"/>
                  <a:pt x="10781" y="6719"/>
                </a:cubicBezTo>
                <a:cubicBezTo>
                  <a:pt x="10750" y="6750"/>
                  <a:pt x="10719" y="6781"/>
                  <a:pt x="10688" y="6719"/>
                </a:cubicBezTo>
                <a:cubicBezTo>
                  <a:pt x="10688" y="6688"/>
                  <a:pt x="10656" y="6656"/>
                  <a:pt x="10688" y="6656"/>
                </a:cubicBezTo>
                <a:close/>
                <a:moveTo>
                  <a:pt x="11125" y="6375"/>
                </a:moveTo>
                <a:cubicBezTo>
                  <a:pt x="11125" y="6344"/>
                  <a:pt x="11156" y="6313"/>
                  <a:pt x="11219" y="6313"/>
                </a:cubicBezTo>
                <a:cubicBezTo>
                  <a:pt x="11250" y="6313"/>
                  <a:pt x="11281" y="6313"/>
                  <a:pt x="11281" y="6313"/>
                </a:cubicBezTo>
                <a:cubicBezTo>
                  <a:pt x="11281" y="6406"/>
                  <a:pt x="11250" y="6406"/>
                  <a:pt x="11188" y="6438"/>
                </a:cubicBezTo>
                <a:cubicBezTo>
                  <a:pt x="11188" y="6438"/>
                  <a:pt x="11156" y="6438"/>
                  <a:pt x="11125" y="6375"/>
                </a:cubicBezTo>
                <a:close/>
                <a:moveTo>
                  <a:pt x="11281" y="5438"/>
                </a:moveTo>
                <a:cubicBezTo>
                  <a:pt x="11156" y="5469"/>
                  <a:pt x="11063" y="5469"/>
                  <a:pt x="10938" y="5438"/>
                </a:cubicBezTo>
                <a:cubicBezTo>
                  <a:pt x="10906" y="5438"/>
                  <a:pt x="10906" y="5438"/>
                  <a:pt x="10906" y="5406"/>
                </a:cubicBezTo>
                <a:cubicBezTo>
                  <a:pt x="10906" y="5375"/>
                  <a:pt x="10906" y="5375"/>
                  <a:pt x="10938" y="5375"/>
                </a:cubicBezTo>
                <a:cubicBezTo>
                  <a:pt x="11031" y="5375"/>
                  <a:pt x="11188" y="5344"/>
                  <a:pt x="11281" y="5438"/>
                </a:cubicBezTo>
                <a:close/>
                <a:moveTo>
                  <a:pt x="11188" y="4313"/>
                </a:moveTo>
                <a:cubicBezTo>
                  <a:pt x="11219" y="4250"/>
                  <a:pt x="11250" y="4219"/>
                  <a:pt x="11313" y="4219"/>
                </a:cubicBezTo>
                <a:cubicBezTo>
                  <a:pt x="11375" y="4219"/>
                  <a:pt x="11406" y="4250"/>
                  <a:pt x="11406" y="4313"/>
                </a:cubicBezTo>
                <a:cubicBezTo>
                  <a:pt x="11344" y="4344"/>
                  <a:pt x="11250" y="4281"/>
                  <a:pt x="11219" y="4344"/>
                </a:cubicBezTo>
                <a:cubicBezTo>
                  <a:pt x="11188" y="4344"/>
                  <a:pt x="11156" y="4313"/>
                  <a:pt x="11188" y="4313"/>
                </a:cubicBezTo>
                <a:close/>
                <a:moveTo>
                  <a:pt x="11813" y="4375"/>
                </a:moveTo>
                <a:cubicBezTo>
                  <a:pt x="11906" y="4313"/>
                  <a:pt x="12000" y="4313"/>
                  <a:pt x="12094" y="4344"/>
                </a:cubicBezTo>
                <a:cubicBezTo>
                  <a:pt x="12125" y="4344"/>
                  <a:pt x="12156" y="4344"/>
                  <a:pt x="12156" y="4375"/>
                </a:cubicBezTo>
                <a:cubicBezTo>
                  <a:pt x="12156" y="4438"/>
                  <a:pt x="12125" y="4438"/>
                  <a:pt x="12094" y="4438"/>
                </a:cubicBezTo>
                <a:cubicBezTo>
                  <a:pt x="12000" y="4438"/>
                  <a:pt x="11906" y="4438"/>
                  <a:pt x="11813" y="4375"/>
                </a:cubicBezTo>
                <a:close/>
                <a:moveTo>
                  <a:pt x="11938" y="5188"/>
                </a:moveTo>
                <a:cubicBezTo>
                  <a:pt x="11875" y="5125"/>
                  <a:pt x="11813" y="5125"/>
                  <a:pt x="11844" y="5031"/>
                </a:cubicBezTo>
                <a:cubicBezTo>
                  <a:pt x="11844" y="5000"/>
                  <a:pt x="11938" y="5000"/>
                  <a:pt x="11938" y="5031"/>
                </a:cubicBezTo>
                <a:cubicBezTo>
                  <a:pt x="12000" y="5094"/>
                  <a:pt x="11938" y="5125"/>
                  <a:pt x="11938" y="5188"/>
                </a:cubicBezTo>
                <a:close/>
                <a:moveTo>
                  <a:pt x="13469" y="6125"/>
                </a:moveTo>
                <a:cubicBezTo>
                  <a:pt x="13500" y="6125"/>
                  <a:pt x="13563" y="6125"/>
                  <a:pt x="13563" y="6156"/>
                </a:cubicBezTo>
                <a:cubicBezTo>
                  <a:pt x="13563" y="6219"/>
                  <a:pt x="13531" y="6219"/>
                  <a:pt x="13469" y="6219"/>
                </a:cubicBezTo>
                <a:cubicBezTo>
                  <a:pt x="13438" y="6219"/>
                  <a:pt x="13375" y="6219"/>
                  <a:pt x="13375" y="6188"/>
                </a:cubicBezTo>
                <a:cubicBezTo>
                  <a:pt x="13375" y="6094"/>
                  <a:pt x="13438" y="6156"/>
                  <a:pt x="13469" y="6125"/>
                </a:cubicBezTo>
                <a:close/>
                <a:moveTo>
                  <a:pt x="13156" y="2250"/>
                </a:moveTo>
                <a:cubicBezTo>
                  <a:pt x="13188" y="2250"/>
                  <a:pt x="13188" y="2250"/>
                  <a:pt x="13219" y="2250"/>
                </a:cubicBezTo>
                <a:cubicBezTo>
                  <a:pt x="13250" y="2250"/>
                  <a:pt x="13313" y="2250"/>
                  <a:pt x="13344" y="2282"/>
                </a:cubicBezTo>
                <a:cubicBezTo>
                  <a:pt x="13344" y="2313"/>
                  <a:pt x="13406" y="2313"/>
                  <a:pt x="13375" y="2344"/>
                </a:cubicBezTo>
                <a:cubicBezTo>
                  <a:pt x="13375" y="2407"/>
                  <a:pt x="13344" y="2375"/>
                  <a:pt x="13313" y="2344"/>
                </a:cubicBezTo>
                <a:cubicBezTo>
                  <a:pt x="13250" y="2344"/>
                  <a:pt x="13219" y="2344"/>
                  <a:pt x="13188" y="2375"/>
                </a:cubicBezTo>
                <a:cubicBezTo>
                  <a:pt x="13125" y="2375"/>
                  <a:pt x="13094" y="2407"/>
                  <a:pt x="13094" y="2344"/>
                </a:cubicBezTo>
                <a:cubicBezTo>
                  <a:pt x="13063" y="2282"/>
                  <a:pt x="13094" y="2282"/>
                  <a:pt x="13156" y="2250"/>
                </a:cubicBezTo>
                <a:close/>
                <a:moveTo>
                  <a:pt x="9094" y="1344"/>
                </a:moveTo>
                <a:cubicBezTo>
                  <a:pt x="9156" y="1344"/>
                  <a:pt x="9250" y="1344"/>
                  <a:pt x="9281" y="1438"/>
                </a:cubicBezTo>
                <a:cubicBezTo>
                  <a:pt x="9313" y="1438"/>
                  <a:pt x="9313" y="1469"/>
                  <a:pt x="9281" y="1469"/>
                </a:cubicBezTo>
                <a:cubicBezTo>
                  <a:pt x="9188" y="1500"/>
                  <a:pt x="9125" y="1407"/>
                  <a:pt x="9063" y="1375"/>
                </a:cubicBezTo>
                <a:cubicBezTo>
                  <a:pt x="9094" y="1375"/>
                  <a:pt x="9094" y="1344"/>
                  <a:pt x="9094" y="1344"/>
                </a:cubicBezTo>
                <a:close/>
                <a:moveTo>
                  <a:pt x="8406" y="1500"/>
                </a:moveTo>
                <a:cubicBezTo>
                  <a:pt x="8531" y="1282"/>
                  <a:pt x="8688" y="1532"/>
                  <a:pt x="8813" y="1469"/>
                </a:cubicBezTo>
                <a:cubicBezTo>
                  <a:pt x="8781" y="1532"/>
                  <a:pt x="8750" y="1563"/>
                  <a:pt x="8688" y="1532"/>
                </a:cubicBezTo>
                <a:cubicBezTo>
                  <a:pt x="8625" y="1532"/>
                  <a:pt x="8531" y="1532"/>
                  <a:pt x="8500" y="1625"/>
                </a:cubicBezTo>
                <a:cubicBezTo>
                  <a:pt x="8469" y="1657"/>
                  <a:pt x="8375" y="1657"/>
                  <a:pt x="8344" y="1594"/>
                </a:cubicBezTo>
                <a:cubicBezTo>
                  <a:pt x="8313" y="1563"/>
                  <a:pt x="8375" y="1532"/>
                  <a:pt x="8406" y="1500"/>
                </a:cubicBezTo>
                <a:close/>
                <a:moveTo>
                  <a:pt x="7625" y="2157"/>
                </a:moveTo>
                <a:cubicBezTo>
                  <a:pt x="7625" y="2125"/>
                  <a:pt x="7563" y="2125"/>
                  <a:pt x="7531" y="2094"/>
                </a:cubicBezTo>
                <a:cubicBezTo>
                  <a:pt x="7656" y="2094"/>
                  <a:pt x="7781" y="2094"/>
                  <a:pt x="7906" y="2063"/>
                </a:cubicBezTo>
                <a:cubicBezTo>
                  <a:pt x="8000" y="2032"/>
                  <a:pt x="8125" y="2032"/>
                  <a:pt x="8219" y="2032"/>
                </a:cubicBezTo>
                <a:cubicBezTo>
                  <a:pt x="8375" y="2032"/>
                  <a:pt x="8500" y="2032"/>
                  <a:pt x="8625" y="2032"/>
                </a:cubicBezTo>
                <a:cubicBezTo>
                  <a:pt x="8719" y="2032"/>
                  <a:pt x="8813" y="2063"/>
                  <a:pt x="8906" y="2032"/>
                </a:cubicBezTo>
                <a:cubicBezTo>
                  <a:pt x="8969" y="1938"/>
                  <a:pt x="9063" y="1907"/>
                  <a:pt x="9156" y="1969"/>
                </a:cubicBezTo>
                <a:cubicBezTo>
                  <a:pt x="9188" y="2000"/>
                  <a:pt x="9219" y="2000"/>
                  <a:pt x="9250" y="1969"/>
                </a:cubicBezTo>
                <a:cubicBezTo>
                  <a:pt x="9313" y="1969"/>
                  <a:pt x="9375" y="1938"/>
                  <a:pt x="9438" y="1969"/>
                </a:cubicBezTo>
                <a:cubicBezTo>
                  <a:pt x="9469" y="2000"/>
                  <a:pt x="9500" y="2000"/>
                  <a:pt x="9500" y="1969"/>
                </a:cubicBezTo>
                <a:cubicBezTo>
                  <a:pt x="9563" y="1938"/>
                  <a:pt x="9594" y="1907"/>
                  <a:pt x="9594" y="2000"/>
                </a:cubicBezTo>
                <a:cubicBezTo>
                  <a:pt x="9594" y="2063"/>
                  <a:pt x="9625" y="2063"/>
                  <a:pt x="9656" y="2063"/>
                </a:cubicBezTo>
                <a:cubicBezTo>
                  <a:pt x="9719" y="2063"/>
                  <a:pt x="9688" y="2032"/>
                  <a:pt x="9719" y="2000"/>
                </a:cubicBezTo>
                <a:cubicBezTo>
                  <a:pt x="9750" y="1907"/>
                  <a:pt x="9781" y="1875"/>
                  <a:pt x="9906" y="1938"/>
                </a:cubicBezTo>
                <a:cubicBezTo>
                  <a:pt x="10031" y="1969"/>
                  <a:pt x="10156" y="2063"/>
                  <a:pt x="10313" y="1969"/>
                </a:cubicBezTo>
                <a:cubicBezTo>
                  <a:pt x="10375" y="1938"/>
                  <a:pt x="10406" y="2000"/>
                  <a:pt x="10469" y="2032"/>
                </a:cubicBezTo>
                <a:cubicBezTo>
                  <a:pt x="10500" y="2063"/>
                  <a:pt x="10594" y="2188"/>
                  <a:pt x="10594" y="2000"/>
                </a:cubicBezTo>
                <a:cubicBezTo>
                  <a:pt x="10594" y="1969"/>
                  <a:pt x="10625" y="1969"/>
                  <a:pt x="10656" y="2000"/>
                </a:cubicBezTo>
                <a:cubicBezTo>
                  <a:pt x="10750" y="2000"/>
                  <a:pt x="10813" y="2032"/>
                  <a:pt x="10906" y="2032"/>
                </a:cubicBezTo>
                <a:cubicBezTo>
                  <a:pt x="10938" y="2032"/>
                  <a:pt x="11000" y="2063"/>
                  <a:pt x="11031" y="2063"/>
                </a:cubicBezTo>
                <a:cubicBezTo>
                  <a:pt x="11156" y="1907"/>
                  <a:pt x="11313" y="1969"/>
                  <a:pt x="11469" y="2063"/>
                </a:cubicBezTo>
                <a:cubicBezTo>
                  <a:pt x="11500" y="2063"/>
                  <a:pt x="11531" y="2125"/>
                  <a:pt x="11563" y="2063"/>
                </a:cubicBezTo>
                <a:cubicBezTo>
                  <a:pt x="11594" y="2032"/>
                  <a:pt x="11594" y="2032"/>
                  <a:pt x="11594" y="2032"/>
                </a:cubicBezTo>
                <a:cubicBezTo>
                  <a:pt x="11625" y="2032"/>
                  <a:pt x="11625" y="2032"/>
                  <a:pt x="11656" y="2032"/>
                </a:cubicBezTo>
                <a:cubicBezTo>
                  <a:pt x="11688" y="2063"/>
                  <a:pt x="11719" y="2063"/>
                  <a:pt x="11656" y="2094"/>
                </a:cubicBezTo>
                <a:cubicBezTo>
                  <a:pt x="11625" y="2094"/>
                  <a:pt x="11594" y="2125"/>
                  <a:pt x="11594" y="2157"/>
                </a:cubicBezTo>
                <a:cubicBezTo>
                  <a:pt x="11688" y="2157"/>
                  <a:pt x="11781" y="2125"/>
                  <a:pt x="11875" y="2188"/>
                </a:cubicBezTo>
                <a:cubicBezTo>
                  <a:pt x="11906" y="2188"/>
                  <a:pt x="11906" y="2188"/>
                  <a:pt x="11938" y="2188"/>
                </a:cubicBezTo>
                <a:cubicBezTo>
                  <a:pt x="12000" y="2157"/>
                  <a:pt x="11875" y="2125"/>
                  <a:pt x="11938" y="2063"/>
                </a:cubicBezTo>
                <a:cubicBezTo>
                  <a:pt x="12000" y="2188"/>
                  <a:pt x="12219" y="2000"/>
                  <a:pt x="12250" y="2219"/>
                </a:cubicBezTo>
                <a:cubicBezTo>
                  <a:pt x="12531" y="2094"/>
                  <a:pt x="12750" y="2219"/>
                  <a:pt x="12969" y="2313"/>
                </a:cubicBezTo>
                <a:cubicBezTo>
                  <a:pt x="12719" y="2344"/>
                  <a:pt x="12719" y="2375"/>
                  <a:pt x="12438" y="2250"/>
                </a:cubicBezTo>
                <a:cubicBezTo>
                  <a:pt x="12375" y="2219"/>
                  <a:pt x="12344" y="2250"/>
                  <a:pt x="12313" y="2250"/>
                </a:cubicBezTo>
                <a:cubicBezTo>
                  <a:pt x="12188" y="2313"/>
                  <a:pt x="12063" y="2188"/>
                  <a:pt x="11938" y="2219"/>
                </a:cubicBezTo>
                <a:cubicBezTo>
                  <a:pt x="11938" y="2219"/>
                  <a:pt x="11906" y="2219"/>
                  <a:pt x="11906" y="2219"/>
                </a:cubicBezTo>
                <a:cubicBezTo>
                  <a:pt x="11844" y="2282"/>
                  <a:pt x="11781" y="2250"/>
                  <a:pt x="11750" y="2250"/>
                </a:cubicBezTo>
                <a:cubicBezTo>
                  <a:pt x="11656" y="2250"/>
                  <a:pt x="11594" y="2282"/>
                  <a:pt x="11500" y="2250"/>
                </a:cubicBezTo>
                <a:cubicBezTo>
                  <a:pt x="11438" y="2250"/>
                  <a:pt x="11375" y="2282"/>
                  <a:pt x="11313" y="2250"/>
                </a:cubicBezTo>
                <a:cubicBezTo>
                  <a:pt x="11188" y="2219"/>
                  <a:pt x="11031" y="2188"/>
                  <a:pt x="10938" y="2188"/>
                </a:cubicBezTo>
                <a:cubicBezTo>
                  <a:pt x="10719" y="2250"/>
                  <a:pt x="10563" y="2125"/>
                  <a:pt x="10344" y="2188"/>
                </a:cubicBezTo>
                <a:cubicBezTo>
                  <a:pt x="10281" y="2219"/>
                  <a:pt x="10156" y="2188"/>
                  <a:pt x="10063" y="2188"/>
                </a:cubicBezTo>
                <a:cubicBezTo>
                  <a:pt x="10000" y="2188"/>
                  <a:pt x="9938" y="2219"/>
                  <a:pt x="9875" y="2219"/>
                </a:cubicBezTo>
                <a:cubicBezTo>
                  <a:pt x="9844" y="2219"/>
                  <a:pt x="9813" y="2219"/>
                  <a:pt x="9781" y="2188"/>
                </a:cubicBezTo>
                <a:cubicBezTo>
                  <a:pt x="9750" y="2188"/>
                  <a:pt x="9719" y="2188"/>
                  <a:pt x="9688" y="2188"/>
                </a:cubicBezTo>
                <a:cubicBezTo>
                  <a:pt x="9688" y="2188"/>
                  <a:pt x="9656" y="2188"/>
                  <a:pt x="9625" y="2157"/>
                </a:cubicBezTo>
                <a:cubicBezTo>
                  <a:pt x="9531" y="2157"/>
                  <a:pt x="9438" y="2157"/>
                  <a:pt x="9344" y="2157"/>
                </a:cubicBezTo>
                <a:cubicBezTo>
                  <a:pt x="9344" y="2188"/>
                  <a:pt x="9313" y="2188"/>
                  <a:pt x="9281" y="2157"/>
                </a:cubicBezTo>
                <a:cubicBezTo>
                  <a:pt x="9250" y="2188"/>
                  <a:pt x="9219" y="2188"/>
                  <a:pt x="9188" y="2188"/>
                </a:cubicBezTo>
                <a:cubicBezTo>
                  <a:pt x="9188" y="2188"/>
                  <a:pt x="9156" y="2188"/>
                  <a:pt x="9156" y="2188"/>
                </a:cubicBezTo>
                <a:cubicBezTo>
                  <a:pt x="9156" y="2188"/>
                  <a:pt x="9125" y="2188"/>
                  <a:pt x="9094" y="2188"/>
                </a:cubicBezTo>
                <a:cubicBezTo>
                  <a:pt x="9063" y="2219"/>
                  <a:pt x="9000" y="2219"/>
                  <a:pt x="8969" y="2219"/>
                </a:cubicBezTo>
                <a:cubicBezTo>
                  <a:pt x="8906" y="2188"/>
                  <a:pt x="8938" y="2157"/>
                  <a:pt x="8969" y="2125"/>
                </a:cubicBezTo>
                <a:cubicBezTo>
                  <a:pt x="8969" y="2125"/>
                  <a:pt x="8969" y="2125"/>
                  <a:pt x="8969" y="2125"/>
                </a:cubicBezTo>
                <a:cubicBezTo>
                  <a:pt x="8969" y="2094"/>
                  <a:pt x="8969" y="2094"/>
                  <a:pt x="8969" y="2094"/>
                </a:cubicBezTo>
                <a:cubicBezTo>
                  <a:pt x="8875" y="2125"/>
                  <a:pt x="8813" y="2250"/>
                  <a:pt x="8688" y="2250"/>
                </a:cubicBezTo>
                <a:cubicBezTo>
                  <a:pt x="8500" y="2282"/>
                  <a:pt x="8313" y="2250"/>
                  <a:pt x="8125" y="2344"/>
                </a:cubicBezTo>
                <a:cubicBezTo>
                  <a:pt x="8094" y="2375"/>
                  <a:pt x="8094" y="2344"/>
                  <a:pt x="8063" y="2313"/>
                </a:cubicBezTo>
                <a:cubicBezTo>
                  <a:pt x="8031" y="2282"/>
                  <a:pt x="8031" y="2250"/>
                  <a:pt x="7969" y="2282"/>
                </a:cubicBezTo>
                <a:cubicBezTo>
                  <a:pt x="7844" y="2313"/>
                  <a:pt x="7719" y="2250"/>
                  <a:pt x="7625" y="2157"/>
                </a:cubicBezTo>
                <a:close/>
                <a:moveTo>
                  <a:pt x="7719" y="2500"/>
                </a:moveTo>
                <a:cubicBezTo>
                  <a:pt x="7625" y="2625"/>
                  <a:pt x="7406" y="2657"/>
                  <a:pt x="7125" y="2594"/>
                </a:cubicBezTo>
                <a:cubicBezTo>
                  <a:pt x="7344" y="2500"/>
                  <a:pt x="7531" y="2469"/>
                  <a:pt x="7719" y="2500"/>
                </a:cubicBezTo>
                <a:close/>
                <a:moveTo>
                  <a:pt x="7313" y="5781"/>
                </a:moveTo>
                <a:cubicBezTo>
                  <a:pt x="7313" y="5813"/>
                  <a:pt x="7313" y="5844"/>
                  <a:pt x="7250" y="5844"/>
                </a:cubicBezTo>
                <a:cubicBezTo>
                  <a:pt x="7219" y="5844"/>
                  <a:pt x="7156" y="5844"/>
                  <a:pt x="7125" y="5781"/>
                </a:cubicBezTo>
                <a:cubicBezTo>
                  <a:pt x="7125" y="5750"/>
                  <a:pt x="7156" y="5750"/>
                  <a:pt x="7156" y="5750"/>
                </a:cubicBezTo>
                <a:cubicBezTo>
                  <a:pt x="7219" y="5813"/>
                  <a:pt x="7281" y="5719"/>
                  <a:pt x="7313" y="5781"/>
                </a:cubicBezTo>
                <a:close/>
                <a:moveTo>
                  <a:pt x="7031" y="3281"/>
                </a:moveTo>
                <a:cubicBezTo>
                  <a:pt x="7063" y="3219"/>
                  <a:pt x="7156" y="3219"/>
                  <a:pt x="7219" y="3219"/>
                </a:cubicBezTo>
                <a:cubicBezTo>
                  <a:pt x="7188" y="3313"/>
                  <a:pt x="7125" y="3344"/>
                  <a:pt x="7063" y="3313"/>
                </a:cubicBezTo>
                <a:cubicBezTo>
                  <a:pt x="7031" y="3313"/>
                  <a:pt x="7031" y="3313"/>
                  <a:pt x="7031" y="3281"/>
                </a:cubicBezTo>
                <a:close/>
                <a:moveTo>
                  <a:pt x="6969" y="6438"/>
                </a:moveTo>
                <a:cubicBezTo>
                  <a:pt x="6969" y="6500"/>
                  <a:pt x="6875" y="6469"/>
                  <a:pt x="6813" y="6500"/>
                </a:cubicBezTo>
                <a:cubicBezTo>
                  <a:pt x="6781" y="6500"/>
                  <a:pt x="6750" y="6500"/>
                  <a:pt x="6781" y="6469"/>
                </a:cubicBezTo>
                <a:cubicBezTo>
                  <a:pt x="6781" y="6406"/>
                  <a:pt x="6844" y="6375"/>
                  <a:pt x="6906" y="6406"/>
                </a:cubicBezTo>
                <a:cubicBezTo>
                  <a:pt x="6906" y="6406"/>
                  <a:pt x="6969" y="6406"/>
                  <a:pt x="6969" y="6438"/>
                </a:cubicBezTo>
                <a:close/>
                <a:moveTo>
                  <a:pt x="6750" y="4000"/>
                </a:moveTo>
                <a:cubicBezTo>
                  <a:pt x="6813" y="3969"/>
                  <a:pt x="6844" y="4000"/>
                  <a:pt x="6875" y="4000"/>
                </a:cubicBezTo>
                <a:cubicBezTo>
                  <a:pt x="6906" y="4031"/>
                  <a:pt x="6906" y="4031"/>
                  <a:pt x="6875" y="4063"/>
                </a:cubicBezTo>
                <a:cubicBezTo>
                  <a:pt x="6875" y="4125"/>
                  <a:pt x="6813" y="4094"/>
                  <a:pt x="6781" y="4094"/>
                </a:cubicBezTo>
                <a:cubicBezTo>
                  <a:pt x="6750" y="4094"/>
                  <a:pt x="6688" y="4094"/>
                  <a:pt x="6656" y="4094"/>
                </a:cubicBezTo>
                <a:cubicBezTo>
                  <a:pt x="6656" y="4000"/>
                  <a:pt x="6719" y="4031"/>
                  <a:pt x="6750" y="4000"/>
                </a:cubicBezTo>
                <a:close/>
                <a:moveTo>
                  <a:pt x="6375" y="3094"/>
                </a:moveTo>
                <a:cubicBezTo>
                  <a:pt x="6438" y="3125"/>
                  <a:pt x="6500" y="3000"/>
                  <a:pt x="6500" y="3094"/>
                </a:cubicBezTo>
                <a:cubicBezTo>
                  <a:pt x="6531" y="3219"/>
                  <a:pt x="6438" y="3125"/>
                  <a:pt x="6375" y="3156"/>
                </a:cubicBezTo>
                <a:cubicBezTo>
                  <a:pt x="6344" y="3156"/>
                  <a:pt x="6281" y="3188"/>
                  <a:pt x="6281" y="3125"/>
                </a:cubicBezTo>
                <a:cubicBezTo>
                  <a:pt x="6281" y="3063"/>
                  <a:pt x="6344" y="3063"/>
                  <a:pt x="6375" y="3094"/>
                </a:cubicBezTo>
                <a:close/>
                <a:moveTo>
                  <a:pt x="6281" y="4563"/>
                </a:moveTo>
                <a:cubicBezTo>
                  <a:pt x="6438" y="4563"/>
                  <a:pt x="6563" y="4500"/>
                  <a:pt x="6688" y="4406"/>
                </a:cubicBezTo>
                <a:cubicBezTo>
                  <a:pt x="6750" y="4344"/>
                  <a:pt x="6844" y="4313"/>
                  <a:pt x="6969" y="4375"/>
                </a:cubicBezTo>
                <a:cubicBezTo>
                  <a:pt x="6813" y="4344"/>
                  <a:pt x="6813" y="4469"/>
                  <a:pt x="6781" y="4531"/>
                </a:cubicBezTo>
                <a:cubicBezTo>
                  <a:pt x="6719" y="4656"/>
                  <a:pt x="6625" y="4656"/>
                  <a:pt x="6563" y="4625"/>
                </a:cubicBezTo>
                <a:cubicBezTo>
                  <a:pt x="6375" y="4594"/>
                  <a:pt x="6188" y="4688"/>
                  <a:pt x="5969" y="4750"/>
                </a:cubicBezTo>
                <a:cubicBezTo>
                  <a:pt x="6063" y="4594"/>
                  <a:pt x="6156" y="4563"/>
                  <a:pt x="6281" y="4563"/>
                </a:cubicBezTo>
                <a:close/>
                <a:moveTo>
                  <a:pt x="6750" y="5844"/>
                </a:moveTo>
                <a:cubicBezTo>
                  <a:pt x="6719" y="5938"/>
                  <a:pt x="6625" y="5875"/>
                  <a:pt x="6563" y="5906"/>
                </a:cubicBezTo>
                <a:cubicBezTo>
                  <a:pt x="6531" y="5938"/>
                  <a:pt x="6531" y="5875"/>
                  <a:pt x="6531" y="5844"/>
                </a:cubicBezTo>
                <a:cubicBezTo>
                  <a:pt x="6531" y="5750"/>
                  <a:pt x="6594" y="5750"/>
                  <a:pt x="6625" y="5750"/>
                </a:cubicBezTo>
                <a:cubicBezTo>
                  <a:pt x="6688" y="5750"/>
                  <a:pt x="6719" y="5781"/>
                  <a:pt x="6750" y="5844"/>
                </a:cubicBezTo>
                <a:close/>
                <a:moveTo>
                  <a:pt x="6500" y="6844"/>
                </a:moveTo>
                <a:cubicBezTo>
                  <a:pt x="6406" y="6875"/>
                  <a:pt x="6344" y="6906"/>
                  <a:pt x="6250" y="6844"/>
                </a:cubicBezTo>
                <a:cubicBezTo>
                  <a:pt x="6250" y="6844"/>
                  <a:pt x="6250" y="6813"/>
                  <a:pt x="6250" y="6813"/>
                </a:cubicBezTo>
                <a:cubicBezTo>
                  <a:pt x="6344" y="6781"/>
                  <a:pt x="6406" y="6813"/>
                  <a:pt x="6500" y="6844"/>
                </a:cubicBezTo>
                <a:close/>
                <a:moveTo>
                  <a:pt x="6219" y="6875"/>
                </a:moveTo>
                <a:cubicBezTo>
                  <a:pt x="6219" y="6938"/>
                  <a:pt x="6156" y="6938"/>
                  <a:pt x="6094" y="6969"/>
                </a:cubicBezTo>
                <a:cubicBezTo>
                  <a:pt x="6094" y="6969"/>
                  <a:pt x="6031" y="6969"/>
                  <a:pt x="6063" y="6938"/>
                </a:cubicBezTo>
                <a:cubicBezTo>
                  <a:pt x="6063" y="6875"/>
                  <a:pt x="6125" y="6875"/>
                  <a:pt x="6156" y="6844"/>
                </a:cubicBezTo>
                <a:cubicBezTo>
                  <a:pt x="6188" y="6844"/>
                  <a:pt x="6219" y="6844"/>
                  <a:pt x="6219" y="6875"/>
                </a:cubicBezTo>
                <a:close/>
                <a:moveTo>
                  <a:pt x="5875" y="6781"/>
                </a:moveTo>
                <a:cubicBezTo>
                  <a:pt x="5969" y="6750"/>
                  <a:pt x="6031" y="6750"/>
                  <a:pt x="6125" y="6781"/>
                </a:cubicBezTo>
                <a:cubicBezTo>
                  <a:pt x="6094" y="6813"/>
                  <a:pt x="6094" y="6813"/>
                  <a:pt x="6094" y="6813"/>
                </a:cubicBezTo>
                <a:cubicBezTo>
                  <a:pt x="6031" y="6844"/>
                  <a:pt x="5969" y="6875"/>
                  <a:pt x="5875" y="6844"/>
                </a:cubicBezTo>
                <a:cubicBezTo>
                  <a:pt x="5875" y="6844"/>
                  <a:pt x="5875" y="6813"/>
                  <a:pt x="5875" y="6781"/>
                </a:cubicBezTo>
                <a:close/>
                <a:moveTo>
                  <a:pt x="5938" y="6938"/>
                </a:moveTo>
                <a:cubicBezTo>
                  <a:pt x="5969" y="7000"/>
                  <a:pt x="5906" y="7031"/>
                  <a:pt x="5844" y="7031"/>
                </a:cubicBezTo>
                <a:cubicBezTo>
                  <a:pt x="5813" y="7031"/>
                  <a:pt x="5750" y="7031"/>
                  <a:pt x="5719" y="6969"/>
                </a:cubicBezTo>
                <a:cubicBezTo>
                  <a:pt x="5781" y="6969"/>
                  <a:pt x="5813" y="6938"/>
                  <a:pt x="5844" y="6938"/>
                </a:cubicBezTo>
                <a:cubicBezTo>
                  <a:pt x="5875" y="6938"/>
                  <a:pt x="5938" y="6875"/>
                  <a:pt x="5938" y="6938"/>
                </a:cubicBezTo>
                <a:close/>
                <a:moveTo>
                  <a:pt x="5813" y="4781"/>
                </a:moveTo>
                <a:cubicBezTo>
                  <a:pt x="5750" y="4844"/>
                  <a:pt x="5688" y="4781"/>
                  <a:pt x="5625" y="4750"/>
                </a:cubicBezTo>
                <a:cubicBezTo>
                  <a:pt x="5688" y="4750"/>
                  <a:pt x="5719" y="4656"/>
                  <a:pt x="5813" y="4719"/>
                </a:cubicBezTo>
                <a:cubicBezTo>
                  <a:pt x="5813" y="4750"/>
                  <a:pt x="5844" y="4750"/>
                  <a:pt x="5813" y="4781"/>
                </a:cubicBezTo>
                <a:close/>
                <a:moveTo>
                  <a:pt x="5625" y="2906"/>
                </a:moveTo>
                <a:cubicBezTo>
                  <a:pt x="5656" y="2906"/>
                  <a:pt x="5688" y="2906"/>
                  <a:pt x="5688" y="2906"/>
                </a:cubicBezTo>
                <a:cubicBezTo>
                  <a:pt x="5719" y="2938"/>
                  <a:pt x="5719" y="2969"/>
                  <a:pt x="5688" y="3000"/>
                </a:cubicBezTo>
                <a:cubicBezTo>
                  <a:pt x="5625" y="3031"/>
                  <a:pt x="5719" y="3125"/>
                  <a:pt x="5625" y="3156"/>
                </a:cubicBezTo>
                <a:cubicBezTo>
                  <a:pt x="5563" y="3094"/>
                  <a:pt x="5625" y="3031"/>
                  <a:pt x="5594" y="2969"/>
                </a:cubicBezTo>
                <a:cubicBezTo>
                  <a:pt x="5563" y="2969"/>
                  <a:pt x="5594" y="2938"/>
                  <a:pt x="5625" y="2906"/>
                </a:cubicBezTo>
                <a:close/>
                <a:moveTo>
                  <a:pt x="5438" y="4000"/>
                </a:moveTo>
                <a:cubicBezTo>
                  <a:pt x="5500" y="4000"/>
                  <a:pt x="5594" y="3969"/>
                  <a:pt x="5656" y="3938"/>
                </a:cubicBezTo>
                <a:cubicBezTo>
                  <a:pt x="5688" y="3938"/>
                  <a:pt x="5719" y="3906"/>
                  <a:pt x="5750" y="3938"/>
                </a:cubicBezTo>
                <a:cubicBezTo>
                  <a:pt x="5781" y="3969"/>
                  <a:pt x="5750" y="4000"/>
                  <a:pt x="5719" y="4031"/>
                </a:cubicBezTo>
                <a:cubicBezTo>
                  <a:pt x="5625" y="4094"/>
                  <a:pt x="5531" y="4094"/>
                  <a:pt x="5469" y="4094"/>
                </a:cubicBezTo>
                <a:cubicBezTo>
                  <a:pt x="5469" y="4188"/>
                  <a:pt x="5531" y="4156"/>
                  <a:pt x="5563" y="4188"/>
                </a:cubicBezTo>
                <a:cubicBezTo>
                  <a:pt x="5500" y="4250"/>
                  <a:pt x="5469" y="4188"/>
                  <a:pt x="5406" y="4188"/>
                </a:cubicBezTo>
                <a:cubicBezTo>
                  <a:pt x="5344" y="4188"/>
                  <a:pt x="5281" y="4125"/>
                  <a:pt x="5313" y="4094"/>
                </a:cubicBezTo>
                <a:cubicBezTo>
                  <a:pt x="5313" y="4031"/>
                  <a:pt x="5375" y="4031"/>
                  <a:pt x="5438" y="4000"/>
                </a:cubicBezTo>
                <a:close/>
                <a:moveTo>
                  <a:pt x="5219" y="6219"/>
                </a:moveTo>
                <a:cubicBezTo>
                  <a:pt x="5250" y="6188"/>
                  <a:pt x="5250" y="6125"/>
                  <a:pt x="5313" y="6125"/>
                </a:cubicBezTo>
                <a:cubicBezTo>
                  <a:pt x="5375" y="6156"/>
                  <a:pt x="5469" y="6188"/>
                  <a:pt x="5531" y="6188"/>
                </a:cubicBezTo>
                <a:cubicBezTo>
                  <a:pt x="5438" y="6281"/>
                  <a:pt x="5344" y="6188"/>
                  <a:pt x="5250" y="6250"/>
                </a:cubicBezTo>
                <a:cubicBezTo>
                  <a:pt x="5250" y="6281"/>
                  <a:pt x="5219" y="6250"/>
                  <a:pt x="5219" y="6219"/>
                </a:cubicBezTo>
                <a:close/>
                <a:moveTo>
                  <a:pt x="4344" y="4063"/>
                </a:moveTo>
                <a:cubicBezTo>
                  <a:pt x="4344" y="4094"/>
                  <a:pt x="4344" y="4156"/>
                  <a:pt x="4313" y="4156"/>
                </a:cubicBezTo>
                <a:cubicBezTo>
                  <a:pt x="4250" y="4188"/>
                  <a:pt x="4188" y="4188"/>
                  <a:pt x="4219" y="4281"/>
                </a:cubicBezTo>
                <a:cubicBezTo>
                  <a:pt x="4125" y="4156"/>
                  <a:pt x="4125" y="4094"/>
                  <a:pt x="4250" y="4063"/>
                </a:cubicBezTo>
                <a:cubicBezTo>
                  <a:pt x="4281" y="4063"/>
                  <a:pt x="4313" y="4000"/>
                  <a:pt x="4344" y="4063"/>
                </a:cubicBezTo>
                <a:close/>
                <a:moveTo>
                  <a:pt x="3438" y="3781"/>
                </a:moveTo>
                <a:cubicBezTo>
                  <a:pt x="3438" y="3781"/>
                  <a:pt x="3438" y="3781"/>
                  <a:pt x="3406" y="3750"/>
                </a:cubicBezTo>
                <a:cubicBezTo>
                  <a:pt x="3531" y="3719"/>
                  <a:pt x="3625" y="3656"/>
                  <a:pt x="3750" y="3625"/>
                </a:cubicBezTo>
                <a:cubicBezTo>
                  <a:pt x="3813" y="3625"/>
                  <a:pt x="3813" y="3594"/>
                  <a:pt x="3844" y="3656"/>
                </a:cubicBezTo>
                <a:cubicBezTo>
                  <a:pt x="3875" y="3688"/>
                  <a:pt x="3938" y="3656"/>
                  <a:pt x="3969" y="3656"/>
                </a:cubicBezTo>
                <a:cubicBezTo>
                  <a:pt x="4000" y="3688"/>
                  <a:pt x="4063" y="3656"/>
                  <a:pt x="4094" y="3688"/>
                </a:cubicBezTo>
                <a:cubicBezTo>
                  <a:pt x="4125" y="3750"/>
                  <a:pt x="4031" y="3750"/>
                  <a:pt x="4000" y="3781"/>
                </a:cubicBezTo>
                <a:cubicBezTo>
                  <a:pt x="4000" y="3813"/>
                  <a:pt x="3969" y="3813"/>
                  <a:pt x="3969" y="3844"/>
                </a:cubicBezTo>
                <a:cubicBezTo>
                  <a:pt x="4063" y="3875"/>
                  <a:pt x="4156" y="3781"/>
                  <a:pt x="4250" y="3813"/>
                </a:cubicBezTo>
                <a:cubicBezTo>
                  <a:pt x="4188" y="3906"/>
                  <a:pt x="4094" y="3938"/>
                  <a:pt x="3969" y="3969"/>
                </a:cubicBezTo>
                <a:cubicBezTo>
                  <a:pt x="3969" y="3969"/>
                  <a:pt x="3906" y="3969"/>
                  <a:pt x="3906" y="4000"/>
                </a:cubicBezTo>
                <a:cubicBezTo>
                  <a:pt x="3938" y="4063"/>
                  <a:pt x="3969" y="4031"/>
                  <a:pt x="4000" y="4031"/>
                </a:cubicBezTo>
                <a:cubicBezTo>
                  <a:pt x="4031" y="4000"/>
                  <a:pt x="4094" y="4000"/>
                  <a:pt x="4094" y="4063"/>
                </a:cubicBezTo>
                <a:cubicBezTo>
                  <a:pt x="4094" y="4125"/>
                  <a:pt x="4031" y="4094"/>
                  <a:pt x="4000" y="4094"/>
                </a:cubicBezTo>
                <a:cubicBezTo>
                  <a:pt x="3875" y="4125"/>
                  <a:pt x="3844" y="4031"/>
                  <a:pt x="3750" y="4000"/>
                </a:cubicBezTo>
                <a:cubicBezTo>
                  <a:pt x="3813" y="3906"/>
                  <a:pt x="3938" y="3938"/>
                  <a:pt x="3969" y="3844"/>
                </a:cubicBezTo>
                <a:cubicBezTo>
                  <a:pt x="3844" y="3813"/>
                  <a:pt x="3719" y="3906"/>
                  <a:pt x="3594" y="3938"/>
                </a:cubicBezTo>
                <a:cubicBezTo>
                  <a:pt x="3406" y="3969"/>
                  <a:pt x="3406" y="3969"/>
                  <a:pt x="3438" y="3781"/>
                </a:cubicBezTo>
                <a:close/>
                <a:moveTo>
                  <a:pt x="4031" y="5625"/>
                </a:moveTo>
                <a:cubicBezTo>
                  <a:pt x="3969" y="5625"/>
                  <a:pt x="3906" y="5625"/>
                  <a:pt x="3875" y="5625"/>
                </a:cubicBezTo>
                <a:cubicBezTo>
                  <a:pt x="3813" y="5656"/>
                  <a:pt x="3781" y="5625"/>
                  <a:pt x="3781" y="5625"/>
                </a:cubicBezTo>
                <a:cubicBezTo>
                  <a:pt x="3844" y="5563"/>
                  <a:pt x="3906" y="5500"/>
                  <a:pt x="3938" y="5500"/>
                </a:cubicBezTo>
                <a:cubicBezTo>
                  <a:pt x="4000" y="5469"/>
                  <a:pt x="4063" y="5531"/>
                  <a:pt x="4094" y="5563"/>
                </a:cubicBezTo>
                <a:cubicBezTo>
                  <a:pt x="4094" y="5594"/>
                  <a:pt x="4063" y="5625"/>
                  <a:pt x="4031" y="5625"/>
                </a:cubicBezTo>
                <a:close/>
                <a:moveTo>
                  <a:pt x="4125" y="7031"/>
                </a:moveTo>
                <a:cubicBezTo>
                  <a:pt x="4094" y="7094"/>
                  <a:pt x="4031" y="7156"/>
                  <a:pt x="3969" y="7156"/>
                </a:cubicBezTo>
                <a:cubicBezTo>
                  <a:pt x="3906" y="7156"/>
                  <a:pt x="3875" y="7219"/>
                  <a:pt x="3844" y="7156"/>
                </a:cubicBezTo>
                <a:cubicBezTo>
                  <a:pt x="3813" y="7125"/>
                  <a:pt x="3813" y="7094"/>
                  <a:pt x="3844" y="7063"/>
                </a:cubicBezTo>
                <a:cubicBezTo>
                  <a:pt x="3875" y="7031"/>
                  <a:pt x="3906" y="6969"/>
                  <a:pt x="3969" y="7000"/>
                </a:cubicBezTo>
                <a:cubicBezTo>
                  <a:pt x="4031" y="7000"/>
                  <a:pt x="4063" y="7031"/>
                  <a:pt x="4125" y="7031"/>
                </a:cubicBezTo>
                <a:close/>
                <a:moveTo>
                  <a:pt x="3250" y="4188"/>
                </a:moveTo>
                <a:cubicBezTo>
                  <a:pt x="3375" y="4125"/>
                  <a:pt x="3438" y="4219"/>
                  <a:pt x="3531" y="4250"/>
                </a:cubicBezTo>
                <a:cubicBezTo>
                  <a:pt x="3469" y="4375"/>
                  <a:pt x="3313" y="4344"/>
                  <a:pt x="3219" y="4438"/>
                </a:cubicBezTo>
                <a:cubicBezTo>
                  <a:pt x="3219" y="4438"/>
                  <a:pt x="3188" y="4438"/>
                  <a:pt x="3188" y="4438"/>
                </a:cubicBezTo>
                <a:cubicBezTo>
                  <a:pt x="3188" y="4219"/>
                  <a:pt x="3031" y="4438"/>
                  <a:pt x="3000" y="4344"/>
                </a:cubicBezTo>
                <a:cubicBezTo>
                  <a:pt x="3063" y="4281"/>
                  <a:pt x="3188" y="4250"/>
                  <a:pt x="3250" y="4188"/>
                </a:cubicBezTo>
                <a:close/>
                <a:moveTo>
                  <a:pt x="2938" y="4469"/>
                </a:moveTo>
                <a:cubicBezTo>
                  <a:pt x="2969" y="4469"/>
                  <a:pt x="3000" y="4500"/>
                  <a:pt x="3000" y="4531"/>
                </a:cubicBezTo>
                <a:cubicBezTo>
                  <a:pt x="3000" y="4594"/>
                  <a:pt x="2969" y="4625"/>
                  <a:pt x="2938" y="4625"/>
                </a:cubicBezTo>
                <a:cubicBezTo>
                  <a:pt x="2875" y="4625"/>
                  <a:pt x="2844" y="4625"/>
                  <a:pt x="2844" y="4563"/>
                </a:cubicBezTo>
                <a:cubicBezTo>
                  <a:pt x="2844" y="4531"/>
                  <a:pt x="2875" y="4469"/>
                  <a:pt x="2938" y="4469"/>
                </a:cubicBezTo>
                <a:close/>
                <a:moveTo>
                  <a:pt x="2469" y="4875"/>
                </a:moveTo>
                <a:cubicBezTo>
                  <a:pt x="2438" y="4844"/>
                  <a:pt x="2406" y="4906"/>
                  <a:pt x="2375" y="4844"/>
                </a:cubicBezTo>
                <a:cubicBezTo>
                  <a:pt x="2375" y="4813"/>
                  <a:pt x="2438" y="4781"/>
                  <a:pt x="2469" y="4750"/>
                </a:cubicBezTo>
                <a:cubicBezTo>
                  <a:pt x="2500" y="4719"/>
                  <a:pt x="2531" y="4688"/>
                  <a:pt x="2594" y="4719"/>
                </a:cubicBezTo>
                <a:cubicBezTo>
                  <a:pt x="2625" y="4719"/>
                  <a:pt x="2625" y="4750"/>
                  <a:pt x="2594" y="4781"/>
                </a:cubicBezTo>
                <a:cubicBezTo>
                  <a:pt x="2563" y="4813"/>
                  <a:pt x="2563" y="4906"/>
                  <a:pt x="2469" y="4875"/>
                </a:cubicBezTo>
                <a:close/>
                <a:moveTo>
                  <a:pt x="2656" y="5438"/>
                </a:moveTo>
                <a:cubicBezTo>
                  <a:pt x="2656" y="5469"/>
                  <a:pt x="2688" y="5531"/>
                  <a:pt x="2594" y="5531"/>
                </a:cubicBezTo>
                <a:cubicBezTo>
                  <a:pt x="2531" y="5531"/>
                  <a:pt x="2563" y="5469"/>
                  <a:pt x="2563" y="5438"/>
                </a:cubicBezTo>
                <a:cubicBezTo>
                  <a:pt x="2563" y="5281"/>
                  <a:pt x="2625" y="5219"/>
                  <a:pt x="2750" y="5250"/>
                </a:cubicBezTo>
                <a:cubicBezTo>
                  <a:pt x="2813" y="5250"/>
                  <a:pt x="2844" y="5219"/>
                  <a:pt x="2844" y="5281"/>
                </a:cubicBezTo>
                <a:cubicBezTo>
                  <a:pt x="2844" y="5344"/>
                  <a:pt x="2813" y="5344"/>
                  <a:pt x="2781" y="5344"/>
                </a:cubicBezTo>
                <a:cubicBezTo>
                  <a:pt x="2688" y="5344"/>
                  <a:pt x="2656" y="5375"/>
                  <a:pt x="2656" y="5438"/>
                </a:cubicBezTo>
                <a:close/>
                <a:moveTo>
                  <a:pt x="2844" y="5906"/>
                </a:moveTo>
                <a:cubicBezTo>
                  <a:pt x="2813" y="5875"/>
                  <a:pt x="2781" y="5875"/>
                  <a:pt x="2781" y="5844"/>
                </a:cubicBezTo>
                <a:cubicBezTo>
                  <a:pt x="2781" y="5781"/>
                  <a:pt x="2813" y="5781"/>
                  <a:pt x="2875" y="5781"/>
                </a:cubicBezTo>
                <a:cubicBezTo>
                  <a:pt x="2969" y="5781"/>
                  <a:pt x="3000" y="5750"/>
                  <a:pt x="2969" y="5656"/>
                </a:cubicBezTo>
                <a:cubicBezTo>
                  <a:pt x="2969" y="5625"/>
                  <a:pt x="2969" y="5594"/>
                  <a:pt x="3031" y="5563"/>
                </a:cubicBezTo>
                <a:cubicBezTo>
                  <a:pt x="3094" y="5563"/>
                  <a:pt x="3094" y="5594"/>
                  <a:pt x="3094" y="5656"/>
                </a:cubicBezTo>
                <a:cubicBezTo>
                  <a:pt x="3094" y="5688"/>
                  <a:pt x="3094" y="5688"/>
                  <a:pt x="3094" y="5719"/>
                </a:cubicBezTo>
                <a:cubicBezTo>
                  <a:pt x="3094" y="5875"/>
                  <a:pt x="3000" y="5938"/>
                  <a:pt x="2844" y="5906"/>
                </a:cubicBezTo>
                <a:close/>
                <a:moveTo>
                  <a:pt x="3125" y="10031"/>
                </a:moveTo>
                <a:cubicBezTo>
                  <a:pt x="3094" y="10031"/>
                  <a:pt x="3031" y="10000"/>
                  <a:pt x="3063" y="9969"/>
                </a:cubicBezTo>
                <a:cubicBezTo>
                  <a:pt x="3063" y="9938"/>
                  <a:pt x="3063" y="9875"/>
                  <a:pt x="3125" y="9875"/>
                </a:cubicBezTo>
                <a:cubicBezTo>
                  <a:pt x="3156" y="9875"/>
                  <a:pt x="3188" y="9906"/>
                  <a:pt x="3188" y="9938"/>
                </a:cubicBezTo>
                <a:cubicBezTo>
                  <a:pt x="3188" y="9969"/>
                  <a:pt x="3188" y="10031"/>
                  <a:pt x="3125" y="10031"/>
                </a:cubicBezTo>
                <a:close/>
                <a:moveTo>
                  <a:pt x="3281" y="4906"/>
                </a:moveTo>
                <a:cubicBezTo>
                  <a:pt x="3219" y="4906"/>
                  <a:pt x="3156" y="4875"/>
                  <a:pt x="3125" y="4938"/>
                </a:cubicBezTo>
                <a:cubicBezTo>
                  <a:pt x="3125" y="4969"/>
                  <a:pt x="3094" y="4969"/>
                  <a:pt x="3063" y="4938"/>
                </a:cubicBezTo>
                <a:cubicBezTo>
                  <a:pt x="3063" y="4906"/>
                  <a:pt x="3031" y="4875"/>
                  <a:pt x="3063" y="4844"/>
                </a:cubicBezTo>
                <a:cubicBezTo>
                  <a:pt x="3063" y="4813"/>
                  <a:pt x="3281" y="4781"/>
                  <a:pt x="3313" y="4813"/>
                </a:cubicBezTo>
                <a:cubicBezTo>
                  <a:pt x="3313" y="4813"/>
                  <a:pt x="3313" y="4844"/>
                  <a:pt x="3313" y="4844"/>
                </a:cubicBezTo>
                <a:cubicBezTo>
                  <a:pt x="3313" y="4906"/>
                  <a:pt x="3313" y="4906"/>
                  <a:pt x="3281" y="4906"/>
                </a:cubicBezTo>
                <a:close/>
                <a:moveTo>
                  <a:pt x="3375" y="4656"/>
                </a:moveTo>
                <a:cubicBezTo>
                  <a:pt x="3500" y="4563"/>
                  <a:pt x="3594" y="4500"/>
                  <a:pt x="3688" y="4500"/>
                </a:cubicBezTo>
                <a:cubicBezTo>
                  <a:pt x="3719" y="4500"/>
                  <a:pt x="3750" y="4500"/>
                  <a:pt x="3750" y="4531"/>
                </a:cubicBezTo>
                <a:cubicBezTo>
                  <a:pt x="3781" y="4563"/>
                  <a:pt x="3750" y="4563"/>
                  <a:pt x="3719" y="4594"/>
                </a:cubicBezTo>
                <a:cubicBezTo>
                  <a:pt x="3656" y="4750"/>
                  <a:pt x="3531" y="4656"/>
                  <a:pt x="3375" y="4656"/>
                </a:cubicBezTo>
                <a:close/>
                <a:moveTo>
                  <a:pt x="3563" y="5719"/>
                </a:moveTo>
                <a:cubicBezTo>
                  <a:pt x="3656" y="5719"/>
                  <a:pt x="3750" y="5719"/>
                  <a:pt x="3875" y="5719"/>
                </a:cubicBezTo>
                <a:cubicBezTo>
                  <a:pt x="3750" y="5844"/>
                  <a:pt x="3625" y="5844"/>
                  <a:pt x="3563" y="5719"/>
                </a:cubicBezTo>
                <a:close/>
                <a:moveTo>
                  <a:pt x="4125" y="9563"/>
                </a:moveTo>
                <a:cubicBezTo>
                  <a:pt x="4125" y="9594"/>
                  <a:pt x="4094" y="9625"/>
                  <a:pt x="4063" y="9625"/>
                </a:cubicBezTo>
                <a:cubicBezTo>
                  <a:pt x="4031" y="9625"/>
                  <a:pt x="4000" y="9625"/>
                  <a:pt x="4000" y="9625"/>
                </a:cubicBezTo>
                <a:cubicBezTo>
                  <a:pt x="3906" y="9563"/>
                  <a:pt x="3875" y="9594"/>
                  <a:pt x="3875" y="9719"/>
                </a:cubicBezTo>
                <a:cubicBezTo>
                  <a:pt x="3750" y="9656"/>
                  <a:pt x="3813" y="9594"/>
                  <a:pt x="3844" y="9531"/>
                </a:cubicBezTo>
                <a:cubicBezTo>
                  <a:pt x="3875" y="9438"/>
                  <a:pt x="3969" y="9438"/>
                  <a:pt x="4063" y="9438"/>
                </a:cubicBezTo>
                <a:cubicBezTo>
                  <a:pt x="4094" y="9469"/>
                  <a:pt x="3969" y="9531"/>
                  <a:pt x="4094" y="9531"/>
                </a:cubicBezTo>
                <a:cubicBezTo>
                  <a:pt x="4094" y="9531"/>
                  <a:pt x="4156" y="9531"/>
                  <a:pt x="4125" y="9563"/>
                </a:cubicBezTo>
                <a:close/>
                <a:moveTo>
                  <a:pt x="4063" y="5375"/>
                </a:moveTo>
                <a:cubicBezTo>
                  <a:pt x="4031" y="5281"/>
                  <a:pt x="4063" y="5219"/>
                  <a:pt x="4094" y="5219"/>
                </a:cubicBezTo>
                <a:cubicBezTo>
                  <a:pt x="4188" y="5156"/>
                  <a:pt x="4250" y="5281"/>
                  <a:pt x="4375" y="5281"/>
                </a:cubicBezTo>
                <a:cubicBezTo>
                  <a:pt x="4250" y="5375"/>
                  <a:pt x="4125" y="5250"/>
                  <a:pt x="4063" y="5375"/>
                </a:cubicBezTo>
                <a:close/>
                <a:moveTo>
                  <a:pt x="4344" y="3438"/>
                </a:moveTo>
                <a:cubicBezTo>
                  <a:pt x="4344" y="3375"/>
                  <a:pt x="4375" y="3375"/>
                  <a:pt x="4406" y="3375"/>
                </a:cubicBezTo>
                <a:cubicBezTo>
                  <a:pt x="4406" y="3375"/>
                  <a:pt x="4406" y="3375"/>
                  <a:pt x="4406" y="3375"/>
                </a:cubicBezTo>
                <a:cubicBezTo>
                  <a:pt x="4563" y="3219"/>
                  <a:pt x="4656" y="3375"/>
                  <a:pt x="4781" y="3406"/>
                </a:cubicBezTo>
                <a:cubicBezTo>
                  <a:pt x="4750" y="3500"/>
                  <a:pt x="4844" y="3563"/>
                  <a:pt x="4875" y="3625"/>
                </a:cubicBezTo>
                <a:cubicBezTo>
                  <a:pt x="4875" y="3656"/>
                  <a:pt x="4844" y="3688"/>
                  <a:pt x="4781" y="3688"/>
                </a:cubicBezTo>
                <a:cubicBezTo>
                  <a:pt x="4750" y="3688"/>
                  <a:pt x="4719" y="3656"/>
                  <a:pt x="4688" y="3719"/>
                </a:cubicBezTo>
                <a:cubicBezTo>
                  <a:pt x="4656" y="3719"/>
                  <a:pt x="4625" y="3719"/>
                  <a:pt x="4594" y="3688"/>
                </a:cubicBezTo>
                <a:cubicBezTo>
                  <a:pt x="4594" y="3688"/>
                  <a:pt x="4625" y="3656"/>
                  <a:pt x="4625" y="3656"/>
                </a:cubicBezTo>
                <a:cubicBezTo>
                  <a:pt x="4688" y="3594"/>
                  <a:pt x="4719" y="3594"/>
                  <a:pt x="4750" y="3500"/>
                </a:cubicBezTo>
                <a:cubicBezTo>
                  <a:pt x="4625" y="3500"/>
                  <a:pt x="4531" y="3469"/>
                  <a:pt x="4406" y="3500"/>
                </a:cubicBezTo>
                <a:cubicBezTo>
                  <a:pt x="4375" y="3500"/>
                  <a:pt x="4344" y="3469"/>
                  <a:pt x="4344" y="3438"/>
                </a:cubicBezTo>
                <a:close/>
                <a:moveTo>
                  <a:pt x="4531" y="5125"/>
                </a:moveTo>
                <a:cubicBezTo>
                  <a:pt x="4563" y="5094"/>
                  <a:pt x="4594" y="5031"/>
                  <a:pt x="4625" y="5000"/>
                </a:cubicBezTo>
                <a:cubicBezTo>
                  <a:pt x="4625" y="4969"/>
                  <a:pt x="4656" y="4969"/>
                  <a:pt x="4688" y="4969"/>
                </a:cubicBezTo>
                <a:cubicBezTo>
                  <a:pt x="4688" y="4969"/>
                  <a:pt x="4719" y="5000"/>
                  <a:pt x="4719" y="5031"/>
                </a:cubicBezTo>
                <a:cubicBezTo>
                  <a:pt x="4625" y="5063"/>
                  <a:pt x="4656" y="5156"/>
                  <a:pt x="4625" y="5219"/>
                </a:cubicBezTo>
                <a:cubicBezTo>
                  <a:pt x="4594" y="5250"/>
                  <a:pt x="4500" y="5281"/>
                  <a:pt x="4469" y="5219"/>
                </a:cubicBezTo>
                <a:cubicBezTo>
                  <a:pt x="4438" y="5156"/>
                  <a:pt x="4469" y="5125"/>
                  <a:pt x="4531" y="5125"/>
                </a:cubicBezTo>
                <a:close/>
                <a:moveTo>
                  <a:pt x="4563" y="9313"/>
                </a:moveTo>
                <a:cubicBezTo>
                  <a:pt x="4531" y="9344"/>
                  <a:pt x="4500" y="9375"/>
                  <a:pt x="4469" y="9313"/>
                </a:cubicBezTo>
                <a:cubicBezTo>
                  <a:pt x="4469" y="9281"/>
                  <a:pt x="4469" y="9250"/>
                  <a:pt x="4500" y="9219"/>
                </a:cubicBezTo>
                <a:cubicBezTo>
                  <a:pt x="4563" y="9188"/>
                  <a:pt x="4625" y="9156"/>
                  <a:pt x="4719" y="9125"/>
                </a:cubicBezTo>
                <a:cubicBezTo>
                  <a:pt x="4688" y="9250"/>
                  <a:pt x="4625" y="9281"/>
                  <a:pt x="4563" y="9313"/>
                </a:cubicBezTo>
                <a:close/>
                <a:moveTo>
                  <a:pt x="4938" y="3875"/>
                </a:moveTo>
                <a:cubicBezTo>
                  <a:pt x="4875" y="3938"/>
                  <a:pt x="4781" y="3938"/>
                  <a:pt x="4688" y="3969"/>
                </a:cubicBezTo>
                <a:cubicBezTo>
                  <a:pt x="4688" y="3969"/>
                  <a:pt x="4656" y="3938"/>
                  <a:pt x="4656" y="3938"/>
                </a:cubicBezTo>
                <a:cubicBezTo>
                  <a:pt x="4719" y="3875"/>
                  <a:pt x="4781" y="3875"/>
                  <a:pt x="4844" y="3844"/>
                </a:cubicBezTo>
                <a:cubicBezTo>
                  <a:pt x="4906" y="3813"/>
                  <a:pt x="4938" y="3781"/>
                  <a:pt x="5000" y="3844"/>
                </a:cubicBezTo>
                <a:cubicBezTo>
                  <a:pt x="4969" y="3844"/>
                  <a:pt x="4969" y="3875"/>
                  <a:pt x="4938" y="3875"/>
                </a:cubicBezTo>
                <a:close/>
                <a:moveTo>
                  <a:pt x="6031" y="7500"/>
                </a:moveTo>
                <a:cubicBezTo>
                  <a:pt x="6031" y="7500"/>
                  <a:pt x="6031" y="7500"/>
                  <a:pt x="6031" y="7500"/>
                </a:cubicBezTo>
                <a:cubicBezTo>
                  <a:pt x="6031" y="7500"/>
                  <a:pt x="6031" y="7500"/>
                  <a:pt x="6031" y="7500"/>
                </a:cubicBezTo>
                <a:close/>
                <a:moveTo>
                  <a:pt x="6188" y="8500"/>
                </a:moveTo>
                <a:cubicBezTo>
                  <a:pt x="6281" y="8375"/>
                  <a:pt x="6406" y="8344"/>
                  <a:pt x="6656" y="8375"/>
                </a:cubicBezTo>
                <a:cubicBezTo>
                  <a:pt x="6500" y="8469"/>
                  <a:pt x="6344" y="8438"/>
                  <a:pt x="6188" y="8500"/>
                </a:cubicBezTo>
                <a:close/>
                <a:moveTo>
                  <a:pt x="7000" y="8438"/>
                </a:moveTo>
                <a:cubicBezTo>
                  <a:pt x="6938" y="8500"/>
                  <a:pt x="6875" y="8500"/>
                  <a:pt x="6813" y="8438"/>
                </a:cubicBezTo>
                <a:cubicBezTo>
                  <a:pt x="6875" y="8375"/>
                  <a:pt x="6938" y="8406"/>
                  <a:pt x="6969" y="8375"/>
                </a:cubicBezTo>
                <a:cubicBezTo>
                  <a:pt x="7000" y="8344"/>
                  <a:pt x="7063" y="8313"/>
                  <a:pt x="7063" y="8375"/>
                </a:cubicBezTo>
                <a:cubicBezTo>
                  <a:pt x="7094" y="8438"/>
                  <a:pt x="7031" y="8438"/>
                  <a:pt x="7000" y="8438"/>
                </a:cubicBezTo>
                <a:close/>
                <a:moveTo>
                  <a:pt x="6125" y="7969"/>
                </a:moveTo>
                <a:cubicBezTo>
                  <a:pt x="6156" y="7906"/>
                  <a:pt x="6188" y="7906"/>
                  <a:pt x="6219" y="7875"/>
                </a:cubicBezTo>
                <a:cubicBezTo>
                  <a:pt x="6469" y="7844"/>
                  <a:pt x="6688" y="7813"/>
                  <a:pt x="6906" y="7781"/>
                </a:cubicBezTo>
                <a:cubicBezTo>
                  <a:pt x="6969" y="7781"/>
                  <a:pt x="6969" y="7750"/>
                  <a:pt x="7000" y="7719"/>
                </a:cubicBezTo>
                <a:cubicBezTo>
                  <a:pt x="7031" y="7656"/>
                  <a:pt x="6969" y="7656"/>
                  <a:pt x="6969" y="7625"/>
                </a:cubicBezTo>
                <a:cubicBezTo>
                  <a:pt x="6938" y="7625"/>
                  <a:pt x="6938" y="7625"/>
                  <a:pt x="6969" y="7563"/>
                </a:cubicBezTo>
                <a:cubicBezTo>
                  <a:pt x="7063" y="7406"/>
                  <a:pt x="7219" y="7438"/>
                  <a:pt x="7344" y="7438"/>
                </a:cubicBezTo>
                <a:cubicBezTo>
                  <a:pt x="7406" y="7438"/>
                  <a:pt x="7469" y="7438"/>
                  <a:pt x="7469" y="7500"/>
                </a:cubicBezTo>
                <a:cubicBezTo>
                  <a:pt x="7500" y="7563"/>
                  <a:pt x="7563" y="7531"/>
                  <a:pt x="7594" y="7594"/>
                </a:cubicBezTo>
                <a:cubicBezTo>
                  <a:pt x="7156" y="7875"/>
                  <a:pt x="6625" y="7875"/>
                  <a:pt x="6125" y="7969"/>
                </a:cubicBezTo>
                <a:close/>
                <a:moveTo>
                  <a:pt x="6188" y="7719"/>
                </a:moveTo>
                <a:cubicBezTo>
                  <a:pt x="6219" y="7594"/>
                  <a:pt x="6344" y="7656"/>
                  <a:pt x="6438" y="7594"/>
                </a:cubicBezTo>
                <a:cubicBezTo>
                  <a:pt x="6469" y="7594"/>
                  <a:pt x="6469" y="7625"/>
                  <a:pt x="6469" y="7625"/>
                </a:cubicBezTo>
                <a:cubicBezTo>
                  <a:pt x="6438" y="7719"/>
                  <a:pt x="6344" y="7750"/>
                  <a:pt x="6250" y="7750"/>
                </a:cubicBezTo>
                <a:cubicBezTo>
                  <a:pt x="6219" y="7750"/>
                  <a:pt x="6156" y="7750"/>
                  <a:pt x="6188" y="7719"/>
                </a:cubicBezTo>
                <a:close/>
                <a:moveTo>
                  <a:pt x="8469" y="9063"/>
                </a:moveTo>
                <a:cubicBezTo>
                  <a:pt x="8375" y="9031"/>
                  <a:pt x="8281" y="9031"/>
                  <a:pt x="8344" y="8906"/>
                </a:cubicBezTo>
                <a:cubicBezTo>
                  <a:pt x="8344" y="8844"/>
                  <a:pt x="8344" y="8813"/>
                  <a:pt x="8406" y="8781"/>
                </a:cubicBezTo>
                <a:cubicBezTo>
                  <a:pt x="8469" y="8844"/>
                  <a:pt x="8563" y="8844"/>
                  <a:pt x="8563" y="8938"/>
                </a:cubicBezTo>
                <a:cubicBezTo>
                  <a:pt x="8563" y="8969"/>
                  <a:pt x="8563" y="9063"/>
                  <a:pt x="8469" y="9063"/>
                </a:cubicBezTo>
                <a:close/>
                <a:moveTo>
                  <a:pt x="8781" y="7938"/>
                </a:moveTo>
                <a:cubicBezTo>
                  <a:pt x="8719" y="7906"/>
                  <a:pt x="8656" y="7875"/>
                  <a:pt x="8594" y="7875"/>
                </a:cubicBezTo>
                <a:cubicBezTo>
                  <a:pt x="8688" y="7781"/>
                  <a:pt x="8781" y="7844"/>
                  <a:pt x="8875" y="7844"/>
                </a:cubicBezTo>
                <a:cubicBezTo>
                  <a:pt x="8875" y="7938"/>
                  <a:pt x="8844" y="7969"/>
                  <a:pt x="8781" y="7938"/>
                </a:cubicBezTo>
                <a:close/>
                <a:moveTo>
                  <a:pt x="9156" y="8906"/>
                </a:moveTo>
                <a:cubicBezTo>
                  <a:pt x="9094" y="8906"/>
                  <a:pt x="9000" y="8969"/>
                  <a:pt x="8969" y="8875"/>
                </a:cubicBezTo>
                <a:cubicBezTo>
                  <a:pt x="8969" y="8781"/>
                  <a:pt x="9063" y="8844"/>
                  <a:pt x="9125" y="8781"/>
                </a:cubicBezTo>
                <a:cubicBezTo>
                  <a:pt x="9156" y="8750"/>
                  <a:pt x="9219" y="8750"/>
                  <a:pt x="9281" y="8781"/>
                </a:cubicBezTo>
                <a:cubicBezTo>
                  <a:pt x="9375" y="8813"/>
                  <a:pt x="9500" y="8875"/>
                  <a:pt x="9625" y="8875"/>
                </a:cubicBezTo>
                <a:cubicBezTo>
                  <a:pt x="9469" y="8906"/>
                  <a:pt x="9313" y="8906"/>
                  <a:pt x="9156" y="8906"/>
                </a:cubicBezTo>
                <a:close/>
                <a:moveTo>
                  <a:pt x="9844" y="9500"/>
                </a:moveTo>
                <a:cubicBezTo>
                  <a:pt x="9781" y="9500"/>
                  <a:pt x="9719" y="9438"/>
                  <a:pt x="9656" y="9438"/>
                </a:cubicBezTo>
                <a:cubicBezTo>
                  <a:pt x="9719" y="9406"/>
                  <a:pt x="9781" y="9438"/>
                  <a:pt x="9875" y="9406"/>
                </a:cubicBezTo>
                <a:cubicBezTo>
                  <a:pt x="9875" y="9406"/>
                  <a:pt x="9938" y="9406"/>
                  <a:pt x="9938" y="9438"/>
                </a:cubicBezTo>
                <a:cubicBezTo>
                  <a:pt x="9938" y="9469"/>
                  <a:pt x="9906" y="9500"/>
                  <a:pt x="9844" y="9500"/>
                </a:cubicBezTo>
                <a:close/>
                <a:moveTo>
                  <a:pt x="9844" y="9094"/>
                </a:moveTo>
                <a:cubicBezTo>
                  <a:pt x="9969" y="9000"/>
                  <a:pt x="10094" y="9063"/>
                  <a:pt x="10219" y="9031"/>
                </a:cubicBezTo>
                <a:cubicBezTo>
                  <a:pt x="10125" y="9188"/>
                  <a:pt x="9969" y="9063"/>
                  <a:pt x="9844" y="9094"/>
                </a:cubicBezTo>
                <a:close/>
                <a:moveTo>
                  <a:pt x="9875" y="8938"/>
                </a:moveTo>
                <a:cubicBezTo>
                  <a:pt x="10000" y="8844"/>
                  <a:pt x="10094" y="8938"/>
                  <a:pt x="10219" y="8938"/>
                </a:cubicBezTo>
                <a:cubicBezTo>
                  <a:pt x="10063" y="9031"/>
                  <a:pt x="9969" y="8969"/>
                  <a:pt x="9875" y="8938"/>
                </a:cubicBezTo>
                <a:close/>
                <a:moveTo>
                  <a:pt x="10500" y="9563"/>
                </a:moveTo>
                <a:cubicBezTo>
                  <a:pt x="10688" y="9500"/>
                  <a:pt x="10813" y="9594"/>
                  <a:pt x="10969" y="9594"/>
                </a:cubicBezTo>
                <a:cubicBezTo>
                  <a:pt x="10813" y="9594"/>
                  <a:pt x="10656" y="9688"/>
                  <a:pt x="10500" y="9563"/>
                </a:cubicBezTo>
                <a:close/>
                <a:moveTo>
                  <a:pt x="10781" y="9188"/>
                </a:moveTo>
                <a:cubicBezTo>
                  <a:pt x="10781" y="9188"/>
                  <a:pt x="10750" y="9188"/>
                  <a:pt x="10719" y="9156"/>
                </a:cubicBezTo>
                <a:cubicBezTo>
                  <a:pt x="10688" y="9000"/>
                  <a:pt x="10594" y="9063"/>
                  <a:pt x="10531" y="9094"/>
                </a:cubicBezTo>
                <a:cubicBezTo>
                  <a:pt x="10438" y="9188"/>
                  <a:pt x="10406" y="9125"/>
                  <a:pt x="10344" y="9063"/>
                </a:cubicBezTo>
                <a:cubicBezTo>
                  <a:pt x="10313" y="9031"/>
                  <a:pt x="10313" y="8969"/>
                  <a:pt x="10375" y="8969"/>
                </a:cubicBezTo>
                <a:cubicBezTo>
                  <a:pt x="10531" y="8906"/>
                  <a:pt x="10938" y="9000"/>
                  <a:pt x="11063" y="9188"/>
                </a:cubicBezTo>
                <a:cubicBezTo>
                  <a:pt x="10969" y="9219"/>
                  <a:pt x="10875" y="9188"/>
                  <a:pt x="10781" y="9188"/>
                </a:cubicBezTo>
                <a:close/>
                <a:moveTo>
                  <a:pt x="11313" y="9219"/>
                </a:moveTo>
                <a:cubicBezTo>
                  <a:pt x="11250" y="9219"/>
                  <a:pt x="11219" y="9188"/>
                  <a:pt x="11188" y="9125"/>
                </a:cubicBezTo>
                <a:cubicBezTo>
                  <a:pt x="11188" y="9094"/>
                  <a:pt x="11219" y="9094"/>
                  <a:pt x="11250" y="9094"/>
                </a:cubicBezTo>
                <a:cubicBezTo>
                  <a:pt x="11313" y="9094"/>
                  <a:pt x="11344" y="9125"/>
                  <a:pt x="11375" y="9219"/>
                </a:cubicBezTo>
                <a:cubicBezTo>
                  <a:pt x="11375" y="9219"/>
                  <a:pt x="11344" y="9250"/>
                  <a:pt x="11313" y="9219"/>
                </a:cubicBezTo>
                <a:close/>
                <a:moveTo>
                  <a:pt x="11563" y="9188"/>
                </a:moveTo>
                <a:cubicBezTo>
                  <a:pt x="11656" y="9125"/>
                  <a:pt x="11719" y="9219"/>
                  <a:pt x="11813" y="9219"/>
                </a:cubicBezTo>
                <a:cubicBezTo>
                  <a:pt x="11719" y="9281"/>
                  <a:pt x="11656" y="9188"/>
                  <a:pt x="11563" y="9188"/>
                </a:cubicBezTo>
                <a:close/>
                <a:moveTo>
                  <a:pt x="12781" y="10188"/>
                </a:moveTo>
                <a:cubicBezTo>
                  <a:pt x="12781" y="10156"/>
                  <a:pt x="12750" y="10156"/>
                  <a:pt x="12781" y="10125"/>
                </a:cubicBezTo>
                <a:cubicBezTo>
                  <a:pt x="12844" y="10094"/>
                  <a:pt x="12906" y="10063"/>
                  <a:pt x="13000" y="10125"/>
                </a:cubicBezTo>
                <a:cubicBezTo>
                  <a:pt x="12906" y="10156"/>
                  <a:pt x="12875" y="10219"/>
                  <a:pt x="12781" y="10188"/>
                </a:cubicBezTo>
                <a:close/>
                <a:moveTo>
                  <a:pt x="12438" y="9469"/>
                </a:moveTo>
                <a:cubicBezTo>
                  <a:pt x="12406" y="9438"/>
                  <a:pt x="12406" y="9438"/>
                  <a:pt x="12406" y="9438"/>
                </a:cubicBezTo>
                <a:cubicBezTo>
                  <a:pt x="12406" y="9406"/>
                  <a:pt x="12438" y="9375"/>
                  <a:pt x="12469" y="9375"/>
                </a:cubicBezTo>
                <a:cubicBezTo>
                  <a:pt x="12531" y="9375"/>
                  <a:pt x="12625" y="9344"/>
                  <a:pt x="12688" y="9375"/>
                </a:cubicBezTo>
                <a:cubicBezTo>
                  <a:pt x="12813" y="9438"/>
                  <a:pt x="12969" y="9469"/>
                  <a:pt x="13094" y="9469"/>
                </a:cubicBezTo>
                <a:cubicBezTo>
                  <a:pt x="13156" y="9469"/>
                  <a:pt x="13188" y="9500"/>
                  <a:pt x="13219" y="9563"/>
                </a:cubicBezTo>
                <a:cubicBezTo>
                  <a:pt x="12938" y="9594"/>
                  <a:pt x="12688" y="9625"/>
                  <a:pt x="12438" y="9469"/>
                </a:cubicBezTo>
                <a:close/>
                <a:moveTo>
                  <a:pt x="13781" y="9719"/>
                </a:moveTo>
                <a:cubicBezTo>
                  <a:pt x="13781" y="9781"/>
                  <a:pt x="13750" y="9813"/>
                  <a:pt x="13688" y="9781"/>
                </a:cubicBezTo>
                <a:cubicBezTo>
                  <a:pt x="13625" y="9781"/>
                  <a:pt x="13531" y="9719"/>
                  <a:pt x="13438" y="9719"/>
                </a:cubicBezTo>
                <a:cubicBezTo>
                  <a:pt x="13406" y="9719"/>
                  <a:pt x="13406" y="9688"/>
                  <a:pt x="13406" y="9656"/>
                </a:cubicBezTo>
                <a:cubicBezTo>
                  <a:pt x="13438" y="9594"/>
                  <a:pt x="13500" y="9656"/>
                  <a:pt x="13531" y="9625"/>
                </a:cubicBezTo>
                <a:cubicBezTo>
                  <a:pt x="13594" y="9594"/>
                  <a:pt x="13656" y="9656"/>
                  <a:pt x="13719" y="9656"/>
                </a:cubicBezTo>
                <a:cubicBezTo>
                  <a:pt x="13781" y="9656"/>
                  <a:pt x="13781" y="9688"/>
                  <a:pt x="13781" y="9719"/>
                </a:cubicBezTo>
                <a:close/>
                <a:moveTo>
                  <a:pt x="13406" y="8313"/>
                </a:moveTo>
                <a:cubicBezTo>
                  <a:pt x="13313" y="8281"/>
                  <a:pt x="13188" y="8250"/>
                  <a:pt x="13125" y="8188"/>
                </a:cubicBezTo>
                <a:cubicBezTo>
                  <a:pt x="13063" y="8188"/>
                  <a:pt x="13125" y="8281"/>
                  <a:pt x="13063" y="8281"/>
                </a:cubicBezTo>
                <a:cubicBezTo>
                  <a:pt x="13031" y="8281"/>
                  <a:pt x="13031" y="8219"/>
                  <a:pt x="13000" y="8188"/>
                </a:cubicBezTo>
                <a:cubicBezTo>
                  <a:pt x="12969" y="8094"/>
                  <a:pt x="12875" y="8063"/>
                  <a:pt x="12781" y="8063"/>
                </a:cubicBezTo>
                <a:cubicBezTo>
                  <a:pt x="12719" y="8063"/>
                  <a:pt x="12625" y="8063"/>
                  <a:pt x="12563" y="8031"/>
                </a:cubicBezTo>
                <a:cubicBezTo>
                  <a:pt x="12500" y="8031"/>
                  <a:pt x="12469" y="8063"/>
                  <a:pt x="12438" y="8094"/>
                </a:cubicBezTo>
                <a:cubicBezTo>
                  <a:pt x="12406" y="8125"/>
                  <a:pt x="12469" y="8125"/>
                  <a:pt x="12469" y="8156"/>
                </a:cubicBezTo>
                <a:cubicBezTo>
                  <a:pt x="12469" y="8219"/>
                  <a:pt x="12531" y="8219"/>
                  <a:pt x="12469" y="8281"/>
                </a:cubicBezTo>
                <a:cubicBezTo>
                  <a:pt x="12438" y="8313"/>
                  <a:pt x="12406" y="8281"/>
                  <a:pt x="12375" y="8281"/>
                </a:cubicBezTo>
                <a:cubicBezTo>
                  <a:pt x="12281" y="8281"/>
                  <a:pt x="12344" y="8250"/>
                  <a:pt x="12344" y="8219"/>
                </a:cubicBezTo>
                <a:cubicBezTo>
                  <a:pt x="12375" y="8156"/>
                  <a:pt x="12313" y="8188"/>
                  <a:pt x="12313" y="8188"/>
                </a:cubicBezTo>
                <a:cubicBezTo>
                  <a:pt x="12219" y="8188"/>
                  <a:pt x="12156" y="8156"/>
                  <a:pt x="12063" y="8188"/>
                </a:cubicBezTo>
                <a:cubicBezTo>
                  <a:pt x="11906" y="8219"/>
                  <a:pt x="11781" y="8250"/>
                  <a:pt x="11625" y="8156"/>
                </a:cubicBezTo>
                <a:cubicBezTo>
                  <a:pt x="11531" y="8094"/>
                  <a:pt x="11469" y="8219"/>
                  <a:pt x="11344" y="8156"/>
                </a:cubicBezTo>
                <a:cubicBezTo>
                  <a:pt x="11438" y="8063"/>
                  <a:pt x="11375" y="8031"/>
                  <a:pt x="11281" y="8031"/>
                </a:cubicBezTo>
                <a:cubicBezTo>
                  <a:pt x="11188" y="8000"/>
                  <a:pt x="11063" y="8000"/>
                  <a:pt x="10969" y="8031"/>
                </a:cubicBezTo>
                <a:cubicBezTo>
                  <a:pt x="10781" y="8031"/>
                  <a:pt x="10594" y="8031"/>
                  <a:pt x="10406" y="8031"/>
                </a:cubicBezTo>
                <a:cubicBezTo>
                  <a:pt x="10125" y="8031"/>
                  <a:pt x="9844" y="7938"/>
                  <a:pt x="9563" y="7938"/>
                </a:cubicBezTo>
                <a:cubicBezTo>
                  <a:pt x="9375" y="7906"/>
                  <a:pt x="9156" y="7875"/>
                  <a:pt x="8969" y="7875"/>
                </a:cubicBezTo>
                <a:cubicBezTo>
                  <a:pt x="8938" y="7875"/>
                  <a:pt x="8906" y="7875"/>
                  <a:pt x="8875" y="7844"/>
                </a:cubicBezTo>
                <a:cubicBezTo>
                  <a:pt x="8938" y="7813"/>
                  <a:pt x="9000" y="7781"/>
                  <a:pt x="9063" y="7750"/>
                </a:cubicBezTo>
                <a:cubicBezTo>
                  <a:pt x="8906" y="7750"/>
                  <a:pt x="8844" y="7531"/>
                  <a:pt x="8656" y="7594"/>
                </a:cubicBezTo>
                <a:cubicBezTo>
                  <a:pt x="8563" y="7594"/>
                  <a:pt x="8469" y="7594"/>
                  <a:pt x="8500" y="7719"/>
                </a:cubicBezTo>
                <a:cubicBezTo>
                  <a:pt x="8500" y="7750"/>
                  <a:pt x="8469" y="7750"/>
                  <a:pt x="8469" y="7750"/>
                </a:cubicBezTo>
                <a:cubicBezTo>
                  <a:pt x="8344" y="7781"/>
                  <a:pt x="8219" y="7813"/>
                  <a:pt x="8125" y="7844"/>
                </a:cubicBezTo>
                <a:cubicBezTo>
                  <a:pt x="8094" y="7844"/>
                  <a:pt x="8063" y="7844"/>
                  <a:pt x="8063" y="7813"/>
                </a:cubicBezTo>
                <a:cubicBezTo>
                  <a:pt x="8031" y="7719"/>
                  <a:pt x="8000" y="7750"/>
                  <a:pt x="7969" y="7781"/>
                </a:cubicBezTo>
                <a:cubicBezTo>
                  <a:pt x="7938" y="7813"/>
                  <a:pt x="7875" y="7844"/>
                  <a:pt x="7875" y="7813"/>
                </a:cubicBezTo>
                <a:cubicBezTo>
                  <a:pt x="7875" y="7781"/>
                  <a:pt x="7781" y="7719"/>
                  <a:pt x="7844" y="7688"/>
                </a:cubicBezTo>
                <a:cubicBezTo>
                  <a:pt x="7906" y="7594"/>
                  <a:pt x="7844" y="7625"/>
                  <a:pt x="7813" y="7594"/>
                </a:cubicBezTo>
                <a:cubicBezTo>
                  <a:pt x="7750" y="7594"/>
                  <a:pt x="7625" y="7594"/>
                  <a:pt x="7750" y="7500"/>
                </a:cubicBezTo>
                <a:cubicBezTo>
                  <a:pt x="7781" y="7438"/>
                  <a:pt x="7781" y="7375"/>
                  <a:pt x="7719" y="7313"/>
                </a:cubicBezTo>
                <a:cubicBezTo>
                  <a:pt x="7688" y="7281"/>
                  <a:pt x="7625" y="7313"/>
                  <a:pt x="7594" y="7344"/>
                </a:cubicBezTo>
                <a:cubicBezTo>
                  <a:pt x="7469" y="7438"/>
                  <a:pt x="7313" y="7406"/>
                  <a:pt x="7188" y="7375"/>
                </a:cubicBezTo>
                <a:cubicBezTo>
                  <a:pt x="7094" y="7344"/>
                  <a:pt x="7000" y="7375"/>
                  <a:pt x="6875" y="7344"/>
                </a:cubicBezTo>
                <a:cubicBezTo>
                  <a:pt x="6844" y="7313"/>
                  <a:pt x="6719" y="7406"/>
                  <a:pt x="6656" y="7438"/>
                </a:cubicBezTo>
                <a:cubicBezTo>
                  <a:pt x="6438" y="7500"/>
                  <a:pt x="6250" y="7531"/>
                  <a:pt x="6031" y="7500"/>
                </a:cubicBezTo>
                <a:cubicBezTo>
                  <a:pt x="6063" y="7438"/>
                  <a:pt x="6125" y="7469"/>
                  <a:pt x="6188" y="7406"/>
                </a:cubicBezTo>
                <a:cubicBezTo>
                  <a:pt x="6063" y="7344"/>
                  <a:pt x="5969" y="7438"/>
                  <a:pt x="5844" y="7406"/>
                </a:cubicBezTo>
                <a:cubicBezTo>
                  <a:pt x="5844" y="7438"/>
                  <a:pt x="5813" y="7438"/>
                  <a:pt x="5781" y="7438"/>
                </a:cubicBezTo>
                <a:cubicBezTo>
                  <a:pt x="5781" y="7438"/>
                  <a:pt x="5750" y="7438"/>
                  <a:pt x="5719" y="7438"/>
                </a:cubicBezTo>
                <a:cubicBezTo>
                  <a:pt x="5500" y="7531"/>
                  <a:pt x="5281" y="7563"/>
                  <a:pt x="5063" y="7656"/>
                </a:cubicBezTo>
                <a:cubicBezTo>
                  <a:pt x="5063" y="7688"/>
                  <a:pt x="5031" y="7656"/>
                  <a:pt x="5000" y="7656"/>
                </a:cubicBezTo>
                <a:cubicBezTo>
                  <a:pt x="5063" y="7563"/>
                  <a:pt x="5313" y="7469"/>
                  <a:pt x="5438" y="7469"/>
                </a:cubicBezTo>
                <a:cubicBezTo>
                  <a:pt x="5500" y="7500"/>
                  <a:pt x="5531" y="7406"/>
                  <a:pt x="5594" y="7406"/>
                </a:cubicBezTo>
                <a:cubicBezTo>
                  <a:pt x="6000" y="7281"/>
                  <a:pt x="6438" y="7250"/>
                  <a:pt x="6844" y="7156"/>
                </a:cubicBezTo>
                <a:cubicBezTo>
                  <a:pt x="7094" y="7094"/>
                  <a:pt x="7344" y="7031"/>
                  <a:pt x="7625" y="7031"/>
                </a:cubicBezTo>
                <a:cubicBezTo>
                  <a:pt x="7656" y="7031"/>
                  <a:pt x="7656" y="7000"/>
                  <a:pt x="7656" y="6969"/>
                </a:cubicBezTo>
                <a:cubicBezTo>
                  <a:pt x="7656" y="6875"/>
                  <a:pt x="7563" y="6813"/>
                  <a:pt x="7469" y="6813"/>
                </a:cubicBezTo>
                <a:cubicBezTo>
                  <a:pt x="7219" y="6875"/>
                  <a:pt x="6969" y="6875"/>
                  <a:pt x="6719" y="6906"/>
                </a:cubicBezTo>
                <a:cubicBezTo>
                  <a:pt x="6625" y="6938"/>
                  <a:pt x="6625" y="6875"/>
                  <a:pt x="6656" y="6844"/>
                </a:cubicBezTo>
                <a:cubicBezTo>
                  <a:pt x="6719" y="6750"/>
                  <a:pt x="6688" y="6750"/>
                  <a:pt x="6625" y="6750"/>
                </a:cubicBezTo>
                <a:cubicBezTo>
                  <a:pt x="6563" y="6750"/>
                  <a:pt x="6469" y="6813"/>
                  <a:pt x="6438" y="6719"/>
                </a:cubicBezTo>
                <a:cubicBezTo>
                  <a:pt x="6719" y="6625"/>
                  <a:pt x="7031" y="6563"/>
                  <a:pt x="7313" y="6531"/>
                </a:cubicBezTo>
                <a:cubicBezTo>
                  <a:pt x="7375" y="6531"/>
                  <a:pt x="7438" y="6500"/>
                  <a:pt x="7500" y="6531"/>
                </a:cubicBezTo>
                <a:cubicBezTo>
                  <a:pt x="7531" y="6531"/>
                  <a:pt x="7563" y="6500"/>
                  <a:pt x="7563" y="6500"/>
                </a:cubicBezTo>
                <a:cubicBezTo>
                  <a:pt x="7563" y="6438"/>
                  <a:pt x="7500" y="6469"/>
                  <a:pt x="7469" y="6469"/>
                </a:cubicBezTo>
                <a:cubicBezTo>
                  <a:pt x="7344" y="6469"/>
                  <a:pt x="7219" y="6469"/>
                  <a:pt x="7063" y="6469"/>
                </a:cubicBezTo>
                <a:cubicBezTo>
                  <a:pt x="7094" y="6406"/>
                  <a:pt x="7125" y="6344"/>
                  <a:pt x="7031" y="6313"/>
                </a:cubicBezTo>
                <a:cubicBezTo>
                  <a:pt x="7219" y="6281"/>
                  <a:pt x="7375" y="6219"/>
                  <a:pt x="7563" y="6219"/>
                </a:cubicBezTo>
                <a:cubicBezTo>
                  <a:pt x="7594" y="6219"/>
                  <a:pt x="7656" y="6188"/>
                  <a:pt x="7656" y="6250"/>
                </a:cubicBezTo>
                <a:cubicBezTo>
                  <a:pt x="7656" y="6313"/>
                  <a:pt x="7594" y="6313"/>
                  <a:pt x="7563" y="6313"/>
                </a:cubicBezTo>
                <a:cubicBezTo>
                  <a:pt x="7469" y="6313"/>
                  <a:pt x="7375" y="6313"/>
                  <a:pt x="7281" y="6313"/>
                </a:cubicBezTo>
                <a:cubicBezTo>
                  <a:pt x="7375" y="6406"/>
                  <a:pt x="7500" y="6344"/>
                  <a:pt x="7594" y="6344"/>
                </a:cubicBezTo>
                <a:cubicBezTo>
                  <a:pt x="7656" y="6344"/>
                  <a:pt x="7719" y="6313"/>
                  <a:pt x="7750" y="6375"/>
                </a:cubicBezTo>
                <a:cubicBezTo>
                  <a:pt x="7781" y="6438"/>
                  <a:pt x="7656" y="6406"/>
                  <a:pt x="7625" y="6469"/>
                </a:cubicBezTo>
                <a:cubicBezTo>
                  <a:pt x="7656" y="6500"/>
                  <a:pt x="7688" y="6469"/>
                  <a:pt x="7719" y="6469"/>
                </a:cubicBezTo>
                <a:cubicBezTo>
                  <a:pt x="7813" y="6469"/>
                  <a:pt x="7906" y="6469"/>
                  <a:pt x="8000" y="6469"/>
                </a:cubicBezTo>
                <a:cubicBezTo>
                  <a:pt x="7625" y="6625"/>
                  <a:pt x="7250" y="6594"/>
                  <a:pt x="6875" y="6719"/>
                </a:cubicBezTo>
                <a:cubicBezTo>
                  <a:pt x="7094" y="6750"/>
                  <a:pt x="7344" y="6719"/>
                  <a:pt x="7563" y="6656"/>
                </a:cubicBezTo>
                <a:cubicBezTo>
                  <a:pt x="7656" y="6656"/>
                  <a:pt x="7781" y="6656"/>
                  <a:pt x="7875" y="6625"/>
                </a:cubicBezTo>
                <a:cubicBezTo>
                  <a:pt x="7906" y="6594"/>
                  <a:pt x="7938" y="6656"/>
                  <a:pt x="7938" y="6656"/>
                </a:cubicBezTo>
                <a:cubicBezTo>
                  <a:pt x="8031" y="6688"/>
                  <a:pt x="8125" y="6750"/>
                  <a:pt x="8156" y="6625"/>
                </a:cubicBezTo>
                <a:cubicBezTo>
                  <a:pt x="8188" y="6594"/>
                  <a:pt x="8188" y="6594"/>
                  <a:pt x="8219" y="6625"/>
                </a:cubicBezTo>
                <a:cubicBezTo>
                  <a:pt x="8438" y="6688"/>
                  <a:pt x="8625" y="6594"/>
                  <a:pt x="8844" y="6656"/>
                </a:cubicBezTo>
                <a:cubicBezTo>
                  <a:pt x="8969" y="6688"/>
                  <a:pt x="9031" y="6625"/>
                  <a:pt x="9094" y="6563"/>
                </a:cubicBezTo>
                <a:cubicBezTo>
                  <a:pt x="8938" y="6469"/>
                  <a:pt x="8781" y="6531"/>
                  <a:pt x="8625" y="6531"/>
                </a:cubicBezTo>
                <a:cubicBezTo>
                  <a:pt x="8469" y="6531"/>
                  <a:pt x="8344" y="6531"/>
                  <a:pt x="8188" y="6563"/>
                </a:cubicBezTo>
                <a:cubicBezTo>
                  <a:pt x="8188" y="6531"/>
                  <a:pt x="8188" y="6500"/>
                  <a:pt x="8219" y="6500"/>
                </a:cubicBezTo>
                <a:cubicBezTo>
                  <a:pt x="8469" y="6406"/>
                  <a:pt x="8750" y="6375"/>
                  <a:pt x="9031" y="6406"/>
                </a:cubicBezTo>
                <a:cubicBezTo>
                  <a:pt x="9219" y="6406"/>
                  <a:pt x="9063" y="6500"/>
                  <a:pt x="9094" y="6563"/>
                </a:cubicBezTo>
                <a:cubicBezTo>
                  <a:pt x="9156" y="6594"/>
                  <a:pt x="9188" y="6531"/>
                  <a:pt x="9250" y="6563"/>
                </a:cubicBezTo>
                <a:cubicBezTo>
                  <a:pt x="9250" y="6656"/>
                  <a:pt x="9188" y="6625"/>
                  <a:pt x="9125" y="6656"/>
                </a:cubicBezTo>
                <a:cubicBezTo>
                  <a:pt x="9250" y="6719"/>
                  <a:pt x="9375" y="6688"/>
                  <a:pt x="9500" y="6688"/>
                </a:cubicBezTo>
                <a:cubicBezTo>
                  <a:pt x="9531" y="6688"/>
                  <a:pt x="9594" y="6688"/>
                  <a:pt x="9656" y="6688"/>
                </a:cubicBezTo>
                <a:cubicBezTo>
                  <a:pt x="9719" y="6688"/>
                  <a:pt x="9781" y="6625"/>
                  <a:pt x="9781" y="6563"/>
                </a:cubicBezTo>
                <a:cubicBezTo>
                  <a:pt x="9781" y="6563"/>
                  <a:pt x="9781" y="6531"/>
                  <a:pt x="9750" y="6531"/>
                </a:cubicBezTo>
                <a:cubicBezTo>
                  <a:pt x="9719" y="6531"/>
                  <a:pt x="9719" y="6531"/>
                  <a:pt x="9688" y="6563"/>
                </a:cubicBezTo>
                <a:cubicBezTo>
                  <a:pt x="9656" y="6656"/>
                  <a:pt x="9594" y="6625"/>
                  <a:pt x="9594" y="6594"/>
                </a:cubicBezTo>
                <a:cubicBezTo>
                  <a:pt x="9594" y="6438"/>
                  <a:pt x="9500" y="6500"/>
                  <a:pt x="9438" y="6500"/>
                </a:cubicBezTo>
                <a:cubicBezTo>
                  <a:pt x="9375" y="6500"/>
                  <a:pt x="9313" y="6500"/>
                  <a:pt x="9250" y="6500"/>
                </a:cubicBezTo>
                <a:cubicBezTo>
                  <a:pt x="9469" y="6344"/>
                  <a:pt x="9969" y="6438"/>
                  <a:pt x="10063" y="6656"/>
                </a:cubicBezTo>
                <a:cubicBezTo>
                  <a:pt x="10000" y="6656"/>
                  <a:pt x="9969" y="6625"/>
                  <a:pt x="9938" y="6625"/>
                </a:cubicBezTo>
                <a:cubicBezTo>
                  <a:pt x="9906" y="6594"/>
                  <a:pt x="9875" y="6625"/>
                  <a:pt x="9844" y="6656"/>
                </a:cubicBezTo>
                <a:cubicBezTo>
                  <a:pt x="9844" y="6719"/>
                  <a:pt x="9875" y="6719"/>
                  <a:pt x="9938" y="6719"/>
                </a:cubicBezTo>
                <a:cubicBezTo>
                  <a:pt x="10000" y="6719"/>
                  <a:pt x="10094" y="6719"/>
                  <a:pt x="10188" y="6719"/>
                </a:cubicBezTo>
                <a:cubicBezTo>
                  <a:pt x="10188" y="6719"/>
                  <a:pt x="10250" y="6719"/>
                  <a:pt x="10250" y="6781"/>
                </a:cubicBezTo>
                <a:cubicBezTo>
                  <a:pt x="10219" y="6813"/>
                  <a:pt x="10219" y="6813"/>
                  <a:pt x="10188" y="6813"/>
                </a:cubicBezTo>
                <a:cubicBezTo>
                  <a:pt x="10063" y="6813"/>
                  <a:pt x="9906" y="6813"/>
                  <a:pt x="9781" y="6813"/>
                </a:cubicBezTo>
                <a:cubicBezTo>
                  <a:pt x="9656" y="6781"/>
                  <a:pt x="9531" y="6719"/>
                  <a:pt x="9406" y="6813"/>
                </a:cubicBezTo>
                <a:cubicBezTo>
                  <a:pt x="9406" y="6813"/>
                  <a:pt x="9344" y="6813"/>
                  <a:pt x="9344" y="6813"/>
                </a:cubicBezTo>
                <a:cubicBezTo>
                  <a:pt x="8875" y="6750"/>
                  <a:pt x="8438" y="6781"/>
                  <a:pt x="8031" y="6906"/>
                </a:cubicBezTo>
                <a:cubicBezTo>
                  <a:pt x="7938" y="6938"/>
                  <a:pt x="7813" y="6938"/>
                  <a:pt x="7719" y="6969"/>
                </a:cubicBezTo>
                <a:cubicBezTo>
                  <a:pt x="7844" y="7094"/>
                  <a:pt x="8000" y="7000"/>
                  <a:pt x="8125" y="6969"/>
                </a:cubicBezTo>
                <a:cubicBezTo>
                  <a:pt x="8250" y="6938"/>
                  <a:pt x="8375" y="6906"/>
                  <a:pt x="8531" y="6906"/>
                </a:cubicBezTo>
                <a:cubicBezTo>
                  <a:pt x="9063" y="6906"/>
                  <a:pt x="9594" y="6875"/>
                  <a:pt x="10094" y="7000"/>
                </a:cubicBezTo>
                <a:cubicBezTo>
                  <a:pt x="10281" y="7031"/>
                  <a:pt x="10438" y="7000"/>
                  <a:pt x="10594" y="7031"/>
                </a:cubicBezTo>
                <a:cubicBezTo>
                  <a:pt x="10844" y="7094"/>
                  <a:pt x="11063" y="7094"/>
                  <a:pt x="11281" y="7156"/>
                </a:cubicBezTo>
                <a:cubicBezTo>
                  <a:pt x="11625" y="7250"/>
                  <a:pt x="12000" y="7250"/>
                  <a:pt x="12375" y="7344"/>
                </a:cubicBezTo>
                <a:cubicBezTo>
                  <a:pt x="12656" y="7375"/>
                  <a:pt x="12938" y="7469"/>
                  <a:pt x="13250" y="7531"/>
                </a:cubicBezTo>
                <a:cubicBezTo>
                  <a:pt x="13594" y="7625"/>
                  <a:pt x="13938" y="7719"/>
                  <a:pt x="14281" y="7781"/>
                </a:cubicBezTo>
                <a:cubicBezTo>
                  <a:pt x="14313" y="7813"/>
                  <a:pt x="14344" y="7813"/>
                  <a:pt x="14375" y="7844"/>
                </a:cubicBezTo>
                <a:cubicBezTo>
                  <a:pt x="14531" y="7844"/>
                  <a:pt x="14656" y="7938"/>
                  <a:pt x="14781" y="7938"/>
                </a:cubicBezTo>
                <a:cubicBezTo>
                  <a:pt x="14813" y="7938"/>
                  <a:pt x="14875" y="7969"/>
                  <a:pt x="14813" y="8031"/>
                </a:cubicBezTo>
                <a:cubicBezTo>
                  <a:pt x="14781" y="8031"/>
                  <a:pt x="14844" y="8063"/>
                  <a:pt x="14875" y="8063"/>
                </a:cubicBezTo>
                <a:cubicBezTo>
                  <a:pt x="14906" y="8063"/>
                  <a:pt x="15000" y="8031"/>
                  <a:pt x="15031" y="8094"/>
                </a:cubicBezTo>
                <a:cubicBezTo>
                  <a:pt x="15188" y="8063"/>
                  <a:pt x="15344" y="8156"/>
                  <a:pt x="15500" y="8188"/>
                </a:cubicBezTo>
                <a:cubicBezTo>
                  <a:pt x="15688" y="8250"/>
                  <a:pt x="15906" y="8344"/>
                  <a:pt x="16094" y="8438"/>
                </a:cubicBezTo>
                <a:cubicBezTo>
                  <a:pt x="16219" y="8500"/>
                  <a:pt x="16406" y="8500"/>
                  <a:pt x="16531" y="8594"/>
                </a:cubicBezTo>
                <a:cubicBezTo>
                  <a:pt x="16656" y="8594"/>
                  <a:pt x="16781" y="8656"/>
                  <a:pt x="16906" y="8688"/>
                </a:cubicBezTo>
                <a:cubicBezTo>
                  <a:pt x="17156" y="8750"/>
                  <a:pt x="17375" y="8906"/>
                  <a:pt x="17625" y="8969"/>
                </a:cubicBezTo>
                <a:cubicBezTo>
                  <a:pt x="17719" y="9000"/>
                  <a:pt x="17813" y="9031"/>
                  <a:pt x="17906" y="9063"/>
                </a:cubicBezTo>
                <a:cubicBezTo>
                  <a:pt x="18125" y="9188"/>
                  <a:pt x="18375" y="9219"/>
                  <a:pt x="18594" y="9344"/>
                </a:cubicBezTo>
                <a:cubicBezTo>
                  <a:pt x="18656" y="9375"/>
                  <a:pt x="18719" y="9438"/>
                  <a:pt x="18781" y="9500"/>
                </a:cubicBezTo>
                <a:cubicBezTo>
                  <a:pt x="18469" y="9469"/>
                  <a:pt x="18188" y="9438"/>
                  <a:pt x="17938" y="9281"/>
                </a:cubicBezTo>
                <a:cubicBezTo>
                  <a:pt x="17906" y="9281"/>
                  <a:pt x="17844" y="9281"/>
                  <a:pt x="17844" y="9219"/>
                </a:cubicBezTo>
                <a:cubicBezTo>
                  <a:pt x="17875" y="9188"/>
                  <a:pt x="17938" y="9219"/>
                  <a:pt x="17938" y="9188"/>
                </a:cubicBezTo>
                <a:cubicBezTo>
                  <a:pt x="17906" y="9125"/>
                  <a:pt x="17844" y="9125"/>
                  <a:pt x="17781" y="9094"/>
                </a:cubicBezTo>
                <a:cubicBezTo>
                  <a:pt x="17656" y="9094"/>
                  <a:pt x="17594" y="9031"/>
                  <a:pt x="17500" y="8969"/>
                </a:cubicBezTo>
                <a:cubicBezTo>
                  <a:pt x="17406" y="8906"/>
                  <a:pt x="17250" y="8906"/>
                  <a:pt x="17156" y="8875"/>
                </a:cubicBezTo>
                <a:cubicBezTo>
                  <a:pt x="16969" y="8813"/>
                  <a:pt x="16781" y="8750"/>
                  <a:pt x="16594" y="8781"/>
                </a:cubicBezTo>
                <a:cubicBezTo>
                  <a:pt x="16563" y="8781"/>
                  <a:pt x="16531" y="8750"/>
                  <a:pt x="16531" y="8688"/>
                </a:cubicBezTo>
                <a:cubicBezTo>
                  <a:pt x="16531" y="8688"/>
                  <a:pt x="16500" y="8688"/>
                  <a:pt x="16500" y="8688"/>
                </a:cubicBezTo>
                <a:cubicBezTo>
                  <a:pt x="16438" y="8688"/>
                  <a:pt x="16375" y="8688"/>
                  <a:pt x="16344" y="8688"/>
                </a:cubicBezTo>
                <a:cubicBezTo>
                  <a:pt x="16281" y="8719"/>
                  <a:pt x="16219" y="8750"/>
                  <a:pt x="16125" y="8688"/>
                </a:cubicBezTo>
                <a:cubicBezTo>
                  <a:pt x="16094" y="8656"/>
                  <a:pt x="16000" y="8688"/>
                  <a:pt x="15938" y="8688"/>
                </a:cubicBezTo>
                <a:cubicBezTo>
                  <a:pt x="15906" y="8688"/>
                  <a:pt x="15875" y="8750"/>
                  <a:pt x="15844" y="8719"/>
                </a:cubicBezTo>
                <a:cubicBezTo>
                  <a:pt x="15813" y="8656"/>
                  <a:pt x="15844" y="8625"/>
                  <a:pt x="15875" y="8594"/>
                </a:cubicBezTo>
                <a:cubicBezTo>
                  <a:pt x="15875" y="8563"/>
                  <a:pt x="15875" y="8563"/>
                  <a:pt x="15906" y="8531"/>
                </a:cubicBezTo>
                <a:cubicBezTo>
                  <a:pt x="15813" y="8500"/>
                  <a:pt x="15719" y="8531"/>
                  <a:pt x="15719" y="8594"/>
                </a:cubicBezTo>
                <a:cubicBezTo>
                  <a:pt x="15719" y="8656"/>
                  <a:pt x="15688" y="8781"/>
                  <a:pt x="15844" y="8781"/>
                </a:cubicBezTo>
                <a:cubicBezTo>
                  <a:pt x="15969" y="8813"/>
                  <a:pt x="16125" y="8844"/>
                  <a:pt x="16250" y="8938"/>
                </a:cubicBezTo>
                <a:cubicBezTo>
                  <a:pt x="16313" y="8969"/>
                  <a:pt x="16281" y="9063"/>
                  <a:pt x="16375" y="9031"/>
                </a:cubicBezTo>
                <a:cubicBezTo>
                  <a:pt x="16438" y="9031"/>
                  <a:pt x="16531" y="9031"/>
                  <a:pt x="16594" y="9063"/>
                </a:cubicBezTo>
                <a:cubicBezTo>
                  <a:pt x="16625" y="9063"/>
                  <a:pt x="16688" y="9094"/>
                  <a:pt x="16719" y="9156"/>
                </a:cubicBezTo>
                <a:cubicBezTo>
                  <a:pt x="16594" y="9156"/>
                  <a:pt x="16469" y="9219"/>
                  <a:pt x="16344" y="9188"/>
                </a:cubicBezTo>
                <a:cubicBezTo>
                  <a:pt x="15938" y="9094"/>
                  <a:pt x="15563" y="8906"/>
                  <a:pt x="15188" y="8813"/>
                </a:cubicBezTo>
                <a:cubicBezTo>
                  <a:pt x="15125" y="8813"/>
                  <a:pt x="15063" y="8781"/>
                  <a:pt x="14969" y="8781"/>
                </a:cubicBezTo>
                <a:cubicBezTo>
                  <a:pt x="14813" y="8750"/>
                  <a:pt x="14813" y="8750"/>
                  <a:pt x="14750" y="8688"/>
                </a:cubicBezTo>
                <a:cubicBezTo>
                  <a:pt x="14625" y="8594"/>
                  <a:pt x="14469" y="8563"/>
                  <a:pt x="14344" y="8500"/>
                </a:cubicBezTo>
                <a:cubicBezTo>
                  <a:pt x="14031" y="8438"/>
                  <a:pt x="13688" y="8406"/>
                  <a:pt x="13406" y="8313"/>
                </a:cubicBezTo>
                <a:close/>
                <a:moveTo>
                  <a:pt x="15531" y="9188"/>
                </a:moveTo>
                <a:cubicBezTo>
                  <a:pt x="15438" y="9281"/>
                  <a:pt x="15250" y="9250"/>
                  <a:pt x="15188" y="9125"/>
                </a:cubicBezTo>
                <a:cubicBezTo>
                  <a:pt x="15156" y="9094"/>
                  <a:pt x="15156" y="9094"/>
                  <a:pt x="15188" y="9063"/>
                </a:cubicBezTo>
                <a:cubicBezTo>
                  <a:pt x="15219" y="9031"/>
                  <a:pt x="15219" y="9063"/>
                  <a:pt x="15250" y="9063"/>
                </a:cubicBezTo>
                <a:cubicBezTo>
                  <a:pt x="15344" y="9125"/>
                  <a:pt x="15438" y="9156"/>
                  <a:pt x="15531" y="9188"/>
                </a:cubicBezTo>
                <a:close/>
                <a:moveTo>
                  <a:pt x="15438" y="11750"/>
                </a:moveTo>
                <a:cubicBezTo>
                  <a:pt x="15406" y="11750"/>
                  <a:pt x="15344" y="11750"/>
                  <a:pt x="15344" y="11750"/>
                </a:cubicBezTo>
                <a:cubicBezTo>
                  <a:pt x="15250" y="11594"/>
                  <a:pt x="15094" y="11656"/>
                  <a:pt x="15000" y="11656"/>
                </a:cubicBezTo>
                <a:cubicBezTo>
                  <a:pt x="14938" y="11656"/>
                  <a:pt x="14875" y="11656"/>
                  <a:pt x="14938" y="11594"/>
                </a:cubicBezTo>
                <a:cubicBezTo>
                  <a:pt x="14969" y="11563"/>
                  <a:pt x="14969" y="11531"/>
                  <a:pt x="14906" y="11531"/>
                </a:cubicBezTo>
                <a:cubicBezTo>
                  <a:pt x="14875" y="11531"/>
                  <a:pt x="14813" y="11500"/>
                  <a:pt x="14781" y="11469"/>
                </a:cubicBezTo>
                <a:cubicBezTo>
                  <a:pt x="15000" y="11500"/>
                  <a:pt x="15250" y="11438"/>
                  <a:pt x="15469" y="11531"/>
                </a:cubicBezTo>
                <a:cubicBezTo>
                  <a:pt x="15375" y="11625"/>
                  <a:pt x="15469" y="11625"/>
                  <a:pt x="15500" y="11656"/>
                </a:cubicBezTo>
                <a:cubicBezTo>
                  <a:pt x="15563" y="11656"/>
                  <a:pt x="15594" y="11656"/>
                  <a:pt x="15656" y="11688"/>
                </a:cubicBezTo>
                <a:cubicBezTo>
                  <a:pt x="15594" y="11719"/>
                  <a:pt x="15500" y="11719"/>
                  <a:pt x="15438" y="11750"/>
                </a:cubicBezTo>
                <a:close/>
                <a:moveTo>
                  <a:pt x="15313" y="11344"/>
                </a:moveTo>
                <a:cubicBezTo>
                  <a:pt x="15250" y="11313"/>
                  <a:pt x="15188" y="11344"/>
                  <a:pt x="15125" y="11281"/>
                </a:cubicBezTo>
                <a:cubicBezTo>
                  <a:pt x="15031" y="11094"/>
                  <a:pt x="15000" y="11094"/>
                  <a:pt x="14750" y="11125"/>
                </a:cubicBezTo>
                <a:cubicBezTo>
                  <a:pt x="14750" y="11156"/>
                  <a:pt x="14719" y="11156"/>
                  <a:pt x="14719" y="11156"/>
                </a:cubicBezTo>
                <a:cubicBezTo>
                  <a:pt x="14563" y="11000"/>
                  <a:pt x="14344" y="11031"/>
                  <a:pt x="14188" y="10969"/>
                </a:cubicBezTo>
                <a:cubicBezTo>
                  <a:pt x="14125" y="10969"/>
                  <a:pt x="14125" y="10938"/>
                  <a:pt x="14125" y="10906"/>
                </a:cubicBezTo>
                <a:cubicBezTo>
                  <a:pt x="14469" y="10938"/>
                  <a:pt x="14844" y="11000"/>
                  <a:pt x="15219" y="11000"/>
                </a:cubicBezTo>
                <a:cubicBezTo>
                  <a:pt x="15250" y="10969"/>
                  <a:pt x="15250" y="10969"/>
                  <a:pt x="15281" y="11000"/>
                </a:cubicBezTo>
                <a:cubicBezTo>
                  <a:pt x="15281" y="11031"/>
                  <a:pt x="15281" y="11063"/>
                  <a:pt x="15250" y="11063"/>
                </a:cubicBezTo>
                <a:cubicBezTo>
                  <a:pt x="15219" y="11063"/>
                  <a:pt x="15188" y="11094"/>
                  <a:pt x="15188" y="11125"/>
                </a:cubicBezTo>
                <a:cubicBezTo>
                  <a:pt x="15219" y="11156"/>
                  <a:pt x="15250" y="11156"/>
                  <a:pt x="15281" y="11156"/>
                </a:cubicBezTo>
                <a:cubicBezTo>
                  <a:pt x="15344" y="11094"/>
                  <a:pt x="15406" y="11156"/>
                  <a:pt x="15469" y="11156"/>
                </a:cubicBezTo>
                <a:cubicBezTo>
                  <a:pt x="15500" y="11156"/>
                  <a:pt x="15563" y="11156"/>
                  <a:pt x="15563" y="11188"/>
                </a:cubicBezTo>
                <a:cubicBezTo>
                  <a:pt x="15563" y="11250"/>
                  <a:pt x="15500" y="11219"/>
                  <a:pt x="15469" y="11219"/>
                </a:cubicBezTo>
                <a:cubicBezTo>
                  <a:pt x="15438" y="11250"/>
                  <a:pt x="15438" y="11219"/>
                  <a:pt x="15406" y="11219"/>
                </a:cubicBezTo>
                <a:cubicBezTo>
                  <a:pt x="15469" y="11344"/>
                  <a:pt x="15531" y="11375"/>
                  <a:pt x="15625" y="11313"/>
                </a:cubicBezTo>
                <a:cubicBezTo>
                  <a:pt x="15656" y="11313"/>
                  <a:pt x="15656" y="11313"/>
                  <a:pt x="15656" y="11313"/>
                </a:cubicBezTo>
                <a:cubicBezTo>
                  <a:pt x="15719" y="11188"/>
                  <a:pt x="15719" y="11188"/>
                  <a:pt x="15844" y="11219"/>
                </a:cubicBezTo>
                <a:cubicBezTo>
                  <a:pt x="15844" y="11219"/>
                  <a:pt x="15844" y="11219"/>
                  <a:pt x="15844" y="11219"/>
                </a:cubicBezTo>
                <a:cubicBezTo>
                  <a:pt x="15781" y="11250"/>
                  <a:pt x="15688" y="11219"/>
                  <a:pt x="15688" y="11313"/>
                </a:cubicBezTo>
                <a:cubicBezTo>
                  <a:pt x="15688" y="11375"/>
                  <a:pt x="15750" y="11406"/>
                  <a:pt x="15844" y="11406"/>
                </a:cubicBezTo>
                <a:cubicBezTo>
                  <a:pt x="15875" y="11406"/>
                  <a:pt x="15875" y="11438"/>
                  <a:pt x="15875" y="11500"/>
                </a:cubicBezTo>
                <a:cubicBezTo>
                  <a:pt x="15688" y="11469"/>
                  <a:pt x="15469" y="11500"/>
                  <a:pt x="15313" y="11344"/>
                </a:cubicBezTo>
                <a:close/>
                <a:moveTo>
                  <a:pt x="16438" y="11531"/>
                </a:moveTo>
                <a:cubicBezTo>
                  <a:pt x="16406" y="11563"/>
                  <a:pt x="16375" y="11594"/>
                  <a:pt x="16344" y="11531"/>
                </a:cubicBezTo>
                <a:cubicBezTo>
                  <a:pt x="16313" y="11438"/>
                  <a:pt x="16219" y="11469"/>
                  <a:pt x="16156" y="11438"/>
                </a:cubicBezTo>
                <a:cubicBezTo>
                  <a:pt x="16031" y="11469"/>
                  <a:pt x="15938" y="11406"/>
                  <a:pt x="15906" y="11250"/>
                </a:cubicBezTo>
                <a:cubicBezTo>
                  <a:pt x="15969" y="11344"/>
                  <a:pt x="16031" y="11344"/>
                  <a:pt x="16094" y="11344"/>
                </a:cubicBezTo>
                <a:cubicBezTo>
                  <a:pt x="16156" y="11344"/>
                  <a:pt x="16219" y="11313"/>
                  <a:pt x="16250" y="11375"/>
                </a:cubicBezTo>
                <a:cubicBezTo>
                  <a:pt x="16281" y="11438"/>
                  <a:pt x="16375" y="11375"/>
                  <a:pt x="16406" y="11406"/>
                </a:cubicBezTo>
                <a:cubicBezTo>
                  <a:pt x="16438" y="11406"/>
                  <a:pt x="16500" y="11375"/>
                  <a:pt x="16500" y="11438"/>
                </a:cubicBezTo>
                <a:cubicBezTo>
                  <a:pt x="16500" y="11469"/>
                  <a:pt x="16500" y="11531"/>
                  <a:pt x="16438" y="11531"/>
                </a:cubicBezTo>
                <a:close/>
                <a:moveTo>
                  <a:pt x="16688" y="9250"/>
                </a:moveTo>
                <a:cubicBezTo>
                  <a:pt x="16844" y="9219"/>
                  <a:pt x="16969" y="9281"/>
                  <a:pt x="17125" y="9281"/>
                </a:cubicBezTo>
                <a:cubicBezTo>
                  <a:pt x="17219" y="9281"/>
                  <a:pt x="17313" y="9406"/>
                  <a:pt x="17438" y="9438"/>
                </a:cubicBezTo>
                <a:cubicBezTo>
                  <a:pt x="17438" y="9438"/>
                  <a:pt x="17469" y="9469"/>
                  <a:pt x="17500" y="9469"/>
                </a:cubicBezTo>
                <a:cubicBezTo>
                  <a:pt x="17406" y="9531"/>
                  <a:pt x="17344" y="9500"/>
                  <a:pt x="17281" y="9500"/>
                </a:cubicBezTo>
                <a:cubicBezTo>
                  <a:pt x="17094" y="9406"/>
                  <a:pt x="16906" y="9344"/>
                  <a:pt x="16719" y="9375"/>
                </a:cubicBezTo>
                <a:cubicBezTo>
                  <a:pt x="16625" y="9406"/>
                  <a:pt x="16594" y="9344"/>
                  <a:pt x="16594" y="9281"/>
                </a:cubicBezTo>
                <a:cubicBezTo>
                  <a:pt x="16594" y="9219"/>
                  <a:pt x="16656" y="9250"/>
                  <a:pt x="16688" y="9250"/>
                </a:cubicBezTo>
                <a:close/>
                <a:moveTo>
                  <a:pt x="17375" y="11719"/>
                </a:moveTo>
                <a:cubicBezTo>
                  <a:pt x="17219" y="11875"/>
                  <a:pt x="17125" y="11844"/>
                  <a:pt x="17094" y="11719"/>
                </a:cubicBezTo>
                <a:cubicBezTo>
                  <a:pt x="17031" y="11750"/>
                  <a:pt x="16938" y="11719"/>
                  <a:pt x="16906" y="11813"/>
                </a:cubicBezTo>
                <a:cubicBezTo>
                  <a:pt x="16906" y="11844"/>
                  <a:pt x="16750" y="11844"/>
                  <a:pt x="16688" y="11813"/>
                </a:cubicBezTo>
                <a:cubicBezTo>
                  <a:pt x="16625" y="11750"/>
                  <a:pt x="16719" y="11719"/>
                  <a:pt x="16750" y="11719"/>
                </a:cubicBezTo>
                <a:cubicBezTo>
                  <a:pt x="16906" y="11625"/>
                  <a:pt x="17219" y="11656"/>
                  <a:pt x="17375" y="11719"/>
                </a:cubicBezTo>
                <a:close/>
                <a:moveTo>
                  <a:pt x="16594" y="12000"/>
                </a:moveTo>
                <a:cubicBezTo>
                  <a:pt x="16656" y="11938"/>
                  <a:pt x="16719" y="11969"/>
                  <a:pt x="16750" y="11969"/>
                </a:cubicBezTo>
                <a:cubicBezTo>
                  <a:pt x="16813" y="11969"/>
                  <a:pt x="16875" y="11969"/>
                  <a:pt x="16906" y="11938"/>
                </a:cubicBezTo>
                <a:cubicBezTo>
                  <a:pt x="16969" y="11844"/>
                  <a:pt x="17063" y="11875"/>
                  <a:pt x="17156" y="11906"/>
                </a:cubicBezTo>
                <a:cubicBezTo>
                  <a:pt x="17250" y="11938"/>
                  <a:pt x="17156" y="11969"/>
                  <a:pt x="17188" y="12000"/>
                </a:cubicBezTo>
                <a:cubicBezTo>
                  <a:pt x="17000" y="12000"/>
                  <a:pt x="16781" y="12031"/>
                  <a:pt x="16594" y="12000"/>
                </a:cubicBezTo>
                <a:close/>
                <a:moveTo>
                  <a:pt x="17250" y="12063"/>
                </a:moveTo>
                <a:cubicBezTo>
                  <a:pt x="17188" y="12094"/>
                  <a:pt x="17188" y="12063"/>
                  <a:pt x="17188" y="12000"/>
                </a:cubicBezTo>
                <a:cubicBezTo>
                  <a:pt x="17344" y="11969"/>
                  <a:pt x="17500" y="11875"/>
                  <a:pt x="17656" y="11875"/>
                </a:cubicBezTo>
                <a:cubicBezTo>
                  <a:pt x="17719" y="11875"/>
                  <a:pt x="17813" y="11844"/>
                  <a:pt x="17813" y="11938"/>
                </a:cubicBezTo>
                <a:cubicBezTo>
                  <a:pt x="17844" y="11969"/>
                  <a:pt x="17875" y="11969"/>
                  <a:pt x="17906" y="11969"/>
                </a:cubicBezTo>
                <a:cubicBezTo>
                  <a:pt x="17938" y="11969"/>
                  <a:pt x="17969" y="11969"/>
                  <a:pt x="18000" y="11969"/>
                </a:cubicBezTo>
                <a:cubicBezTo>
                  <a:pt x="18094" y="11969"/>
                  <a:pt x="18188" y="12000"/>
                  <a:pt x="18188" y="12063"/>
                </a:cubicBezTo>
                <a:cubicBezTo>
                  <a:pt x="18188" y="12125"/>
                  <a:pt x="18063" y="12063"/>
                  <a:pt x="18000" y="12063"/>
                </a:cubicBezTo>
                <a:cubicBezTo>
                  <a:pt x="17750" y="12031"/>
                  <a:pt x="17500" y="12031"/>
                  <a:pt x="17250" y="12063"/>
                </a:cubicBezTo>
                <a:close/>
                <a:moveTo>
                  <a:pt x="17938" y="12625"/>
                </a:moveTo>
                <a:cubicBezTo>
                  <a:pt x="17938" y="12625"/>
                  <a:pt x="17938" y="12594"/>
                  <a:pt x="17938" y="12594"/>
                </a:cubicBezTo>
                <a:cubicBezTo>
                  <a:pt x="17938" y="12563"/>
                  <a:pt x="17969" y="12563"/>
                  <a:pt x="18000" y="12563"/>
                </a:cubicBezTo>
                <a:cubicBezTo>
                  <a:pt x="18063" y="12563"/>
                  <a:pt x="18094" y="12594"/>
                  <a:pt x="18156" y="12594"/>
                </a:cubicBezTo>
                <a:cubicBezTo>
                  <a:pt x="18188" y="12594"/>
                  <a:pt x="18250" y="12594"/>
                  <a:pt x="18281" y="12594"/>
                </a:cubicBezTo>
                <a:cubicBezTo>
                  <a:pt x="18219" y="12688"/>
                  <a:pt x="18000" y="12719"/>
                  <a:pt x="17938" y="12625"/>
                </a:cubicBezTo>
                <a:close/>
                <a:moveTo>
                  <a:pt x="18875" y="12875"/>
                </a:moveTo>
                <a:cubicBezTo>
                  <a:pt x="18781" y="12906"/>
                  <a:pt x="18688" y="12875"/>
                  <a:pt x="18625" y="12844"/>
                </a:cubicBezTo>
                <a:cubicBezTo>
                  <a:pt x="18625" y="12813"/>
                  <a:pt x="18625" y="12813"/>
                  <a:pt x="18625" y="12781"/>
                </a:cubicBezTo>
                <a:cubicBezTo>
                  <a:pt x="18688" y="12813"/>
                  <a:pt x="18781" y="12813"/>
                  <a:pt x="18844" y="12813"/>
                </a:cubicBezTo>
                <a:cubicBezTo>
                  <a:pt x="18875" y="12813"/>
                  <a:pt x="18906" y="12813"/>
                  <a:pt x="18906" y="12844"/>
                </a:cubicBezTo>
                <a:cubicBezTo>
                  <a:pt x="18906" y="12875"/>
                  <a:pt x="18875" y="12875"/>
                  <a:pt x="18875" y="12875"/>
                </a:cubicBezTo>
                <a:close/>
                <a:moveTo>
                  <a:pt x="18969" y="12531"/>
                </a:moveTo>
                <a:cubicBezTo>
                  <a:pt x="18938" y="12563"/>
                  <a:pt x="18875" y="12531"/>
                  <a:pt x="18844" y="12531"/>
                </a:cubicBezTo>
                <a:cubicBezTo>
                  <a:pt x="18781" y="12531"/>
                  <a:pt x="18750" y="12531"/>
                  <a:pt x="18688" y="12531"/>
                </a:cubicBezTo>
                <a:cubicBezTo>
                  <a:pt x="18719" y="12469"/>
                  <a:pt x="18719" y="12406"/>
                  <a:pt x="18781" y="12375"/>
                </a:cubicBezTo>
                <a:cubicBezTo>
                  <a:pt x="18875" y="12344"/>
                  <a:pt x="19000" y="12406"/>
                  <a:pt x="19031" y="12469"/>
                </a:cubicBezTo>
                <a:cubicBezTo>
                  <a:pt x="19031" y="12531"/>
                  <a:pt x="19000" y="12500"/>
                  <a:pt x="18969" y="12531"/>
                </a:cubicBezTo>
                <a:close/>
                <a:moveTo>
                  <a:pt x="19469" y="13125"/>
                </a:moveTo>
                <a:cubicBezTo>
                  <a:pt x="19469" y="13156"/>
                  <a:pt x="19500" y="13188"/>
                  <a:pt x="19438" y="13188"/>
                </a:cubicBezTo>
                <a:cubicBezTo>
                  <a:pt x="19375" y="13188"/>
                  <a:pt x="19344" y="13188"/>
                  <a:pt x="19313" y="13125"/>
                </a:cubicBezTo>
                <a:cubicBezTo>
                  <a:pt x="19281" y="13063"/>
                  <a:pt x="19344" y="13094"/>
                  <a:pt x="19375" y="13094"/>
                </a:cubicBezTo>
                <a:cubicBezTo>
                  <a:pt x="19375" y="13094"/>
                  <a:pt x="19406" y="13063"/>
                  <a:pt x="19406" y="13063"/>
                </a:cubicBezTo>
                <a:cubicBezTo>
                  <a:pt x="19406" y="13031"/>
                  <a:pt x="19375" y="13031"/>
                  <a:pt x="19375" y="13031"/>
                </a:cubicBezTo>
                <a:cubicBezTo>
                  <a:pt x="19313" y="13031"/>
                  <a:pt x="19250" y="12969"/>
                  <a:pt x="19219" y="13063"/>
                </a:cubicBezTo>
                <a:cubicBezTo>
                  <a:pt x="19219" y="13125"/>
                  <a:pt x="19188" y="13094"/>
                  <a:pt x="19156" y="13094"/>
                </a:cubicBezTo>
                <a:cubicBezTo>
                  <a:pt x="19094" y="13094"/>
                  <a:pt x="19063" y="13094"/>
                  <a:pt x="19063" y="13063"/>
                </a:cubicBezTo>
                <a:cubicBezTo>
                  <a:pt x="19031" y="13031"/>
                  <a:pt x="19094" y="13000"/>
                  <a:pt x="19094" y="12969"/>
                </a:cubicBezTo>
                <a:cubicBezTo>
                  <a:pt x="19156" y="12906"/>
                  <a:pt x="19250" y="12906"/>
                  <a:pt x="19313" y="12906"/>
                </a:cubicBezTo>
                <a:cubicBezTo>
                  <a:pt x="19438" y="12906"/>
                  <a:pt x="19531" y="12906"/>
                  <a:pt x="19656" y="12844"/>
                </a:cubicBezTo>
                <a:cubicBezTo>
                  <a:pt x="19625" y="12906"/>
                  <a:pt x="19625" y="12938"/>
                  <a:pt x="19594" y="12938"/>
                </a:cubicBezTo>
                <a:cubicBezTo>
                  <a:pt x="19500" y="12969"/>
                  <a:pt x="19438" y="13031"/>
                  <a:pt x="19469" y="13125"/>
                </a:cubicBezTo>
                <a:close/>
                <a:moveTo>
                  <a:pt x="19563" y="13188"/>
                </a:moveTo>
                <a:cubicBezTo>
                  <a:pt x="19688" y="13125"/>
                  <a:pt x="19844" y="13125"/>
                  <a:pt x="19938" y="13188"/>
                </a:cubicBezTo>
                <a:cubicBezTo>
                  <a:pt x="19938" y="13219"/>
                  <a:pt x="19969" y="13219"/>
                  <a:pt x="19969" y="13250"/>
                </a:cubicBezTo>
                <a:cubicBezTo>
                  <a:pt x="19969" y="13281"/>
                  <a:pt x="19938" y="13281"/>
                  <a:pt x="19906" y="13281"/>
                </a:cubicBezTo>
                <a:cubicBezTo>
                  <a:pt x="19781" y="13281"/>
                  <a:pt x="19688" y="13250"/>
                  <a:pt x="19563" y="13188"/>
                </a:cubicBezTo>
                <a:close/>
                <a:moveTo>
                  <a:pt x="20500" y="14125"/>
                </a:moveTo>
                <a:cubicBezTo>
                  <a:pt x="20438" y="14156"/>
                  <a:pt x="20375" y="14188"/>
                  <a:pt x="20313" y="14219"/>
                </a:cubicBezTo>
                <a:cubicBezTo>
                  <a:pt x="20250" y="14250"/>
                  <a:pt x="20219" y="14219"/>
                  <a:pt x="20156" y="14188"/>
                </a:cubicBezTo>
                <a:cubicBezTo>
                  <a:pt x="20156" y="14125"/>
                  <a:pt x="20250" y="14188"/>
                  <a:pt x="20250" y="14125"/>
                </a:cubicBezTo>
                <a:cubicBezTo>
                  <a:pt x="20281" y="14125"/>
                  <a:pt x="20313" y="14156"/>
                  <a:pt x="20313" y="14094"/>
                </a:cubicBezTo>
                <a:cubicBezTo>
                  <a:pt x="20281" y="14094"/>
                  <a:pt x="20281" y="14094"/>
                  <a:pt x="20250" y="14094"/>
                </a:cubicBezTo>
                <a:cubicBezTo>
                  <a:pt x="20250" y="14094"/>
                  <a:pt x="20250" y="14125"/>
                  <a:pt x="20250" y="14125"/>
                </a:cubicBezTo>
                <a:cubicBezTo>
                  <a:pt x="20219" y="14094"/>
                  <a:pt x="20188" y="14125"/>
                  <a:pt x="20156" y="14125"/>
                </a:cubicBezTo>
                <a:cubicBezTo>
                  <a:pt x="20031" y="14125"/>
                  <a:pt x="19938" y="14156"/>
                  <a:pt x="19813" y="14125"/>
                </a:cubicBezTo>
                <a:cubicBezTo>
                  <a:pt x="19750" y="14125"/>
                  <a:pt x="19719" y="14094"/>
                  <a:pt x="19719" y="14031"/>
                </a:cubicBezTo>
                <a:cubicBezTo>
                  <a:pt x="19719" y="13969"/>
                  <a:pt x="19750" y="13938"/>
                  <a:pt x="19813" y="13938"/>
                </a:cubicBezTo>
                <a:cubicBezTo>
                  <a:pt x="19906" y="13938"/>
                  <a:pt x="20031" y="13844"/>
                  <a:pt x="20125" y="14000"/>
                </a:cubicBezTo>
                <a:cubicBezTo>
                  <a:pt x="20156" y="14031"/>
                  <a:pt x="20188" y="14000"/>
                  <a:pt x="20219" y="13969"/>
                </a:cubicBezTo>
                <a:cubicBezTo>
                  <a:pt x="20250" y="13938"/>
                  <a:pt x="20313" y="13938"/>
                  <a:pt x="20313" y="14000"/>
                </a:cubicBezTo>
                <a:cubicBezTo>
                  <a:pt x="20375" y="14094"/>
                  <a:pt x="20406" y="14031"/>
                  <a:pt x="20469" y="14031"/>
                </a:cubicBezTo>
                <a:cubicBezTo>
                  <a:pt x="20500" y="14031"/>
                  <a:pt x="20563" y="14031"/>
                  <a:pt x="20563" y="14063"/>
                </a:cubicBezTo>
                <a:cubicBezTo>
                  <a:pt x="20594" y="14125"/>
                  <a:pt x="20531" y="14125"/>
                  <a:pt x="20500" y="14125"/>
                </a:cubicBezTo>
                <a:close/>
                <a:moveTo>
                  <a:pt x="20125" y="13281"/>
                </a:moveTo>
                <a:cubicBezTo>
                  <a:pt x="20281" y="13250"/>
                  <a:pt x="20375" y="13375"/>
                  <a:pt x="20531" y="13344"/>
                </a:cubicBezTo>
                <a:cubicBezTo>
                  <a:pt x="20531" y="13344"/>
                  <a:pt x="20531" y="13375"/>
                  <a:pt x="20531" y="13375"/>
                </a:cubicBezTo>
                <a:cubicBezTo>
                  <a:pt x="20531" y="13406"/>
                  <a:pt x="20500" y="13438"/>
                  <a:pt x="20469" y="13438"/>
                </a:cubicBezTo>
                <a:cubicBezTo>
                  <a:pt x="20344" y="13406"/>
                  <a:pt x="20250" y="13375"/>
                  <a:pt x="20125" y="13281"/>
                </a:cubicBezTo>
                <a:close/>
                <a:moveTo>
                  <a:pt x="20219" y="12938"/>
                </a:moveTo>
                <a:cubicBezTo>
                  <a:pt x="20469" y="12938"/>
                  <a:pt x="20719" y="13000"/>
                  <a:pt x="20969" y="13031"/>
                </a:cubicBezTo>
                <a:cubicBezTo>
                  <a:pt x="20844" y="13125"/>
                  <a:pt x="20344" y="13063"/>
                  <a:pt x="20219" y="12938"/>
                </a:cubicBezTo>
                <a:close/>
                <a:moveTo>
                  <a:pt x="21156" y="13625"/>
                </a:moveTo>
                <a:cubicBezTo>
                  <a:pt x="21094" y="13625"/>
                  <a:pt x="21031" y="13594"/>
                  <a:pt x="21000" y="13656"/>
                </a:cubicBezTo>
                <a:cubicBezTo>
                  <a:pt x="20969" y="13656"/>
                  <a:pt x="20938" y="13656"/>
                  <a:pt x="20938" y="13625"/>
                </a:cubicBezTo>
                <a:cubicBezTo>
                  <a:pt x="20906" y="13594"/>
                  <a:pt x="20938" y="13594"/>
                  <a:pt x="20969" y="13594"/>
                </a:cubicBezTo>
                <a:cubicBezTo>
                  <a:pt x="21031" y="13563"/>
                  <a:pt x="21094" y="13500"/>
                  <a:pt x="21125" y="13531"/>
                </a:cubicBezTo>
                <a:cubicBezTo>
                  <a:pt x="21188" y="13531"/>
                  <a:pt x="21250" y="13500"/>
                  <a:pt x="21250" y="13563"/>
                </a:cubicBezTo>
                <a:cubicBezTo>
                  <a:pt x="21250" y="13656"/>
                  <a:pt x="21188" y="13594"/>
                  <a:pt x="21156" y="13625"/>
                </a:cubicBezTo>
                <a:close/>
                <a:moveTo>
                  <a:pt x="20219" y="10563"/>
                </a:moveTo>
                <a:cubicBezTo>
                  <a:pt x="20188" y="10563"/>
                  <a:pt x="20156" y="10563"/>
                  <a:pt x="20156" y="10531"/>
                </a:cubicBezTo>
                <a:cubicBezTo>
                  <a:pt x="20156" y="10500"/>
                  <a:pt x="20188" y="10469"/>
                  <a:pt x="20219" y="10469"/>
                </a:cubicBezTo>
                <a:cubicBezTo>
                  <a:pt x="20344" y="10500"/>
                  <a:pt x="20500" y="10438"/>
                  <a:pt x="20656" y="10531"/>
                </a:cubicBezTo>
                <a:cubicBezTo>
                  <a:pt x="20781" y="10625"/>
                  <a:pt x="20969" y="10656"/>
                  <a:pt x="21125" y="10719"/>
                </a:cubicBezTo>
                <a:cubicBezTo>
                  <a:pt x="21250" y="10750"/>
                  <a:pt x="21344" y="10813"/>
                  <a:pt x="21406" y="10875"/>
                </a:cubicBezTo>
                <a:cubicBezTo>
                  <a:pt x="21000" y="10781"/>
                  <a:pt x="20594" y="10750"/>
                  <a:pt x="20219" y="10563"/>
                </a:cubicBezTo>
                <a:close/>
                <a:moveTo>
                  <a:pt x="22000" y="13563"/>
                </a:moveTo>
                <a:cubicBezTo>
                  <a:pt x="21938" y="13531"/>
                  <a:pt x="21875" y="13500"/>
                  <a:pt x="21875" y="13438"/>
                </a:cubicBezTo>
                <a:cubicBezTo>
                  <a:pt x="21875" y="13375"/>
                  <a:pt x="21938" y="13375"/>
                  <a:pt x="21969" y="13375"/>
                </a:cubicBezTo>
                <a:cubicBezTo>
                  <a:pt x="22031" y="13406"/>
                  <a:pt x="22094" y="13375"/>
                  <a:pt x="22094" y="13469"/>
                </a:cubicBezTo>
                <a:cubicBezTo>
                  <a:pt x="22094" y="13531"/>
                  <a:pt x="22031" y="13531"/>
                  <a:pt x="22000" y="13563"/>
                </a:cubicBezTo>
                <a:close/>
                <a:moveTo>
                  <a:pt x="22406" y="14031"/>
                </a:moveTo>
                <a:cubicBezTo>
                  <a:pt x="22344" y="14031"/>
                  <a:pt x="22344" y="13969"/>
                  <a:pt x="22375" y="13938"/>
                </a:cubicBezTo>
                <a:cubicBezTo>
                  <a:pt x="22500" y="13844"/>
                  <a:pt x="22625" y="13719"/>
                  <a:pt x="22844" y="13844"/>
                </a:cubicBezTo>
                <a:cubicBezTo>
                  <a:pt x="22750" y="13906"/>
                  <a:pt x="22656" y="13969"/>
                  <a:pt x="22563" y="14031"/>
                </a:cubicBezTo>
                <a:cubicBezTo>
                  <a:pt x="22500" y="14031"/>
                  <a:pt x="22469" y="14031"/>
                  <a:pt x="22406" y="14031"/>
                </a:cubicBezTo>
                <a:close/>
                <a:moveTo>
                  <a:pt x="22844" y="14125"/>
                </a:moveTo>
                <a:cubicBezTo>
                  <a:pt x="22781" y="14125"/>
                  <a:pt x="22719" y="14188"/>
                  <a:pt x="22688" y="14094"/>
                </a:cubicBezTo>
                <a:cubicBezTo>
                  <a:pt x="22688" y="14063"/>
                  <a:pt x="22688" y="14063"/>
                  <a:pt x="22656" y="14031"/>
                </a:cubicBezTo>
                <a:cubicBezTo>
                  <a:pt x="22719" y="14031"/>
                  <a:pt x="22750" y="14031"/>
                  <a:pt x="22781" y="14063"/>
                </a:cubicBezTo>
                <a:cubicBezTo>
                  <a:pt x="22813" y="14063"/>
                  <a:pt x="22844" y="14000"/>
                  <a:pt x="22875" y="14063"/>
                </a:cubicBezTo>
                <a:cubicBezTo>
                  <a:pt x="22875" y="14094"/>
                  <a:pt x="22875" y="14125"/>
                  <a:pt x="22844" y="14125"/>
                </a:cubicBezTo>
                <a:close/>
                <a:moveTo>
                  <a:pt x="24031" y="14875"/>
                </a:moveTo>
                <a:cubicBezTo>
                  <a:pt x="23906" y="14875"/>
                  <a:pt x="23813" y="14969"/>
                  <a:pt x="23688" y="15000"/>
                </a:cubicBezTo>
                <a:cubicBezTo>
                  <a:pt x="23656" y="15031"/>
                  <a:pt x="23656" y="15031"/>
                  <a:pt x="23625" y="15000"/>
                </a:cubicBezTo>
                <a:cubicBezTo>
                  <a:pt x="23625" y="15000"/>
                  <a:pt x="23625" y="14969"/>
                  <a:pt x="23625" y="14969"/>
                </a:cubicBezTo>
                <a:cubicBezTo>
                  <a:pt x="23656" y="14844"/>
                  <a:pt x="23875" y="14719"/>
                  <a:pt x="24000" y="14781"/>
                </a:cubicBezTo>
                <a:cubicBezTo>
                  <a:pt x="24031" y="14781"/>
                  <a:pt x="24063" y="14781"/>
                  <a:pt x="24063" y="14844"/>
                </a:cubicBezTo>
                <a:cubicBezTo>
                  <a:pt x="24063" y="14875"/>
                  <a:pt x="24063" y="14875"/>
                  <a:pt x="24031" y="14875"/>
                </a:cubicBezTo>
                <a:close/>
                <a:moveTo>
                  <a:pt x="23938" y="14281"/>
                </a:moveTo>
                <a:cubicBezTo>
                  <a:pt x="23844" y="14250"/>
                  <a:pt x="23719" y="14250"/>
                  <a:pt x="23594" y="14250"/>
                </a:cubicBezTo>
                <a:cubicBezTo>
                  <a:pt x="23469" y="14250"/>
                  <a:pt x="23344" y="14188"/>
                  <a:pt x="23219" y="14219"/>
                </a:cubicBezTo>
                <a:cubicBezTo>
                  <a:pt x="23219" y="14219"/>
                  <a:pt x="23219" y="14188"/>
                  <a:pt x="23219" y="14188"/>
                </a:cubicBezTo>
                <a:cubicBezTo>
                  <a:pt x="23250" y="14063"/>
                  <a:pt x="23156" y="14125"/>
                  <a:pt x="23125" y="14125"/>
                </a:cubicBezTo>
                <a:cubicBezTo>
                  <a:pt x="23094" y="14125"/>
                  <a:pt x="23063" y="14125"/>
                  <a:pt x="23031" y="14125"/>
                </a:cubicBezTo>
                <a:cubicBezTo>
                  <a:pt x="23063" y="14031"/>
                  <a:pt x="22969" y="14000"/>
                  <a:pt x="22969" y="13969"/>
                </a:cubicBezTo>
                <a:cubicBezTo>
                  <a:pt x="22969" y="13906"/>
                  <a:pt x="23000" y="13906"/>
                  <a:pt x="23031" y="13938"/>
                </a:cubicBezTo>
                <a:cubicBezTo>
                  <a:pt x="23094" y="13938"/>
                  <a:pt x="23188" y="13969"/>
                  <a:pt x="23250" y="13969"/>
                </a:cubicBezTo>
                <a:cubicBezTo>
                  <a:pt x="23281" y="13969"/>
                  <a:pt x="23313" y="13969"/>
                  <a:pt x="23281" y="14000"/>
                </a:cubicBezTo>
                <a:cubicBezTo>
                  <a:pt x="23219" y="14125"/>
                  <a:pt x="23344" y="14063"/>
                  <a:pt x="23406" y="14094"/>
                </a:cubicBezTo>
                <a:cubicBezTo>
                  <a:pt x="23469" y="14125"/>
                  <a:pt x="23563" y="14125"/>
                  <a:pt x="23625" y="14156"/>
                </a:cubicBezTo>
                <a:cubicBezTo>
                  <a:pt x="23656" y="14156"/>
                  <a:pt x="23688" y="14188"/>
                  <a:pt x="23719" y="14156"/>
                </a:cubicBezTo>
                <a:cubicBezTo>
                  <a:pt x="23938" y="14063"/>
                  <a:pt x="24125" y="14281"/>
                  <a:pt x="24313" y="14313"/>
                </a:cubicBezTo>
                <a:cubicBezTo>
                  <a:pt x="24188" y="14375"/>
                  <a:pt x="24063" y="14313"/>
                  <a:pt x="23938" y="14281"/>
                </a:cubicBezTo>
                <a:close/>
                <a:moveTo>
                  <a:pt x="24500" y="14313"/>
                </a:moveTo>
                <a:cubicBezTo>
                  <a:pt x="24594" y="14313"/>
                  <a:pt x="24719" y="14250"/>
                  <a:pt x="24813" y="14375"/>
                </a:cubicBezTo>
                <a:cubicBezTo>
                  <a:pt x="24688" y="14375"/>
                  <a:pt x="24563" y="14406"/>
                  <a:pt x="24500" y="14313"/>
                </a:cubicBezTo>
                <a:close/>
                <a:moveTo>
                  <a:pt x="24969" y="14281"/>
                </a:moveTo>
                <a:cubicBezTo>
                  <a:pt x="24938" y="14188"/>
                  <a:pt x="24844" y="14219"/>
                  <a:pt x="24781" y="14219"/>
                </a:cubicBezTo>
                <a:cubicBezTo>
                  <a:pt x="24750" y="14219"/>
                  <a:pt x="24719" y="14219"/>
                  <a:pt x="24719" y="14188"/>
                </a:cubicBezTo>
                <a:cubicBezTo>
                  <a:pt x="24719" y="14125"/>
                  <a:pt x="24750" y="14125"/>
                  <a:pt x="24781" y="14125"/>
                </a:cubicBezTo>
                <a:cubicBezTo>
                  <a:pt x="24906" y="14125"/>
                  <a:pt x="25000" y="14156"/>
                  <a:pt x="25031" y="14281"/>
                </a:cubicBezTo>
                <a:cubicBezTo>
                  <a:pt x="25000" y="14313"/>
                  <a:pt x="24969" y="14313"/>
                  <a:pt x="24969" y="14281"/>
                </a:cubicBezTo>
                <a:close/>
                <a:moveTo>
                  <a:pt x="25719" y="14594"/>
                </a:moveTo>
                <a:cubicBezTo>
                  <a:pt x="25813" y="14500"/>
                  <a:pt x="25906" y="14469"/>
                  <a:pt x="26063" y="14469"/>
                </a:cubicBezTo>
                <a:cubicBezTo>
                  <a:pt x="25969" y="14594"/>
                  <a:pt x="25844" y="14594"/>
                  <a:pt x="25719" y="14594"/>
                </a:cubicBezTo>
                <a:close/>
                <a:moveTo>
                  <a:pt x="26406" y="14375"/>
                </a:moveTo>
                <a:cubicBezTo>
                  <a:pt x="26438" y="14344"/>
                  <a:pt x="26500" y="14281"/>
                  <a:pt x="26375" y="14281"/>
                </a:cubicBezTo>
                <a:cubicBezTo>
                  <a:pt x="26313" y="14281"/>
                  <a:pt x="26313" y="14219"/>
                  <a:pt x="26313" y="14156"/>
                </a:cubicBezTo>
                <a:cubicBezTo>
                  <a:pt x="26344" y="14094"/>
                  <a:pt x="26406" y="14094"/>
                  <a:pt x="26469" y="14094"/>
                </a:cubicBezTo>
                <a:cubicBezTo>
                  <a:pt x="26500" y="14094"/>
                  <a:pt x="26500" y="14156"/>
                  <a:pt x="26500" y="14188"/>
                </a:cubicBezTo>
                <a:cubicBezTo>
                  <a:pt x="26469" y="14219"/>
                  <a:pt x="26469" y="14250"/>
                  <a:pt x="26469" y="14281"/>
                </a:cubicBezTo>
                <a:cubicBezTo>
                  <a:pt x="26531" y="14281"/>
                  <a:pt x="26594" y="14281"/>
                  <a:pt x="26656" y="14281"/>
                </a:cubicBezTo>
                <a:cubicBezTo>
                  <a:pt x="26594" y="14406"/>
                  <a:pt x="26500" y="14375"/>
                  <a:pt x="26406" y="14375"/>
                </a:cubicBezTo>
                <a:close/>
                <a:moveTo>
                  <a:pt x="31406" y="5063"/>
                </a:moveTo>
                <a:cubicBezTo>
                  <a:pt x="31313" y="5156"/>
                  <a:pt x="31250" y="5281"/>
                  <a:pt x="31125" y="5375"/>
                </a:cubicBezTo>
                <a:cubicBezTo>
                  <a:pt x="31094" y="5156"/>
                  <a:pt x="31156" y="5031"/>
                  <a:pt x="31344" y="5000"/>
                </a:cubicBezTo>
                <a:cubicBezTo>
                  <a:pt x="31375" y="5000"/>
                  <a:pt x="31406" y="5000"/>
                  <a:pt x="31406" y="5031"/>
                </a:cubicBezTo>
                <a:cubicBezTo>
                  <a:pt x="31438" y="5031"/>
                  <a:pt x="31406" y="5063"/>
                  <a:pt x="31406" y="5063"/>
                </a:cubicBezTo>
                <a:close/>
                <a:moveTo>
                  <a:pt x="32188" y="8094"/>
                </a:moveTo>
                <a:cubicBezTo>
                  <a:pt x="32156" y="8094"/>
                  <a:pt x="32094" y="8063"/>
                  <a:pt x="32094" y="8000"/>
                </a:cubicBezTo>
                <a:cubicBezTo>
                  <a:pt x="32094" y="7969"/>
                  <a:pt x="32219" y="7844"/>
                  <a:pt x="32281" y="7844"/>
                </a:cubicBezTo>
                <a:cubicBezTo>
                  <a:pt x="32344" y="7844"/>
                  <a:pt x="32438" y="7906"/>
                  <a:pt x="32438" y="7969"/>
                </a:cubicBezTo>
                <a:cubicBezTo>
                  <a:pt x="32375" y="8031"/>
                  <a:pt x="32281" y="8094"/>
                  <a:pt x="32188" y="809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93E1014-7715-EE41-85FA-6020B7E3DF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BD6F980D-10AD-2B43-8AB4-F1FE2F3CB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402840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8">
            <a:extLst>
              <a:ext uri="{FF2B5EF4-FFF2-40B4-BE49-F238E27FC236}">
                <a16:creationId xmlns:a16="http://schemas.microsoft.com/office/drawing/2014/main" id="{3F8EFDF0-94AE-0544-B41D-8A2CE47FE1D2}"/>
              </a:ext>
            </a:extLst>
          </p:cNvPr>
          <p:cNvSpPr>
            <a:spLocks noGrp="1" noEditPoints="1"/>
          </p:cNvSpPr>
          <p:nvPr>
            <p:ph type="pic" sz="quarter" idx="37"/>
          </p:nvPr>
        </p:nvSpPr>
        <p:spPr bwMode="auto">
          <a:xfrm>
            <a:off x="300110" y="621013"/>
            <a:ext cx="11483781" cy="3491984"/>
          </a:xfrm>
          <a:custGeom>
            <a:avLst/>
            <a:gdLst>
              <a:gd name="T0" fmla="*/ 16906 w 29062"/>
              <a:gd name="T1" fmla="*/ 10937 h 11031"/>
              <a:gd name="T2" fmla="*/ 18437 w 29062"/>
              <a:gd name="T3" fmla="*/ 10906 h 11031"/>
              <a:gd name="T4" fmla="*/ 5656 w 29062"/>
              <a:gd name="T5" fmla="*/ 625 h 11031"/>
              <a:gd name="T6" fmla="*/ 6344 w 29062"/>
              <a:gd name="T7" fmla="*/ 281 h 11031"/>
              <a:gd name="T8" fmla="*/ 28531 w 29062"/>
              <a:gd name="T9" fmla="*/ 7125 h 11031"/>
              <a:gd name="T10" fmla="*/ 28594 w 29062"/>
              <a:gd name="T11" fmla="*/ 7156 h 11031"/>
              <a:gd name="T12" fmla="*/ 437 w 29062"/>
              <a:gd name="T13" fmla="*/ 2656 h 11031"/>
              <a:gd name="T14" fmla="*/ 2219 w 29062"/>
              <a:gd name="T15" fmla="*/ 3187 h 11031"/>
              <a:gd name="T16" fmla="*/ 1312 w 29062"/>
              <a:gd name="T17" fmla="*/ 3656 h 11031"/>
              <a:gd name="T18" fmla="*/ 5906 w 29062"/>
              <a:gd name="T19" fmla="*/ 4062 h 11031"/>
              <a:gd name="T20" fmla="*/ 4719 w 29062"/>
              <a:gd name="T21" fmla="*/ 5344 h 11031"/>
              <a:gd name="T22" fmla="*/ 5250 w 29062"/>
              <a:gd name="T23" fmla="*/ 6500 h 11031"/>
              <a:gd name="T24" fmla="*/ 6187 w 29062"/>
              <a:gd name="T25" fmla="*/ 6969 h 11031"/>
              <a:gd name="T26" fmla="*/ 4656 w 29062"/>
              <a:gd name="T27" fmla="*/ 7687 h 11031"/>
              <a:gd name="T28" fmla="*/ 6031 w 29062"/>
              <a:gd name="T29" fmla="*/ 7719 h 11031"/>
              <a:gd name="T30" fmla="*/ 4906 w 29062"/>
              <a:gd name="T31" fmla="*/ 7812 h 11031"/>
              <a:gd name="T32" fmla="*/ 4656 w 29062"/>
              <a:gd name="T33" fmla="*/ 8094 h 11031"/>
              <a:gd name="T34" fmla="*/ 7750 w 29062"/>
              <a:gd name="T35" fmla="*/ 8687 h 11031"/>
              <a:gd name="T36" fmla="*/ 8531 w 29062"/>
              <a:gd name="T37" fmla="*/ 9125 h 11031"/>
              <a:gd name="T38" fmla="*/ 8875 w 29062"/>
              <a:gd name="T39" fmla="*/ 10312 h 11031"/>
              <a:gd name="T40" fmla="*/ 15000 w 29062"/>
              <a:gd name="T41" fmla="*/ 10625 h 11031"/>
              <a:gd name="T42" fmla="*/ 9969 w 29062"/>
              <a:gd name="T43" fmla="*/ 10125 h 11031"/>
              <a:gd name="T44" fmla="*/ 12469 w 29062"/>
              <a:gd name="T45" fmla="*/ 10094 h 11031"/>
              <a:gd name="T46" fmla="*/ 16500 w 29062"/>
              <a:gd name="T47" fmla="*/ 10094 h 11031"/>
              <a:gd name="T48" fmla="*/ 15656 w 29062"/>
              <a:gd name="T49" fmla="*/ 9406 h 11031"/>
              <a:gd name="T50" fmla="*/ 19094 w 29062"/>
              <a:gd name="T51" fmla="*/ 9406 h 11031"/>
              <a:gd name="T52" fmla="*/ 19031 w 29062"/>
              <a:gd name="T53" fmla="*/ 9375 h 11031"/>
              <a:gd name="T54" fmla="*/ 19656 w 29062"/>
              <a:gd name="T55" fmla="*/ 9437 h 11031"/>
              <a:gd name="T56" fmla="*/ 25156 w 29062"/>
              <a:gd name="T57" fmla="*/ 9094 h 11031"/>
              <a:gd name="T58" fmla="*/ 26344 w 29062"/>
              <a:gd name="T59" fmla="*/ 9062 h 11031"/>
              <a:gd name="T60" fmla="*/ 28594 w 29062"/>
              <a:gd name="T61" fmla="*/ 8406 h 11031"/>
              <a:gd name="T62" fmla="*/ 29062 w 29062"/>
              <a:gd name="T63" fmla="*/ 7312 h 11031"/>
              <a:gd name="T64" fmla="*/ 27906 w 29062"/>
              <a:gd name="T65" fmla="*/ 6531 h 11031"/>
              <a:gd name="T66" fmla="*/ 27062 w 29062"/>
              <a:gd name="T67" fmla="*/ 6312 h 11031"/>
              <a:gd name="T68" fmla="*/ 28156 w 29062"/>
              <a:gd name="T69" fmla="*/ 5594 h 11031"/>
              <a:gd name="T70" fmla="*/ 28312 w 29062"/>
              <a:gd name="T71" fmla="*/ 4781 h 11031"/>
              <a:gd name="T72" fmla="*/ 28437 w 29062"/>
              <a:gd name="T73" fmla="*/ 4281 h 11031"/>
              <a:gd name="T74" fmla="*/ 26500 w 29062"/>
              <a:gd name="T75" fmla="*/ 3719 h 11031"/>
              <a:gd name="T76" fmla="*/ 25687 w 29062"/>
              <a:gd name="T77" fmla="*/ 2344 h 11031"/>
              <a:gd name="T78" fmla="*/ 21187 w 29062"/>
              <a:gd name="T79" fmla="*/ 1625 h 11031"/>
              <a:gd name="T80" fmla="*/ 17906 w 29062"/>
              <a:gd name="T81" fmla="*/ 625 h 11031"/>
              <a:gd name="T82" fmla="*/ 17594 w 29062"/>
              <a:gd name="T83" fmla="*/ 500 h 11031"/>
              <a:gd name="T84" fmla="*/ 4906 w 29062"/>
              <a:gd name="T85" fmla="*/ 875 h 11031"/>
              <a:gd name="T86" fmla="*/ 5250 w 29062"/>
              <a:gd name="T87" fmla="*/ 1375 h 11031"/>
              <a:gd name="T88" fmla="*/ 4969 w 29062"/>
              <a:gd name="T89" fmla="*/ 1687 h 11031"/>
              <a:gd name="T90" fmla="*/ 1219 w 29062"/>
              <a:gd name="T91" fmla="*/ 2312 h 11031"/>
              <a:gd name="T92" fmla="*/ 12875 w 29062"/>
              <a:gd name="T93" fmla="*/ 10750 h 11031"/>
              <a:gd name="T94" fmla="*/ 14187 w 29062"/>
              <a:gd name="T95" fmla="*/ 11000 h 11031"/>
              <a:gd name="T96" fmla="*/ 10469 w 29062"/>
              <a:gd name="T97" fmla="*/ 10000 h 11031"/>
              <a:gd name="T98" fmla="*/ 15594 w 29062"/>
              <a:gd name="T99" fmla="*/ 10406 h 11031"/>
              <a:gd name="T100" fmla="*/ 15750 w 29062"/>
              <a:gd name="T101" fmla="*/ 10937 h 11031"/>
              <a:gd name="T102" fmla="*/ 27281 w 29062"/>
              <a:gd name="T103" fmla="*/ 10156 h 11031"/>
              <a:gd name="T104" fmla="*/ 26687 w 29062"/>
              <a:gd name="T105" fmla="*/ 9937 h 11031"/>
              <a:gd name="T106" fmla="*/ 25125 w 29062"/>
              <a:gd name="T107" fmla="*/ 9844 h 11031"/>
              <a:gd name="T108" fmla="*/ 23594 w 29062"/>
              <a:gd name="T109" fmla="*/ 9937 h 11031"/>
              <a:gd name="T110" fmla="*/ 23625 w 29062"/>
              <a:gd name="T111" fmla="*/ 9906 h 11031"/>
              <a:gd name="T112" fmla="*/ 21906 w 29062"/>
              <a:gd name="T113" fmla="*/ 9719 h 11031"/>
              <a:gd name="T114" fmla="*/ 18937 w 29062"/>
              <a:gd name="T115" fmla="*/ 9750 h 11031"/>
              <a:gd name="T116" fmla="*/ 20594 w 29062"/>
              <a:gd name="T117" fmla="*/ 10062 h 11031"/>
              <a:gd name="T118" fmla="*/ 16312 w 29062"/>
              <a:gd name="T119" fmla="*/ 10562 h 11031"/>
              <a:gd name="T120" fmla="*/ 22469 w 29062"/>
              <a:gd name="T121" fmla="*/ 10656 h 110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9062" h="11031">
                <a:moveTo>
                  <a:pt x="18375" y="406"/>
                </a:moveTo>
                <a:cubicBezTo>
                  <a:pt x="18500" y="406"/>
                  <a:pt x="18625" y="437"/>
                  <a:pt x="18719" y="437"/>
                </a:cubicBezTo>
                <a:cubicBezTo>
                  <a:pt x="18750" y="437"/>
                  <a:pt x="18781" y="437"/>
                  <a:pt x="18812" y="437"/>
                </a:cubicBezTo>
                <a:cubicBezTo>
                  <a:pt x="18844" y="437"/>
                  <a:pt x="18875" y="437"/>
                  <a:pt x="18906" y="406"/>
                </a:cubicBezTo>
                <a:cubicBezTo>
                  <a:pt x="18906" y="406"/>
                  <a:pt x="18906" y="406"/>
                  <a:pt x="18906" y="406"/>
                </a:cubicBezTo>
                <a:cubicBezTo>
                  <a:pt x="18906" y="375"/>
                  <a:pt x="18906" y="375"/>
                  <a:pt x="18875" y="375"/>
                </a:cubicBezTo>
                <a:cubicBezTo>
                  <a:pt x="18875" y="344"/>
                  <a:pt x="18844" y="344"/>
                  <a:pt x="18812" y="312"/>
                </a:cubicBezTo>
                <a:cubicBezTo>
                  <a:pt x="18812" y="312"/>
                  <a:pt x="18812" y="312"/>
                  <a:pt x="18781" y="312"/>
                </a:cubicBezTo>
                <a:cubicBezTo>
                  <a:pt x="18719" y="250"/>
                  <a:pt x="18625" y="219"/>
                  <a:pt x="18531" y="187"/>
                </a:cubicBezTo>
                <a:cubicBezTo>
                  <a:pt x="18406" y="156"/>
                  <a:pt x="18312" y="156"/>
                  <a:pt x="18187" y="156"/>
                </a:cubicBezTo>
                <a:cubicBezTo>
                  <a:pt x="17969" y="125"/>
                  <a:pt x="17750" y="94"/>
                  <a:pt x="17531" y="62"/>
                </a:cubicBezTo>
                <a:cubicBezTo>
                  <a:pt x="17469" y="31"/>
                  <a:pt x="17375" y="31"/>
                  <a:pt x="17375" y="62"/>
                </a:cubicBezTo>
                <a:cubicBezTo>
                  <a:pt x="17344" y="125"/>
                  <a:pt x="17469" y="94"/>
                  <a:pt x="17437" y="187"/>
                </a:cubicBezTo>
                <a:cubicBezTo>
                  <a:pt x="17375" y="219"/>
                  <a:pt x="17281" y="187"/>
                  <a:pt x="17187" y="187"/>
                </a:cubicBezTo>
                <a:cubicBezTo>
                  <a:pt x="17156" y="187"/>
                  <a:pt x="17094" y="187"/>
                  <a:pt x="17062" y="187"/>
                </a:cubicBezTo>
                <a:cubicBezTo>
                  <a:pt x="17000" y="187"/>
                  <a:pt x="16969" y="219"/>
                  <a:pt x="16906" y="250"/>
                </a:cubicBezTo>
                <a:cubicBezTo>
                  <a:pt x="17312" y="312"/>
                  <a:pt x="17656" y="344"/>
                  <a:pt x="18031" y="375"/>
                </a:cubicBezTo>
                <a:cubicBezTo>
                  <a:pt x="18156" y="375"/>
                  <a:pt x="18250" y="406"/>
                  <a:pt x="18375" y="406"/>
                </a:cubicBezTo>
                <a:close/>
                <a:moveTo>
                  <a:pt x="17500" y="10906"/>
                </a:moveTo>
                <a:cubicBezTo>
                  <a:pt x="17406" y="10906"/>
                  <a:pt x="17344" y="10906"/>
                  <a:pt x="17281" y="10937"/>
                </a:cubicBezTo>
                <a:cubicBezTo>
                  <a:pt x="17250" y="10937"/>
                  <a:pt x="17219" y="10906"/>
                  <a:pt x="17219" y="10906"/>
                </a:cubicBezTo>
                <a:cubicBezTo>
                  <a:pt x="17094" y="10906"/>
                  <a:pt x="17000" y="10937"/>
                  <a:pt x="16906" y="10937"/>
                </a:cubicBezTo>
                <a:cubicBezTo>
                  <a:pt x="16906" y="10937"/>
                  <a:pt x="16906" y="10937"/>
                  <a:pt x="16906" y="10937"/>
                </a:cubicBezTo>
                <a:cubicBezTo>
                  <a:pt x="16844" y="10906"/>
                  <a:pt x="16781" y="10906"/>
                  <a:pt x="16719" y="10906"/>
                </a:cubicBezTo>
                <a:cubicBezTo>
                  <a:pt x="16687" y="10906"/>
                  <a:pt x="16625" y="10906"/>
                  <a:pt x="16594" y="10937"/>
                </a:cubicBezTo>
                <a:cubicBezTo>
                  <a:pt x="16406" y="10875"/>
                  <a:pt x="16219" y="10937"/>
                  <a:pt x="16062" y="10969"/>
                </a:cubicBezTo>
                <a:cubicBezTo>
                  <a:pt x="16031" y="11000"/>
                  <a:pt x="16031" y="11000"/>
                  <a:pt x="16000" y="11000"/>
                </a:cubicBezTo>
                <a:cubicBezTo>
                  <a:pt x="16094" y="11000"/>
                  <a:pt x="16187" y="11000"/>
                  <a:pt x="16281" y="11000"/>
                </a:cubicBezTo>
                <a:cubicBezTo>
                  <a:pt x="16375" y="11031"/>
                  <a:pt x="16469" y="11031"/>
                  <a:pt x="16562" y="10969"/>
                </a:cubicBezTo>
                <a:cubicBezTo>
                  <a:pt x="16594" y="11000"/>
                  <a:pt x="16625" y="11000"/>
                  <a:pt x="16656" y="11000"/>
                </a:cubicBezTo>
                <a:cubicBezTo>
                  <a:pt x="16719" y="11000"/>
                  <a:pt x="16750" y="11000"/>
                  <a:pt x="16812" y="11000"/>
                </a:cubicBezTo>
                <a:cubicBezTo>
                  <a:pt x="16844" y="11000"/>
                  <a:pt x="16875" y="10969"/>
                  <a:pt x="16906" y="10969"/>
                </a:cubicBezTo>
                <a:cubicBezTo>
                  <a:pt x="17000" y="11000"/>
                  <a:pt x="17094" y="11000"/>
                  <a:pt x="17187" y="11000"/>
                </a:cubicBezTo>
                <a:cubicBezTo>
                  <a:pt x="17219" y="11000"/>
                  <a:pt x="17250" y="11000"/>
                  <a:pt x="17281" y="10969"/>
                </a:cubicBezTo>
                <a:cubicBezTo>
                  <a:pt x="17312" y="10969"/>
                  <a:pt x="17344" y="10969"/>
                  <a:pt x="17375" y="11000"/>
                </a:cubicBezTo>
                <a:cubicBezTo>
                  <a:pt x="17594" y="11000"/>
                  <a:pt x="17781" y="11000"/>
                  <a:pt x="18000" y="10969"/>
                </a:cubicBezTo>
                <a:cubicBezTo>
                  <a:pt x="18031" y="10969"/>
                  <a:pt x="18062" y="10937"/>
                  <a:pt x="18094" y="10937"/>
                </a:cubicBezTo>
                <a:cubicBezTo>
                  <a:pt x="17906" y="10906"/>
                  <a:pt x="17687" y="10875"/>
                  <a:pt x="17500" y="10906"/>
                </a:cubicBezTo>
                <a:close/>
                <a:moveTo>
                  <a:pt x="19625" y="10937"/>
                </a:moveTo>
                <a:cubicBezTo>
                  <a:pt x="19437" y="10875"/>
                  <a:pt x="19250" y="10875"/>
                  <a:pt x="19062" y="10875"/>
                </a:cubicBezTo>
                <a:cubicBezTo>
                  <a:pt x="19031" y="10875"/>
                  <a:pt x="18969" y="10875"/>
                  <a:pt x="18937" y="10875"/>
                </a:cubicBezTo>
                <a:cubicBezTo>
                  <a:pt x="18844" y="10875"/>
                  <a:pt x="18750" y="10875"/>
                  <a:pt x="18656" y="10875"/>
                </a:cubicBezTo>
                <a:cubicBezTo>
                  <a:pt x="18594" y="10875"/>
                  <a:pt x="18562" y="10875"/>
                  <a:pt x="18500" y="10875"/>
                </a:cubicBezTo>
                <a:cubicBezTo>
                  <a:pt x="18469" y="10875"/>
                  <a:pt x="18437" y="10875"/>
                  <a:pt x="18437" y="10906"/>
                </a:cubicBezTo>
                <a:cubicBezTo>
                  <a:pt x="18437" y="10906"/>
                  <a:pt x="18437" y="10906"/>
                  <a:pt x="18437" y="10906"/>
                </a:cubicBezTo>
                <a:cubicBezTo>
                  <a:pt x="18437" y="10937"/>
                  <a:pt x="18437" y="10937"/>
                  <a:pt x="18469" y="10969"/>
                </a:cubicBezTo>
                <a:cubicBezTo>
                  <a:pt x="18469" y="10969"/>
                  <a:pt x="18500" y="11000"/>
                  <a:pt x="18500" y="10969"/>
                </a:cubicBezTo>
                <a:cubicBezTo>
                  <a:pt x="18687" y="10969"/>
                  <a:pt x="18875" y="10969"/>
                  <a:pt x="19062" y="10969"/>
                </a:cubicBezTo>
                <a:cubicBezTo>
                  <a:pt x="19250" y="10969"/>
                  <a:pt x="19437" y="10969"/>
                  <a:pt x="19625" y="10937"/>
                </a:cubicBezTo>
                <a:cubicBezTo>
                  <a:pt x="19625" y="10937"/>
                  <a:pt x="19625" y="10937"/>
                  <a:pt x="19625" y="10937"/>
                </a:cubicBezTo>
                <a:close/>
                <a:moveTo>
                  <a:pt x="19719" y="10937"/>
                </a:moveTo>
                <a:cubicBezTo>
                  <a:pt x="19719" y="10937"/>
                  <a:pt x="19719" y="10937"/>
                  <a:pt x="19719" y="10937"/>
                </a:cubicBezTo>
                <a:cubicBezTo>
                  <a:pt x="19719" y="10937"/>
                  <a:pt x="19719" y="10937"/>
                  <a:pt x="19719" y="10937"/>
                </a:cubicBezTo>
                <a:cubicBezTo>
                  <a:pt x="19750" y="10937"/>
                  <a:pt x="19781" y="10937"/>
                  <a:pt x="19812" y="10906"/>
                </a:cubicBezTo>
                <a:cubicBezTo>
                  <a:pt x="19812" y="10906"/>
                  <a:pt x="19812" y="10906"/>
                  <a:pt x="19812" y="10906"/>
                </a:cubicBezTo>
                <a:cubicBezTo>
                  <a:pt x="19812" y="10906"/>
                  <a:pt x="19812" y="10875"/>
                  <a:pt x="19812" y="10875"/>
                </a:cubicBezTo>
                <a:cubicBezTo>
                  <a:pt x="19781" y="10875"/>
                  <a:pt x="19750" y="10875"/>
                  <a:pt x="19719" y="10875"/>
                </a:cubicBezTo>
                <a:cubicBezTo>
                  <a:pt x="19719" y="10906"/>
                  <a:pt x="19719" y="10906"/>
                  <a:pt x="19719" y="10937"/>
                </a:cubicBezTo>
                <a:close/>
                <a:moveTo>
                  <a:pt x="5219" y="656"/>
                </a:moveTo>
                <a:cubicBezTo>
                  <a:pt x="5250" y="656"/>
                  <a:pt x="5250" y="625"/>
                  <a:pt x="5281" y="625"/>
                </a:cubicBezTo>
                <a:cubicBezTo>
                  <a:pt x="5281" y="625"/>
                  <a:pt x="5312" y="594"/>
                  <a:pt x="5312" y="594"/>
                </a:cubicBezTo>
                <a:cubicBezTo>
                  <a:pt x="5344" y="625"/>
                  <a:pt x="5406" y="625"/>
                  <a:pt x="5437" y="625"/>
                </a:cubicBezTo>
                <a:cubicBezTo>
                  <a:pt x="5469" y="625"/>
                  <a:pt x="5469" y="625"/>
                  <a:pt x="5500" y="625"/>
                </a:cubicBezTo>
                <a:cubicBezTo>
                  <a:pt x="5500" y="625"/>
                  <a:pt x="5531" y="625"/>
                  <a:pt x="5562" y="625"/>
                </a:cubicBezTo>
                <a:cubicBezTo>
                  <a:pt x="5594" y="625"/>
                  <a:pt x="5594" y="625"/>
                  <a:pt x="5625" y="625"/>
                </a:cubicBezTo>
                <a:cubicBezTo>
                  <a:pt x="5656" y="625"/>
                  <a:pt x="5656" y="656"/>
                  <a:pt x="5656" y="625"/>
                </a:cubicBezTo>
                <a:cubicBezTo>
                  <a:pt x="5687" y="625"/>
                  <a:pt x="5719" y="625"/>
                  <a:pt x="5750" y="625"/>
                </a:cubicBezTo>
                <a:cubicBezTo>
                  <a:pt x="5781" y="625"/>
                  <a:pt x="5781" y="625"/>
                  <a:pt x="5781" y="625"/>
                </a:cubicBezTo>
                <a:cubicBezTo>
                  <a:pt x="5812" y="625"/>
                  <a:pt x="5844" y="625"/>
                  <a:pt x="5875" y="625"/>
                </a:cubicBezTo>
                <a:cubicBezTo>
                  <a:pt x="5875" y="625"/>
                  <a:pt x="5875" y="625"/>
                  <a:pt x="5875" y="625"/>
                </a:cubicBezTo>
                <a:cubicBezTo>
                  <a:pt x="5937" y="594"/>
                  <a:pt x="5969" y="594"/>
                  <a:pt x="6000" y="594"/>
                </a:cubicBezTo>
                <a:cubicBezTo>
                  <a:pt x="6000" y="594"/>
                  <a:pt x="6000" y="594"/>
                  <a:pt x="6000" y="594"/>
                </a:cubicBezTo>
                <a:cubicBezTo>
                  <a:pt x="6062" y="562"/>
                  <a:pt x="6125" y="531"/>
                  <a:pt x="6219" y="500"/>
                </a:cubicBezTo>
                <a:cubicBezTo>
                  <a:pt x="6250" y="531"/>
                  <a:pt x="6312" y="500"/>
                  <a:pt x="6344" y="500"/>
                </a:cubicBezTo>
                <a:cubicBezTo>
                  <a:pt x="6375" y="500"/>
                  <a:pt x="6406" y="531"/>
                  <a:pt x="6406" y="531"/>
                </a:cubicBezTo>
                <a:cubicBezTo>
                  <a:pt x="6719" y="500"/>
                  <a:pt x="7031" y="437"/>
                  <a:pt x="7375" y="406"/>
                </a:cubicBezTo>
                <a:cubicBezTo>
                  <a:pt x="7531" y="375"/>
                  <a:pt x="7781" y="437"/>
                  <a:pt x="7937" y="250"/>
                </a:cubicBezTo>
                <a:cubicBezTo>
                  <a:pt x="7594" y="250"/>
                  <a:pt x="7250" y="281"/>
                  <a:pt x="6937" y="312"/>
                </a:cubicBezTo>
                <a:cubicBezTo>
                  <a:pt x="6844" y="344"/>
                  <a:pt x="6781" y="344"/>
                  <a:pt x="6687" y="375"/>
                </a:cubicBezTo>
                <a:cubicBezTo>
                  <a:pt x="6562" y="375"/>
                  <a:pt x="6469" y="406"/>
                  <a:pt x="6344" y="406"/>
                </a:cubicBezTo>
                <a:cubicBezTo>
                  <a:pt x="6344" y="437"/>
                  <a:pt x="6312" y="437"/>
                  <a:pt x="6312" y="437"/>
                </a:cubicBezTo>
                <a:cubicBezTo>
                  <a:pt x="6281" y="406"/>
                  <a:pt x="6281" y="375"/>
                  <a:pt x="6312" y="344"/>
                </a:cubicBezTo>
                <a:cubicBezTo>
                  <a:pt x="6312" y="344"/>
                  <a:pt x="6312" y="344"/>
                  <a:pt x="6344" y="344"/>
                </a:cubicBezTo>
                <a:cubicBezTo>
                  <a:pt x="6375" y="312"/>
                  <a:pt x="6437" y="312"/>
                  <a:pt x="6469" y="312"/>
                </a:cubicBezTo>
                <a:cubicBezTo>
                  <a:pt x="6500" y="312"/>
                  <a:pt x="6500" y="312"/>
                  <a:pt x="6500" y="312"/>
                </a:cubicBezTo>
                <a:cubicBezTo>
                  <a:pt x="6531" y="312"/>
                  <a:pt x="6562" y="312"/>
                  <a:pt x="6562" y="281"/>
                </a:cubicBezTo>
                <a:cubicBezTo>
                  <a:pt x="6594" y="281"/>
                  <a:pt x="6594" y="281"/>
                  <a:pt x="6594" y="250"/>
                </a:cubicBezTo>
                <a:cubicBezTo>
                  <a:pt x="6500" y="250"/>
                  <a:pt x="6406" y="250"/>
                  <a:pt x="6344" y="281"/>
                </a:cubicBezTo>
                <a:cubicBezTo>
                  <a:pt x="6312" y="281"/>
                  <a:pt x="6281" y="281"/>
                  <a:pt x="6250" y="312"/>
                </a:cubicBezTo>
                <a:cubicBezTo>
                  <a:pt x="6219" y="312"/>
                  <a:pt x="6219" y="312"/>
                  <a:pt x="6187" y="312"/>
                </a:cubicBezTo>
                <a:cubicBezTo>
                  <a:pt x="6187" y="312"/>
                  <a:pt x="6187" y="312"/>
                  <a:pt x="6187" y="312"/>
                </a:cubicBezTo>
                <a:cubicBezTo>
                  <a:pt x="6187" y="312"/>
                  <a:pt x="6187" y="312"/>
                  <a:pt x="6187" y="312"/>
                </a:cubicBezTo>
                <a:cubicBezTo>
                  <a:pt x="6125" y="312"/>
                  <a:pt x="6031" y="312"/>
                  <a:pt x="5969" y="312"/>
                </a:cubicBezTo>
                <a:cubicBezTo>
                  <a:pt x="5719" y="312"/>
                  <a:pt x="5500" y="375"/>
                  <a:pt x="5250" y="375"/>
                </a:cubicBezTo>
                <a:cubicBezTo>
                  <a:pt x="5094" y="406"/>
                  <a:pt x="5031" y="562"/>
                  <a:pt x="5062" y="625"/>
                </a:cubicBezTo>
                <a:cubicBezTo>
                  <a:pt x="5094" y="687"/>
                  <a:pt x="5156" y="687"/>
                  <a:pt x="5219" y="656"/>
                </a:cubicBezTo>
                <a:close/>
                <a:moveTo>
                  <a:pt x="23250" y="1469"/>
                </a:moveTo>
                <a:cubicBezTo>
                  <a:pt x="23281" y="1406"/>
                  <a:pt x="23312" y="1344"/>
                  <a:pt x="23344" y="1281"/>
                </a:cubicBezTo>
                <a:cubicBezTo>
                  <a:pt x="23344" y="1250"/>
                  <a:pt x="23375" y="1187"/>
                  <a:pt x="23375" y="1156"/>
                </a:cubicBezTo>
                <a:cubicBezTo>
                  <a:pt x="23375" y="1094"/>
                  <a:pt x="23344" y="1062"/>
                  <a:pt x="23344" y="1000"/>
                </a:cubicBezTo>
                <a:cubicBezTo>
                  <a:pt x="23344" y="969"/>
                  <a:pt x="23312" y="937"/>
                  <a:pt x="23312" y="906"/>
                </a:cubicBezTo>
                <a:cubicBezTo>
                  <a:pt x="23219" y="1094"/>
                  <a:pt x="23156" y="1250"/>
                  <a:pt x="23219" y="1406"/>
                </a:cubicBezTo>
                <a:cubicBezTo>
                  <a:pt x="23219" y="1406"/>
                  <a:pt x="23250" y="1437"/>
                  <a:pt x="23250" y="1469"/>
                </a:cubicBezTo>
                <a:close/>
                <a:moveTo>
                  <a:pt x="28594" y="7156"/>
                </a:moveTo>
                <a:cubicBezTo>
                  <a:pt x="28562" y="7156"/>
                  <a:pt x="28562" y="7156"/>
                  <a:pt x="28562" y="7156"/>
                </a:cubicBezTo>
                <a:cubicBezTo>
                  <a:pt x="28562" y="7156"/>
                  <a:pt x="28562" y="7156"/>
                  <a:pt x="28562" y="7156"/>
                </a:cubicBezTo>
                <a:cubicBezTo>
                  <a:pt x="28562" y="7156"/>
                  <a:pt x="28562" y="7156"/>
                  <a:pt x="28562" y="7125"/>
                </a:cubicBezTo>
                <a:cubicBezTo>
                  <a:pt x="28562" y="7125"/>
                  <a:pt x="28562" y="7125"/>
                  <a:pt x="28562" y="7125"/>
                </a:cubicBezTo>
                <a:cubicBezTo>
                  <a:pt x="28562" y="7125"/>
                  <a:pt x="28531" y="7125"/>
                  <a:pt x="28531" y="7125"/>
                </a:cubicBezTo>
                <a:cubicBezTo>
                  <a:pt x="28531" y="7125"/>
                  <a:pt x="28531" y="7125"/>
                  <a:pt x="28531" y="7125"/>
                </a:cubicBezTo>
                <a:cubicBezTo>
                  <a:pt x="28531" y="7125"/>
                  <a:pt x="28531" y="7125"/>
                  <a:pt x="28531" y="7125"/>
                </a:cubicBezTo>
                <a:cubicBezTo>
                  <a:pt x="28531" y="7125"/>
                  <a:pt x="28531" y="7125"/>
                  <a:pt x="28531" y="7125"/>
                </a:cubicBezTo>
                <a:cubicBezTo>
                  <a:pt x="28500" y="7125"/>
                  <a:pt x="28500" y="7125"/>
                  <a:pt x="28500" y="7125"/>
                </a:cubicBezTo>
                <a:cubicBezTo>
                  <a:pt x="28500" y="7125"/>
                  <a:pt x="28500" y="7125"/>
                  <a:pt x="28500" y="7125"/>
                </a:cubicBezTo>
                <a:cubicBezTo>
                  <a:pt x="28500" y="7125"/>
                  <a:pt x="28469" y="7125"/>
                  <a:pt x="28469" y="7125"/>
                </a:cubicBezTo>
                <a:cubicBezTo>
                  <a:pt x="28469" y="7125"/>
                  <a:pt x="28437" y="7156"/>
                  <a:pt x="28437" y="7156"/>
                </a:cubicBezTo>
                <a:cubicBezTo>
                  <a:pt x="28437" y="7156"/>
                  <a:pt x="28437" y="7156"/>
                  <a:pt x="28469" y="7156"/>
                </a:cubicBezTo>
                <a:cubicBezTo>
                  <a:pt x="28469" y="7187"/>
                  <a:pt x="28469" y="7187"/>
                  <a:pt x="28469" y="7187"/>
                </a:cubicBezTo>
                <a:cubicBezTo>
                  <a:pt x="28469" y="7187"/>
                  <a:pt x="28469" y="7187"/>
                  <a:pt x="28469" y="7187"/>
                </a:cubicBezTo>
                <a:cubicBezTo>
                  <a:pt x="28469" y="7187"/>
                  <a:pt x="28469" y="7187"/>
                  <a:pt x="28469" y="7187"/>
                </a:cubicBezTo>
                <a:cubicBezTo>
                  <a:pt x="28469" y="7187"/>
                  <a:pt x="28500" y="7187"/>
                  <a:pt x="28500" y="7187"/>
                </a:cubicBezTo>
                <a:cubicBezTo>
                  <a:pt x="28500" y="7187"/>
                  <a:pt x="28500" y="7187"/>
                  <a:pt x="28500" y="7187"/>
                </a:cubicBezTo>
                <a:cubicBezTo>
                  <a:pt x="28500" y="7187"/>
                  <a:pt x="28531" y="7187"/>
                  <a:pt x="28562" y="7187"/>
                </a:cubicBezTo>
                <a:cubicBezTo>
                  <a:pt x="28562" y="7187"/>
                  <a:pt x="28562" y="7187"/>
                  <a:pt x="28562" y="7187"/>
                </a:cubicBezTo>
                <a:cubicBezTo>
                  <a:pt x="28562" y="7187"/>
                  <a:pt x="28562" y="7187"/>
                  <a:pt x="28562" y="7187"/>
                </a:cubicBezTo>
                <a:cubicBezTo>
                  <a:pt x="28562" y="7187"/>
                  <a:pt x="28562" y="7187"/>
                  <a:pt x="28594" y="7187"/>
                </a:cubicBezTo>
                <a:cubicBezTo>
                  <a:pt x="28594" y="7187"/>
                  <a:pt x="28594" y="7187"/>
                  <a:pt x="28625" y="7187"/>
                </a:cubicBezTo>
                <a:lnTo>
                  <a:pt x="28625" y="7187"/>
                </a:lnTo>
                <a:cubicBezTo>
                  <a:pt x="28625" y="7156"/>
                  <a:pt x="28625" y="7156"/>
                  <a:pt x="28625" y="7156"/>
                </a:cubicBezTo>
                <a:cubicBezTo>
                  <a:pt x="28625" y="7156"/>
                  <a:pt x="28656" y="7156"/>
                  <a:pt x="28656" y="7156"/>
                </a:cubicBezTo>
                <a:cubicBezTo>
                  <a:pt x="28656" y="7187"/>
                  <a:pt x="28625" y="7187"/>
                  <a:pt x="28594" y="7187"/>
                </a:cubicBezTo>
                <a:cubicBezTo>
                  <a:pt x="28594" y="7156"/>
                  <a:pt x="28594" y="7156"/>
                  <a:pt x="28594" y="7156"/>
                </a:cubicBezTo>
                <a:close/>
                <a:moveTo>
                  <a:pt x="11531" y="156"/>
                </a:moveTo>
                <a:cubicBezTo>
                  <a:pt x="11562" y="187"/>
                  <a:pt x="11625" y="187"/>
                  <a:pt x="11656" y="187"/>
                </a:cubicBezTo>
                <a:cubicBezTo>
                  <a:pt x="11719" y="187"/>
                  <a:pt x="11781" y="187"/>
                  <a:pt x="11844" y="187"/>
                </a:cubicBezTo>
                <a:cubicBezTo>
                  <a:pt x="11844" y="187"/>
                  <a:pt x="11844" y="187"/>
                  <a:pt x="11844" y="187"/>
                </a:cubicBezTo>
                <a:cubicBezTo>
                  <a:pt x="11875" y="187"/>
                  <a:pt x="11937" y="187"/>
                  <a:pt x="11969" y="187"/>
                </a:cubicBezTo>
                <a:cubicBezTo>
                  <a:pt x="11844" y="0"/>
                  <a:pt x="11656" y="156"/>
                  <a:pt x="11500" y="94"/>
                </a:cubicBezTo>
                <a:cubicBezTo>
                  <a:pt x="11500" y="94"/>
                  <a:pt x="11500" y="125"/>
                  <a:pt x="11531" y="125"/>
                </a:cubicBezTo>
                <a:cubicBezTo>
                  <a:pt x="11531" y="156"/>
                  <a:pt x="11531" y="156"/>
                  <a:pt x="11531" y="156"/>
                </a:cubicBezTo>
                <a:close/>
                <a:moveTo>
                  <a:pt x="2406" y="1812"/>
                </a:moveTo>
                <a:cubicBezTo>
                  <a:pt x="2406" y="1812"/>
                  <a:pt x="2406" y="1812"/>
                  <a:pt x="2406" y="1812"/>
                </a:cubicBezTo>
                <a:cubicBezTo>
                  <a:pt x="2406" y="1812"/>
                  <a:pt x="2406" y="1781"/>
                  <a:pt x="2406" y="1781"/>
                </a:cubicBezTo>
                <a:cubicBezTo>
                  <a:pt x="2406" y="1781"/>
                  <a:pt x="2406" y="1781"/>
                  <a:pt x="2406" y="1781"/>
                </a:cubicBezTo>
                <a:cubicBezTo>
                  <a:pt x="2406" y="1750"/>
                  <a:pt x="2375" y="1750"/>
                  <a:pt x="2344" y="1781"/>
                </a:cubicBezTo>
                <a:cubicBezTo>
                  <a:pt x="2344" y="1781"/>
                  <a:pt x="2344" y="1781"/>
                  <a:pt x="2344" y="1812"/>
                </a:cubicBezTo>
                <a:cubicBezTo>
                  <a:pt x="2344" y="1812"/>
                  <a:pt x="2344" y="1812"/>
                  <a:pt x="2344" y="1812"/>
                </a:cubicBezTo>
                <a:cubicBezTo>
                  <a:pt x="2375" y="1812"/>
                  <a:pt x="2375" y="1812"/>
                  <a:pt x="2406" y="1812"/>
                </a:cubicBezTo>
                <a:close/>
                <a:moveTo>
                  <a:pt x="250" y="2625"/>
                </a:moveTo>
                <a:cubicBezTo>
                  <a:pt x="219" y="2625"/>
                  <a:pt x="219" y="2625"/>
                  <a:pt x="219" y="2625"/>
                </a:cubicBezTo>
                <a:cubicBezTo>
                  <a:pt x="219" y="2656"/>
                  <a:pt x="219" y="2656"/>
                  <a:pt x="219" y="2656"/>
                </a:cubicBezTo>
                <a:cubicBezTo>
                  <a:pt x="219" y="2656"/>
                  <a:pt x="250" y="2656"/>
                  <a:pt x="250" y="2656"/>
                </a:cubicBezTo>
                <a:cubicBezTo>
                  <a:pt x="250" y="2656"/>
                  <a:pt x="281" y="2656"/>
                  <a:pt x="281" y="2625"/>
                </a:cubicBezTo>
                <a:cubicBezTo>
                  <a:pt x="344" y="2656"/>
                  <a:pt x="375" y="2656"/>
                  <a:pt x="437" y="2656"/>
                </a:cubicBezTo>
                <a:cubicBezTo>
                  <a:pt x="469" y="2656"/>
                  <a:pt x="531" y="2625"/>
                  <a:pt x="562" y="2625"/>
                </a:cubicBezTo>
                <a:cubicBezTo>
                  <a:pt x="656" y="2594"/>
                  <a:pt x="719" y="2594"/>
                  <a:pt x="812" y="2594"/>
                </a:cubicBezTo>
                <a:cubicBezTo>
                  <a:pt x="812" y="2625"/>
                  <a:pt x="812" y="2625"/>
                  <a:pt x="812" y="2656"/>
                </a:cubicBezTo>
                <a:cubicBezTo>
                  <a:pt x="781" y="2656"/>
                  <a:pt x="750" y="2687"/>
                  <a:pt x="750" y="2687"/>
                </a:cubicBezTo>
                <a:cubicBezTo>
                  <a:pt x="719" y="2687"/>
                  <a:pt x="719" y="2687"/>
                  <a:pt x="719" y="2687"/>
                </a:cubicBezTo>
                <a:cubicBezTo>
                  <a:pt x="687" y="2687"/>
                  <a:pt x="687" y="2719"/>
                  <a:pt x="656" y="2719"/>
                </a:cubicBezTo>
                <a:cubicBezTo>
                  <a:pt x="656" y="2719"/>
                  <a:pt x="625" y="2719"/>
                  <a:pt x="625" y="2719"/>
                </a:cubicBezTo>
                <a:cubicBezTo>
                  <a:pt x="562" y="2750"/>
                  <a:pt x="500" y="2750"/>
                  <a:pt x="500" y="2844"/>
                </a:cubicBezTo>
                <a:cubicBezTo>
                  <a:pt x="500" y="2844"/>
                  <a:pt x="500" y="2844"/>
                  <a:pt x="500" y="2844"/>
                </a:cubicBezTo>
                <a:cubicBezTo>
                  <a:pt x="594" y="2844"/>
                  <a:pt x="687" y="2875"/>
                  <a:pt x="781" y="2875"/>
                </a:cubicBezTo>
                <a:cubicBezTo>
                  <a:pt x="812" y="2875"/>
                  <a:pt x="844" y="2875"/>
                  <a:pt x="906" y="2844"/>
                </a:cubicBezTo>
                <a:cubicBezTo>
                  <a:pt x="906" y="2844"/>
                  <a:pt x="906" y="2844"/>
                  <a:pt x="937" y="2844"/>
                </a:cubicBezTo>
                <a:cubicBezTo>
                  <a:pt x="969" y="2844"/>
                  <a:pt x="1000" y="2844"/>
                  <a:pt x="1031" y="2844"/>
                </a:cubicBezTo>
                <a:cubicBezTo>
                  <a:pt x="1031" y="2875"/>
                  <a:pt x="1062" y="2875"/>
                  <a:pt x="1062" y="2875"/>
                </a:cubicBezTo>
                <a:cubicBezTo>
                  <a:pt x="1094" y="2969"/>
                  <a:pt x="906" y="2969"/>
                  <a:pt x="906" y="3062"/>
                </a:cubicBezTo>
                <a:cubicBezTo>
                  <a:pt x="906" y="3062"/>
                  <a:pt x="906" y="3062"/>
                  <a:pt x="906" y="3062"/>
                </a:cubicBezTo>
                <a:cubicBezTo>
                  <a:pt x="906" y="3062"/>
                  <a:pt x="906" y="3062"/>
                  <a:pt x="906" y="3062"/>
                </a:cubicBezTo>
                <a:cubicBezTo>
                  <a:pt x="1094" y="3094"/>
                  <a:pt x="1187" y="3094"/>
                  <a:pt x="1250" y="3125"/>
                </a:cubicBezTo>
                <a:cubicBezTo>
                  <a:pt x="1250" y="3156"/>
                  <a:pt x="1281" y="3187"/>
                  <a:pt x="1281" y="3187"/>
                </a:cubicBezTo>
                <a:cubicBezTo>
                  <a:pt x="1281" y="3219"/>
                  <a:pt x="1312" y="3281"/>
                  <a:pt x="1312" y="3312"/>
                </a:cubicBezTo>
                <a:cubicBezTo>
                  <a:pt x="1312" y="3312"/>
                  <a:pt x="1312" y="3312"/>
                  <a:pt x="1312" y="3312"/>
                </a:cubicBezTo>
                <a:cubicBezTo>
                  <a:pt x="1625" y="3312"/>
                  <a:pt x="1906" y="3250"/>
                  <a:pt x="2219" y="3187"/>
                </a:cubicBezTo>
                <a:cubicBezTo>
                  <a:pt x="2531" y="3125"/>
                  <a:pt x="2844" y="3125"/>
                  <a:pt x="3156" y="3094"/>
                </a:cubicBezTo>
                <a:cubicBezTo>
                  <a:pt x="3469" y="3062"/>
                  <a:pt x="3781" y="3062"/>
                  <a:pt x="4062" y="3000"/>
                </a:cubicBezTo>
                <a:cubicBezTo>
                  <a:pt x="4344" y="2969"/>
                  <a:pt x="4625" y="2937"/>
                  <a:pt x="4937" y="3000"/>
                </a:cubicBezTo>
                <a:cubicBezTo>
                  <a:pt x="4906" y="3031"/>
                  <a:pt x="4969" y="3062"/>
                  <a:pt x="5062" y="3062"/>
                </a:cubicBezTo>
                <a:cubicBezTo>
                  <a:pt x="5062" y="3094"/>
                  <a:pt x="5094" y="3094"/>
                  <a:pt x="5094" y="3094"/>
                </a:cubicBezTo>
                <a:cubicBezTo>
                  <a:pt x="5094" y="3094"/>
                  <a:pt x="5094" y="3094"/>
                  <a:pt x="5125" y="3094"/>
                </a:cubicBezTo>
                <a:cubicBezTo>
                  <a:pt x="5125" y="3125"/>
                  <a:pt x="5125" y="3156"/>
                  <a:pt x="5094" y="3187"/>
                </a:cubicBezTo>
                <a:cubicBezTo>
                  <a:pt x="4969" y="3219"/>
                  <a:pt x="4844" y="3219"/>
                  <a:pt x="4719" y="3219"/>
                </a:cubicBezTo>
                <a:cubicBezTo>
                  <a:pt x="4469" y="3219"/>
                  <a:pt x="4187" y="3156"/>
                  <a:pt x="3937" y="3187"/>
                </a:cubicBezTo>
                <a:cubicBezTo>
                  <a:pt x="3437" y="3187"/>
                  <a:pt x="2937" y="3156"/>
                  <a:pt x="2500" y="3344"/>
                </a:cubicBezTo>
                <a:cubicBezTo>
                  <a:pt x="2437" y="3375"/>
                  <a:pt x="2250" y="3344"/>
                  <a:pt x="2187" y="3375"/>
                </a:cubicBezTo>
                <a:cubicBezTo>
                  <a:pt x="2156" y="3375"/>
                  <a:pt x="2156" y="3406"/>
                  <a:pt x="2156" y="3406"/>
                </a:cubicBezTo>
                <a:cubicBezTo>
                  <a:pt x="2156" y="3406"/>
                  <a:pt x="2125" y="3437"/>
                  <a:pt x="2125" y="3437"/>
                </a:cubicBezTo>
                <a:cubicBezTo>
                  <a:pt x="2125" y="3469"/>
                  <a:pt x="2156" y="3500"/>
                  <a:pt x="2187" y="3500"/>
                </a:cubicBezTo>
                <a:cubicBezTo>
                  <a:pt x="2187" y="3500"/>
                  <a:pt x="2219" y="3531"/>
                  <a:pt x="2219" y="3531"/>
                </a:cubicBezTo>
                <a:cubicBezTo>
                  <a:pt x="2250" y="3531"/>
                  <a:pt x="2250" y="3531"/>
                  <a:pt x="2281" y="3531"/>
                </a:cubicBezTo>
                <a:cubicBezTo>
                  <a:pt x="2312" y="3531"/>
                  <a:pt x="2344" y="3500"/>
                  <a:pt x="2406" y="3531"/>
                </a:cubicBezTo>
                <a:cubicBezTo>
                  <a:pt x="2437" y="3531"/>
                  <a:pt x="2500" y="3531"/>
                  <a:pt x="2531" y="3531"/>
                </a:cubicBezTo>
                <a:cubicBezTo>
                  <a:pt x="2344" y="3625"/>
                  <a:pt x="2125" y="3625"/>
                  <a:pt x="1937" y="3625"/>
                </a:cubicBezTo>
                <a:cubicBezTo>
                  <a:pt x="1812" y="3625"/>
                  <a:pt x="1719" y="3625"/>
                  <a:pt x="1625" y="3625"/>
                </a:cubicBezTo>
                <a:cubicBezTo>
                  <a:pt x="1531" y="3625"/>
                  <a:pt x="1469" y="3625"/>
                  <a:pt x="1406" y="3625"/>
                </a:cubicBezTo>
                <a:cubicBezTo>
                  <a:pt x="1375" y="3656"/>
                  <a:pt x="1344" y="3656"/>
                  <a:pt x="1312" y="3656"/>
                </a:cubicBezTo>
                <a:cubicBezTo>
                  <a:pt x="1187" y="3687"/>
                  <a:pt x="1062" y="3750"/>
                  <a:pt x="937" y="3875"/>
                </a:cubicBezTo>
                <a:cubicBezTo>
                  <a:pt x="937" y="3875"/>
                  <a:pt x="937" y="3875"/>
                  <a:pt x="937" y="3875"/>
                </a:cubicBezTo>
                <a:cubicBezTo>
                  <a:pt x="937" y="3875"/>
                  <a:pt x="937" y="3875"/>
                  <a:pt x="937" y="3875"/>
                </a:cubicBezTo>
                <a:cubicBezTo>
                  <a:pt x="1469" y="3781"/>
                  <a:pt x="1969" y="3812"/>
                  <a:pt x="2437" y="3844"/>
                </a:cubicBezTo>
                <a:cubicBezTo>
                  <a:pt x="2812" y="3875"/>
                  <a:pt x="3187" y="3906"/>
                  <a:pt x="3562" y="3875"/>
                </a:cubicBezTo>
                <a:cubicBezTo>
                  <a:pt x="3500" y="3875"/>
                  <a:pt x="3469" y="3844"/>
                  <a:pt x="3406" y="3844"/>
                </a:cubicBezTo>
                <a:cubicBezTo>
                  <a:pt x="3281" y="3812"/>
                  <a:pt x="3125" y="3781"/>
                  <a:pt x="2969" y="3781"/>
                </a:cubicBezTo>
                <a:cubicBezTo>
                  <a:pt x="2906" y="3781"/>
                  <a:pt x="2844" y="3781"/>
                  <a:pt x="2812" y="3750"/>
                </a:cubicBezTo>
                <a:cubicBezTo>
                  <a:pt x="2812" y="3750"/>
                  <a:pt x="2812" y="3750"/>
                  <a:pt x="2812" y="3719"/>
                </a:cubicBezTo>
                <a:cubicBezTo>
                  <a:pt x="2812" y="3719"/>
                  <a:pt x="2812" y="3719"/>
                  <a:pt x="2844" y="3719"/>
                </a:cubicBezTo>
                <a:cubicBezTo>
                  <a:pt x="2875" y="3687"/>
                  <a:pt x="2844" y="3656"/>
                  <a:pt x="2844" y="3625"/>
                </a:cubicBezTo>
                <a:cubicBezTo>
                  <a:pt x="2812" y="3594"/>
                  <a:pt x="2812" y="3594"/>
                  <a:pt x="2844" y="3562"/>
                </a:cubicBezTo>
                <a:cubicBezTo>
                  <a:pt x="2844" y="3562"/>
                  <a:pt x="2875" y="3562"/>
                  <a:pt x="2906" y="3562"/>
                </a:cubicBezTo>
                <a:cubicBezTo>
                  <a:pt x="2937" y="3562"/>
                  <a:pt x="2969" y="3562"/>
                  <a:pt x="3000" y="3594"/>
                </a:cubicBezTo>
                <a:cubicBezTo>
                  <a:pt x="3125" y="3656"/>
                  <a:pt x="3250" y="3656"/>
                  <a:pt x="3375" y="3656"/>
                </a:cubicBezTo>
                <a:cubicBezTo>
                  <a:pt x="3437" y="3656"/>
                  <a:pt x="3500" y="3656"/>
                  <a:pt x="3594" y="3687"/>
                </a:cubicBezTo>
                <a:cubicBezTo>
                  <a:pt x="3625" y="3687"/>
                  <a:pt x="3656" y="3687"/>
                  <a:pt x="3687" y="3687"/>
                </a:cubicBezTo>
                <a:cubicBezTo>
                  <a:pt x="3969" y="3687"/>
                  <a:pt x="4219" y="3656"/>
                  <a:pt x="4469" y="3687"/>
                </a:cubicBezTo>
                <a:cubicBezTo>
                  <a:pt x="4562" y="3687"/>
                  <a:pt x="4625" y="3687"/>
                  <a:pt x="4687" y="3687"/>
                </a:cubicBezTo>
                <a:cubicBezTo>
                  <a:pt x="5187" y="3750"/>
                  <a:pt x="5719" y="3719"/>
                  <a:pt x="6187" y="3875"/>
                </a:cubicBezTo>
                <a:cubicBezTo>
                  <a:pt x="6125" y="3969"/>
                  <a:pt x="6062" y="4031"/>
                  <a:pt x="6000" y="4062"/>
                </a:cubicBezTo>
                <a:cubicBezTo>
                  <a:pt x="5969" y="4062"/>
                  <a:pt x="5937" y="4062"/>
                  <a:pt x="5906" y="4062"/>
                </a:cubicBezTo>
                <a:cubicBezTo>
                  <a:pt x="5875" y="4062"/>
                  <a:pt x="5875" y="4062"/>
                  <a:pt x="5844" y="4062"/>
                </a:cubicBezTo>
                <a:cubicBezTo>
                  <a:pt x="5812" y="4094"/>
                  <a:pt x="5781" y="4094"/>
                  <a:pt x="5750" y="4062"/>
                </a:cubicBezTo>
                <a:cubicBezTo>
                  <a:pt x="5687" y="4062"/>
                  <a:pt x="5656" y="4062"/>
                  <a:pt x="5625" y="4062"/>
                </a:cubicBezTo>
                <a:cubicBezTo>
                  <a:pt x="5531" y="4062"/>
                  <a:pt x="5469" y="4031"/>
                  <a:pt x="5406" y="4031"/>
                </a:cubicBezTo>
                <a:cubicBezTo>
                  <a:pt x="5375" y="4031"/>
                  <a:pt x="5375" y="4031"/>
                  <a:pt x="5375" y="4031"/>
                </a:cubicBezTo>
                <a:cubicBezTo>
                  <a:pt x="5125" y="4000"/>
                  <a:pt x="4906" y="3937"/>
                  <a:pt x="4687" y="4000"/>
                </a:cubicBezTo>
                <a:cubicBezTo>
                  <a:pt x="4656" y="4000"/>
                  <a:pt x="4656" y="4000"/>
                  <a:pt x="4656" y="4000"/>
                </a:cubicBezTo>
                <a:cubicBezTo>
                  <a:pt x="4312" y="3969"/>
                  <a:pt x="4000" y="3937"/>
                  <a:pt x="3625" y="3875"/>
                </a:cubicBezTo>
                <a:cubicBezTo>
                  <a:pt x="3625" y="3906"/>
                  <a:pt x="3656" y="3906"/>
                  <a:pt x="3656" y="3937"/>
                </a:cubicBezTo>
                <a:cubicBezTo>
                  <a:pt x="3781" y="4000"/>
                  <a:pt x="3937" y="4031"/>
                  <a:pt x="3875" y="4125"/>
                </a:cubicBezTo>
                <a:cubicBezTo>
                  <a:pt x="3844" y="4219"/>
                  <a:pt x="3812" y="4344"/>
                  <a:pt x="3812" y="4437"/>
                </a:cubicBezTo>
                <a:cubicBezTo>
                  <a:pt x="3812" y="4500"/>
                  <a:pt x="3781" y="4562"/>
                  <a:pt x="3781" y="4625"/>
                </a:cubicBezTo>
                <a:cubicBezTo>
                  <a:pt x="3781" y="4625"/>
                  <a:pt x="3781" y="4625"/>
                  <a:pt x="3781" y="4625"/>
                </a:cubicBezTo>
                <a:cubicBezTo>
                  <a:pt x="3781" y="4656"/>
                  <a:pt x="3750" y="4656"/>
                  <a:pt x="3750" y="4656"/>
                </a:cubicBezTo>
                <a:cubicBezTo>
                  <a:pt x="3750" y="4656"/>
                  <a:pt x="3750" y="4687"/>
                  <a:pt x="3781" y="4687"/>
                </a:cubicBezTo>
                <a:cubicBezTo>
                  <a:pt x="4031" y="4719"/>
                  <a:pt x="4125" y="4906"/>
                  <a:pt x="4344" y="4969"/>
                </a:cubicBezTo>
                <a:cubicBezTo>
                  <a:pt x="4406" y="4969"/>
                  <a:pt x="4469" y="5000"/>
                  <a:pt x="4500" y="5031"/>
                </a:cubicBezTo>
                <a:cubicBezTo>
                  <a:pt x="4531" y="5031"/>
                  <a:pt x="4531" y="5031"/>
                  <a:pt x="4562" y="5062"/>
                </a:cubicBezTo>
                <a:cubicBezTo>
                  <a:pt x="4594" y="5062"/>
                  <a:pt x="4594" y="5094"/>
                  <a:pt x="4625" y="5094"/>
                </a:cubicBezTo>
                <a:cubicBezTo>
                  <a:pt x="4656" y="5125"/>
                  <a:pt x="4656" y="5156"/>
                  <a:pt x="4687" y="5187"/>
                </a:cubicBezTo>
                <a:cubicBezTo>
                  <a:pt x="4687" y="5219"/>
                  <a:pt x="4687" y="5250"/>
                  <a:pt x="4687" y="5312"/>
                </a:cubicBezTo>
                <a:cubicBezTo>
                  <a:pt x="4687" y="5312"/>
                  <a:pt x="4687" y="5312"/>
                  <a:pt x="4719" y="5344"/>
                </a:cubicBezTo>
                <a:cubicBezTo>
                  <a:pt x="4719" y="5375"/>
                  <a:pt x="4750" y="5406"/>
                  <a:pt x="4750" y="5437"/>
                </a:cubicBezTo>
                <a:cubicBezTo>
                  <a:pt x="4781" y="5437"/>
                  <a:pt x="4781" y="5469"/>
                  <a:pt x="4812" y="5500"/>
                </a:cubicBezTo>
                <a:cubicBezTo>
                  <a:pt x="4844" y="5531"/>
                  <a:pt x="4875" y="5562"/>
                  <a:pt x="4937" y="5594"/>
                </a:cubicBezTo>
                <a:cubicBezTo>
                  <a:pt x="5031" y="5625"/>
                  <a:pt x="5156" y="5625"/>
                  <a:pt x="5250" y="5687"/>
                </a:cubicBezTo>
                <a:cubicBezTo>
                  <a:pt x="5187" y="5719"/>
                  <a:pt x="5125" y="5719"/>
                  <a:pt x="5062" y="5750"/>
                </a:cubicBezTo>
                <a:cubicBezTo>
                  <a:pt x="5000" y="5750"/>
                  <a:pt x="4937" y="5750"/>
                  <a:pt x="4875" y="5719"/>
                </a:cubicBezTo>
                <a:cubicBezTo>
                  <a:pt x="4812" y="5719"/>
                  <a:pt x="4781" y="5719"/>
                  <a:pt x="4750" y="5750"/>
                </a:cubicBezTo>
                <a:cubicBezTo>
                  <a:pt x="4719" y="5750"/>
                  <a:pt x="4719" y="5750"/>
                  <a:pt x="4687" y="5750"/>
                </a:cubicBezTo>
                <a:cubicBezTo>
                  <a:pt x="4656" y="5781"/>
                  <a:pt x="4656" y="5781"/>
                  <a:pt x="4625" y="5812"/>
                </a:cubicBezTo>
                <a:cubicBezTo>
                  <a:pt x="4625" y="5812"/>
                  <a:pt x="4625" y="5812"/>
                  <a:pt x="4594" y="5812"/>
                </a:cubicBezTo>
                <a:cubicBezTo>
                  <a:pt x="4594" y="5844"/>
                  <a:pt x="4562" y="5875"/>
                  <a:pt x="4562" y="5875"/>
                </a:cubicBezTo>
                <a:cubicBezTo>
                  <a:pt x="4625" y="5937"/>
                  <a:pt x="4625" y="6000"/>
                  <a:pt x="4625" y="6062"/>
                </a:cubicBezTo>
                <a:cubicBezTo>
                  <a:pt x="4594" y="6125"/>
                  <a:pt x="4531" y="6187"/>
                  <a:pt x="4469" y="6250"/>
                </a:cubicBezTo>
                <a:cubicBezTo>
                  <a:pt x="4437" y="6281"/>
                  <a:pt x="4406" y="6312"/>
                  <a:pt x="4375" y="6344"/>
                </a:cubicBezTo>
                <a:cubicBezTo>
                  <a:pt x="4375" y="6344"/>
                  <a:pt x="4406" y="6344"/>
                  <a:pt x="4437" y="6344"/>
                </a:cubicBezTo>
                <a:cubicBezTo>
                  <a:pt x="4500" y="6344"/>
                  <a:pt x="4562" y="6344"/>
                  <a:pt x="4625" y="6312"/>
                </a:cubicBezTo>
                <a:cubicBezTo>
                  <a:pt x="4656" y="6312"/>
                  <a:pt x="4687" y="6312"/>
                  <a:pt x="4687" y="6312"/>
                </a:cubicBezTo>
                <a:cubicBezTo>
                  <a:pt x="4781" y="6281"/>
                  <a:pt x="4875" y="6281"/>
                  <a:pt x="4937" y="6281"/>
                </a:cubicBezTo>
                <a:cubicBezTo>
                  <a:pt x="4969" y="6312"/>
                  <a:pt x="5000" y="6312"/>
                  <a:pt x="5031" y="6312"/>
                </a:cubicBezTo>
                <a:cubicBezTo>
                  <a:pt x="4875" y="6437"/>
                  <a:pt x="4625" y="6406"/>
                  <a:pt x="4437" y="6469"/>
                </a:cubicBezTo>
                <a:cubicBezTo>
                  <a:pt x="4625" y="6562"/>
                  <a:pt x="4812" y="6562"/>
                  <a:pt x="5000" y="6531"/>
                </a:cubicBezTo>
                <a:cubicBezTo>
                  <a:pt x="5062" y="6531"/>
                  <a:pt x="5156" y="6500"/>
                  <a:pt x="5250" y="6500"/>
                </a:cubicBezTo>
                <a:cubicBezTo>
                  <a:pt x="5281" y="6500"/>
                  <a:pt x="5281" y="6469"/>
                  <a:pt x="5312" y="6469"/>
                </a:cubicBezTo>
                <a:cubicBezTo>
                  <a:pt x="5406" y="6469"/>
                  <a:pt x="5500" y="6469"/>
                  <a:pt x="5594" y="6469"/>
                </a:cubicBezTo>
                <a:cubicBezTo>
                  <a:pt x="5625" y="6469"/>
                  <a:pt x="5687" y="6469"/>
                  <a:pt x="5750" y="6469"/>
                </a:cubicBezTo>
                <a:cubicBezTo>
                  <a:pt x="5656" y="6500"/>
                  <a:pt x="5656" y="6531"/>
                  <a:pt x="5625" y="6531"/>
                </a:cubicBezTo>
                <a:cubicBezTo>
                  <a:pt x="5562" y="6531"/>
                  <a:pt x="5500" y="6531"/>
                  <a:pt x="5469" y="6562"/>
                </a:cubicBezTo>
                <a:cubicBezTo>
                  <a:pt x="5406" y="6562"/>
                  <a:pt x="5375" y="6625"/>
                  <a:pt x="5375" y="6656"/>
                </a:cubicBezTo>
                <a:cubicBezTo>
                  <a:pt x="5375" y="6656"/>
                  <a:pt x="5375" y="6687"/>
                  <a:pt x="5375" y="6687"/>
                </a:cubicBezTo>
                <a:cubicBezTo>
                  <a:pt x="5375" y="6750"/>
                  <a:pt x="5437" y="6750"/>
                  <a:pt x="5531" y="6750"/>
                </a:cubicBezTo>
                <a:cubicBezTo>
                  <a:pt x="5562" y="6750"/>
                  <a:pt x="5594" y="6750"/>
                  <a:pt x="5656" y="6719"/>
                </a:cubicBezTo>
                <a:cubicBezTo>
                  <a:pt x="5875" y="6719"/>
                  <a:pt x="6125" y="6687"/>
                  <a:pt x="6375" y="6656"/>
                </a:cubicBezTo>
                <a:cubicBezTo>
                  <a:pt x="6437" y="6687"/>
                  <a:pt x="6437" y="6719"/>
                  <a:pt x="6469" y="6781"/>
                </a:cubicBezTo>
                <a:cubicBezTo>
                  <a:pt x="6469" y="6781"/>
                  <a:pt x="6500" y="6812"/>
                  <a:pt x="6500" y="6812"/>
                </a:cubicBezTo>
                <a:cubicBezTo>
                  <a:pt x="6375" y="6844"/>
                  <a:pt x="6250" y="6875"/>
                  <a:pt x="6094" y="6875"/>
                </a:cubicBezTo>
                <a:cubicBezTo>
                  <a:pt x="5969" y="6875"/>
                  <a:pt x="5844" y="6906"/>
                  <a:pt x="5719" y="6906"/>
                </a:cubicBezTo>
                <a:cubicBezTo>
                  <a:pt x="5562" y="6937"/>
                  <a:pt x="5406" y="7000"/>
                  <a:pt x="5250" y="7094"/>
                </a:cubicBezTo>
                <a:cubicBezTo>
                  <a:pt x="5219" y="7094"/>
                  <a:pt x="5187" y="7125"/>
                  <a:pt x="5156" y="7156"/>
                </a:cubicBezTo>
                <a:cubicBezTo>
                  <a:pt x="5156" y="7156"/>
                  <a:pt x="5156" y="7156"/>
                  <a:pt x="5156" y="7156"/>
                </a:cubicBezTo>
                <a:cubicBezTo>
                  <a:pt x="5156" y="7156"/>
                  <a:pt x="5156" y="7156"/>
                  <a:pt x="5156" y="7156"/>
                </a:cubicBezTo>
                <a:cubicBezTo>
                  <a:pt x="5406" y="7125"/>
                  <a:pt x="5687" y="7094"/>
                  <a:pt x="5906" y="7031"/>
                </a:cubicBezTo>
                <a:cubicBezTo>
                  <a:pt x="5969" y="7031"/>
                  <a:pt x="6000" y="7000"/>
                  <a:pt x="6031" y="7000"/>
                </a:cubicBezTo>
                <a:cubicBezTo>
                  <a:pt x="6062" y="7000"/>
                  <a:pt x="6125" y="6969"/>
                  <a:pt x="6156" y="6969"/>
                </a:cubicBezTo>
                <a:cubicBezTo>
                  <a:pt x="6156" y="6969"/>
                  <a:pt x="6187" y="6969"/>
                  <a:pt x="6187" y="6969"/>
                </a:cubicBezTo>
                <a:cubicBezTo>
                  <a:pt x="6187" y="6969"/>
                  <a:pt x="6187" y="6969"/>
                  <a:pt x="6219" y="6969"/>
                </a:cubicBezTo>
                <a:cubicBezTo>
                  <a:pt x="6250" y="6969"/>
                  <a:pt x="6281" y="6937"/>
                  <a:pt x="6344" y="6937"/>
                </a:cubicBezTo>
                <a:cubicBezTo>
                  <a:pt x="6344" y="6937"/>
                  <a:pt x="6344" y="6937"/>
                  <a:pt x="6344" y="6937"/>
                </a:cubicBezTo>
                <a:cubicBezTo>
                  <a:pt x="6344" y="6969"/>
                  <a:pt x="6344" y="6969"/>
                  <a:pt x="6344" y="6969"/>
                </a:cubicBezTo>
                <a:cubicBezTo>
                  <a:pt x="6344" y="7031"/>
                  <a:pt x="6312" y="7094"/>
                  <a:pt x="6437" y="7156"/>
                </a:cubicBezTo>
                <a:cubicBezTo>
                  <a:pt x="6437" y="7156"/>
                  <a:pt x="6437" y="7156"/>
                  <a:pt x="6437" y="7156"/>
                </a:cubicBezTo>
                <a:cubicBezTo>
                  <a:pt x="6437" y="7156"/>
                  <a:pt x="6437" y="7156"/>
                  <a:pt x="6437" y="7156"/>
                </a:cubicBezTo>
                <a:cubicBezTo>
                  <a:pt x="6437" y="7156"/>
                  <a:pt x="6437" y="7156"/>
                  <a:pt x="6437" y="7156"/>
                </a:cubicBezTo>
                <a:cubicBezTo>
                  <a:pt x="6187" y="7281"/>
                  <a:pt x="5875" y="7312"/>
                  <a:pt x="5594" y="7344"/>
                </a:cubicBezTo>
                <a:cubicBezTo>
                  <a:pt x="5531" y="7375"/>
                  <a:pt x="5500" y="7375"/>
                  <a:pt x="5437" y="7375"/>
                </a:cubicBezTo>
                <a:cubicBezTo>
                  <a:pt x="5437" y="7375"/>
                  <a:pt x="5406" y="7406"/>
                  <a:pt x="5406" y="7406"/>
                </a:cubicBezTo>
                <a:cubicBezTo>
                  <a:pt x="5375" y="7406"/>
                  <a:pt x="5344" y="7406"/>
                  <a:pt x="5312" y="7406"/>
                </a:cubicBezTo>
                <a:cubicBezTo>
                  <a:pt x="5281" y="7437"/>
                  <a:pt x="5281" y="7437"/>
                  <a:pt x="5250" y="7437"/>
                </a:cubicBezTo>
                <a:cubicBezTo>
                  <a:pt x="5219" y="7437"/>
                  <a:pt x="5187" y="7469"/>
                  <a:pt x="5156" y="7469"/>
                </a:cubicBezTo>
                <a:cubicBezTo>
                  <a:pt x="5156" y="7469"/>
                  <a:pt x="5125" y="7469"/>
                  <a:pt x="5125" y="7469"/>
                </a:cubicBezTo>
                <a:cubicBezTo>
                  <a:pt x="5094" y="7500"/>
                  <a:pt x="5062" y="7500"/>
                  <a:pt x="5031" y="7531"/>
                </a:cubicBezTo>
                <a:cubicBezTo>
                  <a:pt x="5000" y="7531"/>
                  <a:pt x="5000" y="7531"/>
                  <a:pt x="5000" y="7531"/>
                </a:cubicBezTo>
                <a:cubicBezTo>
                  <a:pt x="4969" y="7562"/>
                  <a:pt x="4906" y="7562"/>
                  <a:pt x="4875" y="7594"/>
                </a:cubicBezTo>
                <a:cubicBezTo>
                  <a:pt x="4844" y="7594"/>
                  <a:pt x="4844" y="7594"/>
                  <a:pt x="4812" y="7594"/>
                </a:cubicBezTo>
                <a:cubicBezTo>
                  <a:pt x="4812" y="7625"/>
                  <a:pt x="4781" y="7625"/>
                  <a:pt x="4750" y="7656"/>
                </a:cubicBezTo>
                <a:cubicBezTo>
                  <a:pt x="4719" y="7656"/>
                  <a:pt x="4687" y="7687"/>
                  <a:pt x="4656" y="7687"/>
                </a:cubicBezTo>
                <a:cubicBezTo>
                  <a:pt x="4656" y="7687"/>
                  <a:pt x="4656" y="7687"/>
                  <a:pt x="4656" y="7687"/>
                </a:cubicBezTo>
                <a:cubicBezTo>
                  <a:pt x="4656" y="7687"/>
                  <a:pt x="4656" y="7687"/>
                  <a:pt x="4656" y="7687"/>
                </a:cubicBezTo>
                <a:cubicBezTo>
                  <a:pt x="4625" y="7687"/>
                  <a:pt x="4594" y="7719"/>
                  <a:pt x="4562" y="7719"/>
                </a:cubicBezTo>
                <a:cubicBezTo>
                  <a:pt x="4531" y="7750"/>
                  <a:pt x="4500" y="7750"/>
                  <a:pt x="4469" y="7781"/>
                </a:cubicBezTo>
                <a:cubicBezTo>
                  <a:pt x="4469" y="7781"/>
                  <a:pt x="4469" y="7781"/>
                  <a:pt x="4469" y="7781"/>
                </a:cubicBezTo>
                <a:cubicBezTo>
                  <a:pt x="4531" y="7750"/>
                  <a:pt x="4594" y="7719"/>
                  <a:pt x="4656" y="7687"/>
                </a:cubicBezTo>
                <a:cubicBezTo>
                  <a:pt x="4656" y="7687"/>
                  <a:pt x="4656" y="7687"/>
                  <a:pt x="4656" y="7687"/>
                </a:cubicBezTo>
                <a:cubicBezTo>
                  <a:pt x="4906" y="7594"/>
                  <a:pt x="5187" y="7562"/>
                  <a:pt x="5437" y="7500"/>
                </a:cubicBezTo>
                <a:cubicBezTo>
                  <a:pt x="5437" y="7500"/>
                  <a:pt x="5437" y="7500"/>
                  <a:pt x="5469" y="7500"/>
                </a:cubicBezTo>
                <a:cubicBezTo>
                  <a:pt x="5500" y="7500"/>
                  <a:pt x="5562" y="7500"/>
                  <a:pt x="5594" y="7500"/>
                </a:cubicBezTo>
                <a:cubicBezTo>
                  <a:pt x="5594" y="7500"/>
                  <a:pt x="5594" y="7500"/>
                  <a:pt x="5594" y="7500"/>
                </a:cubicBezTo>
                <a:cubicBezTo>
                  <a:pt x="5625" y="7469"/>
                  <a:pt x="5656" y="7469"/>
                  <a:pt x="5687" y="7469"/>
                </a:cubicBezTo>
                <a:cubicBezTo>
                  <a:pt x="5750" y="7469"/>
                  <a:pt x="5812" y="7469"/>
                  <a:pt x="5844" y="7500"/>
                </a:cubicBezTo>
                <a:cubicBezTo>
                  <a:pt x="5906" y="7594"/>
                  <a:pt x="5719" y="7562"/>
                  <a:pt x="5719" y="7656"/>
                </a:cubicBezTo>
                <a:cubicBezTo>
                  <a:pt x="5812" y="7656"/>
                  <a:pt x="5906" y="7594"/>
                  <a:pt x="6031" y="7562"/>
                </a:cubicBezTo>
                <a:cubicBezTo>
                  <a:pt x="6062" y="7562"/>
                  <a:pt x="6125" y="7531"/>
                  <a:pt x="6187" y="7531"/>
                </a:cubicBezTo>
                <a:cubicBezTo>
                  <a:pt x="6250" y="7531"/>
                  <a:pt x="6312" y="7531"/>
                  <a:pt x="6344" y="7625"/>
                </a:cubicBezTo>
                <a:cubicBezTo>
                  <a:pt x="6344" y="7625"/>
                  <a:pt x="6344" y="7625"/>
                  <a:pt x="6344" y="7625"/>
                </a:cubicBezTo>
                <a:cubicBezTo>
                  <a:pt x="6312" y="7625"/>
                  <a:pt x="6281" y="7656"/>
                  <a:pt x="6250" y="7656"/>
                </a:cubicBezTo>
                <a:cubicBezTo>
                  <a:pt x="6219" y="7656"/>
                  <a:pt x="6219" y="7656"/>
                  <a:pt x="6219" y="7656"/>
                </a:cubicBezTo>
                <a:cubicBezTo>
                  <a:pt x="6187" y="7656"/>
                  <a:pt x="6187" y="7656"/>
                  <a:pt x="6187" y="7625"/>
                </a:cubicBezTo>
                <a:cubicBezTo>
                  <a:pt x="6125" y="7625"/>
                  <a:pt x="6062" y="7656"/>
                  <a:pt x="6031" y="7719"/>
                </a:cubicBezTo>
                <a:cubicBezTo>
                  <a:pt x="6031" y="7719"/>
                  <a:pt x="6031" y="7719"/>
                  <a:pt x="6031" y="7719"/>
                </a:cubicBezTo>
                <a:cubicBezTo>
                  <a:pt x="6031" y="7719"/>
                  <a:pt x="6031" y="7719"/>
                  <a:pt x="6031" y="7719"/>
                </a:cubicBezTo>
                <a:cubicBezTo>
                  <a:pt x="6062" y="7719"/>
                  <a:pt x="6125" y="7750"/>
                  <a:pt x="6156" y="7750"/>
                </a:cubicBezTo>
                <a:cubicBezTo>
                  <a:pt x="6219" y="7750"/>
                  <a:pt x="6250" y="7750"/>
                  <a:pt x="6312" y="7719"/>
                </a:cubicBezTo>
                <a:cubicBezTo>
                  <a:pt x="6344" y="7719"/>
                  <a:pt x="6375" y="7687"/>
                  <a:pt x="6406" y="7687"/>
                </a:cubicBezTo>
                <a:cubicBezTo>
                  <a:pt x="6437" y="7719"/>
                  <a:pt x="6469" y="7719"/>
                  <a:pt x="6500" y="7719"/>
                </a:cubicBezTo>
                <a:cubicBezTo>
                  <a:pt x="7125" y="7656"/>
                  <a:pt x="7719" y="7656"/>
                  <a:pt x="8312" y="7719"/>
                </a:cubicBezTo>
                <a:cubicBezTo>
                  <a:pt x="8625" y="7750"/>
                  <a:pt x="8937" y="7625"/>
                  <a:pt x="9219" y="7750"/>
                </a:cubicBezTo>
                <a:cubicBezTo>
                  <a:pt x="9156" y="7781"/>
                  <a:pt x="9094" y="7781"/>
                  <a:pt x="9031" y="7812"/>
                </a:cubicBezTo>
                <a:cubicBezTo>
                  <a:pt x="9031" y="7812"/>
                  <a:pt x="9031" y="7812"/>
                  <a:pt x="9031" y="7812"/>
                </a:cubicBezTo>
                <a:cubicBezTo>
                  <a:pt x="8875" y="7781"/>
                  <a:pt x="8750" y="7781"/>
                  <a:pt x="8594" y="7781"/>
                </a:cubicBezTo>
                <a:cubicBezTo>
                  <a:pt x="8562" y="7781"/>
                  <a:pt x="8500" y="7781"/>
                  <a:pt x="8437" y="7812"/>
                </a:cubicBezTo>
                <a:cubicBezTo>
                  <a:pt x="8437" y="7812"/>
                  <a:pt x="8406" y="7812"/>
                  <a:pt x="8375" y="7812"/>
                </a:cubicBezTo>
                <a:cubicBezTo>
                  <a:pt x="8406" y="7812"/>
                  <a:pt x="8406" y="7844"/>
                  <a:pt x="8437" y="7844"/>
                </a:cubicBezTo>
                <a:cubicBezTo>
                  <a:pt x="8562" y="7906"/>
                  <a:pt x="8687" y="7937"/>
                  <a:pt x="8812" y="7906"/>
                </a:cubicBezTo>
                <a:cubicBezTo>
                  <a:pt x="8875" y="7906"/>
                  <a:pt x="8969" y="7875"/>
                  <a:pt x="9031" y="7875"/>
                </a:cubicBezTo>
                <a:cubicBezTo>
                  <a:pt x="9031" y="7906"/>
                  <a:pt x="9062" y="7937"/>
                  <a:pt x="9125" y="7969"/>
                </a:cubicBezTo>
                <a:cubicBezTo>
                  <a:pt x="9187" y="8000"/>
                  <a:pt x="9250" y="8000"/>
                  <a:pt x="9250" y="8062"/>
                </a:cubicBezTo>
                <a:cubicBezTo>
                  <a:pt x="9000" y="8187"/>
                  <a:pt x="8719" y="8125"/>
                  <a:pt x="8469" y="8094"/>
                </a:cubicBezTo>
                <a:cubicBezTo>
                  <a:pt x="7312" y="8000"/>
                  <a:pt x="6125" y="8031"/>
                  <a:pt x="4969" y="8062"/>
                </a:cubicBezTo>
                <a:cubicBezTo>
                  <a:pt x="4937" y="7906"/>
                  <a:pt x="5156" y="7969"/>
                  <a:pt x="5219" y="7875"/>
                </a:cubicBezTo>
                <a:cubicBezTo>
                  <a:pt x="5156" y="7844"/>
                  <a:pt x="5125" y="7812"/>
                  <a:pt x="5062" y="7812"/>
                </a:cubicBezTo>
                <a:cubicBezTo>
                  <a:pt x="5000" y="7812"/>
                  <a:pt x="4969" y="7812"/>
                  <a:pt x="4906" y="7812"/>
                </a:cubicBezTo>
                <a:cubicBezTo>
                  <a:pt x="4875" y="7812"/>
                  <a:pt x="4844" y="7844"/>
                  <a:pt x="4812" y="7844"/>
                </a:cubicBezTo>
                <a:cubicBezTo>
                  <a:pt x="4781" y="7844"/>
                  <a:pt x="4781" y="7844"/>
                  <a:pt x="4750" y="7844"/>
                </a:cubicBezTo>
                <a:cubicBezTo>
                  <a:pt x="4750" y="7844"/>
                  <a:pt x="4750" y="7844"/>
                  <a:pt x="4750" y="7844"/>
                </a:cubicBezTo>
                <a:cubicBezTo>
                  <a:pt x="4750" y="7844"/>
                  <a:pt x="4719" y="7844"/>
                  <a:pt x="4719" y="7844"/>
                </a:cubicBezTo>
                <a:cubicBezTo>
                  <a:pt x="4719" y="7875"/>
                  <a:pt x="4719" y="7875"/>
                  <a:pt x="4719" y="7875"/>
                </a:cubicBezTo>
                <a:cubicBezTo>
                  <a:pt x="4719" y="7875"/>
                  <a:pt x="4719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906"/>
                  <a:pt x="4687" y="7906"/>
                </a:cubicBezTo>
                <a:cubicBezTo>
                  <a:pt x="4687" y="7906"/>
                  <a:pt x="4687" y="7906"/>
                  <a:pt x="4687" y="7906"/>
                </a:cubicBezTo>
                <a:cubicBezTo>
                  <a:pt x="4687" y="7906"/>
                  <a:pt x="4812" y="7937"/>
                  <a:pt x="4812" y="7969"/>
                </a:cubicBezTo>
                <a:cubicBezTo>
                  <a:pt x="4812" y="7969"/>
                  <a:pt x="4812" y="7969"/>
                  <a:pt x="4812" y="7969"/>
                </a:cubicBezTo>
                <a:cubicBezTo>
                  <a:pt x="4812" y="7969"/>
                  <a:pt x="4812" y="7969"/>
                  <a:pt x="4812" y="7969"/>
                </a:cubicBezTo>
                <a:cubicBezTo>
                  <a:pt x="4781" y="8000"/>
                  <a:pt x="4719" y="8000"/>
                  <a:pt x="4687" y="8031"/>
                </a:cubicBezTo>
                <a:cubicBezTo>
                  <a:pt x="4687" y="8031"/>
                  <a:pt x="4687" y="8031"/>
                  <a:pt x="4687" y="8031"/>
                </a:cubicBezTo>
                <a:cubicBezTo>
                  <a:pt x="4687" y="8062"/>
                  <a:pt x="4687" y="8062"/>
                  <a:pt x="4656" y="8062"/>
                </a:cubicBezTo>
                <a:cubicBezTo>
                  <a:pt x="4656" y="8062"/>
                  <a:pt x="4656" y="8062"/>
                  <a:pt x="4656" y="8062"/>
                </a:cubicBezTo>
                <a:cubicBezTo>
                  <a:pt x="4656" y="8062"/>
                  <a:pt x="4656" y="8094"/>
                  <a:pt x="4656" y="8094"/>
                </a:cubicBezTo>
                <a:cubicBezTo>
                  <a:pt x="4656" y="8094"/>
                  <a:pt x="4656" y="8094"/>
                  <a:pt x="4656" y="8094"/>
                </a:cubicBezTo>
                <a:cubicBezTo>
                  <a:pt x="4687" y="8094"/>
                  <a:pt x="4687" y="8125"/>
                  <a:pt x="4687" y="8125"/>
                </a:cubicBezTo>
                <a:cubicBezTo>
                  <a:pt x="4719" y="8156"/>
                  <a:pt x="4719" y="8156"/>
                  <a:pt x="4719" y="8156"/>
                </a:cubicBezTo>
                <a:cubicBezTo>
                  <a:pt x="4781" y="8250"/>
                  <a:pt x="4875" y="8281"/>
                  <a:pt x="5000" y="8219"/>
                </a:cubicBezTo>
                <a:cubicBezTo>
                  <a:pt x="5031" y="8250"/>
                  <a:pt x="5094" y="8250"/>
                  <a:pt x="5125" y="8250"/>
                </a:cubicBezTo>
                <a:cubicBezTo>
                  <a:pt x="5125" y="8281"/>
                  <a:pt x="5156" y="8281"/>
                  <a:pt x="5187" y="8281"/>
                </a:cubicBezTo>
                <a:cubicBezTo>
                  <a:pt x="5250" y="8281"/>
                  <a:pt x="5281" y="8281"/>
                  <a:pt x="5344" y="8281"/>
                </a:cubicBezTo>
                <a:cubicBezTo>
                  <a:pt x="5375" y="8312"/>
                  <a:pt x="5437" y="8312"/>
                  <a:pt x="5469" y="8312"/>
                </a:cubicBezTo>
                <a:cubicBezTo>
                  <a:pt x="5500" y="8312"/>
                  <a:pt x="5500" y="8312"/>
                  <a:pt x="5531" y="8281"/>
                </a:cubicBezTo>
                <a:cubicBezTo>
                  <a:pt x="5562" y="8312"/>
                  <a:pt x="5594" y="8312"/>
                  <a:pt x="5625" y="8312"/>
                </a:cubicBezTo>
                <a:cubicBezTo>
                  <a:pt x="5687" y="8344"/>
                  <a:pt x="5750" y="8344"/>
                  <a:pt x="5844" y="8375"/>
                </a:cubicBezTo>
                <a:cubicBezTo>
                  <a:pt x="5875" y="8375"/>
                  <a:pt x="5906" y="8375"/>
                  <a:pt x="5937" y="8375"/>
                </a:cubicBezTo>
                <a:cubicBezTo>
                  <a:pt x="6125" y="8375"/>
                  <a:pt x="6281" y="8375"/>
                  <a:pt x="6437" y="8375"/>
                </a:cubicBezTo>
                <a:cubicBezTo>
                  <a:pt x="6625" y="8375"/>
                  <a:pt x="6781" y="8375"/>
                  <a:pt x="6969" y="8375"/>
                </a:cubicBezTo>
                <a:cubicBezTo>
                  <a:pt x="7000" y="8375"/>
                  <a:pt x="7031" y="8375"/>
                  <a:pt x="7062" y="8375"/>
                </a:cubicBezTo>
                <a:cubicBezTo>
                  <a:pt x="7062" y="8375"/>
                  <a:pt x="7062" y="8375"/>
                  <a:pt x="7062" y="8375"/>
                </a:cubicBezTo>
                <a:cubicBezTo>
                  <a:pt x="7125" y="8406"/>
                  <a:pt x="6969" y="8469"/>
                  <a:pt x="7031" y="8500"/>
                </a:cubicBezTo>
                <a:cubicBezTo>
                  <a:pt x="7344" y="8437"/>
                  <a:pt x="7437" y="8469"/>
                  <a:pt x="7375" y="8687"/>
                </a:cubicBezTo>
                <a:cubicBezTo>
                  <a:pt x="7375" y="8719"/>
                  <a:pt x="7375" y="8750"/>
                  <a:pt x="7375" y="8750"/>
                </a:cubicBezTo>
                <a:cubicBezTo>
                  <a:pt x="7375" y="8781"/>
                  <a:pt x="7375" y="8781"/>
                  <a:pt x="7375" y="8781"/>
                </a:cubicBezTo>
                <a:cubicBezTo>
                  <a:pt x="7406" y="8781"/>
                  <a:pt x="7406" y="8781"/>
                  <a:pt x="7437" y="8781"/>
                </a:cubicBezTo>
                <a:cubicBezTo>
                  <a:pt x="7469" y="8781"/>
                  <a:pt x="7500" y="8781"/>
                  <a:pt x="7500" y="8750"/>
                </a:cubicBezTo>
                <a:cubicBezTo>
                  <a:pt x="7594" y="8750"/>
                  <a:pt x="7687" y="8719"/>
                  <a:pt x="7750" y="8687"/>
                </a:cubicBezTo>
                <a:cubicBezTo>
                  <a:pt x="7844" y="8656"/>
                  <a:pt x="7937" y="8594"/>
                  <a:pt x="8000" y="8594"/>
                </a:cubicBezTo>
                <a:cubicBezTo>
                  <a:pt x="8062" y="8625"/>
                  <a:pt x="7969" y="8656"/>
                  <a:pt x="7969" y="8656"/>
                </a:cubicBezTo>
                <a:cubicBezTo>
                  <a:pt x="7969" y="8687"/>
                  <a:pt x="8000" y="8687"/>
                  <a:pt x="8000" y="8687"/>
                </a:cubicBezTo>
                <a:cubicBezTo>
                  <a:pt x="8031" y="8687"/>
                  <a:pt x="8062" y="8687"/>
                  <a:pt x="8094" y="8687"/>
                </a:cubicBezTo>
                <a:cubicBezTo>
                  <a:pt x="8094" y="8656"/>
                  <a:pt x="8125" y="8656"/>
                  <a:pt x="8156" y="8687"/>
                </a:cubicBezTo>
                <a:cubicBezTo>
                  <a:pt x="8156" y="8750"/>
                  <a:pt x="8125" y="8750"/>
                  <a:pt x="8062" y="8781"/>
                </a:cubicBezTo>
                <a:cubicBezTo>
                  <a:pt x="8062" y="8781"/>
                  <a:pt x="8031" y="8781"/>
                  <a:pt x="8031" y="8781"/>
                </a:cubicBezTo>
                <a:cubicBezTo>
                  <a:pt x="7844" y="8875"/>
                  <a:pt x="7656" y="8937"/>
                  <a:pt x="7500" y="9094"/>
                </a:cubicBezTo>
                <a:cubicBezTo>
                  <a:pt x="7500" y="9094"/>
                  <a:pt x="7469" y="9125"/>
                  <a:pt x="7437" y="9156"/>
                </a:cubicBezTo>
                <a:cubicBezTo>
                  <a:pt x="7656" y="9094"/>
                  <a:pt x="7844" y="9062"/>
                  <a:pt x="8000" y="9000"/>
                </a:cubicBezTo>
                <a:cubicBezTo>
                  <a:pt x="8187" y="8969"/>
                  <a:pt x="8375" y="8906"/>
                  <a:pt x="8562" y="8875"/>
                </a:cubicBezTo>
                <a:cubicBezTo>
                  <a:pt x="8562" y="8906"/>
                  <a:pt x="8562" y="8906"/>
                  <a:pt x="8562" y="8937"/>
                </a:cubicBezTo>
                <a:cubicBezTo>
                  <a:pt x="8469" y="8969"/>
                  <a:pt x="8375" y="9031"/>
                  <a:pt x="8281" y="9062"/>
                </a:cubicBezTo>
                <a:cubicBezTo>
                  <a:pt x="8281" y="9094"/>
                  <a:pt x="8250" y="9094"/>
                  <a:pt x="8250" y="9094"/>
                </a:cubicBezTo>
                <a:cubicBezTo>
                  <a:pt x="8125" y="9156"/>
                  <a:pt x="8000" y="9187"/>
                  <a:pt x="8000" y="9312"/>
                </a:cubicBezTo>
                <a:cubicBezTo>
                  <a:pt x="8000" y="9312"/>
                  <a:pt x="8000" y="9312"/>
                  <a:pt x="8000" y="9312"/>
                </a:cubicBezTo>
                <a:cubicBezTo>
                  <a:pt x="8000" y="9312"/>
                  <a:pt x="8000" y="9312"/>
                  <a:pt x="8031" y="9312"/>
                </a:cubicBezTo>
                <a:cubicBezTo>
                  <a:pt x="8031" y="9344"/>
                  <a:pt x="8031" y="9344"/>
                  <a:pt x="8062" y="9344"/>
                </a:cubicBezTo>
                <a:cubicBezTo>
                  <a:pt x="8062" y="9344"/>
                  <a:pt x="8062" y="9344"/>
                  <a:pt x="8062" y="9344"/>
                </a:cubicBezTo>
                <a:cubicBezTo>
                  <a:pt x="8062" y="9344"/>
                  <a:pt x="8031" y="9312"/>
                  <a:pt x="8031" y="9312"/>
                </a:cubicBezTo>
                <a:cubicBezTo>
                  <a:pt x="8031" y="9312"/>
                  <a:pt x="8000" y="9312"/>
                  <a:pt x="8000" y="9312"/>
                </a:cubicBezTo>
                <a:cubicBezTo>
                  <a:pt x="8187" y="9250"/>
                  <a:pt x="8344" y="9187"/>
                  <a:pt x="8531" y="9125"/>
                </a:cubicBezTo>
                <a:cubicBezTo>
                  <a:pt x="8531" y="9125"/>
                  <a:pt x="8531" y="9125"/>
                  <a:pt x="8531" y="9125"/>
                </a:cubicBezTo>
                <a:cubicBezTo>
                  <a:pt x="8531" y="9125"/>
                  <a:pt x="8562" y="9125"/>
                  <a:pt x="8562" y="9094"/>
                </a:cubicBezTo>
                <a:cubicBezTo>
                  <a:pt x="8594" y="9094"/>
                  <a:pt x="8594" y="9094"/>
                  <a:pt x="8594" y="9094"/>
                </a:cubicBezTo>
                <a:cubicBezTo>
                  <a:pt x="8594" y="9094"/>
                  <a:pt x="8625" y="9094"/>
                  <a:pt x="8625" y="9094"/>
                </a:cubicBezTo>
                <a:cubicBezTo>
                  <a:pt x="8656" y="9094"/>
                  <a:pt x="8656" y="9094"/>
                  <a:pt x="8656" y="9094"/>
                </a:cubicBezTo>
                <a:cubicBezTo>
                  <a:pt x="8656" y="9094"/>
                  <a:pt x="8687" y="9094"/>
                  <a:pt x="8719" y="9062"/>
                </a:cubicBezTo>
                <a:cubicBezTo>
                  <a:pt x="8719" y="9062"/>
                  <a:pt x="8719" y="9062"/>
                  <a:pt x="8719" y="9062"/>
                </a:cubicBezTo>
                <a:cubicBezTo>
                  <a:pt x="8750" y="9062"/>
                  <a:pt x="8750" y="9062"/>
                  <a:pt x="8781" y="9062"/>
                </a:cubicBezTo>
                <a:cubicBezTo>
                  <a:pt x="8781" y="9062"/>
                  <a:pt x="8781" y="9062"/>
                  <a:pt x="8781" y="9062"/>
                </a:cubicBezTo>
                <a:cubicBezTo>
                  <a:pt x="8812" y="9062"/>
                  <a:pt x="8812" y="9062"/>
                  <a:pt x="8844" y="9062"/>
                </a:cubicBezTo>
                <a:cubicBezTo>
                  <a:pt x="8844" y="9062"/>
                  <a:pt x="8875" y="9062"/>
                  <a:pt x="8875" y="9062"/>
                </a:cubicBezTo>
                <a:cubicBezTo>
                  <a:pt x="8875" y="9062"/>
                  <a:pt x="8906" y="9062"/>
                  <a:pt x="8906" y="9062"/>
                </a:cubicBezTo>
                <a:cubicBezTo>
                  <a:pt x="8937" y="9062"/>
                  <a:pt x="8937" y="9062"/>
                  <a:pt x="8937" y="9062"/>
                </a:cubicBezTo>
                <a:cubicBezTo>
                  <a:pt x="8969" y="9062"/>
                  <a:pt x="8969" y="9062"/>
                  <a:pt x="9000" y="9062"/>
                </a:cubicBezTo>
                <a:cubicBezTo>
                  <a:pt x="9000" y="9062"/>
                  <a:pt x="9031" y="9062"/>
                  <a:pt x="9031" y="9062"/>
                </a:cubicBezTo>
                <a:cubicBezTo>
                  <a:pt x="9062" y="9062"/>
                  <a:pt x="9062" y="9062"/>
                  <a:pt x="9094" y="9062"/>
                </a:cubicBezTo>
                <a:cubicBezTo>
                  <a:pt x="9000" y="9094"/>
                  <a:pt x="8937" y="9125"/>
                  <a:pt x="8844" y="9156"/>
                </a:cubicBezTo>
                <a:cubicBezTo>
                  <a:pt x="8594" y="9250"/>
                  <a:pt x="8344" y="9375"/>
                  <a:pt x="8125" y="9469"/>
                </a:cubicBezTo>
                <a:cubicBezTo>
                  <a:pt x="7969" y="9562"/>
                  <a:pt x="7906" y="9625"/>
                  <a:pt x="7937" y="9719"/>
                </a:cubicBezTo>
                <a:cubicBezTo>
                  <a:pt x="7969" y="9719"/>
                  <a:pt x="7969" y="9750"/>
                  <a:pt x="7969" y="9781"/>
                </a:cubicBezTo>
                <a:cubicBezTo>
                  <a:pt x="8000" y="9781"/>
                  <a:pt x="8031" y="9812"/>
                  <a:pt x="8031" y="9812"/>
                </a:cubicBezTo>
                <a:cubicBezTo>
                  <a:pt x="8312" y="10000"/>
                  <a:pt x="8469" y="10250"/>
                  <a:pt x="8875" y="10312"/>
                </a:cubicBezTo>
                <a:cubicBezTo>
                  <a:pt x="8906" y="10312"/>
                  <a:pt x="8906" y="10344"/>
                  <a:pt x="8937" y="10375"/>
                </a:cubicBezTo>
                <a:cubicBezTo>
                  <a:pt x="8969" y="10375"/>
                  <a:pt x="8969" y="10406"/>
                  <a:pt x="9000" y="10406"/>
                </a:cubicBezTo>
                <a:cubicBezTo>
                  <a:pt x="9250" y="10531"/>
                  <a:pt x="9562" y="10625"/>
                  <a:pt x="9812" y="10562"/>
                </a:cubicBezTo>
                <a:cubicBezTo>
                  <a:pt x="10000" y="10531"/>
                  <a:pt x="10125" y="10531"/>
                  <a:pt x="10250" y="10531"/>
                </a:cubicBezTo>
                <a:cubicBezTo>
                  <a:pt x="10719" y="10594"/>
                  <a:pt x="11156" y="10594"/>
                  <a:pt x="11594" y="10625"/>
                </a:cubicBezTo>
                <a:cubicBezTo>
                  <a:pt x="11750" y="10625"/>
                  <a:pt x="11906" y="10625"/>
                  <a:pt x="12062" y="10625"/>
                </a:cubicBezTo>
                <a:cubicBezTo>
                  <a:pt x="12062" y="10625"/>
                  <a:pt x="12094" y="10625"/>
                  <a:pt x="12094" y="10625"/>
                </a:cubicBezTo>
                <a:cubicBezTo>
                  <a:pt x="12125" y="10625"/>
                  <a:pt x="12156" y="10625"/>
                  <a:pt x="12187" y="10625"/>
                </a:cubicBezTo>
                <a:cubicBezTo>
                  <a:pt x="12187" y="10625"/>
                  <a:pt x="12219" y="10625"/>
                  <a:pt x="12219" y="10625"/>
                </a:cubicBezTo>
                <a:cubicBezTo>
                  <a:pt x="12531" y="10625"/>
                  <a:pt x="12875" y="10594"/>
                  <a:pt x="13187" y="10656"/>
                </a:cubicBezTo>
                <a:cubicBezTo>
                  <a:pt x="13281" y="10625"/>
                  <a:pt x="13406" y="10562"/>
                  <a:pt x="13500" y="10531"/>
                </a:cubicBezTo>
                <a:cubicBezTo>
                  <a:pt x="13562" y="10500"/>
                  <a:pt x="13625" y="10500"/>
                  <a:pt x="13656" y="10500"/>
                </a:cubicBezTo>
                <a:cubicBezTo>
                  <a:pt x="13812" y="10469"/>
                  <a:pt x="13937" y="10469"/>
                  <a:pt x="14094" y="10469"/>
                </a:cubicBezTo>
                <a:cubicBezTo>
                  <a:pt x="14187" y="10469"/>
                  <a:pt x="14281" y="10469"/>
                  <a:pt x="14344" y="10469"/>
                </a:cubicBezTo>
                <a:cubicBezTo>
                  <a:pt x="14437" y="10469"/>
                  <a:pt x="14531" y="10469"/>
                  <a:pt x="14625" y="10500"/>
                </a:cubicBezTo>
                <a:cubicBezTo>
                  <a:pt x="14687" y="10500"/>
                  <a:pt x="14719" y="10500"/>
                  <a:pt x="14781" y="10531"/>
                </a:cubicBezTo>
                <a:cubicBezTo>
                  <a:pt x="14719" y="10562"/>
                  <a:pt x="14719" y="10562"/>
                  <a:pt x="14719" y="10594"/>
                </a:cubicBezTo>
                <a:cubicBezTo>
                  <a:pt x="14719" y="10594"/>
                  <a:pt x="14719" y="10594"/>
                  <a:pt x="14750" y="10594"/>
                </a:cubicBezTo>
                <a:cubicBezTo>
                  <a:pt x="14750" y="10625"/>
                  <a:pt x="14781" y="10625"/>
                  <a:pt x="14812" y="10625"/>
                </a:cubicBezTo>
                <a:cubicBezTo>
                  <a:pt x="14844" y="10625"/>
                  <a:pt x="14875" y="10625"/>
                  <a:pt x="14875" y="10625"/>
                </a:cubicBezTo>
                <a:cubicBezTo>
                  <a:pt x="14906" y="10625"/>
                  <a:pt x="14937" y="10625"/>
                  <a:pt x="14969" y="10625"/>
                </a:cubicBezTo>
                <a:cubicBezTo>
                  <a:pt x="14969" y="10625"/>
                  <a:pt x="14969" y="10625"/>
                  <a:pt x="15000" y="10625"/>
                </a:cubicBezTo>
                <a:cubicBezTo>
                  <a:pt x="15031" y="10625"/>
                  <a:pt x="15062" y="10594"/>
                  <a:pt x="15062" y="10562"/>
                </a:cubicBezTo>
                <a:cubicBezTo>
                  <a:pt x="15062" y="10531"/>
                  <a:pt x="15125" y="10469"/>
                  <a:pt x="15187" y="10437"/>
                </a:cubicBezTo>
                <a:cubicBezTo>
                  <a:pt x="15187" y="10437"/>
                  <a:pt x="15187" y="10437"/>
                  <a:pt x="15187" y="10437"/>
                </a:cubicBezTo>
                <a:cubicBezTo>
                  <a:pt x="15219" y="10437"/>
                  <a:pt x="15219" y="10437"/>
                  <a:pt x="15219" y="10437"/>
                </a:cubicBezTo>
                <a:cubicBezTo>
                  <a:pt x="15312" y="10437"/>
                  <a:pt x="15344" y="10437"/>
                  <a:pt x="15375" y="10437"/>
                </a:cubicBezTo>
                <a:cubicBezTo>
                  <a:pt x="15406" y="10406"/>
                  <a:pt x="15406" y="10406"/>
                  <a:pt x="15406" y="10406"/>
                </a:cubicBezTo>
                <a:cubicBezTo>
                  <a:pt x="15437" y="10375"/>
                  <a:pt x="15437" y="10375"/>
                  <a:pt x="15469" y="10344"/>
                </a:cubicBezTo>
                <a:cubicBezTo>
                  <a:pt x="15469" y="10312"/>
                  <a:pt x="15500" y="10312"/>
                  <a:pt x="15531" y="10281"/>
                </a:cubicBezTo>
                <a:cubicBezTo>
                  <a:pt x="15531" y="10281"/>
                  <a:pt x="15531" y="10281"/>
                  <a:pt x="15562" y="10250"/>
                </a:cubicBezTo>
                <a:cubicBezTo>
                  <a:pt x="15500" y="10250"/>
                  <a:pt x="15437" y="10250"/>
                  <a:pt x="15406" y="10250"/>
                </a:cubicBezTo>
                <a:cubicBezTo>
                  <a:pt x="15344" y="10250"/>
                  <a:pt x="15281" y="10250"/>
                  <a:pt x="15219" y="10250"/>
                </a:cubicBezTo>
                <a:cubicBezTo>
                  <a:pt x="15187" y="10219"/>
                  <a:pt x="15125" y="10250"/>
                  <a:pt x="15094" y="10250"/>
                </a:cubicBezTo>
                <a:cubicBezTo>
                  <a:pt x="15031" y="10250"/>
                  <a:pt x="14969" y="10250"/>
                  <a:pt x="14937" y="10281"/>
                </a:cubicBezTo>
                <a:cubicBezTo>
                  <a:pt x="14250" y="10281"/>
                  <a:pt x="13562" y="10281"/>
                  <a:pt x="12875" y="10312"/>
                </a:cubicBezTo>
                <a:cubicBezTo>
                  <a:pt x="12500" y="10312"/>
                  <a:pt x="12125" y="10312"/>
                  <a:pt x="11750" y="10312"/>
                </a:cubicBezTo>
                <a:cubicBezTo>
                  <a:pt x="11625" y="10312"/>
                  <a:pt x="11500" y="10312"/>
                  <a:pt x="11375" y="10281"/>
                </a:cubicBezTo>
                <a:cubicBezTo>
                  <a:pt x="10844" y="10281"/>
                  <a:pt x="10344" y="10219"/>
                  <a:pt x="9844" y="10187"/>
                </a:cubicBezTo>
                <a:cubicBezTo>
                  <a:pt x="9844" y="10187"/>
                  <a:pt x="9812" y="10187"/>
                  <a:pt x="9812" y="10187"/>
                </a:cubicBezTo>
                <a:cubicBezTo>
                  <a:pt x="9812" y="10187"/>
                  <a:pt x="9812" y="10187"/>
                  <a:pt x="9781" y="10187"/>
                </a:cubicBezTo>
                <a:cubicBezTo>
                  <a:pt x="9781" y="10187"/>
                  <a:pt x="9781" y="10187"/>
                  <a:pt x="9781" y="10187"/>
                </a:cubicBezTo>
                <a:cubicBezTo>
                  <a:pt x="9750" y="10187"/>
                  <a:pt x="9750" y="10156"/>
                  <a:pt x="9750" y="10156"/>
                </a:cubicBezTo>
                <a:cubicBezTo>
                  <a:pt x="9844" y="10156"/>
                  <a:pt x="9906" y="10125"/>
                  <a:pt x="9969" y="10125"/>
                </a:cubicBezTo>
                <a:cubicBezTo>
                  <a:pt x="10031" y="10125"/>
                  <a:pt x="10125" y="10094"/>
                  <a:pt x="10187" y="10062"/>
                </a:cubicBezTo>
                <a:cubicBezTo>
                  <a:pt x="10219" y="10062"/>
                  <a:pt x="10281" y="10031"/>
                  <a:pt x="10250" y="9969"/>
                </a:cubicBezTo>
                <a:cubicBezTo>
                  <a:pt x="10125" y="9875"/>
                  <a:pt x="10156" y="9812"/>
                  <a:pt x="10219" y="9812"/>
                </a:cubicBezTo>
                <a:cubicBezTo>
                  <a:pt x="10250" y="9781"/>
                  <a:pt x="10281" y="9781"/>
                  <a:pt x="10312" y="9781"/>
                </a:cubicBezTo>
                <a:cubicBezTo>
                  <a:pt x="10344" y="9781"/>
                  <a:pt x="10344" y="9781"/>
                  <a:pt x="10344" y="9781"/>
                </a:cubicBezTo>
                <a:cubicBezTo>
                  <a:pt x="10375" y="9781"/>
                  <a:pt x="10406" y="9781"/>
                  <a:pt x="10437" y="9781"/>
                </a:cubicBezTo>
                <a:cubicBezTo>
                  <a:pt x="10500" y="9750"/>
                  <a:pt x="10594" y="9750"/>
                  <a:pt x="10656" y="9781"/>
                </a:cubicBezTo>
                <a:cubicBezTo>
                  <a:pt x="10687" y="9781"/>
                  <a:pt x="10687" y="9781"/>
                  <a:pt x="10719" y="9781"/>
                </a:cubicBezTo>
                <a:cubicBezTo>
                  <a:pt x="10781" y="9781"/>
                  <a:pt x="10844" y="9781"/>
                  <a:pt x="10906" y="9750"/>
                </a:cubicBezTo>
                <a:cubicBezTo>
                  <a:pt x="10937" y="9750"/>
                  <a:pt x="10969" y="9750"/>
                  <a:pt x="11000" y="9750"/>
                </a:cubicBezTo>
                <a:cubicBezTo>
                  <a:pt x="11031" y="9750"/>
                  <a:pt x="11031" y="9781"/>
                  <a:pt x="11031" y="9781"/>
                </a:cubicBezTo>
                <a:cubicBezTo>
                  <a:pt x="11031" y="9812"/>
                  <a:pt x="11031" y="9812"/>
                  <a:pt x="11031" y="9844"/>
                </a:cubicBezTo>
                <a:cubicBezTo>
                  <a:pt x="11062" y="9844"/>
                  <a:pt x="11062" y="9844"/>
                  <a:pt x="11062" y="9875"/>
                </a:cubicBezTo>
                <a:cubicBezTo>
                  <a:pt x="11062" y="9906"/>
                  <a:pt x="11062" y="9937"/>
                  <a:pt x="11062" y="9969"/>
                </a:cubicBezTo>
                <a:cubicBezTo>
                  <a:pt x="11094" y="10000"/>
                  <a:pt x="11094" y="10031"/>
                  <a:pt x="11094" y="10062"/>
                </a:cubicBezTo>
                <a:cubicBezTo>
                  <a:pt x="11094" y="10094"/>
                  <a:pt x="11125" y="10125"/>
                  <a:pt x="11156" y="10125"/>
                </a:cubicBezTo>
                <a:cubicBezTo>
                  <a:pt x="11187" y="10156"/>
                  <a:pt x="11250" y="10187"/>
                  <a:pt x="11312" y="10156"/>
                </a:cubicBezTo>
                <a:cubicBezTo>
                  <a:pt x="11687" y="10094"/>
                  <a:pt x="12031" y="10094"/>
                  <a:pt x="12375" y="10094"/>
                </a:cubicBezTo>
                <a:cubicBezTo>
                  <a:pt x="12375" y="10094"/>
                  <a:pt x="12375" y="10094"/>
                  <a:pt x="12406" y="10094"/>
                </a:cubicBezTo>
                <a:cubicBezTo>
                  <a:pt x="12406" y="10094"/>
                  <a:pt x="12406" y="10094"/>
                  <a:pt x="12406" y="10094"/>
                </a:cubicBezTo>
                <a:cubicBezTo>
                  <a:pt x="12437" y="10094"/>
                  <a:pt x="12437" y="10094"/>
                  <a:pt x="12469" y="10094"/>
                </a:cubicBezTo>
                <a:cubicBezTo>
                  <a:pt x="12469" y="10094"/>
                  <a:pt x="12469" y="10094"/>
                  <a:pt x="12469" y="10094"/>
                </a:cubicBezTo>
                <a:cubicBezTo>
                  <a:pt x="12500" y="10094"/>
                  <a:pt x="12500" y="10094"/>
                  <a:pt x="12531" y="10062"/>
                </a:cubicBezTo>
                <a:cubicBezTo>
                  <a:pt x="12562" y="10062"/>
                  <a:pt x="12562" y="10062"/>
                  <a:pt x="12562" y="10031"/>
                </a:cubicBezTo>
                <a:cubicBezTo>
                  <a:pt x="12562" y="10031"/>
                  <a:pt x="12562" y="10031"/>
                  <a:pt x="12531" y="10000"/>
                </a:cubicBezTo>
                <a:cubicBezTo>
                  <a:pt x="12531" y="10000"/>
                  <a:pt x="12531" y="10000"/>
                  <a:pt x="12500" y="9969"/>
                </a:cubicBezTo>
                <a:cubicBezTo>
                  <a:pt x="12656" y="9969"/>
                  <a:pt x="12687" y="9969"/>
                  <a:pt x="12750" y="10000"/>
                </a:cubicBezTo>
                <a:cubicBezTo>
                  <a:pt x="12812" y="10000"/>
                  <a:pt x="12844" y="10031"/>
                  <a:pt x="12906" y="10094"/>
                </a:cubicBezTo>
                <a:cubicBezTo>
                  <a:pt x="12937" y="10094"/>
                  <a:pt x="12969" y="10094"/>
                  <a:pt x="13000" y="10094"/>
                </a:cubicBezTo>
                <a:cubicBezTo>
                  <a:pt x="13125" y="10094"/>
                  <a:pt x="13250" y="10094"/>
                  <a:pt x="13344" y="10094"/>
                </a:cubicBezTo>
                <a:cubicBezTo>
                  <a:pt x="13687" y="10094"/>
                  <a:pt x="14031" y="10125"/>
                  <a:pt x="14375" y="10094"/>
                </a:cubicBezTo>
                <a:cubicBezTo>
                  <a:pt x="14375" y="10094"/>
                  <a:pt x="14375" y="10094"/>
                  <a:pt x="14375" y="10094"/>
                </a:cubicBezTo>
                <a:cubicBezTo>
                  <a:pt x="14469" y="10062"/>
                  <a:pt x="14562" y="10094"/>
                  <a:pt x="14625" y="10094"/>
                </a:cubicBezTo>
                <a:cubicBezTo>
                  <a:pt x="14625" y="10094"/>
                  <a:pt x="14625" y="10094"/>
                  <a:pt x="14625" y="10094"/>
                </a:cubicBezTo>
                <a:cubicBezTo>
                  <a:pt x="14656" y="10062"/>
                  <a:pt x="14687" y="10062"/>
                  <a:pt x="14719" y="10062"/>
                </a:cubicBezTo>
                <a:cubicBezTo>
                  <a:pt x="14719" y="10062"/>
                  <a:pt x="14719" y="10062"/>
                  <a:pt x="14719" y="10062"/>
                </a:cubicBezTo>
                <a:cubicBezTo>
                  <a:pt x="14750" y="10062"/>
                  <a:pt x="14781" y="10062"/>
                  <a:pt x="14812" y="10062"/>
                </a:cubicBezTo>
                <a:cubicBezTo>
                  <a:pt x="14812" y="10062"/>
                  <a:pt x="14812" y="10062"/>
                  <a:pt x="14844" y="10062"/>
                </a:cubicBezTo>
                <a:cubicBezTo>
                  <a:pt x="14844" y="10094"/>
                  <a:pt x="14875" y="10094"/>
                  <a:pt x="14906" y="10094"/>
                </a:cubicBezTo>
                <a:cubicBezTo>
                  <a:pt x="14906" y="10094"/>
                  <a:pt x="14906" y="10094"/>
                  <a:pt x="14937" y="10094"/>
                </a:cubicBezTo>
                <a:cubicBezTo>
                  <a:pt x="14937" y="10094"/>
                  <a:pt x="14969" y="10094"/>
                  <a:pt x="14969" y="10094"/>
                </a:cubicBezTo>
                <a:cubicBezTo>
                  <a:pt x="15094" y="10094"/>
                  <a:pt x="15219" y="10094"/>
                  <a:pt x="15344" y="10094"/>
                </a:cubicBezTo>
                <a:cubicBezTo>
                  <a:pt x="15469" y="10094"/>
                  <a:pt x="15625" y="10094"/>
                  <a:pt x="15750" y="10094"/>
                </a:cubicBezTo>
                <a:cubicBezTo>
                  <a:pt x="16000" y="10094"/>
                  <a:pt x="16250" y="10062"/>
                  <a:pt x="16500" y="10094"/>
                </a:cubicBezTo>
                <a:cubicBezTo>
                  <a:pt x="16687" y="10094"/>
                  <a:pt x="16719" y="9969"/>
                  <a:pt x="16719" y="9906"/>
                </a:cubicBezTo>
                <a:cubicBezTo>
                  <a:pt x="16719" y="9906"/>
                  <a:pt x="16719" y="9875"/>
                  <a:pt x="16719" y="9875"/>
                </a:cubicBezTo>
                <a:cubicBezTo>
                  <a:pt x="16750" y="9750"/>
                  <a:pt x="16594" y="9781"/>
                  <a:pt x="16500" y="9812"/>
                </a:cubicBezTo>
                <a:cubicBezTo>
                  <a:pt x="16375" y="9812"/>
                  <a:pt x="16250" y="9781"/>
                  <a:pt x="16156" y="9812"/>
                </a:cubicBezTo>
                <a:cubicBezTo>
                  <a:pt x="16156" y="9812"/>
                  <a:pt x="16156" y="9812"/>
                  <a:pt x="16156" y="9812"/>
                </a:cubicBezTo>
                <a:cubicBezTo>
                  <a:pt x="16156" y="9812"/>
                  <a:pt x="16156" y="9812"/>
                  <a:pt x="16156" y="9812"/>
                </a:cubicBezTo>
                <a:cubicBezTo>
                  <a:pt x="16125" y="9781"/>
                  <a:pt x="16062" y="9781"/>
                  <a:pt x="15969" y="9781"/>
                </a:cubicBezTo>
                <a:cubicBezTo>
                  <a:pt x="15906" y="9781"/>
                  <a:pt x="15844" y="9781"/>
                  <a:pt x="15812" y="9719"/>
                </a:cubicBezTo>
                <a:cubicBezTo>
                  <a:pt x="15875" y="9719"/>
                  <a:pt x="15937" y="9687"/>
                  <a:pt x="15969" y="9687"/>
                </a:cubicBezTo>
                <a:cubicBezTo>
                  <a:pt x="16062" y="9687"/>
                  <a:pt x="16156" y="9687"/>
                  <a:pt x="16250" y="9687"/>
                </a:cubicBezTo>
                <a:cubicBezTo>
                  <a:pt x="16312" y="9719"/>
                  <a:pt x="16406" y="9719"/>
                  <a:pt x="16500" y="9687"/>
                </a:cubicBezTo>
                <a:cubicBezTo>
                  <a:pt x="16531" y="9687"/>
                  <a:pt x="16531" y="9687"/>
                  <a:pt x="16562" y="9687"/>
                </a:cubicBezTo>
                <a:cubicBezTo>
                  <a:pt x="16594" y="9687"/>
                  <a:pt x="16625" y="9687"/>
                  <a:pt x="16656" y="9687"/>
                </a:cubicBezTo>
                <a:cubicBezTo>
                  <a:pt x="16812" y="9719"/>
                  <a:pt x="17000" y="9750"/>
                  <a:pt x="17156" y="9656"/>
                </a:cubicBezTo>
                <a:cubicBezTo>
                  <a:pt x="17250" y="9719"/>
                  <a:pt x="17312" y="9719"/>
                  <a:pt x="17406" y="9687"/>
                </a:cubicBezTo>
                <a:cubicBezTo>
                  <a:pt x="17469" y="9656"/>
                  <a:pt x="17531" y="9625"/>
                  <a:pt x="17562" y="9562"/>
                </a:cubicBezTo>
                <a:cubicBezTo>
                  <a:pt x="17406" y="9656"/>
                  <a:pt x="17281" y="9562"/>
                  <a:pt x="17156" y="9625"/>
                </a:cubicBezTo>
                <a:cubicBezTo>
                  <a:pt x="17156" y="9594"/>
                  <a:pt x="17156" y="9594"/>
                  <a:pt x="17125" y="9594"/>
                </a:cubicBezTo>
                <a:cubicBezTo>
                  <a:pt x="17094" y="9594"/>
                  <a:pt x="17062" y="9562"/>
                  <a:pt x="17031" y="9562"/>
                </a:cubicBezTo>
                <a:cubicBezTo>
                  <a:pt x="16344" y="9562"/>
                  <a:pt x="15656" y="9594"/>
                  <a:pt x="14969" y="9594"/>
                </a:cubicBezTo>
                <a:cubicBezTo>
                  <a:pt x="14906" y="9531"/>
                  <a:pt x="14875" y="9500"/>
                  <a:pt x="14844" y="9437"/>
                </a:cubicBezTo>
                <a:cubicBezTo>
                  <a:pt x="15094" y="9375"/>
                  <a:pt x="15406" y="9437"/>
                  <a:pt x="15656" y="9406"/>
                </a:cubicBezTo>
                <a:cubicBezTo>
                  <a:pt x="15750" y="9406"/>
                  <a:pt x="15844" y="9406"/>
                  <a:pt x="15937" y="9406"/>
                </a:cubicBezTo>
                <a:cubicBezTo>
                  <a:pt x="16187" y="9375"/>
                  <a:pt x="16437" y="9375"/>
                  <a:pt x="16656" y="9312"/>
                </a:cubicBezTo>
                <a:cubicBezTo>
                  <a:pt x="16781" y="9312"/>
                  <a:pt x="16844" y="9344"/>
                  <a:pt x="16906" y="9375"/>
                </a:cubicBezTo>
                <a:cubicBezTo>
                  <a:pt x="16906" y="9375"/>
                  <a:pt x="16937" y="9375"/>
                  <a:pt x="16969" y="9406"/>
                </a:cubicBezTo>
                <a:cubicBezTo>
                  <a:pt x="17000" y="9312"/>
                  <a:pt x="17062" y="9281"/>
                  <a:pt x="17156" y="9281"/>
                </a:cubicBezTo>
                <a:cubicBezTo>
                  <a:pt x="17187" y="9281"/>
                  <a:pt x="17187" y="9281"/>
                  <a:pt x="17219" y="9281"/>
                </a:cubicBezTo>
                <a:cubicBezTo>
                  <a:pt x="17281" y="9312"/>
                  <a:pt x="17344" y="9312"/>
                  <a:pt x="17375" y="9312"/>
                </a:cubicBezTo>
                <a:cubicBezTo>
                  <a:pt x="17531" y="9312"/>
                  <a:pt x="17719" y="9281"/>
                  <a:pt x="17875" y="9281"/>
                </a:cubicBezTo>
                <a:cubicBezTo>
                  <a:pt x="17906" y="9281"/>
                  <a:pt x="17969" y="9312"/>
                  <a:pt x="18031" y="9312"/>
                </a:cubicBezTo>
                <a:cubicBezTo>
                  <a:pt x="18031" y="9312"/>
                  <a:pt x="18031" y="9344"/>
                  <a:pt x="18062" y="9344"/>
                </a:cubicBezTo>
                <a:cubicBezTo>
                  <a:pt x="18094" y="9375"/>
                  <a:pt x="18125" y="9406"/>
                  <a:pt x="18156" y="9375"/>
                </a:cubicBezTo>
                <a:cubicBezTo>
                  <a:pt x="18156" y="9375"/>
                  <a:pt x="18156" y="9344"/>
                  <a:pt x="18187" y="9312"/>
                </a:cubicBezTo>
                <a:cubicBezTo>
                  <a:pt x="18187" y="9312"/>
                  <a:pt x="18219" y="9312"/>
                  <a:pt x="18219" y="9312"/>
                </a:cubicBezTo>
                <a:cubicBezTo>
                  <a:pt x="18219" y="9344"/>
                  <a:pt x="18250" y="9344"/>
                  <a:pt x="18250" y="9344"/>
                </a:cubicBezTo>
                <a:cubicBezTo>
                  <a:pt x="18312" y="9344"/>
                  <a:pt x="18344" y="9344"/>
                  <a:pt x="18406" y="9312"/>
                </a:cubicBezTo>
                <a:cubicBezTo>
                  <a:pt x="18406" y="9312"/>
                  <a:pt x="18437" y="9312"/>
                  <a:pt x="18437" y="9312"/>
                </a:cubicBezTo>
                <a:cubicBezTo>
                  <a:pt x="18500" y="9312"/>
                  <a:pt x="18531" y="9312"/>
                  <a:pt x="18562" y="9312"/>
                </a:cubicBezTo>
                <a:cubicBezTo>
                  <a:pt x="18625" y="9281"/>
                  <a:pt x="18687" y="9312"/>
                  <a:pt x="18687" y="9344"/>
                </a:cubicBezTo>
                <a:cubicBezTo>
                  <a:pt x="18812" y="9437"/>
                  <a:pt x="18906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62" y="9406"/>
                  <a:pt x="19094" y="9406"/>
                  <a:pt x="19094" y="9406"/>
                </a:cubicBezTo>
                <a:cubicBezTo>
                  <a:pt x="19125" y="9406"/>
                  <a:pt x="19125" y="9406"/>
                  <a:pt x="19125" y="9406"/>
                </a:cubicBezTo>
                <a:cubicBezTo>
                  <a:pt x="19125" y="9406"/>
                  <a:pt x="19125" y="9406"/>
                  <a:pt x="19125" y="9406"/>
                </a:cubicBezTo>
                <a:cubicBezTo>
                  <a:pt x="19125" y="9406"/>
                  <a:pt x="19156" y="9406"/>
                  <a:pt x="19156" y="9406"/>
                </a:cubicBezTo>
                <a:cubicBezTo>
                  <a:pt x="19156" y="9406"/>
                  <a:pt x="19156" y="9406"/>
                  <a:pt x="19156" y="9406"/>
                </a:cubicBezTo>
                <a:cubicBezTo>
                  <a:pt x="19156" y="9375"/>
                  <a:pt x="19156" y="9375"/>
                  <a:pt x="19156" y="9375"/>
                </a:cubicBezTo>
                <a:cubicBezTo>
                  <a:pt x="19187" y="9375"/>
                  <a:pt x="19187" y="9375"/>
                  <a:pt x="19187" y="9375"/>
                </a:cubicBezTo>
                <a:cubicBezTo>
                  <a:pt x="19187" y="9375"/>
                  <a:pt x="19187" y="9375"/>
                  <a:pt x="19187" y="9375"/>
                </a:cubicBezTo>
                <a:cubicBezTo>
                  <a:pt x="19187" y="9375"/>
                  <a:pt x="19187" y="9375"/>
                  <a:pt x="19187" y="9375"/>
                </a:cubicBezTo>
                <a:cubicBezTo>
                  <a:pt x="19187" y="9344"/>
                  <a:pt x="19187" y="9344"/>
                  <a:pt x="19187" y="9344"/>
                </a:cubicBezTo>
                <a:cubicBezTo>
                  <a:pt x="19187" y="9344"/>
                  <a:pt x="19187" y="9344"/>
                  <a:pt x="19156" y="9312"/>
                </a:cubicBezTo>
                <a:cubicBezTo>
                  <a:pt x="19156" y="9312"/>
                  <a:pt x="19156" y="9312"/>
                  <a:pt x="19156" y="9312"/>
                </a:cubicBezTo>
                <a:cubicBezTo>
                  <a:pt x="19156" y="9312"/>
                  <a:pt x="19156" y="9312"/>
                  <a:pt x="19125" y="9312"/>
                </a:cubicBezTo>
                <a:cubicBezTo>
                  <a:pt x="19125" y="9312"/>
                  <a:pt x="19125" y="9344"/>
                  <a:pt x="19125" y="9344"/>
                </a:cubicBezTo>
                <a:cubicBezTo>
                  <a:pt x="19125" y="9344"/>
                  <a:pt x="19125" y="9344"/>
                  <a:pt x="19125" y="9344"/>
                </a:cubicBezTo>
                <a:cubicBezTo>
                  <a:pt x="19094" y="9344"/>
                  <a:pt x="19094" y="9344"/>
                  <a:pt x="19094" y="9344"/>
                </a:cubicBezTo>
                <a:cubicBezTo>
                  <a:pt x="19094" y="9344"/>
                  <a:pt x="19094" y="9344"/>
                  <a:pt x="19094" y="9344"/>
                </a:cubicBezTo>
                <a:cubicBezTo>
                  <a:pt x="19094" y="9344"/>
                  <a:pt x="19062" y="9344"/>
                  <a:pt x="19062" y="9344"/>
                </a:cubicBezTo>
                <a:cubicBezTo>
                  <a:pt x="19062" y="9344"/>
                  <a:pt x="19062" y="9344"/>
                  <a:pt x="19062" y="9344"/>
                </a:cubicBezTo>
                <a:cubicBezTo>
                  <a:pt x="19062" y="9344"/>
                  <a:pt x="19062" y="9375"/>
                  <a:pt x="19062" y="9375"/>
                </a:cubicBezTo>
                <a:cubicBezTo>
                  <a:pt x="19062" y="9375"/>
                  <a:pt x="19062" y="9375"/>
                  <a:pt x="19062" y="9375"/>
                </a:cubicBezTo>
                <a:cubicBezTo>
                  <a:pt x="19031" y="9375"/>
                  <a:pt x="19031" y="9375"/>
                  <a:pt x="19031" y="9375"/>
                </a:cubicBezTo>
                <a:cubicBezTo>
                  <a:pt x="19031" y="9375"/>
                  <a:pt x="19031" y="9375"/>
                  <a:pt x="19031" y="9375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00" y="9375"/>
                  <a:pt x="19000" y="9375"/>
                  <a:pt x="19031" y="9344"/>
                </a:cubicBezTo>
                <a:cubicBezTo>
                  <a:pt x="19031" y="9312"/>
                  <a:pt x="19062" y="9250"/>
                  <a:pt x="18969" y="9250"/>
                </a:cubicBezTo>
                <a:cubicBezTo>
                  <a:pt x="18969" y="9250"/>
                  <a:pt x="18969" y="9250"/>
                  <a:pt x="18969" y="9250"/>
                </a:cubicBezTo>
                <a:cubicBezTo>
                  <a:pt x="19156" y="9250"/>
                  <a:pt x="19312" y="9187"/>
                  <a:pt x="19469" y="9156"/>
                </a:cubicBezTo>
                <a:cubicBezTo>
                  <a:pt x="19469" y="9156"/>
                  <a:pt x="19469" y="9156"/>
                  <a:pt x="19469" y="9156"/>
                </a:cubicBezTo>
                <a:cubicBezTo>
                  <a:pt x="19500" y="9156"/>
                  <a:pt x="19531" y="9156"/>
                  <a:pt x="19531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94" y="9187"/>
                  <a:pt x="19625" y="9187"/>
                  <a:pt x="19656" y="9187"/>
                </a:cubicBezTo>
                <a:cubicBezTo>
                  <a:pt x="19656" y="9219"/>
                  <a:pt x="19625" y="9219"/>
                  <a:pt x="19625" y="9250"/>
                </a:cubicBezTo>
                <a:cubicBezTo>
                  <a:pt x="19625" y="9250"/>
                  <a:pt x="19625" y="9250"/>
                  <a:pt x="19594" y="9250"/>
                </a:cubicBezTo>
                <a:cubicBezTo>
                  <a:pt x="19562" y="9312"/>
                  <a:pt x="19469" y="9312"/>
                  <a:pt x="19375" y="9312"/>
                </a:cubicBezTo>
                <a:cubicBezTo>
                  <a:pt x="19375" y="9312"/>
                  <a:pt x="19375" y="9312"/>
                  <a:pt x="19344" y="9312"/>
                </a:cubicBezTo>
                <a:cubicBezTo>
                  <a:pt x="19344" y="9312"/>
                  <a:pt x="19312" y="9344"/>
                  <a:pt x="19312" y="9344"/>
                </a:cubicBezTo>
                <a:cubicBezTo>
                  <a:pt x="19281" y="9344"/>
                  <a:pt x="19281" y="9375"/>
                  <a:pt x="19250" y="9375"/>
                </a:cubicBezTo>
                <a:cubicBezTo>
                  <a:pt x="19344" y="9406"/>
                  <a:pt x="19406" y="9406"/>
                  <a:pt x="19469" y="9406"/>
                </a:cubicBezTo>
                <a:cubicBezTo>
                  <a:pt x="19531" y="9437"/>
                  <a:pt x="19594" y="9437"/>
                  <a:pt x="19656" y="9437"/>
                </a:cubicBezTo>
                <a:cubicBezTo>
                  <a:pt x="19781" y="9437"/>
                  <a:pt x="19906" y="9437"/>
                  <a:pt x="20062" y="9437"/>
                </a:cubicBezTo>
                <a:cubicBezTo>
                  <a:pt x="20187" y="9437"/>
                  <a:pt x="20312" y="9437"/>
                  <a:pt x="20437" y="9406"/>
                </a:cubicBezTo>
                <a:cubicBezTo>
                  <a:pt x="20562" y="9406"/>
                  <a:pt x="20719" y="9406"/>
                  <a:pt x="20844" y="9406"/>
                </a:cubicBezTo>
                <a:cubicBezTo>
                  <a:pt x="21156" y="9437"/>
                  <a:pt x="21469" y="9437"/>
                  <a:pt x="21781" y="9437"/>
                </a:cubicBezTo>
                <a:cubicBezTo>
                  <a:pt x="22312" y="9469"/>
                  <a:pt x="22844" y="9437"/>
                  <a:pt x="23375" y="9469"/>
                </a:cubicBezTo>
                <a:cubicBezTo>
                  <a:pt x="23812" y="9500"/>
                  <a:pt x="24250" y="9500"/>
                  <a:pt x="24719" y="9531"/>
                </a:cubicBezTo>
                <a:cubicBezTo>
                  <a:pt x="24844" y="9531"/>
                  <a:pt x="25000" y="9562"/>
                  <a:pt x="25156" y="9562"/>
                </a:cubicBezTo>
                <a:cubicBezTo>
                  <a:pt x="25312" y="9562"/>
                  <a:pt x="25469" y="9531"/>
                  <a:pt x="25625" y="9500"/>
                </a:cubicBezTo>
                <a:cubicBezTo>
                  <a:pt x="25719" y="9500"/>
                  <a:pt x="25844" y="9500"/>
                  <a:pt x="25937" y="9531"/>
                </a:cubicBezTo>
                <a:cubicBezTo>
                  <a:pt x="25969" y="9531"/>
                  <a:pt x="25969" y="9531"/>
                  <a:pt x="26000" y="9562"/>
                </a:cubicBezTo>
                <a:cubicBezTo>
                  <a:pt x="26062" y="9562"/>
                  <a:pt x="26094" y="9562"/>
                  <a:pt x="26156" y="9562"/>
                </a:cubicBezTo>
                <a:cubicBezTo>
                  <a:pt x="26250" y="9562"/>
                  <a:pt x="26375" y="9500"/>
                  <a:pt x="26500" y="9469"/>
                </a:cubicBezTo>
                <a:cubicBezTo>
                  <a:pt x="26344" y="9344"/>
                  <a:pt x="26219" y="9469"/>
                  <a:pt x="26094" y="9437"/>
                </a:cubicBezTo>
                <a:cubicBezTo>
                  <a:pt x="26094" y="9437"/>
                  <a:pt x="26062" y="9437"/>
                  <a:pt x="26062" y="9437"/>
                </a:cubicBezTo>
                <a:cubicBezTo>
                  <a:pt x="26062" y="9437"/>
                  <a:pt x="26062" y="9437"/>
                  <a:pt x="26062" y="9437"/>
                </a:cubicBezTo>
                <a:cubicBezTo>
                  <a:pt x="26062" y="9437"/>
                  <a:pt x="26031" y="9437"/>
                  <a:pt x="26031" y="9437"/>
                </a:cubicBezTo>
                <a:cubicBezTo>
                  <a:pt x="26031" y="9406"/>
                  <a:pt x="26000" y="9437"/>
                  <a:pt x="25937" y="9437"/>
                </a:cubicBezTo>
                <a:cubicBezTo>
                  <a:pt x="25937" y="9437"/>
                  <a:pt x="25937" y="9437"/>
                  <a:pt x="25937" y="9437"/>
                </a:cubicBezTo>
                <a:cubicBezTo>
                  <a:pt x="25937" y="9437"/>
                  <a:pt x="25937" y="9437"/>
                  <a:pt x="25937" y="9437"/>
                </a:cubicBezTo>
                <a:cubicBezTo>
                  <a:pt x="25844" y="9406"/>
                  <a:pt x="25750" y="9406"/>
                  <a:pt x="25687" y="9406"/>
                </a:cubicBezTo>
                <a:cubicBezTo>
                  <a:pt x="25531" y="9375"/>
                  <a:pt x="25406" y="9344"/>
                  <a:pt x="25312" y="9250"/>
                </a:cubicBezTo>
                <a:cubicBezTo>
                  <a:pt x="25437" y="9125"/>
                  <a:pt x="25125" y="9187"/>
                  <a:pt x="25156" y="9094"/>
                </a:cubicBezTo>
                <a:cubicBezTo>
                  <a:pt x="25219" y="9094"/>
                  <a:pt x="25281" y="9062"/>
                  <a:pt x="25375" y="9062"/>
                </a:cubicBezTo>
                <a:cubicBezTo>
                  <a:pt x="25469" y="9062"/>
                  <a:pt x="25594" y="9062"/>
                  <a:pt x="25719" y="9062"/>
                </a:cubicBezTo>
                <a:cubicBezTo>
                  <a:pt x="25812" y="9062"/>
                  <a:pt x="25937" y="9062"/>
                  <a:pt x="26062" y="9031"/>
                </a:cubicBezTo>
                <a:cubicBezTo>
                  <a:pt x="26062" y="9031"/>
                  <a:pt x="26062" y="9031"/>
                  <a:pt x="26062" y="9062"/>
                </a:cubicBezTo>
                <a:cubicBezTo>
                  <a:pt x="26062" y="9062"/>
                  <a:pt x="26094" y="9062"/>
                  <a:pt x="26125" y="9094"/>
                </a:cubicBezTo>
                <a:cubicBezTo>
                  <a:pt x="26156" y="9094"/>
                  <a:pt x="26219" y="9094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94"/>
                  <a:pt x="26312" y="9094"/>
                  <a:pt x="26344" y="9094"/>
                </a:cubicBezTo>
                <a:cubicBezTo>
                  <a:pt x="26344" y="9094"/>
                  <a:pt x="26344" y="9094"/>
                  <a:pt x="26344" y="9094"/>
                </a:cubicBezTo>
                <a:cubicBezTo>
                  <a:pt x="26344" y="9094"/>
                  <a:pt x="26344" y="9094"/>
                  <a:pt x="26344" y="9094"/>
                </a:cubicBezTo>
                <a:cubicBezTo>
                  <a:pt x="26375" y="9125"/>
                  <a:pt x="26375" y="9125"/>
                  <a:pt x="26375" y="9125"/>
                </a:cubicBezTo>
                <a:cubicBezTo>
                  <a:pt x="26375" y="9125"/>
                  <a:pt x="26375" y="9125"/>
                  <a:pt x="26375" y="9125"/>
                </a:cubicBezTo>
                <a:cubicBezTo>
                  <a:pt x="26375" y="9125"/>
                  <a:pt x="26406" y="9094"/>
                  <a:pt x="26406" y="9094"/>
                </a:cubicBezTo>
                <a:cubicBezTo>
                  <a:pt x="26406" y="9094"/>
                  <a:pt x="26406" y="9094"/>
                  <a:pt x="26406" y="9094"/>
                </a:cubicBezTo>
                <a:cubicBezTo>
                  <a:pt x="26406" y="9094"/>
                  <a:pt x="26406" y="9062"/>
                  <a:pt x="26375" y="9062"/>
                </a:cubicBezTo>
                <a:cubicBezTo>
                  <a:pt x="26375" y="9062"/>
                  <a:pt x="26375" y="9062"/>
                  <a:pt x="26375" y="9062"/>
                </a:cubicBezTo>
                <a:cubicBezTo>
                  <a:pt x="26375" y="9062"/>
                  <a:pt x="26375" y="9062"/>
                  <a:pt x="26375" y="9062"/>
                </a:cubicBezTo>
                <a:cubicBezTo>
                  <a:pt x="26344" y="9062"/>
                  <a:pt x="26344" y="9062"/>
                  <a:pt x="26344" y="9062"/>
                </a:cubicBezTo>
                <a:cubicBezTo>
                  <a:pt x="26344" y="9062"/>
                  <a:pt x="26344" y="9062"/>
                  <a:pt x="26344" y="9062"/>
                </a:cubicBezTo>
                <a:cubicBezTo>
                  <a:pt x="26344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125" y="8937"/>
                  <a:pt x="26312" y="8906"/>
                  <a:pt x="26406" y="8844"/>
                </a:cubicBezTo>
                <a:cubicBezTo>
                  <a:pt x="26437" y="8844"/>
                  <a:pt x="26469" y="8844"/>
                  <a:pt x="26500" y="8844"/>
                </a:cubicBezTo>
                <a:cubicBezTo>
                  <a:pt x="26594" y="8906"/>
                  <a:pt x="26656" y="8906"/>
                  <a:pt x="26719" y="8875"/>
                </a:cubicBezTo>
                <a:cubicBezTo>
                  <a:pt x="26781" y="8844"/>
                  <a:pt x="26812" y="8812"/>
                  <a:pt x="26844" y="8781"/>
                </a:cubicBezTo>
                <a:cubicBezTo>
                  <a:pt x="26937" y="8719"/>
                  <a:pt x="27094" y="8812"/>
                  <a:pt x="27219" y="8781"/>
                </a:cubicBezTo>
                <a:cubicBezTo>
                  <a:pt x="27219" y="8781"/>
                  <a:pt x="27250" y="8750"/>
                  <a:pt x="27250" y="8750"/>
                </a:cubicBezTo>
                <a:cubicBezTo>
                  <a:pt x="27312" y="8750"/>
                  <a:pt x="27375" y="8781"/>
                  <a:pt x="27406" y="8781"/>
                </a:cubicBezTo>
                <a:cubicBezTo>
                  <a:pt x="27406" y="8781"/>
                  <a:pt x="27437" y="8781"/>
                  <a:pt x="27437" y="8781"/>
                </a:cubicBezTo>
                <a:cubicBezTo>
                  <a:pt x="27625" y="8500"/>
                  <a:pt x="28125" y="8625"/>
                  <a:pt x="28406" y="8469"/>
                </a:cubicBezTo>
                <a:cubicBezTo>
                  <a:pt x="28437" y="8469"/>
                  <a:pt x="28437" y="8437"/>
                  <a:pt x="28469" y="8437"/>
                </a:cubicBezTo>
                <a:cubicBezTo>
                  <a:pt x="28469" y="8437"/>
                  <a:pt x="28469" y="8437"/>
                  <a:pt x="28469" y="8437"/>
                </a:cubicBezTo>
                <a:cubicBezTo>
                  <a:pt x="28500" y="8437"/>
                  <a:pt x="28500" y="8437"/>
                  <a:pt x="28531" y="8437"/>
                </a:cubicBezTo>
                <a:cubicBezTo>
                  <a:pt x="28531" y="8437"/>
                  <a:pt x="28531" y="8437"/>
                  <a:pt x="28531" y="8437"/>
                </a:cubicBezTo>
                <a:cubicBezTo>
                  <a:pt x="28562" y="8437"/>
                  <a:pt x="28562" y="8437"/>
                  <a:pt x="28562" y="8437"/>
                </a:cubicBezTo>
                <a:cubicBezTo>
                  <a:pt x="28562" y="8437"/>
                  <a:pt x="28562" y="8437"/>
                  <a:pt x="28594" y="8437"/>
                </a:cubicBezTo>
                <a:cubicBezTo>
                  <a:pt x="28594" y="8437"/>
                  <a:pt x="28594" y="8437"/>
                  <a:pt x="28594" y="8406"/>
                </a:cubicBezTo>
                <a:cubicBezTo>
                  <a:pt x="28594" y="8406"/>
                  <a:pt x="28594" y="8406"/>
                  <a:pt x="28594" y="8406"/>
                </a:cubicBezTo>
                <a:cubicBezTo>
                  <a:pt x="28594" y="8406"/>
                  <a:pt x="28594" y="8375"/>
                  <a:pt x="28594" y="8375"/>
                </a:cubicBezTo>
                <a:cubicBezTo>
                  <a:pt x="28562" y="8375"/>
                  <a:pt x="28562" y="8375"/>
                  <a:pt x="28562" y="8344"/>
                </a:cubicBezTo>
                <a:cubicBezTo>
                  <a:pt x="28469" y="8406"/>
                  <a:pt x="28375" y="8406"/>
                  <a:pt x="28281" y="8406"/>
                </a:cubicBezTo>
                <a:cubicBezTo>
                  <a:pt x="28281" y="8406"/>
                  <a:pt x="28250" y="8406"/>
                  <a:pt x="28219" y="8406"/>
                </a:cubicBezTo>
                <a:cubicBezTo>
                  <a:pt x="28156" y="8406"/>
                  <a:pt x="28094" y="8406"/>
                  <a:pt x="28031" y="8469"/>
                </a:cubicBezTo>
                <a:cubicBezTo>
                  <a:pt x="28031" y="8469"/>
                  <a:pt x="28031" y="8469"/>
                  <a:pt x="28000" y="8469"/>
                </a:cubicBezTo>
                <a:cubicBezTo>
                  <a:pt x="28000" y="8469"/>
                  <a:pt x="28000" y="8500"/>
                  <a:pt x="28000" y="8500"/>
                </a:cubicBezTo>
                <a:cubicBezTo>
                  <a:pt x="27937" y="8500"/>
                  <a:pt x="27906" y="8531"/>
                  <a:pt x="27875" y="8500"/>
                </a:cubicBezTo>
                <a:cubicBezTo>
                  <a:pt x="27812" y="8500"/>
                  <a:pt x="27750" y="8469"/>
                  <a:pt x="27687" y="8469"/>
                </a:cubicBezTo>
                <a:cubicBezTo>
                  <a:pt x="27750" y="8406"/>
                  <a:pt x="27812" y="8375"/>
                  <a:pt x="27875" y="8344"/>
                </a:cubicBezTo>
                <a:cubicBezTo>
                  <a:pt x="28062" y="8250"/>
                  <a:pt x="28250" y="8187"/>
                  <a:pt x="28469" y="8094"/>
                </a:cubicBezTo>
                <a:cubicBezTo>
                  <a:pt x="28500" y="8094"/>
                  <a:pt x="28531" y="8094"/>
                  <a:pt x="28562" y="8094"/>
                </a:cubicBezTo>
                <a:cubicBezTo>
                  <a:pt x="28562" y="8094"/>
                  <a:pt x="28594" y="8094"/>
                  <a:pt x="28594" y="8062"/>
                </a:cubicBezTo>
                <a:cubicBezTo>
                  <a:pt x="28625" y="8062"/>
                  <a:pt x="28656" y="8062"/>
                  <a:pt x="28656" y="8031"/>
                </a:cubicBezTo>
                <a:cubicBezTo>
                  <a:pt x="28687" y="8031"/>
                  <a:pt x="28687" y="8031"/>
                  <a:pt x="28719" y="8031"/>
                </a:cubicBezTo>
                <a:cubicBezTo>
                  <a:pt x="28719" y="8000"/>
                  <a:pt x="28750" y="8000"/>
                  <a:pt x="28750" y="7969"/>
                </a:cubicBezTo>
                <a:cubicBezTo>
                  <a:pt x="28750" y="7969"/>
                  <a:pt x="28750" y="7969"/>
                  <a:pt x="28750" y="7969"/>
                </a:cubicBezTo>
                <a:cubicBezTo>
                  <a:pt x="28719" y="7937"/>
                  <a:pt x="28656" y="7969"/>
                  <a:pt x="28594" y="7969"/>
                </a:cubicBezTo>
                <a:cubicBezTo>
                  <a:pt x="28594" y="7969"/>
                  <a:pt x="28594" y="7969"/>
                  <a:pt x="28562" y="7969"/>
                </a:cubicBezTo>
                <a:cubicBezTo>
                  <a:pt x="28562" y="7969"/>
                  <a:pt x="28531" y="7969"/>
                  <a:pt x="28500" y="7937"/>
                </a:cubicBezTo>
                <a:cubicBezTo>
                  <a:pt x="28750" y="7750"/>
                  <a:pt x="28687" y="7437"/>
                  <a:pt x="29062" y="7312"/>
                </a:cubicBezTo>
                <a:lnTo>
                  <a:pt x="29062" y="7312"/>
                </a:lnTo>
                <a:cubicBezTo>
                  <a:pt x="28844" y="7312"/>
                  <a:pt x="28625" y="7344"/>
                  <a:pt x="28375" y="7312"/>
                </a:cubicBezTo>
                <a:cubicBezTo>
                  <a:pt x="28344" y="7312"/>
                  <a:pt x="28344" y="7312"/>
                  <a:pt x="28312" y="7281"/>
                </a:cubicBezTo>
                <a:cubicBezTo>
                  <a:pt x="28250" y="7281"/>
                  <a:pt x="28250" y="7250"/>
                  <a:pt x="28250" y="7250"/>
                </a:cubicBezTo>
                <a:cubicBezTo>
                  <a:pt x="28281" y="7219"/>
                  <a:pt x="28344" y="7187"/>
                  <a:pt x="28375" y="7156"/>
                </a:cubicBezTo>
                <a:cubicBezTo>
                  <a:pt x="28281" y="7156"/>
                  <a:pt x="28219" y="7156"/>
                  <a:pt x="28125" y="7125"/>
                </a:cubicBezTo>
                <a:cubicBezTo>
                  <a:pt x="28062" y="7125"/>
                  <a:pt x="28000" y="7094"/>
                  <a:pt x="27937" y="7094"/>
                </a:cubicBezTo>
                <a:cubicBezTo>
                  <a:pt x="27937" y="7062"/>
                  <a:pt x="27937" y="7062"/>
                  <a:pt x="27937" y="7062"/>
                </a:cubicBezTo>
                <a:cubicBezTo>
                  <a:pt x="28031" y="7000"/>
                  <a:pt x="28094" y="6969"/>
                  <a:pt x="28187" y="6937"/>
                </a:cubicBezTo>
                <a:cubicBezTo>
                  <a:pt x="28250" y="6969"/>
                  <a:pt x="28312" y="6937"/>
                  <a:pt x="28344" y="6906"/>
                </a:cubicBezTo>
                <a:cubicBezTo>
                  <a:pt x="28344" y="6906"/>
                  <a:pt x="28344" y="6906"/>
                  <a:pt x="28344" y="6906"/>
                </a:cubicBezTo>
                <a:cubicBezTo>
                  <a:pt x="28375" y="6906"/>
                  <a:pt x="28375" y="6875"/>
                  <a:pt x="28375" y="6875"/>
                </a:cubicBezTo>
                <a:cubicBezTo>
                  <a:pt x="28375" y="6875"/>
                  <a:pt x="28375" y="6875"/>
                  <a:pt x="28375" y="6875"/>
                </a:cubicBezTo>
                <a:cubicBezTo>
                  <a:pt x="28375" y="6875"/>
                  <a:pt x="28375" y="6875"/>
                  <a:pt x="28344" y="6875"/>
                </a:cubicBezTo>
                <a:cubicBezTo>
                  <a:pt x="28344" y="6844"/>
                  <a:pt x="28312" y="6875"/>
                  <a:pt x="28312" y="6875"/>
                </a:cubicBezTo>
                <a:cubicBezTo>
                  <a:pt x="28281" y="6875"/>
                  <a:pt x="28250" y="6875"/>
                  <a:pt x="28187" y="6875"/>
                </a:cubicBezTo>
                <a:cubicBezTo>
                  <a:pt x="28000" y="6719"/>
                  <a:pt x="27781" y="6781"/>
                  <a:pt x="27531" y="6844"/>
                </a:cubicBezTo>
                <a:cubicBezTo>
                  <a:pt x="27469" y="6875"/>
                  <a:pt x="27375" y="6875"/>
                  <a:pt x="27312" y="6844"/>
                </a:cubicBezTo>
                <a:cubicBezTo>
                  <a:pt x="27281" y="6844"/>
                  <a:pt x="27250" y="6844"/>
                  <a:pt x="27250" y="6844"/>
                </a:cubicBezTo>
                <a:cubicBezTo>
                  <a:pt x="27250" y="6812"/>
                  <a:pt x="27281" y="6781"/>
                  <a:pt x="27281" y="6750"/>
                </a:cubicBezTo>
                <a:cubicBezTo>
                  <a:pt x="27625" y="6719"/>
                  <a:pt x="27969" y="6656"/>
                  <a:pt x="28312" y="6594"/>
                </a:cubicBezTo>
                <a:cubicBezTo>
                  <a:pt x="28187" y="6531"/>
                  <a:pt x="28094" y="6531"/>
                  <a:pt x="27969" y="6531"/>
                </a:cubicBezTo>
                <a:cubicBezTo>
                  <a:pt x="27937" y="6531"/>
                  <a:pt x="27937" y="6531"/>
                  <a:pt x="27906" y="6531"/>
                </a:cubicBezTo>
                <a:cubicBezTo>
                  <a:pt x="27875" y="6531"/>
                  <a:pt x="27812" y="6562"/>
                  <a:pt x="27781" y="6531"/>
                </a:cubicBezTo>
                <a:cubicBezTo>
                  <a:pt x="27781" y="6531"/>
                  <a:pt x="27781" y="6500"/>
                  <a:pt x="27781" y="6469"/>
                </a:cubicBezTo>
                <a:cubicBezTo>
                  <a:pt x="27781" y="6469"/>
                  <a:pt x="27781" y="6469"/>
                  <a:pt x="27781" y="6469"/>
                </a:cubicBezTo>
                <a:cubicBezTo>
                  <a:pt x="27781" y="6469"/>
                  <a:pt x="27781" y="6437"/>
                  <a:pt x="27812" y="6437"/>
                </a:cubicBezTo>
                <a:cubicBezTo>
                  <a:pt x="27812" y="6437"/>
                  <a:pt x="27812" y="6437"/>
                  <a:pt x="27812" y="6437"/>
                </a:cubicBezTo>
                <a:cubicBezTo>
                  <a:pt x="27812" y="6437"/>
                  <a:pt x="27812" y="6406"/>
                  <a:pt x="27812" y="6406"/>
                </a:cubicBezTo>
                <a:cubicBezTo>
                  <a:pt x="27812" y="6406"/>
                  <a:pt x="27812" y="6406"/>
                  <a:pt x="27812" y="6406"/>
                </a:cubicBezTo>
                <a:cubicBezTo>
                  <a:pt x="27812" y="6406"/>
                  <a:pt x="27844" y="6406"/>
                  <a:pt x="27844" y="6406"/>
                </a:cubicBezTo>
                <a:cubicBezTo>
                  <a:pt x="27844" y="6406"/>
                  <a:pt x="27844" y="6375"/>
                  <a:pt x="27844" y="6375"/>
                </a:cubicBezTo>
                <a:cubicBezTo>
                  <a:pt x="27844" y="6375"/>
                  <a:pt x="27844" y="6375"/>
                  <a:pt x="27844" y="6375"/>
                </a:cubicBezTo>
                <a:cubicBezTo>
                  <a:pt x="27844" y="6375"/>
                  <a:pt x="27844" y="6375"/>
                  <a:pt x="27844" y="6375"/>
                </a:cubicBezTo>
                <a:cubicBezTo>
                  <a:pt x="27875" y="6375"/>
                  <a:pt x="27875" y="6375"/>
                  <a:pt x="27875" y="6375"/>
                </a:cubicBezTo>
                <a:cubicBezTo>
                  <a:pt x="27875" y="6344"/>
                  <a:pt x="27875" y="6344"/>
                  <a:pt x="27875" y="6344"/>
                </a:cubicBezTo>
                <a:cubicBezTo>
                  <a:pt x="27875" y="6344"/>
                  <a:pt x="27906" y="6344"/>
                  <a:pt x="27906" y="6344"/>
                </a:cubicBezTo>
                <a:cubicBezTo>
                  <a:pt x="27906" y="6344"/>
                  <a:pt x="27906" y="6344"/>
                  <a:pt x="27906" y="6344"/>
                </a:cubicBezTo>
                <a:cubicBezTo>
                  <a:pt x="27812" y="6344"/>
                  <a:pt x="27687" y="6375"/>
                  <a:pt x="27562" y="6375"/>
                </a:cubicBezTo>
                <a:cubicBezTo>
                  <a:pt x="27437" y="6406"/>
                  <a:pt x="27344" y="6406"/>
                  <a:pt x="27219" y="6406"/>
                </a:cubicBezTo>
                <a:cubicBezTo>
                  <a:pt x="27219" y="6406"/>
                  <a:pt x="27187" y="6406"/>
                  <a:pt x="27187" y="6437"/>
                </a:cubicBezTo>
                <a:cubicBezTo>
                  <a:pt x="27187" y="6437"/>
                  <a:pt x="27156" y="6437"/>
                  <a:pt x="27156" y="6437"/>
                </a:cubicBezTo>
                <a:cubicBezTo>
                  <a:pt x="27156" y="6437"/>
                  <a:pt x="27125" y="6437"/>
                  <a:pt x="27125" y="6437"/>
                </a:cubicBezTo>
                <a:cubicBezTo>
                  <a:pt x="27094" y="6437"/>
                  <a:pt x="27031" y="6406"/>
                  <a:pt x="27031" y="6406"/>
                </a:cubicBezTo>
                <a:cubicBezTo>
                  <a:pt x="27000" y="6375"/>
                  <a:pt x="27031" y="6375"/>
                  <a:pt x="27062" y="6312"/>
                </a:cubicBezTo>
                <a:cubicBezTo>
                  <a:pt x="27062" y="6312"/>
                  <a:pt x="27094" y="6312"/>
                  <a:pt x="27094" y="6281"/>
                </a:cubicBezTo>
                <a:cubicBezTo>
                  <a:pt x="27125" y="6312"/>
                  <a:pt x="27125" y="6312"/>
                  <a:pt x="27125" y="6312"/>
                </a:cubicBezTo>
                <a:cubicBezTo>
                  <a:pt x="27219" y="6312"/>
                  <a:pt x="27250" y="6281"/>
                  <a:pt x="27281" y="6250"/>
                </a:cubicBezTo>
                <a:cubicBezTo>
                  <a:pt x="27344" y="6219"/>
                  <a:pt x="27406" y="6219"/>
                  <a:pt x="27469" y="6187"/>
                </a:cubicBezTo>
                <a:cubicBezTo>
                  <a:pt x="27469" y="6187"/>
                  <a:pt x="27500" y="6187"/>
                  <a:pt x="27500" y="6187"/>
                </a:cubicBezTo>
                <a:cubicBezTo>
                  <a:pt x="27594" y="6187"/>
                  <a:pt x="27656" y="6187"/>
                  <a:pt x="27750" y="6187"/>
                </a:cubicBezTo>
                <a:cubicBezTo>
                  <a:pt x="27781" y="6187"/>
                  <a:pt x="27781" y="6187"/>
                  <a:pt x="27812" y="6156"/>
                </a:cubicBezTo>
                <a:cubicBezTo>
                  <a:pt x="27875" y="6156"/>
                  <a:pt x="27906" y="6156"/>
                  <a:pt x="27969" y="6156"/>
                </a:cubicBezTo>
                <a:cubicBezTo>
                  <a:pt x="28000" y="6156"/>
                  <a:pt x="28000" y="6125"/>
                  <a:pt x="28031" y="6125"/>
                </a:cubicBezTo>
                <a:cubicBezTo>
                  <a:pt x="28062" y="6125"/>
                  <a:pt x="28125" y="6094"/>
                  <a:pt x="28156" y="6094"/>
                </a:cubicBezTo>
                <a:cubicBezTo>
                  <a:pt x="28250" y="6062"/>
                  <a:pt x="28344" y="6000"/>
                  <a:pt x="28437" y="5906"/>
                </a:cubicBezTo>
                <a:cubicBezTo>
                  <a:pt x="28375" y="5937"/>
                  <a:pt x="28344" y="5937"/>
                  <a:pt x="28312" y="5937"/>
                </a:cubicBezTo>
                <a:cubicBezTo>
                  <a:pt x="28219" y="5969"/>
                  <a:pt x="28125" y="6000"/>
                  <a:pt x="28031" y="6031"/>
                </a:cubicBezTo>
                <a:cubicBezTo>
                  <a:pt x="28094" y="6000"/>
                  <a:pt x="28156" y="5969"/>
                  <a:pt x="28187" y="5906"/>
                </a:cubicBezTo>
                <a:cubicBezTo>
                  <a:pt x="28187" y="5906"/>
                  <a:pt x="28219" y="5906"/>
                  <a:pt x="28219" y="5875"/>
                </a:cubicBezTo>
                <a:cubicBezTo>
                  <a:pt x="28250" y="5844"/>
                  <a:pt x="28250" y="5812"/>
                  <a:pt x="28250" y="5750"/>
                </a:cubicBezTo>
                <a:cubicBezTo>
                  <a:pt x="28250" y="5750"/>
                  <a:pt x="28250" y="5719"/>
                  <a:pt x="28250" y="5719"/>
                </a:cubicBezTo>
                <a:cubicBezTo>
                  <a:pt x="28250" y="5656"/>
                  <a:pt x="28250" y="5656"/>
                  <a:pt x="28250" y="5625"/>
                </a:cubicBezTo>
                <a:cubicBezTo>
                  <a:pt x="28250" y="5625"/>
                  <a:pt x="28250" y="5625"/>
                  <a:pt x="28219" y="5625"/>
                </a:cubicBezTo>
                <a:cubicBezTo>
                  <a:pt x="28219" y="5594"/>
                  <a:pt x="28219" y="5594"/>
                  <a:pt x="28219" y="5594"/>
                </a:cubicBezTo>
                <a:cubicBezTo>
                  <a:pt x="28219" y="5594"/>
                  <a:pt x="28219" y="5594"/>
                  <a:pt x="28187" y="5594"/>
                </a:cubicBezTo>
                <a:cubicBezTo>
                  <a:pt x="28187" y="5594"/>
                  <a:pt x="28187" y="5594"/>
                  <a:pt x="28156" y="5594"/>
                </a:cubicBezTo>
                <a:cubicBezTo>
                  <a:pt x="28156" y="5594"/>
                  <a:pt x="28156" y="5594"/>
                  <a:pt x="28125" y="5625"/>
                </a:cubicBezTo>
                <a:cubicBezTo>
                  <a:pt x="28125" y="5625"/>
                  <a:pt x="28094" y="5625"/>
                  <a:pt x="28094" y="5625"/>
                </a:cubicBezTo>
                <a:cubicBezTo>
                  <a:pt x="28094" y="5625"/>
                  <a:pt x="28062" y="5656"/>
                  <a:pt x="28062" y="5656"/>
                </a:cubicBezTo>
                <a:cubicBezTo>
                  <a:pt x="28062" y="5656"/>
                  <a:pt x="28031" y="5656"/>
                  <a:pt x="28031" y="5656"/>
                </a:cubicBezTo>
                <a:cubicBezTo>
                  <a:pt x="27812" y="5750"/>
                  <a:pt x="27594" y="5844"/>
                  <a:pt x="27344" y="5906"/>
                </a:cubicBezTo>
                <a:cubicBezTo>
                  <a:pt x="27250" y="5937"/>
                  <a:pt x="27156" y="5937"/>
                  <a:pt x="27094" y="5969"/>
                </a:cubicBezTo>
                <a:cubicBezTo>
                  <a:pt x="27031" y="5906"/>
                  <a:pt x="27062" y="5875"/>
                  <a:pt x="27125" y="5812"/>
                </a:cubicBezTo>
                <a:cubicBezTo>
                  <a:pt x="27312" y="5812"/>
                  <a:pt x="27437" y="5750"/>
                  <a:pt x="27594" y="5687"/>
                </a:cubicBezTo>
                <a:cubicBezTo>
                  <a:pt x="27656" y="5656"/>
                  <a:pt x="27687" y="5656"/>
                  <a:pt x="27750" y="5625"/>
                </a:cubicBezTo>
                <a:cubicBezTo>
                  <a:pt x="27750" y="5625"/>
                  <a:pt x="27750" y="5625"/>
                  <a:pt x="27781" y="5594"/>
                </a:cubicBezTo>
                <a:cubicBezTo>
                  <a:pt x="27781" y="5594"/>
                  <a:pt x="27781" y="5594"/>
                  <a:pt x="27781" y="5562"/>
                </a:cubicBezTo>
                <a:cubicBezTo>
                  <a:pt x="27781" y="5562"/>
                  <a:pt x="27750" y="5562"/>
                  <a:pt x="27687" y="5562"/>
                </a:cubicBezTo>
                <a:cubicBezTo>
                  <a:pt x="27719" y="5500"/>
                  <a:pt x="27687" y="5437"/>
                  <a:pt x="27719" y="5375"/>
                </a:cubicBezTo>
                <a:cubicBezTo>
                  <a:pt x="27719" y="5344"/>
                  <a:pt x="27719" y="5312"/>
                  <a:pt x="27750" y="5281"/>
                </a:cubicBezTo>
                <a:cubicBezTo>
                  <a:pt x="27781" y="5219"/>
                  <a:pt x="27844" y="5156"/>
                  <a:pt x="27906" y="5125"/>
                </a:cubicBezTo>
                <a:cubicBezTo>
                  <a:pt x="27906" y="5094"/>
                  <a:pt x="27937" y="5094"/>
                  <a:pt x="27969" y="5094"/>
                </a:cubicBezTo>
                <a:cubicBezTo>
                  <a:pt x="28031" y="5062"/>
                  <a:pt x="28094" y="5031"/>
                  <a:pt x="28187" y="5000"/>
                </a:cubicBezTo>
                <a:cubicBezTo>
                  <a:pt x="28219" y="5000"/>
                  <a:pt x="28219" y="5000"/>
                  <a:pt x="28250" y="5000"/>
                </a:cubicBezTo>
                <a:cubicBezTo>
                  <a:pt x="28312" y="4969"/>
                  <a:pt x="28375" y="4969"/>
                  <a:pt x="28437" y="4937"/>
                </a:cubicBezTo>
                <a:cubicBezTo>
                  <a:pt x="28500" y="4937"/>
                  <a:pt x="28562" y="4906"/>
                  <a:pt x="28625" y="4906"/>
                </a:cubicBezTo>
                <a:cubicBezTo>
                  <a:pt x="28562" y="4875"/>
                  <a:pt x="28500" y="4844"/>
                  <a:pt x="28469" y="4844"/>
                </a:cubicBezTo>
                <a:cubicBezTo>
                  <a:pt x="28406" y="4812"/>
                  <a:pt x="28344" y="4812"/>
                  <a:pt x="28312" y="4781"/>
                </a:cubicBezTo>
                <a:cubicBezTo>
                  <a:pt x="28281" y="4781"/>
                  <a:pt x="28250" y="4750"/>
                  <a:pt x="28250" y="4750"/>
                </a:cubicBezTo>
                <a:cubicBezTo>
                  <a:pt x="28219" y="4719"/>
                  <a:pt x="28219" y="4719"/>
                  <a:pt x="28219" y="4687"/>
                </a:cubicBezTo>
                <a:cubicBezTo>
                  <a:pt x="28219" y="4687"/>
                  <a:pt x="28219" y="4687"/>
                  <a:pt x="28219" y="4687"/>
                </a:cubicBezTo>
                <a:cubicBezTo>
                  <a:pt x="28219" y="4687"/>
                  <a:pt x="28219" y="4656"/>
                  <a:pt x="28250" y="4656"/>
                </a:cubicBezTo>
                <a:cubicBezTo>
                  <a:pt x="28281" y="4625"/>
                  <a:pt x="28312" y="4625"/>
                  <a:pt x="28312" y="4625"/>
                </a:cubicBezTo>
                <a:cubicBezTo>
                  <a:pt x="28312" y="4594"/>
                  <a:pt x="28312" y="4594"/>
                  <a:pt x="28312" y="4594"/>
                </a:cubicBezTo>
                <a:cubicBezTo>
                  <a:pt x="28312" y="4594"/>
                  <a:pt x="28312" y="4594"/>
                  <a:pt x="28312" y="4594"/>
                </a:cubicBezTo>
                <a:cubicBezTo>
                  <a:pt x="28312" y="4594"/>
                  <a:pt x="28312" y="4594"/>
                  <a:pt x="28312" y="4594"/>
                </a:cubicBezTo>
                <a:cubicBezTo>
                  <a:pt x="28312" y="4594"/>
                  <a:pt x="28312" y="4562"/>
                  <a:pt x="28281" y="4562"/>
                </a:cubicBezTo>
                <a:cubicBezTo>
                  <a:pt x="28281" y="4562"/>
                  <a:pt x="28281" y="4562"/>
                  <a:pt x="28250" y="4562"/>
                </a:cubicBezTo>
                <a:cubicBezTo>
                  <a:pt x="28250" y="4562"/>
                  <a:pt x="28250" y="4562"/>
                  <a:pt x="28250" y="4562"/>
                </a:cubicBezTo>
                <a:cubicBezTo>
                  <a:pt x="28219" y="4562"/>
                  <a:pt x="28219" y="4562"/>
                  <a:pt x="28219" y="4562"/>
                </a:cubicBezTo>
                <a:cubicBezTo>
                  <a:pt x="28031" y="4594"/>
                  <a:pt x="27812" y="4594"/>
                  <a:pt x="27625" y="4625"/>
                </a:cubicBezTo>
                <a:cubicBezTo>
                  <a:pt x="27406" y="4625"/>
                  <a:pt x="27219" y="4656"/>
                  <a:pt x="27000" y="4656"/>
                </a:cubicBezTo>
                <a:cubicBezTo>
                  <a:pt x="26687" y="4687"/>
                  <a:pt x="26406" y="4781"/>
                  <a:pt x="26094" y="4719"/>
                </a:cubicBezTo>
                <a:cubicBezTo>
                  <a:pt x="26062" y="4687"/>
                  <a:pt x="26031" y="4687"/>
                  <a:pt x="26031" y="4656"/>
                </a:cubicBezTo>
                <a:cubicBezTo>
                  <a:pt x="26187" y="4625"/>
                  <a:pt x="26344" y="4562"/>
                  <a:pt x="26500" y="4531"/>
                </a:cubicBezTo>
                <a:cubicBezTo>
                  <a:pt x="26906" y="4437"/>
                  <a:pt x="27312" y="4500"/>
                  <a:pt x="27719" y="4469"/>
                </a:cubicBezTo>
                <a:cubicBezTo>
                  <a:pt x="27875" y="4531"/>
                  <a:pt x="27969" y="4469"/>
                  <a:pt x="28094" y="4437"/>
                </a:cubicBezTo>
                <a:cubicBezTo>
                  <a:pt x="28125" y="4406"/>
                  <a:pt x="28125" y="4406"/>
                  <a:pt x="28156" y="4375"/>
                </a:cubicBezTo>
                <a:cubicBezTo>
                  <a:pt x="28187" y="4375"/>
                  <a:pt x="28187" y="4375"/>
                  <a:pt x="28219" y="4344"/>
                </a:cubicBezTo>
                <a:cubicBezTo>
                  <a:pt x="28281" y="4312"/>
                  <a:pt x="28344" y="4281"/>
                  <a:pt x="28437" y="4281"/>
                </a:cubicBezTo>
                <a:cubicBezTo>
                  <a:pt x="28437" y="4281"/>
                  <a:pt x="28437" y="4281"/>
                  <a:pt x="28437" y="4281"/>
                </a:cubicBezTo>
                <a:cubicBezTo>
                  <a:pt x="28250" y="4219"/>
                  <a:pt x="28125" y="4187"/>
                  <a:pt x="27969" y="4219"/>
                </a:cubicBezTo>
                <a:cubicBezTo>
                  <a:pt x="27969" y="4219"/>
                  <a:pt x="27937" y="4219"/>
                  <a:pt x="27906" y="4250"/>
                </a:cubicBezTo>
                <a:cubicBezTo>
                  <a:pt x="27812" y="4219"/>
                  <a:pt x="27719" y="4219"/>
                  <a:pt x="27625" y="4219"/>
                </a:cubicBezTo>
                <a:cubicBezTo>
                  <a:pt x="27594" y="4156"/>
                  <a:pt x="27594" y="4125"/>
                  <a:pt x="27625" y="4094"/>
                </a:cubicBezTo>
                <a:cubicBezTo>
                  <a:pt x="27625" y="4094"/>
                  <a:pt x="27625" y="4094"/>
                  <a:pt x="27625" y="4094"/>
                </a:cubicBezTo>
                <a:cubicBezTo>
                  <a:pt x="27656" y="4094"/>
                  <a:pt x="27687" y="4094"/>
                  <a:pt x="27687" y="4094"/>
                </a:cubicBezTo>
                <a:cubicBezTo>
                  <a:pt x="27687" y="4094"/>
                  <a:pt x="27719" y="4094"/>
                  <a:pt x="27719" y="4094"/>
                </a:cubicBezTo>
                <a:cubicBezTo>
                  <a:pt x="27812" y="4094"/>
                  <a:pt x="27906" y="4125"/>
                  <a:pt x="27937" y="4062"/>
                </a:cubicBezTo>
                <a:cubicBezTo>
                  <a:pt x="27906" y="4031"/>
                  <a:pt x="27906" y="4031"/>
                  <a:pt x="27906" y="4031"/>
                </a:cubicBezTo>
                <a:cubicBezTo>
                  <a:pt x="27719" y="3844"/>
                  <a:pt x="27469" y="3937"/>
                  <a:pt x="27250" y="3906"/>
                </a:cubicBezTo>
                <a:cubicBezTo>
                  <a:pt x="27219" y="3906"/>
                  <a:pt x="27187" y="3906"/>
                  <a:pt x="27156" y="3906"/>
                </a:cubicBezTo>
                <a:cubicBezTo>
                  <a:pt x="27094" y="3906"/>
                  <a:pt x="27062" y="3906"/>
                  <a:pt x="27000" y="3906"/>
                </a:cubicBezTo>
                <a:cubicBezTo>
                  <a:pt x="26969" y="3906"/>
                  <a:pt x="26937" y="3906"/>
                  <a:pt x="26906" y="3906"/>
                </a:cubicBezTo>
                <a:cubicBezTo>
                  <a:pt x="26906" y="3906"/>
                  <a:pt x="26875" y="3906"/>
                  <a:pt x="26875" y="3906"/>
                </a:cubicBezTo>
                <a:cubicBezTo>
                  <a:pt x="26844" y="3906"/>
                  <a:pt x="26844" y="3906"/>
                  <a:pt x="26844" y="3875"/>
                </a:cubicBezTo>
                <a:cubicBezTo>
                  <a:pt x="26812" y="3875"/>
                  <a:pt x="26812" y="3875"/>
                  <a:pt x="26812" y="3844"/>
                </a:cubicBezTo>
                <a:cubicBezTo>
                  <a:pt x="26812" y="3812"/>
                  <a:pt x="26844" y="3781"/>
                  <a:pt x="26906" y="3750"/>
                </a:cubicBezTo>
                <a:cubicBezTo>
                  <a:pt x="27000" y="3719"/>
                  <a:pt x="27125" y="3719"/>
                  <a:pt x="27219" y="3687"/>
                </a:cubicBezTo>
                <a:cubicBezTo>
                  <a:pt x="27250" y="3687"/>
                  <a:pt x="27250" y="3687"/>
                  <a:pt x="27250" y="3687"/>
                </a:cubicBezTo>
                <a:cubicBezTo>
                  <a:pt x="27156" y="3719"/>
                  <a:pt x="27062" y="3719"/>
                  <a:pt x="26969" y="3719"/>
                </a:cubicBezTo>
                <a:cubicBezTo>
                  <a:pt x="26812" y="3687"/>
                  <a:pt x="26656" y="3656"/>
                  <a:pt x="26500" y="3719"/>
                </a:cubicBezTo>
                <a:cubicBezTo>
                  <a:pt x="26281" y="3719"/>
                  <a:pt x="26094" y="3750"/>
                  <a:pt x="25875" y="3750"/>
                </a:cubicBezTo>
                <a:cubicBezTo>
                  <a:pt x="25844" y="3750"/>
                  <a:pt x="25781" y="3750"/>
                  <a:pt x="25750" y="3750"/>
                </a:cubicBezTo>
                <a:cubicBezTo>
                  <a:pt x="25719" y="3719"/>
                  <a:pt x="25719" y="3719"/>
                  <a:pt x="25687" y="3719"/>
                </a:cubicBezTo>
                <a:cubicBezTo>
                  <a:pt x="25687" y="3719"/>
                  <a:pt x="25656" y="3687"/>
                  <a:pt x="25656" y="3687"/>
                </a:cubicBezTo>
                <a:cubicBezTo>
                  <a:pt x="25625" y="3625"/>
                  <a:pt x="25719" y="3594"/>
                  <a:pt x="25781" y="3562"/>
                </a:cubicBezTo>
                <a:cubicBezTo>
                  <a:pt x="25781" y="3562"/>
                  <a:pt x="25781" y="3562"/>
                  <a:pt x="25781" y="3562"/>
                </a:cubicBezTo>
                <a:cubicBezTo>
                  <a:pt x="25875" y="3500"/>
                  <a:pt x="25969" y="3437"/>
                  <a:pt x="25969" y="3375"/>
                </a:cubicBezTo>
                <a:cubicBezTo>
                  <a:pt x="25969" y="3344"/>
                  <a:pt x="25969" y="3312"/>
                  <a:pt x="25969" y="3281"/>
                </a:cubicBezTo>
                <a:cubicBezTo>
                  <a:pt x="25969" y="3250"/>
                  <a:pt x="25937" y="3219"/>
                  <a:pt x="25906" y="3156"/>
                </a:cubicBezTo>
                <a:cubicBezTo>
                  <a:pt x="25906" y="3156"/>
                  <a:pt x="25906" y="3156"/>
                  <a:pt x="25875" y="3125"/>
                </a:cubicBezTo>
                <a:cubicBezTo>
                  <a:pt x="25844" y="3094"/>
                  <a:pt x="25781" y="3062"/>
                  <a:pt x="25719" y="3062"/>
                </a:cubicBezTo>
                <a:cubicBezTo>
                  <a:pt x="25625" y="3031"/>
                  <a:pt x="25500" y="3062"/>
                  <a:pt x="25375" y="3062"/>
                </a:cubicBezTo>
                <a:cubicBezTo>
                  <a:pt x="25437" y="2937"/>
                  <a:pt x="25594" y="2906"/>
                  <a:pt x="25719" y="2875"/>
                </a:cubicBezTo>
                <a:cubicBezTo>
                  <a:pt x="25781" y="2875"/>
                  <a:pt x="25812" y="2875"/>
                  <a:pt x="25844" y="2875"/>
                </a:cubicBezTo>
                <a:cubicBezTo>
                  <a:pt x="25906" y="2844"/>
                  <a:pt x="25937" y="2844"/>
                  <a:pt x="25969" y="2812"/>
                </a:cubicBezTo>
                <a:cubicBezTo>
                  <a:pt x="25969" y="2812"/>
                  <a:pt x="26000" y="2812"/>
                  <a:pt x="26000" y="2812"/>
                </a:cubicBezTo>
                <a:cubicBezTo>
                  <a:pt x="26031" y="2781"/>
                  <a:pt x="26031" y="2750"/>
                  <a:pt x="26031" y="2719"/>
                </a:cubicBezTo>
                <a:cubicBezTo>
                  <a:pt x="26031" y="2719"/>
                  <a:pt x="26031" y="2687"/>
                  <a:pt x="26031" y="2687"/>
                </a:cubicBezTo>
                <a:cubicBezTo>
                  <a:pt x="26000" y="2656"/>
                  <a:pt x="26000" y="2594"/>
                  <a:pt x="26000" y="2562"/>
                </a:cubicBezTo>
                <a:cubicBezTo>
                  <a:pt x="25969" y="2531"/>
                  <a:pt x="25969" y="2469"/>
                  <a:pt x="25937" y="2437"/>
                </a:cubicBezTo>
                <a:cubicBezTo>
                  <a:pt x="25906" y="2406"/>
                  <a:pt x="25844" y="2375"/>
                  <a:pt x="25781" y="2344"/>
                </a:cubicBezTo>
                <a:cubicBezTo>
                  <a:pt x="25750" y="2344"/>
                  <a:pt x="25719" y="2344"/>
                  <a:pt x="25687" y="2344"/>
                </a:cubicBezTo>
                <a:cubicBezTo>
                  <a:pt x="25594" y="2344"/>
                  <a:pt x="25562" y="2344"/>
                  <a:pt x="25531" y="2344"/>
                </a:cubicBezTo>
                <a:cubicBezTo>
                  <a:pt x="25531" y="2344"/>
                  <a:pt x="25531" y="2344"/>
                  <a:pt x="25500" y="2312"/>
                </a:cubicBezTo>
                <a:cubicBezTo>
                  <a:pt x="25500" y="2312"/>
                  <a:pt x="25531" y="2281"/>
                  <a:pt x="25531" y="2250"/>
                </a:cubicBezTo>
                <a:cubicBezTo>
                  <a:pt x="25562" y="2250"/>
                  <a:pt x="25562" y="2250"/>
                  <a:pt x="25562" y="2250"/>
                </a:cubicBezTo>
                <a:cubicBezTo>
                  <a:pt x="25562" y="2250"/>
                  <a:pt x="25562" y="2219"/>
                  <a:pt x="25594" y="2219"/>
                </a:cubicBezTo>
                <a:cubicBezTo>
                  <a:pt x="25594" y="2219"/>
                  <a:pt x="25594" y="2187"/>
                  <a:pt x="25594" y="2187"/>
                </a:cubicBezTo>
                <a:cubicBezTo>
                  <a:pt x="25531" y="2187"/>
                  <a:pt x="25469" y="2156"/>
                  <a:pt x="25469" y="2156"/>
                </a:cubicBezTo>
                <a:cubicBezTo>
                  <a:pt x="25437" y="2125"/>
                  <a:pt x="25437" y="2094"/>
                  <a:pt x="25437" y="2031"/>
                </a:cubicBezTo>
                <a:cubicBezTo>
                  <a:pt x="25437" y="2031"/>
                  <a:pt x="25437" y="2031"/>
                  <a:pt x="25437" y="2031"/>
                </a:cubicBezTo>
                <a:cubicBezTo>
                  <a:pt x="25437" y="2031"/>
                  <a:pt x="25437" y="2031"/>
                  <a:pt x="25406" y="2000"/>
                </a:cubicBezTo>
                <a:cubicBezTo>
                  <a:pt x="25406" y="2000"/>
                  <a:pt x="25406" y="2000"/>
                  <a:pt x="25406" y="2000"/>
                </a:cubicBezTo>
                <a:cubicBezTo>
                  <a:pt x="25375" y="2000"/>
                  <a:pt x="25375" y="2000"/>
                  <a:pt x="25344" y="2000"/>
                </a:cubicBezTo>
                <a:cubicBezTo>
                  <a:pt x="25281" y="1969"/>
                  <a:pt x="25187" y="2031"/>
                  <a:pt x="25125" y="1969"/>
                </a:cubicBezTo>
                <a:cubicBezTo>
                  <a:pt x="25125" y="1937"/>
                  <a:pt x="25125" y="1906"/>
                  <a:pt x="25125" y="1906"/>
                </a:cubicBezTo>
                <a:cubicBezTo>
                  <a:pt x="25156" y="1875"/>
                  <a:pt x="25187" y="1875"/>
                  <a:pt x="25219" y="1875"/>
                </a:cubicBezTo>
                <a:cubicBezTo>
                  <a:pt x="25250" y="1875"/>
                  <a:pt x="25281" y="1844"/>
                  <a:pt x="25312" y="1812"/>
                </a:cubicBezTo>
                <a:cubicBezTo>
                  <a:pt x="25000" y="1812"/>
                  <a:pt x="24687" y="1812"/>
                  <a:pt x="24375" y="1812"/>
                </a:cubicBezTo>
                <a:cubicBezTo>
                  <a:pt x="23750" y="1812"/>
                  <a:pt x="23125" y="1844"/>
                  <a:pt x="22500" y="1844"/>
                </a:cubicBezTo>
                <a:cubicBezTo>
                  <a:pt x="22312" y="1844"/>
                  <a:pt x="22094" y="1844"/>
                  <a:pt x="21875" y="1812"/>
                </a:cubicBezTo>
                <a:cubicBezTo>
                  <a:pt x="21750" y="1812"/>
                  <a:pt x="21562" y="1812"/>
                  <a:pt x="21437" y="1750"/>
                </a:cubicBezTo>
                <a:cubicBezTo>
                  <a:pt x="21375" y="1750"/>
                  <a:pt x="21344" y="1750"/>
                  <a:pt x="21312" y="1719"/>
                </a:cubicBezTo>
                <a:cubicBezTo>
                  <a:pt x="21250" y="1687"/>
                  <a:pt x="21219" y="1656"/>
                  <a:pt x="21187" y="1625"/>
                </a:cubicBezTo>
                <a:cubicBezTo>
                  <a:pt x="21156" y="1594"/>
                  <a:pt x="21156" y="1562"/>
                  <a:pt x="21125" y="1531"/>
                </a:cubicBezTo>
                <a:cubicBezTo>
                  <a:pt x="21125" y="1469"/>
                  <a:pt x="21094" y="1437"/>
                  <a:pt x="21062" y="1406"/>
                </a:cubicBezTo>
                <a:cubicBezTo>
                  <a:pt x="21000" y="1344"/>
                  <a:pt x="20937" y="1344"/>
                  <a:pt x="20875" y="1344"/>
                </a:cubicBezTo>
                <a:cubicBezTo>
                  <a:pt x="20844" y="1344"/>
                  <a:pt x="20781" y="1344"/>
                  <a:pt x="20750" y="1344"/>
                </a:cubicBezTo>
                <a:cubicBezTo>
                  <a:pt x="20719" y="1344"/>
                  <a:pt x="20719" y="1344"/>
                  <a:pt x="20687" y="1344"/>
                </a:cubicBezTo>
                <a:cubicBezTo>
                  <a:pt x="20656" y="1344"/>
                  <a:pt x="20656" y="1344"/>
                  <a:pt x="20656" y="1344"/>
                </a:cubicBezTo>
                <a:cubicBezTo>
                  <a:pt x="20625" y="1344"/>
                  <a:pt x="20625" y="1312"/>
                  <a:pt x="20594" y="1312"/>
                </a:cubicBezTo>
                <a:cubicBezTo>
                  <a:pt x="20656" y="1281"/>
                  <a:pt x="20719" y="1219"/>
                  <a:pt x="20781" y="1187"/>
                </a:cubicBezTo>
                <a:cubicBezTo>
                  <a:pt x="20750" y="1187"/>
                  <a:pt x="20719" y="1156"/>
                  <a:pt x="20656" y="1156"/>
                </a:cubicBezTo>
                <a:cubicBezTo>
                  <a:pt x="20625" y="1156"/>
                  <a:pt x="20594" y="1156"/>
                  <a:pt x="20562" y="1156"/>
                </a:cubicBezTo>
                <a:cubicBezTo>
                  <a:pt x="20562" y="1156"/>
                  <a:pt x="20531" y="1156"/>
                  <a:pt x="20531" y="1125"/>
                </a:cubicBezTo>
                <a:cubicBezTo>
                  <a:pt x="20500" y="1125"/>
                  <a:pt x="20500" y="1125"/>
                  <a:pt x="20500" y="1094"/>
                </a:cubicBezTo>
                <a:cubicBezTo>
                  <a:pt x="20531" y="1062"/>
                  <a:pt x="20531" y="1031"/>
                  <a:pt x="20531" y="1031"/>
                </a:cubicBezTo>
                <a:cubicBezTo>
                  <a:pt x="20531" y="1031"/>
                  <a:pt x="20531" y="1031"/>
                  <a:pt x="20531" y="1031"/>
                </a:cubicBezTo>
                <a:cubicBezTo>
                  <a:pt x="20531" y="1031"/>
                  <a:pt x="20531" y="1031"/>
                  <a:pt x="20531" y="1000"/>
                </a:cubicBezTo>
                <a:cubicBezTo>
                  <a:pt x="20531" y="969"/>
                  <a:pt x="20531" y="937"/>
                  <a:pt x="20500" y="906"/>
                </a:cubicBezTo>
                <a:cubicBezTo>
                  <a:pt x="20437" y="875"/>
                  <a:pt x="20375" y="875"/>
                  <a:pt x="20312" y="844"/>
                </a:cubicBezTo>
                <a:cubicBezTo>
                  <a:pt x="20281" y="844"/>
                  <a:pt x="20250" y="812"/>
                  <a:pt x="20219" y="812"/>
                </a:cubicBezTo>
                <a:cubicBezTo>
                  <a:pt x="19969" y="719"/>
                  <a:pt x="19687" y="625"/>
                  <a:pt x="19437" y="656"/>
                </a:cubicBezTo>
                <a:cubicBezTo>
                  <a:pt x="19250" y="687"/>
                  <a:pt x="19062" y="656"/>
                  <a:pt x="18875" y="625"/>
                </a:cubicBezTo>
                <a:cubicBezTo>
                  <a:pt x="18562" y="594"/>
                  <a:pt x="18250" y="562"/>
                  <a:pt x="17906" y="656"/>
                </a:cubicBezTo>
                <a:cubicBezTo>
                  <a:pt x="17906" y="656"/>
                  <a:pt x="17906" y="656"/>
                  <a:pt x="17906" y="625"/>
                </a:cubicBezTo>
                <a:cubicBezTo>
                  <a:pt x="17906" y="625"/>
                  <a:pt x="17906" y="625"/>
                  <a:pt x="17937" y="625"/>
                </a:cubicBezTo>
                <a:cubicBezTo>
                  <a:pt x="17937" y="594"/>
                  <a:pt x="17969" y="594"/>
                  <a:pt x="17969" y="594"/>
                </a:cubicBezTo>
                <a:cubicBezTo>
                  <a:pt x="18000" y="594"/>
                  <a:pt x="18000" y="594"/>
                  <a:pt x="18000" y="594"/>
                </a:cubicBezTo>
                <a:cubicBezTo>
                  <a:pt x="18031" y="594"/>
                  <a:pt x="18062" y="594"/>
                  <a:pt x="18062" y="562"/>
                </a:cubicBezTo>
                <a:cubicBezTo>
                  <a:pt x="18062" y="562"/>
                  <a:pt x="18062" y="562"/>
                  <a:pt x="18062" y="562"/>
                </a:cubicBezTo>
                <a:cubicBezTo>
                  <a:pt x="18062" y="562"/>
                  <a:pt x="18062" y="562"/>
                  <a:pt x="18062" y="562"/>
                </a:cubicBezTo>
                <a:cubicBezTo>
                  <a:pt x="18062" y="562"/>
                  <a:pt x="18062" y="531"/>
                  <a:pt x="18062" y="531"/>
                </a:cubicBezTo>
                <a:cubicBezTo>
                  <a:pt x="18031" y="500"/>
                  <a:pt x="18000" y="500"/>
                  <a:pt x="17969" y="469"/>
                </a:cubicBezTo>
                <a:cubicBezTo>
                  <a:pt x="17906" y="469"/>
                  <a:pt x="17844" y="469"/>
                  <a:pt x="17781" y="469"/>
                </a:cubicBezTo>
                <a:cubicBezTo>
                  <a:pt x="17781" y="469"/>
                  <a:pt x="17781" y="469"/>
                  <a:pt x="17781" y="469"/>
                </a:cubicBezTo>
                <a:cubicBezTo>
                  <a:pt x="17750" y="469"/>
                  <a:pt x="17750" y="469"/>
                  <a:pt x="17719" y="469"/>
                </a:cubicBezTo>
                <a:cubicBezTo>
                  <a:pt x="17719" y="469"/>
                  <a:pt x="17719" y="469"/>
                  <a:pt x="17719" y="469"/>
                </a:cubicBezTo>
                <a:cubicBezTo>
                  <a:pt x="17719" y="500"/>
                  <a:pt x="17687" y="500"/>
                  <a:pt x="17687" y="500"/>
                </a:cubicBezTo>
                <a:cubicBezTo>
                  <a:pt x="17687" y="500"/>
                  <a:pt x="17687" y="500"/>
                  <a:pt x="17687" y="500"/>
                </a:cubicBezTo>
                <a:cubicBezTo>
                  <a:pt x="17687" y="500"/>
                  <a:pt x="17687" y="500"/>
                  <a:pt x="17687" y="500"/>
                </a:cubicBezTo>
                <a:cubicBezTo>
                  <a:pt x="17687" y="500"/>
                  <a:pt x="17656" y="531"/>
                  <a:pt x="17656" y="531"/>
                </a:cubicBezTo>
                <a:cubicBezTo>
                  <a:pt x="17656" y="531"/>
                  <a:pt x="17656" y="531"/>
                  <a:pt x="17656" y="531"/>
                </a:cubicBezTo>
                <a:cubicBezTo>
                  <a:pt x="17656" y="531"/>
                  <a:pt x="17656" y="531"/>
                  <a:pt x="17656" y="531"/>
                </a:cubicBezTo>
                <a:cubicBezTo>
                  <a:pt x="17656" y="531"/>
                  <a:pt x="17656" y="531"/>
                  <a:pt x="17656" y="531"/>
                </a:cubicBezTo>
                <a:cubicBezTo>
                  <a:pt x="17656" y="531"/>
                  <a:pt x="17625" y="500"/>
                  <a:pt x="17625" y="500"/>
                </a:cubicBezTo>
                <a:cubicBezTo>
                  <a:pt x="17625" y="500"/>
                  <a:pt x="17625" y="500"/>
                  <a:pt x="17625" y="500"/>
                </a:cubicBezTo>
                <a:cubicBezTo>
                  <a:pt x="17594" y="500"/>
                  <a:pt x="17594" y="500"/>
                  <a:pt x="17594" y="500"/>
                </a:cubicBezTo>
                <a:cubicBezTo>
                  <a:pt x="17562" y="469"/>
                  <a:pt x="17531" y="469"/>
                  <a:pt x="17500" y="469"/>
                </a:cubicBezTo>
                <a:cubicBezTo>
                  <a:pt x="17500" y="437"/>
                  <a:pt x="17500" y="437"/>
                  <a:pt x="17469" y="437"/>
                </a:cubicBezTo>
                <a:cubicBezTo>
                  <a:pt x="17469" y="437"/>
                  <a:pt x="17469" y="437"/>
                  <a:pt x="17469" y="437"/>
                </a:cubicBezTo>
                <a:cubicBezTo>
                  <a:pt x="17437" y="437"/>
                  <a:pt x="17437" y="437"/>
                  <a:pt x="17437" y="437"/>
                </a:cubicBezTo>
                <a:cubicBezTo>
                  <a:pt x="17437" y="437"/>
                  <a:pt x="17406" y="437"/>
                  <a:pt x="17406" y="437"/>
                </a:cubicBezTo>
                <a:cubicBezTo>
                  <a:pt x="17406" y="437"/>
                  <a:pt x="17375" y="437"/>
                  <a:pt x="17375" y="437"/>
                </a:cubicBezTo>
                <a:cubicBezTo>
                  <a:pt x="17031" y="406"/>
                  <a:pt x="16656" y="344"/>
                  <a:pt x="16312" y="500"/>
                </a:cubicBezTo>
                <a:cubicBezTo>
                  <a:pt x="16219" y="531"/>
                  <a:pt x="16094" y="469"/>
                  <a:pt x="15969" y="469"/>
                </a:cubicBezTo>
                <a:cubicBezTo>
                  <a:pt x="15906" y="469"/>
                  <a:pt x="15875" y="437"/>
                  <a:pt x="15812" y="469"/>
                </a:cubicBezTo>
                <a:cubicBezTo>
                  <a:pt x="15687" y="500"/>
                  <a:pt x="15562" y="531"/>
                  <a:pt x="15406" y="531"/>
                </a:cubicBezTo>
                <a:cubicBezTo>
                  <a:pt x="15156" y="500"/>
                  <a:pt x="14906" y="531"/>
                  <a:pt x="14656" y="531"/>
                </a:cubicBezTo>
                <a:cubicBezTo>
                  <a:pt x="14281" y="531"/>
                  <a:pt x="13906" y="562"/>
                  <a:pt x="13531" y="562"/>
                </a:cubicBezTo>
                <a:cubicBezTo>
                  <a:pt x="13406" y="562"/>
                  <a:pt x="13281" y="562"/>
                  <a:pt x="13156" y="562"/>
                </a:cubicBezTo>
                <a:cubicBezTo>
                  <a:pt x="12906" y="562"/>
                  <a:pt x="12656" y="531"/>
                  <a:pt x="12406" y="531"/>
                </a:cubicBezTo>
                <a:cubicBezTo>
                  <a:pt x="12312" y="500"/>
                  <a:pt x="12219" y="500"/>
                  <a:pt x="12094" y="500"/>
                </a:cubicBezTo>
                <a:cubicBezTo>
                  <a:pt x="11812" y="500"/>
                  <a:pt x="11500" y="500"/>
                  <a:pt x="11187" y="500"/>
                </a:cubicBezTo>
                <a:cubicBezTo>
                  <a:pt x="11000" y="500"/>
                  <a:pt x="10781" y="500"/>
                  <a:pt x="10562" y="500"/>
                </a:cubicBezTo>
                <a:cubicBezTo>
                  <a:pt x="10344" y="500"/>
                  <a:pt x="10125" y="500"/>
                  <a:pt x="9906" y="500"/>
                </a:cubicBezTo>
                <a:cubicBezTo>
                  <a:pt x="8719" y="531"/>
                  <a:pt x="7531" y="531"/>
                  <a:pt x="6375" y="687"/>
                </a:cubicBezTo>
                <a:cubicBezTo>
                  <a:pt x="6125" y="719"/>
                  <a:pt x="5875" y="750"/>
                  <a:pt x="5625" y="750"/>
                </a:cubicBezTo>
                <a:cubicBezTo>
                  <a:pt x="5500" y="781"/>
                  <a:pt x="5406" y="781"/>
                  <a:pt x="5281" y="781"/>
                </a:cubicBezTo>
                <a:cubicBezTo>
                  <a:pt x="5156" y="812"/>
                  <a:pt x="5031" y="844"/>
                  <a:pt x="4906" y="875"/>
                </a:cubicBezTo>
                <a:cubicBezTo>
                  <a:pt x="4906" y="875"/>
                  <a:pt x="4906" y="875"/>
                  <a:pt x="4875" y="875"/>
                </a:cubicBezTo>
                <a:cubicBezTo>
                  <a:pt x="4844" y="875"/>
                  <a:pt x="4812" y="875"/>
                  <a:pt x="4781" y="875"/>
                </a:cubicBezTo>
                <a:cubicBezTo>
                  <a:pt x="4750" y="906"/>
                  <a:pt x="4719" y="906"/>
                  <a:pt x="4719" y="937"/>
                </a:cubicBezTo>
                <a:cubicBezTo>
                  <a:pt x="4719" y="969"/>
                  <a:pt x="4719" y="969"/>
                  <a:pt x="4719" y="969"/>
                </a:cubicBezTo>
                <a:cubicBezTo>
                  <a:pt x="4750" y="1000"/>
                  <a:pt x="4781" y="1000"/>
                  <a:pt x="4812" y="1000"/>
                </a:cubicBezTo>
                <a:cubicBezTo>
                  <a:pt x="4844" y="1031"/>
                  <a:pt x="4844" y="1031"/>
                  <a:pt x="4875" y="1031"/>
                </a:cubicBezTo>
                <a:cubicBezTo>
                  <a:pt x="4906" y="1000"/>
                  <a:pt x="4937" y="1000"/>
                  <a:pt x="4937" y="1000"/>
                </a:cubicBezTo>
                <a:cubicBezTo>
                  <a:pt x="4969" y="1000"/>
                  <a:pt x="5000" y="1000"/>
                  <a:pt x="5000" y="1000"/>
                </a:cubicBezTo>
                <a:cubicBezTo>
                  <a:pt x="5031" y="969"/>
                  <a:pt x="5062" y="969"/>
                  <a:pt x="5094" y="969"/>
                </a:cubicBezTo>
                <a:cubicBezTo>
                  <a:pt x="5094" y="969"/>
                  <a:pt x="5125" y="969"/>
                  <a:pt x="5125" y="969"/>
                </a:cubicBezTo>
                <a:cubicBezTo>
                  <a:pt x="5187" y="1000"/>
                  <a:pt x="5219" y="1031"/>
                  <a:pt x="5187" y="1156"/>
                </a:cubicBezTo>
                <a:cubicBezTo>
                  <a:pt x="5250" y="1125"/>
                  <a:pt x="5281" y="1125"/>
                  <a:pt x="5312" y="1125"/>
                </a:cubicBezTo>
                <a:cubicBezTo>
                  <a:pt x="5406" y="1125"/>
                  <a:pt x="5531" y="1125"/>
                  <a:pt x="5625" y="1156"/>
                </a:cubicBezTo>
                <a:cubicBezTo>
                  <a:pt x="5625" y="1187"/>
                  <a:pt x="5656" y="1187"/>
                  <a:pt x="5656" y="1187"/>
                </a:cubicBezTo>
                <a:cubicBezTo>
                  <a:pt x="5656" y="1187"/>
                  <a:pt x="5656" y="1187"/>
                  <a:pt x="5656" y="1219"/>
                </a:cubicBezTo>
                <a:cubicBezTo>
                  <a:pt x="5687" y="1219"/>
                  <a:pt x="5687" y="1219"/>
                  <a:pt x="5687" y="1219"/>
                </a:cubicBezTo>
                <a:cubicBezTo>
                  <a:pt x="5687" y="1219"/>
                  <a:pt x="5687" y="1219"/>
                  <a:pt x="5687" y="1250"/>
                </a:cubicBezTo>
                <a:cubicBezTo>
                  <a:pt x="5687" y="1250"/>
                  <a:pt x="5687" y="1250"/>
                  <a:pt x="5687" y="1250"/>
                </a:cubicBezTo>
                <a:cubicBezTo>
                  <a:pt x="5687" y="1250"/>
                  <a:pt x="5687" y="1250"/>
                  <a:pt x="5687" y="1250"/>
                </a:cubicBezTo>
                <a:cubicBezTo>
                  <a:pt x="5687" y="1281"/>
                  <a:pt x="5656" y="1281"/>
                  <a:pt x="5625" y="1281"/>
                </a:cubicBezTo>
                <a:cubicBezTo>
                  <a:pt x="5531" y="1281"/>
                  <a:pt x="5469" y="1312"/>
                  <a:pt x="5375" y="1344"/>
                </a:cubicBezTo>
                <a:cubicBezTo>
                  <a:pt x="5344" y="1375"/>
                  <a:pt x="5281" y="1375"/>
                  <a:pt x="5250" y="1375"/>
                </a:cubicBezTo>
                <a:cubicBezTo>
                  <a:pt x="5187" y="1406"/>
                  <a:pt x="5156" y="1406"/>
                  <a:pt x="5094" y="1406"/>
                </a:cubicBezTo>
                <a:cubicBezTo>
                  <a:pt x="4906" y="1375"/>
                  <a:pt x="4719" y="1437"/>
                  <a:pt x="4531" y="1500"/>
                </a:cubicBezTo>
                <a:cubicBezTo>
                  <a:pt x="4375" y="1500"/>
                  <a:pt x="4250" y="1500"/>
                  <a:pt x="4094" y="1531"/>
                </a:cubicBezTo>
                <a:cubicBezTo>
                  <a:pt x="4062" y="1531"/>
                  <a:pt x="4000" y="1562"/>
                  <a:pt x="3937" y="1594"/>
                </a:cubicBezTo>
                <a:cubicBezTo>
                  <a:pt x="4156" y="1687"/>
                  <a:pt x="4344" y="1594"/>
                  <a:pt x="4531" y="1562"/>
                </a:cubicBezTo>
                <a:cubicBezTo>
                  <a:pt x="4562" y="1562"/>
                  <a:pt x="4594" y="1562"/>
                  <a:pt x="4625" y="1562"/>
                </a:cubicBezTo>
                <a:cubicBezTo>
                  <a:pt x="4625" y="1562"/>
                  <a:pt x="4656" y="1562"/>
                  <a:pt x="4656" y="1562"/>
                </a:cubicBezTo>
                <a:cubicBezTo>
                  <a:pt x="4687" y="1562"/>
                  <a:pt x="4719" y="1531"/>
                  <a:pt x="4750" y="1531"/>
                </a:cubicBezTo>
                <a:cubicBezTo>
                  <a:pt x="4812" y="1531"/>
                  <a:pt x="4844" y="1531"/>
                  <a:pt x="4906" y="1531"/>
                </a:cubicBezTo>
                <a:cubicBezTo>
                  <a:pt x="4906" y="1531"/>
                  <a:pt x="4937" y="1531"/>
                  <a:pt x="4969" y="1531"/>
                </a:cubicBezTo>
                <a:cubicBezTo>
                  <a:pt x="4969" y="1531"/>
                  <a:pt x="4969" y="1531"/>
                  <a:pt x="5000" y="1531"/>
                </a:cubicBezTo>
                <a:cubicBezTo>
                  <a:pt x="5000" y="1531"/>
                  <a:pt x="5000" y="1531"/>
                  <a:pt x="5031" y="1562"/>
                </a:cubicBezTo>
                <a:cubicBezTo>
                  <a:pt x="5031" y="1562"/>
                  <a:pt x="5031" y="1562"/>
                  <a:pt x="5031" y="1562"/>
                </a:cubicBezTo>
                <a:cubicBezTo>
                  <a:pt x="5062" y="1594"/>
                  <a:pt x="5094" y="1625"/>
                  <a:pt x="5094" y="1656"/>
                </a:cubicBezTo>
                <a:cubicBezTo>
                  <a:pt x="5156" y="1687"/>
                  <a:pt x="5219" y="1656"/>
                  <a:pt x="5312" y="1625"/>
                </a:cubicBezTo>
                <a:cubicBezTo>
                  <a:pt x="5406" y="1562"/>
                  <a:pt x="5500" y="1594"/>
                  <a:pt x="5594" y="1625"/>
                </a:cubicBezTo>
                <a:cubicBezTo>
                  <a:pt x="5531" y="1656"/>
                  <a:pt x="5500" y="1687"/>
                  <a:pt x="5469" y="1687"/>
                </a:cubicBezTo>
                <a:cubicBezTo>
                  <a:pt x="5437" y="1719"/>
                  <a:pt x="5437" y="1719"/>
                  <a:pt x="5406" y="1719"/>
                </a:cubicBezTo>
                <a:cubicBezTo>
                  <a:pt x="5375" y="1719"/>
                  <a:pt x="5344" y="1719"/>
                  <a:pt x="5281" y="1719"/>
                </a:cubicBezTo>
                <a:cubicBezTo>
                  <a:pt x="5250" y="1719"/>
                  <a:pt x="5219" y="1687"/>
                  <a:pt x="5219" y="1687"/>
                </a:cubicBezTo>
                <a:cubicBezTo>
                  <a:pt x="5187" y="1687"/>
                  <a:pt x="5156" y="1687"/>
                  <a:pt x="5125" y="1656"/>
                </a:cubicBezTo>
                <a:cubicBezTo>
                  <a:pt x="5062" y="1656"/>
                  <a:pt x="5031" y="1656"/>
                  <a:pt x="4969" y="1687"/>
                </a:cubicBezTo>
                <a:cubicBezTo>
                  <a:pt x="4844" y="1750"/>
                  <a:pt x="4687" y="1781"/>
                  <a:pt x="4562" y="1812"/>
                </a:cubicBezTo>
                <a:cubicBezTo>
                  <a:pt x="4500" y="1844"/>
                  <a:pt x="4437" y="1844"/>
                  <a:pt x="4406" y="1844"/>
                </a:cubicBezTo>
                <a:cubicBezTo>
                  <a:pt x="4187" y="1875"/>
                  <a:pt x="3969" y="1906"/>
                  <a:pt x="3781" y="1937"/>
                </a:cubicBezTo>
                <a:cubicBezTo>
                  <a:pt x="3312" y="2062"/>
                  <a:pt x="2781" y="2000"/>
                  <a:pt x="2312" y="2125"/>
                </a:cubicBezTo>
                <a:cubicBezTo>
                  <a:pt x="2187" y="2094"/>
                  <a:pt x="2094" y="2125"/>
                  <a:pt x="2000" y="2156"/>
                </a:cubicBezTo>
                <a:cubicBezTo>
                  <a:pt x="1937" y="2156"/>
                  <a:pt x="1875" y="2187"/>
                  <a:pt x="1812" y="2156"/>
                </a:cubicBezTo>
                <a:cubicBezTo>
                  <a:pt x="1812" y="2156"/>
                  <a:pt x="1812" y="2125"/>
                  <a:pt x="1812" y="2125"/>
                </a:cubicBezTo>
                <a:cubicBezTo>
                  <a:pt x="1781" y="2094"/>
                  <a:pt x="1781" y="2062"/>
                  <a:pt x="1812" y="2031"/>
                </a:cubicBezTo>
                <a:cubicBezTo>
                  <a:pt x="1844" y="2031"/>
                  <a:pt x="1844" y="2031"/>
                  <a:pt x="1844" y="2031"/>
                </a:cubicBezTo>
                <a:cubicBezTo>
                  <a:pt x="1844" y="2000"/>
                  <a:pt x="1875" y="2000"/>
                  <a:pt x="1875" y="2000"/>
                </a:cubicBezTo>
                <a:cubicBezTo>
                  <a:pt x="1906" y="1906"/>
                  <a:pt x="2062" y="1937"/>
                  <a:pt x="2125" y="1875"/>
                </a:cubicBezTo>
                <a:cubicBezTo>
                  <a:pt x="2156" y="1875"/>
                  <a:pt x="2187" y="1844"/>
                  <a:pt x="2187" y="1812"/>
                </a:cubicBezTo>
                <a:cubicBezTo>
                  <a:pt x="2031" y="1812"/>
                  <a:pt x="1875" y="1844"/>
                  <a:pt x="1687" y="1844"/>
                </a:cubicBezTo>
                <a:cubicBezTo>
                  <a:pt x="1531" y="1875"/>
                  <a:pt x="1375" y="1906"/>
                  <a:pt x="1219" y="1937"/>
                </a:cubicBezTo>
                <a:cubicBezTo>
                  <a:pt x="781" y="2000"/>
                  <a:pt x="375" y="2094"/>
                  <a:pt x="0" y="2281"/>
                </a:cubicBezTo>
                <a:cubicBezTo>
                  <a:pt x="0" y="2281"/>
                  <a:pt x="0" y="2281"/>
                  <a:pt x="0" y="2281"/>
                </a:cubicBezTo>
                <a:cubicBezTo>
                  <a:pt x="62" y="2344"/>
                  <a:pt x="156" y="2375"/>
                  <a:pt x="219" y="2406"/>
                </a:cubicBezTo>
                <a:cubicBezTo>
                  <a:pt x="312" y="2437"/>
                  <a:pt x="375" y="2437"/>
                  <a:pt x="500" y="2437"/>
                </a:cubicBezTo>
                <a:cubicBezTo>
                  <a:pt x="625" y="2406"/>
                  <a:pt x="750" y="2375"/>
                  <a:pt x="875" y="2344"/>
                </a:cubicBezTo>
                <a:cubicBezTo>
                  <a:pt x="937" y="2344"/>
                  <a:pt x="969" y="2344"/>
                  <a:pt x="1000" y="2312"/>
                </a:cubicBezTo>
                <a:cubicBezTo>
                  <a:pt x="1031" y="2344"/>
                  <a:pt x="1062" y="2344"/>
                  <a:pt x="1125" y="2312"/>
                </a:cubicBezTo>
                <a:cubicBezTo>
                  <a:pt x="1156" y="2312"/>
                  <a:pt x="1187" y="2312"/>
                  <a:pt x="1219" y="2312"/>
                </a:cubicBezTo>
                <a:cubicBezTo>
                  <a:pt x="1219" y="2312"/>
                  <a:pt x="1250" y="2312"/>
                  <a:pt x="1250" y="2312"/>
                </a:cubicBezTo>
                <a:cubicBezTo>
                  <a:pt x="1281" y="2344"/>
                  <a:pt x="1312" y="2344"/>
                  <a:pt x="1344" y="2344"/>
                </a:cubicBezTo>
                <a:cubicBezTo>
                  <a:pt x="1312" y="2375"/>
                  <a:pt x="1250" y="2406"/>
                  <a:pt x="1219" y="2406"/>
                </a:cubicBezTo>
                <a:cubicBezTo>
                  <a:pt x="1187" y="2406"/>
                  <a:pt x="1187" y="2406"/>
                  <a:pt x="1156" y="2406"/>
                </a:cubicBezTo>
                <a:cubicBezTo>
                  <a:pt x="1094" y="2437"/>
                  <a:pt x="1062" y="2437"/>
                  <a:pt x="1031" y="2437"/>
                </a:cubicBezTo>
                <a:cubicBezTo>
                  <a:pt x="750" y="2500"/>
                  <a:pt x="500" y="2500"/>
                  <a:pt x="281" y="2625"/>
                </a:cubicBezTo>
                <a:cubicBezTo>
                  <a:pt x="281" y="2625"/>
                  <a:pt x="250" y="2625"/>
                  <a:pt x="250" y="2625"/>
                </a:cubicBezTo>
                <a:cubicBezTo>
                  <a:pt x="250" y="2625"/>
                  <a:pt x="250" y="2625"/>
                  <a:pt x="250" y="2625"/>
                </a:cubicBezTo>
                <a:close/>
                <a:moveTo>
                  <a:pt x="27094" y="9937"/>
                </a:moveTo>
                <a:cubicBezTo>
                  <a:pt x="27000" y="9906"/>
                  <a:pt x="26937" y="9906"/>
                  <a:pt x="26875" y="9906"/>
                </a:cubicBezTo>
                <a:cubicBezTo>
                  <a:pt x="26844" y="9937"/>
                  <a:pt x="26812" y="9937"/>
                  <a:pt x="26781" y="9969"/>
                </a:cubicBezTo>
                <a:cubicBezTo>
                  <a:pt x="26844" y="10031"/>
                  <a:pt x="26906" y="10031"/>
                  <a:pt x="26969" y="10031"/>
                </a:cubicBezTo>
                <a:cubicBezTo>
                  <a:pt x="27031" y="10031"/>
                  <a:pt x="27125" y="9969"/>
                  <a:pt x="27219" y="9969"/>
                </a:cubicBezTo>
                <a:cubicBezTo>
                  <a:pt x="27187" y="9969"/>
                  <a:pt x="27156" y="9937"/>
                  <a:pt x="27156" y="9937"/>
                </a:cubicBezTo>
                <a:cubicBezTo>
                  <a:pt x="27125" y="9937"/>
                  <a:pt x="27094" y="9937"/>
                  <a:pt x="27094" y="9937"/>
                </a:cubicBezTo>
                <a:close/>
                <a:moveTo>
                  <a:pt x="22531" y="10969"/>
                </a:moveTo>
                <a:lnTo>
                  <a:pt x="22562" y="10937"/>
                </a:lnTo>
                <a:lnTo>
                  <a:pt x="22531" y="10937"/>
                </a:lnTo>
                <a:lnTo>
                  <a:pt x="22531" y="10969"/>
                </a:lnTo>
                <a:close/>
                <a:moveTo>
                  <a:pt x="12937" y="10750"/>
                </a:moveTo>
                <a:cubicBezTo>
                  <a:pt x="12906" y="10750"/>
                  <a:pt x="12875" y="10750"/>
                  <a:pt x="12875" y="10750"/>
                </a:cubicBezTo>
                <a:cubicBezTo>
                  <a:pt x="12875" y="10750"/>
                  <a:pt x="12875" y="10750"/>
                  <a:pt x="12875" y="10750"/>
                </a:cubicBezTo>
                <a:cubicBezTo>
                  <a:pt x="12844" y="10750"/>
                  <a:pt x="12844" y="10781"/>
                  <a:pt x="12844" y="10781"/>
                </a:cubicBezTo>
                <a:cubicBezTo>
                  <a:pt x="12844" y="10781"/>
                  <a:pt x="12844" y="10781"/>
                  <a:pt x="12844" y="10781"/>
                </a:cubicBezTo>
                <a:cubicBezTo>
                  <a:pt x="12875" y="10781"/>
                  <a:pt x="12906" y="10781"/>
                  <a:pt x="12937" y="10781"/>
                </a:cubicBezTo>
                <a:cubicBezTo>
                  <a:pt x="12937" y="10781"/>
                  <a:pt x="12937" y="10781"/>
                  <a:pt x="12937" y="10750"/>
                </a:cubicBezTo>
                <a:cubicBezTo>
                  <a:pt x="12937" y="10750"/>
                  <a:pt x="12937" y="10750"/>
                  <a:pt x="12937" y="10750"/>
                </a:cubicBezTo>
                <a:close/>
                <a:moveTo>
                  <a:pt x="13187" y="10656"/>
                </a:moveTo>
                <a:cubicBezTo>
                  <a:pt x="12969" y="10719"/>
                  <a:pt x="13062" y="10781"/>
                  <a:pt x="13156" y="10844"/>
                </a:cubicBezTo>
                <a:cubicBezTo>
                  <a:pt x="13156" y="10844"/>
                  <a:pt x="13156" y="10844"/>
                  <a:pt x="13156" y="10844"/>
                </a:cubicBezTo>
                <a:cubicBezTo>
                  <a:pt x="13187" y="10844"/>
                  <a:pt x="13219" y="10844"/>
                  <a:pt x="13219" y="10844"/>
                </a:cubicBezTo>
                <a:cubicBezTo>
                  <a:pt x="13219" y="10844"/>
                  <a:pt x="13219" y="10844"/>
                  <a:pt x="13219" y="10844"/>
                </a:cubicBezTo>
                <a:cubicBezTo>
                  <a:pt x="13187" y="10875"/>
                  <a:pt x="13125" y="10875"/>
                  <a:pt x="13062" y="10875"/>
                </a:cubicBezTo>
                <a:cubicBezTo>
                  <a:pt x="12937" y="10906"/>
                  <a:pt x="12781" y="10906"/>
                  <a:pt x="12594" y="10906"/>
                </a:cubicBezTo>
                <a:cubicBezTo>
                  <a:pt x="12156" y="10875"/>
                  <a:pt x="11719" y="10906"/>
                  <a:pt x="11250" y="10875"/>
                </a:cubicBezTo>
                <a:cubicBezTo>
                  <a:pt x="10937" y="10844"/>
                  <a:pt x="10594" y="10844"/>
                  <a:pt x="10281" y="10812"/>
                </a:cubicBezTo>
                <a:cubicBezTo>
                  <a:pt x="10000" y="10812"/>
                  <a:pt x="9719" y="10812"/>
                  <a:pt x="9406" y="10781"/>
                </a:cubicBezTo>
                <a:cubicBezTo>
                  <a:pt x="9312" y="10781"/>
                  <a:pt x="9219" y="10781"/>
                  <a:pt x="9125" y="10781"/>
                </a:cubicBezTo>
                <a:cubicBezTo>
                  <a:pt x="9437" y="10875"/>
                  <a:pt x="9750" y="10969"/>
                  <a:pt x="10094" y="11000"/>
                </a:cubicBezTo>
                <a:cubicBezTo>
                  <a:pt x="10187" y="11000"/>
                  <a:pt x="10312" y="11000"/>
                  <a:pt x="10406" y="11000"/>
                </a:cubicBezTo>
                <a:cubicBezTo>
                  <a:pt x="10531" y="11000"/>
                  <a:pt x="10625" y="11000"/>
                  <a:pt x="10750" y="11000"/>
                </a:cubicBezTo>
                <a:cubicBezTo>
                  <a:pt x="11062" y="11000"/>
                  <a:pt x="11375" y="11000"/>
                  <a:pt x="11719" y="11000"/>
                </a:cubicBezTo>
                <a:cubicBezTo>
                  <a:pt x="12125" y="11000"/>
                  <a:pt x="12531" y="11000"/>
                  <a:pt x="12937" y="11000"/>
                </a:cubicBezTo>
                <a:cubicBezTo>
                  <a:pt x="13375" y="11000"/>
                  <a:pt x="13781" y="11000"/>
                  <a:pt x="14187" y="11000"/>
                </a:cubicBezTo>
                <a:cubicBezTo>
                  <a:pt x="14187" y="10969"/>
                  <a:pt x="14187" y="10937"/>
                  <a:pt x="14156" y="10937"/>
                </a:cubicBezTo>
                <a:cubicBezTo>
                  <a:pt x="14125" y="10906"/>
                  <a:pt x="14062" y="10906"/>
                  <a:pt x="14000" y="10906"/>
                </a:cubicBezTo>
                <a:cubicBezTo>
                  <a:pt x="13844" y="10906"/>
                  <a:pt x="13656" y="10937"/>
                  <a:pt x="13531" y="10906"/>
                </a:cubicBezTo>
                <a:cubicBezTo>
                  <a:pt x="13469" y="10875"/>
                  <a:pt x="13406" y="10875"/>
                  <a:pt x="13375" y="10844"/>
                </a:cubicBezTo>
                <a:cubicBezTo>
                  <a:pt x="13375" y="10812"/>
                  <a:pt x="13406" y="10812"/>
                  <a:pt x="13437" y="10781"/>
                </a:cubicBezTo>
                <a:cubicBezTo>
                  <a:pt x="13437" y="10781"/>
                  <a:pt x="13437" y="10781"/>
                  <a:pt x="13437" y="10781"/>
                </a:cubicBezTo>
                <a:cubicBezTo>
                  <a:pt x="13469" y="10781"/>
                  <a:pt x="13469" y="10750"/>
                  <a:pt x="13469" y="10750"/>
                </a:cubicBezTo>
                <a:cubicBezTo>
                  <a:pt x="13469" y="10750"/>
                  <a:pt x="13469" y="10750"/>
                  <a:pt x="13469" y="10750"/>
                </a:cubicBezTo>
                <a:cubicBezTo>
                  <a:pt x="13469" y="10750"/>
                  <a:pt x="13469" y="10750"/>
                  <a:pt x="13469" y="10750"/>
                </a:cubicBezTo>
                <a:cubicBezTo>
                  <a:pt x="13469" y="10719"/>
                  <a:pt x="13406" y="10719"/>
                  <a:pt x="13344" y="10719"/>
                </a:cubicBezTo>
                <a:cubicBezTo>
                  <a:pt x="13312" y="10719"/>
                  <a:pt x="13312" y="10719"/>
                  <a:pt x="13312" y="10719"/>
                </a:cubicBezTo>
                <a:cubicBezTo>
                  <a:pt x="13312" y="10719"/>
                  <a:pt x="13281" y="10719"/>
                  <a:pt x="13281" y="10719"/>
                </a:cubicBezTo>
                <a:cubicBezTo>
                  <a:pt x="13281" y="10719"/>
                  <a:pt x="13250" y="10719"/>
                  <a:pt x="13250" y="10687"/>
                </a:cubicBezTo>
                <a:cubicBezTo>
                  <a:pt x="13250" y="10687"/>
                  <a:pt x="13250" y="10687"/>
                  <a:pt x="13250" y="10687"/>
                </a:cubicBezTo>
                <a:cubicBezTo>
                  <a:pt x="13219" y="10687"/>
                  <a:pt x="13187" y="10656"/>
                  <a:pt x="13187" y="10656"/>
                </a:cubicBezTo>
                <a:close/>
                <a:moveTo>
                  <a:pt x="10375" y="9969"/>
                </a:moveTo>
                <a:cubicBezTo>
                  <a:pt x="10344" y="9969"/>
                  <a:pt x="10344" y="10000"/>
                  <a:pt x="10344" y="10000"/>
                </a:cubicBezTo>
                <a:cubicBezTo>
                  <a:pt x="10344" y="10031"/>
                  <a:pt x="10344" y="10031"/>
                  <a:pt x="10344" y="10031"/>
                </a:cubicBezTo>
                <a:cubicBezTo>
                  <a:pt x="10375" y="10031"/>
                  <a:pt x="10406" y="10031"/>
                  <a:pt x="10437" y="10031"/>
                </a:cubicBezTo>
                <a:cubicBezTo>
                  <a:pt x="10437" y="10031"/>
                  <a:pt x="10437" y="10031"/>
                  <a:pt x="10469" y="10000"/>
                </a:cubicBezTo>
                <a:cubicBezTo>
                  <a:pt x="10469" y="10000"/>
                  <a:pt x="10469" y="10000"/>
                  <a:pt x="10469" y="10000"/>
                </a:cubicBezTo>
                <a:cubicBezTo>
                  <a:pt x="10469" y="10000"/>
                  <a:pt x="10469" y="10000"/>
                  <a:pt x="10469" y="10000"/>
                </a:cubicBezTo>
                <a:cubicBezTo>
                  <a:pt x="10469" y="9969"/>
                  <a:pt x="10469" y="9969"/>
                  <a:pt x="10437" y="9969"/>
                </a:cubicBezTo>
                <a:cubicBezTo>
                  <a:pt x="10437" y="9969"/>
                  <a:pt x="10406" y="9969"/>
                  <a:pt x="10375" y="9969"/>
                </a:cubicBezTo>
                <a:close/>
                <a:moveTo>
                  <a:pt x="26937" y="8875"/>
                </a:moveTo>
                <a:cubicBezTo>
                  <a:pt x="26937" y="8875"/>
                  <a:pt x="26937" y="8875"/>
                  <a:pt x="26937" y="8875"/>
                </a:cubicBezTo>
                <a:cubicBezTo>
                  <a:pt x="26937" y="8875"/>
                  <a:pt x="26937" y="8875"/>
                  <a:pt x="26937" y="8875"/>
                </a:cubicBezTo>
                <a:cubicBezTo>
                  <a:pt x="26937" y="8875"/>
                  <a:pt x="26937" y="8875"/>
                  <a:pt x="26906" y="8875"/>
                </a:cubicBezTo>
                <a:cubicBezTo>
                  <a:pt x="26906" y="8875"/>
                  <a:pt x="26906" y="8875"/>
                  <a:pt x="26906" y="8875"/>
                </a:cubicBezTo>
                <a:cubicBezTo>
                  <a:pt x="26906" y="8875"/>
                  <a:pt x="26906" y="8906"/>
                  <a:pt x="26906" y="8906"/>
                </a:cubicBezTo>
                <a:cubicBezTo>
                  <a:pt x="26906" y="8906"/>
                  <a:pt x="26906" y="8906"/>
                  <a:pt x="26906" y="8906"/>
                </a:cubicBezTo>
                <a:cubicBezTo>
                  <a:pt x="26906" y="8906"/>
                  <a:pt x="26906" y="8906"/>
                  <a:pt x="26906" y="8906"/>
                </a:cubicBezTo>
                <a:cubicBezTo>
                  <a:pt x="26906" y="8906"/>
                  <a:pt x="26937" y="8906"/>
                  <a:pt x="26937" y="8875"/>
                </a:cubicBezTo>
                <a:close/>
                <a:moveTo>
                  <a:pt x="17531" y="9875"/>
                </a:moveTo>
                <a:cubicBezTo>
                  <a:pt x="17531" y="9875"/>
                  <a:pt x="17562" y="9875"/>
                  <a:pt x="17562" y="9875"/>
                </a:cubicBezTo>
                <a:cubicBezTo>
                  <a:pt x="17562" y="9875"/>
                  <a:pt x="17562" y="9844"/>
                  <a:pt x="17562" y="9844"/>
                </a:cubicBezTo>
                <a:cubicBezTo>
                  <a:pt x="17562" y="9844"/>
                  <a:pt x="17594" y="9844"/>
                  <a:pt x="17594" y="9812"/>
                </a:cubicBezTo>
                <a:cubicBezTo>
                  <a:pt x="17594" y="9812"/>
                  <a:pt x="17594" y="9812"/>
                  <a:pt x="17594" y="9812"/>
                </a:cubicBezTo>
                <a:cubicBezTo>
                  <a:pt x="17562" y="9781"/>
                  <a:pt x="17531" y="9781"/>
                  <a:pt x="17500" y="9781"/>
                </a:cubicBezTo>
                <a:cubicBezTo>
                  <a:pt x="17469" y="9781"/>
                  <a:pt x="17437" y="9781"/>
                  <a:pt x="17437" y="9812"/>
                </a:cubicBezTo>
                <a:cubicBezTo>
                  <a:pt x="17437" y="9812"/>
                  <a:pt x="17437" y="9844"/>
                  <a:pt x="17437" y="9844"/>
                </a:cubicBezTo>
                <a:cubicBezTo>
                  <a:pt x="17469" y="9875"/>
                  <a:pt x="17500" y="9875"/>
                  <a:pt x="17531" y="9875"/>
                </a:cubicBezTo>
                <a:close/>
                <a:moveTo>
                  <a:pt x="15625" y="10375"/>
                </a:moveTo>
                <a:cubicBezTo>
                  <a:pt x="15625" y="10375"/>
                  <a:pt x="15625" y="10375"/>
                  <a:pt x="15594" y="10406"/>
                </a:cubicBezTo>
                <a:lnTo>
                  <a:pt x="15594" y="10406"/>
                </a:lnTo>
                <a:lnTo>
                  <a:pt x="15594" y="10406"/>
                </a:lnTo>
                <a:cubicBezTo>
                  <a:pt x="15625" y="10406"/>
                  <a:pt x="15656" y="10406"/>
                  <a:pt x="15656" y="10375"/>
                </a:cubicBezTo>
                <a:cubicBezTo>
                  <a:pt x="15656" y="10375"/>
                  <a:pt x="15656" y="10375"/>
                  <a:pt x="15656" y="10375"/>
                </a:cubicBezTo>
                <a:cubicBezTo>
                  <a:pt x="15656" y="10344"/>
                  <a:pt x="15656" y="10344"/>
                  <a:pt x="15656" y="10344"/>
                </a:cubicBezTo>
                <a:cubicBezTo>
                  <a:pt x="15656" y="10344"/>
                  <a:pt x="15656" y="10344"/>
                  <a:pt x="15656" y="10344"/>
                </a:cubicBezTo>
                <a:cubicBezTo>
                  <a:pt x="15656" y="10344"/>
                  <a:pt x="15656" y="10344"/>
                  <a:pt x="15656" y="10344"/>
                </a:cubicBezTo>
                <a:cubicBezTo>
                  <a:pt x="15656" y="10344"/>
                  <a:pt x="15625" y="10344"/>
                  <a:pt x="15625" y="10375"/>
                </a:cubicBezTo>
                <a:close/>
                <a:moveTo>
                  <a:pt x="15594" y="10406"/>
                </a:moveTo>
                <a:close/>
                <a:moveTo>
                  <a:pt x="12469" y="187"/>
                </a:moveTo>
                <a:cubicBezTo>
                  <a:pt x="12500" y="187"/>
                  <a:pt x="12500" y="187"/>
                  <a:pt x="12531" y="187"/>
                </a:cubicBezTo>
                <a:cubicBezTo>
                  <a:pt x="12562" y="187"/>
                  <a:pt x="12594" y="156"/>
                  <a:pt x="12656" y="125"/>
                </a:cubicBezTo>
                <a:cubicBezTo>
                  <a:pt x="12531" y="125"/>
                  <a:pt x="12437" y="125"/>
                  <a:pt x="12312" y="125"/>
                </a:cubicBezTo>
                <a:cubicBezTo>
                  <a:pt x="12375" y="156"/>
                  <a:pt x="12437" y="187"/>
                  <a:pt x="12469" y="187"/>
                </a:cubicBezTo>
                <a:close/>
                <a:moveTo>
                  <a:pt x="15250" y="10969"/>
                </a:moveTo>
                <a:cubicBezTo>
                  <a:pt x="15250" y="10969"/>
                  <a:pt x="15250" y="10969"/>
                  <a:pt x="15250" y="10969"/>
                </a:cubicBezTo>
                <a:cubicBezTo>
                  <a:pt x="15156" y="10937"/>
                  <a:pt x="15094" y="10906"/>
                  <a:pt x="15031" y="10906"/>
                </a:cubicBezTo>
                <a:cubicBezTo>
                  <a:pt x="15000" y="10906"/>
                  <a:pt x="14937" y="10937"/>
                  <a:pt x="14906" y="11000"/>
                </a:cubicBezTo>
                <a:cubicBezTo>
                  <a:pt x="15031" y="11000"/>
                  <a:pt x="15125" y="11031"/>
                  <a:pt x="15219" y="10969"/>
                </a:cubicBezTo>
                <a:cubicBezTo>
                  <a:pt x="15250" y="11000"/>
                  <a:pt x="15281" y="11000"/>
                  <a:pt x="15312" y="11000"/>
                </a:cubicBezTo>
                <a:cubicBezTo>
                  <a:pt x="15500" y="11031"/>
                  <a:pt x="15687" y="11031"/>
                  <a:pt x="15875" y="10937"/>
                </a:cubicBezTo>
                <a:cubicBezTo>
                  <a:pt x="15844" y="10937"/>
                  <a:pt x="15781" y="10937"/>
                  <a:pt x="15750" y="10937"/>
                </a:cubicBezTo>
                <a:cubicBezTo>
                  <a:pt x="15562" y="10937"/>
                  <a:pt x="15406" y="10875"/>
                  <a:pt x="15250" y="10969"/>
                </a:cubicBezTo>
                <a:close/>
                <a:moveTo>
                  <a:pt x="13937" y="156"/>
                </a:moveTo>
                <a:cubicBezTo>
                  <a:pt x="14000" y="125"/>
                  <a:pt x="14094" y="125"/>
                  <a:pt x="14156" y="156"/>
                </a:cubicBezTo>
                <a:cubicBezTo>
                  <a:pt x="14156" y="156"/>
                  <a:pt x="14187" y="94"/>
                  <a:pt x="14187" y="94"/>
                </a:cubicBezTo>
                <a:cubicBezTo>
                  <a:pt x="14156" y="62"/>
                  <a:pt x="14125" y="31"/>
                  <a:pt x="14094" y="62"/>
                </a:cubicBezTo>
                <a:cubicBezTo>
                  <a:pt x="14062" y="62"/>
                  <a:pt x="14000" y="62"/>
                  <a:pt x="13969" y="62"/>
                </a:cubicBezTo>
                <a:cubicBezTo>
                  <a:pt x="13844" y="94"/>
                  <a:pt x="13687" y="62"/>
                  <a:pt x="13531" y="94"/>
                </a:cubicBezTo>
                <a:cubicBezTo>
                  <a:pt x="13531" y="94"/>
                  <a:pt x="13531" y="94"/>
                  <a:pt x="13531" y="94"/>
                </a:cubicBezTo>
                <a:cubicBezTo>
                  <a:pt x="13656" y="187"/>
                  <a:pt x="13812" y="156"/>
                  <a:pt x="13937" y="156"/>
                </a:cubicBezTo>
                <a:close/>
                <a:moveTo>
                  <a:pt x="27281" y="10531"/>
                </a:moveTo>
                <a:cubicBezTo>
                  <a:pt x="27250" y="10500"/>
                  <a:pt x="27250" y="10500"/>
                  <a:pt x="27219" y="10500"/>
                </a:cubicBezTo>
                <a:cubicBezTo>
                  <a:pt x="27156" y="10531"/>
                  <a:pt x="27062" y="10531"/>
                  <a:pt x="27000" y="10531"/>
                </a:cubicBezTo>
                <a:cubicBezTo>
                  <a:pt x="26875" y="10531"/>
                  <a:pt x="26750" y="10531"/>
                  <a:pt x="26656" y="10562"/>
                </a:cubicBezTo>
                <a:cubicBezTo>
                  <a:pt x="26594" y="10594"/>
                  <a:pt x="26562" y="10625"/>
                  <a:pt x="26500" y="10687"/>
                </a:cubicBezTo>
                <a:cubicBezTo>
                  <a:pt x="26500" y="10687"/>
                  <a:pt x="26500" y="10687"/>
                  <a:pt x="26500" y="10687"/>
                </a:cubicBezTo>
                <a:cubicBezTo>
                  <a:pt x="26500" y="10687"/>
                  <a:pt x="26500" y="10687"/>
                  <a:pt x="26500" y="10687"/>
                </a:cubicBezTo>
                <a:cubicBezTo>
                  <a:pt x="26750" y="10719"/>
                  <a:pt x="26969" y="10719"/>
                  <a:pt x="27187" y="10719"/>
                </a:cubicBezTo>
                <a:cubicBezTo>
                  <a:pt x="27312" y="10750"/>
                  <a:pt x="27312" y="10719"/>
                  <a:pt x="27281" y="10687"/>
                </a:cubicBezTo>
                <a:cubicBezTo>
                  <a:pt x="27250" y="10625"/>
                  <a:pt x="27219" y="10594"/>
                  <a:pt x="27281" y="10594"/>
                </a:cubicBezTo>
                <a:cubicBezTo>
                  <a:pt x="27344" y="10562"/>
                  <a:pt x="27312" y="10531"/>
                  <a:pt x="27281" y="10531"/>
                </a:cubicBezTo>
                <a:close/>
                <a:moveTo>
                  <a:pt x="27469" y="10156"/>
                </a:moveTo>
                <a:cubicBezTo>
                  <a:pt x="27406" y="10156"/>
                  <a:pt x="27344" y="10156"/>
                  <a:pt x="27281" y="10156"/>
                </a:cubicBezTo>
                <a:cubicBezTo>
                  <a:pt x="27250" y="10156"/>
                  <a:pt x="27219" y="10187"/>
                  <a:pt x="27219" y="10187"/>
                </a:cubicBezTo>
                <a:cubicBezTo>
                  <a:pt x="27187" y="10187"/>
                  <a:pt x="27187" y="10187"/>
                  <a:pt x="27187" y="10187"/>
                </a:cubicBezTo>
                <a:cubicBezTo>
                  <a:pt x="27156" y="10187"/>
                  <a:pt x="27156" y="10187"/>
                  <a:pt x="27156" y="10187"/>
                </a:cubicBezTo>
                <a:cubicBezTo>
                  <a:pt x="27156" y="10187"/>
                  <a:pt x="27156" y="10187"/>
                  <a:pt x="27156" y="10187"/>
                </a:cubicBezTo>
                <a:cubicBezTo>
                  <a:pt x="27156" y="10187"/>
                  <a:pt x="27125" y="10187"/>
                  <a:pt x="27125" y="10187"/>
                </a:cubicBezTo>
                <a:cubicBezTo>
                  <a:pt x="27125" y="10187"/>
                  <a:pt x="27125" y="10187"/>
                  <a:pt x="27125" y="10187"/>
                </a:cubicBezTo>
                <a:cubicBezTo>
                  <a:pt x="27125" y="10187"/>
                  <a:pt x="27125" y="10187"/>
                  <a:pt x="27125" y="10187"/>
                </a:cubicBezTo>
                <a:cubicBezTo>
                  <a:pt x="27094" y="10187"/>
                  <a:pt x="27094" y="10187"/>
                  <a:pt x="27094" y="10187"/>
                </a:cubicBezTo>
                <a:cubicBezTo>
                  <a:pt x="27094" y="10187"/>
                  <a:pt x="27094" y="10187"/>
                  <a:pt x="27094" y="10187"/>
                </a:cubicBezTo>
                <a:cubicBezTo>
                  <a:pt x="27094" y="10187"/>
                  <a:pt x="27062" y="10187"/>
                  <a:pt x="27062" y="10187"/>
                </a:cubicBezTo>
                <a:cubicBezTo>
                  <a:pt x="27062" y="10187"/>
                  <a:pt x="27062" y="10187"/>
                  <a:pt x="27062" y="10187"/>
                </a:cubicBezTo>
                <a:cubicBezTo>
                  <a:pt x="27031" y="10219"/>
                  <a:pt x="27031" y="10219"/>
                  <a:pt x="27000" y="10219"/>
                </a:cubicBezTo>
                <a:cubicBezTo>
                  <a:pt x="27000" y="10219"/>
                  <a:pt x="26969" y="10219"/>
                  <a:pt x="26969" y="10187"/>
                </a:cubicBezTo>
                <a:cubicBezTo>
                  <a:pt x="26937" y="10187"/>
                  <a:pt x="26875" y="10187"/>
                  <a:pt x="26844" y="10187"/>
                </a:cubicBezTo>
                <a:cubicBezTo>
                  <a:pt x="26812" y="10187"/>
                  <a:pt x="26781" y="10187"/>
                  <a:pt x="26719" y="10187"/>
                </a:cubicBezTo>
                <a:cubicBezTo>
                  <a:pt x="26594" y="10187"/>
                  <a:pt x="26469" y="10187"/>
                  <a:pt x="26344" y="10219"/>
                </a:cubicBezTo>
                <a:cubicBezTo>
                  <a:pt x="26156" y="10219"/>
                  <a:pt x="25937" y="10219"/>
                  <a:pt x="25750" y="10156"/>
                </a:cubicBezTo>
                <a:cubicBezTo>
                  <a:pt x="25875" y="10125"/>
                  <a:pt x="26000" y="10125"/>
                  <a:pt x="26156" y="10125"/>
                </a:cubicBezTo>
                <a:cubicBezTo>
                  <a:pt x="26219" y="10125"/>
                  <a:pt x="26344" y="10125"/>
                  <a:pt x="26312" y="10031"/>
                </a:cubicBezTo>
                <a:cubicBezTo>
                  <a:pt x="26406" y="10000"/>
                  <a:pt x="26500" y="9969"/>
                  <a:pt x="26625" y="9969"/>
                </a:cubicBezTo>
                <a:cubicBezTo>
                  <a:pt x="26625" y="9969"/>
                  <a:pt x="26625" y="9969"/>
                  <a:pt x="26625" y="9969"/>
                </a:cubicBezTo>
                <a:cubicBezTo>
                  <a:pt x="26656" y="9969"/>
                  <a:pt x="26687" y="9969"/>
                  <a:pt x="26687" y="9937"/>
                </a:cubicBezTo>
                <a:cubicBezTo>
                  <a:pt x="26687" y="9937"/>
                  <a:pt x="26625" y="9937"/>
                  <a:pt x="26625" y="9906"/>
                </a:cubicBezTo>
                <a:cubicBezTo>
                  <a:pt x="26531" y="9906"/>
                  <a:pt x="26469" y="9906"/>
                  <a:pt x="26375" y="9875"/>
                </a:cubicBezTo>
                <a:cubicBezTo>
                  <a:pt x="26406" y="9875"/>
                  <a:pt x="26406" y="9844"/>
                  <a:pt x="26406" y="9812"/>
                </a:cubicBezTo>
                <a:cubicBezTo>
                  <a:pt x="26500" y="9812"/>
                  <a:pt x="26562" y="9812"/>
                  <a:pt x="26656" y="9781"/>
                </a:cubicBezTo>
                <a:cubicBezTo>
                  <a:pt x="26656" y="9781"/>
                  <a:pt x="26656" y="9781"/>
                  <a:pt x="26656" y="9781"/>
                </a:cubicBezTo>
                <a:cubicBezTo>
                  <a:pt x="26781" y="9844"/>
                  <a:pt x="26875" y="9781"/>
                  <a:pt x="27000" y="9781"/>
                </a:cubicBezTo>
                <a:cubicBezTo>
                  <a:pt x="27000" y="9781"/>
                  <a:pt x="27000" y="9781"/>
                  <a:pt x="27000" y="9781"/>
                </a:cubicBezTo>
                <a:cubicBezTo>
                  <a:pt x="27031" y="9812"/>
                  <a:pt x="27094" y="9812"/>
                  <a:pt x="27125" y="9781"/>
                </a:cubicBezTo>
                <a:cubicBezTo>
                  <a:pt x="27125" y="9781"/>
                  <a:pt x="27125" y="9781"/>
                  <a:pt x="27125" y="9781"/>
                </a:cubicBezTo>
                <a:cubicBezTo>
                  <a:pt x="27125" y="9719"/>
                  <a:pt x="27062" y="9719"/>
                  <a:pt x="27031" y="9719"/>
                </a:cubicBezTo>
                <a:cubicBezTo>
                  <a:pt x="27000" y="9719"/>
                  <a:pt x="27000" y="9719"/>
                  <a:pt x="26969" y="9719"/>
                </a:cubicBezTo>
                <a:cubicBezTo>
                  <a:pt x="26875" y="9687"/>
                  <a:pt x="26781" y="9687"/>
                  <a:pt x="26656" y="9719"/>
                </a:cubicBezTo>
                <a:cubicBezTo>
                  <a:pt x="26094" y="9656"/>
                  <a:pt x="25500" y="9687"/>
                  <a:pt x="24937" y="9687"/>
                </a:cubicBezTo>
                <a:cubicBezTo>
                  <a:pt x="24937" y="9687"/>
                  <a:pt x="24937" y="9719"/>
                  <a:pt x="24937" y="9719"/>
                </a:cubicBezTo>
                <a:cubicBezTo>
                  <a:pt x="24969" y="9750"/>
                  <a:pt x="25000" y="9750"/>
                  <a:pt x="25000" y="9750"/>
                </a:cubicBezTo>
                <a:cubicBezTo>
                  <a:pt x="25031" y="9750"/>
                  <a:pt x="25031" y="9750"/>
                  <a:pt x="25062" y="9750"/>
                </a:cubicBezTo>
                <a:cubicBezTo>
                  <a:pt x="25062" y="9750"/>
                  <a:pt x="25094" y="9750"/>
                  <a:pt x="25094" y="9750"/>
                </a:cubicBezTo>
                <a:cubicBezTo>
                  <a:pt x="25125" y="9750"/>
                  <a:pt x="25125" y="9781"/>
                  <a:pt x="25156" y="9781"/>
                </a:cubicBezTo>
                <a:cubicBezTo>
                  <a:pt x="25156" y="9781"/>
                  <a:pt x="25156" y="9812"/>
                  <a:pt x="25156" y="9812"/>
                </a:cubicBezTo>
                <a:cubicBezTo>
                  <a:pt x="25156" y="9812"/>
                  <a:pt x="25156" y="9812"/>
                  <a:pt x="25156" y="9812"/>
                </a:cubicBezTo>
                <a:cubicBezTo>
                  <a:pt x="25156" y="9812"/>
                  <a:pt x="25156" y="9812"/>
                  <a:pt x="25156" y="9812"/>
                </a:cubicBezTo>
                <a:cubicBezTo>
                  <a:pt x="25156" y="9812"/>
                  <a:pt x="25125" y="9844"/>
                  <a:pt x="25125" y="9844"/>
                </a:cubicBezTo>
                <a:cubicBezTo>
                  <a:pt x="25062" y="9875"/>
                  <a:pt x="25000" y="9875"/>
                  <a:pt x="25000" y="9906"/>
                </a:cubicBezTo>
                <a:cubicBezTo>
                  <a:pt x="25125" y="10000"/>
                  <a:pt x="25250" y="9937"/>
                  <a:pt x="25375" y="9906"/>
                </a:cubicBezTo>
                <a:cubicBezTo>
                  <a:pt x="25375" y="9906"/>
                  <a:pt x="25375" y="9906"/>
                  <a:pt x="25375" y="9906"/>
                </a:cubicBezTo>
                <a:cubicBezTo>
                  <a:pt x="25469" y="9937"/>
                  <a:pt x="25562" y="9969"/>
                  <a:pt x="25656" y="9906"/>
                </a:cubicBezTo>
                <a:cubicBezTo>
                  <a:pt x="25687" y="9906"/>
                  <a:pt x="25687" y="9906"/>
                  <a:pt x="25687" y="9906"/>
                </a:cubicBezTo>
                <a:cubicBezTo>
                  <a:pt x="25719" y="9906"/>
                  <a:pt x="25750" y="9906"/>
                  <a:pt x="25781" y="9906"/>
                </a:cubicBezTo>
                <a:cubicBezTo>
                  <a:pt x="25844" y="9906"/>
                  <a:pt x="25875" y="9906"/>
                  <a:pt x="25937" y="9906"/>
                </a:cubicBezTo>
                <a:cubicBezTo>
                  <a:pt x="26000" y="9906"/>
                  <a:pt x="26031" y="9906"/>
                  <a:pt x="26062" y="9937"/>
                </a:cubicBezTo>
                <a:cubicBezTo>
                  <a:pt x="26031" y="9969"/>
                  <a:pt x="26000" y="9969"/>
                  <a:pt x="25969" y="10000"/>
                </a:cubicBezTo>
                <a:cubicBezTo>
                  <a:pt x="25969" y="10000"/>
                  <a:pt x="25937" y="10031"/>
                  <a:pt x="25906" y="10031"/>
                </a:cubicBezTo>
                <a:cubicBezTo>
                  <a:pt x="25906" y="10031"/>
                  <a:pt x="25875" y="10031"/>
                  <a:pt x="25875" y="10031"/>
                </a:cubicBezTo>
                <a:cubicBezTo>
                  <a:pt x="25844" y="10031"/>
                  <a:pt x="25812" y="10031"/>
                  <a:pt x="25781" y="10031"/>
                </a:cubicBezTo>
                <a:cubicBezTo>
                  <a:pt x="25750" y="10031"/>
                  <a:pt x="25687" y="10062"/>
                  <a:pt x="25656" y="10062"/>
                </a:cubicBezTo>
                <a:cubicBezTo>
                  <a:pt x="24844" y="10094"/>
                  <a:pt x="24000" y="10125"/>
                  <a:pt x="23187" y="10125"/>
                </a:cubicBezTo>
                <a:cubicBezTo>
                  <a:pt x="23187" y="10094"/>
                  <a:pt x="23187" y="10062"/>
                  <a:pt x="23187" y="10031"/>
                </a:cubicBezTo>
                <a:cubicBezTo>
                  <a:pt x="23187" y="10031"/>
                  <a:pt x="23187" y="10031"/>
                  <a:pt x="23187" y="10031"/>
                </a:cubicBezTo>
                <a:cubicBezTo>
                  <a:pt x="23187" y="10031"/>
                  <a:pt x="23219" y="10000"/>
                  <a:pt x="23219" y="10000"/>
                </a:cubicBezTo>
                <a:cubicBezTo>
                  <a:pt x="23219" y="10000"/>
                  <a:pt x="23219" y="10000"/>
                  <a:pt x="23250" y="10000"/>
                </a:cubicBezTo>
                <a:cubicBezTo>
                  <a:pt x="23250" y="10000"/>
                  <a:pt x="23250" y="10000"/>
                  <a:pt x="23281" y="10000"/>
                </a:cubicBezTo>
                <a:cubicBezTo>
                  <a:pt x="23281" y="10000"/>
                  <a:pt x="23281" y="10000"/>
                  <a:pt x="23281" y="10000"/>
                </a:cubicBezTo>
                <a:cubicBezTo>
                  <a:pt x="23312" y="10000"/>
                  <a:pt x="23312" y="10000"/>
                  <a:pt x="23344" y="10000"/>
                </a:cubicBezTo>
                <a:cubicBezTo>
                  <a:pt x="23437" y="10000"/>
                  <a:pt x="23531" y="10000"/>
                  <a:pt x="23594" y="9937"/>
                </a:cubicBezTo>
                <a:cubicBezTo>
                  <a:pt x="23594" y="9937"/>
                  <a:pt x="23594" y="9937"/>
                  <a:pt x="23594" y="9937"/>
                </a:cubicBezTo>
                <a:cubicBezTo>
                  <a:pt x="23594" y="9937"/>
                  <a:pt x="23594" y="9937"/>
                  <a:pt x="23594" y="9937"/>
                </a:cubicBezTo>
                <a:cubicBezTo>
                  <a:pt x="23594" y="9937"/>
                  <a:pt x="23594" y="9937"/>
                  <a:pt x="23594" y="9969"/>
                </a:cubicBezTo>
                <a:cubicBezTo>
                  <a:pt x="23594" y="9969"/>
                  <a:pt x="23594" y="9969"/>
                  <a:pt x="23594" y="9969"/>
                </a:cubicBezTo>
                <a:cubicBezTo>
                  <a:pt x="23625" y="9969"/>
                  <a:pt x="23625" y="9969"/>
                  <a:pt x="23656" y="9969"/>
                </a:cubicBezTo>
                <a:cubicBezTo>
                  <a:pt x="23656" y="9969"/>
                  <a:pt x="23656" y="9969"/>
                  <a:pt x="23656" y="9969"/>
                </a:cubicBezTo>
                <a:cubicBezTo>
                  <a:pt x="23656" y="9969"/>
                  <a:pt x="23656" y="9969"/>
                  <a:pt x="23687" y="9969"/>
                </a:cubicBezTo>
                <a:cubicBezTo>
                  <a:pt x="23750" y="9969"/>
                  <a:pt x="23844" y="9969"/>
                  <a:pt x="23906" y="9969"/>
                </a:cubicBezTo>
                <a:cubicBezTo>
                  <a:pt x="24031" y="9969"/>
                  <a:pt x="24156" y="9969"/>
                  <a:pt x="24281" y="9937"/>
                </a:cubicBezTo>
                <a:cubicBezTo>
                  <a:pt x="24281" y="9937"/>
                  <a:pt x="24281" y="9937"/>
                  <a:pt x="24281" y="9937"/>
                </a:cubicBezTo>
                <a:cubicBezTo>
                  <a:pt x="24437" y="9937"/>
                  <a:pt x="24625" y="10031"/>
                  <a:pt x="24687" y="9875"/>
                </a:cubicBezTo>
                <a:cubicBezTo>
                  <a:pt x="24687" y="9875"/>
                  <a:pt x="24687" y="9875"/>
                  <a:pt x="24687" y="9875"/>
                </a:cubicBezTo>
                <a:cubicBezTo>
                  <a:pt x="24687" y="9875"/>
                  <a:pt x="24687" y="9906"/>
                  <a:pt x="24687" y="9906"/>
                </a:cubicBezTo>
                <a:cubicBezTo>
                  <a:pt x="24719" y="9906"/>
                  <a:pt x="24719" y="9906"/>
                  <a:pt x="24750" y="9906"/>
                </a:cubicBezTo>
                <a:cubicBezTo>
                  <a:pt x="24750" y="9906"/>
                  <a:pt x="24719" y="9906"/>
                  <a:pt x="24719" y="9906"/>
                </a:cubicBezTo>
                <a:cubicBezTo>
                  <a:pt x="24719" y="9875"/>
                  <a:pt x="24719" y="9875"/>
                  <a:pt x="24687" y="9875"/>
                </a:cubicBezTo>
                <a:cubicBezTo>
                  <a:pt x="24687" y="9875"/>
                  <a:pt x="24687" y="9875"/>
                  <a:pt x="24687" y="9875"/>
                </a:cubicBezTo>
                <a:cubicBezTo>
                  <a:pt x="24687" y="9875"/>
                  <a:pt x="24687" y="9875"/>
                  <a:pt x="24687" y="9844"/>
                </a:cubicBezTo>
                <a:cubicBezTo>
                  <a:pt x="24687" y="9875"/>
                  <a:pt x="24687" y="9875"/>
                  <a:pt x="24687" y="9875"/>
                </a:cubicBezTo>
                <a:cubicBezTo>
                  <a:pt x="24687" y="9875"/>
                  <a:pt x="24656" y="9875"/>
                  <a:pt x="24656" y="9875"/>
                </a:cubicBezTo>
                <a:cubicBezTo>
                  <a:pt x="24531" y="9906"/>
                  <a:pt x="24406" y="9812"/>
                  <a:pt x="24312" y="9906"/>
                </a:cubicBezTo>
                <a:cubicBezTo>
                  <a:pt x="24094" y="9875"/>
                  <a:pt x="23844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594" y="9906"/>
                  <a:pt x="23562" y="9875"/>
                  <a:pt x="23500" y="9875"/>
                </a:cubicBezTo>
                <a:cubicBezTo>
                  <a:pt x="23500" y="9875"/>
                  <a:pt x="23500" y="9875"/>
                  <a:pt x="23500" y="9875"/>
                </a:cubicBezTo>
                <a:cubicBezTo>
                  <a:pt x="23500" y="9875"/>
                  <a:pt x="23500" y="9875"/>
                  <a:pt x="23469" y="9875"/>
                </a:cubicBezTo>
                <a:cubicBezTo>
                  <a:pt x="23375" y="9781"/>
                  <a:pt x="23594" y="9719"/>
                  <a:pt x="23625" y="9625"/>
                </a:cubicBezTo>
                <a:cubicBezTo>
                  <a:pt x="23531" y="9625"/>
                  <a:pt x="23437" y="9625"/>
                  <a:pt x="23375" y="9625"/>
                </a:cubicBezTo>
                <a:cubicBezTo>
                  <a:pt x="23156" y="9594"/>
                  <a:pt x="22969" y="9594"/>
                  <a:pt x="22781" y="9594"/>
                </a:cubicBezTo>
                <a:cubicBezTo>
                  <a:pt x="22656" y="9625"/>
                  <a:pt x="22562" y="9625"/>
                  <a:pt x="22437" y="9656"/>
                </a:cubicBezTo>
                <a:cubicBezTo>
                  <a:pt x="22437" y="9656"/>
                  <a:pt x="22437" y="9656"/>
                  <a:pt x="22437" y="9656"/>
                </a:cubicBezTo>
                <a:cubicBezTo>
                  <a:pt x="22375" y="9656"/>
                  <a:pt x="22312" y="9594"/>
                  <a:pt x="22250" y="9656"/>
                </a:cubicBezTo>
                <a:cubicBezTo>
                  <a:pt x="22250" y="9656"/>
                  <a:pt x="22250" y="9656"/>
                  <a:pt x="22250" y="9656"/>
                </a:cubicBezTo>
                <a:cubicBezTo>
                  <a:pt x="22219" y="9625"/>
                  <a:pt x="22187" y="9656"/>
                  <a:pt x="22156" y="9656"/>
                </a:cubicBezTo>
                <a:cubicBezTo>
                  <a:pt x="22125" y="9625"/>
                  <a:pt x="22094" y="9625"/>
                  <a:pt x="22062" y="9625"/>
                </a:cubicBezTo>
                <a:cubicBezTo>
                  <a:pt x="22031" y="9625"/>
                  <a:pt x="22000" y="9656"/>
                  <a:pt x="21969" y="9656"/>
                </a:cubicBezTo>
                <a:cubicBezTo>
                  <a:pt x="21969" y="9656"/>
                  <a:pt x="21969" y="9687"/>
                  <a:pt x="21969" y="9687"/>
                </a:cubicBezTo>
                <a:cubicBezTo>
                  <a:pt x="21969" y="9719"/>
                  <a:pt x="22000" y="9750"/>
                  <a:pt x="22000" y="9750"/>
                </a:cubicBezTo>
                <a:cubicBezTo>
                  <a:pt x="22000" y="9750"/>
                  <a:pt x="21969" y="9750"/>
                  <a:pt x="21937" y="9750"/>
                </a:cubicBezTo>
                <a:cubicBezTo>
                  <a:pt x="21937" y="9750"/>
                  <a:pt x="21906" y="9719"/>
                  <a:pt x="21906" y="9719"/>
                </a:cubicBezTo>
                <a:cubicBezTo>
                  <a:pt x="21875" y="9719"/>
                  <a:pt x="21875" y="9719"/>
                  <a:pt x="21844" y="9719"/>
                </a:cubicBezTo>
                <a:cubicBezTo>
                  <a:pt x="21844" y="9687"/>
                  <a:pt x="21844" y="9687"/>
                  <a:pt x="21812" y="9687"/>
                </a:cubicBezTo>
                <a:cubicBezTo>
                  <a:pt x="21812" y="9687"/>
                  <a:pt x="21812" y="9687"/>
                  <a:pt x="21781" y="9687"/>
                </a:cubicBezTo>
                <a:cubicBezTo>
                  <a:pt x="21781" y="9719"/>
                  <a:pt x="21750" y="9719"/>
                  <a:pt x="21719" y="9719"/>
                </a:cubicBezTo>
                <a:cubicBezTo>
                  <a:pt x="21375" y="9750"/>
                  <a:pt x="21000" y="9750"/>
                  <a:pt x="20656" y="9750"/>
                </a:cubicBezTo>
                <a:cubicBezTo>
                  <a:pt x="20687" y="9719"/>
                  <a:pt x="20750" y="9719"/>
                  <a:pt x="20781" y="9687"/>
                </a:cubicBezTo>
                <a:cubicBezTo>
                  <a:pt x="20812" y="9656"/>
                  <a:pt x="20812" y="9625"/>
                  <a:pt x="20812" y="9594"/>
                </a:cubicBezTo>
                <a:cubicBezTo>
                  <a:pt x="20750" y="9625"/>
                  <a:pt x="20656" y="9625"/>
                  <a:pt x="20594" y="9594"/>
                </a:cubicBezTo>
                <a:cubicBezTo>
                  <a:pt x="20531" y="9594"/>
                  <a:pt x="20437" y="9594"/>
                  <a:pt x="20375" y="9562"/>
                </a:cubicBezTo>
                <a:cubicBezTo>
                  <a:pt x="20281" y="9531"/>
                  <a:pt x="20187" y="9500"/>
                  <a:pt x="20094" y="9594"/>
                </a:cubicBezTo>
                <a:cubicBezTo>
                  <a:pt x="20062" y="9625"/>
                  <a:pt x="20062" y="9625"/>
                  <a:pt x="20062" y="9656"/>
                </a:cubicBezTo>
                <a:cubicBezTo>
                  <a:pt x="20062" y="9656"/>
                  <a:pt x="20094" y="9656"/>
                  <a:pt x="20094" y="9656"/>
                </a:cubicBezTo>
                <a:cubicBezTo>
                  <a:pt x="20125" y="9687"/>
                  <a:pt x="20156" y="9687"/>
                  <a:pt x="20187" y="9687"/>
                </a:cubicBezTo>
                <a:cubicBezTo>
                  <a:pt x="20187" y="9719"/>
                  <a:pt x="20187" y="9719"/>
                  <a:pt x="20187" y="9750"/>
                </a:cubicBezTo>
                <a:cubicBezTo>
                  <a:pt x="19875" y="9750"/>
                  <a:pt x="19594" y="9750"/>
                  <a:pt x="19312" y="9750"/>
                </a:cubicBezTo>
                <a:cubicBezTo>
                  <a:pt x="19312" y="9750"/>
                  <a:pt x="19281" y="9719"/>
                  <a:pt x="19281" y="9719"/>
                </a:cubicBezTo>
                <a:cubicBezTo>
                  <a:pt x="19250" y="9687"/>
                  <a:pt x="19312" y="9656"/>
                  <a:pt x="19344" y="9594"/>
                </a:cubicBezTo>
                <a:cubicBezTo>
                  <a:pt x="19344" y="9594"/>
                  <a:pt x="19375" y="9594"/>
                  <a:pt x="19375" y="9594"/>
                </a:cubicBezTo>
                <a:cubicBezTo>
                  <a:pt x="19219" y="9594"/>
                  <a:pt x="19094" y="9625"/>
                  <a:pt x="19000" y="9625"/>
                </a:cubicBezTo>
                <a:cubicBezTo>
                  <a:pt x="18969" y="9625"/>
                  <a:pt x="18969" y="9625"/>
                  <a:pt x="18937" y="9625"/>
                </a:cubicBezTo>
                <a:cubicBezTo>
                  <a:pt x="18906" y="9656"/>
                  <a:pt x="18906" y="9656"/>
                  <a:pt x="18906" y="9687"/>
                </a:cubicBezTo>
                <a:cubicBezTo>
                  <a:pt x="18906" y="9687"/>
                  <a:pt x="18906" y="9719"/>
                  <a:pt x="18937" y="9750"/>
                </a:cubicBezTo>
                <a:cubicBezTo>
                  <a:pt x="18906" y="9750"/>
                  <a:pt x="18906" y="9750"/>
                  <a:pt x="18906" y="9750"/>
                </a:cubicBezTo>
                <a:cubicBezTo>
                  <a:pt x="18844" y="9719"/>
                  <a:pt x="18781" y="9781"/>
                  <a:pt x="18719" y="9781"/>
                </a:cubicBezTo>
                <a:cubicBezTo>
                  <a:pt x="18687" y="9750"/>
                  <a:pt x="18687" y="9750"/>
                  <a:pt x="18656" y="9719"/>
                </a:cubicBezTo>
                <a:cubicBezTo>
                  <a:pt x="18687" y="9719"/>
                  <a:pt x="18719" y="9719"/>
                  <a:pt x="18750" y="9687"/>
                </a:cubicBezTo>
                <a:cubicBezTo>
                  <a:pt x="18781" y="9687"/>
                  <a:pt x="18781" y="9656"/>
                  <a:pt x="18812" y="9656"/>
                </a:cubicBezTo>
                <a:cubicBezTo>
                  <a:pt x="18812" y="9656"/>
                  <a:pt x="18812" y="9656"/>
                  <a:pt x="18812" y="9656"/>
                </a:cubicBezTo>
                <a:cubicBezTo>
                  <a:pt x="18812" y="9656"/>
                  <a:pt x="18812" y="9656"/>
                  <a:pt x="18812" y="9625"/>
                </a:cubicBezTo>
                <a:cubicBezTo>
                  <a:pt x="18781" y="9625"/>
                  <a:pt x="18750" y="9625"/>
                  <a:pt x="18719" y="9625"/>
                </a:cubicBezTo>
                <a:cubicBezTo>
                  <a:pt x="18719" y="9625"/>
                  <a:pt x="18687" y="9625"/>
                  <a:pt x="18687" y="9625"/>
                </a:cubicBezTo>
                <a:cubicBezTo>
                  <a:pt x="18625" y="9656"/>
                  <a:pt x="18625" y="9687"/>
                  <a:pt x="18656" y="9719"/>
                </a:cubicBezTo>
                <a:cubicBezTo>
                  <a:pt x="18594" y="9750"/>
                  <a:pt x="18500" y="9750"/>
                  <a:pt x="18406" y="9750"/>
                </a:cubicBezTo>
                <a:cubicBezTo>
                  <a:pt x="18250" y="9750"/>
                  <a:pt x="18094" y="9750"/>
                  <a:pt x="17937" y="9750"/>
                </a:cubicBezTo>
                <a:cubicBezTo>
                  <a:pt x="17875" y="9781"/>
                  <a:pt x="17844" y="9781"/>
                  <a:pt x="17812" y="9781"/>
                </a:cubicBezTo>
                <a:cubicBezTo>
                  <a:pt x="17750" y="9812"/>
                  <a:pt x="17687" y="9844"/>
                  <a:pt x="17625" y="9875"/>
                </a:cubicBezTo>
                <a:cubicBezTo>
                  <a:pt x="17812" y="9875"/>
                  <a:pt x="18000" y="9906"/>
                  <a:pt x="18187" y="9906"/>
                </a:cubicBezTo>
                <a:cubicBezTo>
                  <a:pt x="18375" y="9906"/>
                  <a:pt x="18562" y="9906"/>
                  <a:pt x="18750" y="9875"/>
                </a:cubicBezTo>
                <a:cubicBezTo>
                  <a:pt x="19125" y="9906"/>
                  <a:pt x="19531" y="9906"/>
                  <a:pt x="19906" y="9906"/>
                </a:cubicBezTo>
                <a:cubicBezTo>
                  <a:pt x="19906" y="9906"/>
                  <a:pt x="19906" y="9937"/>
                  <a:pt x="19906" y="9937"/>
                </a:cubicBezTo>
                <a:cubicBezTo>
                  <a:pt x="19812" y="10031"/>
                  <a:pt x="19875" y="10062"/>
                  <a:pt x="19937" y="10062"/>
                </a:cubicBezTo>
                <a:cubicBezTo>
                  <a:pt x="19969" y="10062"/>
                  <a:pt x="20000" y="10062"/>
                  <a:pt x="20031" y="10062"/>
                </a:cubicBezTo>
                <a:cubicBezTo>
                  <a:pt x="20125" y="10062"/>
                  <a:pt x="20187" y="10062"/>
                  <a:pt x="20250" y="10062"/>
                </a:cubicBezTo>
                <a:cubicBezTo>
                  <a:pt x="20375" y="10031"/>
                  <a:pt x="20500" y="10031"/>
                  <a:pt x="20594" y="10062"/>
                </a:cubicBezTo>
                <a:cubicBezTo>
                  <a:pt x="20719" y="10062"/>
                  <a:pt x="20812" y="10062"/>
                  <a:pt x="20937" y="10094"/>
                </a:cubicBezTo>
                <a:cubicBezTo>
                  <a:pt x="20937" y="10094"/>
                  <a:pt x="20937" y="10094"/>
                  <a:pt x="20937" y="10094"/>
                </a:cubicBezTo>
                <a:cubicBezTo>
                  <a:pt x="20937" y="10094"/>
                  <a:pt x="20937" y="10094"/>
                  <a:pt x="20937" y="10094"/>
                </a:cubicBezTo>
                <a:cubicBezTo>
                  <a:pt x="20906" y="10125"/>
                  <a:pt x="20875" y="10156"/>
                  <a:pt x="20844" y="10156"/>
                </a:cubicBezTo>
                <a:cubicBezTo>
                  <a:pt x="20812" y="10187"/>
                  <a:pt x="20781" y="10187"/>
                  <a:pt x="20750" y="10187"/>
                </a:cubicBezTo>
                <a:cubicBezTo>
                  <a:pt x="20656" y="10219"/>
                  <a:pt x="20594" y="10219"/>
                  <a:pt x="20500" y="10219"/>
                </a:cubicBezTo>
                <a:cubicBezTo>
                  <a:pt x="20406" y="10187"/>
                  <a:pt x="20312" y="10187"/>
                  <a:pt x="20187" y="10187"/>
                </a:cubicBezTo>
                <a:cubicBezTo>
                  <a:pt x="19969" y="10156"/>
                  <a:pt x="19719" y="10125"/>
                  <a:pt x="19469" y="10125"/>
                </a:cubicBezTo>
                <a:cubicBezTo>
                  <a:pt x="19406" y="10125"/>
                  <a:pt x="19375" y="10125"/>
                  <a:pt x="19312" y="10156"/>
                </a:cubicBezTo>
                <a:cubicBezTo>
                  <a:pt x="19312" y="10125"/>
                  <a:pt x="19312" y="10125"/>
                  <a:pt x="19312" y="10125"/>
                </a:cubicBezTo>
                <a:cubicBezTo>
                  <a:pt x="19281" y="10125"/>
                  <a:pt x="19250" y="10125"/>
                  <a:pt x="19219" y="10125"/>
                </a:cubicBezTo>
                <a:cubicBezTo>
                  <a:pt x="19187" y="10156"/>
                  <a:pt x="19156" y="10156"/>
                  <a:pt x="19125" y="10187"/>
                </a:cubicBezTo>
                <a:cubicBezTo>
                  <a:pt x="19094" y="10187"/>
                  <a:pt x="19094" y="10187"/>
                  <a:pt x="19062" y="10219"/>
                </a:cubicBezTo>
                <a:cubicBezTo>
                  <a:pt x="18906" y="10219"/>
                  <a:pt x="18750" y="10281"/>
                  <a:pt x="18562" y="10312"/>
                </a:cubicBezTo>
                <a:cubicBezTo>
                  <a:pt x="18500" y="10312"/>
                  <a:pt x="18437" y="10312"/>
                  <a:pt x="18406" y="10312"/>
                </a:cubicBezTo>
                <a:cubicBezTo>
                  <a:pt x="18281" y="10312"/>
                  <a:pt x="18187" y="10312"/>
                  <a:pt x="18062" y="10312"/>
                </a:cubicBezTo>
                <a:cubicBezTo>
                  <a:pt x="17969" y="10281"/>
                  <a:pt x="17875" y="10312"/>
                  <a:pt x="17750" y="10375"/>
                </a:cubicBezTo>
                <a:cubicBezTo>
                  <a:pt x="17625" y="10281"/>
                  <a:pt x="17469" y="10375"/>
                  <a:pt x="17312" y="10344"/>
                </a:cubicBezTo>
                <a:cubicBezTo>
                  <a:pt x="17062" y="10344"/>
                  <a:pt x="16812" y="10344"/>
                  <a:pt x="16594" y="10344"/>
                </a:cubicBezTo>
                <a:cubicBezTo>
                  <a:pt x="16500" y="10344"/>
                  <a:pt x="16437" y="10344"/>
                  <a:pt x="16344" y="10344"/>
                </a:cubicBezTo>
                <a:cubicBezTo>
                  <a:pt x="16281" y="10344"/>
                  <a:pt x="16156" y="10375"/>
                  <a:pt x="16187" y="10437"/>
                </a:cubicBezTo>
                <a:cubicBezTo>
                  <a:pt x="16187" y="10469"/>
                  <a:pt x="16281" y="10562"/>
                  <a:pt x="16312" y="10562"/>
                </a:cubicBezTo>
                <a:cubicBezTo>
                  <a:pt x="16375" y="10562"/>
                  <a:pt x="16406" y="10562"/>
                  <a:pt x="16437" y="10562"/>
                </a:cubicBezTo>
                <a:cubicBezTo>
                  <a:pt x="16750" y="10562"/>
                  <a:pt x="17062" y="10625"/>
                  <a:pt x="17375" y="10562"/>
                </a:cubicBezTo>
                <a:cubicBezTo>
                  <a:pt x="17469" y="10562"/>
                  <a:pt x="17562" y="10562"/>
                  <a:pt x="17656" y="10562"/>
                </a:cubicBezTo>
                <a:cubicBezTo>
                  <a:pt x="17687" y="10562"/>
                  <a:pt x="17719" y="10562"/>
                  <a:pt x="17750" y="10562"/>
                </a:cubicBezTo>
                <a:cubicBezTo>
                  <a:pt x="17781" y="10562"/>
                  <a:pt x="17781" y="10531"/>
                  <a:pt x="17812" y="10531"/>
                </a:cubicBezTo>
                <a:cubicBezTo>
                  <a:pt x="17875" y="10562"/>
                  <a:pt x="17906" y="10562"/>
                  <a:pt x="17969" y="10562"/>
                </a:cubicBezTo>
                <a:cubicBezTo>
                  <a:pt x="18000" y="10562"/>
                  <a:pt x="18062" y="10562"/>
                  <a:pt x="18094" y="10594"/>
                </a:cubicBezTo>
                <a:cubicBezTo>
                  <a:pt x="18375" y="10594"/>
                  <a:pt x="18687" y="10531"/>
                  <a:pt x="18969" y="10531"/>
                </a:cubicBezTo>
                <a:cubicBezTo>
                  <a:pt x="19031" y="10531"/>
                  <a:pt x="19094" y="10562"/>
                  <a:pt x="19156" y="10562"/>
                </a:cubicBezTo>
                <a:cubicBezTo>
                  <a:pt x="19250" y="10562"/>
                  <a:pt x="19344" y="10594"/>
                  <a:pt x="19437" y="10531"/>
                </a:cubicBezTo>
                <a:cubicBezTo>
                  <a:pt x="19437" y="10531"/>
                  <a:pt x="19437" y="10531"/>
                  <a:pt x="19437" y="10531"/>
                </a:cubicBezTo>
                <a:cubicBezTo>
                  <a:pt x="19437" y="10531"/>
                  <a:pt x="19437" y="10531"/>
                  <a:pt x="19437" y="10531"/>
                </a:cubicBezTo>
                <a:cubicBezTo>
                  <a:pt x="19969" y="10594"/>
                  <a:pt x="20500" y="10562"/>
                  <a:pt x="21062" y="10562"/>
                </a:cubicBezTo>
                <a:cubicBezTo>
                  <a:pt x="21125" y="10562"/>
                  <a:pt x="21219" y="10531"/>
                  <a:pt x="21281" y="10594"/>
                </a:cubicBezTo>
                <a:cubicBezTo>
                  <a:pt x="21281" y="10594"/>
                  <a:pt x="21250" y="10625"/>
                  <a:pt x="21219" y="10625"/>
                </a:cubicBezTo>
                <a:cubicBezTo>
                  <a:pt x="21219" y="10656"/>
                  <a:pt x="21187" y="10687"/>
                  <a:pt x="21156" y="10687"/>
                </a:cubicBezTo>
                <a:cubicBezTo>
                  <a:pt x="21219" y="10687"/>
                  <a:pt x="21250" y="10687"/>
                  <a:pt x="21281" y="10687"/>
                </a:cubicBezTo>
                <a:cubicBezTo>
                  <a:pt x="21406" y="10687"/>
                  <a:pt x="21406" y="10687"/>
                  <a:pt x="21500" y="10656"/>
                </a:cubicBezTo>
                <a:cubicBezTo>
                  <a:pt x="21531" y="10625"/>
                  <a:pt x="21562" y="10625"/>
                  <a:pt x="21625" y="10594"/>
                </a:cubicBezTo>
                <a:cubicBezTo>
                  <a:pt x="21719" y="10562"/>
                  <a:pt x="21844" y="10562"/>
                  <a:pt x="21937" y="10562"/>
                </a:cubicBezTo>
                <a:cubicBezTo>
                  <a:pt x="22094" y="10562"/>
                  <a:pt x="22219" y="10625"/>
                  <a:pt x="22344" y="10687"/>
                </a:cubicBezTo>
                <a:cubicBezTo>
                  <a:pt x="22375" y="10687"/>
                  <a:pt x="22437" y="10687"/>
                  <a:pt x="22469" y="10656"/>
                </a:cubicBezTo>
                <a:cubicBezTo>
                  <a:pt x="22531" y="10719"/>
                  <a:pt x="22625" y="10750"/>
                  <a:pt x="22687" y="10812"/>
                </a:cubicBezTo>
                <a:cubicBezTo>
                  <a:pt x="22719" y="10844"/>
                  <a:pt x="22719" y="10844"/>
                  <a:pt x="22750" y="10875"/>
                </a:cubicBezTo>
                <a:cubicBezTo>
                  <a:pt x="22719" y="10906"/>
                  <a:pt x="22594" y="10937"/>
                  <a:pt x="22719" y="10969"/>
                </a:cubicBezTo>
                <a:cubicBezTo>
                  <a:pt x="22906" y="10969"/>
                  <a:pt x="23094" y="10906"/>
                  <a:pt x="23281" y="10875"/>
                </a:cubicBezTo>
                <a:cubicBezTo>
                  <a:pt x="23281" y="10875"/>
                  <a:pt x="23281" y="10875"/>
                  <a:pt x="23312" y="10844"/>
                </a:cubicBezTo>
                <a:cubicBezTo>
                  <a:pt x="23312" y="10844"/>
                  <a:pt x="23312" y="10844"/>
                  <a:pt x="23312" y="10844"/>
                </a:cubicBezTo>
                <a:cubicBezTo>
                  <a:pt x="23281" y="10812"/>
                  <a:pt x="23281" y="10812"/>
                  <a:pt x="23250" y="10781"/>
                </a:cubicBezTo>
                <a:cubicBezTo>
                  <a:pt x="23187" y="10750"/>
                  <a:pt x="23156" y="10687"/>
                  <a:pt x="23187" y="10625"/>
                </a:cubicBezTo>
                <a:cubicBezTo>
                  <a:pt x="23187" y="10625"/>
                  <a:pt x="23219" y="10594"/>
                  <a:pt x="23219" y="10562"/>
                </a:cubicBezTo>
                <a:cubicBezTo>
                  <a:pt x="23250" y="10562"/>
                  <a:pt x="23250" y="10562"/>
                  <a:pt x="23281" y="10531"/>
                </a:cubicBezTo>
                <a:cubicBezTo>
                  <a:pt x="23625" y="10562"/>
                  <a:pt x="23969" y="10531"/>
                  <a:pt x="24312" y="10500"/>
                </a:cubicBezTo>
                <a:cubicBezTo>
                  <a:pt x="24594" y="10500"/>
                  <a:pt x="24875" y="10469"/>
                  <a:pt x="25156" y="10437"/>
                </a:cubicBezTo>
                <a:cubicBezTo>
                  <a:pt x="25375" y="10406"/>
                  <a:pt x="25562" y="10375"/>
                  <a:pt x="25781" y="10375"/>
                </a:cubicBezTo>
                <a:cubicBezTo>
                  <a:pt x="26062" y="10344"/>
                  <a:pt x="26344" y="10344"/>
                  <a:pt x="26625" y="10344"/>
                </a:cubicBezTo>
                <a:cubicBezTo>
                  <a:pt x="26906" y="10375"/>
                  <a:pt x="27187" y="10312"/>
                  <a:pt x="27500" y="10344"/>
                </a:cubicBezTo>
                <a:cubicBezTo>
                  <a:pt x="27594" y="10375"/>
                  <a:pt x="27562" y="10281"/>
                  <a:pt x="27562" y="10250"/>
                </a:cubicBezTo>
                <a:cubicBezTo>
                  <a:pt x="27594" y="10219"/>
                  <a:pt x="27594" y="10219"/>
                  <a:pt x="27562" y="10187"/>
                </a:cubicBezTo>
                <a:cubicBezTo>
                  <a:pt x="27562" y="10187"/>
                  <a:pt x="27531" y="10156"/>
                  <a:pt x="27469" y="101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101E861-19DB-0F4C-841C-AB36ACCC68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EE5EF342-4613-144F-9AB5-20FA7565A4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58855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92">
            <a:extLst>
              <a:ext uri="{FF2B5EF4-FFF2-40B4-BE49-F238E27FC236}">
                <a16:creationId xmlns:a16="http://schemas.microsoft.com/office/drawing/2014/main" id="{830EA73D-D34B-7B4A-9122-2A11A4C63CC0}"/>
              </a:ext>
            </a:extLst>
          </p:cNvPr>
          <p:cNvSpPr>
            <a:spLocks noGrp="1" noEditPoints="1"/>
          </p:cNvSpPr>
          <p:nvPr>
            <p:ph type="pic" sz="quarter" idx="36"/>
          </p:nvPr>
        </p:nvSpPr>
        <p:spPr bwMode="auto">
          <a:xfrm>
            <a:off x="336110" y="261015"/>
            <a:ext cx="11051789" cy="4931977"/>
          </a:xfrm>
          <a:custGeom>
            <a:avLst/>
            <a:gdLst>
              <a:gd name="T0" fmla="*/ 4594 w 40031"/>
              <a:gd name="T1" fmla="*/ 4407 h 14313"/>
              <a:gd name="T2" fmla="*/ 2219 w 40031"/>
              <a:gd name="T3" fmla="*/ 3688 h 14313"/>
              <a:gd name="T4" fmla="*/ 594 w 40031"/>
              <a:gd name="T5" fmla="*/ 3938 h 14313"/>
              <a:gd name="T6" fmla="*/ 1312 w 40031"/>
              <a:gd name="T7" fmla="*/ 4657 h 14313"/>
              <a:gd name="T8" fmla="*/ 2375 w 40031"/>
              <a:gd name="T9" fmla="*/ 5719 h 14313"/>
              <a:gd name="T10" fmla="*/ 3906 w 40031"/>
              <a:gd name="T11" fmla="*/ 6500 h 14313"/>
              <a:gd name="T12" fmla="*/ 9469 w 40031"/>
              <a:gd name="T13" fmla="*/ 10188 h 14313"/>
              <a:gd name="T14" fmla="*/ 14750 w 40031"/>
              <a:gd name="T15" fmla="*/ 11438 h 14313"/>
              <a:gd name="T16" fmla="*/ 18031 w 40031"/>
              <a:gd name="T17" fmla="*/ 13438 h 14313"/>
              <a:gd name="T18" fmla="*/ 19875 w 40031"/>
              <a:gd name="T19" fmla="*/ 11469 h 14313"/>
              <a:gd name="T20" fmla="*/ 20281 w 40031"/>
              <a:gd name="T21" fmla="*/ 11469 h 14313"/>
              <a:gd name="T22" fmla="*/ 20156 w 40031"/>
              <a:gd name="T23" fmla="*/ 11157 h 14313"/>
              <a:gd name="T24" fmla="*/ 21250 w 40031"/>
              <a:gd name="T25" fmla="*/ 11813 h 14313"/>
              <a:gd name="T26" fmla="*/ 22437 w 40031"/>
              <a:gd name="T27" fmla="*/ 10969 h 14313"/>
              <a:gd name="T28" fmla="*/ 23000 w 40031"/>
              <a:gd name="T29" fmla="*/ 10407 h 14313"/>
              <a:gd name="T30" fmla="*/ 23031 w 40031"/>
              <a:gd name="T31" fmla="*/ 9594 h 14313"/>
              <a:gd name="T32" fmla="*/ 24531 w 40031"/>
              <a:gd name="T33" fmla="*/ 9750 h 14313"/>
              <a:gd name="T34" fmla="*/ 30406 w 40031"/>
              <a:gd name="T35" fmla="*/ 11282 h 14313"/>
              <a:gd name="T36" fmla="*/ 34219 w 40031"/>
              <a:gd name="T37" fmla="*/ 11907 h 14313"/>
              <a:gd name="T38" fmla="*/ 35812 w 40031"/>
              <a:gd name="T39" fmla="*/ 12313 h 14313"/>
              <a:gd name="T40" fmla="*/ 37125 w 40031"/>
              <a:gd name="T41" fmla="*/ 12094 h 14313"/>
              <a:gd name="T42" fmla="*/ 38969 w 40031"/>
              <a:gd name="T43" fmla="*/ 13500 h 14313"/>
              <a:gd name="T44" fmla="*/ 39469 w 40031"/>
              <a:gd name="T45" fmla="*/ 12532 h 14313"/>
              <a:gd name="T46" fmla="*/ 38250 w 40031"/>
              <a:gd name="T47" fmla="*/ 9875 h 14313"/>
              <a:gd name="T48" fmla="*/ 38406 w 40031"/>
              <a:gd name="T49" fmla="*/ 5688 h 14313"/>
              <a:gd name="T50" fmla="*/ 37062 w 40031"/>
              <a:gd name="T51" fmla="*/ 6219 h 14313"/>
              <a:gd name="T52" fmla="*/ 36219 w 40031"/>
              <a:gd name="T53" fmla="*/ 6250 h 14313"/>
              <a:gd name="T54" fmla="*/ 36062 w 40031"/>
              <a:gd name="T55" fmla="*/ 5844 h 14313"/>
              <a:gd name="T56" fmla="*/ 37094 w 40031"/>
              <a:gd name="T57" fmla="*/ 5063 h 14313"/>
              <a:gd name="T58" fmla="*/ 37281 w 40031"/>
              <a:gd name="T59" fmla="*/ 4907 h 14313"/>
              <a:gd name="T60" fmla="*/ 37875 w 40031"/>
              <a:gd name="T61" fmla="*/ 3625 h 14313"/>
              <a:gd name="T62" fmla="*/ 36187 w 40031"/>
              <a:gd name="T63" fmla="*/ 4719 h 14313"/>
              <a:gd name="T64" fmla="*/ 35594 w 40031"/>
              <a:gd name="T65" fmla="*/ 5063 h 14313"/>
              <a:gd name="T66" fmla="*/ 34500 w 40031"/>
              <a:gd name="T67" fmla="*/ 5313 h 14313"/>
              <a:gd name="T68" fmla="*/ 36125 w 40031"/>
              <a:gd name="T69" fmla="*/ 4469 h 14313"/>
              <a:gd name="T70" fmla="*/ 38594 w 40031"/>
              <a:gd name="T71" fmla="*/ 2750 h 14313"/>
              <a:gd name="T72" fmla="*/ 36375 w 40031"/>
              <a:gd name="T73" fmla="*/ 3157 h 14313"/>
              <a:gd name="T74" fmla="*/ 35687 w 40031"/>
              <a:gd name="T75" fmla="*/ 2907 h 14313"/>
              <a:gd name="T76" fmla="*/ 28219 w 40031"/>
              <a:gd name="T77" fmla="*/ 2907 h 14313"/>
              <a:gd name="T78" fmla="*/ 28000 w 40031"/>
              <a:gd name="T79" fmla="*/ 1813 h 14313"/>
              <a:gd name="T80" fmla="*/ 25781 w 40031"/>
              <a:gd name="T81" fmla="*/ 1219 h 14313"/>
              <a:gd name="T82" fmla="*/ 18875 w 40031"/>
              <a:gd name="T83" fmla="*/ 5125 h 14313"/>
              <a:gd name="T84" fmla="*/ 10937 w 40031"/>
              <a:gd name="T85" fmla="*/ 2844 h 14313"/>
              <a:gd name="T86" fmla="*/ 6656 w 40031"/>
              <a:gd name="T87" fmla="*/ 688 h 14313"/>
              <a:gd name="T88" fmla="*/ 8469 w 40031"/>
              <a:gd name="T89" fmla="*/ 2625 h 14313"/>
              <a:gd name="T90" fmla="*/ 8375 w 40031"/>
              <a:gd name="T91" fmla="*/ 3000 h 14313"/>
              <a:gd name="T92" fmla="*/ 7562 w 40031"/>
              <a:gd name="T93" fmla="*/ 3063 h 14313"/>
              <a:gd name="T94" fmla="*/ 7187 w 40031"/>
              <a:gd name="T95" fmla="*/ 3532 h 14313"/>
              <a:gd name="T96" fmla="*/ 7187 w 40031"/>
              <a:gd name="T97" fmla="*/ 4375 h 14313"/>
              <a:gd name="T98" fmla="*/ 6656 w 40031"/>
              <a:gd name="T99" fmla="*/ 4844 h 14313"/>
              <a:gd name="T100" fmla="*/ 21312 w 40031"/>
              <a:gd name="T101" fmla="*/ 12219 h 14313"/>
              <a:gd name="T102" fmla="*/ 28187 w 40031"/>
              <a:gd name="T103" fmla="*/ 1032 h 14313"/>
              <a:gd name="T104" fmla="*/ 28031 w 40031"/>
              <a:gd name="T105" fmla="*/ 1375 h 14313"/>
              <a:gd name="T106" fmla="*/ 35156 w 40031"/>
              <a:gd name="T107" fmla="*/ 5438 h 14313"/>
              <a:gd name="T108" fmla="*/ 35812 w 40031"/>
              <a:gd name="T109" fmla="*/ 3875 h 14313"/>
              <a:gd name="T110" fmla="*/ 35156 w 40031"/>
              <a:gd name="T111" fmla="*/ 3782 h 14313"/>
              <a:gd name="T112" fmla="*/ 7094 w 40031"/>
              <a:gd name="T113" fmla="*/ 4625 h 14313"/>
              <a:gd name="T114" fmla="*/ 34031 w 40031"/>
              <a:gd name="T115" fmla="*/ 5469 h 14313"/>
              <a:gd name="T116" fmla="*/ 19406 w 40031"/>
              <a:gd name="T117" fmla="*/ 5063 h 14313"/>
              <a:gd name="T118" fmla="*/ 8562 w 40031"/>
              <a:gd name="T119" fmla="*/ 4469 h 14313"/>
              <a:gd name="T120" fmla="*/ 7844 w 40031"/>
              <a:gd name="T121" fmla="*/ 3407 h 14313"/>
              <a:gd name="T122" fmla="*/ 20844 w 40031"/>
              <a:gd name="T123" fmla="*/ 11438 h 14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031" h="14313">
                <a:moveTo>
                  <a:pt x="6562" y="4844"/>
                </a:moveTo>
                <a:cubicBezTo>
                  <a:pt x="6531" y="4813"/>
                  <a:pt x="6500" y="4782"/>
                  <a:pt x="6437" y="4750"/>
                </a:cubicBezTo>
                <a:cubicBezTo>
                  <a:pt x="6469" y="4813"/>
                  <a:pt x="6531" y="4813"/>
                  <a:pt x="6562" y="4844"/>
                </a:cubicBezTo>
                <a:cubicBezTo>
                  <a:pt x="6687" y="4907"/>
                  <a:pt x="6844" y="5000"/>
                  <a:pt x="6937" y="5125"/>
                </a:cubicBezTo>
                <a:cubicBezTo>
                  <a:pt x="6937" y="5125"/>
                  <a:pt x="6937" y="5157"/>
                  <a:pt x="6906" y="5157"/>
                </a:cubicBezTo>
                <a:cubicBezTo>
                  <a:pt x="6844" y="5188"/>
                  <a:pt x="6781" y="5157"/>
                  <a:pt x="6719" y="5125"/>
                </a:cubicBezTo>
                <a:cubicBezTo>
                  <a:pt x="6187" y="4875"/>
                  <a:pt x="5625" y="4688"/>
                  <a:pt x="5094" y="4469"/>
                </a:cubicBezTo>
                <a:cubicBezTo>
                  <a:pt x="5031" y="4469"/>
                  <a:pt x="4937" y="4407"/>
                  <a:pt x="4937" y="4438"/>
                </a:cubicBezTo>
                <a:cubicBezTo>
                  <a:pt x="4781" y="4532"/>
                  <a:pt x="4687" y="4438"/>
                  <a:pt x="4594" y="4407"/>
                </a:cubicBezTo>
                <a:cubicBezTo>
                  <a:pt x="4504" y="4377"/>
                  <a:pt x="4442" y="4347"/>
                  <a:pt x="4327" y="4372"/>
                </a:cubicBezTo>
                <a:cubicBezTo>
                  <a:pt x="4335" y="4368"/>
                  <a:pt x="4344" y="4360"/>
                  <a:pt x="4344" y="4344"/>
                </a:cubicBezTo>
                <a:cubicBezTo>
                  <a:pt x="4312" y="4313"/>
                  <a:pt x="4312" y="4313"/>
                  <a:pt x="4281" y="4313"/>
                </a:cubicBezTo>
                <a:cubicBezTo>
                  <a:pt x="4281" y="4313"/>
                  <a:pt x="4250" y="4344"/>
                  <a:pt x="4250" y="4344"/>
                </a:cubicBezTo>
                <a:cubicBezTo>
                  <a:pt x="4250" y="4375"/>
                  <a:pt x="4281" y="4375"/>
                  <a:pt x="4312" y="4375"/>
                </a:cubicBezTo>
                <a:cubicBezTo>
                  <a:pt x="4594" y="4532"/>
                  <a:pt x="4812" y="4657"/>
                  <a:pt x="5031" y="4782"/>
                </a:cubicBezTo>
                <a:cubicBezTo>
                  <a:pt x="4937" y="4750"/>
                  <a:pt x="4844" y="4719"/>
                  <a:pt x="4750" y="4688"/>
                </a:cubicBezTo>
                <a:cubicBezTo>
                  <a:pt x="4469" y="4532"/>
                  <a:pt x="4219" y="4375"/>
                  <a:pt x="3937" y="4282"/>
                </a:cubicBezTo>
                <a:cubicBezTo>
                  <a:pt x="3375" y="4094"/>
                  <a:pt x="2812" y="3844"/>
                  <a:pt x="2219" y="3688"/>
                </a:cubicBezTo>
                <a:cubicBezTo>
                  <a:pt x="1750" y="3532"/>
                  <a:pt x="1312" y="3344"/>
                  <a:pt x="844" y="3219"/>
                </a:cubicBezTo>
                <a:cubicBezTo>
                  <a:pt x="562" y="3125"/>
                  <a:pt x="281" y="3032"/>
                  <a:pt x="0" y="3000"/>
                </a:cubicBezTo>
                <a:cubicBezTo>
                  <a:pt x="0" y="3032"/>
                  <a:pt x="0" y="3032"/>
                  <a:pt x="0" y="3063"/>
                </a:cubicBezTo>
                <a:cubicBezTo>
                  <a:pt x="31" y="3063"/>
                  <a:pt x="31" y="3063"/>
                  <a:pt x="62" y="3063"/>
                </a:cubicBezTo>
                <a:cubicBezTo>
                  <a:pt x="406" y="3344"/>
                  <a:pt x="750" y="3563"/>
                  <a:pt x="1156" y="3750"/>
                </a:cubicBezTo>
                <a:cubicBezTo>
                  <a:pt x="1500" y="3907"/>
                  <a:pt x="1812" y="4094"/>
                  <a:pt x="1969" y="4438"/>
                </a:cubicBezTo>
                <a:cubicBezTo>
                  <a:pt x="1750" y="4344"/>
                  <a:pt x="1531" y="4250"/>
                  <a:pt x="1312" y="4157"/>
                </a:cubicBezTo>
                <a:cubicBezTo>
                  <a:pt x="1062" y="4063"/>
                  <a:pt x="844" y="3969"/>
                  <a:pt x="594" y="3938"/>
                </a:cubicBezTo>
                <a:cubicBezTo>
                  <a:pt x="594" y="3938"/>
                  <a:pt x="594" y="3938"/>
                  <a:pt x="594" y="3938"/>
                </a:cubicBezTo>
                <a:cubicBezTo>
                  <a:pt x="594" y="3938"/>
                  <a:pt x="594" y="3938"/>
                  <a:pt x="594" y="3938"/>
                </a:cubicBezTo>
                <a:cubicBezTo>
                  <a:pt x="594" y="4000"/>
                  <a:pt x="656" y="4032"/>
                  <a:pt x="687" y="4032"/>
                </a:cubicBezTo>
                <a:cubicBezTo>
                  <a:pt x="906" y="4188"/>
                  <a:pt x="1156" y="4313"/>
                  <a:pt x="1406" y="4407"/>
                </a:cubicBezTo>
                <a:cubicBezTo>
                  <a:pt x="1687" y="4532"/>
                  <a:pt x="1937" y="4657"/>
                  <a:pt x="2219" y="4813"/>
                </a:cubicBezTo>
                <a:cubicBezTo>
                  <a:pt x="2375" y="4875"/>
                  <a:pt x="2531" y="4938"/>
                  <a:pt x="2687" y="5063"/>
                </a:cubicBezTo>
                <a:cubicBezTo>
                  <a:pt x="2594" y="5063"/>
                  <a:pt x="2562" y="5063"/>
                  <a:pt x="2531" y="5032"/>
                </a:cubicBezTo>
                <a:cubicBezTo>
                  <a:pt x="2281" y="4907"/>
                  <a:pt x="2031" y="4782"/>
                  <a:pt x="1781" y="4688"/>
                </a:cubicBezTo>
                <a:cubicBezTo>
                  <a:pt x="1750" y="4657"/>
                  <a:pt x="1687" y="4657"/>
                  <a:pt x="1656" y="4657"/>
                </a:cubicBezTo>
                <a:cubicBezTo>
                  <a:pt x="1531" y="4657"/>
                  <a:pt x="1437" y="4688"/>
                  <a:pt x="1312" y="4657"/>
                </a:cubicBezTo>
                <a:cubicBezTo>
                  <a:pt x="1125" y="4594"/>
                  <a:pt x="969" y="4500"/>
                  <a:pt x="812" y="4469"/>
                </a:cubicBezTo>
                <a:cubicBezTo>
                  <a:pt x="781" y="4500"/>
                  <a:pt x="781" y="4500"/>
                  <a:pt x="781" y="4500"/>
                </a:cubicBezTo>
                <a:cubicBezTo>
                  <a:pt x="812" y="4532"/>
                  <a:pt x="844" y="4563"/>
                  <a:pt x="906" y="4594"/>
                </a:cubicBezTo>
                <a:cubicBezTo>
                  <a:pt x="1312" y="4875"/>
                  <a:pt x="1719" y="5125"/>
                  <a:pt x="2125" y="5407"/>
                </a:cubicBezTo>
                <a:cubicBezTo>
                  <a:pt x="2281" y="5500"/>
                  <a:pt x="2469" y="5594"/>
                  <a:pt x="2594" y="5719"/>
                </a:cubicBezTo>
                <a:cubicBezTo>
                  <a:pt x="2562" y="5719"/>
                  <a:pt x="2562" y="5750"/>
                  <a:pt x="2562" y="5750"/>
                </a:cubicBezTo>
                <a:cubicBezTo>
                  <a:pt x="2500" y="5750"/>
                  <a:pt x="2437" y="5750"/>
                  <a:pt x="2406" y="5719"/>
                </a:cubicBezTo>
                <a:cubicBezTo>
                  <a:pt x="2406" y="5719"/>
                  <a:pt x="2406" y="5719"/>
                  <a:pt x="2406" y="5719"/>
                </a:cubicBezTo>
                <a:cubicBezTo>
                  <a:pt x="2406" y="5719"/>
                  <a:pt x="2375" y="5719"/>
                  <a:pt x="2375" y="5719"/>
                </a:cubicBezTo>
                <a:cubicBezTo>
                  <a:pt x="2375" y="5719"/>
                  <a:pt x="2375" y="5719"/>
                  <a:pt x="2406" y="5750"/>
                </a:cubicBezTo>
                <a:cubicBezTo>
                  <a:pt x="2625" y="5907"/>
                  <a:pt x="2875" y="6094"/>
                  <a:pt x="3125" y="6250"/>
                </a:cubicBezTo>
                <a:cubicBezTo>
                  <a:pt x="3219" y="6344"/>
                  <a:pt x="3312" y="6375"/>
                  <a:pt x="3437" y="6250"/>
                </a:cubicBezTo>
                <a:cubicBezTo>
                  <a:pt x="3469" y="6219"/>
                  <a:pt x="3500" y="6157"/>
                  <a:pt x="3562" y="6219"/>
                </a:cubicBezTo>
                <a:cubicBezTo>
                  <a:pt x="3625" y="6282"/>
                  <a:pt x="3562" y="6344"/>
                  <a:pt x="3531" y="6375"/>
                </a:cubicBezTo>
                <a:cubicBezTo>
                  <a:pt x="3437" y="6438"/>
                  <a:pt x="3437" y="6500"/>
                  <a:pt x="3531" y="6532"/>
                </a:cubicBezTo>
                <a:cubicBezTo>
                  <a:pt x="3625" y="6594"/>
                  <a:pt x="3687" y="6657"/>
                  <a:pt x="3750" y="6719"/>
                </a:cubicBezTo>
                <a:cubicBezTo>
                  <a:pt x="3781" y="6719"/>
                  <a:pt x="3812" y="6719"/>
                  <a:pt x="3844" y="6719"/>
                </a:cubicBezTo>
                <a:cubicBezTo>
                  <a:pt x="3969" y="6657"/>
                  <a:pt x="4000" y="6594"/>
                  <a:pt x="3906" y="6500"/>
                </a:cubicBezTo>
                <a:cubicBezTo>
                  <a:pt x="3875" y="6438"/>
                  <a:pt x="3844" y="6407"/>
                  <a:pt x="3906" y="6375"/>
                </a:cubicBezTo>
                <a:cubicBezTo>
                  <a:pt x="3969" y="6313"/>
                  <a:pt x="4000" y="6375"/>
                  <a:pt x="4031" y="6407"/>
                </a:cubicBezTo>
                <a:cubicBezTo>
                  <a:pt x="4156" y="6563"/>
                  <a:pt x="4156" y="6625"/>
                  <a:pt x="4031" y="6782"/>
                </a:cubicBezTo>
                <a:cubicBezTo>
                  <a:pt x="3969" y="6844"/>
                  <a:pt x="3969" y="6875"/>
                  <a:pt x="4031" y="6907"/>
                </a:cubicBezTo>
                <a:cubicBezTo>
                  <a:pt x="4344" y="7125"/>
                  <a:pt x="4656" y="7407"/>
                  <a:pt x="4969" y="7625"/>
                </a:cubicBezTo>
                <a:cubicBezTo>
                  <a:pt x="5250" y="7844"/>
                  <a:pt x="5562" y="8000"/>
                  <a:pt x="5844" y="8188"/>
                </a:cubicBezTo>
                <a:cubicBezTo>
                  <a:pt x="6281" y="8469"/>
                  <a:pt x="6750" y="8750"/>
                  <a:pt x="7219" y="9000"/>
                </a:cubicBezTo>
                <a:cubicBezTo>
                  <a:pt x="7750" y="9313"/>
                  <a:pt x="8250" y="9625"/>
                  <a:pt x="8812" y="9875"/>
                </a:cubicBezTo>
                <a:cubicBezTo>
                  <a:pt x="9031" y="10000"/>
                  <a:pt x="9250" y="10125"/>
                  <a:pt x="9469" y="10188"/>
                </a:cubicBezTo>
                <a:cubicBezTo>
                  <a:pt x="9500" y="10125"/>
                  <a:pt x="9469" y="10063"/>
                  <a:pt x="9437" y="10032"/>
                </a:cubicBezTo>
                <a:cubicBezTo>
                  <a:pt x="9469" y="10063"/>
                  <a:pt x="9500" y="10125"/>
                  <a:pt x="9469" y="10188"/>
                </a:cubicBezTo>
                <a:cubicBezTo>
                  <a:pt x="9531" y="10219"/>
                  <a:pt x="9562" y="10250"/>
                  <a:pt x="9625" y="10250"/>
                </a:cubicBezTo>
                <a:cubicBezTo>
                  <a:pt x="10250" y="10532"/>
                  <a:pt x="10906" y="10750"/>
                  <a:pt x="11625" y="10875"/>
                </a:cubicBezTo>
                <a:cubicBezTo>
                  <a:pt x="12062" y="10969"/>
                  <a:pt x="12500" y="11032"/>
                  <a:pt x="12969" y="11094"/>
                </a:cubicBezTo>
                <a:cubicBezTo>
                  <a:pt x="13219" y="11094"/>
                  <a:pt x="13500" y="11094"/>
                  <a:pt x="13750" y="11094"/>
                </a:cubicBezTo>
                <a:cubicBezTo>
                  <a:pt x="13781" y="11157"/>
                  <a:pt x="13844" y="11188"/>
                  <a:pt x="13906" y="11219"/>
                </a:cubicBezTo>
                <a:cubicBezTo>
                  <a:pt x="14156" y="11250"/>
                  <a:pt x="14375" y="11375"/>
                  <a:pt x="14656" y="11375"/>
                </a:cubicBezTo>
                <a:cubicBezTo>
                  <a:pt x="14687" y="11375"/>
                  <a:pt x="14719" y="11407"/>
                  <a:pt x="14750" y="11438"/>
                </a:cubicBezTo>
                <a:cubicBezTo>
                  <a:pt x="15156" y="11688"/>
                  <a:pt x="15531" y="12000"/>
                  <a:pt x="15906" y="12375"/>
                </a:cubicBezTo>
                <a:cubicBezTo>
                  <a:pt x="16156" y="12594"/>
                  <a:pt x="16406" y="12844"/>
                  <a:pt x="16625" y="13094"/>
                </a:cubicBezTo>
                <a:cubicBezTo>
                  <a:pt x="16781" y="13219"/>
                  <a:pt x="16875" y="13407"/>
                  <a:pt x="17000" y="13531"/>
                </a:cubicBezTo>
                <a:cubicBezTo>
                  <a:pt x="17187" y="13781"/>
                  <a:pt x="17375" y="14000"/>
                  <a:pt x="17531" y="14250"/>
                </a:cubicBezTo>
                <a:cubicBezTo>
                  <a:pt x="17562" y="14313"/>
                  <a:pt x="17594" y="14281"/>
                  <a:pt x="17594" y="14250"/>
                </a:cubicBezTo>
                <a:cubicBezTo>
                  <a:pt x="17625" y="14188"/>
                  <a:pt x="17812" y="14156"/>
                  <a:pt x="17719" y="14031"/>
                </a:cubicBezTo>
                <a:cubicBezTo>
                  <a:pt x="17719" y="14000"/>
                  <a:pt x="17750" y="13969"/>
                  <a:pt x="17781" y="13938"/>
                </a:cubicBezTo>
                <a:cubicBezTo>
                  <a:pt x="17875" y="13813"/>
                  <a:pt x="17969" y="13719"/>
                  <a:pt x="17969" y="13563"/>
                </a:cubicBezTo>
                <a:cubicBezTo>
                  <a:pt x="17969" y="13500"/>
                  <a:pt x="18000" y="13469"/>
                  <a:pt x="18031" y="13438"/>
                </a:cubicBezTo>
                <a:cubicBezTo>
                  <a:pt x="18125" y="13375"/>
                  <a:pt x="18187" y="13313"/>
                  <a:pt x="18219" y="13219"/>
                </a:cubicBezTo>
                <a:cubicBezTo>
                  <a:pt x="18250" y="13032"/>
                  <a:pt x="18219" y="12844"/>
                  <a:pt x="18281" y="12657"/>
                </a:cubicBezTo>
                <a:cubicBezTo>
                  <a:pt x="18375" y="12407"/>
                  <a:pt x="18344" y="12157"/>
                  <a:pt x="18250" y="11907"/>
                </a:cubicBezTo>
                <a:cubicBezTo>
                  <a:pt x="18219" y="11813"/>
                  <a:pt x="18156" y="11688"/>
                  <a:pt x="18187" y="11563"/>
                </a:cubicBezTo>
                <a:cubicBezTo>
                  <a:pt x="18250" y="11438"/>
                  <a:pt x="18219" y="11313"/>
                  <a:pt x="18219" y="11188"/>
                </a:cubicBezTo>
                <a:cubicBezTo>
                  <a:pt x="18500" y="11313"/>
                  <a:pt x="18719" y="11532"/>
                  <a:pt x="19031" y="11594"/>
                </a:cubicBezTo>
                <a:cubicBezTo>
                  <a:pt x="19250" y="11625"/>
                  <a:pt x="19469" y="11719"/>
                  <a:pt x="19687" y="11782"/>
                </a:cubicBezTo>
                <a:cubicBezTo>
                  <a:pt x="19812" y="11813"/>
                  <a:pt x="19969" y="11750"/>
                  <a:pt x="20000" y="11625"/>
                </a:cubicBezTo>
                <a:cubicBezTo>
                  <a:pt x="20031" y="11532"/>
                  <a:pt x="19906" y="11500"/>
                  <a:pt x="19875" y="11469"/>
                </a:cubicBezTo>
                <a:cubicBezTo>
                  <a:pt x="19781" y="11375"/>
                  <a:pt x="19719" y="11313"/>
                  <a:pt x="19625" y="11250"/>
                </a:cubicBezTo>
                <a:cubicBezTo>
                  <a:pt x="19594" y="11219"/>
                  <a:pt x="19562" y="11188"/>
                  <a:pt x="19562" y="11125"/>
                </a:cubicBezTo>
                <a:cubicBezTo>
                  <a:pt x="19687" y="11188"/>
                  <a:pt x="19750" y="11282"/>
                  <a:pt x="19875" y="11313"/>
                </a:cubicBezTo>
                <a:cubicBezTo>
                  <a:pt x="19906" y="11250"/>
                  <a:pt x="19812" y="11219"/>
                  <a:pt x="19844" y="11157"/>
                </a:cubicBezTo>
                <a:cubicBezTo>
                  <a:pt x="19844" y="11157"/>
                  <a:pt x="19844" y="11157"/>
                  <a:pt x="19844" y="11157"/>
                </a:cubicBezTo>
                <a:cubicBezTo>
                  <a:pt x="19969" y="11219"/>
                  <a:pt x="20062" y="11344"/>
                  <a:pt x="20187" y="11375"/>
                </a:cubicBezTo>
                <a:cubicBezTo>
                  <a:pt x="20187" y="11375"/>
                  <a:pt x="20187" y="11375"/>
                  <a:pt x="20187" y="11375"/>
                </a:cubicBezTo>
                <a:cubicBezTo>
                  <a:pt x="20187" y="11375"/>
                  <a:pt x="20187" y="11375"/>
                  <a:pt x="20187" y="11375"/>
                </a:cubicBezTo>
                <a:cubicBezTo>
                  <a:pt x="20187" y="11438"/>
                  <a:pt x="20219" y="11469"/>
                  <a:pt x="20281" y="11469"/>
                </a:cubicBezTo>
                <a:cubicBezTo>
                  <a:pt x="20281" y="11500"/>
                  <a:pt x="20281" y="11532"/>
                  <a:pt x="20312" y="11532"/>
                </a:cubicBezTo>
                <a:cubicBezTo>
                  <a:pt x="20344" y="11532"/>
                  <a:pt x="20344" y="11532"/>
                  <a:pt x="20344" y="11500"/>
                </a:cubicBezTo>
                <a:cubicBezTo>
                  <a:pt x="20344" y="11469"/>
                  <a:pt x="20312" y="11469"/>
                  <a:pt x="20281" y="11469"/>
                </a:cubicBezTo>
                <a:cubicBezTo>
                  <a:pt x="20281" y="11469"/>
                  <a:pt x="20281" y="11469"/>
                  <a:pt x="20281" y="11469"/>
                </a:cubicBezTo>
                <a:cubicBezTo>
                  <a:pt x="20281" y="11469"/>
                  <a:pt x="20281" y="11469"/>
                  <a:pt x="20281" y="11469"/>
                </a:cubicBezTo>
                <a:cubicBezTo>
                  <a:pt x="20281" y="11407"/>
                  <a:pt x="20250" y="11375"/>
                  <a:pt x="20187" y="11375"/>
                </a:cubicBezTo>
                <a:cubicBezTo>
                  <a:pt x="20187" y="11313"/>
                  <a:pt x="20156" y="11282"/>
                  <a:pt x="20094" y="11219"/>
                </a:cubicBezTo>
                <a:cubicBezTo>
                  <a:pt x="20094" y="11188"/>
                  <a:pt x="20062" y="11188"/>
                  <a:pt x="20094" y="11157"/>
                </a:cubicBezTo>
                <a:cubicBezTo>
                  <a:pt x="20094" y="11125"/>
                  <a:pt x="20125" y="11157"/>
                  <a:pt x="20156" y="11157"/>
                </a:cubicBezTo>
                <a:cubicBezTo>
                  <a:pt x="20312" y="11188"/>
                  <a:pt x="20406" y="11313"/>
                  <a:pt x="20500" y="11438"/>
                </a:cubicBezTo>
                <a:cubicBezTo>
                  <a:pt x="20656" y="11625"/>
                  <a:pt x="20875" y="11750"/>
                  <a:pt x="20969" y="11969"/>
                </a:cubicBezTo>
                <a:cubicBezTo>
                  <a:pt x="21000" y="12032"/>
                  <a:pt x="21094" y="12125"/>
                  <a:pt x="21156" y="12188"/>
                </a:cubicBezTo>
                <a:cubicBezTo>
                  <a:pt x="21219" y="12250"/>
                  <a:pt x="21219" y="12188"/>
                  <a:pt x="21219" y="12157"/>
                </a:cubicBezTo>
                <a:cubicBezTo>
                  <a:pt x="21219" y="12157"/>
                  <a:pt x="21219" y="12157"/>
                  <a:pt x="21219" y="12157"/>
                </a:cubicBezTo>
                <a:cubicBezTo>
                  <a:pt x="21281" y="12157"/>
                  <a:pt x="21312" y="12157"/>
                  <a:pt x="21281" y="12063"/>
                </a:cubicBezTo>
                <a:cubicBezTo>
                  <a:pt x="21250" y="12032"/>
                  <a:pt x="21219" y="11969"/>
                  <a:pt x="21219" y="11907"/>
                </a:cubicBezTo>
                <a:cubicBezTo>
                  <a:pt x="21219" y="11907"/>
                  <a:pt x="21219" y="11907"/>
                  <a:pt x="21219" y="11907"/>
                </a:cubicBezTo>
                <a:cubicBezTo>
                  <a:pt x="21250" y="11875"/>
                  <a:pt x="21281" y="11875"/>
                  <a:pt x="21250" y="11813"/>
                </a:cubicBezTo>
                <a:cubicBezTo>
                  <a:pt x="21250" y="11782"/>
                  <a:pt x="21219" y="11719"/>
                  <a:pt x="21250" y="11688"/>
                </a:cubicBezTo>
                <a:cubicBezTo>
                  <a:pt x="21406" y="11532"/>
                  <a:pt x="21281" y="11407"/>
                  <a:pt x="21250" y="11282"/>
                </a:cubicBezTo>
                <a:cubicBezTo>
                  <a:pt x="21250" y="11219"/>
                  <a:pt x="21219" y="11157"/>
                  <a:pt x="21187" y="11094"/>
                </a:cubicBezTo>
                <a:cubicBezTo>
                  <a:pt x="21187" y="11032"/>
                  <a:pt x="21125" y="10969"/>
                  <a:pt x="21187" y="10938"/>
                </a:cubicBezTo>
                <a:cubicBezTo>
                  <a:pt x="21250" y="10907"/>
                  <a:pt x="21281" y="10938"/>
                  <a:pt x="21344" y="10969"/>
                </a:cubicBezTo>
                <a:cubicBezTo>
                  <a:pt x="21500" y="11032"/>
                  <a:pt x="21656" y="11157"/>
                  <a:pt x="21781" y="11282"/>
                </a:cubicBezTo>
                <a:cubicBezTo>
                  <a:pt x="22000" y="11469"/>
                  <a:pt x="22250" y="11625"/>
                  <a:pt x="22531" y="11719"/>
                </a:cubicBezTo>
                <a:cubicBezTo>
                  <a:pt x="22500" y="11375"/>
                  <a:pt x="22344" y="11125"/>
                  <a:pt x="22219" y="10844"/>
                </a:cubicBezTo>
                <a:cubicBezTo>
                  <a:pt x="22312" y="10875"/>
                  <a:pt x="22344" y="10969"/>
                  <a:pt x="22437" y="10969"/>
                </a:cubicBezTo>
                <a:cubicBezTo>
                  <a:pt x="22531" y="11000"/>
                  <a:pt x="22562" y="11063"/>
                  <a:pt x="22594" y="11125"/>
                </a:cubicBezTo>
                <a:cubicBezTo>
                  <a:pt x="22719" y="11313"/>
                  <a:pt x="22781" y="11532"/>
                  <a:pt x="22844" y="11782"/>
                </a:cubicBezTo>
                <a:cubicBezTo>
                  <a:pt x="22875" y="11875"/>
                  <a:pt x="23156" y="12000"/>
                  <a:pt x="23250" y="11969"/>
                </a:cubicBezTo>
                <a:cubicBezTo>
                  <a:pt x="23281" y="11969"/>
                  <a:pt x="23281" y="11938"/>
                  <a:pt x="23281" y="11907"/>
                </a:cubicBezTo>
                <a:cubicBezTo>
                  <a:pt x="23375" y="11719"/>
                  <a:pt x="23312" y="11563"/>
                  <a:pt x="23219" y="11407"/>
                </a:cubicBezTo>
                <a:cubicBezTo>
                  <a:pt x="23125" y="11188"/>
                  <a:pt x="22969" y="11000"/>
                  <a:pt x="22844" y="10782"/>
                </a:cubicBezTo>
                <a:cubicBezTo>
                  <a:pt x="22844" y="10782"/>
                  <a:pt x="22844" y="10782"/>
                  <a:pt x="22844" y="10782"/>
                </a:cubicBezTo>
                <a:cubicBezTo>
                  <a:pt x="23031" y="10969"/>
                  <a:pt x="23187" y="11157"/>
                  <a:pt x="23344" y="11375"/>
                </a:cubicBezTo>
                <a:cubicBezTo>
                  <a:pt x="23312" y="11032"/>
                  <a:pt x="23125" y="10719"/>
                  <a:pt x="23000" y="10407"/>
                </a:cubicBezTo>
                <a:cubicBezTo>
                  <a:pt x="23125" y="10469"/>
                  <a:pt x="23187" y="10625"/>
                  <a:pt x="23344" y="10532"/>
                </a:cubicBezTo>
                <a:cubicBezTo>
                  <a:pt x="23344" y="10532"/>
                  <a:pt x="23375" y="10563"/>
                  <a:pt x="23375" y="10594"/>
                </a:cubicBezTo>
                <a:cubicBezTo>
                  <a:pt x="23437" y="10657"/>
                  <a:pt x="23469" y="10719"/>
                  <a:pt x="23500" y="10782"/>
                </a:cubicBezTo>
                <a:cubicBezTo>
                  <a:pt x="23594" y="10907"/>
                  <a:pt x="23656" y="11063"/>
                  <a:pt x="23719" y="11219"/>
                </a:cubicBezTo>
                <a:cubicBezTo>
                  <a:pt x="23719" y="11282"/>
                  <a:pt x="23750" y="11313"/>
                  <a:pt x="23812" y="11313"/>
                </a:cubicBezTo>
                <a:cubicBezTo>
                  <a:pt x="23875" y="11313"/>
                  <a:pt x="23906" y="11282"/>
                  <a:pt x="23906" y="11219"/>
                </a:cubicBezTo>
                <a:cubicBezTo>
                  <a:pt x="23906" y="11094"/>
                  <a:pt x="23937" y="11000"/>
                  <a:pt x="23906" y="10875"/>
                </a:cubicBezTo>
                <a:cubicBezTo>
                  <a:pt x="23812" y="10563"/>
                  <a:pt x="23656" y="10344"/>
                  <a:pt x="23469" y="10094"/>
                </a:cubicBezTo>
                <a:cubicBezTo>
                  <a:pt x="23344" y="9907"/>
                  <a:pt x="23187" y="9782"/>
                  <a:pt x="23031" y="9594"/>
                </a:cubicBezTo>
                <a:cubicBezTo>
                  <a:pt x="23031" y="9594"/>
                  <a:pt x="23031" y="9594"/>
                  <a:pt x="23031" y="9594"/>
                </a:cubicBezTo>
                <a:cubicBezTo>
                  <a:pt x="23187" y="9563"/>
                  <a:pt x="23344" y="9563"/>
                  <a:pt x="23437" y="9469"/>
                </a:cubicBezTo>
                <a:cubicBezTo>
                  <a:pt x="23531" y="9469"/>
                  <a:pt x="23594" y="9469"/>
                  <a:pt x="23687" y="9469"/>
                </a:cubicBezTo>
                <a:cubicBezTo>
                  <a:pt x="23750" y="9469"/>
                  <a:pt x="23844" y="9469"/>
                  <a:pt x="23906" y="9469"/>
                </a:cubicBezTo>
                <a:cubicBezTo>
                  <a:pt x="24031" y="9500"/>
                  <a:pt x="24156" y="9532"/>
                  <a:pt x="24281" y="9500"/>
                </a:cubicBezTo>
                <a:cubicBezTo>
                  <a:pt x="24437" y="9469"/>
                  <a:pt x="24594" y="9563"/>
                  <a:pt x="24750" y="9625"/>
                </a:cubicBezTo>
                <a:cubicBezTo>
                  <a:pt x="24781" y="9657"/>
                  <a:pt x="24844" y="9688"/>
                  <a:pt x="24906" y="9688"/>
                </a:cubicBezTo>
                <a:cubicBezTo>
                  <a:pt x="24750" y="9782"/>
                  <a:pt x="24625" y="9657"/>
                  <a:pt x="24469" y="9688"/>
                </a:cubicBezTo>
                <a:cubicBezTo>
                  <a:pt x="24500" y="9719"/>
                  <a:pt x="24500" y="9750"/>
                  <a:pt x="24531" y="9750"/>
                </a:cubicBezTo>
                <a:cubicBezTo>
                  <a:pt x="24875" y="9907"/>
                  <a:pt x="25219" y="10000"/>
                  <a:pt x="25594" y="10094"/>
                </a:cubicBezTo>
                <a:cubicBezTo>
                  <a:pt x="25844" y="10157"/>
                  <a:pt x="26125" y="10188"/>
                  <a:pt x="26375" y="10250"/>
                </a:cubicBezTo>
                <a:cubicBezTo>
                  <a:pt x="26531" y="10313"/>
                  <a:pt x="26656" y="10407"/>
                  <a:pt x="26812" y="10438"/>
                </a:cubicBezTo>
                <a:cubicBezTo>
                  <a:pt x="27219" y="10594"/>
                  <a:pt x="27656" y="10688"/>
                  <a:pt x="28094" y="10750"/>
                </a:cubicBezTo>
                <a:cubicBezTo>
                  <a:pt x="28344" y="10813"/>
                  <a:pt x="28594" y="10875"/>
                  <a:pt x="28844" y="10875"/>
                </a:cubicBezTo>
                <a:cubicBezTo>
                  <a:pt x="29187" y="10969"/>
                  <a:pt x="29500" y="11063"/>
                  <a:pt x="29844" y="11125"/>
                </a:cubicBezTo>
                <a:cubicBezTo>
                  <a:pt x="29969" y="11157"/>
                  <a:pt x="30094" y="11219"/>
                  <a:pt x="30219" y="11219"/>
                </a:cubicBezTo>
                <a:cubicBezTo>
                  <a:pt x="30250" y="11250"/>
                  <a:pt x="30281" y="11250"/>
                  <a:pt x="30344" y="11250"/>
                </a:cubicBezTo>
                <a:cubicBezTo>
                  <a:pt x="30344" y="11282"/>
                  <a:pt x="30375" y="11282"/>
                  <a:pt x="30406" y="11282"/>
                </a:cubicBezTo>
                <a:cubicBezTo>
                  <a:pt x="30437" y="11313"/>
                  <a:pt x="30500" y="11282"/>
                  <a:pt x="30531" y="11282"/>
                </a:cubicBezTo>
                <a:cubicBezTo>
                  <a:pt x="30562" y="11313"/>
                  <a:pt x="30562" y="11313"/>
                  <a:pt x="30562" y="11313"/>
                </a:cubicBezTo>
                <a:cubicBezTo>
                  <a:pt x="30687" y="11375"/>
                  <a:pt x="30812" y="11375"/>
                  <a:pt x="30937" y="11407"/>
                </a:cubicBezTo>
                <a:cubicBezTo>
                  <a:pt x="31250" y="11500"/>
                  <a:pt x="31562" y="11563"/>
                  <a:pt x="31844" y="11625"/>
                </a:cubicBezTo>
                <a:cubicBezTo>
                  <a:pt x="32187" y="11719"/>
                  <a:pt x="32531" y="11813"/>
                  <a:pt x="32844" y="11938"/>
                </a:cubicBezTo>
                <a:cubicBezTo>
                  <a:pt x="33031" y="12000"/>
                  <a:pt x="33187" y="12125"/>
                  <a:pt x="33375" y="12000"/>
                </a:cubicBezTo>
                <a:cubicBezTo>
                  <a:pt x="33437" y="12000"/>
                  <a:pt x="33500" y="12000"/>
                  <a:pt x="33594" y="11969"/>
                </a:cubicBezTo>
                <a:cubicBezTo>
                  <a:pt x="33750" y="12000"/>
                  <a:pt x="33937" y="11938"/>
                  <a:pt x="34125" y="11969"/>
                </a:cubicBezTo>
                <a:cubicBezTo>
                  <a:pt x="34156" y="11969"/>
                  <a:pt x="34219" y="11969"/>
                  <a:pt x="34219" y="11907"/>
                </a:cubicBezTo>
                <a:cubicBezTo>
                  <a:pt x="34219" y="11875"/>
                  <a:pt x="34219" y="11844"/>
                  <a:pt x="34187" y="11813"/>
                </a:cubicBezTo>
                <a:cubicBezTo>
                  <a:pt x="34094" y="11750"/>
                  <a:pt x="34031" y="11657"/>
                  <a:pt x="33937" y="11625"/>
                </a:cubicBezTo>
                <a:cubicBezTo>
                  <a:pt x="33906" y="11594"/>
                  <a:pt x="33844" y="11594"/>
                  <a:pt x="33844" y="11532"/>
                </a:cubicBezTo>
                <a:cubicBezTo>
                  <a:pt x="33875" y="11500"/>
                  <a:pt x="33937" y="11500"/>
                  <a:pt x="33969" y="11500"/>
                </a:cubicBezTo>
                <a:cubicBezTo>
                  <a:pt x="34000" y="11500"/>
                  <a:pt x="34031" y="11532"/>
                  <a:pt x="34094" y="11532"/>
                </a:cubicBezTo>
                <a:cubicBezTo>
                  <a:pt x="34375" y="11563"/>
                  <a:pt x="34594" y="11719"/>
                  <a:pt x="34875" y="11813"/>
                </a:cubicBezTo>
                <a:cubicBezTo>
                  <a:pt x="35187" y="11938"/>
                  <a:pt x="35469" y="12094"/>
                  <a:pt x="35687" y="12375"/>
                </a:cubicBezTo>
                <a:cubicBezTo>
                  <a:pt x="35719" y="12407"/>
                  <a:pt x="35750" y="12469"/>
                  <a:pt x="35781" y="12438"/>
                </a:cubicBezTo>
                <a:cubicBezTo>
                  <a:pt x="35812" y="12407"/>
                  <a:pt x="35812" y="12375"/>
                  <a:pt x="35812" y="12313"/>
                </a:cubicBezTo>
                <a:cubicBezTo>
                  <a:pt x="35750" y="12125"/>
                  <a:pt x="35687" y="11938"/>
                  <a:pt x="35594" y="11750"/>
                </a:cubicBezTo>
                <a:cubicBezTo>
                  <a:pt x="35500" y="11657"/>
                  <a:pt x="35531" y="11594"/>
                  <a:pt x="35656" y="11532"/>
                </a:cubicBezTo>
                <a:cubicBezTo>
                  <a:pt x="35781" y="11500"/>
                  <a:pt x="35844" y="11532"/>
                  <a:pt x="35906" y="11594"/>
                </a:cubicBezTo>
                <a:cubicBezTo>
                  <a:pt x="36406" y="11969"/>
                  <a:pt x="36719" y="12469"/>
                  <a:pt x="36906" y="13063"/>
                </a:cubicBezTo>
                <a:cubicBezTo>
                  <a:pt x="36969" y="13250"/>
                  <a:pt x="36969" y="13469"/>
                  <a:pt x="37062" y="13656"/>
                </a:cubicBezTo>
                <a:cubicBezTo>
                  <a:pt x="37125" y="13563"/>
                  <a:pt x="37094" y="13563"/>
                  <a:pt x="37125" y="13469"/>
                </a:cubicBezTo>
                <a:cubicBezTo>
                  <a:pt x="37156" y="13032"/>
                  <a:pt x="37094" y="12625"/>
                  <a:pt x="36937" y="12219"/>
                </a:cubicBezTo>
                <a:cubicBezTo>
                  <a:pt x="36906" y="12125"/>
                  <a:pt x="36875" y="12032"/>
                  <a:pt x="36937" y="12000"/>
                </a:cubicBezTo>
                <a:cubicBezTo>
                  <a:pt x="37031" y="11938"/>
                  <a:pt x="37062" y="12063"/>
                  <a:pt x="37125" y="12094"/>
                </a:cubicBezTo>
                <a:cubicBezTo>
                  <a:pt x="37406" y="12375"/>
                  <a:pt x="37625" y="12688"/>
                  <a:pt x="37812" y="13032"/>
                </a:cubicBezTo>
                <a:cubicBezTo>
                  <a:pt x="37844" y="13094"/>
                  <a:pt x="37875" y="13125"/>
                  <a:pt x="37937" y="13125"/>
                </a:cubicBezTo>
                <a:cubicBezTo>
                  <a:pt x="38000" y="13125"/>
                  <a:pt x="38000" y="13063"/>
                  <a:pt x="38000" y="13000"/>
                </a:cubicBezTo>
                <a:cubicBezTo>
                  <a:pt x="38031" y="12782"/>
                  <a:pt x="38156" y="12563"/>
                  <a:pt x="38062" y="12313"/>
                </a:cubicBezTo>
                <a:cubicBezTo>
                  <a:pt x="38062" y="12282"/>
                  <a:pt x="38031" y="12219"/>
                  <a:pt x="38062" y="12188"/>
                </a:cubicBezTo>
                <a:cubicBezTo>
                  <a:pt x="38125" y="12188"/>
                  <a:pt x="38156" y="12250"/>
                  <a:pt x="38187" y="12282"/>
                </a:cubicBezTo>
                <a:cubicBezTo>
                  <a:pt x="38344" y="12438"/>
                  <a:pt x="38469" y="12625"/>
                  <a:pt x="38562" y="12844"/>
                </a:cubicBezTo>
                <a:cubicBezTo>
                  <a:pt x="38687" y="13032"/>
                  <a:pt x="38781" y="13250"/>
                  <a:pt x="38906" y="13438"/>
                </a:cubicBezTo>
                <a:cubicBezTo>
                  <a:pt x="38906" y="13469"/>
                  <a:pt x="38906" y="13531"/>
                  <a:pt x="38969" y="13500"/>
                </a:cubicBezTo>
                <a:cubicBezTo>
                  <a:pt x="39031" y="13500"/>
                  <a:pt x="39000" y="13469"/>
                  <a:pt x="39000" y="13438"/>
                </a:cubicBezTo>
                <a:cubicBezTo>
                  <a:pt x="39000" y="13407"/>
                  <a:pt x="39000" y="13375"/>
                  <a:pt x="39031" y="13375"/>
                </a:cubicBezTo>
                <a:cubicBezTo>
                  <a:pt x="39156" y="13375"/>
                  <a:pt x="39125" y="13282"/>
                  <a:pt x="39125" y="13219"/>
                </a:cubicBezTo>
                <a:cubicBezTo>
                  <a:pt x="39125" y="12938"/>
                  <a:pt x="39031" y="12688"/>
                  <a:pt x="38969" y="12438"/>
                </a:cubicBezTo>
                <a:cubicBezTo>
                  <a:pt x="38969" y="12407"/>
                  <a:pt x="38906" y="12344"/>
                  <a:pt x="38969" y="12313"/>
                </a:cubicBezTo>
                <a:cubicBezTo>
                  <a:pt x="39000" y="12282"/>
                  <a:pt x="39062" y="12313"/>
                  <a:pt x="39094" y="12344"/>
                </a:cubicBezTo>
                <a:cubicBezTo>
                  <a:pt x="39187" y="12407"/>
                  <a:pt x="39281" y="12500"/>
                  <a:pt x="39375" y="12594"/>
                </a:cubicBezTo>
                <a:cubicBezTo>
                  <a:pt x="39406" y="12594"/>
                  <a:pt x="39437" y="12625"/>
                  <a:pt x="39469" y="12594"/>
                </a:cubicBezTo>
                <a:cubicBezTo>
                  <a:pt x="39500" y="12594"/>
                  <a:pt x="39469" y="12563"/>
                  <a:pt x="39469" y="12532"/>
                </a:cubicBezTo>
                <a:cubicBezTo>
                  <a:pt x="39437" y="12313"/>
                  <a:pt x="39312" y="12094"/>
                  <a:pt x="39219" y="11907"/>
                </a:cubicBezTo>
                <a:cubicBezTo>
                  <a:pt x="39125" y="11719"/>
                  <a:pt x="39000" y="11532"/>
                  <a:pt x="38906" y="11375"/>
                </a:cubicBezTo>
                <a:cubicBezTo>
                  <a:pt x="38937" y="11344"/>
                  <a:pt x="38937" y="11344"/>
                  <a:pt x="38937" y="11344"/>
                </a:cubicBezTo>
                <a:cubicBezTo>
                  <a:pt x="39406" y="11657"/>
                  <a:pt x="39687" y="12125"/>
                  <a:pt x="40031" y="12532"/>
                </a:cubicBezTo>
                <a:lnTo>
                  <a:pt x="40031" y="12532"/>
                </a:lnTo>
                <a:cubicBezTo>
                  <a:pt x="40031" y="12469"/>
                  <a:pt x="40031" y="12438"/>
                  <a:pt x="40000" y="12375"/>
                </a:cubicBezTo>
                <a:cubicBezTo>
                  <a:pt x="39937" y="12157"/>
                  <a:pt x="39875" y="11907"/>
                  <a:pt x="39812" y="11688"/>
                </a:cubicBezTo>
                <a:cubicBezTo>
                  <a:pt x="39750" y="11532"/>
                  <a:pt x="39781" y="11344"/>
                  <a:pt x="39656" y="11219"/>
                </a:cubicBezTo>
                <a:cubicBezTo>
                  <a:pt x="39250" y="10688"/>
                  <a:pt x="38781" y="10250"/>
                  <a:pt x="38250" y="9875"/>
                </a:cubicBezTo>
                <a:cubicBezTo>
                  <a:pt x="38125" y="9782"/>
                  <a:pt x="38031" y="9750"/>
                  <a:pt x="37937" y="9657"/>
                </a:cubicBezTo>
                <a:cubicBezTo>
                  <a:pt x="37937" y="9750"/>
                  <a:pt x="38000" y="9782"/>
                  <a:pt x="38000" y="9844"/>
                </a:cubicBezTo>
                <a:cubicBezTo>
                  <a:pt x="37875" y="9813"/>
                  <a:pt x="37750" y="9750"/>
                  <a:pt x="37687" y="9657"/>
                </a:cubicBezTo>
                <a:cubicBezTo>
                  <a:pt x="37562" y="9469"/>
                  <a:pt x="37375" y="9344"/>
                  <a:pt x="37156" y="9250"/>
                </a:cubicBezTo>
                <a:cubicBezTo>
                  <a:pt x="36562" y="8969"/>
                  <a:pt x="35937" y="8782"/>
                  <a:pt x="35312" y="8594"/>
                </a:cubicBezTo>
                <a:cubicBezTo>
                  <a:pt x="35187" y="8563"/>
                  <a:pt x="35062" y="8469"/>
                  <a:pt x="34937" y="8500"/>
                </a:cubicBezTo>
                <a:cubicBezTo>
                  <a:pt x="35375" y="8282"/>
                  <a:pt x="35781" y="8032"/>
                  <a:pt x="36187" y="7750"/>
                </a:cubicBezTo>
                <a:cubicBezTo>
                  <a:pt x="36906" y="7219"/>
                  <a:pt x="37562" y="6594"/>
                  <a:pt x="38187" y="5969"/>
                </a:cubicBezTo>
                <a:cubicBezTo>
                  <a:pt x="38281" y="5875"/>
                  <a:pt x="38344" y="5782"/>
                  <a:pt x="38406" y="5688"/>
                </a:cubicBezTo>
                <a:cubicBezTo>
                  <a:pt x="38437" y="5625"/>
                  <a:pt x="38469" y="5594"/>
                  <a:pt x="38406" y="5532"/>
                </a:cubicBezTo>
                <a:cubicBezTo>
                  <a:pt x="38375" y="5500"/>
                  <a:pt x="38344" y="5563"/>
                  <a:pt x="38312" y="5594"/>
                </a:cubicBezTo>
                <a:cubicBezTo>
                  <a:pt x="38219" y="5688"/>
                  <a:pt x="38125" y="5782"/>
                  <a:pt x="38031" y="5844"/>
                </a:cubicBezTo>
                <a:cubicBezTo>
                  <a:pt x="37531" y="6219"/>
                  <a:pt x="37031" y="6688"/>
                  <a:pt x="36500" y="7063"/>
                </a:cubicBezTo>
                <a:cubicBezTo>
                  <a:pt x="36375" y="7188"/>
                  <a:pt x="36250" y="7313"/>
                  <a:pt x="36062" y="7375"/>
                </a:cubicBezTo>
                <a:cubicBezTo>
                  <a:pt x="36094" y="7344"/>
                  <a:pt x="36094" y="7313"/>
                  <a:pt x="36125" y="7282"/>
                </a:cubicBezTo>
                <a:cubicBezTo>
                  <a:pt x="36656" y="6907"/>
                  <a:pt x="37156" y="6469"/>
                  <a:pt x="37625" y="6000"/>
                </a:cubicBezTo>
                <a:cubicBezTo>
                  <a:pt x="37656" y="5969"/>
                  <a:pt x="37687" y="5969"/>
                  <a:pt x="37687" y="5875"/>
                </a:cubicBezTo>
                <a:cubicBezTo>
                  <a:pt x="37500" y="6032"/>
                  <a:pt x="37250" y="6094"/>
                  <a:pt x="37062" y="6219"/>
                </a:cubicBezTo>
                <a:cubicBezTo>
                  <a:pt x="37000" y="6250"/>
                  <a:pt x="36906" y="6282"/>
                  <a:pt x="36844" y="6313"/>
                </a:cubicBezTo>
                <a:cubicBezTo>
                  <a:pt x="36812" y="6344"/>
                  <a:pt x="36750" y="6375"/>
                  <a:pt x="36719" y="6313"/>
                </a:cubicBezTo>
                <a:cubicBezTo>
                  <a:pt x="36719" y="6219"/>
                  <a:pt x="36687" y="6282"/>
                  <a:pt x="36656" y="6313"/>
                </a:cubicBezTo>
                <a:cubicBezTo>
                  <a:pt x="36594" y="6344"/>
                  <a:pt x="36562" y="6375"/>
                  <a:pt x="36531" y="6407"/>
                </a:cubicBezTo>
                <a:cubicBezTo>
                  <a:pt x="36375" y="6500"/>
                  <a:pt x="36250" y="6594"/>
                  <a:pt x="36094" y="6688"/>
                </a:cubicBezTo>
                <a:cubicBezTo>
                  <a:pt x="36094" y="6657"/>
                  <a:pt x="36062" y="6657"/>
                  <a:pt x="36062" y="6625"/>
                </a:cubicBezTo>
                <a:cubicBezTo>
                  <a:pt x="36250" y="6500"/>
                  <a:pt x="36469" y="6407"/>
                  <a:pt x="36625" y="6219"/>
                </a:cubicBezTo>
                <a:cubicBezTo>
                  <a:pt x="36562" y="6188"/>
                  <a:pt x="36500" y="6188"/>
                  <a:pt x="36437" y="6219"/>
                </a:cubicBezTo>
                <a:cubicBezTo>
                  <a:pt x="36375" y="6250"/>
                  <a:pt x="36281" y="6250"/>
                  <a:pt x="36219" y="6250"/>
                </a:cubicBezTo>
                <a:cubicBezTo>
                  <a:pt x="36187" y="6250"/>
                  <a:pt x="36125" y="6282"/>
                  <a:pt x="36125" y="6250"/>
                </a:cubicBezTo>
                <a:cubicBezTo>
                  <a:pt x="36094" y="6188"/>
                  <a:pt x="36156" y="6188"/>
                  <a:pt x="36156" y="6157"/>
                </a:cubicBezTo>
                <a:cubicBezTo>
                  <a:pt x="36375" y="5907"/>
                  <a:pt x="36625" y="5719"/>
                  <a:pt x="36875" y="5469"/>
                </a:cubicBezTo>
                <a:cubicBezTo>
                  <a:pt x="36969" y="5375"/>
                  <a:pt x="37062" y="5313"/>
                  <a:pt x="37125" y="5188"/>
                </a:cubicBezTo>
                <a:cubicBezTo>
                  <a:pt x="37125" y="5188"/>
                  <a:pt x="37125" y="5188"/>
                  <a:pt x="37125" y="5188"/>
                </a:cubicBezTo>
                <a:cubicBezTo>
                  <a:pt x="37156" y="5157"/>
                  <a:pt x="37156" y="5157"/>
                  <a:pt x="37156" y="5157"/>
                </a:cubicBezTo>
                <a:cubicBezTo>
                  <a:pt x="37125" y="5125"/>
                  <a:pt x="37125" y="5157"/>
                  <a:pt x="37125" y="5157"/>
                </a:cubicBezTo>
                <a:cubicBezTo>
                  <a:pt x="37094" y="5157"/>
                  <a:pt x="37062" y="5188"/>
                  <a:pt x="37062" y="5188"/>
                </a:cubicBezTo>
                <a:cubicBezTo>
                  <a:pt x="36750" y="5438"/>
                  <a:pt x="36406" y="5657"/>
                  <a:pt x="36062" y="5844"/>
                </a:cubicBezTo>
                <a:cubicBezTo>
                  <a:pt x="35875" y="5969"/>
                  <a:pt x="35656" y="6094"/>
                  <a:pt x="35437" y="6219"/>
                </a:cubicBezTo>
                <a:cubicBezTo>
                  <a:pt x="35437" y="6219"/>
                  <a:pt x="35437" y="6219"/>
                  <a:pt x="35437" y="6219"/>
                </a:cubicBezTo>
                <a:cubicBezTo>
                  <a:pt x="36250" y="5657"/>
                  <a:pt x="36250" y="5657"/>
                  <a:pt x="36250" y="5657"/>
                </a:cubicBezTo>
                <a:cubicBezTo>
                  <a:pt x="36250" y="5657"/>
                  <a:pt x="36250" y="5657"/>
                  <a:pt x="36250" y="5657"/>
                </a:cubicBezTo>
                <a:cubicBezTo>
                  <a:pt x="36375" y="5563"/>
                  <a:pt x="36500" y="5469"/>
                  <a:pt x="36625" y="5407"/>
                </a:cubicBezTo>
                <a:cubicBezTo>
                  <a:pt x="36750" y="5313"/>
                  <a:pt x="36875" y="5282"/>
                  <a:pt x="36937" y="5125"/>
                </a:cubicBezTo>
                <a:cubicBezTo>
                  <a:pt x="36937" y="5125"/>
                  <a:pt x="36937" y="5125"/>
                  <a:pt x="36937" y="5125"/>
                </a:cubicBezTo>
                <a:cubicBezTo>
                  <a:pt x="37031" y="5157"/>
                  <a:pt x="37062" y="5125"/>
                  <a:pt x="37062" y="5063"/>
                </a:cubicBezTo>
                <a:cubicBezTo>
                  <a:pt x="37062" y="5063"/>
                  <a:pt x="37094" y="5063"/>
                  <a:pt x="37094" y="5063"/>
                </a:cubicBezTo>
                <a:cubicBezTo>
                  <a:pt x="37094" y="5063"/>
                  <a:pt x="37125" y="5063"/>
                  <a:pt x="37125" y="5032"/>
                </a:cubicBezTo>
                <a:cubicBezTo>
                  <a:pt x="37125" y="5032"/>
                  <a:pt x="37125" y="5032"/>
                  <a:pt x="37125" y="5032"/>
                </a:cubicBezTo>
                <a:cubicBezTo>
                  <a:pt x="37156" y="5032"/>
                  <a:pt x="37187" y="5000"/>
                  <a:pt x="37187" y="4969"/>
                </a:cubicBezTo>
                <a:cubicBezTo>
                  <a:pt x="37187" y="4969"/>
                  <a:pt x="37187" y="4969"/>
                  <a:pt x="37187" y="4969"/>
                </a:cubicBezTo>
                <a:cubicBezTo>
                  <a:pt x="37219" y="4969"/>
                  <a:pt x="37219" y="4969"/>
                  <a:pt x="37219" y="4938"/>
                </a:cubicBezTo>
                <a:cubicBezTo>
                  <a:pt x="37250" y="4938"/>
                  <a:pt x="37250" y="4938"/>
                  <a:pt x="37250" y="4938"/>
                </a:cubicBezTo>
                <a:cubicBezTo>
                  <a:pt x="37250" y="4938"/>
                  <a:pt x="37281" y="4938"/>
                  <a:pt x="37250" y="4907"/>
                </a:cubicBezTo>
                <a:cubicBezTo>
                  <a:pt x="37250" y="4907"/>
                  <a:pt x="37250" y="4907"/>
                  <a:pt x="37250" y="4907"/>
                </a:cubicBezTo>
                <a:cubicBezTo>
                  <a:pt x="37281" y="4907"/>
                  <a:pt x="37281" y="4907"/>
                  <a:pt x="37281" y="4907"/>
                </a:cubicBezTo>
                <a:cubicBezTo>
                  <a:pt x="37437" y="4782"/>
                  <a:pt x="37594" y="4688"/>
                  <a:pt x="37687" y="4532"/>
                </a:cubicBezTo>
                <a:cubicBezTo>
                  <a:pt x="37531" y="4532"/>
                  <a:pt x="37406" y="4625"/>
                  <a:pt x="37281" y="4657"/>
                </a:cubicBezTo>
                <a:cubicBezTo>
                  <a:pt x="37219" y="4688"/>
                  <a:pt x="37156" y="4688"/>
                  <a:pt x="37094" y="4657"/>
                </a:cubicBezTo>
                <a:cubicBezTo>
                  <a:pt x="37031" y="4563"/>
                  <a:pt x="37094" y="4500"/>
                  <a:pt x="37156" y="4438"/>
                </a:cubicBezTo>
                <a:cubicBezTo>
                  <a:pt x="37344" y="4219"/>
                  <a:pt x="37562" y="4032"/>
                  <a:pt x="37719" y="3813"/>
                </a:cubicBezTo>
                <a:cubicBezTo>
                  <a:pt x="37719" y="3813"/>
                  <a:pt x="37719" y="3813"/>
                  <a:pt x="37719" y="3813"/>
                </a:cubicBezTo>
                <a:cubicBezTo>
                  <a:pt x="37719" y="3782"/>
                  <a:pt x="37750" y="3782"/>
                  <a:pt x="37750" y="3782"/>
                </a:cubicBezTo>
                <a:cubicBezTo>
                  <a:pt x="37812" y="3782"/>
                  <a:pt x="37812" y="3719"/>
                  <a:pt x="37844" y="3688"/>
                </a:cubicBezTo>
                <a:cubicBezTo>
                  <a:pt x="37875" y="3657"/>
                  <a:pt x="37906" y="3657"/>
                  <a:pt x="37875" y="3625"/>
                </a:cubicBezTo>
                <a:cubicBezTo>
                  <a:pt x="37875" y="3563"/>
                  <a:pt x="37812" y="3594"/>
                  <a:pt x="37781" y="3594"/>
                </a:cubicBezTo>
                <a:cubicBezTo>
                  <a:pt x="37625" y="3657"/>
                  <a:pt x="37469" y="3782"/>
                  <a:pt x="37375" y="3907"/>
                </a:cubicBezTo>
                <a:cubicBezTo>
                  <a:pt x="37156" y="4000"/>
                  <a:pt x="37000" y="4157"/>
                  <a:pt x="36812" y="4282"/>
                </a:cubicBezTo>
                <a:cubicBezTo>
                  <a:pt x="36781" y="4282"/>
                  <a:pt x="36781" y="4282"/>
                  <a:pt x="36781" y="4313"/>
                </a:cubicBezTo>
                <a:cubicBezTo>
                  <a:pt x="36781" y="4313"/>
                  <a:pt x="36781" y="4313"/>
                  <a:pt x="36781" y="4313"/>
                </a:cubicBezTo>
                <a:cubicBezTo>
                  <a:pt x="36719" y="4313"/>
                  <a:pt x="36687" y="4313"/>
                  <a:pt x="36687" y="4375"/>
                </a:cubicBezTo>
                <a:cubicBezTo>
                  <a:pt x="36687" y="4375"/>
                  <a:pt x="36687" y="4375"/>
                  <a:pt x="36687" y="4375"/>
                </a:cubicBezTo>
                <a:cubicBezTo>
                  <a:pt x="36625" y="4375"/>
                  <a:pt x="36594" y="4375"/>
                  <a:pt x="36594" y="4438"/>
                </a:cubicBezTo>
                <a:cubicBezTo>
                  <a:pt x="36437" y="4500"/>
                  <a:pt x="36344" y="4625"/>
                  <a:pt x="36187" y="4719"/>
                </a:cubicBezTo>
                <a:cubicBezTo>
                  <a:pt x="36125" y="4719"/>
                  <a:pt x="36062" y="4719"/>
                  <a:pt x="36031" y="4782"/>
                </a:cubicBezTo>
                <a:cubicBezTo>
                  <a:pt x="36031" y="4782"/>
                  <a:pt x="36031" y="4782"/>
                  <a:pt x="36031" y="4782"/>
                </a:cubicBezTo>
                <a:cubicBezTo>
                  <a:pt x="35969" y="4782"/>
                  <a:pt x="35937" y="4813"/>
                  <a:pt x="35906" y="4875"/>
                </a:cubicBezTo>
                <a:cubicBezTo>
                  <a:pt x="35906" y="4875"/>
                  <a:pt x="35906" y="4875"/>
                  <a:pt x="35906" y="4875"/>
                </a:cubicBezTo>
                <a:cubicBezTo>
                  <a:pt x="35844" y="4875"/>
                  <a:pt x="35781" y="4875"/>
                  <a:pt x="35750" y="4969"/>
                </a:cubicBezTo>
                <a:cubicBezTo>
                  <a:pt x="35750" y="4969"/>
                  <a:pt x="35750" y="4969"/>
                  <a:pt x="35750" y="4969"/>
                </a:cubicBezTo>
                <a:cubicBezTo>
                  <a:pt x="35719" y="4969"/>
                  <a:pt x="35687" y="4969"/>
                  <a:pt x="35687" y="5000"/>
                </a:cubicBezTo>
                <a:cubicBezTo>
                  <a:pt x="35687" y="5000"/>
                  <a:pt x="35687" y="5000"/>
                  <a:pt x="35687" y="5000"/>
                </a:cubicBezTo>
                <a:cubicBezTo>
                  <a:pt x="35625" y="4969"/>
                  <a:pt x="35594" y="4969"/>
                  <a:pt x="35594" y="5063"/>
                </a:cubicBezTo>
                <a:cubicBezTo>
                  <a:pt x="35594" y="5063"/>
                  <a:pt x="35594" y="5063"/>
                  <a:pt x="35594" y="5063"/>
                </a:cubicBezTo>
                <a:cubicBezTo>
                  <a:pt x="35531" y="5032"/>
                  <a:pt x="35500" y="5063"/>
                  <a:pt x="35469" y="5063"/>
                </a:cubicBezTo>
                <a:cubicBezTo>
                  <a:pt x="35219" y="5188"/>
                  <a:pt x="34969" y="5282"/>
                  <a:pt x="34719" y="5375"/>
                </a:cubicBezTo>
                <a:cubicBezTo>
                  <a:pt x="34562" y="5407"/>
                  <a:pt x="34406" y="5438"/>
                  <a:pt x="34219" y="5500"/>
                </a:cubicBezTo>
                <a:cubicBezTo>
                  <a:pt x="34250" y="5438"/>
                  <a:pt x="34312" y="5438"/>
                  <a:pt x="34281" y="5407"/>
                </a:cubicBezTo>
                <a:cubicBezTo>
                  <a:pt x="34312" y="5407"/>
                  <a:pt x="34312" y="5407"/>
                  <a:pt x="34312" y="5407"/>
                </a:cubicBezTo>
                <a:cubicBezTo>
                  <a:pt x="34344" y="5407"/>
                  <a:pt x="34344" y="5407"/>
                  <a:pt x="34375" y="5375"/>
                </a:cubicBezTo>
                <a:cubicBezTo>
                  <a:pt x="34375" y="5375"/>
                  <a:pt x="34375" y="5375"/>
                  <a:pt x="34375" y="5375"/>
                </a:cubicBezTo>
                <a:cubicBezTo>
                  <a:pt x="34437" y="5375"/>
                  <a:pt x="34469" y="5375"/>
                  <a:pt x="34500" y="5313"/>
                </a:cubicBezTo>
                <a:cubicBezTo>
                  <a:pt x="34531" y="5313"/>
                  <a:pt x="34531" y="5313"/>
                  <a:pt x="34562" y="5313"/>
                </a:cubicBezTo>
                <a:cubicBezTo>
                  <a:pt x="34969" y="5094"/>
                  <a:pt x="35406" y="4907"/>
                  <a:pt x="35812" y="4688"/>
                </a:cubicBezTo>
                <a:cubicBezTo>
                  <a:pt x="35937" y="4625"/>
                  <a:pt x="36062" y="4594"/>
                  <a:pt x="36125" y="4469"/>
                </a:cubicBezTo>
                <a:cubicBezTo>
                  <a:pt x="36094" y="4469"/>
                  <a:pt x="36062" y="4469"/>
                  <a:pt x="36031" y="4469"/>
                </a:cubicBezTo>
                <a:cubicBezTo>
                  <a:pt x="36031" y="4469"/>
                  <a:pt x="36031" y="4469"/>
                  <a:pt x="36031" y="4469"/>
                </a:cubicBezTo>
                <a:cubicBezTo>
                  <a:pt x="36031" y="4438"/>
                  <a:pt x="36031" y="4438"/>
                  <a:pt x="36031" y="4438"/>
                </a:cubicBezTo>
                <a:cubicBezTo>
                  <a:pt x="36031" y="4469"/>
                  <a:pt x="36031" y="4469"/>
                  <a:pt x="36031" y="4469"/>
                </a:cubicBezTo>
                <a:cubicBezTo>
                  <a:pt x="36062" y="4469"/>
                  <a:pt x="36094" y="4469"/>
                  <a:pt x="36125" y="4469"/>
                </a:cubicBezTo>
                <a:cubicBezTo>
                  <a:pt x="36125" y="4469"/>
                  <a:pt x="36125" y="4469"/>
                  <a:pt x="36125" y="4469"/>
                </a:cubicBezTo>
                <a:cubicBezTo>
                  <a:pt x="36156" y="4469"/>
                  <a:pt x="36219" y="4469"/>
                  <a:pt x="36250" y="4438"/>
                </a:cubicBezTo>
                <a:cubicBezTo>
                  <a:pt x="36531" y="4250"/>
                  <a:pt x="36844" y="4063"/>
                  <a:pt x="37125" y="3844"/>
                </a:cubicBezTo>
                <a:cubicBezTo>
                  <a:pt x="37156" y="3875"/>
                  <a:pt x="37187" y="3875"/>
                  <a:pt x="37187" y="3813"/>
                </a:cubicBezTo>
                <a:cubicBezTo>
                  <a:pt x="37187" y="3813"/>
                  <a:pt x="37187" y="3813"/>
                  <a:pt x="37187" y="3813"/>
                </a:cubicBezTo>
                <a:cubicBezTo>
                  <a:pt x="37219" y="3844"/>
                  <a:pt x="37281" y="3844"/>
                  <a:pt x="37250" y="3782"/>
                </a:cubicBezTo>
                <a:cubicBezTo>
                  <a:pt x="37250" y="3782"/>
                  <a:pt x="37250" y="3782"/>
                  <a:pt x="37250" y="3782"/>
                </a:cubicBezTo>
                <a:cubicBezTo>
                  <a:pt x="37312" y="3844"/>
                  <a:pt x="37375" y="3782"/>
                  <a:pt x="37437" y="3750"/>
                </a:cubicBezTo>
                <a:cubicBezTo>
                  <a:pt x="37625" y="3594"/>
                  <a:pt x="37875" y="3469"/>
                  <a:pt x="38062" y="3250"/>
                </a:cubicBezTo>
                <a:cubicBezTo>
                  <a:pt x="38250" y="3125"/>
                  <a:pt x="38469" y="3000"/>
                  <a:pt x="38594" y="2750"/>
                </a:cubicBezTo>
                <a:cubicBezTo>
                  <a:pt x="38625" y="2688"/>
                  <a:pt x="38687" y="2657"/>
                  <a:pt x="38656" y="2594"/>
                </a:cubicBezTo>
                <a:cubicBezTo>
                  <a:pt x="38594" y="2532"/>
                  <a:pt x="38531" y="2563"/>
                  <a:pt x="38469" y="2594"/>
                </a:cubicBezTo>
                <a:cubicBezTo>
                  <a:pt x="38437" y="2594"/>
                  <a:pt x="38437" y="2594"/>
                  <a:pt x="38406" y="2625"/>
                </a:cubicBezTo>
                <a:cubicBezTo>
                  <a:pt x="38219" y="2688"/>
                  <a:pt x="38000" y="2750"/>
                  <a:pt x="37812" y="2813"/>
                </a:cubicBezTo>
                <a:cubicBezTo>
                  <a:pt x="37750" y="2844"/>
                  <a:pt x="37656" y="2844"/>
                  <a:pt x="37625" y="2750"/>
                </a:cubicBezTo>
                <a:cubicBezTo>
                  <a:pt x="37594" y="2657"/>
                  <a:pt x="37531" y="2625"/>
                  <a:pt x="37437" y="2688"/>
                </a:cubicBezTo>
                <a:cubicBezTo>
                  <a:pt x="37312" y="2750"/>
                  <a:pt x="37187" y="2750"/>
                  <a:pt x="37062" y="2844"/>
                </a:cubicBezTo>
                <a:cubicBezTo>
                  <a:pt x="37000" y="2813"/>
                  <a:pt x="36969" y="2844"/>
                  <a:pt x="36937" y="2875"/>
                </a:cubicBezTo>
                <a:cubicBezTo>
                  <a:pt x="36719" y="2969"/>
                  <a:pt x="36531" y="3032"/>
                  <a:pt x="36375" y="3157"/>
                </a:cubicBezTo>
                <a:cubicBezTo>
                  <a:pt x="36312" y="3188"/>
                  <a:pt x="36281" y="3219"/>
                  <a:pt x="36250" y="3188"/>
                </a:cubicBezTo>
                <a:cubicBezTo>
                  <a:pt x="36219" y="3125"/>
                  <a:pt x="36250" y="3063"/>
                  <a:pt x="36281" y="3032"/>
                </a:cubicBezTo>
                <a:cubicBezTo>
                  <a:pt x="36312" y="3032"/>
                  <a:pt x="36312" y="3032"/>
                  <a:pt x="36344" y="3000"/>
                </a:cubicBezTo>
                <a:cubicBezTo>
                  <a:pt x="36656" y="2813"/>
                  <a:pt x="36969" y="2657"/>
                  <a:pt x="37344" y="2563"/>
                </a:cubicBezTo>
                <a:cubicBezTo>
                  <a:pt x="37375" y="2532"/>
                  <a:pt x="37437" y="2532"/>
                  <a:pt x="37406" y="2469"/>
                </a:cubicBezTo>
                <a:cubicBezTo>
                  <a:pt x="37375" y="2375"/>
                  <a:pt x="37281" y="2282"/>
                  <a:pt x="37281" y="2188"/>
                </a:cubicBezTo>
                <a:cubicBezTo>
                  <a:pt x="37250" y="2032"/>
                  <a:pt x="37187" y="2032"/>
                  <a:pt x="37062" y="2094"/>
                </a:cubicBezTo>
                <a:cubicBezTo>
                  <a:pt x="36937" y="2157"/>
                  <a:pt x="36844" y="2219"/>
                  <a:pt x="36719" y="2282"/>
                </a:cubicBezTo>
                <a:cubicBezTo>
                  <a:pt x="36375" y="2500"/>
                  <a:pt x="36062" y="2719"/>
                  <a:pt x="35687" y="2907"/>
                </a:cubicBezTo>
                <a:cubicBezTo>
                  <a:pt x="35062" y="3250"/>
                  <a:pt x="34406" y="3500"/>
                  <a:pt x="33750" y="3782"/>
                </a:cubicBezTo>
                <a:cubicBezTo>
                  <a:pt x="32812" y="4188"/>
                  <a:pt x="31875" y="4532"/>
                  <a:pt x="30906" y="4813"/>
                </a:cubicBezTo>
                <a:cubicBezTo>
                  <a:pt x="30344" y="4969"/>
                  <a:pt x="29781" y="5094"/>
                  <a:pt x="29250" y="5219"/>
                </a:cubicBezTo>
                <a:cubicBezTo>
                  <a:pt x="28656" y="5344"/>
                  <a:pt x="28094" y="5438"/>
                  <a:pt x="27500" y="5563"/>
                </a:cubicBezTo>
                <a:cubicBezTo>
                  <a:pt x="26844" y="5625"/>
                  <a:pt x="26844" y="5625"/>
                  <a:pt x="26844" y="5625"/>
                </a:cubicBezTo>
                <a:cubicBezTo>
                  <a:pt x="26875" y="5594"/>
                  <a:pt x="26906" y="5594"/>
                  <a:pt x="26937" y="5563"/>
                </a:cubicBezTo>
                <a:cubicBezTo>
                  <a:pt x="27156" y="5407"/>
                  <a:pt x="27375" y="5250"/>
                  <a:pt x="27531" y="5032"/>
                </a:cubicBezTo>
                <a:cubicBezTo>
                  <a:pt x="27937" y="4500"/>
                  <a:pt x="28281" y="3907"/>
                  <a:pt x="28437" y="3250"/>
                </a:cubicBezTo>
                <a:cubicBezTo>
                  <a:pt x="28531" y="2969"/>
                  <a:pt x="28500" y="2907"/>
                  <a:pt x="28219" y="2907"/>
                </a:cubicBezTo>
                <a:cubicBezTo>
                  <a:pt x="28156" y="2782"/>
                  <a:pt x="28156" y="2657"/>
                  <a:pt x="28187" y="2532"/>
                </a:cubicBezTo>
                <a:cubicBezTo>
                  <a:pt x="28219" y="2375"/>
                  <a:pt x="28219" y="2250"/>
                  <a:pt x="28219" y="2094"/>
                </a:cubicBezTo>
                <a:cubicBezTo>
                  <a:pt x="28156" y="2125"/>
                  <a:pt x="28094" y="2157"/>
                  <a:pt x="28031" y="2188"/>
                </a:cubicBezTo>
                <a:cubicBezTo>
                  <a:pt x="28000" y="2188"/>
                  <a:pt x="27937" y="2219"/>
                  <a:pt x="27937" y="2157"/>
                </a:cubicBezTo>
                <a:cubicBezTo>
                  <a:pt x="27906" y="2125"/>
                  <a:pt x="27937" y="2094"/>
                  <a:pt x="28000" y="2063"/>
                </a:cubicBezTo>
                <a:cubicBezTo>
                  <a:pt x="28062" y="2032"/>
                  <a:pt x="28125" y="2000"/>
                  <a:pt x="28187" y="1938"/>
                </a:cubicBezTo>
                <a:cubicBezTo>
                  <a:pt x="28219" y="1907"/>
                  <a:pt x="28250" y="1875"/>
                  <a:pt x="28219" y="1813"/>
                </a:cubicBezTo>
                <a:cubicBezTo>
                  <a:pt x="28187" y="1782"/>
                  <a:pt x="28125" y="1750"/>
                  <a:pt x="28094" y="1782"/>
                </a:cubicBezTo>
                <a:cubicBezTo>
                  <a:pt x="28062" y="1782"/>
                  <a:pt x="28031" y="1782"/>
                  <a:pt x="28000" y="1813"/>
                </a:cubicBezTo>
                <a:cubicBezTo>
                  <a:pt x="27875" y="1875"/>
                  <a:pt x="27750" y="1844"/>
                  <a:pt x="27656" y="1719"/>
                </a:cubicBezTo>
                <a:cubicBezTo>
                  <a:pt x="27594" y="1813"/>
                  <a:pt x="27531" y="1907"/>
                  <a:pt x="27437" y="1938"/>
                </a:cubicBezTo>
                <a:cubicBezTo>
                  <a:pt x="27281" y="2032"/>
                  <a:pt x="27219" y="2157"/>
                  <a:pt x="27094" y="2282"/>
                </a:cubicBezTo>
                <a:cubicBezTo>
                  <a:pt x="26937" y="2532"/>
                  <a:pt x="26781" y="2782"/>
                  <a:pt x="26531" y="2938"/>
                </a:cubicBezTo>
                <a:cubicBezTo>
                  <a:pt x="26500" y="2969"/>
                  <a:pt x="26500" y="3000"/>
                  <a:pt x="26437" y="3000"/>
                </a:cubicBezTo>
                <a:cubicBezTo>
                  <a:pt x="26406" y="2969"/>
                  <a:pt x="26437" y="2938"/>
                  <a:pt x="26437" y="2907"/>
                </a:cubicBezTo>
                <a:cubicBezTo>
                  <a:pt x="26406" y="2688"/>
                  <a:pt x="26469" y="2469"/>
                  <a:pt x="26500" y="2250"/>
                </a:cubicBezTo>
                <a:cubicBezTo>
                  <a:pt x="26500" y="2000"/>
                  <a:pt x="26469" y="1750"/>
                  <a:pt x="26250" y="1563"/>
                </a:cubicBezTo>
                <a:cubicBezTo>
                  <a:pt x="26125" y="1438"/>
                  <a:pt x="26000" y="1282"/>
                  <a:pt x="25781" y="1219"/>
                </a:cubicBezTo>
                <a:cubicBezTo>
                  <a:pt x="25719" y="1188"/>
                  <a:pt x="25594" y="1157"/>
                  <a:pt x="25531" y="1219"/>
                </a:cubicBezTo>
                <a:cubicBezTo>
                  <a:pt x="25406" y="1375"/>
                  <a:pt x="25219" y="1438"/>
                  <a:pt x="25125" y="1625"/>
                </a:cubicBezTo>
                <a:cubicBezTo>
                  <a:pt x="25000" y="1813"/>
                  <a:pt x="24906" y="1813"/>
                  <a:pt x="24687" y="1719"/>
                </a:cubicBezTo>
                <a:cubicBezTo>
                  <a:pt x="24594" y="1657"/>
                  <a:pt x="24500" y="1625"/>
                  <a:pt x="24406" y="1657"/>
                </a:cubicBezTo>
                <a:cubicBezTo>
                  <a:pt x="24125" y="1688"/>
                  <a:pt x="23906" y="1875"/>
                  <a:pt x="23719" y="2094"/>
                </a:cubicBezTo>
                <a:cubicBezTo>
                  <a:pt x="23500" y="2313"/>
                  <a:pt x="23281" y="2563"/>
                  <a:pt x="23062" y="2750"/>
                </a:cubicBezTo>
                <a:cubicBezTo>
                  <a:pt x="22437" y="3375"/>
                  <a:pt x="21719" y="3907"/>
                  <a:pt x="20937" y="4344"/>
                </a:cubicBezTo>
                <a:cubicBezTo>
                  <a:pt x="20656" y="4532"/>
                  <a:pt x="20344" y="4688"/>
                  <a:pt x="20031" y="4782"/>
                </a:cubicBezTo>
                <a:cubicBezTo>
                  <a:pt x="19656" y="4938"/>
                  <a:pt x="19250" y="5032"/>
                  <a:pt x="18875" y="5125"/>
                </a:cubicBezTo>
                <a:cubicBezTo>
                  <a:pt x="18906" y="5125"/>
                  <a:pt x="18937" y="5125"/>
                  <a:pt x="18969" y="5125"/>
                </a:cubicBezTo>
                <a:cubicBezTo>
                  <a:pt x="18937" y="5125"/>
                  <a:pt x="18906" y="5125"/>
                  <a:pt x="18875" y="5125"/>
                </a:cubicBezTo>
                <a:cubicBezTo>
                  <a:pt x="18656" y="5125"/>
                  <a:pt x="18469" y="5219"/>
                  <a:pt x="18250" y="5219"/>
                </a:cubicBezTo>
                <a:cubicBezTo>
                  <a:pt x="18000" y="5157"/>
                  <a:pt x="17781" y="5157"/>
                  <a:pt x="17531" y="5094"/>
                </a:cubicBezTo>
                <a:cubicBezTo>
                  <a:pt x="17344" y="5063"/>
                  <a:pt x="17156" y="5000"/>
                  <a:pt x="16969" y="4969"/>
                </a:cubicBezTo>
                <a:cubicBezTo>
                  <a:pt x="16562" y="4875"/>
                  <a:pt x="16187" y="4782"/>
                  <a:pt x="15781" y="4688"/>
                </a:cubicBezTo>
                <a:cubicBezTo>
                  <a:pt x="15375" y="4563"/>
                  <a:pt x="14937" y="4438"/>
                  <a:pt x="14500" y="4282"/>
                </a:cubicBezTo>
                <a:cubicBezTo>
                  <a:pt x="13937" y="4094"/>
                  <a:pt x="13344" y="3907"/>
                  <a:pt x="12781" y="3657"/>
                </a:cubicBezTo>
                <a:cubicBezTo>
                  <a:pt x="12156" y="3407"/>
                  <a:pt x="11562" y="3125"/>
                  <a:pt x="10937" y="2844"/>
                </a:cubicBezTo>
                <a:cubicBezTo>
                  <a:pt x="10906" y="2844"/>
                  <a:pt x="10844" y="2813"/>
                  <a:pt x="10812" y="2782"/>
                </a:cubicBezTo>
                <a:cubicBezTo>
                  <a:pt x="10406" y="2594"/>
                  <a:pt x="10000" y="2375"/>
                  <a:pt x="9594" y="2157"/>
                </a:cubicBezTo>
                <a:cubicBezTo>
                  <a:pt x="9219" y="1938"/>
                  <a:pt x="8812" y="1719"/>
                  <a:pt x="8437" y="1469"/>
                </a:cubicBezTo>
                <a:cubicBezTo>
                  <a:pt x="8000" y="1188"/>
                  <a:pt x="7531" y="938"/>
                  <a:pt x="7125" y="625"/>
                </a:cubicBezTo>
                <a:cubicBezTo>
                  <a:pt x="6844" y="407"/>
                  <a:pt x="6531" y="219"/>
                  <a:pt x="6250" y="0"/>
                </a:cubicBezTo>
                <a:cubicBezTo>
                  <a:pt x="6219" y="0"/>
                  <a:pt x="6187" y="0"/>
                  <a:pt x="6156" y="0"/>
                </a:cubicBezTo>
                <a:cubicBezTo>
                  <a:pt x="6156" y="63"/>
                  <a:pt x="6156" y="125"/>
                  <a:pt x="6187" y="157"/>
                </a:cubicBezTo>
                <a:cubicBezTo>
                  <a:pt x="6312" y="313"/>
                  <a:pt x="6437" y="469"/>
                  <a:pt x="6594" y="625"/>
                </a:cubicBezTo>
                <a:cubicBezTo>
                  <a:pt x="6594" y="657"/>
                  <a:pt x="6625" y="688"/>
                  <a:pt x="6656" y="688"/>
                </a:cubicBezTo>
                <a:cubicBezTo>
                  <a:pt x="6656" y="688"/>
                  <a:pt x="6687" y="688"/>
                  <a:pt x="6687" y="688"/>
                </a:cubicBezTo>
                <a:cubicBezTo>
                  <a:pt x="7000" y="1032"/>
                  <a:pt x="7312" y="1344"/>
                  <a:pt x="7656" y="1657"/>
                </a:cubicBezTo>
                <a:cubicBezTo>
                  <a:pt x="7656" y="1657"/>
                  <a:pt x="7656" y="1657"/>
                  <a:pt x="7687" y="1688"/>
                </a:cubicBezTo>
                <a:cubicBezTo>
                  <a:pt x="7687" y="1688"/>
                  <a:pt x="7687" y="1688"/>
                  <a:pt x="7687" y="1688"/>
                </a:cubicBezTo>
                <a:cubicBezTo>
                  <a:pt x="7687" y="1688"/>
                  <a:pt x="7687" y="1688"/>
                  <a:pt x="7687" y="1688"/>
                </a:cubicBezTo>
                <a:cubicBezTo>
                  <a:pt x="7875" y="1844"/>
                  <a:pt x="8031" y="2000"/>
                  <a:pt x="8219" y="2188"/>
                </a:cubicBezTo>
                <a:cubicBezTo>
                  <a:pt x="8219" y="2344"/>
                  <a:pt x="8312" y="2469"/>
                  <a:pt x="8437" y="2563"/>
                </a:cubicBezTo>
                <a:cubicBezTo>
                  <a:pt x="8437" y="2594"/>
                  <a:pt x="8437" y="2594"/>
                  <a:pt x="8437" y="2625"/>
                </a:cubicBezTo>
                <a:cubicBezTo>
                  <a:pt x="8437" y="2625"/>
                  <a:pt x="8469" y="2625"/>
                  <a:pt x="8469" y="2625"/>
                </a:cubicBezTo>
                <a:cubicBezTo>
                  <a:pt x="8531" y="2719"/>
                  <a:pt x="8594" y="2782"/>
                  <a:pt x="8687" y="2844"/>
                </a:cubicBezTo>
                <a:cubicBezTo>
                  <a:pt x="8781" y="2938"/>
                  <a:pt x="8844" y="3063"/>
                  <a:pt x="8969" y="3125"/>
                </a:cubicBezTo>
                <a:cubicBezTo>
                  <a:pt x="9000" y="3157"/>
                  <a:pt x="9000" y="3219"/>
                  <a:pt x="8969" y="3250"/>
                </a:cubicBezTo>
                <a:cubicBezTo>
                  <a:pt x="8781" y="3188"/>
                  <a:pt x="8594" y="3094"/>
                  <a:pt x="8406" y="3032"/>
                </a:cubicBezTo>
                <a:cubicBezTo>
                  <a:pt x="8531" y="3157"/>
                  <a:pt x="8687" y="3219"/>
                  <a:pt x="8844" y="3313"/>
                </a:cubicBezTo>
                <a:cubicBezTo>
                  <a:pt x="8687" y="3219"/>
                  <a:pt x="8531" y="3157"/>
                  <a:pt x="8406" y="3032"/>
                </a:cubicBezTo>
                <a:cubicBezTo>
                  <a:pt x="8375" y="3032"/>
                  <a:pt x="8375" y="3032"/>
                  <a:pt x="8375" y="3000"/>
                </a:cubicBezTo>
                <a:cubicBezTo>
                  <a:pt x="8375" y="3000"/>
                  <a:pt x="8375" y="3000"/>
                  <a:pt x="8375" y="3000"/>
                </a:cubicBezTo>
                <a:cubicBezTo>
                  <a:pt x="8375" y="3000"/>
                  <a:pt x="8375" y="3000"/>
                  <a:pt x="8375" y="3000"/>
                </a:cubicBezTo>
                <a:cubicBezTo>
                  <a:pt x="8312" y="3000"/>
                  <a:pt x="8281" y="2969"/>
                  <a:pt x="8219" y="2938"/>
                </a:cubicBezTo>
                <a:cubicBezTo>
                  <a:pt x="8094" y="2875"/>
                  <a:pt x="7937" y="2782"/>
                  <a:pt x="7781" y="2782"/>
                </a:cubicBezTo>
                <a:cubicBezTo>
                  <a:pt x="7562" y="2594"/>
                  <a:pt x="7281" y="2563"/>
                  <a:pt x="7000" y="2438"/>
                </a:cubicBezTo>
                <a:cubicBezTo>
                  <a:pt x="7000" y="2438"/>
                  <a:pt x="6969" y="2469"/>
                  <a:pt x="7000" y="2500"/>
                </a:cubicBezTo>
                <a:cubicBezTo>
                  <a:pt x="7156" y="2688"/>
                  <a:pt x="7312" y="2875"/>
                  <a:pt x="7531" y="3000"/>
                </a:cubicBezTo>
                <a:cubicBezTo>
                  <a:pt x="7500" y="3000"/>
                  <a:pt x="7500" y="3000"/>
                  <a:pt x="7500" y="3000"/>
                </a:cubicBezTo>
                <a:cubicBezTo>
                  <a:pt x="7500" y="3000"/>
                  <a:pt x="7531" y="3000"/>
                  <a:pt x="7531" y="3000"/>
                </a:cubicBezTo>
                <a:cubicBezTo>
                  <a:pt x="7531" y="3032"/>
                  <a:pt x="7531" y="3032"/>
                  <a:pt x="7531" y="3032"/>
                </a:cubicBezTo>
                <a:cubicBezTo>
                  <a:pt x="7531" y="3063"/>
                  <a:pt x="7531" y="3063"/>
                  <a:pt x="7562" y="3063"/>
                </a:cubicBezTo>
                <a:cubicBezTo>
                  <a:pt x="7562" y="3063"/>
                  <a:pt x="7562" y="3063"/>
                  <a:pt x="7562" y="3063"/>
                </a:cubicBezTo>
                <a:cubicBezTo>
                  <a:pt x="7594" y="3125"/>
                  <a:pt x="7656" y="3188"/>
                  <a:pt x="7687" y="3250"/>
                </a:cubicBezTo>
                <a:cubicBezTo>
                  <a:pt x="7719" y="3313"/>
                  <a:pt x="7719" y="3344"/>
                  <a:pt x="7719" y="3375"/>
                </a:cubicBezTo>
                <a:cubicBezTo>
                  <a:pt x="7687" y="3375"/>
                  <a:pt x="7687" y="3375"/>
                  <a:pt x="7656" y="3407"/>
                </a:cubicBezTo>
                <a:cubicBezTo>
                  <a:pt x="7437" y="3344"/>
                  <a:pt x="7250" y="3188"/>
                  <a:pt x="7000" y="3188"/>
                </a:cubicBezTo>
                <a:cubicBezTo>
                  <a:pt x="7031" y="3250"/>
                  <a:pt x="7125" y="3250"/>
                  <a:pt x="7156" y="3313"/>
                </a:cubicBezTo>
                <a:cubicBezTo>
                  <a:pt x="7094" y="3438"/>
                  <a:pt x="7281" y="3438"/>
                  <a:pt x="7281" y="3500"/>
                </a:cubicBezTo>
                <a:cubicBezTo>
                  <a:pt x="7281" y="3500"/>
                  <a:pt x="7281" y="3500"/>
                  <a:pt x="7281" y="3500"/>
                </a:cubicBezTo>
                <a:cubicBezTo>
                  <a:pt x="7250" y="3500"/>
                  <a:pt x="7219" y="3532"/>
                  <a:pt x="7187" y="3532"/>
                </a:cubicBezTo>
                <a:cubicBezTo>
                  <a:pt x="7094" y="3469"/>
                  <a:pt x="6937" y="3438"/>
                  <a:pt x="6875" y="3375"/>
                </a:cubicBezTo>
                <a:cubicBezTo>
                  <a:pt x="6719" y="3188"/>
                  <a:pt x="6531" y="3094"/>
                  <a:pt x="6344" y="2969"/>
                </a:cubicBezTo>
                <a:cubicBezTo>
                  <a:pt x="6187" y="2844"/>
                  <a:pt x="6062" y="2719"/>
                  <a:pt x="5875" y="2657"/>
                </a:cubicBezTo>
                <a:cubicBezTo>
                  <a:pt x="5844" y="2625"/>
                  <a:pt x="5781" y="2594"/>
                  <a:pt x="5750" y="2625"/>
                </a:cubicBezTo>
                <a:cubicBezTo>
                  <a:pt x="5719" y="2688"/>
                  <a:pt x="5750" y="2719"/>
                  <a:pt x="5781" y="2750"/>
                </a:cubicBezTo>
                <a:cubicBezTo>
                  <a:pt x="5937" y="3032"/>
                  <a:pt x="6187" y="3219"/>
                  <a:pt x="6375" y="3469"/>
                </a:cubicBezTo>
                <a:cubicBezTo>
                  <a:pt x="6469" y="3563"/>
                  <a:pt x="6594" y="3657"/>
                  <a:pt x="6531" y="3844"/>
                </a:cubicBezTo>
                <a:cubicBezTo>
                  <a:pt x="6531" y="3844"/>
                  <a:pt x="6531" y="3844"/>
                  <a:pt x="6562" y="3875"/>
                </a:cubicBezTo>
                <a:cubicBezTo>
                  <a:pt x="6750" y="4032"/>
                  <a:pt x="6969" y="4219"/>
                  <a:pt x="7187" y="4375"/>
                </a:cubicBezTo>
                <a:cubicBezTo>
                  <a:pt x="6969" y="4219"/>
                  <a:pt x="6750" y="4032"/>
                  <a:pt x="6562" y="3875"/>
                </a:cubicBezTo>
                <a:cubicBezTo>
                  <a:pt x="6562" y="3907"/>
                  <a:pt x="6531" y="3969"/>
                  <a:pt x="6500" y="4000"/>
                </a:cubicBezTo>
                <a:cubicBezTo>
                  <a:pt x="6500" y="4032"/>
                  <a:pt x="6500" y="4032"/>
                  <a:pt x="6500" y="4063"/>
                </a:cubicBezTo>
                <a:cubicBezTo>
                  <a:pt x="6469" y="4094"/>
                  <a:pt x="6437" y="4125"/>
                  <a:pt x="6375" y="4125"/>
                </a:cubicBezTo>
                <a:cubicBezTo>
                  <a:pt x="6250" y="4188"/>
                  <a:pt x="6281" y="4219"/>
                  <a:pt x="6375" y="4282"/>
                </a:cubicBezTo>
                <a:cubicBezTo>
                  <a:pt x="6500" y="4407"/>
                  <a:pt x="6656" y="4500"/>
                  <a:pt x="6812" y="4625"/>
                </a:cubicBezTo>
                <a:cubicBezTo>
                  <a:pt x="7094" y="4844"/>
                  <a:pt x="7406" y="5000"/>
                  <a:pt x="7687" y="5219"/>
                </a:cubicBezTo>
                <a:cubicBezTo>
                  <a:pt x="7531" y="5219"/>
                  <a:pt x="7437" y="5125"/>
                  <a:pt x="7281" y="5094"/>
                </a:cubicBezTo>
                <a:cubicBezTo>
                  <a:pt x="7094" y="5032"/>
                  <a:pt x="6875" y="4938"/>
                  <a:pt x="6656" y="4844"/>
                </a:cubicBezTo>
                <a:cubicBezTo>
                  <a:pt x="6625" y="4844"/>
                  <a:pt x="6594" y="4844"/>
                  <a:pt x="6562" y="4844"/>
                </a:cubicBezTo>
                <a:close/>
                <a:moveTo>
                  <a:pt x="37187" y="5125"/>
                </a:moveTo>
                <a:cubicBezTo>
                  <a:pt x="37187" y="5125"/>
                  <a:pt x="37187" y="5125"/>
                  <a:pt x="37187" y="5125"/>
                </a:cubicBezTo>
                <a:cubicBezTo>
                  <a:pt x="37187" y="5125"/>
                  <a:pt x="37187" y="5125"/>
                  <a:pt x="37187" y="5125"/>
                </a:cubicBezTo>
                <a:cubicBezTo>
                  <a:pt x="37187" y="5125"/>
                  <a:pt x="37187" y="5125"/>
                  <a:pt x="37187" y="5094"/>
                </a:cubicBezTo>
                <a:cubicBezTo>
                  <a:pt x="37187" y="5125"/>
                  <a:pt x="37187" y="5125"/>
                  <a:pt x="37187" y="5125"/>
                </a:cubicBezTo>
                <a:close/>
                <a:moveTo>
                  <a:pt x="21312" y="12219"/>
                </a:moveTo>
                <a:lnTo>
                  <a:pt x="21312" y="12219"/>
                </a:lnTo>
                <a:lnTo>
                  <a:pt x="21312" y="12219"/>
                </a:lnTo>
                <a:close/>
                <a:moveTo>
                  <a:pt x="28187" y="1032"/>
                </a:moveTo>
                <a:cubicBezTo>
                  <a:pt x="28219" y="1063"/>
                  <a:pt x="28219" y="1094"/>
                  <a:pt x="28250" y="1063"/>
                </a:cubicBezTo>
                <a:cubicBezTo>
                  <a:pt x="28281" y="1063"/>
                  <a:pt x="28312" y="1032"/>
                  <a:pt x="28312" y="1000"/>
                </a:cubicBezTo>
                <a:cubicBezTo>
                  <a:pt x="28312" y="938"/>
                  <a:pt x="28312" y="907"/>
                  <a:pt x="28312" y="875"/>
                </a:cubicBezTo>
                <a:cubicBezTo>
                  <a:pt x="28312" y="813"/>
                  <a:pt x="28312" y="750"/>
                  <a:pt x="28281" y="657"/>
                </a:cubicBezTo>
                <a:cubicBezTo>
                  <a:pt x="28281" y="594"/>
                  <a:pt x="28281" y="500"/>
                  <a:pt x="28187" y="500"/>
                </a:cubicBezTo>
                <a:cubicBezTo>
                  <a:pt x="28125" y="500"/>
                  <a:pt x="28094" y="594"/>
                  <a:pt x="28094" y="657"/>
                </a:cubicBezTo>
                <a:cubicBezTo>
                  <a:pt x="28062" y="719"/>
                  <a:pt x="28000" y="782"/>
                  <a:pt x="28031" y="844"/>
                </a:cubicBezTo>
                <a:cubicBezTo>
                  <a:pt x="28094" y="907"/>
                  <a:pt x="28125" y="969"/>
                  <a:pt x="28187" y="1032"/>
                </a:cubicBezTo>
                <a:close/>
                <a:moveTo>
                  <a:pt x="27937" y="1688"/>
                </a:moveTo>
                <a:cubicBezTo>
                  <a:pt x="28000" y="1657"/>
                  <a:pt x="28094" y="1657"/>
                  <a:pt x="28156" y="1625"/>
                </a:cubicBezTo>
                <a:cubicBezTo>
                  <a:pt x="28219" y="1594"/>
                  <a:pt x="28281" y="1688"/>
                  <a:pt x="28312" y="1594"/>
                </a:cubicBezTo>
                <a:cubicBezTo>
                  <a:pt x="28312" y="1532"/>
                  <a:pt x="28312" y="1469"/>
                  <a:pt x="28281" y="1407"/>
                </a:cubicBezTo>
                <a:cubicBezTo>
                  <a:pt x="28219" y="1344"/>
                  <a:pt x="28187" y="1250"/>
                  <a:pt x="28125" y="1188"/>
                </a:cubicBezTo>
                <a:cubicBezTo>
                  <a:pt x="28062" y="1125"/>
                  <a:pt x="28062" y="1000"/>
                  <a:pt x="27969" y="1000"/>
                </a:cubicBezTo>
                <a:cubicBezTo>
                  <a:pt x="27906" y="1032"/>
                  <a:pt x="27906" y="1157"/>
                  <a:pt x="27875" y="1250"/>
                </a:cubicBezTo>
                <a:cubicBezTo>
                  <a:pt x="27844" y="1344"/>
                  <a:pt x="27875" y="1344"/>
                  <a:pt x="27937" y="1313"/>
                </a:cubicBezTo>
                <a:cubicBezTo>
                  <a:pt x="28000" y="1282"/>
                  <a:pt x="28031" y="1313"/>
                  <a:pt x="28031" y="1375"/>
                </a:cubicBezTo>
                <a:cubicBezTo>
                  <a:pt x="28062" y="1438"/>
                  <a:pt x="28000" y="1438"/>
                  <a:pt x="27969" y="1438"/>
                </a:cubicBezTo>
                <a:cubicBezTo>
                  <a:pt x="27906" y="1469"/>
                  <a:pt x="27875" y="1469"/>
                  <a:pt x="27844" y="1500"/>
                </a:cubicBezTo>
                <a:cubicBezTo>
                  <a:pt x="27781" y="1563"/>
                  <a:pt x="27750" y="1594"/>
                  <a:pt x="27781" y="1657"/>
                </a:cubicBezTo>
                <a:cubicBezTo>
                  <a:pt x="27812" y="1750"/>
                  <a:pt x="27875" y="1688"/>
                  <a:pt x="27937" y="1688"/>
                </a:cubicBezTo>
                <a:close/>
                <a:moveTo>
                  <a:pt x="36344" y="4782"/>
                </a:moveTo>
                <a:cubicBezTo>
                  <a:pt x="36344" y="4782"/>
                  <a:pt x="36344" y="4782"/>
                  <a:pt x="36344" y="4782"/>
                </a:cubicBezTo>
                <a:cubicBezTo>
                  <a:pt x="36344" y="4813"/>
                  <a:pt x="36312" y="4844"/>
                  <a:pt x="36312" y="4844"/>
                </a:cubicBezTo>
                <a:cubicBezTo>
                  <a:pt x="36312" y="4844"/>
                  <a:pt x="36344" y="4813"/>
                  <a:pt x="36344" y="4782"/>
                </a:cubicBezTo>
                <a:close/>
                <a:moveTo>
                  <a:pt x="35156" y="5438"/>
                </a:moveTo>
                <a:cubicBezTo>
                  <a:pt x="35156" y="5438"/>
                  <a:pt x="35125" y="5469"/>
                  <a:pt x="35125" y="5469"/>
                </a:cubicBezTo>
                <a:cubicBezTo>
                  <a:pt x="35125" y="5469"/>
                  <a:pt x="35125" y="5469"/>
                  <a:pt x="35125" y="5469"/>
                </a:cubicBezTo>
                <a:cubicBezTo>
                  <a:pt x="35125" y="5469"/>
                  <a:pt x="35125" y="5469"/>
                  <a:pt x="35125" y="5469"/>
                </a:cubicBezTo>
                <a:cubicBezTo>
                  <a:pt x="35125" y="5469"/>
                  <a:pt x="35156" y="5438"/>
                  <a:pt x="35156" y="5438"/>
                </a:cubicBezTo>
                <a:close/>
                <a:moveTo>
                  <a:pt x="36031" y="3688"/>
                </a:moveTo>
                <a:cubicBezTo>
                  <a:pt x="36344" y="3532"/>
                  <a:pt x="36625" y="3375"/>
                  <a:pt x="36937" y="3157"/>
                </a:cubicBezTo>
                <a:cubicBezTo>
                  <a:pt x="36625" y="3375"/>
                  <a:pt x="36344" y="3532"/>
                  <a:pt x="36031" y="3688"/>
                </a:cubicBezTo>
                <a:cubicBezTo>
                  <a:pt x="36031" y="3688"/>
                  <a:pt x="36031" y="3688"/>
                  <a:pt x="36031" y="3688"/>
                </a:cubicBezTo>
                <a:close/>
                <a:moveTo>
                  <a:pt x="35812" y="3875"/>
                </a:moveTo>
                <a:cubicBezTo>
                  <a:pt x="35812" y="3875"/>
                  <a:pt x="35844" y="3875"/>
                  <a:pt x="35844" y="3875"/>
                </a:cubicBezTo>
                <a:cubicBezTo>
                  <a:pt x="35844" y="3875"/>
                  <a:pt x="35812" y="3875"/>
                  <a:pt x="35812" y="3875"/>
                </a:cubicBezTo>
                <a:close/>
                <a:moveTo>
                  <a:pt x="35687" y="3844"/>
                </a:moveTo>
                <a:cubicBezTo>
                  <a:pt x="35687" y="3844"/>
                  <a:pt x="35687" y="3844"/>
                  <a:pt x="35687" y="3844"/>
                </a:cubicBezTo>
                <a:cubicBezTo>
                  <a:pt x="35594" y="3875"/>
                  <a:pt x="35531" y="3907"/>
                  <a:pt x="35437" y="3969"/>
                </a:cubicBezTo>
                <a:cubicBezTo>
                  <a:pt x="35531" y="3907"/>
                  <a:pt x="35594" y="3875"/>
                  <a:pt x="35687" y="3844"/>
                </a:cubicBezTo>
                <a:close/>
                <a:moveTo>
                  <a:pt x="35437" y="3500"/>
                </a:moveTo>
                <a:cubicBezTo>
                  <a:pt x="35437" y="3500"/>
                  <a:pt x="35437" y="3532"/>
                  <a:pt x="35437" y="3563"/>
                </a:cubicBezTo>
                <a:cubicBezTo>
                  <a:pt x="35344" y="3625"/>
                  <a:pt x="35250" y="3688"/>
                  <a:pt x="35156" y="3782"/>
                </a:cubicBezTo>
                <a:cubicBezTo>
                  <a:pt x="35250" y="3688"/>
                  <a:pt x="35344" y="3625"/>
                  <a:pt x="35437" y="3563"/>
                </a:cubicBezTo>
                <a:cubicBezTo>
                  <a:pt x="35437" y="3532"/>
                  <a:pt x="35437" y="3500"/>
                  <a:pt x="35437" y="3500"/>
                </a:cubicBezTo>
                <a:close/>
                <a:moveTo>
                  <a:pt x="35094" y="3938"/>
                </a:moveTo>
                <a:cubicBezTo>
                  <a:pt x="35125" y="3938"/>
                  <a:pt x="35125" y="3938"/>
                  <a:pt x="35125" y="3938"/>
                </a:cubicBezTo>
                <a:cubicBezTo>
                  <a:pt x="35125" y="3938"/>
                  <a:pt x="35125" y="3938"/>
                  <a:pt x="35094" y="3938"/>
                </a:cubicBezTo>
                <a:cubicBezTo>
                  <a:pt x="35094" y="3938"/>
                  <a:pt x="35094" y="3938"/>
                  <a:pt x="35094" y="3938"/>
                </a:cubicBezTo>
                <a:close/>
                <a:moveTo>
                  <a:pt x="7094" y="4625"/>
                </a:moveTo>
                <a:cubicBezTo>
                  <a:pt x="7062" y="4625"/>
                  <a:pt x="7031" y="4594"/>
                  <a:pt x="7000" y="4594"/>
                </a:cubicBezTo>
                <a:cubicBezTo>
                  <a:pt x="7031" y="4594"/>
                  <a:pt x="7062" y="4625"/>
                  <a:pt x="7094" y="4625"/>
                </a:cubicBezTo>
                <a:cubicBezTo>
                  <a:pt x="7094" y="4625"/>
                  <a:pt x="7094" y="4625"/>
                  <a:pt x="7094" y="4625"/>
                </a:cubicBezTo>
                <a:close/>
                <a:moveTo>
                  <a:pt x="36000" y="7438"/>
                </a:moveTo>
                <a:cubicBezTo>
                  <a:pt x="36000" y="7438"/>
                  <a:pt x="36000" y="7438"/>
                  <a:pt x="36000" y="7407"/>
                </a:cubicBezTo>
                <a:cubicBezTo>
                  <a:pt x="36000" y="7407"/>
                  <a:pt x="36000" y="7407"/>
                  <a:pt x="36000" y="7407"/>
                </a:cubicBezTo>
                <a:cubicBezTo>
                  <a:pt x="36000" y="7438"/>
                  <a:pt x="36000" y="7438"/>
                  <a:pt x="36000" y="7438"/>
                </a:cubicBezTo>
                <a:close/>
                <a:moveTo>
                  <a:pt x="36000" y="7407"/>
                </a:moveTo>
                <a:cubicBezTo>
                  <a:pt x="36031" y="7407"/>
                  <a:pt x="36031" y="7407"/>
                  <a:pt x="36031" y="7407"/>
                </a:cubicBezTo>
                <a:cubicBezTo>
                  <a:pt x="36031" y="7407"/>
                  <a:pt x="36031" y="7407"/>
                  <a:pt x="36000" y="7407"/>
                </a:cubicBezTo>
                <a:close/>
                <a:moveTo>
                  <a:pt x="34031" y="5469"/>
                </a:moveTo>
                <a:cubicBezTo>
                  <a:pt x="34031" y="5469"/>
                  <a:pt x="34031" y="5469"/>
                  <a:pt x="34031" y="5469"/>
                </a:cubicBezTo>
                <a:cubicBezTo>
                  <a:pt x="34062" y="5469"/>
                  <a:pt x="34094" y="5438"/>
                  <a:pt x="34156" y="5438"/>
                </a:cubicBezTo>
                <a:cubicBezTo>
                  <a:pt x="34094" y="5438"/>
                  <a:pt x="34062" y="5469"/>
                  <a:pt x="34031" y="5469"/>
                </a:cubicBezTo>
                <a:close/>
                <a:moveTo>
                  <a:pt x="33219" y="4875"/>
                </a:moveTo>
                <a:cubicBezTo>
                  <a:pt x="33219" y="4875"/>
                  <a:pt x="33219" y="4875"/>
                  <a:pt x="33219" y="4875"/>
                </a:cubicBezTo>
                <a:cubicBezTo>
                  <a:pt x="33187" y="4907"/>
                  <a:pt x="33187" y="4938"/>
                  <a:pt x="33156" y="4938"/>
                </a:cubicBezTo>
                <a:cubicBezTo>
                  <a:pt x="33187" y="4938"/>
                  <a:pt x="33187" y="4907"/>
                  <a:pt x="33219" y="4875"/>
                </a:cubicBezTo>
                <a:close/>
                <a:moveTo>
                  <a:pt x="19594" y="5032"/>
                </a:moveTo>
                <a:cubicBezTo>
                  <a:pt x="19531" y="5032"/>
                  <a:pt x="19469" y="5032"/>
                  <a:pt x="19406" y="5063"/>
                </a:cubicBezTo>
                <a:cubicBezTo>
                  <a:pt x="19469" y="5032"/>
                  <a:pt x="19531" y="5032"/>
                  <a:pt x="19594" y="5032"/>
                </a:cubicBezTo>
                <a:close/>
                <a:moveTo>
                  <a:pt x="8656" y="4282"/>
                </a:moveTo>
                <a:cubicBezTo>
                  <a:pt x="8687" y="4282"/>
                  <a:pt x="8687" y="4313"/>
                  <a:pt x="8687" y="4313"/>
                </a:cubicBezTo>
                <a:cubicBezTo>
                  <a:pt x="8687" y="4313"/>
                  <a:pt x="8687" y="4282"/>
                  <a:pt x="8656" y="4282"/>
                </a:cubicBezTo>
                <a:close/>
                <a:moveTo>
                  <a:pt x="8562" y="4469"/>
                </a:moveTo>
                <a:cubicBezTo>
                  <a:pt x="8562" y="4469"/>
                  <a:pt x="8562" y="4469"/>
                  <a:pt x="8562" y="4469"/>
                </a:cubicBezTo>
                <a:cubicBezTo>
                  <a:pt x="8562" y="4469"/>
                  <a:pt x="8562" y="4469"/>
                  <a:pt x="8562" y="4469"/>
                </a:cubicBezTo>
                <a:close/>
                <a:moveTo>
                  <a:pt x="8562" y="4438"/>
                </a:moveTo>
                <a:cubicBezTo>
                  <a:pt x="8562" y="4438"/>
                  <a:pt x="8562" y="4469"/>
                  <a:pt x="8562" y="4469"/>
                </a:cubicBezTo>
                <a:cubicBezTo>
                  <a:pt x="8562" y="4438"/>
                  <a:pt x="8562" y="4438"/>
                  <a:pt x="8562" y="4438"/>
                </a:cubicBezTo>
                <a:cubicBezTo>
                  <a:pt x="8531" y="4469"/>
                  <a:pt x="8469" y="4469"/>
                  <a:pt x="8469" y="4469"/>
                </a:cubicBezTo>
                <a:cubicBezTo>
                  <a:pt x="8469" y="4469"/>
                  <a:pt x="8531" y="4469"/>
                  <a:pt x="8562" y="4438"/>
                </a:cubicBezTo>
                <a:close/>
                <a:moveTo>
                  <a:pt x="8344" y="4125"/>
                </a:moveTo>
                <a:cubicBezTo>
                  <a:pt x="8406" y="4125"/>
                  <a:pt x="8437" y="4125"/>
                  <a:pt x="8500" y="4157"/>
                </a:cubicBezTo>
                <a:cubicBezTo>
                  <a:pt x="8437" y="4125"/>
                  <a:pt x="8406" y="4125"/>
                  <a:pt x="8344" y="4125"/>
                </a:cubicBezTo>
                <a:cubicBezTo>
                  <a:pt x="8344" y="4125"/>
                  <a:pt x="8344" y="4125"/>
                  <a:pt x="8344" y="4094"/>
                </a:cubicBezTo>
                <a:lnTo>
                  <a:pt x="8344" y="4125"/>
                </a:lnTo>
                <a:close/>
                <a:moveTo>
                  <a:pt x="7844" y="3407"/>
                </a:moveTo>
                <a:cubicBezTo>
                  <a:pt x="7812" y="3375"/>
                  <a:pt x="7781" y="3344"/>
                  <a:pt x="7750" y="3344"/>
                </a:cubicBezTo>
                <a:cubicBezTo>
                  <a:pt x="7781" y="3344"/>
                  <a:pt x="7812" y="3375"/>
                  <a:pt x="7844" y="3407"/>
                </a:cubicBezTo>
                <a:close/>
                <a:moveTo>
                  <a:pt x="18062" y="10063"/>
                </a:moveTo>
                <a:cubicBezTo>
                  <a:pt x="18062" y="10063"/>
                  <a:pt x="18062" y="10063"/>
                  <a:pt x="18062" y="10063"/>
                </a:cubicBezTo>
                <a:cubicBezTo>
                  <a:pt x="18219" y="10125"/>
                  <a:pt x="18375" y="10219"/>
                  <a:pt x="18562" y="10282"/>
                </a:cubicBezTo>
                <a:cubicBezTo>
                  <a:pt x="18375" y="10219"/>
                  <a:pt x="18219" y="10125"/>
                  <a:pt x="18062" y="10063"/>
                </a:cubicBezTo>
                <a:close/>
                <a:moveTo>
                  <a:pt x="20812" y="11407"/>
                </a:moveTo>
                <a:cubicBezTo>
                  <a:pt x="20812" y="11407"/>
                  <a:pt x="20812" y="11407"/>
                  <a:pt x="20812" y="11407"/>
                </a:cubicBezTo>
                <a:cubicBezTo>
                  <a:pt x="20844" y="11407"/>
                  <a:pt x="20844" y="11438"/>
                  <a:pt x="20844" y="11438"/>
                </a:cubicBezTo>
                <a:cubicBezTo>
                  <a:pt x="20844" y="11438"/>
                  <a:pt x="20844" y="11407"/>
                  <a:pt x="20812" y="11407"/>
                </a:cubicBezTo>
                <a:close/>
                <a:moveTo>
                  <a:pt x="36281" y="11625"/>
                </a:moveTo>
                <a:cubicBezTo>
                  <a:pt x="36281" y="11625"/>
                  <a:pt x="36281" y="11625"/>
                  <a:pt x="36281" y="11625"/>
                </a:cubicBezTo>
                <a:cubicBezTo>
                  <a:pt x="36281" y="11625"/>
                  <a:pt x="36281" y="11625"/>
                  <a:pt x="36281" y="11625"/>
                </a:cubicBezTo>
                <a:cubicBezTo>
                  <a:pt x="36281" y="11625"/>
                  <a:pt x="36281" y="11657"/>
                  <a:pt x="36312" y="11657"/>
                </a:cubicBezTo>
                <a:cubicBezTo>
                  <a:pt x="36281" y="11657"/>
                  <a:pt x="36281" y="11625"/>
                  <a:pt x="36281" y="1162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A4319B7-2945-2F4F-8753-B519AD92FF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BFE24245-ECFB-C44F-8565-D05E99A94D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83995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46">
            <a:extLst>
              <a:ext uri="{FF2B5EF4-FFF2-40B4-BE49-F238E27FC236}">
                <a16:creationId xmlns:a16="http://schemas.microsoft.com/office/drawing/2014/main" id="{355B46E3-781F-4E48-B8DF-D825F5D67F0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 bwMode="auto">
          <a:xfrm>
            <a:off x="336110" y="657013"/>
            <a:ext cx="11519780" cy="3491984"/>
          </a:xfrm>
          <a:custGeom>
            <a:avLst/>
            <a:gdLst>
              <a:gd name="T0" fmla="*/ 36250 w 36656"/>
              <a:gd name="T1" fmla="*/ 3500 h 13469"/>
              <a:gd name="T2" fmla="*/ 34562 w 36656"/>
              <a:gd name="T3" fmla="*/ 4344 h 13469"/>
              <a:gd name="T4" fmla="*/ 31219 w 36656"/>
              <a:gd name="T5" fmla="*/ 1594 h 13469"/>
              <a:gd name="T6" fmla="*/ 24969 w 36656"/>
              <a:gd name="T7" fmla="*/ 906 h 13469"/>
              <a:gd name="T8" fmla="*/ 24719 w 36656"/>
              <a:gd name="T9" fmla="*/ 969 h 13469"/>
              <a:gd name="T10" fmla="*/ 24625 w 36656"/>
              <a:gd name="T11" fmla="*/ 1156 h 13469"/>
              <a:gd name="T12" fmla="*/ 22344 w 36656"/>
              <a:gd name="T13" fmla="*/ 1687 h 13469"/>
              <a:gd name="T14" fmla="*/ 22000 w 36656"/>
              <a:gd name="T15" fmla="*/ 1625 h 13469"/>
              <a:gd name="T16" fmla="*/ 22312 w 36656"/>
              <a:gd name="T17" fmla="*/ 1469 h 13469"/>
              <a:gd name="T18" fmla="*/ 20000 w 36656"/>
              <a:gd name="T19" fmla="*/ 1562 h 13469"/>
              <a:gd name="T20" fmla="*/ 21625 w 36656"/>
              <a:gd name="T21" fmla="*/ 500 h 13469"/>
              <a:gd name="T22" fmla="*/ 19750 w 36656"/>
              <a:gd name="T23" fmla="*/ 750 h 13469"/>
              <a:gd name="T24" fmla="*/ 19719 w 36656"/>
              <a:gd name="T25" fmla="*/ 750 h 13469"/>
              <a:gd name="T26" fmla="*/ 19219 w 36656"/>
              <a:gd name="T27" fmla="*/ 812 h 13469"/>
              <a:gd name="T28" fmla="*/ 18937 w 36656"/>
              <a:gd name="T29" fmla="*/ 0 h 13469"/>
              <a:gd name="T30" fmla="*/ 13875 w 36656"/>
              <a:gd name="T31" fmla="*/ 469 h 13469"/>
              <a:gd name="T32" fmla="*/ 10625 w 36656"/>
              <a:gd name="T33" fmla="*/ 594 h 13469"/>
              <a:gd name="T34" fmla="*/ 9781 w 36656"/>
              <a:gd name="T35" fmla="*/ 531 h 13469"/>
              <a:gd name="T36" fmla="*/ 5969 w 36656"/>
              <a:gd name="T37" fmla="*/ 1750 h 13469"/>
              <a:gd name="T38" fmla="*/ 5156 w 36656"/>
              <a:gd name="T39" fmla="*/ 2781 h 13469"/>
              <a:gd name="T40" fmla="*/ 4906 w 36656"/>
              <a:gd name="T41" fmla="*/ 3750 h 13469"/>
              <a:gd name="T42" fmla="*/ 4625 w 36656"/>
              <a:gd name="T43" fmla="*/ 5312 h 13469"/>
              <a:gd name="T44" fmla="*/ 1812 w 36656"/>
              <a:gd name="T45" fmla="*/ 5500 h 13469"/>
              <a:gd name="T46" fmla="*/ 2031 w 36656"/>
              <a:gd name="T47" fmla="*/ 6719 h 13469"/>
              <a:gd name="T48" fmla="*/ 469 w 36656"/>
              <a:gd name="T49" fmla="*/ 7125 h 13469"/>
              <a:gd name="T50" fmla="*/ 1750 w 36656"/>
              <a:gd name="T51" fmla="*/ 7531 h 13469"/>
              <a:gd name="T52" fmla="*/ 2187 w 36656"/>
              <a:gd name="T53" fmla="*/ 8375 h 13469"/>
              <a:gd name="T54" fmla="*/ 8187 w 36656"/>
              <a:gd name="T55" fmla="*/ 9562 h 13469"/>
              <a:gd name="T56" fmla="*/ 8812 w 36656"/>
              <a:gd name="T57" fmla="*/ 10094 h 13469"/>
              <a:gd name="T58" fmla="*/ 6719 w 36656"/>
              <a:gd name="T59" fmla="*/ 10844 h 13469"/>
              <a:gd name="T60" fmla="*/ 9875 w 36656"/>
              <a:gd name="T61" fmla="*/ 11312 h 13469"/>
              <a:gd name="T62" fmla="*/ 10500 w 36656"/>
              <a:gd name="T63" fmla="*/ 11750 h 13469"/>
              <a:gd name="T64" fmla="*/ 15906 w 36656"/>
              <a:gd name="T65" fmla="*/ 11062 h 13469"/>
              <a:gd name="T66" fmla="*/ 16531 w 36656"/>
              <a:gd name="T67" fmla="*/ 11375 h 13469"/>
              <a:gd name="T68" fmla="*/ 16750 w 36656"/>
              <a:gd name="T69" fmla="*/ 11937 h 13469"/>
              <a:gd name="T70" fmla="*/ 15844 w 36656"/>
              <a:gd name="T71" fmla="*/ 12750 h 13469"/>
              <a:gd name="T72" fmla="*/ 15344 w 36656"/>
              <a:gd name="T73" fmla="*/ 12844 h 13469"/>
              <a:gd name="T74" fmla="*/ 17375 w 36656"/>
              <a:gd name="T75" fmla="*/ 12781 h 13469"/>
              <a:gd name="T76" fmla="*/ 17656 w 36656"/>
              <a:gd name="T77" fmla="*/ 13437 h 13469"/>
              <a:gd name="T78" fmla="*/ 24250 w 36656"/>
              <a:gd name="T79" fmla="*/ 12500 h 13469"/>
              <a:gd name="T80" fmla="*/ 27156 w 36656"/>
              <a:gd name="T81" fmla="*/ 11875 h 13469"/>
              <a:gd name="T82" fmla="*/ 25844 w 36656"/>
              <a:gd name="T83" fmla="*/ 12844 h 13469"/>
              <a:gd name="T84" fmla="*/ 27219 w 36656"/>
              <a:gd name="T85" fmla="*/ 12719 h 13469"/>
              <a:gd name="T86" fmla="*/ 27156 w 36656"/>
              <a:gd name="T87" fmla="*/ 13125 h 13469"/>
              <a:gd name="T88" fmla="*/ 32406 w 36656"/>
              <a:gd name="T89" fmla="*/ 9031 h 13469"/>
              <a:gd name="T90" fmla="*/ 32437 w 36656"/>
              <a:gd name="T91" fmla="*/ 8969 h 13469"/>
              <a:gd name="T92" fmla="*/ 32406 w 36656"/>
              <a:gd name="T93" fmla="*/ 8969 h 13469"/>
              <a:gd name="T94" fmla="*/ 31906 w 36656"/>
              <a:gd name="T95" fmla="*/ 9312 h 13469"/>
              <a:gd name="T96" fmla="*/ 32281 w 36656"/>
              <a:gd name="T97" fmla="*/ 8625 h 13469"/>
              <a:gd name="T98" fmla="*/ 31344 w 36656"/>
              <a:gd name="T99" fmla="*/ 9000 h 13469"/>
              <a:gd name="T100" fmla="*/ 29969 w 36656"/>
              <a:gd name="T101" fmla="*/ 9531 h 13469"/>
              <a:gd name="T102" fmla="*/ 34531 w 36656"/>
              <a:gd name="T103" fmla="*/ 6437 h 13469"/>
              <a:gd name="T104" fmla="*/ 36531 w 36656"/>
              <a:gd name="T105" fmla="*/ 3969 h 13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6656" h="13469">
                <a:moveTo>
                  <a:pt x="35969" y="4156"/>
                </a:moveTo>
                <a:cubicBezTo>
                  <a:pt x="36031" y="4094"/>
                  <a:pt x="36125" y="4000"/>
                  <a:pt x="36187" y="3937"/>
                </a:cubicBezTo>
                <a:cubicBezTo>
                  <a:pt x="36344" y="3781"/>
                  <a:pt x="36469" y="3594"/>
                  <a:pt x="36594" y="3437"/>
                </a:cubicBezTo>
                <a:cubicBezTo>
                  <a:pt x="36625" y="3406"/>
                  <a:pt x="36656" y="3375"/>
                  <a:pt x="36625" y="3344"/>
                </a:cubicBezTo>
                <a:cubicBezTo>
                  <a:pt x="36594" y="3281"/>
                  <a:pt x="36562" y="3344"/>
                  <a:pt x="36531" y="3344"/>
                </a:cubicBezTo>
                <a:cubicBezTo>
                  <a:pt x="36406" y="3375"/>
                  <a:pt x="36312" y="3437"/>
                  <a:pt x="36250" y="3500"/>
                </a:cubicBezTo>
                <a:cubicBezTo>
                  <a:pt x="36062" y="3656"/>
                  <a:pt x="35875" y="3781"/>
                  <a:pt x="35687" y="3906"/>
                </a:cubicBezTo>
                <a:cubicBezTo>
                  <a:pt x="35687" y="3937"/>
                  <a:pt x="35625" y="3969"/>
                  <a:pt x="35594" y="3906"/>
                </a:cubicBezTo>
                <a:cubicBezTo>
                  <a:pt x="35562" y="3750"/>
                  <a:pt x="35469" y="3906"/>
                  <a:pt x="35469" y="3906"/>
                </a:cubicBezTo>
                <a:cubicBezTo>
                  <a:pt x="35281" y="4000"/>
                  <a:pt x="35125" y="4125"/>
                  <a:pt x="34937" y="4250"/>
                </a:cubicBezTo>
                <a:cubicBezTo>
                  <a:pt x="34937" y="4250"/>
                  <a:pt x="34937" y="4250"/>
                  <a:pt x="34906" y="4250"/>
                </a:cubicBezTo>
                <a:cubicBezTo>
                  <a:pt x="34781" y="4344"/>
                  <a:pt x="34656" y="4375"/>
                  <a:pt x="34562" y="4344"/>
                </a:cubicBezTo>
                <a:cubicBezTo>
                  <a:pt x="34500" y="4312"/>
                  <a:pt x="34469" y="4281"/>
                  <a:pt x="34406" y="4250"/>
                </a:cubicBezTo>
                <a:cubicBezTo>
                  <a:pt x="34344" y="4187"/>
                  <a:pt x="34312" y="4125"/>
                  <a:pt x="34312" y="4062"/>
                </a:cubicBezTo>
                <a:cubicBezTo>
                  <a:pt x="34219" y="3844"/>
                  <a:pt x="34125" y="3625"/>
                  <a:pt x="34000" y="3437"/>
                </a:cubicBezTo>
                <a:cubicBezTo>
                  <a:pt x="33781" y="3125"/>
                  <a:pt x="33500" y="2875"/>
                  <a:pt x="33187" y="2656"/>
                </a:cubicBezTo>
                <a:cubicBezTo>
                  <a:pt x="32812" y="2344"/>
                  <a:pt x="32375" y="2094"/>
                  <a:pt x="31906" y="1875"/>
                </a:cubicBezTo>
                <a:cubicBezTo>
                  <a:pt x="31687" y="1781"/>
                  <a:pt x="31469" y="1656"/>
                  <a:pt x="31219" y="1594"/>
                </a:cubicBezTo>
                <a:cubicBezTo>
                  <a:pt x="31187" y="1594"/>
                  <a:pt x="31156" y="1562"/>
                  <a:pt x="31125" y="1562"/>
                </a:cubicBezTo>
                <a:cubicBezTo>
                  <a:pt x="30719" y="1344"/>
                  <a:pt x="30250" y="1250"/>
                  <a:pt x="29812" y="1125"/>
                </a:cubicBezTo>
                <a:cubicBezTo>
                  <a:pt x="29656" y="1094"/>
                  <a:pt x="29500" y="1094"/>
                  <a:pt x="29344" y="1031"/>
                </a:cubicBezTo>
                <a:cubicBezTo>
                  <a:pt x="29094" y="969"/>
                  <a:pt x="28844" y="937"/>
                  <a:pt x="28594" y="906"/>
                </a:cubicBezTo>
                <a:cubicBezTo>
                  <a:pt x="27781" y="781"/>
                  <a:pt x="26969" y="781"/>
                  <a:pt x="26156" y="812"/>
                </a:cubicBezTo>
                <a:cubicBezTo>
                  <a:pt x="25750" y="812"/>
                  <a:pt x="25375" y="906"/>
                  <a:pt x="24969" y="906"/>
                </a:cubicBezTo>
                <a:cubicBezTo>
                  <a:pt x="25000" y="937"/>
                  <a:pt x="25000" y="969"/>
                  <a:pt x="25031" y="1000"/>
                </a:cubicBezTo>
                <a:cubicBezTo>
                  <a:pt x="25031" y="1031"/>
                  <a:pt x="25062" y="1062"/>
                  <a:pt x="25062" y="1094"/>
                </a:cubicBezTo>
                <a:cubicBezTo>
                  <a:pt x="25031" y="1125"/>
                  <a:pt x="25000" y="1156"/>
                  <a:pt x="24937" y="1156"/>
                </a:cubicBezTo>
                <a:cubicBezTo>
                  <a:pt x="24906" y="1156"/>
                  <a:pt x="24906" y="1125"/>
                  <a:pt x="24875" y="1094"/>
                </a:cubicBezTo>
                <a:cubicBezTo>
                  <a:pt x="24844" y="1031"/>
                  <a:pt x="24812" y="906"/>
                  <a:pt x="24687" y="969"/>
                </a:cubicBezTo>
                <a:cubicBezTo>
                  <a:pt x="24687" y="969"/>
                  <a:pt x="24719" y="969"/>
                  <a:pt x="24719" y="969"/>
                </a:cubicBezTo>
                <a:cubicBezTo>
                  <a:pt x="24781" y="1031"/>
                  <a:pt x="24781" y="1094"/>
                  <a:pt x="24781" y="1156"/>
                </a:cubicBezTo>
                <a:cubicBezTo>
                  <a:pt x="24750" y="1375"/>
                  <a:pt x="24594" y="1437"/>
                  <a:pt x="24437" y="1500"/>
                </a:cubicBezTo>
                <a:cubicBezTo>
                  <a:pt x="24375" y="1531"/>
                  <a:pt x="24344" y="1531"/>
                  <a:pt x="24312" y="1469"/>
                </a:cubicBezTo>
                <a:cubicBezTo>
                  <a:pt x="24312" y="1406"/>
                  <a:pt x="24312" y="1375"/>
                  <a:pt x="24375" y="1344"/>
                </a:cubicBezTo>
                <a:cubicBezTo>
                  <a:pt x="24437" y="1344"/>
                  <a:pt x="24500" y="1312"/>
                  <a:pt x="24562" y="1250"/>
                </a:cubicBezTo>
                <a:cubicBezTo>
                  <a:pt x="24594" y="1219"/>
                  <a:pt x="24625" y="1187"/>
                  <a:pt x="24625" y="1156"/>
                </a:cubicBezTo>
                <a:cubicBezTo>
                  <a:pt x="24594" y="1094"/>
                  <a:pt x="24531" y="1125"/>
                  <a:pt x="24500" y="1125"/>
                </a:cubicBezTo>
                <a:cubicBezTo>
                  <a:pt x="24406" y="1125"/>
                  <a:pt x="24312" y="1187"/>
                  <a:pt x="24219" y="1187"/>
                </a:cubicBezTo>
                <a:cubicBezTo>
                  <a:pt x="24187" y="1187"/>
                  <a:pt x="24156" y="1187"/>
                  <a:pt x="24125" y="1187"/>
                </a:cubicBezTo>
                <a:cubicBezTo>
                  <a:pt x="24094" y="1219"/>
                  <a:pt x="24062" y="1219"/>
                  <a:pt x="24031" y="1219"/>
                </a:cubicBezTo>
                <a:cubicBezTo>
                  <a:pt x="23875" y="1250"/>
                  <a:pt x="23719" y="1281"/>
                  <a:pt x="23562" y="1344"/>
                </a:cubicBezTo>
                <a:cubicBezTo>
                  <a:pt x="23156" y="1406"/>
                  <a:pt x="22750" y="1562"/>
                  <a:pt x="22344" y="1687"/>
                </a:cubicBezTo>
                <a:cubicBezTo>
                  <a:pt x="22312" y="1687"/>
                  <a:pt x="22250" y="1719"/>
                  <a:pt x="22187" y="1750"/>
                </a:cubicBezTo>
                <a:cubicBezTo>
                  <a:pt x="21594" y="1937"/>
                  <a:pt x="21031" y="2125"/>
                  <a:pt x="20469" y="2406"/>
                </a:cubicBezTo>
                <a:cubicBezTo>
                  <a:pt x="20375" y="2437"/>
                  <a:pt x="20250" y="2500"/>
                  <a:pt x="20125" y="2406"/>
                </a:cubicBezTo>
                <a:cubicBezTo>
                  <a:pt x="20469" y="2219"/>
                  <a:pt x="20875" y="2187"/>
                  <a:pt x="21187" y="2000"/>
                </a:cubicBezTo>
                <a:cubicBezTo>
                  <a:pt x="21156" y="2000"/>
                  <a:pt x="21156" y="1969"/>
                  <a:pt x="21125" y="1969"/>
                </a:cubicBezTo>
                <a:cubicBezTo>
                  <a:pt x="21406" y="1812"/>
                  <a:pt x="21719" y="1719"/>
                  <a:pt x="22000" y="1625"/>
                </a:cubicBezTo>
                <a:cubicBezTo>
                  <a:pt x="22656" y="1437"/>
                  <a:pt x="23312" y="1250"/>
                  <a:pt x="24000" y="1125"/>
                </a:cubicBezTo>
                <a:cubicBezTo>
                  <a:pt x="24031" y="1125"/>
                  <a:pt x="24062" y="1125"/>
                  <a:pt x="24094" y="1062"/>
                </a:cubicBezTo>
                <a:cubicBezTo>
                  <a:pt x="24031" y="1062"/>
                  <a:pt x="23969" y="1062"/>
                  <a:pt x="23937" y="1062"/>
                </a:cubicBezTo>
                <a:cubicBezTo>
                  <a:pt x="23656" y="1125"/>
                  <a:pt x="23406" y="1156"/>
                  <a:pt x="23156" y="1250"/>
                </a:cubicBezTo>
                <a:cubicBezTo>
                  <a:pt x="23062" y="1250"/>
                  <a:pt x="22969" y="1281"/>
                  <a:pt x="22875" y="1312"/>
                </a:cubicBezTo>
                <a:cubicBezTo>
                  <a:pt x="22687" y="1344"/>
                  <a:pt x="22500" y="1406"/>
                  <a:pt x="22312" y="1469"/>
                </a:cubicBezTo>
                <a:cubicBezTo>
                  <a:pt x="22187" y="1500"/>
                  <a:pt x="22062" y="1531"/>
                  <a:pt x="21937" y="1594"/>
                </a:cubicBezTo>
                <a:cubicBezTo>
                  <a:pt x="21594" y="1687"/>
                  <a:pt x="21281" y="1812"/>
                  <a:pt x="20937" y="1937"/>
                </a:cubicBezTo>
                <a:cubicBezTo>
                  <a:pt x="20719" y="1937"/>
                  <a:pt x="20469" y="1969"/>
                  <a:pt x="20250" y="1937"/>
                </a:cubicBezTo>
                <a:cubicBezTo>
                  <a:pt x="20156" y="1906"/>
                  <a:pt x="20094" y="1875"/>
                  <a:pt x="20000" y="1844"/>
                </a:cubicBezTo>
                <a:cubicBezTo>
                  <a:pt x="19937" y="1812"/>
                  <a:pt x="19812" y="1812"/>
                  <a:pt x="19812" y="1687"/>
                </a:cubicBezTo>
                <a:cubicBezTo>
                  <a:pt x="19812" y="1594"/>
                  <a:pt x="19937" y="1594"/>
                  <a:pt x="20000" y="1562"/>
                </a:cubicBezTo>
                <a:cubicBezTo>
                  <a:pt x="20312" y="1406"/>
                  <a:pt x="20625" y="1281"/>
                  <a:pt x="20937" y="1156"/>
                </a:cubicBezTo>
                <a:cubicBezTo>
                  <a:pt x="21094" y="1094"/>
                  <a:pt x="21250" y="969"/>
                  <a:pt x="21437" y="937"/>
                </a:cubicBezTo>
                <a:cubicBezTo>
                  <a:pt x="21781" y="812"/>
                  <a:pt x="22156" y="750"/>
                  <a:pt x="22531" y="656"/>
                </a:cubicBezTo>
                <a:cubicBezTo>
                  <a:pt x="22656" y="625"/>
                  <a:pt x="22844" y="594"/>
                  <a:pt x="22969" y="500"/>
                </a:cubicBezTo>
                <a:cubicBezTo>
                  <a:pt x="22406" y="469"/>
                  <a:pt x="21875" y="656"/>
                  <a:pt x="21281" y="656"/>
                </a:cubicBezTo>
                <a:cubicBezTo>
                  <a:pt x="21406" y="562"/>
                  <a:pt x="21531" y="594"/>
                  <a:pt x="21625" y="500"/>
                </a:cubicBezTo>
                <a:cubicBezTo>
                  <a:pt x="21500" y="500"/>
                  <a:pt x="21406" y="531"/>
                  <a:pt x="21281" y="531"/>
                </a:cubicBezTo>
                <a:cubicBezTo>
                  <a:pt x="20812" y="594"/>
                  <a:pt x="20344" y="687"/>
                  <a:pt x="19844" y="781"/>
                </a:cubicBezTo>
                <a:cubicBezTo>
                  <a:pt x="19844" y="781"/>
                  <a:pt x="19844" y="781"/>
                  <a:pt x="19844" y="781"/>
                </a:cubicBezTo>
                <a:cubicBezTo>
                  <a:pt x="19844" y="781"/>
                  <a:pt x="19812" y="781"/>
                  <a:pt x="19812" y="781"/>
                </a:cubicBezTo>
                <a:cubicBezTo>
                  <a:pt x="19812" y="781"/>
                  <a:pt x="19812" y="781"/>
                  <a:pt x="19812" y="781"/>
                </a:cubicBezTo>
                <a:cubicBezTo>
                  <a:pt x="19781" y="781"/>
                  <a:pt x="19750" y="781"/>
                  <a:pt x="19750" y="750"/>
                </a:cubicBezTo>
                <a:cubicBezTo>
                  <a:pt x="19750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50" y="750"/>
                  <a:pt x="19781" y="750"/>
                  <a:pt x="19781" y="750"/>
                </a:cubicBezTo>
                <a:cubicBezTo>
                  <a:pt x="19812" y="719"/>
                  <a:pt x="19812" y="719"/>
                  <a:pt x="19812" y="719"/>
                </a:cubicBezTo>
                <a:cubicBezTo>
                  <a:pt x="19781" y="719"/>
                  <a:pt x="19750" y="719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562" y="719"/>
                  <a:pt x="19375" y="781"/>
                  <a:pt x="19219" y="812"/>
                </a:cubicBezTo>
                <a:cubicBezTo>
                  <a:pt x="19125" y="812"/>
                  <a:pt x="19062" y="812"/>
                  <a:pt x="19031" y="719"/>
                </a:cubicBezTo>
                <a:cubicBezTo>
                  <a:pt x="19000" y="625"/>
                  <a:pt x="19000" y="562"/>
                  <a:pt x="19094" y="500"/>
                </a:cubicBezTo>
                <a:cubicBezTo>
                  <a:pt x="19219" y="406"/>
                  <a:pt x="19375" y="375"/>
                  <a:pt x="19469" y="250"/>
                </a:cubicBezTo>
                <a:cubicBezTo>
                  <a:pt x="19500" y="219"/>
                  <a:pt x="19531" y="219"/>
                  <a:pt x="19531" y="187"/>
                </a:cubicBezTo>
                <a:cubicBezTo>
                  <a:pt x="19531" y="156"/>
                  <a:pt x="19500" y="125"/>
                  <a:pt x="19469" y="125"/>
                </a:cubicBezTo>
                <a:cubicBezTo>
                  <a:pt x="19281" y="62"/>
                  <a:pt x="19125" y="0"/>
                  <a:pt x="18937" y="0"/>
                </a:cubicBezTo>
                <a:cubicBezTo>
                  <a:pt x="18812" y="0"/>
                  <a:pt x="18656" y="31"/>
                  <a:pt x="18531" y="62"/>
                </a:cubicBezTo>
                <a:cubicBezTo>
                  <a:pt x="18219" y="94"/>
                  <a:pt x="17937" y="125"/>
                  <a:pt x="17625" y="156"/>
                </a:cubicBezTo>
                <a:cubicBezTo>
                  <a:pt x="17000" y="250"/>
                  <a:pt x="16344" y="344"/>
                  <a:pt x="15719" y="531"/>
                </a:cubicBezTo>
                <a:cubicBezTo>
                  <a:pt x="15187" y="656"/>
                  <a:pt x="14687" y="625"/>
                  <a:pt x="14156" y="625"/>
                </a:cubicBezTo>
                <a:cubicBezTo>
                  <a:pt x="14125" y="625"/>
                  <a:pt x="14062" y="625"/>
                  <a:pt x="14062" y="562"/>
                </a:cubicBezTo>
                <a:cubicBezTo>
                  <a:pt x="14062" y="437"/>
                  <a:pt x="13937" y="469"/>
                  <a:pt x="13875" y="469"/>
                </a:cubicBezTo>
                <a:cubicBezTo>
                  <a:pt x="13406" y="437"/>
                  <a:pt x="12937" y="500"/>
                  <a:pt x="12469" y="562"/>
                </a:cubicBezTo>
                <a:cubicBezTo>
                  <a:pt x="12187" y="594"/>
                  <a:pt x="11937" y="625"/>
                  <a:pt x="11656" y="656"/>
                </a:cubicBezTo>
                <a:cubicBezTo>
                  <a:pt x="11187" y="656"/>
                  <a:pt x="10687" y="656"/>
                  <a:pt x="10219" y="781"/>
                </a:cubicBezTo>
                <a:cubicBezTo>
                  <a:pt x="10062" y="812"/>
                  <a:pt x="9781" y="844"/>
                  <a:pt x="9687" y="812"/>
                </a:cubicBezTo>
                <a:cubicBezTo>
                  <a:pt x="9719" y="781"/>
                  <a:pt x="9719" y="781"/>
                  <a:pt x="9750" y="781"/>
                </a:cubicBezTo>
                <a:cubicBezTo>
                  <a:pt x="10031" y="687"/>
                  <a:pt x="10344" y="625"/>
                  <a:pt x="10625" y="594"/>
                </a:cubicBezTo>
                <a:cubicBezTo>
                  <a:pt x="11031" y="531"/>
                  <a:pt x="11406" y="469"/>
                  <a:pt x="11812" y="437"/>
                </a:cubicBezTo>
                <a:cubicBezTo>
                  <a:pt x="11844" y="406"/>
                  <a:pt x="11875" y="406"/>
                  <a:pt x="11875" y="375"/>
                </a:cubicBezTo>
                <a:cubicBezTo>
                  <a:pt x="11875" y="312"/>
                  <a:pt x="11812" y="344"/>
                  <a:pt x="11781" y="344"/>
                </a:cubicBezTo>
                <a:cubicBezTo>
                  <a:pt x="11562" y="344"/>
                  <a:pt x="11312" y="406"/>
                  <a:pt x="11094" y="437"/>
                </a:cubicBezTo>
                <a:cubicBezTo>
                  <a:pt x="10844" y="469"/>
                  <a:pt x="10625" y="531"/>
                  <a:pt x="10375" y="562"/>
                </a:cubicBezTo>
                <a:cubicBezTo>
                  <a:pt x="10187" y="594"/>
                  <a:pt x="9969" y="531"/>
                  <a:pt x="9781" y="531"/>
                </a:cubicBezTo>
                <a:cubicBezTo>
                  <a:pt x="9562" y="500"/>
                  <a:pt x="9375" y="500"/>
                  <a:pt x="9156" y="562"/>
                </a:cubicBezTo>
                <a:cubicBezTo>
                  <a:pt x="9031" y="594"/>
                  <a:pt x="8906" y="625"/>
                  <a:pt x="8750" y="656"/>
                </a:cubicBezTo>
                <a:cubicBezTo>
                  <a:pt x="8687" y="656"/>
                  <a:pt x="8625" y="687"/>
                  <a:pt x="8562" y="687"/>
                </a:cubicBezTo>
                <a:cubicBezTo>
                  <a:pt x="8156" y="781"/>
                  <a:pt x="7750" y="937"/>
                  <a:pt x="7344" y="1094"/>
                </a:cubicBezTo>
                <a:cubicBezTo>
                  <a:pt x="7219" y="1125"/>
                  <a:pt x="7125" y="1187"/>
                  <a:pt x="7000" y="1219"/>
                </a:cubicBezTo>
                <a:cubicBezTo>
                  <a:pt x="6656" y="1375"/>
                  <a:pt x="6312" y="1531"/>
                  <a:pt x="5969" y="1750"/>
                </a:cubicBezTo>
                <a:cubicBezTo>
                  <a:pt x="5687" y="1937"/>
                  <a:pt x="5437" y="2156"/>
                  <a:pt x="5156" y="2344"/>
                </a:cubicBezTo>
                <a:cubicBezTo>
                  <a:pt x="5000" y="2437"/>
                  <a:pt x="4875" y="2562"/>
                  <a:pt x="4812" y="2750"/>
                </a:cubicBezTo>
                <a:cubicBezTo>
                  <a:pt x="4844" y="2750"/>
                  <a:pt x="4906" y="2750"/>
                  <a:pt x="4937" y="2719"/>
                </a:cubicBezTo>
                <a:cubicBezTo>
                  <a:pt x="5000" y="2687"/>
                  <a:pt x="5062" y="2656"/>
                  <a:pt x="5094" y="2656"/>
                </a:cubicBezTo>
                <a:cubicBezTo>
                  <a:pt x="5156" y="2687"/>
                  <a:pt x="5187" y="2687"/>
                  <a:pt x="5187" y="2719"/>
                </a:cubicBezTo>
                <a:cubicBezTo>
                  <a:pt x="5219" y="2750"/>
                  <a:pt x="5187" y="2781"/>
                  <a:pt x="5156" y="2781"/>
                </a:cubicBezTo>
                <a:cubicBezTo>
                  <a:pt x="4969" y="2937"/>
                  <a:pt x="4875" y="3156"/>
                  <a:pt x="4719" y="3344"/>
                </a:cubicBezTo>
                <a:cubicBezTo>
                  <a:pt x="4687" y="3406"/>
                  <a:pt x="4625" y="3469"/>
                  <a:pt x="4656" y="3531"/>
                </a:cubicBezTo>
                <a:cubicBezTo>
                  <a:pt x="4719" y="3594"/>
                  <a:pt x="4781" y="3531"/>
                  <a:pt x="4844" y="3531"/>
                </a:cubicBezTo>
                <a:cubicBezTo>
                  <a:pt x="4937" y="3500"/>
                  <a:pt x="4937" y="3531"/>
                  <a:pt x="4906" y="3594"/>
                </a:cubicBezTo>
                <a:cubicBezTo>
                  <a:pt x="4906" y="3625"/>
                  <a:pt x="4906" y="3656"/>
                  <a:pt x="4875" y="3687"/>
                </a:cubicBezTo>
                <a:cubicBezTo>
                  <a:pt x="4875" y="3750"/>
                  <a:pt x="4875" y="3781"/>
                  <a:pt x="4906" y="3750"/>
                </a:cubicBezTo>
                <a:cubicBezTo>
                  <a:pt x="5125" y="3719"/>
                  <a:pt x="5000" y="3844"/>
                  <a:pt x="4969" y="3875"/>
                </a:cubicBezTo>
                <a:cubicBezTo>
                  <a:pt x="4875" y="4062"/>
                  <a:pt x="4750" y="4219"/>
                  <a:pt x="4625" y="4406"/>
                </a:cubicBezTo>
                <a:cubicBezTo>
                  <a:pt x="4500" y="4594"/>
                  <a:pt x="4437" y="4781"/>
                  <a:pt x="4375" y="5000"/>
                </a:cubicBezTo>
                <a:cubicBezTo>
                  <a:pt x="4344" y="5062"/>
                  <a:pt x="4344" y="5156"/>
                  <a:pt x="4375" y="5219"/>
                </a:cubicBezTo>
                <a:cubicBezTo>
                  <a:pt x="4406" y="5281"/>
                  <a:pt x="4469" y="5219"/>
                  <a:pt x="4531" y="5219"/>
                </a:cubicBezTo>
                <a:cubicBezTo>
                  <a:pt x="4625" y="5219"/>
                  <a:pt x="4656" y="5219"/>
                  <a:pt x="4625" y="5312"/>
                </a:cubicBezTo>
                <a:cubicBezTo>
                  <a:pt x="4625" y="5406"/>
                  <a:pt x="4594" y="5469"/>
                  <a:pt x="4562" y="5562"/>
                </a:cubicBezTo>
                <a:cubicBezTo>
                  <a:pt x="4562" y="5687"/>
                  <a:pt x="4500" y="5719"/>
                  <a:pt x="4375" y="5687"/>
                </a:cubicBezTo>
                <a:cubicBezTo>
                  <a:pt x="3719" y="5656"/>
                  <a:pt x="3031" y="5625"/>
                  <a:pt x="2344" y="5500"/>
                </a:cubicBezTo>
                <a:cubicBezTo>
                  <a:pt x="2312" y="5500"/>
                  <a:pt x="2281" y="5531"/>
                  <a:pt x="2219" y="5531"/>
                </a:cubicBezTo>
                <a:cubicBezTo>
                  <a:pt x="2125" y="5594"/>
                  <a:pt x="2031" y="5594"/>
                  <a:pt x="1937" y="5500"/>
                </a:cubicBezTo>
                <a:cubicBezTo>
                  <a:pt x="1906" y="5469"/>
                  <a:pt x="1844" y="5469"/>
                  <a:pt x="1812" y="5500"/>
                </a:cubicBezTo>
                <a:cubicBezTo>
                  <a:pt x="1844" y="5562"/>
                  <a:pt x="1937" y="5625"/>
                  <a:pt x="1906" y="5719"/>
                </a:cubicBezTo>
                <a:cubicBezTo>
                  <a:pt x="1844" y="5906"/>
                  <a:pt x="1812" y="6094"/>
                  <a:pt x="1594" y="6125"/>
                </a:cubicBezTo>
                <a:cubicBezTo>
                  <a:pt x="1594" y="6125"/>
                  <a:pt x="1562" y="6156"/>
                  <a:pt x="1531" y="6156"/>
                </a:cubicBezTo>
                <a:cubicBezTo>
                  <a:pt x="1469" y="6219"/>
                  <a:pt x="1469" y="6219"/>
                  <a:pt x="1531" y="6281"/>
                </a:cubicBezTo>
                <a:cubicBezTo>
                  <a:pt x="1656" y="6406"/>
                  <a:pt x="1844" y="6469"/>
                  <a:pt x="1969" y="6594"/>
                </a:cubicBezTo>
                <a:cubicBezTo>
                  <a:pt x="2000" y="6625"/>
                  <a:pt x="2031" y="6656"/>
                  <a:pt x="2031" y="6719"/>
                </a:cubicBezTo>
                <a:cubicBezTo>
                  <a:pt x="2000" y="6781"/>
                  <a:pt x="1937" y="6781"/>
                  <a:pt x="1906" y="6781"/>
                </a:cubicBezTo>
                <a:cubicBezTo>
                  <a:pt x="1875" y="6781"/>
                  <a:pt x="1812" y="6781"/>
                  <a:pt x="1781" y="6781"/>
                </a:cubicBezTo>
                <a:cubicBezTo>
                  <a:pt x="1406" y="6844"/>
                  <a:pt x="1000" y="6844"/>
                  <a:pt x="594" y="6844"/>
                </a:cubicBezTo>
                <a:cubicBezTo>
                  <a:pt x="531" y="6844"/>
                  <a:pt x="437" y="6812"/>
                  <a:pt x="406" y="6875"/>
                </a:cubicBezTo>
                <a:cubicBezTo>
                  <a:pt x="375" y="6937"/>
                  <a:pt x="437" y="6969"/>
                  <a:pt x="469" y="7031"/>
                </a:cubicBezTo>
                <a:cubicBezTo>
                  <a:pt x="500" y="7062"/>
                  <a:pt x="500" y="7094"/>
                  <a:pt x="469" y="7125"/>
                </a:cubicBezTo>
                <a:cubicBezTo>
                  <a:pt x="437" y="7156"/>
                  <a:pt x="406" y="7156"/>
                  <a:pt x="375" y="7125"/>
                </a:cubicBezTo>
                <a:cubicBezTo>
                  <a:pt x="344" y="7062"/>
                  <a:pt x="281" y="7000"/>
                  <a:pt x="219" y="6937"/>
                </a:cubicBezTo>
                <a:cubicBezTo>
                  <a:pt x="156" y="6875"/>
                  <a:pt x="94" y="6906"/>
                  <a:pt x="62" y="6969"/>
                </a:cubicBezTo>
                <a:cubicBezTo>
                  <a:pt x="0" y="7031"/>
                  <a:pt x="0" y="7094"/>
                  <a:pt x="94" y="7125"/>
                </a:cubicBezTo>
                <a:cubicBezTo>
                  <a:pt x="187" y="7156"/>
                  <a:pt x="250" y="7219"/>
                  <a:pt x="344" y="7250"/>
                </a:cubicBezTo>
                <a:cubicBezTo>
                  <a:pt x="781" y="7406"/>
                  <a:pt x="1250" y="7469"/>
                  <a:pt x="1750" y="7531"/>
                </a:cubicBezTo>
                <a:cubicBezTo>
                  <a:pt x="1969" y="7562"/>
                  <a:pt x="2219" y="7562"/>
                  <a:pt x="2469" y="7687"/>
                </a:cubicBezTo>
                <a:cubicBezTo>
                  <a:pt x="2562" y="7750"/>
                  <a:pt x="2625" y="7812"/>
                  <a:pt x="2594" y="7937"/>
                </a:cubicBezTo>
                <a:cubicBezTo>
                  <a:pt x="2594" y="8031"/>
                  <a:pt x="2469" y="8031"/>
                  <a:pt x="2406" y="8062"/>
                </a:cubicBezTo>
                <a:cubicBezTo>
                  <a:pt x="2250" y="8094"/>
                  <a:pt x="2125" y="8094"/>
                  <a:pt x="2000" y="8125"/>
                </a:cubicBezTo>
                <a:cubicBezTo>
                  <a:pt x="1906" y="8156"/>
                  <a:pt x="1937" y="8187"/>
                  <a:pt x="1969" y="8250"/>
                </a:cubicBezTo>
                <a:cubicBezTo>
                  <a:pt x="2031" y="8312"/>
                  <a:pt x="2125" y="8344"/>
                  <a:pt x="2187" y="8375"/>
                </a:cubicBezTo>
                <a:cubicBezTo>
                  <a:pt x="2469" y="8500"/>
                  <a:pt x="2750" y="8594"/>
                  <a:pt x="3062" y="8625"/>
                </a:cubicBezTo>
                <a:cubicBezTo>
                  <a:pt x="3469" y="8719"/>
                  <a:pt x="3875" y="8812"/>
                  <a:pt x="4312" y="8875"/>
                </a:cubicBezTo>
                <a:cubicBezTo>
                  <a:pt x="4875" y="8969"/>
                  <a:pt x="5437" y="9031"/>
                  <a:pt x="6031" y="9125"/>
                </a:cubicBezTo>
                <a:cubicBezTo>
                  <a:pt x="6687" y="9187"/>
                  <a:pt x="7344" y="9250"/>
                  <a:pt x="8000" y="9312"/>
                </a:cubicBezTo>
                <a:cubicBezTo>
                  <a:pt x="8125" y="9344"/>
                  <a:pt x="8250" y="9344"/>
                  <a:pt x="8406" y="9375"/>
                </a:cubicBezTo>
                <a:cubicBezTo>
                  <a:pt x="8312" y="9437"/>
                  <a:pt x="8250" y="9500"/>
                  <a:pt x="8187" y="9562"/>
                </a:cubicBezTo>
                <a:cubicBezTo>
                  <a:pt x="8125" y="9625"/>
                  <a:pt x="8125" y="9656"/>
                  <a:pt x="8219" y="9687"/>
                </a:cubicBezTo>
                <a:cubicBezTo>
                  <a:pt x="8312" y="9750"/>
                  <a:pt x="8469" y="9781"/>
                  <a:pt x="8594" y="9844"/>
                </a:cubicBezTo>
                <a:cubicBezTo>
                  <a:pt x="8625" y="9844"/>
                  <a:pt x="8656" y="9844"/>
                  <a:pt x="8687" y="9875"/>
                </a:cubicBezTo>
                <a:cubicBezTo>
                  <a:pt x="8781" y="9875"/>
                  <a:pt x="8875" y="9906"/>
                  <a:pt x="8937" y="10000"/>
                </a:cubicBezTo>
                <a:cubicBezTo>
                  <a:pt x="8937" y="10000"/>
                  <a:pt x="8937" y="10000"/>
                  <a:pt x="8937" y="10000"/>
                </a:cubicBezTo>
                <a:cubicBezTo>
                  <a:pt x="8906" y="10031"/>
                  <a:pt x="8844" y="10062"/>
                  <a:pt x="8812" y="10094"/>
                </a:cubicBezTo>
                <a:cubicBezTo>
                  <a:pt x="8781" y="10094"/>
                  <a:pt x="8781" y="10094"/>
                  <a:pt x="8781" y="10094"/>
                </a:cubicBezTo>
                <a:cubicBezTo>
                  <a:pt x="8750" y="10125"/>
                  <a:pt x="8719" y="10125"/>
                  <a:pt x="8687" y="10125"/>
                </a:cubicBezTo>
                <a:cubicBezTo>
                  <a:pt x="8687" y="10125"/>
                  <a:pt x="8656" y="10156"/>
                  <a:pt x="8656" y="10156"/>
                </a:cubicBezTo>
                <a:cubicBezTo>
                  <a:pt x="8437" y="10219"/>
                  <a:pt x="8219" y="10281"/>
                  <a:pt x="8000" y="10344"/>
                </a:cubicBezTo>
                <a:cubicBezTo>
                  <a:pt x="7719" y="10437"/>
                  <a:pt x="7437" y="10531"/>
                  <a:pt x="7156" y="10625"/>
                </a:cubicBezTo>
                <a:cubicBezTo>
                  <a:pt x="7000" y="10687"/>
                  <a:pt x="6844" y="10750"/>
                  <a:pt x="6719" y="10844"/>
                </a:cubicBezTo>
                <a:cubicBezTo>
                  <a:pt x="6656" y="10937"/>
                  <a:pt x="6656" y="11000"/>
                  <a:pt x="6750" y="11031"/>
                </a:cubicBezTo>
                <a:cubicBezTo>
                  <a:pt x="6875" y="11094"/>
                  <a:pt x="7000" y="11094"/>
                  <a:pt x="7156" y="11125"/>
                </a:cubicBezTo>
                <a:cubicBezTo>
                  <a:pt x="7844" y="11156"/>
                  <a:pt x="8531" y="11031"/>
                  <a:pt x="9219" y="10937"/>
                </a:cubicBezTo>
                <a:cubicBezTo>
                  <a:pt x="9406" y="10906"/>
                  <a:pt x="9625" y="10875"/>
                  <a:pt x="9812" y="10969"/>
                </a:cubicBezTo>
                <a:cubicBezTo>
                  <a:pt x="9906" y="11000"/>
                  <a:pt x="9969" y="11062"/>
                  <a:pt x="10000" y="11125"/>
                </a:cubicBezTo>
                <a:cubicBezTo>
                  <a:pt x="10000" y="11219"/>
                  <a:pt x="9937" y="11281"/>
                  <a:pt x="9875" y="11312"/>
                </a:cubicBezTo>
                <a:cubicBezTo>
                  <a:pt x="9844" y="11312"/>
                  <a:pt x="9781" y="11344"/>
                  <a:pt x="9750" y="11375"/>
                </a:cubicBezTo>
                <a:cubicBezTo>
                  <a:pt x="9781" y="11437"/>
                  <a:pt x="9906" y="11375"/>
                  <a:pt x="9875" y="11469"/>
                </a:cubicBezTo>
                <a:cubicBezTo>
                  <a:pt x="9812" y="11594"/>
                  <a:pt x="9906" y="11594"/>
                  <a:pt x="9969" y="11594"/>
                </a:cubicBezTo>
                <a:cubicBezTo>
                  <a:pt x="10062" y="11594"/>
                  <a:pt x="10156" y="11594"/>
                  <a:pt x="10219" y="11594"/>
                </a:cubicBezTo>
                <a:cubicBezTo>
                  <a:pt x="10250" y="11594"/>
                  <a:pt x="10312" y="11594"/>
                  <a:pt x="10312" y="11656"/>
                </a:cubicBezTo>
                <a:cubicBezTo>
                  <a:pt x="10344" y="11719"/>
                  <a:pt x="10406" y="11750"/>
                  <a:pt x="10500" y="11750"/>
                </a:cubicBezTo>
                <a:cubicBezTo>
                  <a:pt x="10812" y="11750"/>
                  <a:pt x="11125" y="11750"/>
                  <a:pt x="11469" y="11719"/>
                </a:cubicBezTo>
                <a:cubicBezTo>
                  <a:pt x="11844" y="11656"/>
                  <a:pt x="12250" y="11656"/>
                  <a:pt x="12656" y="11594"/>
                </a:cubicBezTo>
                <a:cubicBezTo>
                  <a:pt x="13156" y="11531"/>
                  <a:pt x="13625" y="11469"/>
                  <a:pt x="14125" y="11406"/>
                </a:cubicBezTo>
                <a:cubicBezTo>
                  <a:pt x="14531" y="11344"/>
                  <a:pt x="14937" y="11281"/>
                  <a:pt x="15375" y="11187"/>
                </a:cubicBezTo>
                <a:cubicBezTo>
                  <a:pt x="15406" y="11187"/>
                  <a:pt x="15469" y="11187"/>
                  <a:pt x="15500" y="11156"/>
                </a:cubicBezTo>
                <a:cubicBezTo>
                  <a:pt x="15625" y="11156"/>
                  <a:pt x="15781" y="11125"/>
                  <a:pt x="15906" y="11062"/>
                </a:cubicBezTo>
                <a:cubicBezTo>
                  <a:pt x="15969" y="11094"/>
                  <a:pt x="16031" y="11062"/>
                  <a:pt x="16094" y="11094"/>
                </a:cubicBezTo>
                <a:cubicBezTo>
                  <a:pt x="16125" y="11094"/>
                  <a:pt x="16156" y="11094"/>
                  <a:pt x="16187" y="11094"/>
                </a:cubicBezTo>
                <a:cubicBezTo>
                  <a:pt x="15812" y="11187"/>
                  <a:pt x="15469" y="11219"/>
                  <a:pt x="15125" y="11344"/>
                </a:cubicBezTo>
                <a:cubicBezTo>
                  <a:pt x="15281" y="11344"/>
                  <a:pt x="15437" y="11312"/>
                  <a:pt x="15562" y="11344"/>
                </a:cubicBezTo>
                <a:cubicBezTo>
                  <a:pt x="15750" y="11406"/>
                  <a:pt x="15906" y="11344"/>
                  <a:pt x="16062" y="11375"/>
                </a:cubicBezTo>
                <a:cubicBezTo>
                  <a:pt x="16219" y="11375"/>
                  <a:pt x="16375" y="11375"/>
                  <a:pt x="16531" y="11375"/>
                </a:cubicBezTo>
                <a:cubicBezTo>
                  <a:pt x="16562" y="11375"/>
                  <a:pt x="16594" y="11344"/>
                  <a:pt x="16594" y="11406"/>
                </a:cubicBezTo>
                <a:cubicBezTo>
                  <a:pt x="16594" y="11437"/>
                  <a:pt x="16562" y="11437"/>
                  <a:pt x="16531" y="11437"/>
                </a:cubicBezTo>
                <a:cubicBezTo>
                  <a:pt x="16406" y="11469"/>
                  <a:pt x="16312" y="11500"/>
                  <a:pt x="16187" y="11531"/>
                </a:cubicBezTo>
                <a:cubicBezTo>
                  <a:pt x="15969" y="11562"/>
                  <a:pt x="15719" y="11625"/>
                  <a:pt x="15500" y="11687"/>
                </a:cubicBezTo>
                <a:cubicBezTo>
                  <a:pt x="15625" y="11687"/>
                  <a:pt x="15750" y="11781"/>
                  <a:pt x="15875" y="11750"/>
                </a:cubicBezTo>
                <a:cubicBezTo>
                  <a:pt x="16187" y="11750"/>
                  <a:pt x="16469" y="11812"/>
                  <a:pt x="16750" y="11937"/>
                </a:cubicBezTo>
                <a:cubicBezTo>
                  <a:pt x="16812" y="11937"/>
                  <a:pt x="16844" y="11969"/>
                  <a:pt x="16844" y="12000"/>
                </a:cubicBezTo>
                <a:cubicBezTo>
                  <a:pt x="16844" y="12062"/>
                  <a:pt x="16812" y="12062"/>
                  <a:pt x="16750" y="12094"/>
                </a:cubicBezTo>
                <a:cubicBezTo>
                  <a:pt x="16500" y="12219"/>
                  <a:pt x="16187" y="12250"/>
                  <a:pt x="15906" y="12375"/>
                </a:cubicBezTo>
                <a:cubicBezTo>
                  <a:pt x="15750" y="12406"/>
                  <a:pt x="15594" y="12437"/>
                  <a:pt x="15469" y="12500"/>
                </a:cubicBezTo>
                <a:cubicBezTo>
                  <a:pt x="15375" y="12531"/>
                  <a:pt x="15250" y="12500"/>
                  <a:pt x="15250" y="12656"/>
                </a:cubicBezTo>
                <a:cubicBezTo>
                  <a:pt x="15437" y="12687"/>
                  <a:pt x="15656" y="12656"/>
                  <a:pt x="15844" y="12750"/>
                </a:cubicBezTo>
                <a:cubicBezTo>
                  <a:pt x="15812" y="12750"/>
                  <a:pt x="15781" y="12750"/>
                  <a:pt x="15781" y="12750"/>
                </a:cubicBezTo>
                <a:cubicBezTo>
                  <a:pt x="15594" y="12812"/>
                  <a:pt x="15406" y="12781"/>
                  <a:pt x="15250" y="12781"/>
                </a:cubicBezTo>
                <a:cubicBezTo>
                  <a:pt x="15250" y="12781"/>
                  <a:pt x="15250" y="12781"/>
                  <a:pt x="15250" y="12781"/>
                </a:cubicBezTo>
                <a:cubicBezTo>
                  <a:pt x="15250" y="12781"/>
                  <a:pt x="15250" y="12781"/>
                  <a:pt x="15250" y="12781"/>
                </a:cubicBezTo>
                <a:cubicBezTo>
                  <a:pt x="15250" y="12812"/>
                  <a:pt x="15312" y="12781"/>
                  <a:pt x="15344" y="12812"/>
                </a:cubicBezTo>
                <a:cubicBezTo>
                  <a:pt x="15344" y="12812"/>
                  <a:pt x="15344" y="12812"/>
                  <a:pt x="15344" y="12844"/>
                </a:cubicBezTo>
                <a:cubicBezTo>
                  <a:pt x="15312" y="12844"/>
                  <a:pt x="15250" y="12906"/>
                  <a:pt x="15187" y="12906"/>
                </a:cubicBezTo>
                <a:cubicBezTo>
                  <a:pt x="15094" y="12875"/>
                  <a:pt x="15031" y="12937"/>
                  <a:pt x="14937" y="12937"/>
                </a:cubicBezTo>
                <a:cubicBezTo>
                  <a:pt x="15000" y="12937"/>
                  <a:pt x="15094" y="12969"/>
                  <a:pt x="15187" y="12969"/>
                </a:cubicBezTo>
                <a:cubicBezTo>
                  <a:pt x="15656" y="12906"/>
                  <a:pt x="16156" y="12844"/>
                  <a:pt x="16625" y="12781"/>
                </a:cubicBezTo>
                <a:cubicBezTo>
                  <a:pt x="16719" y="12781"/>
                  <a:pt x="16781" y="12844"/>
                  <a:pt x="16875" y="12844"/>
                </a:cubicBezTo>
                <a:cubicBezTo>
                  <a:pt x="17031" y="12812"/>
                  <a:pt x="17219" y="12812"/>
                  <a:pt x="17375" y="12781"/>
                </a:cubicBezTo>
                <a:cubicBezTo>
                  <a:pt x="17437" y="12781"/>
                  <a:pt x="17531" y="12781"/>
                  <a:pt x="17562" y="12875"/>
                </a:cubicBezTo>
                <a:cubicBezTo>
                  <a:pt x="17594" y="12969"/>
                  <a:pt x="17531" y="13000"/>
                  <a:pt x="17437" y="13031"/>
                </a:cubicBezTo>
                <a:cubicBezTo>
                  <a:pt x="17312" y="13094"/>
                  <a:pt x="17187" y="13156"/>
                  <a:pt x="17062" y="13219"/>
                </a:cubicBezTo>
                <a:cubicBezTo>
                  <a:pt x="17031" y="13219"/>
                  <a:pt x="17000" y="13250"/>
                  <a:pt x="17000" y="13281"/>
                </a:cubicBezTo>
                <a:cubicBezTo>
                  <a:pt x="17000" y="13344"/>
                  <a:pt x="17031" y="13344"/>
                  <a:pt x="17062" y="13375"/>
                </a:cubicBezTo>
                <a:cubicBezTo>
                  <a:pt x="17250" y="13406"/>
                  <a:pt x="17437" y="13469"/>
                  <a:pt x="17656" y="13437"/>
                </a:cubicBezTo>
                <a:cubicBezTo>
                  <a:pt x="18031" y="13437"/>
                  <a:pt x="18406" y="13406"/>
                  <a:pt x="18781" y="13375"/>
                </a:cubicBezTo>
                <a:cubicBezTo>
                  <a:pt x="19250" y="13312"/>
                  <a:pt x="19719" y="13250"/>
                  <a:pt x="20156" y="13219"/>
                </a:cubicBezTo>
                <a:cubicBezTo>
                  <a:pt x="20562" y="13156"/>
                  <a:pt x="21000" y="13094"/>
                  <a:pt x="21406" y="13031"/>
                </a:cubicBezTo>
                <a:cubicBezTo>
                  <a:pt x="21656" y="13000"/>
                  <a:pt x="21937" y="12969"/>
                  <a:pt x="22187" y="12875"/>
                </a:cubicBezTo>
                <a:cubicBezTo>
                  <a:pt x="22437" y="12875"/>
                  <a:pt x="22656" y="12812"/>
                  <a:pt x="22906" y="12781"/>
                </a:cubicBezTo>
                <a:cubicBezTo>
                  <a:pt x="23344" y="12687"/>
                  <a:pt x="23812" y="12594"/>
                  <a:pt x="24250" y="12500"/>
                </a:cubicBezTo>
                <a:cubicBezTo>
                  <a:pt x="24750" y="12375"/>
                  <a:pt x="25250" y="12250"/>
                  <a:pt x="25750" y="12094"/>
                </a:cubicBezTo>
                <a:cubicBezTo>
                  <a:pt x="25969" y="12031"/>
                  <a:pt x="26187" y="12000"/>
                  <a:pt x="26406" y="11937"/>
                </a:cubicBezTo>
                <a:cubicBezTo>
                  <a:pt x="26594" y="11875"/>
                  <a:pt x="26781" y="11781"/>
                  <a:pt x="26969" y="11719"/>
                </a:cubicBezTo>
                <a:cubicBezTo>
                  <a:pt x="27094" y="11719"/>
                  <a:pt x="27094" y="11719"/>
                  <a:pt x="27156" y="11844"/>
                </a:cubicBezTo>
                <a:cubicBezTo>
                  <a:pt x="27187" y="11844"/>
                  <a:pt x="27187" y="11844"/>
                  <a:pt x="27187" y="11875"/>
                </a:cubicBezTo>
                <a:cubicBezTo>
                  <a:pt x="27156" y="11875"/>
                  <a:pt x="27156" y="11875"/>
                  <a:pt x="27156" y="11875"/>
                </a:cubicBezTo>
                <a:cubicBezTo>
                  <a:pt x="27062" y="11906"/>
                  <a:pt x="27000" y="11969"/>
                  <a:pt x="26906" y="12000"/>
                </a:cubicBezTo>
                <a:cubicBezTo>
                  <a:pt x="26719" y="12094"/>
                  <a:pt x="26562" y="12187"/>
                  <a:pt x="26375" y="12281"/>
                </a:cubicBezTo>
                <a:cubicBezTo>
                  <a:pt x="26281" y="12312"/>
                  <a:pt x="26187" y="12406"/>
                  <a:pt x="26094" y="12437"/>
                </a:cubicBezTo>
                <a:cubicBezTo>
                  <a:pt x="26062" y="12500"/>
                  <a:pt x="26031" y="12531"/>
                  <a:pt x="26094" y="12562"/>
                </a:cubicBezTo>
                <a:cubicBezTo>
                  <a:pt x="26219" y="12625"/>
                  <a:pt x="26156" y="12656"/>
                  <a:pt x="26094" y="12687"/>
                </a:cubicBezTo>
                <a:cubicBezTo>
                  <a:pt x="26000" y="12750"/>
                  <a:pt x="25937" y="12781"/>
                  <a:pt x="25844" y="12844"/>
                </a:cubicBezTo>
                <a:cubicBezTo>
                  <a:pt x="25781" y="12875"/>
                  <a:pt x="25625" y="12875"/>
                  <a:pt x="25656" y="13000"/>
                </a:cubicBezTo>
                <a:cubicBezTo>
                  <a:pt x="25687" y="13094"/>
                  <a:pt x="25844" y="13062"/>
                  <a:pt x="25937" y="13031"/>
                </a:cubicBezTo>
                <a:cubicBezTo>
                  <a:pt x="25969" y="13031"/>
                  <a:pt x="26000" y="13000"/>
                  <a:pt x="26031" y="13000"/>
                </a:cubicBezTo>
                <a:cubicBezTo>
                  <a:pt x="26312" y="12937"/>
                  <a:pt x="26562" y="12875"/>
                  <a:pt x="26844" y="12812"/>
                </a:cubicBezTo>
                <a:cubicBezTo>
                  <a:pt x="26937" y="12781"/>
                  <a:pt x="27000" y="12750"/>
                  <a:pt x="27125" y="12750"/>
                </a:cubicBezTo>
                <a:cubicBezTo>
                  <a:pt x="27156" y="12719"/>
                  <a:pt x="27187" y="12719"/>
                  <a:pt x="27219" y="12719"/>
                </a:cubicBezTo>
                <a:cubicBezTo>
                  <a:pt x="27125" y="12875"/>
                  <a:pt x="26969" y="12937"/>
                  <a:pt x="26812" y="13000"/>
                </a:cubicBezTo>
                <a:cubicBezTo>
                  <a:pt x="26719" y="13031"/>
                  <a:pt x="26687" y="13125"/>
                  <a:pt x="26625" y="13187"/>
                </a:cubicBezTo>
                <a:cubicBezTo>
                  <a:pt x="26625" y="13187"/>
                  <a:pt x="26594" y="13219"/>
                  <a:pt x="26625" y="13250"/>
                </a:cubicBezTo>
                <a:cubicBezTo>
                  <a:pt x="26625" y="13281"/>
                  <a:pt x="26656" y="13250"/>
                  <a:pt x="26687" y="13250"/>
                </a:cubicBezTo>
                <a:cubicBezTo>
                  <a:pt x="26781" y="13219"/>
                  <a:pt x="26875" y="13219"/>
                  <a:pt x="26969" y="13156"/>
                </a:cubicBezTo>
                <a:cubicBezTo>
                  <a:pt x="27031" y="13125"/>
                  <a:pt x="27094" y="13094"/>
                  <a:pt x="27156" y="13125"/>
                </a:cubicBezTo>
                <a:cubicBezTo>
                  <a:pt x="27250" y="13156"/>
                  <a:pt x="27312" y="13156"/>
                  <a:pt x="27375" y="13125"/>
                </a:cubicBezTo>
                <a:cubicBezTo>
                  <a:pt x="27594" y="13000"/>
                  <a:pt x="27812" y="12875"/>
                  <a:pt x="28000" y="12750"/>
                </a:cubicBezTo>
                <a:cubicBezTo>
                  <a:pt x="28250" y="12594"/>
                  <a:pt x="28500" y="12437"/>
                  <a:pt x="28750" y="12281"/>
                </a:cubicBezTo>
                <a:cubicBezTo>
                  <a:pt x="29219" y="12000"/>
                  <a:pt x="29625" y="11687"/>
                  <a:pt x="30062" y="11406"/>
                </a:cubicBezTo>
                <a:cubicBezTo>
                  <a:pt x="30437" y="11125"/>
                  <a:pt x="30781" y="10781"/>
                  <a:pt x="31125" y="10469"/>
                </a:cubicBezTo>
                <a:cubicBezTo>
                  <a:pt x="31594" y="10031"/>
                  <a:pt x="32062" y="9594"/>
                  <a:pt x="32406" y="9031"/>
                </a:cubicBezTo>
                <a:cubicBezTo>
                  <a:pt x="32406" y="9031"/>
                  <a:pt x="32406" y="9031"/>
                  <a:pt x="32406" y="9000"/>
                </a:cubicBezTo>
                <a:cubicBezTo>
                  <a:pt x="32406" y="9000"/>
                  <a:pt x="32406" y="9000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37" y="8969"/>
                  <a:pt x="32437" y="8969"/>
                </a:cubicBezTo>
                <a:cubicBezTo>
                  <a:pt x="32437" y="8969"/>
                  <a:pt x="32437" y="8969"/>
                  <a:pt x="32437" y="8969"/>
                </a:cubicBezTo>
                <a:cubicBezTo>
                  <a:pt x="32437" y="8969"/>
                  <a:pt x="32437" y="8969"/>
                  <a:pt x="32437" y="8969"/>
                </a:cubicBezTo>
                <a:cubicBezTo>
                  <a:pt x="32437" y="8969"/>
                  <a:pt x="32437" y="8969"/>
                  <a:pt x="32437" y="8969"/>
                </a:cubicBezTo>
                <a:cubicBezTo>
                  <a:pt x="32437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344" y="9000"/>
                  <a:pt x="32281" y="9031"/>
                  <a:pt x="32219" y="9094"/>
                </a:cubicBezTo>
                <a:cubicBezTo>
                  <a:pt x="32094" y="9156"/>
                  <a:pt x="32031" y="9250"/>
                  <a:pt x="31906" y="9312"/>
                </a:cubicBezTo>
                <a:cubicBezTo>
                  <a:pt x="31875" y="9312"/>
                  <a:pt x="31844" y="9344"/>
                  <a:pt x="31812" y="9312"/>
                </a:cubicBezTo>
                <a:cubicBezTo>
                  <a:pt x="31781" y="9312"/>
                  <a:pt x="31812" y="9281"/>
                  <a:pt x="31812" y="9250"/>
                </a:cubicBezTo>
                <a:cubicBezTo>
                  <a:pt x="31812" y="9187"/>
                  <a:pt x="31844" y="9156"/>
                  <a:pt x="31844" y="9156"/>
                </a:cubicBezTo>
                <a:cubicBezTo>
                  <a:pt x="31969" y="8969"/>
                  <a:pt x="32156" y="8844"/>
                  <a:pt x="32312" y="8719"/>
                </a:cubicBezTo>
                <a:cubicBezTo>
                  <a:pt x="32406" y="8625"/>
                  <a:pt x="32469" y="8562"/>
                  <a:pt x="32531" y="8469"/>
                </a:cubicBezTo>
                <a:cubicBezTo>
                  <a:pt x="32437" y="8531"/>
                  <a:pt x="32344" y="8656"/>
                  <a:pt x="32281" y="8625"/>
                </a:cubicBezTo>
                <a:cubicBezTo>
                  <a:pt x="32125" y="8594"/>
                  <a:pt x="32062" y="8687"/>
                  <a:pt x="32000" y="8719"/>
                </a:cubicBezTo>
                <a:cubicBezTo>
                  <a:pt x="31875" y="8812"/>
                  <a:pt x="31750" y="8906"/>
                  <a:pt x="31625" y="9000"/>
                </a:cubicBezTo>
                <a:cubicBezTo>
                  <a:pt x="31562" y="9031"/>
                  <a:pt x="31531" y="9125"/>
                  <a:pt x="31406" y="9125"/>
                </a:cubicBezTo>
                <a:cubicBezTo>
                  <a:pt x="31437" y="9094"/>
                  <a:pt x="31437" y="9062"/>
                  <a:pt x="31437" y="9062"/>
                </a:cubicBezTo>
                <a:cubicBezTo>
                  <a:pt x="31437" y="9031"/>
                  <a:pt x="31469" y="8969"/>
                  <a:pt x="31437" y="8969"/>
                </a:cubicBezTo>
                <a:cubicBezTo>
                  <a:pt x="31406" y="8937"/>
                  <a:pt x="31375" y="8969"/>
                  <a:pt x="31344" y="9000"/>
                </a:cubicBezTo>
                <a:cubicBezTo>
                  <a:pt x="31281" y="9031"/>
                  <a:pt x="31219" y="9094"/>
                  <a:pt x="31156" y="9156"/>
                </a:cubicBezTo>
                <a:cubicBezTo>
                  <a:pt x="31000" y="9250"/>
                  <a:pt x="30875" y="9406"/>
                  <a:pt x="30687" y="9406"/>
                </a:cubicBezTo>
                <a:cubicBezTo>
                  <a:pt x="30531" y="9406"/>
                  <a:pt x="30437" y="9469"/>
                  <a:pt x="30312" y="9531"/>
                </a:cubicBezTo>
                <a:cubicBezTo>
                  <a:pt x="30250" y="9562"/>
                  <a:pt x="30187" y="9625"/>
                  <a:pt x="30125" y="9656"/>
                </a:cubicBezTo>
                <a:cubicBezTo>
                  <a:pt x="30062" y="9687"/>
                  <a:pt x="30031" y="9750"/>
                  <a:pt x="29969" y="9719"/>
                </a:cubicBezTo>
                <a:cubicBezTo>
                  <a:pt x="29937" y="9656"/>
                  <a:pt x="29969" y="9594"/>
                  <a:pt x="29969" y="9531"/>
                </a:cubicBezTo>
                <a:cubicBezTo>
                  <a:pt x="30062" y="9312"/>
                  <a:pt x="30094" y="9062"/>
                  <a:pt x="29969" y="8812"/>
                </a:cubicBezTo>
                <a:cubicBezTo>
                  <a:pt x="29937" y="8719"/>
                  <a:pt x="29969" y="8687"/>
                  <a:pt x="30062" y="8656"/>
                </a:cubicBezTo>
                <a:cubicBezTo>
                  <a:pt x="30219" y="8625"/>
                  <a:pt x="30406" y="8562"/>
                  <a:pt x="30594" y="8500"/>
                </a:cubicBezTo>
                <a:cubicBezTo>
                  <a:pt x="30875" y="8437"/>
                  <a:pt x="31125" y="8344"/>
                  <a:pt x="31375" y="8219"/>
                </a:cubicBezTo>
                <a:cubicBezTo>
                  <a:pt x="31875" y="8031"/>
                  <a:pt x="32375" y="7812"/>
                  <a:pt x="32844" y="7531"/>
                </a:cubicBezTo>
                <a:cubicBezTo>
                  <a:pt x="33437" y="7219"/>
                  <a:pt x="34000" y="6844"/>
                  <a:pt x="34531" y="6437"/>
                </a:cubicBezTo>
                <a:cubicBezTo>
                  <a:pt x="34969" y="6125"/>
                  <a:pt x="35406" y="5812"/>
                  <a:pt x="35781" y="5406"/>
                </a:cubicBezTo>
                <a:cubicBezTo>
                  <a:pt x="35969" y="5219"/>
                  <a:pt x="36125" y="5000"/>
                  <a:pt x="36281" y="4812"/>
                </a:cubicBezTo>
                <a:cubicBezTo>
                  <a:pt x="36281" y="4781"/>
                  <a:pt x="36437" y="4656"/>
                  <a:pt x="36250" y="4656"/>
                </a:cubicBezTo>
                <a:cubicBezTo>
                  <a:pt x="36219" y="4656"/>
                  <a:pt x="36219" y="4594"/>
                  <a:pt x="36250" y="4594"/>
                </a:cubicBezTo>
                <a:cubicBezTo>
                  <a:pt x="36375" y="4437"/>
                  <a:pt x="36344" y="4187"/>
                  <a:pt x="36531" y="4062"/>
                </a:cubicBezTo>
                <a:cubicBezTo>
                  <a:pt x="36531" y="4031"/>
                  <a:pt x="36562" y="4000"/>
                  <a:pt x="36531" y="3969"/>
                </a:cubicBezTo>
                <a:cubicBezTo>
                  <a:pt x="36531" y="3937"/>
                  <a:pt x="36500" y="3969"/>
                  <a:pt x="36469" y="3969"/>
                </a:cubicBezTo>
                <a:cubicBezTo>
                  <a:pt x="36312" y="4062"/>
                  <a:pt x="36156" y="4156"/>
                  <a:pt x="36031" y="4219"/>
                </a:cubicBezTo>
                <a:cubicBezTo>
                  <a:pt x="36000" y="4250"/>
                  <a:pt x="35969" y="4250"/>
                  <a:pt x="35937" y="4250"/>
                </a:cubicBezTo>
                <a:cubicBezTo>
                  <a:pt x="35906" y="4219"/>
                  <a:pt x="35969" y="4187"/>
                  <a:pt x="35969" y="41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9D9DA03-1895-844A-96ED-E355667678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48334ED0-4CE5-594E-8240-33F5F9BCD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57961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  <p:bldP spid="7" grpId="0"/>
          <p:bldP spid="8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  <p:bldP spid="7" grpId="0"/>
          <p:bldP spid="8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79">
            <a:extLst>
              <a:ext uri="{FF2B5EF4-FFF2-40B4-BE49-F238E27FC236}">
                <a16:creationId xmlns:a16="http://schemas.microsoft.com/office/drawing/2014/main" id="{F0D06142-3BDE-C941-9806-01F67EB8077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 bwMode="auto">
          <a:xfrm>
            <a:off x="444108" y="729013"/>
            <a:ext cx="11447781" cy="3347984"/>
          </a:xfrm>
          <a:custGeom>
            <a:avLst/>
            <a:gdLst>
              <a:gd name="T0" fmla="*/ 31188 w 36219"/>
              <a:gd name="T1" fmla="*/ 8312 h 14562"/>
              <a:gd name="T2" fmla="*/ 31813 w 36219"/>
              <a:gd name="T3" fmla="*/ 7281 h 14562"/>
              <a:gd name="T4" fmla="*/ 30781 w 36219"/>
              <a:gd name="T5" fmla="*/ 6719 h 14562"/>
              <a:gd name="T6" fmla="*/ 32563 w 36219"/>
              <a:gd name="T7" fmla="*/ 6531 h 14562"/>
              <a:gd name="T8" fmla="*/ 32594 w 36219"/>
              <a:gd name="T9" fmla="*/ 5937 h 14562"/>
              <a:gd name="T10" fmla="*/ 30031 w 36219"/>
              <a:gd name="T11" fmla="*/ 5656 h 14562"/>
              <a:gd name="T12" fmla="*/ 30375 w 36219"/>
              <a:gd name="T13" fmla="*/ 4844 h 14562"/>
              <a:gd name="T14" fmla="*/ 29906 w 36219"/>
              <a:gd name="T15" fmla="*/ 2750 h 14562"/>
              <a:gd name="T16" fmla="*/ 27281 w 36219"/>
              <a:gd name="T17" fmla="*/ 1594 h 14562"/>
              <a:gd name="T18" fmla="*/ 27156 w 36219"/>
              <a:gd name="T19" fmla="*/ 1250 h 14562"/>
              <a:gd name="T20" fmla="*/ 26531 w 36219"/>
              <a:gd name="T21" fmla="*/ 219 h 14562"/>
              <a:gd name="T22" fmla="*/ 21156 w 36219"/>
              <a:gd name="T23" fmla="*/ 62 h 14562"/>
              <a:gd name="T24" fmla="*/ 9563 w 36219"/>
              <a:gd name="T25" fmla="*/ 687 h 14562"/>
              <a:gd name="T26" fmla="*/ 7219 w 36219"/>
              <a:gd name="T27" fmla="*/ 2625 h 14562"/>
              <a:gd name="T28" fmla="*/ 7813 w 36219"/>
              <a:gd name="T29" fmla="*/ 3344 h 14562"/>
              <a:gd name="T30" fmla="*/ 9563 w 36219"/>
              <a:gd name="T31" fmla="*/ 3844 h 14562"/>
              <a:gd name="T32" fmla="*/ 7031 w 36219"/>
              <a:gd name="T33" fmla="*/ 4031 h 14562"/>
              <a:gd name="T34" fmla="*/ 3094 w 36219"/>
              <a:gd name="T35" fmla="*/ 4344 h 14562"/>
              <a:gd name="T36" fmla="*/ 94 w 36219"/>
              <a:gd name="T37" fmla="*/ 4594 h 14562"/>
              <a:gd name="T38" fmla="*/ 1906 w 36219"/>
              <a:gd name="T39" fmla="*/ 5875 h 14562"/>
              <a:gd name="T40" fmla="*/ 6125 w 36219"/>
              <a:gd name="T41" fmla="*/ 6750 h 14562"/>
              <a:gd name="T42" fmla="*/ 4438 w 36219"/>
              <a:gd name="T43" fmla="*/ 7406 h 14562"/>
              <a:gd name="T44" fmla="*/ 4219 w 36219"/>
              <a:gd name="T45" fmla="*/ 8125 h 14562"/>
              <a:gd name="T46" fmla="*/ 4438 w 36219"/>
              <a:gd name="T47" fmla="*/ 8375 h 14562"/>
              <a:gd name="T48" fmla="*/ 3719 w 36219"/>
              <a:gd name="T49" fmla="*/ 8687 h 14562"/>
              <a:gd name="T50" fmla="*/ 4375 w 36219"/>
              <a:gd name="T51" fmla="*/ 9281 h 14562"/>
              <a:gd name="T52" fmla="*/ 4875 w 36219"/>
              <a:gd name="T53" fmla="*/ 9406 h 14562"/>
              <a:gd name="T54" fmla="*/ 6531 w 36219"/>
              <a:gd name="T55" fmla="*/ 9906 h 14562"/>
              <a:gd name="T56" fmla="*/ 7500 w 36219"/>
              <a:gd name="T57" fmla="*/ 10969 h 14562"/>
              <a:gd name="T58" fmla="*/ 9813 w 36219"/>
              <a:gd name="T59" fmla="*/ 11656 h 14562"/>
              <a:gd name="T60" fmla="*/ 12531 w 36219"/>
              <a:gd name="T61" fmla="*/ 11687 h 14562"/>
              <a:gd name="T62" fmla="*/ 13531 w 36219"/>
              <a:gd name="T63" fmla="*/ 12875 h 14562"/>
              <a:gd name="T64" fmla="*/ 15375 w 36219"/>
              <a:gd name="T65" fmla="*/ 13469 h 14562"/>
              <a:gd name="T66" fmla="*/ 16000 w 36219"/>
              <a:gd name="T67" fmla="*/ 14062 h 14562"/>
              <a:gd name="T68" fmla="*/ 14438 w 36219"/>
              <a:gd name="T69" fmla="*/ 14500 h 14562"/>
              <a:gd name="T70" fmla="*/ 14438 w 36219"/>
              <a:gd name="T71" fmla="*/ 14531 h 14562"/>
              <a:gd name="T72" fmla="*/ 17656 w 36219"/>
              <a:gd name="T73" fmla="*/ 13937 h 14562"/>
              <a:gd name="T74" fmla="*/ 19156 w 36219"/>
              <a:gd name="T75" fmla="*/ 13656 h 14562"/>
              <a:gd name="T76" fmla="*/ 20969 w 36219"/>
              <a:gd name="T77" fmla="*/ 13781 h 14562"/>
              <a:gd name="T78" fmla="*/ 26781 w 36219"/>
              <a:gd name="T79" fmla="*/ 13219 h 14562"/>
              <a:gd name="T80" fmla="*/ 27938 w 36219"/>
              <a:gd name="T81" fmla="*/ 13250 h 14562"/>
              <a:gd name="T82" fmla="*/ 29531 w 36219"/>
              <a:gd name="T83" fmla="*/ 13531 h 14562"/>
              <a:gd name="T84" fmla="*/ 29875 w 36219"/>
              <a:gd name="T85" fmla="*/ 13156 h 14562"/>
              <a:gd name="T86" fmla="*/ 28844 w 36219"/>
              <a:gd name="T87" fmla="*/ 13156 h 14562"/>
              <a:gd name="T88" fmla="*/ 27438 w 36219"/>
              <a:gd name="T89" fmla="*/ 12875 h 14562"/>
              <a:gd name="T90" fmla="*/ 26906 w 36219"/>
              <a:gd name="T91" fmla="*/ 13094 h 14562"/>
              <a:gd name="T92" fmla="*/ 24688 w 36219"/>
              <a:gd name="T93" fmla="*/ 13156 h 14562"/>
              <a:gd name="T94" fmla="*/ 23563 w 36219"/>
              <a:gd name="T95" fmla="*/ 13219 h 14562"/>
              <a:gd name="T96" fmla="*/ 24031 w 36219"/>
              <a:gd name="T97" fmla="*/ 12812 h 14562"/>
              <a:gd name="T98" fmla="*/ 25969 w 36219"/>
              <a:gd name="T99" fmla="*/ 12812 h 14562"/>
              <a:gd name="T100" fmla="*/ 23906 w 36219"/>
              <a:gd name="T101" fmla="*/ 12469 h 14562"/>
              <a:gd name="T102" fmla="*/ 22344 w 36219"/>
              <a:gd name="T103" fmla="*/ 12219 h 14562"/>
              <a:gd name="T104" fmla="*/ 22344 w 36219"/>
              <a:gd name="T105" fmla="*/ 11812 h 14562"/>
              <a:gd name="T106" fmla="*/ 25688 w 36219"/>
              <a:gd name="T107" fmla="*/ 11250 h 14562"/>
              <a:gd name="T108" fmla="*/ 29531 w 36219"/>
              <a:gd name="T109" fmla="*/ 11125 h 14562"/>
              <a:gd name="T110" fmla="*/ 30344 w 36219"/>
              <a:gd name="T111" fmla="*/ 10844 h 14562"/>
              <a:gd name="T112" fmla="*/ 31938 w 36219"/>
              <a:gd name="T113" fmla="*/ 10094 h 14562"/>
              <a:gd name="T114" fmla="*/ 31906 w 36219"/>
              <a:gd name="T115" fmla="*/ 9687 h 14562"/>
              <a:gd name="T116" fmla="*/ 33625 w 36219"/>
              <a:gd name="T117" fmla="*/ 9500 h 14562"/>
              <a:gd name="T118" fmla="*/ 36219 w 36219"/>
              <a:gd name="T119" fmla="*/ 9094 h 14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6219" h="14562">
                <a:moveTo>
                  <a:pt x="36156" y="9031"/>
                </a:moveTo>
                <a:cubicBezTo>
                  <a:pt x="36156" y="9000"/>
                  <a:pt x="36094" y="9000"/>
                  <a:pt x="36063" y="9000"/>
                </a:cubicBezTo>
                <a:cubicBezTo>
                  <a:pt x="35781" y="8969"/>
                  <a:pt x="35531" y="8937"/>
                  <a:pt x="35250" y="8906"/>
                </a:cubicBezTo>
                <a:cubicBezTo>
                  <a:pt x="35000" y="8844"/>
                  <a:pt x="34719" y="8812"/>
                  <a:pt x="34438" y="8812"/>
                </a:cubicBezTo>
                <a:cubicBezTo>
                  <a:pt x="34406" y="8812"/>
                  <a:pt x="34375" y="8781"/>
                  <a:pt x="34313" y="8781"/>
                </a:cubicBezTo>
                <a:cubicBezTo>
                  <a:pt x="34313" y="8781"/>
                  <a:pt x="34281" y="8781"/>
                  <a:pt x="34281" y="8781"/>
                </a:cubicBezTo>
                <a:cubicBezTo>
                  <a:pt x="34219" y="8781"/>
                  <a:pt x="34156" y="8812"/>
                  <a:pt x="34094" y="8812"/>
                </a:cubicBezTo>
                <a:cubicBezTo>
                  <a:pt x="33594" y="8750"/>
                  <a:pt x="33094" y="8719"/>
                  <a:pt x="32594" y="8687"/>
                </a:cubicBezTo>
                <a:cubicBezTo>
                  <a:pt x="32500" y="8687"/>
                  <a:pt x="32406" y="8687"/>
                  <a:pt x="32313" y="8687"/>
                </a:cubicBezTo>
                <a:cubicBezTo>
                  <a:pt x="32125" y="8687"/>
                  <a:pt x="31906" y="8656"/>
                  <a:pt x="31719" y="8656"/>
                </a:cubicBezTo>
                <a:cubicBezTo>
                  <a:pt x="31656" y="8625"/>
                  <a:pt x="31594" y="8625"/>
                  <a:pt x="31500" y="8625"/>
                </a:cubicBezTo>
                <a:cubicBezTo>
                  <a:pt x="31375" y="8562"/>
                  <a:pt x="31313" y="8500"/>
                  <a:pt x="31250" y="8406"/>
                </a:cubicBezTo>
                <a:cubicBezTo>
                  <a:pt x="31219" y="8375"/>
                  <a:pt x="31219" y="8344"/>
                  <a:pt x="31188" y="8312"/>
                </a:cubicBezTo>
                <a:cubicBezTo>
                  <a:pt x="31406" y="8250"/>
                  <a:pt x="31625" y="8187"/>
                  <a:pt x="31844" y="8125"/>
                </a:cubicBezTo>
                <a:cubicBezTo>
                  <a:pt x="32125" y="8062"/>
                  <a:pt x="32438" y="8031"/>
                  <a:pt x="32750" y="7969"/>
                </a:cubicBezTo>
                <a:cubicBezTo>
                  <a:pt x="32781" y="7937"/>
                  <a:pt x="32813" y="7937"/>
                  <a:pt x="32844" y="7937"/>
                </a:cubicBezTo>
                <a:cubicBezTo>
                  <a:pt x="32906" y="7906"/>
                  <a:pt x="32938" y="7875"/>
                  <a:pt x="32969" y="7844"/>
                </a:cubicBezTo>
                <a:cubicBezTo>
                  <a:pt x="33000" y="7812"/>
                  <a:pt x="33000" y="7781"/>
                  <a:pt x="32969" y="7750"/>
                </a:cubicBezTo>
                <a:cubicBezTo>
                  <a:pt x="32938" y="7719"/>
                  <a:pt x="32906" y="7687"/>
                  <a:pt x="32906" y="7656"/>
                </a:cubicBezTo>
                <a:cubicBezTo>
                  <a:pt x="32875" y="7625"/>
                  <a:pt x="32875" y="7625"/>
                  <a:pt x="32844" y="7594"/>
                </a:cubicBezTo>
                <a:cubicBezTo>
                  <a:pt x="32750" y="7531"/>
                  <a:pt x="32563" y="7469"/>
                  <a:pt x="32406" y="7406"/>
                </a:cubicBezTo>
                <a:cubicBezTo>
                  <a:pt x="32375" y="7406"/>
                  <a:pt x="32344" y="7375"/>
                  <a:pt x="32313" y="7375"/>
                </a:cubicBezTo>
                <a:cubicBezTo>
                  <a:pt x="32250" y="7344"/>
                  <a:pt x="32188" y="7344"/>
                  <a:pt x="32125" y="7312"/>
                </a:cubicBezTo>
                <a:cubicBezTo>
                  <a:pt x="32094" y="7312"/>
                  <a:pt x="32063" y="7312"/>
                  <a:pt x="32063" y="7312"/>
                </a:cubicBezTo>
                <a:cubicBezTo>
                  <a:pt x="32000" y="7281"/>
                  <a:pt x="31969" y="7281"/>
                  <a:pt x="31906" y="7281"/>
                </a:cubicBezTo>
                <a:cubicBezTo>
                  <a:pt x="31875" y="7281"/>
                  <a:pt x="31844" y="7281"/>
                  <a:pt x="31813" y="7281"/>
                </a:cubicBezTo>
                <a:cubicBezTo>
                  <a:pt x="31594" y="7312"/>
                  <a:pt x="31375" y="7344"/>
                  <a:pt x="31156" y="7344"/>
                </a:cubicBezTo>
                <a:cubicBezTo>
                  <a:pt x="30781" y="7344"/>
                  <a:pt x="30406" y="7281"/>
                  <a:pt x="30031" y="7250"/>
                </a:cubicBezTo>
                <a:cubicBezTo>
                  <a:pt x="29938" y="7250"/>
                  <a:pt x="29875" y="7250"/>
                  <a:pt x="29844" y="7219"/>
                </a:cubicBezTo>
                <a:cubicBezTo>
                  <a:pt x="29781" y="7187"/>
                  <a:pt x="29750" y="7156"/>
                  <a:pt x="29750" y="7094"/>
                </a:cubicBezTo>
                <a:cubicBezTo>
                  <a:pt x="29750" y="7094"/>
                  <a:pt x="29750" y="7094"/>
                  <a:pt x="29750" y="7062"/>
                </a:cubicBezTo>
                <a:cubicBezTo>
                  <a:pt x="29781" y="7000"/>
                  <a:pt x="29906" y="6937"/>
                  <a:pt x="29969" y="6937"/>
                </a:cubicBezTo>
                <a:cubicBezTo>
                  <a:pt x="30000" y="6937"/>
                  <a:pt x="30000" y="6937"/>
                  <a:pt x="30000" y="6937"/>
                </a:cubicBezTo>
                <a:cubicBezTo>
                  <a:pt x="30063" y="6969"/>
                  <a:pt x="30094" y="6969"/>
                  <a:pt x="30125" y="6969"/>
                </a:cubicBezTo>
                <a:cubicBezTo>
                  <a:pt x="30344" y="6969"/>
                  <a:pt x="30531" y="6875"/>
                  <a:pt x="30750" y="6875"/>
                </a:cubicBezTo>
                <a:cubicBezTo>
                  <a:pt x="30781" y="6875"/>
                  <a:pt x="30813" y="6875"/>
                  <a:pt x="30844" y="6875"/>
                </a:cubicBezTo>
                <a:cubicBezTo>
                  <a:pt x="30906" y="6844"/>
                  <a:pt x="30969" y="6844"/>
                  <a:pt x="30813" y="6750"/>
                </a:cubicBezTo>
                <a:cubicBezTo>
                  <a:pt x="30813" y="6750"/>
                  <a:pt x="30813" y="6750"/>
                  <a:pt x="30781" y="6750"/>
                </a:cubicBezTo>
                <a:cubicBezTo>
                  <a:pt x="30781" y="6750"/>
                  <a:pt x="30781" y="6719"/>
                  <a:pt x="30781" y="6719"/>
                </a:cubicBezTo>
                <a:cubicBezTo>
                  <a:pt x="30781" y="6719"/>
                  <a:pt x="30781" y="6687"/>
                  <a:pt x="30781" y="6687"/>
                </a:cubicBezTo>
                <a:cubicBezTo>
                  <a:pt x="30813" y="6656"/>
                  <a:pt x="30813" y="6656"/>
                  <a:pt x="30844" y="6625"/>
                </a:cubicBezTo>
                <a:cubicBezTo>
                  <a:pt x="30906" y="6594"/>
                  <a:pt x="30938" y="6625"/>
                  <a:pt x="30969" y="6656"/>
                </a:cubicBezTo>
                <a:cubicBezTo>
                  <a:pt x="30969" y="6656"/>
                  <a:pt x="31000" y="6656"/>
                  <a:pt x="31000" y="6656"/>
                </a:cubicBezTo>
                <a:cubicBezTo>
                  <a:pt x="31094" y="6687"/>
                  <a:pt x="31188" y="6687"/>
                  <a:pt x="31250" y="6719"/>
                </a:cubicBezTo>
                <a:cubicBezTo>
                  <a:pt x="31469" y="6719"/>
                  <a:pt x="31719" y="6719"/>
                  <a:pt x="31938" y="6750"/>
                </a:cubicBezTo>
                <a:cubicBezTo>
                  <a:pt x="31969" y="6750"/>
                  <a:pt x="32031" y="6750"/>
                  <a:pt x="32063" y="6750"/>
                </a:cubicBezTo>
                <a:cubicBezTo>
                  <a:pt x="32094" y="6750"/>
                  <a:pt x="32156" y="6719"/>
                  <a:pt x="32188" y="6719"/>
                </a:cubicBezTo>
                <a:cubicBezTo>
                  <a:pt x="32188" y="6687"/>
                  <a:pt x="32219" y="6687"/>
                  <a:pt x="32219" y="6687"/>
                </a:cubicBezTo>
                <a:cubicBezTo>
                  <a:pt x="32313" y="6625"/>
                  <a:pt x="32375" y="6562"/>
                  <a:pt x="32500" y="6531"/>
                </a:cubicBezTo>
                <a:cubicBezTo>
                  <a:pt x="32531" y="6531"/>
                  <a:pt x="32531" y="6531"/>
                  <a:pt x="32531" y="6531"/>
                </a:cubicBezTo>
                <a:cubicBezTo>
                  <a:pt x="32531" y="6562"/>
                  <a:pt x="32531" y="6562"/>
                  <a:pt x="32563" y="6562"/>
                </a:cubicBezTo>
                <a:cubicBezTo>
                  <a:pt x="32563" y="6562"/>
                  <a:pt x="32594" y="6531"/>
                  <a:pt x="32563" y="6531"/>
                </a:cubicBezTo>
                <a:cubicBezTo>
                  <a:pt x="32563" y="6500"/>
                  <a:pt x="32563" y="6437"/>
                  <a:pt x="32563" y="6406"/>
                </a:cubicBezTo>
                <a:cubicBezTo>
                  <a:pt x="32563" y="6312"/>
                  <a:pt x="32594" y="6250"/>
                  <a:pt x="32531" y="6187"/>
                </a:cubicBezTo>
                <a:cubicBezTo>
                  <a:pt x="32500" y="6156"/>
                  <a:pt x="32438" y="6125"/>
                  <a:pt x="32375" y="6125"/>
                </a:cubicBezTo>
                <a:cubicBezTo>
                  <a:pt x="32375" y="6125"/>
                  <a:pt x="32406" y="6094"/>
                  <a:pt x="32406" y="6062"/>
                </a:cubicBezTo>
                <a:cubicBezTo>
                  <a:pt x="32406" y="6062"/>
                  <a:pt x="32406" y="6031"/>
                  <a:pt x="32406" y="6031"/>
                </a:cubicBezTo>
                <a:cubicBezTo>
                  <a:pt x="32469" y="6062"/>
                  <a:pt x="32563" y="6094"/>
                  <a:pt x="32625" y="6125"/>
                </a:cubicBezTo>
                <a:cubicBezTo>
                  <a:pt x="32688" y="6156"/>
                  <a:pt x="32750" y="6250"/>
                  <a:pt x="32844" y="6156"/>
                </a:cubicBezTo>
                <a:cubicBezTo>
                  <a:pt x="32875" y="6156"/>
                  <a:pt x="32875" y="6125"/>
                  <a:pt x="32875" y="6094"/>
                </a:cubicBezTo>
                <a:cubicBezTo>
                  <a:pt x="32875" y="6062"/>
                  <a:pt x="32875" y="6062"/>
                  <a:pt x="32875" y="6031"/>
                </a:cubicBezTo>
                <a:cubicBezTo>
                  <a:pt x="32844" y="6031"/>
                  <a:pt x="32844" y="6031"/>
                  <a:pt x="32844" y="6031"/>
                </a:cubicBezTo>
                <a:cubicBezTo>
                  <a:pt x="32813" y="6000"/>
                  <a:pt x="32813" y="6000"/>
                  <a:pt x="32781" y="5969"/>
                </a:cubicBezTo>
                <a:cubicBezTo>
                  <a:pt x="32750" y="5937"/>
                  <a:pt x="32688" y="5937"/>
                  <a:pt x="32656" y="5937"/>
                </a:cubicBezTo>
                <a:cubicBezTo>
                  <a:pt x="32625" y="5937"/>
                  <a:pt x="32594" y="5937"/>
                  <a:pt x="32594" y="5937"/>
                </a:cubicBezTo>
                <a:cubicBezTo>
                  <a:pt x="32563" y="5937"/>
                  <a:pt x="32531" y="5937"/>
                  <a:pt x="32500" y="5937"/>
                </a:cubicBezTo>
                <a:cubicBezTo>
                  <a:pt x="32500" y="5937"/>
                  <a:pt x="32469" y="5906"/>
                  <a:pt x="32469" y="5906"/>
                </a:cubicBezTo>
                <a:cubicBezTo>
                  <a:pt x="32469" y="5875"/>
                  <a:pt x="32469" y="5875"/>
                  <a:pt x="32438" y="5875"/>
                </a:cubicBezTo>
                <a:cubicBezTo>
                  <a:pt x="32438" y="5844"/>
                  <a:pt x="32438" y="5844"/>
                  <a:pt x="32406" y="5844"/>
                </a:cubicBezTo>
                <a:cubicBezTo>
                  <a:pt x="32406" y="5844"/>
                  <a:pt x="32406" y="5844"/>
                  <a:pt x="32375" y="5812"/>
                </a:cubicBezTo>
                <a:cubicBezTo>
                  <a:pt x="32219" y="5812"/>
                  <a:pt x="32063" y="5812"/>
                  <a:pt x="31906" y="5812"/>
                </a:cubicBezTo>
                <a:cubicBezTo>
                  <a:pt x="31875" y="5781"/>
                  <a:pt x="31844" y="5781"/>
                  <a:pt x="31813" y="5750"/>
                </a:cubicBezTo>
                <a:cubicBezTo>
                  <a:pt x="31781" y="5750"/>
                  <a:pt x="31781" y="5719"/>
                  <a:pt x="31750" y="5719"/>
                </a:cubicBezTo>
                <a:cubicBezTo>
                  <a:pt x="31719" y="5719"/>
                  <a:pt x="31719" y="5719"/>
                  <a:pt x="31688" y="5719"/>
                </a:cubicBezTo>
                <a:cubicBezTo>
                  <a:pt x="31563" y="5687"/>
                  <a:pt x="31438" y="5656"/>
                  <a:pt x="31313" y="5656"/>
                </a:cubicBezTo>
                <a:cubicBezTo>
                  <a:pt x="30938" y="5594"/>
                  <a:pt x="30563" y="5594"/>
                  <a:pt x="30156" y="5656"/>
                </a:cubicBezTo>
                <a:cubicBezTo>
                  <a:pt x="30125" y="5656"/>
                  <a:pt x="30094" y="5656"/>
                  <a:pt x="30063" y="5656"/>
                </a:cubicBezTo>
                <a:cubicBezTo>
                  <a:pt x="30031" y="5656"/>
                  <a:pt x="30031" y="5656"/>
                  <a:pt x="30031" y="5656"/>
                </a:cubicBezTo>
                <a:cubicBezTo>
                  <a:pt x="30000" y="5625"/>
                  <a:pt x="30000" y="5625"/>
                  <a:pt x="30031" y="5594"/>
                </a:cubicBezTo>
                <a:cubicBezTo>
                  <a:pt x="30031" y="5562"/>
                  <a:pt x="30031" y="5531"/>
                  <a:pt x="30031" y="5531"/>
                </a:cubicBezTo>
                <a:cubicBezTo>
                  <a:pt x="30000" y="5531"/>
                  <a:pt x="30000" y="5531"/>
                  <a:pt x="30000" y="5500"/>
                </a:cubicBezTo>
                <a:cubicBezTo>
                  <a:pt x="29969" y="5500"/>
                  <a:pt x="29938" y="5500"/>
                  <a:pt x="29938" y="5500"/>
                </a:cubicBezTo>
                <a:cubicBezTo>
                  <a:pt x="29906" y="5531"/>
                  <a:pt x="29906" y="5531"/>
                  <a:pt x="29875" y="5531"/>
                </a:cubicBezTo>
                <a:cubicBezTo>
                  <a:pt x="29844" y="5531"/>
                  <a:pt x="29844" y="5531"/>
                  <a:pt x="29813" y="5531"/>
                </a:cubicBezTo>
                <a:cubicBezTo>
                  <a:pt x="29781" y="5531"/>
                  <a:pt x="29750" y="5531"/>
                  <a:pt x="29750" y="5531"/>
                </a:cubicBezTo>
                <a:cubicBezTo>
                  <a:pt x="29688" y="5531"/>
                  <a:pt x="29656" y="5500"/>
                  <a:pt x="29625" y="5500"/>
                </a:cubicBezTo>
                <a:cubicBezTo>
                  <a:pt x="29625" y="5500"/>
                  <a:pt x="29594" y="5469"/>
                  <a:pt x="29594" y="5469"/>
                </a:cubicBezTo>
                <a:cubicBezTo>
                  <a:pt x="29594" y="5469"/>
                  <a:pt x="29563" y="5469"/>
                  <a:pt x="29563" y="5469"/>
                </a:cubicBezTo>
                <a:cubicBezTo>
                  <a:pt x="29500" y="5406"/>
                  <a:pt x="29406" y="5344"/>
                  <a:pt x="29313" y="5312"/>
                </a:cubicBezTo>
                <a:cubicBezTo>
                  <a:pt x="29531" y="5250"/>
                  <a:pt x="29719" y="5187"/>
                  <a:pt x="29906" y="5125"/>
                </a:cubicBezTo>
                <a:cubicBezTo>
                  <a:pt x="30094" y="5031"/>
                  <a:pt x="30250" y="4969"/>
                  <a:pt x="30375" y="4844"/>
                </a:cubicBezTo>
                <a:cubicBezTo>
                  <a:pt x="30469" y="4750"/>
                  <a:pt x="30563" y="4687"/>
                  <a:pt x="30656" y="4625"/>
                </a:cubicBezTo>
                <a:cubicBezTo>
                  <a:pt x="30750" y="4562"/>
                  <a:pt x="30813" y="4531"/>
                  <a:pt x="30938" y="4500"/>
                </a:cubicBezTo>
                <a:cubicBezTo>
                  <a:pt x="30969" y="4500"/>
                  <a:pt x="31000" y="4500"/>
                  <a:pt x="31031" y="4500"/>
                </a:cubicBezTo>
                <a:cubicBezTo>
                  <a:pt x="31125" y="4469"/>
                  <a:pt x="31219" y="4437"/>
                  <a:pt x="31281" y="4437"/>
                </a:cubicBezTo>
                <a:cubicBezTo>
                  <a:pt x="31656" y="4406"/>
                  <a:pt x="31938" y="4281"/>
                  <a:pt x="32125" y="4125"/>
                </a:cubicBezTo>
                <a:cubicBezTo>
                  <a:pt x="32219" y="4062"/>
                  <a:pt x="32281" y="4000"/>
                  <a:pt x="32344" y="3969"/>
                </a:cubicBezTo>
                <a:cubicBezTo>
                  <a:pt x="32344" y="3937"/>
                  <a:pt x="32375" y="3937"/>
                  <a:pt x="32375" y="3906"/>
                </a:cubicBezTo>
                <a:cubicBezTo>
                  <a:pt x="32406" y="3875"/>
                  <a:pt x="32406" y="3844"/>
                  <a:pt x="32438" y="3812"/>
                </a:cubicBezTo>
                <a:cubicBezTo>
                  <a:pt x="32438" y="3750"/>
                  <a:pt x="32438" y="3719"/>
                  <a:pt x="32438" y="3687"/>
                </a:cubicBezTo>
                <a:cubicBezTo>
                  <a:pt x="32406" y="3531"/>
                  <a:pt x="32250" y="3344"/>
                  <a:pt x="32063" y="3250"/>
                </a:cubicBezTo>
                <a:cubicBezTo>
                  <a:pt x="32000" y="3187"/>
                  <a:pt x="31906" y="3156"/>
                  <a:pt x="31813" y="3156"/>
                </a:cubicBezTo>
                <a:cubicBezTo>
                  <a:pt x="31625" y="3094"/>
                  <a:pt x="31406" y="3062"/>
                  <a:pt x="31188" y="3000"/>
                </a:cubicBezTo>
                <a:cubicBezTo>
                  <a:pt x="30750" y="2906"/>
                  <a:pt x="30344" y="2844"/>
                  <a:pt x="29906" y="2750"/>
                </a:cubicBezTo>
                <a:cubicBezTo>
                  <a:pt x="29688" y="2719"/>
                  <a:pt x="29469" y="2687"/>
                  <a:pt x="29250" y="2656"/>
                </a:cubicBezTo>
                <a:cubicBezTo>
                  <a:pt x="28969" y="2625"/>
                  <a:pt x="28688" y="2594"/>
                  <a:pt x="28406" y="2562"/>
                </a:cubicBezTo>
                <a:cubicBezTo>
                  <a:pt x="28125" y="2531"/>
                  <a:pt x="27844" y="2469"/>
                  <a:pt x="27563" y="2437"/>
                </a:cubicBezTo>
                <a:cubicBezTo>
                  <a:pt x="27000" y="2375"/>
                  <a:pt x="26438" y="2312"/>
                  <a:pt x="25875" y="2250"/>
                </a:cubicBezTo>
                <a:cubicBezTo>
                  <a:pt x="25813" y="2250"/>
                  <a:pt x="25750" y="2250"/>
                  <a:pt x="25688" y="2219"/>
                </a:cubicBezTo>
                <a:cubicBezTo>
                  <a:pt x="25594" y="2219"/>
                  <a:pt x="25500" y="2187"/>
                  <a:pt x="25438" y="2094"/>
                </a:cubicBezTo>
                <a:cubicBezTo>
                  <a:pt x="25625" y="2094"/>
                  <a:pt x="25844" y="2031"/>
                  <a:pt x="26000" y="2062"/>
                </a:cubicBezTo>
                <a:cubicBezTo>
                  <a:pt x="26063" y="2062"/>
                  <a:pt x="26125" y="2062"/>
                  <a:pt x="26188" y="2094"/>
                </a:cubicBezTo>
                <a:cubicBezTo>
                  <a:pt x="26219" y="2125"/>
                  <a:pt x="26250" y="2125"/>
                  <a:pt x="26250" y="2125"/>
                </a:cubicBezTo>
                <a:cubicBezTo>
                  <a:pt x="26313" y="2125"/>
                  <a:pt x="26344" y="2094"/>
                  <a:pt x="26344" y="2062"/>
                </a:cubicBezTo>
                <a:cubicBezTo>
                  <a:pt x="26375" y="1969"/>
                  <a:pt x="26406" y="1906"/>
                  <a:pt x="26469" y="1844"/>
                </a:cubicBezTo>
                <a:cubicBezTo>
                  <a:pt x="26594" y="1750"/>
                  <a:pt x="26750" y="1656"/>
                  <a:pt x="26969" y="1625"/>
                </a:cubicBezTo>
                <a:cubicBezTo>
                  <a:pt x="27063" y="1594"/>
                  <a:pt x="27156" y="1594"/>
                  <a:pt x="27281" y="1594"/>
                </a:cubicBezTo>
                <a:cubicBezTo>
                  <a:pt x="27281" y="1594"/>
                  <a:pt x="27313" y="1594"/>
                  <a:pt x="27313" y="1594"/>
                </a:cubicBezTo>
                <a:cubicBezTo>
                  <a:pt x="27313" y="1594"/>
                  <a:pt x="27344" y="1562"/>
                  <a:pt x="27344" y="1562"/>
                </a:cubicBezTo>
                <a:cubicBezTo>
                  <a:pt x="27344" y="1531"/>
                  <a:pt x="27344" y="1531"/>
                  <a:pt x="27313" y="1531"/>
                </a:cubicBezTo>
                <a:cubicBezTo>
                  <a:pt x="27313" y="1531"/>
                  <a:pt x="27313" y="1531"/>
                  <a:pt x="27281" y="1531"/>
                </a:cubicBezTo>
                <a:cubicBezTo>
                  <a:pt x="27250" y="1500"/>
                  <a:pt x="27219" y="1500"/>
                  <a:pt x="27188" y="1500"/>
                </a:cubicBezTo>
                <a:cubicBezTo>
                  <a:pt x="27156" y="1500"/>
                  <a:pt x="27094" y="1500"/>
                  <a:pt x="27094" y="1500"/>
                </a:cubicBezTo>
                <a:cubicBezTo>
                  <a:pt x="27094" y="1406"/>
                  <a:pt x="27219" y="1406"/>
                  <a:pt x="27281" y="1375"/>
                </a:cubicBezTo>
                <a:cubicBezTo>
                  <a:pt x="27281" y="1344"/>
                  <a:pt x="27313" y="1344"/>
                  <a:pt x="27313" y="1312"/>
                </a:cubicBezTo>
                <a:cubicBezTo>
                  <a:pt x="27313" y="1312"/>
                  <a:pt x="27313" y="1281"/>
                  <a:pt x="27344" y="1281"/>
                </a:cubicBezTo>
                <a:cubicBezTo>
                  <a:pt x="27344" y="1250"/>
                  <a:pt x="27344" y="1250"/>
                  <a:pt x="27344" y="1250"/>
                </a:cubicBezTo>
                <a:cubicBezTo>
                  <a:pt x="27344" y="1250"/>
                  <a:pt x="27313" y="1219"/>
                  <a:pt x="27313" y="1219"/>
                </a:cubicBezTo>
                <a:cubicBezTo>
                  <a:pt x="27281" y="1219"/>
                  <a:pt x="27250" y="1187"/>
                  <a:pt x="27219" y="1219"/>
                </a:cubicBezTo>
                <a:cubicBezTo>
                  <a:pt x="27188" y="1219"/>
                  <a:pt x="27188" y="1219"/>
                  <a:pt x="27156" y="1250"/>
                </a:cubicBezTo>
                <a:cubicBezTo>
                  <a:pt x="27125" y="1281"/>
                  <a:pt x="27094" y="1312"/>
                  <a:pt x="27031" y="1281"/>
                </a:cubicBezTo>
                <a:cubicBezTo>
                  <a:pt x="27031" y="1281"/>
                  <a:pt x="27000" y="1281"/>
                  <a:pt x="27000" y="1250"/>
                </a:cubicBezTo>
                <a:cubicBezTo>
                  <a:pt x="26969" y="1250"/>
                  <a:pt x="26938" y="1219"/>
                  <a:pt x="26938" y="1187"/>
                </a:cubicBezTo>
                <a:cubicBezTo>
                  <a:pt x="26938" y="1187"/>
                  <a:pt x="26938" y="1156"/>
                  <a:pt x="26938" y="1156"/>
                </a:cubicBezTo>
                <a:cubicBezTo>
                  <a:pt x="26969" y="1125"/>
                  <a:pt x="26969" y="1094"/>
                  <a:pt x="27031" y="1094"/>
                </a:cubicBezTo>
                <a:cubicBezTo>
                  <a:pt x="27188" y="1000"/>
                  <a:pt x="27344" y="969"/>
                  <a:pt x="27563" y="1031"/>
                </a:cubicBezTo>
                <a:cubicBezTo>
                  <a:pt x="27563" y="969"/>
                  <a:pt x="27531" y="906"/>
                  <a:pt x="27531" y="875"/>
                </a:cubicBezTo>
                <a:cubicBezTo>
                  <a:pt x="27531" y="812"/>
                  <a:pt x="27531" y="781"/>
                  <a:pt x="27563" y="719"/>
                </a:cubicBezTo>
                <a:cubicBezTo>
                  <a:pt x="27563" y="687"/>
                  <a:pt x="27594" y="625"/>
                  <a:pt x="27594" y="562"/>
                </a:cubicBezTo>
                <a:cubicBezTo>
                  <a:pt x="27594" y="500"/>
                  <a:pt x="27563" y="469"/>
                  <a:pt x="27531" y="437"/>
                </a:cubicBezTo>
                <a:cubicBezTo>
                  <a:pt x="27438" y="406"/>
                  <a:pt x="27344" y="375"/>
                  <a:pt x="27250" y="344"/>
                </a:cubicBezTo>
                <a:cubicBezTo>
                  <a:pt x="27094" y="250"/>
                  <a:pt x="26938" y="187"/>
                  <a:pt x="26719" y="219"/>
                </a:cubicBezTo>
                <a:cubicBezTo>
                  <a:pt x="26656" y="219"/>
                  <a:pt x="26594" y="219"/>
                  <a:pt x="26531" y="219"/>
                </a:cubicBezTo>
                <a:cubicBezTo>
                  <a:pt x="26188" y="250"/>
                  <a:pt x="25844" y="312"/>
                  <a:pt x="25500" y="281"/>
                </a:cubicBezTo>
                <a:cubicBezTo>
                  <a:pt x="25438" y="281"/>
                  <a:pt x="25406" y="250"/>
                  <a:pt x="25344" y="250"/>
                </a:cubicBezTo>
                <a:cubicBezTo>
                  <a:pt x="25094" y="219"/>
                  <a:pt x="24875" y="187"/>
                  <a:pt x="24625" y="156"/>
                </a:cubicBezTo>
                <a:cubicBezTo>
                  <a:pt x="24531" y="156"/>
                  <a:pt x="24469" y="156"/>
                  <a:pt x="24375" y="156"/>
                </a:cubicBezTo>
                <a:cubicBezTo>
                  <a:pt x="24313" y="156"/>
                  <a:pt x="24250" y="156"/>
                  <a:pt x="24188" y="156"/>
                </a:cubicBezTo>
                <a:cubicBezTo>
                  <a:pt x="24156" y="187"/>
                  <a:pt x="24094" y="187"/>
                  <a:pt x="24031" y="219"/>
                </a:cubicBezTo>
                <a:cubicBezTo>
                  <a:pt x="23906" y="219"/>
                  <a:pt x="23813" y="250"/>
                  <a:pt x="23688" y="187"/>
                </a:cubicBezTo>
                <a:cubicBezTo>
                  <a:pt x="23500" y="125"/>
                  <a:pt x="23313" y="125"/>
                  <a:pt x="23125" y="125"/>
                </a:cubicBezTo>
                <a:cubicBezTo>
                  <a:pt x="23094" y="125"/>
                  <a:pt x="23094" y="125"/>
                  <a:pt x="23063" y="125"/>
                </a:cubicBezTo>
                <a:cubicBezTo>
                  <a:pt x="23000" y="125"/>
                  <a:pt x="22969" y="125"/>
                  <a:pt x="22938" y="156"/>
                </a:cubicBezTo>
                <a:cubicBezTo>
                  <a:pt x="22875" y="156"/>
                  <a:pt x="22813" y="156"/>
                  <a:pt x="22781" y="156"/>
                </a:cubicBezTo>
                <a:cubicBezTo>
                  <a:pt x="22750" y="156"/>
                  <a:pt x="22750" y="156"/>
                  <a:pt x="22750" y="156"/>
                </a:cubicBezTo>
                <a:cubicBezTo>
                  <a:pt x="22219" y="94"/>
                  <a:pt x="21688" y="94"/>
                  <a:pt x="21156" y="62"/>
                </a:cubicBezTo>
                <a:cubicBezTo>
                  <a:pt x="20969" y="31"/>
                  <a:pt x="20781" y="62"/>
                  <a:pt x="20594" y="62"/>
                </a:cubicBezTo>
                <a:cubicBezTo>
                  <a:pt x="20406" y="62"/>
                  <a:pt x="20219" y="62"/>
                  <a:pt x="20031" y="62"/>
                </a:cubicBezTo>
                <a:cubicBezTo>
                  <a:pt x="19438" y="31"/>
                  <a:pt x="18844" y="31"/>
                  <a:pt x="18281" y="31"/>
                </a:cubicBezTo>
                <a:cubicBezTo>
                  <a:pt x="17094" y="0"/>
                  <a:pt x="15906" y="0"/>
                  <a:pt x="14719" y="31"/>
                </a:cubicBezTo>
                <a:cubicBezTo>
                  <a:pt x="14125" y="31"/>
                  <a:pt x="13531" y="62"/>
                  <a:pt x="12938" y="62"/>
                </a:cubicBezTo>
                <a:cubicBezTo>
                  <a:pt x="12813" y="62"/>
                  <a:pt x="12688" y="94"/>
                  <a:pt x="12563" y="94"/>
                </a:cubicBezTo>
                <a:cubicBezTo>
                  <a:pt x="11938" y="94"/>
                  <a:pt x="11313" y="125"/>
                  <a:pt x="10719" y="187"/>
                </a:cubicBezTo>
                <a:cubicBezTo>
                  <a:pt x="10469" y="219"/>
                  <a:pt x="10219" y="250"/>
                  <a:pt x="9969" y="281"/>
                </a:cubicBezTo>
                <a:cubicBezTo>
                  <a:pt x="9938" y="281"/>
                  <a:pt x="9906" y="312"/>
                  <a:pt x="9875" y="312"/>
                </a:cubicBezTo>
                <a:cubicBezTo>
                  <a:pt x="9781" y="344"/>
                  <a:pt x="9719" y="344"/>
                  <a:pt x="9688" y="375"/>
                </a:cubicBezTo>
                <a:cubicBezTo>
                  <a:pt x="9656" y="406"/>
                  <a:pt x="9656" y="406"/>
                  <a:pt x="9656" y="437"/>
                </a:cubicBezTo>
                <a:cubicBezTo>
                  <a:pt x="9594" y="469"/>
                  <a:pt x="9594" y="500"/>
                  <a:pt x="9594" y="562"/>
                </a:cubicBezTo>
                <a:cubicBezTo>
                  <a:pt x="9563" y="594"/>
                  <a:pt x="9563" y="625"/>
                  <a:pt x="9563" y="687"/>
                </a:cubicBezTo>
                <a:cubicBezTo>
                  <a:pt x="9563" y="781"/>
                  <a:pt x="9563" y="875"/>
                  <a:pt x="9625" y="969"/>
                </a:cubicBezTo>
                <a:cubicBezTo>
                  <a:pt x="9625" y="969"/>
                  <a:pt x="9656" y="1000"/>
                  <a:pt x="9656" y="1000"/>
                </a:cubicBezTo>
                <a:cubicBezTo>
                  <a:pt x="9656" y="1031"/>
                  <a:pt x="9656" y="1062"/>
                  <a:pt x="9625" y="1094"/>
                </a:cubicBezTo>
                <a:cubicBezTo>
                  <a:pt x="9625" y="1094"/>
                  <a:pt x="9625" y="1094"/>
                  <a:pt x="9594" y="1094"/>
                </a:cubicBezTo>
                <a:cubicBezTo>
                  <a:pt x="9594" y="1094"/>
                  <a:pt x="9563" y="1125"/>
                  <a:pt x="9500" y="1125"/>
                </a:cubicBezTo>
                <a:cubicBezTo>
                  <a:pt x="9344" y="1156"/>
                  <a:pt x="9156" y="1156"/>
                  <a:pt x="8969" y="1187"/>
                </a:cubicBezTo>
                <a:cubicBezTo>
                  <a:pt x="8813" y="1219"/>
                  <a:pt x="8625" y="1219"/>
                  <a:pt x="8438" y="1187"/>
                </a:cubicBezTo>
                <a:cubicBezTo>
                  <a:pt x="8250" y="1187"/>
                  <a:pt x="8094" y="1187"/>
                  <a:pt x="7969" y="1219"/>
                </a:cubicBezTo>
                <a:cubicBezTo>
                  <a:pt x="7813" y="1250"/>
                  <a:pt x="7719" y="1281"/>
                  <a:pt x="7625" y="1344"/>
                </a:cubicBezTo>
                <a:cubicBezTo>
                  <a:pt x="7500" y="1375"/>
                  <a:pt x="7438" y="1469"/>
                  <a:pt x="7375" y="1531"/>
                </a:cubicBezTo>
                <a:cubicBezTo>
                  <a:pt x="7313" y="1625"/>
                  <a:pt x="7281" y="1719"/>
                  <a:pt x="7281" y="1844"/>
                </a:cubicBezTo>
                <a:cubicBezTo>
                  <a:pt x="7219" y="2094"/>
                  <a:pt x="7375" y="2344"/>
                  <a:pt x="7250" y="2562"/>
                </a:cubicBezTo>
                <a:cubicBezTo>
                  <a:pt x="7219" y="2594"/>
                  <a:pt x="7219" y="2594"/>
                  <a:pt x="7219" y="2625"/>
                </a:cubicBezTo>
                <a:cubicBezTo>
                  <a:pt x="7188" y="2656"/>
                  <a:pt x="7156" y="2687"/>
                  <a:pt x="7094" y="2719"/>
                </a:cubicBezTo>
                <a:cubicBezTo>
                  <a:pt x="7094" y="2719"/>
                  <a:pt x="7094" y="2750"/>
                  <a:pt x="7094" y="2750"/>
                </a:cubicBezTo>
                <a:cubicBezTo>
                  <a:pt x="7094" y="2781"/>
                  <a:pt x="7094" y="2781"/>
                  <a:pt x="7094" y="2812"/>
                </a:cubicBezTo>
                <a:cubicBezTo>
                  <a:pt x="7094" y="2812"/>
                  <a:pt x="7094" y="2812"/>
                  <a:pt x="7094" y="2812"/>
                </a:cubicBezTo>
                <a:cubicBezTo>
                  <a:pt x="7125" y="2844"/>
                  <a:pt x="7156" y="2844"/>
                  <a:pt x="7156" y="2844"/>
                </a:cubicBezTo>
                <a:cubicBezTo>
                  <a:pt x="7281" y="2906"/>
                  <a:pt x="7281" y="3000"/>
                  <a:pt x="7344" y="3094"/>
                </a:cubicBezTo>
                <a:cubicBezTo>
                  <a:pt x="7375" y="3094"/>
                  <a:pt x="7406" y="3125"/>
                  <a:pt x="7438" y="3156"/>
                </a:cubicBezTo>
                <a:cubicBezTo>
                  <a:pt x="7469" y="3156"/>
                  <a:pt x="7469" y="3156"/>
                  <a:pt x="7469" y="3156"/>
                </a:cubicBezTo>
                <a:cubicBezTo>
                  <a:pt x="7531" y="3156"/>
                  <a:pt x="7594" y="3156"/>
                  <a:pt x="7625" y="3187"/>
                </a:cubicBezTo>
                <a:cubicBezTo>
                  <a:pt x="7656" y="3219"/>
                  <a:pt x="7688" y="3250"/>
                  <a:pt x="7719" y="3281"/>
                </a:cubicBezTo>
                <a:cubicBezTo>
                  <a:pt x="7719" y="3281"/>
                  <a:pt x="7750" y="3281"/>
                  <a:pt x="7750" y="3312"/>
                </a:cubicBezTo>
                <a:cubicBezTo>
                  <a:pt x="7750" y="3312"/>
                  <a:pt x="7781" y="3312"/>
                  <a:pt x="7781" y="3312"/>
                </a:cubicBezTo>
                <a:cubicBezTo>
                  <a:pt x="7781" y="3344"/>
                  <a:pt x="7813" y="3344"/>
                  <a:pt x="7813" y="3344"/>
                </a:cubicBezTo>
                <a:cubicBezTo>
                  <a:pt x="7844" y="3344"/>
                  <a:pt x="7906" y="3375"/>
                  <a:pt x="7969" y="3344"/>
                </a:cubicBezTo>
                <a:cubicBezTo>
                  <a:pt x="8063" y="3344"/>
                  <a:pt x="8156" y="3375"/>
                  <a:pt x="8219" y="3281"/>
                </a:cubicBezTo>
                <a:cubicBezTo>
                  <a:pt x="8313" y="3187"/>
                  <a:pt x="8406" y="3187"/>
                  <a:pt x="8469" y="3250"/>
                </a:cubicBezTo>
                <a:cubicBezTo>
                  <a:pt x="8500" y="3250"/>
                  <a:pt x="8500" y="3281"/>
                  <a:pt x="8531" y="3281"/>
                </a:cubicBezTo>
                <a:cubicBezTo>
                  <a:pt x="8531" y="3312"/>
                  <a:pt x="8563" y="3312"/>
                  <a:pt x="8563" y="3344"/>
                </a:cubicBezTo>
                <a:cubicBezTo>
                  <a:pt x="8594" y="3344"/>
                  <a:pt x="8594" y="3375"/>
                  <a:pt x="8594" y="3375"/>
                </a:cubicBezTo>
                <a:cubicBezTo>
                  <a:pt x="8625" y="3375"/>
                  <a:pt x="8625" y="3406"/>
                  <a:pt x="8656" y="3406"/>
                </a:cubicBezTo>
                <a:cubicBezTo>
                  <a:pt x="8719" y="3437"/>
                  <a:pt x="8750" y="3437"/>
                  <a:pt x="8813" y="3437"/>
                </a:cubicBezTo>
                <a:cubicBezTo>
                  <a:pt x="8875" y="3437"/>
                  <a:pt x="8906" y="3437"/>
                  <a:pt x="8969" y="3437"/>
                </a:cubicBezTo>
                <a:cubicBezTo>
                  <a:pt x="9188" y="3469"/>
                  <a:pt x="9406" y="3500"/>
                  <a:pt x="9625" y="3531"/>
                </a:cubicBezTo>
                <a:cubicBezTo>
                  <a:pt x="9656" y="3594"/>
                  <a:pt x="9594" y="3625"/>
                  <a:pt x="9563" y="3687"/>
                </a:cubicBezTo>
                <a:cubicBezTo>
                  <a:pt x="9563" y="3687"/>
                  <a:pt x="9531" y="3719"/>
                  <a:pt x="9531" y="3719"/>
                </a:cubicBezTo>
                <a:cubicBezTo>
                  <a:pt x="9500" y="3750"/>
                  <a:pt x="9500" y="3812"/>
                  <a:pt x="9563" y="3844"/>
                </a:cubicBezTo>
                <a:cubicBezTo>
                  <a:pt x="9531" y="3844"/>
                  <a:pt x="9500" y="3875"/>
                  <a:pt x="9469" y="3875"/>
                </a:cubicBezTo>
                <a:cubicBezTo>
                  <a:pt x="9438" y="3875"/>
                  <a:pt x="9375" y="3875"/>
                  <a:pt x="9344" y="3844"/>
                </a:cubicBezTo>
                <a:cubicBezTo>
                  <a:pt x="9344" y="3844"/>
                  <a:pt x="9313" y="3844"/>
                  <a:pt x="9313" y="3844"/>
                </a:cubicBezTo>
                <a:cubicBezTo>
                  <a:pt x="9250" y="3844"/>
                  <a:pt x="9188" y="3812"/>
                  <a:pt x="9125" y="3812"/>
                </a:cubicBezTo>
                <a:cubicBezTo>
                  <a:pt x="9000" y="3812"/>
                  <a:pt x="8875" y="3812"/>
                  <a:pt x="8781" y="3906"/>
                </a:cubicBezTo>
                <a:cubicBezTo>
                  <a:pt x="8781" y="3906"/>
                  <a:pt x="8750" y="3906"/>
                  <a:pt x="8750" y="3906"/>
                </a:cubicBezTo>
                <a:cubicBezTo>
                  <a:pt x="8719" y="3906"/>
                  <a:pt x="8688" y="3906"/>
                  <a:pt x="8688" y="3906"/>
                </a:cubicBezTo>
                <a:cubicBezTo>
                  <a:pt x="8375" y="3875"/>
                  <a:pt x="8031" y="3906"/>
                  <a:pt x="7750" y="3875"/>
                </a:cubicBezTo>
                <a:cubicBezTo>
                  <a:pt x="7594" y="3844"/>
                  <a:pt x="7531" y="3906"/>
                  <a:pt x="7469" y="3937"/>
                </a:cubicBezTo>
                <a:cubicBezTo>
                  <a:pt x="7438" y="3969"/>
                  <a:pt x="7406" y="4000"/>
                  <a:pt x="7344" y="4000"/>
                </a:cubicBezTo>
                <a:cubicBezTo>
                  <a:pt x="7344" y="4000"/>
                  <a:pt x="7313" y="4031"/>
                  <a:pt x="7281" y="4031"/>
                </a:cubicBezTo>
                <a:cubicBezTo>
                  <a:pt x="7281" y="4031"/>
                  <a:pt x="7250" y="4031"/>
                  <a:pt x="7219" y="4031"/>
                </a:cubicBezTo>
                <a:cubicBezTo>
                  <a:pt x="7156" y="4031"/>
                  <a:pt x="7094" y="4031"/>
                  <a:pt x="7031" y="4031"/>
                </a:cubicBezTo>
                <a:cubicBezTo>
                  <a:pt x="6969" y="4031"/>
                  <a:pt x="6906" y="4031"/>
                  <a:pt x="6844" y="4031"/>
                </a:cubicBezTo>
                <a:cubicBezTo>
                  <a:pt x="6781" y="4062"/>
                  <a:pt x="6750" y="4062"/>
                  <a:pt x="6688" y="4062"/>
                </a:cubicBezTo>
                <a:cubicBezTo>
                  <a:pt x="6594" y="4062"/>
                  <a:pt x="6500" y="4094"/>
                  <a:pt x="6406" y="4094"/>
                </a:cubicBezTo>
                <a:cubicBezTo>
                  <a:pt x="6344" y="4094"/>
                  <a:pt x="6281" y="4094"/>
                  <a:pt x="6250" y="4094"/>
                </a:cubicBezTo>
                <a:cubicBezTo>
                  <a:pt x="6125" y="4094"/>
                  <a:pt x="6000" y="4062"/>
                  <a:pt x="5875" y="4031"/>
                </a:cubicBezTo>
                <a:cubicBezTo>
                  <a:pt x="5844" y="4000"/>
                  <a:pt x="5844" y="4000"/>
                  <a:pt x="5813" y="4031"/>
                </a:cubicBezTo>
                <a:cubicBezTo>
                  <a:pt x="5813" y="4062"/>
                  <a:pt x="5781" y="4094"/>
                  <a:pt x="5750" y="4125"/>
                </a:cubicBezTo>
                <a:cubicBezTo>
                  <a:pt x="5719" y="4125"/>
                  <a:pt x="5688" y="4125"/>
                  <a:pt x="5656" y="4156"/>
                </a:cubicBezTo>
                <a:cubicBezTo>
                  <a:pt x="5656" y="4156"/>
                  <a:pt x="5625" y="4156"/>
                  <a:pt x="5594" y="4156"/>
                </a:cubicBezTo>
                <a:cubicBezTo>
                  <a:pt x="5563" y="4156"/>
                  <a:pt x="5531" y="4156"/>
                  <a:pt x="5500" y="4156"/>
                </a:cubicBezTo>
                <a:cubicBezTo>
                  <a:pt x="5469" y="4156"/>
                  <a:pt x="5469" y="4156"/>
                  <a:pt x="5438" y="4156"/>
                </a:cubicBezTo>
                <a:cubicBezTo>
                  <a:pt x="4938" y="4250"/>
                  <a:pt x="4438" y="4187"/>
                  <a:pt x="3906" y="4250"/>
                </a:cubicBezTo>
                <a:cubicBezTo>
                  <a:pt x="3656" y="4312"/>
                  <a:pt x="3375" y="4344"/>
                  <a:pt x="3094" y="4344"/>
                </a:cubicBezTo>
                <a:cubicBezTo>
                  <a:pt x="2906" y="4375"/>
                  <a:pt x="2719" y="4375"/>
                  <a:pt x="2531" y="4375"/>
                </a:cubicBezTo>
                <a:cubicBezTo>
                  <a:pt x="2344" y="4375"/>
                  <a:pt x="2156" y="4344"/>
                  <a:pt x="1969" y="4344"/>
                </a:cubicBezTo>
                <a:cubicBezTo>
                  <a:pt x="1875" y="4344"/>
                  <a:pt x="1781" y="4344"/>
                  <a:pt x="1688" y="4312"/>
                </a:cubicBezTo>
                <a:cubicBezTo>
                  <a:pt x="1625" y="4312"/>
                  <a:pt x="1563" y="4312"/>
                  <a:pt x="1500" y="4312"/>
                </a:cubicBezTo>
                <a:cubicBezTo>
                  <a:pt x="1406" y="4312"/>
                  <a:pt x="1313" y="4344"/>
                  <a:pt x="1219" y="4344"/>
                </a:cubicBezTo>
                <a:cubicBezTo>
                  <a:pt x="1188" y="4344"/>
                  <a:pt x="1125" y="4344"/>
                  <a:pt x="1094" y="4344"/>
                </a:cubicBezTo>
                <a:cubicBezTo>
                  <a:pt x="1031" y="4344"/>
                  <a:pt x="1000" y="4312"/>
                  <a:pt x="938" y="4312"/>
                </a:cubicBezTo>
                <a:cubicBezTo>
                  <a:pt x="906" y="4312"/>
                  <a:pt x="875" y="4281"/>
                  <a:pt x="844" y="4250"/>
                </a:cubicBezTo>
                <a:cubicBezTo>
                  <a:pt x="813" y="4250"/>
                  <a:pt x="813" y="4250"/>
                  <a:pt x="781" y="4219"/>
                </a:cubicBezTo>
                <a:cubicBezTo>
                  <a:pt x="750" y="4250"/>
                  <a:pt x="750" y="4250"/>
                  <a:pt x="719" y="4250"/>
                </a:cubicBezTo>
                <a:cubicBezTo>
                  <a:pt x="563" y="4281"/>
                  <a:pt x="313" y="4219"/>
                  <a:pt x="219" y="4312"/>
                </a:cubicBezTo>
                <a:cubicBezTo>
                  <a:pt x="219" y="4344"/>
                  <a:pt x="219" y="4344"/>
                  <a:pt x="219" y="4344"/>
                </a:cubicBezTo>
                <a:cubicBezTo>
                  <a:pt x="156" y="4437"/>
                  <a:pt x="125" y="4500"/>
                  <a:pt x="94" y="4594"/>
                </a:cubicBezTo>
                <a:cubicBezTo>
                  <a:pt x="94" y="4625"/>
                  <a:pt x="63" y="4656"/>
                  <a:pt x="63" y="4687"/>
                </a:cubicBezTo>
                <a:cubicBezTo>
                  <a:pt x="31" y="4781"/>
                  <a:pt x="31" y="4844"/>
                  <a:pt x="31" y="4937"/>
                </a:cubicBezTo>
                <a:cubicBezTo>
                  <a:pt x="0" y="5062"/>
                  <a:pt x="0" y="5156"/>
                  <a:pt x="0" y="5281"/>
                </a:cubicBezTo>
                <a:cubicBezTo>
                  <a:pt x="31" y="5312"/>
                  <a:pt x="31" y="5344"/>
                  <a:pt x="31" y="5406"/>
                </a:cubicBezTo>
                <a:cubicBezTo>
                  <a:pt x="63" y="5437"/>
                  <a:pt x="94" y="5469"/>
                  <a:pt x="125" y="5500"/>
                </a:cubicBezTo>
                <a:cubicBezTo>
                  <a:pt x="156" y="5500"/>
                  <a:pt x="188" y="5500"/>
                  <a:pt x="250" y="5500"/>
                </a:cubicBezTo>
                <a:cubicBezTo>
                  <a:pt x="313" y="5500"/>
                  <a:pt x="344" y="5500"/>
                  <a:pt x="406" y="5500"/>
                </a:cubicBezTo>
                <a:cubicBezTo>
                  <a:pt x="469" y="5500"/>
                  <a:pt x="500" y="5500"/>
                  <a:pt x="563" y="5531"/>
                </a:cubicBezTo>
                <a:cubicBezTo>
                  <a:pt x="875" y="5562"/>
                  <a:pt x="1156" y="5656"/>
                  <a:pt x="1469" y="5687"/>
                </a:cubicBezTo>
                <a:cubicBezTo>
                  <a:pt x="1563" y="5687"/>
                  <a:pt x="1656" y="5719"/>
                  <a:pt x="1719" y="5750"/>
                </a:cubicBezTo>
                <a:cubicBezTo>
                  <a:pt x="1719" y="5750"/>
                  <a:pt x="1750" y="5750"/>
                  <a:pt x="1781" y="5781"/>
                </a:cubicBezTo>
                <a:cubicBezTo>
                  <a:pt x="1781" y="5781"/>
                  <a:pt x="1813" y="5781"/>
                  <a:pt x="1813" y="5812"/>
                </a:cubicBezTo>
                <a:cubicBezTo>
                  <a:pt x="1844" y="5812"/>
                  <a:pt x="1875" y="5844"/>
                  <a:pt x="1906" y="5875"/>
                </a:cubicBezTo>
                <a:cubicBezTo>
                  <a:pt x="1938" y="5875"/>
                  <a:pt x="1938" y="5906"/>
                  <a:pt x="1938" y="5937"/>
                </a:cubicBezTo>
                <a:cubicBezTo>
                  <a:pt x="2000" y="6000"/>
                  <a:pt x="2063" y="6062"/>
                  <a:pt x="2094" y="6125"/>
                </a:cubicBezTo>
                <a:cubicBezTo>
                  <a:pt x="2156" y="6187"/>
                  <a:pt x="2219" y="6250"/>
                  <a:pt x="2281" y="6312"/>
                </a:cubicBezTo>
                <a:cubicBezTo>
                  <a:pt x="2375" y="6375"/>
                  <a:pt x="2500" y="6437"/>
                  <a:pt x="2625" y="6469"/>
                </a:cubicBezTo>
                <a:cubicBezTo>
                  <a:pt x="2688" y="6500"/>
                  <a:pt x="2750" y="6531"/>
                  <a:pt x="2813" y="6531"/>
                </a:cubicBezTo>
                <a:cubicBezTo>
                  <a:pt x="2969" y="6562"/>
                  <a:pt x="3125" y="6562"/>
                  <a:pt x="3313" y="6531"/>
                </a:cubicBezTo>
                <a:cubicBezTo>
                  <a:pt x="3500" y="6531"/>
                  <a:pt x="3688" y="6562"/>
                  <a:pt x="3844" y="6562"/>
                </a:cubicBezTo>
                <a:cubicBezTo>
                  <a:pt x="4094" y="6625"/>
                  <a:pt x="4313" y="6656"/>
                  <a:pt x="4563" y="6687"/>
                </a:cubicBezTo>
                <a:cubicBezTo>
                  <a:pt x="4625" y="6687"/>
                  <a:pt x="4688" y="6687"/>
                  <a:pt x="4750" y="6687"/>
                </a:cubicBezTo>
                <a:cubicBezTo>
                  <a:pt x="5156" y="6687"/>
                  <a:pt x="5594" y="6719"/>
                  <a:pt x="6000" y="6719"/>
                </a:cubicBezTo>
                <a:cubicBezTo>
                  <a:pt x="6000" y="6719"/>
                  <a:pt x="6031" y="6719"/>
                  <a:pt x="6031" y="6719"/>
                </a:cubicBezTo>
                <a:cubicBezTo>
                  <a:pt x="6063" y="6719"/>
                  <a:pt x="6063" y="6719"/>
                  <a:pt x="6094" y="6719"/>
                </a:cubicBezTo>
                <a:cubicBezTo>
                  <a:pt x="6094" y="6719"/>
                  <a:pt x="6125" y="6719"/>
                  <a:pt x="6125" y="6750"/>
                </a:cubicBezTo>
                <a:cubicBezTo>
                  <a:pt x="6125" y="6750"/>
                  <a:pt x="6156" y="6750"/>
                  <a:pt x="6156" y="6750"/>
                </a:cubicBezTo>
                <a:cubicBezTo>
                  <a:pt x="6156" y="6750"/>
                  <a:pt x="6188" y="6750"/>
                  <a:pt x="6188" y="6781"/>
                </a:cubicBezTo>
                <a:cubicBezTo>
                  <a:pt x="6188" y="6781"/>
                  <a:pt x="6188" y="6781"/>
                  <a:pt x="6188" y="6812"/>
                </a:cubicBezTo>
                <a:cubicBezTo>
                  <a:pt x="6188" y="6875"/>
                  <a:pt x="6094" y="6844"/>
                  <a:pt x="6031" y="6844"/>
                </a:cubicBezTo>
                <a:cubicBezTo>
                  <a:pt x="5938" y="6844"/>
                  <a:pt x="5875" y="6844"/>
                  <a:pt x="5844" y="6875"/>
                </a:cubicBezTo>
                <a:cubicBezTo>
                  <a:pt x="5844" y="6875"/>
                  <a:pt x="5844" y="6906"/>
                  <a:pt x="5844" y="6906"/>
                </a:cubicBezTo>
                <a:cubicBezTo>
                  <a:pt x="5844" y="6937"/>
                  <a:pt x="5844" y="6969"/>
                  <a:pt x="5875" y="7000"/>
                </a:cubicBezTo>
                <a:cubicBezTo>
                  <a:pt x="5875" y="7000"/>
                  <a:pt x="5906" y="7062"/>
                  <a:pt x="5844" y="7062"/>
                </a:cubicBezTo>
                <a:cubicBezTo>
                  <a:pt x="5594" y="7031"/>
                  <a:pt x="5375" y="7125"/>
                  <a:pt x="5188" y="7187"/>
                </a:cubicBezTo>
                <a:cubicBezTo>
                  <a:pt x="5125" y="7219"/>
                  <a:pt x="5031" y="7250"/>
                  <a:pt x="4969" y="7250"/>
                </a:cubicBezTo>
                <a:cubicBezTo>
                  <a:pt x="4969" y="7281"/>
                  <a:pt x="4938" y="7281"/>
                  <a:pt x="4906" y="7281"/>
                </a:cubicBezTo>
                <a:cubicBezTo>
                  <a:pt x="4844" y="7312"/>
                  <a:pt x="4781" y="7312"/>
                  <a:pt x="4688" y="7344"/>
                </a:cubicBezTo>
                <a:cubicBezTo>
                  <a:pt x="4594" y="7344"/>
                  <a:pt x="4531" y="7375"/>
                  <a:pt x="4438" y="7406"/>
                </a:cubicBezTo>
                <a:cubicBezTo>
                  <a:pt x="4375" y="7469"/>
                  <a:pt x="4281" y="7500"/>
                  <a:pt x="4188" y="7531"/>
                </a:cubicBezTo>
                <a:cubicBezTo>
                  <a:pt x="4156" y="7562"/>
                  <a:pt x="4094" y="7562"/>
                  <a:pt x="4000" y="7594"/>
                </a:cubicBezTo>
                <a:cubicBezTo>
                  <a:pt x="4000" y="7594"/>
                  <a:pt x="4031" y="7594"/>
                  <a:pt x="4031" y="7594"/>
                </a:cubicBezTo>
                <a:cubicBezTo>
                  <a:pt x="4031" y="7594"/>
                  <a:pt x="4031" y="7594"/>
                  <a:pt x="4031" y="7625"/>
                </a:cubicBezTo>
                <a:cubicBezTo>
                  <a:pt x="4063" y="7625"/>
                  <a:pt x="4094" y="7656"/>
                  <a:pt x="4125" y="7656"/>
                </a:cubicBezTo>
                <a:cubicBezTo>
                  <a:pt x="4156" y="7687"/>
                  <a:pt x="4188" y="7719"/>
                  <a:pt x="4250" y="7719"/>
                </a:cubicBezTo>
                <a:cubicBezTo>
                  <a:pt x="4188" y="7750"/>
                  <a:pt x="4125" y="7750"/>
                  <a:pt x="4094" y="7750"/>
                </a:cubicBezTo>
                <a:cubicBezTo>
                  <a:pt x="4063" y="7781"/>
                  <a:pt x="4000" y="7781"/>
                  <a:pt x="3969" y="7781"/>
                </a:cubicBezTo>
                <a:cubicBezTo>
                  <a:pt x="3938" y="7812"/>
                  <a:pt x="3906" y="7844"/>
                  <a:pt x="3906" y="7875"/>
                </a:cubicBezTo>
                <a:cubicBezTo>
                  <a:pt x="3906" y="7906"/>
                  <a:pt x="3906" y="7937"/>
                  <a:pt x="3938" y="7969"/>
                </a:cubicBezTo>
                <a:cubicBezTo>
                  <a:pt x="3969" y="8000"/>
                  <a:pt x="4063" y="8031"/>
                  <a:pt x="4125" y="8062"/>
                </a:cubicBezTo>
                <a:cubicBezTo>
                  <a:pt x="4125" y="8062"/>
                  <a:pt x="4156" y="8062"/>
                  <a:pt x="4156" y="8062"/>
                </a:cubicBezTo>
                <a:cubicBezTo>
                  <a:pt x="4188" y="8094"/>
                  <a:pt x="4219" y="8125"/>
                  <a:pt x="4219" y="8125"/>
                </a:cubicBezTo>
                <a:cubicBezTo>
                  <a:pt x="4250" y="8156"/>
                  <a:pt x="4281" y="8156"/>
                  <a:pt x="4313" y="8156"/>
                </a:cubicBezTo>
                <a:cubicBezTo>
                  <a:pt x="4344" y="8187"/>
                  <a:pt x="4375" y="8187"/>
                  <a:pt x="4406" y="8187"/>
                </a:cubicBezTo>
                <a:cubicBezTo>
                  <a:pt x="4406" y="8156"/>
                  <a:pt x="4438" y="8156"/>
                  <a:pt x="4438" y="8156"/>
                </a:cubicBezTo>
                <a:cubicBezTo>
                  <a:pt x="4469" y="8156"/>
                  <a:pt x="4469" y="8125"/>
                  <a:pt x="4500" y="8125"/>
                </a:cubicBezTo>
                <a:cubicBezTo>
                  <a:pt x="4531" y="8125"/>
                  <a:pt x="4531" y="8125"/>
                  <a:pt x="4563" y="8125"/>
                </a:cubicBezTo>
                <a:cubicBezTo>
                  <a:pt x="4563" y="8156"/>
                  <a:pt x="4563" y="8156"/>
                  <a:pt x="4563" y="8156"/>
                </a:cubicBezTo>
                <a:cubicBezTo>
                  <a:pt x="4594" y="8187"/>
                  <a:pt x="4563" y="8250"/>
                  <a:pt x="4594" y="8312"/>
                </a:cubicBezTo>
                <a:cubicBezTo>
                  <a:pt x="4594" y="8312"/>
                  <a:pt x="4594" y="8312"/>
                  <a:pt x="4625" y="8312"/>
                </a:cubicBezTo>
                <a:cubicBezTo>
                  <a:pt x="4625" y="8344"/>
                  <a:pt x="4719" y="8312"/>
                  <a:pt x="4750" y="8344"/>
                </a:cubicBezTo>
                <a:cubicBezTo>
                  <a:pt x="4750" y="8344"/>
                  <a:pt x="4750" y="8344"/>
                  <a:pt x="4719" y="8375"/>
                </a:cubicBezTo>
                <a:cubicBezTo>
                  <a:pt x="4719" y="8406"/>
                  <a:pt x="4688" y="8406"/>
                  <a:pt x="4656" y="8406"/>
                </a:cubicBezTo>
                <a:cubicBezTo>
                  <a:pt x="4625" y="8437"/>
                  <a:pt x="4531" y="8437"/>
                  <a:pt x="4469" y="8406"/>
                </a:cubicBezTo>
                <a:cubicBezTo>
                  <a:pt x="4469" y="8406"/>
                  <a:pt x="4469" y="8375"/>
                  <a:pt x="4438" y="8375"/>
                </a:cubicBezTo>
                <a:cubicBezTo>
                  <a:pt x="4438" y="8344"/>
                  <a:pt x="4406" y="8312"/>
                  <a:pt x="4406" y="8312"/>
                </a:cubicBezTo>
                <a:cubicBezTo>
                  <a:pt x="4375" y="8281"/>
                  <a:pt x="4375" y="8281"/>
                  <a:pt x="4344" y="8281"/>
                </a:cubicBezTo>
                <a:cubicBezTo>
                  <a:pt x="4313" y="8281"/>
                  <a:pt x="4313" y="8281"/>
                  <a:pt x="4281" y="8281"/>
                </a:cubicBezTo>
                <a:cubicBezTo>
                  <a:pt x="4094" y="8312"/>
                  <a:pt x="3969" y="8281"/>
                  <a:pt x="3875" y="8187"/>
                </a:cubicBezTo>
                <a:cubicBezTo>
                  <a:pt x="3844" y="8156"/>
                  <a:pt x="3813" y="8125"/>
                  <a:pt x="3813" y="8094"/>
                </a:cubicBezTo>
                <a:cubicBezTo>
                  <a:pt x="3781" y="8031"/>
                  <a:pt x="3688" y="8000"/>
                  <a:pt x="3625" y="8000"/>
                </a:cubicBezTo>
                <a:cubicBezTo>
                  <a:pt x="3563" y="8000"/>
                  <a:pt x="3563" y="8031"/>
                  <a:pt x="3531" y="8031"/>
                </a:cubicBezTo>
                <a:cubicBezTo>
                  <a:pt x="3500" y="8062"/>
                  <a:pt x="3500" y="8094"/>
                  <a:pt x="3500" y="8125"/>
                </a:cubicBezTo>
                <a:cubicBezTo>
                  <a:pt x="3500" y="8156"/>
                  <a:pt x="3500" y="8187"/>
                  <a:pt x="3500" y="8219"/>
                </a:cubicBezTo>
                <a:cubicBezTo>
                  <a:pt x="3500" y="8250"/>
                  <a:pt x="3500" y="8250"/>
                  <a:pt x="3500" y="8281"/>
                </a:cubicBezTo>
                <a:cubicBezTo>
                  <a:pt x="3531" y="8344"/>
                  <a:pt x="3531" y="8375"/>
                  <a:pt x="3563" y="8406"/>
                </a:cubicBezTo>
                <a:cubicBezTo>
                  <a:pt x="3594" y="8500"/>
                  <a:pt x="3625" y="8562"/>
                  <a:pt x="3656" y="8625"/>
                </a:cubicBezTo>
                <a:cubicBezTo>
                  <a:pt x="3688" y="8625"/>
                  <a:pt x="3688" y="8656"/>
                  <a:pt x="3719" y="8687"/>
                </a:cubicBezTo>
                <a:cubicBezTo>
                  <a:pt x="3813" y="8625"/>
                  <a:pt x="3906" y="8594"/>
                  <a:pt x="4000" y="8562"/>
                </a:cubicBezTo>
                <a:cubicBezTo>
                  <a:pt x="4188" y="8500"/>
                  <a:pt x="4406" y="8531"/>
                  <a:pt x="4594" y="8562"/>
                </a:cubicBezTo>
                <a:cubicBezTo>
                  <a:pt x="4688" y="8562"/>
                  <a:pt x="4813" y="8594"/>
                  <a:pt x="4906" y="8625"/>
                </a:cubicBezTo>
                <a:cubicBezTo>
                  <a:pt x="4938" y="8687"/>
                  <a:pt x="4938" y="8687"/>
                  <a:pt x="4938" y="8687"/>
                </a:cubicBezTo>
                <a:cubicBezTo>
                  <a:pt x="4938" y="8687"/>
                  <a:pt x="4938" y="8687"/>
                  <a:pt x="4938" y="8687"/>
                </a:cubicBezTo>
                <a:cubicBezTo>
                  <a:pt x="4938" y="8687"/>
                  <a:pt x="4906" y="8719"/>
                  <a:pt x="4906" y="8719"/>
                </a:cubicBezTo>
                <a:cubicBezTo>
                  <a:pt x="4875" y="8719"/>
                  <a:pt x="4844" y="8719"/>
                  <a:pt x="4813" y="8687"/>
                </a:cubicBezTo>
                <a:cubicBezTo>
                  <a:pt x="4813" y="8687"/>
                  <a:pt x="4781" y="8687"/>
                  <a:pt x="4781" y="8687"/>
                </a:cubicBezTo>
                <a:cubicBezTo>
                  <a:pt x="4750" y="8687"/>
                  <a:pt x="4719" y="8687"/>
                  <a:pt x="4688" y="8687"/>
                </a:cubicBezTo>
                <a:cubicBezTo>
                  <a:pt x="4656" y="8687"/>
                  <a:pt x="4656" y="8719"/>
                  <a:pt x="4656" y="8750"/>
                </a:cubicBezTo>
                <a:cubicBezTo>
                  <a:pt x="4688" y="8781"/>
                  <a:pt x="4688" y="8812"/>
                  <a:pt x="4656" y="8844"/>
                </a:cubicBezTo>
                <a:cubicBezTo>
                  <a:pt x="4656" y="8969"/>
                  <a:pt x="4500" y="9031"/>
                  <a:pt x="4406" y="9156"/>
                </a:cubicBezTo>
                <a:cubicBezTo>
                  <a:pt x="4375" y="9187"/>
                  <a:pt x="4344" y="9219"/>
                  <a:pt x="4375" y="9281"/>
                </a:cubicBezTo>
                <a:cubicBezTo>
                  <a:pt x="4375" y="9312"/>
                  <a:pt x="4344" y="9312"/>
                  <a:pt x="4313" y="9312"/>
                </a:cubicBezTo>
                <a:cubicBezTo>
                  <a:pt x="4281" y="9312"/>
                  <a:pt x="4219" y="9312"/>
                  <a:pt x="4156" y="9312"/>
                </a:cubicBezTo>
                <a:cubicBezTo>
                  <a:pt x="4156" y="9312"/>
                  <a:pt x="4125" y="9312"/>
                  <a:pt x="4125" y="9312"/>
                </a:cubicBezTo>
                <a:cubicBezTo>
                  <a:pt x="4031" y="9281"/>
                  <a:pt x="3906" y="9250"/>
                  <a:pt x="3813" y="9219"/>
                </a:cubicBezTo>
                <a:cubicBezTo>
                  <a:pt x="3844" y="9250"/>
                  <a:pt x="3875" y="9250"/>
                  <a:pt x="3875" y="9281"/>
                </a:cubicBezTo>
                <a:cubicBezTo>
                  <a:pt x="3906" y="9312"/>
                  <a:pt x="3938" y="9344"/>
                  <a:pt x="3969" y="9344"/>
                </a:cubicBezTo>
                <a:cubicBezTo>
                  <a:pt x="4063" y="9406"/>
                  <a:pt x="4094" y="9406"/>
                  <a:pt x="4219" y="9375"/>
                </a:cubicBezTo>
                <a:cubicBezTo>
                  <a:pt x="4281" y="9375"/>
                  <a:pt x="4313" y="9344"/>
                  <a:pt x="4406" y="9344"/>
                </a:cubicBezTo>
                <a:cubicBezTo>
                  <a:pt x="4406" y="9312"/>
                  <a:pt x="4438" y="9312"/>
                  <a:pt x="4438" y="9312"/>
                </a:cubicBezTo>
                <a:cubicBezTo>
                  <a:pt x="4469" y="9312"/>
                  <a:pt x="4469" y="9312"/>
                  <a:pt x="4500" y="9312"/>
                </a:cubicBezTo>
                <a:cubicBezTo>
                  <a:pt x="4531" y="9312"/>
                  <a:pt x="4563" y="9312"/>
                  <a:pt x="4594" y="9312"/>
                </a:cubicBezTo>
                <a:cubicBezTo>
                  <a:pt x="4625" y="9312"/>
                  <a:pt x="4656" y="9344"/>
                  <a:pt x="4656" y="9344"/>
                </a:cubicBezTo>
                <a:cubicBezTo>
                  <a:pt x="4719" y="9375"/>
                  <a:pt x="4813" y="9406"/>
                  <a:pt x="4875" y="9406"/>
                </a:cubicBezTo>
                <a:cubicBezTo>
                  <a:pt x="4938" y="9437"/>
                  <a:pt x="4969" y="9437"/>
                  <a:pt x="5031" y="9437"/>
                </a:cubicBezTo>
                <a:cubicBezTo>
                  <a:pt x="5094" y="9437"/>
                  <a:pt x="5156" y="9437"/>
                  <a:pt x="5219" y="9469"/>
                </a:cubicBezTo>
                <a:cubicBezTo>
                  <a:pt x="5313" y="9469"/>
                  <a:pt x="5375" y="9500"/>
                  <a:pt x="5438" y="9531"/>
                </a:cubicBezTo>
                <a:cubicBezTo>
                  <a:pt x="5500" y="9562"/>
                  <a:pt x="5531" y="9594"/>
                  <a:pt x="5563" y="9656"/>
                </a:cubicBezTo>
                <a:cubicBezTo>
                  <a:pt x="5594" y="9656"/>
                  <a:pt x="5594" y="9656"/>
                  <a:pt x="5594" y="9656"/>
                </a:cubicBezTo>
                <a:cubicBezTo>
                  <a:pt x="5594" y="9656"/>
                  <a:pt x="5625" y="9656"/>
                  <a:pt x="5688" y="9656"/>
                </a:cubicBezTo>
                <a:cubicBezTo>
                  <a:pt x="5719" y="9656"/>
                  <a:pt x="5781" y="9625"/>
                  <a:pt x="5813" y="9625"/>
                </a:cubicBezTo>
                <a:cubicBezTo>
                  <a:pt x="5813" y="9594"/>
                  <a:pt x="5844" y="9594"/>
                  <a:pt x="5875" y="9562"/>
                </a:cubicBezTo>
                <a:cubicBezTo>
                  <a:pt x="5938" y="9562"/>
                  <a:pt x="5969" y="9594"/>
                  <a:pt x="6000" y="9594"/>
                </a:cubicBezTo>
                <a:cubicBezTo>
                  <a:pt x="6031" y="9625"/>
                  <a:pt x="6031" y="9625"/>
                  <a:pt x="6063" y="9656"/>
                </a:cubicBezTo>
                <a:cubicBezTo>
                  <a:pt x="6063" y="9656"/>
                  <a:pt x="6063" y="9656"/>
                  <a:pt x="6094" y="9687"/>
                </a:cubicBezTo>
                <a:cubicBezTo>
                  <a:pt x="6094" y="9719"/>
                  <a:pt x="6156" y="9750"/>
                  <a:pt x="6188" y="9781"/>
                </a:cubicBezTo>
                <a:cubicBezTo>
                  <a:pt x="6281" y="9812"/>
                  <a:pt x="6406" y="9844"/>
                  <a:pt x="6531" y="9906"/>
                </a:cubicBezTo>
                <a:cubicBezTo>
                  <a:pt x="6531" y="9906"/>
                  <a:pt x="6563" y="9937"/>
                  <a:pt x="6563" y="9937"/>
                </a:cubicBezTo>
                <a:cubicBezTo>
                  <a:pt x="6688" y="10000"/>
                  <a:pt x="6781" y="10031"/>
                  <a:pt x="6875" y="10094"/>
                </a:cubicBezTo>
                <a:cubicBezTo>
                  <a:pt x="7156" y="10250"/>
                  <a:pt x="7438" y="10437"/>
                  <a:pt x="7688" y="10625"/>
                </a:cubicBezTo>
                <a:cubicBezTo>
                  <a:pt x="7625" y="10656"/>
                  <a:pt x="7563" y="10656"/>
                  <a:pt x="7500" y="10687"/>
                </a:cubicBezTo>
                <a:cubicBezTo>
                  <a:pt x="7406" y="10687"/>
                  <a:pt x="7344" y="10719"/>
                  <a:pt x="7281" y="10719"/>
                </a:cubicBezTo>
                <a:cubicBezTo>
                  <a:pt x="7344" y="10750"/>
                  <a:pt x="7406" y="10781"/>
                  <a:pt x="7469" y="10781"/>
                </a:cubicBezTo>
                <a:cubicBezTo>
                  <a:pt x="7500" y="10781"/>
                  <a:pt x="7563" y="10781"/>
                  <a:pt x="7625" y="10781"/>
                </a:cubicBezTo>
                <a:cubicBezTo>
                  <a:pt x="7625" y="10781"/>
                  <a:pt x="7656" y="10781"/>
                  <a:pt x="7688" y="10781"/>
                </a:cubicBezTo>
                <a:cubicBezTo>
                  <a:pt x="7719" y="10812"/>
                  <a:pt x="7750" y="10844"/>
                  <a:pt x="7781" y="10875"/>
                </a:cubicBezTo>
                <a:cubicBezTo>
                  <a:pt x="7781" y="10906"/>
                  <a:pt x="7781" y="10906"/>
                  <a:pt x="7750" y="10906"/>
                </a:cubicBezTo>
                <a:cubicBezTo>
                  <a:pt x="7719" y="10937"/>
                  <a:pt x="7625" y="10906"/>
                  <a:pt x="7594" y="10937"/>
                </a:cubicBezTo>
                <a:cubicBezTo>
                  <a:pt x="7563" y="10937"/>
                  <a:pt x="7563" y="10937"/>
                  <a:pt x="7531" y="10937"/>
                </a:cubicBezTo>
                <a:cubicBezTo>
                  <a:pt x="7531" y="10937"/>
                  <a:pt x="7500" y="10969"/>
                  <a:pt x="7500" y="10969"/>
                </a:cubicBezTo>
                <a:cubicBezTo>
                  <a:pt x="7531" y="10969"/>
                  <a:pt x="7563" y="11000"/>
                  <a:pt x="7594" y="11000"/>
                </a:cubicBezTo>
                <a:cubicBezTo>
                  <a:pt x="7781" y="11125"/>
                  <a:pt x="7625" y="11250"/>
                  <a:pt x="7531" y="11375"/>
                </a:cubicBezTo>
                <a:cubicBezTo>
                  <a:pt x="7563" y="11344"/>
                  <a:pt x="7594" y="11344"/>
                  <a:pt x="7656" y="11344"/>
                </a:cubicBezTo>
                <a:cubicBezTo>
                  <a:pt x="7719" y="11344"/>
                  <a:pt x="7781" y="11344"/>
                  <a:pt x="7875" y="11344"/>
                </a:cubicBezTo>
                <a:cubicBezTo>
                  <a:pt x="7969" y="11375"/>
                  <a:pt x="8063" y="11406"/>
                  <a:pt x="8156" y="11437"/>
                </a:cubicBezTo>
                <a:cubicBezTo>
                  <a:pt x="8188" y="11437"/>
                  <a:pt x="8219" y="11469"/>
                  <a:pt x="8219" y="11469"/>
                </a:cubicBezTo>
                <a:cubicBezTo>
                  <a:pt x="8250" y="11469"/>
                  <a:pt x="8281" y="11500"/>
                  <a:pt x="8313" y="11500"/>
                </a:cubicBezTo>
                <a:cubicBezTo>
                  <a:pt x="8438" y="11562"/>
                  <a:pt x="8563" y="11625"/>
                  <a:pt x="8688" y="11625"/>
                </a:cubicBezTo>
                <a:cubicBezTo>
                  <a:pt x="8719" y="11625"/>
                  <a:pt x="8750" y="11594"/>
                  <a:pt x="8750" y="11594"/>
                </a:cubicBezTo>
                <a:cubicBezTo>
                  <a:pt x="8813" y="11594"/>
                  <a:pt x="8844" y="11594"/>
                  <a:pt x="8906" y="11562"/>
                </a:cubicBezTo>
                <a:cubicBezTo>
                  <a:pt x="8969" y="11562"/>
                  <a:pt x="9063" y="11562"/>
                  <a:pt x="9156" y="11562"/>
                </a:cubicBezTo>
                <a:cubicBezTo>
                  <a:pt x="9281" y="11594"/>
                  <a:pt x="9406" y="11594"/>
                  <a:pt x="9563" y="11625"/>
                </a:cubicBezTo>
                <a:cubicBezTo>
                  <a:pt x="9625" y="11625"/>
                  <a:pt x="9719" y="11656"/>
                  <a:pt x="9813" y="11656"/>
                </a:cubicBezTo>
                <a:cubicBezTo>
                  <a:pt x="9719" y="11500"/>
                  <a:pt x="9688" y="11437"/>
                  <a:pt x="9781" y="11437"/>
                </a:cubicBezTo>
                <a:cubicBezTo>
                  <a:pt x="9813" y="11406"/>
                  <a:pt x="9906" y="11406"/>
                  <a:pt x="10063" y="11406"/>
                </a:cubicBezTo>
                <a:cubicBezTo>
                  <a:pt x="10031" y="11437"/>
                  <a:pt x="10031" y="11469"/>
                  <a:pt x="10000" y="11500"/>
                </a:cubicBezTo>
                <a:cubicBezTo>
                  <a:pt x="10000" y="11531"/>
                  <a:pt x="9969" y="11562"/>
                  <a:pt x="9938" y="11562"/>
                </a:cubicBezTo>
                <a:cubicBezTo>
                  <a:pt x="9938" y="11594"/>
                  <a:pt x="9906" y="11594"/>
                  <a:pt x="9906" y="11594"/>
                </a:cubicBezTo>
                <a:cubicBezTo>
                  <a:pt x="9844" y="11656"/>
                  <a:pt x="9875" y="11687"/>
                  <a:pt x="9938" y="11687"/>
                </a:cubicBezTo>
                <a:cubicBezTo>
                  <a:pt x="9969" y="11719"/>
                  <a:pt x="10000" y="11719"/>
                  <a:pt x="10031" y="11719"/>
                </a:cubicBezTo>
                <a:cubicBezTo>
                  <a:pt x="10344" y="11687"/>
                  <a:pt x="10625" y="11719"/>
                  <a:pt x="10938" y="11719"/>
                </a:cubicBezTo>
                <a:cubicBezTo>
                  <a:pt x="11031" y="11719"/>
                  <a:pt x="11125" y="11719"/>
                  <a:pt x="11219" y="11719"/>
                </a:cubicBezTo>
                <a:cubicBezTo>
                  <a:pt x="11281" y="11719"/>
                  <a:pt x="11344" y="11687"/>
                  <a:pt x="11406" y="11687"/>
                </a:cubicBezTo>
                <a:cubicBezTo>
                  <a:pt x="11531" y="11687"/>
                  <a:pt x="11656" y="11687"/>
                  <a:pt x="11781" y="11687"/>
                </a:cubicBezTo>
                <a:cubicBezTo>
                  <a:pt x="11844" y="11687"/>
                  <a:pt x="11906" y="11687"/>
                  <a:pt x="11969" y="11687"/>
                </a:cubicBezTo>
                <a:cubicBezTo>
                  <a:pt x="12156" y="11719"/>
                  <a:pt x="12344" y="11719"/>
                  <a:pt x="12531" y="11687"/>
                </a:cubicBezTo>
                <a:cubicBezTo>
                  <a:pt x="12594" y="11687"/>
                  <a:pt x="12656" y="11687"/>
                  <a:pt x="12719" y="11687"/>
                </a:cubicBezTo>
                <a:cubicBezTo>
                  <a:pt x="12750" y="11687"/>
                  <a:pt x="12781" y="11687"/>
                  <a:pt x="12813" y="11687"/>
                </a:cubicBezTo>
                <a:cubicBezTo>
                  <a:pt x="12875" y="11687"/>
                  <a:pt x="12938" y="11687"/>
                  <a:pt x="12969" y="11719"/>
                </a:cubicBezTo>
                <a:cubicBezTo>
                  <a:pt x="13000" y="11750"/>
                  <a:pt x="13031" y="11781"/>
                  <a:pt x="13063" y="11812"/>
                </a:cubicBezTo>
                <a:cubicBezTo>
                  <a:pt x="13063" y="11844"/>
                  <a:pt x="13063" y="11875"/>
                  <a:pt x="13063" y="11906"/>
                </a:cubicBezTo>
                <a:cubicBezTo>
                  <a:pt x="13063" y="11937"/>
                  <a:pt x="13063" y="11969"/>
                  <a:pt x="13031" y="11969"/>
                </a:cubicBezTo>
                <a:cubicBezTo>
                  <a:pt x="12875" y="12281"/>
                  <a:pt x="12938" y="12406"/>
                  <a:pt x="13313" y="12625"/>
                </a:cubicBezTo>
                <a:cubicBezTo>
                  <a:pt x="13344" y="12625"/>
                  <a:pt x="13375" y="12656"/>
                  <a:pt x="13375" y="12656"/>
                </a:cubicBezTo>
                <a:cubicBezTo>
                  <a:pt x="13406" y="12656"/>
                  <a:pt x="13406" y="12687"/>
                  <a:pt x="13438" y="12687"/>
                </a:cubicBezTo>
                <a:cubicBezTo>
                  <a:pt x="13469" y="12687"/>
                  <a:pt x="13469" y="12719"/>
                  <a:pt x="13500" y="12719"/>
                </a:cubicBezTo>
                <a:cubicBezTo>
                  <a:pt x="13531" y="12719"/>
                  <a:pt x="13531" y="12750"/>
                  <a:pt x="13563" y="12750"/>
                </a:cubicBezTo>
                <a:cubicBezTo>
                  <a:pt x="13563" y="12750"/>
                  <a:pt x="13563" y="12750"/>
                  <a:pt x="13563" y="12750"/>
                </a:cubicBezTo>
                <a:cubicBezTo>
                  <a:pt x="13531" y="12812"/>
                  <a:pt x="13531" y="12844"/>
                  <a:pt x="13531" y="12875"/>
                </a:cubicBezTo>
                <a:cubicBezTo>
                  <a:pt x="13531" y="12875"/>
                  <a:pt x="13563" y="12875"/>
                  <a:pt x="13563" y="12906"/>
                </a:cubicBezTo>
                <a:cubicBezTo>
                  <a:pt x="13563" y="12906"/>
                  <a:pt x="13563" y="12906"/>
                  <a:pt x="13563" y="12906"/>
                </a:cubicBezTo>
                <a:cubicBezTo>
                  <a:pt x="13594" y="12906"/>
                  <a:pt x="13594" y="12906"/>
                  <a:pt x="13594" y="12906"/>
                </a:cubicBezTo>
                <a:cubicBezTo>
                  <a:pt x="13594" y="12906"/>
                  <a:pt x="13625" y="12906"/>
                  <a:pt x="13625" y="12906"/>
                </a:cubicBezTo>
                <a:cubicBezTo>
                  <a:pt x="13656" y="12906"/>
                  <a:pt x="13688" y="12937"/>
                  <a:pt x="13719" y="12937"/>
                </a:cubicBezTo>
                <a:cubicBezTo>
                  <a:pt x="13750" y="12937"/>
                  <a:pt x="13813" y="12937"/>
                  <a:pt x="13844" y="12937"/>
                </a:cubicBezTo>
                <a:cubicBezTo>
                  <a:pt x="14156" y="13062"/>
                  <a:pt x="14688" y="12969"/>
                  <a:pt x="14781" y="13344"/>
                </a:cubicBezTo>
                <a:cubicBezTo>
                  <a:pt x="14781" y="13344"/>
                  <a:pt x="14781" y="13375"/>
                  <a:pt x="14813" y="13375"/>
                </a:cubicBezTo>
                <a:cubicBezTo>
                  <a:pt x="14813" y="13406"/>
                  <a:pt x="14844" y="13406"/>
                  <a:pt x="14844" y="13406"/>
                </a:cubicBezTo>
                <a:cubicBezTo>
                  <a:pt x="14875" y="13406"/>
                  <a:pt x="14906" y="13437"/>
                  <a:pt x="14906" y="13437"/>
                </a:cubicBezTo>
                <a:cubicBezTo>
                  <a:pt x="14938" y="13437"/>
                  <a:pt x="14969" y="13437"/>
                  <a:pt x="15000" y="13437"/>
                </a:cubicBezTo>
                <a:cubicBezTo>
                  <a:pt x="15031" y="13437"/>
                  <a:pt x="15063" y="13406"/>
                  <a:pt x="15094" y="13437"/>
                </a:cubicBezTo>
                <a:cubicBezTo>
                  <a:pt x="15188" y="13437"/>
                  <a:pt x="15281" y="13437"/>
                  <a:pt x="15375" y="13469"/>
                </a:cubicBezTo>
                <a:cubicBezTo>
                  <a:pt x="15375" y="13500"/>
                  <a:pt x="15406" y="13500"/>
                  <a:pt x="15406" y="13531"/>
                </a:cubicBezTo>
                <a:cubicBezTo>
                  <a:pt x="15375" y="13562"/>
                  <a:pt x="15375" y="13562"/>
                  <a:pt x="15375" y="13594"/>
                </a:cubicBezTo>
                <a:cubicBezTo>
                  <a:pt x="15313" y="13594"/>
                  <a:pt x="15281" y="13594"/>
                  <a:pt x="15219" y="13562"/>
                </a:cubicBezTo>
                <a:cubicBezTo>
                  <a:pt x="15063" y="13562"/>
                  <a:pt x="14906" y="13531"/>
                  <a:pt x="14750" y="13500"/>
                </a:cubicBezTo>
                <a:cubicBezTo>
                  <a:pt x="14688" y="13500"/>
                  <a:pt x="14625" y="13469"/>
                  <a:pt x="14563" y="13437"/>
                </a:cubicBezTo>
                <a:cubicBezTo>
                  <a:pt x="14469" y="13656"/>
                  <a:pt x="14469" y="13656"/>
                  <a:pt x="14938" y="13656"/>
                </a:cubicBezTo>
                <a:cubicBezTo>
                  <a:pt x="14906" y="13719"/>
                  <a:pt x="14875" y="13781"/>
                  <a:pt x="14906" y="13812"/>
                </a:cubicBezTo>
                <a:cubicBezTo>
                  <a:pt x="14906" y="13844"/>
                  <a:pt x="14906" y="13844"/>
                  <a:pt x="14938" y="13875"/>
                </a:cubicBezTo>
                <a:cubicBezTo>
                  <a:pt x="14969" y="13875"/>
                  <a:pt x="15031" y="13906"/>
                  <a:pt x="15063" y="13906"/>
                </a:cubicBezTo>
                <a:cubicBezTo>
                  <a:pt x="15094" y="13906"/>
                  <a:pt x="15125" y="13906"/>
                  <a:pt x="15156" y="13906"/>
                </a:cubicBezTo>
                <a:cubicBezTo>
                  <a:pt x="15375" y="13906"/>
                  <a:pt x="15563" y="13937"/>
                  <a:pt x="15781" y="13937"/>
                </a:cubicBezTo>
                <a:cubicBezTo>
                  <a:pt x="15844" y="13937"/>
                  <a:pt x="15938" y="13969"/>
                  <a:pt x="15969" y="13969"/>
                </a:cubicBezTo>
                <a:cubicBezTo>
                  <a:pt x="16000" y="14000"/>
                  <a:pt x="16031" y="14031"/>
                  <a:pt x="16000" y="14062"/>
                </a:cubicBezTo>
                <a:cubicBezTo>
                  <a:pt x="16000" y="14094"/>
                  <a:pt x="15969" y="14125"/>
                  <a:pt x="15938" y="14187"/>
                </a:cubicBezTo>
                <a:cubicBezTo>
                  <a:pt x="15875" y="14219"/>
                  <a:pt x="15813" y="14250"/>
                  <a:pt x="15750" y="14281"/>
                </a:cubicBezTo>
                <a:cubicBezTo>
                  <a:pt x="15594" y="14406"/>
                  <a:pt x="15406" y="14469"/>
                  <a:pt x="15094" y="14437"/>
                </a:cubicBezTo>
                <a:cubicBezTo>
                  <a:pt x="15031" y="14437"/>
                  <a:pt x="14969" y="14406"/>
                  <a:pt x="14906" y="14406"/>
                </a:cubicBezTo>
                <a:cubicBezTo>
                  <a:pt x="14906" y="14406"/>
                  <a:pt x="14906" y="14406"/>
                  <a:pt x="14875" y="14406"/>
                </a:cubicBezTo>
                <a:cubicBezTo>
                  <a:pt x="14875" y="14406"/>
                  <a:pt x="14875" y="14406"/>
                  <a:pt x="14875" y="14406"/>
                </a:cubicBezTo>
                <a:cubicBezTo>
                  <a:pt x="14750" y="14375"/>
                  <a:pt x="14625" y="14375"/>
                  <a:pt x="14500" y="14469"/>
                </a:cubicBezTo>
                <a:cubicBezTo>
                  <a:pt x="14500" y="14469"/>
                  <a:pt x="14500" y="14469"/>
                  <a:pt x="14500" y="14469"/>
                </a:cubicBezTo>
                <a:cubicBezTo>
                  <a:pt x="14500" y="14469"/>
                  <a:pt x="14500" y="14469"/>
                  <a:pt x="14469" y="14469"/>
                </a:cubicBezTo>
                <a:cubicBezTo>
                  <a:pt x="14469" y="14500"/>
                  <a:pt x="14469" y="14500"/>
                  <a:pt x="14469" y="14500"/>
                </a:cubicBezTo>
                <a:cubicBezTo>
                  <a:pt x="14469" y="14500"/>
                  <a:pt x="14469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06" y="14469"/>
                  <a:pt x="14406" y="14469"/>
                </a:cubicBezTo>
                <a:cubicBezTo>
                  <a:pt x="14375" y="14469"/>
                  <a:pt x="14344" y="14469"/>
                  <a:pt x="14344" y="14469"/>
                </a:cubicBezTo>
                <a:cubicBezTo>
                  <a:pt x="14375" y="14500"/>
                  <a:pt x="14406" y="14500"/>
                  <a:pt x="14438" y="14500"/>
                </a:cubicBezTo>
                <a:cubicBezTo>
                  <a:pt x="14438" y="14500"/>
                  <a:pt x="14438" y="14531"/>
                  <a:pt x="14438" y="14531"/>
                </a:cubicBezTo>
                <a:cubicBezTo>
                  <a:pt x="14438" y="14531"/>
                  <a:pt x="14438" y="14531"/>
                  <a:pt x="14438" y="14531"/>
                </a:cubicBezTo>
                <a:cubicBezTo>
                  <a:pt x="14438" y="14531"/>
                  <a:pt x="14438" y="14531"/>
                  <a:pt x="14438" y="14531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688" y="14531"/>
                  <a:pt x="14938" y="14531"/>
                  <a:pt x="15188" y="14562"/>
                </a:cubicBezTo>
                <a:cubicBezTo>
                  <a:pt x="15656" y="14562"/>
                  <a:pt x="16156" y="14562"/>
                  <a:pt x="16656" y="14562"/>
                </a:cubicBezTo>
                <a:cubicBezTo>
                  <a:pt x="17875" y="14531"/>
                  <a:pt x="19094" y="14437"/>
                  <a:pt x="20344" y="14312"/>
                </a:cubicBezTo>
                <a:cubicBezTo>
                  <a:pt x="20281" y="14250"/>
                  <a:pt x="20188" y="14187"/>
                  <a:pt x="20125" y="14156"/>
                </a:cubicBezTo>
                <a:cubicBezTo>
                  <a:pt x="20094" y="14156"/>
                  <a:pt x="20031" y="14125"/>
                  <a:pt x="20000" y="14094"/>
                </a:cubicBezTo>
                <a:cubicBezTo>
                  <a:pt x="19969" y="14094"/>
                  <a:pt x="19938" y="14062"/>
                  <a:pt x="19906" y="14062"/>
                </a:cubicBezTo>
                <a:cubicBezTo>
                  <a:pt x="19813" y="14031"/>
                  <a:pt x="19750" y="14000"/>
                  <a:pt x="19688" y="13969"/>
                </a:cubicBezTo>
                <a:cubicBezTo>
                  <a:pt x="19625" y="13969"/>
                  <a:pt x="19531" y="13969"/>
                  <a:pt x="19469" y="13969"/>
                </a:cubicBezTo>
                <a:cubicBezTo>
                  <a:pt x="19406" y="13969"/>
                  <a:pt x="19313" y="13969"/>
                  <a:pt x="19250" y="13969"/>
                </a:cubicBezTo>
                <a:cubicBezTo>
                  <a:pt x="19094" y="13937"/>
                  <a:pt x="18938" y="13937"/>
                  <a:pt x="18781" y="13937"/>
                </a:cubicBezTo>
                <a:cubicBezTo>
                  <a:pt x="18625" y="13937"/>
                  <a:pt x="18469" y="13937"/>
                  <a:pt x="18313" y="13937"/>
                </a:cubicBezTo>
                <a:cubicBezTo>
                  <a:pt x="18094" y="13906"/>
                  <a:pt x="17875" y="13906"/>
                  <a:pt x="17656" y="13937"/>
                </a:cubicBezTo>
                <a:cubicBezTo>
                  <a:pt x="17531" y="13937"/>
                  <a:pt x="17438" y="13906"/>
                  <a:pt x="17375" y="13875"/>
                </a:cubicBezTo>
                <a:cubicBezTo>
                  <a:pt x="17281" y="13875"/>
                  <a:pt x="17188" y="13844"/>
                  <a:pt x="17094" y="13812"/>
                </a:cubicBezTo>
                <a:cubicBezTo>
                  <a:pt x="17063" y="13812"/>
                  <a:pt x="17031" y="13812"/>
                  <a:pt x="17031" y="13812"/>
                </a:cubicBezTo>
                <a:cubicBezTo>
                  <a:pt x="17000" y="13781"/>
                  <a:pt x="17000" y="13781"/>
                  <a:pt x="16969" y="13750"/>
                </a:cubicBezTo>
                <a:cubicBezTo>
                  <a:pt x="16969" y="13719"/>
                  <a:pt x="16969" y="13687"/>
                  <a:pt x="16969" y="13656"/>
                </a:cubicBezTo>
                <a:cubicBezTo>
                  <a:pt x="16969" y="13656"/>
                  <a:pt x="16969" y="13656"/>
                  <a:pt x="16969" y="13656"/>
                </a:cubicBezTo>
                <a:cubicBezTo>
                  <a:pt x="16969" y="13625"/>
                  <a:pt x="16969" y="13625"/>
                  <a:pt x="17000" y="13625"/>
                </a:cubicBezTo>
                <a:cubicBezTo>
                  <a:pt x="17000" y="13594"/>
                  <a:pt x="17031" y="13594"/>
                  <a:pt x="17063" y="13594"/>
                </a:cubicBezTo>
                <a:cubicBezTo>
                  <a:pt x="17094" y="13594"/>
                  <a:pt x="17125" y="13594"/>
                  <a:pt x="17125" y="13594"/>
                </a:cubicBezTo>
                <a:cubicBezTo>
                  <a:pt x="17313" y="13625"/>
                  <a:pt x="17469" y="13656"/>
                  <a:pt x="17625" y="13656"/>
                </a:cubicBezTo>
                <a:cubicBezTo>
                  <a:pt x="17875" y="13687"/>
                  <a:pt x="18156" y="13656"/>
                  <a:pt x="18406" y="13656"/>
                </a:cubicBezTo>
                <a:cubicBezTo>
                  <a:pt x="18469" y="13656"/>
                  <a:pt x="18563" y="13656"/>
                  <a:pt x="18656" y="13625"/>
                </a:cubicBezTo>
                <a:cubicBezTo>
                  <a:pt x="18813" y="13625"/>
                  <a:pt x="18969" y="13625"/>
                  <a:pt x="19156" y="13656"/>
                </a:cubicBezTo>
                <a:cubicBezTo>
                  <a:pt x="19219" y="13656"/>
                  <a:pt x="19281" y="13656"/>
                  <a:pt x="19344" y="13656"/>
                </a:cubicBezTo>
                <a:cubicBezTo>
                  <a:pt x="19531" y="13656"/>
                  <a:pt x="19750" y="13656"/>
                  <a:pt x="19938" y="13625"/>
                </a:cubicBezTo>
                <a:cubicBezTo>
                  <a:pt x="19969" y="13625"/>
                  <a:pt x="20000" y="13625"/>
                  <a:pt x="20000" y="13625"/>
                </a:cubicBezTo>
                <a:cubicBezTo>
                  <a:pt x="20125" y="13594"/>
                  <a:pt x="20250" y="13562"/>
                  <a:pt x="20375" y="13594"/>
                </a:cubicBezTo>
                <a:cubicBezTo>
                  <a:pt x="20375" y="13594"/>
                  <a:pt x="20406" y="13594"/>
                  <a:pt x="20406" y="13594"/>
                </a:cubicBezTo>
                <a:cubicBezTo>
                  <a:pt x="20438" y="13594"/>
                  <a:pt x="20469" y="13594"/>
                  <a:pt x="20469" y="13625"/>
                </a:cubicBezTo>
                <a:cubicBezTo>
                  <a:pt x="20500" y="13625"/>
                  <a:pt x="20531" y="13656"/>
                  <a:pt x="20563" y="13687"/>
                </a:cubicBezTo>
                <a:cubicBezTo>
                  <a:pt x="20531" y="13687"/>
                  <a:pt x="20500" y="13719"/>
                  <a:pt x="20531" y="13719"/>
                </a:cubicBezTo>
                <a:cubicBezTo>
                  <a:pt x="20531" y="13719"/>
                  <a:pt x="20531" y="13719"/>
                  <a:pt x="20531" y="13719"/>
                </a:cubicBezTo>
                <a:cubicBezTo>
                  <a:pt x="20563" y="13719"/>
                  <a:pt x="20563" y="13719"/>
                  <a:pt x="20594" y="13719"/>
                </a:cubicBezTo>
                <a:cubicBezTo>
                  <a:pt x="20625" y="13750"/>
                  <a:pt x="20688" y="13750"/>
                  <a:pt x="20719" y="13750"/>
                </a:cubicBezTo>
                <a:cubicBezTo>
                  <a:pt x="20813" y="13781"/>
                  <a:pt x="20875" y="13781"/>
                  <a:pt x="20938" y="13781"/>
                </a:cubicBezTo>
                <a:cubicBezTo>
                  <a:pt x="20969" y="13781"/>
                  <a:pt x="20969" y="13781"/>
                  <a:pt x="20969" y="13781"/>
                </a:cubicBezTo>
                <a:cubicBezTo>
                  <a:pt x="21031" y="13781"/>
                  <a:pt x="21063" y="13781"/>
                  <a:pt x="21094" y="13781"/>
                </a:cubicBezTo>
                <a:cubicBezTo>
                  <a:pt x="21125" y="13750"/>
                  <a:pt x="21125" y="13750"/>
                  <a:pt x="21156" y="13750"/>
                </a:cubicBezTo>
                <a:cubicBezTo>
                  <a:pt x="21219" y="13687"/>
                  <a:pt x="21250" y="13625"/>
                  <a:pt x="21281" y="13562"/>
                </a:cubicBezTo>
                <a:cubicBezTo>
                  <a:pt x="21406" y="13562"/>
                  <a:pt x="21531" y="13562"/>
                  <a:pt x="21656" y="13562"/>
                </a:cubicBezTo>
                <a:cubicBezTo>
                  <a:pt x="21938" y="13531"/>
                  <a:pt x="22188" y="13531"/>
                  <a:pt x="22438" y="13500"/>
                </a:cubicBezTo>
                <a:cubicBezTo>
                  <a:pt x="22563" y="13500"/>
                  <a:pt x="22688" y="13500"/>
                  <a:pt x="22844" y="13469"/>
                </a:cubicBezTo>
                <a:cubicBezTo>
                  <a:pt x="23406" y="13406"/>
                  <a:pt x="24031" y="13531"/>
                  <a:pt x="24594" y="13312"/>
                </a:cubicBezTo>
                <a:cubicBezTo>
                  <a:pt x="24625" y="13312"/>
                  <a:pt x="24656" y="13281"/>
                  <a:pt x="24688" y="13281"/>
                </a:cubicBezTo>
                <a:cubicBezTo>
                  <a:pt x="24750" y="13250"/>
                  <a:pt x="24844" y="13219"/>
                  <a:pt x="24906" y="13250"/>
                </a:cubicBezTo>
                <a:cubicBezTo>
                  <a:pt x="25313" y="13375"/>
                  <a:pt x="25750" y="13187"/>
                  <a:pt x="26156" y="13250"/>
                </a:cubicBezTo>
                <a:cubicBezTo>
                  <a:pt x="26219" y="13250"/>
                  <a:pt x="26281" y="13250"/>
                  <a:pt x="26344" y="13281"/>
                </a:cubicBezTo>
                <a:cubicBezTo>
                  <a:pt x="26375" y="13281"/>
                  <a:pt x="26438" y="13281"/>
                  <a:pt x="26500" y="13281"/>
                </a:cubicBezTo>
                <a:cubicBezTo>
                  <a:pt x="26594" y="13312"/>
                  <a:pt x="26719" y="13281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813" y="13219"/>
                  <a:pt x="26875" y="13219"/>
                  <a:pt x="26906" y="13219"/>
                </a:cubicBezTo>
                <a:cubicBezTo>
                  <a:pt x="26969" y="13250"/>
                  <a:pt x="27031" y="13281"/>
                  <a:pt x="27125" y="13312"/>
                </a:cubicBezTo>
                <a:cubicBezTo>
                  <a:pt x="27250" y="13344"/>
                  <a:pt x="27406" y="13312"/>
                  <a:pt x="27563" y="13281"/>
                </a:cubicBezTo>
                <a:cubicBezTo>
                  <a:pt x="27594" y="13312"/>
                  <a:pt x="27594" y="13312"/>
                  <a:pt x="27625" y="13312"/>
                </a:cubicBezTo>
                <a:cubicBezTo>
                  <a:pt x="27656" y="13312"/>
                  <a:pt x="27688" y="13281"/>
                  <a:pt x="27719" y="13281"/>
                </a:cubicBezTo>
                <a:cubicBezTo>
                  <a:pt x="27750" y="13281"/>
                  <a:pt x="27750" y="13250"/>
                  <a:pt x="27781" y="13250"/>
                </a:cubicBezTo>
                <a:cubicBezTo>
                  <a:pt x="27813" y="13250"/>
                  <a:pt x="27813" y="13250"/>
                  <a:pt x="27844" y="13250"/>
                </a:cubicBezTo>
                <a:cubicBezTo>
                  <a:pt x="27875" y="13250"/>
                  <a:pt x="27906" y="13250"/>
                  <a:pt x="27938" y="13250"/>
                </a:cubicBezTo>
                <a:cubicBezTo>
                  <a:pt x="27938" y="13250"/>
                  <a:pt x="27938" y="13250"/>
                  <a:pt x="27938" y="13250"/>
                </a:cubicBezTo>
                <a:cubicBezTo>
                  <a:pt x="27969" y="13219"/>
                  <a:pt x="27969" y="13187"/>
                  <a:pt x="27938" y="13156"/>
                </a:cubicBezTo>
                <a:cubicBezTo>
                  <a:pt x="28063" y="13156"/>
                  <a:pt x="28219" y="13156"/>
                  <a:pt x="28219" y="13250"/>
                </a:cubicBezTo>
                <a:cubicBezTo>
                  <a:pt x="28219" y="13344"/>
                  <a:pt x="28219" y="13406"/>
                  <a:pt x="28281" y="13437"/>
                </a:cubicBezTo>
                <a:cubicBezTo>
                  <a:pt x="28313" y="13469"/>
                  <a:pt x="28406" y="13469"/>
                  <a:pt x="28563" y="13500"/>
                </a:cubicBezTo>
                <a:cubicBezTo>
                  <a:pt x="28625" y="13500"/>
                  <a:pt x="28688" y="13500"/>
                  <a:pt x="28781" y="13469"/>
                </a:cubicBezTo>
                <a:cubicBezTo>
                  <a:pt x="28781" y="13469"/>
                  <a:pt x="28813" y="13469"/>
                  <a:pt x="28813" y="13469"/>
                </a:cubicBezTo>
                <a:cubicBezTo>
                  <a:pt x="28844" y="13469"/>
                  <a:pt x="28906" y="13469"/>
                  <a:pt x="28938" y="13469"/>
                </a:cubicBezTo>
                <a:cubicBezTo>
                  <a:pt x="29031" y="13469"/>
                  <a:pt x="29125" y="13531"/>
                  <a:pt x="29156" y="13625"/>
                </a:cubicBezTo>
                <a:cubicBezTo>
                  <a:pt x="29156" y="13625"/>
                  <a:pt x="29188" y="13656"/>
                  <a:pt x="29188" y="13656"/>
                </a:cubicBezTo>
                <a:cubicBezTo>
                  <a:pt x="29219" y="13656"/>
                  <a:pt x="29219" y="13625"/>
                  <a:pt x="29250" y="13625"/>
                </a:cubicBezTo>
                <a:cubicBezTo>
                  <a:pt x="29281" y="13594"/>
                  <a:pt x="29313" y="13594"/>
                  <a:pt x="29344" y="13562"/>
                </a:cubicBezTo>
                <a:cubicBezTo>
                  <a:pt x="29406" y="13531"/>
                  <a:pt x="29469" y="13531"/>
                  <a:pt x="29531" y="13531"/>
                </a:cubicBezTo>
                <a:cubicBezTo>
                  <a:pt x="29563" y="13531"/>
                  <a:pt x="29594" y="13531"/>
                  <a:pt x="29625" y="13531"/>
                </a:cubicBezTo>
                <a:cubicBezTo>
                  <a:pt x="29781" y="13531"/>
                  <a:pt x="29906" y="13594"/>
                  <a:pt x="30031" y="13594"/>
                </a:cubicBezTo>
                <a:cubicBezTo>
                  <a:pt x="30375" y="13594"/>
                  <a:pt x="30688" y="13594"/>
                  <a:pt x="31031" y="13562"/>
                </a:cubicBezTo>
                <a:cubicBezTo>
                  <a:pt x="31250" y="13562"/>
                  <a:pt x="31469" y="13531"/>
                  <a:pt x="31688" y="13531"/>
                </a:cubicBezTo>
                <a:cubicBezTo>
                  <a:pt x="32000" y="13500"/>
                  <a:pt x="32344" y="13469"/>
                  <a:pt x="32688" y="13469"/>
                </a:cubicBezTo>
                <a:cubicBezTo>
                  <a:pt x="32656" y="13437"/>
                  <a:pt x="32625" y="13437"/>
                  <a:pt x="32594" y="13406"/>
                </a:cubicBezTo>
                <a:cubicBezTo>
                  <a:pt x="32531" y="13375"/>
                  <a:pt x="32469" y="13344"/>
                  <a:pt x="32406" y="13344"/>
                </a:cubicBezTo>
                <a:cubicBezTo>
                  <a:pt x="32375" y="13344"/>
                  <a:pt x="32344" y="13312"/>
                  <a:pt x="32313" y="13312"/>
                </a:cubicBezTo>
                <a:cubicBezTo>
                  <a:pt x="32188" y="13281"/>
                  <a:pt x="32094" y="13281"/>
                  <a:pt x="31969" y="13250"/>
                </a:cubicBezTo>
                <a:cubicBezTo>
                  <a:pt x="31781" y="13250"/>
                  <a:pt x="31625" y="13219"/>
                  <a:pt x="31438" y="13219"/>
                </a:cubicBezTo>
                <a:cubicBezTo>
                  <a:pt x="31281" y="13187"/>
                  <a:pt x="31094" y="13187"/>
                  <a:pt x="30938" y="13125"/>
                </a:cubicBezTo>
                <a:cubicBezTo>
                  <a:pt x="30750" y="13094"/>
                  <a:pt x="30594" y="13062"/>
                  <a:pt x="30406" y="13062"/>
                </a:cubicBezTo>
                <a:cubicBezTo>
                  <a:pt x="30219" y="13062"/>
                  <a:pt x="30063" y="13094"/>
                  <a:pt x="29875" y="13156"/>
                </a:cubicBezTo>
                <a:cubicBezTo>
                  <a:pt x="29844" y="13156"/>
                  <a:pt x="29813" y="13156"/>
                  <a:pt x="29750" y="13187"/>
                </a:cubicBezTo>
                <a:cubicBezTo>
                  <a:pt x="29719" y="13187"/>
                  <a:pt x="29688" y="13187"/>
                  <a:pt x="29688" y="13187"/>
                </a:cubicBezTo>
                <a:cubicBezTo>
                  <a:pt x="29656" y="13156"/>
                  <a:pt x="29625" y="13156"/>
                  <a:pt x="29594" y="13156"/>
                </a:cubicBezTo>
                <a:cubicBezTo>
                  <a:pt x="29594" y="13156"/>
                  <a:pt x="29594" y="13125"/>
                  <a:pt x="29563" y="13125"/>
                </a:cubicBezTo>
                <a:cubicBezTo>
                  <a:pt x="29563" y="13125"/>
                  <a:pt x="29531" y="13094"/>
                  <a:pt x="29500" y="13094"/>
                </a:cubicBezTo>
                <a:cubicBezTo>
                  <a:pt x="29438" y="13062"/>
                  <a:pt x="29406" y="13062"/>
                  <a:pt x="29375" y="13062"/>
                </a:cubicBezTo>
                <a:cubicBezTo>
                  <a:pt x="29344" y="13062"/>
                  <a:pt x="29313" y="13094"/>
                  <a:pt x="29281" y="13094"/>
                </a:cubicBezTo>
                <a:cubicBezTo>
                  <a:pt x="29281" y="13125"/>
                  <a:pt x="29250" y="13125"/>
                  <a:pt x="29250" y="13125"/>
                </a:cubicBezTo>
                <a:cubicBezTo>
                  <a:pt x="29219" y="13156"/>
                  <a:pt x="29219" y="13156"/>
                  <a:pt x="29219" y="13156"/>
                </a:cubicBezTo>
                <a:cubicBezTo>
                  <a:pt x="29156" y="13219"/>
                  <a:pt x="29094" y="13250"/>
                  <a:pt x="29063" y="13250"/>
                </a:cubicBezTo>
                <a:cubicBezTo>
                  <a:pt x="29031" y="13250"/>
                  <a:pt x="29031" y="13250"/>
                  <a:pt x="29000" y="13250"/>
                </a:cubicBezTo>
                <a:cubicBezTo>
                  <a:pt x="28969" y="13250"/>
                  <a:pt x="28969" y="13250"/>
                  <a:pt x="28938" y="13219"/>
                </a:cubicBezTo>
                <a:cubicBezTo>
                  <a:pt x="28906" y="13219"/>
                  <a:pt x="28875" y="13187"/>
                  <a:pt x="28844" y="13156"/>
                </a:cubicBezTo>
                <a:cubicBezTo>
                  <a:pt x="28781" y="13000"/>
                  <a:pt x="28688" y="12906"/>
                  <a:pt x="28500" y="12875"/>
                </a:cubicBezTo>
                <a:cubicBezTo>
                  <a:pt x="28438" y="12875"/>
                  <a:pt x="28375" y="12875"/>
                  <a:pt x="28281" y="12875"/>
                </a:cubicBezTo>
                <a:cubicBezTo>
                  <a:pt x="28250" y="12875"/>
                  <a:pt x="28250" y="12906"/>
                  <a:pt x="28219" y="12906"/>
                </a:cubicBezTo>
                <a:cubicBezTo>
                  <a:pt x="28188" y="12906"/>
                  <a:pt x="28188" y="12875"/>
                  <a:pt x="28156" y="12875"/>
                </a:cubicBezTo>
                <a:cubicBezTo>
                  <a:pt x="28125" y="12875"/>
                  <a:pt x="28063" y="12875"/>
                  <a:pt x="28031" y="12875"/>
                </a:cubicBezTo>
                <a:cubicBezTo>
                  <a:pt x="27969" y="12844"/>
                  <a:pt x="27875" y="12812"/>
                  <a:pt x="27781" y="12781"/>
                </a:cubicBezTo>
                <a:cubicBezTo>
                  <a:pt x="27875" y="12812"/>
                  <a:pt x="27906" y="12844"/>
                  <a:pt x="27906" y="12875"/>
                </a:cubicBezTo>
                <a:cubicBezTo>
                  <a:pt x="27906" y="12906"/>
                  <a:pt x="27875" y="12906"/>
                  <a:pt x="27844" y="12937"/>
                </a:cubicBezTo>
                <a:cubicBezTo>
                  <a:pt x="27813" y="12937"/>
                  <a:pt x="27781" y="12969"/>
                  <a:pt x="27750" y="12969"/>
                </a:cubicBezTo>
                <a:cubicBezTo>
                  <a:pt x="27656" y="12969"/>
                  <a:pt x="27563" y="12937"/>
                  <a:pt x="27531" y="12937"/>
                </a:cubicBezTo>
                <a:cubicBezTo>
                  <a:pt x="27469" y="12937"/>
                  <a:pt x="27438" y="12937"/>
                  <a:pt x="27438" y="12906"/>
                </a:cubicBezTo>
                <a:cubicBezTo>
                  <a:pt x="27406" y="12906"/>
                  <a:pt x="27406" y="12906"/>
                  <a:pt x="27406" y="12906"/>
                </a:cubicBezTo>
                <a:cubicBezTo>
                  <a:pt x="27406" y="12875"/>
                  <a:pt x="27438" y="12875"/>
                  <a:pt x="27438" y="12875"/>
                </a:cubicBezTo>
                <a:cubicBezTo>
                  <a:pt x="27438" y="12844"/>
                  <a:pt x="27469" y="12812"/>
                  <a:pt x="27531" y="12781"/>
                </a:cubicBezTo>
                <a:cubicBezTo>
                  <a:pt x="27500" y="12781"/>
                  <a:pt x="27469" y="12781"/>
                  <a:pt x="27469" y="12781"/>
                </a:cubicBezTo>
                <a:cubicBezTo>
                  <a:pt x="27406" y="12781"/>
                  <a:pt x="27375" y="12812"/>
                  <a:pt x="27313" y="12844"/>
                </a:cubicBezTo>
                <a:cubicBezTo>
                  <a:pt x="27250" y="12875"/>
                  <a:pt x="27219" y="12906"/>
                  <a:pt x="27156" y="12906"/>
                </a:cubicBezTo>
                <a:cubicBezTo>
                  <a:pt x="27125" y="12906"/>
                  <a:pt x="27094" y="12906"/>
                  <a:pt x="27063" y="12937"/>
                </a:cubicBezTo>
                <a:cubicBezTo>
                  <a:pt x="27063" y="12937"/>
                  <a:pt x="27031" y="12937"/>
                  <a:pt x="27031" y="12937"/>
                </a:cubicBezTo>
                <a:cubicBezTo>
                  <a:pt x="27000" y="12969"/>
                  <a:pt x="27000" y="13000"/>
                  <a:pt x="27031" y="13031"/>
                </a:cubicBezTo>
                <a:cubicBezTo>
                  <a:pt x="27031" y="13031"/>
                  <a:pt x="27063" y="13031"/>
                  <a:pt x="27063" y="13031"/>
                </a:cubicBezTo>
                <a:cubicBezTo>
                  <a:pt x="27125" y="13094"/>
                  <a:pt x="27188" y="13125"/>
                  <a:pt x="27094" y="13156"/>
                </a:cubicBezTo>
                <a:cubicBezTo>
                  <a:pt x="27063" y="13156"/>
                  <a:pt x="27063" y="13156"/>
                  <a:pt x="27031" y="13156"/>
                </a:cubicBezTo>
                <a:cubicBezTo>
                  <a:pt x="27031" y="13156"/>
                  <a:pt x="27000" y="13156"/>
                  <a:pt x="27000" y="13156"/>
                </a:cubicBezTo>
                <a:cubicBezTo>
                  <a:pt x="27000" y="13156"/>
                  <a:pt x="26969" y="13156"/>
                  <a:pt x="26938" y="13125"/>
                </a:cubicBezTo>
                <a:cubicBezTo>
                  <a:pt x="26938" y="13125"/>
                  <a:pt x="26906" y="13125"/>
                  <a:pt x="26906" y="13094"/>
                </a:cubicBezTo>
                <a:cubicBezTo>
                  <a:pt x="26875" y="13094"/>
                  <a:pt x="26875" y="13094"/>
                  <a:pt x="26844" y="13094"/>
                </a:cubicBezTo>
                <a:cubicBezTo>
                  <a:pt x="26844" y="13062"/>
                  <a:pt x="26813" y="13062"/>
                  <a:pt x="26813" y="13062"/>
                </a:cubicBezTo>
                <a:cubicBezTo>
                  <a:pt x="26813" y="13062"/>
                  <a:pt x="26781" y="13062"/>
                  <a:pt x="26781" y="13062"/>
                </a:cubicBezTo>
                <a:cubicBezTo>
                  <a:pt x="26719" y="13062"/>
                  <a:pt x="26688" y="13062"/>
                  <a:pt x="26625" y="13094"/>
                </a:cubicBezTo>
                <a:cubicBezTo>
                  <a:pt x="26594" y="13094"/>
                  <a:pt x="26594" y="13094"/>
                  <a:pt x="26594" y="13094"/>
                </a:cubicBezTo>
                <a:cubicBezTo>
                  <a:pt x="26563" y="13094"/>
                  <a:pt x="26531" y="13094"/>
                  <a:pt x="26500" y="13094"/>
                </a:cubicBezTo>
                <a:cubicBezTo>
                  <a:pt x="26500" y="13125"/>
                  <a:pt x="26500" y="13125"/>
                  <a:pt x="26469" y="13125"/>
                </a:cubicBezTo>
                <a:cubicBezTo>
                  <a:pt x="26438" y="13125"/>
                  <a:pt x="26406" y="13156"/>
                  <a:pt x="26344" y="13156"/>
                </a:cubicBezTo>
                <a:cubicBezTo>
                  <a:pt x="26156" y="13094"/>
                  <a:pt x="25938" y="13094"/>
                  <a:pt x="25750" y="13094"/>
                </a:cubicBezTo>
                <a:cubicBezTo>
                  <a:pt x="25563" y="13094"/>
                  <a:pt x="25375" y="13125"/>
                  <a:pt x="25188" y="13156"/>
                </a:cubicBezTo>
                <a:cubicBezTo>
                  <a:pt x="25125" y="13187"/>
                  <a:pt x="25094" y="13187"/>
                  <a:pt x="25031" y="13187"/>
                </a:cubicBezTo>
                <a:cubicBezTo>
                  <a:pt x="25000" y="13187"/>
                  <a:pt x="24938" y="13187"/>
                  <a:pt x="24906" y="13187"/>
                </a:cubicBezTo>
                <a:cubicBezTo>
                  <a:pt x="24813" y="13187"/>
                  <a:pt x="24750" y="13156"/>
                  <a:pt x="24688" y="13156"/>
                </a:cubicBezTo>
                <a:cubicBezTo>
                  <a:pt x="24656" y="13125"/>
                  <a:pt x="24625" y="13125"/>
                  <a:pt x="24625" y="13125"/>
                </a:cubicBezTo>
                <a:cubicBezTo>
                  <a:pt x="24594" y="13125"/>
                  <a:pt x="24594" y="13125"/>
                  <a:pt x="24594" y="13125"/>
                </a:cubicBezTo>
                <a:cubicBezTo>
                  <a:pt x="24594" y="13094"/>
                  <a:pt x="24563" y="13094"/>
                  <a:pt x="24563" y="13062"/>
                </a:cubicBezTo>
                <a:cubicBezTo>
                  <a:pt x="24563" y="13062"/>
                  <a:pt x="24563" y="13062"/>
                  <a:pt x="24563" y="13062"/>
                </a:cubicBezTo>
                <a:cubicBezTo>
                  <a:pt x="24531" y="13031"/>
                  <a:pt x="24531" y="13031"/>
                  <a:pt x="24531" y="13031"/>
                </a:cubicBezTo>
                <a:cubicBezTo>
                  <a:pt x="24531" y="13031"/>
                  <a:pt x="24500" y="13031"/>
                  <a:pt x="24469" y="13031"/>
                </a:cubicBezTo>
                <a:cubicBezTo>
                  <a:pt x="24375" y="13062"/>
                  <a:pt x="24375" y="13125"/>
                  <a:pt x="24406" y="13187"/>
                </a:cubicBezTo>
                <a:cubicBezTo>
                  <a:pt x="24406" y="13219"/>
                  <a:pt x="24469" y="13250"/>
                  <a:pt x="24469" y="13281"/>
                </a:cubicBezTo>
                <a:cubicBezTo>
                  <a:pt x="24469" y="13281"/>
                  <a:pt x="24469" y="13281"/>
                  <a:pt x="24375" y="13312"/>
                </a:cubicBezTo>
                <a:cubicBezTo>
                  <a:pt x="24344" y="13312"/>
                  <a:pt x="24313" y="13312"/>
                  <a:pt x="24250" y="13312"/>
                </a:cubicBezTo>
                <a:cubicBezTo>
                  <a:pt x="23969" y="13312"/>
                  <a:pt x="23688" y="13375"/>
                  <a:pt x="23406" y="13312"/>
                </a:cubicBezTo>
                <a:cubicBezTo>
                  <a:pt x="23406" y="13281"/>
                  <a:pt x="23406" y="13281"/>
                  <a:pt x="23406" y="13281"/>
                </a:cubicBezTo>
                <a:cubicBezTo>
                  <a:pt x="23438" y="13250"/>
                  <a:pt x="23500" y="13250"/>
                  <a:pt x="23563" y="13219"/>
                </a:cubicBezTo>
                <a:cubicBezTo>
                  <a:pt x="23594" y="13219"/>
                  <a:pt x="23594" y="13187"/>
                  <a:pt x="23625" y="13187"/>
                </a:cubicBezTo>
                <a:cubicBezTo>
                  <a:pt x="23625" y="13187"/>
                  <a:pt x="23625" y="13187"/>
                  <a:pt x="23625" y="13187"/>
                </a:cubicBezTo>
                <a:cubicBezTo>
                  <a:pt x="23656" y="13156"/>
                  <a:pt x="23656" y="13156"/>
                  <a:pt x="23656" y="13156"/>
                </a:cubicBezTo>
                <a:cubicBezTo>
                  <a:pt x="23656" y="13156"/>
                  <a:pt x="23656" y="13125"/>
                  <a:pt x="23656" y="13125"/>
                </a:cubicBezTo>
                <a:cubicBezTo>
                  <a:pt x="23625" y="13094"/>
                  <a:pt x="23625" y="13094"/>
                  <a:pt x="23594" y="13094"/>
                </a:cubicBezTo>
                <a:cubicBezTo>
                  <a:pt x="23500" y="13031"/>
                  <a:pt x="23469" y="13000"/>
                  <a:pt x="23500" y="12969"/>
                </a:cubicBezTo>
                <a:cubicBezTo>
                  <a:pt x="23500" y="12969"/>
                  <a:pt x="23531" y="12969"/>
                  <a:pt x="23531" y="12969"/>
                </a:cubicBezTo>
                <a:cubicBezTo>
                  <a:pt x="23531" y="12969"/>
                  <a:pt x="23563" y="12969"/>
                  <a:pt x="23563" y="12937"/>
                </a:cubicBezTo>
                <a:cubicBezTo>
                  <a:pt x="23594" y="12937"/>
                  <a:pt x="23625" y="12937"/>
                  <a:pt x="23656" y="12937"/>
                </a:cubicBezTo>
                <a:cubicBezTo>
                  <a:pt x="23688" y="12906"/>
                  <a:pt x="23719" y="12906"/>
                  <a:pt x="23750" y="12906"/>
                </a:cubicBezTo>
                <a:cubicBezTo>
                  <a:pt x="23750" y="12906"/>
                  <a:pt x="23781" y="12906"/>
                  <a:pt x="23813" y="12906"/>
                </a:cubicBezTo>
                <a:cubicBezTo>
                  <a:pt x="23844" y="12906"/>
                  <a:pt x="23875" y="12906"/>
                  <a:pt x="23906" y="12906"/>
                </a:cubicBezTo>
                <a:cubicBezTo>
                  <a:pt x="23938" y="12875"/>
                  <a:pt x="24000" y="12875"/>
                  <a:pt x="24031" y="12812"/>
                </a:cubicBezTo>
                <a:cubicBezTo>
                  <a:pt x="24031" y="12812"/>
                  <a:pt x="24031" y="12812"/>
                  <a:pt x="24031" y="12812"/>
                </a:cubicBezTo>
                <a:cubicBezTo>
                  <a:pt x="24031" y="12812"/>
                  <a:pt x="24031" y="12812"/>
                  <a:pt x="24031" y="12812"/>
                </a:cubicBezTo>
                <a:cubicBezTo>
                  <a:pt x="24031" y="12812"/>
                  <a:pt x="24031" y="12812"/>
                  <a:pt x="24031" y="12812"/>
                </a:cubicBezTo>
                <a:cubicBezTo>
                  <a:pt x="24125" y="12906"/>
                  <a:pt x="24313" y="12875"/>
                  <a:pt x="24438" y="12875"/>
                </a:cubicBezTo>
                <a:cubicBezTo>
                  <a:pt x="24469" y="12875"/>
                  <a:pt x="24500" y="12906"/>
                  <a:pt x="24531" y="12906"/>
                </a:cubicBezTo>
                <a:cubicBezTo>
                  <a:pt x="24563" y="12906"/>
                  <a:pt x="24563" y="12906"/>
                  <a:pt x="24594" y="12906"/>
                </a:cubicBezTo>
                <a:cubicBezTo>
                  <a:pt x="24781" y="12969"/>
                  <a:pt x="24844" y="12875"/>
                  <a:pt x="24938" y="12812"/>
                </a:cubicBezTo>
                <a:cubicBezTo>
                  <a:pt x="25000" y="12812"/>
                  <a:pt x="25031" y="12812"/>
                  <a:pt x="25063" y="12781"/>
                </a:cubicBezTo>
                <a:cubicBezTo>
                  <a:pt x="25094" y="12812"/>
                  <a:pt x="25125" y="12812"/>
                  <a:pt x="25156" y="12844"/>
                </a:cubicBezTo>
                <a:cubicBezTo>
                  <a:pt x="25281" y="12875"/>
                  <a:pt x="25406" y="12875"/>
                  <a:pt x="25531" y="12875"/>
                </a:cubicBezTo>
                <a:cubicBezTo>
                  <a:pt x="25594" y="12875"/>
                  <a:pt x="25656" y="12844"/>
                  <a:pt x="25719" y="12844"/>
                </a:cubicBezTo>
                <a:cubicBezTo>
                  <a:pt x="25750" y="12844"/>
                  <a:pt x="25781" y="12844"/>
                  <a:pt x="25813" y="12844"/>
                </a:cubicBezTo>
                <a:cubicBezTo>
                  <a:pt x="25875" y="12844"/>
                  <a:pt x="25938" y="12844"/>
                  <a:pt x="25969" y="12812"/>
                </a:cubicBezTo>
                <a:cubicBezTo>
                  <a:pt x="25969" y="12812"/>
                  <a:pt x="25969" y="12812"/>
                  <a:pt x="25969" y="12812"/>
                </a:cubicBezTo>
                <a:cubicBezTo>
                  <a:pt x="25969" y="12781"/>
                  <a:pt x="25969" y="12781"/>
                  <a:pt x="25969" y="12781"/>
                </a:cubicBezTo>
                <a:cubicBezTo>
                  <a:pt x="25969" y="12750"/>
                  <a:pt x="25938" y="12719"/>
                  <a:pt x="25906" y="12719"/>
                </a:cubicBezTo>
                <a:cubicBezTo>
                  <a:pt x="25906" y="12719"/>
                  <a:pt x="25875" y="12719"/>
                  <a:pt x="25844" y="12719"/>
                </a:cubicBezTo>
                <a:cubicBezTo>
                  <a:pt x="25813" y="12719"/>
                  <a:pt x="25813" y="12719"/>
                  <a:pt x="25813" y="12719"/>
                </a:cubicBezTo>
                <a:cubicBezTo>
                  <a:pt x="25781" y="12719"/>
                  <a:pt x="25750" y="12719"/>
                  <a:pt x="25719" y="12719"/>
                </a:cubicBezTo>
                <a:cubicBezTo>
                  <a:pt x="25594" y="12750"/>
                  <a:pt x="25469" y="12750"/>
                  <a:pt x="25375" y="12750"/>
                </a:cubicBezTo>
                <a:cubicBezTo>
                  <a:pt x="25281" y="12750"/>
                  <a:pt x="25219" y="12750"/>
                  <a:pt x="25188" y="12719"/>
                </a:cubicBezTo>
                <a:cubicBezTo>
                  <a:pt x="25156" y="12687"/>
                  <a:pt x="25094" y="12687"/>
                  <a:pt x="25063" y="12656"/>
                </a:cubicBezTo>
                <a:cubicBezTo>
                  <a:pt x="24906" y="12594"/>
                  <a:pt x="24750" y="12562"/>
                  <a:pt x="24563" y="12531"/>
                </a:cubicBezTo>
                <a:cubicBezTo>
                  <a:pt x="24469" y="12531"/>
                  <a:pt x="24406" y="12531"/>
                  <a:pt x="24313" y="12500"/>
                </a:cubicBezTo>
                <a:cubicBezTo>
                  <a:pt x="24250" y="12500"/>
                  <a:pt x="24219" y="12500"/>
                  <a:pt x="24188" y="12500"/>
                </a:cubicBezTo>
                <a:cubicBezTo>
                  <a:pt x="24094" y="12500"/>
                  <a:pt x="24000" y="12469"/>
                  <a:pt x="23906" y="12469"/>
                </a:cubicBezTo>
                <a:cubicBezTo>
                  <a:pt x="23844" y="12469"/>
                  <a:pt x="23750" y="12469"/>
                  <a:pt x="23688" y="12469"/>
                </a:cubicBezTo>
                <a:cubicBezTo>
                  <a:pt x="23625" y="12500"/>
                  <a:pt x="23563" y="12531"/>
                  <a:pt x="23531" y="12594"/>
                </a:cubicBezTo>
                <a:cubicBezTo>
                  <a:pt x="23500" y="12594"/>
                  <a:pt x="23500" y="12594"/>
                  <a:pt x="23500" y="12625"/>
                </a:cubicBezTo>
                <a:cubicBezTo>
                  <a:pt x="23469" y="12625"/>
                  <a:pt x="23469" y="12625"/>
                  <a:pt x="23438" y="12625"/>
                </a:cubicBezTo>
                <a:cubicBezTo>
                  <a:pt x="23438" y="12625"/>
                  <a:pt x="23406" y="12625"/>
                  <a:pt x="23406" y="12625"/>
                </a:cubicBezTo>
                <a:cubicBezTo>
                  <a:pt x="23406" y="12625"/>
                  <a:pt x="23406" y="12625"/>
                  <a:pt x="23375" y="12625"/>
                </a:cubicBezTo>
                <a:cubicBezTo>
                  <a:pt x="23375" y="12594"/>
                  <a:pt x="23375" y="12594"/>
                  <a:pt x="23375" y="12594"/>
                </a:cubicBezTo>
                <a:cubicBezTo>
                  <a:pt x="23281" y="12406"/>
                  <a:pt x="23063" y="12469"/>
                  <a:pt x="22875" y="12437"/>
                </a:cubicBezTo>
                <a:cubicBezTo>
                  <a:pt x="22719" y="12406"/>
                  <a:pt x="22563" y="12406"/>
                  <a:pt x="22438" y="12375"/>
                </a:cubicBezTo>
                <a:cubicBezTo>
                  <a:pt x="22313" y="12344"/>
                  <a:pt x="22219" y="12344"/>
                  <a:pt x="22094" y="12281"/>
                </a:cubicBezTo>
                <a:cubicBezTo>
                  <a:pt x="22063" y="12281"/>
                  <a:pt x="22031" y="12250"/>
                  <a:pt x="22000" y="12250"/>
                </a:cubicBezTo>
                <a:cubicBezTo>
                  <a:pt x="22125" y="12156"/>
                  <a:pt x="22156" y="12250"/>
                  <a:pt x="22219" y="12250"/>
                </a:cubicBezTo>
                <a:cubicBezTo>
                  <a:pt x="22281" y="12250"/>
                  <a:pt x="22313" y="12250"/>
                  <a:pt x="22344" y="12219"/>
                </a:cubicBezTo>
                <a:cubicBezTo>
                  <a:pt x="22375" y="12219"/>
                  <a:pt x="22406" y="12219"/>
                  <a:pt x="22406" y="12156"/>
                </a:cubicBezTo>
                <a:cubicBezTo>
                  <a:pt x="22406" y="12156"/>
                  <a:pt x="22406" y="12125"/>
                  <a:pt x="22406" y="12125"/>
                </a:cubicBezTo>
                <a:cubicBezTo>
                  <a:pt x="22406" y="12094"/>
                  <a:pt x="22406" y="12094"/>
                  <a:pt x="22406" y="12094"/>
                </a:cubicBezTo>
                <a:cubicBezTo>
                  <a:pt x="22406" y="12094"/>
                  <a:pt x="22406" y="12062"/>
                  <a:pt x="22406" y="12062"/>
                </a:cubicBezTo>
                <a:cubicBezTo>
                  <a:pt x="22375" y="12062"/>
                  <a:pt x="22375" y="12062"/>
                  <a:pt x="22375" y="12031"/>
                </a:cubicBezTo>
                <a:cubicBezTo>
                  <a:pt x="22344" y="12031"/>
                  <a:pt x="22344" y="12031"/>
                  <a:pt x="22313" y="12031"/>
                </a:cubicBezTo>
                <a:cubicBezTo>
                  <a:pt x="22219" y="12031"/>
                  <a:pt x="22188" y="12031"/>
                  <a:pt x="22156" y="12031"/>
                </a:cubicBezTo>
                <a:cubicBezTo>
                  <a:pt x="22156" y="12031"/>
                  <a:pt x="22156" y="12000"/>
                  <a:pt x="22156" y="12000"/>
                </a:cubicBezTo>
                <a:cubicBezTo>
                  <a:pt x="22156" y="12000"/>
                  <a:pt x="22156" y="12000"/>
                  <a:pt x="22156" y="11969"/>
                </a:cubicBezTo>
                <a:cubicBezTo>
                  <a:pt x="22156" y="11969"/>
                  <a:pt x="22188" y="11969"/>
                  <a:pt x="22188" y="11937"/>
                </a:cubicBezTo>
                <a:cubicBezTo>
                  <a:pt x="22219" y="11937"/>
                  <a:pt x="22219" y="11906"/>
                  <a:pt x="22219" y="11906"/>
                </a:cubicBezTo>
                <a:cubicBezTo>
                  <a:pt x="22250" y="11875"/>
                  <a:pt x="22281" y="11844"/>
                  <a:pt x="22313" y="11844"/>
                </a:cubicBezTo>
                <a:cubicBezTo>
                  <a:pt x="22313" y="11844"/>
                  <a:pt x="22313" y="11812"/>
                  <a:pt x="22344" y="11812"/>
                </a:cubicBezTo>
                <a:cubicBezTo>
                  <a:pt x="22406" y="11781"/>
                  <a:pt x="22500" y="11750"/>
                  <a:pt x="22625" y="11750"/>
                </a:cubicBezTo>
                <a:cubicBezTo>
                  <a:pt x="22688" y="11750"/>
                  <a:pt x="22719" y="11750"/>
                  <a:pt x="22781" y="11750"/>
                </a:cubicBezTo>
                <a:cubicBezTo>
                  <a:pt x="22813" y="11719"/>
                  <a:pt x="22875" y="11687"/>
                  <a:pt x="22875" y="11656"/>
                </a:cubicBezTo>
                <a:cubicBezTo>
                  <a:pt x="22875" y="11625"/>
                  <a:pt x="22906" y="11594"/>
                  <a:pt x="22875" y="11562"/>
                </a:cubicBezTo>
                <a:cubicBezTo>
                  <a:pt x="22906" y="11562"/>
                  <a:pt x="22906" y="11594"/>
                  <a:pt x="22938" y="11594"/>
                </a:cubicBezTo>
                <a:cubicBezTo>
                  <a:pt x="22969" y="11656"/>
                  <a:pt x="23031" y="11687"/>
                  <a:pt x="23094" y="11687"/>
                </a:cubicBezTo>
                <a:cubicBezTo>
                  <a:pt x="23219" y="11750"/>
                  <a:pt x="23375" y="11750"/>
                  <a:pt x="23500" y="11719"/>
                </a:cubicBezTo>
                <a:cubicBezTo>
                  <a:pt x="23563" y="11719"/>
                  <a:pt x="23594" y="11719"/>
                  <a:pt x="23625" y="11719"/>
                </a:cubicBezTo>
                <a:cubicBezTo>
                  <a:pt x="24000" y="11656"/>
                  <a:pt x="24469" y="11656"/>
                  <a:pt x="24781" y="11531"/>
                </a:cubicBezTo>
                <a:cubicBezTo>
                  <a:pt x="24813" y="11531"/>
                  <a:pt x="24813" y="11531"/>
                  <a:pt x="24844" y="11531"/>
                </a:cubicBezTo>
                <a:cubicBezTo>
                  <a:pt x="24875" y="11500"/>
                  <a:pt x="24938" y="11500"/>
                  <a:pt x="24969" y="11500"/>
                </a:cubicBezTo>
                <a:cubicBezTo>
                  <a:pt x="25063" y="11469"/>
                  <a:pt x="25188" y="11469"/>
                  <a:pt x="25281" y="11469"/>
                </a:cubicBezTo>
                <a:cubicBezTo>
                  <a:pt x="25469" y="11437"/>
                  <a:pt x="25594" y="11375"/>
                  <a:pt x="25688" y="11250"/>
                </a:cubicBezTo>
                <a:cubicBezTo>
                  <a:pt x="25719" y="11250"/>
                  <a:pt x="25781" y="11250"/>
                  <a:pt x="25813" y="11250"/>
                </a:cubicBezTo>
                <a:cubicBezTo>
                  <a:pt x="26125" y="11219"/>
                  <a:pt x="26344" y="11062"/>
                  <a:pt x="26656" y="11062"/>
                </a:cubicBezTo>
                <a:cubicBezTo>
                  <a:pt x="26750" y="11062"/>
                  <a:pt x="26875" y="11062"/>
                  <a:pt x="26969" y="11031"/>
                </a:cubicBezTo>
                <a:cubicBezTo>
                  <a:pt x="27000" y="11031"/>
                  <a:pt x="27063" y="11000"/>
                  <a:pt x="27094" y="11000"/>
                </a:cubicBezTo>
                <a:cubicBezTo>
                  <a:pt x="27313" y="10969"/>
                  <a:pt x="27500" y="10906"/>
                  <a:pt x="27719" y="10937"/>
                </a:cubicBezTo>
                <a:cubicBezTo>
                  <a:pt x="27750" y="10937"/>
                  <a:pt x="27813" y="10969"/>
                  <a:pt x="27875" y="10969"/>
                </a:cubicBezTo>
                <a:cubicBezTo>
                  <a:pt x="28000" y="11031"/>
                  <a:pt x="28188" y="11031"/>
                  <a:pt x="28344" y="11062"/>
                </a:cubicBezTo>
                <a:cubicBezTo>
                  <a:pt x="28406" y="11062"/>
                  <a:pt x="28438" y="11062"/>
                  <a:pt x="28469" y="11062"/>
                </a:cubicBezTo>
                <a:cubicBezTo>
                  <a:pt x="28531" y="11062"/>
                  <a:pt x="28594" y="11062"/>
                  <a:pt x="28656" y="11062"/>
                </a:cubicBezTo>
                <a:cubicBezTo>
                  <a:pt x="28844" y="11094"/>
                  <a:pt x="29000" y="11094"/>
                  <a:pt x="29188" y="11125"/>
                </a:cubicBezTo>
                <a:cubicBezTo>
                  <a:pt x="29250" y="11156"/>
                  <a:pt x="29313" y="11156"/>
                  <a:pt x="29344" y="11187"/>
                </a:cubicBezTo>
                <a:cubicBezTo>
                  <a:pt x="29406" y="11187"/>
                  <a:pt x="29438" y="11187"/>
                  <a:pt x="29469" y="11187"/>
                </a:cubicBezTo>
                <a:cubicBezTo>
                  <a:pt x="29500" y="11156"/>
                  <a:pt x="29531" y="11156"/>
                  <a:pt x="29531" y="11125"/>
                </a:cubicBezTo>
                <a:cubicBezTo>
                  <a:pt x="29531" y="11125"/>
                  <a:pt x="29563" y="11125"/>
                  <a:pt x="29563" y="11125"/>
                </a:cubicBezTo>
                <a:cubicBezTo>
                  <a:pt x="29563" y="11094"/>
                  <a:pt x="29531" y="11062"/>
                  <a:pt x="29500" y="11062"/>
                </a:cubicBezTo>
                <a:cubicBezTo>
                  <a:pt x="29469" y="11062"/>
                  <a:pt x="29469" y="11062"/>
                  <a:pt x="29438" y="11062"/>
                </a:cubicBezTo>
                <a:cubicBezTo>
                  <a:pt x="29406" y="11062"/>
                  <a:pt x="29344" y="11062"/>
                  <a:pt x="29344" y="11031"/>
                </a:cubicBezTo>
                <a:cubicBezTo>
                  <a:pt x="29313" y="11031"/>
                  <a:pt x="29313" y="11031"/>
                  <a:pt x="29313" y="11000"/>
                </a:cubicBezTo>
                <a:cubicBezTo>
                  <a:pt x="29313" y="11000"/>
                  <a:pt x="29313" y="10969"/>
                  <a:pt x="29313" y="10969"/>
                </a:cubicBezTo>
                <a:cubicBezTo>
                  <a:pt x="29344" y="10875"/>
                  <a:pt x="29438" y="10906"/>
                  <a:pt x="29531" y="10906"/>
                </a:cubicBezTo>
                <a:cubicBezTo>
                  <a:pt x="29656" y="10906"/>
                  <a:pt x="29750" y="10937"/>
                  <a:pt x="29875" y="10937"/>
                </a:cubicBezTo>
                <a:cubicBezTo>
                  <a:pt x="30000" y="10937"/>
                  <a:pt x="30125" y="10937"/>
                  <a:pt x="30219" y="10906"/>
                </a:cubicBezTo>
                <a:cubicBezTo>
                  <a:pt x="30250" y="10875"/>
                  <a:pt x="30281" y="10906"/>
                  <a:pt x="30281" y="10906"/>
                </a:cubicBezTo>
                <a:cubicBezTo>
                  <a:pt x="30313" y="10906"/>
                  <a:pt x="30313" y="10906"/>
                  <a:pt x="30344" y="10906"/>
                </a:cubicBezTo>
                <a:cubicBezTo>
                  <a:pt x="30344" y="10875"/>
                  <a:pt x="30344" y="10875"/>
                  <a:pt x="30344" y="10875"/>
                </a:cubicBezTo>
                <a:cubicBezTo>
                  <a:pt x="30344" y="10875"/>
                  <a:pt x="30344" y="10875"/>
                  <a:pt x="30344" y="10844"/>
                </a:cubicBezTo>
                <a:cubicBezTo>
                  <a:pt x="30375" y="10812"/>
                  <a:pt x="30375" y="10781"/>
                  <a:pt x="30313" y="10750"/>
                </a:cubicBezTo>
                <a:cubicBezTo>
                  <a:pt x="30313" y="10750"/>
                  <a:pt x="30313" y="10750"/>
                  <a:pt x="30281" y="10750"/>
                </a:cubicBezTo>
                <a:cubicBezTo>
                  <a:pt x="30188" y="10719"/>
                  <a:pt x="30094" y="10719"/>
                  <a:pt x="30031" y="10687"/>
                </a:cubicBezTo>
                <a:cubicBezTo>
                  <a:pt x="29969" y="10687"/>
                  <a:pt x="29875" y="10656"/>
                  <a:pt x="29906" y="10594"/>
                </a:cubicBezTo>
                <a:cubicBezTo>
                  <a:pt x="29938" y="10531"/>
                  <a:pt x="30031" y="10500"/>
                  <a:pt x="30094" y="10531"/>
                </a:cubicBezTo>
                <a:cubicBezTo>
                  <a:pt x="30281" y="10562"/>
                  <a:pt x="30469" y="10594"/>
                  <a:pt x="30656" y="10562"/>
                </a:cubicBezTo>
                <a:cubicBezTo>
                  <a:pt x="30719" y="10562"/>
                  <a:pt x="30781" y="10562"/>
                  <a:pt x="30844" y="10562"/>
                </a:cubicBezTo>
                <a:cubicBezTo>
                  <a:pt x="31094" y="10531"/>
                  <a:pt x="31344" y="10469"/>
                  <a:pt x="31594" y="10437"/>
                </a:cubicBezTo>
                <a:cubicBezTo>
                  <a:pt x="31625" y="10406"/>
                  <a:pt x="31688" y="10406"/>
                  <a:pt x="31719" y="10375"/>
                </a:cubicBezTo>
                <a:cubicBezTo>
                  <a:pt x="31750" y="10375"/>
                  <a:pt x="31781" y="10375"/>
                  <a:pt x="31781" y="10344"/>
                </a:cubicBezTo>
                <a:cubicBezTo>
                  <a:pt x="31844" y="10312"/>
                  <a:pt x="31875" y="10312"/>
                  <a:pt x="31875" y="10281"/>
                </a:cubicBezTo>
                <a:cubicBezTo>
                  <a:pt x="31906" y="10250"/>
                  <a:pt x="31906" y="10250"/>
                  <a:pt x="31938" y="10219"/>
                </a:cubicBezTo>
                <a:cubicBezTo>
                  <a:pt x="31938" y="10187"/>
                  <a:pt x="31938" y="10156"/>
                  <a:pt x="31938" y="10094"/>
                </a:cubicBezTo>
                <a:cubicBezTo>
                  <a:pt x="31938" y="10000"/>
                  <a:pt x="31969" y="9875"/>
                  <a:pt x="31844" y="9812"/>
                </a:cubicBezTo>
                <a:cubicBezTo>
                  <a:pt x="31813" y="9781"/>
                  <a:pt x="31750" y="9750"/>
                  <a:pt x="31656" y="9750"/>
                </a:cubicBezTo>
                <a:cubicBezTo>
                  <a:pt x="31625" y="9750"/>
                  <a:pt x="31625" y="9750"/>
                  <a:pt x="31594" y="9750"/>
                </a:cubicBezTo>
                <a:cubicBezTo>
                  <a:pt x="31563" y="9750"/>
                  <a:pt x="31563" y="9750"/>
                  <a:pt x="31563" y="9719"/>
                </a:cubicBezTo>
                <a:cubicBezTo>
                  <a:pt x="31531" y="9719"/>
                  <a:pt x="31531" y="9719"/>
                  <a:pt x="31531" y="9719"/>
                </a:cubicBezTo>
                <a:cubicBezTo>
                  <a:pt x="31531" y="9719"/>
                  <a:pt x="31500" y="9719"/>
                  <a:pt x="31500" y="9687"/>
                </a:cubicBezTo>
                <a:cubicBezTo>
                  <a:pt x="31500" y="9687"/>
                  <a:pt x="31469" y="9656"/>
                  <a:pt x="31500" y="9625"/>
                </a:cubicBezTo>
                <a:cubicBezTo>
                  <a:pt x="31531" y="9594"/>
                  <a:pt x="31563" y="9594"/>
                  <a:pt x="31563" y="9594"/>
                </a:cubicBezTo>
                <a:cubicBezTo>
                  <a:pt x="31594" y="9562"/>
                  <a:pt x="31625" y="9562"/>
                  <a:pt x="31656" y="9562"/>
                </a:cubicBezTo>
                <a:cubicBezTo>
                  <a:pt x="31656" y="9562"/>
                  <a:pt x="31656" y="9562"/>
                  <a:pt x="31688" y="9594"/>
                </a:cubicBezTo>
                <a:cubicBezTo>
                  <a:pt x="31719" y="9594"/>
                  <a:pt x="31750" y="9594"/>
                  <a:pt x="31781" y="9625"/>
                </a:cubicBezTo>
                <a:cubicBezTo>
                  <a:pt x="31813" y="9625"/>
                  <a:pt x="31844" y="9656"/>
                  <a:pt x="31844" y="9656"/>
                </a:cubicBezTo>
                <a:cubicBezTo>
                  <a:pt x="31875" y="9687"/>
                  <a:pt x="31875" y="9687"/>
                  <a:pt x="31906" y="9687"/>
                </a:cubicBezTo>
                <a:cubicBezTo>
                  <a:pt x="31938" y="9687"/>
                  <a:pt x="31938" y="9719"/>
                  <a:pt x="31969" y="9719"/>
                </a:cubicBezTo>
                <a:cubicBezTo>
                  <a:pt x="32000" y="9719"/>
                  <a:pt x="32063" y="9719"/>
                  <a:pt x="32094" y="9719"/>
                </a:cubicBezTo>
                <a:cubicBezTo>
                  <a:pt x="32156" y="9687"/>
                  <a:pt x="32219" y="9656"/>
                  <a:pt x="32281" y="9656"/>
                </a:cubicBezTo>
                <a:cubicBezTo>
                  <a:pt x="32344" y="9656"/>
                  <a:pt x="32375" y="9687"/>
                  <a:pt x="32438" y="9687"/>
                </a:cubicBezTo>
                <a:cubicBezTo>
                  <a:pt x="32500" y="9687"/>
                  <a:pt x="32563" y="9687"/>
                  <a:pt x="32625" y="9656"/>
                </a:cubicBezTo>
                <a:cubicBezTo>
                  <a:pt x="32688" y="9656"/>
                  <a:pt x="32750" y="9625"/>
                  <a:pt x="32781" y="9594"/>
                </a:cubicBezTo>
                <a:cubicBezTo>
                  <a:pt x="32813" y="9594"/>
                  <a:pt x="32844" y="9562"/>
                  <a:pt x="32844" y="9531"/>
                </a:cubicBezTo>
                <a:cubicBezTo>
                  <a:pt x="32875" y="9500"/>
                  <a:pt x="32938" y="9469"/>
                  <a:pt x="33000" y="9437"/>
                </a:cubicBezTo>
                <a:cubicBezTo>
                  <a:pt x="33125" y="9500"/>
                  <a:pt x="33125" y="9531"/>
                  <a:pt x="33094" y="9594"/>
                </a:cubicBezTo>
                <a:cubicBezTo>
                  <a:pt x="33063" y="9594"/>
                  <a:pt x="33031" y="9625"/>
                  <a:pt x="33000" y="9656"/>
                </a:cubicBezTo>
                <a:cubicBezTo>
                  <a:pt x="32969" y="9687"/>
                  <a:pt x="32906" y="9687"/>
                  <a:pt x="32875" y="9719"/>
                </a:cubicBezTo>
                <a:cubicBezTo>
                  <a:pt x="33188" y="9719"/>
                  <a:pt x="33406" y="9687"/>
                  <a:pt x="33563" y="9562"/>
                </a:cubicBezTo>
                <a:cubicBezTo>
                  <a:pt x="33563" y="9531"/>
                  <a:pt x="33594" y="9531"/>
                  <a:pt x="33625" y="9500"/>
                </a:cubicBezTo>
                <a:cubicBezTo>
                  <a:pt x="33656" y="9500"/>
                  <a:pt x="33688" y="9500"/>
                  <a:pt x="33719" y="9500"/>
                </a:cubicBezTo>
                <a:cubicBezTo>
                  <a:pt x="33750" y="9500"/>
                  <a:pt x="33813" y="9469"/>
                  <a:pt x="33875" y="9469"/>
                </a:cubicBezTo>
                <a:cubicBezTo>
                  <a:pt x="33844" y="9500"/>
                  <a:pt x="33844" y="9500"/>
                  <a:pt x="33844" y="9531"/>
                </a:cubicBezTo>
                <a:cubicBezTo>
                  <a:pt x="33844" y="9594"/>
                  <a:pt x="33875" y="9625"/>
                  <a:pt x="33938" y="9625"/>
                </a:cubicBezTo>
                <a:cubicBezTo>
                  <a:pt x="33969" y="9625"/>
                  <a:pt x="33969" y="9625"/>
                  <a:pt x="34000" y="9625"/>
                </a:cubicBezTo>
                <a:cubicBezTo>
                  <a:pt x="34031" y="9625"/>
                  <a:pt x="34063" y="9625"/>
                  <a:pt x="34063" y="9625"/>
                </a:cubicBezTo>
                <a:cubicBezTo>
                  <a:pt x="34094" y="9625"/>
                  <a:pt x="34094" y="9625"/>
                  <a:pt x="34094" y="9625"/>
                </a:cubicBezTo>
                <a:cubicBezTo>
                  <a:pt x="34156" y="9625"/>
                  <a:pt x="34188" y="9594"/>
                  <a:pt x="34219" y="9625"/>
                </a:cubicBezTo>
                <a:cubicBezTo>
                  <a:pt x="34344" y="9625"/>
                  <a:pt x="34438" y="9594"/>
                  <a:pt x="34500" y="9562"/>
                </a:cubicBezTo>
                <a:cubicBezTo>
                  <a:pt x="34563" y="9562"/>
                  <a:pt x="34594" y="9562"/>
                  <a:pt x="34656" y="9562"/>
                </a:cubicBezTo>
                <a:cubicBezTo>
                  <a:pt x="34844" y="9594"/>
                  <a:pt x="35031" y="9594"/>
                  <a:pt x="35188" y="9562"/>
                </a:cubicBezTo>
                <a:cubicBezTo>
                  <a:pt x="35469" y="9469"/>
                  <a:pt x="35719" y="9344"/>
                  <a:pt x="36031" y="9312"/>
                </a:cubicBezTo>
                <a:cubicBezTo>
                  <a:pt x="36125" y="9312"/>
                  <a:pt x="36219" y="9187"/>
                  <a:pt x="36219" y="9094"/>
                </a:cubicBezTo>
                <a:cubicBezTo>
                  <a:pt x="36219" y="9062"/>
                  <a:pt x="36188" y="9031"/>
                  <a:pt x="36156" y="903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6117CA0-7F8C-3B42-8553-01983542E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id="{700FB8C3-60C0-394A-A86E-2C151665EE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2210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9" grpId="0"/>
          <p:bldP spid="10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9" grpId="0"/>
          <p:bldP spid="10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8">
            <a:extLst>
              <a:ext uri="{FF2B5EF4-FFF2-40B4-BE49-F238E27FC236}">
                <a16:creationId xmlns:a16="http://schemas.microsoft.com/office/drawing/2014/main" id="{75ED8754-013A-4746-99CA-BDEB1BA08F01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408108" y="513014"/>
            <a:ext cx="11303784" cy="3779982"/>
          </a:xfrm>
          <a:custGeom>
            <a:avLst/>
            <a:gdLst>
              <a:gd name="T0" fmla="*/ 10437 w 31906"/>
              <a:gd name="T1" fmla="*/ 12093 h 12781"/>
              <a:gd name="T2" fmla="*/ 12062 w 31906"/>
              <a:gd name="T3" fmla="*/ 11812 h 12781"/>
              <a:gd name="T4" fmla="*/ 30062 w 31906"/>
              <a:gd name="T5" fmla="*/ 8593 h 12781"/>
              <a:gd name="T6" fmla="*/ 29781 w 31906"/>
              <a:gd name="T7" fmla="*/ 7468 h 12781"/>
              <a:gd name="T8" fmla="*/ 29500 w 31906"/>
              <a:gd name="T9" fmla="*/ 7187 h 12781"/>
              <a:gd name="T10" fmla="*/ 29750 w 31906"/>
              <a:gd name="T11" fmla="*/ 5875 h 12781"/>
              <a:gd name="T12" fmla="*/ 30219 w 31906"/>
              <a:gd name="T13" fmla="*/ 5093 h 12781"/>
              <a:gd name="T14" fmla="*/ 31656 w 31906"/>
              <a:gd name="T15" fmla="*/ 3781 h 12781"/>
              <a:gd name="T16" fmla="*/ 30687 w 31906"/>
              <a:gd name="T17" fmla="*/ 3750 h 12781"/>
              <a:gd name="T18" fmla="*/ 30250 w 31906"/>
              <a:gd name="T19" fmla="*/ 3218 h 12781"/>
              <a:gd name="T20" fmla="*/ 28000 w 31906"/>
              <a:gd name="T21" fmla="*/ 3093 h 12781"/>
              <a:gd name="T22" fmla="*/ 28687 w 31906"/>
              <a:gd name="T23" fmla="*/ 2406 h 12781"/>
              <a:gd name="T24" fmla="*/ 27312 w 31906"/>
              <a:gd name="T25" fmla="*/ 2156 h 12781"/>
              <a:gd name="T26" fmla="*/ 27437 w 31906"/>
              <a:gd name="T27" fmla="*/ 1250 h 12781"/>
              <a:gd name="T28" fmla="*/ 26312 w 31906"/>
              <a:gd name="T29" fmla="*/ 812 h 12781"/>
              <a:gd name="T30" fmla="*/ 24281 w 31906"/>
              <a:gd name="T31" fmla="*/ 1062 h 12781"/>
              <a:gd name="T32" fmla="*/ 23219 w 31906"/>
              <a:gd name="T33" fmla="*/ 750 h 12781"/>
              <a:gd name="T34" fmla="*/ 22812 w 31906"/>
              <a:gd name="T35" fmla="*/ 156 h 12781"/>
              <a:gd name="T36" fmla="*/ 20437 w 31906"/>
              <a:gd name="T37" fmla="*/ 1000 h 12781"/>
              <a:gd name="T38" fmla="*/ 16906 w 31906"/>
              <a:gd name="T39" fmla="*/ 875 h 12781"/>
              <a:gd name="T40" fmla="*/ 17875 w 31906"/>
              <a:gd name="T41" fmla="*/ 312 h 12781"/>
              <a:gd name="T42" fmla="*/ 11437 w 31906"/>
              <a:gd name="T43" fmla="*/ 562 h 12781"/>
              <a:gd name="T44" fmla="*/ 2906 w 31906"/>
              <a:gd name="T45" fmla="*/ 3250 h 12781"/>
              <a:gd name="T46" fmla="*/ 2031 w 31906"/>
              <a:gd name="T47" fmla="*/ 5000 h 12781"/>
              <a:gd name="T48" fmla="*/ 219 w 31906"/>
              <a:gd name="T49" fmla="*/ 6843 h 12781"/>
              <a:gd name="T50" fmla="*/ 1344 w 31906"/>
              <a:gd name="T51" fmla="*/ 7500 h 12781"/>
              <a:gd name="T52" fmla="*/ 2375 w 31906"/>
              <a:gd name="T53" fmla="*/ 8593 h 12781"/>
              <a:gd name="T54" fmla="*/ 4219 w 31906"/>
              <a:gd name="T55" fmla="*/ 9031 h 12781"/>
              <a:gd name="T56" fmla="*/ 5500 w 31906"/>
              <a:gd name="T57" fmla="*/ 9343 h 12781"/>
              <a:gd name="T58" fmla="*/ 4719 w 31906"/>
              <a:gd name="T59" fmla="*/ 9843 h 12781"/>
              <a:gd name="T60" fmla="*/ 5156 w 31906"/>
              <a:gd name="T61" fmla="*/ 10437 h 12781"/>
              <a:gd name="T62" fmla="*/ 5313 w 31906"/>
              <a:gd name="T63" fmla="*/ 11000 h 12781"/>
              <a:gd name="T64" fmla="*/ 7906 w 31906"/>
              <a:gd name="T65" fmla="*/ 11156 h 12781"/>
              <a:gd name="T66" fmla="*/ 7156 w 31906"/>
              <a:gd name="T67" fmla="*/ 11968 h 12781"/>
              <a:gd name="T68" fmla="*/ 7437 w 31906"/>
              <a:gd name="T69" fmla="*/ 12468 h 12781"/>
              <a:gd name="T70" fmla="*/ 7281 w 31906"/>
              <a:gd name="T71" fmla="*/ 12593 h 12781"/>
              <a:gd name="T72" fmla="*/ 9094 w 31906"/>
              <a:gd name="T73" fmla="*/ 12156 h 12781"/>
              <a:gd name="T74" fmla="*/ 8750 w 31906"/>
              <a:gd name="T75" fmla="*/ 11875 h 12781"/>
              <a:gd name="T76" fmla="*/ 9062 w 31906"/>
              <a:gd name="T77" fmla="*/ 11718 h 12781"/>
              <a:gd name="T78" fmla="*/ 8969 w 31906"/>
              <a:gd name="T79" fmla="*/ 11125 h 12781"/>
              <a:gd name="T80" fmla="*/ 9219 w 31906"/>
              <a:gd name="T81" fmla="*/ 10937 h 12781"/>
              <a:gd name="T82" fmla="*/ 9844 w 31906"/>
              <a:gd name="T83" fmla="*/ 10875 h 12781"/>
              <a:gd name="T84" fmla="*/ 11375 w 31906"/>
              <a:gd name="T85" fmla="*/ 11406 h 12781"/>
              <a:gd name="T86" fmla="*/ 12281 w 31906"/>
              <a:gd name="T87" fmla="*/ 11625 h 12781"/>
              <a:gd name="T88" fmla="*/ 12656 w 31906"/>
              <a:gd name="T89" fmla="*/ 11750 h 12781"/>
              <a:gd name="T90" fmla="*/ 14344 w 31906"/>
              <a:gd name="T91" fmla="*/ 11312 h 12781"/>
              <a:gd name="T92" fmla="*/ 15094 w 31906"/>
              <a:gd name="T93" fmla="*/ 11062 h 12781"/>
              <a:gd name="T94" fmla="*/ 16344 w 31906"/>
              <a:gd name="T95" fmla="*/ 10875 h 12781"/>
              <a:gd name="T96" fmla="*/ 17719 w 31906"/>
              <a:gd name="T97" fmla="*/ 10593 h 12781"/>
              <a:gd name="T98" fmla="*/ 18094 w 31906"/>
              <a:gd name="T99" fmla="*/ 10687 h 12781"/>
              <a:gd name="T100" fmla="*/ 21719 w 31906"/>
              <a:gd name="T101" fmla="*/ 11031 h 12781"/>
              <a:gd name="T102" fmla="*/ 28469 w 31906"/>
              <a:gd name="T103" fmla="*/ 9687 h 12781"/>
              <a:gd name="T104" fmla="*/ 30250 w 31906"/>
              <a:gd name="T105" fmla="*/ 9125 h 12781"/>
              <a:gd name="T106" fmla="*/ 3375 w 31906"/>
              <a:gd name="T107" fmla="*/ 9375 h 12781"/>
              <a:gd name="T108" fmla="*/ 17312 w 31906"/>
              <a:gd name="T109" fmla="*/ 10968 h 12781"/>
              <a:gd name="T110" fmla="*/ 15969 w 31906"/>
              <a:gd name="T111" fmla="*/ 11468 h 12781"/>
              <a:gd name="T112" fmla="*/ 4719 w 31906"/>
              <a:gd name="T113" fmla="*/ 9468 h 12781"/>
              <a:gd name="T114" fmla="*/ 4438 w 31906"/>
              <a:gd name="T115" fmla="*/ 9750 h 12781"/>
              <a:gd name="T116" fmla="*/ 28687 w 31906"/>
              <a:gd name="T117" fmla="*/ 3156 h 12781"/>
              <a:gd name="T118" fmla="*/ 29625 w 31906"/>
              <a:gd name="T119" fmla="*/ 9593 h 12781"/>
              <a:gd name="T120" fmla="*/ 30562 w 31906"/>
              <a:gd name="T121" fmla="*/ 9250 h 12781"/>
              <a:gd name="T122" fmla="*/ 28812 w 31906"/>
              <a:gd name="T123" fmla="*/ 9781 h 12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906" h="12781">
                <a:moveTo>
                  <a:pt x="11937" y="11812"/>
                </a:moveTo>
                <a:cubicBezTo>
                  <a:pt x="11844" y="11812"/>
                  <a:pt x="11750" y="11843"/>
                  <a:pt x="11656" y="11843"/>
                </a:cubicBezTo>
                <a:cubicBezTo>
                  <a:pt x="11625" y="11875"/>
                  <a:pt x="11594" y="11875"/>
                  <a:pt x="11562" y="11906"/>
                </a:cubicBezTo>
                <a:cubicBezTo>
                  <a:pt x="11500" y="11906"/>
                  <a:pt x="11437" y="11968"/>
                  <a:pt x="11375" y="11968"/>
                </a:cubicBezTo>
                <a:cubicBezTo>
                  <a:pt x="11375" y="11968"/>
                  <a:pt x="11375" y="11968"/>
                  <a:pt x="11344" y="11968"/>
                </a:cubicBezTo>
                <a:cubicBezTo>
                  <a:pt x="11344" y="11937"/>
                  <a:pt x="11344" y="11937"/>
                  <a:pt x="11312" y="11937"/>
                </a:cubicBezTo>
                <a:cubicBezTo>
                  <a:pt x="11312" y="11937"/>
                  <a:pt x="11312" y="11937"/>
                  <a:pt x="11312" y="11937"/>
                </a:cubicBezTo>
                <a:cubicBezTo>
                  <a:pt x="11312" y="11937"/>
                  <a:pt x="11312" y="11937"/>
                  <a:pt x="11312" y="11937"/>
                </a:cubicBezTo>
                <a:cubicBezTo>
                  <a:pt x="11312" y="11937"/>
                  <a:pt x="11281" y="11906"/>
                  <a:pt x="11281" y="11906"/>
                </a:cubicBezTo>
                <a:cubicBezTo>
                  <a:pt x="11250" y="11906"/>
                  <a:pt x="11250" y="11937"/>
                  <a:pt x="11250" y="11937"/>
                </a:cubicBezTo>
                <a:cubicBezTo>
                  <a:pt x="11250" y="11937"/>
                  <a:pt x="11250" y="11937"/>
                  <a:pt x="11250" y="11968"/>
                </a:cubicBezTo>
                <a:cubicBezTo>
                  <a:pt x="11250" y="11968"/>
                  <a:pt x="11250" y="11968"/>
                  <a:pt x="11250" y="11968"/>
                </a:cubicBezTo>
                <a:cubicBezTo>
                  <a:pt x="11250" y="11968"/>
                  <a:pt x="11250" y="11968"/>
                  <a:pt x="11250" y="11968"/>
                </a:cubicBezTo>
                <a:cubicBezTo>
                  <a:pt x="11250" y="11968"/>
                  <a:pt x="11250" y="11968"/>
                  <a:pt x="11250" y="11968"/>
                </a:cubicBezTo>
                <a:cubicBezTo>
                  <a:pt x="11250" y="11968"/>
                  <a:pt x="11219" y="11968"/>
                  <a:pt x="11219" y="12000"/>
                </a:cubicBezTo>
                <a:cubicBezTo>
                  <a:pt x="11219" y="12000"/>
                  <a:pt x="11219" y="12000"/>
                  <a:pt x="11219" y="12000"/>
                </a:cubicBezTo>
                <a:cubicBezTo>
                  <a:pt x="11219" y="12000"/>
                  <a:pt x="11219" y="12000"/>
                  <a:pt x="11219" y="12000"/>
                </a:cubicBezTo>
                <a:cubicBezTo>
                  <a:pt x="11219" y="12000"/>
                  <a:pt x="11219" y="12000"/>
                  <a:pt x="11219" y="12000"/>
                </a:cubicBezTo>
                <a:cubicBezTo>
                  <a:pt x="11094" y="12000"/>
                  <a:pt x="10969" y="12000"/>
                  <a:pt x="10875" y="12000"/>
                </a:cubicBezTo>
                <a:cubicBezTo>
                  <a:pt x="10844" y="12000"/>
                  <a:pt x="10844" y="12000"/>
                  <a:pt x="10844" y="11968"/>
                </a:cubicBezTo>
                <a:cubicBezTo>
                  <a:pt x="10844" y="11968"/>
                  <a:pt x="10844" y="11968"/>
                  <a:pt x="10844" y="11968"/>
                </a:cubicBezTo>
                <a:cubicBezTo>
                  <a:pt x="10812" y="11937"/>
                  <a:pt x="10812" y="11937"/>
                  <a:pt x="10812" y="11937"/>
                </a:cubicBezTo>
                <a:cubicBezTo>
                  <a:pt x="10812" y="11937"/>
                  <a:pt x="10812" y="11937"/>
                  <a:pt x="10812" y="11937"/>
                </a:cubicBezTo>
                <a:cubicBezTo>
                  <a:pt x="10812" y="11937"/>
                  <a:pt x="10812" y="11937"/>
                  <a:pt x="10812" y="11937"/>
                </a:cubicBezTo>
                <a:cubicBezTo>
                  <a:pt x="10781" y="11937"/>
                  <a:pt x="10781" y="11937"/>
                  <a:pt x="10781" y="11937"/>
                </a:cubicBezTo>
                <a:cubicBezTo>
                  <a:pt x="10781" y="11937"/>
                  <a:pt x="10781" y="11937"/>
                  <a:pt x="10781" y="11968"/>
                </a:cubicBezTo>
                <a:cubicBezTo>
                  <a:pt x="10781" y="11968"/>
                  <a:pt x="10781" y="11968"/>
                  <a:pt x="10781" y="11968"/>
                </a:cubicBezTo>
                <a:cubicBezTo>
                  <a:pt x="10750" y="11968"/>
                  <a:pt x="10719" y="11968"/>
                  <a:pt x="10687" y="12000"/>
                </a:cubicBezTo>
                <a:cubicBezTo>
                  <a:pt x="10656" y="12000"/>
                  <a:pt x="10625" y="12000"/>
                  <a:pt x="10594" y="12031"/>
                </a:cubicBezTo>
                <a:cubicBezTo>
                  <a:pt x="10562" y="12062"/>
                  <a:pt x="10500" y="12093"/>
                  <a:pt x="10437" y="12093"/>
                </a:cubicBezTo>
                <a:cubicBezTo>
                  <a:pt x="10437" y="12093"/>
                  <a:pt x="10406" y="12093"/>
                  <a:pt x="10406" y="12093"/>
                </a:cubicBezTo>
                <a:cubicBezTo>
                  <a:pt x="10375" y="12093"/>
                  <a:pt x="10344" y="12093"/>
                  <a:pt x="10312" y="12093"/>
                </a:cubicBezTo>
                <a:cubicBezTo>
                  <a:pt x="10312" y="12093"/>
                  <a:pt x="10312" y="12093"/>
                  <a:pt x="10281" y="12093"/>
                </a:cubicBezTo>
                <a:cubicBezTo>
                  <a:pt x="10281" y="12062"/>
                  <a:pt x="10281" y="12062"/>
                  <a:pt x="10250" y="12062"/>
                </a:cubicBezTo>
                <a:cubicBezTo>
                  <a:pt x="10250" y="12062"/>
                  <a:pt x="10219" y="12031"/>
                  <a:pt x="10219" y="12031"/>
                </a:cubicBezTo>
                <a:cubicBezTo>
                  <a:pt x="10219" y="12031"/>
                  <a:pt x="10187" y="12031"/>
                  <a:pt x="10187" y="12031"/>
                </a:cubicBezTo>
                <a:cubicBezTo>
                  <a:pt x="10187" y="12031"/>
                  <a:pt x="10187" y="12031"/>
                  <a:pt x="10156" y="12031"/>
                </a:cubicBezTo>
                <a:cubicBezTo>
                  <a:pt x="10156" y="12031"/>
                  <a:pt x="10156" y="12062"/>
                  <a:pt x="10156" y="12062"/>
                </a:cubicBezTo>
                <a:cubicBezTo>
                  <a:pt x="10156" y="12062"/>
                  <a:pt x="10125" y="12062"/>
                  <a:pt x="10125" y="12062"/>
                </a:cubicBezTo>
                <a:cubicBezTo>
                  <a:pt x="10125" y="12062"/>
                  <a:pt x="10125" y="12093"/>
                  <a:pt x="10125" y="12093"/>
                </a:cubicBezTo>
                <a:cubicBezTo>
                  <a:pt x="10094" y="12093"/>
                  <a:pt x="10094" y="12125"/>
                  <a:pt x="10094" y="12125"/>
                </a:cubicBezTo>
                <a:cubicBezTo>
                  <a:pt x="10125" y="12156"/>
                  <a:pt x="10125" y="12156"/>
                  <a:pt x="10125" y="12156"/>
                </a:cubicBezTo>
                <a:cubicBezTo>
                  <a:pt x="10156" y="12156"/>
                  <a:pt x="10187" y="12156"/>
                  <a:pt x="10187" y="12156"/>
                </a:cubicBezTo>
                <a:cubicBezTo>
                  <a:pt x="10219" y="12156"/>
                  <a:pt x="10219" y="12156"/>
                  <a:pt x="10219" y="12156"/>
                </a:cubicBezTo>
                <a:cubicBezTo>
                  <a:pt x="10312" y="12156"/>
                  <a:pt x="10406" y="12156"/>
                  <a:pt x="10500" y="12156"/>
                </a:cubicBezTo>
                <a:cubicBezTo>
                  <a:pt x="10500" y="12125"/>
                  <a:pt x="10531" y="12125"/>
                  <a:pt x="10562" y="12125"/>
                </a:cubicBezTo>
                <a:cubicBezTo>
                  <a:pt x="10594" y="12125"/>
                  <a:pt x="10594" y="12125"/>
                  <a:pt x="10594" y="12125"/>
                </a:cubicBezTo>
                <a:cubicBezTo>
                  <a:pt x="10625" y="12093"/>
                  <a:pt x="10656" y="12093"/>
                  <a:pt x="10656" y="12093"/>
                </a:cubicBezTo>
                <a:cubicBezTo>
                  <a:pt x="10687" y="12093"/>
                  <a:pt x="10719" y="12093"/>
                  <a:pt x="10719" y="12093"/>
                </a:cubicBezTo>
                <a:cubicBezTo>
                  <a:pt x="10750" y="12093"/>
                  <a:pt x="10750" y="12093"/>
                  <a:pt x="10750" y="12093"/>
                </a:cubicBezTo>
                <a:cubicBezTo>
                  <a:pt x="10844" y="12093"/>
                  <a:pt x="10906" y="12093"/>
                  <a:pt x="10969" y="12062"/>
                </a:cubicBezTo>
                <a:cubicBezTo>
                  <a:pt x="11031" y="12062"/>
                  <a:pt x="11062" y="12062"/>
                  <a:pt x="11094" y="12062"/>
                </a:cubicBezTo>
                <a:cubicBezTo>
                  <a:pt x="11219" y="12062"/>
                  <a:pt x="11344" y="12031"/>
                  <a:pt x="11437" y="12000"/>
                </a:cubicBezTo>
                <a:cubicBezTo>
                  <a:pt x="11469" y="12000"/>
                  <a:pt x="11469" y="12000"/>
                  <a:pt x="11500" y="12000"/>
                </a:cubicBezTo>
                <a:cubicBezTo>
                  <a:pt x="11562" y="11968"/>
                  <a:pt x="11594" y="11968"/>
                  <a:pt x="11656" y="11968"/>
                </a:cubicBezTo>
                <a:cubicBezTo>
                  <a:pt x="11719" y="11937"/>
                  <a:pt x="11781" y="11937"/>
                  <a:pt x="11844" y="11937"/>
                </a:cubicBezTo>
                <a:cubicBezTo>
                  <a:pt x="11844" y="11937"/>
                  <a:pt x="11875" y="11937"/>
                  <a:pt x="11875" y="11937"/>
                </a:cubicBezTo>
                <a:cubicBezTo>
                  <a:pt x="11906" y="11937"/>
                  <a:pt x="11906" y="11937"/>
                  <a:pt x="11937" y="11937"/>
                </a:cubicBezTo>
                <a:cubicBezTo>
                  <a:pt x="11969" y="11937"/>
                  <a:pt x="12031" y="11937"/>
                  <a:pt x="12031" y="11906"/>
                </a:cubicBezTo>
                <a:cubicBezTo>
                  <a:pt x="12062" y="11875"/>
                  <a:pt x="12062" y="11843"/>
                  <a:pt x="12062" y="11812"/>
                </a:cubicBezTo>
                <a:cubicBezTo>
                  <a:pt x="12031" y="11812"/>
                  <a:pt x="12031" y="11812"/>
                  <a:pt x="12000" y="11812"/>
                </a:cubicBezTo>
                <a:cubicBezTo>
                  <a:pt x="11969" y="11812"/>
                  <a:pt x="11937" y="11812"/>
                  <a:pt x="11937" y="11812"/>
                </a:cubicBezTo>
                <a:close/>
                <a:moveTo>
                  <a:pt x="31906" y="9156"/>
                </a:moveTo>
                <a:cubicBezTo>
                  <a:pt x="31875" y="9125"/>
                  <a:pt x="31844" y="9125"/>
                  <a:pt x="31812" y="9125"/>
                </a:cubicBezTo>
                <a:cubicBezTo>
                  <a:pt x="31812" y="9125"/>
                  <a:pt x="31812" y="9125"/>
                  <a:pt x="31781" y="9125"/>
                </a:cubicBezTo>
                <a:cubicBezTo>
                  <a:pt x="31781" y="9125"/>
                  <a:pt x="31781" y="9125"/>
                  <a:pt x="31750" y="9125"/>
                </a:cubicBezTo>
                <a:cubicBezTo>
                  <a:pt x="31750" y="9125"/>
                  <a:pt x="31750" y="9125"/>
                  <a:pt x="31719" y="9125"/>
                </a:cubicBezTo>
                <a:cubicBezTo>
                  <a:pt x="31719" y="9125"/>
                  <a:pt x="31719" y="9125"/>
                  <a:pt x="31687" y="9125"/>
                </a:cubicBezTo>
                <a:cubicBezTo>
                  <a:pt x="31687" y="9125"/>
                  <a:pt x="31687" y="9125"/>
                  <a:pt x="31687" y="9125"/>
                </a:cubicBezTo>
                <a:cubicBezTo>
                  <a:pt x="31656" y="9125"/>
                  <a:pt x="31656" y="9125"/>
                  <a:pt x="31625" y="9156"/>
                </a:cubicBezTo>
                <a:cubicBezTo>
                  <a:pt x="31625" y="9156"/>
                  <a:pt x="31625" y="9156"/>
                  <a:pt x="31625" y="9187"/>
                </a:cubicBezTo>
                <a:cubicBezTo>
                  <a:pt x="31625" y="9187"/>
                  <a:pt x="31625" y="9187"/>
                  <a:pt x="31656" y="9218"/>
                </a:cubicBezTo>
                <a:cubicBezTo>
                  <a:pt x="31687" y="9218"/>
                  <a:pt x="31750" y="9218"/>
                  <a:pt x="31781" y="9218"/>
                </a:cubicBezTo>
                <a:cubicBezTo>
                  <a:pt x="31812" y="9218"/>
                  <a:pt x="31906" y="9250"/>
                  <a:pt x="31906" y="9187"/>
                </a:cubicBezTo>
                <a:cubicBezTo>
                  <a:pt x="31906" y="9187"/>
                  <a:pt x="31906" y="9156"/>
                  <a:pt x="31906" y="9156"/>
                </a:cubicBezTo>
                <a:close/>
                <a:moveTo>
                  <a:pt x="31250" y="9062"/>
                </a:moveTo>
                <a:cubicBezTo>
                  <a:pt x="31156" y="9031"/>
                  <a:pt x="31062" y="9062"/>
                  <a:pt x="31000" y="9000"/>
                </a:cubicBezTo>
                <a:cubicBezTo>
                  <a:pt x="31000" y="8968"/>
                  <a:pt x="31031" y="8968"/>
                  <a:pt x="31062" y="8968"/>
                </a:cubicBezTo>
                <a:cubicBezTo>
                  <a:pt x="31062" y="8968"/>
                  <a:pt x="31094" y="8968"/>
                  <a:pt x="31094" y="8937"/>
                </a:cubicBezTo>
                <a:cubicBezTo>
                  <a:pt x="31094" y="8937"/>
                  <a:pt x="31094" y="8937"/>
                  <a:pt x="31094" y="8906"/>
                </a:cubicBezTo>
                <a:cubicBezTo>
                  <a:pt x="31031" y="8906"/>
                  <a:pt x="30937" y="8906"/>
                  <a:pt x="30875" y="8906"/>
                </a:cubicBezTo>
                <a:cubicBezTo>
                  <a:pt x="30750" y="8875"/>
                  <a:pt x="30594" y="8875"/>
                  <a:pt x="30437" y="8875"/>
                </a:cubicBezTo>
                <a:cubicBezTo>
                  <a:pt x="30375" y="8875"/>
                  <a:pt x="30312" y="8875"/>
                  <a:pt x="30219" y="8875"/>
                </a:cubicBezTo>
                <a:cubicBezTo>
                  <a:pt x="30125" y="8875"/>
                  <a:pt x="30000" y="8843"/>
                  <a:pt x="29875" y="8906"/>
                </a:cubicBezTo>
                <a:cubicBezTo>
                  <a:pt x="29875" y="8906"/>
                  <a:pt x="29844" y="8906"/>
                  <a:pt x="29812" y="8906"/>
                </a:cubicBezTo>
                <a:cubicBezTo>
                  <a:pt x="29781" y="8906"/>
                  <a:pt x="29781" y="8906"/>
                  <a:pt x="29750" y="8906"/>
                </a:cubicBezTo>
                <a:cubicBezTo>
                  <a:pt x="29750" y="8875"/>
                  <a:pt x="29750" y="8875"/>
                  <a:pt x="29750" y="8875"/>
                </a:cubicBezTo>
                <a:cubicBezTo>
                  <a:pt x="29812" y="8843"/>
                  <a:pt x="29906" y="8812"/>
                  <a:pt x="29969" y="8781"/>
                </a:cubicBezTo>
                <a:cubicBezTo>
                  <a:pt x="30000" y="8750"/>
                  <a:pt x="30062" y="8687"/>
                  <a:pt x="30062" y="8625"/>
                </a:cubicBezTo>
                <a:cubicBezTo>
                  <a:pt x="30062" y="8625"/>
                  <a:pt x="30062" y="8593"/>
                  <a:pt x="30062" y="8593"/>
                </a:cubicBezTo>
                <a:cubicBezTo>
                  <a:pt x="30062" y="8562"/>
                  <a:pt x="30062" y="8531"/>
                  <a:pt x="30094" y="8531"/>
                </a:cubicBezTo>
                <a:cubicBezTo>
                  <a:pt x="30125" y="8468"/>
                  <a:pt x="30219" y="8437"/>
                  <a:pt x="30312" y="8437"/>
                </a:cubicBezTo>
                <a:cubicBezTo>
                  <a:pt x="30344" y="8437"/>
                  <a:pt x="30344" y="8437"/>
                  <a:pt x="30375" y="8437"/>
                </a:cubicBezTo>
                <a:cubicBezTo>
                  <a:pt x="30406" y="8437"/>
                  <a:pt x="30406" y="8406"/>
                  <a:pt x="30437" y="8406"/>
                </a:cubicBezTo>
                <a:cubicBezTo>
                  <a:pt x="30437" y="8375"/>
                  <a:pt x="30437" y="8375"/>
                  <a:pt x="30437" y="8375"/>
                </a:cubicBezTo>
                <a:cubicBezTo>
                  <a:pt x="30344" y="8312"/>
                  <a:pt x="30344" y="8218"/>
                  <a:pt x="30281" y="8156"/>
                </a:cubicBezTo>
                <a:cubicBezTo>
                  <a:pt x="30250" y="8156"/>
                  <a:pt x="30250" y="8125"/>
                  <a:pt x="30219" y="8093"/>
                </a:cubicBezTo>
                <a:cubicBezTo>
                  <a:pt x="30187" y="8093"/>
                  <a:pt x="30125" y="8062"/>
                  <a:pt x="30062" y="8062"/>
                </a:cubicBezTo>
                <a:cubicBezTo>
                  <a:pt x="30000" y="8062"/>
                  <a:pt x="29937" y="8062"/>
                  <a:pt x="29906" y="8062"/>
                </a:cubicBezTo>
                <a:cubicBezTo>
                  <a:pt x="29844" y="8031"/>
                  <a:pt x="29812" y="8031"/>
                  <a:pt x="29750" y="8031"/>
                </a:cubicBezTo>
                <a:cubicBezTo>
                  <a:pt x="29719" y="8031"/>
                  <a:pt x="29656" y="8031"/>
                  <a:pt x="29594" y="8031"/>
                </a:cubicBezTo>
                <a:cubicBezTo>
                  <a:pt x="29500" y="8000"/>
                  <a:pt x="29406" y="8000"/>
                  <a:pt x="29312" y="8000"/>
                </a:cubicBezTo>
                <a:cubicBezTo>
                  <a:pt x="29125" y="8000"/>
                  <a:pt x="28906" y="8000"/>
                  <a:pt x="28719" y="7968"/>
                </a:cubicBezTo>
                <a:cubicBezTo>
                  <a:pt x="28687" y="7968"/>
                  <a:pt x="28656" y="7968"/>
                  <a:pt x="28625" y="7968"/>
                </a:cubicBezTo>
                <a:cubicBezTo>
                  <a:pt x="28625" y="7968"/>
                  <a:pt x="28594" y="7968"/>
                  <a:pt x="28594" y="7968"/>
                </a:cubicBezTo>
                <a:cubicBezTo>
                  <a:pt x="28562" y="7937"/>
                  <a:pt x="28594" y="7937"/>
                  <a:pt x="28625" y="7906"/>
                </a:cubicBezTo>
                <a:cubicBezTo>
                  <a:pt x="28625" y="7875"/>
                  <a:pt x="28625" y="7875"/>
                  <a:pt x="28656" y="7875"/>
                </a:cubicBezTo>
                <a:cubicBezTo>
                  <a:pt x="28687" y="7812"/>
                  <a:pt x="28781" y="7750"/>
                  <a:pt x="28656" y="7687"/>
                </a:cubicBezTo>
                <a:cubicBezTo>
                  <a:pt x="28656" y="7687"/>
                  <a:pt x="28625" y="7687"/>
                  <a:pt x="28625" y="7687"/>
                </a:cubicBezTo>
                <a:cubicBezTo>
                  <a:pt x="28594" y="7687"/>
                  <a:pt x="28562" y="7687"/>
                  <a:pt x="28562" y="7656"/>
                </a:cubicBezTo>
                <a:cubicBezTo>
                  <a:pt x="28562" y="7656"/>
                  <a:pt x="28562" y="7656"/>
                  <a:pt x="28562" y="7656"/>
                </a:cubicBezTo>
                <a:cubicBezTo>
                  <a:pt x="28562" y="7625"/>
                  <a:pt x="28594" y="7625"/>
                  <a:pt x="28625" y="7593"/>
                </a:cubicBezTo>
                <a:cubicBezTo>
                  <a:pt x="28625" y="7593"/>
                  <a:pt x="28656" y="7593"/>
                  <a:pt x="28656" y="7593"/>
                </a:cubicBezTo>
                <a:cubicBezTo>
                  <a:pt x="28687" y="7593"/>
                  <a:pt x="28719" y="7625"/>
                  <a:pt x="28750" y="7625"/>
                </a:cubicBezTo>
                <a:cubicBezTo>
                  <a:pt x="28750" y="7656"/>
                  <a:pt x="28781" y="7656"/>
                  <a:pt x="28781" y="7656"/>
                </a:cubicBezTo>
                <a:cubicBezTo>
                  <a:pt x="28812" y="7687"/>
                  <a:pt x="28844" y="7687"/>
                  <a:pt x="28906" y="7687"/>
                </a:cubicBezTo>
                <a:cubicBezTo>
                  <a:pt x="28906" y="7687"/>
                  <a:pt x="28906" y="7687"/>
                  <a:pt x="28937" y="7687"/>
                </a:cubicBezTo>
                <a:cubicBezTo>
                  <a:pt x="29125" y="7687"/>
                  <a:pt x="29312" y="7656"/>
                  <a:pt x="29469" y="7593"/>
                </a:cubicBezTo>
                <a:cubicBezTo>
                  <a:pt x="29531" y="7562"/>
                  <a:pt x="29625" y="7531"/>
                  <a:pt x="29687" y="7500"/>
                </a:cubicBezTo>
                <a:cubicBezTo>
                  <a:pt x="29719" y="7500"/>
                  <a:pt x="29750" y="7468"/>
                  <a:pt x="29781" y="7468"/>
                </a:cubicBezTo>
                <a:cubicBezTo>
                  <a:pt x="29781" y="7468"/>
                  <a:pt x="29750" y="7468"/>
                  <a:pt x="29719" y="7468"/>
                </a:cubicBezTo>
                <a:cubicBezTo>
                  <a:pt x="29656" y="7468"/>
                  <a:pt x="29562" y="7437"/>
                  <a:pt x="29531" y="7437"/>
                </a:cubicBezTo>
                <a:cubicBezTo>
                  <a:pt x="29469" y="7437"/>
                  <a:pt x="29437" y="7437"/>
                  <a:pt x="29437" y="7468"/>
                </a:cubicBezTo>
                <a:cubicBezTo>
                  <a:pt x="29344" y="7562"/>
                  <a:pt x="29219" y="7562"/>
                  <a:pt x="29125" y="7562"/>
                </a:cubicBezTo>
                <a:cubicBezTo>
                  <a:pt x="29094" y="7562"/>
                  <a:pt x="29062" y="7562"/>
                  <a:pt x="29031" y="7562"/>
                </a:cubicBezTo>
                <a:cubicBezTo>
                  <a:pt x="29031" y="7562"/>
                  <a:pt x="29031" y="7562"/>
                  <a:pt x="29000" y="7562"/>
                </a:cubicBezTo>
                <a:cubicBezTo>
                  <a:pt x="28969" y="7562"/>
                  <a:pt x="28937" y="7562"/>
                  <a:pt x="28906" y="7562"/>
                </a:cubicBezTo>
                <a:cubicBezTo>
                  <a:pt x="28906" y="7562"/>
                  <a:pt x="28875" y="7562"/>
                  <a:pt x="28875" y="7562"/>
                </a:cubicBezTo>
                <a:cubicBezTo>
                  <a:pt x="28812" y="7562"/>
                  <a:pt x="28781" y="7531"/>
                  <a:pt x="28750" y="7500"/>
                </a:cubicBezTo>
                <a:cubicBezTo>
                  <a:pt x="28750" y="7468"/>
                  <a:pt x="28750" y="7468"/>
                  <a:pt x="28750" y="7468"/>
                </a:cubicBezTo>
                <a:cubicBezTo>
                  <a:pt x="28781" y="7437"/>
                  <a:pt x="28781" y="7437"/>
                  <a:pt x="28812" y="7437"/>
                </a:cubicBezTo>
                <a:cubicBezTo>
                  <a:pt x="28844" y="7437"/>
                  <a:pt x="28844" y="7437"/>
                  <a:pt x="28875" y="7437"/>
                </a:cubicBezTo>
                <a:cubicBezTo>
                  <a:pt x="28875" y="7437"/>
                  <a:pt x="28906" y="7437"/>
                  <a:pt x="28906" y="7437"/>
                </a:cubicBezTo>
                <a:cubicBezTo>
                  <a:pt x="28969" y="7406"/>
                  <a:pt x="29000" y="7406"/>
                  <a:pt x="29062" y="7406"/>
                </a:cubicBezTo>
                <a:cubicBezTo>
                  <a:pt x="29062" y="7406"/>
                  <a:pt x="29062" y="7406"/>
                  <a:pt x="29062" y="7406"/>
                </a:cubicBezTo>
                <a:cubicBezTo>
                  <a:pt x="29094" y="7406"/>
                  <a:pt x="29094" y="7406"/>
                  <a:pt x="29125" y="7406"/>
                </a:cubicBezTo>
                <a:cubicBezTo>
                  <a:pt x="29125" y="7406"/>
                  <a:pt x="29156" y="7406"/>
                  <a:pt x="29156" y="7406"/>
                </a:cubicBezTo>
                <a:cubicBezTo>
                  <a:pt x="29187" y="7406"/>
                  <a:pt x="29219" y="7406"/>
                  <a:pt x="29250" y="7406"/>
                </a:cubicBezTo>
                <a:cubicBezTo>
                  <a:pt x="29250" y="7375"/>
                  <a:pt x="29281" y="7375"/>
                  <a:pt x="29281" y="7343"/>
                </a:cubicBezTo>
                <a:cubicBezTo>
                  <a:pt x="29312" y="7343"/>
                  <a:pt x="29312" y="7343"/>
                  <a:pt x="29344" y="7343"/>
                </a:cubicBezTo>
                <a:cubicBezTo>
                  <a:pt x="29375" y="7343"/>
                  <a:pt x="29406" y="7343"/>
                  <a:pt x="29437" y="7343"/>
                </a:cubicBezTo>
                <a:cubicBezTo>
                  <a:pt x="29469" y="7343"/>
                  <a:pt x="29500" y="7343"/>
                  <a:pt x="29531" y="7375"/>
                </a:cubicBezTo>
                <a:cubicBezTo>
                  <a:pt x="29562" y="7406"/>
                  <a:pt x="29562" y="7406"/>
                  <a:pt x="29562" y="7375"/>
                </a:cubicBezTo>
                <a:cubicBezTo>
                  <a:pt x="29594" y="7375"/>
                  <a:pt x="29594" y="7343"/>
                  <a:pt x="29594" y="7343"/>
                </a:cubicBezTo>
                <a:cubicBezTo>
                  <a:pt x="29625" y="7343"/>
                  <a:pt x="29656" y="7312"/>
                  <a:pt x="29656" y="7281"/>
                </a:cubicBezTo>
                <a:cubicBezTo>
                  <a:pt x="29656" y="7281"/>
                  <a:pt x="29656" y="7250"/>
                  <a:pt x="29656" y="7250"/>
                </a:cubicBezTo>
                <a:cubicBezTo>
                  <a:pt x="29656" y="7250"/>
                  <a:pt x="29625" y="7250"/>
                  <a:pt x="29625" y="7218"/>
                </a:cubicBezTo>
                <a:cubicBezTo>
                  <a:pt x="29625" y="7218"/>
                  <a:pt x="29594" y="7218"/>
                  <a:pt x="29594" y="7187"/>
                </a:cubicBezTo>
                <a:cubicBezTo>
                  <a:pt x="29562" y="7187"/>
                  <a:pt x="29562" y="7187"/>
                  <a:pt x="29531" y="7187"/>
                </a:cubicBezTo>
                <a:cubicBezTo>
                  <a:pt x="29531" y="7187"/>
                  <a:pt x="29500" y="7187"/>
                  <a:pt x="29500" y="7187"/>
                </a:cubicBezTo>
                <a:cubicBezTo>
                  <a:pt x="29469" y="7187"/>
                  <a:pt x="29437" y="7187"/>
                  <a:pt x="29406" y="7187"/>
                </a:cubicBezTo>
                <a:cubicBezTo>
                  <a:pt x="29406" y="7156"/>
                  <a:pt x="29406" y="7125"/>
                  <a:pt x="29406" y="7093"/>
                </a:cubicBezTo>
                <a:cubicBezTo>
                  <a:pt x="29406" y="7093"/>
                  <a:pt x="29375" y="7062"/>
                  <a:pt x="29344" y="7031"/>
                </a:cubicBezTo>
                <a:cubicBezTo>
                  <a:pt x="29312" y="7031"/>
                  <a:pt x="29312" y="7000"/>
                  <a:pt x="29281" y="7000"/>
                </a:cubicBezTo>
                <a:cubicBezTo>
                  <a:pt x="29281" y="6968"/>
                  <a:pt x="29312" y="6968"/>
                  <a:pt x="29344" y="6968"/>
                </a:cubicBezTo>
                <a:cubicBezTo>
                  <a:pt x="29344" y="6968"/>
                  <a:pt x="29344" y="6968"/>
                  <a:pt x="29375" y="6968"/>
                </a:cubicBezTo>
                <a:cubicBezTo>
                  <a:pt x="29406" y="6968"/>
                  <a:pt x="29437" y="6968"/>
                  <a:pt x="29437" y="6937"/>
                </a:cubicBezTo>
                <a:cubicBezTo>
                  <a:pt x="29437" y="6906"/>
                  <a:pt x="29437" y="6906"/>
                  <a:pt x="29406" y="6906"/>
                </a:cubicBezTo>
                <a:cubicBezTo>
                  <a:pt x="29375" y="6875"/>
                  <a:pt x="29312" y="6875"/>
                  <a:pt x="29281" y="6843"/>
                </a:cubicBezTo>
                <a:cubicBezTo>
                  <a:pt x="29344" y="6812"/>
                  <a:pt x="29406" y="6812"/>
                  <a:pt x="29375" y="6750"/>
                </a:cubicBezTo>
                <a:cubicBezTo>
                  <a:pt x="29375" y="6718"/>
                  <a:pt x="29344" y="6718"/>
                  <a:pt x="29344" y="6718"/>
                </a:cubicBezTo>
                <a:cubicBezTo>
                  <a:pt x="29344" y="6687"/>
                  <a:pt x="29312" y="6687"/>
                  <a:pt x="29312" y="6656"/>
                </a:cubicBezTo>
                <a:cubicBezTo>
                  <a:pt x="29312" y="6625"/>
                  <a:pt x="29344" y="6562"/>
                  <a:pt x="29469" y="6531"/>
                </a:cubicBezTo>
                <a:cubicBezTo>
                  <a:pt x="29500" y="6531"/>
                  <a:pt x="29500" y="6531"/>
                  <a:pt x="29531" y="6531"/>
                </a:cubicBezTo>
                <a:cubicBezTo>
                  <a:pt x="29531" y="6531"/>
                  <a:pt x="29562" y="6531"/>
                  <a:pt x="29562" y="6500"/>
                </a:cubicBezTo>
                <a:cubicBezTo>
                  <a:pt x="29594" y="6500"/>
                  <a:pt x="29625" y="6500"/>
                  <a:pt x="29656" y="6468"/>
                </a:cubicBezTo>
                <a:cubicBezTo>
                  <a:pt x="29656" y="6468"/>
                  <a:pt x="29687" y="6468"/>
                  <a:pt x="29687" y="6468"/>
                </a:cubicBezTo>
                <a:cubicBezTo>
                  <a:pt x="29719" y="6437"/>
                  <a:pt x="29719" y="6406"/>
                  <a:pt x="29719" y="6375"/>
                </a:cubicBezTo>
                <a:cubicBezTo>
                  <a:pt x="29719" y="6343"/>
                  <a:pt x="29719" y="6343"/>
                  <a:pt x="29719" y="6343"/>
                </a:cubicBezTo>
                <a:cubicBezTo>
                  <a:pt x="29719" y="6312"/>
                  <a:pt x="29656" y="6281"/>
                  <a:pt x="29594" y="6312"/>
                </a:cubicBezTo>
                <a:cubicBezTo>
                  <a:pt x="29562" y="6312"/>
                  <a:pt x="29531" y="6312"/>
                  <a:pt x="29531" y="6312"/>
                </a:cubicBezTo>
                <a:cubicBezTo>
                  <a:pt x="29500" y="6281"/>
                  <a:pt x="29469" y="6250"/>
                  <a:pt x="29469" y="6250"/>
                </a:cubicBezTo>
                <a:cubicBezTo>
                  <a:pt x="29469" y="6218"/>
                  <a:pt x="29500" y="6218"/>
                  <a:pt x="29500" y="6187"/>
                </a:cubicBezTo>
                <a:cubicBezTo>
                  <a:pt x="29500" y="6187"/>
                  <a:pt x="29500" y="6187"/>
                  <a:pt x="29500" y="6156"/>
                </a:cubicBezTo>
                <a:cubicBezTo>
                  <a:pt x="29469" y="6156"/>
                  <a:pt x="29469" y="6125"/>
                  <a:pt x="29437" y="6125"/>
                </a:cubicBezTo>
                <a:cubicBezTo>
                  <a:pt x="29406" y="6093"/>
                  <a:pt x="29312" y="6093"/>
                  <a:pt x="29250" y="6093"/>
                </a:cubicBezTo>
                <a:cubicBezTo>
                  <a:pt x="29312" y="6062"/>
                  <a:pt x="29344" y="6031"/>
                  <a:pt x="29375" y="6031"/>
                </a:cubicBezTo>
                <a:cubicBezTo>
                  <a:pt x="29437" y="6000"/>
                  <a:pt x="29469" y="6000"/>
                  <a:pt x="29500" y="5968"/>
                </a:cubicBezTo>
                <a:cubicBezTo>
                  <a:pt x="29562" y="5968"/>
                  <a:pt x="29594" y="5937"/>
                  <a:pt x="29625" y="5937"/>
                </a:cubicBezTo>
                <a:cubicBezTo>
                  <a:pt x="29656" y="5906"/>
                  <a:pt x="29719" y="5906"/>
                  <a:pt x="29750" y="5875"/>
                </a:cubicBezTo>
                <a:cubicBezTo>
                  <a:pt x="29812" y="5843"/>
                  <a:pt x="29844" y="5781"/>
                  <a:pt x="29906" y="5718"/>
                </a:cubicBezTo>
                <a:cubicBezTo>
                  <a:pt x="29906" y="5687"/>
                  <a:pt x="29937" y="5656"/>
                  <a:pt x="29937" y="5593"/>
                </a:cubicBezTo>
                <a:cubicBezTo>
                  <a:pt x="29969" y="5562"/>
                  <a:pt x="29969" y="5500"/>
                  <a:pt x="29937" y="5437"/>
                </a:cubicBezTo>
                <a:cubicBezTo>
                  <a:pt x="29969" y="5437"/>
                  <a:pt x="30000" y="5437"/>
                  <a:pt x="30000" y="5406"/>
                </a:cubicBezTo>
                <a:cubicBezTo>
                  <a:pt x="30031" y="5375"/>
                  <a:pt x="30031" y="5375"/>
                  <a:pt x="30062" y="5343"/>
                </a:cubicBezTo>
                <a:cubicBezTo>
                  <a:pt x="30062" y="5343"/>
                  <a:pt x="30062" y="5343"/>
                  <a:pt x="30062" y="5312"/>
                </a:cubicBezTo>
                <a:cubicBezTo>
                  <a:pt x="30094" y="5312"/>
                  <a:pt x="30156" y="5312"/>
                  <a:pt x="30187" y="5312"/>
                </a:cubicBezTo>
                <a:cubicBezTo>
                  <a:pt x="30219" y="5343"/>
                  <a:pt x="30187" y="5375"/>
                  <a:pt x="30187" y="5406"/>
                </a:cubicBezTo>
                <a:cubicBezTo>
                  <a:pt x="30187" y="5406"/>
                  <a:pt x="30187" y="5406"/>
                  <a:pt x="30219" y="5437"/>
                </a:cubicBezTo>
                <a:cubicBezTo>
                  <a:pt x="30219" y="5437"/>
                  <a:pt x="30219" y="5437"/>
                  <a:pt x="30250" y="5437"/>
                </a:cubicBezTo>
                <a:cubicBezTo>
                  <a:pt x="30250" y="5437"/>
                  <a:pt x="30250" y="5437"/>
                  <a:pt x="30281" y="5406"/>
                </a:cubicBezTo>
                <a:cubicBezTo>
                  <a:pt x="30312" y="5406"/>
                  <a:pt x="30312" y="5406"/>
                  <a:pt x="30312" y="5375"/>
                </a:cubicBezTo>
                <a:cubicBezTo>
                  <a:pt x="30312" y="5375"/>
                  <a:pt x="30312" y="5343"/>
                  <a:pt x="30312" y="5343"/>
                </a:cubicBezTo>
                <a:cubicBezTo>
                  <a:pt x="30312" y="5343"/>
                  <a:pt x="30281" y="5312"/>
                  <a:pt x="30281" y="5312"/>
                </a:cubicBezTo>
                <a:cubicBezTo>
                  <a:pt x="30250" y="5312"/>
                  <a:pt x="30281" y="5281"/>
                  <a:pt x="30281" y="5250"/>
                </a:cubicBezTo>
                <a:cubicBezTo>
                  <a:pt x="30281" y="5250"/>
                  <a:pt x="30281" y="5218"/>
                  <a:pt x="30281" y="5218"/>
                </a:cubicBezTo>
                <a:cubicBezTo>
                  <a:pt x="30281" y="5218"/>
                  <a:pt x="30250" y="5187"/>
                  <a:pt x="30219" y="5187"/>
                </a:cubicBezTo>
                <a:cubicBezTo>
                  <a:pt x="30187" y="5187"/>
                  <a:pt x="30156" y="5218"/>
                  <a:pt x="30156" y="5218"/>
                </a:cubicBezTo>
                <a:cubicBezTo>
                  <a:pt x="30156" y="5218"/>
                  <a:pt x="30156" y="5218"/>
                  <a:pt x="30187" y="5218"/>
                </a:cubicBezTo>
                <a:cubicBezTo>
                  <a:pt x="30187" y="5250"/>
                  <a:pt x="30187" y="5250"/>
                  <a:pt x="30187" y="5250"/>
                </a:cubicBezTo>
                <a:cubicBezTo>
                  <a:pt x="30187" y="5250"/>
                  <a:pt x="30187" y="5250"/>
                  <a:pt x="30187" y="5281"/>
                </a:cubicBezTo>
                <a:cubicBezTo>
                  <a:pt x="30187" y="5281"/>
                  <a:pt x="30187" y="5281"/>
                  <a:pt x="30187" y="5281"/>
                </a:cubicBezTo>
                <a:cubicBezTo>
                  <a:pt x="30187" y="5281"/>
                  <a:pt x="30187" y="5281"/>
                  <a:pt x="30187" y="5281"/>
                </a:cubicBezTo>
                <a:cubicBezTo>
                  <a:pt x="30125" y="5281"/>
                  <a:pt x="30062" y="5250"/>
                  <a:pt x="30000" y="5250"/>
                </a:cubicBezTo>
                <a:cubicBezTo>
                  <a:pt x="29937" y="5250"/>
                  <a:pt x="29844" y="5218"/>
                  <a:pt x="29781" y="5218"/>
                </a:cubicBezTo>
                <a:cubicBezTo>
                  <a:pt x="29812" y="5218"/>
                  <a:pt x="29812" y="5187"/>
                  <a:pt x="29844" y="5187"/>
                </a:cubicBezTo>
                <a:cubicBezTo>
                  <a:pt x="29906" y="5156"/>
                  <a:pt x="29969" y="5156"/>
                  <a:pt x="30031" y="5156"/>
                </a:cubicBezTo>
                <a:cubicBezTo>
                  <a:pt x="30062" y="5156"/>
                  <a:pt x="30094" y="5156"/>
                  <a:pt x="30125" y="5156"/>
                </a:cubicBezTo>
                <a:cubicBezTo>
                  <a:pt x="30125" y="5156"/>
                  <a:pt x="30156" y="5156"/>
                  <a:pt x="30156" y="5156"/>
                </a:cubicBezTo>
                <a:cubicBezTo>
                  <a:pt x="30187" y="5125"/>
                  <a:pt x="30219" y="5125"/>
                  <a:pt x="30219" y="5093"/>
                </a:cubicBezTo>
                <a:cubicBezTo>
                  <a:pt x="30219" y="5093"/>
                  <a:pt x="30187" y="5093"/>
                  <a:pt x="30187" y="5093"/>
                </a:cubicBezTo>
                <a:cubicBezTo>
                  <a:pt x="30125" y="5062"/>
                  <a:pt x="30125" y="5031"/>
                  <a:pt x="30156" y="5000"/>
                </a:cubicBezTo>
                <a:cubicBezTo>
                  <a:pt x="30156" y="5000"/>
                  <a:pt x="30187" y="4968"/>
                  <a:pt x="30187" y="4968"/>
                </a:cubicBezTo>
                <a:cubicBezTo>
                  <a:pt x="30187" y="4968"/>
                  <a:pt x="30187" y="4937"/>
                  <a:pt x="30219" y="4937"/>
                </a:cubicBezTo>
                <a:cubicBezTo>
                  <a:pt x="30219" y="4937"/>
                  <a:pt x="30219" y="4937"/>
                  <a:pt x="30219" y="4937"/>
                </a:cubicBezTo>
                <a:cubicBezTo>
                  <a:pt x="30219" y="4937"/>
                  <a:pt x="30219" y="4906"/>
                  <a:pt x="30250" y="4906"/>
                </a:cubicBezTo>
                <a:cubicBezTo>
                  <a:pt x="30250" y="4906"/>
                  <a:pt x="30250" y="4906"/>
                  <a:pt x="30250" y="4875"/>
                </a:cubicBezTo>
                <a:cubicBezTo>
                  <a:pt x="30219" y="4875"/>
                  <a:pt x="30219" y="4875"/>
                  <a:pt x="30187" y="4875"/>
                </a:cubicBezTo>
                <a:cubicBezTo>
                  <a:pt x="30187" y="4875"/>
                  <a:pt x="30156" y="4875"/>
                  <a:pt x="30156" y="4875"/>
                </a:cubicBezTo>
                <a:cubicBezTo>
                  <a:pt x="30094" y="4875"/>
                  <a:pt x="30062" y="4875"/>
                  <a:pt x="30031" y="4875"/>
                </a:cubicBezTo>
                <a:cubicBezTo>
                  <a:pt x="30000" y="4875"/>
                  <a:pt x="30000" y="4875"/>
                  <a:pt x="29969" y="4875"/>
                </a:cubicBezTo>
                <a:cubicBezTo>
                  <a:pt x="29937" y="4875"/>
                  <a:pt x="29906" y="4843"/>
                  <a:pt x="29906" y="4843"/>
                </a:cubicBezTo>
                <a:cubicBezTo>
                  <a:pt x="29875" y="4812"/>
                  <a:pt x="29875" y="4781"/>
                  <a:pt x="29844" y="4750"/>
                </a:cubicBezTo>
                <a:cubicBezTo>
                  <a:pt x="29812" y="4718"/>
                  <a:pt x="29812" y="4718"/>
                  <a:pt x="29781" y="4687"/>
                </a:cubicBezTo>
                <a:cubicBezTo>
                  <a:pt x="29750" y="4625"/>
                  <a:pt x="29687" y="4593"/>
                  <a:pt x="29656" y="4531"/>
                </a:cubicBezTo>
                <a:cubicBezTo>
                  <a:pt x="29625" y="4468"/>
                  <a:pt x="29562" y="4437"/>
                  <a:pt x="29469" y="4437"/>
                </a:cubicBezTo>
                <a:cubicBezTo>
                  <a:pt x="29469" y="4437"/>
                  <a:pt x="29437" y="4437"/>
                  <a:pt x="29406" y="4468"/>
                </a:cubicBezTo>
                <a:cubicBezTo>
                  <a:pt x="29375" y="4468"/>
                  <a:pt x="29375" y="4468"/>
                  <a:pt x="29344" y="4468"/>
                </a:cubicBezTo>
                <a:cubicBezTo>
                  <a:pt x="29219" y="4500"/>
                  <a:pt x="29094" y="4468"/>
                  <a:pt x="28937" y="4500"/>
                </a:cubicBezTo>
                <a:cubicBezTo>
                  <a:pt x="29031" y="4437"/>
                  <a:pt x="29125" y="4406"/>
                  <a:pt x="29187" y="4375"/>
                </a:cubicBezTo>
                <a:cubicBezTo>
                  <a:pt x="29250" y="4343"/>
                  <a:pt x="29281" y="4312"/>
                  <a:pt x="29344" y="4312"/>
                </a:cubicBezTo>
                <a:cubicBezTo>
                  <a:pt x="29406" y="4312"/>
                  <a:pt x="29469" y="4281"/>
                  <a:pt x="29531" y="4281"/>
                </a:cubicBezTo>
                <a:cubicBezTo>
                  <a:pt x="29594" y="4250"/>
                  <a:pt x="29625" y="4250"/>
                  <a:pt x="29687" y="4250"/>
                </a:cubicBezTo>
                <a:cubicBezTo>
                  <a:pt x="29812" y="4218"/>
                  <a:pt x="29937" y="4187"/>
                  <a:pt x="30062" y="4187"/>
                </a:cubicBezTo>
                <a:cubicBezTo>
                  <a:pt x="30125" y="4156"/>
                  <a:pt x="30187" y="4156"/>
                  <a:pt x="30250" y="4156"/>
                </a:cubicBezTo>
                <a:cubicBezTo>
                  <a:pt x="30406" y="4093"/>
                  <a:pt x="30594" y="4062"/>
                  <a:pt x="30781" y="4031"/>
                </a:cubicBezTo>
                <a:cubicBezTo>
                  <a:pt x="30812" y="4031"/>
                  <a:pt x="30844" y="4000"/>
                  <a:pt x="30875" y="4000"/>
                </a:cubicBezTo>
                <a:cubicBezTo>
                  <a:pt x="31000" y="3968"/>
                  <a:pt x="31094" y="3968"/>
                  <a:pt x="31219" y="3937"/>
                </a:cubicBezTo>
                <a:cubicBezTo>
                  <a:pt x="31375" y="3906"/>
                  <a:pt x="31500" y="3875"/>
                  <a:pt x="31625" y="3781"/>
                </a:cubicBezTo>
                <a:cubicBezTo>
                  <a:pt x="31656" y="3781"/>
                  <a:pt x="31656" y="3781"/>
                  <a:pt x="31656" y="3781"/>
                </a:cubicBezTo>
                <a:cubicBezTo>
                  <a:pt x="31687" y="3781"/>
                  <a:pt x="31687" y="3781"/>
                  <a:pt x="31687" y="3750"/>
                </a:cubicBezTo>
                <a:cubicBezTo>
                  <a:pt x="31687" y="3750"/>
                  <a:pt x="31687" y="3750"/>
                  <a:pt x="31687" y="3750"/>
                </a:cubicBezTo>
                <a:cubicBezTo>
                  <a:pt x="31687" y="3750"/>
                  <a:pt x="31687" y="3750"/>
                  <a:pt x="31687" y="3750"/>
                </a:cubicBezTo>
                <a:cubicBezTo>
                  <a:pt x="31687" y="3718"/>
                  <a:pt x="31687" y="3718"/>
                  <a:pt x="31687" y="3718"/>
                </a:cubicBezTo>
                <a:cubicBezTo>
                  <a:pt x="31656" y="3718"/>
                  <a:pt x="31656" y="3718"/>
                  <a:pt x="31625" y="3718"/>
                </a:cubicBezTo>
                <a:cubicBezTo>
                  <a:pt x="31625" y="3718"/>
                  <a:pt x="31625" y="3718"/>
                  <a:pt x="31594" y="3718"/>
                </a:cubicBezTo>
                <a:cubicBezTo>
                  <a:pt x="31594" y="3718"/>
                  <a:pt x="31594" y="3718"/>
                  <a:pt x="31594" y="3718"/>
                </a:cubicBezTo>
                <a:cubicBezTo>
                  <a:pt x="31594" y="3718"/>
                  <a:pt x="31594" y="3718"/>
                  <a:pt x="31594" y="3718"/>
                </a:cubicBezTo>
                <a:cubicBezTo>
                  <a:pt x="31625" y="3656"/>
                  <a:pt x="31594" y="3593"/>
                  <a:pt x="31500" y="3562"/>
                </a:cubicBezTo>
                <a:cubicBezTo>
                  <a:pt x="31469" y="3562"/>
                  <a:pt x="31469" y="3562"/>
                  <a:pt x="31469" y="3562"/>
                </a:cubicBezTo>
                <a:cubicBezTo>
                  <a:pt x="31437" y="3562"/>
                  <a:pt x="31437" y="3562"/>
                  <a:pt x="31406" y="3562"/>
                </a:cubicBezTo>
                <a:cubicBezTo>
                  <a:pt x="31406" y="3562"/>
                  <a:pt x="31375" y="3562"/>
                  <a:pt x="31375" y="3562"/>
                </a:cubicBezTo>
                <a:cubicBezTo>
                  <a:pt x="31344" y="3593"/>
                  <a:pt x="31344" y="3593"/>
                  <a:pt x="31344" y="3593"/>
                </a:cubicBezTo>
                <a:cubicBezTo>
                  <a:pt x="31344" y="3625"/>
                  <a:pt x="31344" y="3625"/>
                  <a:pt x="31344" y="3625"/>
                </a:cubicBezTo>
                <a:cubicBezTo>
                  <a:pt x="31375" y="3656"/>
                  <a:pt x="31437" y="3656"/>
                  <a:pt x="31437" y="3718"/>
                </a:cubicBezTo>
                <a:cubicBezTo>
                  <a:pt x="31437" y="3718"/>
                  <a:pt x="31437" y="3718"/>
                  <a:pt x="31437" y="3718"/>
                </a:cubicBezTo>
                <a:cubicBezTo>
                  <a:pt x="31437" y="3718"/>
                  <a:pt x="31437" y="3718"/>
                  <a:pt x="31437" y="3718"/>
                </a:cubicBezTo>
                <a:cubicBezTo>
                  <a:pt x="31437" y="3718"/>
                  <a:pt x="31437" y="3718"/>
                  <a:pt x="31437" y="3718"/>
                </a:cubicBezTo>
                <a:cubicBezTo>
                  <a:pt x="31406" y="3718"/>
                  <a:pt x="31406" y="3718"/>
                  <a:pt x="31406" y="3718"/>
                </a:cubicBezTo>
                <a:cubicBezTo>
                  <a:pt x="31375" y="3718"/>
                  <a:pt x="31375" y="3718"/>
                  <a:pt x="31344" y="3718"/>
                </a:cubicBezTo>
                <a:cubicBezTo>
                  <a:pt x="31312" y="3750"/>
                  <a:pt x="31312" y="3750"/>
                  <a:pt x="31281" y="3781"/>
                </a:cubicBezTo>
                <a:cubicBezTo>
                  <a:pt x="31250" y="3781"/>
                  <a:pt x="31219" y="3781"/>
                  <a:pt x="31156" y="3781"/>
                </a:cubicBezTo>
                <a:cubicBezTo>
                  <a:pt x="31156" y="3781"/>
                  <a:pt x="31125" y="3812"/>
                  <a:pt x="31125" y="3812"/>
                </a:cubicBezTo>
                <a:cubicBezTo>
                  <a:pt x="31031" y="3812"/>
                  <a:pt x="30969" y="3843"/>
                  <a:pt x="30906" y="3875"/>
                </a:cubicBezTo>
                <a:cubicBezTo>
                  <a:pt x="30875" y="3875"/>
                  <a:pt x="30875" y="3875"/>
                  <a:pt x="30844" y="3875"/>
                </a:cubicBezTo>
                <a:cubicBezTo>
                  <a:pt x="30812" y="3906"/>
                  <a:pt x="30750" y="3906"/>
                  <a:pt x="30719" y="3906"/>
                </a:cubicBezTo>
                <a:cubicBezTo>
                  <a:pt x="30687" y="3906"/>
                  <a:pt x="30656" y="3906"/>
                  <a:pt x="30656" y="3875"/>
                </a:cubicBezTo>
                <a:cubicBezTo>
                  <a:pt x="30562" y="3812"/>
                  <a:pt x="30719" y="3812"/>
                  <a:pt x="30687" y="3750"/>
                </a:cubicBezTo>
                <a:cubicBezTo>
                  <a:pt x="30687" y="3750"/>
                  <a:pt x="30687" y="3750"/>
                  <a:pt x="30687" y="3750"/>
                </a:cubicBezTo>
                <a:cubicBezTo>
                  <a:pt x="30687" y="3750"/>
                  <a:pt x="30687" y="3750"/>
                  <a:pt x="30687" y="3750"/>
                </a:cubicBezTo>
                <a:cubicBezTo>
                  <a:pt x="30687" y="3750"/>
                  <a:pt x="30687" y="3750"/>
                  <a:pt x="30656" y="3750"/>
                </a:cubicBezTo>
                <a:cubicBezTo>
                  <a:pt x="30656" y="3750"/>
                  <a:pt x="30656" y="3750"/>
                  <a:pt x="30656" y="3750"/>
                </a:cubicBezTo>
                <a:cubicBezTo>
                  <a:pt x="30625" y="3750"/>
                  <a:pt x="30594" y="3750"/>
                  <a:pt x="30594" y="3750"/>
                </a:cubicBezTo>
                <a:cubicBezTo>
                  <a:pt x="30562" y="3750"/>
                  <a:pt x="30531" y="3781"/>
                  <a:pt x="30500" y="3781"/>
                </a:cubicBezTo>
                <a:cubicBezTo>
                  <a:pt x="30500" y="3781"/>
                  <a:pt x="30500" y="3781"/>
                  <a:pt x="30469" y="3781"/>
                </a:cubicBezTo>
                <a:cubicBezTo>
                  <a:pt x="30469" y="3812"/>
                  <a:pt x="30437" y="3812"/>
                  <a:pt x="30437" y="3843"/>
                </a:cubicBezTo>
                <a:cubicBezTo>
                  <a:pt x="30406" y="3875"/>
                  <a:pt x="30312" y="3875"/>
                  <a:pt x="30312" y="3843"/>
                </a:cubicBezTo>
                <a:cubicBezTo>
                  <a:pt x="30312" y="3843"/>
                  <a:pt x="30312" y="3812"/>
                  <a:pt x="30312" y="3812"/>
                </a:cubicBezTo>
                <a:cubicBezTo>
                  <a:pt x="30312" y="3812"/>
                  <a:pt x="30312" y="3812"/>
                  <a:pt x="30312" y="3812"/>
                </a:cubicBezTo>
                <a:cubicBezTo>
                  <a:pt x="30312" y="3781"/>
                  <a:pt x="30312" y="3781"/>
                  <a:pt x="30312" y="3781"/>
                </a:cubicBezTo>
                <a:cubicBezTo>
                  <a:pt x="30281" y="3750"/>
                  <a:pt x="30250" y="3718"/>
                  <a:pt x="30281" y="3718"/>
                </a:cubicBezTo>
                <a:cubicBezTo>
                  <a:pt x="30281" y="3687"/>
                  <a:pt x="30312" y="3687"/>
                  <a:pt x="30344" y="3687"/>
                </a:cubicBezTo>
                <a:cubicBezTo>
                  <a:pt x="30469" y="3625"/>
                  <a:pt x="30562" y="3531"/>
                  <a:pt x="30625" y="3437"/>
                </a:cubicBezTo>
                <a:cubicBezTo>
                  <a:pt x="30625" y="3437"/>
                  <a:pt x="30625" y="3406"/>
                  <a:pt x="30656" y="3406"/>
                </a:cubicBezTo>
                <a:cubicBezTo>
                  <a:pt x="30656" y="3375"/>
                  <a:pt x="30656" y="3375"/>
                  <a:pt x="30687" y="3375"/>
                </a:cubicBezTo>
                <a:cubicBezTo>
                  <a:pt x="30687" y="3375"/>
                  <a:pt x="30719" y="3343"/>
                  <a:pt x="30719" y="3343"/>
                </a:cubicBezTo>
                <a:cubicBezTo>
                  <a:pt x="30719" y="3312"/>
                  <a:pt x="30719" y="3312"/>
                  <a:pt x="30687" y="3312"/>
                </a:cubicBezTo>
                <a:cubicBezTo>
                  <a:pt x="30687" y="3281"/>
                  <a:pt x="30656" y="3281"/>
                  <a:pt x="30656" y="3281"/>
                </a:cubicBezTo>
                <a:cubicBezTo>
                  <a:pt x="30656" y="3281"/>
                  <a:pt x="30625" y="3281"/>
                  <a:pt x="30625" y="3281"/>
                </a:cubicBezTo>
                <a:cubicBezTo>
                  <a:pt x="30625" y="3312"/>
                  <a:pt x="30625" y="3312"/>
                  <a:pt x="30625" y="3312"/>
                </a:cubicBezTo>
                <a:cubicBezTo>
                  <a:pt x="30594" y="3312"/>
                  <a:pt x="30594" y="3312"/>
                  <a:pt x="30594" y="3312"/>
                </a:cubicBezTo>
                <a:cubicBezTo>
                  <a:pt x="30562" y="3312"/>
                  <a:pt x="30562" y="3312"/>
                  <a:pt x="30562" y="3312"/>
                </a:cubicBezTo>
                <a:cubicBezTo>
                  <a:pt x="30531" y="3343"/>
                  <a:pt x="30500" y="3343"/>
                  <a:pt x="30500" y="3343"/>
                </a:cubicBezTo>
                <a:cubicBezTo>
                  <a:pt x="30469" y="3343"/>
                  <a:pt x="30437" y="3312"/>
                  <a:pt x="30406" y="3312"/>
                </a:cubicBezTo>
                <a:cubicBezTo>
                  <a:pt x="30406" y="3281"/>
                  <a:pt x="30406" y="3281"/>
                  <a:pt x="30375" y="3250"/>
                </a:cubicBezTo>
                <a:cubicBezTo>
                  <a:pt x="30375" y="3250"/>
                  <a:pt x="30375" y="3250"/>
                  <a:pt x="30375" y="3250"/>
                </a:cubicBezTo>
                <a:cubicBezTo>
                  <a:pt x="30406" y="3250"/>
                  <a:pt x="30437" y="3218"/>
                  <a:pt x="30406" y="3187"/>
                </a:cubicBezTo>
                <a:cubicBezTo>
                  <a:pt x="30406" y="3187"/>
                  <a:pt x="30406" y="3187"/>
                  <a:pt x="30375" y="3187"/>
                </a:cubicBezTo>
                <a:cubicBezTo>
                  <a:pt x="30344" y="3187"/>
                  <a:pt x="30312" y="3187"/>
                  <a:pt x="30312" y="3187"/>
                </a:cubicBezTo>
                <a:cubicBezTo>
                  <a:pt x="30281" y="3187"/>
                  <a:pt x="30281" y="3218"/>
                  <a:pt x="30250" y="3218"/>
                </a:cubicBezTo>
                <a:cubicBezTo>
                  <a:pt x="30250" y="3250"/>
                  <a:pt x="30219" y="3250"/>
                  <a:pt x="30187" y="3250"/>
                </a:cubicBezTo>
                <a:cubicBezTo>
                  <a:pt x="30187" y="3250"/>
                  <a:pt x="30156" y="3250"/>
                  <a:pt x="30125" y="3250"/>
                </a:cubicBezTo>
                <a:cubicBezTo>
                  <a:pt x="30125" y="3250"/>
                  <a:pt x="30125" y="3218"/>
                  <a:pt x="30094" y="3218"/>
                </a:cubicBezTo>
                <a:cubicBezTo>
                  <a:pt x="30094" y="3218"/>
                  <a:pt x="30094" y="3218"/>
                  <a:pt x="30062" y="3187"/>
                </a:cubicBezTo>
                <a:cubicBezTo>
                  <a:pt x="30000" y="3156"/>
                  <a:pt x="29906" y="3093"/>
                  <a:pt x="29781" y="3093"/>
                </a:cubicBezTo>
                <a:cubicBezTo>
                  <a:pt x="29750" y="3093"/>
                  <a:pt x="29750" y="3093"/>
                  <a:pt x="29719" y="3093"/>
                </a:cubicBezTo>
                <a:cubicBezTo>
                  <a:pt x="29594" y="3093"/>
                  <a:pt x="29437" y="3125"/>
                  <a:pt x="29344" y="3156"/>
                </a:cubicBezTo>
                <a:cubicBezTo>
                  <a:pt x="29250" y="3187"/>
                  <a:pt x="29219" y="3218"/>
                  <a:pt x="29156" y="3250"/>
                </a:cubicBezTo>
                <a:cubicBezTo>
                  <a:pt x="29094" y="3312"/>
                  <a:pt x="29062" y="3343"/>
                  <a:pt x="28969" y="3375"/>
                </a:cubicBezTo>
                <a:cubicBezTo>
                  <a:pt x="28875" y="3406"/>
                  <a:pt x="28750" y="3437"/>
                  <a:pt x="28625" y="3468"/>
                </a:cubicBezTo>
                <a:cubicBezTo>
                  <a:pt x="28625" y="3437"/>
                  <a:pt x="28625" y="3437"/>
                  <a:pt x="28625" y="3437"/>
                </a:cubicBezTo>
                <a:cubicBezTo>
                  <a:pt x="28625" y="3437"/>
                  <a:pt x="28625" y="3437"/>
                  <a:pt x="28625" y="3437"/>
                </a:cubicBezTo>
                <a:cubicBezTo>
                  <a:pt x="28625" y="3406"/>
                  <a:pt x="28625" y="3406"/>
                  <a:pt x="28594" y="3406"/>
                </a:cubicBezTo>
                <a:cubicBezTo>
                  <a:pt x="28594" y="3406"/>
                  <a:pt x="28594" y="3375"/>
                  <a:pt x="28594" y="3375"/>
                </a:cubicBezTo>
                <a:cubicBezTo>
                  <a:pt x="28594" y="3375"/>
                  <a:pt x="28562" y="3375"/>
                  <a:pt x="28562" y="3375"/>
                </a:cubicBezTo>
                <a:cubicBezTo>
                  <a:pt x="28531" y="3375"/>
                  <a:pt x="28500" y="3375"/>
                  <a:pt x="28469" y="3406"/>
                </a:cubicBezTo>
                <a:cubicBezTo>
                  <a:pt x="28469" y="3406"/>
                  <a:pt x="28437" y="3437"/>
                  <a:pt x="28406" y="3437"/>
                </a:cubicBezTo>
                <a:cubicBezTo>
                  <a:pt x="28344" y="3437"/>
                  <a:pt x="28312" y="3406"/>
                  <a:pt x="28250" y="3406"/>
                </a:cubicBezTo>
                <a:cubicBezTo>
                  <a:pt x="28219" y="3406"/>
                  <a:pt x="28187" y="3406"/>
                  <a:pt x="28187" y="3406"/>
                </a:cubicBezTo>
                <a:cubicBezTo>
                  <a:pt x="28156" y="3406"/>
                  <a:pt x="28125" y="3406"/>
                  <a:pt x="28125" y="3406"/>
                </a:cubicBezTo>
                <a:cubicBezTo>
                  <a:pt x="28094" y="3406"/>
                  <a:pt x="28062" y="3406"/>
                  <a:pt x="28031" y="3406"/>
                </a:cubicBezTo>
                <a:cubicBezTo>
                  <a:pt x="27969" y="3406"/>
                  <a:pt x="27937" y="3437"/>
                  <a:pt x="27875" y="3437"/>
                </a:cubicBezTo>
                <a:cubicBezTo>
                  <a:pt x="27875" y="3437"/>
                  <a:pt x="27906" y="3437"/>
                  <a:pt x="27906" y="3406"/>
                </a:cubicBezTo>
                <a:cubicBezTo>
                  <a:pt x="27906" y="3375"/>
                  <a:pt x="27875" y="3343"/>
                  <a:pt x="27875" y="3312"/>
                </a:cubicBezTo>
                <a:cubicBezTo>
                  <a:pt x="27875" y="3281"/>
                  <a:pt x="27875" y="3218"/>
                  <a:pt x="27906" y="3187"/>
                </a:cubicBezTo>
                <a:cubicBezTo>
                  <a:pt x="27906" y="3187"/>
                  <a:pt x="27906" y="3187"/>
                  <a:pt x="27906" y="3187"/>
                </a:cubicBezTo>
                <a:cubicBezTo>
                  <a:pt x="27906" y="3187"/>
                  <a:pt x="27906" y="3187"/>
                  <a:pt x="27906" y="3187"/>
                </a:cubicBezTo>
                <a:cubicBezTo>
                  <a:pt x="27906" y="3187"/>
                  <a:pt x="27906" y="3187"/>
                  <a:pt x="27906" y="3187"/>
                </a:cubicBezTo>
                <a:cubicBezTo>
                  <a:pt x="27969" y="3187"/>
                  <a:pt x="27969" y="3156"/>
                  <a:pt x="28000" y="3125"/>
                </a:cubicBezTo>
                <a:cubicBezTo>
                  <a:pt x="28000" y="3125"/>
                  <a:pt x="28000" y="3093"/>
                  <a:pt x="28000" y="3093"/>
                </a:cubicBezTo>
                <a:cubicBezTo>
                  <a:pt x="28000" y="3093"/>
                  <a:pt x="28000" y="3062"/>
                  <a:pt x="28000" y="3062"/>
                </a:cubicBezTo>
                <a:cubicBezTo>
                  <a:pt x="28000" y="3062"/>
                  <a:pt x="28000" y="3062"/>
                  <a:pt x="28031" y="3031"/>
                </a:cubicBezTo>
                <a:cubicBezTo>
                  <a:pt x="28031" y="3031"/>
                  <a:pt x="28062" y="3000"/>
                  <a:pt x="28094" y="3000"/>
                </a:cubicBezTo>
                <a:cubicBezTo>
                  <a:pt x="28094" y="3000"/>
                  <a:pt x="28094" y="3000"/>
                  <a:pt x="28094" y="3000"/>
                </a:cubicBezTo>
                <a:cubicBezTo>
                  <a:pt x="28094" y="3000"/>
                  <a:pt x="28094" y="3000"/>
                  <a:pt x="28094" y="3000"/>
                </a:cubicBezTo>
                <a:cubicBezTo>
                  <a:pt x="28094" y="3031"/>
                  <a:pt x="28094" y="3062"/>
                  <a:pt x="28125" y="3062"/>
                </a:cubicBezTo>
                <a:cubicBezTo>
                  <a:pt x="28125" y="3062"/>
                  <a:pt x="28125" y="3062"/>
                  <a:pt x="28125" y="3062"/>
                </a:cubicBezTo>
                <a:cubicBezTo>
                  <a:pt x="28156" y="3062"/>
                  <a:pt x="28156" y="3062"/>
                  <a:pt x="28156" y="3062"/>
                </a:cubicBezTo>
                <a:cubicBezTo>
                  <a:pt x="28156" y="3062"/>
                  <a:pt x="28187" y="3062"/>
                  <a:pt x="28187" y="3062"/>
                </a:cubicBezTo>
                <a:cubicBezTo>
                  <a:pt x="28187" y="3062"/>
                  <a:pt x="28219" y="3062"/>
                  <a:pt x="28219" y="3062"/>
                </a:cubicBezTo>
                <a:cubicBezTo>
                  <a:pt x="28219" y="3062"/>
                  <a:pt x="28250" y="3062"/>
                  <a:pt x="28250" y="3062"/>
                </a:cubicBezTo>
                <a:cubicBezTo>
                  <a:pt x="28281" y="3062"/>
                  <a:pt x="28281" y="3062"/>
                  <a:pt x="28281" y="3062"/>
                </a:cubicBezTo>
                <a:cubicBezTo>
                  <a:pt x="28281" y="3031"/>
                  <a:pt x="28312" y="3031"/>
                  <a:pt x="28312" y="3031"/>
                </a:cubicBezTo>
                <a:cubicBezTo>
                  <a:pt x="28312" y="3031"/>
                  <a:pt x="28281" y="3031"/>
                  <a:pt x="28281" y="3031"/>
                </a:cubicBezTo>
                <a:cubicBezTo>
                  <a:pt x="28281" y="3000"/>
                  <a:pt x="28281" y="2968"/>
                  <a:pt x="28281" y="2968"/>
                </a:cubicBezTo>
                <a:cubicBezTo>
                  <a:pt x="28281" y="2968"/>
                  <a:pt x="28312" y="2937"/>
                  <a:pt x="28312" y="2937"/>
                </a:cubicBezTo>
                <a:cubicBezTo>
                  <a:pt x="28312" y="2937"/>
                  <a:pt x="28312" y="2937"/>
                  <a:pt x="28344" y="2937"/>
                </a:cubicBezTo>
                <a:cubicBezTo>
                  <a:pt x="28344" y="2906"/>
                  <a:pt x="28344" y="2906"/>
                  <a:pt x="28344" y="2906"/>
                </a:cubicBezTo>
                <a:cubicBezTo>
                  <a:pt x="28375" y="2875"/>
                  <a:pt x="28375" y="2875"/>
                  <a:pt x="28375" y="2875"/>
                </a:cubicBezTo>
                <a:cubicBezTo>
                  <a:pt x="28344" y="2843"/>
                  <a:pt x="28312" y="2812"/>
                  <a:pt x="28250" y="2812"/>
                </a:cubicBezTo>
                <a:cubicBezTo>
                  <a:pt x="28281" y="2781"/>
                  <a:pt x="28312" y="2781"/>
                  <a:pt x="28344" y="2750"/>
                </a:cubicBezTo>
                <a:cubicBezTo>
                  <a:pt x="28437" y="2718"/>
                  <a:pt x="28500" y="2656"/>
                  <a:pt x="28594" y="2593"/>
                </a:cubicBezTo>
                <a:cubicBezTo>
                  <a:pt x="28594" y="2593"/>
                  <a:pt x="28625" y="2593"/>
                  <a:pt x="28625" y="2593"/>
                </a:cubicBezTo>
                <a:cubicBezTo>
                  <a:pt x="28656" y="2562"/>
                  <a:pt x="28687" y="2531"/>
                  <a:pt x="28719" y="2500"/>
                </a:cubicBezTo>
                <a:cubicBezTo>
                  <a:pt x="28719" y="2500"/>
                  <a:pt x="28719" y="2500"/>
                  <a:pt x="28719" y="2500"/>
                </a:cubicBezTo>
                <a:cubicBezTo>
                  <a:pt x="28750" y="2468"/>
                  <a:pt x="28750" y="2468"/>
                  <a:pt x="28750" y="2468"/>
                </a:cubicBezTo>
                <a:cubicBezTo>
                  <a:pt x="28750" y="2437"/>
                  <a:pt x="28750" y="2437"/>
                  <a:pt x="28750" y="2437"/>
                </a:cubicBezTo>
                <a:cubicBezTo>
                  <a:pt x="28750" y="2437"/>
                  <a:pt x="28750" y="2437"/>
                  <a:pt x="28719" y="2437"/>
                </a:cubicBezTo>
                <a:cubicBezTo>
                  <a:pt x="28719" y="2437"/>
                  <a:pt x="28719" y="2406"/>
                  <a:pt x="28687" y="2406"/>
                </a:cubicBezTo>
                <a:cubicBezTo>
                  <a:pt x="28687" y="2406"/>
                  <a:pt x="28687" y="2406"/>
                  <a:pt x="28687" y="2406"/>
                </a:cubicBezTo>
                <a:cubicBezTo>
                  <a:pt x="28656" y="2406"/>
                  <a:pt x="28656" y="2437"/>
                  <a:pt x="28625" y="2437"/>
                </a:cubicBezTo>
                <a:cubicBezTo>
                  <a:pt x="28625" y="2437"/>
                  <a:pt x="28625" y="2437"/>
                  <a:pt x="28625" y="2437"/>
                </a:cubicBezTo>
                <a:cubicBezTo>
                  <a:pt x="28562" y="2468"/>
                  <a:pt x="28531" y="2468"/>
                  <a:pt x="28469" y="2500"/>
                </a:cubicBezTo>
                <a:cubicBezTo>
                  <a:pt x="28406" y="2500"/>
                  <a:pt x="28312" y="2500"/>
                  <a:pt x="28250" y="2500"/>
                </a:cubicBezTo>
                <a:cubicBezTo>
                  <a:pt x="28094" y="2531"/>
                  <a:pt x="27969" y="2437"/>
                  <a:pt x="27844" y="2500"/>
                </a:cubicBezTo>
                <a:cubicBezTo>
                  <a:pt x="27812" y="2500"/>
                  <a:pt x="27812" y="2500"/>
                  <a:pt x="27781" y="2500"/>
                </a:cubicBezTo>
                <a:cubicBezTo>
                  <a:pt x="27750" y="2500"/>
                  <a:pt x="27687" y="2500"/>
                  <a:pt x="27656" y="2500"/>
                </a:cubicBezTo>
                <a:cubicBezTo>
                  <a:pt x="27594" y="2468"/>
                  <a:pt x="27531" y="2468"/>
                  <a:pt x="27469" y="2468"/>
                </a:cubicBezTo>
                <a:cubicBezTo>
                  <a:pt x="27437" y="2468"/>
                  <a:pt x="27375" y="2468"/>
                  <a:pt x="27344" y="2437"/>
                </a:cubicBezTo>
                <a:cubicBezTo>
                  <a:pt x="27312" y="2437"/>
                  <a:pt x="27312" y="2437"/>
                  <a:pt x="27312" y="2406"/>
                </a:cubicBezTo>
                <a:cubicBezTo>
                  <a:pt x="27312" y="2406"/>
                  <a:pt x="27344" y="2375"/>
                  <a:pt x="27344" y="2375"/>
                </a:cubicBezTo>
                <a:cubicBezTo>
                  <a:pt x="27344" y="2375"/>
                  <a:pt x="27344" y="2375"/>
                  <a:pt x="27375" y="2375"/>
                </a:cubicBezTo>
                <a:cubicBezTo>
                  <a:pt x="27375" y="2375"/>
                  <a:pt x="27406" y="2375"/>
                  <a:pt x="27406" y="2375"/>
                </a:cubicBezTo>
                <a:cubicBezTo>
                  <a:pt x="27437" y="2375"/>
                  <a:pt x="27437" y="2375"/>
                  <a:pt x="27469" y="2375"/>
                </a:cubicBezTo>
                <a:cubicBezTo>
                  <a:pt x="27469" y="2375"/>
                  <a:pt x="27469" y="2375"/>
                  <a:pt x="27469" y="2375"/>
                </a:cubicBezTo>
                <a:cubicBezTo>
                  <a:pt x="27500" y="2375"/>
                  <a:pt x="27531" y="2375"/>
                  <a:pt x="27531" y="2375"/>
                </a:cubicBezTo>
                <a:cubicBezTo>
                  <a:pt x="27656" y="2375"/>
                  <a:pt x="27781" y="2406"/>
                  <a:pt x="27844" y="2375"/>
                </a:cubicBezTo>
                <a:cubicBezTo>
                  <a:pt x="27906" y="2375"/>
                  <a:pt x="27937" y="2343"/>
                  <a:pt x="27937" y="2250"/>
                </a:cubicBezTo>
                <a:cubicBezTo>
                  <a:pt x="27937" y="2250"/>
                  <a:pt x="27937" y="2250"/>
                  <a:pt x="27937" y="2250"/>
                </a:cubicBezTo>
                <a:cubicBezTo>
                  <a:pt x="27937" y="2250"/>
                  <a:pt x="27969" y="2250"/>
                  <a:pt x="27969" y="2250"/>
                </a:cubicBezTo>
                <a:cubicBezTo>
                  <a:pt x="27969" y="2250"/>
                  <a:pt x="28000" y="2250"/>
                  <a:pt x="28000" y="2250"/>
                </a:cubicBezTo>
                <a:cubicBezTo>
                  <a:pt x="28000" y="2250"/>
                  <a:pt x="28031" y="2250"/>
                  <a:pt x="28031" y="2250"/>
                </a:cubicBezTo>
                <a:cubicBezTo>
                  <a:pt x="28062" y="2218"/>
                  <a:pt x="28094" y="2218"/>
                  <a:pt x="28062" y="2187"/>
                </a:cubicBezTo>
                <a:cubicBezTo>
                  <a:pt x="28031" y="2156"/>
                  <a:pt x="28000" y="2156"/>
                  <a:pt x="27969" y="2156"/>
                </a:cubicBezTo>
                <a:cubicBezTo>
                  <a:pt x="27937" y="2156"/>
                  <a:pt x="27906" y="2156"/>
                  <a:pt x="27906" y="2156"/>
                </a:cubicBezTo>
                <a:cubicBezTo>
                  <a:pt x="27844" y="2218"/>
                  <a:pt x="27750" y="2250"/>
                  <a:pt x="27687" y="2281"/>
                </a:cubicBezTo>
                <a:cubicBezTo>
                  <a:pt x="27656" y="2281"/>
                  <a:pt x="27594" y="2281"/>
                  <a:pt x="27562" y="2281"/>
                </a:cubicBezTo>
                <a:cubicBezTo>
                  <a:pt x="27531" y="2281"/>
                  <a:pt x="27531" y="2281"/>
                  <a:pt x="27500" y="2281"/>
                </a:cubicBezTo>
                <a:cubicBezTo>
                  <a:pt x="27500" y="2281"/>
                  <a:pt x="27469" y="2281"/>
                  <a:pt x="27469" y="2312"/>
                </a:cubicBezTo>
                <a:cubicBezTo>
                  <a:pt x="27344" y="2312"/>
                  <a:pt x="27312" y="2218"/>
                  <a:pt x="27312" y="2156"/>
                </a:cubicBezTo>
                <a:cubicBezTo>
                  <a:pt x="27312" y="2156"/>
                  <a:pt x="27312" y="2125"/>
                  <a:pt x="27312" y="2093"/>
                </a:cubicBezTo>
                <a:cubicBezTo>
                  <a:pt x="27312" y="2093"/>
                  <a:pt x="27312" y="2062"/>
                  <a:pt x="27344" y="2031"/>
                </a:cubicBezTo>
                <a:cubicBezTo>
                  <a:pt x="27344" y="2031"/>
                  <a:pt x="27344" y="2031"/>
                  <a:pt x="27344" y="2031"/>
                </a:cubicBezTo>
                <a:cubicBezTo>
                  <a:pt x="27469" y="2062"/>
                  <a:pt x="27562" y="2031"/>
                  <a:pt x="27656" y="2000"/>
                </a:cubicBezTo>
                <a:cubicBezTo>
                  <a:pt x="27656" y="2000"/>
                  <a:pt x="27687" y="1968"/>
                  <a:pt x="27719" y="1968"/>
                </a:cubicBezTo>
                <a:cubicBezTo>
                  <a:pt x="27750" y="1937"/>
                  <a:pt x="27812" y="1906"/>
                  <a:pt x="27875" y="1906"/>
                </a:cubicBezTo>
                <a:cubicBezTo>
                  <a:pt x="27875" y="1906"/>
                  <a:pt x="27875" y="1906"/>
                  <a:pt x="27875" y="1875"/>
                </a:cubicBezTo>
                <a:cubicBezTo>
                  <a:pt x="27906" y="1875"/>
                  <a:pt x="27906" y="1875"/>
                  <a:pt x="27937" y="1875"/>
                </a:cubicBezTo>
                <a:cubicBezTo>
                  <a:pt x="27937" y="1875"/>
                  <a:pt x="27937" y="1875"/>
                  <a:pt x="27969" y="1843"/>
                </a:cubicBezTo>
                <a:cubicBezTo>
                  <a:pt x="27969" y="1843"/>
                  <a:pt x="27969" y="1843"/>
                  <a:pt x="27969" y="1843"/>
                </a:cubicBezTo>
                <a:cubicBezTo>
                  <a:pt x="27969" y="1843"/>
                  <a:pt x="27969" y="1812"/>
                  <a:pt x="27969" y="1812"/>
                </a:cubicBezTo>
                <a:cubicBezTo>
                  <a:pt x="27937" y="1812"/>
                  <a:pt x="27906" y="1812"/>
                  <a:pt x="27906" y="1812"/>
                </a:cubicBezTo>
                <a:cubicBezTo>
                  <a:pt x="27875" y="1812"/>
                  <a:pt x="27875" y="1812"/>
                  <a:pt x="27875" y="1812"/>
                </a:cubicBezTo>
                <a:cubicBezTo>
                  <a:pt x="27875" y="1812"/>
                  <a:pt x="27844" y="1812"/>
                  <a:pt x="27844" y="1812"/>
                </a:cubicBezTo>
                <a:cubicBezTo>
                  <a:pt x="27812" y="1812"/>
                  <a:pt x="27812" y="1812"/>
                  <a:pt x="27781" y="1843"/>
                </a:cubicBezTo>
                <a:cubicBezTo>
                  <a:pt x="27781" y="1843"/>
                  <a:pt x="27750" y="1843"/>
                  <a:pt x="27750" y="1843"/>
                </a:cubicBezTo>
                <a:cubicBezTo>
                  <a:pt x="27750" y="1875"/>
                  <a:pt x="27719" y="1875"/>
                  <a:pt x="27687" y="1875"/>
                </a:cubicBezTo>
                <a:cubicBezTo>
                  <a:pt x="27656" y="1906"/>
                  <a:pt x="27594" y="1906"/>
                  <a:pt x="27531" y="1906"/>
                </a:cubicBezTo>
                <a:cubicBezTo>
                  <a:pt x="27531" y="1906"/>
                  <a:pt x="27531" y="1906"/>
                  <a:pt x="27500" y="1906"/>
                </a:cubicBezTo>
                <a:cubicBezTo>
                  <a:pt x="27437" y="1906"/>
                  <a:pt x="27344" y="1906"/>
                  <a:pt x="27281" y="1937"/>
                </a:cubicBezTo>
                <a:cubicBezTo>
                  <a:pt x="27375" y="1843"/>
                  <a:pt x="27531" y="1812"/>
                  <a:pt x="27656" y="1781"/>
                </a:cubicBezTo>
                <a:cubicBezTo>
                  <a:pt x="27719" y="1750"/>
                  <a:pt x="27750" y="1750"/>
                  <a:pt x="27812" y="1718"/>
                </a:cubicBezTo>
                <a:cubicBezTo>
                  <a:pt x="27844" y="1718"/>
                  <a:pt x="27875" y="1718"/>
                  <a:pt x="27906" y="1718"/>
                </a:cubicBezTo>
                <a:cubicBezTo>
                  <a:pt x="27906" y="1718"/>
                  <a:pt x="27906" y="1718"/>
                  <a:pt x="27906" y="1718"/>
                </a:cubicBezTo>
                <a:cubicBezTo>
                  <a:pt x="27906" y="1718"/>
                  <a:pt x="27906" y="1687"/>
                  <a:pt x="27937" y="1687"/>
                </a:cubicBezTo>
                <a:cubicBezTo>
                  <a:pt x="27937" y="1687"/>
                  <a:pt x="27937" y="1656"/>
                  <a:pt x="27906" y="1656"/>
                </a:cubicBezTo>
                <a:cubicBezTo>
                  <a:pt x="27906" y="1625"/>
                  <a:pt x="27875" y="1625"/>
                  <a:pt x="27875" y="1625"/>
                </a:cubicBezTo>
                <a:cubicBezTo>
                  <a:pt x="27844" y="1625"/>
                  <a:pt x="27844" y="1625"/>
                  <a:pt x="27812" y="1593"/>
                </a:cubicBezTo>
                <a:cubicBezTo>
                  <a:pt x="27500" y="1593"/>
                  <a:pt x="27656" y="1343"/>
                  <a:pt x="27469" y="1250"/>
                </a:cubicBezTo>
                <a:cubicBezTo>
                  <a:pt x="27437" y="1250"/>
                  <a:pt x="27437" y="1250"/>
                  <a:pt x="27437" y="1250"/>
                </a:cubicBezTo>
                <a:cubicBezTo>
                  <a:pt x="27437" y="1250"/>
                  <a:pt x="27437" y="1218"/>
                  <a:pt x="27437" y="1218"/>
                </a:cubicBezTo>
                <a:cubicBezTo>
                  <a:pt x="27437" y="1218"/>
                  <a:pt x="27437" y="1218"/>
                  <a:pt x="27437" y="1218"/>
                </a:cubicBezTo>
                <a:cubicBezTo>
                  <a:pt x="27437" y="1218"/>
                  <a:pt x="27437" y="1218"/>
                  <a:pt x="27437" y="1218"/>
                </a:cubicBezTo>
                <a:cubicBezTo>
                  <a:pt x="27437" y="1187"/>
                  <a:pt x="27469" y="1187"/>
                  <a:pt x="27469" y="1187"/>
                </a:cubicBezTo>
                <a:cubicBezTo>
                  <a:pt x="27531" y="1156"/>
                  <a:pt x="27531" y="1156"/>
                  <a:pt x="27531" y="1125"/>
                </a:cubicBezTo>
                <a:cubicBezTo>
                  <a:pt x="27531" y="1125"/>
                  <a:pt x="27531" y="1125"/>
                  <a:pt x="27531" y="1125"/>
                </a:cubicBezTo>
                <a:cubicBezTo>
                  <a:pt x="27531" y="1093"/>
                  <a:pt x="27500" y="1093"/>
                  <a:pt x="27500" y="1093"/>
                </a:cubicBezTo>
                <a:cubicBezTo>
                  <a:pt x="27500" y="1093"/>
                  <a:pt x="27469" y="1093"/>
                  <a:pt x="27469" y="1093"/>
                </a:cubicBezTo>
                <a:cubicBezTo>
                  <a:pt x="27437" y="1093"/>
                  <a:pt x="27437" y="1093"/>
                  <a:pt x="27437" y="1093"/>
                </a:cubicBezTo>
                <a:cubicBezTo>
                  <a:pt x="27344" y="1093"/>
                  <a:pt x="27312" y="1062"/>
                  <a:pt x="27281" y="1062"/>
                </a:cubicBezTo>
                <a:cubicBezTo>
                  <a:pt x="27281" y="1031"/>
                  <a:pt x="27281" y="1031"/>
                  <a:pt x="27281" y="1000"/>
                </a:cubicBezTo>
                <a:cubicBezTo>
                  <a:pt x="27281" y="1000"/>
                  <a:pt x="27281" y="968"/>
                  <a:pt x="27281" y="968"/>
                </a:cubicBezTo>
                <a:cubicBezTo>
                  <a:pt x="27281" y="937"/>
                  <a:pt x="27281" y="937"/>
                  <a:pt x="27281" y="906"/>
                </a:cubicBezTo>
                <a:cubicBezTo>
                  <a:pt x="27281" y="906"/>
                  <a:pt x="27281" y="875"/>
                  <a:pt x="27281" y="875"/>
                </a:cubicBezTo>
                <a:cubicBezTo>
                  <a:pt x="27281" y="875"/>
                  <a:pt x="27281" y="843"/>
                  <a:pt x="27281" y="843"/>
                </a:cubicBezTo>
                <a:cubicBezTo>
                  <a:pt x="27281" y="812"/>
                  <a:pt x="27219" y="781"/>
                  <a:pt x="27094" y="843"/>
                </a:cubicBezTo>
                <a:cubicBezTo>
                  <a:pt x="27062" y="875"/>
                  <a:pt x="26937" y="906"/>
                  <a:pt x="26875" y="843"/>
                </a:cubicBezTo>
                <a:cubicBezTo>
                  <a:pt x="26875" y="843"/>
                  <a:pt x="26875" y="843"/>
                  <a:pt x="26875" y="843"/>
                </a:cubicBezTo>
                <a:cubicBezTo>
                  <a:pt x="26875" y="812"/>
                  <a:pt x="26906" y="781"/>
                  <a:pt x="26844" y="781"/>
                </a:cubicBezTo>
                <a:cubicBezTo>
                  <a:pt x="26844" y="781"/>
                  <a:pt x="26844" y="781"/>
                  <a:pt x="26844" y="781"/>
                </a:cubicBezTo>
                <a:cubicBezTo>
                  <a:pt x="26844" y="781"/>
                  <a:pt x="26844" y="781"/>
                  <a:pt x="26844" y="781"/>
                </a:cubicBezTo>
                <a:cubicBezTo>
                  <a:pt x="26812" y="781"/>
                  <a:pt x="26781" y="781"/>
                  <a:pt x="26781" y="812"/>
                </a:cubicBezTo>
                <a:cubicBezTo>
                  <a:pt x="26781" y="812"/>
                  <a:pt x="26750" y="812"/>
                  <a:pt x="26750" y="812"/>
                </a:cubicBezTo>
                <a:cubicBezTo>
                  <a:pt x="26750" y="812"/>
                  <a:pt x="26750" y="843"/>
                  <a:pt x="26750" y="843"/>
                </a:cubicBezTo>
                <a:cubicBezTo>
                  <a:pt x="26719" y="843"/>
                  <a:pt x="26719" y="875"/>
                  <a:pt x="26687" y="875"/>
                </a:cubicBezTo>
                <a:cubicBezTo>
                  <a:pt x="26687" y="875"/>
                  <a:pt x="26687" y="875"/>
                  <a:pt x="26687" y="875"/>
                </a:cubicBezTo>
                <a:cubicBezTo>
                  <a:pt x="26656" y="875"/>
                  <a:pt x="26656" y="875"/>
                  <a:pt x="26625" y="875"/>
                </a:cubicBezTo>
                <a:cubicBezTo>
                  <a:pt x="26594" y="875"/>
                  <a:pt x="26594" y="875"/>
                  <a:pt x="26562" y="875"/>
                </a:cubicBezTo>
                <a:cubicBezTo>
                  <a:pt x="26500" y="875"/>
                  <a:pt x="26437" y="875"/>
                  <a:pt x="26406" y="906"/>
                </a:cubicBezTo>
                <a:cubicBezTo>
                  <a:pt x="26375" y="843"/>
                  <a:pt x="26344" y="843"/>
                  <a:pt x="26312" y="812"/>
                </a:cubicBezTo>
                <a:cubicBezTo>
                  <a:pt x="26312" y="812"/>
                  <a:pt x="26281" y="812"/>
                  <a:pt x="26281" y="812"/>
                </a:cubicBezTo>
                <a:cubicBezTo>
                  <a:pt x="26250" y="812"/>
                  <a:pt x="26187" y="875"/>
                  <a:pt x="26125" y="906"/>
                </a:cubicBezTo>
                <a:cubicBezTo>
                  <a:pt x="26125" y="906"/>
                  <a:pt x="26125" y="906"/>
                  <a:pt x="26125" y="906"/>
                </a:cubicBezTo>
                <a:cubicBezTo>
                  <a:pt x="26125" y="906"/>
                  <a:pt x="26094" y="906"/>
                  <a:pt x="26094" y="906"/>
                </a:cubicBezTo>
                <a:cubicBezTo>
                  <a:pt x="26094" y="937"/>
                  <a:pt x="26094" y="937"/>
                  <a:pt x="26094" y="937"/>
                </a:cubicBezTo>
                <a:cubicBezTo>
                  <a:pt x="26094" y="937"/>
                  <a:pt x="26125" y="937"/>
                  <a:pt x="26156" y="937"/>
                </a:cubicBezTo>
                <a:cubicBezTo>
                  <a:pt x="26219" y="906"/>
                  <a:pt x="26281" y="937"/>
                  <a:pt x="26344" y="937"/>
                </a:cubicBezTo>
                <a:cubicBezTo>
                  <a:pt x="26344" y="968"/>
                  <a:pt x="26375" y="968"/>
                  <a:pt x="26406" y="968"/>
                </a:cubicBezTo>
                <a:cubicBezTo>
                  <a:pt x="26375" y="968"/>
                  <a:pt x="26375" y="1000"/>
                  <a:pt x="26344" y="1000"/>
                </a:cubicBezTo>
                <a:cubicBezTo>
                  <a:pt x="26312" y="1031"/>
                  <a:pt x="26250" y="1031"/>
                  <a:pt x="26219" y="1031"/>
                </a:cubicBezTo>
                <a:cubicBezTo>
                  <a:pt x="26187" y="1031"/>
                  <a:pt x="26156" y="1031"/>
                  <a:pt x="26125" y="1031"/>
                </a:cubicBezTo>
                <a:cubicBezTo>
                  <a:pt x="26125" y="1031"/>
                  <a:pt x="26094" y="1000"/>
                  <a:pt x="26094" y="1000"/>
                </a:cubicBezTo>
                <a:cubicBezTo>
                  <a:pt x="26094" y="1000"/>
                  <a:pt x="26062" y="1000"/>
                  <a:pt x="26062" y="968"/>
                </a:cubicBezTo>
                <a:cubicBezTo>
                  <a:pt x="26031" y="968"/>
                  <a:pt x="26031" y="968"/>
                  <a:pt x="26031" y="937"/>
                </a:cubicBezTo>
                <a:cubicBezTo>
                  <a:pt x="26031" y="937"/>
                  <a:pt x="26000" y="937"/>
                  <a:pt x="26000" y="937"/>
                </a:cubicBezTo>
                <a:cubicBezTo>
                  <a:pt x="26000" y="937"/>
                  <a:pt x="25969" y="937"/>
                  <a:pt x="25937" y="937"/>
                </a:cubicBezTo>
                <a:cubicBezTo>
                  <a:pt x="25937" y="937"/>
                  <a:pt x="25906" y="937"/>
                  <a:pt x="25906" y="937"/>
                </a:cubicBezTo>
                <a:cubicBezTo>
                  <a:pt x="25812" y="968"/>
                  <a:pt x="25719" y="1000"/>
                  <a:pt x="25625" y="1000"/>
                </a:cubicBezTo>
                <a:cubicBezTo>
                  <a:pt x="25562" y="1031"/>
                  <a:pt x="25500" y="1031"/>
                  <a:pt x="25437" y="1031"/>
                </a:cubicBezTo>
                <a:cubicBezTo>
                  <a:pt x="25344" y="1062"/>
                  <a:pt x="25250" y="1062"/>
                  <a:pt x="25125" y="1062"/>
                </a:cubicBezTo>
                <a:cubicBezTo>
                  <a:pt x="25062" y="1062"/>
                  <a:pt x="25031" y="1062"/>
                  <a:pt x="24969" y="1093"/>
                </a:cubicBezTo>
                <a:cubicBezTo>
                  <a:pt x="24781" y="1125"/>
                  <a:pt x="24625" y="1187"/>
                  <a:pt x="24437" y="1218"/>
                </a:cubicBezTo>
                <a:cubicBezTo>
                  <a:pt x="24437" y="1250"/>
                  <a:pt x="24437" y="1250"/>
                  <a:pt x="24406" y="1250"/>
                </a:cubicBezTo>
                <a:cubicBezTo>
                  <a:pt x="24406" y="1250"/>
                  <a:pt x="24375" y="1250"/>
                  <a:pt x="24375" y="1250"/>
                </a:cubicBezTo>
                <a:cubicBezTo>
                  <a:pt x="24344" y="1250"/>
                  <a:pt x="24344" y="1250"/>
                  <a:pt x="24312" y="1250"/>
                </a:cubicBezTo>
                <a:cubicBezTo>
                  <a:pt x="24312" y="1250"/>
                  <a:pt x="24312" y="1218"/>
                  <a:pt x="24312" y="1218"/>
                </a:cubicBezTo>
                <a:cubicBezTo>
                  <a:pt x="24281" y="1187"/>
                  <a:pt x="24312" y="1187"/>
                  <a:pt x="24344" y="1156"/>
                </a:cubicBezTo>
                <a:cubicBezTo>
                  <a:pt x="24344" y="1156"/>
                  <a:pt x="24344" y="1125"/>
                  <a:pt x="24375" y="1125"/>
                </a:cubicBezTo>
                <a:cubicBezTo>
                  <a:pt x="24375" y="1125"/>
                  <a:pt x="24375" y="1093"/>
                  <a:pt x="24375" y="1093"/>
                </a:cubicBezTo>
                <a:cubicBezTo>
                  <a:pt x="24344" y="1093"/>
                  <a:pt x="24344" y="1062"/>
                  <a:pt x="24281" y="1062"/>
                </a:cubicBezTo>
                <a:cubicBezTo>
                  <a:pt x="24281" y="1062"/>
                  <a:pt x="24281" y="1062"/>
                  <a:pt x="24281" y="1062"/>
                </a:cubicBezTo>
                <a:cubicBezTo>
                  <a:pt x="24281" y="1062"/>
                  <a:pt x="24281" y="1062"/>
                  <a:pt x="24250" y="1062"/>
                </a:cubicBezTo>
                <a:cubicBezTo>
                  <a:pt x="24250" y="1062"/>
                  <a:pt x="24250" y="1031"/>
                  <a:pt x="24250" y="1031"/>
                </a:cubicBezTo>
                <a:cubicBezTo>
                  <a:pt x="24219" y="1031"/>
                  <a:pt x="24219" y="1031"/>
                  <a:pt x="24219" y="1000"/>
                </a:cubicBezTo>
                <a:cubicBezTo>
                  <a:pt x="24219" y="1000"/>
                  <a:pt x="24187" y="1000"/>
                  <a:pt x="24187" y="968"/>
                </a:cubicBezTo>
                <a:cubicBezTo>
                  <a:pt x="24187" y="968"/>
                  <a:pt x="24187" y="968"/>
                  <a:pt x="24187" y="968"/>
                </a:cubicBezTo>
                <a:cubicBezTo>
                  <a:pt x="24187" y="968"/>
                  <a:pt x="24187" y="968"/>
                  <a:pt x="24187" y="968"/>
                </a:cubicBezTo>
                <a:cubicBezTo>
                  <a:pt x="24187" y="1000"/>
                  <a:pt x="24156" y="1031"/>
                  <a:pt x="24156" y="1031"/>
                </a:cubicBezTo>
                <a:cubicBezTo>
                  <a:pt x="24125" y="1093"/>
                  <a:pt x="24062" y="1156"/>
                  <a:pt x="24000" y="1187"/>
                </a:cubicBezTo>
                <a:cubicBezTo>
                  <a:pt x="23969" y="1187"/>
                  <a:pt x="23906" y="1156"/>
                  <a:pt x="23937" y="1125"/>
                </a:cubicBezTo>
                <a:cubicBezTo>
                  <a:pt x="23937" y="1125"/>
                  <a:pt x="23937" y="1093"/>
                  <a:pt x="23937" y="1093"/>
                </a:cubicBezTo>
                <a:cubicBezTo>
                  <a:pt x="23969" y="1031"/>
                  <a:pt x="23906" y="1000"/>
                  <a:pt x="23812" y="968"/>
                </a:cubicBezTo>
                <a:cubicBezTo>
                  <a:pt x="23812" y="968"/>
                  <a:pt x="23781" y="968"/>
                  <a:pt x="23781" y="968"/>
                </a:cubicBezTo>
                <a:cubicBezTo>
                  <a:pt x="23719" y="968"/>
                  <a:pt x="23687" y="1062"/>
                  <a:pt x="23594" y="1031"/>
                </a:cubicBezTo>
                <a:cubicBezTo>
                  <a:pt x="23625" y="968"/>
                  <a:pt x="23656" y="937"/>
                  <a:pt x="23687" y="875"/>
                </a:cubicBezTo>
                <a:cubicBezTo>
                  <a:pt x="23656" y="906"/>
                  <a:pt x="23594" y="906"/>
                  <a:pt x="23562" y="906"/>
                </a:cubicBezTo>
                <a:cubicBezTo>
                  <a:pt x="23531" y="906"/>
                  <a:pt x="23500" y="875"/>
                  <a:pt x="23500" y="812"/>
                </a:cubicBezTo>
                <a:cubicBezTo>
                  <a:pt x="23500" y="812"/>
                  <a:pt x="23531" y="812"/>
                  <a:pt x="23531" y="812"/>
                </a:cubicBezTo>
                <a:cubicBezTo>
                  <a:pt x="23531" y="781"/>
                  <a:pt x="23531" y="781"/>
                  <a:pt x="23531" y="781"/>
                </a:cubicBezTo>
                <a:cubicBezTo>
                  <a:pt x="23531" y="781"/>
                  <a:pt x="23531" y="781"/>
                  <a:pt x="23562" y="781"/>
                </a:cubicBezTo>
                <a:cubicBezTo>
                  <a:pt x="23562" y="750"/>
                  <a:pt x="23531" y="750"/>
                  <a:pt x="23500" y="750"/>
                </a:cubicBezTo>
                <a:cubicBezTo>
                  <a:pt x="23500" y="750"/>
                  <a:pt x="23469" y="750"/>
                  <a:pt x="23469" y="750"/>
                </a:cubicBezTo>
                <a:cubicBezTo>
                  <a:pt x="23469" y="750"/>
                  <a:pt x="23469" y="750"/>
                  <a:pt x="23437" y="750"/>
                </a:cubicBezTo>
                <a:cubicBezTo>
                  <a:pt x="23437" y="750"/>
                  <a:pt x="23437" y="750"/>
                  <a:pt x="23406" y="750"/>
                </a:cubicBezTo>
                <a:cubicBezTo>
                  <a:pt x="23406" y="750"/>
                  <a:pt x="23375" y="750"/>
                  <a:pt x="23375" y="750"/>
                </a:cubicBezTo>
                <a:cubicBezTo>
                  <a:pt x="23375" y="781"/>
                  <a:pt x="23375" y="781"/>
                  <a:pt x="23375" y="781"/>
                </a:cubicBezTo>
                <a:cubicBezTo>
                  <a:pt x="23344" y="781"/>
                  <a:pt x="23344" y="812"/>
                  <a:pt x="23312" y="812"/>
                </a:cubicBezTo>
                <a:cubicBezTo>
                  <a:pt x="23312" y="812"/>
                  <a:pt x="23281" y="843"/>
                  <a:pt x="23250" y="843"/>
                </a:cubicBezTo>
                <a:cubicBezTo>
                  <a:pt x="23219" y="843"/>
                  <a:pt x="23250" y="781"/>
                  <a:pt x="23250" y="750"/>
                </a:cubicBezTo>
                <a:cubicBezTo>
                  <a:pt x="23219" y="750"/>
                  <a:pt x="23219" y="750"/>
                  <a:pt x="23219" y="750"/>
                </a:cubicBezTo>
                <a:cubicBezTo>
                  <a:pt x="23187" y="750"/>
                  <a:pt x="23187" y="750"/>
                  <a:pt x="23156" y="750"/>
                </a:cubicBezTo>
                <a:cubicBezTo>
                  <a:pt x="23094" y="781"/>
                  <a:pt x="23062" y="781"/>
                  <a:pt x="23062" y="750"/>
                </a:cubicBezTo>
                <a:cubicBezTo>
                  <a:pt x="23062" y="718"/>
                  <a:pt x="23062" y="718"/>
                  <a:pt x="23094" y="718"/>
                </a:cubicBezTo>
                <a:cubicBezTo>
                  <a:pt x="23094" y="687"/>
                  <a:pt x="23094" y="687"/>
                  <a:pt x="23094" y="656"/>
                </a:cubicBezTo>
                <a:cubicBezTo>
                  <a:pt x="23125" y="656"/>
                  <a:pt x="23125" y="625"/>
                  <a:pt x="23094" y="625"/>
                </a:cubicBezTo>
                <a:cubicBezTo>
                  <a:pt x="23094" y="625"/>
                  <a:pt x="23094" y="625"/>
                  <a:pt x="23094" y="593"/>
                </a:cubicBezTo>
                <a:cubicBezTo>
                  <a:pt x="23094" y="593"/>
                  <a:pt x="23094" y="593"/>
                  <a:pt x="23094" y="593"/>
                </a:cubicBezTo>
                <a:cubicBezTo>
                  <a:pt x="23094" y="593"/>
                  <a:pt x="23094" y="593"/>
                  <a:pt x="23094" y="593"/>
                </a:cubicBezTo>
                <a:cubicBezTo>
                  <a:pt x="23062" y="593"/>
                  <a:pt x="23062" y="593"/>
                  <a:pt x="23062" y="625"/>
                </a:cubicBezTo>
                <a:cubicBezTo>
                  <a:pt x="22969" y="656"/>
                  <a:pt x="22906" y="656"/>
                  <a:pt x="22875" y="625"/>
                </a:cubicBezTo>
                <a:cubicBezTo>
                  <a:pt x="22844" y="593"/>
                  <a:pt x="22844" y="562"/>
                  <a:pt x="22844" y="531"/>
                </a:cubicBezTo>
                <a:cubicBezTo>
                  <a:pt x="22844" y="531"/>
                  <a:pt x="22844" y="500"/>
                  <a:pt x="22844" y="500"/>
                </a:cubicBezTo>
                <a:cubicBezTo>
                  <a:pt x="22812" y="500"/>
                  <a:pt x="22750" y="500"/>
                  <a:pt x="22719" y="468"/>
                </a:cubicBezTo>
                <a:cubicBezTo>
                  <a:pt x="22687" y="468"/>
                  <a:pt x="22687" y="468"/>
                  <a:pt x="22656" y="468"/>
                </a:cubicBezTo>
                <a:cubicBezTo>
                  <a:pt x="22625" y="437"/>
                  <a:pt x="22594" y="437"/>
                  <a:pt x="22594" y="406"/>
                </a:cubicBezTo>
                <a:cubicBezTo>
                  <a:pt x="22594" y="406"/>
                  <a:pt x="22594" y="406"/>
                  <a:pt x="22594" y="375"/>
                </a:cubicBezTo>
                <a:cubicBezTo>
                  <a:pt x="22594" y="375"/>
                  <a:pt x="22594" y="375"/>
                  <a:pt x="22594" y="375"/>
                </a:cubicBezTo>
                <a:cubicBezTo>
                  <a:pt x="22594" y="343"/>
                  <a:pt x="22625" y="312"/>
                  <a:pt x="22687" y="312"/>
                </a:cubicBezTo>
                <a:cubicBezTo>
                  <a:pt x="22687" y="312"/>
                  <a:pt x="22687" y="312"/>
                  <a:pt x="22719" y="312"/>
                </a:cubicBezTo>
                <a:cubicBezTo>
                  <a:pt x="22719" y="312"/>
                  <a:pt x="22719" y="312"/>
                  <a:pt x="22750" y="312"/>
                </a:cubicBezTo>
                <a:cubicBezTo>
                  <a:pt x="22812" y="281"/>
                  <a:pt x="22875" y="281"/>
                  <a:pt x="22937" y="250"/>
                </a:cubicBezTo>
                <a:cubicBezTo>
                  <a:pt x="23000" y="250"/>
                  <a:pt x="23062" y="218"/>
                  <a:pt x="23125" y="218"/>
                </a:cubicBezTo>
                <a:cubicBezTo>
                  <a:pt x="23062" y="218"/>
                  <a:pt x="23000" y="218"/>
                  <a:pt x="22906" y="218"/>
                </a:cubicBezTo>
                <a:cubicBezTo>
                  <a:pt x="22906" y="218"/>
                  <a:pt x="22906" y="218"/>
                  <a:pt x="22875" y="218"/>
                </a:cubicBezTo>
                <a:cubicBezTo>
                  <a:pt x="22844" y="218"/>
                  <a:pt x="22844" y="187"/>
                  <a:pt x="22844" y="187"/>
                </a:cubicBezTo>
                <a:cubicBezTo>
                  <a:pt x="22875" y="187"/>
                  <a:pt x="22875" y="156"/>
                  <a:pt x="22875" y="156"/>
                </a:cubicBezTo>
                <a:cubicBezTo>
                  <a:pt x="22906" y="156"/>
                  <a:pt x="22906" y="156"/>
                  <a:pt x="22906" y="156"/>
                </a:cubicBezTo>
                <a:cubicBezTo>
                  <a:pt x="22875" y="125"/>
                  <a:pt x="22875" y="125"/>
                  <a:pt x="22875" y="125"/>
                </a:cubicBezTo>
                <a:cubicBezTo>
                  <a:pt x="22875" y="125"/>
                  <a:pt x="22844" y="125"/>
                  <a:pt x="22844" y="125"/>
                </a:cubicBezTo>
                <a:cubicBezTo>
                  <a:pt x="22812" y="125"/>
                  <a:pt x="22812" y="156"/>
                  <a:pt x="22812" y="156"/>
                </a:cubicBezTo>
                <a:cubicBezTo>
                  <a:pt x="22781" y="156"/>
                  <a:pt x="22781" y="156"/>
                  <a:pt x="22781" y="156"/>
                </a:cubicBezTo>
                <a:cubicBezTo>
                  <a:pt x="22750" y="156"/>
                  <a:pt x="22750" y="156"/>
                  <a:pt x="22719" y="156"/>
                </a:cubicBezTo>
                <a:cubicBezTo>
                  <a:pt x="22719" y="156"/>
                  <a:pt x="22687" y="156"/>
                  <a:pt x="22687" y="125"/>
                </a:cubicBezTo>
                <a:cubicBezTo>
                  <a:pt x="22687" y="125"/>
                  <a:pt x="22687" y="125"/>
                  <a:pt x="22719" y="93"/>
                </a:cubicBezTo>
                <a:cubicBezTo>
                  <a:pt x="22719" y="93"/>
                  <a:pt x="22750" y="93"/>
                  <a:pt x="22750" y="93"/>
                </a:cubicBezTo>
                <a:cubicBezTo>
                  <a:pt x="22781" y="93"/>
                  <a:pt x="22781" y="62"/>
                  <a:pt x="22812" y="62"/>
                </a:cubicBezTo>
                <a:cubicBezTo>
                  <a:pt x="22844" y="62"/>
                  <a:pt x="22844" y="62"/>
                  <a:pt x="22844" y="31"/>
                </a:cubicBezTo>
                <a:cubicBezTo>
                  <a:pt x="22844" y="31"/>
                  <a:pt x="22844" y="0"/>
                  <a:pt x="22844" y="0"/>
                </a:cubicBezTo>
                <a:cubicBezTo>
                  <a:pt x="22812" y="0"/>
                  <a:pt x="22781" y="0"/>
                  <a:pt x="22750" y="31"/>
                </a:cubicBezTo>
                <a:cubicBezTo>
                  <a:pt x="22687" y="31"/>
                  <a:pt x="22625" y="62"/>
                  <a:pt x="22562" y="93"/>
                </a:cubicBezTo>
                <a:cubicBezTo>
                  <a:pt x="22531" y="93"/>
                  <a:pt x="22500" y="93"/>
                  <a:pt x="22469" y="93"/>
                </a:cubicBezTo>
                <a:cubicBezTo>
                  <a:pt x="22406" y="125"/>
                  <a:pt x="22375" y="125"/>
                  <a:pt x="22344" y="156"/>
                </a:cubicBezTo>
                <a:cubicBezTo>
                  <a:pt x="22344" y="156"/>
                  <a:pt x="22344" y="187"/>
                  <a:pt x="22344" y="187"/>
                </a:cubicBezTo>
                <a:cubicBezTo>
                  <a:pt x="22312" y="250"/>
                  <a:pt x="22437" y="218"/>
                  <a:pt x="22469" y="250"/>
                </a:cubicBezTo>
                <a:cubicBezTo>
                  <a:pt x="22437" y="250"/>
                  <a:pt x="22437" y="250"/>
                  <a:pt x="22437" y="250"/>
                </a:cubicBezTo>
                <a:cubicBezTo>
                  <a:pt x="22437" y="250"/>
                  <a:pt x="22437" y="250"/>
                  <a:pt x="22437" y="250"/>
                </a:cubicBezTo>
                <a:cubicBezTo>
                  <a:pt x="22344" y="250"/>
                  <a:pt x="22281" y="375"/>
                  <a:pt x="22156" y="375"/>
                </a:cubicBezTo>
                <a:cubicBezTo>
                  <a:pt x="22156" y="375"/>
                  <a:pt x="22156" y="375"/>
                  <a:pt x="22156" y="375"/>
                </a:cubicBezTo>
                <a:cubicBezTo>
                  <a:pt x="22094" y="375"/>
                  <a:pt x="22062" y="343"/>
                  <a:pt x="22000" y="312"/>
                </a:cubicBezTo>
                <a:cubicBezTo>
                  <a:pt x="22000" y="312"/>
                  <a:pt x="22000" y="312"/>
                  <a:pt x="22000" y="312"/>
                </a:cubicBezTo>
                <a:cubicBezTo>
                  <a:pt x="22000" y="312"/>
                  <a:pt x="21969" y="312"/>
                  <a:pt x="21969" y="312"/>
                </a:cubicBezTo>
                <a:cubicBezTo>
                  <a:pt x="21969" y="312"/>
                  <a:pt x="21969" y="312"/>
                  <a:pt x="21969" y="312"/>
                </a:cubicBezTo>
                <a:cubicBezTo>
                  <a:pt x="21937" y="312"/>
                  <a:pt x="21906" y="312"/>
                  <a:pt x="21906" y="312"/>
                </a:cubicBezTo>
                <a:cubicBezTo>
                  <a:pt x="21719" y="375"/>
                  <a:pt x="21562" y="468"/>
                  <a:pt x="21375" y="531"/>
                </a:cubicBezTo>
                <a:cubicBezTo>
                  <a:pt x="21375" y="531"/>
                  <a:pt x="21375" y="531"/>
                  <a:pt x="21375" y="531"/>
                </a:cubicBezTo>
                <a:cubicBezTo>
                  <a:pt x="21344" y="562"/>
                  <a:pt x="21312" y="562"/>
                  <a:pt x="21312" y="593"/>
                </a:cubicBezTo>
                <a:cubicBezTo>
                  <a:pt x="21375" y="750"/>
                  <a:pt x="21312" y="843"/>
                  <a:pt x="21156" y="906"/>
                </a:cubicBezTo>
                <a:cubicBezTo>
                  <a:pt x="21125" y="937"/>
                  <a:pt x="21125" y="937"/>
                  <a:pt x="21094" y="937"/>
                </a:cubicBezTo>
                <a:cubicBezTo>
                  <a:pt x="20937" y="1000"/>
                  <a:pt x="20781" y="1031"/>
                  <a:pt x="20656" y="1031"/>
                </a:cubicBezTo>
                <a:cubicBezTo>
                  <a:pt x="20594" y="1031"/>
                  <a:pt x="20500" y="1031"/>
                  <a:pt x="20437" y="1000"/>
                </a:cubicBezTo>
                <a:cubicBezTo>
                  <a:pt x="20375" y="1000"/>
                  <a:pt x="20281" y="1000"/>
                  <a:pt x="20219" y="968"/>
                </a:cubicBezTo>
                <a:cubicBezTo>
                  <a:pt x="20187" y="968"/>
                  <a:pt x="20187" y="937"/>
                  <a:pt x="20187" y="937"/>
                </a:cubicBezTo>
                <a:cubicBezTo>
                  <a:pt x="20125" y="937"/>
                  <a:pt x="20094" y="906"/>
                  <a:pt x="20062" y="906"/>
                </a:cubicBezTo>
                <a:cubicBezTo>
                  <a:pt x="20062" y="906"/>
                  <a:pt x="20062" y="906"/>
                  <a:pt x="20062" y="906"/>
                </a:cubicBezTo>
                <a:cubicBezTo>
                  <a:pt x="20062" y="906"/>
                  <a:pt x="20062" y="906"/>
                  <a:pt x="20062" y="906"/>
                </a:cubicBezTo>
                <a:cubicBezTo>
                  <a:pt x="19969" y="937"/>
                  <a:pt x="19875" y="937"/>
                  <a:pt x="19781" y="937"/>
                </a:cubicBezTo>
                <a:cubicBezTo>
                  <a:pt x="19687" y="937"/>
                  <a:pt x="19594" y="937"/>
                  <a:pt x="19500" y="906"/>
                </a:cubicBezTo>
                <a:cubicBezTo>
                  <a:pt x="19344" y="906"/>
                  <a:pt x="19156" y="875"/>
                  <a:pt x="18969" y="875"/>
                </a:cubicBezTo>
                <a:cubicBezTo>
                  <a:pt x="18969" y="875"/>
                  <a:pt x="18937" y="875"/>
                  <a:pt x="18937" y="875"/>
                </a:cubicBezTo>
                <a:cubicBezTo>
                  <a:pt x="18906" y="875"/>
                  <a:pt x="18906" y="875"/>
                  <a:pt x="18906" y="875"/>
                </a:cubicBezTo>
                <a:cubicBezTo>
                  <a:pt x="18844" y="875"/>
                  <a:pt x="18812" y="843"/>
                  <a:pt x="18781" y="812"/>
                </a:cubicBezTo>
                <a:cubicBezTo>
                  <a:pt x="18750" y="812"/>
                  <a:pt x="18750" y="781"/>
                  <a:pt x="18750" y="781"/>
                </a:cubicBezTo>
                <a:cubicBezTo>
                  <a:pt x="18719" y="718"/>
                  <a:pt x="18625" y="625"/>
                  <a:pt x="18437" y="718"/>
                </a:cubicBezTo>
                <a:cubicBezTo>
                  <a:pt x="18281" y="843"/>
                  <a:pt x="18094" y="937"/>
                  <a:pt x="17812" y="906"/>
                </a:cubicBezTo>
                <a:cubicBezTo>
                  <a:pt x="17781" y="906"/>
                  <a:pt x="17750" y="906"/>
                  <a:pt x="17687" y="906"/>
                </a:cubicBezTo>
                <a:cubicBezTo>
                  <a:pt x="17625" y="937"/>
                  <a:pt x="17562" y="937"/>
                  <a:pt x="17531" y="937"/>
                </a:cubicBezTo>
                <a:cubicBezTo>
                  <a:pt x="17500" y="937"/>
                  <a:pt x="17469" y="937"/>
                  <a:pt x="17469" y="937"/>
                </a:cubicBezTo>
                <a:cubicBezTo>
                  <a:pt x="17406" y="937"/>
                  <a:pt x="17375" y="906"/>
                  <a:pt x="17344" y="906"/>
                </a:cubicBezTo>
                <a:cubicBezTo>
                  <a:pt x="17312" y="875"/>
                  <a:pt x="17187" y="906"/>
                  <a:pt x="17187" y="906"/>
                </a:cubicBezTo>
                <a:cubicBezTo>
                  <a:pt x="17125" y="968"/>
                  <a:pt x="17062" y="968"/>
                  <a:pt x="16969" y="1000"/>
                </a:cubicBezTo>
                <a:cubicBezTo>
                  <a:pt x="16875" y="1031"/>
                  <a:pt x="16719" y="1000"/>
                  <a:pt x="16625" y="1031"/>
                </a:cubicBezTo>
                <a:cubicBezTo>
                  <a:pt x="16594" y="1031"/>
                  <a:pt x="16594" y="1031"/>
                  <a:pt x="16562" y="1031"/>
                </a:cubicBezTo>
                <a:cubicBezTo>
                  <a:pt x="16500" y="1062"/>
                  <a:pt x="16469" y="1062"/>
                  <a:pt x="16406" y="1093"/>
                </a:cubicBezTo>
                <a:cubicBezTo>
                  <a:pt x="16375" y="1093"/>
                  <a:pt x="16375" y="1093"/>
                  <a:pt x="16344" y="1093"/>
                </a:cubicBezTo>
                <a:cubicBezTo>
                  <a:pt x="16312" y="1093"/>
                  <a:pt x="16281" y="1093"/>
                  <a:pt x="16250" y="1062"/>
                </a:cubicBezTo>
                <a:cubicBezTo>
                  <a:pt x="16250" y="1031"/>
                  <a:pt x="16281" y="1031"/>
                  <a:pt x="16312" y="1000"/>
                </a:cubicBezTo>
                <a:cubicBezTo>
                  <a:pt x="16344" y="1000"/>
                  <a:pt x="16375" y="1000"/>
                  <a:pt x="16406" y="1000"/>
                </a:cubicBezTo>
                <a:cubicBezTo>
                  <a:pt x="16469" y="968"/>
                  <a:pt x="16562" y="968"/>
                  <a:pt x="16625" y="937"/>
                </a:cubicBezTo>
                <a:cubicBezTo>
                  <a:pt x="16656" y="937"/>
                  <a:pt x="16656" y="937"/>
                  <a:pt x="16687" y="937"/>
                </a:cubicBezTo>
                <a:cubicBezTo>
                  <a:pt x="16750" y="906"/>
                  <a:pt x="16812" y="875"/>
                  <a:pt x="16906" y="875"/>
                </a:cubicBezTo>
                <a:cubicBezTo>
                  <a:pt x="16969" y="875"/>
                  <a:pt x="17000" y="843"/>
                  <a:pt x="17062" y="843"/>
                </a:cubicBezTo>
                <a:cubicBezTo>
                  <a:pt x="17062" y="812"/>
                  <a:pt x="17094" y="812"/>
                  <a:pt x="17125" y="812"/>
                </a:cubicBezTo>
                <a:cubicBezTo>
                  <a:pt x="17156" y="781"/>
                  <a:pt x="17156" y="781"/>
                  <a:pt x="17187" y="781"/>
                </a:cubicBezTo>
                <a:cubicBezTo>
                  <a:pt x="17281" y="750"/>
                  <a:pt x="17375" y="750"/>
                  <a:pt x="17469" y="781"/>
                </a:cubicBezTo>
                <a:cubicBezTo>
                  <a:pt x="17469" y="781"/>
                  <a:pt x="17469" y="781"/>
                  <a:pt x="17469" y="781"/>
                </a:cubicBezTo>
                <a:cubicBezTo>
                  <a:pt x="17531" y="781"/>
                  <a:pt x="17562" y="781"/>
                  <a:pt x="17625" y="812"/>
                </a:cubicBezTo>
                <a:cubicBezTo>
                  <a:pt x="17625" y="812"/>
                  <a:pt x="17625" y="812"/>
                  <a:pt x="17625" y="812"/>
                </a:cubicBezTo>
                <a:cubicBezTo>
                  <a:pt x="17594" y="812"/>
                  <a:pt x="17594" y="812"/>
                  <a:pt x="17562" y="812"/>
                </a:cubicBezTo>
                <a:cubicBezTo>
                  <a:pt x="17562" y="843"/>
                  <a:pt x="17531" y="843"/>
                  <a:pt x="17562" y="843"/>
                </a:cubicBezTo>
                <a:cubicBezTo>
                  <a:pt x="17562" y="875"/>
                  <a:pt x="17594" y="875"/>
                  <a:pt x="17625" y="875"/>
                </a:cubicBezTo>
                <a:cubicBezTo>
                  <a:pt x="17625" y="843"/>
                  <a:pt x="17656" y="843"/>
                  <a:pt x="17656" y="843"/>
                </a:cubicBezTo>
                <a:cubicBezTo>
                  <a:pt x="17750" y="812"/>
                  <a:pt x="17875" y="812"/>
                  <a:pt x="18000" y="812"/>
                </a:cubicBezTo>
                <a:cubicBezTo>
                  <a:pt x="18000" y="812"/>
                  <a:pt x="18031" y="812"/>
                  <a:pt x="18062" y="812"/>
                </a:cubicBezTo>
                <a:cubicBezTo>
                  <a:pt x="18094" y="812"/>
                  <a:pt x="18125" y="781"/>
                  <a:pt x="18156" y="781"/>
                </a:cubicBezTo>
                <a:cubicBezTo>
                  <a:pt x="18187" y="750"/>
                  <a:pt x="18219" y="718"/>
                  <a:pt x="18281" y="718"/>
                </a:cubicBezTo>
                <a:cubicBezTo>
                  <a:pt x="18281" y="687"/>
                  <a:pt x="18281" y="687"/>
                  <a:pt x="18312" y="687"/>
                </a:cubicBezTo>
                <a:cubicBezTo>
                  <a:pt x="18344" y="687"/>
                  <a:pt x="18344" y="687"/>
                  <a:pt x="18375" y="656"/>
                </a:cubicBezTo>
                <a:cubicBezTo>
                  <a:pt x="18406" y="656"/>
                  <a:pt x="18406" y="656"/>
                  <a:pt x="18406" y="656"/>
                </a:cubicBezTo>
                <a:cubicBezTo>
                  <a:pt x="18469" y="656"/>
                  <a:pt x="18531" y="656"/>
                  <a:pt x="18594" y="656"/>
                </a:cubicBezTo>
                <a:cubicBezTo>
                  <a:pt x="18656" y="656"/>
                  <a:pt x="18719" y="656"/>
                  <a:pt x="18812" y="656"/>
                </a:cubicBezTo>
                <a:cubicBezTo>
                  <a:pt x="18719" y="593"/>
                  <a:pt x="18625" y="593"/>
                  <a:pt x="18531" y="593"/>
                </a:cubicBezTo>
                <a:cubicBezTo>
                  <a:pt x="18500" y="593"/>
                  <a:pt x="18469" y="593"/>
                  <a:pt x="18437" y="593"/>
                </a:cubicBezTo>
                <a:cubicBezTo>
                  <a:pt x="18375" y="593"/>
                  <a:pt x="18281" y="625"/>
                  <a:pt x="18219" y="625"/>
                </a:cubicBezTo>
                <a:cubicBezTo>
                  <a:pt x="18187" y="625"/>
                  <a:pt x="18187" y="625"/>
                  <a:pt x="18187" y="625"/>
                </a:cubicBezTo>
                <a:cubicBezTo>
                  <a:pt x="18156" y="625"/>
                  <a:pt x="18156" y="625"/>
                  <a:pt x="18125" y="625"/>
                </a:cubicBezTo>
                <a:cubicBezTo>
                  <a:pt x="18156" y="593"/>
                  <a:pt x="18187" y="562"/>
                  <a:pt x="18187" y="531"/>
                </a:cubicBezTo>
                <a:cubicBezTo>
                  <a:pt x="18187" y="500"/>
                  <a:pt x="18156" y="468"/>
                  <a:pt x="18062" y="468"/>
                </a:cubicBezTo>
                <a:cubicBezTo>
                  <a:pt x="18031" y="468"/>
                  <a:pt x="17969" y="468"/>
                  <a:pt x="17937" y="437"/>
                </a:cubicBezTo>
                <a:cubicBezTo>
                  <a:pt x="17937" y="437"/>
                  <a:pt x="17937" y="406"/>
                  <a:pt x="17937" y="406"/>
                </a:cubicBezTo>
                <a:cubicBezTo>
                  <a:pt x="18031" y="312"/>
                  <a:pt x="17906" y="343"/>
                  <a:pt x="17875" y="312"/>
                </a:cubicBezTo>
                <a:cubicBezTo>
                  <a:pt x="17812" y="250"/>
                  <a:pt x="17750" y="250"/>
                  <a:pt x="17687" y="218"/>
                </a:cubicBezTo>
                <a:cubicBezTo>
                  <a:pt x="17625" y="187"/>
                  <a:pt x="17562" y="187"/>
                  <a:pt x="17500" y="156"/>
                </a:cubicBezTo>
                <a:cubicBezTo>
                  <a:pt x="17500" y="156"/>
                  <a:pt x="17469" y="156"/>
                  <a:pt x="17437" y="125"/>
                </a:cubicBezTo>
                <a:cubicBezTo>
                  <a:pt x="17437" y="125"/>
                  <a:pt x="17406" y="125"/>
                  <a:pt x="17375" y="125"/>
                </a:cubicBezTo>
                <a:cubicBezTo>
                  <a:pt x="17312" y="93"/>
                  <a:pt x="17250" y="93"/>
                  <a:pt x="17187" y="62"/>
                </a:cubicBezTo>
                <a:cubicBezTo>
                  <a:pt x="17156" y="62"/>
                  <a:pt x="17125" y="62"/>
                  <a:pt x="17094" y="62"/>
                </a:cubicBezTo>
                <a:cubicBezTo>
                  <a:pt x="16969" y="31"/>
                  <a:pt x="16875" y="31"/>
                  <a:pt x="16781" y="31"/>
                </a:cubicBezTo>
                <a:cubicBezTo>
                  <a:pt x="16719" y="31"/>
                  <a:pt x="16625" y="31"/>
                  <a:pt x="16562" y="31"/>
                </a:cubicBezTo>
                <a:cubicBezTo>
                  <a:pt x="16094" y="31"/>
                  <a:pt x="15656" y="156"/>
                  <a:pt x="15219" y="250"/>
                </a:cubicBezTo>
                <a:cubicBezTo>
                  <a:pt x="14844" y="312"/>
                  <a:pt x="14500" y="437"/>
                  <a:pt x="14125" y="531"/>
                </a:cubicBezTo>
                <a:cubicBezTo>
                  <a:pt x="14031" y="562"/>
                  <a:pt x="13906" y="625"/>
                  <a:pt x="13781" y="656"/>
                </a:cubicBezTo>
                <a:cubicBezTo>
                  <a:pt x="13281" y="781"/>
                  <a:pt x="12750" y="875"/>
                  <a:pt x="12219" y="937"/>
                </a:cubicBezTo>
                <a:cubicBezTo>
                  <a:pt x="12062" y="968"/>
                  <a:pt x="11875" y="1000"/>
                  <a:pt x="11719" y="1062"/>
                </a:cubicBezTo>
                <a:cubicBezTo>
                  <a:pt x="11687" y="1062"/>
                  <a:pt x="11656" y="1062"/>
                  <a:pt x="11656" y="1062"/>
                </a:cubicBezTo>
                <a:cubicBezTo>
                  <a:pt x="11656" y="1031"/>
                  <a:pt x="11625" y="1031"/>
                  <a:pt x="11656" y="1000"/>
                </a:cubicBezTo>
                <a:cubicBezTo>
                  <a:pt x="11656" y="1000"/>
                  <a:pt x="11656" y="1000"/>
                  <a:pt x="11656" y="1000"/>
                </a:cubicBezTo>
                <a:cubicBezTo>
                  <a:pt x="11687" y="1000"/>
                  <a:pt x="11687" y="1000"/>
                  <a:pt x="11687" y="968"/>
                </a:cubicBezTo>
                <a:cubicBezTo>
                  <a:pt x="11719" y="968"/>
                  <a:pt x="11750" y="937"/>
                  <a:pt x="11750" y="937"/>
                </a:cubicBezTo>
                <a:cubicBezTo>
                  <a:pt x="11781" y="937"/>
                  <a:pt x="11812" y="937"/>
                  <a:pt x="11844" y="937"/>
                </a:cubicBezTo>
                <a:cubicBezTo>
                  <a:pt x="11937" y="937"/>
                  <a:pt x="11969" y="906"/>
                  <a:pt x="11969" y="906"/>
                </a:cubicBezTo>
                <a:cubicBezTo>
                  <a:pt x="12000" y="906"/>
                  <a:pt x="11969" y="875"/>
                  <a:pt x="11969" y="875"/>
                </a:cubicBezTo>
                <a:cubicBezTo>
                  <a:pt x="11969" y="843"/>
                  <a:pt x="11937" y="843"/>
                  <a:pt x="11906" y="812"/>
                </a:cubicBezTo>
                <a:cubicBezTo>
                  <a:pt x="11875" y="812"/>
                  <a:pt x="11875" y="781"/>
                  <a:pt x="11875" y="781"/>
                </a:cubicBezTo>
                <a:cubicBezTo>
                  <a:pt x="11844" y="781"/>
                  <a:pt x="11812" y="750"/>
                  <a:pt x="11812" y="718"/>
                </a:cubicBezTo>
                <a:cubicBezTo>
                  <a:pt x="11812" y="718"/>
                  <a:pt x="11812" y="687"/>
                  <a:pt x="11781" y="687"/>
                </a:cubicBezTo>
                <a:cubicBezTo>
                  <a:pt x="11781" y="656"/>
                  <a:pt x="11750" y="625"/>
                  <a:pt x="11750" y="625"/>
                </a:cubicBezTo>
                <a:cubicBezTo>
                  <a:pt x="11750" y="625"/>
                  <a:pt x="11719" y="625"/>
                  <a:pt x="11719" y="625"/>
                </a:cubicBezTo>
                <a:cubicBezTo>
                  <a:pt x="11687" y="593"/>
                  <a:pt x="11656" y="593"/>
                  <a:pt x="11625" y="593"/>
                </a:cubicBezTo>
                <a:cubicBezTo>
                  <a:pt x="11594" y="593"/>
                  <a:pt x="11594" y="593"/>
                  <a:pt x="11562" y="593"/>
                </a:cubicBezTo>
                <a:cubicBezTo>
                  <a:pt x="11531" y="562"/>
                  <a:pt x="11469" y="562"/>
                  <a:pt x="11437" y="562"/>
                </a:cubicBezTo>
                <a:cubicBezTo>
                  <a:pt x="11375" y="562"/>
                  <a:pt x="11312" y="562"/>
                  <a:pt x="11250" y="562"/>
                </a:cubicBezTo>
                <a:cubicBezTo>
                  <a:pt x="11187" y="562"/>
                  <a:pt x="11094" y="593"/>
                  <a:pt x="11031" y="593"/>
                </a:cubicBezTo>
                <a:cubicBezTo>
                  <a:pt x="10969" y="593"/>
                  <a:pt x="10906" y="593"/>
                  <a:pt x="10844" y="593"/>
                </a:cubicBezTo>
                <a:cubicBezTo>
                  <a:pt x="10719" y="593"/>
                  <a:pt x="10562" y="593"/>
                  <a:pt x="10437" y="593"/>
                </a:cubicBezTo>
                <a:cubicBezTo>
                  <a:pt x="10312" y="593"/>
                  <a:pt x="10187" y="625"/>
                  <a:pt x="10031" y="625"/>
                </a:cubicBezTo>
                <a:cubicBezTo>
                  <a:pt x="9969" y="625"/>
                  <a:pt x="9906" y="656"/>
                  <a:pt x="9844" y="656"/>
                </a:cubicBezTo>
                <a:cubicBezTo>
                  <a:pt x="9469" y="687"/>
                  <a:pt x="9125" y="750"/>
                  <a:pt x="8750" y="781"/>
                </a:cubicBezTo>
                <a:cubicBezTo>
                  <a:pt x="8656" y="812"/>
                  <a:pt x="8531" y="812"/>
                  <a:pt x="8406" y="843"/>
                </a:cubicBezTo>
                <a:cubicBezTo>
                  <a:pt x="8156" y="875"/>
                  <a:pt x="7937" y="906"/>
                  <a:pt x="7687" y="968"/>
                </a:cubicBezTo>
                <a:cubicBezTo>
                  <a:pt x="7312" y="1031"/>
                  <a:pt x="6937" y="1125"/>
                  <a:pt x="6562" y="1218"/>
                </a:cubicBezTo>
                <a:cubicBezTo>
                  <a:pt x="6344" y="1250"/>
                  <a:pt x="6156" y="1281"/>
                  <a:pt x="5937" y="1343"/>
                </a:cubicBezTo>
                <a:cubicBezTo>
                  <a:pt x="5875" y="1343"/>
                  <a:pt x="5812" y="1375"/>
                  <a:pt x="5750" y="1375"/>
                </a:cubicBezTo>
                <a:cubicBezTo>
                  <a:pt x="5594" y="1437"/>
                  <a:pt x="5406" y="1500"/>
                  <a:pt x="5219" y="1531"/>
                </a:cubicBezTo>
                <a:cubicBezTo>
                  <a:pt x="4719" y="1687"/>
                  <a:pt x="4188" y="1843"/>
                  <a:pt x="3656" y="2000"/>
                </a:cubicBezTo>
                <a:cubicBezTo>
                  <a:pt x="3438" y="2062"/>
                  <a:pt x="3219" y="2125"/>
                  <a:pt x="3031" y="2218"/>
                </a:cubicBezTo>
                <a:cubicBezTo>
                  <a:pt x="2938" y="2250"/>
                  <a:pt x="2844" y="2281"/>
                  <a:pt x="2719" y="2312"/>
                </a:cubicBezTo>
                <a:cubicBezTo>
                  <a:pt x="2625" y="2375"/>
                  <a:pt x="2531" y="2406"/>
                  <a:pt x="2438" y="2437"/>
                </a:cubicBezTo>
                <a:cubicBezTo>
                  <a:pt x="2375" y="2468"/>
                  <a:pt x="2344" y="2500"/>
                  <a:pt x="2313" y="2531"/>
                </a:cubicBezTo>
                <a:cubicBezTo>
                  <a:pt x="2281" y="2531"/>
                  <a:pt x="2281" y="2562"/>
                  <a:pt x="2250" y="2562"/>
                </a:cubicBezTo>
                <a:cubicBezTo>
                  <a:pt x="2188" y="2656"/>
                  <a:pt x="2156" y="2781"/>
                  <a:pt x="2156" y="2906"/>
                </a:cubicBezTo>
                <a:cubicBezTo>
                  <a:pt x="2156" y="2906"/>
                  <a:pt x="2156" y="2937"/>
                  <a:pt x="2156" y="2937"/>
                </a:cubicBezTo>
                <a:cubicBezTo>
                  <a:pt x="2156" y="3000"/>
                  <a:pt x="2156" y="3031"/>
                  <a:pt x="2188" y="3093"/>
                </a:cubicBezTo>
                <a:cubicBezTo>
                  <a:pt x="2188" y="3093"/>
                  <a:pt x="2219" y="3125"/>
                  <a:pt x="2250" y="3156"/>
                </a:cubicBezTo>
                <a:cubicBezTo>
                  <a:pt x="2281" y="3187"/>
                  <a:pt x="2344" y="3218"/>
                  <a:pt x="2375" y="3250"/>
                </a:cubicBezTo>
                <a:cubicBezTo>
                  <a:pt x="2438" y="3250"/>
                  <a:pt x="2469" y="3281"/>
                  <a:pt x="2500" y="3281"/>
                </a:cubicBezTo>
                <a:cubicBezTo>
                  <a:pt x="2531" y="3281"/>
                  <a:pt x="2563" y="3281"/>
                  <a:pt x="2563" y="3281"/>
                </a:cubicBezTo>
                <a:cubicBezTo>
                  <a:pt x="2594" y="3281"/>
                  <a:pt x="2625" y="3281"/>
                  <a:pt x="2625" y="3281"/>
                </a:cubicBezTo>
                <a:cubicBezTo>
                  <a:pt x="2656" y="3281"/>
                  <a:pt x="2688" y="3281"/>
                  <a:pt x="2688" y="3281"/>
                </a:cubicBezTo>
                <a:cubicBezTo>
                  <a:pt x="2750" y="3281"/>
                  <a:pt x="2781" y="3281"/>
                  <a:pt x="2844" y="3250"/>
                </a:cubicBezTo>
                <a:cubicBezTo>
                  <a:pt x="2844" y="3250"/>
                  <a:pt x="2875" y="3250"/>
                  <a:pt x="2906" y="3250"/>
                </a:cubicBezTo>
                <a:cubicBezTo>
                  <a:pt x="2938" y="3218"/>
                  <a:pt x="3000" y="3187"/>
                  <a:pt x="3031" y="3187"/>
                </a:cubicBezTo>
                <a:cubicBezTo>
                  <a:pt x="3094" y="3156"/>
                  <a:pt x="3125" y="3125"/>
                  <a:pt x="3156" y="3093"/>
                </a:cubicBezTo>
                <a:cubicBezTo>
                  <a:pt x="3250" y="3062"/>
                  <a:pt x="3313" y="3000"/>
                  <a:pt x="3406" y="2937"/>
                </a:cubicBezTo>
                <a:cubicBezTo>
                  <a:pt x="3563" y="2843"/>
                  <a:pt x="3750" y="2750"/>
                  <a:pt x="3969" y="2656"/>
                </a:cubicBezTo>
                <a:cubicBezTo>
                  <a:pt x="4000" y="2625"/>
                  <a:pt x="4063" y="2593"/>
                  <a:pt x="4094" y="2593"/>
                </a:cubicBezTo>
                <a:cubicBezTo>
                  <a:pt x="4219" y="2531"/>
                  <a:pt x="4313" y="2500"/>
                  <a:pt x="4438" y="2468"/>
                </a:cubicBezTo>
                <a:cubicBezTo>
                  <a:pt x="4469" y="2437"/>
                  <a:pt x="4531" y="2437"/>
                  <a:pt x="4594" y="2406"/>
                </a:cubicBezTo>
                <a:cubicBezTo>
                  <a:pt x="5031" y="2281"/>
                  <a:pt x="5438" y="2156"/>
                  <a:pt x="5875" y="2031"/>
                </a:cubicBezTo>
                <a:cubicBezTo>
                  <a:pt x="6281" y="1906"/>
                  <a:pt x="6719" y="1781"/>
                  <a:pt x="7156" y="1687"/>
                </a:cubicBezTo>
                <a:cubicBezTo>
                  <a:pt x="7312" y="1656"/>
                  <a:pt x="7469" y="1625"/>
                  <a:pt x="7656" y="1593"/>
                </a:cubicBezTo>
                <a:cubicBezTo>
                  <a:pt x="7719" y="1562"/>
                  <a:pt x="7750" y="1562"/>
                  <a:pt x="7812" y="1562"/>
                </a:cubicBezTo>
                <a:cubicBezTo>
                  <a:pt x="7812" y="1562"/>
                  <a:pt x="7781" y="1593"/>
                  <a:pt x="7750" y="1593"/>
                </a:cubicBezTo>
                <a:cubicBezTo>
                  <a:pt x="7687" y="1625"/>
                  <a:pt x="7625" y="1656"/>
                  <a:pt x="7531" y="1687"/>
                </a:cubicBezTo>
                <a:cubicBezTo>
                  <a:pt x="7375" y="1750"/>
                  <a:pt x="7219" y="1781"/>
                  <a:pt x="7062" y="1843"/>
                </a:cubicBezTo>
                <a:cubicBezTo>
                  <a:pt x="6750" y="1937"/>
                  <a:pt x="6437" y="2031"/>
                  <a:pt x="6125" y="2156"/>
                </a:cubicBezTo>
                <a:cubicBezTo>
                  <a:pt x="5969" y="2218"/>
                  <a:pt x="5812" y="2250"/>
                  <a:pt x="5687" y="2312"/>
                </a:cubicBezTo>
                <a:cubicBezTo>
                  <a:pt x="5063" y="2562"/>
                  <a:pt x="4438" y="2843"/>
                  <a:pt x="3844" y="3093"/>
                </a:cubicBezTo>
                <a:cubicBezTo>
                  <a:pt x="3781" y="3125"/>
                  <a:pt x="3719" y="3125"/>
                  <a:pt x="3656" y="3156"/>
                </a:cubicBezTo>
                <a:cubicBezTo>
                  <a:pt x="3500" y="3218"/>
                  <a:pt x="3313" y="3281"/>
                  <a:pt x="3156" y="3375"/>
                </a:cubicBezTo>
                <a:cubicBezTo>
                  <a:pt x="2938" y="3500"/>
                  <a:pt x="2688" y="3625"/>
                  <a:pt x="2469" y="3750"/>
                </a:cubicBezTo>
                <a:cubicBezTo>
                  <a:pt x="2250" y="3875"/>
                  <a:pt x="2031" y="4000"/>
                  <a:pt x="1813" y="4156"/>
                </a:cubicBezTo>
                <a:cubicBezTo>
                  <a:pt x="1563" y="4281"/>
                  <a:pt x="1250" y="4437"/>
                  <a:pt x="1219" y="4656"/>
                </a:cubicBezTo>
                <a:cubicBezTo>
                  <a:pt x="1219" y="4687"/>
                  <a:pt x="1219" y="4718"/>
                  <a:pt x="1219" y="4750"/>
                </a:cubicBezTo>
                <a:cubicBezTo>
                  <a:pt x="1250" y="4781"/>
                  <a:pt x="1250" y="4812"/>
                  <a:pt x="1250" y="4812"/>
                </a:cubicBezTo>
                <a:cubicBezTo>
                  <a:pt x="1250" y="4843"/>
                  <a:pt x="1281" y="4875"/>
                  <a:pt x="1281" y="4906"/>
                </a:cubicBezTo>
                <a:cubicBezTo>
                  <a:pt x="1313" y="4968"/>
                  <a:pt x="1375" y="5000"/>
                  <a:pt x="1438" y="5031"/>
                </a:cubicBezTo>
                <a:cubicBezTo>
                  <a:pt x="1469" y="5062"/>
                  <a:pt x="1500" y="5093"/>
                  <a:pt x="1563" y="5093"/>
                </a:cubicBezTo>
                <a:cubicBezTo>
                  <a:pt x="1563" y="5093"/>
                  <a:pt x="1594" y="5093"/>
                  <a:pt x="1625" y="5093"/>
                </a:cubicBezTo>
                <a:cubicBezTo>
                  <a:pt x="1688" y="5093"/>
                  <a:pt x="1750" y="5093"/>
                  <a:pt x="1813" y="5062"/>
                </a:cubicBezTo>
                <a:cubicBezTo>
                  <a:pt x="1875" y="5031"/>
                  <a:pt x="1938" y="5031"/>
                  <a:pt x="2031" y="5000"/>
                </a:cubicBezTo>
                <a:cubicBezTo>
                  <a:pt x="2188" y="4968"/>
                  <a:pt x="2375" y="4937"/>
                  <a:pt x="2563" y="4843"/>
                </a:cubicBezTo>
                <a:cubicBezTo>
                  <a:pt x="2594" y="4843"/>
                  <a:pt x="2625" y="4812"/>
                  <a:pt x="2656" y="4812"/>
                </a:cubicBezTo>
                <a:cubicBezTo>
                  <a:pt x="2719" y="4843"/>
                  <a:pt x="2813" y="4875"/>
                  <a:pt x="2906" y="4906"/>
                </a:cubicBezTo>
                <a:cubicBezTo>
                  <a:pt x="2969" y="4937"/>
                  <a:pt x="3031" y="4968"/>
                  <a:pt x="3000" y="5000"/>
                </a:cubicBezTo>
                <a:cubicBezTo>
                  <a:pt x="2969" y="5031"/>
                  <a:pt x="2969" y="5031"/>
                  <a:pt x="2938" y="5062"/>
                </a:cubicBezTo>
                <a:cubicBezTo>
                  <a:pt x="2875" y="5093"/>
                  <a:pt x="2875" y="5125"/>
                  <a:pt x="2844" y="5156"/>
                </a:cubicBezTo>
                <a:cubicBezTo>
                  <a:pt x="2844" y="5187"/>
                  <a:pt x="2844" y="5218"/>
                  <a:pt x="2844" y="5218"/>
                </a:cubicBezTo>
                <a:cubicBezTo>
                  <a:pt x="2844" y="5250"/>
                  <a:pt x="2844" y="5250"/>
                  <a:pt x="2844" y="5250"/>
                </a:cubicBezTo>
                <a:cubicBezTo>
                  <a:pt x="2844" y="5281"/>
                  <a:pt x="2844" y="5281"/>
                  <a:pt x="2844" y="5281"/>
                </a:cubicBezTo>
                <a:cubicBezTo>
                  <a:pt x="2813" y="5312"/>
                  <a:pt x="2813" y="5312"/>
                  <a:pt x="2813" y="5312"/>
                </a:cubicBezTo>
                <a:cubicBezTo>
                  <a:pt x="2781" y="5343"/>
                  <a:pt x="2781" y="5375"/>
                  <a:pt x="2781" y="5406"/>
                </a:cubicBezTo>
                <a:cubicBezTo>
                  <a:pt x="2781" y="5437"/>
                  <a:pt x="2781" y="5468"/>
                  <a:pt x="2781" y="5500"/>
                </a:cubicBezTo>
                <a:cubicBezTo>
                  <a:pt x="2750" y="5562"/>
                  <a:pt x="2656" y="5593"/>
                  <a:pt x="2563" y="5593"/>
                </a:cubicBezTo>
                <a:cubicBezTo>
                  <a:pt x="2313" y="5656"/>
                  <a:pt x="2094" y="5750"/>
                  <a:pt x="1844" y="5843"/>
                </a:cubicBezTo>
                <a:cubicBezTo>
                  <a:pt x="1813" y="5843"/>
                  <a:pt x="1750" y="5875"/>
                  <a:pt x="1688" y="5875"/>
                </a:cubicBezTo>
                <a:cubicBezTo>
                  <a:pt x="1500" y="5937"/>
                  <a:pt x="1313" y="6000"/>
                  <a:pt x="1125" y="6031"/>
                </a:cubicBezTo>
                <a:cubicBezTo>
                  <a:pt x="1063" y="6062"/>
                  <a:pt x="969" y="6062"/>
                  <a:pt x="906" y="6093"/>
                </a:cubicBezTo>
                <a:cubicBezTo>
                  <a:pt x="875" y="6093"/>
                  <a:pt x="844" y="6125"/>
                  <a:pt x="813" y="6125"/>
                </a:cubicBezTo>
                <a:cubicBezTo>
                  <a:pt x="719" y="6187"/>
                  <a:pt x="625" y="6218"/>
                  <a:pt x="500" y="6250"/>
                </a:cubicBezTo>
                <a:cubicBezTo>
                  <a:pt x="438" y="6281"/>
                  <a:pt x="375" y="6312"/>
                  <a:pt x="313" y="6343"/>
                </a:cubicBezTo>
                <a:cubicBezTo>
                  <a:pt x="250" y="6343"/>
                  <a:pt x="219" y="6375"/>
                  <a:pt x="188" y="6406"/>
                </a:cubicBezTo>
                <a:cubicBezTo>
                  <a:pt x="125" y="6437"/>
                  <a:pt x="94" y="6468"/>
                  <a:pt x="63" y="6500"/>
                </a:cubicBezTo>
                <a:cubicBezTo>
                  <a:pt x="31" y="6500"/>
                  <a:pt x="31" y="6531"/>
                  <a:pt x="31" y="6531"/>
                </a:cubicBezTo>
                <a:cubicBezTo>
                  <a:pt x="0" y="6562"/>
                  <a:pt x="0" y="6593"/>
                  <a:pt x="31" y="6625"/>
                </a:cubicBezTo>
                <a:cubicBezTo>
                  <a:pt x="31" y="6625"/>
                  <a:pt x="31" y="6625"/>
                  <a:pt x="63" y="6656"/>
                </a:cubicBezTo>
                <a:cubicBezTo>
                  <a:pt x="63" y="6656"/>
                  <a:pt x="94" y="6656"/>
                  <a:pt x="94" y="6687"/>
                </a:cubicBezTo>
                <a:cubicBezTo>
                  <a:pt x="125" y="6687"/>
                  <a:pt x="125" y="6687"/>
                  <a:pt x="125" y="6687"/>
                </a:cubicBezTo>
                <a:cubicBezTo>
                  <a:pt x="156" y="6687"/>
                  <a:pt x="156" y="6687"/>
                  <a:pt x="156" y="6687"/>
                </a:cubicBezTo>
                <a:cubicBezTo>
                  <a:pt x="156" y="6718"/>
                  <a:pt x="156" y="6718"/>
                  <a:pt x="156" y="6718"/>
                </a:cubicBezTo>
                <a:cubicBezTo>
                  <a:pt x="31" y="6781"/>
                  <a:pt x="125" y="6812"/>
                  <a:pt x="219" y="6843"/>
                </a:cubicBezTo>
                <a:cubicBezTo>
                  <a:pt x="219" y="6843"/>
                  <a:pt x="219" y="6843"/>
                  <a:pt x="219" y="6875"/>
                </a:cubicBezTo>
                <a:cubicBezTo>
                  <a:pt x="219" y="6875"/>
                  <a:pt x="219" y="6875"/>
                  <a:pt x="219" y="6875"/>
                </a:cubicBezTo>
                <a:cubicBezTo>
                  <a:pt x="219" y="6906"/>
                  <a:pt x="188" y="6906"/>
                  <a:pt x="188" y="6906"/>
                </a:cubicBezTo>
                <a:cubicBezTo>
                  <a:pt x="156" y="6937"/>
                  <a:pt x="94" y="6968"/>
                  <a:pt x="94" y="7000"/>
                </a:cubicBezTo>
                <a:cubicBezTo>
                  <a:pt x="63" y="7000"/>
                  <a:pt x="63" y="7031"/>
                  <a:pt x="31" y="7031"/>
                </a:cubicBezTo>
                <a:cubicBezTo>
                  <a:pt x="31" y="7062"/>
                  <a:pt x="31" y="7093"/>
                  <a:pt x="63" y="7125"/>
                </a:cubicBezTo>
                <a:cubicBezTo>
                  <a:pt x="63" y="7156"/>
                  <a:pt x="63" y="7156"/>
                  <a:pt x="63" y="7187"/>
                </a:cubicBezTo>
                <a:cubicBezTo>
                  <a:pt x="63" y="7218"/>
                  <a:pt x="63" y="7218"/>
                  <a:pt x="63" y="7250"/>
                </a:cubicBezTo>
                <a:cubicBezTo>
                  <a:pt x="94" y="7250"/>
                  <a:pt x="94" y="7281"/>
                  <a:pt x="125" y="7281"/>
                </a:cubicBezTo>
                <a:cubicBezTo>
                  <a:pt x="156" y="7281"/>
                  <a:pt x="156" y="7312"/>
                  <a:pt x="188" y="7312"/>
                </a:cubicBezTo>
                <a:cubicBezTo>
                  <a:pt x="188" y="7343"/>
                  <a:pt x="188" y="7343"/>
                  <a:pt x="188" y="7343"/>
                </a:cubicBezTo>
                <a:cubicBezTo>
                  <a:pt x="188" y="7375"/>
                  <a:pt x="188" y="7375"/>
                  <a:pt x="188" y="7375"/>
                </a:cubicBezTo>
                <a:cubicBezTo>
                  <a:pt x="219" y="7406"/>
                  <a:pt x="219" y="7437"/>
                  <a:pt x="250" y="7468"/>
                </a:cubicBezTo>
                <a:cubicBezTo>
                  <a:pt x="281" y="7468"/>
                  <a:pt x="344" y="7500"/>
                  <a:pt x="375" y="7500"/>
                </a:cubicBezTo>
                <a:cubicBezTo>
                  <a:pt x="438" y="7500"/>
                  <a:pt x="500" y="7500"/>
                  <a:pt x="531" y="7468"/>
                </a:cubicBezTo>
                <a:cubicBezTo>
                  <a:pt x="563" y="7437"/>
                  <a:pt x="563" y="7437"/>
                  <a:pt x="594" y="7437"/>
                </a:cubicBezTo>
                <a:cubicBezTo>
                  <a:pt x="625" y="7406"/>
                  <a:pt x="688" y="7406"/>
                  <a:pt x="719" y="7375"/>
                </a:cubicBezTo>
                <a:cubicBezTo>
                  <a:pt x="750" y="7375"/>
                  <a:pt x="781" y="7375"/>
                  <a:pt x="781" y="7375"/>
                </a:cubicBezTo>
                <a:cubicBezTo>
                  <a:pt x="813" y="7343"/>
                  <a:pt x="844" y="7343"/>
                  <a:pt x="875" y="7343"/>
                </a:cubicBezTo>
                <a:cubicBezTo>
                  <a:pt x="875" y="7343"/>
                  <a:pt x="906" y="7343"/>
                  <a:pt x="906" y="7343"/>
                </a:cubicBezTo>
                <a:cubicBezTo>
                  <a:pt x="938" y="7375"/>
                  <a:pt x="938" y="7375"/>
                  <a:pt x="938" y="7375"/>
                </a:cubicBezTo>
                <a:cubicBezTo>
                  <a:pt x="969" y="7375"/>
                  <a:pt x="1000" y="7406"/>
                  <a:pt x="1000" y="7406"/>
                </a:cubicBezTo>
                <a:cubicBezTo>
                  <a:pt x="1031" y="7406"/>
                  <a:pt x="1031" y="7406"/>
                  <a:pt x="1031" y="7406"/>
                </a:cubicBezTo>
                <a:cubicBezTo>
                  <a:pt x="1031" y="7437"/>
                  <a:pt x="1031" y="7437"/>
                  <a:pt x="1031" y="7437"/>
                </a:cubicBezTo>
                <a:cubicBezTo>
                  <a:pt x="1031" y="7468"/>
                  <a:pt x="1031" y="7468"/>
                  <a:pt x="1063" y="7500"/>
                </a:cubicBezTo>
                <a:cubicBezTo>
                  <a:pt x="1063" y="7500"/>
                  <a:pt x="1094" y="7500"/>
                  <a:pt x="1094" y="7531"/>
                </a:cubicBezTo>
                <a:cubicBezTo>
                  <a:pt x="1094" y="7531"/>
                  <a:pt x="1125" y="7531"/>
                  <a:pt x="1125" y="7531"/>
                </a:cubicBezTo>
                <a:cubicBezTo>
                  <a:pt x="1156" y="7531"/>
                  <a:pt x="1188" y="7500"/>
                  <a:pt x="1219" y="7500"/>
                </a:cubicBezTo>
                <a:cubicBezTo>
                  <a:pt x="1219" y="7500"/>
                  <a:pt x="1250" y="7500"/>
                  <a:pt x="1250" y="7500"/>
                </a:cubicBezTo>
                <a:cubicBezTo>
                  <a:pt x="1281" y="7500"/>
                  <a:pt x="1313" y="7500"/>
                  <a:pt x="1344" y="7500"/>
                </a:cubicBezTo>
                <a:cubicBezTo>
                  <a:pt x="1344" y="7500"/>
                  <a:pt x="1375" y="7500"/>
                  <a:pt x="1375" y="7500"/>
                </a:cubicBezTo>
                <a:cubicBezTo>
                  <a:pt x="1406" y="7500"/>
                  <a:pt x="1406" y="7500"/>
                  <a:pt x="1438" y="7500"/>
                </a:cubicBezTo>
                <a:cubicBezTo>
                  <a:pt x="1344" y="7625"/>
                  <a:pt x="1250" y="7687"/>
                  <a:pt x="1125" y="7781"/>
                </a:cubicBezTo>
                <a:cubicBezTo>
                  <a:pt x="969" y="7843"/>
                  <a:pt x="844" y="7906"/>
                  <a:pt x="688" y="7968"/>
                </a:cubicBezTo>
                <a:cubicBezTo>
                  <a:pt x="594" y="8000"/>
                  <a:pt x="500" y="8062"/>
                  <a:pt x="406" y="8093"/>
                </a:cubicBezTo>
                <a:cubicBezTo>
                  <a:pt x="406" y="8093"/>
                  <a:pt x="406" y="8093"/>
                  <a:pt x="375" y="8093"/>
                </a:cubicBezTo>
                <a:cubicBezTo>
                  <a:pt x="375" y="8093"/>
                  <a:pt x="375" y="8093"/>
                  <a:pt x="375" y="8093"/>
                </a:cubicBezTo>
                <a:cubicBezTo>
                  <a:pt x="344" y="8093"/>
                  <a:pt x="313" y="8125"/>
                  <a:pt x="313" y="8125"/>
                </a:cubicBezTo>
                <a:cubicBezTo>
                  <a:pt x="281" y="8125"/>
                  <a:pt x="281" y="8156"/>
                  <a:pt x="313" y="8156"/>
                </a:cubicBezTo>
                <a:cubicBezTo>
                  <a:pt x="313" y="8156"/>
                  <a:pt x="344" y="8156"/>
                  <a:pt x="344" y="8156"/>
                </a:cubicBezTo>
                <a:cubicBezTo>
                  <a:pt x="375" y="8156"/>
                  <a:pt x="406" y="8156"/>
                  <a:pt x="438" y="8187"/>
                </a:cubicBezTo>
                <a:cubicBezTo>
                  <a:pt x="438" y="8187"/>
                  <a:pt x="469" y="8187"/>
                  <a:pt x="469" y="8187"/>
                </a:cubicBezTo>
                <a:cubicBezTo>
                  <a:pt x="500" y="8218"/>
                  <a:pt x="531" y="8250"/>
                  <a:pt x="563" y="8250"/>
                </a:cubicBezTo>
                <a:cubicBezTo>
                  <a:pt x="594" y="8281"/>
                  <a:pt x="594" y="8281"/>
                  <a:pt x="625" y="8281"/>
                </a:cubicBezTo>
                <a:cubicBezTo>
                  <a:pt x="688" y="8281"/>
                  <a:pt x="781" y="8281"/>
                  <a:pt x="875" y="8281"/>
                </a:cubicBezTo>
                <a:cubicBezTo>
                  <a:pt x="938" y="8281"/>
                  <a:pt x="1000" y="8281"/>
                  <a:pt x="1063" y="8281"/>
                </a:cubicBezTo>
                <a:cubicBezTo>
                  <a:pt x="1156" y="8281"/>
                  <a:pt x="1219" y="8281"/>
                  <a:pt x="1313" y="8312"/>
                </a:cubicBezTo>
                <a:cubicBezTo>
                  <a:pt x="1344" y="8312"/>
                  <a:pt x="1375" y="8312"/>
                  <a:pt x="1406" y="8343"/>
                </a:cubicBezTo>
                <a:cubicBezTo>
                  <a:pt x="1469" y="8343"/>
                  <a:pt x="1500" y="8343"/>
                  <a:pt x="1531" y="8343"/>
                </a:cubicBezTo>
                <a:cubicBezTo>
                  <a:pt x="1531" y="8343"/>
                  <a:pt x="1563" y="8343"/>
                  <a:pt x="1594" y="8343"/>
                </a:cubicBezTo>
                <a:cubicBezTo>
                  <a:pt x="1594" y="8343"/>
                  <a:pt x="1625" y="8375"/>
                  <a:pt x="1625" y="8343"/>
                </a:cubicBezTo>
                <a:cubicBezTo>
                  <a:pt x="1656" y="8343"/>
                  <a:pt x="1688" y="8343"/>
                  <a:pt x="1688" y="8343"/>
                </a:cubicBezTo>
                <a:cubicBezTo>
                  <a:pt x="1719" y="8343"/>
                  <a:pt x="1719" y="8343"/>
                  <a:pt x="1750" y="8343"/>
                </a:cubicBezTo>
                <a:cubicBezTo>
                  <a:pt x="1781" y="8343"/>
                  <a:pt x="1813" y="8343"/>
                  <a:pt x="1844" y="8312"/>
                </a:cubicBezTo>
                <a:cubicBezTo>
                  <a:pt x="1906" y="8312"/>
                  <a:pt x="2000" y="8312"/>
                  <a:pt x="2094" y="8312"/>
                </a:cubicBezTo>
                <a:cubicBezTo>
                  <a:pt x="2281" y="8312"/>
                  <a:pt x="2281" y="8312"/>
                  <a:pt x="2281" y="8406"/>
                </a:cubicBezTo>
                <a:cubicBezTo>
                  <a:pt x="2281" y="8437"/>
                  <a:pt x="2281" y="8437"/>
                  <a:pt x="2313" y="8437"/>
                </a:cubicBezTo>
                <a:cubicBezTo>
                  <a:pt x="2344" y="8437"/>
                  <a:pt x="2375" y="8468"/>
                  <a:pt x="2375" y="8500"/>
                </a:cubicBezTo>
                <a:cubicBezTo>
                  <a:pt x="2406" y="8500"/>
                  <a:pt x="2406" y="8531"/>
                  <a:pt x="2406" y="8531"/>
                </a:cubicBezTo>
                <a:cubicBezTo>
                  <a:pt x="2406" y="8562"/>
                  <a:pt x="2406" y="8562"/>
                  <a:pt x="2375" y="8593"/>
                </a:cubicBezTo>
                <a:cubicBezTo>
                  <a:pt x="2375" y="8625"/>
                  <a:pt x="2375" y="8656"/>
                  <a:pt x="2375" y="8687"/>
                </a:cubicBezTo>
                <a:cubicBezTo>
                  <a:pt x="2344" y="8781"/>
                  <a:pt x="2375" y="8875"/>
                  <a:pt x="2469" y="8937"/>
                </a:cubicBezTo>
                <a:cubicBezTo>
                  <a:pt x="2531" y="8937"/>
                  <a:pt x="2563" y="8968"/>
                  <a:pt x="2625" y="9000"/>
                </a:cubicBezTo>
                <a:cubicBezTo>
                  <a:pt x="2656" y="9000"/>
                  <a:pt x="2688" y="9000"/>
                  <a:pt x="2719" y="9031"/>
                </a:cubicBezTo>
                <a:cubicBezTo>
                  <a:pt x="2813" y="9031"/>
                  <a:pt x="2906" y="9062"/>
                  <a:pt x="3031" y="9062"/>
                </a:cubicBezTo>
                <a:cubicBezTo>
                  <a:pt x="3125" y="9062"/>
                  <a:pt x="3219" y="9062"/>
                  <a:pt x="3344" y="9031"/>
                </a:cubicBezTo>
                <a:cubicBezTo>
                  <a:pt x="3375" y="9031"/>
                  <a:pt x="3406" y="9031"/>
                  <a:pt x="3438" y="9031"/>
                </a:cubicBezTo>
                <a:cubicBezTo>
                  <a:pt x="3469" y="9031"/>
                  <a:pt x="3469" y="9031"/>
                  <a:pt x="3469" y="9031"/>
                </a:cubicBezTo>
                <a:cubicBezTo>
                  <a:pt x="3500" y="9031"/>
                  <a:pt x="3500" y="9031"/>
                  <a:pt x="3531" y="9031"/>
                </a:cubicBezTo>
                <a:cubicBezTo>
                  <a:pt x="3531" y="9031"/>
                  <a:pt x="3531" y="9000"/>
                  <a:pt x="3531" y="9000"/>
                </a:cubicBezTo>
                <a:cubicBezTo>
                  <a:pt x="3500" y="9000"/>
                  <a:pt x="3500" y="8968"/>
                  <a:pt x="3500" y="8968"/>
                </a:cubicBezTo>
                <a:cubicBezTo>
                  <a:pt x="3469" y="8968"/>
                  <a:pt x="3469" y="8937"/>
                  <a:pt x="3469" y="8937"/>
                </a:cubicBezTo>
                <a:cubicBezTo>
                  <a:pt x="3406" y="8875"/>
                  <a:pt x="3469" y="8875"/>
                  <a:pt x="3531" y="8875"/>
                </a:cubicBezTo>
                <a:cubicBezTo>
                  <a:pt x="3563" y="8875"/>
                  <a:pt x="3563" y="8875"/>
                  <a:pt x="3563" y="8875"/>
                </a:cubicBezTo>
                <a:cubicBezTo>
                  <a:pt x="3594" y="8875"/>
                  <a:pt x="3656" y="8875"/>
                  <a:pt x="3688" y="8875"/>
                </a:cubicBezTo>
                <a:cubicBezTo>
                  <a:pt x="3688" y="8875"/>
                  <a:pt x="3688" y="8875"/>
                  <a:pt x="3688" y="8875"/>
                </a:cubicBezTo>
                <a:cubicBezTo>
                  <a:pt x="3719" y="8875"/>
                  <a:pt x="3719" y="8875"/>
                  <a:pt x="3719" y="8875"/>
                </a:cubicBezTo>
                <a:cubicBezTo>
                  <a:pt x="3750" y="8875"/>
                  <a:pt x="3781" y="8875"/>
                  <a:pt x="3781" y="8843"/>
                </a:cubicBezTo>
                <a:cubicBezTo>
                  <a:pt x="3813" y="8843"/>
                  <a:pt x="3813" y="8812"/>
                  <a:pt x="3813" y="8812"/>
                </a:cubicBezTo>
                <a:cubicBezTo>
                  <a:pt x="3813" y="8812"/>
                  <a:pt x="3813" y="8812"/>
                  <a:pt x="3844" y="8812"/>
                </a:cubicBezTo>
                <a:cubicBezTo>
                  <a:pt x="3844" y="8812"/>
                  <a:pt x="3844" y="8812"/>
                  <a:pt x="3844" y="8812"/>
                </a:cubicBezTo>
                <a:cubicBezTo>
                  <a:pt x="3875" y="8812"/>
                  <a:pt x="3875" y="8812"/>
                  <a:pt x="3875" y="8812"/>
                </a:cubicBezTo>
                <a:cubicBezTo>
                  <a:pt x="3969" y="8875"/>
                  <a:pt x="4063" y="8906"/>
                  <a:pt x="4188" y="8937"/>
                </a:cubicBezTo>
                <a:cubicBezTo>
                  <a:pt x="4250" y="8968"/>
                  <a:pt x="4344" y="8968"/>
                  <a:pt x="4406" y="8968"/>
                </a:cubicBezTo>
                <a:cubicBezTo>
                  <a:pt x="4469" y="8968"/>
                  <a:pt x="4500" y="9000"/>
                  <a:pt x="4469" y="9031"/>
                </a:cubicBezTo>
                <a:cubicBezTo>
                  <a:pt x="4469" y="9031"/>
                  <a:pt x="4469" y="9031"/>
                  <a:pt x="4469" y="9031"/>
                </a:cubicBezTo>
                <a:cubicBezTo>
                  <a:pt x="4469" y="9031"/>
                  <a:pt x="4438" y="9062"/>
                  <a:pt x="4438" y="9062"/>
                </a:cubicBezTo>
                <a:cubicBezTo>
                  <a:pt x="4406" y="9062"/>
                  <a:pt x="4406" y="9062"/>
                  <a:pt x="4406" y="9062"/>
                </a:cubicBezTo>
                <a:cubicBezTo>
                  <a:pt x="4375" y="9031"/>
                  <a:pt x="4344" y="9031"/>
                  <a:pt x="4344" y="9031"/>
                </a:cubicBezTo>
                <a:cubicBezTo>
                  <a:pt x="4313" y="9031"/>
                  <a:pt x="4281" y="9031"/>
                  <a:pt x="4219" y="9031"/>
                </a:cubicBezTo>
                <a:cubicBezTo>
                  <a:pt x="4125" y="9031"/>
                  <a:pt x="4063" y="9062"/>
                  <a:pt x="3969" y="9062"/>
                </a:cubicBezTo>
                <a:cubicBezTo>
                  <a:pt x="4000" y="9093"/>
                  <a:pt x="4063" y="9125"/>
                  <a:pt x="4156" y="9156"/>
                </a:cubicBezTo>
                <a:cubicBezTo>
                  <a:pt x="4188" y="9156"/>
                  <a:pt x="4219" y="9156"/>
                  <a:pt x="4219" y="9156"/>
                </a:cubicBezTo>
                <a:cubicBezTo>
                  <a:pt x="4281" y="9187"/>
                  <a:pt x="4344" y="9187"/>
                  <a:pt x="4406" y="9187"/>
                </a:cubicBezTo>
                <a:cubicBezTo>
                  <a:pt x="4438" y="9187"/>
                  <a:pt x="4500" y="9187"/>
                  <a:pt x="4531" y="9187"/>
                </a:cubicBezTo>
                <a:cubicBezTo>
                  <a:pt x="4594" y="9156"/>
                  <a:pt x="4563" y="9156"/>
                  <a:pt x="4563" y="9125"/>
                </a:cubicBezTo>
                <a:cubicBezTo>
                  <a:pt x="4563" y="9125"/>
                  <a:pt x="4531" y="9125"/>
                  <a:pt x="4531" y="9125"/>
                </a:cubicBezTo>
                <a:cubicBezTo>
                  <a:pt x="4531" y="9125"/>
                  <a:pt x="4531" y="9125"/>
                  <a:pt x="4531" y="9125"/>
                </a:cubicBezTo>
                <a:cubicBezTo>
                  <a:pt x="4531" y="9093"/>
                  <a:pt x="4531" y="9093"/>
                  <a:pt x="4531" y="9093"/>
                </a:cubicBezTo>
                <a:cubicBezTo>
                  <a:pt x="4594" y="9093"/>
                  <a:pt x="4625" y="9062"/>
                  <a:pt x="4656" y="9062"/>
                </a:cubicBezTo>
                <a:cubicBezTo>
                  <a:pt x="4688" y="9062"/>
                  <a:pt x="4719" y="9062"/>
                  <a:pt x="4750" y="9093"/>
                </a:cubicBezTo>
                <a:cubicBezTo>
                  <a:pt x="4750" y="9093"/>
                  <a:pt x="4750" y="9093"/>
                  <a:pt x="4750" y="9093"/>
                </a:cubicBezTo>
                <a:cubicBezTo>
                  <a:pt x="4750" y="9125"/>
                  <a:pt x="4750" y="9125"/>
                  <a:pt x="4719" y="9125"/>
                </a:cubicBezTo>
                <a:cubicBezTo>
                  <a:pt x="4656" y="9218"/>
                  <a:pt x="4688" y="9218"/>
                  <a:pt x="4813" y="9218"/>
                </a:cubicBezTo>
                <a:cubicBezTo>
                  <a:pt x="4938" y="9218"/>
                  <a:pt x="5000" y="9156"/>
                  <a:pt x="5125" y="9218"/>
                </a:cubicBezTo>
                <a:cubicBezTo>
                  <a:pt x="5281" y="9312"/>
                  <a:pt x="5375" y="9281"/>
                  <a:pt x="5438" y="9125"/>
                </a:cubicBezTo>
                <a:cubicBezTo>
                  <a:pt x="5469" y="9156"/>
                  <a:pt x="5500" y="9218"/>
                  <a:pt x="5531" y="9218"/>
                </a:cubicBezTo>
                <a:cubicBezTo>
                  <a:pt x="5531" y="9250"/>
                  <a:pt x="5563" y="9250"/>
                  <a:pt x="5594" y="9250"/>
                </a:cubicBezTo>
                <a:cubicBezTo>
                  <a:pt x="5594" y="9250"/>
                  <a:pt x="5625" y="9250"/>
                  <a:pt x="5656" y="9250"/>
                </a:cubicBezTo>
                <a:cubicBezTo>
                  <a:pt x="5687" y="9218"/>
                  <a:pt x="5625" y="9156"/>
                  <a:pt x="5719" y="9156"/>
                </a:cubicBezTo>
                <a:cubicBezTo>
                  <a:pt x="5781" y="9187"/>
                  <a:pt x="5812" y="9156"/>
                  <a:pt x="5875" y="9156"/>
                </a:cubicBezTo>
                <a:cubicBezTo>
                  <a:pt x="5906" y="9156"/>
                  <a:pt x="5937" y="9156"/>
                  <a:pt x="5969" y="9156"/>
                </a:cubicBezTo>
                <a:cubicBezTo>
                  <a:pt x="6000" y="9156"/>
                  <a:pt x="6000" y="9125"/>
                  <a:pt x="6031" y="9125"/>
                </a:cubicBezTo>
                <a:cubicBezTo>
                  <a:pt x="6062" y="9125"/>
                  <a:pt x="6094" y="9125"/>
                  <a:pt x="6125" y="9156"/>
                </a:cubicBezTo>
                <a:cubicBezTo>
                  <a:pt x="6125" y="9156"/>
                  <a:pt x="6094" y="9187"/>
                  <a:pt x="6094" y="9218"/>
                </a:cubicBezTo>
                <a:cubicBezTo>
                  <a:pt x="6062" y="9281"/>
                  <a:pt x="6000" y="9312"/>
                  <a:pt x="5906" y="9343"/>
                </a:cubicBezTo>
                <a:cubicBezTo>
                  <a:pt x="5844" y="9343"/>
                  <a:pt x="5812" y="9343"/>
                  <a:pt x="5750" y="9343"/>
                </a:cubicBezTo>
                <a:cubicBezTo>
                  <a:pt x="5719" y="9343"/>
                  <a:pt x="5687" y="9343"/>
                  <a:pt x="5656" y="9343"/>
                </a:cubicBezTo>
                <a:cubicBezTo>
                  <a:pt x="5625" y="9343"/>
                  <a:pt x="5594" y="9343"/>
                  <a:pt x="5531" y="9343"/>
                </a:cubicBezTo>
                <a:cubicBezTo>
                  <a:pt x="5531" y="9343"/>
                  <a:pt x="5531" y="9343"/>
                  <a:pt x="5500" y="9343"/>
                </a:cubicBezTo>
                <a:cubicBezTo>
                  <a:pt x="5438" y="9343"/>
                  <a:pt x="5375" y="9343"/>
                  <a:pt x="5344" y="9375"/>
                </a:cubicBezTo>
                <a:cubicBezTo>
                  <a:pt x="5250" y="9406"/>
                  <a:pt x="5156" y="9375"/>
                  <a:pt x="5063" y="9406"/>
                </a:cubicBezTo>
                <a:cubicBezTo>
                  <a:pt x="5031" y="9406"/>
                  <a:pt x="5031" y="9437"/>
                  <a:pt x="5000" y="9437"/>
                </a:cubicBezTo>
                <a:cubicBezTo>
                  <a:pt x="4969" y="9437"/>
                  <a:pt x="4938" y="9468"/>
                  <a:pt x="4938" y="9500"/>
                </a:cubicBezTo>
                <a:cubicBezTo>
                  <a:pt x="4938" y="9500"/>
                  <a:pt x="4938" y="9500"/>
                  <a:pt x="4938" y="9500"/>
                </a:cubicBezTo>
                <a:cubicBezTo>
                  <a:pt x="4938" y="9500"/>
                  <a:pt x="4938" y="9500"/>
                  <a:pt x="4938" y="9500"/>
                </a:cubicBezTo>
                <a:cubicBezTo>
                  <a:pt x="4969" y="9468"/>
                  <a:pt x="5031" y="9468"/>
                  <a:pt x="5063" y="9468"/>
                </a:cubicBezTo>
                <a:cubicBezTo>
                  <a:pt x="5188" y="9500"/>
                  <a:pt x="5313" y="9531"/>
                  <a:pt x="5375" y="9406"/>
                </a:cubicBezTo>
                <a:cubicBezTo>
                  <a:pt x="5375" y="9406"/>
                  <a:pt x="5375" y="9406"/>
                  <a:pt x="5375" y="9406"/>
                </a:cubicBezTo>
                <a:cubicBezTo>
                  <a:pt x="5438" y="9406"/>
                  <a:pt x="5469" y="9406"/>
                  <a:pt x="5531" y="9406"/>
                </a:cubicBezTo>
                <a:cubicBezTo>
                  <a:pt x="5531" y="9406"/>
                  <a:pt x="5531" y="9406"/>
                  <a:pt x="5531" y="9406"/>
                </a:cubicBezTo>
                <a:cubicBezTo>
                  <a:pt x="5563" y="9406"/>
                  <a:pt x="5563" y="9406"/>
                  <a:pt x="5563" y="9406"/>
                </a:cubicBezTo>
                <a:cubicBezTo>
                  <a:pt x="5594" y="9406"/>
                  <a:pt x="5625" y="9406"/>
                  <a:pt x="5625" y="9406"/>
                </a:cubicBezTo>
                <a:cubicBezTo>
                  <a:pt x="5656" y="9406"/>
                  <a:pt x="5656" y="9406"/>
                  <a:pt x="5687" y="9437"/>
                </a:cubicBezTo>
                <a:cubicBezTo>
                  <a:pt x="5687" y="9437"/>
                  <a:pt x="5719" y="9437"/>
                  <a:pt x="5719" y="9437"/>
                </a:cubicBezTo>
                <a:cubicBezTo>
                  <a:pt x="5750" y="9437"/>
                  <a:pt x="5750" y="9468"/>
                  <a:pt x="5750" y="9468"/>
                </a:cubicBezTo>
                <a:cubicBezTo>
                  <a:pt x="5750" y="9468"/>
                  <a:pt x="5750" y="9500"/>
                  <a:pt x="5719" y="9500"/>
                </a:cubicBezTo>
                <a:cubicBezTo>
                  <a:pt x="5719" y="9531"/>
                  <a:pt x="5687" y="9562"/>
                  <a:pt x="5625" y="9562"/>
                </a:cubicBezTo>
                <a:cubicBezTo>
                  <a:pt x="5594" y="9562"/>
                  <a:pt x="5563" y="9562"/>
                  <a:pt x="5531" y="9562"/>
                </a:cubicBezTo>
                <a:cubicBezTo>
                  <a:pt x="5531" y="9562"/>
                  <a:pt x="5531" y="9562"/>
                  <a:pt x="5531" y="9593"/>
                </a:cubicBezTo>
                <a:cubicBezTo>
                  <a:pt x="5500" y="9593"/>
                  <a:pt x="5500" y="9593"/>
                  <a:pt x="5500" y="9593"/>
                </a:cubicBezTo>
                <a:cubicBezTo>
                  <a:pt x="5406" y="9625"/>
                  <a:pt x="5344" y="9656"/>
                  <a:pt x="5281" y="9687"/>
                </a:cubicBezTo>
                <a:cubicBezTo>
                  <a:pt x="5250" y="9687"/>
                  <a:pt x="5219" y="9687"/>
                  <a:pt x="5188" y="9718"/>
                </a:cubicBezTo>
                <a:cubicBezTo>
                  <a:pt x="5188" y="9718"/>
                  <a:pt x="5156" y="9750"/>
                  <a:pt x="5125" y="9750"/>
                </a:cubicBezTo>
                <a:cubicBezTo>
                  <a:pt x="5063" y="9750"/>
                  <a:pt x="5000" y="9781"/>
                  <a:pt x="4938" y="9781"/>
                </a:cubicBezTo>
                <a:cubicBezTo>
                  <a:pt x="4906" y="9781"/>
                  <a:pt x="4875" y="9781"/>
                  <a:pt x="4844" y="9781"/>
                </a:cubicBezTo>
                <a:cubicBezTo>
                  <a:pt x="4844" y="9781"/>
                  <a:pt x="4813" y="9781"/>
                  <a:pt x="4781" y="9781"/>
                </a:cubicBezTo>
                <a:cubicBezTo>
                  <a:pt x="4781" y="9781"/>
                  <a:pt x="4781" y="9781"/>
                  <a:pt x="4781" y="9781"/>
                </a:cubicBezTo>
                <a:cubicBezTo>
                  <a:pt x="4781" y="9781"/>
                  <a:pt x="4750" y="9781"/>
                  <a:pt x="4750" y="9812"/>
                </a:cubicBezTo>
                <a:cubicBezTo>
                  <a:pt x="4719" y="9812"/>
                  <a:pt x="4719" y="9812"/>
                  <a:pt x="4719" y="9843"/>
                </a:cubicBezTo>
                <a:cubicBezTo>
                  <a:pt x="4719" y="9906"/>
                  <a:pt x="4969" y="9812"/>
                  <a:pt x="4813" y="9937"/>
                </a:cubicBezTo>
                <a:cubicBezTo>
                  <a:pt x="4813" y="9968"/>
                  <a:pt x="4813" y="10000"/>
                  <a:pt x="4875" y="10000"/>
                </a:cubicBezTo>
                <a:cubicBezTo>
                  <a:pt x="4906" y="10000"/>
                  <a:pt x="4938" y="10000"/>
                  <a:pt x="4938" y="10000"/>
                </a:cubicBezTo>
                <a:cubicBezTo>
                  <a:pt x="4938" y="9968"/>
                  <a:pt x="4938" y="9968"/>
                  <a:pt x="4938" y="9968"/>
                </a:cubicBezTo>
                <a:cubicBezTo>
                  <a:pt x="4906" y="9906"/>
                  <a:pt x="4969" y="9906"/>
                  <a:pt x="5000" y="9906"/>
                </a:cubicBezTo>
                <a:cubicBezTo>
                  <a:pt x="5000" y="9906"/>
                  <a:pt x="5000" y="9906"/>
                  <a:pt x="5000" y="9906"/>
                </a:cubicBezTo>
                <a:cubicBezTo>
                  <a:pt x="5000" y="9906"/>
                  <a:pt x="5000" y="9875"/>
                  <a:pt x="5031" y="9875"/>
                </a:cubicBezTo>
                <a:cubicBezTo>
                  <a:pt x="5031" y="9875"/>
                  <a:pt x="5031" y="9875"/>
                  <a:pt x="5031" y="9875"/>
                </a:cubicBezTo>
                <a:cubicBezTo>
                  <a:pt x="5031" y="9875"/>
                  <a:pt x="5063" y="9875"/>
                  <a:pt x="5063" y="9875"/>
                </a:cubicBezTo>
                <a:cubicBezTo>
                  <a:pt x="5063" y="9906"/>
                  <a:pt x="5063" y="9906"/>
                  <a:pt x="5094" y="9906"/>
                </a:cubicBezTo>
                <a:cubicBezTo>
                  <a:pt x="5063" y="9937"/>
                  <a:pt x="5063" y="9937"/>
                  <a:pt x="5094" y="9968"/>
                </a:cubicBezTo>
                <a:cubicBezTo>
                  <a:pt x="5094" y="9968"/>
                  <a:pt x="5094" y="9968"/>
                  <a:pt x="5094" y="10000"/>
                </a:cubicBezTo>
                <a:cubicBezTo>
                  <a:pt x="5125" y="10000"/>
                  <a:pt x="5125" y="10000"/>
                  <a:pt x="5125" y="10000"/>
                </a:cubicBezTo>
                <a:cubicBezTo>
                  <a:pt x="5125" y="10000"/>
                  <a:pt x="5156" y="10031"/>
                  <a:pt x="5156" y="10031"/>
                </a:cubicBezTo>
                <a:cubicBezTo>
                  <a:pt x="5156" y="10031"/>
                  <a:pt x="5188" y="10031"/>
                  <a:pt x="5188" y="10031"/>
                </a:cubicBezTo>
                <a:cubicBezTo>
                  <a:pt x="5188" y="10031"/>
                  <a:pt x="5188" y="10062"/>
                  <a:pt x="5188" y="10062"/>
                </a:cubicBezTo>
                <a:cubicBezTo>
                  <a:pt x="5188" y="10062"/>
                  <a:pt x="5156" y="10062"/>
                  <a:pt x="5156" y="10062"/>
                </a:cubicBezTo>
                <a:cubicBezTo>
                  <a:pt x="5156" y="10093"/>
                  <a:pt x="5156" y="10125"/>
                  <a:pt x="5188" y="10125"/>
                </a:cubicBezTo>
                <a:cubicBezTo>
                  <a:pt x="5188" y="10156"/>
                  <a:pt x="5188" y="10156"/>
                  <a:pt x="5219" y="10156"/>
                </a:cubicBezTo>
                <a:cubicBezTo>
                  <a:pt x="5250" y="10156"/>
                  <a:pt x="5281" y="10156"/>
                  <a:pt x="5313" y="10156"/>
                </a:cubicBezTo>
                <a:cubicBezTo>
                  <a:pt x="5344" y="10156"/>
                  <a:pt x="5375" y="10187"/>
                  <a:pt x="5375" y="10187"/>
                </a:cubicBezTo>
                <a:cubicBezTo>
                  <a:pt x="5500" y="10187"/>
                  <a:pt x="5625" y="10187"/>
                  <a:pt x="5687" y="10218"/>
                </a:cubicBezTo>
                <a:cubicBezTo>
                  <a:pt x="5625" y="10250"/>
                  <a:pt x="5594" y="10312"/>
                  <a:pt x="5563" y="10343"/>
                </a:cubicBezTo>
                <a:cubicBezTo>
                  <a:pt x="5500" y="10375"/>
                  <a:pt x="5438" y="10406"/>
                  <a:pt x="5375" y="10406"/>
                </a:cubicBezTo>
                <a:cubicBezTo>
                  <a:pt x="5344" y="10406"/>
                  <a:pt x="5344" y="10406"/>
                  <a:pt x="5313" y="10406"/>
                </a:cubicBezTo>
                <a:cubicBezTo>
                  <a:pt x="5313" y="10406"/>
                  <a:pt x="5313" y="10406"/>
                  <a:pt x="5281" y="10406"/>
                </a:cubicBezTo>
                <a:cubicBezTo>
                  <a:pt x="5250" y="10406"/>
                  <a:pt x="5250" y="10406"/>
                  <a:pt x="5219" y="10406"/>
                </a:cubicBezTo>
                <a:cubicBezTo>
                  <a:pt x="5188" y="10406"/>
                  <a:pt x="5188" y="10406"/>
                  <a:pt x="5156" y="10406"/>
                </a:cubicBezTo>
                <a:cubicBezTo>
                  <a:pt x="5156" y="10406"/>
                  <a:pt x="5156" y="10406"/>
                  <a:pt x="5156" y="10437"/>
                </a:cubicBezTo>
                <a:cubicBezTo>
                  <a:pt x="5156" y="10437"/>
                  <a:pt x="5156" y="10437"/>
                  <a:pt x="5156" y="10437"/>
                </a:cubicBezTo>
                <a:cubicBezTo>
                  <a:pt x="5156" y="10437"/>
                  <a:pt x="5188" y="10437"/>
                  <a:pt x="5188" y="10437"/>
                </a:cubicBezTo>
                <a:cubicBezTo>
                  <a:pt x="5219" y="10437"/>
                  <a:pt x="5219" y="10468"/>
                  <a:pt x="5250" y="10468"/>
                </a:cubicBezTo>
                <a:cubicBezTo>
                  <a:pt x="5250" y="10468"/>
                  <a:pt x="5250" y="10468"/>
                  <a:pt x="5250" y="10500"/>
                </a:cubicBezTo>
                <a:cubicBezTo>
                  <a:pt x="5281" y="10500"/>
                  <a:pt x="5250" y="10500"/>
                  <a:pt x="5250" y="10500"/>
                </a:cubicBezTo>
                <a:cubicBezTo>
                  <a:pt x="5250" y="10531"/>
                  <a:pt x="5250" y="10531"/>
                  <a:pt x="5219" y="10531"/>
                </a:cubicBezTo>
                <a:cubicBezTo>
                  <a:pt x="5188" y="10562"/>
                  <a:pt x="5125" y="10593"/>
                  <a:pt x="5125" y="10625"/>
                </a:cubicBezTo>
                <a:cubicBezTo>
                  <a:pt x="5094" y="10656"/>
                  <a:pt x="5125" y="10656"/>
                  <a:pt x="5125" y="10687"/>
                </a:cubicBezTo>
                <a:cubicBezTo>
                  <a:pt x="5156" y="10718"/>
                  <a:pt x="5156" y="10718"/>
                  <a:pt x="5156" y="10718"/>
                </a:cubicBezTo>
                <a:cubicBezTo>
                  <a:pt x="5219" y="10750"/>
                  <a:pt x="5281" y="10781"/>
                  <a:pt x="5344" y="10812"/>
                </a:cubicBezTo>
                <a:cubicBezTo>
                  <a:pt x="5375" y="10812"/>
                  <a:pt x="5406" y="10812"/>
                  <a:pt x="5438" y="10812"/>
                </a:cubicBezTo>
                <a:cubicBezTo>
                  <a:pt x="5469" y="10812"/>
                  <a:pt x="5500" y="10812"/>
                  <a:pt x="5531" y="10812"/>
                </a:cubicBezTo>
                <a:cubicBezTo>
                  <a:pt x="5531" y="10812"/>
                  <a:pt x="5531" y="10812"/>
                  <a:pt x="5563" y="10781"/>
                </a:cubicBezTo>
                <a:cubicBezTo>
                  <a:pt x="5563" y="10781"/>
                  <a:pt x="5563" y="10781"/>
                  <a:pt x="5594" y="10781"/>
                </a:cubicBezTo>
                <a:cubicBezTo>
                  <a:pt x="5594" y="10781"/>
                  <a:pt x="5594" y="10781"/>
                  <a:pt x="5625" y="10781"/>
                </a:cubicBezTo>
                <a:cubicBezTo>
                  <a:pt x="5625" y="10781"/>
                  <a:pt x="5656" y="10781"/>
                  <a:pt x="5656" y="10812"/>
                </a:cubicBezTo>
                <a:cubicBezTo>
                  <a:pt x="5656" y="10843"/>
                  <a:pt x="5656" y="10843"/>
                  <a:pt x="5625" y="10875"/>
                </a:cubicBezTo>
                <a:cubicBezTo>
                  <a:pt x="5625" y="10875"/>
                  <a:pt x="5594" y="10875"/>
                  <a:pt x="5563" y="10875"/>
                </a:cubicBezTo>
                <a:cubicBezTo>
                  <a:pt x="5531" y="10875"/>
                  <a:pt x="5469" y="10875"/>
                  <a:pt x="5438" y="10875"/>
                </a:cubicBezTo>
                <a:cubicBezTo>
                  <a:pt x="5375" y="10906"/>
                  <a:pt x="5344" y="10906"/>
                  <a:pt x="5281" y="10906"/>
                </a:cubicBezTo>
                <a:cubicBezTo>
                  <a:pt x="5250" y="10906"/>
                  <a:pt x="5250" y="10906"/>
                  <a:pt x="5219" y="10906"/>
                </a:cubicBezTo>
                <a:cubicBezTo>
                  <a:pt x="5219" y="10906"/>
                  <a:pt x="5219" y="10906"/>
                  <a:pt x="5188" y="10906"/>
                </a:cubicBezTo>
                <a:cubicBezTo>
                  <a:pt x="5156" y="10906"/>
                  <a:pt x="5094" y="10906"/>
                  <a:pt x="5063" y="10937"/>
                </a:cubicBezTo>
                <a:cubicBezTo>
                  <a:pt x="5063" y="10937"/>
                  <a:pt x="5063" y="10968"/>
                  <a:pt x="5031" y="10968"/>
                </a:cubicBezTo>
                <a:cubicBezTo>
                  <a:pt x="5031" y="10968"/>
                  <a:pt x="5031" y="10968"/>
                  <a:pt x="5031" y="10968"/>
                </a:cubicBezTo>
                <a:cubicBezTo>
                  <a:pt x="5031" y="10968"/>
                  <a:pt x="5031" y="10968"/>
                  <a:pt x="5031" y="10968"/>
                </a:cubicBezTo>
                <a:cubicBezTo>
                  <a:pt x="5094" y="10968"/>
                  <a:pt x="5125" y="10968"/>
                  <a:pt x="5156" y="10968"/>
                </a:cubicBezTo>
                <a:cubicBezTo>
                  <a:pt x="5188" y="10968"/>
                  <a:pt x="5188" y="10968"/>
                  <a:pt x="5219" y="10968"/>
                </a:cubicBezTo>
                <a:cubicBezTo>
                  <a:pt x="5250" y="10968"/>
                  <a:pt x="5250" y="10968"/>
                  <a:pt x="5281" y="10968"/>
                </a:cubicBezTo>
                <a:cubicBezTo>
                  <a:pt x="5281" y="10968"/>
                  <a:pt x="5313" y="10968"/>
                  <a:pt x="5313" y="10968"/>
                </a:cubicBezTo>
                <a:cubicBezTo>
                  <a:pt x="5313" y="11000"/>
                  <a:pt x="5313" y="11000"/>
                  <a:pt x="5313" y="11000"/>
                </a:cubicBezTo>
                <a:cubicBezTo>
                  <a:pt x="5313" y="11000"/>
                  <a:pt x="5313" y="11000"/>
                  <a:pt x="5313" y="11000"/>
                </a:cubicBezTo>
                <a:cubicBezTo>
                  <a:pt x="5313" y="11000"/>
                  <a:pt x="5313" y="11000"/>
                  <a:pt x="5313" y="11000"/>
                </a:cubicBezTo>
                <a:cubicBezTo>
                  <a:pt x="5313" y="11000"/>
                  <a:pt x="5313" y="11031"/>
                  <a:pt x="5313" y="11031"/>
                </a:cubicBezTo>
                <a:cubicBezTo>
                  <a:pt x="5313" y="11031"/>
                  <a:pt x="5313" y="11031"/>
                  <a:pt x="5313" y="11062"/>
                </a:cubicBezTo>
                <a:cubicBezTo>
                  <a:pt x="5313" y="11062"/>
                  <a:pt x="5313" y="11093"/>
                  <a:pt x="5281" y="11125"/>
                </a:cubicBezTo>
                <a:cubicBezTo>
                  <a:pt x="5281" y="11125"/>
                  <a:pt x="5281" y="11125"/>
                  <a:pt x="5281" y="11125"/>
                </a:cubicBezTo>
                <a:cubicBezTo>
                  <a:pt x="5344" y="11156"/>
                  <a:pt x="5438" y="11093"/>
                  <a:pt x="5531" y="11093"/>
                </a:cubicBezTo>
                <a:cubicBezTo>
                  <a:pt x="5563" y="11093"/>
                  <a:pt x="5594" y="11125"/>
                  <a:pt x="5594" y="11156"/>
                </a:cubicBezTo>
                <a:cubicBezTo>
                  <a:pt x="5563" y="11156"/>
                  <a:pt x="5531" y="11187"/>
                  <a:pt x="5500" y="11218"/>
                </a:cubicBezTo>
                <a:cubicBezTo>
                  <a:pt x="5500" y="11218"/>
                  <a:pt x="5469" y="11250"/>
                  <a:pt x="5438" y="11250"/>
                </a:cubicBezTo>
                <a:cubicBezTo>
                  <a:pt x="5438" y="11250"/>
                  <a:pt x="5406" y="11250"/>
                  <a:pt x="5406" y="11250"/>
                </a:cubicBezTo>
                <a:cubicBezTo>
                  <a:pt x="5406" y="11250"/>
                  <a:pt x="5375" y="11250"/>
                  <a:pt x="5375" y="11281"/>
                </a:cubicBezTo>
                <a:cubicBezTo>
                  <a:pt x="5375" y="11281"/>
                  <a:pt x="5375" y="11281"/>
                  <a:pt x="5375" y="11281"/>
                </a:cubicBezTo>
                <a:cubicBezTo>
                  <a:pt x="5344" y="11281"/>
                  <a:pt x="5344" y="11281"/>
                  <a:pt x="5344" y="11312"/>
                </a:cubicBezTo>
                <a:cubicBezTo>
                  <a:pt x="5313" y="11312"/>
                  <a:pt x="5313" y="11343"/>
                  <a:pt x="5344" y="11375"/>
                </a:cubicBezTo>
                <a:cubicBezTo>
                  <a:pt x="5344" y="11375"/>
                  <a:pt x="5344" y="11375"/>
                  <a:pt x="5344" y="11375"/>
                </a:cubicBezTo>
                <a:cubicBezTo>
                  <a:pt x="5344" y="11375"/>
                  <a:pt x="5344" y="11406"/>
                  <a:pt x="5375" y="11406"/>
                </a:cubicBezTo>
                <a:cubicBezTo>
                  <a:pt x="5375" y="11406"/>
                  <a:pt x="5406" y="11406"/>
                  <a:pt x="5438" y="11406"/>
                </a:cubicBezTo>
                <a:cubicBezTo>
                  <a:pt x="5438" y="11406"/>
                  <a:pt x="5469" y="11406"/>
                  <a:pt x="5469" y="11406"/>
                </a:cubicBezTo>
                <a:cubicBezTo>
                  <a:pt x="5500" y="11406"/>
                  <a:pt x="5500" y="11406"/>
                  <a:pt x="5531" y="11406"/>
                </a:cubicBezTo>
                <a:cubicBezTo>
                  <a:pt x="5563" y="11437"/>
                  <a:pt x="5594" y="11406"/>
                  <a:pt x="5625" y="11406"/>
                </a:cubicBezTo>
                <a:cubicBezTo>
                  <a:pt x="5656" y="11406"/>
                  <a:pt x="5687" y="11406"/>
                  <a:pt x="5750" y="11375"/>
                </a:cubicBezTo>
                <a:cubicBezTo>
                  <a:pt x="5781" y="11375"/>
                  <a:pt x="5812" y="11375"/>
                  <a:pt x="5844" y="11375"/>
                </a:cubicBezTo>
                <a:cubicBezTo>
                  <a:pt x="6219" y="11312"/>
                  <a:pt x="6625" y="11281"/>
                  <a:pt x="7031" y="11281"/>
                </a:cubicBezTo>
                <a:cubicBezTo>
                  <a:pt x="7125" y="11250"/>
                  <a:pt x="7219" y="11250"/>
                  <a:pt x="7344" y="11250"/>
                </a:cubicBezTo>
                <a:cubicBezTo>
                  <a:pt x="7375" y="11218"/>
                  <a:pt x="7437" y="11218"/>
                  <a:pt x="7500" y="11218"/>
                </a:cubicBezTo>
                <a:cubicBezTo>
                  <a:pt x="7562" y="11218"/>
                  <a:pt x="7594" y="11250"/>
                  <a:pt x="7656" y="11250"/>
                </a:cubicBezTo>
                <a:cubicBezTo>
                  <a:pt x="7656" y="11250"/>
                  <a:pt x="7687" y="11250"/>
                  <a:pt x="7687" y="11250"/>
                </a:cubicBezTo>
                <a:cubicBezTo>
                  <a:pt x="7719" y="11250"/>
                  <a:pt x="7750" y="11250"/>
                  <a:pt x="7781" y="11218"/>
                </a:cubicBezTo>
                <a:cubicBezTo>
                  <a:pt x="7812" y="11187"/>
                  <a:pt x="7844" y="11156"/>
                  <a:pt x="7906" y="11156"/>
                </a:cubicBezTo>
                <a:cubicBezTo>
                  <a:pt x="7906" y="11156"/>
                  <a:pt x="7937" y="11187"/>
                  <a:pt x="7937" y="11187"/>
                </a:cubicBezTo>
                <a:cubicBezTo>
                  <a:pt x="7969" y="11187"/>
                  <a:pt x="7969" y="11187"/>
                  <a:pt x="7969" y="11218"/>
                </a:cubicBezTo>
                <a:cubicBezTo>
                  <a:pt x="8000" y="11218"/>
                  <a:pt x="8000" y="11218"/>
                  <a:pt x="8000" y="11218"/>
                </a:cubicBezTo>
                <a:cubicBezTo>
                  <a:pt x="7969" y="11250"/>
                  <a:pt x="7969" y="11281"/>
                  <a:pt x="7937" y="11281"/>
                </a:cubicBezTo>
                <a:cubicBezTo>
                  <a:pt x="7937" y="11281"/>
                  <a:pt x="7906" y="11312"/>
                  <a:pt x="7906" y="11312"/>
                </a:cubicBezTo>
                <a:cubicBezTo>
                  <a:pt x="7875" y="11312"/>
                  <a:pt x="7875" y="11312"/>
                  <a:pt x="7844" y="11312"/>
                </a:cubicBezTo>
                <a:cubicBezTo>
                  <a:pt x="7844" y="11312"/>
                  <a:pt x="7844" y="11312"/>
                  <a:pt x="7812" y="11312"/>
                </a:cubicBezTo>
                <a:cubicBezTo>
                  <a:pt x="7781" y="11343"/>
                  <a:pt x="7750" y="11343"/>
                  <a:pt x="7719" y="11343"/>
                </a:cubicBezTo>
                <a:cubicBezTo>
                  <a:pt x="7719" y="11343"/>
                  <a:pt x="7687" y="11343"/>
                  <a:pt x="7687" y="11312"/>
                </a:cubicBezTo>
                <a:cubicBezTo>
                  <a:pt x="7656" y="11312"/>
                  <a:pt x="7594" y="11312"/>
                  <a:pt x="7594" y="11312"/>
                </a:cubicBezTo>
                <a:cubicBezTo>
                  <a:pt x="7594" y="11312"/>
                  <a:pt x="7594" y="11312"/>
                  <a:pt x="7594" y="11312"/>
                </a:cubicBezTo>
                <a:cubicBezTo>
                  <a:pt x="7594" y="11375"/>
                  <a:pt x="7594" y="11375"/>
                  <a:pt x="7562" y="11406"/>
                </a:cubicBezTo>
                <a:cubicBezTo>
                  <a:pt x="7562" y="11437"/>
                  <a:pt x="7531" y="11437"/>
                  <a:pt x="7500" y="11468"/>
                </a:cubicBezTo>
                <a:cubicBezTo>
                  <a:pt x="7500" y="11468"/>
                  <a:pt x="7469" y="11468"/>
                  <a:pt x="7437" y="11500"/>
                </a:cubicBezTo>
                <a:cubicBezTo>
                  <a:pt x="7437" y="11500"/>
                  <a:pt x="7406" y="11531"/>
                  <a:pt x="7406" y="11531"/>
                </a:cubicBezTo>
                <a:cubicBezTo>
                  <a:pt x="7406" y="11562"/>
                  <a:pt x="7406" y="11593"/>
                  <a:pt x="7375" y="11625"/>
                </a:cubicBezTo>
                <a:cubicBezTo>
                  <a:pt x="7344" y="11625"/>
                  <a:pt x="7312" y="11625"/>
                  <a:pt x="7281" y="11656"/>
                </a:cubicBezTo>
                <a:cubicBezTo>
                  <a:pt x="7281" y="11656"/>
                  <a:pt x="7281" y="11656"/>
                  <a:pt x="7250" y="11656"/>
                </a:cubicBezTo>
                <a:cubicBezTo>
                  <a:pt x="7250" y="11656"/>
                  <a:pt x="7219" y="11656"/>
                  <a:pt x="7187" y="11656"/>
                </a:cubicBezTo>
                <a:cubicBezTo>
                  <a:pt x="7156" y="11656"/>
                  <a:pt x="7156" y="11687"/>
                  <a:pt x="7125" y="11687"/>
                </a:cubicBezTo>
                <a:cubicBezTo>
                  <a:pt x="7125" y="11718"/>
                  <a:pt x="7125" y="11718"/>
                  <a:pt x="7156" y="11750"/>
                </a:cubicBezTo>
                <a:cubicBezTo>
                  <a:pt x="7156" y="11750"/>
                  <a:pt x="7156" y="11750"/>
                  <a:pt x="7187" y="11781"/>
                </a:cubicBezTo>
                <a:cubicBezTo>
                  <a:pt x="7219" y="11812"/>
                  <a:pt x="7281" y="11812"/>
                  <a:pt x="7344" y="11781"/>
                </a:cubicBezTo>
                <a:cubicBezTo>
                  <a:pt x="7406" y="11781"/>
                  <a:pt x="7469" y="11750"/>
                  <a:pt x="7531" y="11750"/>
                </a:cubicBezTo>
                <a:cubicBezTo>
                  <a:pt x="7531" y="11750"/>
                  <a:pt x="7562" y="11781"/>
                  <a:pt x="7594" y="11781"/>
                </a:cubicBezTo>
                <a:cubicBezTo>
                  <a:pt x="7562" y="11812"/>
                  <a:pt x="7500" y="11875"/>
                  <a:pt x="7469" y="11875"/>
                </a:cubicBezTo>
                <a:cubicBezTo>
                  <a:pt x="7469" y="11875"/>
                  <a:pt x="7469" y="11875"/>
                  <a:pt x="7437" y="11875"/>
                </a:cubicBezTo>
                <a:cubicBezTo>
                  <a:pt x="7406" y="11843"/>
                  <a:pt x="7375" y="11843"/>
                  <a:pt x="7344" y="11843"/>
                </a:cubicBezTo>
                <a:cubicBezTo>
                  <a:pt x="7312" y="11843"/>
                  <a:pt x="7312" y="11843"/>
                  <a:pt x="7281" y="11843"/>
                </a:cubicBezTo>
                <a:cubicBezTo>
                  <a:pt x="7219" y="11875"/>
                  <a:pt x="7187" y="11937"/>
                  <a:pt x="7156" y="11968"/>
                </a:cubicBezTo>
                <a:cubicBezTo>
                  <a:pt x="7187" y="11968"/>
                  <a:pt x="7187" y="11968"/>
                  <a:pt x="7219" y="11968"/>
                </a:cubicBezTo>
                <a:cubicBezTo>
                  <a:pt x="7250" y="11968"/>
                  <a:pt x="7281" y="11968"/>
                  <a:pt x="7281" y="11968"/>
                </a:cubicBezTo>
                <a:cubicBezTo>
                  <a:pt x="7312" y="11968"/>
                  <a:pt x="7344" y="11968"/>
                  <a:pt x="7375" y="12000"/>
                </a:cubicBezTo>
                <a:cubicBezTo>
                  <a:pt x="7344" y="12000"/>
                  <a:pt x="7312" y="12031"/>
                  <a:pt x="7312" y="12062"/>
                </a:cubicBezTo>
                <a:cubicBezTo>
                  <a:pt x="7312" y="12062"/>
                  <a:pt x="7312" y="12062"/>
                  <a:pt x="7312" y="12062"/>
                </a:cubicBezTo>
                <a:cubicBezTo>
                  <a:pt x="7281" y="12093"/>
                  <a:pt x="7281" y="12093"/>
                  <a:pt x="7312" y="12125"/>
                </a:cubicBezTo>
                <a:cubicBezTo>
                  <a:pt x="7344" y="12156"/>
                  <a:pt x="7375" y="12156"/>
                  <a:pt x="7406" y="12156"/>
                </a:cubicBezTo>
                <a:cubicBezTo>
                  <a:pt x="7437" y="12156"/>
                  <a:pt x="7437" y="12156"/>
                  <a:pt x="7437" y="12156"/>
                </a:cubicBezTo>
                <a:cubicBezTo>
                  <a:pt x="7469" y="12156"/>
                  <a:pt x="7500" y="12156"/>
                  <a:pt x="7500" y="12156"/>
                </a:cubicBezTo>
                <a:cubicBezTo>
                  <a:pt x="7531" y="12156"/>
                  <a:pt x="7531" y="12156"/>
                  <a:pt x="7531" y="12156"/>
                </a:cubicBezTo>
                <a:cubicBezTo>
                  <a:pt x="7562" y="12187"/>
                  <a:pt x="7562" y="12187"/>
                  <a:pt x="7562" y="12187"/>
                </a:cubicBezTo>
                <a:cubicBezTo>
                  <a:pt x="7562" y="12218"/>
                  <a:pt x="7562" y="12218"/>
                  <a:pt x="7531" y="12250"/>
                </a:cubicBezTo>
                <a:cubicBezTo>
                  <a:pt x="7531" y="12250"/>
                  <a:pt x="7531" y="12250"/>
                  <a:pt x="7500" y="12281"/>
                </a:cubicBezTo>
                <a:cubicBezTo>
                  <a:pt x="7469" y="12281"/>
                  <a:pt x="7469" y="12281"/>
                  <a:pt x="7437" y="12281"/>
                </a:cubicBezTo>
                <a:cubicBezTo>
                  <a:pt x="7406" y="12312"/>
                  <a:pt x="7344" y="12312"/>
                  <a:pt x="7312" y="12343"/>
                </a:cubicBezTo>
                <a:cubicBezTo>
                  <a:pt x="7250" y="12375"/>
                  <a:pt x="7187" y="12375"/>
                  <a:pt x="7125" y="12406"/>
                </a:cubicBezTo>
                <a:cubicBezTo>
                  <a:pt x="7062" y="12406"/>
                  <a:pt x="7000" y="12437"/>
                  <a:pt x="6969" y="12437"/>
                </a:cubicBezTo>
                <a:cubicBezTo>
                  <a:pt x="6969" y="12437"/>
                  <a:pt x="6937" y="12437"/>
                  <a:pt x="6937" y="12437"/>
                </a:cubicBezTo>
                <a:cubicBezTo>
                  <a:pt x="6937" y="12437"/>
                  <a:pt x="6906" y="12406"/>
                  <a:pt x="6906" y="12406"/>
                </a:cubicBezTo>
                <a:cubicBezTo>
                  <a:pt x="6875" y="12406"/>
                  <a:pt x="6844" y="12437"/>
                  <a:pt x="6844" y="12437"/>
                </a:cubicBezTo>
                <a:cubicBezTo>
                  <a:pt x="6812" y="12437"/>
                  <a:pt x="6812" y="12468"/>
                  <a:pt x="6844" y="12468"/>
                </a:cubicBezTo>
                <a:cubicBezTo>
                  <a:pt x="6844" y="12500"/>
                  <a:pt x="6844" y="12500"/>
                  <a:pt x="6875" y="12500"/>
                </a:cubicBezTo>
                <a:cubicBezTo>
                  <a:pt x="6906" y="12500"/>
                  <a:pt x="6969" y="12500"/>
                  <a:pt x="7000" y="12500"/>
                </a:cubicBezTo>
                <a:cubicBezTo>
                  <a:pt x="7062" y="12468"/>
                  <a:pt x="7125" y="12468"/>
                  <a:pt x="7187" y="12437"/>
                </a:cubicBezTo>
                <a:cubicBezTo>
                  <a:pt x="7219" y="12437"/>
                  <a:pt x="7250" y="12437"/>
                  <a:pt x="7281" y="12437"/>
                </a:cubicBezTo>
                <a:cubicBezTo>
                  <a:pt x="7281" y="12437"/>
                  <a:pt x="7312" y="12437"/>
                  <a:pt x="7312" y="12437"/>
                </a:cubicBezTo>
                <a:cubicBezTo>
                  <a:pt x="7312" y="12437"/>
                  <a:pt x="7344" y="12437"/>
                  <a:pt x="7344" y="12437"/>
                </a:cubicBezTo>
                <a:cubicBezTo>
                  <a:pt x="7344" y="12437"/>
                  <a:pt x="7375" y="12437"/>
                  <a:pt x="7375" y="12437"/>
                </a:cubicBezTo>
                <a:cubicBezTo>
                  <a:pt x="7375" y="12437"/>
                  <a:pt x="7375" y="12437"/>
                  <a:pt x="7406" y="12437"/>
                </a:cubicBezTo>
                <a:cubicBezTo>
                  <a:pt x="7406" y="12437"/>
                  <a:pt x="7437" y="12437"/>
                  <a:pt x="7437" y="12468"/>
                </a:cubicBezTo>
                <a:cubicBezTo>
                  <a:pt x="7437" y="12468"/>
                  <a:pt x="7437" y="12500"/>
                  <a:pt x="7406" y="12500"/>
                </a:cubicBezTo>
                <a:cubicBezTo>
                  <a:pt x="7375" y="12531"/>
                  <a:pt x="7344" y="12562"/>
                  <a:pt x="7312" y="12562"/>
                </a:cubicBezTo>
                <a:cubicBezTo>
                  <a:pt x="7312" y="12562"/>
                  <a:pt x="7312" y="12593"/>
                  <a:pt x="7281" y="12593"/>
                </a:cubicBezTo>
                <a:cubicBezTo>
                  <a:pt x="7281" y="12593"/>
                  <a:pt x="7281" y="12593"/>
                  <a:pt x="7250" y="12593"/>
                </a:cubicBezTo>
                <a:cubicBezTo>
                  <a:pt x="7187" y="12562"/>
                  <a:pt x="7125" y="12593"/>
                  <a:pt x="7062" y="12593"/>
                </a:cubicBezTo>
                <a:cubicBezTo>
                  <a:pt x="7031" y="12593"/>
                  <a:pt x="6969" y="12593"/>
                  <a:pt x="6937" y="12593"/>
                </a:cubicBezTo>
                <a:cubicBezTo>
                  <a:pt x="6875" y="12625"/>
                  <a:pt x="6812" y="12625"/>
                  <a:pt x="6719" y="12625"/>
                </a:cubicBezTo>
                <a:cubicBezTo>
                  <a:pt x="6719" y="12625"/>
                  <a:pt x="6719" y="12625"/>
                  <a:pt x="6687" y="12625"/>
                </a:cubicBezTo>
                <a:cubicBezTo>
                  <a:pt x="6656" y="12625"/>
                  <a:pt x="6625" y="12625"/>
                  <a:pt x="6594" y="12656"/>
                </a:cubicBezTo>
                <a:cubicBezTo>
                  <a:pt x="6594" y="12656"/>
                  <a:pt x="6594" y="12687"/>
                  <a:pt x="6594" y="12687"/>
                </a:cubicBezTo>
                <a:cubicBezTo>
                  <a:pt x="6594" y="12750"/>
                  <a:pt x="6656" y="12718"/>
                  <a:pt x="6687" y="12718"/>
                </a:cubicBezTo>
                <a:cubicBezTo>
                  <a:pt x="6719" y="12718"/>
                  <a:pt x="6719" y="12718"/>
                  <a:pt x="6719" y="12718"/>
                </a:cubicBezTo>
                <a:cubicBezTo>
                  <a:pt x="6750" y="12750"/>
                  <a:pt x="6781" y="12750"/>
                  <a:pt x="6844" y="12781"/>
                </a:cubicBezTo>
                <a:cubicBezTo>
                  <a:pt x="6844" y="12781"/>
                  <a:pt x="6844" y="12781"/>
                  <a:pt x="6875" y="12781"/>
                </a:cubicBezTo>
                <a:cubicBezTo>
                  <a:pt x="6937" y="12781"/>
                  <a:pt x="6969" y="12781"/>
                  <a:pt x="6937" y="12718"/>
                </a:cubicBezTo>
                <a:cubicBezTo>
                  <a:pt x="6937" y="12687"/>
                  <a:pt x="6937" y="12687"/>
                  <a:pt x="6937" y="12687"/>
                </a:cubicBezTo>
                <a:cubicBezTo>
                  <a:pt x="6937" y="12656"/>
                  <a:pt x="6937" y="12656"/>
                  <a:pt x="6937" y="12656"/>
                </a:cubicBezTo>
                <a:cubicBezTo>
                  <a:pt x="6937" y="12656"/>
                  <a:pt x="6937" y="12625"/>
                  <a:pt x="6969" y="12625"/>
                </a:cubicBezTo>
                <a:cubicBezTo>
                  <a:pt x="6969" y="12625"/>
                  <a:pt x="6969" y="12625"/>
                  <a:pt x="7000" y="12625"/>
                </a:cubicBezTo>
                <a:cubicBezTo>
                  <a:pt x="7000" y="12625"/>
                  <a:pt x="7031" y="12625"/>
                  <a:pt x="7062" y="12625"/>
                </a:cubicBezTo>
                <a:cubicBezTo>
                  <a:pt x="7062" y="12625"/>
                  <a:pt x="7062" y="12625"/>
                  <a:pt x="7094" y="12625"/>
                </a:cubicBezTo>
                <a:cubicBezTo>
                  <a:pt x="7094" y="12625"/>
                  <a:pt x="7094" y="12656"/>
                  <a:pt x="7125" y="12656"/>
                </a:cubicBezTo>
                <a:cubicBezTo>
                  <a:pt x="7156" y="12687"/>
                  <a:pt x="7094" y="12687"/>
                  <a:pt x="7062" y="12687"/>
                </a:cubicBezTo>
                <a:cubicBezTo>
                  <a:pt x="7062" y="12718"/>
                  <a:pt x="7062" y="12718"/>
                  <a:pt x="7062" y="12718"/>
                </a:cubicBezTo>
                <a:cubicBezTo>
                  <a:pt x="7062" y="12718"/>
                  <a:pt x="7062" y="12718"/>
                  <a:pt x="7062" y="12718"/>
                </a:cubicBezTo>
                <a:cubicBezTo>
                  <a:pt x="7062" y="12718"/>
                  <a:pt x="7062" y="12718"/>
                  <a:pt x="7062" y="12718"/>
                </a:cubicBezTo>
                <a:cubicBezTo>
                  <a:pt x="7125" y="12718"/>
                  <a:pt x="7187" y="12718"/>
                  <a:pt x="7219" y="12687"/>
                </a:cubicBezTo>
                <a:cubicBezTo>
                  <a:pt x="7219" y="12687"/>
                  <a:pt x="7219" y="12687"/>
                  <a:pt x="7250" y="12656"/>
                </a:cubicBezTo>
                <a:cubicBezTo>
                  <a:pt x="7250" y="12656"/>
                  <a:pt x="7250" y="12625"/>
                  <a:pt x="7250" y="12625"/>
                </a:cubicBezTo>
                <a:cubicBezTo>
                  <a:pt x="7250" y="12625"/>
                  <a:pt x="7281" y="12593"/>
                  <a:pt x="7281" y="12593"/>
                </a:cubicBezTo>
                <a:cubicBezTo>
                  <a:pt x="7312" y="12593"/>
                  <a:pt x="7375" y="12593"/>
                  <a:pt x="7469" y="12625"/>
                </a:cubicBezTo>
                <a:cubicBezTo>
                  <a:pt x="7469" y="12625"/>
                  <a:pt x="7500" y="12625"/>
                  <a:pt x="7500" y="12656"/>
                </a:cubicBezTo>
                <a:cubicBezTo>
                  <a:pt x="7531" y="12687"/>
                  <a:pt x="7500" y="12687"/>
                  <a:pt x="7531" y="12718"/>
                </a:cubicBezTo>
                <a:cubicBezTo>
                  <a:pt x="7531" y="12718"/>
                  <a:pt x="7531" y="12718"/>
                  <a:pt x="7562" y="12718"/>
                </a:cubicBezTo>
                <a:cubicBezTo>
                  <a:pt x="7562" y="12718"/>
                  <a:pt x="7594" y="12718"/>
                  <a:pt x="7594" y="12750"/>
                </a:cubicBezTo>
                <a:cubicBezTo>
                  <a:pt x="7625" y="12750"/>
                  <a:pt x="7656" y="12750"/>
                  <a:pt x="7687" y="12750"/>
                </a:cubicBezTo>
                <a:cubicBezTo>
                  <a:pt x="7750" y="12750"/>
                  <a:pt x="7812" y="12750"/>
                  <a:pt x="7875" y="12781"/>
                </a:cubicBezTo>
                <a:cubicBezTo>
                  <a:pt x="7906" y="12781"/>
                  <a:pt x="7906" y="12781"/>
                  <a:pt x="7937" y="12781"/>
                </a:cubicBezTo>
                <a:cubicBezTo>
                  <a:pt x="8000" y="12781"/>
                  <a:pt x="8031" y="12781"/>
                  <a:pt x="8062" y="12750"/>
                </a:cubicBezTo>
                <a:cubicBezTo>
                  <a:pt x="8094" y="12750"/>
                  <a:pt x="8156" y="12750"/>
                  <a:pt x="8187" y="12718"/>
                </a:cubicBezTo>
                <a:cubicBezTo>
                  <a:pt x="8219" y="12718"/>
                  <a:pt x="8219" y="12687"/>
                  <a:pt x="8219" y="12687"/>
                </a:cubicBezTo>
                <a:cubicBezTo>
                  <a:pt x="8219" y="12656"/>
                  <a:pt x="8219" y="12656"/>
                  <a:pt x="8219" y="12656"/>
                </a:cubicBezTo>
                <a:cubicBezTo>
                  <a:pt x="8219" y="12625"/>
                  <a:pt x="8250" y="12593"/>
                  <a:pt x="8281" y="12593"/>
                </a:cubicBezTo>
                <a:cubicBezTo>
                  <a:pt x="8344" y="12593"/>
                  <a:pt x="8375" y="12593"/>
                  <a:pt x="8437" y="12593"/>
                </a:cubicBezTo>
                <a:cubicBezTo>
                  <a:pt x="8531" y="12562"/>
                  <a:pt x="8625" y="12531"/>
                  <a:pt x="8719" y="12500"/>
                </a:cubicBezTo>
                <a:cubicBezTo>
                  <a:pt x="8750" y="12500"/>
                  <a:pt x="8781" y="12500"/>
                  <a:pt x="8812" y="12500"/>
                </a:cubicBezTo>
                <a:cubicBezTo>
                  <a:pt x="8781" y="12500"/>
                  <a:pt x="8781" y="12500"/>
                  <a:pt x="8781" y="12500"/>
                </a:cubicBezTo>
                <a:cubicBezTo>
                  <a:pt x="8750" y="12468"/>
                  <a:pt x="8719" y="12468"/>
                  <a:pt x="8687" y="12468"/>
                </a:cubicBezTo>
                <a:cubicBezTo>
                  <a:pt x="8625" y="12468"/>
                  <a:pt x="8594" y="12468"/>
                  <a:pt x="8562" y="12437"/>
                </a:cubicBezTo>
                <a:cubicBezTo>
                  <a:pt x="8562" y="12437"/>
                  <a:pt x="8562" y="12406"/>
                  <a:pt x="8562" y="12406"/>
                </a:cubicBezTo>
                <a:cubicBezTo>
                  <a:pt x="8562" y="12375"/>
                  <a:pt x="8562" y="12375"/>
                  <a:pt x="8562" y="12343"/>
                </a:cubicBezTo>
                <a:cubicBezTo>
                  <a:pt x="8594" y="12343"/>
                  <a:pt x="8594" y="12312"/>
                  <a:pt x="8625" y="12312"/>
                </a:cubicBezTo>
                <a:cubicBezTo>
                  <a:pt x="8656" y="12312"/>
                  <a:pt x="8719" y="12312"/>
                  <a:pt x="8750" y="12312"/>
                </a:cubicBezTo>
                <a:cubicBezTo>
                  <a:pt x="8750" y="12281"/>
                  <a:pt x="8781" y="12281"/>
                  <a:pt x="8781" y="12281"/>
                </a:cubicBezTo>
                <a:cubicBezTo>
                  <a:pt x="8875" y="12250"/>
                  <a:pt x="9000" y="12250"/>
                  <a:pt x="9094" y="12218"/>
                </a:cubicBezTo>
                <a:cubicBezTo>
                  <a:pt x="9156" y="12218"/>
                  <a:pt x="9156" y="12218"/>
                  <a:pt x="9187" y="12187"/>
                </a:cubicBezTo>
                <a:cubicBezTo>
                  <a:pt x="9187" y="12187"/>
                  <a:pt x="9187" y="12156"/>
                  <a:pt x="9156" y="12156"/>
                </a:cubicBezTo>
                <a:cubicBezTo>
                  <a:pt x="9156" y="12156"/>
                  <a:pt x="9156" y="12156"/>
                  <a:pt x="9125" y="12156"/>
                </a:cubicBezTo>
                <a:cubicBezTo>
                  <a:pt x="9125" y="12156"/>
                  <a:pt x="9125" y="12156"/>
                  <a:pt x="9094" y="12156"/>
                </a:cubicBezTo>
                <a:cubicBezTo>
                  <a:pt x="9094" y="12156"/>
                  <a:pt x="9094" y="12156"/>
                  <a:pt x="9094" y="12156"/>
                </a:cubicBezTo>
                <a:cubicBezTo>
                  <a:pt x="9062" y="12156"/>
                  <a:pt x="9062" y="12156"/>
                  <a:pt x="9062" y="12125"/>
                </a:cubicBezTo>
                <a:cubicBezTo>
                  <a:pt x="9062" y="12125"/>
                  <a:pt x="9062" y="12125"/>
                  <a:pt x="9062" y="12093"/>
                </a:cubicBezTo>
                <a:cubicBezTo>
                  <a:pt x="9062" y="12093"/>
                  <a:pt x="9062" y="12093"/>
                  <a:pt x="9062" y="12093"/>
                </a:cubicBezTo>
                <a:cubicBezTo>
                  <a:pt x="9062" y="12062"/>
                  <a:pt x="9062" y="12062"/>
                  <a:pt x="9062" y="12031"/>
                </a:cubicBezTo>
                <a:cubicBezTo>
                  <a:pt x="9094" y="12000"/>
                  <a:pt x="9125" y="11968"/>
                  <a:pt x="9219" y="12000"/>
                </a:cubicBezTo>
                <a:cubicBezTo>
                  <a:pt x="9281" y="12000"/>
                  <a:pt x="9312" y="11968"/>
                  <a:pt x="9344" y="11968"/>
                </a:cubicBezTo>
                <a:cubicBezTo>
                  <a:pt x="9344" y="11937"/>
                  <a:pt x="9344" y="11937"/>
                  <a:pt x="9375" y="11906"/>
                </a:cubicBezTo>
                <a:cubicBezTo>
                  <a:pt x="9375" y="11906"/>
                  <a:pt x="9344" y="11906"/>
                  <a:pt x="9344" y="11906"/>
                </a:cubicBezTo>
                <a:cubicBezTo>
                  <a:pt x="9344" y="11906"/>
                  <a:pt x="9344" y="11906"/>
                  <a:pt x="9344" y="11906"/>
                </a:cubicBezTo>
                <a:cubicBezTo>
                  <a:pt x="9344" y="11906"/>
                  <a:pt x="9312" y="11906"/>
                  <a:pt x="9312" y="11906"/>
                </a:cubicBezTo>
                <a:cubicBezTo>
                  <a:pt x="9312" y="11906"/>
                  <a:pt x="9312" y="11906"/>
                  <a:pt x="9312" y="11906"/>
                </a:cubicBezTo>
                <a:cubicBezTo>
                  <a:pt x="9312" y="11906"/>
                  <a:pt x="9312" y="11875"/>
                  <a:pt x="9281" y="11875"/>
                </a:cubicBezTo>
                <a:cubicBezTo>
                  <a:pt x="9281" y="11875"/>
                  <a:pt x="9281" y="11875"/>
                  <a:pt x="9281" y="11875"/>
                </a:cubicBezTo>
                <a:cubicBezTo>
                  <a:pt x="9281" y="11875"/>
                  <a:pt x="9281" y="11843"/>
                  <a:pt x="9281" y="11843"/>
                </a:cubicBezTo>
                <a:cubicBezTo>
                  <a:pt x="9312" y="11843"/>
                  <a:pt x="9312" y="11843"/>
                  <a:pt x="9312" y="11812"/>
                </a:cubicBezTo>
                <a:cubicBezTo>
                  <a:pt x="9312" y="11812"/>
                  <a:pt x="9312" y="11812"/>
                  <a:pt x="9281" y="11812"/>
                </a:cubicBezTo>
                <a:cubicBezTo>
                  <a:pt x="9281" y="11812"/>
                  <a:pt x="9250" y="11812"/>
                  <a:pt x="9250" y="11812"/>
                </a:cubicBezTo>
                <a:cubicBezTo>
                  <a:pt x="9187" y="11812"/>
                  <a:pt x="9156" y="11812"/>
                  <a:pt x="9125" y="11843"/>
                </a:cubicBezTo>
                <a:cubicBezTo>
                  <a:pt x="9125" y="11875"/>
                  <a:pt x="9156" y="11875"/>
                  <a:pt x="9156" y="11875"/>
                </a:cubicBezTo>
                <a:cubicBezTo>
                  <a:pt x="9156" y="11875"/>
                  <a:pt x="9156" y="11875"/>
                  <a:pt x="9156" y="11906"/>
                </a:cubicBezTo>
                <a:cubicBezTo>
                  <a:pt x="9156" y="11906"/>
                  <a:pt x="9156" y="11906"/>
                  <a:pt x="9156" y="11906"/>
                </a:cubicBezTo>
                <a:cubicBezTo>
                  <a:pt x="9156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094" y="11906"/>
                  <a:pt x="9094" y="11906"/>
                  <a:pt x="9094" y="11875"/>
                </a:cubicBezTo>
                <a:cubicBezTo>
                  <a:pt x="9000" y="11843"/>
                  <a:pt x="8906" y="11812"/>
                  <a:pt x="8781" y="11843"/>
                </a:cubicBezTo>
                <a:cubicBezTo>
                  <a:pt x="8781" y="11843"/>
                  <a:pt x="8750" y="11843"/>
                  <a:pt x="8750" y="11875"/>
                </a:cubicBezTo>
                <a:cubicBezTo>
                  <a:pt x="8719" y="11875"/>
                  <a:pt x="8719" y="11875"/>
                  <a:pt x="8687" y="11875"/>
                </a:cubicBezTo>
                <a:cubicBezTo>
                  <a:pt x="8687" y="11875"/>
                  <a:pt x="8687" y="11875"/>
                  <a:pt x="8656" y="11875"/>
                </a:cubicBezTo>
                <a:cubicBezTo>
                  <a:pt x="8625" y="11875"/>
                  <a:pt x="8625" y="11843"/>
                  <a:pt x="8594" y="11843"/>
                </a:cubicBezTo>
                <a:cubicBezTo>
                  <a:pt x="8625" y="11812"/>
                  <a:pt x="8687" y="11812"/>
                  <a:pt x="8719" y="11781"/>
                </a:cubicBezTo>
                <a:cubicBezTo>
                  <a:pt x="8812" y="11781"/>
                  <a:pt x="8937" y="11750"/>
                  <a:pt x="9031" y="11750"/>
                </a:cubicBezTo>
                <a:cubicBezTo>
                  <a:pt x="9062" y="11750"/>
                  <a:pt x="9125" y="11750"/>
                  <a:pt x="9156" y="11750"/>
                </a:cubicBezTo>
                <a:cubicBezTo>
                  <a:pt x="9250" y="11750"/>
                  <a:pt x="9312" y="11750"/>
                  <a:pt x="9406" y="11718"/>
                </a:cubicBezTo>
                <a:cubicBezTo>
                  <a:pt x="9469" y="11718"/>
                  <a:pt x="9562" y="11718"/>
                  <a:pt x="9625" y="11718"/>
                </a:cubicBezTo>
                <a:cubicBezTo>
                  <a:pt x="9687" y="11687"/>
                  <a:pt x="9781" y="11687"/>
                  <a:pt x="9844" y="11687"/>
                </a:cubicBezTo>
                <a:cubicBezTo>
                  <a:pt x="9937" y="11656"/>
                  <a:pt x="10000" y="11656"/>
                  <a:pt x="10094" y="11656"/>
                </a:cubicBezTo>
                <a:cubicBezTo>
                  <a:pt x="10094" y="11656"/>
                  <a:pt x="10125" y="11656"/>
                  <a:pt x="10156" y="11656"/>
                </a:cubicBezTo>
                <a:cubicBezTo>
                  <a:pt x="10187" y="11625"/>
                  <a:pt x="10219" y="11625"/>
                  <a:pt x="10187" y="11593"/>
                </a:cubicBezTo>
                <a:cubicBezTo>
                  <a:pt x="10187" y="11562"/>
                  <a:pt x="10156" y="11562"/>
                  <a:pt x="10156" y="11562"/>
                </a:cubicBezTo>
                <a:cubicBezTo>
                  <a:pt x="10125" y="11562"/>
                  <a:pt x="10062" y="11562"/>
                  <a:pt x="10031" y="11593"/>
                </a:cubicBezTo>
                <a:cubicBezTo>
                  <a:pt x="10031" y="11593"/>
                  <a:pt x="10000" y="11593"/>
                  <a:pt x="9969" y="11593"/>
                </a:cubicBezTo>
                <a:cubicBezTo>
                  <a:pt x="9969" y="11593"/>
                  <a:pt x="9937" y="11625"/>
                  <a:pt x="9906" y="11625"/>
                </a:cubicBezTo>
                <a:cubicBezTo>
                  <a:pt x="9906" y="11625"/>
                  <a:pt x="9906" y="11625"/>
                  <a:pt x="9906" y="11625"/>
                </a:cubicBezTo>
                <a:cubicBezTo>
                  <a:pt x="9875" y="11625"/>
                  <a:pt x="9844" y="11625"/>
                  <a:pt x="9812" y="11593"/>
                </a:cubicBezTo>
                <a:cubicBezTo>
                  <a:pt x="9781" y="11562"/>
                  <a:pt x="9750" y="11562"/>
                  <a:pt x="9750" y="11531"/>
                </a:cubicBezTo>
                <a:cubicBezTo>
                  <a:pt x="9687" y="11500"/>
                  <a:pt x="9625" y="11468"/>
                  <a:pt x="9562" y="11468"/>
                </a:cubicBezTo>
                <a:cubicBezTo>
                  <a:pt x="9531" y="11437"/>
                  <a:pt x="9500" y="11437"/>
                  <a:pt x="9469" y="11437"/>
                </a:cubicBezTo>
                <a:cubicBezTo>
                  <a:pt x="9469" y="11437"/>
                  <a:pt x="9469" y="11437"/>
                  <a:pt x="9469" y="11437"/>
                </a:cubicBezTo>
                <a:cubicBezTo>
                  <a:pt x="9469" y="11437"/>
                  <a:pt x="9469" y="11437"/>
                  <a:pt x="9469" y="11437"/>
                </a:cubicBezTo>
                <a:cubicBezTo>
                  <a:pt x="9469" y="11437"/>
                  <a:pt x="9469" y="11437"/>
                  <a:pt x="9469" y="11468"/>
                </a:cubicBezTo>
                <a:cubicBezTo>
                  <a:pt x="9469" y="11500"/>
                  <a:pt x="9437" y="11531"/>
                  <a:pt x="9406" y="11562"/>
                </a:cubicBezTo>
                <a:cubicBezTo>
                  <a:pt x="9375" y="11562"/>
                  <a:pt x="9375" y="11562"/>
                  <a:pt x="9344" y="11562"/>
                </a:cubicBezTo>
                <a:cubicBezTo>
                  <a:pt x="9312" y="11562"/>
                  <a:pt x="9281" y="11562"/>
                  <a:pt x="9281" y="11562"/>
                </a:cubicBezTo>
                <a:cubicBezTo>
                  <a:pt x="9281" y="11562"/>
                  <a:pt x="9250" y="11562"/>
                  <a:pt x="9250" y="11562"/>
                </a:cubicBezTo>
                <a:cubicBezTo>
                  <a:pt x="9219" y="11562"/>
                  <a:pt x="9187" y="11562"/>
                  <a:pt x="9187" y="11593"/>
                </a:cubicBezTo>
                <a:cubicBezTo>
                  <a:pt x="9250" y="11718"/>
                  <a:pt x="9156" y="11718"/>
                  <a:pt x="9062" y="11718"/>
                </a:cubicBezTo>
                <a:cubicBezTo>
                  <a:pt x="9031" y="11718"/>
                  <a:pt x="9000" y="11718"/>
                  <a:pt x="9000" y="11718"/>
                </a:cubicBezTo>
                <a:cubicBezTo>
                  <a:pt x="8969" y="11718"/>
                  <a:pt x="8969" y="11718"/>
                  <a:pt x="8969" y="11718"/>
                </a:cubicBezTo>
                <a:cubicBezTo>
                  <a:pt x="8937" y="11718"/>
                  <a:pt x="8906" y="11718"/>
                  <a:pt x="8875" y="11718"/>
                </a:cubicBezTo>
                <a:cubicBezTo>
                  <a:pt x="8875" y="11718"/>
                  <a:pt x="8844" y="11718"/>
                  <a:pt x="8812" y="11718"/>
                </a:cubicBezTo>
                <a:cubicBezTo>
                  <a:pt x="8750" y="11718"/>
                  <a:pt x="8656" y="11718"/>
                  <a:pt x="8625" y="11656"/>
                </a:cubicBezTo>
                <a:cubicBezTo>
                  <a:pt x="8594" y="11593"/>
                  <a:pt x="8719" y="11562"/>
                  <a:pt x="8812" y="11531"/>
                </a:cubicBezTo>
                <a:cubicBezTo>
                  <a:pt x="8812" y="11531"/>
                  <a:pt x="8781" y="11531"/>
                  <a:pt x="8781" y="11531"/>
                </a:cubicBezTo>
                <a:cubicBezTo>
                  <a:pt x="8750" y="11531"/>
                  <a:pt x="8719" y="11531"/>
                  <a:pt x="8687" y="11531"/>
                </a:cubicBezTo>
                <a:cubicBezTo>
                  <a:pt x="8625" y="11531"/>
                  <a:pt x="8562" y="11531"/>
                  <a:pt x="8500" y="11531"/>
                </a:cubicBezTo>
                <a:cubicBezTo>
                  <a:pt x="8500" y="11531"/>
                  <a:pt x="8469" y="11531"/>
                  <a:pt x="8469" y="11531"/>
                </a:cubicBezTo>
                <a:cubicBezTo>
                  <a:pt x="8437" y="11531"/>
                  <a:pt x="8406" y="11500"/>
                  <a:pt x="8375" y="11500"/>
                </a:cubicBezTo>
                <a:cubicBezTo>
                  <a:pt x="8375" y="11468"/>
                  <a:pt x="8375" y="11437"/>
                  <a:pt x="8406" y="11437"/>
                </a:cubicBezTo>
                <a:cubicBezTo>
                  <a:pt x="8406" y="11437"/>
                  <a:pt x="8437" y="11406"/>
                  <a:pt x="8469" y="11406"/>
                </a:cubicBezTo>
                <a:cubicBezTo>
                  <a:pt x="8469" y="11406"/>
                  <a:pt x="8469" y="11406"/>
                  <a:pt x="8469" y="11406"/>
                </a:cubicBezTo>
                <a:cubicBezTo>
                  <a:pt x="8531" y="11406"/>
                  <a:pt x="8562" y="11375"/>
                  <a:pt x="8594" y="11375"/>
                </a:cubicBezTo>
                <a:cubicBezTo>
                  <a:pt x="8625" y="11375"/>
                  <a:pt x="8625" y="11375"/>
                  <a:pt x="8656" y="11375"/>
                </a:cubicBezTo>
                <a:cubicBezTo>
                  <a:pt x="8687" y="11406"/>
                  <a:pt x="8719" y="11406"/>
                  <a:pt x="8750" y="11406"/>
                </a:cubicBezTo>
                <a:cubicBezTo>
                  <a:pt x="8750" y="11406"/>
                  <a:pt x="8750" y="11406"/>
                  <a:pt x="8750" y="11406"/>
                </a:cubicBezTo>
                <a:cubicBezTo>
                  <a:pt x="8781" y="11406"/>
                  <a:pt x="8812" y="11375"/>
                  <a:pt x="8812" y="11375"/>
                </a:cubicBezTo>
                <a:cubicBezTo>
                  <a:pt x="8812" y="11375"/>
                  <a:pt x="8812" y="11375"/>
                  <a:pt x="8812" y="11343"/>
                </a:cubicBezTo>
                <a:cubicBezTo>
                  <a:pt x="8844" y="11343"/>
                  <a:pt x="8844" y="11343"/>
                  <a:pt x="8844" y="11343"/>
                </a:cubicBezTo>
                <a:cubicBezTo>
                  <a:pt x="8875" y="11281"/>
                  <a:pt x="8781" y="11281"/>
                  <a:pt x="8750" y="11250"/>
                </a:cubicBezTo>
                <a:cubicBezTo>
                  <a:pt x="8719" y="11250"/>
                  <a:pt x="8719" y="11250"/>
                  <a:pt x="8719" y="11250"/>
                </a:cubicBezTo>
                <a:cubicBezTo>
                  <a:pt x="8687" y="11250"/>
                  <a:pt x="8687" y="11218"/>
                  <a:pt x="8687" y="11218"/>
                </a:cubicBezTo>
                <a:cubicBezTo>
                  <a:pt x="8750" y="11218"/>
                  <a:pt x="8781" y="11218"/>
                  <a:pt x="8812" y="11218"/>
                </a:cubicBezTo>
                <a:cubicBezTo>
                  <a:pt x="8844" y="11218"/>
                  <a:pt x="8906" y="11218"/>
                  <a:pt x="8937" y="11218"/>
                </a:cubicBezTo>
                <a:cubicBezTo>
                  <a:pt x="8969" y="11218"/>
                  <a:pt x="8969" y="11187"/>
                  <a:pt x="8969" y="11187"/>
                </a:cubicBezTo>
                <a:cubicBezTo>
                  <a:pt x="8969" y="11187"/>
                  <a:pt x="9000" y="11187"/>
                  <a:pt x="9000" y="11187"/>
                </a:cubicBezTo>
                <a:cubicBezTo>
                  <a:pt x="9000" y="11156"/>
                  <a:pt x="9000" y="11156"/>
                  <a:pt x="9000" y="11156"/>
                </a:cubicBezTo>
                <a:cubicBezTo>
                  <a:pt x="9000" y="11156"/>
                  <a:pt x="8969" y="11125"/>
                  <a:pt x="8969" y="11125"/>
                </a:cubicBezTo>
                <a:cubicBezTo>
                  <a:pt x="8937" y="11125"/>
                  <a:pt x="8906" y="11125"/>
                  <a:pt x="8875" y="11125"/>
                </a:cubicBezTo>
                <a:cubicBezTo>
                  <a:pt x="8844" y="11125"/>
                  <a:pt x="8844" y="11093"/>
                  <a:pt x="8844" y="11093"/>
                </a:cubicBezTo>
                <a:cubicBezTo>
                  <a:pt x="8812" y="11093"/>
                  <a:pt x="8812" y="11093"/>
                  <a:pt x="8781" y="11093"/>
                </a:cubicBezTo>
                <a:cubicBezTo>
                  <a:pt x="8719" y="11062"/>
                  <a:pt x="8656" y="11062"/>
                  <a:pt x="8594" y="11062"/>
                </a:cubicBezTo>
                <a:cubicBezTo>
                  <a:pt x="8594" y="11062"/>
                  <a:pt x="8562" y="11062"/>
                  <a:pt x="8562" y="11062"/>
                </a:cubicBezTo>
                <a:cubicBezTo>
                  <a:pt x="8562" y="11062"/>
                  <a:pt x="8531" y="11062"/>
                  <a:pt x="8531" y="11062"/>
                </a:cubicBezTo>
                <a:cubicBezTo>
                  <a:pt x="8531" y="11062"/>
                  <a:pt x="8500" y="11062"/>
                  <a:pt x="8500" y="11062"/>
                </a:cubicBezTo>
                <a:cubicBezTo>
                  <a:pt x="8469" y="11062"/>
                  <a:pt x="8469" y="11062"/>
                  <a:pt x="8469" y="11062"/>
                </a:cubicBezTo>
                <a:cubicBezTo>
                  <a:pt x="8437" y="11062"/>
                  <a:pt x="8406" y="11062"/>
                  <a:pt x="8406" y="11062"/>
                </a:cubicBezTo>
                <a:cubicBezTo>
                  <a:pt x="8344" y="11062"/>
                  <a:pt x="8312" y="11062"/>
                  <a:pt x="8281" y="11031"/>
                </a:cubicBezTo>
                <a:cubicBezTo>
                  <a:pt x="8250" y="11000"/>
                  <a:pt x="8219" y="10968"/>
                  <a:pt x="8250" y="10906"/>
                </a:cubicBezTo>
                <a:cubicBezTo>
                  <a:pt x="8250" y="10906"/>
                  <a:pt x="8281" y="10906"/>
                  <a:pt x="8281" y="10906"/>
                </a:cubicBezTo>
                <a:cubicBezTo>
                  <a:pt x="8312" y="10875"/>
                  <a:pt x="8344" y="10875"/>
                  <a:pt x="8375" y="10875"/>
                </a:cubicBezTo>
                <a:cubicBezTo>
                  <a:pt x="8375" y="10875"/>
                  <a:pt x="8375" y="10875"/>
                  <a:pt x="8406" y="10875"/>
                </a:cubicBezTo>
                <a:cubicBezTo>
                  <a:pt x="8437" y="10875"/>
                  <a:pt x="8469" y="10906"/>
                  <a:pt x="8500" y="10906"/>
                </a:cubicBezTo>
                <a:cubicBezTo>
                  <a:pt x="8500" y="10906"/>
                  <a:pt x="8531" y="10906"/>
                  <a:pt x="8531" y="10906"/>
                </a:cubicBezTo>
                <a:cubicBezTo>
                  <a:pt x="8562" y="10906"/>
                  <a:pt x="8562" y="10906"/>
                  <a:pt x="8594" y="10906"/>
                </a:cubicBezTo>
                <a:cubicBezTo>
                  <a:pt x="8594" y="10906"/>
                  <a:pt x="8594" y="10906"/>
                  <a:pt x="8625" y="10906"/>
                </a:cubicBezTo>
                <a:cubicBezTo>
                  <a:pt x="8625" y="10906"/>
                  <a:pt x="8625" y="10875"/>
                  <a:pt x="8625" y="10875"/>
                </a:cubicBezTo>
                <a:cubicBezTo>
                  <a:pt x="8625" y="10875"/>
                  <a:pt x="8625" y="10875"/>
                  <a:pt x="8625" y="10875"/>
                </a:cubicBezTo>
                <a:cubicBezTo>
                  <a:pt x="8656" y="10875"/>
                  <a:pt x="8656" y="10875"/>
                  <a:pt x="8656" y="10875"/>
                </a:cubicBezTo>
                <a:cubicBezTo>
                  <a:pt x="8656" y="10875"/>
                  <a:pt x="8656" y="10875"/>
                  <a:pt x="8656" y="10875"/>
                </a:cubicBezTo>
                <a:cubicBezTo>
                  <a:pt x="8656" y="10875"/>
                  <a:pt x="8656" y="10875"/>
                  <a:pt x="8656" y="10875"/>
                </a:cubicBezTo>
                <a:cubicBezTo>
                  <a:pt x="8656" y="10875"/>
                  <a:pt x="8687" y="10875"/>
                  <a:pt x="8687" y="10875"/>
                </a:cubicBezTo>
                <a:cubicBezTo>
                  <a:pt x="8687" y="10875"/>
                  <a:pt x="8687" y="10875"/>
                  <a:pt x="8687" y="10875"/>
                </a:cubicBezTo>
                <a:cubicBezTo>
                  <a:pt x="8719" y="10875"/>
                  <a:pt x="8750" y="10875"/>
                  <a:pt x="8781" y="10875"/>
                </a:cubicBezTo>
                <a:cubicBezTo>
                  <a:pt x="8781" y="10875"/>
                  <a:pt x="8781" y="10875"/>
                  <a:pt x="8812" y="10875"/>
                </a:cubicBezTo>
                <a:cubicBezTo>
                  <a:pt x="8844" y="10875"/>
                  <a:pt x="8844" y="10875"/>
                  <a:pt x="8875" y="10875"/>
                </a:cubicBezTo>
                <a:cubicBezTo>
                  <a:pt x="9000" y="10875"/>
                  <a:pt x="9094" y="10937"/>
                  <a:pt x="9250" y="10906"/>
                </a:cubicBezTo>
                <a:cubicBezTo>
                  <a:pt x="9250" y="10906"/>
                  <a:pt x="9250" y="10906"/>
                  <a:pt x="9219" y="10937"/>
                </a:cubicBezTo>
                <a:cubicBezTo>
                  <a:pt x="9219" y="10937"/>
                  <a:pt x="9219" y="10937"/>
                  <a:pt x="9219" y="10937"/>
                </a:cubicBezTo>
                <a:cubicBezTo>
                  <a:pt x="9187" y="10937"/>
                  <a:pt x="9156" y="10968"/>
                  <a:pt x="9156" y="10968"/>
                </a:cubicBezTo>
                <a:cubicBezTo>
                  <a:pt x="9125" y="10968"/>
                  <a:pt x="9094" y="11000"/>
                  <a:pt x="9062" y="11000"/>
                </a:cubicBezTo>
                <a:cubicBezTo>
                  <a:pt x="9062" y="11031"/>
                  <a:pt x="9062" y="11031"/>
                  <a:pt x="9062" y="11031"/>
                </a:cubicBezTo>
                <a:cubicBezTo>
                  <a:pt x="9094" y="11031"/>
                  <a:pt x="9125" y="11031"/>
                  <a:pt x="9156" y="11031"/>
                </a:cubicBezTo>
                <a:cubicBezTo>
                  <a:pt x="9187" y="11031"/>
                  <a:pt x="9187" y="11031"/>
                  <a:pt x="9219" y="11031"/>
                </a:cubicBezTo>
                <a:cubicBezTo>
                  <a:pt x="9281" y="11031"/>
                  <a:pt x="9375" y="11031"/>
                  <a:pt x="9437" y="11000"/>
                </a:cubicBezTo>
                <a:cubicBezTo>
                  <a:pt x="9500" y="11000"/>
                  <a:pt x="9562" y="10968"/>
                  <a:pt x="9625" y="10937"/>
                </a:cubicBezTo>
                <a:cubicBezTo>
                  <a:pt x="9656" y="10968"/>
                  <a:pt x="9656" y="10968"/>
                  <a:pt x="9656" y="10968"/>
                </a:cubicBezTo>
                <a:cubicBezTo>
                  <a:pt x="9656" y="11000"/>
                  <a:pt x="9625" y="11000"/>
                  <a:pt x="9625" y="11031"/>
                </a:cubicBezTo>
                <a:cubicBezTo>
                  <a:pt x="9594" y="11031"/>
                  <a:pt x="9594" y="11031"/>
                  <a:pt x="9594" y="11031"/>
                </a:cubicBezTo>
                <a:cubicBezTo>
                  <a:pt x="9594" y="11062"/>
                  <a:pt x="9594" y="11062"/>
                  <a:pt x="9594" y="11062"/>
                </a:cubicBezTo>
                <a:cubicBezTo>
                  <a:pt x="9594" y="11062"/>
                  <a:pt x="9562" y="11062"/>
                  <a:pt x="9562" y="11062"/>
                </a:cubicBezTo>
                <a:cubicBezTo>
                  <a:pt x="9531" y="11062"/>
                  <a:pt x="9500" y="11062"/>
                  <a:pt x="9500" y="11093"/>
                </a:cubicBezTo>
                <a:cubicBezTo>
                  <a:pt x="9500" y="11093"/>
                  <a:pt x="9500" y="11093"/>
                  <a:pt x="9469" y="11093"/>
                </a:cubicBezTo>
                <a:cubicBezTo>
                  <a:pt x="9437" y="11093"/>
                  <a:pt x="9375" y="11125"/>
                  <a:pt x="9344" y="11156"/>
                </a:cubicBezTo>
                <a:cubicBezTo>
                  <a:pt x="9312" y="11187"/>
                  <a:pt x="9312" y="11187"/>
                  <a:pt x="9312" y="11218"/>
                </a:cubicBezTo>
                <a:cubicBezTo>
                  <a:pt x="9312" y="11218"/>
                  <a:pt x="9312" y="11250"/>
                  <a:pt x="9312" y="11250"/>
                </a:cubicBezTo>
                <a:cubicBezTo>
                  <a:pt x="9312" y="11250"/>
                  <a:pt x="9312" y="11250"/>
                  <a:pt x="9312" y="11281"/>
                </a:cubicBezTo>
                <a:cubicBezTo>
                  <a:pt x="9312" y="11281"/>
                  <a:pt x="9344" y="11281"/>
                  <a:pt x="9344" y="11312"/>
                </a:cubicBezTo>
                <a:cubicBezTo>
                  <a:pt x="9375" y="11312"/>
                  <a:pt x="9375" y="11312"/>
                  <a:pt x="9406" y="11312"/>
                </a:cubicBezTo>
                <a:cubicBezTo>
                  <a:pt x="9469" y="11343"/>
                  <a:pt x="9531" y="11312"/>
                  <a:pt x="9594" y="11312"/>
                </a:cubicBezTo>
                <a:cubicBezTo>
                  <a:pt x="9625" y="11281"/>
                  <a:pt x="9625" y="11281"/>
                  <a:pt x="9656" y="11281"/>
                </a:cubicBezTo>
                <a:cubicBezTo>
                  <a:pt x="9750" y="11187"/>
                  <a:pt x="9719" y="11125"/>
                  <a:pt x="9719" y="11031"/>
                </a:cubicBezTo>
                <a:cubicBezTo>
                  <a:pt x="9750" y="11031"/>
                  <a:pt x="9750" y="11031"/>
                  <a:pt x="9781" y="11031"/>
                </a:cubicBezTo>
                <a:cubicBezTo>
                  <a:pt x="9781" y="11031"/>
                  <a:pt x="9812" y="11031"/>
                  <a:pt x="9812" y="11000"/>
                </a:cubicBezTo>
                <a:cubicBezTo>
                  <a:pt x="9812" y="11000"/>
                  <a:pt x="9844" y="11000"/>
                  <a:pt x="9844" y="10968"/>
                </a:cubicBezTo>
                <a:cubicBezTo>
                  <a:pt x="9844" y="10968"/>
                  <a:pt x="9812" y="10937"/>
                  <a:pt x="9812" y="10937"/>
                </a:cubicBezTo>
                <a:cubicBezTo>
                  <a:pt x="9812" y="10906"/>
                  <a:pt x="9812" y="10875"/>
                  <a:pt x="9812" y="10875"/>
                </a:cubicBezTo>
                <a:cubicBezTo>
                  <a:pt x="9812" y="10875"/>
                  <a:pt x="9812" y="10875"/>
                  <a:pt x="9844" y="10875"/>
                </a:cubicBezTo>
                <a:cubicBezTo>
                  <a:pt x="9844" y="10875"/>
                  <a:pt x="9875" y="10843"/>
                  <a:pt x="9875" y="10843"/>
                </a:cubicBezTo>
                <a:cubicBezTo>
                  <a:pt x="9906" y="10843"/>
                  <a:pt x="9937" y="10843"/>
                  <a:pt x="9969" y="10843"/>
                </a:cubicBezTo>
                <a:cubicBezTo>
                  <a:pt x="9969" y="10843"/>
                  <a:pt x="9969" y="10843"/>
                  <a:pt x="9969" y="10843"/>
                </a:cubicBezTo>
                <a:cubicBezTo>
                  <a:pt x="9969" y="10875"/>
                  <a:pt x="9969" y="10875"/>
                  <a:pt x="10000" y="10875"/>
                </a:cubicBezTo>
                <a:cubicBezTo>
                  <a:pt x="10000" y="10906"/>
                  <a:pt x="10000" y="10906"/>
                  <a:pt x="10062" y="10906"/>
                </a:cubicBezTo>
                <a:cubicBezTo>
                  <a:pt x="10125" y="10906"/>
                  <a:pt x="10187" y="10906"/>
                  <a:pt x="10250" y="10906"/>
                </a:cubicBezTo>
                <a:cubicBezTo>
                  <a:pt x="10312" y="10906"/>
                  <a:pt x="10375" y="10875"/>
                  <a:pt x="10437" y="10875"/>
                </a:cubicBezTo>
                <a:cubicBezTo>
                  <a:pt x="10531" y="10875"/>
                  <a:pt x="10625" y="10843"/>
                  <a:pt x="10719" y="10875"/>
                </a:cubicBezTo>
                <a:cubicBezTo>
                  <a:pt x="10719" y="10875"/>
                  <a:pt x="10750" y="10875"/>
                  <a:pt x="10750" y="10875"/>
                </a:cubicBezTo>
                <a:cubicBezTo>
                  <a:pt x="10750" y="10906"/>
                  <a:pt x="10781" y="10906"/>
                  <a:pt x="10781" y="10937"/>
                </a:cubicBezTo>
                <a:cubicBezTo>
                  <a:pt x="10781" y="10937"/>
                  <a:pt x="10781" y="10968"/>
                  <a:pt x="10781" y="11000"/>
                </a:cubicBezTo>
                <a:cubicBezTo>
                  <a:pt x="10781" y="11031"/>
                  <a:pt x="10812" y="11031"/>
                  <a:pt x="10812" y="11062"/>
                </a:cubicBezTo>
                <a:cubicBezTo>
                  <a:pt x="10844" y="11062"/>
                  <a:pt x="10844" y="11062"/>
                  <a:pt x="10844" y="11062"/>
                </a:cubicBezTo>
                <a:cubicBezTo>
                  <a:pt x="10906" y="11156"/>
                  <a:pt x="10875" y="11218"/>
                  <a:pt x="10750" y="11250"/>
                </a:cubicBezTo>
                <a:cubicBezTo>
                  <a:pt x="10719" y="11250"/>
                  <a:pt x="10719" y="11250"/>
                  <a:pt x="10687" y="11250"/>
                </a:cubicBezTo>
                <a:cubicBezTo>
                  <a:pt x="10656" y="11250"/>
                  <a:pt x="10625" y="11250"/>
                  <a:pt x="10594" y="11250"/>
                </a:cubicBezTo>
                <a:cubicBezTo>
                  <a:pt x="10562" y="11250"/>
                  <a:pt x="10562" y="11250"/>
                  <a:pt x="10531" y="11250"/>
                </a:cubicBezTo>
                <a:cubicBezTo>
                  <a:pt x="10469" y="11218"/>
                  <a:pt x="10406" y="11218"/>
                  <a:pt x="10344" y="11250"/>
                </a:cubicBezTo>
                <a:cubicBezTo>
                  <a:pt x="10219" y="11250"/>
                  <a:pt x="10187" y="11343"/>
                  <a:pt x="10250" y="11468"/>
                </a:cubicBezTo>
                <a:cubicBezTo>
                  <a:pt x="10250" y="11500"/>
                  <a:pt x="10250" y="11500"/>
                  <a:pt x="10250" y="11531"/>
                </a:cubicBezTo>
                <a:cubicBezTo>
                  <a:pt x="10281" y="11531"/>
                  <a:pt x="10281" y="11562"/>
                  <a:pt x="10281" y="11562"/>
                </a:cubicBezTo>
                <a:cubicBezTo>
                  <a:pt x="10312" y="11562"/>
                  <a:pt x="10312" y="11562"/>
                  <a:pt x="10312" y="11562"/>
                </a:cubicBezTo>
                <a:cubicBezTo>
                  <a:pt x="10312" y="11593"/>
                  <a:pt x="10344" y="11593"/>
                  <a:pt x="10344" y="11593"/>
                </a:cubicBezTo>
                <a:cubicBezTo>
                  <a:pt x="10375" y="11593"/>
                  <a:pt x="10437" y="11593"/>
                  <a:pt x="10531" y="11562"/>
                </a:cubicBezTo>
                <a:cubicBezTo>
                  <a:pt x="10594" y="11562"/>
                  <a:pt x="10687" y="11531"/>
                  <a:pt x="10750" y="11531"/>
                </a:cubicBezTo>
                <a:cubicBezTo>
                  <a:pt x="10875" y="11562"/>
                  <a:pt x="10969" y="11500"/>
                  <a:pt x="11062" y="11468"/>
                </a:cubicBezTo>
                <a:cubicBezTo>
                  <a:pt x="11125" y="11437"/>
                  <a:pt x="11187" y="11406"/>
                  <a:pt x="11250" y="11406"/>
                </a:cubicBezTo>
                <a:cubicBezTo>
                  <a:pt x="11281" y="11406"/>
                  <a:pt x="11312" y="11406"/>
                  <a:pt x="11344" y="11406"/>
                </a:cubicBezTo>
                <a:cubicBezTo>
                  <a:pt x="11344" y="11406"/>
                  <a:pt x="11375" y="11406"/>
                  <a:pt x="11375" y="11406"/>
                </a:cubicBezTo>
                <a:cubicBezTo>
                  <a:pt x="11375" y="11406"/>
                  <a:pt x="11375" y="11406"/>
                  <a:pt x="11375" y="11406"/>
                </a:cubicBezTo>
                <a:cubicBezTo>
                  <a:pt x="11437" y="11406"/>
                  <a:pt x="11469" y="11375"/>
                  <a:pt x="11500" y="11406"/>
                </a:cubicBezTo>
                <a:cubicBezTo>
                  <a:pt x="11531" y="11468"/>
                  <a:pt x="11562" y="11531"/>
                  <a:pt x="11531" y="11593"/>
                </a:cubicBezTo>
                <a:cubicBezTo>
                  <a:pt x="11531" y="11593"/>
                  <a:pt x="11531" y="11593"/>
                  <a:pt x="11531" y="11593"/>
                </a:cubicBezTo>
                <a:cubicBezTo>
                  <a:pt x="11500" y="11593"/>
                  <a:pt x="11500" y="11593"/>
                  <a:pt x="11469" y="11593"/>
                </a:cubicBezTo>
                <a:cubicBezTo>
                  <a:pt x="11437" y="11625"/>
                  <a:pt x="11375" y="11593"/>
                  <a:pt x="11312" y="11593"/>
                </a:cubicBezTo>
                <a:cubicBezTo>
                  <a:pt x="11219" y="11562"/>
                  <a:pt x="11094" y="11562"/>
                  <a:pt x="11000" y="11562"/>
                </a:cubicBezTo>
                <a:cubicBezTo>
                  <a:pt x="10969" y="11593"/>
                  <a:pt x="10937" y="11593"/>
                  <a:pt x="10906" y="11625"/>
                </a:cubicBezTo>
                <a:cubicBezTo>
                  <a:pt x="10875" y="11656"/>
                  <a:pt x="10844" y="11687"/>
                  <a:pt x="10812" y="11718"/>
                </a:cubicBezTo>
                <a:cubicBezTo>
                  <a:pt x="10781" y="11750"/>
                  <a:pt x="10781" y="11781"/>
                  <a:pt x="10812" y="11812"/>
                </a:cubicBezTo>
                <a:cubicBezTo>
                  <a:pt x="10844" y="11875"/>
                  <a:pt x="10875" y="11906"/>
                  <a:pt x="10937" y="11906"/>
                </a:cubicBezTo>
                <a:cubicBezTo>
                  <a:pt x="10969" y="11906"/>
                  <a:pt x="11000" y="11906"/>
                  <a:pt x="11000" y="11906"/>
                </a:cubicBezTo>
                <a:cubicBezTo>
                  <a:pt x="11031" y="11906"/>
                  <a:pt x="11031" y="11906"/>
                  <a:pt x="11062" y="11906"/>
                </a:cubicBezTo>
                <a:cubicBezTo>
                  <a:pt x="11125" y="11875"/>
                  <a:pt x="11156" y="11875"/>
                  <a:pt x="11219" y="11843"/>
                </a:cubicBezTo>
                <a:cubicBezTo>
                  <a:pt x="11281" y="11843"/>
                  <a:pt x="11312" y="11812"/>
                  <a:pt x="11375" y="11750"/>
                </a:cubicBezTo>
                <a:cubicBezTo>
                  <a:pt x="11375" y="11718"/>
                  <a:pt x="11406" y="11687"/>
                  <a:pt x="11437" y="11687"/>
                </a:cubicBezTo>
                <a:cubicBezTo>
                  <a:pt x="11500" y="11656"/>
                  <a:pt x="11562" y="11656"/>
                  <a:pt x="11656" y="11687"/>
                </a:cubicBezTo>
                <a:cubicBezTo>
                  <a:pt x="11656" y="11718"/>
                  <a:pt x="11625" y="11718"/>
                  <a:pt x="11625" y="11718"/>
                </a:cubicBezTo>
                <a:cubicBezTo>
                  <a:pt x="11594" y="11750"/>
                  <a:pt x="11531" y="11750"/>
                  <a:pt x="11500" y="11781"/>
                </a:cubicBezTo>
                <a:cubicBezTo>
                  <a:pt x="11500" y="11781"/>
                  <a:pt x="11500" y="11812"/>
                  <a:pt x="11500" y="11812"/>
                </a:cubicBezTo>
                <a:cubicBezTo>
                  <a:pt x="11500" y="11812"/>
                  <a:pt x="11500" y="11843"/>
                  <a:pt x="11531" y="11843"/>
                </a:cubicBezTo>
                <a:cubicBezTo>
                  <a:pt x="11531" y="11843"/>
                  <a:pt x="11531" y="11843"/>
                  <a:pt x="11531" y="11843"/>
                </a:cubicBezTo>
                <a:cubicBezTo>
                  <a:pt x="11531" y="11843"/>
                  <a:pt x="11531" y="11843"/>
                  <a:pt x="11531" y="11812"/>
                </a:cubicBezTo>
                <a:cubicBezTo>
                  <a:pt x="11594" y="11812"/>
                  <a:pt x="11656" y="11781"/>
                  <a:pt x="11719" y="11781"/>
                </a:cubicBezTo>
                <a:cubicBezTo>
                  <a:pt x="11812" y="11781"/>
                  <a:pt x="11906" y="11750"/>
                  <a:pt x="11969" y="11687"/>
                </a:cubicBezTo>
                <a:cubicBezTo>
                  <a:pt x="12000" y="11687"/>
                  <a:pt x="12000" y="11656"/>
                  <a:pt x="12031" y="11656"/>
                </a:cubicBezTo>
                <a:cubicBezTo>
                  <a:pt x="12062" y="11656"/>
                  <a:pt x="12125" y="11656"/>
                  <a:pt x="12187" y="11625"/>
                </a:cubicBezTo>
                <a:cubicBezTo>
                  <a:pt x="12219" y="11625"/>
                  <a:pt x="12219" y="11656"/>
                  <a:pt x="12250" y="11656"/>
                </a:cubicBezTo>
                <a:cubicBezTo>
                  <a:pt x="12250" y="11656"/>
                  <a:pt x="12250" y="11656"/>
                  <a:pt x="12250" y="11656"/>
                </a:cubicBezTo>
                <a:cubicBezTo>
                  <a:pt x="12281" y="11656"/>
                  <a:pt x="12281" y="11656"/>
                  <a:pt x="12281" y="11625"/>
                </a:cubicBezTo>
                <a:cubicBezTo>
                  <a:pt x="12281" y="11625"/>
                  <a:pt x="12281" y="11625"/>
                  <a:pt x="12281" y="11625"/>
                </a:cubicBezTo>
                <a:cubicBezTo>
                  <a:pt x="12281" y="11531"/>
                  <a:pt x="12312" y="11500"/>
                  <a:pt x="12375" y="11500"/>
                </a:cubicBezTo>
                <a:cubicBezTo>
                  <a:pt x="12375" y="11500"/>
                  <a:pt x="12375" y="11500"/>
                  <a:pt x="12375" y="11500"/>
                </a:cubicBezTo>
                <a:cubicBezTo>
                  <a:pt x="12406" y="11500"/>
                  <a:pt x="12406" y="11500"/>
                  <a:pt x="12406" y="11500"/>
                </a:cubicBezTo>
                <a:cubicBezTo>
                  <a:pt x="12437" y="11500"/>
                  <a:pt x="12437" y="11500"/>
                  <a:pt x="12469" y="11500"/>
                </a:cubicBezTo>
                <a:cubicBezTo>
                  <a:pt x="12500" y="11500"/>
                  <a:pt x="12531" y="11531"/>
                  <a:pt x="12562" y="11531"/>
                </a:cubicBezTo>
                <a:cubicBezTo>
                  <a:pt x="12594" y="11531"/>
                  <a:pt x="12594" y="11531"/>
                  <a:pt x="12594" y="11531"/>
                </a:cubicBezTo>
                <a:cubicBezTo>
                  <a:pt x="12594" y="11500"/>
                  <a:pt x="12594" y="11500"/>
                  <a:pt x="12594" y="11500"/>
                </a:cubicBezTo>
                <a:cubicBezTo>
                  <a:pt x="12562" y="11500"/>
                  <a:pt x="12562" y="11468"/>
                  <a:pt x="12531" y="11468"/>
                </a:cubicBezTo>
                <a:cubicBezTo>
                  <a:pt x="12531" y="11468"/>
                  <a:pt x="12500" y="11468"/>
                  <a:pt x="12469" y="11468"/>
                </a:cubicBezTo>
                <a:cubicBezTo>
                  <a:pt x="12437" y="11468"/>
                  <a:pt x="12406" y="11468"/>
                  <a:pt x="12406" y="11468"/>
                </a:cubicBezTo>
                <a:cubicBezTo>
                  <a:pt x="12375" y="11468"/>
                  <a:pt x="12375" y="11468"/>
                  <a:pt x="12375" y="11468"/>
                </a:cubicBezTo>
                <a:cubicBezTo>
                  <a:pt x="12344" y="11468"/>
                  <a:pt x="12344" y="11468"/>
                  <a:pt x="12344" y="11437"/>
                </a:cubicBezTo>
                <a:cubicBezTo>
                  <a:pt x="12344" y="11437"/>
                  <a:pt x="12344" y="11437"/>
                  <a:pt x="12344" y="11437"/>
                </a:cubicBezTo>
                <a:cubicBezTo>
                  <a:pt x="12344" y="11406"/>
                  <a:pt x="12344" y="11406"/>
                  <a:pt x="12375" y="11406"/>
                </a:cubicBezTo>
                <a:cubicBezTo>
                  <a:pt x="12437" y="11406"/>
                  <a:pt x="12500" y="11375"/>
                  <a:pt x="12594" y="11375"/>
                </a:cubicBezTo>
                <a:cubicBezTo>
                  <a:pt x="12625" y="11375"/>
                  <a:pt x="12656" y="11375"/>
                  <a:pt x="12687" y="11375"/>
                </a:cubicBezTo>
                <a:cubicBezTo>
                  <a:pt x="12750" y="11406"/>
                  <a:pt x="12844" y="11406"/>
                  <a:pt x="12906" y="11406"/>
                </a:cubicBezTo>
                <a:cubicBezTo>
                  <a:pt x="12937" y="11406"/>
                  <a:pt x="12937" y="11406"/>
                  <a:pt x="12969" y="11406"/>
                </a:cubicBezTo>
                <a:cubicBezTo>
                  <a:pt x="13031" y="11406"/>
                  <a:pt x="13094" y="11406"/>
                  <a:pt x="13156" y="11406"/>
                </a:cubicBezTo>
                <a:cubicBezTo>
                  <a:pt x="13156" y="11406"/>
                  <a:pt x="13187" y="11406"/>
                  <a:pt x="13187" y="11406"/>
                </a:cubicBezTo>
                <a:cubicBezTo>
                  <a:pt x="13187" y="11406"/>
                  <a:pt x="13187" y="11406"/>
                  <a:pt x="13219" y="11375"/>
                </a:cubicBezTo>
                <a:cubicBezTo>
                  <a:pt x="13219" y="11375"/>
                  <a:pt x="13219" y="11375"/>
                  <a:pt x="13250" y="11375"/>
                </a:cubicBezTo>
                <a:cubicBezTo>
                  <a:pt x="13250" y="11375"/>
                  <a:pt x="13281" y="11406"/>
                  <a:pt x="13281" y="11406"/>
                </a:cubicBezTo>
                <a:cubicBezTo>
                  <a:pt x="13281" y="11406"/>
                  <a:pt x="13281" y="11437"/>
                  <a:pt x="13281" y="11437"/>
                </a:cubicBezTo>
                <a:cubicBezTo>
                  <a:pt x="13281" y="11468"/>
                  <a:pt x="13281" y="11468"/>
                  <a:pt x="13250" y="11500"/>
                </a:cubicBezTo>
                <a:cubicBezTo>
                  <a:pt x="13250" y="11500"/>
                  <a:pt x="13250" y="11500"/>
                  <a:pt x="13250" y="11500"/>
                </a:cubicBezTo>
                <a:cubicBezTo>
                  <a:pt x="13125" y="11531"/>
                  <a:pt x="13094" y="11687"/>
                  <a:pt x="12875" y="11656"/>
                </a:cubicBezTo>
                <a:cubicBezTo>
                  <a:pt x="12875" y="11656"/>
                  <a:pt x="12875" y="11656"/>
                  <a:pt x="12844" y="11656"/>
                </a:cubicBezTo>
                <a:cubicBezTo>
                  <a:pt x="12812" y="11656"/>
                  <a:pt x="12750" y="11687"/>
                  <a:pt x="12687" y="11718"/>
                </a:cubicBezTo>
                <a:cubicBezTo>
                  <a:pt x="12687" y="11718"/>
                  <a:pt x="12656" y="11750"/>
                  <a:pt x="12656" y="11750"/>
                </a:cubicBezTo>
                <a:cubicBezTo>
                  <a:pt x="12656" y="11781"/>
                  <a:pt x="12625" y="11781"/>
                  <a:pt x="12625" y="11812"/>
                </a:cubicBezTo>
                <a:cubicBezTo>
                  <a:pt x="12625" y="11812"/>
                  <a:pt x="12625" y="11812"/>
                  <a:pt x="12625" y="11812"/>
                </a:cubicBezTo>
                <a:cubicBezTo>
                  <a:pt x="12625" y="11843"/>
                  <a:pt x="12625" y="11843"/>
                  <a:pt x="12625" y="11843"/>
                </a:cubicBezTo>
                <a:cubicBezTo>
                  <a:pt x="12625" y="11875"/>
                  <a:pt x="12656" y="11875"/>
                  <a:pt x="12687" y="11906"/>
                </a:cubicBezTo>
                <a:cubicBezTo>
                  <a:pt x="12687" y="11906"/>
                  <a:pt x="12719" y="11937"/>
                  <a:pt x="12750" y="11937"/>
                </a:cubicBezTo>
                <a:cubicBezTo>
                  <a:pt x="12781" y="11937"/>
                  <a:pt x="12844" y="11937"/>
                  <a:pt x="12875" y="11937"/>
                </a:cubicBezTo>
                <a:cubicBezTo>
                  <a:pt x="12906" y="11968"/>
                  <a:pt x="12937" y="11937"/>
                  <a:pt x="12969" y="11937"/>
                </a:cubicBezTo>
                <a:cubicBezTo>
                  <a:pt x="13031" y="11937"/>
                  <a:pt x="13062" y="11906"/>
                  <a:pt x="13062" y="11906"/>
                </a:cubicBezTo>
                <a:cubicBezTo>
                  <a:pt x="13094" y="11875"/>
                  <a:pt x="13094" y="11875"/>
                  <a:pt x="13125" y="11843"/>
                </a:cubicBezTo>
                <a:cubicBezTo>
                  <a:pt x="13125" y="11812"/>
                  <a:pt x="13156" y="11812"/>
                  <a:pt x="13156" y="11781"/>
                </a:cubicBezTo>
                <a:cubicBezTo>
                  <a:pt x="13156" y="11750"/>
                  <a:pt x="13156" y="11750"/>
                  <a:pt x="13156" y="11750"/>
                </a:cubicBezTo>
                <a:cubicBezTo>
                  <a:pt x="13156" y="11750"/>
                  <a:pt x="13156" y="11750"/>
                  <a:pt x="13156" y="11750"/>
                </a:cubicBezTo>
                <a:cubicBezTo>
                  <a:pt x="13156" y="11750"/>
                  <a:pt x="13156" y="11750"/>
                  <a:pt x="13125" y="11750"/>
                </a:cubicBezTo>
                <a:cubicBezTo>
                  <a:pt x="13125" y="11718"/>
                  <a:pt x="13125" y="11718"/>
                  <a:pt x="13094" y="11718"/>
                </a:cubicBezTo>
                <a:cubicBezTo>
                  <a:pt x="13094" y="11718"/>
                  <a:pt x="13062" y="11718"/>
                  <a:pt x="13094" y="11687"/>
                </a:cubicBezTo>
                <a:cubicBezTo>
                  <a:pt x="13094" y="11687"/>
                  <a:pt x="13125" y="11687"/>
                  <a:pt x="13125" y="11687"/>
                </a:cubicBezTo>
                <a:cubicBezTo>
                  <a:pt x="13156" y="11687"/>
                  <a:pt x="13187" y="11687"/>
                  <a:pt x="13219" y="11687"/>
                </a:cubicBezTo>
                <a:cubicBezTo>
                  <a:pt x="13250" y="11687"/>
                  <a:pt x="13250" y="11687"/>
                  <a:pt x="13281" y="11656"/>
                </a:cubicBezTo>
                <a:cubicBezTo>
                  <a:pt x="13281" y="11625"/>
                  <a:pt x="13281" y="11625"/>
                  <a:pt x="13312" y="11593"/>
                </a:cubicBezTo>
                <a:cubicBezTo>
                  <a:pt x="13312" y="11593"/>
                  <a:pt x="13344" y="11562"/>
                  <a:pt x="13375" y="11562"/>
                </a:cubicBezTo>
                <a:cubicBezTo>
                  <a:pt x="13469" y="11500"/>
                  <a:pt x="13625" y="11500"/>
                  <a:pt x="13750" y="11437"/>
                </a:cubicBezTo>
                <a:cubicBezTo>
                  <a:pt x="13687" y="11437"/>
                  <a:pt x="13687" y="11406"/>
                  <a:pt x="13656" y="11406"/>
                </a:cubicBezTo>
                <a:cubicBezTo>
                  <a:pt x="13656" y="11406"/>
                  <a:pt x="13656" y="11375"/>
                  <a:pt x="13656" y="11375"/>
                </a:cubicBezTo>
                <a:cubicBezTo>
                  <a:pt x="13656" y="11343"/>
                  <a:pt x="13719" y="11312"/>
                  <a:pt x="13781" y="11312"/>
                </a:cubicBezTo>
                <a:cubicBezTo>
                  <a:pt x="13937" y="11312"/>
                  <a:pt x="14062" y="11250"/>
                  <a:pt x="14187" y="11218"/>
                </a:cubicBezTo>
                <a:cubicBezTo>
                  <a:pt x="14281" y="11218"/>
                  <a:pt x="14375" y="11187"/>
                  <a:pt x="14437" y="11218"/>
                </a:cubicBezTo>
                <a:cubicBezTo>
                  <a:pt x="14469" y="11218"/>
                  <a:pt x="14469" y="11250"/>
                  <a:pt x="14437" y="11281"/>
                </a:cubicBezTo>
                <a:cubicBezTo>
                  <a:pt x="14437" y="11281"/>
                  <a:pt x="14437" y="11281"/>
                  <a:pt x="14406" y="11281"/>
                </a:cubicBezTo>
                <a:cubicBezTo>
                  <a:pt x="14406" y="11281"/>
                  <a:pt x="14406" y="11312"/>
                  <a:pt x="14375" y="11312"/>
                </a:cubicBezTo>
                <a:cubicBezTo>
                  <a:pt x="14375" y="11312"/>
                  <a:pt x="14344" y="11312"/>
                  <a:pt x="14344" y="11312"/>
                </a:cubicBezTo>
                <a:cubicBezTo>
                  <a:pt x="14312" y="11343"/>
                  <a:pt x="14281" y="11375"/>
                  <a:pt x="14219" y="11375"/>
                </a:cubicBezTo>
                <a:cubicBezTo>
                  <a:pt x="14187" y="11375"/>
                  <a:pt x="14187" y="11375"/>
                  <a:pt x="14156" y="11343"/>
                </a:cubicBezTo>
                <a:cubicBezTo>
                  <a:pt x="14125" y="11343"/>
                  <a:pt x="14125" y="11343"/>
                  <a:pt x="14125" y="11343"/>
                </a:cubicBezTo>
                <a:cubicBezTo>
                  <a:pt x="14094" y="11343"/>
                  <a:pt x="14031" y="11343"/>
                  <a:pt x="14031" y="11375"/>
                </a:cubicBezTo>
                <a:cubicBezTo>
                  <a:pt x="14031" y="11375"/>
                  <a:pt x="14031" y="11375"/>
                  <a:pt x="14031" y="11375"/>
                </a:cubicBezTo>
                <a:cubicBezTo>
                  <a:pt x="14031" y="11406"/>
                  <a:pt x="14031" y="11406"/>
                  <a:pt x="14031" y="11406"/>
                </a:cubicBezTo>
                <a:cubicBezTo>
                  <a:pt x="14062" y="11406"/>
                  <a:pt x="14062" y="11437"/>
                  <a:pt x="14062" y="11437"/>
                </a:cubicBezTo>
                <a:cubicBezTo>
                  <a:pt x="14094" y="11437"/>
                  <a:pt x="14094" y="11437"/>
                  <a:pt x="14094" y="11437"/>
                </a:cubicBezTo>
                <a:cubicBezTo>
                  <a:pt x="14094" y="11437"/>
                  <a:pt x="14125" y="11437"/>
                  <a:pt x="14125" y="11406"/>
                </a:cubicBezTo>
                <a:cubicBezTo>
                  <a:pt x="14156" y="11406"/>
                  <a:pt x="14156" y="11406"/>
                  <a:pt x="14156" y="11406"/>
                </a:cubicBezTo>
                <a:cubicBezTo>
                  <a:pt x="14219" y="11406"/>
                  <a:pt x="14250" y="11406"/>
                  <a:pt x="14281" y="11437"/>
                </a:cubicBezTo>
                <a:cubicBezTo>
                  <a:pt x="14312" y="11437"/>
                  <a:pt x="14312" y="11468"/>
                  <a:pt x="14344" y="11468"/>
                </a:cubicBezTo>
                <a:cubicBezTo>
                  <a:pt x="14344" y="11500"/>
                  <a:pt x="14344" y="11531"/>
                  <a:pt x="14375" y="11531"/>
                </a:cubicBezTo>
                <a:cubicBezTo>
                  <a:pt x="14406" y="11531"/>
                  <a:pt x="14406" y="11531"/>
                  <a:pt x="14437" y="11500"/>
                </a:cubicBezTo>
                <a:cubicBezTo>
                  <a:pt x="14437" y="11500"/>
                  <a:pt x="14437" y="11500"/>
                  <a:pt x="14437" y="11468"/>
                </a:cubicBezTo>
                <a:cubicBezTo>
                  <a:pt x="14437" y="11468"/>
                  <a:pt x="14437" y="11468"/>
                  <a:pt x="14437" y="11437"/>
                </a:cubicBezTo>
                <a:cubicBezTo>
                  <a:pt x="14406" y="11437"/>
                  <a:pt x="14375" y="11437"/>
                  <a:pt x="14344" y="11406"/>
                </a:cubicBezTo>
                <a:cubicBezTo>
                  <a:pt x="14344" y="11406"/>
                  <a:pt x="14344" y="11406"/>
                  <a:pt x="14344" y="11406"/>
                </a:cubicBezTo>
                <a:cubicBezTo>
                  <a:pt x="14344" y="11406"/>
                  <a:pt x="14344" y="11406"/>
                  <a:pt x="14344" y="11406"/>
                </a:cubicBezTo>
                <a:cubicBezTo>
                  <a:pt x="14437" y="11375"/>
                  <a:pt x="14562" y="11343"/>
                  <a:pt x="14656" y="11312"/>
                </a:cubicBezTo>
                <a:cubicBezTo>
                  <a:pt x="14656" y="11312"/>
                  <a:pt x="14625" y="11312"/>
                  <a:pt x="14625" y="11312"/>
                </a:cubicBezTo>
                <a:cubicBezTo>
                  <a:pt x="14594" y="11281"/>
                  <a:pt x="14594" y="11281"/>
                  <a:pt x="14594" y="11281"/>
                </a:cubicBezTo>
                <a:cubicBezTo>
                  <a:pt x="14562" y="11250"/>
                  <a:pt x="14562" y="11218"/>
                  <a:pt x="14531" y="11218"/>
                </a:cubicBezTo>
                <a:cubicBezTo>
                  <a:pt x="14531" y="11187"/>
                  <a:pt x="14531" y="11187"/>
                  <a:pt x="14531" y="11187"/>
                </a:cubicBezTo>
                <a:cubicBezTo>
                  <a:pt x="14531" y="11156"/>
                  <a:pt x="14562" y="11156"/>
                  <a:pt x="14594" y="11156"/>
                </a:cubicBezTo>
                <a:cubicBezTo>
                  <a:pt x="14594" y="11156"/>
                  <a:pt x="14594" y="11156"/>
                  <a:pt x="14625" y="11156"/>
                </a:cubicBezTo>
                <a:cubicBezTo>
                  <a:pt x="14656" y="11156"/>
                  <a:pt x="14719" y="11125"/>
                  <a:pt x="14750" y="11125"/>
                </a:cubicBezTo>
                <a:cubicBezTo>
                  <a:pt x="14812" y="11125"/>
                  <a:pt x="14844" y="11125"/>
                  <a:pt x="14906" y="11125"/>
                </a:cubicBezTo>
                <a:cubicBezTo>
                  <a:pt x="14969" y="11093"/>
                  <a:pt x="15031" y="11093"/>
                  <a:pt x="15094" y="11062"/>
                </a:cubicBezTo>
                <a:cubicBezTo>
                  <a:pt x="15094" y="11062"/>
                  <a:pt x="15094" y="11062"/>
                  <a:pt x="15094" y="11062"/>
                </a:cubicBezTo>
                <a:cubicBezTo>
                  <a:pt x="14969" y="11062"/>
                  <a:pt x="14906" y="11062"/>
                  <a:pt x="14844" y="11062"/>
                </a:cubicBezTo>
                <a:cubicBezTo>
                  <a:pt x="14844" y="11031"/>
                  <a:pt x="14844" y="11000"/>
                  <a:pt x="14844" y="11000"/>
                </a:cubicBezTo>
                <a:cubicBezTo>
                  <a:pt x="14906" y="11000"/>
                  <a:pt x="14937" y="11000"/>
                  <a:pt x="14969" y="11000"/>
                </a:cubicBezTo>
                <a:cubicBezTo>
                  <a:pt x="14969" y="11000"/>
                  <a:pt x="14969" y="11000"/>
                  <a:pt x="14969" y="11000"/>
                </a:cubicBezTo>
                <a:cubicBezTo>
                  <a:pt x="15000" y="11000"/>
                  <a:pt x="15000" y="11000"/>
                  <a:pt x="15000" y="11000"/>
                </a:cubicBezTo>
                <a:cubicBezTo>
                  <a:pt x="15031" y="11000"/>
                  <a:pt x="15094" y="11000"/>
                  <a:pt x="15125" y="11000"/>
                </a:cubicBezTo>
                <a:cubicBezTo>
                  <a:pt x="15125" y="11000"/>
                  <a:pt x="15156" y="10968"/>
                  <a:pt x="15156" y="10968"/>
                </a:cubicBezTo>
                <a:cubicBezTo>
                  <a:pt x="15219" y="10968"/>
                  <a:pt x="15281" y="10968"/>
                  <a:pt x="15312" y="10937"/>
                </a:cubicBezTo>
                <a:cubicBezTo>
                  <a:pt x="15344" y="10968"/>
                  <a:pt x="15344" y="10968"/>
                  <a:pt x="15344" y="10937"/>
                </a:cubicBezTo>
                <a:cubicBezTo>
                  <a:pt x="15344" y="10937"/>
                  <a:pt x="15344" y="10937"/>
                  <a:pt x="15344" y="10937"/>
                </a:cubicBezTo>
                <a:cubicBezTo>
                  <a:pt x="15344" y="10937"/>
                  <a:pt x="15344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406" y="10937"/>
                  <a:pt x="15406" y="10937"/>
                </a:cubicBezTo>
                <a:cubicBezTo>
                  <a:pt x="15406" y="10937"/>
                  <a:pt x="15406" y="10937"/>
                  <a:pt x="15406" y="10937"/>
                </a:cubicBezTo>
                <a:cubicBezTo>
                  <a:pt x="15437" y="10937"/>
                  <a:pt x="15437" y="10968"/>
                  <a:pt x="15437" y="10968"/>
                </a:cubicBezTo>
                <a:cubicBezTo>
                  <a:pt x="15437" y="10968"/>
                  <a:pt x="15437" y="10968"/>
                  <a:pt x="15437" y="10968"/>
                </a:cubicBezTo>
                <a:cubicBezTo>
                  <a:pt x="15437" y="10968"/>
                  <a:pt x="15406" y="10968"/>
                  <a:pt x="15406" y="10968"/>
                </a:cubicBezTo>
                <a:cubicBezTo>
                  <a:pt x="15406" y="10968"/>
                  <a:pt x="15406" y="10968"/>
                  <a:pt x="15406" y="10968"/>
                </a:cubicBezTo>
                <a:cubicBezTo>
                  <a:pt x="15375" y="11000"/>
                  <a:pt x="15375" y="11000"/>
                  <a:pt x="15375" y="11000"/>
                </a:cubicBezTo>
                <a:cubicBezTo>
                  <a:pt x="15312" y="11000"/>
                  <a:pt x="15250" y="11031"/>
                  <a:pt x="15187" y="11062"/>
                </a:cubicBezTo>
                <a:cubicBezTo>
                  <a:pt x="15375" y="11031"/>
                  <a:pt x="15562" y="11031"/>
                  <a:pt x="15719" y="11000"/>
                </a:cubicBezTo>
                <a:cubicBezTo>
                  <a:pt x="15906" y="10968"/>
                  <a:pt x="16094" y="10937"/>
                  <a:pt x="16250" y="10937"/>
                </a:cubicBezTo>
                <a:cubicBezTo>
                  <a:pt x="16281" y="10906"/>
                  <a:pt x="16281" y="10906"/>
                  <a:pt x="16312" y="10906"/>
                </a:cubicBezTo>
                <a:cubicBezTo>
                  <a:pt x="16312" y="10906"/>
                  <a:pt x="16344" y="10906"/>
                  <a:pt x="16344" y="10906"/>
                </a:cubicBezTo>
                <a:cubicBezTo>
                  <a:pt x="16375" y="10906"/>
                  <a:pt x="16375" y="10875"/>
                  <a:pt x="16375" y="10875"/>
                </a:cubicBezTo>
                <a:cubicBezTo>
                  <a:pt x="16375" y="10875"/>
                  <a:pt x="16375" y="10875"/>
                  <a:pt x="16344" y="10875"/>
                </a:cubicBezTo>
                <a:cubicBezTo>
                  <a:pt x="16344" y="10843"/>
                  <a:pt x="16312" y="10843"/>
                  <a:pt x="16312" y="10843"/>
                </a:cubicBezTo>
                <a:cubicBezTo>
                  <a:pt x="16312" y="10843"/>
                  <a:pt x="16312" y="10843"/>
                  <a:pt x="16312" y="10843"/>
                </a:cubicBezTo>
                <a:cubicBezTo>
                  <a:pt x="16312" y="10843"/>
                  <a:pt x="16312" y="10843"/>
                  <a:pt x="16312" y="10843"/>
                </a:cubicBezTo>
                <a:cubicBezTo>
                  <a:pt x="16312" y="10843"/>
                  <a:pt x="16281" y="10875"/>
                  <a:pt x="16281" y="10875"/>
                </a:cubicBezTo>
                <a:cubicBezTo>
                  <a:pt x="16250" y="10875"/>
                  <a:pt x="16250" y="10875"/>
                  <a:pt x="16250" y="10875"/>
                </a:cubicBezTo>
                <a:cubicBezTo>
                  <a:pt x="16187" y="10906"/>
                  <a:pt x="16156" y="10906"/>
                  <a:pt x="16094" y="10906"/>
                </a:cubicBezTo>
                <a:cubicBezTo>
                  <a:pt x="16062" y="10906"/>
                  <a:pt x="16062" y="10906"/>
                  <a:pt x="16062" y="10906"/>
                </a:cubicBezTo>
                <a:cubicBezTo>
                  <a:pt x="16031" y="10906"/>
                  <a:pt x="16000" y="10906"/>
                  <a:pt x="15969" y="10906"/>
                </a:cubicBezTo>
                <a:cubicBezTo>
                  <a:pt x="15937" y="10906"/>
                  <a:pt x="15937" y="10906"/>
                  <a:pt x="15937" y="10906"/>
                </a:cubicBezTo>
                <a:cubicBezTo>
                  <a:pt x="15906" y="10906"/>
                  <a:pt x="15906" y="10906"/>
                  <a:pt x="15875" y="10906"/>
                </a:cubicBezTo>
                <a:cubicBezTo>
                  <a:pt x="15875" y="10906"/>
                  <a:pt x="15844" y="10906"/>
                  <a:pt x="15844" y="10906"/>
                </a:cubicBezTo>
                <a:cubicBezTo>
                  <a:pt x="15781" y="10906"/>
                  <a:pt x="15750" y="10906"/>
                  <a:pt x="15687" y="10937"/>
                </a:cubicBezTo>
                <a:cubicBezTo>
                  <a:pt x="15687" y="10937"/>
                  <a:pt x="15687" y="10937"/>
                  <a:pt x="15656" y="10937"/>
                </a:cubicBezTo>
                <a:cubicBezTo>
                  <a:pt x="15656" y="10937"/>
                  <a:pt x="15625" y="10937"/>
                  <a:pt x="15625" y="10906"/>
                </a:cubicBezTo>
                <a:cubicBezTo>
                  <a:pt x="15625" y="10875"/>
                  <a:pt x="15625" y="10875"/>
                  <a:pt x="15625" y="10875"/>
                </a:cubicBezTo>
                <a:cubicBezTo>
                  <a:pt x="15781" y="10843"/>
                  <a:pt x="15969" y="10843"/>
                  <a:pt x="16125" y="10812"/>
                </a:cubicBezTo>
                <a:cubicBezTo>
                  <a:pt x="16156" y="10781"/>
                  <a:pt x="16219" y="10781"/>
                  <a:pt x="16281" y="10781"/>
                </a:cubicBezTo>
                <a:cubicBezTo>
                  <a:pt x="16281" y="10781"/>
                  <a:pt x="16312" y="10781"/>
                  <a:pt x="16312" y="10750"/>
                </a:cubicBezTo>
                <a:cubicBezTo>
                  <a:pt x="16406" y="10750"/>
                  <a:pt x="16469" y="10750"/>
                  <a:pt x="16469" y="10843"/>
                </a:cubicBezTo>
                <a:cubicBezTo>
                  <a:pt x="16500" y="10843"/>
                  <a:pt x="16500" y="10875"/>
                  <a:pt x="16531" y="10875"/>
                </a:cubicBezTo>
                <a:cubicBezTo>
                  <a:pt x="16531" y="10875"/>
                  <a:pt x="16531" y="10875"/>
                  <a:pt x="16531" y="10875"/>
                </a:cubicBezTo>
                <a:cubicBezTo>
                  <a:pt x="16562" y="10875"/>
                  <a:pt x="16562" y="10875"/>
                  <a:pt x="16562" y="10875"/>
                </a:cubicBezTo>
                <a:cubicBezTo>
                  <a:pt x="16594" y="10875"/>
                  <a:pt x="16625" y="10875"/>
                  <a:pt x="16625" y="10875"/>
                </a:cubicBezTo>
                <a:cubicBezTo>
                  <a:pt x="16687" y="10843"/>
                  <a:pt x="16719" y="10843"/>
                  <a:pt x="16750" y="10812"/>
                </a:cubicBezTo>
                <a:cubicBezTo>
                  <a:pt x="16781" y="10812"/>
                  <a:pt x="16781" y="10812"/>
                  <a:pt x="16781" y="10781"/>
                </a:cubicBezTo>
                <a:cubicBezTo>
                  <a:pt x="16781" y="10781"/>
                  <a:pt x="16750" y="10781"/>
                  <a:pt x="16750" y="10781"/>
                </a:cubicBezTo>
                <a:cubicBezTo>
                  <a:pt x="16656" y="10687"/>
                  <a:pt x="16656" y="10656"/>
                  <a:pt x="16750" y="10625"/>
                </a:cubicBezTo>
                <a:cubicBezTo>
                  <a:pt x="16906" y="10562"/>
                  <a:pt x="17062" y="10562"/>
                  <a:pt x="17250" y="10531"/>
                </a:cubicBezTo>
                <a:cubicBezTo>
                  <a:pt x="17406" y="10531"/>
                  <a:pt x="17562" y="10531"/>
                  <a:pt x="17719" y="10531"/>
                </a:cubicBezTo>
                <a:cubicBezTo>
                  <a:pt x="17719" y="10562"/>
                  <a:pt x="17719" y="10593"/>
                  <a:pt x="17719" y="10593"/>
                </a:cubicBezTo>
                <a:cubicBezTo>
                  <a:pt x="17719" y="10593"/>
                  <a:pt x="17719" y="10593"/>
                  <a:pt x="17719" y="10593"/>
                </a:cubicBezTo>
                <a:cubicBezTo>
                  <a:pt x="17687" y="10593"/>
                  <a:pt x="17656" y="10593"/>
                  <a:pt x="17625" y="10593"/>
                </a:cubicBezTo>
                <a:cubicBezTo>
                  <a:pt x="17625" y="10593"/>
                  <a:pt x="17625" y="10593"/>
                  <a:pt x="17594" y="10593"/>
                </a:cubicBezTo>
                <a:cubicBezTo>
                  <a:pt x="17594" y="10593"/>
                  <a:pt x="17594" y="10593"/>
                  <a:pt x="17594" y="10593"/>
                </a:cubicBezTo>
                <a:cubicBezTo>
                  <a:pt x="17562" y="10593"/>
                  <a:pt x="17562" y="10593"/>
                  <a:pt x="17562" y="10593"/>
                </a:cubicBezTo>
                <a:cubicBezTo>
                  <a:pt x="17562" y="10625"/>
                  <a:pt x="17562" y="10625"/>
                  <a:pt x="17531" y="10625"/>
                </a:cubicBezTo>
                <a:cubicBezTo>
                  <a:pt x="17531" y="10625"/>
                  <a:pt x="17531" y="10625"/>
                  <a:pt x="17531" y="10625"/>
                </a:cubicBezTo>
                <a:cubicBezTo>
                  <a:pt x="17531" y="10625"/>
                  <a:pt x="17531" y="10625"/>
                  <a:pt x="17500" y="10625"/>
                </a:cubicBezTo>
                <a:cubicBezTo>
                  <a:pt x="17500" y="10625"/>
                  <a:pt x="17500" y="10625"/>
                  <a:pt x="17500" y="10625"/>
                </a:cubicBezTo>
                <a:cubicBezTo>
                  <a:pt x="17500" y="10625"/>
                  <a:pt x="17500" y="10656"/>
                  <a:pt x="17500" y="10656"/>
                </a:cubicBezTo>
                <a:cubicBezTo>
                  <a:pt x="17500" y="10656"/>
                  <a:pt x="17500" y="10656"/>
                  <a:pt x="17469" y="10656"/>
                </a:cubicBezTo>
                <a:cubicBezTo>
                  <a:pt x="17469" y="10656"/>
                  <a:pt x="17469" y="10687"/>
                  <a:pt x="17469" y="10687"/>
                </a:cubicBezTo>
                <a:cubicBezTo>
                  <a:pt x="17469" y="10687"/>
                  <a:pt x="17469" y="10687"/>
                  <a:pt x="17469" y="10687"/>
                </a:cubicBezTo>
                <a:cubicBezTo>
                  <a:pt x="17469" y="10687"/>
                  <a:pt x="17469" y="10687"/>
                  <a:pt x="17469" y="10687"/>
                </a:cubicBezTo>
                <a:cubicBezTo>
                  <a:pt x="17437" y="10687"/>
                  <a:pt x="17406" y="10687"/>
                  <a:pt x="17406" y="10687"/>
                </a:cubicBezTo>
                <a:cubicBezTo>
                  <a:pt x="17375" y="10687"/>
                  <a:pt x="17375" y="10718"/>
                  <a:pt x="17375" y="10718"/>
                </a:cubicBezTo>
                <a:cubicBezTo>
                  <a:pt x="17375" y="10718"/>
                  <a:pt x="17375" y="10718"/>
                  <a:pt x="17375" y="10718"/>
                </a:cubicBezTo>
                <a:cubicBezTo>
                  <a:pt x="17375" y="10718"/>
                  <a:pt x="17375" y="10718"/>
                  <a:pt x="17375" y="10718"/>
                </a:cubicBezTo>
                <a:cubicBezTo>
                  <a:pt x="17406" y="10718"/>
                  <a:pt x="17406" y="10718"/>
                  <a:pt x="17437" y="10718"/>
                </a:cubicBezTo>
                <a:cubicBezTo>
                  <a:pt x="17500" y="10718"/>
                  <a:pt x="17562" y="10718"/>
                  <a:pt x="17625" y="10718"/>
                </a:cubicBezTo>
                <a:cubicBezTo>
                  <a:pt x="17625" y="10718"/>
                  <a:pt x="17656" y="10718"/>
                  <a:pt x="17656" y="10718"/>
                </a:cubicBezTo>
                <a:cubicBezTo>
                  <a:pt x="17656" y="10718"/>
                  <a:pt x="17687" y="10718"/>
                  <a:pt x="17687" y="10718"/>
                </a:cubicBezTo>
                <a:cubicBezTo>
                  <a:pt x="17719" y="10718"/>
                  <a:pt x="17719" y="10718"/>
                  <a:pt x="17750" y="10718"/>
                </a:cubicBezTo>
                <a:cubicBezTo>
                  <a:pt x="17750" y="10687"/>
                  <a:pt x="17781" y="10687"/>
                  <a:pt x="17812" y="10656"/>
                </a:cubicBezTo>
                <a:cubicBezTo>
                  <a:pt x="17844" y="10656"/>
                  <a:pt x="17875" y="10687"/>
                  <a:pt x="17906" y="10718"/>
                </a:cubicBezTo>
                <a:cubicBezTo>
                  <a:pt x="17906" y="10718"/>
                  <a:pt x="17906" y="10718"/>
                  <a:pt x="17937" y="10718"/>
                </a:cubicBezTo>
                <a:cubicBezTo>
                  <a:pt x="17937" y="10687"/>
                  <a:pt x="17937" y="10687"/>
                  <a:pt x="17937" y="10687"/>
                </a:cubicBezTo>
                <a:cubicBezTo>
                  <a:pt x="17969" y="10687"/>
                  <a:pt x="18000" y="10687"/>
                  <a:pt x="18031" y="10687"/>
                </a:cubicBezTo>
                <a:cubicBezTo>
                  <a:pt x="18062" y="10687"/>
                  <a:pt x="18062" y="10687"/>
                  <a:pt x="18062" y="10687"/>
                </a:cubicBezTo>
                <a:cubicBezTo>
                  <a:pt x="18094" y="10687"/>
                  <a:pt x="18094" y="10687"/>
                  <a:pt x="18094" y="10687"/>
                </a:cubicBezTo>
                <a:cubicBezTo>
                  <a:pt x="18125" y="10687"/>
                  <a:pt x="18125" y="10656"/>
                  <a:pt x="18156" y="10656"/>
                </a:cubicBezTo>
                <a:cubicBezTo>
                  <a:pt x="18156" y="10656"/>
                  <a:pt x="18156" y="10656"/>
                  <a:pt x="18187" y="10656"/>
                </a:cubicBezTo>
                <a:cubicBezTo>
                  <a:pt x="18187" y="10656"/>
                  <a:pt x="18187" y="10656"/>
                  <a:pt x="18187" y="10656"/>
                </a:cubicBezTo>
                <a:cubicBezTo>
                  <a:pt x="18219" y="10656"/>
                  <a:pt x="18219" y="10687"/>
                  <a:pt x="18250" y="10718"/>
                </a:cubicBezTo>
                <a:cubicBezTo>
                  <a:pt x="18250" y="10718"/>
                  <a:pt x="18250" y="10718"/>
                  <a:pt x="18250" y="10718"/>
                </a:cubicBezTo>
                <a:cubicBezTo>
                  <a:pt x="18281" y="10718"/>
                  <a:pt x="18281" y="10718"/>
                  <a:pt x="18281" y="10750"/>
                </a:cubicBezTo>
                <a:cubicBezTo>
                  <a:pt x="18312" y="10781"/>
                  <a:pt x="18281" y="10812"/>
                  <a:pt x="18187" y="10812"/>
                </a:cubicBezTo>
                <a:cubicBezTo>
                  <a:pt x="18125" y="10843"/>
                  <a:pt x="18094" y="10843"/>
                  <a:pt x="18062" y="10843"/>
                </a:cubicBezTo>
                <a:cubicBezTo>
                  <a:pt x="18000" y="10875"/>
                  <a:pt x="17969" y="10906"/>
                  <a:pt x="17937" y="10937"/>
                </a:cubicBezTo>
                <a:cubicBezTo>
                  <a:pt x="18062" y="10968"/>
                  <a:pt x="18125" y="10968"/>
                  <a:pt x="18219" y="10968"/>
                </a:cubicBezTo>
                <a:cubicBezTo>
                  <a:pt x="18250" y="10968"/>
                  <a:pt x="18281" y="10968"/>
                  <a:pt x="18281" y="10968"/>
                </a:cubicBezTo>
                <a:cubicBezTo>
                  <a:pt x="18312" y="10968"/>
                  <a:pt x="18312" y="10968"/>
                  <a:pt x="18312" y="11000"/>
                </a:cubicBezTo>
                <a:cubicBezTo>
                  <a:pt x="18281" y="11031"/>
                  <a:pt x="18250" y="11062"/>
                  <a:pt x="18281" y="11062"/>
                </a:cubicBezTo>
                <a:cubicBezTo>
                  <a:pt x="18281" y="11062"/>
                  <a:pt x="18281" y="11093"/>
                  <a:pt x="18281" y="11093"/>
                </a:cubicBezTo>
                <a:cubicBezTo>
                  <a:pt x="18312" y="11093"/>
                  <a:pt x="18375" y="11093"/>
                  <a:pt x="18406" y="11093"/>
                </a:cubicBezTo>
                <a:cubicBezTo>
                  <a:pt x="18406" y="11093"/>
                  <a:pt x="18437" y="11125"/>
                  <a:pt x="18437" y="11125"/>
                </a:cubicBezTo>
                <a:cubicBezTo>
                  <a:pt x="18562" y="11125"/>
                  <a:pt x="18656" y="11187"/>
                  <a:pt x="18750" y="11218"/>
                </a:cubicBezTo>
                <a:cubicBezTo>
                  <a:pt x="18781" y="11250"/>
                  <a:pt x="18812" y="11250"/>
                  <a:pt x="18844" y="11250"/>
                </a:cubicBezTo>
                <a:cubicBezTo>
                  <a:pt x="18906" y="11281"/>
                  <a:pt x="19000" y="11312"/>
                  <a:pt x="19031" y="11375"/>
                </a:cubicBezTo>
                <a:cubicBezTo>
                  <a:pt x="19031" y="11375"/>
                  <a:pt x="19031" y="11406"/>
                  <a:pt x="19031" y="11406"/>
                </a:cubicBezTo>
                <a:cubicBezTo>
                  <a:pt x="19031" y="11437"/>
                  <a:pt x="19031" y="11468"/>
                  <a:pt x="19062" y="11500"/>
                </a:cubicBezTo>
                <a:cubicBezTo>
                  <a:pt x="19094" y="11593"/>
                  <a:pt x="19187" y="11656"/>
                  <a:pt x="19312" y="11656"/>
                </a:cubicBezTo>
                <a:cubicBezTo>
                  <a:pt x="19375" y="11656"/>
                  <a:pt x="19437" y="11656"/>
                  <a:pt x="19500" y="11656"/>
                </a:cubicBezTo>
                <a:cubicBezTo>
                  <a:pt x="19687" y="11593"/>
                  <a:pt x="19875" y="11562"/>
                  <a:pt x="20062" y="11531"/>
                </a:cubicBezTo>
                <a:cubicBezTo>
                  <a:pt x="20094" y="11531"/>
                  <a:pt x="20125" y="11531"/>
                  <a:pt x="20187" y="11500"/>
                </a:cubicBezTo>
                <a:cubicBezTo>
                  <a:pt x="20312" y="11468"/>
                  <a:pt x="20437" y="11437"/>
                  <a:pt x="20562" y="11375"/>
                </a:cubicBezTo>
                <a:cubicBezTo>
                  <a:pt x="20594" y="11375"/>
                  <a:pt x="20625" y="11375"/>
                  <a:pt x="20625" y="11375"/>
                </a:cubicBezTo>
                <a:cubicBezTo>
                  <a:pt x="20750" y="11312"/>
                  <a:pt x="20906" y="11312"/>
                  <a:pt x="21031" y="11281"/>
                </a:cubicBezTo>
                <a:cubicBezTo>
                  <a:pt x="21094" y="11281"/>
                  <a:pt x="21125" y="11250"/>
                  <a:pt x="21187" y="11218"/>
                </a:cubicBezTo>
                <a:cubicBezTo>
                  <a:pt x="21344" y="11156"/>
                  <a:pt x="21531" y="11062"/>
                  <a:pt x="21719" y="11031"/>
                </a:cubicBezTo>
                <a:cubicBezTo>
                  <a:pt x="21906" y="10968"/>
                  <a:pt x="22094" y="10937"/>
                  <a:pt x="22312" y="10906"/>
                </a:cubicBezTo>
                <a:cubicBezTo>
                  <a:pt x="22406" y="10906"/>
                  <a:pt x="22500" y="10875"/>
                  <a:pt x="22562" y="10875"/>
                </a:cubicBezTo>
                <a:cubicBezTo>
                  <a:pt x="22656" y="10843"/>
                  <a:pt x="22750" y="10843"/>
                  <a:pt x="22844" y="10812"/>
                </a:cubicBezTo>
                <a:cubicBezTo>
                  <a:pt x="22906" y="10812"/>
                  <a:pt x="23000" y="10812"/>
                  <a:pt x="23094" y="10781"/>
                </a:cubicBezTo>
                <a:cubicBezTo>
                  <a:pt x="23187" y="10781"/>
                  <a:pt x="23281" y="10781"/>
                  <a:pt x="23375" y="10781"/>
                </a:cubicBezTo>
                <a:cubicBezTo>
                  <a:pt x="23406" y="10781"/>
                  <a:pt x="23469" y="10781"/>
                  <a:pt x="23500" y="10781"/>
                </a:cubicBezTo>
                <a:cubicBezTo>
                  <a:pt x="23812" y="10750"/>
                  <a:pt x="24062" y="10625"/>
                  <a:pt x="24375" y="10593"/>
                </a:cubicBezTo>
                <a:cubicBezTo>
                  <a:pt x="24500" y="10593"/>
                  <a:pt x="24594" y="10531"/>
                  <a:pt x="24625" y="10500"/>
                </a:cubicBezTo>
                <a:cubicBezTo>
                  <a:pt x="24656" y="10468"/>
                  <a:pt x="24656" y="10437"/>
                  <a:pt x="24687" y="10406"/>
                </a:cubicBezTo>
                <a:cubicBezTo>
                  <a:pt x="24687" y="10406"/>
                  <a:pt x="24656" y="10375"/>
                  <a:pt x="24656" y="10343"/>
                </a:cubicBezTo>
                <a:cubicBezTo>
                  <a:pt x="24625" y="10312"/>
                  <a:pt x="24656" y="10218"/>
                  <a:pt x="24719" y="10156"/>
                </a:cubicBezTo>
                <a:cubicBezTo>
                  <a:pt x="24750" y="10125"/>
                  <a:pt x="24750" y="10125"/>
                  <a:pt x="24781" y="10125"/>
                </a:cubicBezTo>
                <a:cubicBezTo>
                  <a:pt x="24844" y="10125"/>
                  <a:pt x="24906" y="10093"/>
                  <a:pt x="24969" y="10093"/>
                </a:cubicBezTo>
                <a:cubicBezTo>
                  <a:pt x="25062" y="10062"/>
                  <a:pt x="25187" y="10031"/>
                  <a:pt x="25281" y="10000"/>
                </a:cubicBezTo>
                <a:cubicBezTo>
                  <a:pt x="25469" y="9968"/>
                  <a:pt x="25625" y="9937"/>
                  <a:pt x="25812" y="9906"/>
                </a:cubicBezTo>
                <a:cubicBezTo>
                  <a:pt x="25906" y="9875"/>
                  <a:pt x="26031" y="9843"/>
                  <a:pt x="26156" y="9843"/>
                </a:cubicBezTo>
                <a:cubicBezTo>
                  <a:pt x="26250" y="9812"/>
                  <a:pt x="26344" y="9812"/>
                  <a:pt x="26437" y="9781"/>
                </a:cubicBezTo>
                <a:cubicBezTo>
                  <a:pt x="26750" y="9718"/>
                  <a:pt x="27031" y="9687"/>
                  <a:pt x="27344" y="9656"/>
                </a:cubicBezTo>
                <a:cubicBezTo>
                  <a:pt x="27562" y="9625"/>
                  <a:pt x="27781" y="9562"/>
                  <a:pt x="28000" y="9531"/>
                </a:cubicBezTo>
                <a:cubicBezTo>
                  <a:pt x="28156" y="9500"/>
                  <a:pt x="28281" y="9468"/>
                  <a:pt x="28437" y="9468"/>
                </a:cubicBezTo>
                <a:cubicBezTo>
                  <a:pt x="28437" y="9468"/>
                  <a:pt x="28469" y="9500"/>
                  <a:pt x="28469" y="9500"/>
                </a:cubicBezTo>
                <a:cubicBezTo>
                  <a:pt x="28469" y="9500"/>
                  <a:pt x="28469" y="9500"/>
                  <a:pt x="28469" y="9500"/>
                </a:cubicBezTo>
                <a:cubicBezTo>
                  <a:pt x="28469" y="9531"/>
                  <a:pt x="28437" y="9531"/>
                  <a:pt x="28406" y="9531"/>
                </a:cubicBezTo>
                <a:cubicBezTo>
                  <a:pt x="28406" y="9562"/>
                  <a:pt x="28406" y="9562"/>
                  <a:pt x="28375" y="9562"/>
                </a:cubicBezTo>
                <a:cubicBezTo>
                  <a:pt x="28375" y="9562"/>
                  <a:pt x="28375" y="9562"/>
                  <a:pt x="28375" y="9593"/>
                </a:cubicBezTo>
                <a:cubicBezTo>
                  <a:pt x="28344" y="9593"/>
                  <a:pt x="28344" y="9593"/>
                  <a:pt x="28344" y="9593"/>
                </a:cubicBezTo>
                <a:cubicBezTo>
                  <a:pt x="28344" y="9625"/>
                  <a:pt x="28344" y="9625"/>
                  <a:pt x="28344" y="9656"/>
                </a:cubicBezTo>
                <a:cubicBezTo>
                  <a:pt x="28375" y="9687"/>
                  <a:pt x="28406" y="9687"/>
                  <a:pt x="28437" y="9687"/>
                </a:cubicBezTo>
                <a:cubicBezTo>
                  <a:pt x="28437" y="9687"/>
                  <a:pt x="28437" y="9687"/>
                  <a:pt x="28437" y="9687"/>
                </a:cubicBezTo>
                <a:cubicBezTo>
                  <a:pt x="28469" y="9687"/>
                  <a:pt x="28469" y="9687"/>
                  <a:pt x="28469" y="9687"/>
                </a:cubicBezTo>
                <a:cubicBezTo>
                  <a:pt x="28469" y="9687"/>
                  <a:pt x="28500" y="9687"/>
                  <a:pt x="28500" y="9687"/>
                </a:cubicBezTo>
                <a:cubicBezTo>
                  <a:pt x="28500" y="9687"/>
                  <a:pt x="28500" y="9687"/>
                  <a:pt x="28500" y="9687"/>
                </a:cubicBezTo>
                <a:cubicBezTo>
                  <a:pt x="28531" y="9687"/>
                  <a:pt x="28562" y="9687"/>
                  <a:pt x="28562" y="9656"/>
                </a:cubicBezTo>
                <a:cubicBezTo>
                  <a:pt x="28625" y="9656"/>
                  <a:pt x="28687" y="9625"/>
                  <a:pt x="28719" y="9625"/>
                </a:cubicBezTo>
                <a:cubicBezTo>
                  <a:pt x="28750" y="9593"/>
                  <a:pt x="28812" y="9531"/>
                  <a:pt x="28844" y="9500"/>
                </a:cubicBezTo>
                <a:cubicBezTo>
                  <a:pt x="28812" y="9500"/>
                  <a:pt x="28812" y="9500"/>
                  <a:pt x="28781" y="9500"/>
                </a:cubicBezTo>
                <a:cubicBezTo>
                  <a:pt x="28781" y="9468"/>
                  <a:pt x="28750" y="9468"/>
                  <a:pt x="28750" y="9500"/>
                </a:cubicBezTo>
                <a:cubicBezTo>
                  <a:pt x="28719" y="9500"/>
                  <a:pt x="28656" y="9500"/>
                  <a:pt x="28625" y="9468"/>
                </a:cubicBezTo>
                <a:cubicBezTo>
                  <a:pt x="28625" y="9468"/>
                  <a:pt x="28625" y="9437"/>
                  <a:pt x="28625" y="9437"/>
                </a:cubicBezTo>
                <a:cubicBezTo>
                  <a:pt x="28656" y="9406"/>
                  <a:pt x="28750" y="9406"/>
                  <a:pt x="28781" y="9406"/>
                </a:cubicBezTo>
                <a:cubicBezTo>
                  <a:pt x="28844" y="9375"/>
                  <a:pt x="28906" y="9406"/>
                  <a:pt x="28969" y="9375"/>
                </a:cubicBezTo>
                <a:cubicBezTo>
                  <a:pt x="29000" y="9375"/>
                  <a:pt x="29000" y="9375"/>
                  <a:pt x="29031" y="9343"/>
                </a:cubicBezTo>
                <a:cubicBezTo>
                  <a:pt x="29062" y="9343"/>
                  <a:pt x="29125" y="9343"/>
                  <a:pt x="29187" y="9343"/>
                </a:cubicBezTo>
                <a:cubicBezTo>
                  <a:pt x="29219" y="9343"/>
                  <a:pt x="29281" y="9343"/>
                  <a:pt x="29312" y="9343"/>
                </a:cubicBezTo>
                <a:cubicBezTo>
                  <a:pt x="29344" y="9343"/>
                  <a:pt x="29344" y="9343"/>
                  <a:pt x="29344" y="9343"/>
                </a:cubicBezTo>
                <a:cubicBezTo>
                  <a:pt x="29344" y="9343"/>
                  <a:pt x="29344" y="9343"/>
                  <a:pt x="29375" y="9343"/>
                </a:cubicBezTo>
                <a:cubicBezTo>
                  <a:pt x="29375" y="9343"/>
                  <a:pt x="29406" y="9343"/>
                  <a:pt x="29406" y="9343"/>
                </a:cubicBezTo>
                <a:cubicBezTo>
                  <a:pt x="29469" y="9343"/>
                  <a:pt x="29500" y="9343"/>
                  <a:pt x="29531" y="9343"/>
                </a:cubicBezTo>
                <a:cubicBezTo>
                  <a:pt x="29594" y="9343"/>
                  <a:pt x="29656" y="9343"/>
                  <a:pt x="29719" y="9343"/>
                </a:cubicBezTo>
                <a:cubicBezTo>
                  <a:pt x="29781" y="9312"/>
                  <a:pt x="29844" y="9312"/>
                  <a:pt x="29906" y="9312"/>
                </a:cubicBezTo>
                <a:cubicBezTo>
                  <a:pt x="29906" y="9312"/>
                  <a:pt x="29906" y="9312"/>
                  <a:pt x="29906" y="9312"/>
                </a:cubicBezTo>
                <a:cubicBezTo>
                  <a:pt x="29906" y="9312"/>
                  <a:pt x="29937" y="9312"/>
                  <a:pt x="29937" y="9312"/>
                </a:cubicBezTo>
                <a:cubicBezTo>
                  <a:pt x="29969" y="9312"/>
                  <a:pt x="30000" y="9312"/>
                  <a:pt x="30031" y="9312"/>
                </a:cubicBezTo>
                <a:cubicBezTo>
                  <a:pt x="30062" y="9312"/>
                  <a:pt x="30062" y="9281"/>
                  <a:pt x="30094" y="9281"/>
                </a:cubicBezTo>
                <a:cubicBezTo>
                  <a:pt x="30062" y="9250"/>
                  <a:pt x="30031" y="9250"/>
                  <a:pt x="29969" y="9250"/>
                </a:cubicBezTo>
                <a:cubicBezTo>
                  <a:pt x="29969" y="9250"/>
                  <a:pt x="29937" y="9250"/>
                  <a:pt x="29906" y="9250"/>
                </a:cubicBezTo>
                <a:cubicBezTo>
                  <a:pt x="29906" y="9250"/>
                  <a:pt x="29906" y="9250"/>
                  <a:pt x="29906" y="9250"/>
                </a:cubicBezTo>
                <a:cubicBezTo>
                  <a:pt x="29875" y="9250"/>
                  <a:pt x="29812" y="9250"/>
                  <a:pt x="29781" y="9218"/>
                </a:cubicBezTo>
                <a:cubicBezTo>
                  <a:pt x="29812" y="9218"/>
                  <a:pt x="29844" y="9218"/>
                  <a:pt x="29844" y="9218"/>
                </a:cubicBezTo>
                <a:cubicBezTo>
                  <a:pt x="30000" y="9218"/>
                  <a:pt x="30125" y="9156"/>
                  <a:pt x="30250" y="9125"/>
                </a:cubicBezTo>
                <a:cubicBezTo>
                  <a:pt x="30312" y="9093"/>
                  <a:pt x="30344" y="9093"/>
                  <a:pt x="30375" y="9093"/>
                </a:cubicBezTo>
                <a:cubicBezTo>
                  <a:pt x="30406" y="9062"/>
                  <a:pt x="30437" y="9062"/>
                  <a:pt x="30469" y="9062"/>
                </a:cubicBezTo>
                <a:cubicBezTo>
                  <a:pt x="30469" y="9062"/>
                  <a:pt x="30500" y="9062"/>
                  <a:pt x="30500" y="9062"/>
                </a:cubicBezTo>
                <a:cubicBezTo>
                  <a:pt x="30531" y="9062"/>
                  <a:pt x="30531" y="9062"/>
                  <a:pt x="30562" y="9031"/>
                </a:cubicBezTo>
                <a:cubicBezTo>
                  <a:pt x="30562" y="9031"/>
                  <a:pt x="30562" y="9031"/>
                  <a:pt x="30562" y="9031"/>
                </a:cubicBezTo>
                <a:cubicBezTo>
                  <a:pt x="30594" y="9031"/>
                  <a:pt x="30594" y="9031"/>
                  <a:pt x="30594" y="9031"/>
                </a:cubicBezTo>
                <a:cubicBezTo>
                  <a:pt x="30594" y="9031"/>
                  <a:pt x="30625" y="9062"/>
                  <a:pt x="30625" y="9062"/>
                </a:cubicBezTo>
                <a:cubicBezTo>
                  <a:pt x="30625" y="9062"/>
                  <a:pt x="30625" y="9062"/>
                  <a:pt x="30625" y="9062"/>
                </a:cubicBezTo>
                <a:cubicBezTo>
                  <a:pt x="30656" y="9062"/>
                  <a:pt x="30625" y="9093"/>
                  <a:pt x="30594" y="9093"/>
                </a:cubicBezTo>
                <a:cubicBezTo>
                  <a:pt x="30594" y="9093"/>
                  <a:pt x="30594" y="9125"/>
                  <a:pt x="30594" y="9125"/>
                </a:cubicBezTo>
                <a:cubicBezTo>
                  <a:pt x="30531" y="9125"/>
                  <a:pt x="30500" y="9125"/>
                  <a:pt x="30469" y="9125"/>
                </a:cubicBezTo>
                <a:cubicBezTo>
                  <a:pt x="30437" y="9125"/>
                  <a:pt x="30406" y="9125"/>
                  <a:pt x="30375" y="9125"/>
                </a:cubicBezTo>
                <a:cubicBezTo>
                  <a:pt x="30344" y="9125"/>
                  <a:pt x="30281" y="9125"/>
                  <a:pt x="30250" y="9156"/>
                </a:cubicBezTo>
                <a:cubicBezTo>
                  <a:pt x="30375" y="9218"/>
                  <a:pt x="30500" y="9156"/>
                  <a:pt x="30625" y="9156"/>
                </a:cubicBezTo>
                <a:cubicBezTo>
                  <a:pt x="30719" y="9156"/>
                  <a:pt x="30812" y="9156"/>
                  <a:pt x="30906" y="9125"/>
                </a:cubicBezTo>
                <a:cubicBezTo>
                  <a:pt x="30937" y="9156"/>
                  <a:pt x="30969" y="9125"/>
                  <a:pt x="31000" y="9125"/>
                </a:cubicBezTo>
                <a:cubicBezTo>
                  <a:pt x="31031" y="9125"/>
                  <a:pt x="31062" y="9125"/>
                  <a:pt x="31094" y="9093"/>
                </a:cubicBezTo>
                <a:cubicBezTo>
                  <a:pt x="31125" y="9093"/>
                  <a:pt x="31187" y="9062"/>
                  <a:pt x="31219" y="9062"/>
                </a:cubicBezTo>
                <a:cubicBezTo>
                  <a:pt x="31250" y="9062"/>
                  <a:pt x="31250" y="9062"/>
                  <a:pt x="31281" y="9062"/>
                </a:cubicBezTo>
                <a:cubicBezTo>
                  <a:pt x="31281" y="9062"/>
                  <a:pt x="31281" y="9062"/>
                  <a:pt x="31281" y="9062"/>
                </a:cubicBezTo>
                <a:cubicBezTo>
                  <a:pt x="31281" y="9062"/>
                  <a:pt x="31281" y="9062"/>
                  <a:pt x="31281" y="9062"/>
                </a:cubicBezTo>
                <a:cubicBezTo>
                  <a:pt x="31250" y="9062"/>
                  <a:pt x="31250" y="9062"/>
                  <a:pt x="31250" y="9062"/>
                </a:cubicBezTo>
                <a:close/>
                <a:moveTo>
                  <a:pt x="3531" y="9187"/>
                </a:moveTo>
                <a:cubicBezTo>
                  <a:pt x="3500" y="9187"/>
                  <a:pt x="3469" y="9187"/>
                  <a:pt x="3438" y="9187"/>
                </a:cubicBezTo>
                <a:cubicBezTo>
                  <a:pt x="3406" y="9187"/>
                  <a:pt x="3406" y="9187"/>
                  <a:pt x="3375" y="9187"/>
                </a:cubicBezTo>
                <a:cubicBezTo>
                  <a:pt x="3344" y="9187"/>
                  <a:pt x="3344" y="9218"/>
                  <a:pt x="3313" y="9218"/>
                </a:cubicBezTo>
                <a:cubicBezTo>
                  <a:pt x="3313" y="9250"/>
                  <a:pt x="3281" y="9281"/>
                  <a:pt x="3281" y="9312"/>
                </a:cubicBezTo>
                <a:cubicBezTo>
                  <a:pt x="3281" y="9343"/>
                  <a:pt x="3281" y="9343"/>
                  <a:pt x="3281" y="9343"/>
                </a:cubicBezTo>
                <a:cubicBezTo>
                  <a:pt x="3281" y="9375"/>
                  <a:pt x="3281" y="9375"/>
                  <a:pt x="3313" y="9375"/>
                </a:cubicBezTo>
                <a:cubicBezTo>
                  <a:pt x="3313" y="9375"/>
                  <a:pt x="3344" y="9375"/>
                  <a:pt x="3375" y="9375"/>
                </a:cubicBezTo>
                <a:cubicBezTo>
                  <a:pt x="3375" y="9375"/>
                  <a:pt x="3406" y="9375"/>
                  <a:pt x="3406" y="9375"/>
                </a:cubicBezTo>
                <a:cubicBezTo>
                  <a:pt x="3406" y="9375"/>
                  <a:pt x="3438" y="9375"/>
                  <a:pt x="3438" y="9375"/>
                </a:cubicBezTo>
                <a:cubicBezTo>
                  <a:pt x="3438" y="9375"/>
                  <a:pt x="3438" y="9375"/>
                  <a:pt x="3438" y="9375"/>
                </a:cubicBezTo>
                <a:cubicBezTo>
                  <a:pt x="3438" y="9375"/>
                  <a:pt x="3438" y="9343"/>
                  <a:pt x="3438" y="9343"/>
                </a:cubicBezTo>
                <a:cubicBezTo>
                  <a:pt x="3438" y="9312"/>
                  <a:pt x="3438" y="9312"/>
                  <a:pt x="3438" y="9312"/>
                </a:cubicBezTo>
                <a:cubicBezTo>
                  <a:pt x="3438" y="9312"/>
                  <a:pt x="3438" y="9312"/>
                  <a:pt x="3438" y="9281"/>
                </a:cubicBezTo>
                <a:cubicBezTo>
                  <a:pt x="3438" y="9250"/>
                  <a:pt x="3500" y="9218"/>
                  <a:pt x="3531" y="9187"/>
                </a:cubicBezTo>
                <a:close/>
                <a:moveTo>
                  <a:pt x="9719" y="11812"/>
                </a:moveTo>
                <a:cubicBezTo>
                  <a:pt x="9719" y="11812"/>
                  <a:pt x="9719" y="11812"/>
                  <a:pt x="9687" y="11812"/>
                </a:cubicBezTo>
                <a:cubicBezTo>
                  <a:pt x="9625" y="11812"/>
                  <a:pt x="9562" y="11812"/>
                  <a:pt x="9500" y="11875"/>
                </a:cubicBezTo>
                <a:cubicBezTo>
                  <a:pt x="9469" y="11906"/>
                  <a:pt x="9469" y="11937"/>
                  <a:pt x="9500" y="11937"/>
                </a:cubicBezTo>
                <a:cubicBezTo>
                  <a:pt x="9500" y="11937"/>
                  <a:pt x="9500" y="11968"/>
                  <a:pt x="9500" y="11968"/>
                </a:cubicBezTo>
                <a:cubicBezTo>
                  <a:pt x="9531" y="11968"/>
                  <a:pt x="9531" y="11968"/>
                  <a:pt x="9531" y="11968"/>
                </a:cubicBezTo>
                <a:cubicBezTo>
                  <a:pt x="9562" y="11968"/>
                  <a:pt x="9562" y="11968"/>
                  <a:pt x="9562" y="11968"/>
                </a:cubicBezTo>
                <a:cubicBezTo>
                  <a:pt x="9594" y="11968"/>
                  <a:pt x="9594" y="11968"/>
                  <a:pt x="9594" y="11968"/>
                </a:cubicBezTo>
                <a:cubicBezTo>
                  <a:pt x="9594" y="11968"/>
                  <a:pt x="9594" y="11937"/>
                  <a:pt x="9594" y="11937"/>
                </a:cubicBezTo>
                <a:cubicBezTo>
                  <a:pt x="9594" y="11937"/>
                  <a:pt x="9625" y="11906"/>
                  <a:pt x="9625" y="11906"/>
                </a:cubicBezTo>
                <a:cubicBezTo>
                  <a:pt x="9687" y="11875"/>
                  <a:pt x="9812" y="11875"/>
                  <a:pt x="9875" y="11812"/>
                </a:cubicBezTo>
                <a:cubicBezTo>
                  <a:pt x="9844" y="11812"/>
                  <a:pt x="9812" y="11812"/>
                  <a:pt x="9781" y="11812"/>
                </a:cubicBezTo>
                <a:cubicBezTo>
                  <a:pt x="9750" y="11812"/>
                  <a:pt x="9750" y="11812"/>
                  <a:pt x="9719" y="11812"/>
                </a:cubicBezTo>
                <a:close/>
                <a:moveTo>
                  <a:pt x="17437" y="10906"/>
                </a:moveTo>
                <a:cubicBezTo>
                  <a:pt x="17437" y="10906"/>
                  <a:pt x="17406" y="10906"/>
                  <a:pt x="17406" y="10906"/>
                </a:cubicBezTo>
                <a:cubicBezTo>
                  <a:pt x="17250" y="10906"/>
                  <a:pt x="17094" y="10937"/>
                  <a:pt x="16969" y="10968"/>
                </a:cubicBezTo>
                <a:cubicBezTo>
                  <a:pt x="16906" y="11000"/>
                  <a:pt x="16875" y="11000"/>
                  <a:pt x="16812" y="11031"/>
                </a:cubicBezTo>
                <a:cubicBezTo>
                  <a:pt x="16844" y="11031"/>
                  <a:pt x="16875" y="11031"/>
                  <a:pt x="16906" y="11031"/>
                </a:cubicBezTo>
                <a:cubicBezTo>
                  <a:pt x="16937" y="11062"/>
                  <a:pt x="16969" y="11062"/>
                  <a:pt x="16969" y="11062"/>
                </a:cubicBezTo>
                <a:cubicBezTo>
                  <a:pt x="17000" y="11062"/>
                  <a:pt x="17031" y="11062"/>
                  <a:pt x="17031" y="11031"/>
                </a:cubicBezTo>
                <a:cubicBezTo>
                  <a:pt x="17062" y="11031"/>
                  <a:pt x="17062" y="11031"/>
                  <a:pt x="17094" y="11031"/>
                </a:cubicBezTo>
                <a:cubicBezTo>
                  <a:pt x="17094" y="11031"/>
                  <a:pt x="17094" y="11000"/>
                  <a:pt x="17125" y="11000"/>
                </a:cubicBezTo>
                <a:cubicBezTo>
                  <a:pt x="17187" y="11000"/>
                  <a:pt x="17250" y="10968"/>
                  <a:pt x="17312" y="10968"/>
                </a:cubicBezTo>
                <a:cubicBezTo>
                  <a:pt x="17344" y="10968"/>
                  <a:pt x="17375" y="10968"/>
                  <a:pt x="17406" y="10968"/>
                </a:cubicBezTo>
                <a:cubicBezTo>
                  <a:pt x="17406" y="11000"/>
                  <a:pt x="17437" y="11000"/>
                  <a:pt x="17437" y="11000"/>
                </a:cubicBezTo>
                <a:cubicBezTo>
                  <a:pt x="17437" y="11000"/>
                  <a:pt x="17437" y="11000"/>
                  <a:pt x="17469" y="11000"/>
                </a:cubicBezTo>
                <a:cubicBezTo>
                  <a:pt x="17469" y="10968"/>
                  <a:pt x="17500" y="10968"/>
                  <a:pt x="17500" y="10968"/>
                </a:cubicBezTo>
                <a:cubicBezTo>
                  <a:pt x="17500" y="10968"/>
                  <a:pt x="17500" y="10937"/>
                  <a:pt x="17500" y="10937"/>
                </a:cubicBezTo>
                <a:cubicBezTo>
                  <a:pt x="17469" y="10937"/>
                  <a:pt x="17469" y="10906"/>
                  <a:pt x="17437" y="10906"/>
                </a:cubicBezTo>
                <a:close/>
                <a:moveTo>
                  <a:pt x="16125" y="11218"/>
                </a:moveTo>
                <a:cubicBezTo>
                  <a:pt x="16125" y="11218"/>
                  <a:pt x="16156" y="11250"/>
                  <a:pt x="16156" y="11250"/>
                </a:cubicBezTo>
                <a:cubicBezTo>
                  <a:pt x="16156" y="11250"/>
                  <a:pt x="16156" y="11250"/>
                  <a:pt x="16187" y="11250"/>
                </a:cubicBezTo>
                <a:cubicBezTo>
                  <a:pt x="16187" y="11250"/>
                  <a:pt x="16187" y="11250"/>
                  <a:pt x="16187" y="11250"/>
                </a:cubicBezTo>
                <a:cubicBezTo>
                  <a:pt x="16187" y="11250"/>
                  <a:pt x="16187" y="11250"/>
                  <a:pt x="16219" y="11250"/>
                </a:cubicBezTo>
                <a:cubicBezTo>
                  <a:pt x="16219" y="11250"/>
                  <a:pt x="16219" y="11250"/>
                  <a:pt x="16219" y="11250"/>
                </a:cubicBezTo>
                <a:cubicBezTo>
                  <a:pt x="16250" y="11218"/>
                  <a:pt x="16250" y="11218"/>
                  <a:pt x="16250" y="11187"/>
                </a:cubicBezTo>
                <a:cubicBezTo>
                  <a:pt x="16250" y="11187"/>
                  <a:pt x="16250" y="11156"/>
                  <a:pt x="16219" y="11156"/>
                </a:cubicBezTo>
                <a:cubicBezTo>
                  <a:pt x="16219" y="11156"/>
                  <a:pt x="16219" y="11125"/>
                  <a:pt x="16219" y="11125"/>
                </a:cubicBezTo>
                <a:cubicBezTo>
                  <a:pt x="16219" y="11125"/>
                  <a:pt x="16187" y="11125"/>
                  <a:pt x="16156" y="11125"/>
                </a:cubicBezTo>
                <a:cubicBezTo>
                  <a:pt x="16156" y="11125"/>
                  <a:pt x="16156" y="11125"/>
                  <a:pt x="16156" y="11125"/>
                </a:cubicBezTo>
                <a:cubicBezTo>
                  <a:pt x="16156" y="11125"/>
                  <a:pt x="16156" y="11125"/>
                  <a:pt x="16156" y="11125"/>
                </a:cubicBezTo>
                <a:cubicBezTo>
                  <a:pt x="16125" y="11125"/>
                  <a:pt x="16062" y="11125"/>
                  <a:pt x="16031" y="11125"/>
                </a:cubicBezTo>
                <a:cubicBezTo>
                  <a:pt x="16000" y="11125"/>
                  <a:pt x="15937" y="11156"/>
                  <a:pt x="15906" y="11156"/>
                </a:cubicBezTo>
                <a:cubicBezTo>
                  <a:pt x="15906" y="11156"/>
                  <a:pt x="15906" y="11156"/>
                  <a:pt x="15906" y="11187"/>
                </a:cubicBezTo>
                <a:cubicBezTo>
                  <a:pt x="15906" y="11187"/>
                  <a:pt x="15906" y="11187"/>
                  <a:pt x="15906" y="11187"/>
                </a:cubicBezTo>
                <a:cubicBezTo>
                  <a:pt x="15906" y="11187"/>
                  <a:pt x="15906" y="11187"/>
                  <a:pt x="15906" y="11187"/>
                </a:cubicBezTo>
                <a:cubicBezTo>
                  <a:pt x="16031" y="11125"/>
                  <a:pt x="16062" y="11187"/>
                  <a:pt x="16125" y="11218"/>
                </a:cubicBezTo>
                <a:close/>
                <a:moveTo>
                  <a:pt x="16344" y="11375"/>
                </a:moveTo>
                <a:cubicBezTo>
                  <a:pt x="16312" y="11406"/>
                  <a:pt x="16281" y="11406"/>
                  <a:pt x="16250" y="11406"/>
                </a:cubicBezTo>
                <a:cubicBezTo>
                  <a:pt x="16219" y="11406"/>
                  <a:pt x="16187" y="11406"/>
                  <a:pt x="16156" y="11406"/>
                </a:cubicBezTo>
                <a:cubicBezTo>
                  <a:pt x="16094" y="11406"/>
                  <a:pt x="16062" y="11406"/>
                  <a:pt x="16031" y="11406"/>
                </a:cubicBezTo>
                <a:cubicBezTo>
                  <a:pt x="16000" y="11406"/>
                  <a:pt x="16000" y="11437"/>
                  <a:pt x="15969" y="11437"/>
                </a:cubicBezTo>
                <a:cubicBezTo>
                  <a:pt x="15969" y="11437"/>
                  <a:pt x="15969" y="11468"/>
                  <a:pt x="15969" y="11468"/>
                </a:cubicBezTo>
                <a:cubicBezTo>
                  <a:pt x="16000" y="11468"/>
                  <a:pt x="16062" y="11468"/>
                  <a:pt x="16125" y="11468"/>
                </a:cubicBezTo>
                <a:cubicBezTo>
                  <a:pt x="16125" y="11468"/>
                  <a:pt x="16156" y="11468"/>
                  <a:pt x="16156" y="11468"/>
                </a:cubicBezTo>
                <a:cubicBezTo>
                  <a:pt x="16187" y="11468"/>
                  <a:pt x="16219" y="11468"/>
                  <a:pt x="16250" y="11468"/>
                </a:cubicBezTo>
                <a:cubicBezTo>
                  <a:pt x="16250" y="11468"/>
                  <a:pt x="16250" y="11468"/>
                  <a:pt x="16281" y="11468"/>
                </a:cubicBezTo>
                <a:cubicBezTo>
                  <a:pt x="16281" y="11437"/>
                  <a:pt x="16312" y="11437"/>
                  <a:pt x="16344" y="11375"/>
                </a:cubicBezTo>
                <a:cubicBezTo>
                  <a:pt x="16344" y="11375"/>
                  <a:pt x="16344" y="11375"/>
                  <a:pt x="16344" y="11375"/>
                </a:cubicBezTo>
                <a:close/>
                <a:moveTo>
                  <a:pt x="26500" y="843"/>
                </a:moveTo>
                <a:cubicBezTo>
                  <a:pt x="26500" y="843"/>
                  <a:pt x="26531" y="843"/>
                  <a:pt x="26531" y="812"/>
                </a:cubicBezTo>
                <a:cubicBezTo>
                  <a:pt x="26562" y="812"/>
                  <a:pt x="26562" y="812"/>
                  <a:pt x="26562" y="812"/>
                </a:cubicBezTo>
                <a:cubicBezTo>
                  <a:pt x="26562" y="812"/>
                  <a:pt x="26594" y="812"/>
                  <a:pt x="26594" y="812"/>
                </a:cubicBezTo>
                <a:cubicBezTo>
                  <a:pt x="26594" y="781"/>
                  <a:pt x="26562" y="781"/>
                  <a:pt x="26562" y="781"/>
                </a:cubicBezTo>
                <a:cubicBezTo>
                  <a:pt x="26562" y="781"/>
                  <a:pt x="26562" y="781"/>
                  <a:pt x="26562" y="781"/>
                </a:cubicBezTo>
                <a:cubicBezTo>
                  <a:pt x="26531" y="781"/>
                  <a:pt x="26531" y="781"/>
                  <a:pt x="26531" y="781"/>
                </a:cubicBezTo>
                <a:cubicBezTo>
                  <a:pt x="26500" y="781"/>
                  <a:pt x="26469" y="781"/>
                  <a:pt x="26469" y="812"/>
                </a:cubicBezTo>
                <a:cubicBezTo>
                  <a:pt x="26469" y="812"/>
                  <a:pt x="26469" y="812"/>
                  <a:pt x="26469" y="812"/>
                </a:cubicBezTo>
                <a:cubicBezTo>
                  <a:pt x="26500" y="843"/>
                  <a:pt x="26500" y="843"/>
                  <a:pt x="26500" y="843"/>
                </a:cubicBezTo>
                <a:close/>
                <a:moveTo>
                  <a:pt x="4781" y="9718"/>
                </a:moveTo>
                <a:cubicBezTo>
                  <a:pt x="4781" y="9718"/>
                  <a:pt x="4781" y="9718"/>
                  <a:pt x="4813" y="9718"/>
                </a:cubicBezTo>
                <a:cubicBezTo>
                  <a:pt x="4813" y="9718"/>
                  <a:pt x="4813" y="9718"/>
                  <a:pt x="4844" y="9718"/>
                </a:cubicBezTo>
                <a:cubicBezTo>
                  <a:pt x="4875" y="9718"/>
                  <a:pt x="4906" y="9718"/>
                  <a:pt x="4969" y="9687"/>
                </a:cubicBezTo>
                <a:cubicBezTo>
                  <a:pt x="4969" y="9687"/>
                  <a:pt x="5000" y="9687"/>
                  <a:pt x="5031" y="9687"/>
                </a:cubicBezTo>
                <a:cubicBezTo>
                  <a:pt x="5031" y="9687"/>
                  <a:pt x="5031" y="9656"/>
                  <a:pt x="5063" y="9656"/>
                </a:cubicBezTo>
                <a:cubicBezTo>
                  <a:pt x="5094" y="9656"/>
                  <a:pt x="5125" y="9625"/>
                  <a:pt x="5156" y="9625"/>
                </a:cubicBezTo>
                <a:cubicBezTo>
                  <a:pt x="5094" y="9625"/>
                  <a:pt x="5000" y="9593"/>
                  <a:pt x="4938" y="9593"/>
                </a:cubicBezTo>
                <a:cubicBezTo>
                  <a:pt x="4906" y="9593"/>
                  <a:pt x="4875" y="9593"/>
                  <a:pt x="4844" y="9562"/>
                </a:cubicBezTo>
                <a:cubicBezTo>
                  <a:pt x="4813" y="9562"/>
                  <a:pt x="4781" y="9562"/>
                  <a:pt x="4750" y="9562"/>
                </a:cubicBezTo>
                <a:cubicBezTo>
                  <a:pt x="4750" y="9562"/>
                  <a:pt x="4719" y="9562"/>
                  <a:pt x="4719" y="9562"/>
                </a:cubicBezTo>
                <a:cubicBezTo>
                  <a:pt x="4688" y="9531"/>
                  <a:pt x="4656" y="9531"/>
                  <a:pt x="4656" y="9500"/>
                </a:cubicBezTo>
                <a:cubicBezTo>
                  <a:pt x="4656" y="9468"/>
                  <a:pt x="4688" y="9468"/>
                  <a:pt x="4719" y="9468"/>
                </a:cubicBezTo>
                <a:cubicBezTo>
                  <a:pt x="4719" y="9468"/>
                  <a:pt x="4719" y="9468"/>
                  <a:pt x="4719" y="9468"/>
                </a:cubicBezTo>
                <a:cubicBezTo>
                  <a:pt x="4719" y="9468"/>
                  <a:pt x="4719" y="9468"/>
                  <a:pt x="4750" y="9468"/>
                </a:cubicBezTo>
                <a:cubicBezTo>
                  <a:pt x="4750" y="9468"/>
                  <a:pt x="4750" y="9468"/>
                  <a:pt x="4750" y="9468"/>
                </a:cubicBezTo>
                <a:cubicBezTo>
                  <a:pt x="4813" y="9437"/>
                  <a:pt x="4813" y="9406"/>
                  <a:pt x="4750" y="9406"/>
                </a:cubicBezTo>
                <a:cubicBezTo>
                  <a:pt x="4531" y="9375"/>
                  <a:pt x="4375" y="9218"/>
                  <a:pt x="4094" y="9343"/>
                </a:cubicBezTo>
                <a:cubicBezTo>
                  <a:pt x="4156" y="9375"/>
                  <a:pt x="4219" y="9437"/>
                  <a:pt x="4250" y="9500"/>
                </a:cubicBezTo>
                <a:cubicBezTo>
                  <a:pt x="4250" y="9500"/>
                  <a:pt x="4250" y="9500"/>
                  <a:pt x="4250" y="9500"/>
                </a:cubicBezTo>
                <a:cubicBezTo>
                  <a:pt x="4250" y="9500"/>
                  <a:pt x="4250" y="9500"/>
                  <a:pt x="4250" y="9500"/>
                </a:cubicBezTo>
                <a:cubicBezTo>
                  <a:pt x="4219" y="9531"/>
                  <a:pt x="4156" y="9562"/>
                  <a:pt x="4125" y="9593"/>
                </a:cubicBezTo>
                <a:cubicBezTo>
                  <a:pt x="4125" y="9593"/>
                  <a:pt x="4094" y="9625"/>
                  <a:pt x="4094" y="9625"/>
                </a:cubicBezTo>
                <a:cubicBezTo>
                  <a:pt x="4094" y="9625"/>
                  <a:pt x="4094" y="9625"/>
                  <a:pt x="4094" y="9656"/>
                </a:cubicBezTo>
                <a:cubicBezTo>
                  <a:pt x="4094" y="9656"/>
                  <a:pt x="4094" y="9656"/>
                  <a:pt x="4094" y="9656"/>
                </a:cubicBezTo>
                <a:cubicBezTo>
                  <a:pt x="4094" y="9687"/>
                  <a:pt x="4094" y="9687"/>
                  <a:pt x="4094" y="9687"/>
                </a:cubicBezTo>
                <a:cubicBezTo>
                  <a:pt x="4063" y="9718"/>
                  <a:pt x="4063" y="9718"/>
                  <a:pt x="4000" y="9718"/>
                </a:cubicBezTo>
                <a:cubicBezTo>
                  <a:pt x="4000" y="9718"/>
                  <a:pt x="4000" y="9718"/>
                  <a:pt x="3969" y="9718"/>
                </a:cubicBezTo>
                <a:cubicBezTo>
                  <a:pt x="3938" y="9718"/>
                  <a:pt x="3906" y="9687"/>
                  <a:pt x="3875" y="9687"/>
                </a:cubicBezTo>
                <a:cubicBezTo>
                  <a:pt x="3875" y="9687"/>
                  <a:pt x="3844" y="9687"/>
                  <a:pt x="3844" y="9718"/>
                </a:cubicBezTo>
                <a:cubicBezTo>
                  <a:pt x="3844" y="9718"/>
                  <a:pt x="3844" y="9718"/>
                  <a:pt x="3844" y="9718"/>
                </a:cubicBezTo>
                <a:cubicBezTo>
                  <a:pt x="3813" y="9750"/>
                  <a:pt x="3813" y="9781"/>
                  <a:pt x="3844" y="9781"/>
                </a:cubicBezTo>
                <a:cubicBezTo>
                  <a:pt x="3875" y="9812"/>
                  <a:pt x="3906" y="9812"/>
                  <a:pt x="3969" y="9843"/>
                </a:cubicBezTo>
                <a:cubicBezTo>
                  <a:pt x="4000" y="9843"/>
                  <a:pt x="4031" y="9843"/>
                  <a:pt x="4031" y="9843"/>
                </a:cubicBezTo>
                <a:cubicBezTo>
                  <a:pt x="4063" y="9843"/>
                  <a:pt x="4094" y="9843"/>
                  <a:pt x="4094" y="9812"/>
                </a:cubicBezTo>
                <a:cubicBezTo>
                  <a:pt x="4125" y="9812"/>
                  <a:pt x="4156" y="9781"/>
                  <a:pt x="4156" y="9781"/>
                </a:cubicBezTo>
                <a:cubicBezTo>
                  <a:pt x="4156" y="9750"/>
                  <a:pt x="4156" y="9750"/>
                  <a:pt x="4188" y="9750"/>
                </a:cubicBezTo>
                <a:cubicBezTo>
                  <a:pt x="4188" y="9718"/>
                  <a:pt x="4188" y="9718"/>
                  <a:pt x="4188" y="9718"/>
                </a:cubicBezTo>
                <a:cubicBezTo>
                  <a:pt x="4188" y="9718"/>
                  <a:pt x="4219" y="9687"/>
                  <a:pt x="4219" y="9687"/>
                </a:cubicBezTo>
                <a:cubicBezTo>
                  <a:pt x="4250" y="9687"/>
                  <a:pt x="4313" y="9687"/>
                  <a:pt x="4344" y="9687"/>
                </a:cubicBezTo>
                <a:cubicBezTo>
                  <a:pt x="4344" y="9718"/>
                  <a:pt x="4344" y="9718"/>
                  <a:pt x="4344" y="9718"/>
                </a:cubicBezTo>
                <a:cubicBezTo>
                  <a:pt x="4344" y="9718"/>
                  <a:pt x="4344" y="9718"/>
                  <a:pt x="4344" y="9718"/>
                </a:cubicBezTo>
                <a:cubicBezTo>
                  <a:pt x="4375" y="9718"/>
                  <a:pt x="4375" y="9750"/>
                  <a:pt x="4375" y="9750"/>
                </a:cubicBezTo>
                <a:cubicBezTo>
                  <a:pt x="4406" y="9750"/>
                  <a:pt x="4406" y="9750"/>
                  <a:pt x="4438" y="9750"/>
                </a:cubicBezTo>
                <a:cubicBezTo>
                  <a:pt x="4469" y="9718"/>
                  <a:pt x="4500" y="9687"/>
                  <a:pt x="4531" y="9687"/>
                </a:cubicBezTo>
                <a:cubicBezTo>
                  <a:pt x="4531" y="9656"/>
                  <a:pt x="4563" y="9656"/>
                  <a:pt x="4563" y="9656"/>
                </a:cubicBezTo>
                <a:cubicBezTo>
                  <a:pt x="4594" y="9656"/>
                  <a:pt x="4594" y="9656"/>
                  <a:pt x="4625" y="9687"/>
                </a:cubicBezTo>
                <a:cubicBezTo>
                  <a:pt x="4656" y="9687"/>
                  <a:pt x="4656" y="9687"/>
                  <a:pt x="4656" y="9687"/>
                </a:cubicBezTo>
                <a:cubicBezTo>
                  <a:pt x="4688" y="9718"/>
                  <a:pt x="4719" y="9718"/>
                  <a:pt x="4750" y="9718"/>
                </a:cubicBezTo>
                <a:cubicBezTo>
                  <a:pt x="4750" y="9718"/>
                  <a:pt x="4750" y="9718"/>
                  <a:pt x="4781" y="9718"/>
                </a:cubicBezTo>
                <a:close/>
                <a:moveTo>
                  <a:pt x="17469" y="843"/>
                </a:moveTo>
                <a:cubicBezTo>
                  <a:pt x="17469" y="843"/>
                  <a:pt x="17437" y="875"/>
                  <a:pt x="17437" y="875"/>
                </a:cubicBezTo>
                <a:cubicBezTo>
                  <a:pt x="17437" y="875"/>
                  <a:pt x="17406" y="875"/>
                  <a:pt x="17406" y="875"/>
                </a:cubicBezTo>
                <a:cubicBezTo>
                  <a:pt x="17406" y="875"/>
                  <a:pt x="17406" y="875"/>
                  <a:pt x="17406" y="906"/>
                </a:cubicBezTo>
                <a:cubicBezTo>
                  <a:pt x="17406" y="906"/>
                  <a:pt x="17437" y="906"/>
                  <a:pt x="17469" y="906"/>
                </a:cubicBezTo>
                <a:cubicBezTo>
                  <a:pt x="17469" y="906"/>
                  <a:pt x="17469" y="906"/>
                  <a:pt x="17500" y="906"/>
                </a:cubicBezTo>
                <a:cubicBezTo>
                  <a:pt x="17500" y="906"/>
                  <a:pt x="17531" y="906"/>
                  <a:pt x="17531" y="906"/>
                </a:cubicBezTo>
                <a:cubicBezTo>
                  <a:pt x="17531" y="906"/>
                  <a:pt x="17531" y="875"/>
                  <a:pt x="17531" y="875"/>
                </a:cubicBezTo>
                <a:cubicBezTo>
                  <a:pt x="17531" y="875"/>
                  <a:pt x="17531" y="843"/>
                  <a:pt x="17500" y="843"/>
                </a:cubicBezTo>
                <a:cubicBezTo>
                  <a:pt x="17500" y="843"/>
                  <a:pt x="17500" y="843"/>
                  <a:pt x="17469" y="843"/>
                </a:cubicBezTo>
                <a:close/>
                <a:moveTo>
                  <a:pt x="29812" y="7093"/>
                </a:moveTo>
                <a:cubicBezTo>
                  <a:pt x="29875" y="7062"/>
                  <a:pt x="29937" y="7031"/>
                  <a:pt x="30000" y="7000"/>
                </a:cubicBezTo>
                <a:cubicBezTo>
                  <a:pt x="30000" y="7000"/>
                  <a:pt x="30031" y="7000"/>
                  <a:pt x="30031" y="6968"/>
                </a:cubicBezTo>
                <a:cubicBezTo>
                  <a:pt x="30062" y="6968"/>
                  <a:pt x="30125" y="6968"/>
                  <a:pt x="30187" y="7000"/>
                </a:cubicBezTo>
                <a:cubicBezTo>
                  <a:pt x="30125" y="6968"/>
                  <a:pt x="30094" y="6906"/>
                  <a:pt x="30031" y="6906"/>
                </a:cubicBezTo>
                <a:cubicBezTo>
                  <a:pt x="30000" y="6875"/>
                  <a:pt x="30000" y="6875"/>
                  <a:pt x="29969" y="6875"/>
                </a:cubicBezTo>
                <a:cubicBezTo>
                  <a:pt x="29937" y="6875"/>
                  <a:pt x="29937" y="6875"/>
                  <a:pt x="29906" y="6875"/>
                </a:cubicBezTo>
                <a:cubicBezTo>
                  <a:pt x="29875" y="6906"/>
                  <a:pt x="29844" y="6906"/>
                  <a:pt x="29844" y="6937"/>
                </a:cubicBezTo>
                <a:cubicBezTo>
                  <a:pt x="29812" y="6968"/>
                  <a:pt x="29812" y="7031"/>
                  <a:pt x="29781" y="7062"/>
                </a:cubicBezTo>
                <a:cubicBezTo>
                  <a:pt x="29781" y="7062"/>
                  <a:pt x="29781" y="7093"/>
                  <a:pt x="29750" y="7093"/>
                </a:cubicBezTo>
                <a:cubicBezTo>
                  <a:pt x="29750" y="7093"/>
                  <a:pt x="29750" y="7093"/>
                  <a:pt x="29750" y="7093"/>
                </a:cubicBezTo>
                <a:cubicBezTo>
                  <a:pt x="29750" y="7093"/>
                  <a:pt x="29750" y="7093"/>
                  <a:pt x="29750" y="7093"/>
                </a:cubicBezTo>
                <a:cubicBezTo>
                  <a:pt x="29781" y="7093"/>
                  <a:pt x="29812" y="7093"/>
                  <a:pt x="29812" y="7093"/>
                </a:cubicBezTo>
                <a:close/>
                <a:moveTo>
                  <a:pt x="28687" y="3156"/>
                </a:moveTo>
                <a:cubicBezTo>
                  <a:pt x="28719" y="3156"/>
                  <a:pt x="28750" y="3156"/>
                  <a:pt x="28781" y="3156"/>
                </a:cubicBezTo>
                <a:cubicBezTo>
                  <a:pt x="28844" y="3156"/>
                  <a:pt x="28875" y="3125"/>
                  <a:pt x="28906" y="3125"/>
                </a:cubicBezTo>
                <a:cubicBezTo>
                  <a:pt x="28969" y="3093"/>
                  <a:pt x="29031" y="3062"/>
                  <a:pt x="29125" y="3062"/>
                </a:cubicBezTo>
                <a:cubicBezTo>
                  <a:pt x="29062" y="3031"/>
                  <a:pt x="29031" y="3031"/>
                  <a:pt x="29000" y="3031"/>
                </a:cubicBezTo>
                <a:cubicBezTo>
                  <a:pt x="28969" y="3031"/>
                  <a:pt x="28969" y="3031"/>
                  <a:pt x="28969" y="3031"/>
                </a:cubicBezTo>
                <a:cubicBezTo>
                  <a:pt x="28937" y="3031"/>
                  <a:pt x="28906" y="3031"/>
                  <a:pt x="28906" y="3031"/>
                </a:cubicBezTo>
                <a:cubicBezTo>
                  <a:pt x="28875" y="3031"/>
                  <a:pt x="28844" y="3031"/>
                  <a:pt x="28812" y="3062"/>
                </a:cubicBezTo>
                <a:cubicBezTo>
                  <a:pt x="28781" y="3062"/>
                  <a:pt x="28750" y="3093"/>
                  <a:pt x="28719" y="3125"/>
                </a:cubicBezTo>
                <a:cubicBezTo>
                  <a:pt x="28687" y="3125"/>
                  <a:pt x="28687" y="3156"/>
                  <a:pt x="28687" y="3156"/>
                </a:cubicBezTo>
                <a:close/>
                <a:moveTo>
                  <a:pt x="5000" y="9343"/>
                </a:moveTo>
                <a:cubicBezTo>
                  <a:pt x="5000" y="9343"/>
                  <a:pt x="5000" y="9343"/>
                  <a:pt x="5000" y="9343"/>
                </a:cubicBezTo>
                <a:cubicBezTo>
                  <a:pt x="5000" y="9343"/>
                  <a:pt x="5000" y="9343"/>
                  <a:pt x="5000" y="9343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4969" y="9312"/>
                  <a:pt x="4969" y="9343"/>
                </a:cubicBezTo>
                <a:cubicBezTo>
                  <a:pt x="4969" y="9343"/>
                  <a:pt x="5000" y="9343"/>
                  <a:pt x="5000" y="9343"/>
                </a:cubicBezTo>
                <a:close/>
                <a:moveTo>
                  <a:pt x="29531" y="9750"/>
                </a:moveTo>
                <a:cubicBezTo>
                  <a:pt x="29500" y="9750"/>
                  <a:pt x="29500" y="9750"/>
                  <a:pt x="29500" y="9750"/>
                </a:cubicBezTo>
                <a:cubicBezTo>
                  <a:pt x="29406" y="9781"/>
                  <a:pt x="29312" y="9781"/>
                  <a:pt x="29281" y="9875"/>
                </a:cubicBezTo>
                <a:cubicBezTo>
                  <a:pt x="29344" y="9843"/>
                  <a:pt x="29406" y="9843"/>
                  <a:pt x="29469" y="9812"/>
                </a:cubicBezTo>
                <a:cubicBezTo>
                  <a:pt x="29500" y="9812"/>
                  <a:pt x="29500" y="9781"/>
                  <a:pt x="29531" y="9750"/>
                </a:cubicBezTo>
                <a:cubicBezTo>
                  <a:pt x="29531" y="9750"/>
                  <a:pt x="29531" y="9750"/>
                  <a:pt x="29531" y="9750"/>
                </a:cubicBezTo>
                <a:close/>
                <a:moveTo>
                  <a:pt x="29687" y="9531"/>
                </a:moveTo>
                <a:cubicBezTo>
                  <a:pt x="29687" y="9531"/>
                  <a:pt x="29687" y="9531"/>
                  <a:pt x="29687" y="9531"/>
                </a:cubicBezTo>
                <a:cubicBezTo>
                  <a:pt x="29687" y="9531"/>
                  <a:pt x="29687" y="9531"/>
                  <a:pt x="29687" y="9531"/>
                </a:cubicBezTo>
                <a:cubicBezTo>
                  <a:pt x="29656" y="9531"/>
                  <a:pt x="29656" y="9531"/>
                  <a:pt x="29656" y="9531"/>
                </a:cubicBezTo>
                <a:cubicBezTo>
                  <a:pt x="29625" y="9531"/>
                  <a:pt x="29625" y="9531"/>
                  <a:pt x="29625" y="9531"/>
                </a:cubicBezTo>
                <a:cubicBezTo>
                  <a:pt x="29594" y="9562"/>
                  <a:pt x="29594" y="9562"/>
                  <a:pt x="29625" y="9593"/>
                </a:cubicBezTo>
                <a:cubicBezTo>
                  <a:pt x="29625" y="9593"/>
                  <a:pt x="29625" y="9593"/>
                  <a:pt x="29625" y="9593"/>
                </a:cubicBezTo>
                <a:cubicBezTo>
                  <a:pt x="29625" y="9625"/>
                  <a:pt x="29625" y="9625"/>
                  <a:pt x="29687" y="9625"/>
                </a:cubicBezTo>
                <a:cubicBezTo>
                  <a:pt x="29687" y="9625"/>
                  <a:pt x="29687" y="9625"/>
                  <a:pt x="29687" y="9625"/>
                </a:cubicBezTo>
                <a:cubicBezTo>
                  <a:pt x="29687" y="9625"/>
                  <a:pt x="29687" y="9625"/>
                  <a:pt x="29687" y="9625"/>
                </a:cubicBezTo>
                <a:cubicBezTo>
                  <a:pt x="29719" y="9625"/>
                  <a:pt x="29750" y="9593"/>
                  <a:pt x="29750" y="9562"/>
                </a:cubicBezTo>
                <a:cubicBezTo>
                  <a:pt x="29750" y="9562"/>
                  <a:pt x="29750" y="9562"/>
                  <a:pt x="29750" y="9531"/>
                </a:cubicBezTo>
                <a:cubicBezTo>
                  <a:pt x="29719" y="9531"/>
                  <a:pt x="29719" y="9531"/>
                  <a:pt x="29687" y="9531"/>
                </a:cubicBezTo>
                <a:close/>
                <a:moveTo>
                  <a:pt x="29125" y="10093"/>
                </a:moveTo>
                <a:cubicBezTo>
                  <a:pt x="29094" y="10093"/>
                  <a:pt x="29062" y="10093"/>
                  <a:pt x="29031" y="10125"/>
                </a:cubicBezTo>
                <a:cubicBezTo>
                  <a:pt x="28969" y="10125"/>
                  <a:pt x="28937" y="10125"/>
                  <a:pt x="28844" y="10156"/>
                </a:cubicBezTo>
                <a:cubicBezTo>
                  <a:pt x="28875" y="10156"/>
                  <a:pt x="28906" y="10156"/>
                  <a:pt x="28906" y="10156"/>
                </a:cubicBezTo>
                <a:cubicBezTo>
                  <a:pt x="29000" y="10187"/>
                  <a:pt x="29062" y="10187"/>
                  <a:pt x="29125" y="10125"/>
                </a:cubicBezTo>
                <a:cubicBezTo>
                  <a:pt x="29125" y="10125"/>
                  <a:pt x="29125" y="10093"/>
                  <a:pt x="29125" y="10093"/>
                </a:cubicBezTo>
                <a:cubicBezTo>
                  <a:pt x="29125" y="10093"/>
                  <a:pt x="29125" y="10093"/>
                  <a:pt x="29125" y="10093"/>
                </a:cubicBezTo>
                <a:close/>
                <a:moveTo>
                  <a:pt x="30219" y="9250"/>
                </a:moveTo>
                <a:cubicBezTo>
                  <a:pt x="30187" y="9250"/>
                  <a:pt x="30156" y="9250"/>
                  <a:pt x="30125" y="9281"/>
                </a:cubicBezTo>
                <a:cubicBezTo>
                  <a:pt x="30156" y="9281"/>
                  <a:pt x="30187" y="9312"/>
                  <a:pt x="30219" y="9312"/>
                </a:cubicBezTo>
                <a:cubicBezTo>
                  <a:pt x="30250" y="9312"/>
                  <a:pt x="30281" y="9312"/>
                  <a:pt x="30281" y="9312"/>
                </a:cubicBezTo>
                <a:cubicBezTo>
                  <a:pt x="30312" y="9312"/>
                  <a:pt x="30344" y="9281"/>
                  <a:pt x="30375" y="9281"/>
                </a:cubicBezTo>
                <a:cubicBezTo>
                  <a:pt x="30344" y="9281"/>
                  <a:pt x="30344" y="9281"/>
                  <a:pt x="30344" y="9281"/>
                </a:cubicBezTo>
                <a:cubicBezTo>
                  <a:pt x="30281" y="9281"/>
                  <a:pt x="30250" y="9250"/>
                  <a:pt x="30219" y="9250"/>
                </a:cubicBezTo>
                <a:close/>
                <a:moveTo>
                  <a:pt x="31000" y="9250"/>
                </a:moveTo>
                <a:cubicBezTo>
                  <a:pt x="31000" y="9250"/>
                  <a:pt x="31000" y="9218"/>
                  <a:pt x="30969" y="9218"/>
                </a:cubicBezTo>
                <a:cubicBezTo>
                  <a:pt x="30969" y="9218"/>
                  <a:pt x="30969" y="9218"/>
                  <a:pt x="30937" y="9218"/>
                </a:cubicBezTo>
                <a:cubicBezTo>
                  <a:pt x="30937" y="9250"/>
                  <a:pt x="30937" y="9250"/>
                  <a:pt x="30906" y="9250"/>
                </a:cubicBezTo>
                <a:cubicBezTo>
                  <a:pt x="30875" y="9218"/>
                  <a:pt x="30844" y="9218"/>
                  <a:pt x="30781" y="9218"/>
                </a:cubicBezTo>
                <a:cubicBezTo>
                  <a:pt x="30750" y="9218"/>
                  <a:pt x="30719" y="9218"/>
                  <a:pt x="30656" y="9250"/>
                </a:cubicBezTo>
                <a:cubicBezTo>
                  <a:pt x="30656" y="9250"/>
                  <a:pt x="30656" y="9250"/>
                  <a:pt x="30625" y="9250"/>
                </a:cubicBezTo>
                <a:cubicBezTo>
                  <a:pt x="30625" y="9250"/>
                  <a:pt x="30594" y="9250"/>
                  <a:pt x="30594" y="9250"/>
                </a:cubicBezTo>
                <a:cubicBezTo>
                  <a:pt x="30594" y="9250"/>
                  <a:pt x="30562" y="9250"/>
                  <a:pt x="30562" y="9250"/>
                </a:cubicBezTo>
                <a:cubicBezTo>
                  <a:pt x="30562" y="9250"/>
                  <a:pt x="30531" y="9250"/>
                  <a:pt x="30531" y="9250"/>
                </a:cubicBezTo>
                <a:cubicBezTo>
                  <a:pt x="30500" y="9250"/>
                  <a:pt x="30500" y="9281"/>
                  <a:pt x="30469" y="9281"/>
                </a:cubicBezTo>
                <a:cubicBezTo>
                  <a:pt x="30500" y="9281"/>
                  <a:pt x="30500" y="9312"/>
                  <a:pt x="30531" y="9312"/>
                </a:cubicBezTo>
                <a:cubicBezTo>
                  <a:pt x="30531" y="9312"/>
                  <a:pt x="30531" y="9312"/>
                  <a:pt x="30562" y="9312"/>
                </a:cubicBezTo>
                <a:cubicBezTo>
                  <a:pt x="30562" y="9312"/>
                  <a:pt x="30594" y="9312"/>
                  <a:pt x="30594" y="9312"/>
                </a:cubicBezTo>
                <a:cubicBezTo>
                  <a:pt x="30625" y="9312"/>
                  <a:pt x="30625" y="9312"/>
                  <a:pt x="30625" y="9312"/>
                </a:cubicBezTo>
                <a:cubicBezTo>
                  <a:pt x="30750" y="9312"/>
                  <a:pt x="30844" y="9312"/>
                  <a:pt x="30937" y="9312"/>
                </a:cubicBezTo>
                <a:cubicBezTo>
                  <a:pt x="30969" y="9312"/>
                  <a:pt x="31000" y="9312"/>
                  <a:pt x="31000" y="9281"/>
                </a:cubicBezTo>
                <a:cubicBezTo>
                  <a:pt x="31031" y="9281"/>
                  <a:pt x="31031" y="9281"/>
                  <a:pt x="31031" y="9250"/>
                </a:cubicBezTo>
                <a:cubicBezTo>
                  <a:pt x="31031" y="9250"/>
                  <a:pt x="31031" y="9250"/>
                  <a:pt x="31000" y="9250"/>
                </a:cubicBezTo>
                <a:close/>
                <a:moveTo>
                  <a:pt x="10781" y="11906"/>
                </a:moveTo>
                <a:cubicBezTo>
                  <a:pt x="10781" y="11906"/>
                  <a:pt x="10781" y="11906"/>
                  <a:pt x="10812" y="11906"/>
                </a:cubicBezTo>
                <a:cubicBezTo>
                  <a:pt x="10812" y="11906"/>
                  <a:pt x="10812" y="11906"/>
                  <a:pt x="10812" y="11906"/>
                </a:cubicBezTo>
                <a:cubicBezTo>
                  <a:pt x="10812" y="11875"/>
                  <a:pt x="10812" y="11875"/>
                  <a:pt x="10781" y="11875"/>
                </a:cubicBezTo>
                <a:cubicBezTo>
                  <a:pt x="10781" y="11875"/>
                  <a:pt x="10781" y="11875"/>
                  <a:pt x="10781" y="11875"/>
                </a:cubicBezTo>
                <a:cubicBezTo>
                  <a:pt x="10781" y="11875"/>
                  <a:pt x="10750" y="11875"/>
                  <a:pt x="10750" y="11875"/>
                </a:cubicBezTo>
                <a:cubicBezTo>
                  <a:pt x="10750" y="11875"/>
                  <a:pt x="10750" y="11875"/>
                  <a:pt x="10750" y="11875"/>
                </a:cubicBezTo>
                <a:cubicBezTo>
                  <a:pt x="10750" y="11875"/>
                  <a:pt x="10750" y="11906"/>
                  <a:pt x="10750" y="11906"/>
                </a:cubicBezTo>
                <a:cubicBezTo>
                  <a:pt x="10750" y="11906"/>
                  <a:pt x="10781" y="11906"/>
                  <a:pt x="10781" y="11906"/>
                </a:cubicBezTo>
                <a:close/>
                <a:moveTo>
                  <a:pt x="28781" y="9750"/>
                </a:moveTo>
                <a:cubicBezTo>
                  <a:pt x="28750" y="9781"/>
                  <a:pt x="28750" y="9781"/>
                  <a:pt x="28719" y="9781"/>
                </a:cubicBezTo>
                <a:cubicBezTo>
                  <a:pt x="28687" y="9781"/>
                  <a:pt x="28687" y="9781"/>
                  <a:pt x="28687" y="9781"/>
                </a:cubicBezTo>
                <a:cubicBezTo>
                  <a:pt x="28625" y="9781"/>
                  <a:pt x="28625" y="9812"/>
                  <a:pt x="28625" y="9843"/>
                </a:cubicBezTo>
                <a:cubicBezTo>
                  <a:pt x="28625" y="9875"/>
                  <a:pt x="28625" y="9875"/>
                  <a:pt x="28625" y="9906"/>
                </a:cubicBezTo>
                <a:cubicBezTo>
                  <a:pt x="28656" y="9906"/>
                  <a:pt x="28656" y="9906"/>
                  <a:pt x="28656" y="9906"/>
                </a:cubicBezTo>
                <a:cubicBezTo>
                  <a:pt x="28656" y="9906"/>
                  <a:pt x="28656" y="9906"/>
                  <a:pt x="28656" y="9906"/>
                </a:cubicBezTo>
                <a:cubicBezTo>
                  <a:pt x="28656" y="9906"/>
                  <a:pt x="28656" y="9906"/>
                  <a:pt x="28656" y="9906"/>
                </a:cubicBezTo>
                <a:cubicBezTo>
                  <a:pt x="28656" y="9906"/>
                  <a:pt x="28687" y="9875"/>
                  <a:pt x="28719" y="9875"/>
                </a:cubicBezTo>
                <a:cubicBezTo>
                  <a:pt x="28750" y="9843"/>
                  <a:pt x="28812" y="9843"/>
                  <a:pt x="28812" y="9812"/>
                </a:cubicBezTo>
                <a:cubicBezTo>
                  <a:pt x="28812" y="9812"/>
                  <a:pt x="28812" y="9781"/>
                  <a:pt x="28812" y="9781"/>
                </a:cubicBezTo>
                <a:cubicBezTo>
                  <a:pt x="28812" y="9781"/>
                  <a:pt x="28781" y="9750"/>
                  <a:pt x="28781" y="9750"/>
                </a:cubicBezTo>
                <a:close/>
                <a:moveTo>
                  <a:pt x="28031" y="1531"/>
                </a:moveTo>
                <a:cubicBezTo>
                  <a:pt x="28031" y="1531"/>
                  <a:pt x="28031" y="1531"/>
                  <a:pt x="28031" y="1531"/>
                </a:cubicBezTo>
                <a:cubicBezTo>
                  <a:pt x="28031" y="1531"/>
                  <a:pt x="28031" y="1531"/>
                  <a:pt x="28031" y="1531"/>
                </a:cubicBezTo>
                <a:cubicBezTo>
                  <a:pt x="28062" y="1500"/>
                  <a:pt x="28094" y="1500"/>
                  <a:pt x="28125" y="1468"/>
                </a:cubicBezTo>
                <a:cubicBezTo>
                  <a:pt x="28125" y="1437"/>
                  <a:pt x="28125" y="1437"/>
                  <a:pt x="28156" y="1437"/>
                </a:cubicBezTo>
                <a:cubicBezTo>
                  <a:pt x="28187" y="1437"/>
                  <a:pt x="28187" y="1406"/>
                  <a:pt x="28219" y="1406"/>
                </a:cubicBezTo>
                <a:cubicBezTo>
                  <a:pt x="28219" y="1406"/>
                  <a:pt x="28187" y="1375"/>
                  <a:pt x="28156" y="1375"/>
                </a:cubicBezTo>
                <a:cubicBezTo>
                  <a:pt x="28125" y="1375"/>
                  <a:pt x="28125" y="1343"/>
                  <a:pt x="28094" y="1343"/>
                </a:cubicBezTo>
                <a:cubicBezTo>
                  <a:pt x="27969" y="1375"/>
                  <a:pt x="28000" y="1437"/>
                  <a:pt x="27969" y="1468"/>
                </a:cubicBezTo>
                <a:cubicBezTo>
                  <a:pt x="27937" y="1500"/>
                  <a:pt x="27969" y="1531"/>
                  <a:pt x="28031" y="1531"/>
                </a:cubicBezTo>
                <a:close/>
                <a:moveTo>
                  <a:pt x="15906" y="11437"/>
                </a:moveTo>
                <a:cubicBezTo>
                  <a:pt x="15875" y="11437"/>
                  <a:pt x="15875" y="11406"/>
                  <a:pt x="15844" y="11406"/>
                </a:cubicBezTo>
                <a:cubicBezTo>
                  <a:pt x="15844" y="11406"/>
                  <a:pt x="15812" y="11406"/>
                  <a:pt x="15781" y="11406"/>
                </a:cubicBezTo>
                <a:cubicBezTo>
                  <a:pt x="15719" y="11468"/>
                  <a:pt x="15625" y="11500"/>
                  <a:pt x="15531" y="11531"/>
                </a:cubicBezTo>
                <a:cubicBezTo>
                  <a:pt x="15469" y="11562"/>
                  <a:pt x="15437" y="11593"/>
                  <a:pt x="15406" y="11656"/>
                </a:cubicBezTo>
                <a:cubicBezTo>
                  <a:pt x="15437" y="11625"/>
                  <a:pt x="15500" y="11625"/>
                  <a:pt x="15531" y="11625"/>
                </a:cubicBezTo>
                <a:cubicBezTo>
                  <a:pt x="15625" y="11593"/>
                  <a:pt x="15687" y="11562"/>
                  <a:pt x="15750" y="11531"/>
                </a:cubicBezTo>
                <a:cubicBezTo>
                  <a:pt x="15781" y="11500"/>
                  <a:pt x="15812" y="11500"/>
                  <a:pt x="15844" y="11468"/>
                </a:cubicBezTo>
                <a:cubicBezTo>
                  <a:pt x="15844" y="11468"/>
                  <a:pt x="15875" y="11468"/>
                  <a:pt x="15875" y="11468"/>
                </a:cubicBezTo>
                <a:cubicBezTo>
                  <a:pt x="15906" y="11468"/>
                  <a:pt x="15906" y="11468"/>
                  <a:pt x="15906" y="11437"/>
                </a:cubicBezTo>
                <a:cubicBezTo>
                  <a:pt x="15906" y="11437"/>
                  <a:pt x="15906" y="11437"/>
                  <a:pt x="15906" y="1143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176A6A7D-DED5-D343-890E-C8598E5D4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CD104851-9ECD-C349-9A03-2125E772C5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12064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4" fill="hold" nodeType="with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47">
            <a:extLst>
              <a:ext uri="{FF2B5EF4-FFF2-40B4-BE49-F238E27FC236}">
                <a16:creationId xmlns:a16="http://schemas.microsoft.com/office/drawing/2014/main" id="{0C26135D-BE87-3D40-83C7-77CA5BCB6243}"/>
              </a:ext>
            </a:extLst>
          </p:cNvPr>
          <p:cNvSpPr>
            <a:spLocks noGrp="1" noEditPoints="1"/>
          </p:cNvSpPr>
          <p:nvPr>
            <p:ph type="pic" sz="quarter" idx="32"/>
          </p:nvPr>
        </p:nvSpPr>
        <p:spPr bwMode="auto">
          <a:xfrm>
            <a:off x="372109" y="261015"/>
            <a:ext cx="12407646" cy="3959982"/>
          </a:xfrm>
          <a:custGeom>
            <a:avLst/>
            <a:gdLst>
              <a:gd name="T0" fmla="*/ 2688 w 35875"/>
              <a:gd name="T1" fmla="*/ 9375 h 18032"/>
              <a:gd name="T2" fmla="*/ 1031 w 35875"/>
              <a:gd name="T3" fmla="*/ 9782 h 18032"/>
              <a:gd name="T4" fmla="*/ 1625 w 35875"/>
              <a:gd name="T5" fmla="*/ 8625 h 18032"/>
              <a:gd name="T6" fmla="*/ 1031 w 35875"/>
              <a:gd name="T7" fmla="*/ 8157 h 18032"/>
              <a:gd name="T8" fmla="*/ 31 w 35875"/>
              <a:gd name="T9" fmla="*/ 8750 h 18032"/>
              <a:gd name="T10" fmla="*/ 3750 w 35875"/>
              <a:gd name="T11" fmla="*/ 4188 h 18032"/>
              <a:gd name="T12" fmla="*/ 4531 w 35875"/>
              <a:gd name="T13" fmla="*/ 5500 h 18032"/>
              <a:gd name="T14" fmla="*/ 5406 w 35875"/>
              <a:gd name="T15" fmla="*/ 5594 h 18032"/>
              <a:gd name="T16" fmla="*/ 8500 w 35875"/>
              <a:gd name="T17" fmla="*/ 1844 h 18032"/>
              <a:gd name="T18" fmla="*/ 10469 w 35875"/>
              <a:gd name="T19" fmla="*/ 3344 h 18032"/>
              <a:gd name="T20" fmla="*/ 12625 w 35875"/>
              <a:gd name="T21" fmla="*/ 2907 h 18032"/>
              <a:gd name="T22" fmla="*/ 16281 w 35875"/>
              <a:gd name="T23" fmla="*/ 2125 h 18032"/>
              <a:gd name="T24" fmla="*/ 21094 w 35875"/>
              <a:gd name="T25" fmla="*/ 1907 h 18032"/>
              <a:gd name="T26" fmla="*/ 24969 w 35875"/>
              <a:gd name="T27" fmla="*/ 1969 h 18032"/>
              <a:gd name="T28" fmla="*/ 29906 w 35875"/>
              <a:gd name="T29" fmla="*/ 2063 h 18032"/>
              <a:gd name="T30" fmla="*/ 33313 w 35875"/>
              <a:gd name="T31" fmla="*/ 6563 h 18032"/>
              <a:gd name="T32" fmla="*/ 30906 w 35875"/>
              <a:gd name="T33" fmla="*/ 11438 h 18032"/>
              <a:gd name="T34" fmla="*/ 24094 w 35875"/>
              <a:gd name="T35" fmla="*/ 17782 h 18032"/>
              <a:gd name="T36" fmla="*/ 22594 w 35875"/>
              <a:gd name="T37" fmla="*/ 16313 h 18032"/>
              <a:gd name="T38" fmla="*/ 18563 w 35875"/>
              <a:gd name="T39" fmla="*/ 16688 h 18032"/>
              <a:gd name="T40" fmla="*/ 16781 w 35875"/>
              <a:gd name="T41" fmla="*/ 17688 h 18032"/>
              <a:gd name="T42" fmla="*/ 15875 w 35875"/>
              <a:gd name="T43" fmla="*/ 17719 h 18032"/>
              <a:gd name="T44" fmla="*/ 15281 w 35875"/>
              <a:gd name="T45" fmla="*/ 17032 h 18032"/>
              <a:gd name="T46" fmla="*/ 13313 w 35875"/>
              <a:gd name="T47" fmla="*/ 17032 h 18032"/>
              <a:gd name="T48" fmla="*/ 14313 w 35875"/>
              <a:gd name="T49" fmla="*/ 15282 h 18032"/>
              <a:gd name="T50" fmla="*/ 13563 w 35875"/>
              <a:gd name="T51" fmla="*/ 15844 h 18032"/>
              <a:gd name="T52" fmla="*/ 12125 w 35875"/>
              <a:gd name="T53" fmla="*/ 16407 h 18032"/>
              <a:gd name="T54" fmla="*/ 11469 w 35875"/>
              <a:gd name="T55" fmla="*/ 15657 h 18032"/>
              <a:gd name="T56" fmla="*/ 12781 w 35875"/>
              <a:gd name="T57" fmla="*/ 13032 h 18032"/>
              <a:gd name="T58" fmla="*/ 10844 w 35875"/>
              <a:gd name="T59" fmla="*/ 14875 h 18032"/>
              <a:gd name="T60" fmla="*/ 10344 w 35875"/>
              <a:gd name="T61" fmla="*/ 14563 h 18032"/>
              <a:gd name="T62" fmla="*/ 9531 w 35875"/>
              <a:gd name="T63" fmla="*/ 14688 h 18032"/>
              <a:gd name="T64" fmla="*/ 8438 w 35875"/>
              <a:gd name="T65" fmla="*/ 14313 h 18032"/>
              <a:gd name="T66" fmla="*/ 10000 w 35875"/>
              <a:gd name="T67" fmla="*/ 12344 h 18032"/>
              <a:gd name="T68" fmla="*/ 9125 w 35875"/>
              <a:gd name="T69" fmla="*/ 12625 h 18032"/>
              <a:gd name="T70" fmla="*/ 8875 w 35875"/>
              <a:gd name="T71" fmla="*/ 12750 h 18032"/>
              <a:gd name="T72" fmla="*/ 8969 w 35875"/>
              <a:gd name="T73" fmla="*/ 12313 h 18032"/>
              <a:gd name="T74" fmla="*/ 8344 w 35875"/>
              <a:gd name="T75" fmla="*/ 12250 h 18032"/>
              <a:gd name="T76" fmla="*/ 8375 w 35875"/>
              <a:gd name="T77" fmla="*/ 11844 h 18032"/>
              <a:gd name="T78" fmla="*/ 7625 w 35875"/>
              <a:gd name="T79" fmla="*/ 11438 h 18032"/>
              <a:gd name="T80" fmla="*/ 6313 w 35875"/>
              <a:gd name="T81" fmla="*/ 12250 h 18032"/>
              <a:gd name="T82" fmla="*/ 7094 w 35875"/>
              <a:gd name="T83" fmla="*/ 10563 h 18032"/>
              <a:gd name="T84" fmla="*/ 6406 w 35875"/>
              <a:gd name="T85" fmla="*/ 11094 h 18032"/>
              <a:gd name="T86" fmla="*/ 6750 w 35875"/>
              <a:gd name="T87" fmla="*/ 10063 h 18032"/>
              <a:gd name="T88" fmla="*/ 5344 w 35875"/>
              <a:gd name="T89" fmla="*/ 10407 h 18032"/>
              <a:gd name="T90" fmla="*/ 3844 w 35875"/>
              <a:gd name="T91" fmla="*/ 11844 h 18032"/>
              <a:gd name="T92" fmla="*/ 4750 w 35875"/>
              <a:gd name="T93" fmla="*/ 10438 h 18032"/>
              <a:gd name="T94" fmla="*/ 3094 w 35875"/>
              <a:gd name="T95" fmla="*/ 11625 h 18032"/>
              <a:gd name="T96" fmla="*/ 35813 w 35875"/>
              <a:gd name="T97" fmla="*/ 16813 h 18032"/>
              <a:gd name="T98" fmla="*/ 14063 w 35875"/>
              <a:gd name="T99" fmla="*/ 15782 h 18032"/>
              <a:gd name="T100" fmla="*/ 10969 w 35875"/>
              <a:gd name="T101" fmla="*/ 16657 h 18032"/>
              <a:gd name="T102" fmla="*/ 10469 w 35875"/>
              <a:gd name="T103" fmla="*/ 16469 h 18032"/>
              <a:gd name="T104" fmla="*/ 29813 w 35875"/>
              <a:gd name="T105" fmla="*/ 13125 h 18032"/>
              <a:gd name="T106" fmla="*/ 8219 w 35875"/>
              <a:gd name="T107" fmla="*/ 14219 h 18032"/>
              <a:gd name="T108" fmla="*/ 7688 w 35875"/>
              <a:gd name="T109" fmla="*/ 13219 h 18032"/>
              <a:gd name="T110" fmla="*/ 13531 w 35875"/>
              <a:gd name="T111" fmla="*/ 16375 h 18032"/>
              <a:gd name="T112" fmla="*/ 1563 w 35875"/>
              <a:gd name="T113" fmla="*/ 5907 h 18032"/>
              <a:gd name="T114" fmla="*/ 2938 w 35875"/>
              <a:gd name="T115" fmla="*/ 3875 h 18032"/>
              <a:gd name="T116" fmla="*/ 5531 w 35875"/>
              <a:gd name="T117" fmla="*/ 10625 h 18032"/>
              <a:gd name="T118" fmla="*/ 8094 w 35875"/>
              <a:gd name="T119" fmla="*/ 14094 h 18032"/>
              <a:gd name="T120" fmla="*/ 27875 w 35875"/>
              <a:gd name="T121" fmla="*/ 15407 h 18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75" h="18032">
                <a:moveTo>
                  <a:pt x="2125" y="11438"/>
                </a:moveTo>
                <a:cubicBezTo>
                  <a:pt x="2094" y="11407"/>
                  <a:pt x="2063" y="11407"/>
                  <a:pt x="2063" y="11438"/>
                </a:cubicBezTo>
                <a:cubicBezTo>
                  <a:pt x="2063" y="11438"/>
                  <a:pt x="2063" y="11438"/>
                  <a:pt x="2063" y="11469"/>
                </a:cubicBezTo>
                <a:cubicBezTo>
                  <a:pt x="2031" y="11469"/>
                  <a:pt x="2000" y="11500"/>
                  <a:pt x="2031" y="11532"/>
                </a:cubicBezTo>
                <a:cubicBezTo>
                  <a:pt x="2031" y="11532"/>
                  <a:pt x="2063" y="11532"/>
                  <a:pt x="2063" y="11532"/>
                </a:cubicBezTo>
                <a:cubicBezTo>
                  <a:pt x="2063" y="11500"/>
                  <a:pt x="2063" y="11500"/>
                  <a:pt x="2063" y="11469"/>
                </a:cubicBezTo>
                <a:cubicBezTo>
                  <a:pt x="2094" y="11469"/>
                  <a:pt x="2125" y="11469"/>
                  <a:pt x="2125" y="11469"/>
                </a:cubicBezTo>
                <a:cubicBezTo>
                  <a:pt x="2125" y="11438"/>
                  <a:pt x="2125" y="11438"/>
                  <a:pt x="2125" y="11438"/>
                </a:cubicBezTo>
                <a:cubicBezTo>
                  <a:pt x="2125" y="11407"/>
                  <a:pt x="2125" y="11375"/>
                  <a:pt x="2125" y="11344"/>
                </a:cubicBezTo>
                <a:cubicBezTo>
                  <a:pt x="2156" y="11250"/>
                  <a:pt x="2250" y="11157"/>
                  <a:pt x="2313" y="11094"/>
                </a:cubicBezTo>
                <a:cubicBezTo>
                  <a:pt x="2375" y="11032"/>
                  <a:pt x="2438" y="10969"/>
                  <a:pt x="2500" y="10907"/>
                </a:cubicBezTo>
                <a:cubicBezTo>
                  <a:pt x="2625" y="10750"/>
                  <a:pt x="2719" y="10563"/>
                  <a:pt x="2906" y="10438"/>
                </a:cubicBezTo>
                <a:cubicBezTo>
                  <a:pt x="3031" y="10344"/>
                  <a:pt x="2938" y="10188"/>
                  <a:pt x="2844" y="10125"/>
                </a:cubicBezTo>
                <a:cubicBezTo>
                  <a:pt x="2688" y="10063"/>
                  <a:pt x="2781" y="9969"/>
                  <a:pt x="2813" y="9875"/>
                </a:cubicBezTo>
                <a:cubicBezTo>
                  <a:pt x="2938" y="9594"/>
                  <a:pt x="3125" y="9375"/>
                  <a:pt x="3313" y="9157"/>
                </a:cubicBezTo>
                <a:cubicBezTo>
                  <a:pt x="3031" y="9250"/>
                  <a:pt x="3000" y="9657"/>
                  <a:pt x="2625" y="9688"/>
                </a:cubicBezTo>
                <a:cubicBezTo>
                  <a:pt x="2656" y="9563"/>
                  <a:pt x="2750" y="9563"/>
                  <a:pt x="2781" y="9500"/>
                </a:cubicBezTo>
                <a:cubicBezTo>
                  <a:pt x="2813" y="9469"/>
                  <a:pt x="2813" y="9407"/>
                  <a:pt x="2813" y="9375"/>
                </a:cubicBezTo>
                <a:cubicBezTo>
                  <a:pt x="2781" y="9375"/>
                  <a:pt x="2781" y="9375"/>
                  <a:pt x="2750" y="9375"/>
                </a:cubicBezTo>
                <a:cubicBezTo>
                  <a:pt x="2750" y="9375"/>
                  <a:pt x="2719" y="9375"/>
                  <a:pt x="2688" y="9375"/>
                </a:cubicBezTo>
                <a:cubicBezTo>
                  <a:pt x="2688" y="9375"/>
                  <a:pt x="2688" y="9375"/>
                  <a:pt x="2688" y="9375"/>
                </a:cubicBezTo>
                <a:cubicBezTo>
                  <a:pt x="2688" y="9375"/>
                  <a:pt x="2688" y="9375"/>
                  <a:pt x="2688" y="9375"/>
                </a:cubicBezTo>
                <a:cubicBezTo>
                  <a:pt x="2688" y="9375"/>
                  <a:pt x="2688" y="9375"/>
                  <a:pt x="2688" y="9375"/>
                </a:cubicBezTo>
                <a:cubicBezTo>
                  <a:pt x="2688" y="9407"/>
                  <a:pt x="2656" y="9438"/>
                  <a:pt x="2656" y="9469"/>
                </a:cubicBezTo>
                <a:cubicBezTo>
                  <a:pt x="2625" y="9500"/>
                  <a:pt x="2594" y="9500"/>
                  <a:pt x="2563" y="9532"/>
                </a:cubicBezTo>
                <a:cubicBezTo>
                  <a:pt x="2531" y="9688"/>
                  <a:pt x="2406" y="9782"/>
                  <a:pt x="2250" y="9875"/>
                </a:cubicBezTo>
                <a:cubicBezTo>
                  <a:pt x="2313" y="9625"/>
                  <a:pt x="2219" y="9469"/>
                  <a:pt x="2031" y="9500"/>
                </a:cubicBezTo>
                <a:cubicBezTo>
                  <a:pt x="1969" y="9688"/>
                  <a:pt x="1844" y="9782"/>
                  <a:pt x="1719" y="9938"/>
                </a:cubicBezTo>
                <a:cubicBezTo>
                  <a:pt x="1656" y="10000"/>
                  <a:pt x="1594" y="10063"/>
                  <a:pt x="1531" y="10125"/>
                </a:cubicBezTo>
                <a:cubicBezTo>
                  <a:pt x="1531" y="10125"/>
                  <a:pt x="1500" y="10157"/>
                  <a:pt x="1500" y="10157"/>
                </a:cubicBezTo>
                <a:cubicBezTo>
                  <a:pt x="1500" y="10157"/>
                  <a:pt x="1500" y="10157"/>
                  <a:pt x="1500" y="10157"/>
                </a:cubicBezTo>
                <a:cubicBezTo>
                  <a:pt x="1438" y="10157"/>
                  <a:pt x="1375" y="10094"/>
                  <a:pt x="1344" y="10125"/>
                </a:cubicBezTo>
                <a:cubicBezTo>
                  <a:pt x="1344" y="10157"/>
                  <a:pt x="1344" y="10157"/>
                  <a:pt x="1344" y="10157"/>
                </a:cubicBezTo>
                <a:cubicBezTo>
                  <a:pt x="1344" y="10157"/>
                  <a:pt x="1344" y="10157"/>
                  <a:pt x="1344" y="10157"/>
                </a:cubicBezTo>
                <a:cubicBezTo>
                  <a:pt x="1281" y="10188"/>
                  <a:pt x="1375" y="10313"/>
                  <a:pt x="1250" y="10282"/>
                </a:cubicBezTo>
                <a:cubicBezTo>
                  <a:pt x="1250" y="10250"/>
                  <a:pt x="1281" y="10219"/>
                  <a:pt x="1281" y="10188"/>
                </a:cubicBezTo>
                <a:cubicBezTo>
                  <a:pt x="1281" y="10188"/>
                  <a:pt x="1281" y="10157"/>
                  <a:pt x="1281" y="10157"/>
                </a:cubicBezTo>
                <a:cubicBezTo>
                  <a:pt x="1250" y="10157"/>
                  <a:pt x="1250" y="10157"/>
                  <a:pt x="1250" y="10094"/>
                </a:cubicBezTo>
                <a:cubicBezTo>
                  <a:pt x="1250" y="10063"/>
                  <a:pt x="1281" y="10032"/>
                  <a:pt x="1313" y="10063"/>
                </a:cubicBezTo>
                <a:cubicBezTo>
                  <a:pt x="1313" y="10063"/>
                  <a:pt x="1313" y="10063"/>
                  <a:pt x="1313" y="10063"/>
                </a:cubicBezTo>
                <a:cubicBezTo>
                  <a:pt x="1344" y="10000"/>
                  <a:pt x="1344" y="9907"/>
                  <a:pt x="1344" y="9844"/>
                </a:cubicBezTo>
                <a:cubicBezTo>
                  <a:pt x="1313" y="9844"/>
                  <a:pt x="1250" y="9813"/>
                  <a:pt x="1188" y="9813"/>
                </a:cubicBezTo>
                <a:cubicBezTo>
                  <a:pt x="1188" y="9813"/>
                  <a:pt x="1156" y="9782"/>
                  <a:pt x="1125" y="9782"/>
                </a:cubicBezTo>
                <a:cubicBezTo>
                  <a:pt x="1094" y="9782"/>
                  <a:pt x="1063" y="9782"/>
                  <a:pt x="1031" y="9782"/>
                </a:cubicBezTo>
                <a:cubicBezTo>
                  <a:pt x="1000" y="9782"/>
                  <a:pt x="969" y="9782"/>
                  <a:pt x="938" y="9782"/>
                </a:cubicBezTo>
                <a:cubicBezTo>
                  <a:pt x="938" y="9657"/>
                  <a:pt x="1063" y="9625"/>
                  <a:pt x="1125" y="9532"/>
                </a:cubicBezTo>
                <a:cubicBezTo>
                  <a:pt x="1125" y="9532"/>
                  <a:pt x="1188" y="9500"/>
                  <a:pt x="1188" y="9500"/>
                </a:cubicBezTo>
                <a:cubicBezTo>
                  <a:pt x="1281" y="9719"/>
                  <a:pt x="1344" y="9469"/>
                  <a:pt x="1438" y="9500"/>
                </a:cubicBezTo>
                <a:cubicBezTo>
                  <a:pt x="1563" y="9250"/>
                  <a:pt x="1813" y="9157"/>
                  <a:pt x="1906" y="8907"/>
                </a:cubicBezTo>
                <a:cubicBezTo>
                  <a:pt x="1938" y="8844"/>
                  <a:pt x="1969" y="8813"/>
                  <a:pt x="1969" y="8782"/>
                </a:cubicBezTo>
                <a:cubicBezTo>
                  <a:pt x="1969" y="8782"/>
                  <a:pt x="1969" y="8782"/>
                  <a:pt x="1938" y="8782"/>
                </a:cubicBezTo>
                <a:cubicBezTo>
                  <a:pt x="1781" y="8813"/>
                  <a:pt x="1750" y="9032"/>
                  <a:pt x="1531" y="9094"/>
                </a:cubicBezTo>
                <a:cubicBezTo>
                  <a:pt x="1688" y="8907"/>
                  <a:pt x="1781" y="8782"/>
                  <a:pt x="1875" y="8625"/>
                </a:cubicBezTo>
                <a:cubicBezTo>
                  <a:pt x="1906" y="8594"/>
                  <a:pt x="1969" y="8563"/>
                  <a:pt x="2000" y="8532"/>
                </a:cubicBezTo>
                <a:cubicBezTo>
                  <a:pt x="2000" y="8532"/>
                  <a:pt x="2031" y="8500"/>
                  <a:pt x="2031" y="8500"/>
                </a:cubicBezTo>
                <a:cubicBezTo>
                  <a:pt x="2031" y="8469"/>
                  <a:pt x="2031" y="8438"/>
                  <a:pt x="2031" y="8375"/>
                </a:cubicBezTo>
                <a:cubicBezTo>
                  <a:pt x="2031" y="8375"/>
                  <a:pt x="2031" y="8375"/>
                  <a:pt x="2031" y="8375"/>
                </a:cubicBezTo>
                <a:cubicBezTo>
                  <a:pt x="2031" y="8375"/>
                  <a:pt x="2031" y="8375"/>
                  <a:pt x="2031" y="8375"/>
                </a:cubicBezTo>
                <a:cubicBezTo>
                  <a:pt x="2031" y="8375"/>
                  <a:pt x="2031" y="8375"/>
                  <a:pt x="2031" y="8375"/>
                </a:cubicBezTo>
                <a:cubicBezTo>
                  <a:pt x="2000" y="8344"/>
                  <a:pt x="1969" y="8313"/>
                  <a:pt x="1969" y="8313"/>
                </a:cubicBezTo>
                <a:cubicBezTo>
                  <a:pt x="1938" y="8344"/>
                  <a:pt x="1938" y="8344"/>
                  <a:pt x="1938" y="8344"/>
                </a:cubicBezTo>
                <a:cubicBezTo>
                  <a:pt x="1938" y="8375"/>
                  <a:pt x="1906" y="8375"/>
                  <a:pt x="1906" y="8375"/>
                </a:cubicBezTo>
                <a:cubicBezTo>
                  <a:pt x="1844" y="8500"/>
                  <a:pt x="1750" y="8594"/>
                  <a:pt x="1625" y="8625"/>
                </a:cubicBezTo>
                <a:cubicBezTo>
                  <a:pt x="1625" y="8625"/>
                  <a:pt x="1625" y="8625"/>
                  <a:pt x="1625" y="8625"/>
                </a:cubicBezTo>
                <a:cubicBezTo>
                  <a:pt x="1625" y="8625"/>
                  <a:pt x="1625" y="8657"/>
                  <a:pt x="1625" y="8657"/>
                </a:cubicBezTo>
                <a:cubicBezTo>
                  <a:pt x="1625" y="8657"/>
                  <a:pt x="1625" y="8625"/>
                  <a:pt x="1625" y="8625"/>
                </a:cubicBezTo>
                <a:cubicBezTo>
                  <a:pt x="1625" y="8625"/>
                  <a:pt x="1625" y="8625"/>
                  <a:pt x="1625" y="8625"/>
                </a:cubicBezTo>
                <a:cubicBezTo>
                  <a:pt x="1656" y="8500"/>
                  <a:pt x="1844" y="8438"/>
                  <a:pt x="1813" y="8282"/>
                </a:cubicBezTo>
                <a:cubicBezTo>
                  <a:pt x="1813" y="8282"/>
                  <a:pt x="1781" y="8282"/>
                  <a:pt x="1750" y="8313"/>
                </a:cubicBezTo>
                <a:cubicBezTo>
                  <a:pt x="1719" y="8344"/>
                  <a:pt x="1719" y="8344"/>
                  <a:pt x="1719" y="8313"/>
                </a:cubicBezTo>
                <a:cubicBezTo>
                  <a:pt x="1719" y="8157"/>
                  <a:pt x="1875" y="8125"/>
                  <a:pt x="1938" y="8032"/>
                </a:cubicBezTo>
                <a:cubicBezTo>
                  <a:pt x="1938" y="8032"/>
                  <a:pt x="1938" y="8032"/>
                  <a:pt x="1938" y="8000"/>
                </a:cubicBezTo>
                <a:cubicBezTo>
                  <a:pt x="1938" y="8000"/>
                  <a:pt x="1938" y="8000"/>
                  <a:pt x="1938" y="8000"/>
                </a:cubicBezTo>
                <a:cubicBezTo>
                  <a:pt x="1969" y="8000"/>
                  <a:pt x="1938" y="7969"/>
                  <a:pt x="1969" y="7969"/>
                </a:cubicBezTo>
                <a:cubicBezTo>
                  <a:pt x="1969" y="7969"/>
                  <a:pt x="1969" y="7969"/>
                  <a:pt x="2000" y="7969"/>
                </a:cubicBezTo>
                <a:cubicBezTo>
                  <a:pt x="2000" y="7969"/>
                  <a:pt x="2000" y="7969"/>
                  <a:pt x="2000" y="7969"/>
                </a:cubicBezTo>
                <a:cubicBezTo>
                  <a:pt x="2000" y="7969"/>
                  <a:pt x="2000" y="7969"/>
                  <a:pt x="2000" y="7969"/>
                </a:cubicBezTo>
                <a:cubicBezTo>
                  <a:pt x="2000" y="7938"/>
                  <a:pt x="2000" y="7907"/>
                  <a:pt x="2000" y="7875"/>
                </a:cubicBezTo>
                <a:cubicBezTo>
                  <a:pt x="2000" y="7844"/>
                  <a:pt x="2031" y="7782"/>
                  <a:pt x="2000" y="7782"/>
                </a:cubicBezTo>
                <a:cubicBezTo>
                  <a:pt x="1938" y="7719"/>
                  <a:pt x="1906" y="7782"/>
                  <a:pt x="1875" y="7813"/>
                </a:cubicBezTo>
                <a:cubicBezTo>
                  <a:pt x="1688" y="8063"/>
                  <a:pt x="1438" y="8313"/>
                  <a:pt x="1188" y="8532"/>
                </a:cubicBezTo>
                <a:cubicBezTo>
                  <a:pt x="1063" y="8657"/>
                  <a:pt x="906" y="8813"/>
                  <a:pt x="750" y="8938"/>
                </a:cubicBezTo>
                <a:cubicBezTo>
                  <a:pt x="719" y="9000"/>
                  <a:pt x="688" y="9032"/>
                  <a:pt x="656" y="9063"/>
                </a:cubicBezTo>
                <a:cubicBezTo>
                  <a:pt x="531" y="9219"/>
                  <a:pt x="375" y="9313"/>
                  <a:pt x="219" y="9407"/>
                </a:cubicBezTo>
                <a:cubicBezTo>
                  <a:pt x="344" y="9219"/>
                  <a:pt x="406" y="9000"/>
                  <a:pt x="594" y="8875"/>
                </a:cubicBezTo>
                <a:cubicBezTo>
                  <a:pt x="656" y="8782"/>
                  <a:pt x="750" y="8688"/>
                  <a:pt x="813" y="8594"/>
                </a:cubicBezTo>
                <a:cubicBezTo>
                  <a:pt x="969" y="8469"/>
                  <a:pt x="1188" y="8407"/>
                  <a:pt x="1094" y="8125"/>
                </a:cubicBezTo>
                <a:cubicBezTo>
                  <a:pt x="1094" y="8125"/>
                  <a:pt x="1063" y="8125"/>
                  <a:pt x="1031" y="8157"/>
                </a:cubicBezTo>
                <a:cubicBezTo>
                  <a:pt x="1000" y="8219"/>
                  <a:pt x="969" y="8188"/>
                  <a:pt x="938" y="8157"/>
                </a:cubicBezTo>
                <a:cubicBezTo>
                  <a:pt x="875" y="8094"/>
                  <a:pt x="969" y="8063"/>
                  <a:pt x="969" y="8032"/>
                </a:cubicBezTo>
                <a:cubicBezTo>
                  <a:pt x="1156" y="8032"/>
                  <a:pt x="1156" y="7875"/>
                  <a:pt x="1188" y="7782"/>
                </a:cubicBezTo>
                <a:cubicBezTo>
                  <a:pt x="969" y="7844"/>
                  <a:pt x="875" y="8032"/>
                  <a:pt x="719" y="8188"/>
                </a:cubicBezTo>
                <a:cubicBezTo>
                  <a:pt x="688" y="8188"/>
                  <a:pt x="656" y="8219"/>
                  <a:pt x="656" y="8250"/>
                </a:cubicBezTo>
                <a:cubicBezTo>
                  <a:pt x="594" y="8313"/>
                  <a:pt x="531" y="8375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500"/>
                  <a:pt x="469" y="8500"/>
                  <a:pt x="469" y="8500"/>
                </a:cubicBezTo>
                <a:cubicBezTo>
                  <a:pt x="469" y="8500"/>
                  <a:pt x="469" y="8500"/>
                  <a:pt x="469" y="8500"/>
                </a:cubicBezTo>
                <a:cubicBezTo>
                  <a:pt x="438" y="8500"/>
                  <a:pt x="438" y="8500"/>
                  <a:pt x="438" y="8500"/>
                </a:cubicBezTo>
                <a:cubicBezTo>
                  <a:pt x="406" y="8532"/>
                  <a:pt x="406" y="8532"/>
                  <a:pt x="375" y="8563"/>
                </a:cubicBezTo>
                <a:cubicBezTo>
                  <a:pt x="375" y="8563"/>
                  <a:pt x="344" y="8563"/>
                  <a:pt x="344" y="8563"/>
                </a:cubicBezTo>
                <a:cubicBezTo>
                  <a:pt x="344" y="8563"/>
                  <a:pt x="344" y="8563"/>
                  <a:pt x="344" y="8563"/>
                </a:cubicBezTo>
                <a:cubicBezTo>
                  <a:pt x="344" y="8563"/>
                  <a:pt x="344" y="8563"/>
                  <a:pt x="344" y="8563"/>
                </a:cubicBezTo>
                <a:cubicBezTo>
                  <a:pt x="313" y="8625"/>
                  <a:pt x="250" y="8657"/>
                  <a:pt x="219" y="8688"/>
                </a:cubicBezTo>
                <a:cubicBezTo>
                  <a:pt x="188" y="8719"/>
                  <a:pt x="125" y="8782"/>
                  <a:pt x="94" y="8813"/>
                </a:cubicBezTo>
                <a:cubicBezTo>
                  <a:pt x="63" y="8844"/>
                  <a:pt x="63" y="8844"/>
                  <a:pt x="31" y="8813"/>
                </a:cubicBezTo>
                <a:cubicBezTo>
                  <a:pt x="0" y="8813"/>
                  <a:pt x="0" y="8782"/>
                  <a:pt x="31" y="8750"/>
                </a:cubicBezTo>
                <a:cubicBezTo>
                  <a:pt x="63" y="8719"/>
                  <a:pt x="94" y="8657"/>
                  <a:pt x="156" y="8625"/>
                </a:cubicBezTo>
                <a:cubicBezTo>
                  <a:pt x="188" y="8563"/>
                  <a:pt x="219" y="8532"/>
                  <a:pt x="281" y="8500"/>
                </a:cubicBezTo>
                <a:cubicBezTo>
                  <a:pt x="281" y="8500"/>
                  <a:pt x="313" y="8469"/>
                  <a:pt x="344" y="8438"/>
                </a:cubicBezTo>
                <a:cubicBezTo>
                  <a:pt x="344" y="8407"/>
                  <a:pt x="375" y="8375"/>
                  <a:pt x="438" y="8375"/>
                </a:cubicBezTo>
                <a:cubicBezTo>
                  <a:pt x="469" y="8282"/>
                  <a:pt x="531" y="8219"/>
                  <a:pt x="594" y="8125"/>
                </a:cubicBezTo>
                <a:cubicBezTo>
                  <a:pt x="844" y="7782"/>
                  <a:pt x="1188" y="7532"/>
                  <a:pt x="1406" y="7157"/>
                </a:cubicBezTo>
                <a:cubicBezTo>
                  <a:pt x="1375" y="7032"/>
                  <a:pt x="1313" y="7094"/>
                  <a:pt x="1250" y="7094"/>
                </a:cubicBezTo>
                <a:cubicBezTo>
                  <a:pt x="1250" y="7125"/>
                  <a:pt x="1219" y="7125"/>
                  <a:pt x="1219" y="7157"/>
                </a:cubicBezTo>
                <a:cubicBezTo>
                  <a:pt x="1219" y="7157"/>
                  <a:pt x="1219" y="7188"/>
                  <a:pt x="1219" y="7188"/>
                </a:cubicBezTo>
                <a:cubicBezTo>
                  <a:pt x="1219" y="7219"/>
                  <a:pt x="1219" y="7219"/>
                  <a:pt x="1219" y="7250"/>
                </a:cubicBezTo>
                <a:cubicBezTo>
                  <a:pt x="1219" y="7250"/>
                  <a:pt x="1219" y="7250"/>
                  <a:pt x="1219" y="7282"/>
                </a:cubicBezTo>
                <a:cubicBezTo>
                  <a:pt x="1250" y="7313"/>
                  <a:pt x="1219" y="7313"/>
                  <a:pt x="1125" y="7250"/>
                </a:cubicBezTo>
                <a:cubicBezTo>
                  <a:pt x="1063" y="7188"/>
                  <a:pt x="1031" y="7282"/>
                  <a:pt x="969" y="7219"/>
                </a:cubicBezTo>
                <a:cubicBezTo>
                  <a:pt x="1063" y="7157"/>
                  <a:pt x="1125" y="7125"/>
                  <a:pt x="1188" y="7063"/>
                </a:cubicBezTo>
                <a:cubicBezTo>
                  <a:pt x="1219" y="6938"/>
                  <a:pt x="1313" y="6844"/>
                  <a:pt x="1406" y="6750"/>
                </a:cubicBezTo>
                <a:cubicBezTo>
                  <a:pt x="1469" y="6688"/>
                  <a:pt x="1531" y="6625"/>
                  <a:pt x="1469" y="6500"/>
                </a:cubicBezTo>
                <a:cubicBezTo>
                  <a:pt x="1438" y="6407"/>
                  <a:pt x="1563" y="6313"/>
                  <a:pt x="1625" y="6282"/>
                </a:cubicBezTo>
                <a:cubicBezTo>
                  <a:pt x="1844" y="6157"/>
                  <a:pt x="1844" y="5875"/>
                  <a:pt x="2063" y="5813"/>
                </a:cubicBezTo>
                <a:cubicBezTo>
                  <a:pt x="2125" y="5469"/>
                  <a:pt x="2406" y="5313"/>
                  <a:pt x="2594" y="5094"/>
                </a:cubicBezTo>
                <a:cubicBezTo>
                  <a:pt x="2719" y="4938"/>
                  <a:pt x="2844" y="4782"/>
                  <a:pt x="3000" y="4688"/>
                </a:cubicBezTo>
                <a:cubicBezTo>
                  <a:pt x="3094" y="4594"/>
                  <a:pt x="3250" y="4625"/>
                  <a:pt x="3344" y="4532"/>
                </a:cubicBezTo>
                <a:cubicBezTo>
                  <a:pt x="3500" y="4438"/>
                  <a:pt x="3594" y="4250"/>
                  <a:pt x="3750" y="4188"/>
                </a:cubicBezTo>
                <a:cubicBezTo>
                  <a:pt x="3781" y="4188"/>
                  <a:pt x="3813" y="4094"/>
                  <a:pt x="3875" y="4188"/>
                </a:cubicBezTo>
                <a:cubicBezTo>
                  <a:pt x="3875" y="4219"/>
                  <a:pt x="3906" y="4282"/>
                  <a:pt x="3844" y="4313"/>
                </a:cubicBezTo>
                <a:cubicBezTo>
                  <a:pt x="3656" y="4375"/>
                  <a:pt x="3781" y="4469"/>
                  <a:pt x="3813" y="4563"/>
                </a:cubicBezTo>
                <a:cubicBezTo>
                  <a:pt x="3813" y="4563"/>
                  <a:pt x="3844" y="4563"/>
                  <a:pt x="3844" y="4563"/>
                </a:cubicBezTo>
                <a:cubicBezTo>
                  <a:pt x="3844" y="4563"/>
                  <a:pt x="3844" y="4563"/>
                  <a:pt x="3844" y="4563"/>
                </a:cubicBezTo>
                <a:cubicBezTo>
                  <a:pt x="3969" y="4563"/>
                  <a:pt x="4063" y="4500"/>
                  <a:pt x="4156" y="4438"/>
                </a:cubicBezTo>
                <a:cubicBezTo>
                  <a:pt x="4219" y="4375"/>
                  <a:pt x="4313" y="4313"/>
                  <a:pt x="4375" y="4250"/>
                </a:cubicBezTo>
                <a:cubicBezTo>
                  <a:pt x="4500" y="4188"/>
                  <a:pt x="4563" y="4094"/>
                  <a:pt x="4750" y="4032"/>
                </a:cubicBezTo>
                <a:cubicBezTo>
                  <a:pt x="4594" y="4344"/>
                  <a:pt x="4313" y="4469"/>
                  <a:pt x="4156" y="4719"/>
                </a:cubicBezTo>
                <a:cubicBezTo>
                  <a:pt x="4156" y="4750"/>
                  <a:pt x="4156" y="4782"/>
                  <a:pt x="4188" y="4844"/>
                </a:cubicBezTo>
                <a:cubicBezTo>
                  <a:pt x="4313" y="4657"/>
                  <a:pt x="4500" y="4532"/>
                  <a:pt x="4656" y="4375"/>
                </a:cubicBezTo>
                <a:cubicBezTo>
                  <a:pt x="4750" y="4313"/>
                  <a:pt x="4813" y="4188"/>
                  <a:pt x="5000" y="4282"/>
                </a:cubicBezTo>
                <a:cubicBezTo>
                  <a:pt x="4781" y="4532"/>
                  <a:pt x="4563" y="4750"/>
                  <a:pt x="4375" y="5000"/>
                </a:cubicBezTo>
                <a:cubicBezTo>
                  <a:pt x="4344" y="5000"/>
                  <a:pt x="4344" y="5032"/>
                  <a:pt x="4313" y="5032"/>
                </a:cubicBezTo>
                <a:cubicBezTo>
                  <a:pt x="4375" y="5094"/>
                  <a:pt x="4375" y="5094"/>
                  <a:pt x="4406" y="5094"/>
                </a:cubicBezTo>
                <a:cubicBezTo>
                  <a:pt x="4438" y="5094"/>
                  <a:pt x="4469" y="4969"/>
                  <a:pt x="4531" y="5032"/>
                </a:cubicBezTo>
                <a:cubicBezTo>
                  <a:pt x="4500" y="5125"/>
                  <a:pt x="4563" y="5282"/>
                  <a:pt x="4406" y="5375"/>
                </a:cubicBezTo>
                <a:cubicBezTo>
                  <a:pt x="4375" y="5438"/>
                  <a:pt x="4344" y="5500"/>
                  <a:pt x="4281" y="5532"/>
                </a:cubicBezTo>
                <a:cubicBezTo>
                  <a:pt x="4281" y="5563"/>
                  <a:pt x="4281" y="5563"/>
                  <a:pt x="4281" y="5594"/>
                </a:cubicBezTo>
                <a:cubicBezTo>
                  <a:pt x="4313" y="5594"/>
                  <a:pt x="4344" y="5594"/>
                  <a:pt x="4375" y="5594"/>
                </a:cubicBezTo>
                <a:cubicBezTo>
                  <a:pt x="4406" y="5594"/>
                  <a:pt x="4469" y="5563"/>
                  <a:pt x="4531" y="5532"/>
                </a:cubicBezTo>
                <a:cubicBezTo>
                  <a:pt x="4531" y="5532"/>
                  <a:pt x="4531" y="5500"/>
                  <a:pt x="4531" y="5500"/>
                </a:cubicBezTo>
                <a:cubicBezTo>
                  <a:pt x="4531" y="5344"/>
                  <a:pt x="4688" y="5469"/>
                  <a:pt x="4719" y="5375"/>
                </a:cubicBezTo>
                <a:cubicBezTo>
                  <a:pt x="4719" y="5344"/>
                  <a:pt x="4781" y="5282"/>
                  <a:pt x="4781" y="5250"/>
                </a:cubicBezTo>
                <a:cubicBezTo>
                  <a:pt x="4781" y="5157"/>
                  <a:pt x="4813" y="5094"/>
                  <a:pt x="4875" y="5063"/>
                </a:cubicBezTo>
                <a:cubicBezTo>
                  <a:pt x="4938" y="5000"/>
                  <a:pt x="5031" y="4875"/>
                  <a:pt x="5094" y="4969"/>
                </a:cubicBezTo>
                <a:cubicBezTo>
                  <a:pt x="5156" y="5032"/>
                  <a:pt x="5031" y="5094"/>
                  <a:pt x="4969" y="5094"/>
                </a:cubicBezTo>
                <a:cubicBezTo>
                  <a:pt x="4875" y="5125"/>
                  <a:pt x="5000" y="5188"/>
                  <a:pt x="4969" y="5219"/>
                </a:cubicBezTo>
                <a:cubicBezTo>
                  <a:pt x="4906" y="5344"/>
                  <a:pt x="4813" y="5438"/>
                  <a:pt x="4719" y="5500"/>
                </a:cubicBezTo>
                <a:cubicBezTo>
                  <a:pt x="4719" y="5532"/>
                  <a:pt x="4719" y="5563"/>
                  <a:pt x="4688" y="5563"/>
                </a:cubicBezTo>
                <a:cubicBezTo>
                  <a:pt x="4688" y="5594"/>
                  <a:pt x="4688" y="5625"/>
                  <a:pt x="4656" y="5625"/>
                </a:cubicBezTo>
                <a:cubicBezTo>
                  <a:pt x="4594" y="5688"/>
                  <a:pt x="4563" y="5782"/>
                  <a:pt x="4500" y="5844"/>
                </a:cubicBezTo>
                <a:cubicBezTo>
                  <a:pt x="4406" y="5938"/>
                  <a:pt x="4469" y="6000"/>
                  <a:pt x="4531" y="6063"/>
                </a:cubicBezTo>
                <a:cubicBezTo>
                  <a:pt x="4563" y="6094"/>
                  <a:pt x="4625" y="6000"/>
                  <a:pt x="4656" y="5969"/>
                </a:cubicBezTo>
                <a:cubicBezTo>
                  <a:pt x="4750" y="5844"/>
                  <a:pt x="4844" y="5719"/>
                  <a:pt x="4938" y="5625"/>
                </a:cubicBezTo>
                <a:cubicBezTo>
                  <a:pt x="5000" y="5563"/>
                  <a:pt x="5031" y="5532"/>
                  <a:pt x="5063" y="5469"/>
                </a:cubicBezTo>
                <a:cubicBezTo>
                  <a:pt x="5125" y="5407"/>
                  <a:pt x="5188" y="5344"/>
                  <a:pt x="5281" y="5313"/>
                </a:cubicBezTo>
                <a:cubicBezTo>
                  <a:pt x="5281" y="5282"/>
                  <a:pt x="5281" y="5282"/>
                  <a:pt x="5281" y="5282"/>
                </a:cubicBezTo>
                <a:cubicBezTo>
                  <a:pt x="5281" y="5282"/>
                  <a:pt x="5313" y="5282"/>
                  <a:pt x="5313" y="5250"/>
                </a:cubicBezTo>
                <a:cubicBezTo>
                  <a:pt x="5313" y="5250"/>
                  <a:pt x="5344" y="5250"/>
                  <a:pt x="5344" y="5250"/>
                </a:cubicBezTo>
                <a:cubicBezTo>
                  <a:pt x="5375" y="5219"/>
                  <a:pt x="5375" y="5219"/>
                  <a:pt x="5406" y="5219"/>
                </a:cubicBezTo>
                <a:cubicBezTo>
                  <a:pt x="5438" y="5188"/>
                  <a:pt x="5469" y="5188"/>
                  <a:pt x="5531" y="5157"/>
                </a:cubicBezTo>
                <a:cubicBezTo>
                  <a:pt x="5563" y="5375"/>
                  <a:pt x="5375" y="5438"/>
                  <a:pt x="5281" y="5563"/>
                </a:cubicBezTo>
                <a:cubicBezTo>
                  <a:pt x="5313" y="5594"/>
                  <a:pt x="5375" y="5625"/>
                  <a:pt x="5406" y="5594"/>
                </a:cubicBezTo>
                <a:cubicBezTo>
                  <a:pt x="5406" y="5563"/>
                  <a:pt x="5438" y="5563"/>
                  <a:pt x="5469" y="5563"/>
                </a:cubicBezTo>
                <a:cubicBezTo>
                  <a:pt x="5625" y="5500"/>
                  <a:pt x="5719" y="5313"/>
                  <a:pt x="5906" y="5250"/>
                </a:cubicBezTo>
                <a:cubicBezTo>
                  <a:pt x="5906" y="5282"/>
                  <a:pt x="5875" y="5313"/>
                  <a:pt x="5844" y="5344"/>
                </a:cubicBezTo>
                <a:cubicBezTo>
                  <a:pt x="5719" y="5532"/>
                  <a:pt x="5531" y="5719"/>
                  <a:pt x="5375" y="5907"/>
                </a:cubicBezTo>
                <a:cubicBezTo>
                  <a:pt x="5375" y="5907"/>
                  <a:pt x="5375" y="5907"/>
                  <a:pt x="5375" y="5907"/>
                </a:cubicBezTo>
                <a:cubicBezTo>
                  <a:pt x="5500" y="5969"/>
                  <a:pt x="5594" y="5813"/>
                  <a:pt x="5625" y="5782"/>
                </a:cubicBezTo>
                <a:cubicBezTo>
                  <a:pt x="5781" y="5563"/>
                  <a:pt x="6000" y="5407"/>
                  <a:pt x="6125" y="5188"/>
                </a:cubicBezTo>
                <a:cubicBezTo>
                  <a:pt x="6188" y="5094"/>
                  <a:pt x="6219" y="4969"/>
                  <a:pt x="6188" y="4907"/>
                </a:cubicBezTo>
                <a:cubicBezTo>
                  <a:pt x="6125" y="4813"/>
                  <a:pt x="6188" y="4782"/>
                  <a:pt x="6219" y="4782"/>
                </a:cubicBezTo>
                <a:cubicBezTo>
                  <a:pt x="6438" y="4813"/>
                  <a:pt x="6531" y="4657"/>
                  <a:pt x="6594" y="4500"/>
                </a:cubicBezTo>
                <a:cubicBezTo>
                  <a:pt x="6656" y="4375"/>
                  <a:pt x="6844" y="4344"/>
                  <a:pt x="6719" y="4157"/>
                </a:cubicBezTo>
                <a:cubicBezTo>
                  <a:pt x="6719" y="4157"/>
                  <a:pt x="6750" y="4094"/>
                  <a:pt x="6781" y="4063"/>
                </a:cubicBezTo>
                <a:cubicBezTo>
                  <a:pt x="6844" y="4063"/>
                  <a:pt x="6906" y="4032"/>
                  <a:pt x="6906" y="3969"/>
                </a:cubicBezTo>
                <a:cubicBezTo>
                  <a:pt x="6875" y="3875"/>
                  <a:pt x="6813" y="3969"/>
                  <a:pt x="6750" y="3938"/>
                </a:cubicBezTo>
                <a:cubicBezTo>
                  <a:pt x="6719" y="3938"/>
                  <a:pt x="6688" y="3938"/>
                  <a:pt x="6656" y="3938"/>
                </a:cubicBezTo>
                <a:cubicBezTo>
                  <a:pt x="6688" y="3782"/>
                  <a:pt x="6906" y="3844"/>
                  <a:pt x="6938" y="3688"/>
                </a:cubicBezTo>
                <a:cubicBezTo>
                  <a:pt x="6969" y="3657"/>
                  <a:pt x="7094" y="3625"/>
                  <a:pt x="6969" y="3563"/>
                </a:cubicBezTo>
                <a:cubicBezTo>
                  <a:pt x="7000" y="3469"/>
                  <a:pt x="7000" y="3375"/>
                  <a:pt x="7063" y="3313"/>
                </a:cubicBezTo>
                <a:cubicBezTo>
                  <a:pt x="7188" y="3157"/>
                  <a:pt x="7313" y="3000"/>
                  <a:pt x="7438" y="2844"/>
                </a:cubicBezTo>
                <a:cubicBezTo>
                  <a:pt x="7563" y="2688"/>
                  <a:pt x="7688" y="2532"/>
                  <a:pt x="7781" y="2313"/>
                </a:cubicBezTo>
                <a:cubicBezTo>
                  <a:pt x="7906" y="2094"/>
                  <a:pt x="8125" y="1938"/>
                  <a:pt x="8281" y="1782"/>
                </a:cubicBezTo>
                <a:cubicBezTo>
                  <a:pt x="8375" y="1688"/>
                  <a:pt x="8469" y="1782"/>
                  <a:pt x="8500" y="1844"/>
                </a:cubicBezTo>
                <a:cubicBezTo>
                  <a:pt x="8563" y="1938"/>
                  <a:pt x="8625" y="1969"/>
                  <a:pt x="8719" y="1969"/>
                </a:cubicBezTo>
                <a:cubicBezTo>
                  <a:pt x="8875" y="1938"/>
                  <a:pt x="8875" y="2000"/>
                  <a:pt x="8875" y="2125"/>
                </a:cubicBezTo>
                <a:cubicBezTo>
                  <a:pt x="8875" y="2250"/>
                  <a:pt x="8875" y="2375"/>
                  <a:pt x="8844" y="2532"/>
                </a:cubicBezTo>
                <a:cubicBezTo>
                  <a:pt x="9094" y="2375"/>
                  <a:pt x="9219" y="2125"/>
                  <a:pt x="9469" y="2032"/>
                </a:cubicBezTo>
                <a:cubicBezTo>
                  <a:pt x="9500" y="2188"/>
                  <a:pt x="9469" y="2375"/>
                  <a:pt x="9594" y="2500"/>
                </a:cubicBezTo>
                <a:cubicBezTo>
                  <a:pt x="9656" y="2344"/>
                  <a:pt x="9844" y="2438"/>
                  <a:pt x="9969" y="2344"/>
                </a:cubicBezTo>
                <a:cubicBezTo>
                  <a:pt x="10031" y="2313"/>
                  <a:pt x="10000" y="2500"/>
                  <a:pt x="10094" y="2563"/>
                </a:cubicBezTo>
                <a:cubicBezTo>
                  <a:pt x="10156" y="2532"/>
                  <a:pt x="10156" y="2344"/>
                  <a:pt x="10281" y="2438"/>
                </a:cubicBezTo>
                <a:cubicBezTo>
                  <a:pt x="10406" y="2500"/>
                  <a:pt x="10406" y="2594"/>
                  <a:pt x="10375" y="2750"/>
                </a:cubicBezTo>
                <a:cubicBezTo>
                  <a:pt x="10375" y="2813"/>
                  <a:pt x="10250" y="2938"/>
                  <a:pt x="10438" y="2938"/>
                </a:cubicBezTo>
                <a:cubicBezTo>
                  <a:pt x="10438" y="2938"/>
                  <a:pt x="10438" y="2938"/>
                  <a:pt x="10438" y="2938"/>
                </a:cubicBezTo>
                <a:cubicBezTo>
                  <a:pt x="10438" y="2938"/>
                  <a:pt x="10438" y="2938"/>
                  <a:pt x="10438" y="2938"/>
                </a:cubicBezTo>
                <a:cubicBezTo>
                  <a:pt x="10406" y="2938"/>
                  <a:pt x="10406" y="2907"/>
                  <a:pt x="10438" y="2875"/>
                </a:cubicBezTo>
                <a:cubicBezTo>
                  <a:pt x="10469" y="2875"/>
                  <a:pt x="10469" y="2907"/>
                  <a:pt x="10469" y="2907"/>
                </a:cubicBezTo>
                <a:cubicBezTo>
                  <a:pt x="10469" y="2938"/>
                  <a:pt x="10469" y="2938"/>
                  <a:pt x="10469" y="2938"/>
                </a:cubicBezTo>
                <a:cubicBezTo>
                  <a:pt x="10469" y="2938"/>
                  <a:pt x="10469" y="2938"/>
                  <a:pt x="10469" y="2938"/>
                </a:cubicBezTo>
                <a:cubicBezTo>
                  <a:pt x="10469" y="2938"/>
                  <a:pt x="10500" y="2969"/>
                  <a:pt x="10500" y="2969"/>
                </a:cubicBezTo>
                <a:cubicBezTo>
                  <a:pt x="10500" y="2969"/>
                  <a:pt x="10531" y="2969"/>
                  <a:pt x="10531" y="2938"/>
                </a:cubicBezTo>
                <a:cubicBezTo>
                  <a:pt x="10563" y="2938"/>
                  <a:pt x="10563" y="2907"/>
                  <a:pt x="10563" y="2907"/>
                </a:cubicBezTo>
                <a:cubicBezTo>
                  <a:pt x="10594" y="2907"/>
                  <a:pt x="10594" y="2813"/>
                  <a:pt x="10625" y="2844"/>
                </a:cubicBezTo>
                <a:cubicBezTo>
                  <a:pt x="10688" y="2875"/>
                  <a:pt x="10656" y="2938"/>
                  <a:pt x="10594" y="2938"/>
                </a:cubicBezTo>
                <a:cubicBezTo>
                  <a:pt x="10625" y="3094"/>
                  <a:pt x="10500" y="3188"/>
                  <a:pt x="10469" y="3344"/>
                </a:cubicBezTo>
                <a:cubicBezTo>
                  <a:pt x="10625" y="3250"/>
                  <a:pt x="10656" y="3094"/>
                  <a:pt x="10750" y="3000"/>
                </a:cubicBezTo>
                <a:cubicBezTo>
                  <a:pt x="10781" y="3032"/>
                  <a:pt x="10813" y="3063"/>
                  <a:pt x="10813" y="3063"/>
                </a:cubicBezTo>
                <a:cubicBezTo>
                  <a:pt x="10844" y="3219"/>
                  <a:pt x="10875" y="3313"/>
                  <a:pt x="11063" y="3313"/>
                </a:cubicBezTo>
                <a:cubicBezTo>
                  <a:pt x="11250" y="3313"/>
                  <a:pt x="11188" y="3469"/>
                  <a:pt x="11125" y="3594"/>
                </a:cubicBezTo>
                <a:cubicBezTo>
                  <a:pt x="11094" y="3688"/>
                  <a:pt x="11031" y="3750"/>
                  <a:pt x="10969" y="3844"/>
                </a:cubicBezTo>
                <a:cubicBezTo>
                  <a:pt x="10938" y="3875"/>
                  <a:pt x="10906" y="3907"/>
                  <a:pt x="10938" y="3938"/>
                </a:cubicBezTo>
                <a:cubicBezTo>
                  <a:pt x="11000" y="3969"/>
                  <a:pt x="11031" y="3907"/>
                  <a:pt x="11063" y="3907"/>
                </a:cubicBezTo>
                <a:cubicBezTo>
                  <a:pt x="11063" y="3875"/>
                  <a:pt x="11094" y="3875"/>
                  <a:pt x="11094" y="3844"/>
                </a:cubicBezTo>
                <a:cubicBezTo>
                  <a:pt x="11188" y="3719"/>
                  <a:pt x="11344" y="3625"/>
                  <a:pt x="11344" y="3438"/>
                </a:cubicBezTo>
                <a:cubicBezTo>
                  <a:pt x="11344" y="3375"/>
                  <a:pt x="11469" y="3250"/>
                  <a:pt x="11594" y="3344"/>
                </a:cubicBezTo>
                <a:cubicBezTo>
                  <a:pt x="11625" y="3375"/>
                  <a:pt x="11688" y="3375"/>
                  <a:pt x="11719" y="3407"/>
                </a:cubicBezTo>
                <a:cubicBezTo>
                  <a:pt x="11719" y="3407"/>
                  <a:pt x="11750" y="3407"/>
                  <a:pt x="11750" y="3407"/>
                </a:cubicBezTo>
                <a:cubicBezTo>
                  <a:pt x="11750" y="3407"/>
                  <a:pt x="11781" y="3407"/>
                  <a:pt x="11781" y="3407"/>
                </a:cubicBezTo>
                <a:cubicBezTo>
                  <a:pt x="11781" y="3407"/>
                  <a:pt x="11781" y="3407"/>
                  <a:pt x="11813" y="3407"/>
                </a:cubicBezTo>
                <a:cubicBezTo>
                  <a:pt x="11813" y="3407"/>
                  <a:pt x="11844" y="3407"/>
                  <a:pt x="11844" y="3407"/>
                </a:cubicBezTo>
                <a:cubicBezTo>
                  <a:pt x="11906" y="3438"/>
                  <a:pt x="11938" y="3469"/>
                  <a:pt x="11906" y="3563"/>
                </a:cubicBezTo>
                <a:cubicBezTo>
                  <a:pt x="11938" y="3563"/>
                  <a:pt x="11969" y="3563"/>
                  <a:pt x="12000" y="3563"/>
                </a:cubicBezTo>
                <a:cubicBezTo>
                  <a:pt x="12063" y="3563"/>
                  <a:pt x="12094" y="3532"/>
                  <a:pt x="12094" y="3469"/>
                </a:cubicBezTo>
                <a:cubicBezTo>
                  <a:pt x="12125" y="3375"/>
                  <a:pt x="12188" y="3250"/>
                  <a:pt x="12313" y="3250"/>
                </a:cubicBezTo>
                <a:cubicBezTo>
                  <a:pt x="12375" y="3157"/>
                  <a:pt x="12469" y="3157"/>
                  <a:pt x="12531" y="3125"/>
                </a:cubicBezTo>
                <a:cubicBezTo>
                  <a:pt x="12594" y="3063"/>
                  <a:pt x="12656" y="3000"/>
                  <a:pt x="12625" y="2907"/>
                </a:cubicBezTo>
                <a:cubicBezTo>
                  <a:pt x="12625" y="2907"/>
                  <a:pt x="12625" y="2907"/>
                  <a:pt x="12625" y="2907"/>
                </a:cubicBezTo>
                <a:cubicBezTo>
                  <a:pt x="12625" y="2907"/>
                  <a:pt x="12625" y="2907"/>
                  <a:pt x="12625" y="2907"/>
                </a:cubicBezTo>
                <a:cubicBezTo>
                  <a:pt x="12594" y="2907"/>
                  <a:pt x="12594" y="2907"/>
                  <a:pt x="12563" y="2907"/>
                </a:cubicBezTo>
                <a:cubicBezTo>
                  <a:pt x="12500" y="2969"/>
                  <a:pt x="12469" y="2969"/>
                  <a:pt x="12406" y="2875"/>
                </a:cubicBezTo>
                <a:cubicBezTo>
                  <a:pt x="12375" y="2782"/>
                  <a:pt x="12469" y="2844"/>
                  <a:pt x="12500" y="2813"/>
                </a:cubicBezTo>
                <a:cubicBezTo>
                  <a:pt x="12563" y="2750"/>
                  <a:pt x="12594" y="2750"/>
                  <a:pt x="12625" y="2688"/>
                </a:cubicBezTo>
                <a:cubicBezTo>
                  <a:pt x="12719" y="2375"/>
                  <a:pt x="13031" y="2219"/>
                  <a:pt x="13156" y="1969"/>
                </a:cubicBezTo>
                <a:cubicBezTo>
                  <a:pt x="13313" y="1594"/>
                  <a:pt x="13594" y="1344"/>
                  <a:pt x="13844" y="1063"/>
                </a:cubicBezTo>
                <a:cubicBezTo>
                  <a:pt x="13906" y="969"/>
                  <a:pt x="14031" y="907"/>
                  <a:pt x="14094" y="782"/>
                </a:cubicBezTo>
                <a:cubicBezTo>
                  <a:pt x="14094" y="688"/>
                  <a:pt x="14188" y="719"/>
                  <a:pt x="14250" y="750"/>
                </a:cubicBezTo>
                <a:cubicBezTo>
                  <a:pt x="14313" y="844"/>
                  <a:pt x="14406" y="875"/>
                  <a:pt x="14469" y="969"/>
                </a:cubicBezTo>
                <a:cubicBezTo>
                  <a:pt x="14531" y="1125"/>
                  <a:pt x="14625" y="1125"/>
                  <a:pt x="14750" y="1063"/>
                </a:cubicBezTo>
                <a:cubicBezTo>
                  <a:pt x="14875" y="1000"/>
                  <a:pt x="14906" y="1063"/>
                  <a:pt x="14906" y="1188"/>
                </a:cubicBezTo>
                <a:cubicBezTo>
                  <a:pt x="14906" y="1250"/>
                  <a:pt x="14906" y="1313"/>
                  <a:pt x="14906" y="1375"/>
                </a:cubicBezTo>
                <a:cubicBezTo>
                  <a:pt x="14938" y="1407"/>
                  <a:pt x="14938" y="1438"/>
                  <a:pt x="15000" y="1469"/>
                </a:cubicBezTo>
                <a:cubicBezTo>
                  <a:pt x="15000" y="1469"/>
                  <a:pt x="15000" y="1469"/>
                  <a:pt x="15031" y="1469"/>
                </a:cubicBezTo>
                <a:cubicBezTo>
                  <a:pt x="15063" y="1407"/>
                  <a:pt x="15094" y="1344"/>
                  <a:pt x="15156" y="1344"/>
                </a:cubicBezTo>
                <a:cubicBezTo>
                  <a:pt x="15219" y="1282"/>
                  <a:pt x="15281" y="1157"/>
                  <a:pt x="15375" y="1313"/>
                </a:cubicBezTo>
                <a:cubicBezTo>
                  <a:pt x="15375" y="1313"/>
                  <a:pt x="15375" y="1344"/>
                  <a:pt x="15375" y="1344"/>
                </a:cubicBezTo>
                <a:cubicBezTo>
                  <a:pt x="15656" y="1250"/>
                  <a:pt x="15656" y="1500"/>
                  <a:pt x="15750" y="1625"/>
                </a:cubicBezTo>
                <a:cubicBezTo>
                  <a:pt x="15750" y="1625"/>
                  <a:pt x="15781" y="1625"/>
                  <a:pt x="15781" y="1657"/>
                </a:cubicBezTo>
                <a:cubicBezTo>
                  <a:pt x="16000" y="1594"/>
                  <a:pt x="16125" y="1657"/>
                  <a:pt x="16125" y="1844"/>
                </a:cubicBezTo>
                <a:cubicBezTo>
                  <a:pt x="16406" y="1813"/>
                  <a:pt x="16406" y="1813"/>
                  <a:pt x="16281" y="2125"/>
                </a:cubicBezTo>
                <a:cubicBezTo>
                  <a:pt x="16438" y="2000"/>
                  <a:pt x="16594" y="2157"/>
                  <a:pt x="16781" y="2000"/>
                </a:cubicBezTo>
                <a:cubicBezTo>
                  <a:pt x="16688" y="2157"/>
                  <a:pt x="16656" y="2219"/>
                  <a:pt x="16625" y="2313"/>
                </a:cubicBezTo>
                <a:cubicBezTo>
                  <a:pt x="16719" y="2375"/>
                  <a:pt x="16844" y="2282"/>
                  <a:pt x="16938" y="2375"/>
                </a:cubicBezTo>
                <a:cubicBezTo>
                  <a:pt x="16969" y="2438"/>
                  <a:pt x="17031" y="2375"/>
                  <a:pt x="17063" y="2313"/>
                </a:cubicBezTo>
                <a:cubicBezTo>
                  <a:pt x="17156" y="2094"/>
                  <a:pt x="17375" y="1938"/>
                  <a:pt x="17469" y="1719"/>
                </a:cubicBezTo>
                <a:cubicBezTo>
                  <a:pt x="17656" y="1313"/>
                  <a:pt x="17969" y="1000"/>
                  <a:pt x="18250" y="688"/>
                </a:cubicBezTo>
                <a:cubicBezTo>
                  <a:pt x="18500" y="407"/>
                  <a:pt x="18500" y="438"/>
                  <a:pt x="18719" y="719"/>
                </a:cubicBezTo>
                <a:cubicBezTo>
                  <a:pt x="18781" y="782"/>
                  <a:pt x="18844" y="844"/>
                  <a:pt x="18969" y="844"/>
                </a:cubicBezTo>
                <a:cubicBezTo>
                  <a:pt x="19125" y="875"/>
                  <a:pt x="19188" y="969"/>
                  <a:pt x="19125" y="1125"/>
                </a:cubicBezTo>
                <a:cubicBezTo>
                  <a:pt x="19125" y="1157"/>
                  <a:pt x="19125" y="1157"/>
                  <a:pt x="19094" y="1188"/>
                </a:cubicBezTo>
                <a:cubicBezTo>
                  <a:pt x="19125" y="1219"/>
                  <a:pt x="19125" y="1219"/>
                  <a:pt x="19156" y="1219"/>
                </a:cubicBezTo>
                <a:cubicBezTo>
                  <a:pt x="19219" y="1219"/>
                  <a:pt x="19281" y="1157"/>
                  <a:pt x="19313" y="1094"/>
                </a:cubicBezTo>
                <a:cubicBezTo>
                  <a:pt x="19406" y="907"/>
                  <a:pt x="19563" y="1000"/>
                  <a:pt x="19688" y="1000"/>
                </a:cubicBezTo>
                <a:cubicBezTo>
                  <a:pt x="19750" y="969"/>
                  <a:pt x="19844" y="1157"/>
                  <a:pt x="19844" y="1250"/>
                </a:cubicBezTo>
                <a:cubicBezTo>
                  <a:pt x="19844" y="1375"/>
                  <a:pt x="19906" y="1344"/>
                  <a:pt x="19969" y="1313"/>
                </a:cubicBezTo>
                <a:cubicBezTo>
                  <a:pt x="20031" y="1313"/>
                  <a:pt x="20094" y="1313"/>
                  <a:pt x="20156" y="1250"/>
                </a:cubicBezTo>
                <a:cubicBezTo>
                  <a:pt x="20188" y="1219"/>
                  <a:pt x="20281" y="1188"/>
                  <a:pt x="20281" y="1250"/>
                </a:cubicBezTo>
                <a:cubicBezTo>
                  <a:pt x="20281" y="1375"/>
                  <a:pt x="20344" y="1344"/>
                  <a:pt x="20438" y="1344"/>
                </a:cubicBezTo>
                <a:cubicBezTo>
                  <a:pt x="20531" y="1344"/>
                  <a:pt x="20500" y="1438"/>
                  <a:pt x="20500" y="1500"/>
                </a:cubicBezTo>
                <a:cubicBezTo>
                  <a:pt x="20500" y="1594"/>
                  <a:pt x="20469" y="1688"/>
                  <a:pt x="20625" y="1625"/>
                </a:cubicBezTo>
                <a:cubicBezTo>
                  <a:pt x="20656" y="1594"/>
                  <a:pt x="20719" y="1594"/>
                  <a:pt x="20719" y="1657"/>
                </a:cubicBezTo>
                <a:cubicBezTo>
                  <a:pt x="20781" y="1813"/>
                  <a:pt x="20938" y="1844"/>
                  <a:pt x="21094" y="1907"/>
                </a:cubicBezTo>
                <a:cubicBezTo>
                  <a:pt x="21156" y="1938"/>
                  <a:pt x="21219" y="1969"/>
                  <a:pt x="21219" y="1875"/>
                </a:cubicBezTo>
                <a:cubicBezTo>
                  <a:pt x="21281" y="1657"/>
                  <a:pt x="21438" y="1500"/>
                  <a:pt x="21531" y="1282"/>
                </a:cubicBezTo>
                <a:cubicBezTo>
                  <a:pt x="21688" y="844"/>
                  <a:pt x="21969" y="469"/>
                  <a:pt x="22313" y="125"/>
                </a:cubicBezTo>
                <a:cubicBezTo>
                  <a:pt x="22438" y="0"/>
                  <a:pt x="22531" y="157"/>
                  <a:pt x="22563" y="250"/>
                </a:cubicBezTo>
                <a:cubicBezTo>
                  <a:pt x="22625" y="375"/>
                  <a:pt x="22719" y="469"/>
                  <a:pt x="22906" y="438"/>
                </a:cubicBezTo>
                <a:cubicBezTo>
                  <a:pt x="23000" y="438"/>
                  <a:pt x="23000" y="469"/>
                  <a:pt x="22969" y="563"/>
                </a:cubicBezTo>
                <a:cubicBezTo>
                  <a:pt x="22969" y="594"/>
                  <a:pt x="22969" y="657"/>
                  <a:pt x="22938" y="719"/>
                </a:cubicBezTo>
                <a:cubicBezTo>
                  <a:pt x="22969" y="719"/>
                  <a:pt x="22969" y="750"/>
                  <a:pt x="23000" y="750"/>
                </a:cubicBezTo>
                <a:cubicBezTo>
                  <a:pt x="23063" y="657"/>
                  <a:pt x="23156" y="563"/>
                  <a:pt x="23219" y="469"/>
                </a:cubicBezTo>
                <a:cubicBezTo>
                  <a:pt x="23250" y="532"/>
                  <a:pt x="23250" y="625"/>
                  <a:pt x="23219" y="688"/>
                </a:cubicBezTo>
                <a:cubicBezTo>
                  <a:pt x="23313" y="688"/>
                  <a:pt x="23344" y="594"/>
                  <a:pt x="23375" y="532"/>
                </a:cubicBezTo>
                <a:cubicBezTo>
                  <a:pt x="23406" y="500"/>
                  <a:pt x="23438" y="469"/>
                  <a:pt x="23500" y="469"/>
                </a:cubicBezTo>
                <a:cubicBezTo>
                  <a:pt x="23563" y="500"/>
                  <a:pt x="23531" y="563"/>
                  <a:pt x="23531" y="625"/>
                </a:cubicBezTo>
                <a:cubicBezTo>
                  <a:pt x="23531" y="782"/>
                  <a:pt x="23594" y="813"/>
                  <a:pt x="23750" y="750"/>
                </a:cubicBezTo>
                <a:cubicBezTo>
                  <a:pt x="24000" y="688"/>
                  <a:pt x="24219" y="844"/>
                  <a:pt x="24188" y="1125"/>
                </a:cubicBezTo>
                <a:cubicBezTo>
                  <a:pt x="24156" y="1157"/>
                  <a:pt x="24125" y="1188"/>
                  <a:pt x="24188" y="1219"/>
                </a:cubicBezTo>
                <a:cubicBezTo>
                  <a:pt x="24250" y="1219"/>
                  <a:pt x="24281" y="1219"/>
                  <a:pt x="24313" y="1157"/>
                </a:cubicBezTo>
                <a:cubicBezTo>
                  <a:pt x="24375" y="1032"/>
                  <a:pt x="24438" y="1063"/>
                  <a:pt x="24438" y="1188"/>
                </a:cubicBezTo>
                <a:cubicBezTo>
                  <a:pt x="24438" y="1219"/>
                  <a:pt x="24469" y="1250"/>
                  <a:pt x="24469" y="1250"/>
                </a:cubicBezTo>
                <a:cubicBezTo>
                  <a:pt x="24688" y="1313"/>
                  <a:pt x="24750" y="1563"/>
                  <a:pt x="24969" y="1657"/>
                </a:cubicBezTo>
                <a:cubicBezTo>
                  <a:pt x="25031" y="1688"/>
                  <a:pt x="25000" y="1782"/>
                  <a:pt x="24969" y="1844"/>
                </a:cubicBezTo>
                <a:cubicBezTo>
                  <a:pt x="24969" y="1875"/>
                  <a:pt x="24906" y="1938"/>
                  <a:pt x="24969" y="1969"/>
                </a:cubicBezTo>
                <a:cubicBezTo>
                  <a:pt x="25031" y="2000"/>
                  <a:pt x="25094" y="1969"/>
                  <a:pt x="25094" y="1938"/>
                </a:cubicBezTo>
                <a:cubicBezTo>
                  <a:pt x="25188" y="1844"/>
                  <a:pt x="25281" y="1750"/>
                  <a:pt x="25375" y="1938"/>
                </a:cubicBezTo>
                <a:cubicBezTo>
                  <a:pt x="25406" y="2000"/>
                  <a:pt x="25563" y="1969"/>
                  <a:pt x="25594" y="2063"/>
                </a:cubicBezTo>
                <a:cubicBezTo>
                  <a:pt x="25719" y="1969"/>
                  <a:pt x="25844" y="1907"/>
                  <a:pt x="25938" y="1750"/>
                </a:cubicBezTo>
                <a:cubicBezTo>
                  <a:pt x="26031" y="1625"/>
                  <a:pt x="26156" y="1500"/>
                  <a:pt x="26313" y="1438"/>
                </a:cubicBezTo>
                <a:cubicBezTo>
                  <a:pt x="26375" y="1407"/>
                  <a:pt x="26438" y="1375"/>
                  <a:pt x="26500" y="1438"/>
                </a:cubicBezTo>
                <a:cubicBezTo>
                  <a:pt x="26563" y="1532"/>
                  <a:pt x="26625" y="1657"/>
                  <a:pt x="26719" y="1719"/>
                </a:cubicBezTo>
                <a:cubicBezTo>
                  <a:pt x="26875" y="1844"/>
                  <a:pt x="26844" y="1875"/>
                  <a:pt x="26813" y="2094"/>
                </a:cubicBezTo>
                <a:cubicBezTo>
                  <a:pt x="26906" y="2032"/>
                  <a:pt x="26969" y="1938"/>
                  <a:pt x="27063" y="1938"/>
                </a:cubicBezTo>
                <a:cubicBezTo>
                  <a:pt x="27125" y="1907"/>
                  <a:pt x="27188" y="1719"/>
                  <a:pt x="27219" y="1938"/>
                </a:cubicBezTo>
                <a:cubicBezTo>
                  <a:pt x="27219" y="1938"/>
                  <a:pt x="27250" y="1938"/>
                  <a:pt x="27281" y="1938"/>
                </a:cubicBezTo>
                <a:cubicBezTo>
                  <a:pt x="27375" y="1750"/>
                  <a:pt x="27438" y="1875"/>
                  <a:pt x="27563" y="1938"/>
                </a:cubicBezTo>
                <a:cubicBezTo>
                  <a:pt x="27688" y="2032"/>
                  <a:pt x="27844" y="2125"/>
                  <a:pt x="28000" y="2125"/>
                </a:cubicBezTo>
                <a:cubicBezTo>
                  <a:pt x="28094" y="2157"/>
                  <a:pt x="28156" y="2188"/>
                  <a:pt x="28188" y="2250"/>
                </a:cubicBezTo>
                <a:cubicBezTo>
                  <a:pt x="28250" y="2407"/>
                  <a:pt x="28344" y="2344"/>
                  <a:pt x="28406" y="2282"/>
                </a:cubicBezTo>
                <a:cubicBezTo>
                  <a:pt x="28531" y="2188"/>
                  <a:pt x="28594" y="2032"/>
                  <a:pt x="28688" y="1938"/>
                </a:cubicBezTo>
                <a:cubicBezTo>
                  <a:pt x="28781" y="1813"/>
                  <a:pt x="28875" y="1782"/>
                  <a:pt x="29000" y="1938"/>
                </a:cubicBezTo>
                <a:cubicBezTo>
                  <a:pt x="29063" y="2000"/>
                  <a:pt x="29125" y="2188"/>
                  <a:pt x="29313" y="1969"/>
                </a:cubicBezTo>
                <a:cubicBezTo>
                  <a:pt x="29281" y="2344"/>
                  <a:pt x="29031" y="2563"/>
                  <a:pt x="29000" y="2875"/>
                </a:cubicBezTo>
                <a:cubicBezTo>
                  <a:pt x="29125" y="2719"/>
                  <a:pt x="29281" y="2532"/>
                  <a:pt x="29375" y="2344"/>
                </a:cubicBezTo>
                <a:cubicBezTo>
                  <a:pt x="29469" y="2157"/>
                  <a:pt x="29656" y="2125"/>
                  <a:pt x="29844" y="2032"/>
                </a:cubicBezTo>
                <a:cubicBezTo>
                  <a:pt x="29875" y="2000"/>
                  <a:pt x="29906" y="2032"/>
                  <a:pt x="29906" y="2063"/>
                </a:cubicBezTo>
                <a:cubicBezTo>
                  <a:pt x="29938" y="2219"/>
                  <a:pt x="30094" y="2188"/>
                  <a:pt x="30219" y="2219"/>
                </a:cubicBezTo>
                <a:cubicBezTo>
                  <a:pt x="30281" y="2219"/>
                  <a:pt x="30313" y="2219"/>
                  <a:pt x="30375" y="2250"/>
                </a:cubicBezTo>
                <a:cubicBezTo>
                  <a:pt x="30594" y="2438"/>
                  <a:pt x="30844" y="2469"/>
                  <a:pt x="31094" y="2594"/>
                </a:cubicBezTo>
                <a:cubicBezTo>
                  <a:pt x="31594" y="2813"/>
                  <a:pt x="31938" y="3157"/>
                  <a:pt x="32094" y="3688"/>
                </a:cubicBezTo>
                <a:cubicBezTo>
                  <a:pt x="32125" y="3719"/>
                  <a:pt x="32125" y="3782"/>
                  <a:pt x="32156" y="3844"/>
                </a:cubicBezTo>
                <a:cubicBezTo>
                  <a:pt x="32344" y="4000"/>
                  <a:pt x="32344" y="4282"/>
                  <a:pt x="32469" y="4469"/>
                </a:cubicBezTo>
                <a:cubicBezTo>
                  <a:pt x="32531" y="4594"/>
                  <a:pt x="32531" y="4688"/>
                  <a:pt x="32500" y="4813"/>
                </a:cubicBezTo>
                <a:cubicBezTo>
                  <a:pt x="32500" y="4875"/>
                  <a:pt x="32438" y="4969"/>
                  <a:pt x="32563" y="5032"/>
                </a:cubicBezTo>
                <a:cubicBezTo>
                  <a:pt x="32625" y="5063"/>
                  <a:pt x="32500" y="5125"/>
                  <a:pt x="32500" y="5219"/>
                </a:cubicBezTo>
                <a:cubicBezTo>
                  <a:pt x="32531" y="5219"/>
                  <a:pt x="32563" y="5250"/>
                  <a:pt x="32594" y="5188"/>
                </a:cubicBezTo>
                <a:cubicBezTo>
                  <a:pt x="32656" y="5157"/>
                  <a:pt x="32719" y="5157"/>
                  <a:pt x="32750" y="5188"/>
                </a:cubicBezTo>
                <a:cubicBezTo>
                  <a:pt x="32781" y="5219"/>
                  <a:pt x="32813" y="5282"/>
                  <a:pt x="32781" y="5344"/>
                </a:cubicBezTo>
                <a:cubicBezTo>
                  <a:pt x="32750" y="5438"/>
                  <a:pt x="32719" y="5532"/>
                  <a:pt x="32844" y="5594"/>
                </a:cubicBezTo>
                <a:cubicBezTo>
                  <a:pt x="32844" y="5594"/>
                  <a:pt x="32844" y="5594"/>
                  <a:pt x="32844" y="5594"/>
                </a:cubicBezTo>
                <a:cubicBezTo>
                  <a:pt x="32844" y="5594"/>
                  <a:pt x="32844" y="5625"/>
                  <a:pt x="32844" y="5657"/>
                </a:cubicBezTo>
                <a:cubicBezTo>
                  <a:pt x="32844" y="5657"/>
                  <a:pt x="32844" y="5657"/>
                  <a:pt x="32844" y="5657"/>
                </a:cubicBezTo>
                <a:cubicBezTo>
                  <a:pt x="32969" y="5657"/>
                  <a:pt x="32969" y="5719"/>
                  <a:pt x="32938" y="5813"/>
                </a:cubicBezTo>
                <a:cubicBezTo>
                  <a:pt x="32906" y="5907"/>
                  <a:pt x="32844" y="6032"/>
                  <a:pt x="33063" y="5969"/>
                </a:cubicBezTo>
                <a:cubicBezTo>
                  <a:pt x="33063" y="5969"/>
                  <a:pt x="33094" y="5969"/>
                  <a:pt x="33125" y="6000"/>
                </a:cubicBezTo>
                <a:cubicBezTo>
                  <a:pt x="33125" y="6000"/>
                  <a:pt x="33156" y="6032"/>
                  <a:pt x="33156" y="6032"/>
                </a:cubicBezTo>
                <a:lnTo>
                  <a:pt x="33156" y="6032"/>
                </a:lnTo>
                <a:cubicBezTo>
                  <a:pt x="33094" y="6250"/>
                  <a:pt x="33469" y="6282"/>
                  <a:pt x="33313" y="6563"/>
                </a:cubicBezTo>
                <a:cubicBezTo>
                  <a:pt x="33156" y="6907"/>
                  <a:pt x="33000" y="7282"/>
                  <a:pt x="32813" y="7625"/>
                </a:cubicBezTo>
                <a:cubicBezTo>
                  <a:pt x="32656" y="7907"/>
                  <a:pt x="32531" y="8219"/>
                  <a:pt x="32406" y="8500"/>
                </a:cubicBezTo>
                <a:cubicBezTo>
                  <a:pt x="32344" y="8625"/>
                  <a:pt x="32313" y="8782"/>
                  <a:pt x="32156" y="8844"/>
                </a:cubicBezTo>
                <a:cubicBezTo>
                  <a:pt x="32063" y="8875"/>
                  <a:pt x="32156" y="9032"/>
                  <a:pt x="32063" y="9125"/>
                </a:cubicBezTo>
                <a:cubicBezTo>
                  <a:pt x="32000" y="9000"/>
                  <a:pt x="31969" y="8844"/>
                  <a:pt x="32031" y="8657"/>
                </a:cubicBezTo>
                <a:cubicBezTo>
                  <a:pt x="31875" y="8750"/>
                  <a:pt x="31906" y="8907"/>
                  <a:pt x="31813" y="9000"/>
                </a:cubicBezTo>
                <a:cubicBezTo>
                  <a:pt x="31813" y="9000"/>
                  <a:pt x="31813" y="9032"/>
                  <a:pt x="31813" y="9063"/>
                </a:cubicBezTo>
                <a:cubicBezTo>
                  <a:pt x="31844" y="9125"/>
                  <a:pt x="31656" y="9125"/>
                  <a:pt x="31781" y="9219"/>
                </a:cubicBezTo>
                <a:cubicBezTo>
                  <a:pt x="31906" y="9344"/>
                  <a:pt x="31938" y="9157"/>
                  <a:pt x="32000" y="9125"/>
                </a:cubicBezTo>
                <a:cubicBezTo>
                  <a:pt x="32031" y="9313"/>
                  <a:pt x="31844" y="9750"/>
                  <a:pt x="31719" y="9813"/>
                </a:cubicBezTo>
                <a:cubicBezTo>
                  <a:pt x="31656" y="9844"/>
                  <a:pt x="31688" y="9750"/>
                  <a:pt x="31625" y="9750"/>
                </a:cubicBezTo>
                <a:cubicBezTo>
                  <a:pt x="31438" y="9750"/>
                  <a:pt x="31281" y="9938"/>
                  <a:pt x="31250" y="10188"/>
                </a:cubicBezTo>
                <a:cubicBezTo>
                  <a:pt x="31250" y="10219"/>
                  <a:pt x="31250" y="10250"/>
                  <a:pt x="31250" y="10282"/>
                </a:cubicBezTo>
                <a:cubicBezTo>
                  <a:pt x="31281" y="10344"/>
                  <a:pt x="31188" y="10500"/>
                  <a:pt x="31375" y="10469"/>
                </a:cubicBezTo>
                <a:cubicBezTo>
                  <a:pt x="31406" y="10469"/>
                  <a:pt x="31438" y="10532"/>
                  <a:pt x="31406" y="10563"/>
                </a:cubicBezTo>
                <a:cubicBezTo>
                  <a:pt x="31406" y="10563"/>
                  <a:pt x="31375" y="10594"/>
                  <a:pt x="31375" y="10625"/>
                </a:cubicBezTo>
                <a:cubicBezTo>
                  <a:pt x="31375" y="10657"/>
                  <a:pt x="31375" y="10688"/>
                  <a:pt x="31344" y="10688"/>
                </a:cubicBezTo>
                <a:cubicBezTo>
                  <a:pt x="31344" y="10719"/>
                  <a:pt x="31313" y="10719"/>
                  <a:pt x="31250" y="10719"/>
                </a:cubicBezTo>
                <a:cubicBezTo>
                  <a:pt x="31250" y="10719"/>
                  <a:pt x="31219" y="10750"/>
                  <a:pt x="31219" y="10750"/>
                </a:cubicBezTo>
                <a:cubicBezTo>
                  <a:pt x="31250" y="10844"/>
                  <a:pt x="31219" y="10907"/>
                  <a:pt x="31156" y="11000"/>
                </a:cubicBezTo>
                <a:cubicBezTo>
                  <a:pt x="31063" y="11094"/>
                  <a:pt x="30969" y="11157"/>
                  <a:pt x="30969" y="11313"/>
                </a:cubicBezTo>
                <a:cubicBezTo>
                  <a:pt x="31000" y="11375"/>
                  <a:pt x="30938" y="11407"/>
                  <a:pt x="30906" y="11438"/>
                </a:cubicBezTo>
                <a:cubicBezTo>
                  <a:pt x="30875" y="11500"/>
                  <a:pt x="30813" y="11500"/>
                  <a:pt x="30750" y="11500"/>
                </a:cubicBezTo>
                <a:cubicBezTo>
                  <a:pt x="30719" y="11500"/>
                  <a:pt x="30719" y="11469"/>
                  <a:pt x="30719" y="11438"/>
                </a:cubicBezTo>
                <a:cubicBezTo>
                  <a:pt x="30719" y="11344"/>
                  <a:pt x="30781" y="11344"/>
                  <a:pt x="30813" y="11313"/>
                </a:cubicBezTo>
                <a:cubicBezTo>
                  <a:pt x="30844" y="11282"/>
                  <a:pt x="31031" y="11313"/>
                  <a:pt x="30875" y="11188"/>
                </a:cubicBezTo>
                <a:cubicBezTo>
                  <a:pt x="30875" y="11188"/>
                  <a:pt x="30938" y="11094"/>
                  <a:pt x="30969" y="11063"/>
                </a:cubicBezTo>
                <a:cubicBezTo>
                  <a:pt x="30969" y="10969"/>
                  <a:pt x="31094" y="10844"/>
                  <a:pt x="30875" y="10875"/>
                </a:cubicBezTo>
                <a:cubicBezTo>
                  <a:pt x="30750" y="11188"/>
                  <a:pt x="30594" y="11500"/>
                  <a:pt x="30406" y="11750"/>
                </a:cubicBezTo>
                <a:cubicBezTo>
                  <a:pt x="30156" y="12063"/>
                  <a:pt x="30000" y="12438"/>
                  <a:pt x="29719" y="12719"/>
                </a:cubicBezTo>
                <a:cubicBezTo>
                  <a:pt x="29625" y="12813"/>
                  <a:pt x="29563" y="12907"/>
                  <a:pt x="29500" y="13032"/>
                </a:cubicBezTo>
                <a:cubicBezTo>
                  <a:pt x="29375" y="13282"/>
                  <a:pt x="29156" y="13438"/>
                  <a:pt x="29000" y="13688"/>
                </a:cubicBezTo>
                <a:cubicBezTo>
                  <a:pt x="28906" y="13875"/>
                  <a:pt x="28813" y="14032"/>
                  <a:pt x="28688" y="14219"/>
                </a:cubicBezTo>
                <a:cubicBezTo>
                  <a:pt x="28719" y="14063"/>
                  <a:pt x="28656" y="14032"/>
                  <a:pt x="28531" y="14032"/>
                </a:cubicBezTo>
                <a:cubicBezTo>
                  <a:pt x="28438" y="14282"/>
                  <a:pt x="28188" y="14375"/>
                  <a:pt x="28031" y="14563"/>
                </a:cubicBezTo>
                <a:cubicBezTo>
                  <a:pt x="28000" y="14625"/>
                  <a:pt x="27844" y="14657"/>
                  <a:pt x="27969" y="14782"/>
                </a:cubicBezTo>
                <a:cubicBezTo>
                  <a:pt x="27969" y="14782"/>
                  <a:pt x="27906" y="14875"/>
                  <a:pt x="27906" y="14907"/>
                </a:cubicBezTo>
                <a:cubicBezTo>
                  <a:pt x="27688" y="14938"/>
                  <a:pt x="27656" y="15157"/>
                  <a:pt x="27500" y="15250"/>
                </a:cubicBezTo>
                <a:cubicBezTo>
                  <a:pt x="26969" y="15532"/>
                  <a:pt x="26719" y="16125"/>
                  <a:pt x="26281" y="16532"/>
                </a:cubicBezTo>
                <a:cubicBezTo>
                  <a:pt x="26125" y="16657"/>
                  <a:pt x="25938" y="16782"/>
                  <a:pt x="25719" y="16907"/>
                </a:cubicBezTo>
                <a:cubicBezTo>
                  <a:pt x="25938" y="16657"/>
                  <a:pt x="26125" y="16438"/>
                  <a:pt x="26344" y="16219"/>
                </a:cubicBezTo>
                <a:cubicBezTo>
                  <a:pt x="26219" y="16188"/>
                  <a:pt x="26156" y="16313"/>
                  <a:pt x="26094" y="16375"/>
                </a:cubicBezTo>
                <a:cubicBezTo>
                  <a:pt x="25719" y="16782"/>
                  <a:pt x="25344" y="17125"/>
                  <a:pt x="24938" y="17469"/>
                </a:cubicBezTo>
                <a:cubicBezTo>
                  <a:pt x="24688" y="17688"/>
                  <a:pt x="24406" y="17813"/>
                  <a:pt x="24094" y="17782"/>
                </a:cubicBezTo>
                <a:cubicBezTo>
                  <a:pt x="24000" y="17782"/>
                  <a:pt x="23938" y="17688"/>
                  <a:pt x="23813" y="17719"/>
                </a:cubicBezTo>
                <a:cubicBezTo>
                  <a:pt x="23906" y="17563"/>
                  <a:pt x="24063" y="17563"/>
                  <a:pt x="24125" y="17438"/>
                </a:cubicBezTo>
                <a:cubicBezTo>
                  <a:pt x="24063" y="17407"/>
                  <a:pt x="24031" y="17407"/>
                  <a:pt x="24000" y="17438"/>
                </a:cubicBezTo>
                <a:cubicBezTo>
                  <a:pt x="23688" y="17688"/>
                  <a:pt x="23438" y="17532"/>
                  <a:pt x="23188" y="17344"/>
                </a:cubicBezTo>
                <a:cubicBezTo>
                  <a:pt x="23031" y="17250"/>
                  <a:pt x="22906" y="17094"/>
                  <a:pt x="22688" y="17063"/>
                </a:cubicBezTo>
                <a:cubicBezTo>
                  <a:pt x="22781" y="16969"/>
                  <a:pt x="22938" y="16938"/>
                  <a:pt x="23000" y="16813"/>
                </a:cubicBezTo>
                <a:cubicBezTo>
                  <a:pt x="23031" y="16782"/>
                  <a:pt x="23125" y="16719"/>
                  <a:pt x="23063" y="16688"/>
                </a:cubicBezTo>
                <a:cubicBezTo>
                  <a:pt x="23031" y="16625"/>
                  <a:pt x="22969" y="16719"/>
                  <a:pt x="22938" y="16750"/>
                </a:cubicBezTo>
                <a:cubicBezTo>
                  <a:pt x="22813" y="16813"/>
                  <a:pt x="22719" y="16938"/>
                  <a:pt x="22563" y="16938"/>
                </a:cubicBezTo>
                <a:cubicBezTo>
                  <a:pt x="22531" y="16875"/>
                  <a:pt x="22563" y="16844"/>
                  <a:pt x="22594" y="16813"/>
                </a:cubicBezTo>
                <a:cubicBezTo>
                  <a:pt x="22969" y="16532"/>
                  <a:pt x="23250" y="16157"/>
                  <a:pt x="23531" y="15782"/>
                </a:cubicBezTo>
                <a:cubicBezTo>
                  <a:pt x="23563" y="15719"/>
                  <a:pt x="23594" y="15657"/>
                  <a:pt x="23563" y="15563"/>
                </a:cubicBezTo>
                <a:cubicBezTo>
                  <a:pt x="23250" y="15782"/>
                  <a:pt x="22938" y="16000"/>
                  <a:pt x="22719" y="16313"/>
                </a:cubicBezTo>
                <a:cubicBezTo>
                  <a:pt x="22656" y="16250"/>
                  <a:pt x="22781" y="16188"/>
                  <a:pt x="22688" y="16188"/>
                </a:cubicBezTo>
                <a:cubicBezTo>
                  <a:pt x="22625" y="16157"/>
                  <a:pt x="22563" y="16188"/>
                  <a:pt x="22594" y="16282"/>
                </a:cubicBezTo>
                <a:cubicBezTo>
                  <a:pt x="22594" y="16282"/>
                  <a:pt x="22594" y="16282"/>
                  <a:pt x="22594" y="16282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625" y="16313"/>
                  <a:pt x="22625" y="16313"/>
                  <a:pt x="22625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282"/>
                </a:cubicBezTo>
                <a:cubicBezTo>
                  <a:pt x="22594" y="16282"/>
                  <a:pt x="22594" y="16282"/>
                  <a:pt x="22594" y="16282"/>
                </a:cubicBezTo>
                <a:cubicBezTo>
                  <a:pt x="22563" y="16282"/>
                  <a:pt x="22531" y="16282"/>
                  <a:pt x="22531" y="16282"/>
                </a:cubicBezTo>
                <a:cubicBezTo>
                  <a:pt x="22500" y="16282"/>
                  <a:pt x="22469" y="16313"/>
                  <a:pt x="22469" y="16344"/>
                </a:cubicBezTo>
                <a:cubicBezTo>
                  <a:pt x="22469" y="16344"/>
                  <a:pt x="22438" y="16344"/>
                  <a:pt x="22438" y="16344"/>
                </a:cubicBezTo>
                <a:cubicBezTo>
                  <a:pt x="22375" y="16438"/>
                  <a:pt x="22281" y="16500"/>
                  <a:pt x="22219" y="16563"/>
                </a:cubicBezTo>
                <a:cubicBezTo>
                  <a:pt x="22063" y="16657"/>
                  <a:pt x="21906" y="16750"/>
                  <a:pt x="21750" y="16813"/>
                </a:cubicBezTo>
                <a:cubicBezTo>
                  <a:pt x="21750" y="16813"/>
                  <a:pt x="21750" y="16813"/>
                  <a:pt x="21750" y="16813"/>
                </a:cubicBezTo>
                <a:cubicBezTo>
                  <a:pt x="21750" y="16813"/>
                  <a:pt x="21750" y="16844"/>
                  <a:pt x="21719" y="16844"/>
                </a:cubicBezTo>
                <a:cubicBezTo>
                  <a:pt x="21656" y="16969"/>
                  <a:pt x="21531" y="17032"/>
                  <a:pt x="21344" y="17094"/>
                </a:cubicBezTo>
                <a:cubicBezTo>
                  <a:pt x="21406" y="17000"/>
                  <a:pt x="21469" y="16938"/>
                  <a:pt x="21531" y="16907"/>
                </a:cubicBezTo>
                <a:cubicBezTo>
                  <a:pt x="21656" y="16844"/>
                  <a:pt x="21563" y="16782"/>
                  <a:pt x="21531" y="16719"/>
                </a:cubicBezTo>
                <a:cubicBezTo>
                  <a:pt x="21250" y="16938"/>
                  <a:pt x="21000" y="17157"/>
                  <a:pt x="20688" y="17344"/>
                </a:cubicBezTo>
                <a:cubicBezTo>
                  <a:pt x="20563" y="17438"/>
                  <a:pt x="20469" y="17469"/>
                  <a:pt x="20313" y="17438"/>
                </a:cubicBezTo>
                <a:cubicBezTo>
                  <a:pt x="19906" y="17407"/>
                  <a:pt x="19469" y="17407"/>
                  <a:pt x="19063" y="17250"/>
                </a:cubicBezTo>
                <a:cubicBezTo>
                  <a:pt x="19031" y="17219"/>
                  <a:pt x="19000" y="17219"/>
                  <a:pt x="19000" y="17188"/>
                </a:cubicBezTo>
                <a:cubicBezTo>
                  <a:pt x="18906" y="17063"/>
                  <a:pt x="18813" y="16907"/>
                  <a:pt x="18594" y="16938"/>
                </a:cubicBezTo>
                <a:cubicBezTo>
                  <a:pt x="18531" y="16938"/>
                  <a:pt x="18500" y="16875"/>
                  <a:pt x="18563" y="16844"/>
                </a:cubicBezTo>
                <a:cubicBezTo>
                  <a:pt x="18625" y="16782"/>
                  <a:pt x="18688" y="16719"/>
                  <a:pt x="18750" y="16657"/>
                </a:cubicBezTo>
                <a:cubicBezTo>
                  <a:pt x="18656" y="16563"/>
                  <a:pt x="18594" y="16657"/>
                  <a:pt x="18563" y="16688"/>
                </a:cubicBezTo>
                <a:cubicBezTo>
                  <a:pt x="18438" y="16782"/>
                  <a:pt x="18313" y="16813"/>
                  <a:pt x="18188" y="16782"/>
                </a:cubicBezTo>
                <a:cubicBezTo>
                  <a:pt x="18125" y="16782"/>
                  <a:pt x="18031" y="16844"/>
                  <a:pt x="18125" y="16719"/>
                </a:cubicBezTo>
                <a:cubicBezTo>
                  <a:pt x="18156" y="16688"/>
                  <a:pt x="18125" y="16657"/>
                  <a:pt x="18094" y="16657"/>
                </a:cubicBezTo>
                <a:cubicBezTo>
                  <a:pt x="18031" y="16688"/>
                  <a:pt x="17969" y="16719"/>
                  <a:pt x="18000" y="16782"/>
                </a:cubicBezTo>
                <a:cubicBezTo>
                  <a:pt x="18000" y="16782"/>
                  <a:pt x="18000" y="16782"/>
                  <a:pt x="18031" y="16782"/>
                </a:cubicBezTo>
                <a:cubicBezTo>
                  <a:pt x="18031" y="16782"/>
                  <a:pt x="18031" y="16782"/>
                  <a:pt x="18031" y="16782"/>
                </a:cubicBezTo>
                <a:cubicBezTo>
                  <a:pt x="18031" y="16782"/>
                  <a:pt x="18063" y="16782"/>
                  <a:pt x="18063" y="16813"/>
                </a:cubicBezTo>
                <a:cubicBezTo>
                  <a:pt x="18063" y="16813"/>
                  <a:pt x="18063" y="16844"/>
                  <a:pt x="18031" y="16844"/>
                </a:cubicBezTo>
                <a:cubicBezTo>
                  <a:pt x="18031" y="16844"/>
                  <a:pt x="18031" y="16844"/>
                  <a:pt x="18031" y="16813"/>
                </a:cubicBezTo>
                <a:cubicBezTo>
                  <a:pt x="18031" y="16813"/>
                  <a:pt x="18031" y="16813"/>
                  <a:pt x="18031" y="16782"/>
                </a:cubicBezTo>
                <a:cubicBezTo>
                  <a:pt x="18031" y="16782"/>
                  <a:pt x="18000" y="16782"/>
                  <a:pt x="18000" y="16782"/>
                </a:cubicBezTo>
                <a:cubicBezTo>
                  <a:pt x="18000" y="16782"/>
                  <a:pt x="18000" y="16782"/>
                  <a:pt x="18000" y="16782"/>
                </a:cubicBezTo>
                <a:cubicBezTo>
                  <a:pt x="18000" y="16782"/>
                  <a:pt x="17969" y="16782"/>
                  <a:pt x="17969" y="16782"/>
                </a:cubicBezTo>
                <a:cubicBezTo>
                  <a:pt x="17938" y="16782"/>
                  <a:pt x="17938" y="16782"/>
                  <a:pt x="17938" y="16782"/>
                </a:cubicBezTo>
                <a:cubicBezTo>
                  <a:pt x="17906" y="16813"/>
                  <a:pt x="17906" y="16813"/>
                  <a:pt x="17875" y="16844"/>
                </a:cubicBezTo>
                <a:cubicBezTo>
                  <a:pt x="17563" y="17125"/>
                  <a:pt x="17281" y="17407"/>
                  <a:pt x="16906" y="17625"/>
                </a:cubicBezTo>
                <a:cubicBezTo>
                  <a:pt x="16875" y="17625"/>
                  <a:pt x="16844" y="17657"/>
                  <a:pt x="16813" y="17657"/>
                </a:cubicBezTo>
                <a:cubicBezTo>
                  <a:pt x="16813" y="17657"/>
                  <a:pt x="16781" y="17657"/>
                  <a:pt x="16781" y="17657"/>
                </a:cubicBezTo>
                <a:cubicBezTo>
                  <a:pt x="16750" y="17657"/>
                  <a:pt x="16719" y="17657"/>
                  <a:pt x="16688" y="17657"/>
                </a:cubicBezTo>
                <a:cubicBezTo>
                  <a:pt x="16594" y="17719"/>
                  <a:pt x="16500" y="17782"/>
                  <a:pt x="16406" y="17907"/>
                </a:cubicBezTo>
                <a:cubicBezTo>
                  <a:pt x="16563" y="17844"/>
                  <a:pt x="16656" y="17782"/>
                  <a:pt x="16750" y="17719"/>
                </a:cubicBezTo>
                <a:cubicBezTo>
                  <a:pt x="16750" y="17719"/>
                  <a:pt x="16781" y="17688"/>
                  <a:pt x="16781" y="17688"/>
                </a:cubicBezTo>
                <a:cubicBezTo>
                  <a:pt x="16781" y="17688"/>
                  <a:pt x="16781" y="17657"/>
                  <a:pt x="16781" y="17657"/>
                </a:cubicBezTo>
                <a:cubicBezTo>
                  <a:pt x="16844" y="17500"/>
                  <a:pt x="17000" y="17438"/>
                  <a:pt x="17125" y="17344"/>
                </a:cubicBezTo>
                <a:cubicBezTo>
                  <a:pt x="17125" y="17313"/>
                  <a:pt x="17156" y="17313"/>
                  <a:pt x="17156" y="17282"/>
                </a:cubicBezTo>
                <a:cubicBezTo>
                  <a:pt x="17188" y="17250"/>
                  <a:pt x="17250" y="17219"/>
                  <a:pt x="17281" y="17188"/>
                </a:cubicBezTo>
                <a:cubicBezTo>
                  <a:pt x="17281" y="17188"/>
                  <a:pt x="17313" y="17188"/>
                  <a:pt x="17313" y="17157"/>
                </a:cubicBezTo>
                <a:cubicBezTo>
                  <a:pt x="17344" y="17125"/>
                  <a:pt x="17375" y="17125"/>
                  <a:pt x="17406" y="17094"/>
                </a:cubicBezTo>
                <a:cubicBezTo>
                  <a:pt x="17406" y="17094"/>
                  <a:pt x="17406" y="17094"/>
                  <a:pt x="17406" y="17094"/>
                </a:cubicBezTo>
                <a:cubicBezTo>
                  <a:pt x="17406" y="17094"/>
                  <a:pt x="17406" y="17094"/>
                  <a:pt x="17406" y="17094"/>
                </a:cubicBezTo>
                <a:cubicBezTo>
                  <a:pt x="17406" y="17063"/>
                  <a:pt x="17406" y="17032"/>
                  <a:pt x="17438" y="17032"/>
                </a:cubicBezTo>
                <a:cubicBezTo>
                  <a:pt x="17469" y="17032"/>
                  <a:pt x="17469" y="17032"/>
                  <a:pt x="17469" y="17032"/>
                </a:cubicBezTo>
                <a:cubicBezTo>
                  <a:pt x="17500" y="17032"/>
                  <a:pt x="17500" y="17000"/>
                  <a:pt x="17531" y="17000"/>
                </a:cubicBezTo>
                <a:cubicBezTo>
                  <a:pt x="17531" y="17000"/>
                  <a:pt x="17531" y="17000"/>
                  <a:pt x="17531" y="17000"/>
                </a:cubicBezTo>
                <a:cubicBezTo>
                  <a:pt x="17531" y="17000"/>
                  <a:pt x="17531" y="17000"/>
                  <a:pt x="17531" y="17000"/>
                </a:cubicBezTo>
                <a:cubicBezTo>
                  <a:pt x="17531" y="16938"/>
                  <a:pt x="17563" y="16907"/>
                  <a:pt x="17594" y="16907"/>
                </a:cubicBezTo>
                <a:cubicBezTo>
                  <a:pt x="17625" y="16907"/>
                  <a:pt x="17625" y="16875"/>
                  <a:pt x="17656" y="16875"/>
                </a:cubicBezTo>
                <a:cubicBezTo>
                  <a:pt x="17656" y="16875"/>
                  <a:pt x="17656" y="16875"/>
                  <a:pt x="17656" y="16875"/>
                </a:cubicBezTo>
                <a:cubicBezTo>
                  <a:pt x="17656" y="16844"/>
                  <a:pt x="17656" y="16782"/>
                  <a:pt x="17594" y="16782"/>
                </a:cubicBezTo>
                <a:cubicBezTo>
                  <a:pt x="17375" y="16813"/>
                  <a:pt x="17219" y="16969"/>
                  <a:pt x="17031" y="17094"/>
                </a:cubicBezTo>
                <a:cubicBezTo>
                  <a:pt x="16938" y="17188"/>
                  <a:pt x="16844" y="17250"/>
                  <a:pt x="16750" y="17282"/>
                </a:cubicBezTo>
                <a:cubicBezTo>
                  <a:pt x="16625" y="17469"/>
                  <a:pt x="16594" y="17563"/>
                  <a:pt x="15875" y="17657"/>
                </a:cubicBezTo>
                <a:cubicBezTo>
                  <a:pt x="15875" y="17750"/>
                  <a:pt x="16000" y="17688"/>
                  <a:pt x="15969" y="17750"/>
                </a:cubicBezTo>
                <a:cubicBezTo>
                  <a:pt x="15938" y="17813"/>
                  <a:pt x="15938" y="17719"/>
                  <a:pt x="15875" y="17719"/>
                </a:cubicBezTo>
                <a:cubicBezTo>
                  <a:pt x="15813" y="17750"/>
                  <a:pt x="15719" y="17750"/>
                  <a:pt x="15750" y="17875"/>
                </a:cubicBezTo>
                <a:cubicBezTo>
                  <a:pt x="15781" y="17907"/>
                  <a:pt x="15781" y="17938"/>
                  <a:pt x="15750" y="17938"/>
                </a:cubicBezTo>
                <a:cubicBezTo>
                  <a:pt x="15750" y="17938"/>
                  <a:pt x="15750" y="17938"/>
                  <a:pt x="15750" y="17938"/>
                </a:cubicBezTo>
                <a:cubicBezTo>
                  <a:pt x="15750" y="17938"/>
                  <a:pt x="15750" y="17938"/>
                  <a:pt x="15750" y="17938"/>
                </a:cubicBezTo>
                <a:cubicBezTo>
                  <a:pt x="15719" y="17938"/>
                  <a:pt x="15719" y="17938"/>
                  <a:pt x="15688" y="17907"/>
                </a:cubicBezTo>
                <a:cubicBezTo>
                  <a:pt x="15688" y="17907"/>
                  <a:pt x="15688" y="17907"/>
                  <a:pt x="15688" y="17907"/>
                </a:cubicBezTo>
                <a:cubicBezTo>
                  <a:pt x="15688" y="17907"/>
                  <a:pt x="15688" y="17907"/>
                  <a:pt x="15688" y="17907"/>
                </a:cubicBezTo>
                <a:cubicBezTo>
                  <a:pt x="15656" y="17907"/>
                  <a:pt x="15656" y="17875"/>
                  <a:pt x="15656" y="17875"/>
                </a:cubicBezTo>
                <a:cubicBezTo>
                  <a:pt x="15625" y="17875"/>
                  <a:pt x="15594" y="17875"/>
                  <a:pt x="15594" y="17844"/>
                </a:cubicBezTo>
                <a:cubicBezTo>
                  <a:pt x="15719" y="17782"/>
                  <a:pt x="15813" y="17625"/>
                  <a:pt x="15969" y="17563"/>
                </a:cubicBezTo>
                <a:cubicBezTo>
                  <a:pt x="16000" y="17563"/>
                  <a:pt x="16031" y="17563"/>
                  <a:pt x="16031" y="17532"/>
                </a:cubicBezTo>
                <a:cubicBezTo>
                  <a:pt x="16063" y="17532"/>
                  <a:pt x="16094" y="17500"/>
                  <a:pt x="16125" y="17500"/>
                </a:cubicBezTo>
                <a:cubicBezTo>
                  <a:pt x="16125" y="17500"/>
                  <a:pt x="16125" y="17500"/>
                  <a:pt x="16125" y="17500"/>
                </a:cubicBezTo>
                <a:cubicBezTo>
                  <a:pt x="16125" y="17469"/>
                  <a:pt x="16125" y="17469"/>
                  <a:pt x="16125" y="17469"/>
                </a:cubicBezTo>
                <a:cubicBezTo>
                  <a:pt x="16125" y="17438"/>
                  <a:pt x="16156" y="17407"/>
                  <a:pt x="16156" y="17407"/>
                </a:cubicBezTo>
                <a:cubicBezTo>
                  <a:pt x="15938" y="17438"/>
                  <a:pt x="15750" y="17563"/>
                  <a:pt x="15563" y="17657"/>
                </a:cubicBezTo>
                <a:cubicBezTo>
                  <a:pt x="15531" y="17688"/>
                  <a:pt x="15500" y="17688"/>
                  <a:pt x="15469" y="17688"/>
                </a:cubicBezTo>
                <a:cubicBezTo>
                  <a:pt x="15250" y="17782"/>
                  <a:pt x="15031" y="17907"/>
                  <a:pt x="14813" y="18000"/>
                </a:cubicBezTo>
                <a:cubicBezTo>
                  <a:pt x="14750" y="18000"/>
                  <a:pt x="14719" y="18032"/>
                  <a:pt x="14656" y="18000"/>
                </a:cubicBezTo>
                <a:cubicBezTo>
                  <a:pt x="14406" y="17907"/>
                  <a:pt x="14156" y="17875"/>
                  <a:pt x="13906" y="17750"/>
                </a:cubicBezTo>
                <a:cubicBezTo>
                  <a:pt x="14406" y="17594"/>
                  <a:pt x="14906" y="17407"/>
                  <a:pt x="15313" y="17032"/>
                </a:cubicBezTo>
                <a:cubicBezTo>
                  <a:pt x="15313" y="17032"/>
                  <a:pt x="15313" y="17032"/>
                  <a:pt x="15281" y="17032"/>
                </a:cubicBezTo>
                <a:cubicBezTo>
                  <a:pt x="15031" y="17094"/>
                  <a:pt x="14844" y="17282"/>
                  <a:pt x="14594" y="17344"/>
                </a:cubicBezTo>
                <a:cubicBezTo>
                  <a:pt x="14531" y="17344"/>
                  <a:pt x="14500" y="17375"/>
                  <a:pt x="14469" y="17313"/>
                </a:cubicBezTo>
                <a:cubicBezTo>
                  <a:pt x="14719" y="17157"/>
                  <a:pt x="14969" y="16969"/>
                  <a:pt x="15156" y="16657"/>
                </a:cubicBezTo>
                <a:cubicBezTo>
                  <a:pt x="14594" y="16907"/>
                  <a:pt x="14156" y="17344"/>
                  <a:pt x="13531" y="17407"/>
                </a:cubicBezTo>
                <a:cubicBezTo>
                  <a:pt x="13469" y="17407"/>
                  <a:pt x="13438" y="17344"/>
                  <a:pt x="13406" y="17313"/>
                </a:cubicBezTo>
                <a:cubicBezTo>
                  <a:pt x="13750" y="17157"/>
                  <a:pt x="14125" y="17032"/>
                  <a:pt x="14438" y="16782"/>
                </a:cubicBezTo>
                <a:cubicBezTo>
                  <a:pt x="14531" y="16719"/>
                  <a:pt x="14594" y="16594"/>
                  <a:pt x="14750" y="16657"/>
                </a:cubicBezTo>
                <a:cubicBezTo>
                  <a:pt x="14813" y="16688"/>
                  <a:pt x="14844" y="16594"/>
                  <a:pt x="14813" y="16532"/>
                </a:cubicBezTo>
                <a:cubicBezTo>
                  <a:pt x="14781" y="16469"/>
                  <a:pt x="14844" y="16469"/>
                  <a:pt x="14875" y="16438"/>
                </a:cubicBezTo>
                <a:cubicBezTo>
                  <a:pt x="15094" y="16282"/>
                  <a:pt x="15281" y="16094"/>
                  <a:pt x="15500" y="15938"/>
                </a:cubicBezTo>
                <a:cubicBezTo>
                  <a:pt x="15531" y="15907"/>
                  <a:pt x="15531" y="15844"/>
                  <a:pt x="15563" y="15813"/>
                </a:cubicBezTo>
                <a:cubicBezTo>
                  <a:pt x="15500" y="15844"/>
                  <a:pt x="15438" y="15907"/>
                  <a:pt x="15375" y="15938"/>
                </a:cubicBezTo>
                <a:cubicBezTo>
                  <a:pt x="15219" y="16032"/>
                  <a:pt x="15094" y="16125"/>
                  <a:pt x="14969" y="16219"/>
                </a:cubicBezTo>
                <a:cubicBezTo>
                  <a:pt x="14906" y="16250"/>
                  <a:pt x="14844" y="16313"/>
                  <a:pt x="14750" y="16344"/>
                </a:cubicBezTo>
                <a:cubicBezTo>
                  <a:pt x="14750" y="16344"/>
                  <a:pt x="14750" y="16344"/>
                  <a:pt x="14750" y="16344"/>
                </a:cubicBezTo>
                <a:cubicBezTo>
                  <a:pt x="14719" y="16407"/>
                  <a:pt x="14719" y="16407"/>
                  <a:pt x="14688" y="16438"/>
                </a:cubicBezTo>
                <a:cubicBezTo>
                  <a:pt x="14656" y="16469"/>
                  <a:pt x="14625" y="16469"/>
                  <a:pt x="14594" y="16500"/>
                </a:cubicBezTo>
                <a:cubicBezTo>
                  <a:pt x="14531" y="16532"/>
                  <a:pt x="14469" y="16563"/>
                  <a:pt x="14406" y="16625"/>
                </a:cubicBezTo>
                <a:cubicBezTo>
                  <a:pt x="14313" y="16500"/>
                  <a:pt x="14250" y="16625"/>
                  <a:pt x="14156" y="16657"/>
                </a:cubicBezTo>
                <a:cubicBezTo>
                  <a:pt x="14031" y="16688"/>
                  <a:pt x="14219" y="16782"/>
                  <a:pt x="14125" y="16750"/>
                </a:cubicBezTo>
                <a:cubicBezTo>
                  <a:pt x="14031" y="16750"/>
                  <a:pt x="14000" y="16750"/>
                  <a:pt x="13969" y="16844"/>
                </a:cubicBezTo>
                <a:cubicBezTo>
                  <a:pt x="13719" y="16750"/>
                  <a:pt x="13563" y="17032"/>
                  <a:pt x="13313" y="17032"/>
                </a:cubicBezTo>
                <a:cubicBezTo>
                  <a:pt x="13438" y="16938"/>
                  <a:pt x="13531" y="16875"/>
                  <a:pt x="13625" y="16782"/>
                </a:cubicBezTo>
                <a:cubicBezTo>
                  <a:pt x="13719" y="16719"/>
                  <a:pt x="13813" y="16625"/>
                  <a:pt x="13906" y="16563"/>
                </a:cubicBezTo>
                <a:cubicBezTo>
                  <a:pt x="13906" y="16563"/>
                  <a:pt x="13906" y="16532"/>
                  <a:pt x="13938" y="16532"/>
                </a:cubicBezTo>
                <a:cubicBezTo>
                  <a:pt x="14156" y="16313"/>
                  <a:pt x="14375" y="16094"/>
                  <a:pt x="14563" y="15875"/>
                </a:cubicBezTo>
                <a:cubicBezTo>
                  <a:pt x="14625" y="15813"/>
                  <a:pt x="14719" y="15782"/>
                  <a:pt x="14656" y="15688"/>
                </a:cubicBezTo>
                <a:cubicBezTo>
                  <a:pt x="14563" y="15625"/>
                  <a:pt x="14531" y="15719"/>
                  <a:pt x="14469" y="15750"/>
                </a:cubicBezTo>
                <a:cubicBezTo>
                  <a:pt x="14438" y="15750"/>
                  <a:pt x="14406" y="15782"/>
                  <a:pt x="14406" y="15813"/>
                </a:cubicBezTo>
                <a:cubicBezTo>
                  <a:pt x="14313" y="15907"/>
                  <a:pt x="14250" y="16032"/>
                  <a:pt x="14063" y="16063"/>
                </a:cubicBezTo>
                <a:cubicBezTo>
                  <a:pt x="14125" y="15907"/>
                  <a:pt x="14250" y="15844"/>
                  <a:pt x="14344" y="15750"/>
                </a:cubicBezTo>
                <a:cubicBezTo>
                  <a:pt x="14438" y="15657"/>
                  <a:pt x="14563" y="15563"/>
                  <a:pt x="14656" y="15438"/>
                </a:cubicBezTo>
                <a:cubicBezTo>
                  <a:pt x="14656" y="15438"/>
                  <a:pt x="14688" y="15407"/>
                  <a:pt x="14688" y="15407"/>
                </a:cubicBezTo>
                <a:cubicBezTo>
                  <a:pt x="14688" y="15375"/>
                  <a:pt x="14688" y="15375"/>
                  <a:pt x="14688" y="15375"/>
                </a:cubicBezTo>
                <a:cubicBezTo>
                  <a:pt x="14688" y="15375"/>
                  <a:pt x="14688" y="15375"/>
                  <a:pt x="14688" y="15344"/>
                </a:cubicBezTo>
                <a:cubicBezTo>
                  <a:pt x="14656" y="15313"/>
                  <a:pt x="14594" y="15313"/>
                  <a:pt x="14656" y="15250"/>
                </a:cubicBezTo>
                <a:cubicBezTo>
                  <a:pt x="14656" y="15219"/>
                  <a:pt x="14688" y="15219"/>
                  <a:pt x="14688" y="15188"/>
                </a:cubicBezTo>
                <a:cubicBezTo>
                  <a:pt x="14656" y="15188"/>
                  <a:pt x="14656" y="15188"/>
                  <a:pt x="14656" y="15188"/>
                </a:cubicBezTo>
                <a:cubicBezTo>
                  <a:pt x="14625" y="15188"/>
                  <a:pt x="14594" y="15188"/>
                  <a:pt x="14594" y="15188"/>
                </a:cubicBezTo>
                <a:cubicBezTo>
                  <a:pt x="14563" y="15219"/>
                  <a:pt x="14531" y="15250"/>
                  <a:pt x="14500" y="15250"/>
                </a:cubicBezTo>
                <a:cubicBezTo>
                  <a:pt x="14500" y="15282"/>
                  <a:pt x="14500" y="15282"/>
                  <a:pt x="14469" y="15313"/>
                </a:cubicBezTo>
                <a:cubicBezTo>
                  <a:pt x="14469" y="15313"/>
                  <a:pt x="14438" y="15313"/>
                  <a:pt x="14438" y="15313"/>
                </a:cubicBezTo>
                <a:cubicBezTo>
                  <a:pt x="14438" y="15375"/>
                  <a:pt x="14406" y="15407"/>
                  <a:pt x="14344" y="15375"/>
                </a:cubicBezTo>
                <a:cubicBezTo>
                  <a:pt x="14281" y="15375"/>
                  <a:pt x="14313" y="15344"/>
                  <a:pt x="14313" y="15282"/>
                </a:cubicBezTo>
                <a:cubicBezTo>
                  <a:pt x="14250" y="15344"/>
                  <a:pt x="14219" y="15375"/>
                  <a:pt x="14156" y="15407"/>
                </a:cubicBezTo>
                <a:cubicBezTo>
                  <a:pt x="14281" y="15438"/>
                  <a:pt x="14375" y="15438"/>
                  <a:pt x="14219" y="15563"/>
                </a:cubicBezTo>
                <a:cubicBezTo>
                  <a:pt x="14125" y="15657"/>
                  <a:pt x="14156" y="15657"/>
                  <a:pt x="14063" y="15625"/>
                </a:cubicBezTo>
                <a:cubicBezTo>
                  <a:pt x="14031" y="15594"/>
                  <a:pt x="14000" y="15625"/>
                  <a:pt x="14000" y="15657"/>
                </a:cubicBezTo>
                <a:cubicBezTo>
                  <a:pt x="13969" y="15657"/>
                  <a:pt x="13938" y="15688"/>
                  <a:pt x="13938" y="15688"/>
                </a:cubicBezTo>
                <a:cubicBezTo>
                  <a:pt x="13906" y="15688"/>
                  <a:pt x="13875" y="15688"/>
                  <a:pt x="13844" y="15688"/>
                </a:cubicBezTo>
                <a:cubicBezTo>
                  <a:pt x="13844" y="15688"/>
                  <a:pt x="13844" y="15688"/>
                  <a:pt x="13813" y="15719"/>
                </a:cubicBezTo>
                <a:cubicBezTo>
                  <a:pt x="13813" y="15719"/>
                  <a:pt x="13813" y="15750"/>
                  <a:pt x="13781" y="15750"/>
                </a:cubicBezTo>
                <a:cubicBezTo>
                  <a:pt x="13781" y="15782"/>
                  <a:pt x="13750" y="15813"/>
                  <a:pt x="13688" y="15813"/>
                </a:cubicBezTo>
                <a:cubicBezTo>
                  <a:pt x="13688" y="15844"/>
                  <a:pt x="13688" y="15875"/>
                  <a:pt x="13688" y="15875"/>
                </a:cubicBezTo>
                <a:cubicBezTo>
                  <a:pt x="13656" y="15875"/>
                  <a:pt x="13656" y="15875"/>
                  <a:pt x="13656" y="15875"/>
                </a:cubicBezTo>
                <a:cubicBezTo>
                  <a:pt x="13625" y="15907"/>
                  <a:pt x="13594" y="15907"/>
                  <a:pt x="13563" y="15938"/>
                </a:cubicBezTo>
                <a:cubicBezTo>
                  <a:pt x="13563" y="16000"/>
                  <a:pt x="13500" y="16000"/>
                  <a:pt x="13469" y="16032"/>
                </a:cubicBezTo>
                <a:cubicBezTo>
                  <a:pt x="13469" y="16032"/>
                  <a:pt x="13469" y="16032"/>
                  <a:pt x="13469" y="16032"/>
                </a:cubicBezTo>
                <a:cubicBezTo>
                  <a:pt x="13469" y="16063"/>
                  <a:pt x="13438" y="16063"/>
                  <a:pt x="13438" y="16094"/>
                </a:cubicBezTo>
                <a:cubicBezTo>
                  <a:pt x="13438" y="16094"/>
                  <a:pt x="13406" y="16094"/>
                  <a:pt x="13406" y="16094"/>
                </a:cubicBezTo>
                <a:cubicBezTo>
                  <a:pt x="13406" y="16125"/>
                  <a:pt x="13375" y="16125"/>
                  <a:pt x="13375" y="16157"/>
                </a:cubicBezTo>
                <a:cubicBezTo>
                  <a:pt x="13344" y="16188"/>
                  <a:pt x="13313" y="16188"/>
                  <a:pt x="13281" y="16188"/>
                </a:cubicBezTo>
                <a:cubicBezTo>
                  <a:pt x="13281" y="16094"/>
                  <a:pt x="13344" y="16032"/>
                  <a:pt x="13438" y="16000"/>
                </a:cubicBezTo>
                <a:cubicBezTo>
                  <a:pt x="13438" y="15969"/>
                  <a:pt x="13469" y="15938"/>
                  <a:pt x="13500" y="15907"/>
                </a:cubicBezTo>
                <a:cubicBezTo>
                  <a:pt x="13500" y="15907"/>
                  <a:pt x="13531" y="15907"/>
                  <a:pt x="13531" y="15875"/>
                </a:cubicBezTo>
                <a:cubicBezTo>
                  <a:pt x="13563" y="15875"/>
                  <a:pt x="13563" y="15844"/>
                  <a:pt x="13563" y="15844"/>
                </a:cubicBezTo>
                <a:cubicBezTo>
                  <a:pt x="13594" y="15844"/>
                  <a:pt x="13594" y="15844"/>
                  <a:pt x="13594" y="15844"/>
                </a:cubicBezTo>
                <a:cubicBezTo>
                  <a:pt x="13625" y="15844"/>
                  <a:pt x="13625" y="15813"/>
                  <a:pt x="13656" y="15813"/>
                </a:cubicBezTo>
                <a:cubicBezTo>
                  <a:pt x="13656" y="15813"/>
                  <a:pt x="13656" y="15813"/>
                  <a:pt x="13656" y="15813"/>
                </a:cubicBezTo>
                <a:cubicBezTo>
                  <a:pt x="13656" y="15782"/>
                  <a:pt x="13656" y="15782"/>
                  <a:pt x="13688" y="15782"/>
                </a:cubicBezTo>
                <a:cubicBezTo>
                  <a:pt x="13688" y="15782"/>
                  <a:pt x="13688" y="15782"/>
                  <a:pt x="13688" y="15782"/>
                </a:cubicBezTo>
                <a:cubicBezTo>
                  <a:pt x="13688" y="15782"/>
                  <a:pt x="13688" y="15782"/>
                  <a:pt x="13688" y="15782"/>
                </a:cubicBezTo>
                <a:cubicBezTo>
                  <a:pt x="13688" y="15782"/>
                  <a:pt x="13688" y="15782"/>
                  <a:pt x="13688" y="15782"/>
                </a:cubicBezTo>
                <a:cubicBezTo>
                  <a:pt x="13688" y="15750"/>
                  <a:pt x="13719" y="15688"/>
                  <a:pt x="13750" y="15657"/>
                </a:cubicBezTo>
                <a:cubicBezTo>
                  <a:pt x="13844" y="15563"/>
                  <a:pt x="13719" y="15563"/>
                  <a:pt x="13656" y="15563"/>
                </a:cubicBezTo>
                <a:cubicBezTo>
                  <a:pt x="13656" y="15594"/>
                  <a:pt x="13625" y="15594"/>
                  <a:pt x="13625" y="15625"/>
                </a:cubicBezTo>
                <a:cubicBezTo>
                  <a:pt x="13594" y="15657"/>
                  <a:pt x="13531" y="15719"/>
                  <a:pt x="13500" y="15750"/>
                </a:cubicBezTo>
                <a:cubicBezTo>
                  <a:pt x="13469" y="15813"/>
                  <a:pt x="13438" y="15844"/>
                  <a:pt x="13375" y="15907"/>
                </a:cubicBezTo>
                <a:cubicBezTo>
                  <a:pt x="13281" y="16094"/>
                  <a:pt x="13063" y="16157"/>
                  <a:pt x="12906" y="16250"/>
                </a:cubicBezTo>
                <a:cubicBezTo>
                  <a:pt x="12500" y="16500"/>
                  <a:pt x="12125" y="16844"/>
                  <a:pt x="11719" y="17094"/>
                </a:cubicBezTo>
                <a:cubicBezTo>
                  <a:pt x="11500" y="17250"/>
                  <a:pt x="11313" y="17407"/>
                  <a:pt x="11063" y="17438"/>
                </a:cubicBezTo>
                <a:cubicBezTo>
                  <a:pt x="11219" y="17313"/>
                  <a:pt x="11375" y="17219"/>
                  <a:pt x="11531" y="17094"/>
                </a:cubicBezTo>
                <a:cubicBezTo>
                  <a:pt x="11813" y="16875"/>
                  <a:pt x="12063" y="16688"/>
                  <a:pt x="12313" y="16438"/>
                </a:cubicBezTo>
                <a:cubicBezTo>
                  <a:pt x="12313" y="16438"/>
                  <a:pt x="12281" y="16438"/>
                  <a:pt x="12281" y="16438"/>
                </a:cubicBezTo>
                <a:cubicBezTo>
                  <a:pt x="12281" y="16407"/>
                  <a:pt x="12281" y="16407"/>
                  <a:pt x="12281" y="16407"/>
                </a:cubicBezTo>
                <a:cubicBezTo>
                  <a:pt x="12281" y="16407"/>
                  <a:pt x="12281" y="16407"/>
                  <a:pt x="12250" y="16407"/>
                </a:cubicBezTo>
                <a:cubicBezTo>
                  <a:pt x="12250" y="16407"/>
                  <a:pt x="12219" y="16407"/>
                  <a:pt x="12188" y="16407"/>
                </a:cubicBezTo>
                <a:cubicBezTo>
                  <a:pt x="12156" y="16407"/>
                  <a:pt x="12156" y="16407"/>
                  <a:pt x="12125" y="16407"/>
                </a:cubicBezTo>
                <a:cubicBezTo>
                  <a:pt x="12250" y="16313"/>
                  <a:pt x="12313" y="16157"/>
                  <a:pt x="12406" y="16032"/>
                </a:cubicBezTo>
                <a:cubicBezTo>
                  <a:pt x="12438" y="15969"/>
                  <a:pt x="12500" y="15907"/>
                  <a:pt x="12563" y="15844"/>
                </a:cubicBezTo>
                <a:cubicBezTo>
                  <a:pt x="12594" y="15813"/>
                  <a:pt x="12625" y="15782"/>
                  <a:pt x="12656" y="15750"/>
                </a:cubicBezTo>
                <a:cubicBezTo>
                  <a:pt x="12656" y="15719"/>
                  <a:pt x="12656" y="15719"/>
                  <a:pt x="12688" y="15719"/>
                </a:cubicBezTo>
                <a:cubicBezTo>
                  <a:pt x="12750" y="15625"/>
                  <a:pt x="12875" y="15563"/>
                  <a:pt x="12875" y="15375"/>
                </a:cubicBezTo>
                <a:cubicBezTo>
                  <a:pt x="12781" y="15500"/>
                  <a:pt x="12719" y="15594"/>
                  <a:pt x="12625" y="15625"/>
                </a:cubicBezTo>
                <a:cubicBezTo>
                  <a:pt x="12563" y="15688"/>
                  <a:pt x="12500" y="15907"/>
                  <a:pt x="12344" y="15719"/>
                </a:cubicBezTo>
                <a:cubicBezTo>
                  <a:pt x="12344" y="15688"/>
                  <a:pt x="12188" y="15813"/>
                  <a:pt x="12094" y="15813"/>
                </a:cubicBezTo>
                <a:cubicBezTo>
                  <a:pt x="12063" y="15875"/>
                  <a:pt x="12031" y="15907"/>
                  <a:pt x="11969" y="15938"/>
                </a:cubicBezTo>
                <a:cubicBezTo>
                  <a:pt x="11750" y="16188"/>
                  <a:pt x="11438" y="16344"/>
                  <a:pt x="11156" y="16532"/>
                </a:cubicBezTo>
                <a:cubicBezTo>
                  <a:pt x="11344" y="16344"/>
                  <a:pt x="11500" y="16188"/>
                  <a:pt x="11719" y="16032"/>
                </a:cubicBezTo>
                <a:cubicBezTo>
                  <a:pt x="11781" y="15969"/>
                  <a:pt x="11844" y="15938"/>
                  <a:pt x="11906" y="15875"/>
                </a:cubicBezTo>
                <a:cubicBezTo>
                  <a:pt x="11969" y="15844"/>
                  <a:pt x="12000" y="15813"/>
                  <a:pt x="12063" y="15782"/>
                </a:cubicBezTo>
                <a:cubicBezTo>
                  <a:pt x="12219" y="15563"/>
                  <a:pt x="12406" y="15375"/>
                  <a:pt x="12625" y="15188"/>
                </a:cubicBezTo>
                <a:cubicBezTo>
                  <a:pt x="12750" y="15032"/>
                  <a:pt x="12781" y="14969"/>
                  <a:pt x="12656" y="14813"/>
                </a:cubicBezTo>
                <a:cubicBezTo>
                  <a:pt x="12594" y="14750"/>
                  <a:pt x="12781" y="14688"/>
                  <a:pt x="12625" y="14719"/>
                </a:cubicBezTo>
                <a:cubicBezTo>
                  <a:pt x="12531" y="14719"/>
                  <a:pt x="12563" y="14782"/>
                  <a:pt x="12625" y="14844"/>
                </a:cubicBezTo>
                <a:cubicBezTo>
                  <a:pt x="12625" y="14844"/>
                  <a:pt x="12594" y="14875"/>
                  <a:pt x="12594" y="14907"/>
                </a:cubicBezTo>
                <a:cubicBezTo>
                  <a:pt x="12563" y="14907"/>
                  <a:pt x="12563" y="14938"/>
                  <a:pt x="12563" y="14938"/>
                </a:cubicBezTo>
                <a:cubicBezTo>
                  <a:pt x="12313" y="14719"/>
                  <a:pt x="12313" y="15032"/>
                  <a:pt x="12188" y="15094"/>
                </a:cubicBezTo>
                <a:cubicBezTo>
                  <a:pt x="11969" y="15250"/>
                  <a:pt x="11781" y="15438"/>
                  <a:pt x="11594" y="15625"/>
                </a:cubicBezTo>
                <a:cubicBezTo>
                  <a:pt x="11531" y="15657"/>
                  <a:pt x="11500" y="15719"/>
                  <a:pt x="11469" y="15657"/>
                </a:cubicBezTo>
                <a:cubicBezTo>
                  <a:pt x="11438" y="15625"/>
                  <a:pt x="11469" y="15594"/>
                  <a:pt x="11500" y="15563"/>
                </a:cubicBezTo>
                <a:cubicBezTo>
                  <a:pt x="11875" y="15313"/>
                  <a:pt x="12125" y="14938"/>
                  <a:pt x="12438" y="14625"/>
                </a:cubicBezTo>
                <a:cubicBezTo>
                  <a:pt x="12656" y="14407"/>
                  <a:pt x="12906" y="14188"/>
                  <a:pt x="13094" y="13938"/>
                </a:cubicBezTo>
                <a:cubicBezTo>
                  <a:pt x="13219" y="13813"/>
                  <a:pt x="13313" y="13688"/>
                  <a:pt x="13406" y="13563"/>
                </a:cubicBezTo>
                <a:cubicBezTo>
                  <a:pt x="13469" y="13500"/>
                  <a:pt x="13531" y="13438"/>
                  <a:pt x="13563" y="13344"/>
                </a:cubicBezTo>
                <a:cubicBezTo>
                  <a:pt x="13313" y="13469"/>
                  <a:pt x="13188" y="13688"/>
                  <a:pt x="13031" y="13875"/>
                </a:cubicBezTo>
                <a:cubicBezTo>
                  <a:pt x="12750" y="14157"/>
                  <a:pt x="12469" y="14407"/>
                  <a:pt x="12156" y="14657"/>
                </a:cubicBezTo>
                <a:cubicBezTo>
                  <a:pt x="12188" y="14532"/>
                  <a:pt x="12375" y="14219"/>
                  <a:pt x="12469" y="14125"/>
                </a:cubicBezTo>
                <a:cubicBezTo>
                  <a:pt x="12531" y="14094"/>
                  <a:pt x="12594" y="14063"/>
                  <a:pt x="12594" y="13969"/>
                </a:cubicBezTo>
                <a:cubicBezTo>
                  <a:pt x="12594" y="13938"/>
                  <a:pt x="12563" y="13938"/>
                  <a:pt x="12563" y="13907"/>
                </a:cubicBezTo>
                <a:cubicBezTo>
                  <a:pt x="12438" y="13969"/>
                  <a:pt x="12344" y="14063"/>
                  <a:pt x="12281" y="14157"/>
                </a:cubicBezTo>
                <a:cubicBezTo>
                  <a:pt x="12156" y="14282"/>
                  <a:pt x="12000" y="14250"/>
                  <a:pt x="11875" y="14313"/>
                </a:cubicBezTo>
                <a:cubicBezTo>
                  <a:pt x="11875" y="14313"/>
                  <a:pt x="11844" y="14313"/>
                  <a:pt x="11844" y="14282"/>
                </a:cubicBezTo>
                <a:cubicBezTo>
                  <a:pt x="11844" y="14250"/>
                  <a:pt x="11844" y="14219"/>
                  <a:pt x="11875" y="14188"/>
                </a:cubicBezTo>
                <a:cubicBezTo>
                  <a:pt x="12188" y="14000"/>
                  <a:pt x="12344" y="13625"/>
                  <a:pt x="12656" y="13407"/>
                </a:cubicBezTo>
                <a:cubicBezTo>
                  <a:pt x="12750" y="13344"/>
                  <a:pt x="12781" y="13219"/>
                  <a:pt x="12813" y="13125"/>
                </a:cubicBezTo>
                <a:cubicBezTo>
                  <a:pt x="12813" y="13125"/>
                  <a:pt x="12813" y="13125"/>
                  <a:pt x="12813" y="13125"/>
                </a:cubicBezTo>
                <a:cubicBezTo>
                  <a:pt x="12813" y="13125"/>
                  <a:pt x="12813" y="13125"/>
                  <a:pt x="12813" y="13125"/>
                </a:cubicBezTo>
                <a:cubicBezTo>
                  <a:pt x="12813" y="13125"/>
                  <a:pt x="12813" y="13125"/>
                  <a:pt x="12813" y="13125"/>
                </a:cubicBezTo>
                <a:cubicBezTo>
                  <a:pt x="12781" y="13157"/>
                  <a:pt x="12781" y="13125"/>
                  <a:pt x="12750" y="13094"/>
                </a:cubicBezTo>
                <a:cubicBezTo>
                  <a:pt x="12750" y="13094"/>
                  <a:pt x="12750" y="13094"/>
                  <a:pt x="12750" y="13094"/>
                </a:cubicBezTo>
                <a:cubicBezTo>
                  <a:pt x="12781" y="13063"/>
                  <a:pt x="12781" y="13063"/>
                  <a:pt x="12781" y="13032"/>
                </a:cubicBezTo>
                <a:cubicBezTo>
                  <a:pt x="12813" y="13000"/>
                  <a:pt x="12875" y="12969"/>
                  <a:pt x="12875" y="12938"/>
                </a:cubicBezTo>
                <a:cubicBezTo>
                  <a:pt x="12781" y="13000"/>
                  <a:pt x="12719" y="13094"/>
                  <a:pt x="12688" y="13250"/>
                </a:cubicBezTo>
                <a:cubicBezTo>
                  <a:pt x="12656" y="13375"/>
                  <a:pt x="12500" y="13407"/>
                  <a:pt x="12406" y="13500"/>
                </a:cubicBezTo>
                <a:cubicBezTo>
                  <a:pt x="12344" y="13563"/>
                  <a:pt x="12250" y="13625"/>
                  <a:pt x="12188" y="13688"/>
                </a:cubicBezTo>
                <a:cubicBezTo>
                  <a:pt x="11750" y="14000"/>
                  <a:pt x="11375" y="14407"/>
                  <a:pt x="11031" y="14813"/>
                </a:cubicBezTo>
                <a:cubicBezTo>
                  <a:pt x="11000" y="14844"/>
                  <a:pt x="11000" y="14844"/>
                  <a:pt x="10969" y="14875"/>
                </a:cubicBezTo>
                <a:cubicBezTo>
                  <a:pt x="10969" y="14875"/>
                  <a:pt x="10969" y="14875"/>
                  <a:pt x="10938" y="14875"/>
                </a:cubicBezTo>
                <a:cubicBezTo>
                  <a:pt x="10906" y="14875"/>
                  <a:pt x="10906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13" y="14938"/>
                  <a:pt x="10781" y="15000"/>
                  <a:pt x="10750" y="15032"/>
                </a:cubicBezTo>
                <a:cubicBezTo>
                  <a:pt x="10719" y="15094"/>
                  <a:pt x="10656" y="15157"/>
                  <a:pt x="10594" y="15188"/>
                </a:cubicBezTo>
                <a:cubicBezTo>
                  <a:pt x="10594" y="15250"/>
                  <a:pt x="10563" y="15313"/>
                  <a:pt x="10469" y="15313"/>
                </a:cubicBezTo>
                <a:cubicBezTo>
                  <a:pt x="10469" y="15250"/>
                  <a:pt x="10500" y="15219"/>
                  <a:pt x="10531" y="15188"/>
                </a:cubicBezTo>
                <a:cubicBezTo>
                  <a:pt x="10563" y="15188"/>
                  <a:pt x="10563" y="15157"/>
                  <a:pt x="10594" y="15157"/>
                </a:cubicBezTo>
                <a:cubicBezTo>
                  <a:pt x="10594" y="15157"/>
                  <a:pt x="10594" y="15157"/>
                  <a:pt x="10594" y="15157"/>
                </a:cubicBezTo>
                <a:cubicBezTo>
                  <a:pt x="10625" y="15094"/>
                  <a:pt x="10656" y="15032"/>
                  <a:pt x="10688" y="15000"/>
                </a:cubicBezTo>
                <a:cubicBezTo>
                  <a:pt x="10750" y="14938"/>
                  <a:pt x="10781" y="14907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1156" y="14438"/>
                  <a:pt x="11563" y="14094"/>
                  <a:pt x="11813" y="13657"/>
                </a:cubicBezTo>
                <a:cubicBezTo>
                  <a:pt x="11906" y="13532"/>
                  <a:pt x="12031" y="13438"/>
                  <a:pt x="12125" y="13344"/>
                </a:cubicBezTo>
                <a:cubicBezTo>
                  <a:pt x="12188" y="13282"/>
                  <a:pt x="12250" y="13219"/>
                  <a:pt x="12281" y="13125"/>
                </a:cubicBezTo>
                <a:cubicBezTo>
                  <a:pt x="12281" y="13125"/>
                  <a:pt x="12281" y="13094"/>
                  <a:pt x="12281" y="13063"/>
                </a:cubicBezTo>
                <a:cubicBezTo>
                  <a:pt x="12281" y="13032"/>
                  <a:pt x="12250" y="13000"/>
                  <a:pt x="12250" y="12969"/>
                </a:cubicBezTo>
                <a:cubicBezTo>
                  <a:pt x="12250" y="12969"/>
                  <a:pt x="12250" y="12969"/>
                  <a:pt x="12250" y="12969"/>
                </a:cubicBezTo>
                <a:cubicBezTo>
                  <a:pt x="11938" y="13250"/>
                  <a:pt x="11625" y="13532"/>
                  <a:pt x="11375" y="13907"/>
                </a:cubicBezTo>
                <a:cubicBezTo>
                  <a:pt x="11281" y="13782"/>
                  <a:pt x="11531" y="13625"/>
                  <a:pt x="11281" y="13594"/>
                </a:cubicBezTo>
                <a:cubicBezTo>
                  <a:pt x="11188" y="13563"/>
                  <a:pt x="11156" y="13657"/>
                  <a:pt x="11094" y="13719"/>
                </a:cubicBezTo>
                <a:cubicBezTo>
                  <a:pt x="11031" y="13813"/>
                  <a:pt x="11219" y="13719"/>
                  <a:pt x="11219" y="13813"/>
                </a:cubicBezTo>
                <a:cubicBezTo>
                  <a:pt x="11156" y="13813"/>
                  <a:pt x="11094" y="14000"/>
                  <a:pt x="11031" y="13813"/>
                </a:cubicBezTo>
                <a:cubicBezTo>
                  <a:pt x="11000" y="13782"/>
                  <a:pt x="10969" y="13782"/>
                  <a:pt x="10969" y="13813"/>
                </a:cubicBezTo>
                <a:cubicBezTo>
                  <a:pt x="10906" y="13844"/>
                  <a:pt x="10906" y="13875"/>
                  <a:pt x="10938" y="13938"/>
                </a:cubicBezTo>
                <a:cubicBezTo>
                  <a:pt x="11000" y="14063"/>
                  <a:pt x="10938" y="14094"/>
                  <a:pt x="10813" y="14063"/>
                </a:cubicBezTo>
                <a:cubicBezTo>
                  <a:pt x="10813" y="14063"/>
                  <a:pt x="10781" y="14063"/>
                  <a:pt x="10750" y="14125"/>
                </a:cubicBezTo>
                <a:cubicBezTo>
                  <a:pt x="10750" y="14282"/>
                  <a:pt x="10563" y="14500"/>
                  <a:pt x="10406" y="14563"/>
                </a:cubicBezTo>
                <a:cubicBezTo>
                  <a:pt x="10406" y="14563"/>
                  <a:pt x="10406" y="14563"/>
                  <a:pt x="10406" y="14563"/>
                </a:cubicBezTo>
                <a:cubicBezTo>
                  <a:pt x="10406" y="14563"/>
                  <a:pt x="10375" y="14563"/>
                  <a:pt x="10375" y="14563"/>
                </a:cubicBezTo>
                <a:cubicBezTo>
                  <a:pt x="10375" y="14563"/>
                  <a:pt x="10375" y="14594"/>
                  <a:pt x="10375" y="14594"/>
                </a:cubicBezTo>
                <a:cubicBezTo>
                  <a:pt x="10375" y="14594"/>
                  <a:pt x="10375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13" y="14594"/>
                  <a:pt x="10313" y="14594"/>
                </a:cubicBezTo>
                <a:cubicBezTo>
                  <a:pt x="10219" y="14688"/>
                  <a:pt x="10125" y="14782"/>
                  <a:pt x="10063" y="14844"/>
                </a:cubicBezTo>
                <a:cubicBezTo>
                  <a:pt x="9813" y="15032"/>
                  <a:pt x="9656" y="15282"/>
                  <a:pt x="9438" y="15438"/>
                </a:cubicBezTo>
                <a:cubicBezTo>
                  <a:pt x="9406" y="15469"/>
                  <a:pt x="9344" y="15532"/>
                  <a:pt x="9313" y="15563"/>
                </a:cubicBezTo>
                <a:cubicBezTo>
                  <a:pt x="9313" y="15563"/>
                  <a:pt x="9281" y="15563"/>
                  <a:pt x="9281" y="15594"/>
                </a:cubicBezTo>
                <a:cubicBezTo>
                  <a:pt x="9250" y="15594"/>
                  <a:pt x="9250" y="15594"/>
                  <a:pt x="9250" y="15594"/>
                </a:cubicBezTo>
                <a:cubicBezTo>
                  <a:pt x="9250" y="15625"/>
                  <a:pt x="9250" y="15625"/>
                  <a:pt x="9250" y="15625"/>
                </a:cubicBezTo>
                <a:cubicBezTo>
                  <a:pt x="9094" y="15750"/>
                  <a:pt x="8938" y="15907"/>
                  <a:pt x="8781" y="16032"/>
                </a:cubicBezTo>
                <a:cubicBezTo>
                  <a:pt x="8625" y="16157"/>
                  <a:pt x="8438" y="16282"/>
                  <a:pt x="8250" y="16407"/>
                </a:cubicBezTo>
                <a:cubicBezTo>
                  <a:pt x="8563" y="16125"/>
                  <a:pt x="8875" y="15813"/>
                  <a:pt x="9188" y="15532"/>
                </a:cubicBezTo>
                <a:cubicBezTo>
                  <a:pt x="9531" y="15250"/>
                  <a:pt x="9750" y="14844"/>
                  <a:pt x="10094" y="14532"/>
                </a:cubicBezTo>
                <a:cubicBezTo>
                  <a:pt x="10281" y="14375"/>
                  <a:pt x="10406" y="14125"/>
                  <a:pt x="10594" y="13907"/>
                </a:cubicBezTo>
                <a:cubicBezTo>
                  <a:pt x="10625" y="13875"/>
                  <a:pt x="10656" y="13875"/>
                  <a:pt x="10688" y="13844"/>
                </a:cubicBezTo>
                <a:cubicBezTo>
                  <a:pt x="10719" y="13813"/>
                  <a:pt x="10750" y="13782"/>
                  <a:pt x="10750" y="13719"/>
                </a:cubicBezTo>
                <a:cubicBezTo>
                  <a:pt x="10750" y="13719"/>
                  <a:pt x="10719" y="13688"/>
                  <a:pt x="10719" y="13688"/>
                </a:cubicBezTo>
                <a:cubicBezTo>
                  <a:pt x="10438" y="13907"/>
                  <a:pt x="10250" y="14188"/>
                  <a:pt x="10000" y="14407"/>
                </a:cubicBezTo>
                <a:cubicBezTo>
                  <a:pt x="9875" y="14532"/>
                  <a:pt x="9750" y="14688"/>
                  <a:pt x="9594" y="14782"/>
                </a:cubicBezTo>
                <a:cubicBezTo>
                  <a:pt x="9594" y="14813"/>
                  <a:pt x="9563" y="14813"/>
                  <a:pt x="9563" y="14813"/>
                </a:cubicBezTo>
                <a:cubicBezTo>
                  <a:pt x="9531" y="14813"/>
                  <a:pt x="9594" y="14688"/>
                  <a:pt x="9531" y="14688"/>
                </a:cubicBezTo>
                <a:cubicBezTo>
                  <a:pt x="9156" y="14969"/>
                  <a:pt x="8813" y="15344"/>
                  <a:pt x="8438" y="15625"/>
                </a:cubicBezTo>
                <a:cubicBezTo>
                  <a:pt x="8375" y="15657"/>
                  <a:pt x="8344" y="15688"/>
                  <a:pt x="8281" y="15719"/>
                </a:cubicBezTo>
                <a:cubicBezTo>
                  <a:pt x="7781" y="16032"/>
                  <a:pt x="7375" y="16500"/>
                  <a:pt x="6813" y="16657"/>
                </a:cubicBezTo>
                <a:cubicBezTo>
                  <a:pt x="6719" y="16688"/>
                  <a:pt x="6688" y="16813"/>
                  <a:pt x="6563" y="16782"/>
                </a:cubicBezTo>
                <a:cubicBezTo>
                  <a:pt x="6438" y="16875"/>
                  <a:pt x="6438" y="16875"/>
                  <a:pt x="6031" y="16782"/>
                </a:cubicBezTo>
                <a:cubicBezTo>
                  <a:pt x="6156" y="16688"/>
                  <a:pt x="6281" y="16657"/>
                  <a:pt x="6438" y="16688"/>
                </a:cubicBezTo>
                <a:cubicBezTo>
                  <a:pt x="6531" y="16657"/>
                  <a:pt x="6594" y="16657"/>
                  <a:pt x="6656" y="16563"/>
                </a:cubicBezTo>
                <a:cubicBezTo>
                  <a:pt x="6781" y="16469"/>
                  <a:pt x="7000" y="16438"/>
                  <a:pt x="7063" y="16344"/>
                </a:cubicBezTo>
                <a:cubicBezTo>
                  <a:pt x="7219" y="16219"/>
                  <a:pt x="7375" y="16094"/>
                  <a:pt x="7500" y="15969"/>
                </a:cubicBezTo>
                <a:cubicBezTo>
                  <a:pt x="7625" y="15813"/>
                  <a:pt x="7813" y="15688"/>
                  <a:pt x="7938" y="15532"/>
                </a:cubicBezTo>
                <a:cubicBezTo>
                  <a:pt x="8031" y="15407"/>
                  <a:pt x="8188" y="15282"/>
                  <a:pt x="8313" y="15188"/>
                </a:cubicBezTo>
                <a:cubicBezTo>
                  <a:pt x="8563" y="15032"/>
                  <a:pt x="8719" y="14782"/>
                  <a:pt x="8969" y="14594"/>
                </a:cubicBezTo>
                <a:cubicBezTo>
                  <a:pt x="8875" y="14532"/>
                  <a:pt x="8844" y="14594"/>
                  <a:pt x="8813" y="14625"/>
                </a:cubicBezTo>
                <a:cubicBezTo>
                  <a:pt x="8531" y="14938"/>
                  <a:pt x="8125" y="15094"/>
                  <a:pt x="7844" y="15407"/>
                </a:cubicBezTo>
                <a:cubicBezTo>
                  <a:pt x="7719" y="15563"/>
                  <a:pt x="7500" y="15719"/>
                  <a:pt x="7250" y="15813"/>
                </a:cubicBezTo>
                <a:cubicBezTo>
                  <a:pt x="7219" y="15844"/>
                  <a:pt x="7156" y="15844"/>
                  <a:pt x="7125" y="15813"/>
                </a:cubicBezTo>
                <a:cubicBezTo>
                  <a:pt x="7094" y="15782"/>
                  <a:pt x="7156" y="15750"/>
                  <a:pt x="7188" y="15719"/>
                </a:cubicBezTo>
                <a:cubicBezTo>
                  <a:pt x="7156" y="15688"/>
                  <a:pt x="7125" y="15657"/>
                  <a:pt x="7125" y="15657"/>
                </a:cubicBezTo>
                <a:cubicBezTo>
                  <a:pt x="6875" y="15750"/>
                  <a:pt x="6688" y="15969"/>
                  <a:pt x="6406" y="16032"/>
                </a:cubicBezTo>
                <a:cubicBezTo>
                  <a:pt x="6781" y="15750"/>
                  <a:pt x="7188" y="15500"/>
                  <a:pt x="7531" y="15188"/>
                </a:cubicBezTo>
                <a:cubicBezTo>
                  <a:pt x="7844" y="14938"/>
                  <a:pt x="8094" y="14688"/>
                  <a:pt x="8375" y="14438"/>
                </a:cubicBezTo>
                <a:cubicBezTo>
                  <a:pt x="8438" y="14407"/>
                  <a:pt x="8438" y="14375"/>
                  <a:pt x="8438" y="14313"/>
                </a:cubicBezTo>
                <a:cubicBezTo>
                  <a:pt x="8438" y="14250"/>
                  <a:pt x="8500" y="14157"/>
                  <a:pt x="8563" y="14188"/>
                </a:cubicBezTo>
                <a:cubicBezTo>
                  <a:pt x="8688" y="14219"/>
                  <a:pt x="8719" y="14125"/>
                  <a:pt x="8750" y="14063"/>
                </a:cubicBezTo>
                <a:cubicBezTo>
                  <a:pt x="8844" y="13938"/>
                  <a:pt x="8906" y="13844"/>
                  <a:pt x="9063" y="13782"/>
                </a:cubicBezTo>
                <a:cubicBezTo>
                  <a:pt x="9156" y="13750"/>
                  <a:pt x="9094" y="13657"/>
                  <a:pt x="9125" y="13563"/>
                </a:cubicBezTo>
                <a:cubicBezTo>
                  <a:pt x="8969" y="13563"/>
                  <a:pt x="8906" y="13719"/>
                  <a:pt x="8813" y="13750"/>
                </a:cubicBezTo>
                <a:cubicBezTo>
                  <a:pt x="8781" y="13782"/>
                  <a:pt x="8781" y="13813"/>
                  <a:pt x="8750" y="13844"/>
                </a:cubicBezTo>
                <a:cubicBezTo>
                  <a:pt x="8719" y="13875"/>
                  <a:pt x="8656" y="13907"/>
                  <a:pt x="8625" y="13875"/>
                </a:cubicBezTo>
                <a:cubicBezTo>
                  <a:pt x="8594" y="13844"/>
                  <a:pt x="8625" y="13813"/>
                  <a:pt x="8656" y="13782"/>
                </a:cubicBezTo>
                <a:cubicBezTo>
                  <a:pt x="8656" y="13750"/>
                  <a:pt x="8688" y="13719"/>
                  <a:pt x="8688" y="13719"/>
                </a:cubicBezTo>
                <a:cubicBezTo>
                  <a:pt x="8906" y="13563"/>
                  <a:pt x="9094" y="13375"/>
                  <a:pt x="9219" y="13157"/>
                </a:cubicBezTo>
                <a:cubicBezTo>
                  <a:pt x="9250" y="13125"/>
                  <a:pt x="9281" y="13063"/>
                  <a:pt x="9375" y="13094"/>
                </a:cubicBezTo>
                <a:cubicBezTo>
                  <a:pt x="9344" y="13250"/>
                  <a:pt x="9219" y="13344"/>
                  <a:pt x="9125" y="13469"/>
                </a:cubicBezTo>
                <a:cubicBezTo>
                  <a:pt x="9156" y="13563"/>
                  <a:pt x="9250" y="13469"/>
                  <a:pt x="9281" y="13563"/>
                </a:cubicBezTo>
                <a:cubicBezTo>
                  <a:pt x="9375" y="13594"/>
                  <a:pt x="9375" y="13532"/>
                  <a:pt x="9344" y="13469"/>
                </a:cubicBezTo>
                <a:cubicBezTo>
                  <a:pt x="9344" y="13344"/>
                  <a:pt x="9375" y="13282"/>
                  <a:pt x="9500" y="13344"/>
                </a:cubicBezTo>
                <a:cubicBezTo>
                  <a:pt x="9531" y="13344"/>
                  <a:pt x="9625" y="13344"/>
                  <a:pt x="9594" y="13282"/>
                </a:cubicBezTo>
                <a:cubicBezTo>
                  <a:pt x="9469" y="13094"/>
                  <a:pt x="9656" y="13188"/>
                  <a:pt x="9719" y="13188"/>
                </a:cubicBezTo>
                <a:cubicBezTo>
                  <a:pt x="9844" y="13125"/>
                  <a:pt x="9938" y="12813"/>
                  <a:pt x="9813" y="12719"/>
                </a:cubicBezTo>
                <a:cubicBezTo>
                  <a:pt x="9781" y="12688"/>
                  <a:pt x="9719" y="12688"/>
                  <a:pt x="9750" y="12625"/>
                </a:cubicBezTo>
                <a:cubicBezTo>
                  <a:pt x="9813" y="12563"/>
                  <a:pt x="9844" y="12438"/>
                  <a:pt x="9938" y="12469"/>
                </a:cubicBezTo>
                <a:cubicBezTo>
                  <a:pt x="10156" y="12563"/>
                  <a:pt x="10125" y="12375"/>
                  <a:pt x="10219" y="12313"/>
                </a:cubicBezTo>
                <a:cubicBezTo>
                  <a:pt x="10094" y="12250"/>
                  <a:pt x="10094" y="12407"/>
                  <a:pt x="10000" y="12344"/>
                </a:cubicBezTo>
                <a:cubicBezTo>
                  <a:pt x="10000" y="12313"/>
                  <a:pt x="10031" y="12282"/>
                  <a:pt x="10063" y="12250"/>
                </a:cubicBezTo>
                <a:cubicBezTo>
                  <a:pt x="10094" y="12219"/>
                  <a:pt x="10156" y="12188"/>
                  <a:pt x="10188" y="12125"/>
                </a:cubicBezTo>
                <a:cubicBezTo>
                  <a:pt x="10156" y="12094"/>
                  <a:pt x="10125" y="12094"/>
                  <a:pt x="10094" y="12094"/>
                </a:cubicBezTo>
                <a:cubicBezTo>
                  <a:pt x="10063" y="12094"/>
                  <a:pt x="10000" y="12094"/>
                  <a:pt x="9969" y="12094"/>
                </a:cubicBezTo>
                <a:cubicBezTo>
                  <a:pt x="9844" y="12063"/>
                  <a:pt x="9781" y="12094"/>
                  <a:pt x="9813" y="12219"/>
                </a:cubicBezTo>
                <a:cubicBezTo>
                  <a:pt x="9813" y="12282"/>
                  <a:pt x="9781" y="12344"/>
                  <a:pt x="9719" y="12375"/>
                </a:cubicBezTo>
                <a:cubicBezTo>
                  <a:pt x="9656" y="12375"/>
                  <a:pt x="9656" y="12407"/>
                  <a:pt x="9625" y="12438"/>
                </a:cubicBezTo>
                <a:cubicBezTo>
                  <a:pt x="9594" y="12500"/>
                  <a:pt x="9625" y="12594"/>
                  <a:pt x="9531" y="12594"/>
                </a:cubicBezTo>
                <a:cubicBezTo>
                  <a:pt x="9469" y="12563"/>
                  <a:pt x="9406" y="12532"/>
                  <a:pt x="9375" y="12469"/>
                </a:cubicBezTo>
                <a:cubicBezTo>
                  <a:pt x="9344" y="12407"/>
                  <a:pt x="9375" y="12313"/>
                  <a:pt x="9469" y="12282"/>
                </a:cubicBezTo>
                <a:cubicBezTo>
                  <a:pt x="9469" y="12282"/>
                  <a:pt x="9469" y="12282"/>
                  <a:pt x="9469" y="12282"/>
                </a:cubicBezTo>
                <a:cubicBezTo>
                  <a:pt x="9500" y="12250"/>
                  <a:pt x="9500" y="12250"/>
                  <a:pt x="9500" y="12219"/>
                </a:cubicBezTo>
                <a:cubicBezTo>
                  <a:pt x="9469" y="12219"/>
                  <a:pt x="9469" y="12219"/>
                  <a:pt x="9438" y="12219"/>
                </a:cubicBezTo>
                <a:cubicBezTo>
                  <a:pt x="9344" y="12282"/>
                  <a:pt x="9250" y="12344"/>
                  <a:pt x="9125" y="12375"/>
                </a:cubicBezTo>
                <a:cubicBezTo>
                  <a:pt x="9094" y="12375"/>
                  <a:pt x="9063" y="12375"/>
                  <a:pt x="9063" y="12375"/>
                </a:cubicBezTo>
                <a:cubicBezTo>
                  <a:pt x="8938" y="12438"/>
                  <a:pt x="8844" y="12563"/>
                  <a:pt x="8781" y="12719"/>
                </a:cubicBezTo>
                <a:cubicBezTo>
                  <a:pt x="8781" y="12719"/>
                  <a:pt x="8813" y="12719"/>
                  <a:pt x="8844" y="12719"/>
                </a:cubicBezTo>
                <a:cubicBezTo>
                  <a:pt x="8906" y="12625"/>
                  <a:pt x="9000" y="12563"/>
                  <a:pt x="9125" y="12469"/>
                </a:cubicBezTo>
                <a:cubicBezTo>
                  <a:pt x="9125" y="12500"/>
                  <a:pt x="9125" y="12532"/>
                  <a:pt x="9125" y="12563"/>
                </a:cubicBezTo>
                <a:cubicBezTo>
                  <a:pt x="9125" y="12594"/>
                  <a:pt x="9125" y="12594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56" y="12657"/>
                  <a:pt x="9156" y="12625"/>
                  <a:pt x="9188" y="12625"/>
                </a:cubicBezTo>
                <a:cubicBezTo>
                  <a:pt x="9219" y="12563"/>
                  <a:pt x="9281" y="12500"/>
                  <a:pt x="9344" y="12594"/>
                </a:cubicBezTo>
                <a:cubicBezTo>
                  <a:pt x="9406" y="12657"/>
                  <a:pt x="9344" y="12719"/>
                  <a:pt x="9281" y="12750"/>
                </a:cubicBezTo>
                <a:cubicBezTo>
                  <a:pt x="9344" y="12782"/>
                  <a:pt x="9375" y="12813"/>
                  <a:pt x="9344" y="12844"/>
                </a:cubicBezTo>
                <a:cubicBezTo>
                  <a:pt x="9313" y="12907"/>
                  <a:pt x="9313" y="12844"/>
                  <a:pt x="9281" y="12844"/>
                </a:cubicBezTo>
                <a:cubicBezTo>
                  <a:pt x="9188" y="12813"/>
                  <a:pt x="9156" y="12907"/>
                  <a:pt x="9156" y="12938"/>
                </a:cubicBezTo>
                <a:cubicBezTo>
                  <a:pt x="9156" y="13125"/>
                  <a:pt x="9000" y="13157"/>
                  <a:pt x="8906" y="13313"/>
                </a:cubicBezTo>
                <a:cubicBezTo>
                  <a:pt x="8813" y="13032"/>
                  <a:pt x="9031" y="12907"/>
                  <a:pt x="9125" y="12750"/>
                </a:cubicBezTo>
                <a:cubicBezTo>
                  <a:pt x="9125" y="12719"/>
                  <a:pt x="9125" y="12688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063" y="12625"/>
                  <a:pt x="9031" y="12657"/>
                  <a:pt x="9000" y="12688"/>
                </a:cubicBezTo>
                <a:cubicBezTo>
                  <a:pt x="9000" y="12688"/>
                  <a:pt x="8969" y="12688"/>
                  <a:pt x="8969" y="12719"/>
                </a:cubicBezTo>
                <a:cubicBezTo>
                  <a:pt x="8969" y="12719"/>
                  <a:pt x="8969" y="12719"/>
                  <a:pt x="8938" y="12719"/>
                </a:cubicBezTo>
                <a:cubicBezTo>
                  <a:pt x="8938" y="12719"/>
                  <a:pt x="8906" y="12719"/>
                  <a:pt x="8906" y="12750"/>
                </a:cubicBezTo>
                <a:cubicBezTo>
                  <a:pt x="8906" y="12750"/>
                  <a:pt x="8875" y="12750"/>
                  <a:pt x="8875" y="12750"/>
                </a:cubicBezTo>
                <a:cubicBezTo>
                  <a:pt x="8719" y="12938"/>
                  <a:pt x="8563" y="13094"/>
                  <a:pt x="8406" y="13282"/>
                </a:cubicBezTo>
                <a:cubicBezTo>
                  <a:pt x="8313" y="13375"/>
                  <a:pt x="8281" y="13344"/>
                  <a:pt x="8250" y="13250"/>
                </a:cubicBezTo>
                <a:cubicBezTo>
                  <a:pt x="8094" y="13407"/>
                  <a:pt x="7938" y="13532"/>
                  <a:pt x="7688" y="13594"/>
                </a:cubicBezTo>
                <a:cubicBezTo>
                  <a:pt x="7875" y="13375"/>
                  <a:pt x="8000" y="13188"/>
                  <a:pt x="8219" y="13063"/>
                </a:cubicBezTo>
                <a:cubicBezTo>
                  <a:pt x="8313" y="12938"/>
                  <a:pt x="8344" y="12719"/>
                  <a:pt x="8563" y="12938"/>
                </a:cubicBezTo>
                <a:cubicBezTo>
                  <a:pt x="8594" y="12969"/>
                  <a:pt x="8625" y="12907"/>
                  <a:pt x="8656" y="12907"/>
                </a:cubicBezTo>
                <a:cubicBezTo>
                  <a:pt x="8719" y="12844"/>
                  <a:pt x="8625" y="12844"/>
                  <a:pt x="8625" y="12782"/>
                </a:cubicBezTo>
                <a:cubicBezTo>
                  <a:pt x="8500" y="12688"/>
                  <a:pt x="8594" y="12657"/>
                  <a:pt x="8688" y="12594"/>
                </a:cubicBezTo>
                <a:cubicBezTo>
                  <a:pt x="8781" y="12532"/>
                  <a:pt x="8813" y="12469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813" y="12375"/>
                  <a:pt x="8813" y="12375"/>
                  <a:pt x="8844" y="12407"/>
                </a:cubicBezTo>
                <a:cubicBezTo>
                  <a:pt x="8906" y="12407"/>
                  <a:pt x="8938" y="12375"/>
                  <a:pt x="8969" y="12313"/>
                </a:cubicBezTo>
                <a:cubicBezTo>
                  <a:pt x="8969" y="12313"/>
                  <a:pt x="8969" y="12282"/>
                  <a:pt x="8969" y="12282"/>
                </a:cubicBezTo>
                <a:cubicBezTo>
                  <a:pt x="9000" y="12219"/>
                  <a:pt x="9000" y="12125"/>
                  <a:pt x="9063" y="12094"/>
                </a:cubicBezTo>
                <a:cubicBezTo>
                  <a:pt x="9094" y="12063"/>
                  <a:pt x="9156" y="12032"/>
                  <a:pt x="9094" y="11969"/>
                </a:cubicBezTo>
                <a:cubicBezTo>
                  <a:pt x="9063" y="11938"/>
                  <a:pt x="8969" y="11907"/>
                  <a:pt x="8906" y="11907"/>
                </a:cubicBezTo>
                <a:cubicBezTo>
                  <a:pt x="8875" y="11907"/>
                  <a:pt x="8813" y="11969"/>
                  <a:pt x="8813" y="12000"/>
                </a:cubicBezTo>
                <a:cubicBezTo>
                  <a:pt x="8875" y="12125"/>
                  <a:pt x="8781" y="12063"/>
                  <a:pt x="8719" y="12094"/>
                </a:cubicBezTo>
                <a:cubicBezTo>
                  <a:pt x="8719" y="12094"/>
                  <a:pt x="8719" y="12094"/>
                  <a:pt x="8719" y="12094"/>
                </a:cubicBezTo>
                <a:cubicBezTo>
                  <a:pt x="8688" y="12094"/>
                  <a:pt x="8688" y="12125"/>
                  <a:pt x="8656" y="12125"/>
                </a:cubicBezTo>
                <a:cubicBezTo>
                  <a:pt x="8594" y="12157"/>
                  <a:pt x="8563" y="12188"/>
                  <a:pt x="8500" y="12219"/>
                </a:cubicBezTo>
                <a:cubicBezTo>
                  <a:pt x="8500" y="12313"/>
                  <a:pt x="8469" y="12344"/>
                  <a:pt x="8406" y="12344"/>
                </a:cubicBezTo>
                <a:cubicBezTo>
                  <a:pt x="8375" y="12344"/>
                  <a:pt x="8344" y="12375"/>
                  <a:pt x="8313" y="12375"/>
                </a:cubicBezTo>
                <a:cubicBezTo>
                  <a:pt x="8344" y="12407"/>
                  <a:pt x="8375" y="12438"/>
                  <a:pt x="8344" y="12469"/>
                </a:cubicBezTo>
                <a:cubicBezTo>
                  <a:pt x="8344" y="12500"/>
                  <a:pt x="8313" y="12500"/>
                  <a:pt x="8313" y="12500"/>
                </a:cubicBezTo>
                <a:cubicBezTo>
                  <a:pt x="8281" y="12532"/>
                  <a:pt x="8281" y="12532"/>
                  <a:pt x="8250" y="12532"/>
                </a:cubicBezTo>
                <a:cubicBezTo>
                  <a:pt x="8156" y="12625"/>
                  <a:pt x="8063" y="12719"/>
                  <a:pt x="7969" y="12844"/>
                </a:cubicBezTo>
                <a:cubicBezTo>
                  <a:pt x="7969" y="12813"/>
                  <a:pt x="7969" y="12813"/>
                  <a:pt x="7969" y="12813"/>
                </a:cubicBezTo>
                <a:cubicBezTo>
                  <a:pt x="7969" y="12782"/>
                  <a:pt x="7938" y="12782"/>
                  <a:pt x="7938" y="12750"/>
                </a:cubicBezTo>
                <a:cubicBezTo>
                  <a:pt x="7938" y="12750"/>
                  <a:pt x="7938" y="12719"/>
                  <a:pt x="7938" y="12719"/>
                </a:cubicBezTo>
                <a:cubicBezTo>
                  <a:pt x="7938" y="12719"/>
                  <a:pt x="7938" y="12719"/>
                  <a:pt x="7969" y="12719"/>
                </a:cubicBezTo>
                <a:cubicBezTo>
                  <a:pt x="8031" y="12657"/>
                  <a:pt x="8094" y="12594"/>
                  <a:pt x="8125" y="12532"/>
                </a:cubicBezTo>
                <a:cubicBezTo>
                  <a:pt x="8188" y="12469"/>
                  <a:pt x="8250" y="12407"/>
                  <a:pt x="8281" y="12344"/>
                </a:cubicBezTo>
                <a:cubicBezTo>
                  <a:pt x="8313" y="12313"/>
                  <a:pt x="8313" y="12282"/>
                  <a:pt x="8344" y="12250"/>
                </a:cubicBezTo>
                <a:cubicBezTo>
                  <a:pt x="8344" y="12250"/>
                  <a:pt x="8375" y="12250"/>
                  <a:pt x="8375" y="12219"/>
                </a:cubicBezTo>
                <a:cubicBezTo>
                  <a:pt x="8406" y="12219"/>
                  <a:pt x="8406" y="12188"/>
                  <a:pt x="8438" y="12188"/>
                </a:cubicBezTo>
                <a:cubicBezTo>
                  <a:pt x="8469" y="12157"/>
                  <a:pt x="8469" y="12157"/>
                  <a:pt x="8500" y="12125"/>
                </a:cubicBezTo>
                <a:cubicBezTo>
                  <a:pt x="8500" y="12094"/>
                  <a:pt x="8531" y="12063"/>
                  <a:pt x="8531" y="12032"/>
                </a:cubicBezTo>
                <a:cubicBezTo>
                  <a:pt x="8594" y="11969"/>
                  <a:pt x="8688" y="11907"/>
                  <a:pt x="8719" y="11813"/>
                </a:cubicBezTo>
                <a:cubicBezTo>
                  <a:pt x="8719" y="11750"/>
                  <a:pt x="8781" y="11719"/>
                  <a:pt x="8719" y="11688"/>
                </a:cubicBezTo>
                <a:cubicBezTo>
                  <a:pt x="8719" y="11657"/>
                  <a:pt x="8688" y="11657"/>
                  <a:pt x="8688" y="11688"/>
                </a:cubicBezTo>
                <a:cubicBezTo>
                  <a:pt x="8688" y="11688"/>
                  <a:pt x="8688" y="11688"/>
                  <a:pt x="8688" y="11719"/>
                </a:cubicBezTo>
                <a:cubicBezTo>
                  <a:pt x="8688" y="11719"/>
                  <a:pt x="8688" y="11719"/>
                  <a:pt x="8688" y="11719"/>
                </a:cubicBezTo>
                <a:cubicBezTo>
                  <a:pt x="8688" y="11719"/>
                  <a:pt x="8688" y="11719"/>
                  <a:pt x="8656" y="11719"/>
                </a:cubicBezTo>
                <a:cubicBezTo>
                  <a:pt x="8656" y="11719"/>
                  <a:pt x="8625" y="11719"/>
                  <a:pt x="8625" y="11688"/>
                </a:cubicBezTo>
                <a:cubicBezTo>
                  <a:pt x="8625" y="11688"/>
                  <a:pt x="8625" y="11688"/>
                  <a:pt x="8625" y="11688"/>
                </a:cubicBezTo>
                <a:cubicBezTo>
                  <a:pt x="8625" y="11688"/>
                  <a:pt x="8625" y="11688"/>
                  <a:pt x="8656" y="11688"/>
                </a:cubicBezTo>
                <a:cubicBezTo>
                  <a:pt x="8625" y="11657"/>
                  <a:pt x="8656" y="11594"/>
                  <a:pt x="8625" y="11594"/>
                </a:cubicBezTo>
                <a:cubicBezTo>
                  <a:pt x="8625" y="11594"/>
                  <a:pt x="8594" y="11594"/>
                  <a:pt x="8594" y="11594"/>
                </a:cubicBezTo>
                <a:cubicBezTo>
                  <a:pt x="8594" y="11594"/>
                  <a:pt x="8594" y="11594"/>
                  <a:pt x="8594" y="11594"/>
                </a:cubicBezTo>
                <a:cubicBezTo>
                  <a:pt x="8594" y="11594"/>
                  <a:pt x="8594" y="11594"/>
                  <a:pt x="8594" y="11594"/>
                </a:cubicBezTo>
                <a:cubicBezTo>
                  <a:pt x="8594" y="11657"/>
                  <a:pt x="8594" y="11719"/>
                  <a:pt x="8500" y="11719"/>
                </a:cubicBezTo>
                <a:cubicBezTo>
                  <a:pt x="8500" y="11750"/>
                  <a:pt x="8469" y="11782"/>
                  <a:pt x="8469" y="11813"/>
                </a:cubicBezTo>
                <a:cubicBezTo>
                  <a:pt x="8438" y="11813"/>
                  <a:pt x="8406" y="11844"/>
                  <a:pt x="8375" y="11844"/>
                </a:cubicBezTo>
                <a:cubicBezTo>
                  <a:pt x="8375" y="11844"/>
                  <a:pt x="8375" y="11844"/>
                  <a:pt x="8375" y="11844"/>
                </a:cubicBezTo>
                <a:cubicBezTo>
                  <a:pt x="8375" y="11844"/>
                  <a:pt x="8375" y="11844"/>
                  <a:pt x="8375" y="11844"/>
                </a:cubicBezTo>
                <a:cubicBezTo>
                  <a:pt x="8375" y="11938"/>
                  <a:pt x="8313" y="12032"/>
                  <a:pt x="8250" y="12094"/>
                </a:cubicBezTo>
                <a:cubicBezTo>
                  <a:pt x="8188" y="12157"/>
                  <a:pt x="8094" y="12219"/>
                  <a:pt x="8031" y="12313"/>
                </a:cubicBezTo>
                <a:cubicBezTo>
                  <a:pt x="8000" y="12282"/>
                  <a:pt x="8031" y="12219"/>
                  <a:pt x="8063" y="12188"/>
                </a:cubicBezTo>
                <a:cubicBezTo>
                  <a:pt x="8094" y="12125"/>
                  <a:pt x="8188" y="12063"/>
                  <a:pt x="8125" y="11969"/>
                </a:cubicBezTo>
                <a:cubicBezTo>
                  <a:pt x="8125" y="11969"/>
                  <a:pt x="8125" y="11969"/>
                  <a:pt x="8125" y="11969"/>
                </a:cubicBezTo>
                <a:cubicBezTo>
                  <a:pt x="8125" y="11969"/>
                  <a:pt x="8125" y="11969"/>
                  <a:pt x="8125" y="11969"/>
                </a:cubicBezTo>
                <a:cubicBezTo>
                  <a:pt x="8094" y="11969"/>
                  <a:pt x="8063" y="11938"/>
                  <a:pt x="8031" y="11938"/>
                </a:cubicBezTo>
                <a:cubicBezTo>
                  <a:pt x="8000" y="11938"/>
                  <a:pt x="8000" y="11938"/>
                  <a:pt x="7969" y="11969"/>
                </a:cubicBezTo>
                <a:cubicBezTo>
                  <a:pt x="7938" y="11969"/>
                  <a:pt x="7938" y="11969"/>
                  <a:pt x="7906" y="11969"/>
                </a:cubicBezTo>
                <a:cubicBezTo>
                  <a:pt x="7875" y="11969"/>
                  <a:pt x="7875" y="11907"/>
                  <a:pt x="7906" y="11875"/>
                </a:cubicBezTo>
                <a:cubicBezTo>
                  <a:pt x="7906" y="11875"/>
                  <a:pt x="7875" y="11844"/>
                  <a:pt x="7875" y="11844"/>
                </a:cubicBezTo>
                <a:cubicBezTo>
                  <a:pt x="7844" y="11844"/>
                  <a:pt x="7781" y="11844"/>
                  <a:pt x="7750" y="11844"/>
                </a:cubicBezTo>
                <a:cubicBezTo>
                  <a:pt x="7469" y="12157"/>
                  <a:pt x="7188" y="12469"/>
                  <a:pt x="6906" y="12813"/>
                </a:cubicBezTo>
                <a:cubicBezTo>
                  <a:pt x="6813" y="12938"/>
                  <a:pt x="6719" y="12969"/>
                  <a:pt x="6594" y="12938"/>
                </a:cubicBezTo>
                <a:cubicBezTo>
                  <a:pt x="6594" y="12844"/>
                  <a:pt x="6656" y="12782"/>
                  <a:pt x="6688" y="12750"/>
                </a:cubicBezTo>
                <a:cubicBezTo>
                  <a:pt x="7094" y="12469"/>
                  <a:pt x="7313" y="12063"/>
                  <a:pt x="7594" y="11688"/>
                </a:cubicBezTo>
                <a:cubicBezTo>
                  <a:pt x="7656" y="11563"/>
                  <a:pt x="7781" y="11469"/>
                  <a:pt x="7844" y="11344"/>
                </a:cubicBezTo>
                <a:cubicBezTo>
                  <a:pt x="7906" y="11219"/>
                  <a:pt x="7969" y="11188"/>
                  <a:pt x="8031" y="11125"/>
                </a:cubicBezTo>
                <a:cubicBezTo>
                  <a:pt x="8094" y="11094"/>
                  <a:pt x="8125" y="11032"/>
                  <a:pt x="8125" y="10969"/>
                </a:cubicBezTo>
                <a:cubicBezTo>
                  <a:pt x="8125" y="10938"/>
                  <a:pt x="8156" y="10875"/>
                  <a:pt x="8063" y="10844"/>
                </a:cubicBezTo>
                <a:cubicBezTo>
                  <a:pt x="8031" y="10844"/>
                  <a:pt x="8000" y="10875"/>
                  <a:pt x="7969" y="10907"/>
                </a:cubicBezTo>
                <a:cubicBezTo>
                  <a:pt x="7906" y="11094"/>
                  <a:pt x="7688" y="11188"/>
                  <a:pt x="7625" y="11438"/>
                </a:cubicBezTo>
                <a:cubicBezTo>
                  <a:pt x="7625" y="11532"/>
                  <a:pt x="7406" y="11594"/>
                  <a:pt x="7344" y="11719"/>
                </a:cubicBezTo>
                <a:cubicBezTo>
                  <a:pt x="7219" y="11875"/>
                  <a:pt x="7063" y="12000"/>
                  <a:pt x="6969" y="12157"/>
                </a:cubicBezTo>
                <a:cubicBezTo>
                  <a:pt x="6906" y="12250"/>
                  <a:pt x="6719" y="12188"/>
                  <a:pt x="6719" y="12344"/>
                </a:cubicBezTo>
                <a:cubicBezTo>
                  <a:pt x="6719" y="12344"/>
                  <a:pt x="6750" y="12344"/>
                  <a:pt x="6719" y="12375"/>
                </a:cubicBezTo>
                <a:cubicBezTo>
                  <a:pt x="6719" y="12375"/>
                  <a:pt x="6719" y="12375"/>
                  <a:pt x="6719" y="12375"/>
                </a:cubicBezTo>
                <a:lnTo>
                  <a:pt x="6719" y="12375"/>
                </a:lnTo>
                <a:cubicBezTo>
                  <a:pt x="6719" y="12375"/>
                  <a:pt x="6719" y="12375"/>
                  <a:pt x="6719" y="12344"/>
                </a:cubicBezTo>
                <a:cubicBezTo>
                  <a:pt x="6719" y="12344"/>
                  <a:pt x="6719" y="12344"/>
                  <a:pt x="6688" y="12344"/>
                </a:cubicBezTo>
                <a:cubicBezTo>
                  <a:pt x="6688" y="12344"/>
                  <a:pt x="6688" y="12344"/>
                  <a:pt x="6656" y="12375"/>
                </a:cubicBezTo>
                <a:cubicBezTo>
                  <a:pt x="6656" y="12344"/>
                  <a:pt x="6656" y="12344"/>
                  <a:pt x="6656" y="12344"/>
                </a:cubicBezTo>
                <a:lnTo>
                  <a:pt x="6656" y="12344"/>
                </a:lnTo>
                <a:cubicBezTo>
                  <a:pt x="6688" y="12344"/>
                  <a:pt x="6688" y="12344"/>
                  <a:pt x="6688" y="12344"/>
                </a:cubicBezTo>
                <a:cubicBezTo>
                  <a:pt x="6781" y="12219"/>
                  <a:pt x="6844" y="12094"/>
                  <a:pt x="6938" y="11969"/>
                </a:cubicBezTo>
                <a:cubicBezTo>
                  <a:pt x="6938" y="11938"/>
                  <a:pt x="7000" y="11907"/>
                  <a:pt x="6969" y="11875"/>
                </a:cubicBezTo>
                <a:cubicBezTo>
                  <a:pt x="6906" y="11844"/>
                  <a:pt x="6875" y="11844"/>
                  <a:pt x="6813" y="11907"/>
                </a:cubicBezTo>
                <a:cubicBezTo>
                  <a:pt x="6688" y="12063"/>
                  <a:pt x="6563" y="12188"/>
                  <a:pt x="6406" y="12344"/>
                </a:cubicBezTo>
                <a:cubicBezTo>
                  <a:pt x="6375" y="12375"/>
                  <a:pt x="6375" y="12438"/>
                  <a:pt x="6313" y="12375"/>
                </a:cubicBezTo>
                <a:cubicBezTo>
                  <a:pt x="6281" y="12344"/>
                  <a:pt x="6281" y="12344"/>
                  <a:pt x="6281" y="12313"/>
                </a:cubicBezTo>
                <a:cubicBezTo>
                  <a:pt x="6281" y="12313"/>
                  <a:pt x="6250" y="12313"/>
                  <a:pt x="6250" y="12313"/>
                </a:cubicBezTo>
                <a:cubicBezTo>
                  <a:pt x="6250" y="12313"/>
                  <a:pt x="6250" y="12313"/>
                  <a:pt x="6250" y="12313"/>
                </a:cubicBezTo>
                <a:cubicBezTo>
                  <a:pt x="6250" y="12282"/>
                  <a:pt x="6250" y="12282"/>
                  <a:pt x="6281" y="12282"/>
                </a:cubicBezTo>
                <a:cubicBezTo>
                  <a:pt x="6281" y="12282"/>
                  <a:pt x="6281" y="12250"/>
                  <a:pt x="6313" y="12250"/>
                </a:cubicBezTo>
                <a:cubicBezTo>
                  <a:pt x="6344" y="12250"/>
                  <a:pt x="6344" y="12219"/>
                  <a:pt x="6344" y="12219"/>
                </a:cubicBezTo>
                <a:cubicBezTo>
                  <a:pt x="6625" y="11907"/>
                  <a:pt x="6906" y="11625"/>
                  <a:pt x="7188" y="11313"/>
                </a:cubicBezTo>
                <a:cubicBezTo>
                  <a:pt x="7281" y="11219"/>
                  <a:pt x="7313" y="11157"/>
                  <a:pt x="7156" y="11157"/>
                </a:cubicBezTo>
                <a:cubicBezTo>
                  <a:pt x="7219" y="11063"/>
                  <a:pt x="7313" y="11000"/>
                  <a:pt x="7375" y="10938"/>
                </a:cubicBezTo>
                <a:cubicBezTo>
                  <a:pt x="7469" y="10813"/>
                  <a:pt x="7594" y="10657"/>
                  <a:pt x="7656" y="10500"/>
                </a:cubicBezTo>
                <a:cubicBezTo>
                  <a:pt x="7625" y="10500"/>
                  <a:pt x="7625" y="10469"/>
                  <a:pt x="7594" y="10469"/>
                </a:cubicBezTo>
                <a:cubicBezTo>
                  <a:pt x="7594" y="10469"/>
                  <a:pt x="7594" y="10469"/>
                  <a:pt x="7594" y="10469"/>
                </a:cubicBezTo>
                <a:cubicBezTo>
                  <a:pt x="7563" y="10469"/>
                  <a:pt x="7563" y="10469"/>
                  <a:pt x="7563" y="10469"/>
                </a:cubicBezTo>
                <a:cubicBezTo>
                  <a:pt x="7563" y="10469"/>
                  <a:pt x="7563" y="10469"/>
                  <a:pt x="7563" y="10469"/>
                </a:cubicBezTo>
                <a:cubicBezTo>
                  <a:pt x="7469" y="10469"/>
                  <a:pt x="7438" y="10438"/>
                  <a:pt x="7469" y="10375"/>
                </a:cubicBezTo>
                <a:cubicBezTo>
                  <a:pt x="7469" y="10344"/>
                  <a:pt x="7531" y="10282"/>
                  <a:pt x="7500" y="10250"/>
                </a:cubicBezTo>
                <a:cubicBezTo>
                  <a:pt x="7500" y="10250"/>
                  <a:pt x="7500" y="10250"/>
                  <a:pt x="7500" y="10250"/>
                </a:cubicBezTo>
                <a:cubicBezTo>
                  <a:pt x="7500" y="10250"/>
                  <a:pt x="7500" y="10250"/>
                  <a:pt x="7500" y="10250"/>
                </a:cubicBezTo>
                <a:cubicBezTo>
                  <a:pt x="7438" y="10250"/>
                  <a:pt x="7406" y="10250"/>
                  <a:pt x="7375" y="10282"/>
                </a:cubicBezTo>
                <a:cubicBezTo>
                  <a:pt x="7313" y="10344"/>
                  <a:pt x="7344" y="10469"/>
                  <a:pt x="7313" y="10532"/>
                </a:cubicBezTo>
                <a:cubicBezTo>
                  <a:pt x="7406" y="10594"/>
                  <a:pt x="7313" y="10750"/>
                  <a:pt x="7281" y="10750"/>
                </a:cubicBezTo>
                <a:cubicBezTo>
                  <a:pt x="7094" y="10907"/>
                  <a:pt x="7031" y="11157"/>
                  <a:pt x="6750" y="11282"/>
                </a:cubicBezTo>
                <a:cubicBezTo>
                  <a:pt x="6781" y="11219"/>
                  <a:pt x="6813" y="11157"/>
                  <a:pt x="6844" y="11094"/>
                </a:cubicBezTo>
                <a:cubicBezTo>
                  <a:pt x="6875" y="11032"/>
                  <a:pt x="6906" y="10969"/>
                  <a:pt x="6938" y="10907"/>
                </a:cubicBezTo>
                <a:cubicBezTo>
                  <a:pt x="6906" y="10907"/>
                  <a:pt x="6906" y="10907"/>
                  <a:pt x="6906" y="10907"/>
                </a:cubicBezTo>
                <a:cubicBezTo>
                  <a:pt x="6844" y="10875"/>
                  <a:pt x="6813" y="10875"/>
                  <a:pt x="6875" y="10813"/>
                </a:cubicBezTo>
                <a:cubicBezTo>
                  <a:pt x="6938" y="10719"/>
                  <a:pt x="7000" y="10625"/>
                  <a:pt x="7094" y="10563"/>
                </a:cubicBezTo>
                <a:cubicBezTo>
                  <a:pt x="7094" y="10532"/>
                  <a:pt x="7125" y="10500"/>
                  <a:pt x="7125" y="10500"/>
                </a:cubicBezTo>
                <a:cubicBezTo>
                  <a:pt x="7125" y="10438"/>
                  <a:pt x="7125" y="10407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000" y="10344"/>
                  <a:pt x="6938" y="10438"/>
                  <a:pt x="6844" y="10500"/>
                </a:cubicBezTo>
                <a:cubicBezTo>
                  <a:pt x="6844" y="10532"/>
                  <a:pt x="6844" y="10532"/>
                  <a:pt x="6813" y="10532"/>
                </a:cubicBezTo>
                <a:cubicBezTo>
                  <a:pt x="6781" y="10594"/>
                  <a:pt x="6781" y="10750"/>
                  <a:pt x="6625" y="10625"/>
                </a:cubicBezTo>
                <a:cubicBezTo>
                  <a:pt x="6625" y="10625"/>
                  <a:pt x="6625" y="10625"/>
                  <a:pt x="6594" y="10625"/>
                </a:cubicBezTo>
                <a:cubicBezTo>
                  <a:pt x="6531" y="10625"/>
                  <a:pt x="6438" y="10782"/>
                  <a:pt x="6375" y="10875"/>
                </a:cubicBezTo>
                <a:cubicBezTo>
                  <a:pt x="6375" y="10875"/>
                  <a:pt x="6375" y="10875"/>
                  <a:pt x="6375" y="10875"/>
                </a:cubicBezTo>
                <a:cubicBezTo>
                  <a:pt x="6375" y="10875"/>
                  <a:pt x="6375" y="10875"/>
                  <a:pt x="6375" y="10875"/>
                </a:cubicBezTo>
                <a:cubicBezTo>
                  <a:pt x="6375" y="10875"/>
                  <a:pt x="6375" y="10875"/>
                  <a:pt x="6375" y="10875"/>
                </a:cubicBezTo>
                <a:cubicBezTo>
                  <a:pt x="6406" y="10907"/>
                  <a:pt x="6406" y="10907"/>
                  <a:pt x="6438" y="10875"/>
                </a:cubicBezTo>
                <a:cubicBezTo>
                  <a:pt x="6438" y="10875"/>
                  <a:pt x="6469" y="10875"/>
                  <a:pt x="6500" y="10844"/>
                </a:cubicBezTo>
                <a:cubicBezTo>
                  <a:pt x="6500" y="10844"/>
                  <a:pt x="6500" y="10875"/>
                  <a:pt x="6500" y="10875"/>
                </a:cubicBezTo>
                <a:cubicBezTo>
                  <a:pt x="6500" y="10875"/>
                  <a:pt x="6500" y="10875"/>
                  <a:pt x="6500" y="10907"/>
                </a:cubicBezTo>
                <a:cubicBezTo>
                  <a:pt x="6531" y="10969"/>
                  <a:pt x="6531" y="11094"/>
                  <a:pt x="6406" y="11094"/>
                </a:cubicBezTo>
                <a:cubicBezTo>
                  <a:pt x="6406" y="11125"/>
                  <a:pt x="6375" y="11125"/>
                  <a:pt x="6375" y="11125"/>
                </a:cubicBezTo>
                <a:cubicBezTo>
                  <a:pt x="6375" y="11125"/>
                  <a:pt x="6375" y="11125"/>
                  <a:pt x="6375" y="11125"/>
                </a:cubicBezTo>
                <a:cubicBezTo>
                  <a:pt x="6375" y="11125"/>
                  <a:pt x="6375" y="11125"/>
                  <a:pt x="6375" y="11125"/>
                </a:cubicBezTo>
                <a:cubicBezTo>
                  <a:pt x="6375" y="11125"/>
                  <a:pt x="6375" y="11094"/>
                  <a:pt x="6406" y="11094"/>
                </a:cubicBezTo>
                <a:cubicBezTo>
                  <a:pt x="6406" y="11094"/>
                  <a:pt x="6406" y="11094"/>
                  <a:pt x="6406" y="11094"/>
                </a:cubicBezTo>
                <a:cubicBezTo>
                  <a:pt x="6406" y="11032"/>
                  <a:pt x="6375" y="10969"/>
                  <a:pt x="6375" y="10875"/>
                </a:cubicBezTo>
                <a:cubicBezTo>
                  <a:pt x="6281" y="10907"/>
                  <a:pt x="6250" y="11063"/>
                  <a:pt x="6156" y="11094"/>
                </a:cubicBezTo>
                <a:cubicBezTo>
                  <a:pt x="6156" y="11094"/>
                  <a:pt x="6125" y="11094"/>
                  <a:pt x="6125" y="11125"/>
                </a:cubicBezTo>
                <a:cubicBezTo>
                  <a:pt x="6031" y="11188"/>
                  <a:pt x="5969" y="11282"/>
                  <a:pt x="6125" y="11344"/>
                </a:cubicBezTo>
                <a:cubicBezTo>
                  <a:pt x="6156" y="11344"/>
                  <a:pt x="6219" y="11375"/>
                  <a:pt x="6156" y="11407"/>
                </a:cubicBezTo>
                <a:cubicBezTo>
                  <a:pt x="6125" y="11469"/>
                  <a:pt x="6094" y="11563"/>
                  <a:pt x="6031" y="11532"/>
                </a:cubicBezTo>
                <a:cubicBezTo>
                  <a:pt x="5969" y="11532"/>
                  <a:pt x="5875" y="11469"/>
                  <a:pt x="5875" y="11407"/>
                </a:cubicBezTo>
                <a:cubicBezTo>
                  <a:pt x="5906" y="11282"/>
                  <a:pt x="5875" y="11157"/>
                  <a:pt x="6031" y="11094"/>
                </a:cubicBezTo>
                <a:cubicBezTo>
                  <a:pt x="6250" y="10875"/>
                  <a:pt x="6406" y="10594"/>
                  <a:pt x="6625" y="10407"/>
                </a:cubicBezTo>
                <a:cubicBezTo>
                  <a:pt x="6656" y="10375"/>
                  <a:pt x="6656" y="10375"/>
                  <a:pt x="6656" y="10344"/>
                </a:cubicBezTo>
                <a:cubicBezTo>
                  <a:pt x="6656" y="10282"/>
                  <a:pt x="6656" y="10219"/>
                  <a:pt x="6625" y="10157"/>
                </a:cubicBezTo>
                <a:cubicBezTo>
                  <a:pt x="6625" y="10157"/>
                  <a:pt x="6625" y="10157"/>
                  <a:pt x="6625" y="10125"/>
                </a:cubicBezTo>
                <a:cubicBezTo>
                  <a:pt x="6594" y="10125"/>
                  <a:pt x="6563" y="10125"/>
                  <a:pt x="6594" y="10157"/>
                </a:cubicBezTo>
                <a:lnTo>
                  <a:pt x="6594" y="10157"/>
                </a:lnTo>
                <a:cubicBezTo>
                  <a:pt x="6594" y="10157"/>
                  <a:pt x="6625" y="10188"/>
                  <a:pt x="6625" y="10157"/>
                </a:cubicBezTo>
                <a:cubicBezTo>
                  <a:pt x="6688" y="10157"/>
                  <a:pt x="6719" y="10125"/>
                  <a:pt x="6750" y="10094"/>
                </a:cubicBezTo>
                <a:cubicBezTo>
                  <a:pt x="6750" y="10094"/>
                  <a:pt x="6750" y="10063"/>
                  <a:pt x="6750" y="10063"/>
                </a:cubicBezTo>
                <a:cubicBezTo>
                  <a:pt x="6781" y="10032"/>
                  <a:pt x="6781" y="10032"/>
                  <a:pt x="6781" y="10032"/>
                </a:cubicBezTo>
                <a:cubicBezTo>
                  <a:pt x="7094" y="10000"/>
                  <a:pt x="7063" y="9625"/>
                  <a:pt x="7250" y="9500"/>
                </a:cubicBezTo>
                <a:cubicBezTo>
                  <a:pt x="7281" y="9469"/>
                  <a:pt x="7344" y="9375"/>
                  <a:pt x="7313" y="9282"/>
                </a:cubicBezTo>
                <a:cubicBezTo>
                  <a:pt x="7281" y="9219"/>
                  <a:pt x="7313" y="9188"/>
                  <a:pt x="7344" y="9157"/>
                </a:cubicBezTo>
                <a:cubicBezTo>
                  <a:pt x="7375" y="9125"/>
                  <a:pt x="7406" y="9094"/>
                  <a:pt x="7438" y="9094"/>
                </a:cubicBezTo>
                <a:cubicBezTo>
                  <a:pt x="7438" y="9063"/>
                  <a:pt x="7438" y="9032"/>
                  <a:pt x="7438" y="9032"/>
                </a:cubicBezTo>
                <a:cubicBezTo>
                  <a:pt x="7469" y="9032"/>
                  <a:pt x="7500" y="9000"/>
                  <a:pt x="7500" y="9000"/>
                </a:cubicBezTo>
                <a:cubicBezTo>
                  <a:pt x="7438" y="8938"/>
                  <a:pt x="7500" y="8844"/>
                  <a:pt x="7531" y="8719"/>
                </a:cubicBezTo>
                <a:cubicBezTo>
                  <a:pt x="7313" y="8907"/>
                  <a:pt x="7188" y="9125"/>
                  <a:pt x="7031" y="9282"/>
                </a:cubicBezTo>
                <a:cubicBezTo>
                  <a:pt x="6844" y="9500"/>
                  <a:pt x="6719" y="9782"/>
                  <a:pt x="6438" y="9907"/>
                </a:cubicBezTo>
                <a:cubicBezTo>
                  <a:pt x="6406" y="9907"/>
                  <a:pt x="6344" y="10000"/>
                  <a:pt x="6313" y="9907"/>
                </a:cubicBezTo>
                <a:cubicBezTo>
                  <a:pt x="6281" y="9875"/>
                  <a:pt x="6313" y="9813"/>
                  <a:pt x="6344" y="9782"/>
                </a:cubicBezTo>
                <a:cubicBezTo>
                  <a:pt x="6469" y="9625"/>
                  <a:pt x="6625" y="9500"/>
                  <a:pt x="6688" y="9313"/>
                </a:cubicBezTo>
                <a:cubicBezTo>
                  <a:pt x="6500" y="9375"/>
                  <a:pt x="6344" y="9500"/>
                  <a:pt x="6188" y="9625"/>
                </a:cubicBezTo>
                <a:cubicBezTo>
                  <a:pt x="6156" y="9625"/>
                  <a:pt x="6125" y="9657"/>
                  <a:pt x="6125" y="9657"/>
                </a:cubicBezTo>
                <a:cubicBezTo>
                  <a:pt x="5906" y="9563"/>
                  <a:pt x="5875" y="9563"/>
                  <a:pt x="5781" y="9750"/>
                </a:cubicBezTo>
                <a:cubicBezTo>
                  <a:pt x="5750" y="9782"/>
                  <a:pt x="5750" y="9813"/>
                  <a:pt x="5750" y="9813"/>
                </a:cubicBezTo>
                <a:cubicBezTo>
                  <a:pt x="5750" y="9938"/>
                  <a:pt x="5906" y="9782"/>
                  <a:pt x="5875" y="9907"/>
                </a:cubicBezTo>
                <a:cubicBezTo>
                  <a:pt x="5875" y="9938"/>
                  <a:pt x="5813" y="10063"/>
                  <a:pt x="5688" y="9969"/>
                </a:cubicBezTo>
                <a:cubicBezTo>
                  <a:pt x="5594" y="9907"/>
                  <a:pt x="5531" y="10094"/>
                  <a:pt x="5438" y="10157"/>
                </a:cubicBezTo>
                <a:cubicBezTo>
                  <a:pt x="5344" y="10250"/>
                  <a:pt x="5531" y="10250"/>
                  <a:pt x="5531" y="10344"/>
                </a:cubicBezTo>
                <a:cubicBezTo>
                  <a:pt x="5469" y="10375"/>
                  <a:pt x="5406" y="10375"/>
                  <a:pt x="5344" y="10407"/>
                </a:cubicBezTo>
                <a:cubicBezTo>
                  <a:pt x="5344" y="10407"/>
                  <a:pt x="5375" y="10438"/>
                  <a:pt x="5375" y="10438"/>
                </a:cubicBezTo>
                <a:cubicBezTo>
                  <a:pt x="5375" y="10469"/>
                  <a:pt x="5344" y="10469"/>
                  <a:pt x="5344" y="10500"/>
                </a:cubicBezTo>
                <a:cubicBezTo>
                  <a:pt x="5313" y="10469"/>
                  <a:pt x="5281" y="10469"/>
                  <a:pt x="5281" y="10438"/>
                </a:cubicBezTo>
                <a:cubicBezTo>
                  <a:pt x="5281" y="10438"/>
                  <a:pt x="5281" y="10438"/>
                  <a:pt x="5281" y="10438"/>
                </a:cubicBezTo>
                <a:cubicBezTo>
                  <a:pt x="5063" y="10532"/>
                  <a:pt x="4906" y="10719"/>
                  <a:pt x="4875" y="10969"/>
                </a:cubicBezTo>
                <a:cubicBezTo>
                  <a:pt x="4844" y="11032"/>
                  <a:pt x="4813" y="11000"/>
                  <a:pt x="4781" y="11032"/>
                </a:cubicBezTo>
                <a:cubicBezTo>
                  <a:pt x="4719" y="11063"/>
                  <a:pt x="4594" y="11094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594" y="11219"/>
                  <a:pt x="4563" y="11219"/>
                  <a:pt x="4563" y="11219"/>
                </a:cubicBezTo>
                <a:cubicBezTo>
                  <a:pt x="4500" y="11250"/>
                  <a:pt x="4469" y="11313"/>
                  <a:pt x="4438" y="11375"/>
                </a:cubicBezTo>
                <a:cubicBezTo>
                  <a:pt x="4438" y="11375"/>
                  <a:pt x="4438" y="11407"/>
                  <a:pt x="4438" y="11407"/>
                </a:cubicBezTo>
                <a:cubicBezTo>
                  <a:pt x="4344" y="11500"/>
                  <a:pt x="4250" y="11594"/>
                  <a:pt x="4156" y="11688"/>
                </a:cubicBezTo>
                <a:cubicBezTo>
                  <a:pt x="4063" y="11844"/>
                  <a:pt x="3938" y="12000"/>
                  <a:pt x="3781" y="12125"/>
                </a:cubicBezTo>
                <a:cubicBezTo>
                  <a:pt x="3719" y="12157"/>
                  <a:pt x="3688" y="12188"/>
                  <a:pt x="3625" y="12125"/>
                </a:cubicBezTo>
                <a:cubicBezTo>
                  <a:pt x="3594" y="12063"/>
                  <a:pt x="3719" y="12094"/>
                  <a:pt x="3719" y="12063"/>
                </a:cubicBezTo>
                <a:cubicBezTo>
                  <a:pt x="3719" y="11969"/>
                  <a:pt x="3813" y="11907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13" y="11844"/>
                  <a:pt x="3781" y="11844"/>
                  <a:pt x="3781" y="11813"/>
                </a:cubicBezTo>
                <a:cubicBezTo>
                  <a:pt x="3781" y="11782"/>
                  <a:pt x="3781" y="11782"/>
                  <a:pt x="3781" y="11782"/>
                </a:cubicBezTo>
                <a:cubicBezTo>
                  <a:pt x="3813" y="11782"/>
                  <a:pt x="3813" y="11813"/>
                  <a:pt x="3844" y="11813"/>
                </a:cubicBezTo>
                <a:cubicBezTo>
                  <a:pt x="3844" y="11813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75" y="11844"/>
                  <a:pt x="3906" y="11844"/>
                  <a:pt x="3938" y="11813"/>
                </a:cubicBezTo>
                <a:cubicBezTo>
                  <a:pt x="3938" y="11782"/>
                  <a:pt x="3938" y="11782"/>
                  <a:pt x="3938" y="11719"/>
                </a:cubicBezTo>
                <a:cubicBezTo>
                  <a:pt x="3906" y="11688"/>
                  <a:pt x="3938" y="11657"/>
                  <a:pt x="3906" y="11657"/>
                </a:cubicBezTo>
                <a:lnTo>
                  <a:pt x="3906" y="11657"/>
                </a:lnTo>
                <a:cubicBezTo>
                  <a:pt x="3875" y="11657"/>
                  <a:pt x="3875" y="11657"/>
                  <a:pt x="3875" y="11657"/>
                </a:cubicBezTo>
                <a:cubicBezTo>
                  <a:pt x="3844" y="11719"/>
                  <a:pt x="3906" y="11719"/>
                  <a:pt x="3938" y="11719"/>
                </a:cubicBezTo>
                <a:cubicBezTo>
                  <a:pt x="3938" y="11719"/>
                  <a:pt x="3938" y="11719"/>
                  <a:pt x="3969" y="11719"/>
                </a:cubicBezTo>
                <a:cubicBezTo>
                  <a:pt x="3969" y="11750"/>
                  <a:pt x="4000" y="11719"/>
                  <a:pt x="4000" y="11719"/>
                </a:cubicBezTo>
                <a:cubicBezTo>
                  <a:pt x="4031" y="11688"/>
                  <a:pt x="4063" y="11657"/>
                  <a:pt x="4125" y="11625"/>
                </a:cubicBezTo>
                <a:cubicBezTo>
                  <a:pt x="4188" y="11563"/>
                  <a:pt x="4188" y="11438"/>
                  <a:pt x="4281" y="11375"/>
                </a:cubicBezTo>
                <a:cubicBezTo>
                  <a:pt x="4375" y="11313"/>
                  <a:pt x="4406" y="11125"/>
                  <a:pt x="4438" y="11032"/>
                </a:cubicBezTo>
                <a:cubicBezTo>
                  <a:pt x="4438" y="10844"/>
                  <a:pt x="4656" y="10844"/>
                  <a:pt x="4688" y="10688"/>
                </a:cubicBezTo>
                <a:cubicBezTo>
                  <a:pt x="4750" y="10594"/>
                  <a:pt x="4750" y="10532"/>
                  <a:pt x="4750" y="10438"/>
                </a:cubicBezTo>
                <a:cubicBezTo>
                  <a:pt x="4781" y="10375"/>
                  <a:pt x="4719" y="10188"/>
                  <a:pt x="4906" y="10219"/>
                </a:cubicBezTo>
                <a:cubicBezTo>
                  <a:pt x="4969" y="10000"/>
                  <a:pt x="5156" y="9844"/>
                  <a:pt x="5156" y="9625"/>
                </a:cubicBezTo>
                <a:cubicBezTo>
                  <a:pt x="5156" y="9625"/>
                  <a:pt x="5156" y="9594"/>
                  <a:pt x="5125" y="9594"/>
                </a:cubicBezTo>
                <a:cubicBezTo>
                  <a:pt x="4938" y="9719"/>
                  <a:pt x="4844" y="9938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88" y="10094"/>
                  <a:pt x="4656" y="10125"/>
                  <a:pt x="4656" y="10125"/>
                </a:cubicBezTo>
                <a:cubicBezTo>
                  <a:pt x="4656" y="10125"/>
                  <a:pt x="4625" y="10125"/>
                  <a:pt x="4625" y="10125"/>
                </a:cubicBezTo>
                <a:cubicBezTo>
                  <a:pt x="4625" y="10125"/>
                  <a:pt x="4625" y="10094"/>
                  <a:pt x="4625" y="10094"/>
                </a:cubicBezTo>
                <a:cubicBezTo>
                  <a:pt x="4625" y="10094"/>
                  <a:pt x="4625" y="10063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56" y="10063"/>
                  <a:pt x="4656" y="10032"/>
                  <a:pt x="4656" y="10000"/>
                </a:cubicBezTo>
                <a:cubicBezTo>
                  <a:pt x="4688" y="9969"/>
                  <a:pt x="4688" y="9938"/>
                  <a:pt x="4656" y="9907"/>
                </a:cubicBezTo>
                <a:cubicBezTo>
                  <a:pt x="4406" y="10313"/>
                  <a:pt x="4094" y="10657"/>
                  <a:pt x="3719" y="10938"/>
                </a:cubicBezTo>
                <a:cubicBezTo>
                  <a:pt x="3625" y="11032"/>
                  <a:pt x="3406" y="11063"/>
                  <a:pt x="3406" y="11188"/>
                </a:cubicBezTo>
                <a:cubicBezTo>
                  <a:pt x="3375" y="11344"/>
                  <a:pt x="3313" y="11375"/>
                  <a:pt x="3219" y="11407"/>
                </a:cubicBezTo>
                <a:cubicBezTo>
                  <a:pt x="3188" y="11407"/>
                  <a:pt x="3188" y="11407"/>
                  <a:pt x="3156" y="11438"/>
                </a:cubicBezTo>
                <a:cubicBezTo>
                  <a:pt x="3156" y="11438"/>
                  <a:pt x="3125" y="11438"/>
                  <a:pt x="3125" y="11438"/>
                </a:cubicBezTo>
                <a:cubicBezTo>
                  <a:pt x="3094" y="11438"/>
                  <a:pt x="3094" y="11469"/>
                  <a:pt x="3063" y="11500"/>
                </a:cubicBezTo>
                <a:cubicBezTo>
                  <a:pt x="3094" y="11532"/>
                  <a:pt x="3094" y="11563"/>
                  <a:pt x="3094" y="11594"/>
                </a:cubicBezTo>
                <a:cubicBezTo>
                  <a:pt x="3094" y="11594"/>
                  <a:pt x="3094" y="11594"/>
                  <a:pt x="3094" y="11625"/>
                </a:cubicBezTo>
                <a:cubicBezTo>
                  <a:pt x="3094" y="11688"/>
                  <a:pt x="3000" y="11719"/>
                  <a:pt x="2938" y="11719"/>
                </a:cubicBezTo>
                <a:cubicBezTo>
                  <a:pt x="2688" y="11657"/>
                  <a:pt x="2781" y="11844"/>
                  <a:pt x="2750" y="11938"/>
                </a:cubicBezTo>
                <a:cubicBezTo>
                  <a:pt x="2625" y="11938"/>
                  <a:pt x="2563" y="11875"/>
                  <a:pt x="2656" y="11782"/>
                </a:cubicBezTo>
                <a:cubicBezTo>
                  <a:pt x="2719" y="11688"/>
                  <a:pt x="2781" y="11594"/>
                  <a:pt x="2844" y="11563"/>
                </a:cubicBezTo>
                <a:cubicBezTo>
                  <a:pt x="3000" y="11407"/>
                  <a:pt x="2875" y="11407"/>
                  <a:pt x="2781" y="11344"/>
                </a:cubicBezTo>
                <a:cubicBezTo>
                  <a:pt x="2750" y="11344"/>
                  <a:pt x="2688" y="11375"/>
                  <a:pt x="2688" y="11282"/>
                </a:cubicBezTo>
                <a:cubicBezTo>
                  <a:pt x="2688" y="11250"/>
                  <a:pt x="2688" y="11250"/>
                  <a:pt x="2688" y="11250"/>
                </a:cubicBezTo>
                <a:cubicBezTo>
                  <a:pt x="2719" y="11250"/>
                  <a:pt x="2719" y="11250"/>
                  <a:pt x="2719" y="11250"/>
                </a:cubicBezTo>
                <a:cubicBezTo>
                  <a:pt x="2750" y="11250"/>
                  <a:pt x="2750" y="11250"/>
                  <a:pt x="2750" y="11250"/>
                </a:cubicBezTo>
                <a:cubicBezTo>
                  <a:pt x="2750" y="11250"/>
                  <a:pt x="2750" y="11250"/>
                  <a:pt x="2750" y="11250"/>
                </a:cubicBezTo>
                <a:cubicBezTo>
                  <a:pt x="2781" y="11219"/>
                  <a:pt x="2781" y="11219"/>
                  <a:pt x="2781" y="11219"/>
                </a:cubicBezTo>
                <a:cubicBezTo>
                  <a:pt x="2781" y="11219"/>
                  <a:pt x="2781" y="11219"/>
                  <a:pt x="2781" y="11219"/>
                </a:cubicBezTo>
                <a:cubicBezTo>
                  <a:pt x="2781" y="11219"/>
                  <a:pt x="2781" y="11219"/>
                  <a:pt x="2781" y="11219"/>
                </a:cubicBezTo>
                <a:cubicBezTo>
                  <a:pt x="2813" y="11125"/>
                  <a:pt x="2875" y="11000"/>
                  <a:pt x="2906" y="10907"/>
                </a:cubicBezTo>
                <a:cubicBezTo>
                  <a:pt x="2906" y="10907"/>
                  <a:pt x="2906" y="10907"/>
                  <a:pt x="2906" y="10907"/>
                </a:cubicBezTo>
                <a:cubicBezTo>
                  <a:pt x="2813" y="10969"/>
                  <a:pt x="2719" y="11032"/>
                  <a:pt x="2656" y="11094"/>
                </a:cubicBezTo>
                <a:cubicBezTo>
                  <a:pt x="2625" y="11125"/>
                  <a:pt x="2594" y="11125"/>
                  <a:pt x="2594" y="11094"/>
                </a:cubicBezTo>
                <a:cubicBezTo>
                  <a:pt x="2594" y="11094"/>
                  <a:pt x="2594" y="11094"/>
                  <a:pt x="2563" y="11094"/>
                </a:cubicBezTo>
                <a:cubicBezTo>
                  <a:pt x="2563" y="11063"/>
                  <a:pt x="2563" y="11063"/>
                  <a:pt x="2563" y="11063"/>
                </a:cubicBezTo>
                <a:cubicBezTo>
                  <a:pt x="2469" y="11094"/>
                  <a:pt x="2406" y="11157"/>
                  <a:pt x="2344" y="11250"/>
                </a:cubicBezTo>
                <a:cubicBezTo>
                  <a:pt x="2281" y="11313"/>
                  <a:pt x="2219" y="11375"/>
                  <a:pt x="2125" y="11438"/>
                </a:cubicBezTo>
                <a:close/>
                <a:moveTo>
                  <a:pt x="35813" y="16813"/>
                </a:moveTo>
                <a:cubicBezTo>
                  <a:pt x="35813" y="16813"/>
                  <a:pt x="35813" y="16844"/>
                  <a:pt x="35813" y="16844"/>
                </a:cubicBezTo>
                <a:cubicBezTo>
                  <a:pt x="35813" y="16844"/>
                  <a:pt x="35844" y="16875"/>
                  <a:pt x="35844" y="16875"/>
                </a:cubicBezTo>
                <a:cubicBezTo>
                  <a:pt x="35844" y="16875"/>
                  <a:pt x="35875" y="16844"/>
                  <a:pt x="35875" y="16844"/>
                </a:cubicBezTo>
                <a:cubicBezTo>
                  <a:pt x="35875" y="16844"/>
                  <a:pt x="35844" y="16813"/>
                  <a:pt x="35813" y="16813"/>
                </a:cubicBezTo>
                <a:close/>
                <a:moveTo>
                  <a:pt x="35656" y="16313"/>
                </a:moveTo>
                <a:cubicBezTo>
                  <a:pt x="35656" y="16282"/>
                  <a:pt x="35625" y="16282"/>
                  <a:pt x="35594" y="16282"/>
                </a:cubicBezTo>
                <a:cubicBezTo>
                  <a:pt x="35594" y="16282"/>
                  <a:pt x="35594" y="16313"/>
                  <a:pt x="35594" y="16313"/>
                </a:cubicBezTo>
                <a:cubicBezTo>
                  <a:pt x="35625" y="16344"/>
                  <a:pt x="35625" y="16313"/>
                  <a:pt x="35656" y="16313"/>
                </a:cubicBezTo>
                <a:cubicBezTo>
                  <a:pt x="35656" y="16313"/>
                  <a:pt x="35656" y="16313"/>
                  <a:pt x="35656" y="16313"/>
                </a:cubicBezTo>
                <a:cubicBezTo>
                  <a:pt x="35656" y="16313"/>
                  <a:pt x="35656" y="16313"/>
                  <a:pt x="35656" y="16313"/>
                </a:cubicBezTo>
                <a:close/>
                <a:moveTo>
                  <a:pt x="1219" y="4969"/>
                </a:moveTo>
                <a:cubicBezTo>
                  <a:pt x="1219" y="4969"/>
                  <a:pt x="1250" y="4938"/>
                  <a:pt x="1250" y="4938"/>
                </a:cubicBezTo>
                <a:cubicBezTo>
                  <a:pt x="1250" y="4938"/>
                  <a:pt x="1219" y="4938"/>
                  <a:pt x="1219" y="4938"/>
                </a:cubicBezTo>
                <a:cubicBezTo>
                  <a:pt x="1219" y="4938"/>
                  <a:pt x="1219" y="4938"/>
                  <a:pt x="1219" y="4938"/>
                </a:cubicBezTo>
                <a:cubicBezTo>
                  <a:pt x="1219" y="4969"/>
                  <a:pt x="1219" y="4969"/>
                  <a:pt x="1219" y="4969"/>
                </a:cubicBezTo>
                <a:close/>
                <a:moveTo>
                  <a:pt x="5938" y="5188"/>
                </a:moveTo>
                <a:cubicBezTo>
                  <a:pt x="5938" y="5188"/>
                  <a:pt x="5938" y="5188"/>
                  <a:pt x="5938" y="5188"/>
                </a:cubicBezTo>
                <a:cubicBezTo>
                  <a:pt x="5938" y="5188"/>
                  <a:pt x="5938" y="5188"/>
                  <a:pt x="5938" y="5188"/>
                </a:cubicBezTo>
                <a:cubicBezTo>
                  <a:pt x="5906" y="5188"/>
                  <a:pt x="5906" y="5188"/>
                  <a:pt x="5906" y="5188"/>
                </a:cubicBezTo>
                <a:cubicBezTo>
                  <a:pt x="5906" y="5188"/>
                  <a:pt x="5906" y="5219"/>
                  <a:pt x="5938" y="5219"/>
                </a:cubicBezTo>
                <a:cubicBezTo>
                  <a:pt x="5938" y="5219"/>
                  <a:pt x="5938" y="5219"/>
                  <a:pt x="5938" y="5188"/>
                </a:cubicBezTo>
                <a:close/>
                <a:moveTo>
                  <a:pt x="14063" y="15782"/>
                </a:moveTo>
                <a:cubicBezTo>
                  <a:pt x="14063" y="15750"/>
                  <a:pt x="14063" y="15750"/>
                  <a:pt x="14031" y="15750"/>
                </a:cubicBezTo>
                <a:cubicBezTo>
                  <a:pt x="14031" y="15750"/>
                  <a:pt x="14000" y="15750"/>
                  <a:pt x="14000" y="15782"/>
                </a:cubicBezTo>
                <a:cubicBezTo>
                  <a:pt x="14000" y="15782"/>
                  <a:pt x="14000" y="15782"/>
                  <a:pt x="14000" y="15782"/>
                </a:cubicBezTo>
                <a:cubicBezTo>
                  <a:pt x="14031" y="15782"/>
                  <a:pt x="14031" y="15782"/>
                  <a:pt x="14063" y="15782"/>
                </a:cubicBezTo>
                <a:close/>
                <a:moveTo>
                  <a:pt x="7938" y="12344"/>
                </a:moveTo>
                <a:lnTo>
                  <a:pt x="7938" y="12344"/>
                </a:lnTo>
                <a:lnTo>
                  <a:pt x="7938" y="12344"/>
                </a:lnTo>
                <a:close/>
                <a:moveTo>
                  <a:pt x="9406" y="13000"/>
                </a:moveTo>
                <a:cubicBezTo>
                  <a:pt x="9406" y="13000"/>
                  <a:pt x="9406" y="13000"/>
                  <a:pt x="9406" y="13000"/>
                </a:cubicBezTo>
                <a:cubicBezTo>
                  <a:pt x="9406" y="13032"/>
                  <a:pt x="9406" y="13032"/>
                  <a:pt x="9406" y="13032"/>
                </a:cubicBezTo>
                <a:cubicBezTo>
                  <a:pt x="9438" y="13032"/>
                  <a:pt x="9406" y="13000"/>
                  <a:pt x="9406" y="13000"/>
                </a:cubicBezTo>
                <a:close/>
                <a:moveTo>
                  <a:pt x="6125" y="4969"/>
                </a:moveTo>
                <a:cubicBezTo>
                  <a:pt x="6125" y="4938"/>
                  <a:pt x="6094" y="4907"/>
                  <a:pt x="6063" y="4938"/>
                </a:cubicBezTo>
                <a:cubicBezTo>
                  <a:pt x="6000" y="4969"/>
                  <a:pt x="6031" y="5032"/>
                  <a:pt x="6031" y="5094"/>
                </a:cubicBezTo>
                <a:cubicBezTo>
                  <a:pt x="6094" y="5063"/>
                  <a:pt x="6156" y="5063"/>
                  <a:pt x="6125" y="4969"/>
                </a:cubicBezTo>
                <a:close/>
                <a:moveTo>
                  <a:pt x="11063" y="16532"/>
                </a:moveTo>
                <a:cubicBezTo>
                  <a:pt x="11031" y="16594"/>
                  <a:pt x="11000" y="16625"/>
                  <a:pt x="11000" y="16657"/>
                </a:cubicBezTo>
                <a:cubicBezTo>
                  <a:pt x="10969" y="16657"/>
                  <a:pt x="10969" y="16657"/>
                  <a:pt x="10969" y="16657"/>
                </a:cubicBezTo>
                <a:cubicBezTo>
                  <a:pt x="10969" y="16657"/>
                  <a:pt x="10969" y="16657"/>
                  <a:pt x="10969" y="16657"/>
                </a:cubicBezTo>
                <a:cubicBezTo>
                  <a:pt x="10906" y="16688"/>
                  <a:pt x="10844" y="16688"/>
                  <a:pt x="10813" y="16813"/>
                </a:cubicBezTo>
                <a:cubicBezTo>
                  <a:pt x="10844" y="16782"/>
                  <a:pt x="10844" y="16782"/>
                  <a:pt x="10875" y="16782"/>
                </a:cubicBezTo>
                <a:cubicBezTo>
                  <a:pt x="10906" y="16719"/>
                  <a:pt x="10938" y="16688"/>
                  <a:pt x="10969" y="16657"/>
                </a:cubicBezTo>
                <a:cubicBezTo>
                  <a:pt x="10969" y="16657"/>
                  <a:pt x="10969" y="16657"/>
                  <a:pt x="10969" y="16657"/>
                </a:cubicBezTo>
                <a:cubicBezTo>
                  <a:pt x="10969" y="16657"/>
                  <a:pt x="11000" y="16657"/>
                  <a:pt x="11000" y="16657"/>
                </a:cubicBezTo>
                <a:cubicBezTo>
                  <a:pt x="11000" y="16625"/>
                  <a:pt x="11000" y="16625"/>
                  <a:pt x="11000" y="16625"/>
                </a:cubicBezTo>
                <a:cubicBezTo>
                  <a:pt x="11000" y="16625"/>
                  <a:pt x="11031" y="16625"/>
                  <a:pt x="11031" y="16625"/>
                </a:cubicBezTo>
                <a:cubicBezTo>
                  <a:pt x="11031" y="16625"/>
                  <a:pt x="11063" y="16594"/>
                  <a:pt x="11063" y="16594"/>
                </a:cubicBezTo>
                <a:cubicBezTo>
                  <a:pt x="11063" y="16563"/>
                  <a:pt x="11063" y="16563"/>
                  <a:pt x="11063" y="16532"/>
                </a:cubicBezTo>
                <a:close/>
                <a:moveTo>
                  <a:pt x="7500" y="12969"/>
                </a:moveTo>
                <a:cubicBezTo>
                  <a:pt x="7469" y="12969"/>
                  <a:pt x="7438" y="12969"/>
                  <a:pt x="7406" y="13000"/>
                </a:cubicBezTo>
                <a:cubicBezTo>
                  <a:pt x="7406" y="13032"/>
                  <a:pt x="7406" y="13032"/>
                  <a:pt x="7406" y="13063"/>
                </a:cubicBezTo>
                <a:cubicBezTo>
                  <a:pt x="7500" y="13063"/>
                  <a:pt x="7469" y="13000"/>
                  <a:pt x="7500" y="12969"/>
                </a:cubicBezTo>
                <a:cubicBezTo>
                  <a:pt x="7594" y="12938"/>
                  <a:pt x="7625" y="12875"/>
                  <a:pt x="7625" y="12813"/>
                </a:cubicBezTo>
                <a:cubicBezTo>
                  <a:pt x="7625" y="12813"/>
                  <a:pt x="7625" y="12813"/>
                  <a:pt x="7625" y="12813"/>
                </a:cubicBezTo>
                <a:cubicBezTo>
                  <a:pt x="7625" y="12782"/>
                  <a:pt x="7625" y="12782"/>
                  <a:pt x="7625" y="12782"/>
                </a:cubicBezTo>
                <a:cubicBezTo>
                  <a:pt x="7656" y="12750"/>
                  <a:pt x="7719" y="12750"/>
                  <a:pt x="7719" y="12688"/>
                </a:cubicBezTo>
                <a:cubicBezTo>
                  <a:pt x="7656" y="12688"/>
                  <a:pt x="7625" y="12719"/>
                  <a:pt x="7625" y="12782"/>
                </a:cubicBezTo>
                <a:cubicBezTo>
                  <a:pt x="7625" y="12782"/>
                  <a:pt x="7625" y="12782"/>
                  <a:pt x="7625" y="12782"/>
                </a:cubicBezTo>
                <a:cubicBezTo>
                  <a:pt x="7625" y="12782"/>
                  <a:pt x="7625" y="12782"/>
                  <a:pt x="7625" y="12813"/>
                </a:cubicBezTo>
                <a:cubicBezTo>
                  <a:pt x="7594" y="12813"/>
                  <a:pt x="7563" y="12813"/>
                  <a:pt x="7563" y="12844"/>
                </a:cubicBezTo>
                <a:cubicBezTo>
                  <a:pt x="7500" y="12844"/>
                  <a:pt x="7500" y="12907"/>
                  <a:pt x="7500" y="12969"/>
                </a:cubicBezTo>
                <a:close/>
                <a:moveTo>
                  <a:pt x="10469" y="16469"/>
                </a:moveTo>
                <a:cubicBezTo>
                  <a:pt x="10625" y="16438"/>
                  <a:pt x="10656" y="16438"/>
                  <a:pt x="10719" y="16282"/>
                </a:cubicBezTo>
                <a:cubicBezTo>
                  <a:pt x="10594" y="16282"/>
                  <a:pt x="10531" y="16375"/>
                  <a:pt x="10469" y="16469"/>
                </a:cubicBezTo>
                <a:close/>
                <a:moveTo>
                  <a:pt x="13188" y="16219"/>
                </a:moveTo>
                <a:cubicBezTo>
                  <a:pt x="13188" y="16219"/>
                  <a:pt x="13188" y="16219"/>
                  <a:pt x="13188" y="16219"/>
                </a:cubicBezTo>
                <a:cubicBezTo>
                  <a:pt x="13188" y="16219"/>
                  <a:pt x="13188" y="16219"/>
                  <a:pt x="13188" y="16219"/>
                </a:cubicBezTo>
                <a:cubicBezTo>
                  <a:pt x="13219" y="16219"/>
                  <a:pt x="13219" y="16219"/>
                  <a:pt x="13250" y="16219"/>
                </a:cubicBezTo>
                <a:cubicBezTo>
                  <a:pt x="13250" y="16188"/>
                  <a:pt x="13250" y="16188"/>
                  <a:pt x="13219" y="16188"/>
                </a:cubicBezTo>
                <a:cubicBezTo>
                  <a:pt x="13219" y="16188"/>
                  <a:pt x="13219" y="16188"/>
                  <a:pt x="13188" y="16219"/>
                </a:cubicBezTo>
                <a:cubicBezTo>
                  <a:pt x="13188" y="16219"/>
                  <a:pt x="13188" y="16219"/>
                  <a:pt x="13188" y="16219"/>
                </a:cubicBezTo>
                <a:cubicBezTo>
                  <a:pt x="13188" y="16219"/>
                  <a:pt x="13188" y="16219"/>
                  <a:pt x="13188" y="16219"/>
                </a:cubicBezTo>
                <a:cubicBezTo>
                  <a:pt x="13125" y="16282"/>
                  <a:pt x="13031" y="16375"/>
                  <a:pt x="12969" y="16438"/>
                </a:cubicBezTo>
                <a:cubicBezTo>
                  <a:pt x="13031" y="16407"/>
                  <a:pt x="13125" y="16375"/>
                  <a:pt x="13156" y="16282"/>
                </a:cubicBezTo>
                <a:cubicBezTo>
                  <a:pt x="13188" y="16282"/>
                  <a:pt x="13188" y="16250"/>
                  <a:pt x="13188" y="16219"/>
                </a:cubicBezTo>
                <a:close/>
                <a:moveTo>
                  <a:pt x="563" y="10938"/>
                </a:moveTo>
                <a:cubicBezTo>
                  <a:pt x="875" y="11063"/>
                  <a:pt x="781" y="10844"/>
                  <a:pt x="813" y="10719"/>
                </a:cubicBezTo>
                <a:cubicBezTo>
                  <a:pt x="688" y="10750"/>
                  <a:pt x="688" y="10875"/>
                  <a:pt x="563" y="10938"/>
                </a:cubicBezTo>
                <a:close/>
                <a:moveTo>
                  <a:pt x="438" y="8875"/>
                </a:moveTo>
                <a:cubicBezTo>
                  <a:pt x="219" y="8875"/>
                  <a:pt x="188" y="9032"/>
                  <a:pt x="94" y="9125"/>
                </a:cubicBezTo>
                <a:cubicBezTo>
                  <a:pt x="250" y="9125"/>
                  <a:pt x="313" y="9000"/>
                  <a:pt x="438" y="8875"/>
                </a:cubicBezTo>
                <a:close/>
                <a:moveTo>
                  <a:pt x="29781" y="13000"/>
                </a:moveTo>
                <a:cubicBezTo>
                  <a:pt x="29656" y="12969"/>
                  <a:pt x="29688" y="13063"/>
                  <a:pt x="29656" y="13125"/>
                </a:cubicBezTo>
                <a:cubicBezTo>
                  <a:pt x="29656" y="13125"/>
                  <a:pt x="29656" y="13157"/>
                  <a:pt x="29656" y="13157"/>
                </a:cubicBezTo>
                <a:cubicBezTo>
                  <a:pt x="29656" y="13157"/>
                  <a:pt x="29656" y="13125"/>
                  <a:pt x="29656" y="13125"/>
                </a:cubicBezTo>
                <a:cubicBezTo>
                  <a:pt x="29719" y="13063"/>
                  <a:pt x="29781" y="13157"/>
                  <a:pt x="29813" y="13125"/>
                </a:cubicBezTo>
                <a:cubicBezTo>
                  <a:pt x="29906" y="13094"/>
                  <a:pt x="29875" y="13000"/>
                  <a:pt x="29781" y="13000"/>
                </a:cubicBezTo>
                <a:close/>
                <a:moveTo>
                  <a:pt x="2469" y="12000"/>
                </a:moveTo>
                <a:cubicBezTo>
                  <a:pt x="2406" y="12063"/>
                  <a:pt x="2313" y="12094"/>
                  <a:pt x="2313" y="12282"/>
                </a:cubicBezTo>
                <a:cubicBezTo>
                  <a:pt x="2406" y="12125"/>
                  <a:pt x="2500" y="12219"/>
                  <a:pt x="2531" y="12188"/>
                </a:cubicBezTo>
                <a:cubicBezTo>
                  <a:pt x="2625" y="12094"/>
                  <a:pt x="2469" y="12063"/>
                  <a:pt x="2469" y="12000"/>
                </a:cubicBezTo>
                <a:close/>
                <a:moveTo>
                  <a:pt x="10750" y="16782"/>
                </a:moveTo>
                <a:cubicBezTo>
                  <a:pt x="10594" y="16813"/>
                  <a:pt x="10500" y="16938"/>
                  <a:pt x="10375" y="17000"/>
                </a:cubicBezTo>
                <a:cubicBezTo>
                  <a:pt x="10563" y="17000"/>
                  <a:pt x="10688" y="16938"/>
                  <a:pt x="10750" y="16782"/>
                </a:cubicBezTo>
                <a:close/>
                <a:moveTo>
                  <a:pt x="6625" y="12563"/>
                </a:moveTo>
                <a:cubicBezTo>
                  <a:pt x="6656" y="12532"/>
                  <a:pt x="6656" y="12500"/>
                  <a:pt x="6625" y="12500"/>
                </a:cubicBezTo>
                <a:cubicBezTo>
                  <a:pt x="6594" y="12469"/>
                  <a:pt x="6563" y="12469"/>
                  <a:pt x="6563" y="12469"/>
                </a:cubicBezTo>
                <a:cubicBezTo>
                  <a:pt x="6531" y="12594"/>
                  <a:pt x="6344" y="12625"/>
                  <a:pt x="6406" y="12813"/>
                </a:cubicBezTo>
                <a:cubicBezTo>
                  <a:pt x="6500" y="12719"/>
                  <a:pt x="6563" y="12657"/>
                  <a:pt x="6625" y="12563"/>
                </a:cubicBezTo>
                <a:close/>
                <a:moveTo>
                  <a:pt x="6938" y="15313"/>
                </a:moveTo>
                <a:cubicBezTo>
                  <a:pt x="7125" y="15188"/>
                  <a:pt x="7281" y="15094"/>
                  <a:pt x="7406" y="14969"/>
                </a:cubicBezTo>
                <a:cubicBezTo>
                  <a:pt x="7500" y="14907"/>
                  <a:pt x="7563" y="14875"/>
                  <a:pt x="7625" y="14813"/>
                </a:cubicBezTo>
                <a:cubicBezTo>
                  <a:pt x="7844" y="14657"/>
                  <a:pt x="8031" y="14469"/>
                  <a:pt x="8219" y="14250"/>
                </a:cubicBezTo>
                <a:cubicBezTo>
                  <a:pt x="8219" y="14250"/>
                  <a:pt x="8219" y="14250"/>
                  <a:pt x="8219" y="14250"/>
                </a:cubicBezTo>
                <a:cubicBezTo>
                  <a:pt x="8219" y="14250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50"/>
                </a:cubicBezTo>
                <a:cubicBezTo>
                  <a:pt x="8219" y="14250"/>
                  <a:pt x="8219" y="14250"/>
                  <a:pt x="8219" y="14250"/>
                </a:cubicBezTo>
                <a:cubicBezTo>
                  <a:pt x="7875" y="14407"/>
                  <a:pt x="7625" y="14657"/>
                  <a:pt x="7375" y="14938"/>
                </a:cubicBezTo>
                <a:cubicBezTo>
                  <a:pt x="7188" y="15000"/>
                  <a:pt x="7094" y="15157"/>
                  <a:pt x="6938" y="15313"/>
                </a:cubicBezTo>
                <a:close/>
                <a:moveTo>
                  <a:pt x="28375" y="14625"/>
                </a:moveTo>
                <a:cubicBezTo>
                  <a:pt x="28375" y="14625"/>
                  <a:pt x="28313" y="14657"/>
                  <a:pt x="28375" y="14688"/>
                </a:cubicBezTo>
                <a:cubicBezTo>
                  <a:pt x="28406" y="14688"/>
                  <a:pt x="28438" y="14688"/>
                  <a:pt x="28438" y="14625"/>
                </a:cubicBezTo>
                <a:cubicBezTo>
                  <a:pt x="28438" y="14532"/>
                  <a:pt x="28500" y="14438"/>
                  <a:pt x="28563" y="14375"/>
                </a:cubicBezTo>
                <a:cubicBezTo>
                  <a:pt x="28438" y="14407"/>
                  <a:pt x="28281" y="14407"/>
                  <a:pt x="28375" y="14625"/>
                </a:cubicBezTo>
                <a:close/>
                <a:moveTo>
                  <a:pt x="5594" y="12875"/>
                </a:moveTo>
                <a:cubicBezTo>
                  <a:pt x="5563" y="12875"/>
                  <a:pt x="5531" y="12907"/>
                  <a:pt x="5531" y="12938"/>
                </a:cubicBezTo>
                <a:cubicBezTo>
                  <a:pt x="5531" y="13000"/>
                  <a:pt x="5563" y="13000"/>
                  <a:pt x="5625" y="13000"/>
                </a:cubicBezTo>
                <a:cubicBezTo>
                  <a:pt x="5656" y="13000"/>
                  <a:pt x="5719" y="13000"/>
                  <a:pt x="5719" y="12938"/>
                </a:cubicBezTo>
                <a:cubicBezTo>
                  <a:pt x="5750" y="12844"/>
                  <a:pt x="5813" y="12813"/>
                  <a:pt x="5844" y="12719"/>
                </a:cubicBezTo>
                <a:cubicBezTo>
                  <a:pt x="5688" y="12657"/>
                  <a:pt x="5688" y="12813"/>
                  <a:pt x="5594" y="12875"/>
                </a:cubicBezTo>
                <a:close/>
                <a:moveTo>
                  <a:pt x="7969" y="12844"/>
                </a:moveTo>
                <a:cubicBezTo>
                  <a:pt x="7969" y="12844"/>
                  <a:pt x="7969" y="12844"/>
                  <a:pt x="7969" y="12844"/>
                </a:cubicBezTo>
                <a:cubicBezTo>
                  <a:pt x="7906" y="12813"/>
                  <a:pt x="7875" y="12813"/>
                  <a:pt x="7844" y="12844"/>
                </a:cubicBezTo>
                <a:cubicBezTo>
                  <a:pt x="7781" y="12844"/>
                  <a:pt x="7750" y="12907"/>
                  <a:pt x="7750" y="12969"/>
                </a:cubicBezTo>
                <a:cubicBezTo>
                  <a:pt x="7719" y="13063"/>
                  <a:pt x="7719" y="13125"/>
                  <a:pt x="7656" y="13157"/>
                </a:cubicBezTo>
                <a:cubicBezTo>
                  <a:pt x="7594" y="13157"/>
                  <a:pt x="7500" y="13125"/>
                  <a:pt x="7531" y="13219"/>
                </a:cubicBezTo>
                <a:cubicBezTo>
                  <a:pt x="7563" y="13313"/>
                  <a:pt x="7625" y="13219"/>
                  <a:pt x="7688" y="13219"/>
                </a:cubicBezTo>
                <a:cubicBezTo>
                  <a:pt x="7750" y="13188"/>
                  <a:pt x="7906" y="13250"/>
                  <a:pt x="7781" y="13063"/>
                </a:cubicBezTo>
                <a:cubicBezTo>
                  <a:pt x="7750" y="13032"/>
                  <a:pt x="7781" y="13032"/>
                  <a:pt x="7813" y="13032"/>
                </a:cubicBezTo>
                <a:cubicBezTo>
                  <a:pt x="7844" y="13032"/>
                  <a:pt x="7875" y="13000"/>
                  <a:pt x="7875" y="12969"/>
                </a:cubicBezTo>
                <a:cubicBezTo>
                  <a:pt x="7906" y="12938"/>
                  <a:pt x="7938" y="12875"/>
                  <a:pt x="7969" y="12844"/>
                </a:cubicBezTo>
                <a:close/>
                <a:moveTo>
                  <a:pt x="7969" y="12844"/>
                </a:moveTo>
                <a:cubicBezTo>
                  <a:pt x="7969" y="12844"/>
                  <a:pt x="7969" y="12844"/>
                  <a:pt x="7969" y="12844"/>
                </a:cubicBezTo>
                <a:moveTo>
                  <a:pt x="1125" y="11375"/>
                </a:moveTo>
                <a:cubicBezTo>
                  <a:pt x="1031" y="11500"/>
                  <a:pt x="875" y="11594"/>
                  <a:pt x="813" y="11782"/>
                </a:cubicBezTo>
                <a:cubicBezTo>
                  <a:pt x="844" y="11813"/>
                  <a:pt x="844" y="11813"/>
                  <a:pt x="875" y="11844"/>
                </a:cubicBezTo>
                <a:cubicBezTo>
                  <a:pt x="969" y="11719"/>
                  <a:pt x="1094" y="11594"/>
                  <a:pt x="1188" y="11469"/>
                </a:cubicBezTo>
                <a:cubicBezTo>
                  <a:pt x="1219" y="11438"/>
                  <a:pt x="1219" y="11407"/>
                  <a:pt x="1219" y="11375"/>
                </a:cubicBezTo>
                <a:cubicBezTo>
                  <a:pt x="1188" y="11344"/>
                  <a:pt x="1156" y="11344"/>
                  <a:pt x="1125" y="11375"/>
                </a:cubicBezTo>
                <a:close/>
                <a:moveTo>
                  <a:pt x="1063" y="9844"/>
                </a:moveTo>
                <a:cubicBezTo>
                  <a:pt x="906" y="10000"/>
                  <a:pt x="750" y="10063"/>
                  <a:pt x="656" y="10250"/>
                </a:cubicBezTo>
                <a:cubicBezTo>
                  <a:pt x="875" y="10188"/>
                  <a:pt x="1000" y="10094"/>
                  <a:pt x="1063" y="9844"/>
                </a:cubicBezTo>
                <a:close/>
                <a:moveTo>
                  <a:pt x="6250" y="12469"/>
                </a:moveTo>
                <a:cubicBezTo>
                  <a:pt x="6156" y="12438"/>
                  <a:pt x="6094" y="12500"/>
                  <a:pt x="6000" y="12532"/>
                </a:cubicBezTo>
                <a:cubicBezTo>
                  <a:pt x="5969" y="12532"/>
                  <a:pt x="5906" y="12532"/>
                  <a:pt x="5906" y="12594"/>
                </a:cubicBezTo>
                <a:cubicBezTo>
                  <a:pt x="5906" y="12625"/>
                  <a:pt x="5938" y="12688"/>
                  <a:pt x="5969" y="12719"/>
                </a:cubicBezTo>
                <a:cubicBezTo>
                  <a:pt x="5969" y="12750"/>
                  <a:pt x="6063" y="12719"/>
                  <a:pt x="6094" y="12688"/>
                </a:cubicBezTo>
                <a:cubicBezTo>
                  <a:pt x="6156" y="12625"/>
                  <a:pt x="6250" y="12594"/>
                  <a:pt x="6250" y="12469"/>
                </a:cubicBezTo>
                <a:close/>
                <a:moveTo>
                  <a:pt x="13531" y="16375"/>
                </a:moveTo>
                <a:cubicBezTo>
                  <a:pt x="13438" y="16282"/>
                  <a:pt x="13438" y="16282"/>
                  <a:pt x="13344" y="16407"/>
                </a:cubicBezTo>
                <a:cubicBezTo>
                  <a:pt x="13250" y="16563"/>
                  <a:pt x="13063" y="16625"/>
                  <a:pt x="12938" y="16719"/>
                </a:cubicBezTo>
                <a:cubicBezTo>
                  <a:pt x="13156" y="16688"/>
                  <a:pt x="13344" y="16532"/>
                  <a:pt x="13531" y="16375"/>
                </a:cubicBezTo>
                <a:close/>
                <a:moveTo>
                  <a:pt x="31438" y="10125"/>
                </a:moveTo>
                <a:cubicBezTo>
                  <a:pt x="31313" y="10188"/>
                  <a:pt x="31469" y="10282"/>
                  <a:pt x="31406" y="10344"/>
                </a:cubicBezTo>
                <a:cubicBezTo>
                  <a:pt x="31406" y="10375"/>
                  <a:pt x="31438" y="10407"/>
                  <a:pt x="31469" y="10375"/>
                </a:cubicBezTo>
                <a:cubicBezTo>
                  <a:pt x="31625" y="10344"/>
                  <a:pt x="31688" y="9969"/>
                  <a:pt x="31563" y="9844"/>
                </a:cubicBezTo>
                <a:cubicBezTo>
                  <a:pt x="31531" y="9969"/>
                  <a:pt x="31531" y="10063"/>
                  <a:pt x="31438" y="10125"/>
                </a:cubicBezTo>
                <a:close/>
                <a:moveTo>
                  <a:pt x="469" y="6094"/>
                </a:moveTo>
                <a:cubicBezTo>
                  <a:pt x="563" y="6063"/>
                  <a:pt x="625" y="5938"/>
                  <a:pt x="750" y="5969"/>
                </a:cubicBezTo>
                <a:cubicBezTo>
                  <a:pt x="813" y="6000"/>
                  <a:pt x="906" y="6000"/>
                  <a:pt x="938" y="5907"/>
                </a:cubicBezTo>
                <a:cubicBezTo>
                  <a:pt x="1000" y="5813"/>
                  <a:pt x="813" y="5875"/>
                  <a:pt x="844" y="5782"/>
                </a:cubicBezTo>
                <a:cubicBezTo>
                  <a:pt x="1094" y="5750"/>
                  <a:pt x="1375" y="5719"/>
                  <a:pt x="1594" y="5532"/>
                </a:cubicBezTo>
                <a:cubicBezTo>
                  <a:pt x="1438" y="5657"/>
                  <a:pt x="1375" y="5875"/>
                  <a:pt x="1125" y="5875"/>
                </a:cubicBezTo>
                <a:cubicBezTo>
                  <a:pt x="1094" y="5875"/>
                  <a:pt x="1094" y="5938"/>
                  <a:pt x="1094" y="5969"/>
                </a:cubicBezTo>
                <a:cubicBezTo>
                  <a:pt x="1125" y="6063"/>
                  <a:pt x="1063" y="6094"/>
                  <a:pt x="969" y="6125"/>
                </a:cubicBezTo>
                <a:cubicBezTo>
                  <a:pt x="938" y="6157"/>
                  <a:pt x="875" y="6157"/>
                  <a:pt x="906" y="6219"/>
                </a:cubicBezTo>
                <a:cubicBezTo>
                  <a:pt x="969" y="6313"/>
                  <a:pt x="969" y="6219"/>
                  <a:pt x="1000" y="6219"/>
                </a:cubicBezTo>
                <a:cubicBezTo>
                  <a:pt x="1094" y="6188"/>
                  <a:pt x="1125" y="6125"/>
                  <a:pt x="1219" y="6157"/>
                </a:cubicBezTo>
                <a:cubicBezTo>
                  <a:pt x="1250" y="6157"/>
                  <a:pt x="1156" y="6250"/>
                  <a:pt x="1281" y="6219"/>
                </a:cubicBezTo>
                <a:cubicBezTo>
                  <a:pt x="1313" y="6188"/>
                  <a:pt x="1313" y="6157"/>
                  <a:pt x="1313" y="6094"/>
                </a:cubicBezTo>
                <a:cubicBezTo>
                  <a:pt x="1344" y="6000"/>
                  <a:pt x="1469" y="6000"/>
                  <a:pt x="1563" y="5907"/>
                </a:cubicBezTo>
                <a:cubicBezTo>
                  <a:pt x="1563" y="5875"/>
                  <a:pt x="1531" y="6032"/>
                  <a:pt x="1625" y="5969"/>
                </a:cubicBezTo>
                <a:cubicBezTo>
                  <a:pt x="1719" y="5938"/>
                  <a:pt x="1531" y="5907"/>
                  <a:pt x="1625" y="5844"/>
                </a:cubicBezTo>
                <a:cubicBezTo>
                  <a:pt x="1625" y="5844"/>
                  <a:pt x="1625" y="5813"/>
                  <a:pt x="1656" y="5813"/>
                </a:cubicBezTo>
                <a:cubicBezTo>
                  <a:pt x="1813" y="5750"/>
                  <a:pt x="1906" y="5594"/>
                  <a:pt x="2063" y="5532"/>
                </a:cubicBezTo>
                <a:cubicBezTo>
                  <a:pt x="2031" y="5500"/>
                  <a:pt x="2000" y="5500"/>
                  <a:pt x="1969" y="5469"/>
                </a:cubicBezTo>
                <a:cubicBezTo>
                  <a:pt x="1969" y="5469"/>
                  <a:pt x="1938" y="5469"/>
                  <a:pt x="1906" y="5438"/>
                </a:cubicBezTo>
                <a:cubicBezTo>
                  <a:pt x="1969" y="5438"/>
                  <a:pt x="2031" y="5438"/>
                  <a:pt x="2063" y="5438"/>
                </a:cubicBezTo>
                <a:cubicBezTo>
                  <a:pt x="2219" y="5469"/>
                  <a:pt x="2313" y="5407"/>
                  <a:pt x="2250" y="5282"/>
                </a:cubicBezTo>
                <a:cubicBezTo>
                  <a:pt x="2219" y="5188"/>
                  <a:pt x="2281" y="5188"/>
                  <a:pt x="2313" y="5157"/>
                </a:cubicBezTo>
                <a:cubicBezTo>
                  <a:pt x="2344" y="5032"/>
                  <a:pt x="2563" y="5094"/>
                  <a:pt x="2563" y="4938"/>
                </a:cubicBezTo>
                <a:cubicBezTo>
                  <a:pt x="2719" y="4782"/>
                  <a:pt x="2719" y="4782"/>
                  <a:pt x="2563" y="4657"/>
                </a:cubicBezTo>
                <a:cubicBezTo>
                  <a:pt x="2688" y="4563"/>
                  <a:pt x="2781" y="4438"/>
                  <a:pt x="2938" y="4438"/>
                </a:cubicBezTo>
                <a:cubicBezTo>
                  <a:pt x="3000" y="4438"/>
                  <a:pt x="3063" y="4407"/>
                  <a:pt x="3063" y="4344"/>
                </a:cubicBezTo>
                <a:cubicBezTo>
                  <a:pt x="3063" y="4313"/>
                  <a:pt x="3063" y="4313"/>
                  <a:pt x="3063" y="4313"/>
                </a:cubicBezTo>
                <a:cubicBezTo>
                  <a:pt x="3031" y="4282"/>
                  <a:pt x="2969" y="4344"/>
                  <a:pt x="2938" y="4282"/>
                </a:cubicBezTo>
                <a:cubicBezTo>
                  <a:pt x="3313" y="4125"/>
                  <a:pt x="3469" y="4032"/>
                  <a:pt x="3531" y="3907"/>
                </a:cubicBezTo>
                <a:cubicBezTo>
                  <a:pt x="3531" y="3907"/>
                  <a:pt x="3531" y="3907"/>
                  <a:pt x="3531" y="3907"/>
                </a:cubicBezTo>
                <a:cubicBezTo>
                  <a:pt x="3531" y="3844"/>
                  <a:pt x="3531" y="3813"/>
                  <a:pt x="3563" y="3750"/>
                </a:cubicBezTo>
                <a:cubicBezTo>
                  <a:pt x="3563" y="3719"/>
                  <a:pt x="3563" y="3719"/>
                  <a:pt x="3563" y="3688"/>
                </a:cubicBezTo>
                <a:cubicBezTo>
                  <a:pt x="3406" y="3657"/>
                  <a:pt x="3313" y="3719"/>
                  <a:pt x="3219" y="3844"/>
                </a:cubicBezTo>
                <a:cubicBezTo>
                  <a:pt x="3156" y="3938"/>
                  <a:pt x="3063" y="3969"/>
                  <a:pt x="2938" y="3969"/>
                </a:cubicBezTo>
                <a:cubicBezTo>
                  <a:pt x="2938" y="3938"/>
                  <a:pt x="2844" y="3907"/>
                  <a:pt x="2938" y="3875"/>
                </a:cubicBezTo>
                <a:cubicBezTo>
                  <a:pt x="3000" y="3844"/>
                  <a:pt x="3063" y="3844"/>
                  <a:pt x="3094" y="3813"/>
                </a:cubicBezTo>
                <a:cubicBezTo>
                  <a:pt x="3156" y="3750"/>
                  <a:pt x="3219" y="3688"/>
                  <a:pt x="3156" y="3594"/>
                </a:cubicBezTo>
                <a:cubicBezTo>
                  <a:pt x="3125" y="3532"/>
                  <a:pt x="3063" y="3563"/>
                  <a:pt x="3000" y="3563"/>
                </a:cubicBezTo>
                <a:cubicBezTo>
                  <a:pt x="2844" y="3594"/>
                  <a:pt x="2719" y="3657"/>
                  <a:pt x="2594" y="3750"/>
                </a:cubicBezTo>
                <a:cubicBezTo>
                  <a:pt x="2344" y="3875"/>
                  <a:pt x="2156" y="4063"/>
                  <a:pt x="1938" y="4250"/>
                </a:cubicBezTo>
                <a:cubicBezTo>
                  <a:pt x="1719" y="4407"/>
                  <a:pt x="1625" y="4719"/>
                  <a:pt x="1344" y="4844"/>
                </a:cubicBezTo>
                <a:cubicBezTo>
                  <a:pt x="1313" y="4844"/>
                  <a:pt x="1281" y="4907"/>
                  <a:pt x="1281" y="4907"/>
                </a:cubicBezTo>
                <a:cubicBezTo>
                  <a:pt x="1406" y="5032"/>
                  <a:pt x="1250" y="5094"/>
                  <a:pt x="1188" y="5157"/>
                </a:cubicBezTo>
                <a:cubicBezTo>
                  <a:pt x="1094" y="5375"/>
                  <a:pt x="813" y="5313"/>
                  <a:pt x="719" y="5532"/>
                </a:cubicBezTo>
                <a:cubicBezTo>
                  <a:pt x="656" y="5563"/>
                  <a:pt x="594" y="5625"/>
                  <a:pt x="594" y="5657"/>
                </a:cubicBezTo>
                <a:cubicBezTo>
                  <a:pt x="656" y="5875"/>
                  <a:pt x="438" y="5938"/>
                  <a:pt x="344" y="6063"/>
                </a:cubicBezTo>
                <a:cubicBezTo>
                  <a:pt x="375" y="6125"/>
                  <a:pt x="406" y="6094"/>
                  <a:pt x="469" y="6094"/>
                </a:cubicBezTo>
                <a:close/>
                <a:moveTo>
                  <a:pt x="5563" y="10719"/>
                </a:moveTo>
                <a:cubicBezTo>
                  <a:pt x="5594" y="10750"/>
                  <a:pt x="5656" y="10750"/>
                  <a:pt x="5656" y="10657"/>
                </a:cubicBezTo>
                <a:cubicBezTo>
                  <a:pt x="5656" y="10532"/>
                  <a:pt x="5813" y="10532"/>
                  <a:pt x="5844" y="10563"/>
                </a:cubicBezTo>
                <a:cubicBezTo>
                  <a:pt x="5938" y="10657"/>
                  <a:pt x="5969" y="10563"/>
                  <a:pt x="6031" y="10500"/>
                </a:cubicBezTo>
                <a:cubicBezTo>
                  <a:pt x="6188" y="10407"/>
                  <a:pt x="6125" y="10250"/>
                  <a:pt x="6125" y="10125"/>
                </a:cubicBezTo>
                <a:cubicBezTo>
                  <a:pt x="6031" y="10219"/>
                  <a:pt x="5813" y="10188"/>
                  <a:pt x="5781" y="10344"/>
                </a:cubicBezTo>
                <a:cubicBezTo>
                  <a:pt x="5781" y="10375"/>
                  <a:pt x="5781" y="10375"/>
                  <a:pt x="5750" y="10375"/>
                </a:cubicBezTo>
                <a:cubicBezTo>
                  <a:pt x="5719" y="10375"/>
                  <a:pt x="5688" y="10282"/>
                  <a:pt x="5656" y="10344"/>
                </a:cubicBezTo>
                <a:cubicBezTo>
                  <a:pt x="5656" y="10344"/>
                  <a:pt x="5656" y="10344"/>
                  <a:pt x="5656" y="10375"/>
                </a:cubicBezTo>
                <a:cubicBezTo>
                  <a:pt x="5625" y="10469"/>
                  <a:pt x="5625" y="10532"/>
                  <a:pt x="5531" y="10625"/>
                </a:cubicBezTo>
                <a:cubicBezTo>
                  <a:pt x="5500" y="10657"/>
                  <a:pt x="5500" y="10719"/>
                  <a:pt x="5563" y="10719"/>
                </a:cubicBezTo>
                <a:close/>
                <a:moveTo>
                  <a:pt x="8156" y="13907"/>
                </a:moveTo>
                <a:cubicBezTo>
                  <a:pt x="8375" y="13782"/>
                  <a:pt x="8594" y="13625"/>
                  <a:pt x="8750" y="13375"/>
                </a:cubicBezTo>
                <a:cubicBezTo>
                  <a:pt x="8750" y="13313"/>
                  <a:pt x="8813" y="13313"/>
                  <a:pt x="8781" y="13250"/>
                </a:cubicBezTo>
                <a:cubicBezTo>
                  <a:pt x="8781" y="13219"/>
                  <a:pt x="8750" y="13188"/>
                  <a:pt x="8719" y="13219"/>
                </a:cubicBezTo>
                <a:cubicBezTo>
                  <a:pt x="8656" y="13313"/>
                  <a:pt x="8469" y="13313"/>
                  <a:pt x="8469" y="13407"/>
                </a:cubicBezTo>
                <a:cubicBezTo>
                  <a:pt x="8406" y="13532"/>
                  <a:pt x="8313" y="13594"/>
                  <a:pt x="8219" y="13657"/>
                </a:cubicBezTo>
                <a:cubicBezTo>
                  <a:pt x="8156" y="13688"/>
                  <a:pt x="8094" y="13719"/>
                  <a:pt x="8031" y="13782"/>
                </a:cubicBezTo>
                <a:cubicBezTo>
                  <a:pt x="7938" y="13875"/>
                  <a:pt x="7906" y="13969"/>
                  <a:pt x="7906" y="14125"/>
                </a:cubicBezTo>
                <a:cubicBezTo>
                  <a:pt x="7906" y="14125"/>
                  <a:pt x="7906" y="14125"/>
                  <a:pt x="7906" y="14125"/>
                </a:cubicBezTo>
                <a:cubicBezTo>
                  <a:pt x="7906" y="14125"/>
                  <a:pt x="7906" y="14125"/>
                  <a:pt x="7906" y="14125"/>
                </a:cubicBezTo>
                <a:cubicBezTo>
                  <a:pt x="7906" y="14125"/>
                  <a:pt x="7938" y="14094"/>
                  <a:pt x="7938" y="14094"/>
                </a:cubicBezTo>
                <a:cubicBezTo>
                  <a:pt x="8000" y="14063"/>
                  <a:pt x="8031" y="14063"/>
                  <a:pt x="8063" y="14063"/>
                </a:cubicBezTo>
                <a:cubicBezTo>
                  <a:pt x="8063" y="14063"/>
                  <a:pt x="8063" y="14063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63"/>
                  <a:pt x="8094" y="14063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00" y="13969"/>
                  <a:pt x="8094" y="13938"/>
                  <a:pt x="8156" y="13907"/>
                </a:cubicBezTo>
                <a:close/>
                <a:moveTo>
                  <a:pt x="2125" y="10532"/>
                </a:moveTo>
                <a:cubicBezTo>
                  <a:pt x="2188" y="10563"/>
                  <a:pt x="2188" y="10469"/>
                  <a:pt x="2250" y="10469"/>
                </a:cubicBezTo>
                <a:cubicBezTo>
                  <a:pt x="2281" y="10688"/>
                  <a:pt x="2063" y="10750"/>
                  <a:pt x="2031" y="10938"/>
                </a:cubicBezTo>
                <a:cubicBezTo>
                  <a:pt x="2250" y="10813"/>
                  <a:pt x="2375" y="10563"/>
                  <a:pt x="2594" y="10469"/>
                </a:cubicBezTo>
                <a:cubicBezTo>
                  <a:pt x="2594" y="10438"/>
                  <a:pt x="2625" y="10407"/>
                  <a:pt x="2625" y="10375"/>
                </a:cubicBezTo>
                <a:cubicBezTo>
                  <a:pt x="2594" y="10344"/>
                  <a:pt x="2563" y="10375"/>
                  <a:pt x="2531" y="10375"/>
                </a:cubicBezTo>
                <a:cubicBezTo>
                  <a:pt x="2469" y="10375"/>
                  <a:pt x="2438" y="10438"/>
                  <a:pt x="2375" y="10469"/>
                </a:cubicBezTo>
                <a:cubicBezTo>
                  <a:pt x="2344" y="10500"/>
                  <a:pt x="2313" y="10500"/>
                  <a:pt x="2250" y="10469"/>
                </a:cubicBezTo>
                <a:cubicBezTo>
                  <a:pt x="2313" y="10375"/>
                  <a:pt x="2406" y="10282"/>
                  <a:pt x="2469" y="10188"/>
                </a:cubicBezTo>
                <a:cubicBezTo>
                  <a:pt x="2531" y="10125"/>
                  <a:pt x="2625" y="10032"/>
                  <a:pt x="2688" y="9938"/>
                </a:cubicBezTo>
                <a:cubicBezTo>
                  <a:pt x="2781" y="9844"/>
                  <a:pt x="2750" y="9813"/>
                  <a:pt x="2656" y="9750"/>
                </a:cubicBezTo>
                <a:cubicBezTo>
                  <a:pt x="2656" y="9969"/>
                  <a:pt x="2406" y="9938"/>
                  <a:pt x="2313" y="10094"/>
                </a:cubicBezTo>
                <a:cubicBezTo>
                  <a:pt x="2219" y="10250"/>
                  <a:pt x="2031" y="10375"/>
                  <a:pt x="1906" y="10563"/>
                </a:cubicBezTo>
                <a:cubicBezTo>
                  <a:pt x="1781" y="10719"/>
                  <a:pt x="1625" y="10844"/>
                  <a:pt x="1531" y="11032"/>
                </a:cubicBezTo>
                <a:cubicBezTo>
                  <a:pt x="1719" y="10938"/>
                  <a:pt x="1875" y="10782"/>
                  <a:pt x="1938" y="10625"/>
                </a:cubicBezTo>
                <a:cubicBezTo>
                  <a:pt x="1969" y="10563"/>
                  <a:pt x="2031" y="10500"/>
                  <a:pt x="2125" y="10532"/>
                </a:cubicBezTo>
                <a:close/>
                <a:moveTo>
                  <a:pt x="28281" y="14844"/>
                </a:moveTo>
                <a:cubicBezTo>
                  <a:pt x="28188" y="14813"/>
                  <a:pt x="28188" y="15032"/>
                  <a:pt x="28063" y="14938"/>
                </a:cubicBezTo>
                <a:cubicBezTo>
                  <a:pt x="28031" y="14907"/>
                  <a:pt x="28031" y="14969"/>
                  <a:pt x="28031" y="14969"/>
                </a:cubicBezTo>
                <a:cubicBezTo>
                  <a:pt x="28094" y="15063"/>
                  <a:pt x="28000" y="15125"/>
                  <a:pt x="27969" y="15188"/>
                </a:cubicBezTo>
                <a:cubicBezTo>
                  <a:pt x="27906" y="15250"/>
                  <a:pt x="27844" y="15313"/>
                  <a:pt x="27875" y="15407"/>
                </a:cubicBezTo>
                <a:cubicBezTo>
                  <a:pt x="27938" y="15344"/>
                  <a:pt x="28000" y="15282"/>
                  <a:pt x="28063" y="15219"/>
                </a:cubicBezTo>
                <a:cubicBezTo>
                  <a:pt x="28156" y="15125"/>
                  <a:pt x="28219" y="15000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80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2"/>
            <a:ext cx="7315200" cy="566739"/>
          </a:xfrm>
        </p:spPr>
        <p:txBody>
          <a:bodyPr anchor="b"/>
          <a:lstStyle>
            <a:lvl1pPr algn="l">
              <a:defRPr sz="266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266"/>
            </a:lvl1pPr>
            <a:lvl2pPr marL="609422" indent="0">
              <a:buNone/>
              <a:defRPr sz="3732"/>
            </a:lvl2pPr>
            <a:lvl3pPr marL="1218845" indent="0">
              <a:buNone/>
              <a:defRPr sz="3199"/>
            </a:lvl3pPr>
            <a:lvl4pPr marL="1828267" indent="0">
              <a:buNone/>
              <a:defRPr sz="2666"/>
            </a:lvl4pPr>
            <a:lvl5pPr marL="2437689" indent="0">
              <a:buNone/>
              <a:defRPr sz="2666"/>
            </a:lvl5pPr>
            <a:lvl6pPr marL="3047111" indent="0">
              <a:buNone/>
              <a:defRPr sz="2666"/>
            </a:lvl6pPr>
            <a:lvl7pPr marL="3656534" indent="0">
              <a:buNone/>
              <a:defRPr sz="2666"/>
            </a:lvl7pPr>
            <a:lvl8pPr marL="4265955" indent="0">
              <a:buNone/>
              <a:defRPr sz="2666"/>
            </a:lvl8pPr>
            <a:lvl9pPr marL="4875378" indent="0">
              <a:buNone/>
              <a:defRPr sz="2666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40"/>
            <a:ext cx="7315200" cy="804863"/>
          </a:xfrm>
        </p:spPr>
        <p:txBody>
          <a:bodyPr/>
          <a:lstStyle>
            <a:lvl1pPr marL="0" indent="0">
              <a:buNone/>
              <a:defRPr sz="1866"/>
            </a:lvl1pPr>
            <a:lvl2pPr marL="609422" indent="0">
              <a:buNone/>
              <a:defRPr sz="1600"/>
            </a:lvl2pPr>
            <a:lvl3pPr marL="1218845" indent="0">
              <a:buNone/>
              <a:defRPr sz="1333"/>
            </a:lvl3pPr>
            <a:lvl4pPr marL="1828267" indent="0">
              <a:buNone/>
              <a:defRPr sz="1200"/>
            </a:lvl4pPr>
            <a:lvl5pPr marL="2437689" indent="0">
              <a:buNone/>
              <a:defRPr sz="1200"/>
            </a:lvl5pPr>
            <a:lvl6pPr marL="3047111" indent="0">
              <a:buNone/>
              <a:defRPr sz="1200"/>
            </a:lvl6pPr>
            <a:lvl7pPr marL="3656534" indent="0">
              <a:buNone/>
              <a:defRPr sz="1200"/>
            </a:lvl7pPr>
            <a:lvl8pPr marL="4265955" indent="0">
              <a:buNone/>
              <a:defRPr sz="1200"/>
            </a:lvl8pPr>
            <a:lvl9pPr marL="48753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70590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40">
            <a:extLst>
              <a:ext uri="{FF2B5EF4-FFF2-40B4-BE49-F238E27FC236}">
                <a16:creationId xmlns:a16="http://schemas.microsoft.com/office/drawing/2014/main" id="{13B0F1E0-8E4E-2F40-8AEE-34330694C2F1}"/>
              </a:ext>
            </a:extLst>
          </p:cNvPr>
          <p:cNvSpPr>
            <a:spLocks noGrp="1" noEditPoints="1"/>
          </p:cNvSpPr>
          <p:nvPr>
            <p:ph type="pic" sz="quarter" idx="31"/>
          </p:nvPr>
        </p:nvSpPr>
        <p:spPr bwMode="auto">
          <a:xfrm>
            <a:off x="300110" y="405014"/>
            <a:ext cx="11483781" cy="3650839"/>
          </a:xfrm>
          <a:custGeom>
            <a:avLst/>
            <a:gdLst>
              <a:gd name="T0" fmla="*/ 1166 w 1335"/>
              <a:gd name="T1" fmla="*/ 206 h 634"/>
              <a:gd name="T2" fmla="*/ 1052 w 1335"/>
              <a:gd name="T3" fmla="*/ 216 h 634"/>
              <a:gd name="T4" fmla="*/ 1033 w 1335"/>
              <a:gd name="T5" fmla="*/ 206 h 634"/>
              <a:gd name="T6" fmla="*/ 1105 w 1335"/>
              <a:gd name="T7" fmla="*/ 173 h 634"/>
              <a:gd name="T8" fmla="*/ 1068 w 1335"/>
              <a:gd name="T9" fmla="*/ 179 h 634"/>
              <a:gd name="T10" fmla="*/ 1088 w 1335"/>
              <a:gd name="T11" fmla="*/ 166 h 634"/>
              <a:gd name="T12" fmla="*/ 1145 w 1335"/>
              <a:gd name="T13" fmla="*/ 154 h 634"/>
              <a:gd name="T14" fmla="*/ 1142 w 1335"/>
              <a:gd name="T15" fmla="*/ 174 h 634"/>
              <a:gd name="T16" fmla="*/ 1186 w 1335"/>
              <a:gd name="T17" fmla="*/ 159 h 634"/>
              <a:gd name="T18" fmla="*/ 1248 w 1335"/>
              <a:gd name="T19" fmla="*/ 130 h 634"/>
              <a:gd name="T20" fmla="*/ 1206 w 1335"/>
              <a:gd name="T21" fmla="*/ 73 h 634"/>
              <a:gd name="T22" fmla="*/ 1126 w 1335"/>
              <a:gd name="T23" fmla="*/ 68 h 634"/>
              <a:gd name="T24" fmla="*/ 1075 w 1335"/>
              <a:gd name="T25" fmla="*/ 53 h 634"/>
              <a:gd name="T26" fmla="*/ 1076 w 1335"/>
              <a:gd name="T27" fmla="*/ 20 h 634"/>
              <a:gd name="T28" fmla="*/ 1009 w 1335"/>
              <a:gd name="T29" fmla="*/ 0 h 634"/>
              <a:gd name="T30" fmla="*/ 701 w 1335"/>
              <a:gd name="T31" fmla="*/ 45 h 634"/>
              <a:gd name="T32" fmla="*/ 468 w 1335"/>
              <a:gd name="T33" fmla="*/ 113 h 634"/>
              <a:gd name="T34" fmla="*/ 230 w 1335"/>
              <a:gd name="T35" fmla="*/ 214 h 634"/>
              <a:gd name="T36" fmla="*/ 234 w 1335"/>
              <a:gd name="T37" fmla="*/ 303 h 634"/>
              <a:gd name="T38" fmla="*/ 12 w 1335"/>
              <a:gd name="T39" fmla="*/ 478 h 634"/>
              <a:gd name="T40" fmla="*/ 55 w 1335"/>
              <a:gd name="T41" fmla="*/ 537 h 634"/>
              <a:gd name="T42" fmla="*/ 69 w 1335"/>
              <a:gd name="T43" fmla="*/ 580 h 634"/>
              <a:gd name="T44" fmla="*/ 118 w 1335"/>
              <a:gd name="T45" fmla="*/ 630 h 634"/>
              <a:gd name="T46" fmla="*/ 320 w 1335"/>
              <a:gd name="T47" fmla="*/ 543 h 634"/>
              <a:gd name="T48" fmla="*/ 470 w 1335"/>
              <a:gd name="T49" fmla="*/ 493 h 634"/>
              <a:gd name="T50" fmla="*/ 417 w 1335"/>
              <a:gd name="T51" fmla="*/ 545 h 634"/>
              <a:gd name="T52" fmla="*/ 404 w 1335"/>
              <a:gd name="T53" fmla="*/ 624 h 634"/>
              <a:gd name="T54" fmla="*/ 557 w 1335"/>
              <a:gd name="T55" fmla="*/ 593 h 634"/>
              <a:gd name="T56" fmla="*/ 679 w 1335"/>
              <a:gd name="T57" fmla="*/ 555 h 634"/>
              <a:gd name="T58" fmla="*/ 718 w 1335"/>
              <a:gd name="T59" fmla="*/ 615 h 634"/>
              <a:gd name="T60" fmla="*/ 766 w 1335"/>
              <a:gd name="T61" fmla="*/ 613 h 634"/>
              <a:gd name="T62" fmla="*/ 837 w 1335"/>
              <a:gd name="T63" fmla="*/ 604 h 634"/>
              <a:gd name="T64" fmla="*/ 800 w 1335"/>
              <a:gd name="T65" fmla="*/ 585 h 634"/>
              <a:gd name="T66" fmla="*/ 970 w 1335"/>
              <a:gd name="T67" fmla="*/ 540 h 634"/>
              <a:gd name="T68" fmla="*/ 1092 w 1335"/>
              <a:gd name="T69" fmla="*/ 515 h 634"/>
              <a:gd name="T70" fmla="*/ 1283 w 1335"/>
              <a:gd name="T71" fmla="*/ 477 h 634"/>
              <a:gd name="T72" fmla="*/ 1150 w 1335"/>
              <a:gd name="T73" fmla="*/ 460 h 634"/>
              <a:gd name="T74" fmla="*/ 1019 w 1335"/>
              <a:gd name="T75" fmla="*/ 468 h 634"/>
              <a:gd name="T76" fmla="*/ 1124 w 1335"/>
              <a:gd name="T77" fmla="*/ 443 h 634"/>
              <a:gd name="T78" fmla="*/ 1258 w 1335"/>
              <a:gd name="T79" fmla="*/ 414 h 634"/>
              <a:gd name="T80" fmla="*/ 1221 w 1335"/>
              <a:gd name="T81" fmla="*/ 356 h 634"/>
              <a:gd name="T82" fmla="*/ 939 w 1335"/>
              <a:gd name="T83" fmla="*/ 395 h 634"/>
              <a:gd name="T84" fmla="*/ 831 w 1335"/>
              <a:gd name="T85" fmla="*/ 429 h 634"/>
              <a:gd name="T86" fmla="*/ 709 w 1335"/>
              <a:gd name="T87" fmla="*/ 473 h 634"/>
              <a:gd name="T88" fmla="*/ 671 w 1335"/>
              <a:gd name="T89" fmla="*/ 474 h 634"/>
              <a:gd name="T90" fmla="*/ 775 w 1335"/>
              <a:gd name="T91" fmla="*/ 429 h 634"/>
              <a:gd name="T92" fmla="*/ 841 w 1335"/>
              <a:gd name="T93" fmla="*/ 400 h 634"/>
              <a:gd name="T94" fmla="*/ 910 w 1335"/>
              <a:gd name="T95" fmla="*/ 374 h 634"/>
              <a:gd name="T96" fmla="*/ 975 w 1335"/>
              <a:gd name="T97" fmla="*/ 353 h 634"/>
              <a:gd name="T98" fmla="*/ 1095 w 1335"/>
              <a:gd name="T99" fmla="*/ 315 h 634"/>
              <a:gd name="T100" fmla="*/ 1298 w 1335"/>
              <a:gd name="T101" fmla="*/ 265 h 634"/>
              <a:gd name="T102" fmla="*/ 1332 w 1335"/>
              <a:gd name="T103" fmla="*/ 217 h 634"/>
              <a:gd name="T104" fmla="*/ 469 w 1335"/>
              <a:gd name="T105" fmla="*/ 394 h 634"/>
              <a:gd name="T106" fmla="*/ 590 w 1335"/>
              <a:gd name="T107" fmla="*/ 338 h 634"/>
              <a:gd name="T108" fmla="*/ 690 w 1335"/>
              <a:gd name="T109" fmla="*/ 541 h 634"/>
              <a:gd name="T110" fmla="*/ 660 w 1335"/>
              <a:gd name="T111" fmla="*/ 547 h 634"/>
              <a:gd name="T112" fmla="*/ 643 w 1335"/>
              <a:gd name="T113" fmla="*/ 313 h 634"/>
              <a:gd name="T114" fmla="*/ 717 w 1335"/>
              <a:gd name="T115" fmla="*/ 292 h 634"/>
              <a:gd name="T116" fmla="*/ 767 w 1335"/>
              <a:gd name="T117" fmla="*/ 275 h 634"/>
              <a:gd name="T118" fmla="*/ 1036 w 1335"/>
              <a:gd name="T119" fmla="*/ 126 h 634"/>
              <a:gd name="T120" fmla="*/ 1128 w 1335"/>
              <a:gd name="T121" fmla="*/ 120 h 634"/>
              <a:gd name="T122" fmla="*/ 1051 w 1335"/>
              <a:gd name="T123" fmla="*/ 140 h 634"/>
              <a:gd name="T124" fmla="*/ 946 w 1335"/>
              <a:gd name="T125" fmla="*/ 153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35" h="634">
                <a:moveTo>
                  <a:pt x="1330" y="216"/>
                </a:moveTo>
                <a:lnTo>
                  <a:pt x="1321" y="211"/>
                </a:lnTo>
                <a:lnTo>
                  <a:pt x="1310" y="205"/>
                </a:lnTo>
                <a:lnTo>
                  <a:pt x="1300" y="202"/>
                </a:lnTo>
                <a:lnTo>
                  <a:pt x="1290" y="199"/>
                </a:lnTo>
                <a:lnTo>
                  <a:pt x="1275" y="198"/>
                </a:lnTo>
                <a:lnTo>
                  <a:pt x="1261" y="198"/>
                </a:lnTo>
                <a:lnTo>
                  <a:pt x="1248" y="199"/>
                </a:lnTo>
                <a:lnTo>
                  <a:pt x="1234" y="200"/>
                </a:lnTo>
                <a:lnTo>
                  <a:pt x="1220" y="202"/>
                </a:lnTo>
                <a:lnTo>
                  <a:pt x="1207" y="203"/>
                </a:lnTo>
                <a:lnTo>
                  <a:pt x="1192" y="204"/>
                </a:lnTo>
                <a:lnTo>
                  <a:pt x="1178" y="205"/>
                </a:lnTo>
                <a:lnTo>
                  <a:pt x="1166" y="206"/>
                </a:lnTo>
                <a:lnTo>
                  <a:pt x="1153" y="207"/>
                </a:lnTo>
                <a:lnTo>
                  <a:pt x="1141" y="206"/>
                </a:lnTo>
                <a:lnTo>
                  <a:pt x="1128" y="207"/>
                </a:lnTo>
                <a:lnTo>
                  <a:pt x="1118" y="208"/>
                </a:lnTo>
                <a:lnTo>
                  <a:pt x="1108" y="208"/>
                </a:lnTo>
                <a:lnTo>
                  <a:pt x="1102" y="211"/>
                </a:lnTo>
                <a:lnTo>
                  <a:pt x="1097" y="213"/>
                </a:lnTo>
                <a:lnTo>
                  <a:pt x="1092" y="212"/>
                </a:lnTo>
                <a:lnTo>
                  <a:pt x="1087" y="211"/>
                </a:lnTo>
                <a:lnTo>
                  <a:pt x="1081" y="212"/>
                </a:lnTo>
                <a:lnTo>
                  <a:pt x="1076" y="214"/>
                </a:lnTo>
                <a:lnTo>
                  <a:pt x="1071" y="215"/>
                </a:lnTo>
                <a:lnTo>
                  <a:pt x="1066" y="215"/>
                </a:lnTo>
                <a:lnTo>
                  <a:pt x="1052" y="216"/>
                </a:lnTo>
                <a:lnTo>
                  <a:pt x="1038" y="217"/>
                </a:lnTo>
                <a:lnTo>
                  <a:pt x="1028" y="220"/>
                </a:lnTo>
                <a:lnTo>
                  <a:pt x="1017" y="222"/>
                </a:lnTo>
                <a:lnTo>
                  <a:pt x="1012" y="223"/>
                </a:lnTo>
                <a:lnTo>
                  <a:pt x="1006" y="224"/>
                </a:lnTo>
                <a:lnTo>
                  <a:pt x="1001" y="224"/>
                </a:lnTo>
                <a:lnTo>
                  <a:pt x="995" y="224"/>
                </a:lnTo>
                <a:lnTo>
                  <a:pt x="992" y="222"/>
                </a:lnTo>
                <a:lnTo>
                  <a:pt x="990" y="220"/>
                </a:lnTo>
                <a:lnTo>
                  <a:pt x="993" y="217"/>
                </a:lnTo>
                <a:lnTo>
                  <a:pt x="996" y="215"/>
                </a:lnTo>
                <a:lnTo>
                  <a:pt x="1008" y="212"/>
                </a:lnTo>
                <a:lnTo>
                  <a:pt x="1019" y="209"/>
                </a:lnTo>
                <a:lnTo>
                  <a:pt x="1033" y="206"/>
                </a:lnTo>
                <a:lnTo>
                  <a:pt x="1046" y="203"/>
                </a:lnTo>
                <a:lnTo>
                  <a:pt x="1061" y="198"/>
                </a:lnTo>
                <a:lnTo>
                  <a:pt x="1075" y="195"/>
                </a:lnTo>
                <a:lnTo>
                  <a:pt x="1085" y="194"/>
                </a:lnTo>
                <a:lnTo>
                  <a:pt x="1095" y="192"/>
                </a:lnTo>
                <a:lnTo>
                  <a:pt x="1100" y="191"/>
                </a:lnTo>
                <a:lnTo>
                  <a:pt x="1103" y="188"/>
                </a:lnTo>
                <a:lnTo>
                  <a:pt x="1105" y="187"/>
                </a:lnTo>
                <a:lnTo>
                  <a:pt x="1109" y="186"/>
                </a:lnTo>
                <a:lnTo>
                  <a:pt x="1112" y="186"/>
                </a:lnTo>
                <a:lnTo>
                  <a:pt x="1117" y="184"/>
                </a:lnTo>
                <a:lnTo>
                  <a:pt x="1112" y="180"/>
                </a:lnTo>
                <a:lnTo>
                  <a:pt x="1108" y="175"/>
                </a:lnTo>
                <a:lnTo>
                  <a:pt x="1105" y="173"/>
                </a:lnTo>
                <a:lnTo>
                  <a:pt x="1103" y="172"/>
                </a:lnTo>
                <a:lnTo>
                  <a:pt x="1100" y="171"/>
                </a:lnTo>
                <a:lnTo>
                  <a:pt x="1096" y="172"/>
                </a:lnTo>
                <a:lnTo>
                  <a:pt x="1093" y="173"/>
                </a:lnTo>
                <a:lnTo>
                  <a:pt x="1091" y="175"/>
                </a:lnTo>
                <a:lnTo>
                  <a:pt x="1086" y="176"/>
                </a:lnTo>
                <a:lnTo>
                  <a:pt x="1081" y="178"/>
                </a:lnTo>
                <a:lnTo>
                  <a:pt x="1079" y="180"/>
                </a:lnTo>
                <a:lnTo>
                  <a:pt x="1077" y="182"/>
                </a:lnTo>
                <a:lnTo>
                  <a:pt x="1076" y="186"/>
                </a:lnTo>
                <a:lnTo>
                  <a:pt x="1072" y="190"/>
                </a:lnTo>
                <a:lnTo>
                  <a:pt x="1077" y="184"/>
                </a:lnTo>
                <a:lnTo>
                  <a:pt x="1079" y="179"/>
                </a:lnTo>
                <a:lnTo>
                  <a:pt x="1068" y="179"/>
                </a:lnTo>
                <a:lnTo>
                  <a:pt x="1058" y="178"/>
                </a:lnTo>
                <a:lnTo>
                  <a:pt x="1054" y="178"/>
                </a:lnTo>
                <a:lnTo>
                  <a:pt x="1051" y="176"/>
                </a:lnTo>
                <a:lnTo>
                  <a:pt x="1048" y="175"/>
                </a:lnTo>
                <a:lnTo>
                  <a:pt x="1047" y="175"/>
                </a:lnTo>
                <a:lnTo>
                  <a:pt x="1047" y="173"/>
                </a:lnTo>
                <a:lnTo>
                  <a:pt x="1048" y="172"/>
                </a:lnTo>
                <a:lnTo>
                  <a:pt x="1051" y="171"/>
                </a:lnTo>
                <a:lnTo>
                  <a:pt x="1054" y="172"/>
                </a:lnTo>
                <a:lnTo>
                  <a:pt x="1059" y="171"/>
                </a:lnTo>
                <a:lnTo>
                  <a:pt x="1063" y="169"/>
                </a:lnTo>
                <a:lnTo>
                  <a:pt x="1072" y="167"/>
                </a:lnTo>
                <a:lnTo>
                  <a:pt x="1080" y="166"/>
                </a:lnTo>
                <a:lnTo>
                  <a:pt x="1088" y="166"/>
                </a:lnTo>
                <a:lnTo>
                  <a:pt x="1097" y="165"/>
                </a:lnTo>
                <a:lnTo>
                  <a:pt x="1102" y="163"/>
                </a:lnTo>
                <a:lnTo>
                  <a:pt x="1107" y="161"/>
                </a:lnTo>
                <a:lnTo>
                  <a:pt x="1111" y="161"/>
                </a:lnTo>
                <a:lnTo>
                  <a:pt x="1116" y="161"/>
                </a:lnTo>
                <a:lnTo>
                  <a:pt x="1126" y="161"/>
                </a:lnTo>
                <a:lnTo>
                  <a:pt x="1135" y="158"/>
                </a:lnTo>
                <a:lnTo>
                  <a:pt x="1141" y="157"/>
                </a:lnTo>
                <a:lnTo>
                  <a:pt x="1146" y="154"/>
                </a:lnTo>
                <a:lnTo>
                  <a:pt x="1150" y="151"/>
                </a:lnTo>
                <a:lnTo>
                  <a:pt x="1154" y="150"/>
                </a:lnTo>
                <a:lnTo>
                  <a:pt x="1151" y="151"/>
                </a:lnTo>
                <a:lnTo>
                  <a:pt x="1149" y="153"/>
                </a:lnTo>
                <a:lnTo>
                  <a:pt x="1145" y="154"/>
                </a:lnTo>
                <a:lnTo>
                  <a:pt x="1143" y="156"/>
                </a:lnTo>
                <a:lnTo>
                  <a:pt x="1157" y="157"/>
                </a:lnTo>
                <a:lnTo>
                  <a:pt x="1169" y="157"/>
                </a:lnTo>
                <a:lnTo>
                  <a:pt x="1161" y="161"/>
                </a:lnTo>
                <a:lnTo>
                  <a:pt x="1152" y="166"/>
                </a:lnTo>
                <a:lnTo>
                  <a:pt x="1148" y="167"/>
                </a:lnTo>
                <a:lnTo>
                  <a:pt x="1143" y="169"/>
                </a:lnTo>
                <a:lnTo>
                  <a:pt x="1137" y="169"/>
                </a:lnTo>
                <a:lnTo>
                  <a:pt x="1133" y="169"/>
                </a:lnTo>
                <a:lnTo>
                  <a:pt x="1136" y="170"/>
                </a:lnTo>
                <a:lnTo>
                  <a:pt x="1140" y="171"/>
                </a:lnTo>
                <a:lnTo>
                  <a:pt x="1141" y="172"/>
                </a:lnTo>
                <a:lnTo>
                  <a:pt x="1142" y="172"/>
                </a:lnTo>
                <a:lnTo>
                  <a:pt x="1142" y="174"/>
                </a:lnTo>
                <a:lnTo>
                  <a:pt x="1141" y="176"/>
                </a:lnTo>
                <a:lnTo>
                  <a:pt x="1149" y="176"/>
                </a:lnTo>
                <a:lnTo>
                  <a:pt x="1157" y="178"/>
                </a:lnTo>
                <a:lnTo>
                  <a:pt x="1155" y="174"/>
                </a:lnTo>
                <a:lnTo>
                  <a:pt x="1155" y="172"/>
                </a:lnTo>
                <a:lnTo>
                  <a:pt x="1157" y="171"/>
                </a:lnTo>
                <a:lnTo>
                  <a:pt x="1158" y="170"/>
                </a:lnTo>
                <a:lnTo>
                  <a:pt x="1161" y="169"/>
                </a:lnTo>
                <a:lnTo>
                  <a:pt x="1166" y="167"/>
                </a:lnTo>
                <a:lnTo>
                  <a:pt x="1171" y="164"/>
                </a:lnTo>
                <a:lnTo>
                  <a:pt x="1176" y="162"/>
                </a:lnTo>
                <a:lnTo>
                  <a:pt x="1181" y="159"/>
                </a:lnTo>
                <a:lnTo>
                  <a:pt x="1185" y="159"/>
                </a:lnTo>
                <a:lnTo>
                  <a:pt x="1186" y="159"/>
                </a:lnTo>
                <a:lnTo>
                  <a:pt x="1186" y="159"/>
                </a:lnTo>
                <a:lnTo>
                  <a:pt x="1188" y="159"/>
                </a:lnTo>
                <a:lnTo>
                  <a:pt x="1188" y="158"/>
                </a:lnTo>
                <a:lnTo>
                  <a:pt x="1196" y="157"/>
                </a:lnTo>
                <a:lnTo>
                  <a:pt x="1203" y="157"/>
                </a:lnTo>
                <a:lnTo>
                  <a:pt x="1210" y="156"/>
                </a:lnTo>
                <a:lnTo>
                  <a:pt x="1217" y="154"/>
                </a:lnTo>
                <a:lnTo>
                  <a:pt x="1223" y="149"/>
                </a:lnTo>
                <a:lnTo>
                  <a:pt x="1227" y="146"/>
                </a:lnTo>
                <a:lnTo>
                  <a:pt x="1233" y="142"/>
                </a:lnTo>
                <a:lnTo>
                  <a:pt x="1239" y="140"/>
                </a:lnTo>
                <a:lnTo>
                  <a:pt x="1243" y="138"/>
                </a:lnTo>
                <a:lnTo>
                  <a:pt x="1245" y="133"/>
                </a:lnTo>
                <a:lnTo>
                  <a:pt x="1248" y="130"/>
                </a:lnTo>
                <a:lnTo>
                  <a:pt x="1249" y="124"/>
                </a:lnTo>
                <a:lnTo>
                  <a:pt x="1251" y="114"/>
                </a:lnTo>
                <a:lnTo>
                  <a:pt x="1253" y="105"/>
                </a:lnTo>
                <a:lnTo>
                  <a:pt x="1254" y="101"/>
                </a:lnTo>
                <a:lnTo>
                  <a:pt x="1256" y="98"/>
                </a:lnTo>
                <a:lnTo>
                  <a:pt x="1257" y="93"/>
                </a:lnTo>
                <a:lnTo>
                  <a:pt x="1256" y="90"/>
                </a:lnTo>
                <a:lnTo>
                  <a:pt x="1253" y="88"/>
                </a:lnTo>
                <a:lnTo>
                  <a:pt x="1251" y="86"/>
                </a:lnTo>
                <a:lnTo>
                  <a:pt x="1247" y="84"/>
                </a:lnTo>
                <a:lnTo>
                  <a:pt x="1244" y="83"/>
                </a:lnTo>
                <a:lnTo>
                  <a:pt x="1229" y="79"/>
                </a:lnTo>
                <a:lnTo>
                  <a:pt x="1215" y="74"/>
                </a:lnTo>
                <a:lnTo>
                  <a:pt x="1206" y="73"/>
                </a:lnTo>
                <a:lnTo>
                  <a:pt x="1198" y="73"/>
                </a:lnTo>
                <a:lnTo>
                  <a:pt x="1188" y="73"/>
                </a:lnTo>
                <a:lnTo>
                  <a:pt x="1179" y="74"/>
                </a:lnTo>
                <a:lnTo>
                  <a:pt x="1163" y="73"/>
                </a:lnTo>
                <a:lnTo>
                  <a:pt x="1148" y="73"/>
                </a:lnTo>
                <a:lnTo>
                  <a:pt x="1140" y="73"/>
                </a:lnTo>
                <a:lnTo>
                  <a:pt x="1133" y="73"/>
                </a:lnTo>
                <a:lnTo>
                  <a:pt x="1127" y="72"/>
                </a:lnTo>
                <a:lnTo>
                  <a:pt x="1128" y="72"/>
                </a:lnTo>
                <a:lnTo>
                  <a:pt x="1129" y="73"/>
                </a:lnTo>
                <a:lnTo>
                  <a:pt x="1130" y="73"/>
                </a:lnTo>
                <a:lnTo>
                  <a:pt x="1130" y="72"/>
                </a:lnTo>
                <a:lnTo>
                  <a:pt x="1128" y="71"/>
                </a:lnTo>
                <a:lnTo>
                  <a:pt x="1126" y="68"/>
                </a:lnTo>
                <a:lnTo>
                  <a:pt x="1124" y="67"/>
                </a:lnTo>
                <a:lnTo>
                  <a:pt x="1118" y="67"/>
                </a:lnTo>
                <a:lnTo>
                  <a:pt x="1112" y="67"/>
                </a:lnTo>
                <a:lnTo>
                  <a:pt x="1104" y="67"/>
                </a:lnTo>
                <a:lnTo>
                  <a:pt x="1096" y="67"/>
                </a:lnTo>
                <a:lnTo>
                  <a:pt x="1089" y="67"/>
                </a:lnTo>
                <a:lnTo>
                  <a:pt x="1083" y="67"/>
                </a:lnTo>
                <a:lnTo>
                  <a:pt x="1080" y="66"/>
                </a:lnTo>
                <a:lnTo>
                  <a:pt x="1077" y="65"/>
                </a:lnTo>
                <a:lnTo>
                  <a:pt x="1075" y="63"/>
                </a:lnTo>
                <a:lnTo>
                  <a:pt x="1074" y="59"/>
                </a:lnTo>
                <a:lnTo>
                  <a:pt x="1074" y="57"/>
                </a:lnTo>
                <a:lnTo>
                  <a:pt x="1074" y="55"/>
                </a:lnTo>
                <a:lnTo>
                  <a:pt x="1075" y="53"/>
                </a:lnTo>
                <a:lnTo>
                  <a:pt x="1076" y="51"/>
                </a:lnTo>
                <a:lnTo>
                  <a:pt x="1080" y="50"/>
                </a:lnTo>
                <a:lnTo>
                  <a:pt x="1084" y="48"/>
                </a:lnTo>
                <a:lnTo>
                  <a:pt x="1087" y="47"/>
                </a:lnTo>
                <a:lnTo>
                  <a:pt x="1088" y="46"/>
                </a:lnTo>
                <a:lnTo>
                  <a:pt x="1088" y="43"/>
                </a:lnTo>
                <a:lnTo>
                  <a:pt x="1088" y="41"/>
                </a:lnTo>
                <a:lnTo>
                  <a:pt x="1086" y="38"/>
                </a:lnTo>
                <a:lnTo>
                  <a:pt x="1083" y="34"/>
                </a:lnTo>
                <a:lnTo>
                  <a:pt x="1080" y="32"/>
                </a:lnTo>
                <a:lnTo>
                  <a:pt x="1077" y="30"/>
                </a:lnTo>
                <a:lnTo>
                  <a:pt x="1074" y="28"/>
                </a:lnTo>
                <a:lnTo>
                  <a:pt x="1072" y="24"/>
                </a:lnTo>
                <a:lnTo>
                  <a:pt x="1076" y="20"/>
                </a:lnTo>
                <a:lnTo>
                  <a:pt x="1079" y="15"/>
                </a:lnTo>
                <a:lnTo>
                  <a:pt x="1079" y="14"/>
                </a:lnTo>
                <a:lnTo>
                  <a:pt x="1079" y="13"/>
                </a:lnTo>
                <a:lnTo>
                  <a:pt x="1078" y="12"/>
                </a:lnTo>
                <a:lnTo>
                  <a:pt x="1076" y="10"/>
                </a:lnTo>
                <a:lnTo>
                  <a:pt x="1072" y="9"/>
                </a:lnTo>
                <a:lnTo>
                  <a:pt x="1070" y="8"/>
                </a:lnTo>
                <a:lnTo>
                  <a:pt x="1062" y="6"/>
                </a:lnTo>
                <a:lnTo>
                  <a:pt x="1054" y="4"/>
                </a:lnTo>
                <a:lnTo>
                  <a:pt x="1046" y="1"/>
                </a:lnTo>
                <a:lnTo>
                  <a:pt x="1038" y="1"/>
                </a:lnTo>
                <a:lnTo>
                  <a:pt x="1028" y="0"/>
                </a:lnTo>
                <a:lnTo>
                  <a:pt x="1019" y="0"/>
                </a:lnTo>
                <a:lnTo>
                  <a:pt x="1009" y="0"/>
                </a:lnTo>
                <a:lnTo>
                  <a:pt x="1000" y="0"/>
                </a:lnTo>
                <a:lnTo>
                  <a:pt x="963" y="1"/>
                </a:lnTo>
                <a:lnTo>
                  <a:pt x="927" y="5"/>
                </a:lnTo>
                <a:lnTo>
                  <a:pt x="891" y="8"/>
                </a:lnTo>
                <a:lnTo>
                  <a:pt x="855" y="14"/>
                </a:lnTo>
                <a:lnTo>
                  <a:pt x="838" y="17"/>
                </a:lnTo>
                <a:lnTo>
                  <a:pt x="821" y="21"/>
                </a:lnTo>
                <a:lnTo>
                  <a:pt x="803" y="24"/>
                </a:lnTo>
                <a:lnTo>
                  <a:pt x="786" y="26"/>
                </a:lnTo>
                <a:lnTo>
                  <a:pt x="769" y="30"/>
                </a:lnTo>
                <a:lnTo>
                  <a:pt x="751" y="32"/>
                </a:lnTo>
                <a:lnTo>
                  <a:pt x="734" y="36"/>
                </a:lnTo>
                <a:lnTo>
                  <a:pt x="718" y="40"/>
                </a:lnTo>
                <a:lnTo>
                  <a:pt x="701" y="45"/>
                </a:lnTo>
                <a:lnTo>
                  <a:pt x="685" y="49"/>
                </a:lnTo>
                <a:lnTo>
                  <a:pt x="668" y="54"/>
                </a:lnTo>
                <a:lnTo>
                  <a:pt x="651" y="58"/>
                </a:lnTo>
                <a:lnTo>
                  <a:pt x="634" y="63"/>
                </a:lnTo>
                <a:lnTo>
                  <a:pt x="617" y="67"/>
                </a:lnTo>
                <a:lnTo>
                  <a:pt x="600" y="72"/>
                </a:lnTo>
                <a:lnTo>
                  <a:pt x="583" y="76"/>
                </a:lnTo>
                <a:lnTo>
                  <a:pt x="566" y="81"/>
                </a:lnTo>
                <a:lnTo>
                  <a:pt x="550" y="84"/>
                </a:lnTo>
                <a:lnTo>
                  <a:pt x="533" y="89"/>
                </a:lnTo>
                <a:lnTo>
                  <a:pt x="516" y="95"/>
                </a:lnTo>
                <a:lnTo>
                  <a:pt x="500" y="100"/>
                </a:lnTo>
                <a:lnTo>
                  <a:pt x="484" y="106"/>
                </a:lnTo>
                <a:lnTo>
                  <a:pt x="468" y="113"/>
                </a:lnTo>
                <a:lnTo>
                  <a:pt x="452" y="120"/>
                </a:lnTo>
                <a:lnTo>
                  <a:pt x="421" y="133"/>
                </a:lnTo>
                <a:lnTo>
                  <a:pt x="392" y="147"/>
                </a:lnTo>
                <a:lnTo>
                  <a:pt x="361" y="161"/>
                </a:lnTo>
                <a:lnTo>
                  <a:pt x="330" y="172"/>
                </a:lnTo>
                <a:lnTo>
                  <a:pt x="316" y="176"/>
                </a:lnTo>
                <a:lnTo>
                  <a:pt x="301" y="180"/>
                </a:lnTo>
                <a:lnTo>
                  <a:pt x="286" y="184"/>
                </a:lnTo>
                <a:lnTo>
                  <a:pt x="272" y="191"/>
                </a:lnTo>
                <a:lnTo>
                  <a:pt x="260" y="198"/>
                </a:lnTo>
                <a:lnTo>
                  <a:pt x="247" y="204"/>
                </a:lnTo>
                <a:lnTo>
                  <a:pt x="242" y="207"/>
                </a:lnTo>
                <a:lnTo>
                  <a:pt x="236" y="211"/>
                </a:lnTo>
                <a:lnTo>
                  <a:pt x="230" y="214"/>
                </a:lnTo>
                <a:lnTo>
                  <a:pt x="226" y="219"/>
                </a:lnTo>
                <a:lnTo>
                  <a:pt x="222" y="223"/>
                </a:lnTo>
                <a:lnTo>
                  <a:pt x="220" y="227"/>
                </a:lnTo>
                <a:lnTo>
                  <a:pt x="219" y="231"/>
                </a:lnTo>
                <a:lnTo>
                  <a:pt x="218" y="236"/>
                </a:lnTo>
                <a:lnTo>
                  <a:pt x="217" y="245"/>
                </a:lnTo>
                <a:lnTo>
                  <a:pt x="219" y="255"/>
                </a:lnTo>
                <a:lnTo>
                  <a:pt x="222" y="264"/>
                </a:lnTo>
                <a:lnTo>
                  <a:pt x="227" y="272"/>
                </a:lnTo>
                <a:lnTo>
                  <a:pt x="234" y="281"/>
                </a:lnTo>
                <a:lnTo>
                  <a:pt x="238" y="291"/>
                </a:lnTo>
                <a:lnTo>
                  <a:pt x="238" y="296"/>
                </a:lnTo>
                <a:lnTo>
                  <a:pt x="237" y="299"/>
                </a:lnTo>
                <a:lnTo>
                  <a:pt x="234" y="303"/>
                </a:lnTo>
                <a:lnTo>
                  <a:pt x="230" y="305"/>
                </a:lnTo>
                <a:lnTo>
                  <a:pt x="214" y="315"/>
                </a:lnTo>
                <a:lnTo>
                  <a:pt x="199" y="325"/>
                </a:lnTo>
                <a:lnTo>
                  <a:pt x="186" y="335"/>
                </a:lnTo>
                <a:lnTo>
                  <a:pt x="171" y="345"/>
                </a:lnTo>
                <a:lnTo>
                  <a:pt x="157" y="355"/>
                </a:lnTo>
                <a:lnTo>
                  <a:pt x="143" y="365"/>
                </a:lnTo>
                <a:lnTo>
                  <a:pt x="116" y="386"/>
                </a:lnTo>
                <a:lnTo>
                  <a:pt x="90" y="406"/>
                </a:lnTo>
                <a:lnTo>
                  <a:pt x="64" y="428"/>
                </a:lnTo>
                <a:lnTo>
                  <a:pt x="39" y="449"/>
                </a:lnTo>
                <a:lnTo>
                  <a:pt x="28" y="461"/>
                </a:lnTo>
                <a:lnTo>
                  <a:pt x="16" y="471"/>
                </a:lnTo>
                <a:lnTo>
                  <a:pt x="12" y="478"/>
                </a:lnTo>
                <a:lnTo>
                  <a:pt x="7" y="483"/>
                </a:lnTo>
                <a:lnTo>
                  <a:pt x="4" y="490"/>
                </a:lnTo>
                <a:lnTo>
                  <a:pt x="1" y="498"/>
                </a:lnTo>
                <a:lnTo>
                  <a:pt x="0" y="503"/>
                </a:lnTo>
                <a:lnTo>
                  <a:pt x="0" y="508"/>
                </a:lnTo>
                <a:lnTo>
                  <a:pt x="1" y="514"/>
                </a:lnTo>
                <a:lnTo>
                  <a:pt x="5" y="519"/>
                </a:lnTo>
                <a:lnTo>
                  <a:pt x="11" y="523"/>
                </a:lnTo>
                <a:lnTo>
                  <a:pt x="18" y="528"/>
                </a:lnTo>
                <a:lnTo>
                  <a:pt x="26" y="531"/>
                </a:lnTo>
                <a:lnTo>
                  <a:pt x="33" y="534"/>
                </a:lnTo>
                <a:lnTo>
                  <a:pt x="40" y="536"/>
                </a:lnTo>
                <a:lnTo>
                  <a:pt x="48" y="537"/>
                </a:lnTo>
                <a:lnTo>
                  <a:pt x="55" y="537"/>
                </a:lnTo>
                <a:lnTo>
                  <a:pt x="63" y="536"/>
                </a:lnTo>
                <a:lnTo>
                  <a:pt x="70" y="534"/>
                </a:lnTo>
                <a:lnTo>
                  <a:pt x="78" y="532"/>
                </a:lnTo>
                <a:lnTo>
                  <a:pt x="84" y="534"/>
                </a:lnTo>
                <a:lnTo>
                  <a:pt x="92" y="535"/>
                </a:lnTo>
                <a:lnTo>
                  <a:pt x="95" y="537"/>
                </a:lnTo>
                <a:lnTo>
                  <a:pt x="96" y="538"/>
                </a:lnTo>
                <a:lnTo>
                  <a:pt x="96" y="540"/>
                </a:lnTo>
                <a:lnTo>
                  <a:pt x="95" y="543"/>
                </a:lnTo>
                <a:lnTo>
                  <a:pt x="91" y="546"/>
                </a:lnTo>
                <a:lnTo>
                  <a:pt x="88" y="551"/>
                </a:lnTo>
                <a:lnTo>
                  <a:pt x="80" y="563"/>
                </a:lnTo>
                <a:lnTo>
                  <a:pt x="73" y="574"/>
                </a:lnTo>
                <a:lnTo>
                  <a:pt x="69" y="580"/>
                </a:lnTo>
                <a:lnTo>
                  <a:pt x="64" y="585"/>
                </a:lnTo>
                <a:lnTo>
                  <a:pt x="62" y="590"/>
                </a:lnTo>
                <a:lnTo>
                  <a:pt x="59" y="596"/>
                </a:lnTo>
                <a:lnTo>
                  <a:pt x="58" y="602"/>
                </a:lnTo>
                <a:lnTo>
                  <a:pt x="61" y="607"/>
                </a:lnTo>
                <a:lnTo>
                  <a:pt x="63" y="613"/>
                </a:lnTo>
                <a:lnTo>
                  <a:pt x="69" y="619"/>
                </a:lnTo>
                <a:lnTo>
                  <a:pt x="75" y="622"/>
                </a:lnTo>
                <a:lnTo>
                  <a:pt x="81" y="626"/>
                </a:lnTo>
                <a:lnTo>
                  <a:pt x="88" y="628"/>
                </a:lnTo>
                <a:lnTo>
                  <a:pt x="95" y="630"/>
                </a:lnTo>
                <a:lnTo>
                  <a:pt x="103" y="631"/>
                </a:lnTo>
                <a:lnTo>
                  <a:pt x="110" y="631"/>
                </a:lnTo>
                <a:lnTo>
                  <a:pt x="118" y="630"/>
                </a:lnTo>
                <a:lnTo>
                  <a:pt x="124" y="629"/>
                </a:lnTo>
                <a:lnTo>
                  <a:pt x="139" y="626"/>
                </a:lnTo>
                <a:lnTo>
                  <a:pt x="154" y="620"/>
                </a:lnTo>
                <a:lnTo>
                  <a:pt x="168" y="612"/>
                </a:lnTo>
                <a:lnTo>
                  <a:pt x="181" y="604"/>
                </a:lnTo>
                <a:lnTo>
                  <a:pt x="195" y="596"/>
                </a:lnTo>
                <a:lnTo>
                  <a:pt x="209" y="588"/>
                </a:lnTo>
                <a:lnTo>
                  <a:pt x="223" y="581"/>
                </a:lnTo>
                <a:lnTo>
                  <a:pt x="238" y="573"/>
                </a:lnTo>
                <a:lnTo>
                  <a:pt x="254" y="566"/>
                </a:lnTo>
                <a:lnTo>
                  <a:pt x="270" y="560"/>
                </a:lnTo>
                <a:lnTo>
                  <a:pt x="287" y="554"/>
                </a:lnTo>
                <a:lnTo>
                  <a:pt x="303" y="547"/>
                </a:lnTo>
                <a:lnTo>
                  <a:pt x="320" y="543"/>
                </a:lnTo>
                <a:lnTo>
                  <a:pt x="336" y="538"/>
                </a:lnTo>
                <a:lnTo>
                  <a:pt x="353" y="532"/>
                </a:lnTo>
                <a:lnTo>
                  <a:pt x="369" y="528"/>
                </a:lnTo>
                <a:lnTo>
                  <a:pt x="383" y="520"/>
                </a:lnTo>
                <a:lnTo>
                  <a:pt x="397" y="514"/>
                </a:lnTo>
                <a:lnTo>
                  <a:pt x="413" y="507"/>
                </a:lnTo>
                <a:lnTo>
                  <a:pt x="429" y="502"/>
                </a:lnTo>
                <a:lnTo>
                  <a:pt x="444" y="496"/>
                </a:lnTo>
                <a:lnTo>
                  <a:pt x="459" y="490"/>
                </a:lnTo>
                <a:lnTo>
                  <a:pt x="461" y="489"/>
                </a:lnTo>
                <a:lnTo>
                  <a:pt x="463" y="488"/>
                </a:lnTo>
                <a:lnTo>
                  <a:pt x="466" y="488"/>
                </a:lnTo>
                <a:lnTo>
                  <a:pt x="468" y="489"/>
                </a:lnTo>
                <a:lnTo>
                  <a:pt x="470" y="493"/>
                </a:lnTo>
                <a:lnTo>
                  <a:pt x="469" y="495"/>
                </a:lnTo>
                <a:lnTo>
                  <a:pt x="468" y="497"/>
                </a:lnTo>
                <a:lnTo>
                  <a:pt x="466" y="498"/>
                </a:lnTo>
                <a:lnTo>
                  <a:pt x="456" y="506"/>
                </a:lnTo>
                <a:lnTo>
                  <a:pt x="445" y="514"/>
                </a:lnTo>
                <a:lnTo>
                  <a:pt x="441" y="519"/>
                </a:lnTo>
                <a:lnTo>
                  <a:pt x="436" y="522"/>
                </a:lnTo>
                <a:lnTo>
                  <a:pt x="430" y="526"/>
                </a:lnTo>
                <a:lnTo>
                  <a:pt x="425" y="528"/>
                </a:lnTo>
                <a:lnTo>
                  <a:pt x="426" y="530"/>
                </a:lnTo>
                <a:lnTo>
                  <a:pt x="426" y="534"/>
                </a:lnTo>
                <a:lnTo>
                  <a:pt x="425" y="536"/>
                </a:lnTo>
                <a:lnTo>
                  <a:pt x="423" y="539"/>
                </a:lnTo>
                <a:lnTo>
                  <a:pt x="417" y="545"/>
                </a:lnTo>
                <a:lnTo>
                  <a:pt x="412" y="549"/>
                </a:lnTo>
                <a:lnTo>
                  <a:pt x="410" y="553"/>
                </a:lnTo>
                <a:lnTo>
                  <a:pt x="408" y="557"/>
                </a:lnTo>
                <a:lnTo>
                  <a:pt x="405" y="562"/>
                </a:lnTo>
                <a:lnTo>
                  <a:pt x="404" y="566"/>
                </a:lnTo>
                <a:lnTo>
                  <a:pt x="404" y="572"/>
                </a:lnTo>
                <a:lnTo>
                  <a:pt x="403" y="578"/>
                </a:lnTo>
                <a:lnTo>
                  <a:pt x="401" y="586"/>
                </a:lnTo>
                <a:lnTo>
                  <a:pt x="397" y="594"/>
                </a:lnTo>
                <a:lnTo>
                  <a:pt x="396" y="602"/>
                </a:lnTo>
                <a:lnTo>
                  <a:pt x="396" y="609"/>
                </a:lnTo>
                <a:lnTo>
                  <a:pt x="399" y="615"/>
                </a:lnTo>
                <a:lnTo>
                  <a:pt x="401" y="622"/>
                </a:lnTo>
                <a:lnTo>
                  <a:pt x="404" y="624"/>
                </a:lnTo>
                <a:lnTo>
                  <a:pt x="408" y="627"/>
                </a:lnTo>
                <a:lnTo>
                  <a:pt x="411" y="629"/>
                </a:lnTo>
                <a:lnTo>
                  <a:pt x="416" y="630"/>
                </a:lnTo>
                <a:lnTo>
                  <a:pt x="424" y="632"/>
                </a:lnTo>
                <a:lnTo>
                  <a:pt x="432" y="634"/>
                </a:lnTo>
                <a:lnTo>
                  <a:pt x="442" y="634"/>
                </a:lnTo>
                <a:lnTo>
                  <a:pt x="451" y="631"/>
                </a:lnTo>
                <a:lnTo>
                  <a:pt x="460" y="629"/>
                </a:lnTo>
                <a:lnTo>
                  <a:pt x="469" y="626"/>
                </a:lnTo>
                <a:lnTo>
                  <a:pt x="489" y="618"/>
                </a:lnTo>
                <a:lnTo>
                  <a:pt x="509" y="610"/>
                </a:lnTo>
                <a:lnTo>
                  <a:pt x="528" y="603"/>
                </a:lnTo>
                <a:lnTo>
                  <a:pt x="548" y="596"/>
                </a:lnTo>
                <a:lnTo>
                  <a:pt x="557" y="593"/>
                </a:lnTo>
                <a:lnTo>
                  <a:pt x="567" y="590"/>
                </a:lnTo>
                <a:lnTo>
                  <a:pt x="576" y="588"/>
                </a:lnTo>
                <a:lnTo>
                  <a:pt x="586" y="586"/>
                </a:lnTo>
                <a:lnTo>
                  <a:pt x="596" y="585"/>
                </a:lnTo>
                <a:lnTo>
                  <a:pt x="605" y="584"/>
                </a:lnTo>
                <a:lnTo>
                  <a:pt x="614" y="581"/>
                </a:lnTo>
                <a:lnTo>
                  <a:pt x="623" y="579"/>
                </a:lnTo>
                <a:lnTo>
                  <a:pt x="632" y="577"/>
                </a:lnTo>
                <a:lnTo>
                  <a:pt x="641" y="573"/>
                </a:lnTo>
                <a:lnTo>
                  <a:pt x="650" y="570"/>
                </a:lnTo>
                <a:lnTo>
                  <a:pt x="659" y="565"/>
                </a:lnTo>
                <a:lnTo>
                  <a:pt x="665" y="562"/>
                </a:lnTo>
                <a:lnTo>
                  <a:pt x="672" y="559"/>
                </a:lnTo>
                <a:lnTo>
                  <a:pt x="679" y="555"/>
                </a:lnTo>
                <a:lnTo>
                  <a:pt x="685" y="554"/>
                </a:lnTo>
                <a:lnTo>
                  <a:pt x="689" y="555"/>
                </a:lnTo>
                <a:lnTo>
                  <a:pt x="690" y="556"/>
                </a:lnTo>
                <a:lnTo>
                  <a:pt x="691" y="559"/>
                </a:lnTo>
                <a:lnTo>
                  <a:pt x="692" y="562"/>
                </a:lnTo>
                <a:lnTo>
                  <a:pt x="691" y="568"/>
                </a:lnTo>
                <a:lnTo>
                  <a:pt x="692" y="573"/>
                </a:lnTo>
                <a:lnTo>
                  <a:pt x="693" y="580"/>
                </a:lnTo>
                <a:lnTo>
                  <a:pt x="697" y="587"/>
                </a:lnTo>
                <a:lnTo>
                  <a:pt x="700" y="594"/>
                </a:lnTo>
                <a:lnTo>
                  <a:pt x="705" y="599"/>
                </a:lnTo>
                <a:lnTo>
                  <a:pt x="709" y="605"/>
                </a:lnTo>
                <a:lnTo>
                  <a:pt x="714" y="610"/>
                </a:lnTo>
                <a:lnTo>
                  <a:pt x="718" y="615"/>
                </a:lnTo>
                <a:lnTo>
                  <a:pt x="723" y="621"/>
                </a:lnTo>
                <a:lnTo>
                  <a:pt x="728" y="623"/>
                </a:lnTo>
                <a:lnTo>
                  <a:pt x="733" y="622"/>
                </a:lnTo>
                <a:lnTo>
                  <a:pt x="737" y="620"/>
                </a:lnTo>
                <a:lnTo>
                  <a:pt x="741" y="615"/>
                </a:lnTo>
                <a:lnTo>
                  <a:pt x="747" y="611"/>
                </a:lnTo>
                <a:lnTo>
                  <a:pt x="751" y="606"/>
                </a:lnTo>
                <a:lnTo>
                  <a:pt x="754" y="604"/>
                </a:lnTo>
                <a:lnTo>
                  <a:pt x="756" y="603"/>
                </a:lnTo>
                <a:lnTo>
                  <a:pt x="758" y="603"/>
                </a:lnTo>
                <a:lnTo>
                  <a:pt x="762" y="604"/>
                </a:lnTo>
                <a:lnTo>
                  <a:pt x="765" y="607"/>
                </a:lnTo>
                <a:lnTo>
                  <a:pt x="766" y="612"/>
                </a:lnTo>
                <a:lnTo>
                  <a:pt x="766" y="613"/>
                </a:lnTo>
                <a:lnTo>
                  <a:pt x="767" y="614"/>
                </a:lnTo>
                <a:lnTo>
                  <a:pt x="770" y="615"/>
                </a:lnTo>
                <a:lnTo>
                  <a:pt x="773" y="615"/>
                </a:lnTo>
                <a:lnTo>
                  <a:pt x="780" y="617"/>
                </a:lnTo>
                <a:lnTo>
                  <a:pt x="788" y="615"/>
                </a:lnTo>
                <a:lnTo>
                  <a:pt x="797" y="614"/>
                </a:lnTo>
                <a:lnTo>
                  <a:pt x="806" y="613"/>
                </a:lnTo>
                <a:lnTo>
                  <a:pt x="816" y="612"/>
                </a:lnTo>
                <a:lnTo>
                  <a:pt x="825" y="611"/>
                </a:lnTo>
                <a:lnTo>
                  <a:pt x="830" y="610"/>
                </a:lnTo>
                <a:lnTo>
                  <a:pt x="835" y="607"/>
                </a:lnTo>
                <a:lnTo>
                  <a:pt x="838" y="605"/>
                </a:lnTo>
                <a:lnTo>
                  <a:pt x="842" y="603"/>
                </a:lnTo>
                <a:lnTo>
                  <a:pt x="837" y="604"/>
                </a:lnTo>
                <a:lnTo>
                  <a:pt x="831" y="605"/>
                </a:lnTo>
                <a:lnTo>
                  <a:pt x="825" y="605"/>
                </a:lnTo>
                <a:lnTo>
                  <a:pt x="820" y="605"/>
                </a:lnTo>
                <a:lnTo>
                  <a:pt x="807" y="604"/>
                </a:lnTo>
                <a:lnTo>
                  <a:pt x="796" y="602"/>
                </a:lnTo>
                <a:lnTo>
                  <a:pt x="786" y="602"/>
                </a:lnTo>
                <a:lnTo>
                  <a:pt x="775" y="601"/>
                </a:lnTo>
                <a:lnTo>
                  <a:pt x="772" y="598"/>
                </a:lnTo>
                <a:lnTo>
                  <a:pt x="771" y="596"/>
                </a:lnTo>
                <a:lnTo>
                  <a:pt x="772" y="594"/>
                </a:lnTo>
                <a:lnTo>
                  <a:pt x="774" y="593"/>
                </a:lnTo>
                <a:lnTo>
                  <a:pt x="781" y="589"/>
                </a:lnTo>
                <a:lnTo>
                  <a:pt x="789" y="587"/>
                </a:lnTo>
                <a:lnTo>
                  <a:pt x="800" y="585"/>
                </a:lnTo>
                <a:lnTo>
                  <a:pt x="811" y="581"/>
                </a:lnTo>
                <a:lnTo>
                  <a:pt x="823" y="577"/>
                </a:lnTo>
                <a:lnTo>
                  <a:pt x="836" y="573"/>
                </a:lnTo>
                <a:lnTo>
                  <a:pt x="848" y="570"/>
                </a:lnTo>
                <a:lnTo>
                  <a:pt x="861" y="566"/>
                </a:lnTo>
                <a:lnTo>
                  <a:pt x="885" y="562"/>
                </a:lnTo>
                <a:lnTo>
                  <a:pt x="910" y="559"/>
                </a:lnTo>
                <a:lnTo>
                  <a:pt x="921" y="556"/>
                </a:lnTo>
                <a:lnTo>
                  <a:pt x="934" y="553"/>
                </a:lnTo>
                <a:lnTo>
                  <a:pt x="945" y="548"/>
                </a:lnTo>
                <a:lnTo>
                  <a:pt x="956" y="544"/>
                </a:lnTo>
                <a:lnTo>
                  <a:pt x="961" y="543"/>
                </a:lnTo>
                <a:lnTo>
                  <a:pt x="965" y="540"/>
                </a:lnTo>
                <a:lnTo>
                  <a:pt x="970" y="540"/>
                </a:lnTo>
                <a:lnTo>
                  <a:pt x="975" y="541"/>
                </a:lnTo>
                <a:lnTo>
                  <a:pt x="980" y="543"/>
                </a:lnTo>
                <a:lnTo>
                  <a:pt x="986" y="544"/>
                </a:lnTo>
                <a:lnTo>
                  <a:pt x="990" y="544"/>
                </a:lnTo>
                <a:lnTo>
                  <a:pt x="996" y="543"/>
                </a:lnTo>
                <a:lnTo>
                  <a:pt x="1006" y="538"/>
                </a:lnTo>
                <a:lnTo>
                  <a:pt x="1014" y="532"/>
                </a:lnTo>
                <a:lnTo>
                  <a:pt x="1023" y="527"/>
                </a:lnTo>
                <a:lnTo>
                  <a:pt x="1034" y="522"/>
                </a:lnTo>
                <a:lnTo>
                  <a:pt x="1045" y="520"/>
                </a:lnTo>
                <a:lnTo>
                  <a:pt x="1056" y="519"/>
                </a:lnTo>
                <a:lnTo>
                  <a:pt x="1068" y="518"/>
                </a:lnTo>
                <a:lnTo>
                  <a:pt x="1079" y="518"/>
                </a:lnTo>
                <a:lnTo>
                  <a:pt x="1092" y="515"/>
                </a:lnTo>
                <a:lnTo>
                  <a:pt x="1104" y="514"/>
                </a:lnTo>
                <a:lnTo>
                  <a:pt x="1116" y="511"/>
                </a:lnTo>
                <a:lnTo>
                  <a:pt x="1128" y="508"/>
                </a:lnTo>
                <a:lnTo>
                  <a:pt x="1153" y="502"/>
                </a:lnTo>
                <a:lnTo>
                  <a:pt x="1178" y="496"/>
                </a:lnTo>
                <a:lnTo>
                  <a:pt x="1203" y="490"/>
                </a:lnTo>
                <a:lnTo>
                  <a:pt x="1228" y="486"/>
                </a:lnTo>
                <a:lnTo>
                  <a:pt x="1240" y="483"/>
                </a:lnTo>
                <a:lnTo>
                  <a:pt x="1251" y="481"/>
                </a:lnTo>
                <a:lnTo>
                  <a:pt x="1264" y="480"/>
                </a:lnTo>
                <a:lnTo>
                  <a:pt x="1275" y="479"/>
                </a:lnTo>
                <a:lnTo>
                  <a:pt x="1277" y="479"/>
                </a:lnTo>
                <a:lnTo>
                  <a:pt x="1281" y="478"/>
                </a:lnTo>
                <a:lnTo>
                  <a:pt x="1283" y="477"/>
                </a:lnTo>
                <a:lnTo>
                  <a:pt x="1284" y="474"/>
                </a:lnTo>
                <a:lnTo>
                  <a:pt x="1283" y="471"/>
                </a:lnTo>
                <a:lnTo>
                  <a:pt x="1281" y="469"/>
                </a:lnTo>
                <a:lnTo>
                  <a:pt x="1277" y="468"/>
                </a:lnTo>
                <a:lnTo>
                  <a:pt x="1274" y="466"/>
                </a:lnTo>
                <a:lnTo>
                  <a:pt x="1265" y="464"/>
                </a:lnTo>
                <a:lnTo>
                  <a:pt x="1256" y="463"/>
                </a:lnTo>
                <a:lnTo>
                  <a:pt x="1241" y="462"/>
                </a:lnTo>
                <a:lnTo>
                  <a:pt x="1227" y="461"/>
                </a:lnTo>
                <a:lnTo>
                  <a:pt x="1215" y="460"/>
                </a:lnTo>
                <a:lnTo>
                  <a:pt x="1202" y="460"/>
                </a:lnTo>
                <a:lnTo>
                  <a:pt x="1190" y="458"/>
                </a:lnTo>
                <a:lnTo>
                  <a:pt x="1177" y="458"/>
                </a:lnTo>
                <a:lnTo>
                  <a:pt x="1150" y="460"/>
                </a:lnTo>
                <a:lnTo>
                  <a:pt x="1124" y="462"/>
                </a:lnTo>
                <a:lnTo>
                  <a:pt x="1097" y="464"/>
                </a:lnTo>
                <a:lnTo>
                  <a:pt x="1071" y="468"/>
                </a:lnTo>
                <a:lnTo>
                  <a:pt x="1059" y="470"/>
                </a:lnTo>
                <a:lnTo>
                  <a:pt x="1046" y="471"/>
                </a:lnTo>
                <a:lnTo>
                  <a:pt x="1041" y="471"/>
                </a:lnTo>
                <a:lnTo>
                  <a:pt x="1036" y="471"/>
                </a:lnTo>
                <a:lnTo>
                  <a:pt x="1031" y="473"/>
                </a:lnTo>
                <a:lnTo>
                  <a:pt x="1026" y="474"/>
                </a:lnTo>
                <a:lnTo>
                  <a:pt x="1021" y="474"/>
                </a:lnTo>
                <a:lnTo>
                  <a:pt x="1019" y="472"/>
                </a:lnTo>
                <a:lnTo>
                  <a:pt x="1019" y="471"/>
                </a:lnTo>
                <a:lnTo>
                  <a:pt x="1019" y="470"/>
                </a:lnTo>
                <a:lnTo>
                  <a:pt x="1019" y="468"/>
                </a:lnTo>
                <a:lnTo>
                  <a:pt x="1021" y="466"/>
                </a:lnTo>
                <a:lnTo>
                  <a:pt x="1030" y="464"/>
                </a:lnTo>
                <a:lnTo>
                  <a:pt x="1039" y="463"/>
                </a:lnTo>
                <a:lnTo>
                  <a:pt x="1042" y="462"/>
                </a:lnTo>
                <a:lnTo>
                  <a:pt x="1044" y="461"/>
                </a:lnTo>
                <a:lnTo>
                  <a:pt x="1047" y="461"/>
                </a:lnTo>
                <a:lnTo>
                  <a:pt x="1050" y="460"/>
                </a:lnTo>
                <a:lnTo>
                  <a:pt x="1055" y="460"/>
                </a:lnTo>
                <a:lnTo>
                  <a:pt x="1061" y="458"/>
                </a:lnTo>
                <a:lnTo>
                  <a:pt x="1075" y="456"/>
                </a:lnTo>
                <a:lnTo>
                  <a:pt x="1087" y="453"/>
                </a:lnTo>
                <a:lnTo>
                  <a:pt x="1099" y="449"/>
                </a:lnTo>
                <a:lnTo>
                  <a:pt x="1111" y="446"/>
                </a:lnTo>
                <a:lnTo>
                  <a:pt x="1124" y="443"/>
                </a:lnTo>
                <a:lnTo>
                  <a:pt x="1136" y="439"/>
                </a:lnTo>
                <a:lnTo>
                  <a:pt x="1149" y="438"/>
                </a:lnTo>
                <a:lnTo>
                  <a:pt x="1161" y="436"/>
                </a:lnTo>
                <a:lnTo>
                  <a:pt x="1174" y="433"/>
                </a:lnTo>
                <a:lnTo>
                  <a:pt x="1186" y="431"/>
                </a:lnTo>
                <a:lnTo>
                  <a:pt x="1196" y="428"/>
                </a:lnTo>
                <a:lnTo>
                  <a:pt x="1207" y="424"/>
                </a:lnTo>
                <a:lnTo>
                  <a:pt x="1217" y="423"/>
                </a:lnTo>
                <a:lnTo>
                  <a:pt x="1227" y="423"/>
                </a:lnTo>
                <a:lnTo>
                  <a:pt x="1237" y="423"/>
                </a:lnTo>
                <a:lnTo>
                  <a:pt x="1247" y="421"/>
                </a:lnTo>
                <a:lnTo>
                  <a:pt x="1251" y="420"/>
                </a:lnTo>
                <a:lnTo>
                  <a:pt x="1254" y="418"/>
                </a:lnTo>
                <a:lnTo>
                  <a:pt x="1258" y="414"/>
                </a:lnTo>
                <a:lnTo>
                  <a:pt x="1262" y="411"/>
                </a:lnTo>
                <a:lnTo>
                  <a:pt x="1269" y="404"/>
                </a:lnTo>
                <a:lnTo>
                  <a:pt x="1277" y="397"/>
                </a:lnTo>
                <a:lnTo>
                  <a:pt x="1284" y="389"/>
                </a:lnTo>
                <a:lnTo>
                  <a:pt x="1290" y="381"/>
                </a:lnTo>
                <a:lnTo>
                  <a:pt x="1290" y="377"/>
                </a:lnTo>
                <a:lnTo>
                  <a:pt x="1290" y="373"/>
                </a:lnTo>
                <a:lnTo>
                  <a:pt x="1287" y="371"/>
                </a:lnTo>
                <a:lnTo>
                  <a:pt x="1283" y="369"/>
                </a:lnTo>
                <a:lnTo>
                  <a:pt x="1272" y="364"/>
                </a:lnTo>
                <a:lnTo>
                  <a:pt x="1260" y="360"/>
                </a:lnTo>
                <a:lnTo>
                  <a:pt x="1248" y="357"/>
                </a:lnTo>
                <a:lnTo>
                  <a:pt x="1234" y="356"/>
                </a:lnTo>
                <a:lnTo>
                  <a:pt x="1221" y="356"/>
                </a:lnTo>
                <a:lnTo>
                  <a:pt x="1208" y="357"/>
                </a:lnTo>
                <a:lnTo>
                  <a:pt x="1182" y="361"/>
                </a:lnTo>
                <a:lnTo>
                  <a:pt x="1155" y="363"/>
                </a:lnTo>
                <a:lnTo>
                  <a:pt x="1129" y="365"/>
                </a:lnTo>
                <a:lnTo>
                  <a:pt x="1103" y="369"/>
                </a:lnTo>
                <a:lnTo>
                  <a:pt x="1077" y="373"/>
                </a:lnTo>
                <a:lnTo>
                  <a:pt x="1052" y="378"/>
                </a:lnTo>
                <a:lnTo>
                  <a:pt x="1027" y="382"/>
                </a:lnTo>
                <a:lnTo>
                  <a:pt x="1001" y="387"/>
                </a:lnTo>
                <a:lnTo>
                  <a:pt x="988" y="389"/>
                </a:lnTo>
                <a:lnTo>
                  <a:pt x="976" y="391"/>
                </a:lnTo>
                <a:lnTo>
                  <a:pt x="963" y="393"/>
                </a:lnTo>
                <a:lnTo>
                  <a:pt x="949" y="394"/>
                </a:lnTo>
                <a:lnTo>
                  <a:pt x="939" y="395"/>
                </a:lnTo>
                <a:lnTo>
                  <a:pt x="930" y="397"/>
                </a:lnTo>
                <a:lnTo>
                  <a:pt x="921" y="403"/>
                </a:lnTo>
                <a:lnTo>
                  <a:pt x="912" y="408"/>
                </a:lnTo>
                <a:lnTo>
                  <a:pt x="903" y="411"/>
                </a:lnTo>
                <a:lnTo>
                  <a:pt x="894" y="413"/>
                </a:lnTo>
                <a:lnTo>
                  <a:pt x="885" y="414"/>
                </a:lnTo>
                <a:lnTo>
                  <a:pt x="875" y="416"/>
                </a:lnTo>
                <a:lnTo>
                  <a:pt x="866" y="419"/>
                </a:lnTo>
                <a:lnTo>
                  <a:pt x="858" y="423"/>
                </a:lnTo>
                <a:lnTo>
                  <a:pt x="854" y="425"/>
                </a:lnTo>
                <a:lnTo>
                  <a:pt x="850" y="428"/>
                </a:lnTo>
                <a:lnTo>
                  <a:pt x="846" y="428"/>
                </a:lnTo>
                <a:lnTo>
                  <a:pt x="840" y="428"/>
                </a:lnTo>
                <a:lnTo>
                  <a:pt x="831" y="429"/>
                </a:lnTo>
                <a:lnTo>
                  <a:pt x="822" y="432"/>
                </a:lnTo>
                <a:lnTo>
                  <a:pt x="812" y="437"/>
                </a:lnTo>
                <a:lnTo>
                  <a:pt x="802" y="440"/>
                </a:lnTo>
                <a:lnTo>
                  <a:pt x="790" y="444"/>
                </a:lnTo>
                <a:lnTo>
                  <a:pt x="779" y="447"/>
                </a:lnTo>
                <a:lnTo>
                  <a:pt x="767" y="452"/>
                </a:lnTo>
                <a:lnTo>
                  <a:pt x="756" y="455"/>
                </a:lnTo>
                <a:lnTo>
                  <a:pt x="745" y="460"/>
                </a:lnTo>
                <a:lnTo>
                  <a:pt x="734" y="464"/>
                </a:lnTo>
                <a:lnTo>
                  <a:pt x="729" y="466"/>
                </a:lnTo>
                <a:lnTo>
                  <a:pt x="724" y="469"/>
                </a:lnTo>
                <a:lnTo>
                  <a:pt x="718" y="471"/>
                </a:lnTo>
                <a:lnTo>
                  <a:pt x="713" y="472"/>
                </a:lnTo>
                <a:lnTo>
                  <a:pt x="709" y="473"/>
                </a:lnTo>
                <a:lnTo>
                  <a:pt x="705" y="474"/>
                </a:lnTo>
                <a:lnTo>
                  <a:pt x="702" y="476"/>
                </a:lnTo>
                <a:lnTo>
                  <a:pt x="700" y="477"/>
                </a:lnTo>
                <a:lnTo>
                  <a:pt x="697" y="479"/>
                </a:lnTo>
                <a:lnTo>
                  <a:pt x="693" y="480"/>
                </a:lnTo>
                <a:lnTo>
                  <a:pt x="688" y="482"/>
                </a:lnTo>
                <a:lnTo>
                  <a:pt x="683" y="483"/>
                </a:lnTo>
                <a:lnTo>
                  <a:pt x="673" y="487"/>
                </a:lnTo>
                <a:lnTo>
                  <a:pt x="664" y="490"/>
                </a:lnTo>
                <a:lnTo>
                  <a:pt x="654" y="494"/>
                </a:lnTo>
                <a:lnTo>
                  <a:pt x="643" y="495"/>
                </a:lnTo>
                <a:lnTo>
                  <a:pt x="652" y="487"/>
                </a:lnTo>
                <a:lnTo>
                  <a:pt x="662" y="480"/>
                </a:lnTo>
                <a:lnTo>
                  <a:pt x="671" y="474"/>
                </a:lnTo>
                <a:lnTo>
                  <a:pt x="681" y="469"/>
                </a:lnTo>
                <a:lnTo>
                  <a:pt x="690" y="464"/>
                </a:lnTo>
                <a:lnTo>
                  <a:pt x="700" y="461"/>
                </a:lnTo>
                <a:lnTo>
                  <a:pt x="710" y="457"/>
                </a:lnTo>
                <a:lnTo>
                  <a:pt x="720" y="453"/>
                </a:lnTo>
                <a:lnTo>
                  <a:pt x="728" y="449"/>
                </a:lnTo>
                <a:lnTo>
                  <a:pt x="736" y="446"/>
                </a:lnTo>
                <a:lnTo>
                  <a:pt x="743" y="444"/>
                </a:lnTo>
                <a:lnTo>
                  <a:pt x="751" y="441"/>
                </a:lnTo>
                <a:lnTo>
                  <a:pt x="758" y="437"/>
                </a:lnTo>
                <a:lnTo>
                  <a:pt x="765" y="432"/>
                </a:lnTo>
                <a:lnTo>
                  <a:pt x="770" y="432"/>
                </a:lnTo>
                <a:lnTo>
                  <a:pt x="773" y="431"/>
                </a:lnTo>
                <a:lnTo>
                  <a:pt x="775" y="429"/>
                </a:lnTo>
                <a:lnTo>
                  <a:pt x="776" y="427"/>
                </a:lnTo>
                <a:lnTo>
                  <a:pt x="783" y="423"/>
                </a:lnTo>
                <a:lnTo>
                  <a:pt x="790" y="422"/>
                </a:lnTo>
                <a:lnTo>
                  <a:pt x="794" y="420"/>
                </a:lnTo>
                <a:lnTo>
                  <a:pt x="798" y="418"/>
                </a:lnTo>
                <a:lnTo>
                  <a:pt x="805" y="415"/>
                </a:lnTo>
                <a:lnTo>
                  <a:pt x="812" y="413"/>
                </a:lnTo>
                <a:lnTo>
                  <a:pt x="815" y="413"/>
                </a:lnTo>
                <a:lnTo>
                  <a:pt x="820" y="412"/>
                </a:lnTo>
                <a:lnTo>
                  <a:pt x="822" y="410"/>
                </a:lnTo>
                <a:lnTo>
                  <a:pt x="823" y="407"/>
                </a:lnTo>
                <a:lnTo>
                  <a:pt x="830" y="404"/>
                </a:lnTo>
                <a:lnTo>
                  <a:pt x="838" y="403"/>
                </a:lnTo>
                <a:lnTo>
                  <a:pt x="841" y="400"/>
                </a:lnTo>
                <a:lnTo>
                  <a:pt x="845" y="398"/>
                </a:lnTo>
                <a:lnTo>
                  <a:pt x="848" y="398"/>
                </a:lnTo>
                <a:lnTo>
                  <a:pt x="850" y="397"/>
                </a:lnTo>
                <a:lnTo>
                  <a:pt x="852" y="396"/>
                </a:lnTo>
                <a:lnTo>
                  <a:pt x="854" y="395"/>
                </a:lnTo>
                <a:lnTo>
                  <a:pt x="856" y="394"/>
                </a:lnTo>
                <a:lnTo>
                  <a:pt x="858" y="394"/>
                </a:lnTo>
                <a:lnTo>
                  <a:pt x="862" y="390"/>
                </a:lnTo>
                <a:lnTo>
                  <a:pt x="865" y="388"/>
                </a:lnTo>
                <a:lnTo>
                  <a:pt x="874" y="386"/>
                </a:lnTo>
                <a:lnTo>
                  <a:pt x="883" y="383"/>
                </a:lnTo>
                <a:lnTo>
                  <a:pt x="893" y="380"/>
                </a:lnTo>
                <a:lnTo>
                  <a:pt x="902" y="377"/>
                </a:lnTo>
                <a:lnTo>
                  <a:pt x="910" y="374"/>
                </a:lnTo>
                <a:lnTo>
                  <a:pt x="916" y="371"/>
                </a:lnTo>
                <a:lnTo>
                  <a:pt x="919" y="370"/>
                </a:lnTo>
                <a:lnTo>
                  <a:pt x="921" y="370"/>
                </a:lnTo>
                <a:lnTo>
                  <a:pt x="923" y="370"/>
                </a:lnTo>
                <a:lnTo>
                  <a:pt x="927" y="369"/>
                </a:lnTo>
                <a:lnTo>
                  <a:pt x="932" y="366"/>
                </a:lnTo>
                <a:lnTo>
                  <a:pt x="937" y="364"/>
                </a:lnTo>
                <a:lnTo>
                  <a:pt x="948" y="360"/>
                </a:lnTo>
                <a:lnTo>
                  <a:pt x="960" y="357"/>
                </a:lnTo>
                <a:lnTo>
                  <a:pt x="965" y="356"/>
                </a:lnTo>
                <a:lnTo>
                  <a:pt x="970" y="356"/>
                </a:lnTo>
                <a:lnTo>
                  <a:pt x="971" y="356"/>
                </a:lnTo>
                <a:lnTo>
                  <a:pt x="973" y="355"/>
                </a:lnTo>
                <a:lnTo>
                  <a:pt x="975" y="353"/>
                </a:lnTo>
                <a:lnTo>
                  <a:pt x="975" y="349"/>
                </a:lnTo>
                <a:lnTo>
                  <a:pt x="978" y="352"/>
                </a:lnTo>
                <a:lnTo>
                  <a:pt x="981" y="353"/>
                </a:lnTo>
                <a:lnTo>
                  <a:pt x="985" y="354"/>
                </a:lnTo>
                <a:lnTo>
                  <a:pt x="988" y="352"/>
                </a:lnTo>
                <a:lnTo>
                  <a:pt x="993" y="347"/>
                </a:lnTo>
                <a:lnTo>
                  <a:pt x="997" y="341"/>
                </a:lnTo>
                <a:lnTo>
                  <a:pt x="1003" y="341"/>
                </a:lnTo>
                <a:lnTo>
                  <a:pt x="1009" y="341"/>
                </a:lnTo>
                <a:lnTo>
                  <a:pt x="1019" y="337"/>
                </a:lnTo>
                <a:lnTo>
                  <a:pt x="1029" y="332"/>
                </a:lnTo>
                <a:lnTo>
                  <a:pt x="1051" y="325"/>
                </a:lnTo>
                <a:lnTo>
                  <a:pt x="1074" y="320"/>
                </a:lnTo>
                <a:lnTo>
                  <a:pt x="1095" y="315"/>
                </a:lnTo>
                <a:lnTo>
                  <a:pt x="1117" y="308"/>
                </a:lnTo>
                <a:lnTo>
                  <a:pt x="1138" y="300"/>
                </a:lnTo>
                <a:lnTo>
                  <a:pt x="1162" y="294"/>
                </a:lnTo>
                <a:lnTo>
                  <a:pt x="1186" y="289"/>
                </a:lnTo>
                <a:lnTo>
                  <a:pt x="1210" y="285"/>
                </a:lnTo>
                <a:lnTo>
                  <a:pt x="1221" y="282"/>
                </a:lnTo>
                <a:lnTo>
                  <a:pt x="1234" y="280"/>
                </a:lnTo>
                <a:lnTo>
                  <a:pt x="1245" y="278"/>
                </a:lnTo>
                <a:lnTo>
                  <a:pt x="1258" y="275"/>
                </a:lnTo>
                <a:lnTo>
                  <a:pt x="1267" y="273"/>
                </a:lnTo>
                <a:lnTo>
                  <a:pt x="1277" y="270"/>
                </a:lnTo>
                <a:lnTo>
                  <a:pt x="1285" y="269"/>
                </a:lnTo>
                <a:lnTo>
                  <a:pt x="1293" y="266"/>
                </a:lnTo>
                <a:lnTo>
                  <a:pt x="1298" y="265"/>
                </a:lnTo>
                <a:lnTo>
                  <a:pt x="1300" y="263"/>
                </a:lnTo>
                <a:lnTo>
                  <a:pt x="1302" y="259"/>
                </a:lnTo>
                <a:lnTo>
                  <a:pt x="1305" y="256"/>
                </a:lnTo>
                <a:lnTo>
                  <a:pt x="1307" y="252"/>
                </a:lnTo>
                <a:lnTo>
                  <a:pt x="1309" y="248"/>
                </a:lnTo>
                <a:lnTo>
                  <a:pt x="1313" y="245"/>
                </a:lnTo>
                <a:lnTo>
                  <a:pt x="1316" y="241"/>
                </a:lnTo>
                <a:lnTo>
                  <a:pt x="1323" y="237"/>
                </a:lnTo>
                <a:lnTo>
                  <a:pt x="1331" y="230"/>
                </a:lnTo>
                <a:lnTo>
                  <a:pt x="1334" y="227"/>
                </a:lnTo>
                <a:lnTo>
                  <a:pt x="1335" y="223"/>
                </a:lnTo>
                <a:lnTo>
                  <a:pt x="1335" y="221"/>
                </a:lnTo>
                <a:lnTo>
                  <a:pt x="1334" y="220"/>
                </a:lnTo>
                <a:lnTo>
                  <a:pt x="1332" y="217"/>
                </a:lnTo>
                <a:lnTo>
                  <a:pt x="1330" y="216"/>
                </a:lnTo>
                <a:lnTo>
                  <a:pt x="1325" y="214"/>
                </a:lnTo>
                <a:lnTo>
                  <a:pt x="1328" y="215"/>
                </a:lnTo>
                <a:lnTo>
                  <a:pt x="1332" y="216"/>
                </a:lnTo>
                <a:lnTo>
                  <a:pt x="1330" y="216"/>
                </a:lnTo>
                <a:close/>
                <a:moveTo>
                  <a:pt x="429" y="408"/>
                </a:moveTo>
                <a:lnTo>
                  <a:pt x="466" y="388"/>
                </a:lnTo>
                <a:lnTo>
                  <a:pt x="504" y="370"/>
                </a:lnTo>
                <a:lnTo>
                  <a:pt x="543" y="353"/>
                </a:lnTo>
                <a:lnTo>
                  <a:pt x="583" y="338"/>
                </a:lnTo>
                <a:lnTo>
                  <a:pt x="545" y="356"/>
                </a:lnTo>
                <a:lnTo>
                  <a:pt x="507" y="375"/>
                </a:lnTo>
                <a:lnTo>
                  <a:pt x="489" y="385"/>
                </a:lnTo>
                <a:lnTo>
                  <a:pt x="469" y="394"/>
                </a:lnTo>
                <a:lnTo>
                  <a:pt x="449" y="402"/>
                </a:lnTo>
                <a:lnTo>
                  <a:pt x="429" y="408"/>
                </a:lnTo>
                <a:close/>
                <a:moveTo>
                  <a:pt x="586" y="336"/>
                </a:moveTo>
                <a:lnTo>
                  <a:pt x="585" y="335"/>
                </a:lnTo>
                <a:lnTo>
                  <a:pt x="586" y="333"/>
                </a:lnTo>
                <a:lnTo>
                  <a:pt x="586" y="332"/>
                </a:lnTo>
                <a:lnTo>
                  <a:pt x="588" y="332"/>
                </a:lnTo>
                <a:lnTo>
                  <a:pt x="591" y="331"/>
                </a:lnTo>
                <a:lnTo>
                  <a:pt x="593" y="331"/>
                </a:lnTo>
                <a:lnTo>
                  <a:pt x="593" y="333"/>
                </a:lnTo>
                <a:lnTo>
                  <a:pt x="596" y="335"/>
                </a:lnTo>
                <a:lnTo>
                  <a:pt x="594" y="336"/>
                </a:lnTo>
                <a:lnTo>
                  <a:pt x="591" y="338"/>
                </a:lnTo>
                <a:lnTo>
                  <a:pt x="590" y="338"/>
                </a:lnTo>
                <a:lnTo>
                  <a:pt x="588" y="338"/>
                </a:lnTo>
                <a:lnTo>
                  <a:pt x="586" y="337"/>
                </a:lnTo>
                <a:lnTo>
                  <a:pt x="586" y="336"/>
                </a:lnTo>
                <a:lnTo>
                  <a:pt x="585" y="336"/>
                </a:lnTo>
                <a:lnTo>
                  <a:pt x="586" y="336"/>
                </a:lnTo>
                <a:close/>
                <a:moveTo>
                  <a:pt x="660" y="547"/>
                </a:moveTo>
                <a:lnTo>
                  <a:pt x="666" y="544"/>
                </a:lnTo>
                <a:lnTo>
                  <a:pt x="673" y="539"/>
                </a:lnTo>
                <a:lnTo>
                  <a:pt x="677" y="537"/>
                </a:lnTo>
                <a:lnTo>
                  <a:pt x="681" y="536"/>
                </a:lnTo>
                <a:lnTo>
                  <a:pt x="684" y="535"/>
                </a:lnTo>
                <a:lnTo>
                  <a:pt x="688" y="536"/>
                </a:lnTo>
                <a:lnTo>
                  <a:pt x="690" y="538"/>
                </a:lnTo>
                <a:lnTo>
                  <a:pt x="690" y="541"/>
                </a:lnTo>
                <a:lnTo>
                  <a:pt x="689" y="544"/>
                </a:lnTo>
                <a:lnTo>
                  <a:pt x="685" y="546"/>
                </a:lnTo>
                <a:lnTo>
                  <a:pt x="683" y="547"/>
                </a:lnTo>
                <a:lnTo>
                  <a:pt x="681" y="549"/>
                </a:lnTo>
                <a:lnTo>
                  <a:pt x="680" y="552"/>
                </a:lnTo>
                <a:lnTo>
                  <a:pt x="681" y="554"/>
                </a:lnTo>
                <a:lnTo>
                  <a:pt x="673" y="554"/>
                </a:lnTo>
                <a:lnTo>
                  <a:pt x="665" y="556"/>
                </a:lnTo>
                <a:lnTo>
                  <a:pt x="662" y="556"/>
                </a:lnTo>
                <a:lnTo>
                  <a:pt x="658" y="556"/>
                </a:lnTo>
                <a:lnTo>
                  <a:pt x="657" y="554"/>
                </a:lnTo>
                <a:lnTo>
                  <a:pt x="657" y="552"/>
                </a:lnTo>
                <a:lnTo>
                  <a:pt x="658" y="549"/>
                </a:lnTo>
                <a:lnTo>
                  <a:pt x="660" y="547"/>
                </a:lnTo>
                <a:lnTo>
                  <a:pt x="663" y="547"/>
                </a:lnTo>
                <a:lnTo>
                  <a:pt x="660" y="547"/>
                </a:lnTo>
                <a:close/>
                <a:moveTo>
                  <a:pt x="729" y="290"/>
                </a:moveTo>
                <a:lnTo>
                  <a:pt x="715" y="294"/>
                </a:lnTo>
                <a:lnTo>
                  <a:pt x="702" y="297"/>
                </a:lnTo>
                <a:lnTo>
                  <a:pt x="690" y="302"/>
                </a:lnTo>
                <a:lnTo>
                  <a:pt x="676" y="306"/>
                </a:lnTo>
                <a:lnTo>
                  <a:pt x="664" y="311"/>
                </a:lnTo>
                <a:lnTo>
                  <a:pt x="652" y="315"/>
                </a:lnTo>
                <a:lnTo>
                  <a:pt x="649" y="317"/>
                </a:lnTo>
                <a:lnTo>
                  <a:pt x="646" y="317"/>
                </a:lnTo>
                <a:lnTo>
                  <a:pt x="644" y="316"/>
                </a:lnTo>
                <a:lnTo>
                  <a:pt x="643" y="315"/>
                </a:lnTo>
                <a:lnTo>
                  <a:pt x="643" y="313"/>
                </a:lnTo>
                <a:lnTo>
                  <a:pt x="643" y="312"/>
                </a:lnTo>
                <a:lnTo>
                  <a:pt x="646" y="310"/>
                </a:lnTo>
                <a:lnTo>
                  <a:pt x="648" y="308"/>
                </a:lnTo>
                <a:lnTo>
                  <a:pt x="654" y="306"/>
                </a:lnTo>
                <a:lnTo>
                  <a:pt x="658" y="304"/>
                </a:lnTo>
                <a:lnTo>
                  <a:pt x="669" y="300"/>
                </a:lnTo>
                <a:lnTo>
                  <a:pt x="681" y="296"/>
                </a:lnTo>
                <a:lnTo>
                  <a:pt x="693" y="292"/>
                </a:lnTo>
                <a:lnTo>
                  <a:pt x="705" y="289"/>
                </a:lnTo>
                <a:lnTo>
                  <a:pt x="717" y="286"/>
                </a:lnTo>
                <a:lnTo>
                  <a:pt x="729" y="282"/>
                </a:lnTo>
                <a:lnTo>
                  <a:pt x="729" y="286"/>
                </a:lnTo>
                <a:lnTo>
                  <a:pt x="729" y="290"/>
                </a:lnTo>
                <a:lnTo>
                  <a:pt x="717" y="292"/>
                </a:lnTo>
                <a:lnTo>
                  <a:pt x="718" y="291"/>
                </a:lnTo>
                <a:lnTo>
                  <a:pt x="725" y="290"/>
                </a:lnTo>
                <a:lnTo>
                  <a:pt x="729" y="290"/>
                </a:lnTo>
                <a:close/>
                <a:moveTo>
                  <a:pt x="767" y="275"/>
                </a:moveTo>
                <a:lnTo>
                  <a:pt x="763" y="274"/>
                </a:lnTo>
                <a:lnTo>
                  <a:pt x="761" y="272"/>
                </a:lnTo>
                <a:lnTo>
                  <a:pt x="772" y="269"/>
                </a:lnTo>
                <a:lnTo>
                  <a:pt x="782" y="265"/>
                </a:lnTo>
                <a:lnTo>
                  <a:pt x="794" y="263"/>
                </a:lnTo>
                <a:lnTo>
                  <a:pt x="806" y="262"/>
                </a:lnTo>
                <a:lnTo>
                  <a:pt x="797" y="267"/>
                </a:lnTo>
                <a:lnTo>
                  <a:pt x="787" y="271"/>
                </a:lnTo>
                <a:lnTo>
                  <a:pt x="778" y="273"/>
                </a:lnTo>
                <a:lnTo>
                  <a:pt x="767" y="275"/>
                </a:lnTo>
                <a:lnTo>
                  <a:pt x="771" y="274"/>
                </a:lnTo>
                <a:lnTo>
                  <a:pt x="767" y="275"/>
                </a:lnTo>
                <a:close/>
                <a:moveTo>
                  <a:pt x="936" y="155"/>
                </a:moveTo>
                <a:lnTo>
                  <a:pt x="942" y="148"/>
                </a:lnTo>
                <a:lnTo>
                  <a:pt x="947" y="144"/>
                </a:lnTo>
                <a:lnTo>
                  <a:pt x="955" y="140"/>
                </a:lnTo>
                <a:lnTo>
                  <a:pt x="963" y="139"/>
                </a:lnTo>
                <a:lnTo>
                  <a:pt x="975" y="137"/>
                </a:lnTo>
                <a:lnTo>
                  <a:pt x="985" y="136"/>
                </a:lnTo>
                <a:lnTo>
                  <a:pt x="995" y="134"/>
                </a:lnTo>
                <a:lnTo>
                  <a:pt x="1005" y="133"/>
                </a:lnTo>
                <a:lnTo>
                  <a:pt x="1015" y="131"/>
                </a:lnTo>
                <a:lnTo>
                  <a:pt x="1026" y="129"/>
                </a:lnTo>
                <a:lnTo>
                  <a:pt x="1036" y="126"/>
                </a:lnTo>
                <a:lnTo>
                  <a:pt x="1047" y="124"/>
                </a:lnTo>
                <a:lnTo>
                  <a:pt x="1058" y="123"/>
                </a:lnTo>
                <a:lnTo>
                  <a:pt x="1068" y="121"/>
                </a:lnTo>
                <a:lnTo>
                  <a:pt x="1078" y="120"/>
                </a:lnTo>
                <a:lnTo>
                  <a:pt x="1089" y="119"/>
                </a:lnTo>
                <a:lnTo>
                  <a:pt x="1087" y="120"/>
                </a:lnTo>
                <a:lnTo>
                  <a:pt x="1087" y="121"/>
                </a:lnTo>
                <a:lnTo>
                  <a:pt x="1088" y="123"/>
                </a:lnTo>
                <a:lnTo>
                  <a:pt x="1089" y="124"/>
                </a:lnTo>
                <a:lnTo>
                  <a:pt x="1094" y="124"/>
                </a:lnTo>
                <a:lnTo>
                  <a:pt x="1099" y="123"/>
                </a:lnTo>
                <a:lnTo>
                  <a:pt x="1109" y="122"/>
                </a:lnTo>
                <a:lnTo>
                  <a:pt x="1119" y="121"/>
                </a:lnTo>
                <a:lnTo>
                  <a:pt x="1128" y="120"/>
                </a:lnTo>
                <a:lnTo>
                  <a:pt x="1138" y="122"/>
                </a:lnTo>
                <a:lnTo>
                  <a:pt x="1136" y="123"/>
                </a:lnTo>
                <a:lnTo>
                  <a:pt x="1136" y="125"/>
                </a:lnTo>
                <a:lnTo>
                  <a:pt x="1137" y="126"/>
                </a:lnTo>
                <a:lnTo>
                  <a:pt x="1137" y="129"/>
                </a:lnTo>
                <a:lnTo>
                  <a:pt x="1125" y="130"/>
                </a:lnTo>
                <a:lnTo>
                  <a:pt x="1112" y="131"/>
                </a:lnTo>
                <a:lnTo>
                  <a:pt x="1105" y="132"/>
                </a:lnTo>
                <a:lnTo>
                  <a:pt x="1101" y="133"/>
                </a:lnTo>
                <a:lnTo>
                  <a:pt x="1094" y="133"/>
                </a:lnTo>
                <a:lnTo>
                  <a:pt x="1087" y="132"/>
                </a:lnTo>
                <a:lnTo>
                  <a:pt x="1076" y="134"/>
                </a:lnTo>
                <a:lnTo>
                  <a:pt x="1063" y="137"/>
                </a:lnTo>
                <a:lnTo>
                  <a:pt x="1051" y="140"/>
                </a:lnTo>
                <a:lnTo>
                  <a:pt x="1038" y="141"/>
                </a:lnTo>
                <a:lnTo>
                  <a:pt x="1013" y="142"/>
                </a:lnTo>
                <a:lnTo>
                  <a:pt x="987" y="147"/>
                </a:lnTo>
                <a:lnTo>
                  <a:pt x="962" y="150"/>
                </a:lnTo>
                <a:lnTo>
                  <a:pt x="936" y="155"/>
                </a:lnTo>
                <a:lnTo>
                  <a:pt x="939" y="151"/>
                </a:lnTo>
                <a:lnTo>
                  <a:pt x="944" y="149"/>
                </a:lnTo>
                <a:lnTo>
                  <a:pt x="948" y="149"/>
                </a:lnTo>
                <a:lnTo>
                  <a:pt x="952" y="149"/>
                </a:lnTo>
                <a:lnTo>
                  <a:pt x="953" y="149"/>
                </a:lnTo>
                <a:lnTo>
                  <a:pt x="953" y="150"/>
                </a:lnTo>
                <a:lnTo>
                  <a:pt x="953" y="150"/>
                </a:lnTo>
                <a:lnTo>
                  <a:pt x="952" y="151"/>
                </a:lnTo>
                <a:lnTo>
                  <a:pt x="946" y="153"/>
                </a:lnTo>
                <a:lnTo>
                  <a:pt x="936" y="15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91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8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55">
            <a:extLst>
              <a:ext uri="{FF2B5EF4-FFF2-40B4-BE49-F238E27FC236}">
                <a16:creationId xmlns:a16="http://schemas.microsoft.com/office/drawing/2014/main" id="{F899075E-6FF3-3846-A898-7A62666DF460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191716" y="441014"/>
            <a:ext cx="11807775" cy="3419984"/>
          </a:xfrm>
          <a:custGeom>
            <a:avLst/>
            <a:gdLst>
              <a:gd name="T0" fmla="*/ 150 w 1845"/>
              <a:gd name="T1" fmla="*/ 413 h 642"/>
              <a:gd name="T2" fmla="*/ 380 w 1845"/>
              <a:gd name="T3" fmla="*/ 368 h 642"/>
              <a:gd name="T4" fmla="*/ 292 w 1845"/>
              <a:gd name="T5" fmla="*/ 387 h 642"/>
              <a:gd name="T6" fmla="*/ 208 w 1845"/>
              <a:gd name="T7" fmla="*/ 410 h 642"/>
              <a:gd name="T8" fmla="*/ 406 w 1845"/>
              <a:gd name="T9" fmla="*/ 377 h 642"/>
              <a:gd name="T10" fmla="*/ 443 w 1845"/>
              <a:gd name="T11" fmla="*/ 440 h 642"/>
              <a:gd name="T12" fmla="*/ 348 w 1845"/>
              <a:gd name="T13" fmla="*/ 453 h 642"/>
              <a:gd name="T14" fmla="*/ 364 w 1845"/>
              <a:gd name="T15" fmla="*/ 484 h 642"/>
              <a:gd name="T16" fmla="*/ 373 w 1845"/>
              <a:gd name="T17" fmla="*/ 553 h 642"/>
              <a:gd name="T18" fmla="*/ 459 w 1845"/>
              <a:gd name="T19" fmla="*/ 609 h 642"/>
              <a:gd name="T20" fmla="*/ 514 w 1845"/>
              <a:gd name="T21" fmla="*/ 634 h 642"/>
              <a:gd name="T22" fmla="*/ 734 w 1845"/>
              <a:gd name="T23" fmla="*/ 616 h 642"/>
              <a:gd name="T24" fmla="*/ 918 w 1845"/>
              <a:gd name="T25" fmla="*/ 617 h 642"/>
              <a:gd name="T26" fmla="*/ 1011 w 1845"/>
              <a:gd name="T27" fmla="*/ 610 h 642"/>
              <a:gd name="T28" fmla="*/ 1068 w 1845"/>
              <a:gd name="T29" fmla="*/ 602 h 642"/>
              <a:gd name="T30" fmla="*/ 1161 w 1845"/>
              <a:gd name="T31" fmla="*/ 597 h 642"/>
              <a:gd name="T32" fmla="*/ 1343 w 1845"/>
              <a:gd name="T33" fmla="*/ 595 h 642"/>
              <a:gd name="T34" fmla="*/ 1450 w 1845"/>
              <a:gd name="T35" fmla="*/ 596 h 642"/>
              <a:gd name="T36" fmla="*/ 1550 w 1845"/>
              <a:gd name="T37" fmla="*/ 612 h 642"/>
              <a:gd name="T38" fmla="*/ 1590 w 1845"/>
              <a:gd name="T39" fmla="*/ 614 h 642"/>
              <a:gd name="T40" fmla="*/ 1696 w 1845"/>
              <a:gd name="T41" fmla="*/ 621 h 642"/>
              <a:gd name="T42" fmla="*/ 1822 w 1845"/>
              <a:gd name="T43" fmla="*/ 641 h 642"/>
              <a:gd name="T44" fmla="*/ 1763 w 1845"/>
              <a:gd name="T45" fmla="*/ 594 h 642"/>
              <a:gd name="T46" fmla="*/ 1554 w 1845"/>
              <a:gd name="T47" fmla="*/ 511 h 642"/>
              <a:gd name="T48" fmla="*/ 1567 w 1845"/>
              <a:gd name="T49" fmla="*/ 508 h 642"/>
              <a:gd name="T50" fmla="*/ 1531 w 1845"/>
              <a:gd name="T51" fmla="*/ 487 h 642"/>
              <a:gd name="T52" fmla="*/ 1367 w 1845"/>
              <a:gd name="T53" fmla="*/ 440 h 642"/>
              <a:gd name="T54" fmla="*/ 1460 w 1845"/>
              <a:gd name="T55" fmla="*/ 454 h 642"/>
              <a:gd name="T56" fmla="*/ 1522 w 1845"/>
              <a:gd name="T57" fmla="*/ 459 h 642"/>
              <a:gd name="T58" fmla="*/ 1576 w 1845"/>
              <a:gd name="T59" fmla="*/ 434 h 642"/>
              <a:gd name="T60" fmla="*/ 1536 w 1845"/>
              <a:gd name="T61" fmla="*/ 430 h 642"/>
              <a:gd name="T62" fmla="*/ 1560 w 1845"/>
              <a:gd name="T63" fmla="*/ 354 h 642"/>
              <a:gd name="T64" fmla="*/ 1559 w 1845"/>
              <a:gd name="T65" fmla="*/ 315 h 642"/>
              <a:gd name="T66" fmla="*/ 1645 w 1845"/>
              <a:gd name="T67" fmla="*/ 323 h 642"/>
              <a:gd name="T68" fmla="*/ 1692 w 1845"/>
              <a:gd name="T69" fmla="*/ 244 h 642"/>
              <a:gd name="T70" fmla="*/ 1723 w 1845"/>
              <a:gd name="T71" fmla="*/ 170 h 642"/>
              <a:gd name="T72" fmla="*/ 1621 w 1845"/>
              <a:gd name="T73" fmla="*/ 112 h 642"/>
              <a:gd name="T74" fmla="*/ 1595 w 1845"/>
              <a:gd name="T75" fmla="*/ 79 h 642"/>
              <a:gd name="T76" fmla="*/ 1653 w 1845"/>
              <a:gd name="T77" fmla="*/ 78 h 642"/>
              <a:gd name="T78" fmla="*/ 1120 w 1845"/>
              <a:gd name="T79" fmla="*/ 6 h 642"/>
              <a:gd name="T80" fmla="*/ 1021 w 1845"/>
              <a:gd name="T81" fmla="*/ 13 h 642"/>
              <a:gd name="T82" fmla="*/ 974 w 1845"/>
              <a:gd name="T83" fmla="*/ 32 h 642"/>
              <a:gd name="T84" fmla="*/ 488 w 1845"/>
              <a:gd name="T85" fmla="*/ 61 h 642"/>
              <a:gd name="T86" fmla="*/ 399 w 1845"/>
              <a:gd name="T87" fmla="*/ 176 h 642"/>
              <a:gd name="T88" fmla="*/ 67 w 1845"/>
              <a:gd name="T89" fmla="*/ 364 h 642"/>
              <a:gd name="T90" fmla="*/ 138 w 1845"/>
              <a:gd name="T91" fmla="*/ 439 h 642"/>
              <a:gd name="T92" fmla="*/ 1541 w 1845"/>
              <a:gd name="T93" fmla="*/ 514 h 642"/>
              <a:gd name="T94" fmla="*/ 1542 w 1845"/>
              <a:gd name="T95" fmla="*/ 434 h 642"/>
              <a:gd name="T96" fmla="*/ 1659 w 1845"/>
              <a:gd name="T97" fmla="*/ 285 h 642"/>
              <a:gd name="T98" fmla="*/ 1552 w 1845"/>
              <a:gd name="T99" fmla="*/ 309 h 642"/>
              <a:gd name="T100" fmla="*/ 1538 w 1845"/>
              <a:gd name="T101" fmla="*/ 286 h 642"/>
              <a:gd name="T102" fmla="*/ 1599 w 1845"/>
              <a:gd name="T103" fmla="*/ 274 h 642"/>
              <a:gd name="T104" fmla="*/ 1382 w 1845"/>
              <a:gd name="T105" fmla="*/ 178 h 642"/>
              <a:gd name="T106" fmla="*/ 1543 w 1845"/>
              <a:gd name="T107" fmla="*/ 216 h 642"/>
              <a:gd name="T108" fmla="*/ 1613 w 1845"/>
              <a:gd name="T109" fmla="*/ 242 h 642"/>
              <a:gd name="T110" fmla="*/ 1465 w 1845"/>
              <a:gd name="T111" fmla="*/ 228 h 642"/>
              <a:gd name="T112" fmla="*/ 1402 w 1845"/>
              <a:gd name="T113" fmla="*/ 191 h 642"/>
              <a:gd name="T114" fmla="*/ 709 w 1845"/>
              <a:gd name="T115" fmla="*/ 609 h 642"/>
              <a:gd name="T116" fmla="*/ 332 w 1845"/>
              <a:gd name="T117" fmla="*/ 272 h 642"/>
              <a:gd name="T118" fmla="*/ 410 w 1845"/>
              <a:gd name="T119" fmla="*/ 168 h 642"/>
              <a:gd name="T120" fmla="*/ 475 w 1845"/>
              <a:gd name="T121" fmla="*/ 144 h 642"/>
              <a:gd name="T122" fmla="*/ 271 w 1845"/>
              <a:gd name="T123" fmla="*/ 290 h 642"/>
              <a:gd name="T124" fmla="*/ 157 w 1845"/>
              <a:gd name="T125" fmla="*/ 335 h 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5" h="642">
                <a:moveTo>
                  <a:pt x="138" y="440"/>
                </a:moveTo>
                <a:lnTo>
                  <a:pt x="135" y="437"/>
                </a:lnTo>
                <a:lnTo>
                  <a:pt x="133" y="436"/>
                </a:lnTo>
                <a:lnTo>
                  <a:pt x="141" y="433"/>
                </a:lnTo>
                <a:lnTo>
                  <a:pt x="149" y="433"/>
                </a:lnTo>
                <a:lnTo>
                  <a:pt x="150" y="435"/>
                </a:lnTo>
                <a:lnTo>
                  <a:pt x="154" y="437"/>
                </a:lnTo>
                <a:lnTo>
                  <a:pt x="163" y="435"/>
                </a:lnTo>
                <a:lnTo>
                  <a:pt x="172" y="431"/>
                </a:lnTo>
                <a:lnTo>
                  <a:pt x="182" y="428"/>
                </a:lnTo>
                <a:lnTo>
                  <a:pt x="192" y="425"/>
                </a:lnTo>
                <a:lnTo>
                  <a:pt x="188" y="422"/>
                </a:lnTo>
                <a:lnTo>
                  <a:pt x="183" y="423"/>
                </a:lnTo>
                <a:lnTo>
                  <a:pt x="179" y="425"/>
                </a:lnTo>
                <a:lnTo>
                  <a:pt x="174" y="426"/>
                </a:lnTo>
                <a:lnTo>
                  <a:pt x="163" y="425"/>
                </a:lnTo>
                <a:lnTo>
                  <a:pt x="151" y="422"/>
                </a:lnTo>
                <a:lnTo>
                  <a:pt x="147" y="422"/>
                </a:lnTo>
                <a:lnTo>
                  <a:pt x="141" y="422"/>
                </a:lnTo>
                <a:lnTo>
                  <a:pt x="135" y="423"/>
                </a:lnTo>
                <a:lnTo>
                  <a:pt x="130" y="426"/>
                </a:lnTo>
                <a:lnTo>
                  <a:pt x="124" y="428"/>
                </a:lnTo>
                <a:lnTo>
                  <a:pt x="118" y="430"/>
                </a:lnTo>
                <a:lnTo>
                  <a:pt x="113" y="431"/>
                </a:lnTo>
                <a:lnTo>
                  <a:pt x="107" y="433"/>
                </a:lnTo>
                <a:lnTo>
                  <a:pt x="112" y="428"/>
                </a:lnTo>
                <a:lnTo>
                  <a:pt x="117" y="423"/>
                </a:lnTo>
                <a:lnTo>
                  <a:pt x="122" y="421"/>
                </a:lnTo>
                <a:lnTo>
                  <a:pt x="125" y="420"/>
                </a:lnTo>
                <a:lnTo>
                  <a:pt x="129" y="420"/>
                </a:lnTo>
                <a:lnTo>
                  <a:pt x="133" y="420"/>
                </a:lnTo>
                <a:lnTo>
                  <a:pt x="139" y="420"/>
                </a:lnTo>
                <a:lnTo>
                  <a:pt x="142" y="419"/>
                </a:lnTo>
                <a:lnTo>
                  <a:pt x="147" y="417"/>
                </a:lnTo>
                <a:lnTo>
                  <a:pt x="150" y="413"/>
                </a:lnTo>
                <a:lnTo>
                  <a:pt x="158" y="411"/>
                </a:lnTo>
                <a:lnTo>
                  <a:pt x="166" y="411"/>
                </a:lnTo>
                <a:lnTo>
                  <a:pt x="179" y="408"/>
                </a:lnTo>
                <a:lnTo>
                  <a:pt x="190" y="404"/>
                </a:lnTo>
                <a:lnTo>
                  <a:pt x="203" y="400"/>
                </a:lnTo>
                <a:lnTo>
                  <a:pt x="214" y="396"/>
                </a:lnTo>
                <a:lnTo>
                  <a:pt x="226" y="393"/>
                </a:lnTo>
                <a:lnTo>
                  <a:pt x="238" y="390"/>
                </a:lnTo>
                <a:lnTo>
                  <a:pt x="249" y="388"/>
                </a:lnTo>
                <a:lnTo>
                  <a:pt x="261" y="385"/>
                </a:lnTo>
                <a:lnTo>
                  <a:pt x="269" y="384"/>
                </a:lnTo>
                <a:lnTo>
                  <a:pt x="275" y="381"/>
                </a:lnTo>
                <a:lnTo>
                  <a:pt x="275" y="379"/>
                </a:lnTo>
                <a:lnTo>
                  <a:pt x="274" y="376"/>
                </a:lnTo>
                <a:lnTo>
                  <a:pt x="275" y="375"/>
                </a:lnTo>
                <a:lnTo>
                  <a:pt x="277" y="373"/>
                </a:lnTo>
                <a:lnTo>
                  <a:pt x="279" y="372"/>
                </a:lnTo>
                <a:lnTo>
                  <a:pt x="281" y="372"/>
                </a:lnTo>
                <a:lnTo>
                  <a:pt x="282" y="376"/>
                </a:lnTo>
                <a:lnTo>
                  <a:pt x="285" y="378"/>
                </a:lnTo>
                <a:lnTo>
                  <a:pt x="288" y="380"/>
                </a:lnTo>
                <a:lnTo>
                  <a:pt x="292" y="379"/>
                </a:lnTo>
                <a:lnTo>
                  <a:pt x="303" y="378"/>
                </a:lnTo>
                <a:lnTo>
                  <a:pt x="312" y="375"/>
                </a:lnTo>
                <a:lnTo>
                  <a:pt x="323" y="372"/>
                </a:lnTo>
                <a:lnTo>
                  <a:pt x="333" y="371"/>
                </a:lnTo>
                <a:lnTo>
                  <a:pt x="345" y="369"/>
                </a:lnTo>
                <a:lnTo>
                  <a:pt x="355" y="367"/>
                </a:lnTo>
                <a:lnTo>
                  <a:pt x="364" y="363"/>
                </a:lnTo>
                <a:lnTo>
                  <a:pt x="374" y="361"/>
                </a:lnTo>
                <a:lnTo>
                  <a:pt x="382" y="359"/>
                </a:lnTo>
                <a:lnTo>
                  <a:pt x="392" y="359"/>
                </a:lnTo>
                <a:lnTo>
                  <a:pt x="388" y="362"/>
                </a:lnTo>
                <a:lnTo>
                  <a:pt x="385" y="365"/>
                </a:lnTo>
                <a:lnTo>
                  <a:pt x="380" y="368"/>
                </a:lnTo>
                <a:lnTo>
                  <a:pt x="374" y="370"/>
                </a:lnTo>
                <a:lnTo>
                  <a:pt x="365" y="371"/>
                </a:lnTo>
                <a:lnTo>
                  <a:pt x="356" y="372"/>
                </a:lnTo>
                <a:lnTo>
                  <a:pt x="354" y="373"/>
                </a:lnTo>
                <a:lnTo>
                  <a:pt x="354" y="376"/>
                </a:lnTo>
                <a:lnTo>
                  <a:pt x="354" y="378"/>
                </a:lnTo>
                <a:lnTo>
                  <a:pt x="354" y="381"/>
                </a:lnTo>
                <a:lnTo>
                  <a:pt x="353" y="382"/>
                </a:lnTo>
                <a:lnTo>
                  <a:pt x="352" y="384"/>
                </a:lnTo>
                <a:lnTo>
                  <a:pt x="349" y="384"/>
                </a:lnTo>
                <a:lnTo>
                  <a:pt x="348" y="384"/>
                </a:lnTo>
                <a:lnTo>
                  <a:pt x="346" y="381"/>
                </a:lnTo>
                <a:lnTo>
                  <a:pt x="346" y="379"/>
                </a:lnTo>
                <a:lnTo>
                  <a:pt x="347" y="377"/>
                </a:lnTo>
                <a:lnTo>
                  <a:pt x="347" y="375"/>
                </a:lnTo>
                <a:lnTo>
                  <a:pt x="343" y="375"/>
                </a:lnTo>
                <a:lnTo>
                  <a:pt x="339" y="376"/>
                </a:lnTo>
                <a:lnTo>
                  <a:pt x="335" y="377"/>
                </a:lnTo>
                <a:lnTo>
                  <a:pt x="331" y="379"/>
                </a:lnTo>
                <a:lnTo>
                  <a:pt x="327" y="380"/>
                </a:lnTo>
                <a:lnTo>
                  <a:pt x="323" y="381"/>
                </a:lnTo>
                <a:lnTo>
                  <a:pt x="319" y="380"/>
                </a:lnTo>
                <a:lnTo>
                  <a:pt x="315" y="380"/>
                </a:lnTo>
                <a:lnTo>
                  <a:pt x="311" y="382"/>
                </a:lnTo>
                <a:lnTo>
                  <a:pt x="306" y="387"/>
                </a:lnTo>
                <a:lnTo>
                  <a:pt x="304" y="389"/>
                </a:lnTo>
                <a:lnTo>
                  <a:pt x="302" y="390"/>
                </a:lnTo>
                <a:lnTo>
                  <a:pt x="299" y="390"/>
                </a:lnTo>
                <a:lnTo>
                  <a:pt x="297" y="390"/>
                </a:lnTo>
                <a:lnTo>
                  <a:pt x="297" y="389"/>
                </a:lnTo>
                <a:lnTo>
                  <a:pt x="298" y="388"/>
                </a:lnTo>
                <a:lnTo>
                  <a:pt x="298" y="387"/>
                </a:lnTo>
                <a:lnTo>
                  <a:pt x="298" y="386"/>
                </a:lnTo>
                <a:lnTo>
                  <a:pt x="295" y="386"/>
                </a:lnTo>
                <a:lnTo>
                  <a:pt x="292" y="387"/>
                </a:lnTo>
                <a:lnTo>
                  <a:pt x="289" y="388"/>
                </a:lnTo>
                <a:lnTo>
                  <a:pt x="287" y="388"/>
                </a:lnTo>
                <a:lnTo>
                  <a:pt x="286" y="389"/>
                </a:lnTo>
                <a:lnTo>
                  <a:pt x="283" y="390"/>
                </a:lnTo>
                <a:lnTo>
                  <a:pt x="283" y="392"/>
                </a:lnTo>
                <a:lnTo>
                  <a:pt x="283" y="393"/>
                </a:lnTo>
                <a:lnTo>
                  <a:pt x="283" y="394"/>
                </a:lnTo>
                <a:lnTo>
                  <a:pt x="283" y="395"/>
                </a:lnTo>
                <a:lnTo>
                  <a:pt x="282" y="395"/>
                </a:lnTo>
                <a:lnTo>
                  <a:pt x="280" y="396"/>
                </a:lnTo>
                <a:lnTo>
                  <a:pt x="278" y="396"/>
                </a:lnTo>
                <a:lnTo>
                  <a:pt x="277" y="397"/>
                </a:lnTo>
                <a:lnTo>
                  <a:pt x="275" y="398"/>
                </a:lnTo>
                <a:lnTo>
                  <a:pt x="274" y="400"/>
                </a:lnTo>
                <a:lnTo>
                  <a:pt x="277" y="398"/>
                </a:lnTo>
                <a:lnTo>
                  <a:pt x="278" y="396"/>
                </a:lnTo>
                <a:lnTo>
                  <a:pt x="278" y="394"/>
                </a:lnTo>
                <a:lnTo>
                  <a:pt x="279" y="392"/>
                </a:lnTo>
                <a:lnTo>
                  <a:pt x="275" y="390"/>
                </a:lnTo>
                <a:lnTo>
                  <a:pt x="271" y="392"/>
                </a:lnTo>
                <a:lnTo>
                  <a:pt x="262" y="393"/>
                </a:lnTo>
                <a:lnTo>
                  <a:pt x="254" y="396"/>
                </a:lnTo>
                <a:lnTo>
                  <a:pt x="255" y="400"/>
                </a:lnTo>
                <a:lnTo>
                  <a:pt x="256" y="403"/>
                </a:lnTo>
                <a:lnTo>
                  <a:pt x="252" y="405"/>
                </a:lnTo>
                <a:lnTo>
                  <a:pt x="247" y="406"/>
                </a:lnTo>
                <a:lnTo>
                  <a:pt x="234" y="409"/>
                </a:lnTo>
                <a:lnTo>
                  <a:pt x="222" y="413"/>
                </a:lnTo>
                <a:lnTo>
                  <a:pt x="220" y="414"/>
                </a:lnTo>
                <a:lnTo>
                  <a:pt x="216" y="414"/>
                </a:lnTo>
                <a:lnTo>
                  <a:pt x="213" y="413"/>
                </a:lnTo>
                <a:lnTo>
                  <a:pt x="211" y="411"/>
                </a:lnTo>
                <a:lnTo>
                  <a:pt x="211" y="410"/>
                </a:lnTo>
                <a:lnTo>
                  <a:pt x="209" y="410"/>
                </a:lnTo>
                <a:lnTo>
                  <a:pt x="208" y="410"/>
                </a:lnTo>
                <a:lnTo>
                  <a:pt x="207" y="412"/>
                </a:lnTo>
                <a:lnTo>
                  <a:pt x="205" y="415"/>
                </a:lnTo>
                <a:lnTo>
                  <a:pt x="206" y="419"/>
                </a:lnTo>
                <a:lnTo>
                  <a:pt x="209" y="420"/>
                </a:lnTo>
                <a:lnTo>
                  <a:pt x="214" y="419"/>
                </a:lnTo>
                <a:lnTo>
                  <a:pt x="221" y="418"/>
                </a:lnTo>
                <a:lnTo>
                  <a:pt x="225" y="417"/>
                </a:lnTo>
                <a:lnTo>
                  <a:pt x="238" y="413"/>
                </a:lnTo>
                <a:lnTo>
                  <a:pt x="250" y="410"/>
                </a:lnTo>
                <a:lnTo>
                  <a:pt x="261" y="409"/>
                </a:lnTo>
                <a:lnTo>
                  <a:pt x="270" y="409"/>
                </a:lnTo>
                <a:lnTo>
                  <a:pt x="280" y="405"/>
                </a:lnTo>
                <a:lnTo>
                  <a:pt x="289" y="402"/>
                </a:lnTo>
                <a:lnTo>
                  <a:pt x="292" y="398"/>
                </a:lnTo>
                <a:lnTo>
                  <a:pt x="296" y="396"/>
                </a:lnTo>
                <a:lnTo>
                  <a:pt x="298" y="397"/>
                </a:lnTo>
                <a:lnTo>
                  <a:pt x="302" y="398"/>
                </a:lnTo>
                <a:lnTo>
                  <a:pt x="304" y="398"/>
                </a:lnTo>
                <a:lnTo>
                  <a:pt x="305" y="398"/>
                </a:lnTo>
                <a:lnTo>
                  <a:pt x="318" y="395"/>
                </a:lnTo>
                <a:lnTo>
                  <a:pt x="330" y="393"/>
                </a:lnTo>
                <a:lnTo>
                  <a:pt x="343" y="390"/>
                </a:lnTo>
                <a:lnTo>
                  <a:pt x="355" y="388"/>
                </a:lnTo>
                <a:lnTo>
                  <a:pt x="368" y="386"/>
                </a:lnTo>
                <a:lnTo>
                  <a:pt x="380" y="384"/>
                </a:lnTo>
                <a:lnTo>
                  <a:pt x="386" y="382"/>
                </a:lnTo>
                <a:lnTo>
                  <a:pt x="392" y="380"/>
                </a:lnTo>
                <a:lnTo>
                  <a:pt x="396" y="379"/>
                </a:lnTo>
                <a:lnTo>
                  <a:pt x="398" y="377"/>
                </a:lnTo>
                <a:lnTo>
                  <a:pt x="399" y="376"/>
                </a:lnTo>
                <a:lnTo>
                  <a:pt x="401" y="375"/>
                </a:lnTo>
                <a:lnTo>
                  <a:pt x="402" y="375"/>
                </a:lnTo>
                <a:lnTo>
                  <a:pt x="403" y="376"/>
                </a:lnTo>
                <a:lnTo>
                  <a:pt x="405" y="376"/>
                </a:lnTo>
                <a:lnTo>
                  <a:pt x="406" y="377"/>
                </a:lnTo>
                <a:lnTo>
                  <a:pt x="407" y="380"/>
                </a:lnTo>
                <a:lnTo>
                  <a:pt x="410" y="380"/>
                </a:lnTo>
                <a:lnTo>
                  <a:pt x="413" y="380"/>
                </a:lnTo>
                <a:lnTo>
                  <a:pt x="417" y="381"/>
                </a:lnTo>
                <a:lnTo>
                  <a:pt x="418" y="384"/>
                </a:lnTo>
                <a:lnTo>
                  <a:pt x="417" y="385"/>
                </a:lnTo>
                <a:lnTo>
                  <a:pt x="414" y="386"/>
                </a:lnTo>
                <a:lnTo>
                  <a:pt x="413" y="387"/>
                </a:lnTo>
                <a:lnTo>
                  <a:pt x="413" y="389"/>
                </a:lnTo>
                <a:lnTo>
                  <a:pt x="414" y="389"/>
                </a:lnTo>
                <a:lnTo>
                  <a:pt x="417" y="389"/>
                </a:lnTo>
                <a:lnTo>
                  <a:pt x="418" y="389"/>
                </a:lnTo>
                <a:lnTo>
                  <a:pt x="422" y="389"/>
                </a:lnTo>
                <a:lnTo>
                  <a:pt x="426" y="390"/>
                </a:lnTo>
                <a:lnTo>
                  <a:pt x="430" y="392"/>
                </a:lnTo>
                <a:lnTo>
                  <a:pt x="432" y="394"/>
                </a:lnTo>
                <a:lnTo>
                  <a:pt x="435" y="398"/>
                </a:lnTo>
                <a:lnTo>
                  <a:pt x="437" y="402"/>
                </a:lnTo>
                <a:lnTo>
                  <a:pt x="440" y="406"/>
                </a:lnTo>
                <a:lnTo>
                  <a:pt x="446" y="410"/>
                </a:lnTo>
                <a:lnTo>
                  <a:pt x="444" y="411"/>
                </a:lnTo>
                <a:lnTo>
                  <a:pt x="443" y="412"/>
                </a:lnTo>
                <a:lnTo>
                  <a:pt x="442" y="412"/>
                </a:lnTo>
                <a:lnTo>
                  <a:pt x="443" y="414"/>
                </a:lnTo>
                <a:lnTo>
                  <a:pt x="448" y="417"/>
                </a:lnTo>
                <a:lnTo>
                  <a:pt x="453" y="419"/>
                </a:lnTo>
                <a:lnTo>
                  <a:pt x="450" y="420"/>
                </a:lnTo>
                <a:lnTo>
                  <a:pt x="447" y="420"/>
                </a:lnTo>
                <a:lnTo>
                  <a:pt x="446" y="421"/>
                </a:lnTo>
                <a:lnTo>
                  <a:pt x="447" y="422"/>
                </a:lnTo>
                <a:lnTo>
                  <a:pt x="450" y="427"/>
                </a:lnTo>
                <a:lnTo>
                  <a:pt x="450" y="433"/>
                </a:lnTo>
                <a:lnTo>
                  <a:pt x="448" y="436"/>
                </a:lnTo>
                <a:lnTo>
                  <a:pt x="446" y="438"/>
                </a:lnTo>
                <a:lnTo>
                  <a:pt x="443" y="440"/>
                </a:lnTo>
                <a:lnTo>
                  <a:pt x="438" y="440"/>
                </a:lnTo>
                <a:lnTo>
                  <a:pt x="430" y="440"/>
                </a:lnTo>
                <a:lnTo>
                  <a:pt x="423" y="442"/>
                </a:lnTo>
                <a:lnTo>
                  <a:pt x="414" y="444"/>
                </a:lnTo>
                <a:lnTo>
                  <a:pt x="405" y="445"/>
                </a:lnTo>
                <a:lnTo>
                  <a:pt x="402" y="445"/>
                </a:lnTo>
                <a:lnTo>
                  <a:pt x="398" y="444"/>
                </a:lnTo>
                <a:lnTo>
                  <a:pt x="396" y="444"/>
                </a:lnTo>
                <a:lnTo>
                  <a:pt x="395" y="443"/>
                </a:lnTo>
                <a:lnTo>
                  <a:pt x="395" y="442"/>
                </a:lnTo>
                <a:lnTo>
                  <a:pt x="396" y="439"/>
                </a:lnTo>
                <a:lnTo>
                  <a:pt x="404" y="435"/>
                </a:lnTo>
                <a:lnTo>
                  <a:pt x="413" y="431"/>
                </a:lnTo>
                <a:lnTo>
                  <a:pt x="422" y="428"/>
                </a:lnTo>
                <a:lnTo>
                  <a:pt x="431" y="423"/>
                </a:lnTo>
                <a:lnTo>
                  <a:pt x="434" y="421"/>
                </a:lnTo>
                <a:lnTo>
                  <a:pt x="435" y="420"/>
                </a:lnTo>
                <a:lnTo>
                  <a:pt x="434" y="418"/>
                </a:lnTo>
                <a:lnTo>
                  <a:pt x="430" y="417"/>
                </a:lnTo>
                <a:lnTo>
                  <a:pt x="423" y="418"/>
                </a:lnTo>
                <a:lnTo>
                  <a:pt x="415" y="420"/>
                </a:lnTo>
                <a:lnTo>
                  <a:pt x="405" y="423"/>
                </a:lnTo>
                <a:lnTo>
                  <a:pt x="395" y="426"/>
                </a:lnTo>
                <a:lnTo>
                  <a:pt x="385" y="429"/>
                </a:lnTo>
                <a:lnTo>
                  <a:pt x="374" y="434"/>
                </a:lnTo>
                <a:lnTo>
                  <a:pt x="366" y="437"/>
                </a:lnTo>
                <a:lnTo>
                  <a:pt x="357" y="440"/>
                </a:lnTo>
                <a:lnTo>
                  <a:pt x="355" y="442"/>
                </a:lnTo>
                <a:lnTo>
                  <a:pt x="354" y="442"/>
                </a:lnTo>
                <a:lnTo>
                  <a:pt x="353" y="444"/>
                </a:lnTo>
                <a:lnTo>
                  <a:pt x="352" y="445"/>
                </a:lnTo>
                <a:lnTo>
                  <a:pt x="352" y="447"/>
                </a:lnTo>
                <a:lnTo>
                  <a:pt x="352" y="451"/>
                </a:lnTo>
                <a:lnTo>
                  <a:pt x="351" y="452"/>
                </a:lnTo>
                <a:lnTo>
                  <a:pt x="348" y="453"/>
                </a:lnTo>
                <a:lnTo>
                  <a:pt x="347" y="454"/>
                </a:lnTo>
                <a:lnTo>
                  <a:pt x="346" y="454"/>
                </a:lnTo>
                <a:lnTo>
                  <a:pt x="346" y="455"/>
                </a:lnTo>
                <a:lnTo>
                  <a:pt x="347" y="456"/>
                </a:lnTo>
                <a:lnTo>
                  <a:pt x="353" y="458"/>
                </a:lnTo>
                <a:lnTo>
                  <a:pt x="361" y="459"/>
                </a:lnTo>
                <a:lnTo>
                  <a:pt x="358" y="461"/>
                </a:lnTo>
                <a:lnTo>
                  <a:pt x="357" y="462"/>
                </a:lnTo>
                <a:lnTo>
                  <a:pt x="355" y="463"/>
                </a:lnTo>
                <a:lnTo>
                  <a:pt x="353" y="463"/>
                </a:lnTo>
                <a:lnTo>
                  <a:pt x="348" y="464"/>
                </a:lnTo>
                <a:lnTo>
                  <a:pt x="345" y="465"/>
                </a:lnTo>
                <a:lnTo>
                  <a:pt x="346" y="468"/>
                </a:lnTo>
                <a:lnTo>
                  <a:pt x="348" y="469"/>
                </a:lnTo>
                <a:lnTo>
                  <a:pt x="352" y="469"/>
                </a:lnTo>
                <a:lnTo>
                  <a:pt x="355" y="468"/>
                </a:lnTo>
                <a:lnTo>
                  <a:pt x="362" y="464"/>
                </a:lnTo>
                <a:lnTo>
                  <a:pt x="368" y="462"/>
                </a:lnTo>
                <a:lnTo>
                  <a:pt x="370" y="463"/>
                </a:lnTo>
                <a:lnTo>
                  <a:pt x="371" y="465"/>
                </a:lnTo>
                <a:lnTo>
                  <a:pt x="371" y="468"/>
                </a:lnTo>
                <a:lnTo>
                  <a:pt x="371" y="471"/>
                </a:lnTo>
                <a:lnTo>
                  <a:pt x="370" y="473"/>
                </a:lnTo>
                <a:lnTo>
                  <a:pt x="369" y="475"/>
                </a:lnTo>
                <a:lnTo>
                  <a:pt x="366" y="476"/>
                </a:lnTo>
                <a:lnTo>
                  <a:pt x="364" y="477"/>
                </a:lnTo>
                <a:lnTo>
                  <a:pt x="362" y="478"/>
                </a:lnTo>
                <a:lnTo>
                  <a:pt x="358" y="479"/>
                </a:lnTo>
                <a:lnTo>
                  <a:pt x="357" y="480"/>
                </a:lnTo>
                <a:lnTo>
                  <a:pt x="357" y="484"/>
                </a:lnTo>
                <a:lnTo>
                  <a:pt x="357" y="485"/>
                </a:lnTo>
                <a:lnTo>
                  <a:pt x="358" y="485"/>
                </a:lnTo>
                <a:lnTo>
                  <a:pt x="360" y="485"/>
                </a:lnTo>
                <a:lnTo>
                  <a:pt x="361" y="485"/>
                </a:lnTo>
                <a:lnTo>
                  <a:pt x="364" y="484"/>
                </a:lnTo>
                <a:lnTo>
                  <a:pt x="366" y="484"/>
                </a:lnTo>
                <a:lnTo>
                  <a:pt x="368" y="486"/>
                </a:lnTo>
                <a:lnTo>
                  <a:pt x="368" y="487"/>
                </a:lnTo>
                <a:lnTo>
                  <a:pt x="366" y="489"/>
                </a:lnTo>
                <a:lnTo>
                  <a:pt x="363" y="490"/>
                </a:lnTo>
                <a:lnTo>
                  <a:pt x="357" y="494"/>
                </a:lnTo>
                <a:lnTo>
                  <a:pt x="353" y="497"/>
                </a:lnTo>
                <a:lnTo>
                  <a:pt x="358" y="500"/>
                </a:lnTo>
                <a:lnTo>
                  <a:pt x="365" y="503"/>
                </a:lnTo>
                <a:lnTo>
                  <a:pt x="368" y="505"/>
                </a:lnTo>
                <a:lnTo>
                  <a:pt x="370" y="508"/>
                </a:lnTo>
                <a:lnTo>
                  <a:pt x="370" y="510"/>
                </a:lnTo>
                <a:lnTo>
                  <a:pt x="370" y="512"/>
                </a:lnTo>
                <a:lnTo>
                  <a:pt x="369" y="514"/>
                </a:lnTo>
                <a:lnTo>
                  <a:pt x="368" y="516"/>
                </a:lnTo>
                <a:lnTo>
                  <a:pt x="368" y="517"/>
                </a:lnTo>
                <a:lnTo>
                  <a:pt x="370" y="518"/>
                </a:lnTo>
                <a:lnTo>
                  <a:pt x="374" y="518"/>
                </a:lnTo>
                <a:lnTo>
                  <a:pt x="379" y="519"/>
                </a:lnTo>
                <a:lnTo>
                  <a:pt x="373" y="521"/>
                </a:lnTo>
                <a:lnTo>
                  <a:pt x="369" y="523"/>
                </a:lnTo>
                <a:lnTo>
                  <a:pt x="366" y="526"/>
                </a:lnTo>
                <a:lnTo>
                  <a:pt x="365" y="528"/>
                </a:lnTo>
                <a:lnTo>
                  <a:pt x="364" y="530"/>
                </a:lnTo>
                <a:lnTo>
                  <a:pt x="365" y="534"/>
                </a:lnTo>
                <a:lnTo>
                  <a:pt x="368" y="535"/>
                </a:lnTo>
                <a:lnTo>
                  <a:pt x="370" y="537"/>
                </a:lnTo>
                <a:lnTo>
                  <a:pt x="372" y="538"/>
                </a:lnTo>
                <a:lnTo>
                  <a:pt x="374" y="539"/>
                </a:lnTo>
                <a:lnTo>
                  <a:pt x="381" y="541"/>
                </a:lnTo>
                <a:lnTo>
                  <a:pt x="386" y="543"/>
                </a:lnTo>
                <a:lnTo>
                  <a:pt x="382" y="544"/>
                </a:lnTo>
                <a:lnTo>
                  <a:pt x="378" y="546"/>
                </a:lnTo>
                <a:lnTo>
                  <a:pt x="376" y="550"/>
                </a:lnTo>
                <a:lnTo>
                  <a:pt x="373" y="553"/>
                </a:lnTo>
                <a:lnTo>
                  <a:pt x="369" y="553"/>
                </a:lnTo>
                <a:lnTo>
                  <a:pt x="363" y="553"/>
                </a:lnTo>
                <a:lnTo>
                  <a:pt x="361" y="554"/>
                </a:lnTo>
                <a:lnTo>
                  <a:pt x="360" y="556"/>
                </a:lnTo>
                <a:lnTo>
                  <a:pt x="361" y="559"/>
                </a:lnTo>
                <a:lnTo>
                  <a:pt x="362" y="560"/>
                </a:lnTo>
                <a:lnTo>
                  <a:pt x="365" y="562"/>
                </a:lnTo>
                <a:lnTo>
                  <a:pt x="369" y="563"/>
                </a:lnTo>
                <a:lnTo>
                  <a:pt x="379" y="562"/>
                </a:lnTo>
                <a:lnTo>
                  <a:pt x="388" y="560"/>
                </a:lnTo>
                <a:lnTo>
                  <a:pt x="396" y="566"/>
                </a:lnTo>
                <a:lnTo>
                  <a:pt x="405" y="571"/>
                </a:lnTo>
                <a:lnTo>
                  <a:pt x="410" y="570"/>
                </a:lnTo>
                <a:lnTo>
                  <a:pt x="413" y="569"/>
                </a:lnTo>
                <a:lnTo>
                  <a:pt x="418" y="569"/>
                </a:lnTo>
                <a:lnTo>
                  <a:pt x="422" y="570"/>
                </a:lnTo>
                <a:lnTo>
                  <a:pt x="431" y="575"/>
                </a:lnTo>
                <a:lnTo>
                  <a:pt x="440" y="577"/>
                </a:lnTo>
                <a:lnTo>
                  <a:pt x="431" y="581"/>
                </a:lnTo>
                <a:lnTo>
                  <a:pt x="422" y="586"/>
                </a:lnTo>
                <a:lnTo>
                  <a:pt x="427" y="592"/>
                </a:lnTo>
                <a:lnTo>
                  <a:pt x="434" y="596"/>
                </a:lnTo>
                <a:lnTo>
                  <a:pt x="442" y="596"/>
                </a:lnTo>
                <a:lnTo>
                  <a:pt x="448" y="595"/>
                </a:lnTo>
                <a:lnTo>
                  <a:pt x="451" y="595"/>
                </a:lnTo>
                <a:lnTo>
                  <a:pt x="452" y="596"/>
                </a:lnTo>
                <a:lnTo>
                  <a:pt x="452" y="597"/>
                </a:lnTo>
                <a:lnTo>
                  <a:pt x="451" y="597"/>
                </a:lnTo>
                <a:lnTo>
                  <a:pt x="447" y="600"/>
                </a:lnTo>
                <a:lnTo>
                  <a:pt x="446" y="602"/>
                </a:lnTo>
                <a:lnTo>
                  <a:pt x="446" y="604"/>
                </a:lnTo>
                <a:lnTo>
                  <a:pt x="447" y="606"/>
                </a:lnTo>
                <a:lnTo>
                  <a:pt x="450" y="608"/>
                </a:lnTo>
                <a:lnTo>
                  <a:pt x="453" y="608"/>
                </a:lnTo>
                <a:lnTo>
                  <a:pt x="459" y="609"/>
                </a:lnTo>
                <a:lnTo>
                  <a:pt x="463" y="609"/>
                </a:lnTo>
                <a:lnTo>
                  <a:pt x="462" y="611"/>
                </a:lnTo>
                <a:lnTo>
                  <a:pt x="461" y="613"/>
                </a:lnTo>
                <a:lnTo>
                  <a:pt x="461" y="616"/>
                </a:lnTo>
                <a:lnTo>
                  <a:pt x="464" y="618"/>
                </a:lnTo>
                <a:lnTo>
                  <a:pt x="465" y="618"/>
                </a:lnTo>
                <a:lnTo>
                  <a:pt x="468" y="618"/>
                </a:lnTo>
                <a:lnTo>
                  <a:pt x="469" y="619"/>
                </a:lnTo>
                <a:lnTo>
                  <a:pt x="469" y="621"/>
                </a:lnTo>
                <a:lnTo>
                  <a:pt x="469" y="624"/>
                </a:lnTo>
                <a:lnTo>
                  <a:pt x="468" y="625"/>
                </a:lnTo>
                <a:lnTo>
                  <a:pt x="465" y="626"/>
                </a:lnTo>
                <a:lnTo>
                  <a:pt x="463" y="627"/>
                </a:lnTo>
                <a:lnTo>
                  <a:pt x="455" y="628"/>
                </a:lnTo>
                <a:lnTo>
                  <a:pt x="450" y="630"/>
                </a:lnTo>
                <a:lnTo>
                  <a:pt x="448" y="631"/>
                </a:lnTo>
                <a:lnTo>
                  <a:pt x="450" y="633"/>
                </a:lnTo>
                <a:lnTo>
                  <a:pt x="451" y="634"/>
                </a:lnTo>
                <a:lnTo>
                  <a:pt x="453" y="634"/>
                </a:lnTo>
                <a:lnTo>
                  <a:pt x="458" y="633"/>
                </a:lnTo>
                <a:lnTo>
                  <a:pt x="460" y="631"/>
                </a:lnTo>
                <a:lnTo>
                  <a:pt x="464" y="630"/>
                </a:lnTo>
                <a:lnTo>
                  <a:pt x="470" y="631"/>
                </a:lnTo>
                <a:lnTo>
                  <a:pt x="473" y="634"/>
                </a:lnTo>
                <a:lnTo>
                  <a:pt x="478" y="636"/>
                </a:lnTo>
                <a:lnTo>
                  <a:pt x="481" y="634"/>
                </a:lnTo>
                <a:lnTo>
                  <a:pt x="486" y="634"/>
                </a:lnTo>
                <a:lnTo>
                  <a:pt x="487" y="635"/>
                </a:lnTo>
                <a:lnTo>
                  <a:pt x="488" y="636"/>
                </a:lnTo>
                <a:lnTo>
                  <a:pt x="491" y="636"/>
                </a:lnTo>
                <a:lnTo>
                  <a:pt x="493" y="636"/>
                </a:lnTo>
                <a:lnTo>
                  <a:pt x="498" y="636"/>
                </a:lnTo>
                <a:lnTo>
                  <a:pt x="505" y="636"/>
                </a:lnTo>
                <a:lnTo>
                  <a:pt x="510" y="635"/>
                </a:lnTo>
                <a:lnTo>
                  <a:pt x="514" y="634"/>
                </a:lnTo>
                <a:lnTo>
                  <a:pt x="520" y="634"/>
                </a:lnTo>
                <a:lnTo>
                  <a:pt x="526" y="634"/>
                </a:lnTo>
                <a:lnTo>
                  <a:pt x="530" y="634"/>
                </a:lnTo>
                <a:lnTo>
                  <a:pt x="534" y="635"/>
                </a:lnTo>
                <a:lnTo>
                  <a:pt x="537" y="633"/>
                </a:lnTo>
                <a:lnTo>
                  <a:pt x="541" y="631"/>
                </a:lnTo>
                <a:lnTo>
                  <a:pt x="547" y="630"/>
                </a:lnTo>
                <a:lnTo>
                  <a:pt x="553" y="629"/>
                </a:lnTo>
                <a:lnTo>
                  <a:pt x="566" y="628"/>
                </a:lnTo>
                <a:lnTo>
                  <a:pt x="578" y="627"/>
                </a:lnTo>
                <a:lnTo>
                  <a:pt x="588" y="624"/>
                </a:lnTo>
                <a:lnTo>
                  <a:pt x="599" y="622"/>
                </a:lnTo>
                <a:lnTo>
                  <a:pt x="602" y="622"/>
                </a:lnTo>
                <a:lnTo>
                  <a:pt x="607" y="624"/>
                </a:lnTo>
                <a:lnTo>
                  <a:pt x="610" y="624"/>
                </a:lnTo>
                <a:lnTo>
                  <a:pt x="613" y="621"/>
                </a:lnTo>
                <a:lnTo>
                  <a:pt x="617" y="618"/>
                </a:lnTo>
                <a:lnTo>
                  <a:pt x="618" y="616"/>
                </a:lnTo>
                <a:lnTo>
                  <a:pt x="619" y="614"/>
                </a:lnTo>
                <a:lnTo>
                  <a:pt x="620" y="613"/>
                </a:lnTo>
                <a:lnTo>
                  <a:pt x="623" y="613"/>
                </a:lnTo>
                <a:lnTo>
                  <a:pt x="625" y="614"/>
                </a:lnTo>
                <a:lnTo>
                  <a:pt x="629" y="617"/>
                </a:lnTo>
                <a:lnTo>
                  <a:pt x="635" y="619"/>
                </a:lnTo>
                <a:lnTo>
                  <a:pt x="640" y="621"/>
                </a:lnTo>
                <a:lnTo>
                  <a:pt x="645" y="621"/>
                </a:lnTo>
                <a:lnTo>
                  <a:pt x="658" y="621"/>
                </a:lnTo>
                <a:lnTo>
                  <a:pt x="670" y="620"/>
                </a:lnTo>
                <a:lnTo>
                  <a:pt x="683" y="619"/>
                </a:lnTo>
                <a:lnTo>
                  <a:pt x="695" y="618"/>
                </a:lnTo>
                <a:lnTo>
                  <a:pt x="702" y="618"/>
                </a:lnTo>
                <a:lnTo>
                  <a:pt x="709" y="617"/>
                </a:lnTo>
                <a:lnTo>
                  <a:pt x="714" y="616"/>
                </a:lnTo>
                <a:lnTo>
                  <a:pt x="719" y="614"/>
                </a:lnTo>
                <a:lnTo>
                  <a:pt x="734" y="616"/>
                </a:lnTo>
                <a:lnTo>
                  <a:pt x="748" y="616"/>
                </a:lnTo>
                <a:lnTo>
                  <a:pt x="751" y="616"/>
                </a:lnTo>
                <a:lnTo>
                  <a:pt x="753" y="616"/>
                </a:lnTo>
                <a:lnTo>
                  <a:pt x="755" y="614"/>
                </a:lnTo>
                <a:lnTo>
                  <a:pt x="756" y="613"/>
                </a:lnTo>
                <a:lnTo>
                  <a:pt x="759" y="612"/>
                </a:lnTo>
                <a:lnTo>
                  <a:pt x="763" y="612"/>
                </a:lnTo>
                <a:lnTo>
                  <a:pt x="765" y="611"/>
                </a:lnTo>
                <a:lnTo>
                  <a:pt x="766" y="611"/>
                </a:lnTo>
                <a:lnTo>
                  <a:pt x="766" y="610"/>
                </a:lnTo>
                <a:lnTo>
                  <a:pt x="766" y="609"/>
                </a:lnTo>
                <a:lnTo>
                  <a:pt x="763" y="608"/>
                </a:lnTo>
                <a:lnTo>
                  <a:pt x="760" y="605"/>
                </a:lnTo>
                <a:lnTo>
                  <a:pt x="766" y="605"/>
                </a:lnTo>
                <a:lnTo>
                  <a:pt x="772" y="603"/>
                </a:lnTo>
                <a:lnTo>
                  <a:pt x="774" y="603"/>
                </a:lnTo>
                <a:lnTo>
                  <a:pt x="777" y="602"/>
                </a:lnTo>
                <a:lnTo>
                  <a:pt x="780" y="603"/>
                </a:lnTo>
                <a:lnTo>
                  <a:pt x="783" y="604"/>
                </a:lnTo>
                <a:lnTo>
                  <a:pt x="786" y="608"/>
                </a:lnTo>
                <a:lnTo>
                  <a:pt x="791" y="610"/>
                </a:lnTo>
                <a:lnTo>
                  <a:pt x="798" y="610"/>
                </a:lnTo>
                <a:lnTo>
                  <a:pt x="804" y="609"/>
                </a:lnTo>
                <a:lnTo>
                  <a:pt x="819" y="608"/>
                </a:lnTo>
                <a:lnTo>
                  <a:pt x="834" y="608"/>
                </a:lnTo>
                <a:lnTo>
                  <a:pt x="850" y="608"/>
                </a:lnTo>
                <a:lnTo>
                  <a:pt x="865" y="608"/>
                </a:lnTo>
                <a:lnTo>
                  <a:pt x="881" y="608"/>
                </a:lnTo>
                <a:lnTo>
                  <a:pt x="896" y="608"/>
                </a:lnTo>
                <a:lnTo>
                  <a:pt x="903" y="606"/>
                </a:lnTo>
                <a:lnTo>
                  <a:pt x="909" y="606"/>
                </a:lnTo>
                <a:lnTo>
                  <a:pt x="912" y="609"/>
                </a:lnTo>
                <a:lnTo>
                  <a:pt x="913" y="612"/>
                </a:lnTo>
                <a:lnTo>
                  <a:pt x="915" y="616"/>
                </a:lnTo>
                <a:lnTo>
                  <a:pt x="918" y="617"/>
                </a:lnTo>
                <a:lnTo>
                  <a:pt x="923" y="617"/>
                </a:lnTo>
                <a:lnTo>
                  <a:pt x="928" y="616"/>
                </a:lnTo>
                <a:lnTo>
                  <a:pt x="932" y="616"/>
                </a:lnTo>
                <a:lnTo>
                  <a:pt x="938" y="614"/>
                </a:lnTo>
                <a:lnTo>
                  <a:pt x="942" y="616"/>
                </a:lnTo>
                <a:lnTo>
                  <a:pt x="946" y="614"/>
                </a:lnTo>
                <a:lnTo>
                  <a:pt x="950" y="616"/>
                </a:lnTo>
                <a:lnTo>
                  <a:pt x="956" y="616"/>
                </a:lnTo>
                <a:lnTo>
                  <a:pt x="958" y="614"/>
                </a:lnTo>
                <a:lnTo>
                  <a:pt x="962" y="614"/>
                </a:lnTo>
                <a:lnTo>
                  <a:pt x="964" y="614"/>
                </a:lnTo>
                <a:lnTo>
                  <a:pt x="966" y="616"/>
                </a:lnTo>
                <a:lnTo>
                  <a:pt x="969" y="614"/>
                </a:lnTo>
                <a:lnTo>
                  <a:pt x="969" y="613"/>
                </a:lnTo>
                <a:lnTo>
                  <a:pt x="969" y="612"/>
                </a:lnTo>
                <a:lnTo>
                  <a:pt x="967" y="611"/>
                </a:lnTo>
                <a:lnTo>
                  <a:pt x="963" y="610"/>
                </a:lnTo>
                <a:lnTo>
                  <a:pt x="959" y="610"/>
                </a:lnTo>
                <a:lnTo>
                  <a:pt x="962" y="608"/>
                </a:lnTo>
                <a:lnTo>
                  <a:pt x="966" y="608"/>
                </a:lnTo>
                <a:lnTo>
                  <a:pt x="972" y="608"/>
                </a:lnTo>
                <a:lnTo>
                  <a:pt x="975" y="608"/>
                </a:lnTo>
                <a:lnTo>
                  <a:pt x="981" y="608"/>
                </a:lnTo>
                <a:lnTo>
                  <a:pt x="987" y="608"/>
                </a:lnTo>
                <a:lnTo>
                  <a:pt x="990" y="605"/>
                </a:lnTo>
                <a:lnTo>
                  <a:pt x="995" y="605"/>
                </a:lnTo>
                <a:lnTo>
                  <a:pt x="996" y="610"/>
                </a:lnTo>
                <a:lnTo>
                  <a:pt x="996" y="616"/>
                </a:lnTo>
                <a:lnTo>
                  <a:pt x="1000" y="617"/>
                </a:lnTo>
                <a:lnTo>
                  <a:pt x="1006" y="617"/>
                </a:lnTo>
                <a:lnTo>
                  <a:pt x="1012" y="616"/>
                </a:lnTo>
                <a:lnTo>
                  <a:pt x="1016" y="613"/>
                </a:lnTo>
                <a:lnTo>
                  <a:pt x="1014" y="612"/>
                </a:lnTo>
                <a:lnTo>
                  <a:pt x="1012" y="611"/>
                </a:lnTo>
                <a:lnTo>
                  <a:pt x="1011" y="610"/>
                </a:lnTo>
                <a:lnTo>
                  <a:pt x="1011" y="606"/>
                </a:lnTo>
                <a:lnTo>
                  <a:pt x="1012" y="605"/>
                </a:lnTo>
                <a:lnTo>
                  <a:pt x="1014" y="604"/>
                </a:lnTo>
                <a:lnTo>
                  <a:pt x="1016" y="604"/>
                </a:lnTo>
                <a:lnTo>
                  <a:pt x="1020" y="604"/>
                </a:lnTo>
                <a:lnTo>
                  <a:pt x="1024" y="605"/>
                </a:lnTo>
                <a:lnTo>
                  <a:pt x="1029" y="605"/>
                </a:lnTo>
                <a:lnTo>
                  <a:pt x="1032" y="602"/>
                </a:lnTo>
                <a:lnTo>
                  <a:pt x="1035" y="597"/>
                </a:lnTo>
                <a:lnTo>
                  <a:pt x="1038" y="595"/>
                </a:lnTo>
                <a:lnTo>
                  <a:pt x="1041" y="594"/>
                </a:lnTo>
                <a:lnTo>
                  <a:pt x="1046" y="593"/>
                </a:lnTo>
                <a:lnTo>
                  <a:pt x="1050" y="592"/>
                </a:lnTo>
                <a:lnTo>
                  <a:pt x="1054" y="594"/>
                </a:lnTo>
                <a:lnTo>
                  <a:pt x="1056" y="596"/>
                </a:lnTo>
                <a:lnTo>
                  <a:pt x="1055" y="600"/>
                </a:lnTo>
                <a:lnTo>
                  <a:pt x="1053" y="602"/>
                </a:lnTo>
                <a:lnTo>
                  <a:pt x="1053" y="604"/>
                </a:lnTo>
                <a:lnTo>
                  <a:pt x="1053" y="605"/>
                </a:lnTo>
                <a:lnTo>
                  <a:pt x="1055" y="606"/>
                </a:lnTo>
                <a:lnTo>
                  <a:pt x="1057" y="606"/>
                </a:lnTo>
                <a:lnTo>
                  <a:pt x="1062" y="606"/>
                </a:lnTo>
                <a:lnTo>
                  <a:pt x="1065" y="606"/>
                </a:lnTo>
                <a:lnTo>
                  <a:pt x="1074" y="606"/>
                </a:lnTo>
                <a:lnTo>
                  <a:pt x="1083" y="609"/>
                </a:lnTo>
                <a:lnTo>
                  <a:pt x="1089" y="610"/>
                </a:lnTo>
                <a:lnTo>
                  <a:pt x="1093" y="610"/>
                </a:lnTo>
                <a:lnTo>
                  <a:pt x="1097" y="609"/>
                </a:lnTo>
                <a:lnTo>
                  <a:pt x="1102" y="606"/>
                </a:lnTo>
                <a:lnTo>
                  <a:pt x="1093" y="604"/>
                </a:lnTo>
                <a:lnTo>
                  <a:pt x="1082" y="602"/>
                </a:lnTo>
                <a:lnTo>
                  <a:pt x="1078" y="603"/>
                </a:lnTo>
                <a:lnTo>
                  <a:pt x="1072" y="603"/>
                </a:lnTo>
                <a:lnTo>
                  <a:pt x="1070" y="603"/>
                </a:lnTo>
                <a:lnTo>
                  <a:pt x="1068" y="602"/>
                </a:lnTo>
                <a:lnTo>
                  <a:pt x="1065" y="601"/>
                </a:lnTo>
                <a:lnTo>
                  <a:pt x="1064" y="600"/>
                </a:lnTo>
                <a:lnTo>
                  <a:pt x="1062" y="597"/>
                </a:lnTo>
                <a:lnTo>
                  <a:pt x="1062" y="596"/>
                </a:lnTo>
                <a:lnTo>
                  <a:pt x="1063" y="595"/>
                </a:lnTo>
                <a:lnTo>
                  <a:pt x="1065" y="595"/>
                </a:lnTo>
                <a:lnTo>
                  <a:pt x="1069" y="594"/>
                </a:lnTo>
                <a:lnTo>
                  <a:pt x="1073" y="594"/>
                </a:lnTo>
                <a:lnTo>
                  <a:pt x="1077" y="594"/>
                </a:lnTo>
                <a:lnTo>
                  <a:pt x="1081" y="593"/>
                </a:lnTo>
                <a:lnTo>
                  <a:pt x="1086" y="592"/>
                </a:lnTo>
                <a:lnTo>
                  <a:pt x="1089" y="591"/>
                </a:lnTo>
                <a:lnTo>
                  <a:pt x="1095" y="594"/>
                </a:lnTo>
                <a:lnTo>
                  <a:pt x="1102" y="594"/>
                </a:lnTo>
                <a:lnTo>
                  <a:pt x="1106" y="589"/>
                </a:lnTo>
                <a:lnTo>
                  <a:pt x="1112" y="585"/>
                </a:lnTo>
                <a:lnTo>
                  <a:pt x="1116" y="585"/>
                </a:lnTo>
                <a:lnTo>
                  <a:pt x="1121" y="586"/>
                </a:lnTo>
                <a:lnTo>
                  <a:pt x="1124" y="587"/>
                </a:lnTo>
                <a:lnTo>
                  <a:pt x="1127" y="589"/>
                </a:lnTo>
                <a:lnTo>
                  <a:pt x="1131" y="589"/>
                </a:lnTo>
                <a:lnTo>
                  <a:pt x="1135" y="589"/>
                </a:lnTo>
                <a:lnTo>
                  <a:pt x="1140" y="589"/>
                </a:lnTo>
                <a:lnTo>
                  <a:pt x="1147" y="589"/>
                </a:lnTo>
                <a:lnTo>
                  <a:pt x="1149" y="588"/>
                </a:lnTo>
                <a:lnTo>
                  <a:pt x="1154" y="587"/>
                </a:lnTo>
                <a:lnTo>
                  <a:pt x="1155" y="587"/>
                </a:lnTo>
                <a:lnTo>
                  <a:pt x="1156" y="587"/>
                </a:lnTo>
                <a:lnTo>
                  <a:pt x="1159" y="587"/>
                </a:lnTo>
                <a:lnTo>
                  <a:pt x="1159" y="589"/>
                </a:lnTo>
                <a:lnTo>
                  <a:pt x="1160" y="592"/>
                </a:lnTo>
                <a:lnTo>
                  <a:pt x="1159" y="595"/>
                </a:lnTo>
                <a:lnTo>
                  <a:pt x="1159" y="596"/>
                </a:lnTo>
                <a:lnTo>
                  <a:pt x="1160" y="597"/>
                </a:lnTo>
                <a:lnTo>
                  <a:pt x="1161" y="597"/>
                </a:lnTo>
                <a:lnTo>
                  <a:pt x="1163" y="599"/>
                </a:lnTo>
                <a:lnTo>
                  <a:pt x="1175" y="600"/>
                </a:lnTo>
                <a:lnTo>
                  <a:pt x="1186" y="600"/>
                </a:lnTo>
                <a:lnTo>
                  <a:pt x="1194" y="599"/>
                </a:lnTo>
                <a:lnTo>
                  <a:pt x="1201" y="599"/>
                </a:lnTo>
                <a:lnTo>
                  <a:pt x="1205" y="600"/>
                </a:lnTo>
                <a:lnTo>
                  <a:pt x="1210" y="599"/>
                </a:lnTo>
                <a:lnTo>
                  <a:pt x="1212" y="597"/>
                </a:lnTo>
                <a:lnTo>
                  <a:pt x="1214" y="597"/>
                </a:lnTo>
                <a:lnTo>
                  <a:pt x="1216" y="599"/>
                </a:lnTo>
                <a:lnTo>
                  <a:pt x="1217" y="601"/>
                </a:lnTo>
                <a:lnTo>
                  <a:pt x="1221" y="603"/>
                </a:lnTo>
                <a:lnTo>
                  <a:pt x="1225" y="603"/>
                </a:lnTo>
                <a:lnTo>
                  <a:pt x="1229" y="602"/>
                </a:lnTo>
                <a:lnTo>
                  <a:pt x="1234" y="600"/>
                </a:lnTo>
                <a:lnTo>
                  <a:pt x="1235" y="597"/>
                </a:lnTo>
                <a:lnTo>
                  <a:pt x="1237" y="594"/>
                </a:lnTo>
                <a:lnTo>
                  <a:pt x="1239" y="593"/>
                </a:lnTo>
                <a:lnTo>
                  <a:pt x="1243" y="592"/>
                </a:lnTo>
                <a:lnTo>
                  <a:pt x="1253" y="592"/>
                </a:lnTo>
                <a:lnTo>
                  <a:pt x="1263" y="593"/>
                </a:lnTo>
                <a:lnTo>
                  <a:pt x="1276" y="594"/>
                </a:lnTo>
                <a:lnTo>
                  <a:pt x="1289" y="595"/>
                </a:lnTo>
                <a:lnTo>
                  <a:pt x="1303" y="596"/>
                </a:lnTo>
                <a:lnTo>
                  <a:pt x="1316" y="599"/>
                </a:lnTo>
                <a:lnTo>
                  <a:pt x="1329" y="600"/>
                </a:lnTo>
                <a:lnTo>
                  <a:pt x="1344" y="602"/>
                </a:lnTo>
                <a:lnTo>
                  <a:pt x="1358" y="603"/>
                </a:lnTo>
                <a:lnTo>
                  <a:pt x="1370" y="603"/>
                </a:lnTo>
                <a:lnTo>
                  <a:pt x="1369" y="600"/>
                </a:lnTo>
                <a:lnTo>
                  <a:pt x="1367" y="599"/>
                </a:lnTo>
                <a:lnTo>
                  <a:pt x="1363" y="599"/>
                </a:lnTo>
                <a:lnTo>
                  <a:pt x="1361" y="599"/>
                </a:lnTo>
                <a:lnTo>
                  <a:pt x="1352" y="596"/>
                </a:lnTo>
                <a:lnTo>
                  <a:pt x="1343" y="595"/>
                </a:lnTo>
                <a:lnTo>
                  <a:pt x="1335" y="595"/>
                </a:lnTo>
                <a:lnTo>
                  <a:pt x="1328" y="594"/>
                </a:lnTo>
                <a:lnTo>
                  <a:pt x="1327" y="593"/>
                </a:lnTo>
                <a:lnTo>
                  <a:pt x="1326" y="592"/>
                </a:lnTo>
                <a:lnTo>
                  <a:pt x="1326" y="591"/>
                </a:lnTo>
                <a:lnTo>
                  <a:pt x="1328" y="588"/>
                </a:lnTo>
                <a:lnTo>
                  <a:pt x="1334" y="588"/>
                </a:lnTo>
                <a:lnTo>
                  <a:pt x="1341" y="589"/>
                </a:lnTo>
                <a:lnTo>
                  <a:pt x="1348" y="591"/>
                </a:lnTo>
                <a:lnTo>
                  <a:pt x="1355" y="592"/>
                </a:lnTo>
                <a:lnTo>
                  <a:pt x="1362" y="594"/>
                </a:lnTo>
                <a:lnTo>
                  <a:pt x="1370" y="594"/>
                </a:lnTo>
                <a:lnTo>
                  <a:pt x="1371" y="592"/>
                </a:lnTo>
                <a:lnTo>
                  <a:pt x="1374" y="589"/>
                </a:lnTo>
                <a:lnTo>
                  <a:pt x="1377" y="588"/>
                </a:lnTo>
                <a:lnTo>
                  <a:pt x="1379" y="589"/>
                </a:lnTo>
                <a:lnTo>
                  <a:pt x="1385" y="588"/>
                </a:lnTo>
                <a:lnTo>
                  <a:pt x="1390" y="586"/>
                </a:lnTo>
                <a:lnTo>
                  <a:pt x="1393" y="584"/>
                </a:lnTo>
                <a:lnTo>
                  <a:pt x="1396" y="584"/>
                </a:lnTo>
                <a:lnTo>
                  <a:pt x="1401" y="584"/>
                </a:lnTo>
                <a:lnTo>
                  <a:pt x="1404" y="585"/>
                </a:lnTo>
                <a:lnTo>
                  <a:pt x="1414" y="586"/>
                </a:lnTo>
                <a:lnTo>
                  <a:pt x="1420" y="587"/>
                </a:lnTo>
                <a:lnTo>
                  <a:pt x="1427" y="587"/>
                </a:lnTo>
                <a:lnTo>
                  <a:pt x="1433" y="586"/>
                </a:lnTo>
                <a:lnTo>
                  <a:pt x="1440" y="587"/>
                </a:lnTo>
                <a:lnTo>
                  <a:pt x="1445" y="589"/>
                </a:lnTo>
                <a:lnTo>
                  <a:pt x="1453" y="591"/>
                </a:lnTo>
                <a:lnTo>
                  <a:pt x="1461" y="593"/>
                </a:lnTo>
                <a:lnTo>
                  <a:pt x="1468" y="595"/>
                </a:lnTo>
                <a:lnTo>
                  <a:pt x="1474" y="601"/>
                </a:lnTo>
                <a:lnTo>
                  <a:pt x="1465" y="599"/>
                </a:lnTo>
                <a:lnTo>
                  <a:pt x="1455" y="595"/>
                </a:lnTo>
                <a:lnTo>
                  <a:pt x="1450" y="596"/>
                </a:lnTo>
                <a:lnTo>
                  <a:pt x="1445" y="597"/>
                </a:lnTo>
                <a:lnTo>
                  <a:pt x="1439" y="596"/>
                </a:lnTo>
                <a:lnTo>
                  <a:pt x="1433" y="597"/>
                </a:lnTo>
                <a:lnTo>
                  <a:pt x="1440" y="601"/>
                </a:lnTo>
                <a:lnTo>
                  <a:pt x="1448" y="604"/>
                </a:lnTo>
                <a:lnTo>
                  <a:pt x="1457" y="605"/>
                </a:lnTo>
                <a:lnTo>
                  <a:pt x="1465" y="606"/>
                </a:lnTo>
                <a:lnTo>
                  <a:pt x="1469" y="606"/>
                </a:lnTo>
                <a:lnTo>
                  <a:pt x="1474" y="606"/>
                </a:lnTo>
                <a:lnTo>
                  <a:pt x="1478" y="606"/>
                </a:lnTo>
                <a:lnTo>
                  <a:pt x="1484" y="608"/>
                </a:lnTo>
                <a:lnTo>
                  <a:pt x="1488" y="609"/>
                </a:lnTo>
                <a:lnTo>
                  <a:pt x="1493" y="609"/>
                </a:lnTo>
                <a:lnTo>
                  <a:pt x="1499" y="609"/>
                </a:lnTo>
                <a:lnTo>
                  <a:pt x="1501" y="606"/>
                </a:lnTo>
                <a:lnTo>
                  <a:pt x="1501" y="609"/>
                </a:lnTo>
                <a:lnTo>
                  <a:pt x="1501" y="611"/>
                </a:lnTo>
                <a:lnTo>
                  <a:pt x="1502" y="611"/>
                </a:lnTo>
                <a:lnTo>
                  <a:pt x="1505" y="611"/>
                </a:lnTo>
                <a:lnTo>
                  <a:pt x="1507" y="609"/>
                </a:lnTo>
                <a:lnTo>
                  <a:pt x="1509" y="606"/>
                </a:lnTo>
                <a:lnTo>
                  <a:pt x="1513" y="608"/>
                </a:lnTo>
                <a:lnTo>
                  <a:pt x="1516" y="608"/>
                </a:lnTo>
                <a:lnTo>
                  <a:pt x="1521" y="608"/>
                </a:lnTo>
                <a:lnTo>
                  <a:pt x="1524" y="606"/>
                </a:lnTo>
                <a:lnTo>
                  <a:pt x="1528" y="609"/>
                </a:lnTo>
                <a:lnTo>
                  <a:pt x="1531" y="611"/>
                </a:lnTo>
                <a:lnTo>
                  <a:pt x="1533" y="614"/>
                </a:lnTo>
                <a:lnTo>
                  <a:pt x="1535" y="617"/>
                </a:lnTo>
                <a:lnTo>
                  <a:pt x="1539" y="619"/>
                </a:lnTo>
                <a:lnTo>
                  <a:pt x="1543" y="620"/>
                </a:lnTo>
                <a:lnTo>
                  <a:pt x="1544" y="617"/>
                </a:lnTo>
                <a:lnTo>
                  <a:pt x="1544" y="613"/>
                </a:lnTo>
                <a:lnTo>
                  <a:pt x="1546" y="612"/>
                </a:lnTo>
                <a:lnTo>
                  <a:pt x="1550" y="612"/>
                </a:lnTo>
                <a:lnTo>
                  <a:pt x="1554" y="612"/>
                </a:lnTo>
                <a:lnTo>
                  <a:pt x="1557" y="613"/>
                </a:lnTo>
                <a:lnTo>
                  <a:pt x="1560" y="616"/>
                </a:lnTo>
                <a:lnTo>
                  <a:pt x="1565" y="617"/>
                </a:lnTo>
                <a:lnTo>
                  <a:pt x="1569" y="618"/>
                </a:lnTo>
                <a:lnTo>
                  <a:pt x="1573" y="617"/>
                </a:lnTo>
                <a:lnTo>
                  <a:pt x="1575" y="616"/>
                </a:lnTo>
                <a:lnTo>
                  <a:pt x="1574" y="613"/>
                </a:lnTo>
                <a:lnTo>
                  <a:pt x="1573" y="612"/>
                </a:lnTo>
                <a:lnTo>
                  <a:pt x="1571" y="610"/>
                </a:lnTo>
                <a:lnTo>
                  <a:pt x="1565" y="606"/>
                </a:lnTo>
                <a:lnTo>
                  <a:pt x="1560" y="605"/>
                </a:lnTo>
                <a:lnTo>
                  <a:pt x="1555" y="604"/>
                </a:lnTo>
                <a:lnTo>
                  <a:pt x="1550" y="603"/>
                </a:lnTo>
                <a:lnTo>
                  <a:pt x="1544" y="601"/>
                </a:lnTo>
                <a:lnTo>
                  <a:pt x="1540" y="597"/>
                </a:lnTo>
                <a:lnTo>
                  <a:pt x="1551" y="599"/>
                </a:lnTo>
                <a:lnTo>
                  <a:pt x="1564" y="602"/>
                </a:lnTo>
                <a:lnTo>
                  <a:pt x="1569" y="603"/>
                </a:lnTo>
                <a:lnTo>
                  <a:pt x="1574" y="602"/>
                </a:lnTo>
                <a:lnTo>
                  <a:pt x="1577" y="600"/>
                </a:lnTo>
                <a:lnTo>
                  <a:pt x="1580" y="599"/>
                </a:lnTo>
                <a:lnTo>
                  <a:pt x="1581" y="602"/>
                </a:lnTo>
                <a:lnTo>
                  <a:pt x="1581" y="606"/>
                </a:lnTo>
                <a:lnTo>
                  <a:pt x="1584" y="608"/>
                </a:lnTo>
                <a:lnTo>
                  <a:pt x="1588" y="609"/>
                </a:lnTo>
                <a:lnTo>
                  <a:pt x="1592" y="610"/>
                </a:lnTo>
                <a:lnTo>
                  <a:pt x="1600" y="611"/>
                </a:lnTo>
                <a:lnTo>
                  <a:pt x="1604" y="612"/>
                </a:lnTo>
                <a:lnTo>
                  <a:pt x="1606" y="614"/>
                </a:lnTo>
                <a:lnTo>
                  <a:pt x="1607" y="616"/>
                </a:lnTo>
                <a:lnTo>
                  <a:pt x="1607" y="618"/>
                </a:lnTo>
                <a:lnTo>
                  <a:pt x="1601" y="618"/>
                </a:lnTo>
                <a:lnTo>
                  <a:pt x="1597" y="617"/>
                </a:lnTo>
                <a:lnTo>
                  <a:pt x="1590" y="614"/>
                </a:lnTo>
                <a:lnTo>
                  <a:pt x="1584" y="613"/>
                </a:lnTo>
                <a:lnTo>
                  <a:pt x="1582" y="613"/>
                </a:lnTo>
                <a:lnTo>
                  <a:pt x="1581" y="614"/>
                </a:lnTo>
                <a:lnTo>
                  <a:pt x="1580" y="616"/>
                </a:lnTo>
                <a:lnTo>
                  <a:pt x="1581" y="617"/>
                </a:lnTo>
                <a:lnTo>
                  <a:pt x="1585" y="618"/>
                </a:lnTo>
                <a:lnTo>
                  <a:pt x="1590" y="618"/>
                </a:lnTo>
                <a:lnTo>
                  <a:pt x="1599" y="621"/>
                </a:lnTo>
                <a:lnTo>
                  <a:pt x="1609" y="625"/>
                </a:lnTo>
                <a:lnTo>
                  <a:pt x="1618" y="626"/>
                </a:lnTo>
                <a:lnTo>
                  <a:pt x="1628" y="625"/>
                </a:lnTo>
                <a:lnTo>
                  <a:pt x="1623" y="624"/>
                </a:lnTo>
                <a:lnTo>
                  <a:pt x="1617" y="621"/>
                </a:lnTo>
                <a:lnTo>
                  <a:pt x="1615" y="620"/>
                </a:lnTo>
                <a:lnTo>
                  <a:pt x="1614" y="619"/>
                </a:lnTo>
                <a:lnTo>
                  <a:pt x="1614" y="617"/>
                </a:lnTo>
                <a:lnTo>
                  <a:pt x="1616" y="616"/>
                </a:lnTo>
                <a:lnTo>
                  <a:pt x="1622" y="614"/>
                </a:lnTo>
                <a:lnTo>
                  <a:pt x="1628" y="616"/>
                </a:lnTo>
                <a:lnTo>
                  <a:pt x="1631" y="616"/>
                </a:lnTo>
                <a:lnTo>
                  <a:pt x="1634" y="616"/>
                </a:lnTo>
                <a:lnTo>
                  <a:pt x="1635" y="613"/>
                </a:lnTo>
                <a:lnTo>
                  <a:pt x="1638" y="612"/>
                </a:lnTo>
                <a:lnTo>
                  <a:pt x="1641" y="614"/>
                </a:lnTo>
                <a:lnTo>
                  <a:pt x="1646" y="618"/>
                </a:lnTo>
                <a:lnTo>
                  <a:pt x="1651" y="619"/>
                </a:lnTo>
                <a:lnTo>
                  <a:pt x="1658" y="618"/>
                </a:lnTo>
                <a:lnTo>
                  <a:pt x="1665" y="619"/>
                </a:lnTo>
                <a:lnTo>
                  <a:pt x="1673" y="621"/>
                </a:lnTo>
                <a:lnTo>
                  <a:pt x="1681" y="624"/>
                </a:lnTo>
                <a:lnTo>
                  <a:pt x="1689" y="625"/>
                </a:lnTo>
                <a:lnTo>
                  <a:pt x="1692" y="625"/>
                </a:lnTo>
                <a:lnTo>
                  <a:pt x="1695" y="624"/>
                </a:lnTo>
                <a:lnTo>
                  <a:pt x="1696" y="622"/>
                </a:lnTo>
                <a:lnTo>
                  <a:pt x="1696" y="621"/>
                </a:lnTo>
                <a:lnTo>
                  <a:pt x="1695" y="617"/>
                </a:lnTo>
                <a:lnTo>
                  <a:pt x="1690" y="613"/>
                </a:lnTo>
                <a:lnTo>
                  <a:pt x="1686" y="613"/>
                </a:lnTo>
                <a:lnTo>
                  <a:pt x="1681" y="616"/>
                </a:lnTo>
                <a:lnTo>
                  <a:pt x="1673" y="614"/>
                </a:lnTo>
                <a:lnTo>
                  <a:pt x="1665" y="612"/>
                </a:lnTo>
                <a:lnTo>
                  <a:pt x="1663" y="612"/>
                </a:lnTo>
                <a:lnTo>
                  <a:pt x="1661" y="612"/>
                </a:lnTo>
                <a:lnTo>
                  <a:pt x="1659" y="611"/>
                </a:lnTo>
                <a:lnTo>
                  <a:pt x="1658" y="608"/>
                </a:lnTo>
                <a:lnTo>
                  <a:pt x="1659" y="605"/>
                </a:lnTo>
                <a:lnTo>
                  <a:pt x="1661" y="604"/>
                </a:lnTo>
                <a:lnTo>
                  <a:pt x="1662" y="604"/>
                </a:lnTo>
                <a:lnTo>
                  <a:pt x="1665" y="603"/>
                </a:lnTo>
                <a:lnTo>
                  <a:pt x="1671" y="603"/>
                </a:lnTo>
                <a:lnTo>
                  <a:pt x="1676" y="604"/>
                </a:lnTo>
                <a:lnTo>
                  <a:pt x="1676" y="608"/>
                </a:lnTo>
                <a:lnTo>
                  <a:pt x="1678" y="611"/>
                </a:lnTo>
                <a:lnTo>
                  <a:pt x="1682" y="610"/>
                </a:lnTo>
                <a:lnTo>
                  <a:pt x="1688" y="609"/>
                </a:lnTo>
                <a:lnTo>
                  <a:pt x="1692" y="609"/>
                </a:lnTo>
                <a:lnTo>
                  <a:pt x="1698" y="608"/>
                </a:lnTo>
                <a:lnTo>
                  <a:pt x="1703" y="603"/>
                </a:lnTo>
                <a:lnTo>
                  <a:pt x="1707" y="602"/>
                </a:lnTo>
                <a:lnTo>
                  <a:pt x="1715" y="603"/>
                </a:lnTo>
                <a:lnTo>
                  <a:pt x="1723" y="606"/>
                </a:lnTo>
                <a:lnTo>
                  <a:pt x="1738" y="611"/>
                </a:lnTo>
                <a:lnTo>
                  <a:pt x="1754" y="614"/>
                </a:lnTo>
                <a:lnTo>
                  <a:pt x="1763" y="617"/>
                </a:lnTo>
                <a:lnTo>
                  <a:pt x="1771" y="620"/>
                </a:lnTo>
                <a:lnTo>
                  <a:pt x="1780" y="624"/>
                </a:lnTo>
                <a:lnTo>
                  <a:pt x="1789" y="628"/>
                </a:lnTo>
                <a:lnTo>
                  <a:pt x="1804" y="634"/>
                </a:lnTo>
                <a:lnTo>
                  <a:pt x="1819" y="639"/>
                </a:lnTo>
                <a:lnTo>
                  <a:pt x="1822" y="641"/>
                </a:lnTo>
                <a:lnTo>
                  <a:pt x="1824" y="641"/>
                </a:lnTo>
                <a:lnTo>
                  <a:pt x="1826" y="638"/>
                </a:lnTo>
                <a:lnTo>
                  <a:pt x="1827" y="636"/>
                </a:lnTo>
                <a:lnTo>
                  <a:pt x="1830" y="637"/>
                </a:lnTo>
                <a:lnTo>
                  <a:pt x="1832" y="638"/>
                </a:lnTo>
                <a:lnTo>
                  <a:pt x="1838" y="642"/>
                </a:lnTo>
                <a:lnTo>
                  <a:pt x="1843" y="642"/>
                </a:lnTo>
                <a:lnTo>
                  <a:pt x="1845" y="642"/>
                </a:lnTo>
                <a:lnTo>
                  <a:pt x="1845" y="641"/>
                </a:lnTo>
                <a:lnTo>
                  <a:pt x="1845" y="639"/>
                </a:lnTo>
                <a:lnTo>
                  <a:pt x="1844" y="638"/>
                </a:lnTo>
                <a:lnTo>
                  <a:pt x="1841" y="637"/>
                </a:lnTo>
                <a:lnTo>
                  <a:pt x="1840" y="636"/>
                </a:lnTo>
                <a:lnTo>
                  <a:pt x="1831" y="633"/>
                </a:lnTo>
                <a:lnTo>
                  <a:pt x="1822" y="629"/>
                </a:lnTo>
                <a:lnTo>
                  <a:pt x="1812" y="627"/>
                </a:lnTo>
                <a:lnTo>
                  <a:pt x="1803" y="625"/>
                </a:lnTo>
                <a:lnTo>
                  <a:pt x="1785" y="618"/>
                </a:lnTo>
                <a:lnTo>
                  <a:pt x="1767" y="611"/>
                </a:lnTo>
                <a:lnTo>
                  <a:pt x="1749" y="604"/>
                </a:lnTo>
                <a:lnTo>
                  <a:pt x="1731" y="599"/>
                </a:lnTo>
                <a:lnTo>
                  <a:pt x="1714" y="594"/>
                </a:lnTo>
                <a:lnTo>
                  <a:pt x="1698" y="587"/>
                </a:lnTo>
                <a:lnTo>
                  <a:pt x="1681" y="583"/>
                </a:lnTo>
                <a:lnTo>
                  <a:pt x="1665" y="576"/>
                </a:lnTo>
                <a:lnTo>
                  <a:pt x="1681" y="576"/>
                </a:lnTo>
                <a:lnTo>
                  <a:pt x="1696" y="578"/>
                </a:lnTo>
                <a:lnTo>
                  <a:pt x="1709" y="581"/>
                </a:lnTo>
                <a:lnTo>
                  <a:pt x="1724" y="585"/>
                </a:lnTo>
                <a:lnTo>
                  <a:pt x="1753" y="595"/>
                </a:lnTo>
                <a:lnTo>
                  <a:pt x="1781" y="603"/>
                </a:lnTo>
                <a:lnTo>
                  <a:pt x="1778" y="600"/>
                </a:lnTo>
                <a:lnTo>
                  <a:pt x="1773" y="597"/>
                </a:lnTo>
                <a:lnTo>
                  <a:pt x="1767" y="595"/>
                </a:lnTo>
                <a:lnTo>
                  <a:pt x="1763" y="594"/>
                </a:lnTo>
                <a:lnTo>
                  <a:pt x="1753" y="591"/>
                </a:lnTo>
                <a:lnTo>
                  <a:pt x="1742" y="587"/>
                </a:lnTo>
                <a:lnTo>
                  <a:pt x="1732" y="583"/>
                </a:lnTo>
                <a:lnTo>
                  <a:pt x="1721" y="579"/>
                </a:lnTo>
                <a:lnTo>
                  <a:pt x="1711" y="576"/>
                </a:lnTo>
                <a:lnTo>
                  <a:pt x="1699" y="572"/>
                </a:lnTo>
                <a:lnTo>
                  <a:pt x="1689" y="569"/>
                </a:lnTo>
                <a:lnTo>
                  <a:pt x="1679" y="567"/>
                </a:lnTo>
                <a:lnTo>
                  <a:pt x="1668" y="563"/>
                </a:lnTo>
                <a:lnTo>
                  <a:pt x="1658" y="561"/>
                </a:lnTo>
                <a:lnTo>
                  <a:pt x="1651" y="559"/>
                </a:lnTo>
                <a:lnTo>
                  <a:pt x="1646" y="556"/>
                </a:lnTo>
                <a:lnTo>
                  <a:pt x="1642" y="553"/>
                </a:lnTo>
                <a:lnTo>
                  <a:pt x="1639" y="551"/>
                </a:lnTo>
                <a:lnTo>
                  <a:pt x="1635" y="550"/>
                </a:lnTo>
                <a:lnTo>
                  <a:pt x="1632" y="547"/>
                </a:lnTo>
                <a:lnTo>
                  <a:pt x="1635" y="546"/>
                </a:lnTo>
                <a:lnTo>
                  <a:pt x="1639" y="544"/>
                </a:lnTo>
                <a:lnTo>
                  <a:pt x="1640" y="542"/>
                </a:lnTo>
                <a:lnTo>
                  <a:pt x="1639" y="539"/>
                </a:lnTo>
                <a:lnTo>
                  <a:pt x="1631" y="537"/>
                </a:lnTo>
                <a:lnTo>
                  <a:pt x="1622" y="537"/>
                </a:lnTo>
                <a:lnTo>
                  <a:pt x="1613" y="535"/>
                </a:lnTo>
                <a:lnTo>
                  <a:pt x="1604" y="533"/>
                </a:lnTo>
                <a:lnTo>
                  <a:pt x="1595" y="529"/>
                </a:lnTo>
                <a:lnTo>
                  <a:pt x="1585" y="526"/>
                </a:lnTo>
                <a:lnTo>
                  <a:pt x="1577" y="523"/>
                </a:lnTo>
                <a:lnTo>
                  <a:pt x="1567" y="520"/>
                </a:lnTo>
                <a:lnTo>
                  <a:pt x="1560" y="518"/>
                </a:lnTo>
                <a:lnTo>
                  <a:pt x="1552" y="516"/>
                </a:lnTo>
                <a:lnTo>
                  <a:pt x="1547" y="514"/>
                </a:lnTo>
                <a:lnTo>
                  <a:pt x="1541" y="513"/>
                </a:lnTo>
                <a:lnTo>
                  <a:pt x="1544" y="511"/>
                </a:lnTo>
                <a:lnTo>
                  <a:pt x="1549" y="511"/>
                </a:lnTo>
                <a:lnTo>
                  <a:pt x="1554" y="511"/>
                </a:lnTo>
                <a:lnTo>
                  <a:pt x="1557" y="512"/>
                </a:lnTo>
                <a:lnTo>
                  <a:pt x="1561" y="514"/>
                </a:lnTo>
                <a:lnTo>
                  <a:pt x="1566" y="516"/>
                </a:lnTo>
                <a:lnTo>
                  <a:pt x="1567" y="516"/>
                </a:lnTo>
                <a:lnTo>
                  <a:pt x="1568" y="516"/>
                </a:lnTo>
                <a:lnTo>
                  <a:pt x="1569" y="516"/>
                </a:lnTo>
                <a:lnTo>
                  <a:pt x="1571" y="516"/>
                </a:lnTo>
                <a:lnTo>
                  <a:pt x="1572" y="517"/>
                </a:lnTo>
                <a:lnTo>
                  <a:pt x="1572" y="518"/>
                </a:lnTo>
                <a:lnTo>
                  <a:pt x="1577" y="519"/>
                </a:lnTo>
                <a:lnTo>
                  <a:pt x="1583" y="520"/>
                </a:lnTo>
                <a:lnTo>
                  <a:pt x="1593" y="521"/>
                </a:lnTo>
                <a:lnTo>
                  <a:pt x="1606" y="523"/>
                </a:lnTo>
                <a:lnTo>
                  <a:pt x="1616" y="526"/>
                </a:lnTo>
                <a:lnTo>
                  <a:pt x="1626" y="529"/>
                </a:lnTo>
                <a:lnTo>
                  <a:pt x="1637" y="533"/>
                </a:lnTo>
                <a:lnTo>
                  <a:pt x="1647" y="536"/>
                </a:lnTo>
                <a:lnTo>
                  <a:pt x="1649" y="537"/>
                </a:lnTo>
                <a:lnTo>
                  <a:pt x="1654" y="539"/>
                </a:lnTo>
                <a:lnTo>
                  <a:pt x="1656" y="539"/>
                </a:lnTo>
                <a:lnTo>
                  <a:pt x="1658" y="539"/>
                </a:lnTo>
                <a:lnTo>
                  <a:pt x="1659" y="539"/>
                </a:lnTo>
                <a:lnTo>
                  <a:pt x="1661" y="538"/>
                </a:lnTo>
                <a:lnTo>
                  <a:pt x="1659" y="536"/>
                </a:lnTo>
                <a:lnTo>
                  <a:pt x="1658" y="535"/>
                </a:lnTo>
                <a:lnTo>
                  <a:pt x="1656" y="534"/>
                </a:lnTo>
                <a:lnTo>
                  <a:pt x="1654" y="533"/>
                </a:lnTo>
                <a:lnTo>
                  <a:pt x="1648" y="531"/>
                </a:lnTo>
                <a:lnTo>
                  <a:pt x="1645" y="530"/>
                </a:lnTo>
                <a:lnTo>
                  <a:pt x="1633" y="528"/>
                </a:lnTo>
                <a:lnTo>
                  <a:pt x="1622" y="525"/>
                </a:lnTo>
                <a:lnTo>
                  <a:pt x="1610" y="521"/>
                </a:lnTo>
                <a:lnTo>
                  <a:pt x="1599" y="517"/>
                </a:lnTo>
                <a:lnTo>
                  <a:pt x="1583" y="512"/>
                </a:lnTo>
                <a:lnTo>
                  <a:pt x="1567" y="508"/>
                </a:lnTo>
                <a:lnTo>
                  <a:pt x="1560" y="505"/>
                </a:lnTo>
                <a:lnTo>
                  <a:pt x="1554" y="503"/>
                </a:lnTo>
                <a:lnTo>
                  <a:pt x="1549" y="503"/>
                </a:lnTo>
                <a:lnTo>
                  <a:pt x="1546" y="502"/>
                </a:lnTo>
                <a:lnTo>
                  <a:pt x="1544" y="501"/>
                </a:lnTo>
                <a:lnTo>
                  <a:pt x="1543" y="501"/>
                </a:lnTo>
                <a:lnTo>
                  <a:pt x="1543" y="501"/>
                </a:lnTo>
                <a:lnTo>
                  <a:pt x="1543" y="500"/>
                </a:lnTo>
                <a:lnTo>
                  <a:pt x="1542" y="498"/>
                </a:lnTo>
                <a:lnTo>
                  <a:pt x="1541" y="497"/>
                </a:lnTo>
                <a:lnTo>
                  <a:pt x="1539" y="498"/>
                </a:lnTo>
                <a:lnTo>
                  <a:pt x="1536" y="500"/>
                </a:lnTo>
                <a:lnTo>
                  <a:pt x="1532" y="498"/>
                </a:lnTo>
                <a:lnTo>
                  <a:pt x="1528" y="497"/>
                </a:lnTo>
                <a:lnTo>
                  <a:pt x="1517" y="494"/>
                </a:lnTo>
                <a:lnTo>
                  <a:pt x="1506" y="492"/>
                </a:lnTo>
                <a:lnTo>
                  <a:pt x="1493" y="489"/>
                </a:lnTo>
                <a:lnTo>
                  <a:pt x="1480" y="486"/>
                </a:lnTo>
                <a:lnTo>
                  <a:pt x="1467" y="484"/>
                </a:lnTo>
                <a:lnTo>
                  <a:pt x="1455" y="480"/>
                </a:lnTo>
                <a:lnTo>
                  <a:pt x="1445" y="479"/>
                </a:lnTo>
                <a:lnTo>
                  <a:pt x="1432" y="477"/>
                </a:lnTo>
                <a:lnTo>
                  <a:pt x="1425" y="475"/>
                </a:lnTo>
                <a:lnTo>
                  <a:pt x="1419" y="473"/>
                </a:lnTo>
                <a:lnTo>
                  <a:pt x="1415" y="471"/>
                </a:lnTo>
                <a:lnTo>
                  <a:pt x="1414" y="469"/>
                </a:lnTo>
                <a:lnTo>
                  <a:pt x="1433" y="472"/>
                </a:lnTo>
                <a:lnTo>
                  <a:pt x="1451" y="476"/>
                </a:lnTo>
                <a:lnTo>
                  <a:pt x="1470" y="480"/>
                </a:lnTo>
                <a:lnTo>
                  <a:pt x="1489" y="485"/>
                </a:lnTo>
                <a:lnTo>
                  <a:pt x="1498" y="485"/>
                </a:lnTo>
                <a:lnTo>
                  <a:pt x="1507" y="485"/>
                </a:lnTo>
                <a:lnTo>
                  <a:pt x="1515" y="485"/>
                </a:lnTo>
                <a:lnTo>
                  <a:pt x="1524" y="486"/>
                </a:lnTo>
                <a:lnTo>
                  <a:pt x="1531" y="487"/>
                </a:lnTo>
                <a:lnTo>
                  <a:pt x="1538" y="488"/>
                </a:lnTo>
                <a:lnTo>
                  <a:pt x="1542" y="490"/>
                </a:lnTo>
                <a:lnTo>
                  <a:pt x="1546" y="492"/>
                </a:lnTo>
                <a:lnTo>
                  <a:pt x="1549" y="492"/>
                </a:lnTo>
                <a:lnTo>
                  <a:pt x="1551" y="492"/>
                </a:lnTo>
                <a:lnTo>
                  <a:pt x="1557" y="493"/>
                </a:lnTo>
                <a:lnTo>
                  <a:pt x="1563" y="494"/>
                </a:lnTo>
                <a:lnTo>
                  <a:pt x="1563" y="493"/>
                </a:lnTo>
                <a:lnTo>
                  <a:pt x="1563" y="492"/>
                </a:lnTo>
                <a:lnTo>
                  <a:pt x="1561" y="490"/>
                </a:lnTo>
                <a:lnTo>
                  <a:pt x="1559" y="489"/>
                </a:lnTo>
                <a:lnTo>
                  <a:pt x="1556" y="488"/>
                </a:lnTo>
                <a:lnTo>
                  <a:pt x="1552" y="487"/>
                </a:lnTo>
                <a:lnTo>
                  <a:pt x="1542" y="485"/>
                </a:lnTo>
                <a:lnTo>
                  <a:pt x="1532" y="483"/>
                </a:lnTo>
                <a:lnTo>
                  <a:pt x="1522" y="480"/>
                </a:lnTo>
                <a:lnTo>
                  <a:pt x="1511" y="478"/>
                </a:lnTo>
                <a:lnTo>
                  <a:pt x="1501" y="475"/>
                </a:lnTo>
                <a:lnTo>
                  <a:pt x="1491" y="472"/>
                </a:lnTo>
                <a:lnTo>
                  <a:pt x="1481" y="470"/>
                </a:lnTo>
                <a:lnTo>
                  <a:pt x="1470" y="468"/>
                </a:lnTo>
                <a:lnTo>
                  <a:pt x="1455" y="463"/>
                </a:lnTo>
                <a:lnTo>
                  <a:pt x="1439" y="461"/>
                </a:lnTo>
                <a:lnTo>
                  <a:pt x="1429" y="459"/>
                </a:lnTo>
                <a:lnTo>
                  <a:pt x="1420" y="456"/>
                </a:lnTo>
                <a:lnTo>
                  <a:pt x="1411" y="453"/>
                </a:lnTo>
                <a:lnTo>
                  <a:pt x="1402" y="452"/>
                </a:lnTo>
                <a:lnTo>
                  <a:pt x="1392" y="452"/>
                </a:lnTo>
                <a:lnTo>
                  <a:pt x="1383" y="451"/>
                </a:lnTo>
                <a:lnTo>
                  <a:pt x="1378" y="450"/>
                </a:lnTo>
                <a:lnTo>
                  <a:pt x="1374" y="450"/>
                </a:lnTo>
                <a:lnTo>
                  <a:pt x="1369" y="448"/>
                </a:lnTo>
                <a:lnTo>
                  <a:pt x="1366" y="446"/>
                </a:lnTo>
                <a:lnTo>
                  <a:pt x="1367" y="444"/>
                </a:lnTo>
                <a:lnTo>
                  <a:pt x="1367" y="440"/>
                </a:lnTo>
                <a:lnTo>
                  <a:pt x="1365" y="439"/>
                </a:lnTo>
                <a:lnTo>
                  <a:pt x="1361" y="438"/>
                </a:lnTo>
                <a:lnTo>
                  <a:pt x="1357" y="438"/>
                </a:lnTo>
                <a:lnTo>
                  <a:pt x="1351" y="439"/>
                </a:lnTo>
                <a:lnTo>
                  <a:pt x="1348" y="439"/>
                </a:lnTo>
                <a:lnTo>
                  <a:pt x="1345" y="439"/>
                </a:lnTo>
                <a:lnTo>
                  <a:pt x="1344" y="439"/>
                </a:lnTo>
                <a:lnTo>
                  <a:pt x="1343" y="438"/>
                </a:lnTo>
                <a:lnTo>
                  <a:pt x="1343" y="437"/>
                </a:lnTo>
                <a:lnTo>
                  <a:pt x="1343" y="435"/>
                </a:lnTo>
                <a:lnTo>
                  <a:pt x="1344" y="433"/>
                </a:lnTo>
                <a:lnTo>
                  <a:pt x="1345" y="431"/>
                </a:lnTo>
                <a:lnTo>
                  <a:pt x="1348" y="430"/>
                </a:lnTo>
                <a:lnTo>
                  <a:pt x="1350" y="429"/>
                </a:lnTo>
                <a:lnTo>
                  <a:pt x="1355" y="430"/>
                </a:lnTo>
                <a:lnTo>
                  <a:pt x="1360" y="431"/>
                </a:lnTo>
                <a:lnTo>
                  <a:pt x="1363" y="431"/>
                </a:lnTo>
                <a:lnTo>
                  <a:pt x="1366" y="433"/>
                </a:lnTo>
                <a:lnTo>
                  <a:pt x="1369" y="431"/>
                </a:lnTo>
                <a:lnTo>
                  <a:pt x="1371" y="430"/>
                </a:lnTo>
                <a:lnTo>
                  <a:pt x="1375" y="433"/>
                </a:lnTo>
                <a:lnTo>
                  <a:pt x="1378" y="436"/>
                </a:lnTo>
                <a:lnTo>
                  <a:pt x="1382" y="434"/>
                </a:lnTo>
                <a:lnTo>
                  <a:pt x="1385" y="434"/>
                </a:lnTo>
                <a:lnTo>
                  <a:pt x="1385" y="436"/>
                </a:lnTo>
                <a:lnTo>
                  <a:pt x="1387" y="438"/>
                </a:lnTo>
                <a:lnTo>
                  <a:pt x="1389" y="438"/>
                </a:lnTo>
                <a:lnTo>
                  <a:pt x="1391" y="439"/>
                </a:lnTo>
                <a:lnTo>
                  <a:pt x="1394" y="439"/>
                </a:lnTo>
                <a:lnTo>
                  <a:pt x="1399" y="440"/>
                </a:lnTo>
                <a:lnTo>
                  <a:pt x="1412" y="442"/>
                </a:lnTo>
                <a:lnTo>
                  <a:pt x="1425" y="444"/>
                </a:lnTo>
                <a:lnTo>
                  <a:pt x="1439" y="450"/>
                </a:lnTo>
                <a:lnTo>
                  <a:pt x="1453" y="454"/>
                </a:lnTo>
                <a:lnTo>
                  <a:pt x="1460" y="454"/>
                </a:lnTo>
                <a:lnTo>
                  <a:pt x="1466" y="456"/>
                </a:lnTo>
                <a:lnTo>
                  <a:pt x="1466" y="458"/>
                </a:lnTo>
                <a:lnTo>
                  <a:pt x="1466" y="459"/>
                </a:lnTo>
                <a:lnTo>
                  <a:pt x="1465" y="460"/>
                </a:lnTo>
                <a:lnTo>
                  <a:pt x="1462" y="460"/>
                </a:lnTo>
                <a:lnTo>
                  <a:pt x="1459" y="461"/>
                </a:lnTo>
                <a:lnTo>
                  <a:pt x="1457" y="462"/>
                </a:lnTo>
                <a:lnTo>
                  <a:pt x="1464" y="462"/>
                </a:lnTo>
                <a:lnTo>
                  <a:pt x="1476" y="464"/>
                </a:lnTo>
                <a:lnTo>
                  <a:pt x="1483" y="464"/>
                </a:lnTo>
                <a:lnTo>
                  <a:pt x="1488" y="464"/>
                </a:lnTo>
                <a:lnTo>
                  <a:pt x="1490" y="464"/>
                </a:lnTo>
                <a:lnTo>
                  <a:pt x="1491" y="463"/>
                </a:lnTo>
                <a:lnTo>
                  <a:pt x="1492" y="463"/>
                </a:lnTo>
                <a:lnTo>
                  <a:pt x="1492" y="462"/>
                </a:lnTo>
                <a:lnTo>
                  <a:pt x="1490" y="461"/>
                </a:lnTo>
                <a:lnTo>
                  <a:pt x="1489" y="460"/>
                </a:lnTo>
                <a:lnTo>
                  <a:pt x="1488" y="459"/>
                </a:lnTo>
                <a:lnTo>
                  <a:pt x="1488" y="458"/>
                </a:lnTo>
                <a:lnTo>
                  <a:pt x="1489" y="458"/>
                </a:lnTo>
                <a:lnTo>
                  <a:pt x="1489" y="458"/>
                </a:lnTo>
                <a:lnTo>
                  <a:pt x="1491" y="458"/>
                </a:lnTo>
                <a:lnTo>
                  <a:pt x="1493" y="459"/>
                </a:lnTo>
                <a:lnTo>
                  <a:pt x="1503" y="460"/>
                </a:lnTo>
                <a:lnTo>
                  <a:pt x="1515" y="462"/>
                </a:lnTo>
                <a:lnTo>
                  <a:pt x="1523" y="464"/>
                </a:lnTo>
                <a:lnTo>
                  <a:pt x="1533" y="464"/>
                </a:lnTo>
                <a:lnTo>
                  <a:pt x="1535" y="463"/>
                </a:lnTo>
                <a:lnTo>
                  <a:pt x="1535" y="461"/>
                </a:lnTo>
                <a:lnTo>
                  <a:pt x="1533" y="461"/>
                </a:lnTo>
                <a:lnTo>
                  <a:pt x="1531" y="460"/>
                </a:lnTo>
                <a:lnTo>
                  <a:pt x="1527" y="460"/>
                </a:lnTo>
                <a:lnTo>
                  <a:pt x="1524" y="460"/>
                </a:lnTo>
                <a:lnTo>
                  <a:pt x="1523" y="459"/>
                </a:lnTo>
                <a:lnTo>
                  <a:pt x="1522" y="459"/>
                </a:lnTo>
                <a:lnTo>
                  <a:pt x="1522" y="458"/>
                </a:lnTo>
                <a:lnTo>
                  <a:pt x="1523" y="455"/>
                </a:lnTo>
                <a:lnTo>
                  <a:pt x="1526" y="455"/>
                </a:lnTo>
                <a:lnTo>
                  <a:pt x="1530" y="455"/>
                </a:lnTo>
                <a:lnTo>
                  <a:pt x="1531" y="455"/>
                </a:lnTo>
                <a:lnTo>
                  <a:pt x="1532" y="455"/>
                </a:lnTo>
                <a:lnTo>
                  <a:pt x="1533" y="454"/>
                </a:lnTo>
                <a:lnTo>
                  <a:pt x="1534" y="452"/>
                </a:lnTo>
                <a:lnTo>
                  <a:pt x="1539" y="454"/>
                </a:lnTo>
                <a:lnTo>
                  <a:pt x="1542" y="458"/>
                </a:lnTo>
                <a:lnTo>
                  <a:pt x="1544" y="460"/>
                </a:lnTo>
                <a:lnTo>
                  <a:pt x="1547" y="461"/>
                </a:lnTo>
                <a:lnTo>
                  <a:pt x="1549" y="461"/>
                </a:lnTo>
                <a:lnTo>
                  <a:pt x="1551" y="461"/>
                </a:lnTo>
                <a:lnTo>
                  <a:pt x="1554" y="461"/>
                </a:lnTo>
                <a:lnTo>
                  <a:pt x="1556" y="460"/>
                </a:lnTo>
                <a:lnTo>
                  <a:pt x="1557" y="458"/>
                </a:lnTo>
                <a:lnTo>
                  <a:pt x="1557" y="455"/>
                </a:lnTo>
                <a:lnTo>
                  <a:pt x="1552" y="455"/>
                </a:lnTo>
                <a:lnTo>
                  <a:pt x="1547" y="455"/>
                </a:lnTo>
                <a:lnTo>
                  <a:pt x="1544" y="455"/>
                </a:lnTo>
                <a:lnTo>
                  <a:pt x="1543" y="454"/>
                </a:lnTo>
                <a:lnTo>
                  <a:pt x="1541" y="452"/>
                </a:lnTo>
                <a:lnTo>
                  <a:pt x="1542" y="452"/>
                </a:lnTo>
                <a:lnTo>
                  <a:pt x="1542" y="451"/>
                </a:lnTo>
                <a:lnTo>
                  <a:pt x="1544" y="451"/>
                </a:lnTo>
                <a:lnTo>
                  <a:pt x="1551" y="447"/>
                </a:lnTo>
                <a:lnTo>
                  <a:pt x="1557" y="446"/>
                </a:lnTo>
                <a:lnTo>
                  <a:pt x="1560" y="446"/>
                </a:lnTo>
                <a:lnTo>
                  <a:pt x="1564" y="446"/>
                </a:lnTo>
                <a:lnTo>
                  <a:pt x="1567" y="447"/>
                </a:lnTo>
                <a:lnTo>
                  <a:pt x="1571" y="448"/>
                </a:lnTo>
                <a:lnTo>
                  <a:pt x="1576" y="442"/>
                </a:lnTo>
                <a:lnTo>
                  <a:pt x="1581" y="433"/>
                </a:lnTo>
                <a:lnTo>
                  <a:pt x="1576" y="434"/>
                </a:lnTo>
                <a:lnTo>
                  <a:pt x="1573" y="433"/>
                </a:lnTo>
                <a:lnTo>
                  <a:pt x="1576" y="431"/>
                </a:lnTo>
                <a:lnTo>
                  <a:pt x="1580" y="427"/>
                </a:lnTo>
                <a:lnTo>
                  <a:pt x="1582" y="425"/>
                </a:lnTo>
                <a:lnTo>
                  <a:pt x="1583" y="422"/>
                </a:lnTo>
                <a:lnTo>
                  <a:pt x="1583" y="421"/>
                </a:lnTo>
                <a:lnTo>
                  <a:pt x="1582" y="420"/>
                </a:lnTo>
                <a:lnTo>
                  <a:pt x="1580" y="421"/>
                </a:lnTo>
                <a:lnTo>
                  <a:pt x="1576" y="422"/>
                </a:lnTo>
                <a:lnTo>
                  <a:pt x="1574" y="423"/>
                </a:lnTo>
                <a:lnTo>
                  <a:pt x="1574" y="423"/>
                </a:lnTo>
                <a:lnTo>
                  <a:pt x="1574" y="422"/>
                </a:lnTo>
                <a:lnTo>
                  <a:pt x="1573" y="421"/>
                </a:lnTo>
                <a:lnTo>
                  <a:pt x="1573" y="419"/>
                </a:lnTo>
                <a:lnTo>
                  <a:pt x="1572" y="418"/>
                </a:lnTo>
                <a:lnTo>
                  <a:pt x="1568" y="418"/>
                </a:lnTo>
                <a:lnTo>
                  <a:pt x="1566" y="419"/>
                </a:lnTo>
                <a:lnTo>
                  <a:pt x="1560" y="418"/>
                </a:lnTo>
                <a:lnTo>
                  <a:pt x="1555" y="418"/>
                </a:lnTo>
                <a:lnTo>
                  <a:pt x="1552" y="419"/>
                </a:lnTo>
                <a:lnTo>
                  <a:pt x="1550" y="420"/>
                </a:lnTo>
                <a:lnTo>
                  <a:pt x="1549" y="421"/>
                </a:lnTo>
                <a:lnTo>
                  <a:pt x="1547" y="425"/>
                </a:lnTo>
                <a:lnTo>
                  <a:pt x="1550" y="425"/>
                </a:lnTo>
                <a:lnTo>
                  <a:pt x="1552" y="425"/>
                </a:lnTo>
                <a:lnTo>
                  <a:pt x="1556" y="426"/>
                </a:lnTo>
                <a:lnTo>
                  <a:pt x="1557" y="427"/>
                </a:lnTo>
                <a:lnTo>
                  <a:pt x="1552" y="428"/>
                </a:lnTo>
                <a:lnTo>
                  <a:pt x="1547" y="428"/>
                </a:lnTo>
                <a:lnTo>
                  <a:pt x="1546" y="430"/>
                </a:lnTo>
                <a:lnTo>
                  <a:pt x="1543" y="431"/>
                </a:lnTo>
                <a:lnTo>
                  <a:pt x="1541" y="434"/>
                </a:lnTo>
                <a:lnTo>
                  <a:pt x="1539" y="433"/>
                </a:lnTo>
                <a:lnTo>
                  <a:pt x="1538" y="431"/>
                </a:lnTo>
                <a:lnTo>
                  <a:pt x="1536" y="430"/>
                </a:lnTo>
                <a:lnTo>
                  <a:pt x="1538" y="429"/>
                </a:lnTo>
                <a:lnTo>
                  <a:pt x="1538" y="428"/>
                </a:lnTo>
                <a:lnTo>
                  <a:pt x="1539" y="422"/>
                </a:lnTo>
                <a:lnTo>
                  <a:pt x="1540" y="418"/>
                </a:lnTo>
                <a:lnTo>
                  <a:pt x="1543" y="414"/>
                </a:lnTo>
                <a:lnTo>
                  <a:pt x="1547" y="410"/>
                </a:lnTo>
                <a:lnTo>
                  <a:pt x="1547" y="408"/>
                </a:lnTo>
                <a:lnTo>
                  <a:pt x="1548" y="405"/>
                </a:lnTo>
                <a:lnTo>
                  <a:pt x="1549" y="404"/>
                </a:lnTo>
                <a:lnTo>
                  <a:pt x="1551" y="403"/>
                </a:lnTo>
                <a:lnTo>
                  <a:pt x="1555" y="402"/>
                </a:lnTo>
                <a:lnTo>
                  <a:pt x="1557" y="402"/>
                </a:lnTo>
                <a:lnTo>
                  <a:pt x="1559" y="400"/>
                </a:lnTo>
                <a:lnTo>
                  <a:pt x="1560" y="396"/>
                </a:lnTo>
                <a:lnTo>
                  <a:pt x="1559" y="394"/>
                </a:lnTo>
                <a:lnTo>
                  <a:pt x="1557" y="392"/>
                </a:lnTo>
                <a:lnTo>
                  <a:pt x="1554" y="392"/>
                </a:lnTo>
                <a:lnTo>
                  <a:pt x="1550" y="392"/>
                </a:lnTo>
                <a:lnTo>
                  <a:pt x="1554" y="388"/>
                </a:lnTo>
                <a:lnTo>
                  <a:pt x="1556" y="385"/>
                </a:lnTo>
                <a:lnTo>
                  <a:pt x="1556" y="380"/>
                </a:lnTo>
                <a:lnTo>
                  <a:pt x="1557" y="377"/>
                </a:lnTo>
                <a:lnTo>
                  <a:pt x="1560" y="376"/>
                </a:lnTo>
                <a:lnTo>
                  <a:pt x="1564" y="373"/>
                </a:lnTo>
                <a:lnTo>
                  <a:pt x="1564" y="371"/>
                </a:lnTo>
                <a:lnTo>
                  <a:pt x="1564" y="370"/>
                </a:lnTo>
                <a:lnTo>
                  <a:pt x="1564" y="368"/>
                </a:lnTo>
                <a:lnTo>
                  <a:pt x="1566" y="367"/>
                </a:lnTo>
                <a:lnTo>
                  <a:pt x="1567" y="367"/>
                </a:lnTo>
                <a:lnTo>
                  <a:pt x="1568" y="365"/>
                </a:lnTo>
                <a:lnTo>
                  <a:pt x="1569" y="364"/>
                </a:lnTo>
                <a:lnTo>
                  <a:pt x="1569" y="363"/>
                </a:lnTo>
                <a:lnTo>
                  <a:pt x="1567" y="361"/>
                </a:lnTo>
                <a:lnTo>
                  <a:pt x="1565" y="359"/>
                </a:lnTo>
                <a:lnTo>
                  <a:pt x="1560" y="354"/>
                </a:lnTo>
                <a:lnTo>
                  <a:pt x="1557" y="350"/>
                </a:lnTo>
                <a:lnTo>
                  <a:pt x="1551" y="346"/>
                </a:lnTo>
                <a:lnTo>
                  <a:pt x="1546" y="344"/>
                </a:lnTo>
                <a:lnTo>
                  <a:pt x="1534" y="340"/>
                </a:lnTo>
                <a:lnTo>
                  <a:pt x="1523" y="337"/>
                </a:lnTo>
                <a:lnTo>
                  <a:pt x="1519" y="336"/>
                </a:lnTo>
                <a:lnTo>
                  <a:pt x="1517" y="335"/>
                </a:lnTo>
                <a:lnTo>
                  <a:pt x="1516" y="334"/>
                </a:lnTo>
                <a:lnTo>
                  <a:pt x="1515" y="332"/>
                </a:lnTo>
                <a:lnTo>
                  <a:pt x="1514" y="334"/>
                </a:lnTo>
                <a:lnTo>
                  <a:pt x="1514" y="334"/>
                </a:lnTo>
                <a:lnTo>
                  <a:pt x="1513" y="334"/>
                </a:lnTo>
                <a:lnTo>
                  <a:pt x="1511" y="334"/>
                </a:lnTo>
                <a:lnTo>
                  <a:pt x="1510" y="331"/>
                </a:lnTo>
                <a:lnTo>
                  <a:pt x="1511" y="330"/>
                </a:lnTo>
                <a:lnTo>
                  <a:pt x="1514" y="328"/>
                </a:lnTo>
                <a:lnTo>
                  <a:pt x="1515" y="327"/>
                </a:lnTo>
                <a:lnTo>
                  <a:pt x="1516" y="325"/>
                </a:lnTo>
                <a:lnTo>
                  <a:pt x="1516" y="322"/>
                </a:lnTo>
                <a:lnTo>
                  <a:pt x="1514" y="320"/>
                </a:lnTo>
                <a:lnTo>
                  <a:pt x="1511" y="318"/>
                </a:lnTo>
                <a:lnTo>
                  <a:pt x="1511" y="317"/>
                </a:lnTo>
                <a:lnTo>
                  <a:pt x="1513" y="313"/>
                </a:lnTo>
                <a:lnTo>
                  <a:pt x="1515" y="312"/>
                </a:lnTo>
                <a:lnTo>
                  <a:pt x="1517" y="312"/>
                </a:lnTo>
                <a:lnTo>
                  <a:pt x="1521" y="312"/>
                </a:lnTo>
                <a:lnTo>
                  <a:pt x="1524" y="313"/>
                </a:lnTo>
                <a:lnTo>
                  <a:pt x="1530" y="317"/>
                </a:lnTo>
                <a:lnTo>
                  <a:pt x="1533" y="321"/>
                </a:lnTo>
                <a:lnTo>
                  <a:pt x="1536" y="318"/>
                </a:lnTo>
                <a:lnTo>
                  <a:pt x="1541" y="315"/>
                </a:lnTo>
                <a:lnTo>
                  <a:pt x="1547" y="315"/>
                </a:lnTo>
                <a:lnTo>
                  <a:pt x="1551" y="314"/>
                </a:lnTo>
                <a:lnTo>
                  <a:pt x="1556" y="315"/>
                </a:lnTo>
                <a:lnTo>
                  <a:pt x="1559" y="315"/>
                </a:lnTo>
                <a:lnTo>
                  <a:pt x="1560" y="313"/>
                </a:lnTo>
                <a:lnTo>
                  <a:pt x="1559" y="313"/>
                </a:lnTo>
                <a:lnTo>
                  <a:pt x="1558" y="312"/>
                </a:lnTo>
                <a:lnTo>
                  <a:pt x="1557" y="311"/>
                </a:lnTo>
                <a:lnTo>
                  <a:pt x="1559" y="310"/>
                </a:lnTo>
                <a:lnTo>
                  <a:pt x="1561" y="311"/>
                </a:lnTo>
                <a:lnTo>
                  <a:pt x="1563" y="313"/>
                </a:lnTo>
                <a:lnTo>
                  <a:pt x="1563" y="317"/>
                </a:lnTo>
                <a:lnTo>
                  <a:pt x="1565" y="318"/>
                </a:lnTo>
                <a:lnTo>
                  <a:pt x="1567" y="319"/>
                </a:lnTo>
                <a:lnTo>
                  <a:pt x="1571" y="320"/>
                </a:lnTo>
                <a:lnTo>
                  <a:pt x="1572" y="319"/>
                </a:lnTo>
                <a:lnTo>
                  <a:pt x="1574" y="317"/>
                </a:lnTo>
                <a:lnTo>
                  <a:pt x="1573" y="315"/>
                </a:lnTo>
                <a:lnTo>
                  <a:pt x="1574" y="313"/>
                </a:lnTo>
                <a:lnTo>
                  <a:pt x="1577" y="313"/>
                </a:lnTo>
                <a:lnTo>
                  <a:pt x="1585" y="314"/>
                </a:lnTo>
                <a:lnTo>
                  <a:pt x="1593" y="317"/>
                </a:lnTo>
                <a:lnTo>
                  <a:pt x="1590" y="317"/>
                </a:lnTo>
                <a:lnTo>
                  <a:pt x="1585" y="317"/>
                </a:lnTo>
                <a:lnTo>
                  <a:pt x="1589" y="320"/>
                </a:lnTo>
                <a:lnTo>
                  <a:pt x="1591" y="321"/>
                </a:lnTo>
                <a:lnTo>
                  <a:pt x="1593" y="320"/>
                </a:lnTo>
                <a:lnTo>
                  <a:pt x="1596" y="320"/>
                </a:lnTo>
                <a:lnTo>
                  <a:pt x="1601" y="318"/>
                </a:lnTo>
                <a:lnTo>
                  <a:pt x="1608" y="317"/>
                </a:lnTo>
                <a:lnTo>
                  <a:pt x="1614" y="320"/>
                </a:lnTo>
                <a:lnTo>
                  <a:pt x="1620" y="322"/>
                </a:lnTo>
                <a:lnTo>
                  <a:pt x="1625" y="322"/>
                </a:lnTo>
                <a:lnTo>
                  <a:pt x="1632" y="321"/>
                </a:lnTo>
                <a:lnTo>
                  <a:pt x="1634" y="320"/>
                </a:lnTo>
                <a:lnTo>
                  <a:pt x="1637" y="320"/>
                </a:lnTo>
                <a:lnTo>
                  <a:pt x="1639" y="322"/>
                </a:lnTo>
                <a:lnTo>
                  <a:pt x="1641" y="323"/>
                </a:lnTo>
                <a:lnTo>
                  <a:pt x="1645" y="323"/>
                </a:lnTo>
                <a:lnTo>
                  <a:pt x="1646" y="323"/>
                </a:lnTo>
                <a:lnTo>
                  <a:pt x="1648" y="321"/>
                </a:lnTo>
                <a:lnTo>
                  <a:pt x="1650" y="320"/>
                </a:lnTo>
                <a:lnTo>
                  <a:pt x="1656" y="319"/>
                </a:lnTo>
                <a:lnTo>
                  <a:pt x="1662" y="319"/>
                </a:lnTo>
                <a:lnTo>
                  <a:pt x="1665" y="318"/>
                </a:lnTo>
                <a:lnTo>
                  <a:pt x="1666" y="317"/>
                </a:lnTo>
                <a:lnTo>
                  <a:pt x="1666" y="314"/>
                </a:lnTo>
                <a:lnTo>
                  <a:pt x="1664" y="313"/>
                </a:lnTo>
                <a:lnTo>
                  <a:pt x="1670" y="312"/>
                </a:lnTo>
                <a:lnTo>
                  <a:pt x="1675" y="312"/>
                </a:lnTo>
                <a:lnTo>
                  <a:pt x="1678" y="311"/>
                </a:lnTo>
                <a:lnTo>
                  <a:pt x="1681" y="311"/>
                </a:lnTo>
                <a:lnTo>
                  <a:pt x="1684" y="312"/>
                </a:lnTo>
                <a:lnTo>
                  <a:pt x="1688" y="313"/>
                </a:lnTo>
                <a:lnTo>
                  <a:pt x="1692" y="312"/>
                </a:lnTo>
                <a:lnTo>
                  <a:pt x="1699" y="309"/>
                </a:lnTo>
                <a:lnTo>
                  <a:pt x="1701" y="305"/>
                </a:lnTo>
                <a:lnTo>
                  <a:pt x="1700" y="304"/>
                </a:lnTo>
                <a:lnTo>
                  <a:pt x="1698" y="303"/>
                </a:lnTo>
                <a:lnTo>
                  <a:pt x="1695" y="304"/>
                </a:lnTo>
                <a:lnTo>
                  <a:pt x="1696" y="301"/>
                </a:lnTo>
                <a:lnTo>
                  <a:pt x="1698" y="298"/>
                </a:lnTo>
                <a:lnTo>
                  <a:pt x="1697" y="296"/>
                </a:lnTo>
                <a:lnTo>
                  <a:pt x="1694" y="295"/>
                </a:lnTo>
                <a:lnTo>
                  <a:pt x="1695" y="287"/>
                </a:lnTo>
                <a:lnTo>
                  <a:pt x="1698" y="280"/>
                </a:lnTo>
                <a:lnTo>
                  <a:pt x="1699" y="276"/>
                </a:lnTo>
                <a:lnTo>
                  <a:pt x="1699" y="272"/>
                </a:lnTo>
                <a:lnTo>
                  <a:pt x="1697" y="269"/>
                </a:lnTo>
                <a:lnTo>
                  <a:pt x="1695" y="265"/>
                </a:lnTo>
                <a:lnTo>
                  <a:pt x="1696" y="259"/>
                </a:lnTo>
                <a:lnTo>
                  <a:pt x="1697" y="251"/>
                </a:lnTo>
                <a:lnTo>
                  <a:pt x="1695" y="247"/>
                </a:lnTo>
                <a:lnTo>
                  <a:pt x="1692" y="244"/>
                </a:lnTo>
                <a:lnTo>
                  <a:pt x="1692" y="239"/>
                </a:lnTo>
                <a:lnTo>
                  <a:pt x="1691" y="236"/>
                </a:lnTo>
                <a:lnTo>
                  <a:pt x="1691" y="231"/>
                </a:lnTo>
                <a:lnTo>
                  <a:pt x="1690" y="228"/>
                </a:lnTo>
                <a:lnTo>
                  <a:pt x="1689" y="226"/>
                </a:lnTo>
                <a:lnTo>
                  <a:pt x="1687" y="222"/>
                </a:lnTo>
                <a:lnTo>
                  <a:pt x="1686" y="219"/>
                </a:lnTo>
                <a:lnTo>
                  <a:pt x="1686" y="218"/>
                </a:lnTo>
                <a:lnTo>
                  <a:pt x="1688" y="215"/>
                </a:lnTo>
                <a:lnTo>
                  <a:pt x="1690" y="213"/>
                </a:lnTo>
                <a:lnTo>
                  <a:pt x="1691" y="209"/>
                </a:lnTo>
                <a:lnTo>
                  <a:pt x="1691" y="203"/>
                </a:lnTo>
                <a:lnTo>
                  <a:pt x="1692" y="199"/>
                </a:lnTo>
                <a:lnTo>
                  <a:pt x="1695" y="198"/>
                </a:lnTo>
                <a:lnTo>
                  <a:pt x="1697" y="198"/>
                </a:lnTo>
                <a:lnTo>
                  <a:pt x="1698" y="201"/>
                </a:lnTo>
                <a:lnTo>
                  <a:pt x="1698" y="203"/>
                </a:lnTo>
                <a:lnTo>
                  <a:pt x="1697" y="205"/>
                </a:lnTo>
                <a:lnTo>
                  <a:pt x="1697" y="206"/>
                </a:lnTo>
                <a:lnTo>
                  <a:pt x="1697" y="207"/>
                </a:lnTo>
                <a:lnTo>
                  <a:pt x="1698" y="209"/>
                </a:lnTo>
                <a:lnTo>
                  <a:pt x="1700" y="210"/>
                </a:lnTo>
                <a:lnTo>
                  <a:pt x="1703" y="210"/>
                </a:lnTo>
                <a:lnTo>
                  <a:pt x="1705" y="207"/>
                </a:lnTo>
                <a:lnTo>
                  <a:pt x="1706" y="205"/>
                </a:lnTo>
                <a:lnTo>
                  <a:pt x="1707" y="202"/>
                </a:lnTo>
                <a:lnTo>
                  <a:pt x="1708" y="198"/>
                </a:lnTo>
                <a:lnTo>
                  <a:pt x="1707" y="196"/>
                </a:lnTo>
                <a:lnTo>
                  <a:pt x="1705" y="194"/>
                </a:lnTo>
                <a:lnTo>
                  <a:pt x="1704" y="190"/>
                </a:lnTo>
                <a:lnTo>
                  <a:pt x="1703" y="186"/>
                </a:lnTo>
                <a:lnTo>
                  <a:pt x="1704" y="181"/>
                </a:lnTo>
                <a:lnTo>
                  <a:pt x="1705" y="176"/>
                </a:lnTo>
                <a:lnTo>
                  <a:pt x="1708" y="172"/>
                </a:lnTo>
                <a:lnTo>
                  <a:pt x="1723" y="170"/>
                </a:lnTo>
                <a:lnTo>
                  <a:pt x="1738" y="170"/>
                </a:lnTo>
                <a:lnTo>
                  <a:pt x="1731" y="162"/>
                </a:lnTo>
                <a:lnTo>
                  <a:pt x="1723" y="155"/>
                </a:lnTo>
                <a:lnTo>
                  <a:pt x="1712" y="151"/>
                </a:lnTo>
                <a:lnTo>
                  <a:pt x="1699" y="147"/>
                </a:lnTo>
                <a:lnTo>
                  <a:pt x="1687" y="144"/>
                </a:lnTo>
                <a:lnTo>
                  <a:pt x="1673" y="141"/>
                </a:lnTo>
                <a:lnTo>
                  <a:pt x="1661" y="139"/>
                </a:lnTo>
                <a:lnTo>
                  <a:pt x="1647" y="136"/>
                </a:lnTo>
                <a:lnTo>
                  <a:pt x="1633" y="133"/>
                </a:lnTo>
                <a:lnTo>
                  <a:pt x="1618" y="130"/>
                </a:lnTo>
                <a:lnTo>
                  <a:pt x="1605" y="127"/>
                </a:lnTo>
                <a:lnTo>
                  <a:pt x="1590" y="124"/>
                </a:lnTo>
                <a:lnTo>
                  <a:pt x="1576" y="121"/>
                </a:lnTo>
                <a:lnTo>
                  <a:pt x="1563" y="119"/>
                </a:lnTo>
                <a:lnTo>
                  <a:pt x="1557" y="116"/>
                </a:lnTo>
                <a:lnTo>
                  <a:pt x="1550" y="115"/>
                </a:lnTo>
                <a:lnTo>
                  <a:pt x="1547" y="114"/>
                </a:lnTo>
                <a:lnTo>
                  <a:pt x="1544" y="113"/>
                </a:lnTo>
                <a:lnTo>
                  <a:pt x="1542" y="112"/>
                </a:lnTo>
                <a:lnTo>
                  <a:pt x="1541" y="108"/>
                </a:lnTo>
                <a:lnTo>
                  <a:pt x="1556" y="110"/>
                </a:lnTo>
                <a:lnTo>
                  <a:pt x="1571" y="112"/>
                </a:lnTo>
                <a:lnTo>
                  <a:pt x="1577" y="112"/>
                </a:lnTo>
                <a:lnTo>
                  <a:pt x="1583" y="113"/>
                </a:lnTo>
                <a:lnTo>
                  <a:pt x="1590" y="111"/>
                </a:lnTo>
                <a:lnTo>
                  <a:pt x="1597" y="108"/>
                </a:lnTo>
                <a:lnTo>
                  <a:pt x="1602" y="110"/>
                </a:lnTo>
                <a:lnTo>
                  <a:pt x="1608" y="112"/>
                </a:lnTo>
                <a:lnTo>
                  <a:pt x="1609" y="113"/>
                </a:lnTo>
                <a:lnTo>
                  <a:pt x="1612" y="113"/>
                </a:lnTo>
                <a:lnTo>
                  <a:pt x="1613" y="112"/>
                </a:lnTo>
                <a:lnTo>
                  <a:pt x="1615" y="111"/>
                </a:lnTo>
                <a:lnTo>
                  <a:pt x="1618" y="111"/>
                </a:lnTo>
                <a:lnTo>
                  <a:pt x="1621" y="112"/>
                </a:lnTo>
                <a:lnTo>
                  <a:pt x="1622" y="111"/>
                </a:lnTo>
                <a:lnTo>
                  <a:pt x="1623" y="106"/>
                </a:lnTo>
                <a:lnTo>
                  <a:pt x="1608" y="105"/>
                </a:lnTo>
                <a:lnTo>
                  <a:pt x="1595" y="104"/>
                </a:lnTo>
                <a:lnTo>
                  <a:pt x="1590" y="103"/>
                </a:lnTo>
                <a:lnTo>
                  <a:pt x="1587" y="101"/>
                </a:lnTo>
                <a:lnTo>
                  <a:pt x="1582" y="101"/>
                </a:lnTo>
                <a:lnTo>
                  <a:pt x="1579" y="99"/>
                </a:lnTo>
                <a:lnTo>
                  <a:pt x="1585" y="97"/>
                </a:lnTo>
                <a:lnTo>
                  <a:pt x="1590" y="95"/>
                </a:lnTo>
                <a:lnTo>
                  <a:pt x="1599" y="97"/>
                </a:lnTo>
                <a:lnTo>
                  <a:pt x="1607" y="99"/>
                </a:lnTo>
                <a:lnTo>
                  <a:pt x="1616" y="99"/>
                </a:lnTo>
                <a:lnTo>
                  <a:pt x="1625" y="101"/>
                </a:lnTo>
                <a:lnTo>
                  <a:pt x="1635" y="102"/>
                </a:lnTo>
                <a:lnTo>
                  <a:pt x="1645" y="104"/>
                </a:lnTo>
                <a:lnTo>
                  <a:pt x="1655" y="106"/>
                </a:lnTo>
                <a:lnTo>
                  <a:pt x="1664" y="107"/>
                </a:lnTo>
                <a:lnTo>
                  <a:pt x="1683" y="112"/>
                </a:lnTo>
                <a:lnTo>
                  <a:pt x="1703" y="116"/>
                </a:lnTo>
                <a:lnTo>
                  <a:pt x="1721" y="123"/>
                </a:lnTo>
                <a:lnTo>
                  <a:pt x="1740" y="129"/>
                </a:lnTo>
                <a:lnTo>
                  <a:pt x="1733" y="124"/>
                </a:lnTo>
                <a:lnTo>
                  <a:pt x="1725" y="120"/>
                </a:lnTo>
                <a:lnTo>
                  <a:pt x="1717" y="118"/>
                </a:lnTo>
                <a:lnTo>
                  <a:pt x="1709" y="114"/>
                </a:lnTo>
                <a:lnTo>
                  <a:pt x="1700" y="111"/>
                </a:lnTo>
                <a:lnTo>
                  <a:pt x="1691" y="107"/>
                </a:lnTo>
                <a:lnTo>
                  <a:pt x="1681" y="104"/>
                </a:lnTo>
                <a:lnTo>
                  <a:pt x="1672" y="101"/>
                </a:lnTo>
                <a:lnTo>
                  <a:pt x="1653" y="95"/>
                </a:lnTo>
                <a:lnTo>
                  <a:pt x="1632" y="89"/>
                </a:lnTo>
                <a:lnTo>
                  <a:pt x="1613" y="85"/>
                </a:lnTo>
                <a:lnTo>
                  <a:pt x="1593" y="80"/>
                </a:lnTo>
                <a:lnTo>
                  <a:pt x="1595" y="79"/>
                </a:lnTo>
                <a:lnTo>
                  <a:pt x="1596" y="78"/>
                </a:lnTo>
                <a:lnTo>
                  <a:pt x="1598" y="78"/>
                </a:lnTo>
                <a:lnTo>
                  <a:pt x="1600" y="78"/>
                </a:lnTo>
                <a:lnTo>
                  <a:pt x="1605" y="80"/>
                </a:lnTo>
                <a:lnTo>
                  <a:pt x="1608" y="80"/>
                </a:lnTo>
                <a:lnTo>
                  <a:pt x="1617" y="81"/>
                </a:lnTo>
                <a:lnTo>
                  <a:pt x="1625" y="82"/>
                </a:lnTo>
                <a:lnTo>
                  <a:pt x="1634" y="85"/>
                </a:lnTo>
                <a:lnTo>
                  <a:pt x="1643" y="85"/>
                </a:lnTo>
                <a:lnTo>
                  <a:pt x="1647" y="85"/>
                </a:lnTo>
                <a:lnTo>
                  <a:pt x="1649" y="85"/>
                </a:lnTo>
                <a:lnTo>
                  <a:pt x="1651" y="87"/>
                </a:lnTo>
                <a:lnTo>
                  <a:pt x="1655" y="89"/>
                </a:lnTo>
                <a:lnTo>
                  <a:pt x="1661" y="90"/>
                </a:lnTo>
                <a:lnTo>
                  <a:pt x="1667" y="91"/>
                </a:lnTo>
                <a:lnTo>
                  <a:pt x="1670" y="91"/>
                </a:lnTo>
                <a:lnTo>
                  <a:pt x="1672" y="93"/>
                </a:lnTo>
                <a:lnTo>
                  <a:pt x="1674" y="93"/>
                </a:lnTo>
                <a:lnTo>
                  <a:pt x="1676" y="91"/>
                </a:lnTo>
                <a:lnTo>
                  <a:pt x="1678" y="93"/>
                </a:lnTo>
                <a:lnTo>
                  <a:pt x="1680" y="95"/>
                </a:lnTo>
                <a:lnTo>
                  <a:pt x="1682" y="95"/>
                </a:lnTo>
                <a:lnTo>
                  <a:pt x="1684" y="95"/>
                </a:lnTo>
                <a:lnTo>
                  <a:pt x="1688" y="97"/>
                </a:lnTo>
                <a:lnTo>
                  <a:pt x="1691" y="99"/>
                </a:lnTo>
                <a:lnTo>
                  <a:pt x="1700" y="101"/>
                </a:lnTo>
                <a:lnTo>
                  <a:pt x="1709" y="102"/>
                </a:lnTo>
                <a:lnTo>
                  <a:pt x="1706" y="98"/>
                </a:lnTo>
                <a:lnTo>
                  <a:pt x="1703" y="96"/>
                </a:lnTo>
                <a:lnTo>
                  <a:pt x="1698" y="95"/>
                </a:lnTo>
                <a:lnTo>
                  <a:pt x="1695" y="93"/>
                </a:lnTo>
                <a:lnTo>
                  <a:pt x="1684" y="89"/>
                </a:lnTo>
                <a:lnTo>
                  <a:pt x="1674" y="86"/>
                </a:lnTo>
                <a:lnTo>
                  <a:pt x="1664" y="81"/>
                </a:lnTo>
                <a:lnTo>
                  <a:pt x="1653" y="78"/>
                </a:lnTo>
                <a:lnTo>
                  <a:pt x="1642" y="74"/>
                </a:lnTo>
                <a:lnTo>
                  <a:pt x="1631" y="71"/>
                </a:lnTo>
                <a:lnTo>
                  <a:pt x="1608" y="65"/>
                </a:lnTo>
                <a:lnTo>
                  <a:pt x="1585" y="61"/>
                </a:lnTo>
                <a:lnTo>
                  <a:pt x="1563" y="56"/>
                </a:lnTo>
                <a:lnTo>
                  <a:pt x="1540" y="52"/>
                </a:lnTo>
                <a:lnTo>
                  <a:pt x="1517" y="47"/>
                </a:lnTo>
                <a:lnTo>
                  <a:pt x="1493" y="43"/>
                </a:lnTo>
                <a:lnTo>
                  <a:pt x="1470" y="38"/>
                </a:lnTo>
                <a:lnTo>
                  <a:pt x="1448" y="35"/>
                </a:lnTo>
                <a:lnTo>
                  <a:pt x="1425" y="31"/>
                </a:lnTo>
                <a:lnTo>
                  <a:pt x="1402" y="27"/>
                </a:lnTo>
                <a:lnTo>
                  <a:pt x="1378" y="23"/>
                </a:lnTo>
                <a:lnTo>
                  <a:pt x="1355" y="20"/>
                </a:lnTo>
                <a:lnTo>
                  <a:pt x="1333" y="18"/>
                </a:lnTo>
                <a:lnTo>
                  <a:pt x="1310" y="14"/>
                </a:lnTo>
                <a:lnTo>
                  <a:pt x="1286" y="12"/>
                </a:lnTo>
                <a:lnTo>
                  <a:pt x="1263" y="10"/>
                </a:lnTo>
                <a:lnTo>
                  <a:pt x="1252" y="8"/>
                </a:lnTo>
                <a:lnTo>
                  <a:pt x="1241" y="6"/>
                </a:lnTo>
                <a:lnTo>
                  <a:pt x="1228" y="5"/>
                </a:lnTo>
                <a:lnTo>
                  <a:pt x="1217" y="5"/>
                </a:lnTo>
                <a:lnTo>
                  <a:pt x="1205" y="5"/>
                </a:lnTo>
                <a:lnTo>
                  <a:pt x="1194" y="5"/>
                </a:lnTo>
                <a:lnTo>
                  <a:pt x="1184" y="3"/>
                </a:lnTo>
                <a:lnTo>
                  <a:pt x="1175" y="0"/>
                </a:lnTo>
                <a:lnTo>
                  <a:pt x="1163" y="0"/>
                </a:lnTo>
                <a:lnTo>
                  <a:pt x="1152" y="2"/>
                </a:lnTo>
                <a:lnTo>
                  <a:pt x="1147" y="2"/>
                </a:lnTo>
                <a:lnTo>
                  <a:pt x="1142" y="2"/>
                </a:lnTo>
                <a:lnTo>
                  <a:pt x="1140" y="4"/>
                </a:lnTo>
                <a:lnTo>
                  <a:pt x="1139" y="6"/>
                </a:lnTo>
                <a:lnTo>
                  <a:pt x="1131" y="7"/>
                </a:lnTo>
                <a:lnTo>
                  <a:pt x="1122" y="6"/>
                </a:lnTo>
                <a:lnTo>
                  <a:pt x="1120" y="6"/>
                </a:lnTo>
                <a:lnTo>
                  <a:pt x="1115" y="6"/>
                </a:lnTo>
                <a:lnTo>
                  <a:pt x="1113" y="6"/>
                </a:lnTo>
                <a:lnTo>
                  <a:pt x="1112" y="7"/>
                </a:lnTo>
                <a:lnTo>
                  <a:pt x="1111" y="8"/>
                </a:lnTo>
                <a:lnTo>
                  <a:pt x="1112" y="10"/>
                </a:lnTo>
                <a:lnTo>
                  <a:pt x="1115" y="10"/>
                </a:lnTo>
                <a:lnTo>
                  <a:pt x="1118" y="10"/>
                </a:lnTo>
                <a:lnTo>
                  <a:pt x="1116" y="12"/>
                </a:lnTo>
                <a:lnTo>
                  <a:pt x="1115" y="13"/>
                </a:lnTo>
                <a:lnTo>
                  <a:pt x="1112" y="14"/>
                </a:lnTo>
                <a:lnTo>
                  <a:pt x="1110" y="15"/>
                </a:lnTo>
                <a:lnTo>
                  <a:pt x="1107" y="15"/>
                </a:lnTo>
                <a:lnTo>
                  <a:pt x="1104" y="13"/>
                </a:lnTo>
                <a:lnTo>
                  <a:pt x="1103" y="11"/>
                </a:lnTo>
                <a:lnTo>
                  <a:pt x="1103" y="8"/>
                </a:lnTo>
                <a:lnTo>
                  <a:pt x="1102" y="7"/>
                </a:lnTo>
                <a:lnTo>
                  <a:pt x="1099" y="7"/>
                </a:lnTo>
                <a:lnTo>
                  <a:pt x="1096" y="8"/>
                </a:lnTo>
                <a:lnTo>
                  <a:pt x="1093" y="10"/>
                </a:lnTo>
                <a:lnTo>
                  <a:pt x="1089" y="8"/>
                </a:lnTo>
                <a:lnTo>
                  <a:pt x="1086" y="7"/>
                </a:lnTo>
                <a:lnTo>
                  <a:pt x="1081" y="6"/>
                </a:lnTo>
                <a:lnTo>
                  <a:pt x="1077" y="7"/>
                </a:lnTo>
                <a:lnTo>
                  <a:pt x="1073" y="10"/>
                </a:lnTo>
                <a:lnTo>
                  <a:pt x="1070" y="12"/>
                </a:lnTo>
                <a:lnTo>
                  <a:pt x="1066" y="11"/>
                </a:lnTo>
                <a:lnTo>
                  <a:pt x="1063" y="7"/>
                </a:lnTo>
                <a:lnTo>
                  <a:pt x="1060" y="7"/>
                </a:lnTo>
                <a:lnTo>
                  <a:pt x="1056" y="8"/>
                </a:lnTo>
                <a:lnTo>
                  <a:pt x="1045" y="11"/>
                </a:lnTo>
                <a:lnTo>
                  <a:pt x="1035" y="12"/>
                </a:lnTo>
                <a:lnTo>
                  <a:pt x="1030" y="12"/>
                </a:lnTo>
                <a:lnTo>
                  <a:pt x="1025" y="12"/>
                </a:lnTo>
                <a:lnTo>
                  <a:pt x="1023" y="12"/>
                </a:lnTo>
                <a:lnTo>
                  <a:pt x="1021" y="13"/>
                </a:lnTo>
                <a:lnTo>
                  <a:pt x="1020" y="14"/>
                </a:lnTo>
                <a:lnTo>
                  <a:pt x="1019" y="16"/>
                </a:lnTo>
                <a:lnTo>
                  <a:pt x="1019" y="20"/>
                </a:lnTo>
                <a:lnTo>
                  <a:pt x="1020" y="21"/>
                </a:lnTo>
                <a:lnTo>
                  <a:pt x="1021" y="21"/>
                </a:lnTo>
                <a:lnTo>
                  <a:pt x="1024" y="21"/>
                </a:lnTo>
                <a:lnTo>
                  <a:pt x="1032" y="24"/>
                </a:lnTo>
                <a:lnTo>
                  <a:pt x="1041" y="28"/>
                </a:lnTo>
                <a:lnTo>
                  <a:pt x="1050" y="29"/>
                </a:lnTo>
                <a:lnTo>
                  <a:pt x="1057" y="28"/>
                </a:lnTo>
                <a:lnTo>
                  <a:pt x="1058" y="25"/>
                </a:lnTo>
                <a:lnTo>
                  <a:pt x="1062" y="22"/>
                </a:lnTo>
                <a:lnTo>
                  <a:pt x="1064" y="22"/>
                </a:lnTo>
                <a:lnTo>
                  <a:pt x="1066" y="22"/>
                </a:lnTo>
                <a:lnTo>
                  <a:pt x="1069" y="22"/>
                </a:lnTo>
                <a:lnTo>
                  <a:pt x="1071" y="24"/>
                </a:lnTo>
                <a:lnTo>
                  <a:pt x="1068" y="27"/>
                </a:lnTo>
                <a:lnTo>
                  <a:pt x="1063" y="29"/>
                </a:lnTo>
                <a:lnTo>
                  <a:pt x="1061" y="32"/>
                </a:lnTo>
                <a:lnTo>
                  <a:pt x="1058" y="35"/>
                </a:lnTo>
                <a:lnTo>
                  <a:pt x="1055" y="35"/>
                </a:lnTo>
                <a:lnTo>
                  <a:pt x="1052" y="35"/>
                </a:lnTo>
                <a:lnTo>
                  <a:pt x="1046" y="32"/>
                </a:lnTo>
                <a:lnTo>
                  <a:pt x="1040" y="32"/>
                </a:lnTo>
                <a:lnTo>
                  <a:pt x="1028" y="33"/>
                </a:lnTo>
                <a:lnTo>
                  <a:pt x="1015" y="35"/>
                </a:lnTo>
                <a:lnTo>
                  <a:pt x="1008" y="35"/>
                </a:lnTo>
                <a:lnTo>
                  <a:pt x="1003" y="35"/>
                </a:lnTo>
                <a:lnTo>
                  <a:pt x="996" y="33"/>
                </a:lnTo>
                <a:lnTo>
                  <a:pt x="990" y="31"/>
                </a:lnTo>
                <a:lnTo>
                  <a:pt x="987" y="30"/>
                </a:lnTo>
                <a:lnTo>
                  <a:pt x="986" y="30"/>
                </a:lnTo>
                <a:lnTo>
                  <a:pt x="983" y="31"/>
                </a:lnTo>
                <a:lnTo>
                  <a:pt x="981" y="31"/>
                </a:lnTo>
                <a:lnTo>
                  <a:pt x="974" y="32"/>
                </a:lnTo>
                <a:lnTo>
                  <a:pt x="969" y="31"/>
                </a:lnTo>
                <a:lnTo>
                  <a:pt x="955" y="31"/>
                </a:lnTo>
                <a:lnTo>
                  <a:pt x="940" y="30"/>
                </a:lnTo>
                <a:lnTo>
                  <a:pt x="926" y="30"/>
                </a:lnTo>
                <a:lnTo>
                  <a:pt x="912" y="29"/>
                </a:lnTo>
                <a:lnTo>
                  <a:pt x="898" y="29"/>
                </a:lnTo>
                <a:lnTo>
                  <a:pt x="884" y="29"/>
                </a:lnTo>
                <a:lnTo>
                  <a:pt x="855" y="30"/>
                </a:lnTo>
                <a:lnTo>
                  <a:pt x="826" y="30"/>
                </a:lnTo>
                <a:lnTo>
                  <a:pt x="797" y="30"/>
                </a:lnTo>
                <a:lnTo>
                  <a:pt x="768" y="31"/>
                </a:lnTo>
                <a:lnTo>
                  <a:pt x="740" y="32"/>
                </a:lnTo>
                <a:lnTo>
                  <a:pt x="710" y="35"/>
                </a:lnTo>
                <a:lnTo>
                  <a:pt x="682" y="36"/>
                </a:lnTo>
                <a:lnTo>
                  <a:pt x="653" y="38"/>
                </a:lnTo>
                <a:lnTo>
                  <a:pt x="637" y="40"/>
                </a:lnTo>
                <a:lnTo>
                  <a:pt x="623" y="43"/>
                </a:lnTo>
                <a:lnTo>
                  <a:pt x="615" y="44"/>
                </a:lnTo>
                <a:lnTo>
                  <a:pt x="607" y="45"/>
                </a:lnTo>
                <a:lnTo>
                  <a:pt x="599" y="46"/>
                </a:lnTo>
                <a:lnTo>
                  <a:pt x="591" y="47"/>
                </a:lnTo>
                <a:lnTo>
                  <a:pt x="590" y="46"/>
                </a:lnTo>
                <a:lnTo>
                  <a:pt x="587" y="45"/>
                </a:lnTo>
                <a:lnTo>
                  <a:pt x="585" y="46"/>
                </a:lnTo>
                <a:lnTo>
                  <a:pt x="583" y="47"/>
                </a:lnTo>
                <a:lnTo>
                  <a:pt x="577" y="48"/>
                </a:lnTo>
                <a:lnTo>
                  <a:pt x="572" y="48"/>
                </a:lnTo>
                <a:lnTo>
                  <a:pt x="561" y="48"/>
                </a:lnTo>
                <a:lnTo>
                  <a:pt x="552" y="50"/>
                </a:lnTo>
                <a:lnTo>
                  <a:pt x="541" y="53"/>
                </a:lnTo>
                <a:lnTo>
                  <a:pt x="530" y="54"/>
                </a:lnTo>
                <a:lnTo>
                  <a:pt x="520" y="55"/>
                </a:lnTo>
                <a:lnTo>
                  <a:pt x="509" y="57"/>
                </a:lnTo>
                <a:lnTo>
                  <a:pt x="498" y="58"/>
                </a:lnTo>
                <a:lnTo>
                  <a:pt x="488" y="61"/>
                </a:lnTo>
                <a:lnTo>
                  <a:pt x="478" y="62"/>
                </a:lnTo>
                <a:lnTo>
                  <a:pt x="468" y="64"/>
                </a:lnTo>
                <a:lnTo>
                  <a:pt x="456" y="65"/>
                </a:lnTo>
                <a:lnTo>
                  <a:pt x="445" y="66"/>
                </a:lnTo>
                <a:lnTo>
                  <a:pt x="432" y="69"/>
                </a:lnTo>
                <a:lnTo>
                  <a:pt x="421" y="70"/>
                </a:lnTo>
                <a:lnTo>
                  <a:pt x="412" y="72"/>
                </a:lnTo>
                <a:lnTo>
                  <a:pt x="404" y="74"/>
                </a:lnTo>
                <a:lnTo>
                  <a:pt x="396" y="78"/>
                </a:lnTo>
                <a:lnTo>
                  <a:pt x="389" y="82"/>
                </a:lnTo>
                <a:lnTo>
                  <a:pt x="382" y="88"/>
                </a:lnTo>
                <a:lnTo>
                  <a:pt x="378" y="95"/>
                </a:lnTo>
                <a:lnTo>
                  <a:pt x="377" y="98"/>
                </a:lnTo>
                <a:lnTo>
                  <a:pt x="376" y="103"/>
                </a:lnTo>
                <a:lnTo>
                  <a:pt x="376" y="106"/>
                </a:lnTo>
                <a:lnTo>
                  <a:pt x="377" y="111"/>
                </a:lnTo>
                <a:lnTo>
                  <a:pt x="378" y="118"/>
                </a:lnTo>
                <a:lnTo>
                  <a:pt x="380" y="126"/>
                </a:lnTo>
                <a:lnTo>
                  <a:pt x="382" y="128"/>
                </a:lnTo>
                <a:lnTo>
                  <a:pt x="385" y="130"/>
                </a:lnTo>
                <a:lnTo>
                  <a:pt x="387" y="133"/>
                </a:lnTo>
                <a:lnTo>
                  <a:pt x="387" y="137"/>
                </a:lnTo>
                <a:lnTo>
                  <a:pt x="385" y="139"/>
                </a:lnTo>
                <a:lnTo>
                  <a:pt x="382" y="141"/>
                </a:lnTo>
                <a:lnTo>
                  <a:pt x="380" y="145"/>
                </a:lnTo>
                <a:lnTo>
                  <a:pt x="379" y="148"/>
                </a:lnTo>
                <a:lnTo>
                  <a:pt x="382" y="155"/>
                </a:lnTo>
                <a:lnTo>
                  <a:pt x="386" y="162"/>
                </a:lnTo>
                <a:lnTo>
                  <a:pt x="386" y="165"/>
                </a:lnTo>
                <a:lnTo>
                  <a:pt x="387" y="168"/>
                </a:lnTo>
                <a:lnTo>
                  <a:pt x="388" y="170"/>
                </a:lnTo>
                <a:lnTo>
                  <a:pt x="390" y="172"/>
                </a:lnTo>
                <a:lnTo>
                  <a:pt x="394" y="173"/>
                </a:lnTo>
                <a:lnTo>
                  <a:pt x="397" y="174"/>
                </a:lnTo>
                <a:lnTo>
                  <a:pt x="399" y="176"/>
                </a:lnTo>
                <a:lnTo>
                  <a:pt x="401" y="179"/>
                </a:lnTo>
                <a:lnTo>
                  <a:pt x="396" y="179"/>
                </a:lnTo>
                <a:lnTo>
                  <a:pt x="392" y="180"/>
                </a:lnTo>
                <a:lnTo>
                  <a:pt x="390" y="185"/>
                </a:lnTo>
                <a:lnTo>
                  <a:pt x="390" y="190"/>
                </a:lnTo>
                <a:lnTo>
                  <a:pt x="387" y="194"/>
                </a:lnTo>
                <a:lnTo>
                  <a:pt x="382" y="196"/>
                </a:lnTo>
                <a:lnTo>
                  <a:pt x="377" y="198"/>
                </a:lnTo>
                <a:lnTo>
                  <a:pt x="371" y="201"/>
                </a:lnTo>
                <a:lnTo>
                  <a:pt x="354" y="207"/>
                </a:lnTo>
                <a:lnTo>
                  <a:pt x="337" y="213"/>
                </a:lnTo>
                <a:lnTo>
                  <a:pt x="331" y="214"/>
                </a:lnTo>
                <a:lnTo>
                  <a:pt x="325" y="216"/>
                </a:lnTo>
                <a:lnTo>
                  <a:pt x="325" y="218"/>
                </a:lnTo>
                <a:lnTo>
                  <a:pt x="325" y="219"/>
                </a:lnTo>
                <a:lnTo>
                  <a:pt x="323" y="219"/>
                </a:lnTo>
                <a:lnTo>
                  <a:pt x="322" y="220"/>
                </a:lnTo>
                <a:lnTo>
                  <a:pt x="318" y="220"/>
                </a:lnTo>
                <a:lnTo>
                  <a:pt x="313" y="221"/>
                </a:lnTo>
                <a:lnTo>
                  <a:pt x="297" y="229"/>
                </a:lnTo>
                <a:lnTo>
                  <a:pt x="280" y="237"/>
                </a:lnTo>
                <a:lnTo>
                  <a:pt x="262" y="245"/>
                </a:lnTo>
                <a:lnTo>
                  <a:pt x="245" y="253"/>
                </a:lnTo>
                <a:lnTo>
                  <a:pt x="229" y="262"/>
                </a:lnTo>
                <a:lnTo>
                  <a:pt x="214" y="270"/>
                </a:lnTo>
                <a:lnTo>
                  <a:pt x="199" y="277"/>
                </a:lnTo>
                <a:lnTo>
                  <a:pt x="186" y="282"/>
                </a:lnTo>
                <a:lnTo>
                  <a:pt x="171" y="293"/>
                </a:lnTo>
                <a:lnTo>
                  <a:pt x="155" y="303"/>
                </a:lnTo>
                <a:lnTo>
                  <a:pt x="140" y="313"/>
                </a:lnTo>
                <a:lnTo>
                  <a:pt x="124" y="323"/>
                </a:lnTo>
                <a:lnTo>
                  <a:pt x="109" y="334"/>
                </a:lnTo>
                <a:lnTo>
                  <a:pt x="96" y="345"/>
                </a:lnTo>
                <a:lnTo>
                  <a:pt x="81" y="354"/>
                </a:lnTo>
                <a:lnTo>
                  <a:pt x="67" y="364"/>
                </a:lnTo>
                <a:lnTo>
                  <a:pt x="55" y="373"/>
                </a:lnTo>
                <a:lnTo>
                  <a:pt x="43" y="384"/>
                </a:lnTo>
                <a:lnTo>
                  <a:pt x="39" y="389"/>
                </a:lnTo>
                <a:lnTo>
                  <a:pt x="34" y="395"/>
                </a:lnTo>
                <a:lnTo>
                  <a:pt x="28" y="398"/>
                </a:lnTo>
                <a:lnTo>
                  <a:pt x="22" y="401"/>
                </a:lnTo>
                <a:lnTo>
                  <a:pt x="15" y="404"/>
                </a:lnTo>
                <a:lnTo>
                  <a:pt x="9" y="410"/>
                </a:lnTo>
                <a:lnTo>
                  <a:pt x="3" y="415"/>
                </a:lnTo>
                <a:lnTo>
                  <a:pt x="0" y="422"/>
                </a:lnTo>
                <a:lnTo>
                  <a:pt x="0" y="425"/>
                </a:lnTo>
                <a:lnTo>
                  <a:pt x="0" y="428"/>
                </a:lnTo>
                <a:lnTo>
                  <a:pt x="1" y="430"/>
                </a:lnTo>
                <a:lnTo>
                  <a:pt x="3" y="433"/>
                </a:lnTo>
                <a:lnTo>
                  <a:pt x="8" y="437"/>
                </a:lnTo>
                <a:lnTo>
                  <a:pt x="14" y="439"/>
                </a:lnTo>
                <a:lnTo>
                  <a:pt x="22" y="440"/>
                </a:lnTo>
                <a:lnTo>
                  <a:pt x="30" y="443"/>
                </a:lnTo>
                <a:lnTo>
                  <a:pt x="38" y="447"/>
                </a:lnTo>
                <a:lnTo>
                  <a:pt x="44" y="453"/>
                </a:lnTo>
                <a:lnTo>
                  <a:pt x="50" y="458"/>
                </a:lnTo>
                <a:lnTo>
                  <a:pt x="58" y="463"/>
                </a:lnTo>
                <a:lnTo>
                  <a:pt x="63" y="464"/>
                </a:lnTo>
                <a:lnTo>
                  <a:pt x="66" y="465"/>
                </a:lnTo>
                <a:lnTo>
                  <a:pt x="71" y="465"/>
                </a:lnTo>
                <a:lnTo>
                  <a:pt x="74" y="464"/>
                </a:lnTo>
                <a:lnTo>
                  <a:pt x="80" y="460"/>
                </a:lnTo>
                <a:lnTo>
                  <a:pt x="85" y="456"/>
                </a:lnTo>
                <a:lnTo>
                  <a:pt x="94" y="455"/>
                </a:lnTo>
                <a:lnTo>
                  <a:pt x="104" y="454"/>
                </a:lnTo>
                <a:lnTo>
                  <a:pt x="113" y="451"/>
                </a:lnTo>
                <a:lnTo>
                  <a:pt x="121" y="447"/>
                </a:lnTo>
                <a:lnTo>
                  <a:pt x="130" y="444"/>
                </a:lnTo>
                <a:lnTo>
                  <a:pt x="138" y="440"/>
                </a:lnTo>
                <a:lnTo>
                  <a:pt x="138" y="439"/>
                </a:lnTo>
                <a:lnTo>
                  <a:pt x="138" y="440"/>
                </a:lnTo>
                <a:close/>
                <a:moveTo>
                  <a:pt x="269" y="402"/>
                </a:moveTo>
                <a:lnTo>
                  <a:pt x="270" y="402"/>
                </a:lnTo>
                <a:lnTo>
                  <a:pt x="271" y="402"/>
                </a:lnTo>
                <a:lnTo>
                  <a:pt x="270" y="402"/>
                </a:lnTo>
                <a:lnTo>
                  <a:pt x="269" y="402"/>
                </a:lnTo>
                <a:close/>
                <a:moveTo>
                  <a:pt x="294" y="393"/>
                </a:moveTo>
                <a:lnTo>
                  <a:pt x="292" y="393"/>
                </a:lnTo>
                <a:lnTo>
                  <a:pt x="290" y="394"/>
                </a:lnTo>
                <a:lnTo>
                  <a:pt x="294" y="393"/>
                </a:lnTo>
                <a:lnTo>
                  <a:pt x="297" y="390"/>
                </a:lnTo>
                <a:lnTo>
                  <a:pt x="296" y="392"/>
                </a:lnTo>
                <a:lnTo>
                  <a:pt x="294" y="393"/>
                </a:lnTo>
                <a:lnTo>
                  <a:pt x="294" y="393"/>
                </a:lnTo>
                <a:lnTo>
                  <a:pt x="294" y="393"/>
                </a:lnTo>
                <a:close/>
                <a:moveTo>
                  <a:pt x="1602" y="543"/>
                </a:moveTo>
                <a:lnTo>
                  <a:pt x="1600" y="542"/>
                </a:lnTo>
                <a:lnTo>
                  <a:pt x="1599" y="541"/>
                </a:lnTo>
                <a:lnTo>
                  <a:pt x="1605" y="544"/>
                </a:lnTo>
                <a:lnTo>
                  <a:pt x="1609" y="546"/>
                </a:lnTo>
                <a:lnTo>
                  <a:pt x="1615" y="547"/>
                </a:lnTo>
                <a:lnTo>
                  <a:pt x="1621" y="547"/>
                </a:lnTo>
                <a:lnTo>
                  <a:pt x="1617" y="548"/>
                </a:lnTo>
                <a:lnTo>
                  <a:pt x="1612" y="547"/>
                </a:lnTo>
                <a:lnTo>
                  <a:pt x="1606" y="545"/>
                </a:lnTo>
                <a:lnTo>
                  <a:pt x="1602" y="543"/>
                </a:lnTo>
                <a:lnTo>
                  <a:pt x="1604" y="544"/>
                </a:lnTo>
                <a:lnTo>
                  <a:pt x="1602" y="543"/>
                </a:lnTo>
                <a:close/>
                <a:moveTo>
                  <a:pt x="1541" y="514"/>
                </a:moveTo>
                <a:lnTo>
                  <a:pt x="1539" y="519"/>
                </a:lnTo>
                <a:lnTo>
                  <a:pt x="1539" y="525"/>
                </a:lnTo>
                <a:lnTo>
                  <a:pt x="1539" y="519"/>
                </a:lnTo>
                <a:lnTo>
                  <a:pt x="1541" y="514"/>
                </a:lnTo>
                <a:lnTo>
                  <a:pt x="1541" y="517"/>
                </a:lnTo>
                <a:lnTo>
                  <a:pt x="1541" y="514"/>
                </a:lnTo>
                <a:close/>
                <a:moveTo>
                  <a:pt x="1556" y="373"/>
                </a:moveTo>
                <a:lnTo>
                  <a:pt x="1556" y="373"/>
                </a:lnTo>
                <a:lnTo>
                  <a:pt x="1556" y="372"/>
                </a:lnTo>
                <a:lnTo>
                  <a:pt x="1557" y="373"/>
                </a:lnTo>
                <a:lnTo>
                  <a:pt x="1556" y="373"/>
                </a:lnTo>
                <a:lnTo>
                  <a:pt x="1556" y="373"/>
                </a:lnTo>
                <a:lnTo>
                  <a:pt x="1556" y="373"/>
                </a:lnTo>
                <a:close/>
                <a:moveTo>
                  <a:pt x="1550" y="368"/>
                </a:moveTo>
                <a:lnTo>
                  <a:pt x="1552" y="368"/>
                </a:lnTo>
                <a:lnTo>
                  <a:pt x="1555" y="369"/>
                </a:lnTo>
                <a:lnTo>
                  <a:pt x="1556" y="371"/>
                </a:lnTo>
                <a:lnTo>
                  <a:pt x="1555" y="372"/>
                </a:lnTo>
                <a:lnTo>
                  <a:pt x="1552" y="372"/>
                </a:lnTo>
                <a:lnTo>
                  <a:pt x="1550" y="371"/>
                </a:lnTo>
                <a:lnTo>
                  <a:pt x="1549" y="369"/>
                </a:lnTo>
                <a:lnTo>
                  <a:pt x="1550" y="368"/>
                </a:lnTo>
                <a:lnTo>
                  <a:pt x="1551" y="368"/>
                </a:lnTo>
                <a:lnTo>
                  <a:pt x="1550" y="368"/>
                </a:lnTo>
                <a:close/>
                <a:moveTo>
                  <a:pt x="1557" y="427"/>
                </a:moveTo>
                <a:lnTo>
                  <a:pt x="1561" y="428"/>
                </a:lnTo>
                <a:lnTo>
                  <a:pt x="1565" y="428"/>
                </a:lnTo>
                <a:lnTo>
                  <a:pt x="1563" y="430"/>
                </a:lnTo>
                <a:lnTo>
                  <a:pt x="1560" y="431"/>
                </a:lnTo>
                <a:lnTo>
                  <a:pt x="1559" y="431"/>
                </a:lnTo>
                <a:lnTo>
                  <a:pt x="1558" y="430"/>
                </a:lnTo>
                <a:lnTo>
                  <a:pt x="1557" y="429"/>
                </a:lnTo>
                <a:lnTo>
                  <a:pt x="1557" y="427"/>
                </a:lnTo>
                <a:lnTo>
                  <a:pt x="1557" y="428"/>
                </a:lnTo>
                <a:lnTo>
                  <a:pt x="1557" y="427"/>
                </a:lnTo>
                <a:close/>
                <a:moveTo>
                  <a:pt x="1550" y="438"/>
                </a:moveTo>
                <a:lnTo>
                  <a:pt x="1548" y="437"/>
                </a:lnTo>
                <a:lnTo>
                  <a:pt x="1544" y="436"/>
                </a:lnTo>
                <a:lnTo>
                  <a:pt x="1543" y="435"/>
                </a:lnTo>
                <a:lnTo>
                  <a:pt x="1543" y="435"/>
                </a:lnTo>
                <a:lnTo>
                  <a:pt x="1542" y="434"/>
                </a:lnTo>
                <a:lnTo>
                  <a:pt x="1543" y="433"/>
                </a:lnTo>
                <a:lnTo>
                  <a:pt x="1543" y="435"/>
                </a:lnTo>
                <a:lnTo>
                  <a:pt x="1546" y="436"/>
                </a:lnTo>
                <a:lnTo>
                  <a:pt x="1548" y="437"/>
                </a:lnTo>
                <a:lnTo>
                  <a:pt x="1550" y="438"/>
                </a:lnTo>
                <a:close/>
                <a:moveTo>
                  <a:pt x="1368" y="461"/>
                </a:moveTo>
                <a:lnTo>
                  <a:pt x="1368" y="461"/>
                </a:lnTo>
                <a:lnTo>
                  <a:pt x="1368" y="461"/>
                </a:lnTo>
                <a:close/>
                <a:moveTo>
                  <a:pt x="1360" y="443"/>
                </a:moveTo>
                <a:lnTo>
                  <a:pt x="1359" y="443"/>
                </a:lnTo>
                <a:lnTo>
                  <a:pt x="1358" y="442"/>
                </a:lnTo>
                <a:lnTo>
                  <a:pt x="1359" y="443"/>
                </a:lnTo>
                <a:lnTo>
                  <a:pt x="1360" y="443"/>
                </a:lnTo>
                <a:close/>
                <a:moveTo>
                  <a:pt x="1576" y="251"/>
                </a:moveTo>
                <a:lnTo>
                  <a:pt x="1572" y="252"/>
                </a:lnTo>
                <a:lnTo>
                  <a:pt x="1565" y="252"/>
                </a:lnTo>
                <a:lnTo>
                  <a:pt x="1557" y="252"/>
                </a:lnTo>
                <a:lnTo>
                  <a:pt x="1551" y="252"/>
                </a:lnTo>
                <a:lnTo>
                  <a:pt x="1557" y="251"/>
                </a:lnTo>
                <a:lnTo>
                  <a:pt x="1561" y="249"/>
                </a:lnTo>
                <a:lnTo>
                  <a:pt x="1554" y="247"/>
                </a:lnTo>
                <a:lnTo>
                  <a:pt x="1546" y="247"/>
                </a:lnTo>
                <a:lnTo>
                  <a:pt x="1554" y="247"/>
                </a:lnTo>
                <a:lnTo>
                  <a:pt x="1561" y="249"/>
                </a:lnTo>
                <a:lnTo>
                  <a:pt x="1569" y="249"/>
                </a:lnTo>
                <a:lnTo>
                  <a:pt x="1577" y="251"/>
                </a:lnTo>
                <a:lnTo>
                  <a:pt x="1576" y="251"/>
                </a:lnTo>
                <a:lnTo>
                  <a:pt x="1576" y="251"/>
                </a:lnTo>
                <a:close/>
                <a:moveTo>
                  <a:pt x="1681" y="279"/>
                </a:moveTo>
                <a:lnTo>
                  <a:pt x="1681" y="279"/>
                </a:lnTo>
                <a:lnTo>
                  <a:pt x="1681" y="279"/>
                </a:lnTo>
                <a:lnTo>
                  <a:pt x="1681" y="279"/>
                </a:lnTo>
                <a:lnTo>
                  <a:pt x="1681" y="279"/>
                </a:lnTo>
                <a:close/>
                <a:moveTo>
                  <a:pt x="1653" y="282"/>
                </a:moveTo>
                <a:lnTo>
                  <a:pt x="1659" y="285"/>
                </a:lnTo>
                <a:lnTo>
                  <a:pt x="1668" y="286"/>
                </a:lnTo>
                <a:lnTo>
                  <a:pt x="1673" y="286"/>
                </a:lnTo>
                <a:lnTo>
                  <a:pt x="1676" y="285"/>
                </a:lnTo>
                <a:lnTo>
                  <a:pt x="1680" y="282"/>
                </a:lnTo>
                <a:lnTo>
                  <a:pt x="1681" y="279"/>
                </a:lnTo>
                <a:lnTo>
                  <a:pt x="1680" y="284"/>
                </a:lnTo>
                <a:lnTo>
                  <a:pt x="1679" y="287"/>
                </a:lnTo>
                <a:lnTo>
                  <a:pt x="1675" y="289"/>
                </a:lnTo>
                <a:lnTo>
                  <a:pt x="1672" y="290"/>
                </a:lnTo>
                <a:lnTo>
                  <a:pt x="1668" y="290"/>
                </a:lnTo>
                <a:lnTo>
                  <a:pt x="1665" y="292"/>
                </a:lnTo>
                <a:lnTo>
                  <a:pt x="1663" y="295"/>
                </a:lnTo>
                <a:lnTo>
                  <a:pt x="1662" y="298"/>
                </a:lnTo>
                <a:lnTo>
                  <a:pt x="1658" y="298"/>
                </a:lnTo>
                <a:lnTo>
                  <a:pt x="1655" y="298"/>
                </a:lnTo>
                <a:lnTo>
                  <a:pt x="1656" y="302"/>
                </a:lnTo>
                <a:lnTo>
                  <a:pt x="1658" y="304"/>
                </a:lnTo>
                <a:lnTo>
                  <a:pt x="1657" y="305"/>
                </a:lnTo>
                <a:lnTo>
                  <a:pt x="1656" y="306"/>
                </a:lnTo>
                <a:lnTo>
                  <a:pt x="1654" y="307"/>
                </a:lnTo>
                <a:lnTo>
                  <a:pt x="1653" y="306"/>
                </a:lnTo>
                <a:lnTo>
                  <a:pt x="1650" y="305"/>
                </a:lnTo>
                <a:lnTo>
                  <a:pt x="1648" y="305"/>
                </a:lnTo>
                <a:lnTo>
                  <a:pt x="1645" y="305"/>
                </a:lnTo>
                <a:lnTo>
                  <a:pt x="1642" y="306"/>
                </a:lnTo>
                <a:lnTo>
                  <a:pt x="1630" y="307"/>
                </a:lnTo>
                <a:lnTo>
                  <a:pt x="1618" y="307"/>
                </a:lnTo>
                <a:lnTo>
                  <a:pt x="1606" y="309"/>
                </a:lnTo>
                <a:lnTo>
                  <a:pt x="1592" y="309"/>
                </a:lnTo>
                <a:lnTo>
                  <a:pt x="1580" y="306"/>
                </a:lnTo>
                <a:lnTo>
                  <a:pt x="1567" y="305"/>
                </a:lnTo>
                <a:lnTo>
                  <a:pt x="1561" y="304"/>
                </a:lnTo>
                <a:lnTo>
                  <a:pt x="1555" y="305"/>
                </a:lnTo>
                <a:lnTo>
                  <a:pt x="1554" y="307"/>
                </a:lnTo>
                <a:lnTo>
                  <a:pt x="1552" y="309"/>
                </a:lnTo>
                <a:lnTo>
                  <a:pt x="1547" y="307"/>
                </a:lnTo>
                <a:lnTo>
                  <a:pt x="1541" y="305"/>
                </a:lnTo>
                <a:lnTo>
                  <a:pt x="1528" y="303"/>
                </a:lnTo>
                <a:lnTo>
                  <a:pt x="1515" y="303"/>
                </a:lnTo>
                <a:lnTo>
                  <a:pt x="1511" y="303"/>
                </a:lnTo>
                <a:lnTo>
                  <a:pt x="1506" y="304"/>
                </a:lnTo>
                <a:lnTo>
                  <a:pt x="1503" y="304"/>
                </a:lnTo>
                <a:lnTo>
                  <a:pt x="1502" y="303"/>
                </a:lnTo>
                <a:lnTo>
                  <a:pt x="1501" y="302"/>
                </a:lnTo>
                <a:lnTo>
                  <a:pt x="1501" y="299"/>
                </a:lnTo>
                <a:lnTo>
                  <a:pt x="1503" y="295"/>
                </a:lnTo>
                <a:lnTo>
                  <a:pt x="1507" y="292"/>
                </a:lnTo>
                <a:lnTo>
                  <a:pt x="1509" y="292"/>
                </a:lnTo>
                <a:lnTo>
                  <a:pt x="1509" y="294"/>
                </a:lnTo>
                <a:lnTo>
                  <a:pt x="1509" y="295"/>
                </a:lnTo>
                <a:lnTo>
                  <a:pt x="1510" y="297"/>
                </a:lnTo>
                <a:lnTo>
                  <a:pt x="1516" y="299"/>
                </a:lnTo>
                <a:lnTo>
                  <a:pt x="1522" y="301"/>
                </a:lnTo>
                <a:lnTo>
                  <a:pt x="1525" y="301"/>
                </a:lnTo>
                <a:lnTo>
                  <a:pt x="1526" y="299"/>
                </a:lnTo>
                <a:lnTo>
                  <a:pt x="1526" y="298"/>
                </a:lnTo>
                <a:lnTo>
                  <a:pt x="1524" y="297"/>
                </a:lnTo>
                <a:lnTo>
                  <a:pt x="1521" y="295"/>
                </a:lnTo>
                <a:lnTo>
                  <a:pt x="1517" y="292"/>
                </a:lnTo>
                <a:lnTo>
                  <a:pt x="1517" y="289"/>
                </a:lnTo>
                <a:lnTo>
                  <a:pt x="1519" y="286"/>
                </a:lnTo>
                <a:lnTo>
                  <a:pt x="1521" y="285"/>
                </a:lnTo>
                <a:lnTo>
                  <a:pt x="1523" y="285"/>
                </a:lnTo>
                <a:lnTo>
                  <a:pt x="1524" y="286"/>
                </a:lnTo>
                <a:lnTo>
                  <a:pt x="1525" y="287"/>
                </a:lnTo>
                <a:lnTo>
                  <a:pt x="1527" y="288"/>
                </a:lnTo>
                <a:lnTo>
                  <a:pt x="1528" y="288"/>
                </a:lnTo>
                <a:lnTo>
                  <a:pt x="1530" y="288"/>
                </a:lnTo>
                <a:lnTo>
                  <a:pt x="1532" y="287"/>
                </a:lnTo>
                <a:lnTo>
                  <a:pt x="1538" y="286"/>
                </a:lnTo>
                <a:lnTo>
                  <a:pt x="1543" y="286"/>
                </a:lnTo>
                <a:lnTo>
                  <a:pt x="1558" y="285"/>
                </a:lnTo>
                <a:lnTo>
                  <a:pt x="1573" y="284"/>
                </a:lnTo>
                <a:lnTo>
                  <a:pt x="1589" y="287"/>
                </a:lnTo>
                <a:lnTo>
                  <a:pt x="1605" y="289"/>
                </a:lnTo>
                <a:lnTo>
                  <a:pt x="1606" y="288"/>
                </a:lnTo>
                <a:lnTo>
                  <a:pt x="1608" y="288"/>
                </a:lnTo>
                <a:lnTo>
                  <a:pt x="1609" y="287"/>
                </a:lnTo>
                <a:lnTo>
                  <a:pt x="1609" y="285"/>
                </a:lnTo>
                <a:lnTo>
                  <a:pt x="1607" y="284"/>
                </a:lnTo>
                <a:lnTo>
                  <a:pt x="1604" y="285"/>
                </a:lnTo>
                <a:lnTo>
                  <a:pt x="1598" y="285"/>
                </a:lnTo>
                <a:lnTo>
                  <a:pt x="1592" y="282"/>
                </a:lnTo>
                <a:lnTo>
                  <a:pt x="1588" y="279"/>
                </a:lnTo>
                <a:lnTo>
                  <a:pt x="1583" y="276"/>
                </a:lnTo>
                <a:lnTo>
                  <a:pt x="1583" y="277"/>
                </a:lnTo>
                <a:lnTo>
                  <a:pt x="1583" y="276"/>
                </a:lnTo>
                <a:lnTo>
                  <a:pt x="1585" y="274"/>
                </a:lnTo>
                <a:lnTo>
                  <a:pt x="1587" y="274"/>
                </a:lnTo>
                <a:lnTo>
                  <a:pt x="1587" y="276"/>
                </a:lnTo>
                <a:lnTo>
                  <a:pt x="1587" y="277"/>
                </a:lnTo>
                <a:lnTo>
                  <a:pt x="1589" y="278"/>
                </a:lnTo>
                <a:lnTo>
                  <a:pt x="1591" y="277"/>
                </a:lnTo>
                <a:lnTo>
                  <a:pt x="1592" y="274"/>
                </a:lnTo>
                <a:lnTo>
                  <a:pt x="1591" y="273"/>
                </a:lnTo>
                <a:lnTo>
                  <a:pt x="1589" y="272"/>
                </a:lnTo>
                <a:lnTo>
                  <a:pt x="1587" y="272"/>
                </a:lnTo>
                <a:lnTo>
                  <a:pt x="1590" y="271"/>
                </a:lnTo>
                <a:lnTo>
                  <a:pt x="1595" y="270"/>
                </a:lnTo>
                <a:lnTo>
                  <a:pt x="1599" y="270"/>
                </a:lnTo>
                <a:lnTo>
                  <a:pt x="1602" y="271"/>
                </a:lnTo>
                <a:lnTo>
                  <a:pt x="1604" y="272"/>
                </a:lnTo>
                <a:lnTo>
                  <a:pt x="1602" y="273"/>
                </a:lnTo>
                <a:lnTo>
                  <a:pt x="1601" y="274"/>
                </a:lnTo>
                <a:lnTo>
                  <a:pt x="1599" y="274"/>
                </a:lnTo>
                <a:lnTo>
                  <a:pt x="1595" y="276"/>
                </a:lnTo>
                <a:lnTo>
                  <a:pt x="1592" y="276"/>
                </a:lnTo>
                <a:lnTo>
                  <a:pt x="1596" y="278"/>
                </a:lnTo>
                <a:lnTo>
                  <a:pt x="1599" y="279"/>
                </a:lnTo>
                <a:lnTo>
                  <a:pt x="1602" y="279"/>
                </a:lnTo>
                <a:lnTo>
                  <a:pt x="1606" y="279"/>
                </a:lnTo>
                <a:lnTo>
                  <a:pt x="1613" y="281"/>
                </a:lnTo>
                <a:lnTo>
                  <a:pt x="1620" y="285"/>
                </a:lnTo>
                <a:lnTo>
                  <a:pt x="1624" y="285"/>
                </a:lnTo>
                <a:lnTo>
                  <a:pt x="1628" y="285"/>
                </a:lnTo>
                <a:lnTo>
                  <a:pt x="1631" y="284"/>
                </a:lnTo>
                <a:lnTo>
                  <a:pt x="1634" y="282"/>
                </a:lnTo>
                <a:lnTo>
                  <a:pt x="1643" y="281"/>
                </a:lnTo>
                <a:lnTo>
                  <a:pt x="1653" y="282"/>
                </a:lnTo>
                <a:lnTo>
                  <a:pt x="1654" y="284"/>
                </a:lnTo>
                <a:lnTo>
                  <a:pt x="1653" y="282"/>
                </a:lnTo>
                <a:close/>
                <a:moveTo>
                  <a:pt x="1303" y="176"/>
                </a:moveTo>
                <a:lnTo>
                  <a:pt x="1305" y="174"/>
                </a:lnTo>
                <a:lnTo>
                  <a:pt x="1307" y="174"/>
                </a:lnTo>
                <a:lnTo>
                  <a:pt x="1309" y="176"/>
                </a:lnTo>
                <a:lnTo>
                  <a:pt x="1310" y="177"/>
                </a:lnTo>
                <a:lnTo>
                  <a:pt x="1312" y="179"/>
                </a:lnTo>
                <a:lnTo>
                  <a:pt x="1316" y="182"/>
                </a:lnTo>
                <a:lnTo>
                  <a:pt x="1317" y="178"/>
                </a:lnTo>
                <a:lnTo>
                  <a:pt x="1316" y="173"/>
                </a:lnTo>
                <a:lnTo>
                  <a:pt x="1325" y="174"/>
                </a:lnTo>
                <a:lnTo>
                  <a:pt x="1334" y="176"/>
                </a:lnTo>
                <a:lnTo>
                  <a:pt x="1340" y="180"/>
                </a:lnTo>
                <a:lnTo>
                  <a:pt x="1345" y="184"/>
                </a:lnTo>
                <a:lnTo>
                  <a:pt x="1354" y="182"/>
                </a:lnTo>
                <a:lnTo>
                  <a:pt x="1363" y="179"/>
                </a:lnTo>
                <a:lnTo>
                  <a:pt x="1368" y="178"/>
                </a:lnTo>
                <a:lnTo>
                  <a:pt x="1373" y="177"/>
                </a:lnTo>
                <a:lnTo>
                  <a:pt x="1377" y="177"/>
                </a:lnTo>
                <a:lnTo>
                  <a:pt x="1382" y="178"/>
                </a:lnTo>
                <a:lnTo>
                  <a:pt x="1392" y="182"/>
                </a:lnTo>
                <a:lnTo>
                  <a:pt x="1403" y="186"/>
                </a:lnTo>
                <a:lnTo>
                  <a:pt x="1416" y="187"/>
                </a:lnTo>
                <a:lnTo>
                  <a:pt x="1428" y="188"/>
                </a:lnTo>
                <a:lnTo>
                  <a:pt x="1433" y="188"/>
                </a:lnTo>
                <a:lnTo>
                  <a:pt x="1436" y="189"/>
                </a:lnTo>
                <a:lnTo>
                  <a:pt x="1441" y="190"/>
                </a:lnTo>
                <a:lnTo>
                  <a:pt x="1444" y="194"/>
                </a:lnTo>
                <a:lnTo>
                  <a:pt x="1448" y="195"/>
                </a:lnTo>
                <a:lnTo>
                  <a:pt x="1451" y="197"/>
                </a:lnTo>
                <a:lnTo>
                  <a:pt x="1452" y="199"/>
                </a:lnTo>
                <a:lnTo>
                  <a:pt x="1450" y="204"/>
                </a:lnTo>
                <a:lnTo>
                  <a:pt x="1475" y="205"/>
                </a:lnTo>
                <a:lnTo>
                  <a:pt x="1500" y="207"/>
                </a:lnTo>
                <a:lnTo>
                  <a:pt x="1525" y="209"/>
                </a:lnTo>
                <a:lnTo>
                  <a:pt x="1550" y="211"/>
                </a:lnTo>
                <a:lnTo>
                  <a:pt x="1563" y="211"/>
                </a:lnTo>
                <a:lnTo>
                  <a:pt x="1574" y="213"/>
                </a:lnTo>
                <a:lnTo>
                  <a:pt x="1574" y="214"/>
                </a:lnTo>
                <a:lnTo>
                  <a:pt x="1574" y="214"/>
                </a:lnTo>
                <a:lnTo>
                  <a:pt x="1573" y="215"/>
                </a:lnTo>
                <a:lnTo>
                  <a:pt x="1572" y="215"/>
                </a:lnTo>
                <a:lnTo>
                  <a:pt x="1568" y="215"/>
                </a:lnTo>
                <a:lnTo>
                  <a:pt x="1567" y="214"/>
                </a:lnTo>
                <a:lnTo>
                  <a:pt x="1563" y="215"/>
                </a:lnTo>
                <a:lnTo>
                  <a:pt x="1558" y="216"/>
                </a:lnTo>
                <a:lnTo>
                  <a:pt x="1556" y="218"/>
                </a:lnTo>
                <a:lnTo>
                  <a:pt x="1555" y="218"/>
                </a:lnTo>
                <a:lnTo>
                  <a:pt x="1555" y="218"/>
                </a:lnTo>
                <a:lnTo>
                  <a:pt x="1552" y="216"/>
                </a:lnTo>
                <a:lnTo>
                  <a:pt x="1550" y="214"/>
                </a:lnTo>
                <a:lnTo>
                  <a:pt x="1548" y="214"/>
                </a:lnTo>
                <a:lnTo>
                  <a:pt x="1546" y="214"/>
                </a:lnTo>
                <a:lnTo>
                  <a:pt x="1544" y="215"/>
                </a:lnTo>
                <a:lnTo>
                  <a:pt x="1543" y="216"/>
                </a:lnTo>
                <a:lnTo>
                  <a:pt x="1542" y="219"/>
                </a:lnTo>
                <a:lnTo>
                  <a:pt x="1542" y="220"/>
                </a:lnTo>
                <a:lnTo>
                  <a:pt x="1543" y="222"/>
                </a:lnTo>
                <a:lnTo>
                  <a:pt x="1544" y="223"/>
                </a:lnTo>
                <a:lnTo>
                  <a:pt x="1547" y="224"/>
                </a:lnTo>
                <a:lnTo>
                  <a:pt x="1549" y="224"/>
                </a:lnTo>
                <a:lnTo>
                  <a:pt x="1552" y="222"/>
                </a:lnTo>
                <a:lnTo>
                  <a:pt x="1555" y="221"/>
                </a:lnTo>
                <a:lnTo>
                  <a:pt x="1558" y="221"/>
                </a:lnTo>
                <a:lnTo>
                  <a:pt x="1561" y="221"/>
                </a:lnTo>
                <a:lnTo>
                  <a:pt x="1564" y="220"/>
                </a:lnTo>
                <a:lnTo>
                  <a:pt x="1565" y="219"/>
                </a:lnTo>
                <a:lnTo>
                  <a:pt x="1567" y="219"/>
                </a:lnTo>
                <a:lnTo>
                  <a:pt x="1568" y="220"/>
                </a:lnTo>
                <a:lnTo>
                  <a:pt x="1569" y="222"/>
                </a:lnTo>
                <a:lnTo>
                  <a:pt x="1573" y="224"/>
                </a:lnTo>
                <a:lnTo>
                  <a:pt x="1576" y="224"/>
                </a:lnTo>
                <a:lnTo>
                  <a:pt x="1580" y="224"/>
                </a:lnTo>
                <a:lnTo>
                  <a:pt x="1583" y="224"/>
                </a:lnTo>
                <a:lnTo>
                  <a:pt x="1596" y="224"/>
                </a:lnTo>
                <a:lnTo>
                  <a:pt x="1606" y="227"/>
                </a:lnTo>
                <a:lnTo>
                  <a:pt x="1609" y="228"/>
                </a:lnTo>
                <a:lnTo>
                  <a:pt x="1612" y="229"/>
                </a:lnTo>
                <a:lnTo>
                  <a:pt x="1614" y="231"/>
                </a:lnTo>
                <a:lnTo>
                  <a:pt x="1615" y="234"/>
                </a:lnTo>
                <a:lnTo>
                  <a:pt x="1618" y="234"/>
                </a:lnTo>
                <a:lnTo>
                  <a:pt x="1622" y="234"/>
                </a:lnTo>
                <a:lnTo>
                  <a:pt x="1623" y="234"/>
                </a:lnTo>
                <a:lnTo>
                  <a:pt x="1625" y="234"/>
                </a:lnTo>
                <a:lnTo>
                  <a:pt x="1626" y="234"/>
                </a:lnTo>
                <a:lnTo>
                  <a:pt x="1626" y="236"/>
                </a:lnTo>
                <a:lnTo>
                  <a:pt x="1626" y="238"/>
                </a:lnTo>
                <a:lnTo>
                  <a:pt x="1623" y="239"/>
                </a:lnTo>
                <a:lnTo>
                  <a:pt x="1618" y="240"/>
                </a:lnTo>
                <a:lnTo>
                  <a:pt x="1613" y="242"/>
                </a:lnTo>
                <a:lnTo>
                  <a:pt x="1601" y="240"/>
                </a:lnTo>
                <a:lnTo>
                  <a:pt x="1593" y="239"/>
                </a:lnTo>
                <a:lnTo>
                  <a:pt x="1589" y="238"/>
                </a:lnTo>
                <a:lnTo>
                  <a:pt x="1584" y="239"/>
                </a:lnTo>
                <a:lnTo>
                  <a:pt x="1581" y="240"/>
                </a:lnTo>
                <a:lnTo>
                  <a:pt x="1577" y="240"/>
                </a:lnTo>
                <a:lnTo>
                  <a:pt x="1574" y="240"/>
                </a:lnTo>
                <a:lnTo>
                  <a:pt x="1572" y="237"/>
                </a:lnTo>
                <a:lnTo>
                  <a:pt x="1569" y="236"/>
                </a:lnTo>
                <a:lnTo>
                  <a:pt x="1568" y="236"/>
                </a:lnTo>
                <a:lnTo>
                  <a:pt x="1567" y="236"/>
                </a:lnTo>
                <a:lnTo>
                  <a:pt x="1565" y="237"/>
                </a:lnTo>
                <a:lnTo>
                  <a:pt x="1560" y="238"/>
                </a:lnTo>
                <a:lnTo>
                  <a:pt x="1556" y="238"/>
                </a:lnTo>
                <a:lnTo>
                  <a:pt x="1554" y="237"/>
                </a:lnTo>
                <a:lnTo>
                  <a:pt x="1552" y="234"/>
                </a:lnTo>
                <a:lnTo>
                  <a:pt x="1550" y="231"/>
                </a:lnTo>
                <a:lnTo>
                  <a:pt x="1548" y="231"/>
                </a:lnTo>
                <a:lnTo>
                  <a:pt x="1546" y="232"/>
                </a:lnTo>
                <a:lnTo>
                  <a:pt x="1542" y="234"/>
                </a:lnTo>
                <a:lnTo>
                  <a:pt x="1547" y="236"/>
                </a:lnTo>
                <a:lnTo>
                  <a:pt x="1550" y="239"/>
                </a:lnTo>
                <a:lnTo>
                  <a:pt x="1541" y="238"/>
                </a:lnTo>
                <a:lnTo>
                  <a:pt x="1533" y="237"/>
                </a:lnTo>
                <a:lnTo>
                  <a:pt x="1525" y="237"/>
                </a:lnTo>
                <a:lnTo>
                  <a:pt x="1517" y="236"/>
                </a:lnTo>
                <a:lnTo>
                  <a:pt x="1508" y="236"/>
                </a:lnTo>
                <a:lnTo>
                  <a:pt x="1499" y="236"/>
                </a:lnTo>
                <a:lnTo>
                  <a:pt x="1490" y="235"/>
                </a:lnTo>
                <a:lnTo>
                  <a:pt x="1481" y="234"/>
                </a:lnTo>
                <a:lnTo>
                  <a:pt x="1475" y="234"/>
                </a:lnTo>
                <a:lnTo>
                  <a:pt x="1469" y="234"/>
                </a:lnTo>
                <a:lnTo>
                  <a:pt x="1469" y="230"/>
                </a:lnTo>
                <a:lnTo>
                  <a:pt x="1468" y="229"/>
                </a:lnTo>
                <a:lnTo>
                  <a:pt x="1465" y="228"/>
                </a:lnTo>
                <a:lnTo>
                  <a:pt x="1461" y="228"/>
                </a:lnTo>
                <a:lnTo>
                  <a:pt x="1453" y="226"/>
                </a:lnTo>
                <a:lnTo>
                  <a:pt x="1445" y="226"/>
                </a:lnTo>
                <a:lnTo>
                  <a:pt x="1441" y="228"/>
                </a:lnTo>
                <a:lnTo>
                  <a:pt x="1435" y="231"/>
                </a:lnTo>
                <a:lnTo>
                  <a:pt x="1429" y="231"/>
                </a:lnTo>
                <a:lnTo>
                  <a:pt x="1423" y="230"/>
                </a:lnTo>
                <a:lnTo>
                  <a:pt x="1417" y="230"/>
                </a:lnTo>
                <a:lnTo>
                  <a:pt x="1410" y="229"/>
                </a:lnTo>
                <a:lnTo>
                  <a:pt x="1408" y="228"/>
                </a:lnTo>
                <a:lnTo>
                  <a:pt x="1406" y="227"/>
                </a:lnTo>
                <a:lnTo>
                  <a:pt x="1404" y="226"/>
                </a:lnTo>
                <a:lnTo>
                  <a:pt x="1403" y="222"/>
                </a:lnTo>
                <a:lnTo>
                  <a:pt x="1403" y="220"/>
                </a:lnTo>
                <a:lnTo>
                  <a:pt x="1406" y="218"/>
                </a:lnTo>
                <a:lnTo>
                  <a:pt x="1407" y="216"/>
                </a:lnTo>
                <a:lnTo>
                  <a:pt x="1409" y="214"/>
                </a:lnTo>
                <a:lnTo>
                  <a:pt x="1410" y="212"/>
                </a:lnTo>
                <a:lnTo>
                  <a:pt x="1409" y="211"/>
                </a:lnTo>
                <a:lnTo>
                  <a:pt x="1408" y="211"/>
                </a:lnTo>
                <a:lnTo>
                  <a:pt x="1406" y="210"/>
                </a:lnTo>
                <a:lnTo>
                  <a:pt x="1401" y="207"/>
                </a:lnTo>
                <a:lnTo>
                  <a:pt x="1398" y="204"/>
                </a:lnTo>
                <a:lnTo>
                  <a:pt x="1386" y="201"/>
                </a:lnTo>
                <a:lnTo>
                  <a:pt x="1375" y="197"/>
                </a:lnTo>
                <a:lnTo>
                  <a:pt x="1381" y="195"/>
                </a:lnTo>
                <a:lnTo>
                  <a:pt x="1386" y="195"/>
                </a:lnTo>
                <a:lnTo>
                  <a:pt x="1393" y="196"/>
                </a:lnTo>
                <a:lnTo>
                  <a:pt x="1399" y="197"/>
                </a:lnTo>
                <a:lnTo>
                  <a:pt x="1401" y="197"/>
                </a:lnTo>
                <a:lnTo>
                  <a:pt x="1403" y="197"/>
                </a:lnTo>
                <a:lnTo>
                  <a:pt x="1404" y="195"/>
                </a:lnTo>
                <a:lnTo>
                  <a:pt x="1404" y="194"/>
                </a:lnTo>
                <a:lnTo>
                  <a:pt x="1403" y="193"/>
                </a:lnTo>
                <a:lnTo>
                  <a:pt x="1402" y="191"/>
                </a:lnTo>
                <a:lnTo>
                  <a:pt x="1391" y="189"/>
                </a:lnTo>
                <a:lnTo>
                  <a:pt x="1378" y="188"/>
                </a:lnTo>
                <a:lnTo>
                  <a:pt x="1374" y="188"/>
                </a:lnTo>
                <a:lnTo>
                  <a:pt x="1369" y="189"/>
                </a:lnTo>
                <a:lnTo>
                  <a:pt x="1365" y="193"/>
                </a:lnTo>
                <a:lnTo>
                  <a:pt x="1361" y="195"/>
                </a:lnTo>
                <a:lnTo>
                  <a:pt x="1355" y="195"/>
                </a:lnTo>
                <a:lnTo>
                  <a:pt x="1351" y="193"/>
                </a:lnTo>
                <a:lnTo>
                  <a:pt x="1345" y="191"/>
                </a:lnTo>
                <a:lnTo>
                  <a:pt x="1340" y="191"/>
                </a:lnTo>
                <a:lnTo>
                  <a:pt x="1333" y="190"/>
                </a:lnTo>
                <a:lnTo>
                  <a:pt x="1327" y="189"/>
                </a:lnTo>
                <a:lnTo>
                  <a:pt x="1322" y="190"/>
                </a:lnTo>
                <a:lnTo>
                  <a:pt x="1318" y="190"/>
                </a:lnTo>
                <a:lnTo>
                  <a:pt x="1316" y="188"/>
                </a:lnTo>
                <a:lnTo>
                  <a:pt x="1312" y="186"/>
                </a:lnTo>
                <a:lnTo>
                  <a:pt x="1310" y="186"/>
                </a:lnTo>
                <a:lnTo>
                  <a:pt x="1308" y="188"/>
                </a:lnTo>
                <a:lnTo>
                  <a:pt x="1305" y="188"/>
                </a:lnTo>
                <a:lnTo>
                  <a:pt x="1304" y="187"/>
                </a:lnTo>
                <a:lnTo>
                  <a:pt x="1303" y="185"/>
                </a:lnTo>
                <a:lnTo>
                  <a:pt x="1302" y="182"/>
                </a:lnTo>
                <a:lnTo>
                  <a:pt x="1302" y="178"/>
                </a:lnTo>
                <a:lnTo>
                  <a:pt x="1303" y="176"/>
                </a:lnTo>
                <a:lnTo>
                  <a:pt x="1303" y="176"/>
                </a:lnTo>
                <a:lnTo>
                  <a:pt x="1303" y="176"/>
                </a:lnTo>
                <a:close/>
                <a:moveTo>
                  <a:pt x="750" y="340"/>
                </a:moveTo>
                <a:lnTo>
                  <a:pt x="751" y="340"/>
                </a:lnTo>
                <a:lnTo>
                  <a:pt x="751" y="342"/>
                </a:lnTo>
                <a:lnTo>
                  <a:pt x="751" y="340"/>
                </a:lnTo>
                <a:lnTo>
                  <a:pt x="750" y="340"/>
                </a:lnTo>
                <a:close/>
                <a:moveTo>
                  <a:pt x="714" y="610"/>
                </a:moveTo>
                <a:lnTo>
                  <a:pt x="710" y="610"/>
                </a:lnTo>
                <a:lnTo>
                  <a:pt x="707" y="609"/>
                </a:lnTo>
                <a:lnTo>
                  <a:pt x="709" y="609"/>
                </a:lnTo>
                <a:lnTo>
                  <a:pt x="714" y="609"/>
                </a:lnTo>
                <a:lnTo>
                  <a:pt x="718" y="608"/>
                </a:lnTo>
                <a:lnTo>
                  <a:pt x="722" y="608"/>
                </a:lnTo>
                <a:lnTo>
                  <a:pt x="732" y="605"/>
                </a:lnTo>
                <a:lnTo>
                  <a:pt x="741" y="604"/>
                </a:lnTo>
                <a:lnTo>
                  <a:pt x="739" y="604"/>
                </a:lnTo>
                <a:lnTo>
                  <a:pt x="737" y="605"/>
                </a:lnTo>
                <a:lnTo>
                  <a:pt x="742" y="606"/>
                </a:lnTo>
                <a:lnTo>
                  <a:pt x="747" y="606"/>
                </a:lnTo>
                <a:lnTo>
                  <a:pt x="743" y="609"/>
                </a:lnTo>
                <a:lnTo>
                  <a:pt x="740" y="610"/>
                </a:lnTo>
                <a:lnTo>
                  <a:pt x="736" y="609"/>
                </a:lnTo>
                <a:lnTo>
                  <a:pt x="733" y="609"/>
                </a:lnTo>
                <a:lnTo>
                  <a:pt x="726" y="609"/>
                </a:lnTo>
                <a:lnTo>
                  <a:pt x="720" y="611"/>
                </a:lnTo>
                <a:lnTo>
                  <a:pt x="717" y="610"/>
                </a:lnTo>
                <a:lnTo>
                  <a:pt x="714" y="610"/>
                </a:lnTo>
                <a:close/>
                <a:moveTo>
                  <a:pt x="718" y="613"/>
                </a:moveTo>
                <a:lnTo>
                  <a:pt x="719" y="613"/>
                </a:lnTo>
                <a:lnTo>
                  <a:pt x="719" y="613"/>
                </a:lnTo>
                <a:lnTo>
                  <a:pt x="719" y="613"/>
                </a:lnTo>
                <a:lnTo>
                  <a:pt x="718" y="613"/>
                </a:lnTo>
                <a:close/>
                <a:moveTo>
                  <a:pt x="720" y="612"/>
                </a:moveTo>
                <a:lnTo>
                  <a:pt x="720" y="612"/>
                </a:lnTo>
                <a:lnTo>
                  <a:pt x="720" y="611"/>
                </a:lnTo>
                <a:lnTo>
                  <a:pt x="720" y="612"/>
                </a:lnTo>
                <a:lnTo>
                  <a:pt x="720" y="612"/>
                </a:lnTo>
                <a:lnTo>
                  <a:pt x="720" y="612"/>
                </a:lnTo>
                <a:lnTo>
                  <a:pt x="720" y="612"/>
                </a:lnTo>
                <a:close/>
                <a:moveTo>
                  <a:pt x="330" y="272"/>
                </a:moveTo>
                <a:lnTo>
                  <a:pt x="328" y="271"/>
                </a:lnTo>
                <a:lnTo>
                  <a:pt x="325" y="271"/>
                </a:lnTo>
                <a:lnTo>
                  <a:pt x="329" y="270"/>
                </a:lnTo>
                <a:lnTo>
                  <a:pt x="332" y="270"/>
                </a:lnTo>
                <a:lnTo>
                  <a:pt x="332" y="272"/>
                </a:lnTo>
                <a:lnTo>
                  <a:pt x="330" y="272"/>
                </a:lnTo>
                <a:lnTo>
                  <a:pt x="330" y="272"/>
                </a:lnTo>
                <a:lnTo>
                  <a:pt x="330" y="272"/>
                </a:lnTo>
                <a:close/>
                <a:moveTo>
                  <a:pt x="338" y="270"/>
                </a:moveTo>
                <a:lnTo>
                  <a:pt x="335" y="270"/>
                </a:lnTo>
                <a:lnTo>
                  <a:pt x="335" y="269"/>
                </a:lnTo>
                <a:lnTo>
                  <a:pt x="337" y="269"/>
                </a:lnTo>
                <a:lnTo>
                  <a:pt x="340" y="270"/>
                </a:lnTo>
                <a:lnTo>
                  <a:pt x="339" y="270"/>
                </a:lnTo>
                <a:lnTo>
                  <a:pt x="338" y="270"/>
                </a:lnTo>
                <a:lnTo>
                  <a:pt x="337" y="270"/>
                </a:lnTo>
                <a:lnTo>
                  <a:pt x="338" y="270"/>
                </a:lnTo>
                <a:close/>
                <a:moveTo>
                  <a:pt x="478" y="556"/>
                </a:moveTo>
                <a:lnTo>
                  <a:pt x="479" y="556"/>
                </a:lnTo>
                <a:lnTo>
                  <a:pt x="479" y="556"/>
                </a:lnTo>
                <a:lnTo>
                  <a:pt x="479" y="556"/>
                </a:lnTo>
                <a:lnTo>
                  <a:pt x="478" y="556"/>
                </a:lnTo>
                <a:close/>
                <a:moveTo>
                  <a:pt x="425" y="186"/>
                </a:moveTo>
                <a:lnTo>
                  <a:pt x="421" y="186"/>
                </a:lnTo>
                <a:lnTo>
                  <a:pt x="418" y="185"/>
                </a:lnTo>
                <a:lnTo>
                  <a:pt x="421" y="186"/>
                </a:lnTo>
                <a:lnTo>
                  <a:pt x="425" y="186"/>
                </a:lnTo>
                <a:lnTo>
                  <a:pt x="421" y="182"/>
                </a:lnTo>
                <a:lnTo>
                  <a:pt x="418" y="180"/>
                </a:lnTo>
                <a:lnTo>
                  <a:pt x="413" y="179"/>
                </a:lnTo>
                <a:lnTo>
                  <a:pt x="410" y="177"/>
                </a:lnTo>
                <a:lnTo>
                  <a:pt x="409" y="176"/>
                </a:lnTo>
                <a:lnTo>
                  <a:pt x="409" y="174"/>
                </a:lnTo>
                <a:lnTo>
                  <a:pt x="409" y="173"/>
                </a:lnTo>
                <a:lnTo>
                  <a:pt x="410" y="171"/>
                </a:lnTo>
                <a:lnTo>
                  <a:pt x="411" y="171"/>
                </a:lnTo>
                <a:lnTo>
                  <a:pt x="411" y="169"/>
                </a:lnTo>
                <a:lnTo>
                  <a:pt x="410" y="166"/>
                </a:lnTo>
                <a:lnTo>
                  <a:pt x="409" y="165"/>
                </a:lnTo>
                <a:lnTo>
                  <a:pt x="410" y="168"/>
                </a:lnTo>
                <a:lnTo>
                  <a:pt x="411" y="170"/>
                </a:lnTo>
                <a:lnTo>
                  <a:pt x="415" y="172"/>
                </a:lnTo>
                <a:lnTo>
                  <a:pt x="419" y="173"/>
                </a:lnTo>
                <a:lnTo>
                  <a:pt x="426" y="173"/>
                </a:lnTo>
                <a:lnTo>
                  <a:pt x="432" y="176"/>
                </a:lnTo>
                <a:lnTo>
                  <a:pt x="435" y="178"/>
                </a:lnTo>
                <a:lnTo>
                  <a:pt x="436" y="180"/>
                </a:lnTo>
                <a:lnTo>
                  <a:pt x="436" y="181"/>
                </a:lnTo>
                <a:lnTo>
                  <a:pt x="435" y="184"/>
                </a:lnTo>
                <a:lnTo>
                  <a:pt x="430" y="185"/>
                </a:lnTo>
                <a:lnTo>
                  <a:pt x="425" y="186"/>
                </a:lnTo>
                <a:lnTo>
                  <a:pt x="426" y="186"/>
                </a:lnTo>
                <a:lnTo>
                  <a:pt x="425" y="186"/>
                </a:lnTo>
                <a:close/>
                <a:moveTo>
                  <a:pt x="460" y="154"/>
                </a:moveTo>
                <a:lnTo>
                  <a:pt x="458" y="154"/>
                </a:lnTo>
                <a:lnTo>
                  <a:pt x="455" y="153"/>
                </a:lnTo>
                <a:lnTo>
                  <a:pt x="452" y="152"/>
                </a:lnTo>
                <a:lnTo>
                  <a:pt x="450" y="149"/>
                </a:lnTo>
                <a:lnTo>
                  <a:pt x="453" y="152"/>
                </a:lnTo>
                <a:lnTo>
                  <a:pt x="456" y="153"/>
                </a:lnTo>
                <a:lnTo>
                  <a:pt x="460" y="154"/>
                </a:lnTo>
                <a:lnTo>
                  <a:pt x="463" y="153"/>
                </a:lnTo>
                <a:lnTo>
                  <a:pt x="467" y="152"/>
                </a:lnTo>
                <a:lnTo>
                  <a:pt x="470" y="149"/>
                </a:lnTo>
                <a:lnTo>
                  <a:pt x="472" y="147"/>
                </a:lnTo>
                <a:lnTo>
                  <a:pt x="475" y="145"/>
                </a:lnTo>
                <a:lnTo>
                  <a:pt x="472" y="148"/>
                </a:lnTo>
                <a:lnTo>
                  <a:pt x="469" y="151"/>
                </a:lnTo>
                <a:lnTo>
                  <a:pt x="464" y="153"/>
                </a:lnTo>
                <a:lnTo>
                  <a:pt x="460" y="154"/>
                </a:lnTo>
                <a:lnTo>
                  <a:pt x="461" y="154"/>
                </a:lnTo>
                <a:lnTo>
                  <a:pt x="460" y="154"/>
                </a:lnTo>
                <a:close/>
                <a:moveTo>
                  <a:pt x="476" y="141"/>
                </a:moveTo>
                <a:lnTo>
                  <a:pt x="475" y="143"/>
                </a:lnTo>
                <a:lnTo>
                  <a:pt x="475" y="144"/>
                </a:lnTo>
                <a:lnTo>
                  <a:pt x="475" y="143"/>
                </a:lnTo>
                <a:lnTo>
                  <a:pt x="476" y="141"/>
                </a:lnTo>
                <a:close/>
                <a:moveTo>
                  <a:pt x="469" y="568"/>
                </a:moveTo>
                <a:lnTo>
                  <a:pt x="470" y="564"/>
                </a:lnTo>
                <a:lnTo>
                  <a:pt x="471" y="561"/>
                </a:lnTo>
                <a:lnTo>
                  <a:pt x="473" y="559"/>
                </a:lnTo>
                <a:lnTo>
                  <a:pt x="477" y="556"/>
                </a:lnTo>
                <a:lnTo>
                  <a:pt x="473" y="559"/>
                </a:lnTo>
                <a:lnTo>
                  <a:pt x="471" y="562"/>
                </a:lnTo>
                <a:lnTo>
                  <a:pt x="470" y="567"/>
                </a:lnTo>
                <a:lnTo>
                  <a:pt x="469" y="570"/>
                </a:lnTo>
                <a:lnTo>
                  <a:pt x="469" y="569"/>
                </a:lnTo>
                <a:lnTo>
                  <a:pt x="469" y="568"/>
                </a:lnTo>
                <a:lnTo>
                  <a:pt x="469" y="566"/>
                </a:lnTo>
                <a:lnTo>
                  <a:pt x="469" y="568"/>
                </a:lnTo>
                <a:close/>
                <a:moveTo>
                  <a:pt x="388" y="144"/>
                </a:moveTo>
                <a:lnTo>
                  <a:pt x="386" y="143"/>
                </a:lnTo>
                <a:lnTo>
                  <a:pt x="384" y="140"/>
                </a:lnTo>
                <a:lnTo>
                  <a:pt x="386" y="141"/>
                </a:lnTo>
                <a:lnTo>
                  <a:pt x="388" y="144"/>
                </a:lnTo>
                <a:close/>
                <a:moveTo>
                  <a:pt x="182" y="326"/>
                </a:moveTo>
                <a:lnTo>
                  <a:pt x="178" y="323"/>
                </a:lnTo>
                <a:lnTo>
                  <a:pt x="173" y="322"/>
                </a:lnTo>
                <a:lnTo>
                  <a:pt x="178" y="319"/>
                </a:lnTo>
                <a:lnTo>
                  <a:pt x="182" y="318"/>
                </a:lnTo>
                <a:lnTo>
                  <a:pt x="187" y="318"/>
                </a:lnTo>
                <a:lnTo>
                  <a:pt x="192" y="318"/>
                </a:lnTo>
                <a:lnTo>
                  <a:pt x="203" y="314"/>
                </a:lnTo>
                <a:lnTo>
                  <a:pt x="214" y="311"/>
                </a:lnTo>
                <a:lnTo>
                  <a:pt x="224" y="305"/>
                </a:lnTo>
                <a:lnTo>
                  <a:pt x="236" y="301"/>
                </a:lnTo>
                <a:lnTo>
                  <a:pt x="248" y="297"/>
                </a:lnTo>
                <a:lnTo>
                  <a:pt x="259" y="294"/>
                </a:lnTo>
                <a:lnTo>
                  <a:pt x="265" y="293"/>
                </a:lnTo>
                <a:lnTo>
                  <a:pt x="271" y="290"/>
                </a:lnTo>
                <a:lnTo>
                  <a:pt x="273" y="290"/>
                </a:lnTo>
                <a:lnTo>
                  <a:pt x="277" y="289"/>
                </a:lnTo>
                <a:lnTo>
                  <a:pt x="278" y="288"/>
                </a:lnTo>
                <a:lnTo>
                  <a:pt x="279" y="286"/>
                </a:lnTo>
                <a:lnTo>
                  <a:pt x="281" y="284"/>
                </a:lnTo>
                <a:lnTo>
                  <a:pt x="283" y="281"/>
                </a:lnTo>
                <a:lnTo>
                  <a:pt x="287" y="281"/>
                </a:lnTo>
                <a:lnTo>
                  <a:pt x="291" y="281"/>
                </a:lnTo>
                <a:lnTo>
                  <a:pt x="299" y="280"/>
                </a:lnTo>
                <a:lnTo>
                  <a:pt x="307" y="277"/>
                </a:lnTo>
                <a:lnTo>
                  <a:pt x="312" y="276"/>
                </a:lnTo>
                <a:lnTo>
                  <a:pt x="315" y="274"/>
                </a:lnTo>
                <a:lnTo>
                  <a:pt x="320" y="273"/>
                </a:lnTo>
                <a:lnTo>
                  <a:pt x="324" y="271"/>
                </a:lnTo>
                <a:lnTo>
                  <a:pt x="323" y="272"/>
                </a:lnTo>
                <a:lnTo>
                  <a:pt x="321" y="272"/>
                </a:lnTo>
                <a:lnTo>
                  <a:pt x="323" y="273"/>
                </a:lnTo>
                <a:lnTo>
                  <a:pt x="325" y="274"/>
                </a:lnTo>
                <a:lnTo>
                  <a:pt x="302" y="284"/>
                </a:lnTo>
                <a:lnTo>
                  <a:pt x="278" y="293"/>
                </a:lnTo>
                <a:lnTo>
                  <a:pt x="255" y="302"/>
                </a:lnTo>
                <a:lnTo>
                  <a:pt x="231" y="311"/>
                </a:lnTo>
                <a:lnTo>
                  <a:pt x="220" y="315"/>
                </a:lnTo>
                <a:lnTo>
                  <a:pt x="208" y="320"/>
                </a:lnTo>
                <a:lnTo>
                  <a:pt x="197" y="325"/>
                </a:lnTo>
                <a:lnTo>
                  <a:pt x="186" y="329"/>
                </a:lnTo>
                <a:lnTo>
                  <a:pt x="174" y="334"/>
                </a:lnTo>
                <a:lnTo>
                  <a:pt x="163" y="338"/>
                </a:lnTo>
                <a:lnTo>
                  <a:pt x="158" y="340"/>
                </a:lnTo>
                <a:lnTo>
                  <a:pt x="154" y="343"/>
                </a:lnTo>
                <a:lnTo>
                  <a:pt x="148" y="345"/>
                </a:lnTo>
                <a:lnTo>
                  <a:pt x="143" y="344"/>
                </a:lnTo>
                <a:lnTo>
                  <a:pt x="148" y="340"/>
                </a:lnTo>
                <a:lnTo>
                  <a:pt x="152" y="338"/>
                </a:lnTo>
                <a:lnTo>
                  <a:pt x="157" y="335"/>
                </a:lnTo>
                <a:lnTo>
                  <a:pt x="162" y="332"/>
                </a:lnTo>
                <a:lnTo>
                  <a:pt x="172" y="329"/>
                </a:lnTo>
                <a:lnTo>
                  <a:pt x="182" y="326"/>
                </a:lnTo>
                <a:lnTo>
                  <a:pt x="175" y="327"/>
                </a:lnTo>
                <a:lnTo>
                  <a:pt x="182" y="326"/>
                </a:lnTo>
                <a:close/>
                <a:moveTo>
                  <a:pt x="102" y="353"/>
                </a:moveTo>
                <a:lnTo>
                  <a:pt x="107" y="351"/>
                </a:lnTo>
                <a:lnTo>
                  <a:pt x="113" y="348"/>
                </a:lnTo>
                <a:lnTo>
                  <a:pt x="116" y="348"/>
                </a:lnTo>
                <a:lnTo>
                  <a:pt x="119" y="348"/>
                </a:lnTo>
                <a:lnTo>
                  <a:pt x="121" y="350"/>
                </a:lnTo>
                <a:lnTo>
                  <a:pt x="123" y="351"/>
                </a:lnTo>
                <a:lnTo>
                  <a:pt x="122" y="353"/>
                </a:lnTo>
                <a:lnTo>
                  <a:pt x="121" y="355"/>
                </a:lnTo>
                <a:lnTo>
                  <a:pt x="118" y="356"/>
                </a:lnTo>
                <a:lnTo>
                  <a:pt x="116" y="357"/>
                </a:lnTo>
                <a:lnTo>
                  <a:pt x="113" y="357"/>
                </a:lnTo>
                <a:lnTo>
                  <a:pt x="107" y="357"/>
                </a:lnTo>
                <a:lnTo>
                  <a:pt x="105" y="356"/>
                </a:lnTo>
                <a:lnTo>
                  <a:pt x="104" y="356"/>
                </a:lnTo>
                <a:lnTo>
                  <a:pt x="102" y="355"/>
                </a:lnTo>
                <a:lnTo>
                  <a:pt x="102" y="353"/>
                </a:lnTo>
                <a:lnTo>
                  <a:pt x="104" y="352"/>
                </a:lnTo>
                <a:lnTo>
                  <a:pt x="102" y="353"/>
                </a:lnTo>
                <a:close/>
                <a:moveTo>
                  <a:pt x="134" y="437"/>
                </a:moveTo>
                <a:lnTo>
                  <a:pt x="124" y="442"/>
                </a:lnTo>
                <a:lnTo>
                  <a:pt x="115" y="443"/>
                </a:lnTo>
                <a:lnTo>
                  <a:pt x="118" y="440"/>
                </a:lnTo>
                <a:lnTo>
                  <a:pt x="123" y="438"/>
                </a:lnTo>
                <a:lnTo>
                  <a:pt x="129" y="437"/>
                </a:lnTo>
                <a:lnTo>
                  <a:pt x="134" y="437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226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73">
            <a:extLst>
              <a:ext uri="{FF2B5EF4-FFF2-40B4-BE49-F238E27FC236}">
                <a16:creationId xmlns:a16="http://schemas.microsoft.com/office/drawing/2014/main" id="{61C66A45-7205-0541-86C7-965152BA8FB5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-4513" y="171431"/>
            <a:ext cx="12004400" cy="4265565"/>
          </a:xfrm>
          <a:custGeom>
            <a:avLst/>
            <a:gdLst>
              <a:gd name="T0" fmla="*/ 1471 w 1574"/>
              <a:gd name="T1" fmla="*/ 188 h 671"/>
              <a:gd name="T2" fmla="*/ 1456 w 1574"/>
              <a:gd name="T3" fmla="*/ 122 h 671"/>
              <a:gd name="T4" fmla="*/ 1235 w 1574"/>
              <a:gd name="T5" fmla="*/ 144 h 671"/>
              <a:gd name="T6" fmla="*/ 783 w 1574"/>
              <a:gd name="T7" fmla="*/ 241 h 671"/>
              <a:gd name="T8" fmla="*/ 618 w 1574"/>
              <a:gd name="T9" fmla="*/ 222 h 671"/>
              <a:gd name="T10" fmla="*/ 660 w 1574"/>
              <a:gd name="T11" fmla="*/ 280 h 671"/>
              <a:gd name="T12" fmla="*/ 652 w 1574"/>
              <a:gd name="T13" fmla="*/ 333 h 671"/>
              <a:gd name="T14" fmla="*/ 485 w 1574"/>
              <a:gd name="T15" fmla="*/ 297 h 671"/>
              <a:gd name="T16" fmla="*/ 502 w 1574"/>
              <a:gd name="T17" fmla="*/ 350 h 671"/>
              <a:gd name="T18" fmla="*/ 312 w 1574"/>
              <a:gd name="T19" fmla="*/ 300 h 671"/>
              <a:gd name="T20" fmla="*/ 367 w 1574"/>
              <a:gd name="T21" fmla="*/ 263 h 671"/>
              <a:gd name="T22" fmla="*/ 157 w 1574"/>
              <a:gd name="T23" fmla="*/ 158 h 671"/>
              <a:gd name="T24" fmla="*/ 184 w 1574"/>
              <a:gd name="T25" fmla="*/ 219 h 671"/>
              <a:gd name="T26" fmla="*/ 202 w 1574"/>
              <a:gd name="T27" fmla="*/ 276 h 671"/>
              <a:gd name="T28" fmla="*/ 149 w 1574"/>
              <a:gd name="T29" fmla="*/ 315 h 671"/>
              <a:gd name="T30" fmla="*/ 411 w 1574"/>
              <a:gd name="T31" fmla="*/ 448 h 671"/>
              <a:gd name="T32" fmla="*/ 477 w 1574"/>
              <a:gd name="T33" fmla="*/ 514 h 671"/>
              <a:gd name="T34" fmla="*/ 576 w 1574"/>
              <a:gd name="T35" fmla="*/ 547 h 671"/>
              <a:gd name="T36" fmla="*/ 747 w 1574"/>
              <a:gd name="T37" fmla="*/ 597 h 671"/>
              <a:gd name="T38" fmla="*/ 964 w 1574"/>
              <a:gd name="T39" fmla="*/ 623 h 671"/>
              <a:gd name="T40" fmla="*/ 975 w 1574"/>
              <a:gd name="T41" fmla="*/ 633 h 671"/>
              <a:gd name="T42" fmla="*/ 1317 w 1574"/>
              <a:gd name="T43" fmla="*/ 579 h 671"/>
              <a:gd name="T44" fmla="*/ 1566 w 1574"/>
              <a:gd name="T45" fmla="*/ 319 h 671"/>
              <a:gd name="T46" fmla="*/ 674 w 1574"/>
              <a:gd name="T47" fmla="*/ 566 h 671"/>
              <a:gd name="T48" fmla="*/ 377 w 1574"/>
              <a:gd name="T49" fmla="*/ 131 h 671"/>
              <a:gd name="T50" fmla="*/ 306 w 1574"/>
              <a:gd name="T51" fmla="*/ 140 h 671"/>
              <a:gd name="T52" fmla="*/ 435 w 1574"/>
              <a:gd name="T53" fmla="*/ 186 h 671"/>
              <a:gd name="T54" fmla="*/ 648 w 1574"/>
              <a:gd name="T55" fmla="*/ 213 h 671"/>
              <a:gd name="T56" fmla="*/ 633 w 1574"/>
              <a:gd name="T57" fmla="*/ 592 h 671"/>
              <a:gd name="T58" fmla="*/ 93 w 1574"/>
              <a:gd name="T59" fmla="*/ 183 h 671"/>
              <a:gd name="T60" fmla="*/ 467 w 1574"/>
              <a:gd name="T61" fmla="*/ 533 h 671"/>
              <a:gd name="T62" fmla="*/ 273 w 1574"/>
              <a:gd name="T63" fmla="*/ 91 h 671"/>
              <a:gd name="T64" fmla="*/ 857 w 1574"/>
              <a:gd name="T65" fmla="*/ 642 h 671"/>
              <a:gd name="T66" fmla="*/ 1467 w 1574"/>
              <a:gd name="T67" fmla="*/ 62 h 671"/>
              <a:gd name="T68" fmla="*/ 421 w 1574"/>
              <a:gd name="T69" fmla="*/ 159 h 671"/>
              <a:gd name="T70" fmla="*/ 50 w 1574"/>
              <a:gd name="T71" fmla="*/ 399 h 671"/>
              <a:gd name="T72" fmla="*/ 1008 w 1574"/>
              <a:gd name="T73" fmla="*/ 665 h 671"/>
              <a:gd name="T74" fmla="*/ 373 w 1574"/>
              <a:gd name="T75" fmla="*/ 449 h 671"/>
              <a:gd name="T76" fmla="*/ 449 w 1574"/>
              <a:gd name="T77" fmla="*/ 282 h 671"/>
              <a:gd name="T78" fmla="*/ 323 w 1574"/>
              <a:gd name="T79" fmla="*/ 454 h 671"/>
              <a:gd name="T80" fmla="*/ 330 w 1574"/>
              <a:gd name="T81" fmla="*/ 261 h 671"/>
              <a:gd name="T82" fmla="*/ 788 w 1574"/>
              <a:gd name="T83" fmla="*/ 643 h 671"/>
              <a:gd name="T84" fmla="*/ 999 w 1574"/>
              <a:gd name="T85" fmla="*/ 208 h 671"/>
              <a:gd name="T86" fmla="*/ 256 w 1574"/>
              <a:gd name="T87" fmla="*/ 135 h 671"/>
              <a:gd name="T88" fmla="*/ 577 w 1574"/>
              <a:gd name="T89" fmla="*/ 581 h 671"/>
              <a:gd name="T90" fmla="*/ 405 w 1574"/>
              <a:gd name="T91" fmla="*/ 141 h 671"/>
              <a:gd name="T92" fmla="*/ 477 w 1574"/>
              <a:gd name="T93" fmla="*/ 267 h 671"/>
              <a:gd name="T94" fmla="*/ 545 w 1574"/>
              <a:gd name="T95" fmla="*/ 202 h 671"/>
              <a:gd name="T96" fmla="*/ 384 w 1574"/>
              <a:gd name="T97" fmla="*/ 231 h 671"/>
              <a:gd name="T98" fmla="*/ 1426 w 1574"/>
              <a:gd name="T99" fmla="*/ 91 h 671"/>
              <a:gd name="T100" fmla="*/ 533 w 1574"/>
              <a:gd name="T101" fmla="*/ 322 h 671"/>
              <a:gd name="T102" fmla="*/ 247 w 1574"/>
              <a:gd name="T103" fmla="*/ 192 h 671"/>
              <a:gd name="T104" fmla="*/ 238 w 1574"/>
              <a:gd name="T105" fmla="*/ 274 h 671"/>
              <a:gd name="T106" fmla="*/ 262 w 1574"/>
              <a:gd name="T107" fmla="*/ 261 h 671"/>
              <a:gd name="T108" fmla="*/ 189 w 1574"/>
              <a:gd name="T109" fmla="*/ 263 h 671"/>
              <a:gd name="T110" fmla="*/ 266 w 1574"/>
              <a:gd name="T111" fmla="*/ 316 h 671"/>
              <a:gd name="T112" fmla="*/ 359 w 1574"/>
              <a:gd name="T113" fmla="*/ 350 h 671"/>
              <a:gd name="T114" fmla="*/ 355 w 1574"/>
              <a:gd name="T115" fmla="*/ 332 h 671"/>
              <a:gd name="T116" fmla="*/ 858 w 1574"/>
              <a:gd name="T117" fmla="*/ 256 h 671"/>
              <a:gd name="T118" fmla="*/ 570 w 1574"/>
              <a:gd name="T119" fmla="*/ 388 h 671"/>
              <a:gd name="T120" fmla="*/ 500 w 1574"/>
              <a:gd name="T121" fmla="*/ 421 h 671"/>
              <a:gd name="T122" fmla="*/ 533 w 1574"/>
              <a:gd name="T123" fmla="*/ 496 h 671"/>
              <a:gd name="T124" fmla="*/ 713 w 1574"/>
              <a:gd name="T125" fmla="*/ 578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74" h="671">
                <a:moveTo>
                  <a:pt x="1567" y="222"/>
                </a:moveTo>
                <a:lnTo>
                  <a:pt x="1559" y="222"/>
                </a:lnTo>
                <a:lnTo>
                  <a:pt x="1550" y="224"/>
                </a:lnTo>
                <a:lnTo>
                  <a:pt x="1542" y="224"/>
                </a:lnTo>
                <a:lnTo>
                  <a:pt x="1535" y="226"/>
                </a:lnTo>
                <a:lnTo>
                  <a:pt x="1533" y="228"/>
                </a:lnTo>
                <a:lnTo>
                  <a:pt x="1531" y="230"/>
                </a:lnTo>
                <a:lnTo>
                  <a:pt x="1527" y="228"/>
                </a:lnTo>
                <a:lnTo>
                  <a:pt x="1524" y="228"/>
                </a:lnTo>
                <a:lnTo>
                  <a:pt x="1522" y="231"/>
                </a:lnTo>
                <a:lnTo>
                  <a:pt x="1520" y="232"/>
                </a:lnTo>
                <a:lnTo>
                  <a:pt x="1516" y="231"/>
                </a:lnTo>
                <a:lnTo>
                  <a:pt x="1513" y="230"/>
                </a:lnTo>
                <a:lnTo>
                  <a:pt x="1515" y="232"/>
                </a:lnTo>
                <a:lnTo>
                  <a:pt x="1515" y="234"/>
                </a:lnTo>
                <a:lnTo>
                  <a:pt x="1515" y="235"/>
                </a:lnTo>
                <a:lnTo>
                  <a:pt x="1516" y="236"/>
                </a:lnTo>
                <a:lnTo>
                  <a:pt x="1518" y="236"/>
                </a:lnTo>
                <a:lnTo>
                  <a:pt x="1521" y="235"/>
                </a:lnTo>
                <a:lnTo>
                  <a:pt x="1529" y="233"/>
                </a:lnTo>
                <a:lnTo>
                  <a:pt x="1537" y="232"/>
                </a:lnTo>
                <a:lnTo>
                  <a:pt x="1539" y="232"/>
                </a:lnTo>
                <a:lnTo>
                  <a:pt x="1540" y="232"/>
                </a:lnTo>
                <a:lnTo>
                  <a:pt x="1541" y="233"/>
                </a:lnTo>
                <a:lnTo>
                  <a:pt x="1543" y="233"/>
                </a:lnTo>
                <a:lnTo>
                  <a:pt x="1546" y="232"/>
                </a:lnTo>
                <a:lnTo>
                  <a:pt x="1548" y="231"/>
                </a:lnTo>
                <a:lnTo>
                  <a:pt x="1551" y="232"/>
                </a:lnTo>
                <a:lnTo>
                  <a:pt x="1555" y="233"/>
                </a:lnTo>
                <a:lnTo>
                  <a:pt x="1548" y="235"/>
                </a:lnTo>
                <a:lnTo>
                  <a:pt x="1540" y="236"/>
                </a:lnTo>
                <a:lnTo>
                  <a:pt x="1532" y="236"/>
                </a:lnTo>
                <a:lnTo>
                  <a:pt x="1524" y="239"/>
                </a:lnTo>
                <a:lnTo>
                  <a:pt x="1522" y="240"/>
                </a:lnTo>
                <a:lnTo>
                  <a:pt x="1518" y="240"/>
                </a:lnTo>
                <a:lnTo>
                  <a:pt x="1516" y="238"/>
                </a:lnTo>
                <a:lnTo>
                  <a:pt x="1515" y="236"/>
                </a:lnTo>
                <a:lnTo>
                  <a:pt x="1512" y="236"/>
                </a:lnTo>
                <a:lnTo>
                  <a:pt x="1509" y="236"/>
                </a:lnTo>
                <a:lnTo>
                  <a:pt x="1508" y="236"/>
                </a:lnTo>
                <a:lnTo>
                  <a:pt x="1506" y="234"/>
                </a:lnTo>
                <a:lnTo>
                  <a:pt x="1509" y="233"/>
                </a:lnTo>
                <a:lnTo>
                  <a:pt x="1512" y="231"/>
                </a:lnTo>
                <a:lnTo>
                  <a:pt x="1500" y="232"/>
                </a:lnTo>
                <a:lnTo>
                  <a:pt x="1489" y="234"/>
                </a:lnTo>
                <a:lnTo>
                  <a:pt x="1482" y="235"/>
                </a:lnTo>
                <a:lnTo>
                  <a:pt x="1475" y="236"/>
                </a:lnTo>
                <a:lnTo>
                  <a:pt x="1474" y="236"/>
                </a:lnTo>
                <a:lnTo>
                  <a:pt x="1472" y="235"/>
                </a:lnTo>
                <a:lnTo>
                  <a:pt x="1471" y="235"/>
                </a:lnTo>
                <a:lnTo>
                  <a:pt x="1471" y="235"/>
                </a:lnTo>
                <a:lnTo>
                  <a:pt x="1471" y="234"/>
                </a:lnTo>
                <a:lnTo>
                  <a:pt x="1472" y="234"/>
                </a:lnTo>
                <a:lnTo>
                  <a:pt x="1474" y="234"/>
                </a:lnTo>
                <a:lnTo>
                  <a:pt x="1477" y="234"/>
                </a:lnTo>
                <a:lnTo>
                  <a:pt x="1481" y="231"/>
                </a:lnTo>
                <a:lnTo>
                  <a:pt x="1483" y="228"/>
                </a:lnTo>
                <a:lnTo>
                  <a:pt x="1487" y="228"/>
                </a:lnTo>
                <a:lnTo>
                  <a:pt x="1490" y="228"/>
                </a:lnTo>
                <a:lnTo>
                  <a:pt x="1492" y="228"/>
                </a:lnTo>
                <a:lnTo>
                  <a:pt x="1493" y="228"/>
                </a:lnTo>
                <a:lnTo>
                  <a:pt x="1496" y="227"/>
                </a:lnTo>
                <a:lnTo>
                  <a:pt x="1497" y="225"/>
                </a:lnTo>
                <a:lnTo>
                  <a:pt x="1494" y="225"/>
                </a:lnTo>
                <a:lnTo>
                  <a:pt x="1491" y="225"/>
                </a:lnTo>
                <a:lnTo>
                  <a:pt x="1490" y="225"/>
                </a:lnTo>
                <a:lnTo>
                  <a:pt x="1489" y="225"/>
                </a:lnTo>
                <a:lnTo>
                  <a:pt x="1489" y="224"/>
                </a:lnTo>
                <a:lnTo>
                  <a:pt x="1491" y="223"/>
                </a:lnTo>
                <a:lnTo>
                  <a:pt x="1497" y="221"/>
                </a:lnTo>
                <a:lnTo>
                  <a:pt x="1501" y="219"/>
                </a:lnTo>
                <a:lnTo>
                  <a:pt x="1506" y="218"/>
                </a:lnTo>
                <a:lnTo>
                  <a:pt x="1510" y="216"/>
                </a:lnTo>
                <a:lnTo>
                  <a:pt x="1515" y="216"/>
                </a:lnTo>
                <a:lnTo>
                  <a:pt x="1520" y="217"/>
                </a:lnTo>
                <a:lnTo>
                  <a:pt x="1523" y="217"/>
                </a:lnTo>
                <a:lnTo>
                  <a:pt x="1526" y="216"/>
                </a:lnTo>
                <a:lnTo>
                  <a:pt x="1530" y="214"/>
                </a:lnTo>
                <a:lnTo>
                  <a:pt x="1533" y="213"/>
                </a:lnTo>
                <a:lnTo>
                  <a:pt x="1537" y="213"/>
                </a:lnTo>
                <a:lnTo>
                  <a:pt x="1541" y="213"/>
                </a:lnTo>
                <a:lnTo>
                  <a:pt x="1545" y="213"/>
                </a:lnTo>
                <a:lnTo>
                  <a:pt x="1549" y="213"/>
                </a:lnTo>
                <a:lnTo>
                  <a:pt x="1555" y="211"/>
                </a:lnTo>
                <a:lnTo>
                  <a:pt x="1557" y="208"/>
                </a:lnTo>
                <a:lnTo>
                  <a:pt x="1558" y="205"/>
                </a:lnTo>
                <a:lnTo>
                  <a:pt x="1558" y="202"/>
                </a:lnTo>
                <a:lnTo>
                  <a:pt x="1555" y="201"/>
                </a:lnTo>
                <a:lnTo>
                  <a:pt x="1551" y="201"/>
                </a:lnTo>
                <a:lnTo>
                  <a:pt x="1546" y="203"/>
                </a:lnTo>
                <a:lnTo>
                  <a:pt x="1541" y="207"/>
                </a:lnTo>
                <a:lnTo>
                  <a:pt x="1535" y="208"/>
                </a:lnTo>
                <a:lnTo>
                  <a:pt x="1530" y="209"/>
                </a:lnTo>
                <a:lnTo>
                  <a:pt x="1517" y="213"/>
                </a:lnTo>
                <a:lnTo>
                  <a:pt x="1505" y="213"/>
                </a:lnTo>
                <a:lnTo>
                  <a:pt x="1510" y="210"/>
                </a:lnTo>
                <a:lnTo>
                  <a:pt x="1517" y="208"/>
                </a:lnTo>
                <a:lnTo>
                  <a:pt x="1521" y="207"/>
                </a:lnTo>
                <a:lnTo>
                  <a:pt x="1524" y="205"/>
                </a:lnTo>
                <a:lnTo>
                  <a:pt x="1518" y="205"/>
                </a:lnTo>
                <a:lnTo>
                  <a:pt x="1513" y="206"/>
                </a:lnTo>
                <a:lnTo>
                  <a:pt x="1506" y="208"/>
                </a:lnTo>
                <a:lnTo>
                  <a:pt x="1499" y="209"/>
                </a:lnTo>
                <a:lnTo>
                  <a:pt x="1487" y="213"/>
                </a:lnTo>
                <a:lnTo>
                  <a:pt x="1473" y="216"/>
                </a:lnTo>
                <a:lnTo>
                  <a:pt x="1468" y="216"/>
                </a:lnTo>
                <a:lnTo>
                  <a:pt x="1465" y="215"/>
                </a:lnTo>
                <a:lnTo>
                  <a:pt x="1464" y="215"/>
                </a:lnTo>
                <a:lnTo>
                  <a:pt x="1464" y="214"/>
                </a:lnTo>
                <a:lnTo>
                  <a:pt x="1464" y="213"/>
                </a:lnTo>
                <a:lnTo>
                  <a:pt x="1466" y="211"/>
                </a:lnTo>
                <a:lnTo>
                  <a:pt x="1469" y="210"/>
                </a:lnTo>
                <a:lnTo>
                  <a:pt x="1472" y="208"/>
                </a:lnTo>
                <a:lnTo>
                  <a:pt x="1468" y="206"/>
                </a:lnTo>
                <a:lnTo>
                  <a:pt x="1464" y="205"/>
                </a:lnTo>
                <a:lnTo>
                  <a:pt x="1472" y="202"/>
                </a:lnTo>
                <a:lnTo>
                  <a:pt x="1479" y="199"/>
                </a:lnTo>
                <a:lnTo>
                  <a:pt x="1473" y="199"/>
                </a:lnTo>
                <a:lnTo>
                  <a:pt x="1467" y="199"/>
                </a:lnTo>
                <a:lnTo>
                  <a:pt x="1476" y="193"/>
                </a:lnTo>
                <a:lnTo>
                  <a:pt x="1485" y="188"/>
                </a:lnTo>
                <a:lnTo>
                  <a:pt x="1493" y="186"/>
                </a:lnTo>
                <a:lnTo>
                  <a:pt x="1501" y="186"/>
                </a:lnTo>
                <a:lnTo>
                  <a:pt x="1506" y="186"/>
                </a:lnTo>
                <a:lnTo>
                  <a:pt x="1508" y="184"/>
                </a:lnTo>
                <a:lnTo>
                  <a:pt x="1509" y="182"/>
                </a:lnTo>
                <a:lnTo>
                  <a:pt x="1509" y="181"/>
                </a:lnTo>
                <a:lnTo>
                  <a:pt x="1515" y="176"/>
                </a:lnTo>
                <a:lnTo>
                  <a:pt x="1521" y="173"/>
                </a:lnTo>
                <a:lnTo>
                  <a:pt x="1516" y="172"/>
                </a:lnTo>
                <a:lnTo>
                  <a:pt x="1509" y="174"/>
                </a:lnTo>
                <a:lnTo>
                  <a:pt x="1502" y="176"/>
                </a:lnTo>
                <a:lnTo>
                  <a:pt x="1498" y="178"/>
                </a:lnTo>
                <a:lnTo>
                  <a:pt x="1487" y="182"/>
                </a:lnTo>
                <a:lnTo>
                  <a:pt x="1476" y="185"/>
                </a:lnTo>
                <a:lnTo>
                  <a:pt x="1471" y="188"/>
                </a:lnTo>
                <a:lnTo>
                  <a:pt x="1465" y="189"/>
                </a:lnTo>
                <a:lnTo>
                  <a:pt x="1460" y="190"/>
                </a:lnTo>
                <a:lnTo>
                  <a:pt x="1456" y="191"/>
                </a:lnTo>
                <a:lnTo>
                  <a:pt x="1455" y="190"/>
                </a:lnTo>
                <a:lnTo>
                  <a:pt x="1453" y="189"/>
                </a:lnTo>
                <a:lnTo>
                  <a:pt x="1453" y="188"/>
                </a:lnTo>
                <a:lnTo>
                  <a:pt x="1453" y="186"/>
                </a:lnTo>
                <a:lnTo>
                  <a:pt x="1456" y="185"/>
                </a:lnTo>
                <a:lnTo>
                  <a:pt x="1458" y="183"/>
                </a:lnTo>
                <a:lnTo>
                  <a:pt x="1467" y="180"/>
                </a:lnTo>
                <a:lnTo>
                  <a:pt x="1474" y="174"/>
                </a:lnTo>
                <a:lnTo>
                  <a:pt x="1474" y="172"/>
                </a:lnTo>
                <a:lnTo>
                  <a:pt x="1472" y="171"/>
                </a:lnTo>
                <a:lnTo>
                  <a:pt x="1472" y="171"/>
                </a:lnTo>
                <a:lnTo>
                  <a:pt x="1473" y="168"/>
                </a:lnTo>
                <a:lnTo>
                  <a:pt x="1481" y="164"/>
                </a:lnTo>
                <a:lnTo>
                  <a:pt x="1487" y="159"/>
                </a:lnTo>
                <a:lnTo>
                  <a:pt x="1481" y="160"/>
                </a:lnTo>
                <a:lnTo>
                  <a:pt x="1475" y="161"/>
                </a:lnTo>
                <a:lnTo>
                  <a:pt x="1474" y="160"/>
                </a:lnTo>
                <a:lnTo>
                  <a:pt x="1475" y="159"/>
                </a:lnTo>
                <a:lnTo>
                  <a:pt x="1475" y="158"/>
                </a:lnTo>
                <a:lnTo>
                  <a:pt x="1476" y="158"/>
                </a:lnTo>
                <a:lnTo>
                  <a:pt x="1480" y="157"/>
                </a:lnTo>
                <a:lnTo>
                  <a:pt x="1482" y="156"/>
                </a:lnTo>
                <a:lnTo>
                  <a:pt x="1482" y="153"/>
                </a:lnTo>
                <a:lnTo>
                  <a:pt x="1482" y="150"/>
                </a:lnTo>
                <a:lnTo>
                  <a:pt x="1482" y="149"/>
                </a:lnTo>
                <a:lnTo>
                  <a:pt x="1483" y="149"/>
                </a:lnTo>
                <a:lnTo>
                  <a:pt x="1484" y="149"/>
                </a:lnTo>
                <a:lnTo>
                  <a:pt x="1487" y="150"/>
                </a:lnTo>
                <a:lnTo>
                  <a:pt x="1489" y="151"/>
                </a:lnTo>
                <a:lnTo>
                  <a:pt x="1491" y="155"/>
                </a:lnTo>
                <a:lnTo>
                  <a:pt x="1490" y="157"/>
                </a:lnTo>
                <a:lnTo>
                  <a:pt x="1488" y="158"/>
                </a:lnTo>
                <a:lnTo>
                  <a:pt x="1488" y="159"/>
                </a:lnTo>
                <a:lnTo>
                  <a:pt x="1487" y="159"/>
                </a:lnTo>
                <a:lnTo>
                  <a:pt x="1488" y="160"/>
                </a:lnTo>
                <a:lnTo>
                  <a:pt x="1489" y="160"/>
                </a:lnTo>
                <a:lnTo>
                  <a:pt x="1491" y="161"/>
                </a:lnTo>
                <a:lnTo>
                  <a:pt x="1494" y="161"/>
                </a:lnTo>
                <a:lnTo>
                  <a:pt x="1498" y="161"/>
                </a:lnTo>
                <a:lnTo>
                  <a:pt x="1504" y="160"/>
                </a:lnTo>
                <a:lnTo>
                  <a:pt x="1508" y="158"/>
                </a:lnTo>
                <a:lnTo>
                  <a:pt x="1512" y="155"/>
                </a:lnTo>
                <a:lnTo>
                  <a:pt x="1512" y="155"/>
                </a:lnTo>
                <a:lnTo>
                  <a:pt x="1513" y="153"/>
                </a:lnTo>
                <a:lnTo>
                  <a:pt x="1513" y="152"/>
                </a:lnTo>
                <a:lnTo>
                  <a:pt x="1512" y="151"/>
                </a:lnTo>
                <a:lnTo>
                  <a:pt x="1513" y="150"/>
                </a:lnTo>
                <a:lnTo>
                  <a:pt x="1514" y="149"/>
                </a:lnTo>
                <a:lnTo>
                  <a:pt x="1517" y="148"/>
                </a:lnTo>
                <a:lnTo>
                  <a:pt x="1521" y="147"/>
                </a:lnTo>
                <a:lnTo>
                  <a:pt x="1525" y="145"/>
                </a:lnTo>
                <a:lnTo>
                  <a:pt x="1530" y="143"/>
                </a:lnTo>
                <a:lnTo>
                  <a:pt x="1537" y="136"/>
                </a:lnTo>
                <a:lnTo>
                  <a:pt x="1543" y="130"/>
                </a:lnTo>
                <a:lnTo>
                  <a:pt x="1533" y="134"/>
                </a:lnTo>
                <a:lnTo>
                  <a:pt x="1523" y="140"/>
                </a:lnTo>
                <a:lnTo>
                  <a:pt x="1514" y="145"/>
                </a:lnTo>
                <a:lnTo>
                  <a:pt x="1502" y="149"/>
                </a:lnTo>
                <a:lnTo>
                  <a:pt x="1505" y="145"/>
                </a:lnTo>
                <a:lnTo>
                  <a:pt x="1507" y="143"/>
                </a:lnTo>
                <a:lnTo>
                  <a:pt x="1510" y="141"/>
                </a:lnTo>
                <a:lnTo>
                  <a:pt x="1514" y="140"/>
                </a:lnTo>
                <a:lnTo>
                  <a:pt x="1522" y="134"/>
                </a:lnTo>
                <a:lnTo>
                  <a:pt x="1530" y="127"/>
                </a:lnTo>
                <a:lnTo>
                  <a:pt x="1537" y="123"/>
                </a:lnTo>
                <a:lnTo>
                  <a:pt x="1542" y="118"/>
                </a:lnTo>
                <a:lnTo>
                  <a:pt x="1543" y="117"/>
                </a:lnTo>
                <a:lnTo>
                  <a:pt x="1545" y="116"/>
                </a:lnTo>
                <a:lnTo>
                  <a:pt x="1543" y="116"/>
                </a:lnTo>
                <a:lnTo>
                  <a:pt x="1543" y="116"/>
                </a:lnTo>
                <a:lnTo>
                  <a:pt x="1540" y="116"/>
                </a:lnTo>
                <a:lnTo>
                  <a:pt x="1538" y="117"/>
                </a:lnTo>
                <a:lnTo>
                  <a:pt x="1530" y="122"/>
                </a:lnTo>
                <a:lnTo>
                  <a:pt x="1523" y="126"/>
                </a:lnTo>
                <a:lnTo>
                  <a:pt x="1514" y="130"/>
                </a:lnTo>
                <a:lnTo>
                  <a:pt x="1506" y="133"/>
                </a:lnTo>
                <a:lnTo>
                  <a:pt x="1498" y="139"/>
                </a:lnTo>
                <a:lnTo>
                  <a:pt x="1489" y="143"/>
                </a:lnTo>
                <a:lnTo>
                  <a:pt x="1484" y="145"/>
                </a:lnTo>
                <a:lnTo>
                  <a:pt x="1480" y="148"/>
                </a:lnTo>
                <a:lnTo>
                  <a:pt x="1475" y="149"/>
                </a:lnTo>
                <a:lnTo>
                  <a:pt x="1472" y="149"/>
                </a:lnTo>
                <a:lnTo>
                  <a:pt x="1474" y="144"/>
                </a:lnTo>
                <a:lnTo>
                  <a:pt x="1477" y="142"/>
                </a:lnTo>
                <a:lnTo>
                  <a:pt x="1481" y="140"/>
                </a:lnTo>
                <a:lnTo>
                  <a:pt x="1484" y="138"/>
                </a:lnTo>
                <a:lnTo>
                  <a:pt x="1491" y="134"/>
                </a:lnTo>
                <a:lnTo>
                  <a:pt x="1499" y="130"/>
                </a:lnTo>
                <a:lnTo>
                  <a:pt x="1506" y="125"/>
                </a:lnTo>
                <a:lnTo>
                  <a:pt x="1514" y="120"/>
                </a:lnTo>
                <a:lnTo>
                  <a:pt x="1517" y="118"/>
                </a:lnTo>
                <a:lnTo>
                  <a:pt x="1521" y="117"/>
                </a:lnTo>
                <a:lnTo>
                  <a:pt x="1523" y="115"/>
                </a:lnTo>
                <a:lnTo>
                  <a:pt x="1524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4" y="110"/>
                </a:lnTo>
                <a:lnTo>
                  <a:pt x="1520" y="114"/>
                </a:lnTo>
                <a:lnTo>
                  <a:pt x="1515" y="117"/>
                </a:lnTo>
                <a:lnTo>
                  <a:pt x="1509" y="118"/>
                </a:lnTo>
                <a:lnTo>
                  <a:pt x="1505" y="118"/>
                </a:lnTo>
                <a:lnTo>
                  <a:pt x="1506" y="115"/>
                </a:lnTo>
                <a:lnTo>
                  <a:pt x="1507" y="113"/>
                </a:lnTo>
                <a:lnTo>
                  <a:pt x="1509" y="111"/>
                </a:lnTo>
                <a:lnTo>
                  <a:pt x="1513" y="110"/>
                </a:lnTo>
                <a:lnTo>
                  <a:pt x="1518" y="107"/>
                </a:lnTo>
                <a:lnTo>
                  <a:pt x="1524" y="102"/>
                </a:lnTo>
                <a:lnTo>
                  <a:pt x="1526" y="101"/>
                </a:lnTo>
                <a:lnTo>
                  <a:pt x="1530" y="99"/>
                </a:lnTo>
                <a:lnTo>
                  <a:pt x="1530" y="98"/>
                </a:lnTo>
                <a:lnTo>
                  <a:pt x="1531" y="98"/>
                </a:lnTo>
                <a:lnTo>
                  <a:pt x="1530" y="97"/>
                </a:lnTo>
                <a:lnTo>
                  <a:pt x="1527" y="97"/>
                </a:lnTo>
                <a:lnTo>
                  <a:pt x="1521" y="100"/>
                </a:lnTo>
                <a:lnTo>
                  <a:pt x="1515" y="105"/>
                </a:lnTo>
                <a:lnTo>
                  <a:pt x="1498" y="114"/>
                </a:lnTo>
                <a:lnTo>
                  <a:pt x="1482" y="120"/>
                </a:lnTo>
                <a:lnTo>
                  <a:pt x="1476" y="123"/>
                </a:lnTo>
                <a:lnTo>
                  <a:pt x="1472" y="125"/>
                </a:lnTo>
                <a:lnTo>
                  <a:pt x="1469" y="126"/>
                </a:lnTo>
                <a:lnTo>
                  <a:pt x="1468" y="128"/>
                </a:lnTo>
                <a:lnTo>
                  <a:pt x="1465" y="128"/>
                </a:lnTo>
                <a:lnTo>
                  <a:pt x="1463" y="130"/>
                </a:lnTo>
                <a:lnTo>
                  <a:pt x="1459" y="130"/>
                </a:lnTo>
                <a:lnTo>
                  <a:pt x="1458" y="130"/>
                </a:lnTo>
                <a:lnTo>
                  <a:pt x="1457" y="130"/>
                </a:lnTo>
                <a:lnTo>
                  <a:pt x="1456" y="127"/>
                </a:lnTo>
                <a:lnTo>
                  <a:pt x="1453" y="124"/>
                </a:lnTo>
                <a:lnTo>
                  <a:pt x="1453" y="123"/>
                </a:lnTo>
                <a:lnTo>
                  <a:pt x="1456" y="122"/>
                </a:lnTo>
                <a:lnTo>
                  <a:pt x="1458" y="120"/>
                </a:lnTo>
                <a:lnTo>
                  <a:pt x="1461" y="120"/>
                </a:lnTo>
                <a:lnTo>
                  <a:pt x="1465" y="119"/>
                </a:lnTo>
                <a:lnTo>
                  <a:pt x="1468" y="119"/>
                </a:lnTo>
                <a:lnTo>
                  <a:pt x="1471" y="120"/>
                </a:lnTo>
                <a:lnTo>
                  <a:pt x="1473" y="117"/>
                </a:lnTo>
                <a:lnTo>
                  <a:pt x="1476" y="115"/>
                </a:lnTo>
                <a:lnTo>
                  <a:pt x="1481" y="115"/>
                </a:lnTo>
                <a:lnTo>
                  <a:pt x="1485" y="114"/>
                </a:lnTo>
                <a:lnTo>
                  <a:pt x="1491" y="113"/>
                </a:lnTo>
                <a:lnTo>
                  <a:pt x="1496" y="109"/>
                </a:lnTo>
                <a:lnTo>
                  <a:pt x="1500" y="106"/>
                </a:lnTo>
                <a:lnTo>
                  <a:pt x="1501" y="101"/>
                </a:lnTo>
                <a:lnTo>
                  <a:pt x="1500" y="100"/>
                </a:lnTo>
                <a:lnTo>
                  <a:pt x="1497" y="99"/>
                </a:lnTo>
                <a:lnTo>
                  <a:pt x="1494" y="100"/>
                </a:lnTo>
                <a:lnTo>
                  <a:pt x="1492" y="100"/>
                </a:lnTo>
                <a:lnTo>
                  <a:pt x="1492" y="101"/>
                </a:lnTo>
                <a:lnTo>
                  <a:pt x="1493" y="102"/>
                </a:lnTo>
                <a:lnTo>
                  <a:pt x="1493" y="105"/>
                </a:lnTo>
                <a:lnTo>
                  <a:pt x="1492" y="106"/>
                </a:lnTo>
                <a:lnTo>
                  <a:pt x="1489" y="103"/>
                </a:lnTo>
                <a:lnTo>
                  <a:pt x="1485" y="102"/>
                </a:lnTo>
                <a:lnTo>
                  <a:pt x="1485" y="105"/>
                </a:lnTo>
                <a:lnTo>
                  <a:pt x="1484" y="106"/>
                </a:lnTo>
                <a:lnTo>
                  <a:pt x="1483" y="106"/>
                </a:lnTo>
                <a:lnTo>
                  <a:pt x="1482" y="106"/>
                </a:lnTo>
                <a:lnTo>
                  <a:pt x="1479" y="106"/>
                </a:lnTo>
                <a:lnTo>
                  <a:pt x="1475" y="106"/>
                </a:lnTo>
                <a:lnTo>
                  <a:pt x="1465" y="110"/>
                </a:lnTo>
                <a:lnTo>
                  <a:pt x="1456" y="116"/>
                </a:lnTo>
                <a:lnTo>
                  <a:pt x="1453" y="117"/>
                </a:lnTo>
                <a:lnTo>
                  <a:pt x="1452" y="118"/>
                </a:lnTo>
                <a:lnTo>
                  <a:pt x="1450" y="118"/>
                </a:lnTo>
                <a:lnTo>
                  <a:pt x="1448" y="117"/>
                </a:lnTo>
                <a:lnTo>
                  <a:pt x="1444" y="114"/>
                </a:lnTo>
                <a:lnTo>
                  <a:pt x="1440" y="111"/>
                </a:lnTo>
                <a:lnTo>
                  <a:pt x="1435" y="111"/>
                </a:lnTo>
                <a:lnTo>
                  <a:pt x="1431" y="114"/>
                </a:lnTo>
                <a:lnTo>
                  <a:pt x="1428" y="114"/>
                </a:lnTo>
                <a:lnTo>
                  <a:pt x="1426" y="114"/>
                </a:lnTo>
                <a:lnTo>
                  <a:pt x="1425" y="113"/>
                </a:lnTo>
                <a:lnTo>
                  <a:pt x="1424" y="111"/>
                </a:lnTo>
                <a:lnTo>
                  <a:pt x="1425" y="108"/>
                </a:lnTo>
                <a:lnTo>
                  <a:pt x="1426" y="106"/>
                </a:lnTo>
                <a:lnTo>
                  <a:pt x="1427" y="103"/>
                </a:lnTo>
                <a:lnTo>
                  <a:pt x="1425" y="101"/>
                </a:lnTo>
                <a:lnTo>
                  <a:pt x="1422" y="100"/>
                </a:lnTo>
                <a:lnTo>
                  <a:pt x="1418" y="98"/>
                </a:lnTo>
                <a:lnTo>
                  <a:pt x="1420" y="95"/>
                </a:lnTo>
                <a:lnTo>
                  <a:pt x="1423" y="94"/>
                </a:lnTo>
                <a:lnTo>
                  <a:pt x="1425" y="95"/>
                </a:lnTo>
                <a:lnTo>
                  <a:pt x="1428" y="94"/>
                </a:lnTo>
                <a:lnTo>
                  <a:pt x="1432" y="92"/>
                </a:lnTo>
                <a:lnTo>
                  <a:pt x="1436" y="89"/>
                </a:lnTo>
                <a:lnTo>
                  <a:pt x="1441" y="85"/>
                </a:lnTo>
                <a:lnTo>
                  <a:pt x="1446" y="83"/>
                </a:lnTo>
                <a:lnTo>
                  <a:pt x="1450" y="80"/>
                </a:lnTo>
                <a:lnTo>
                  <a:pt x="1456" y="76"/>
                </a:lnTo>
                <a:lnTo>
                  <a:pt x="1453" y="75"/>
                </a:lnTo>
                <a:lnTo>
                  <a:pt x="1451" y="74"/>
                </a:lnTo>
                <a:lnTo>
                  <a:pt x="1449" y="74"/>
                </a:lnTo>
                <a:lnTo>
                  <a:pt x="1447" y="74"/>
                </a:lnTo>
                <a:lnTo>
                  <a:pt x="1442" y="76"/>
                </a:lnTo>
                <a:lnTo>
                  <a:pt x="1439" y="78"/>
                </a:lnTo>
                <a:lnTo>
                  <a:pt x="1428" y="85"/>
                </a:lnTo>
                <a:lnTo>
                  <a:pt x="1419" y="93"/>
                </a:lnTo>
                <a:lnTo>
                  <a:pt x="1409" y="100"/>
                </a:lnTo>
                <a:lnTo>
                  <a:pt x="1399" y="107"/>
                </a:lnTo>
                <a:lnTo>
                  <a:pt x="1387" y="113"/>
                </a:lnTo>
                <a:lnTo>
                  <a:pt x="1377" y="116"/>
                </a:lnTo>
                <a:lnTo>
                  <a:pt x="1389" y="100"/>
                </a:lnTo>
                <a:lnTo>
                  <a:pt x="1400" y="82"/>
                </a:lnTo>
                <a:lnTo>
                  <a:pt x="1403" y="77"/>
                </a:lnTo>
                <a:lnTo>
                  <a:pt x="1407" y="73"/>
                </a:lnTo>
                <a:lnTo>
                  <a:pt x="1408" y="73"/>
                </a:lnTo>
                <a:lnTo>
                  <a:pt x="1409" y="72"/>
                </a:lnTo>
                <a:lnTo>
                  <a:pt x="1409" y="70"/>
                </a:lnTo>
                <a:lnTo>
                  <a:pt x="1410" y="70"/>
                </a:lnTo>
                <a:lnTo>
                  <a:pt x="1411" y="68"/>
                </a:lnTo>
                <a:lnTo>
                  <a:pt x="1414" y="67"/>
                </a:lnTo>
                <a:lnTo>
                  <a:pt x="1413" y="62"/>
                </a:lnTo>
                <a:lnTo>
                  <a:pt x="1411" y="59"/>
                </a:lnTo>
                <a:lnTo>
                  <a:pt x="1415" y="57"/>
                </a:lnTo>
                <a:lnTo>
                  <a:pt x="1417" y="56"/>
                </a:lnTo>
                <a:lnTo>
                  <a:pt x="1420" y="52"/>
                </a:lnTo>
                <a:lnTo>
                  <a:pt x="1423" y="49"/>
                </a:lnTo>
                <a:lnTo>
                  <a:pt x="1425" y="42"/>
                </a:lnTo>
                <a:lnTo>
                  <a:pt x="1427" y="35"/>
                </a:lnTo>
                <a:lnTo>
                  <a:pt x="1431" y="27"/>
                </a:lnTo>
                <a:lnTo>
                  <a:pt x="1436" y="22"/>
                </a:lnTo>
                <a:lnTo>
                  <a:pt x="1439" y="19"/>
                </a:lnTo>
                <a:lnTo>
                  <a:pt x="1442" y="16"/>
                </a:lnTo>
                <a:lnTo>
                  <a:pt x="1446" y="16"/>
                </a:lnTo>
                <a:lnTo>
                  <a:pt x="1448" y="14"/>
                </a:lnTo>
                <a:lnTo>
                  <a:pt x="1448" y="12"/>
                </a:lnTo>
                <a:lnTo>
                  <a:pt x="1448" y="11"/>
                </a:lnTo>
                <a:lnTo>
                  <a:pt x="1448" y="10"/>
                </a:lnTo>
                <a:lnTo>
                  <a:pt x="1447" y="9"/>
                </a:lnTo>
                <a:lnTo>
                  <a:pt x="1443" y="8"/>
                </a:lnTo>
                <a:lnTo>
                  <a:pt x="1441" y="9"/>
                </a:lnTo>
                <a:lnTo>
                  <a:pt x="1439" y="11"/>
                </a:lnTo>
                <a:lnTo>
                  <a:pt x="1438" y="15"/>
                </a:lnTo>
                <a:lnTo>
                  <a:pt x="1436" y="16"/>
                </a:lnTo>
                <a:lnTo>
                  <a:pt x="1434" y="17"/>
                </a:lnTo>
                <a:lnTo>
                  <a:pt x="1427" y="22"/>
                </a:lnTo>
                <a:lnTo>
                  <a:pt x="1423" y="28"/>
                </a:lnTo>
                <a:lnTo>
                  <a:pt x="1418" y="35"/>
                </a:lnTo>
                <a:lnTo>
                  <a:pt x="1413" y="41"/>
                </a:lnTo>
                <a:lnTo>
                  <a:pt x="1411" y="41"/>
                </a:lnTo>
                <a:lnTo>
                  <a:pt x="1410" y="41"/>
                </a:lnTo>
                <a:lnTo>
                  <a:pt x="1410" y="40"/>
                </a:lnTo>
                <a:lnTo>
                  <a:pt x="1410" y="39"/>
                </a:lnTo>
                <a:lnTo>
                  <a:pt x="1413" y="35"/>
                </a:lnTo>
                <a:lnTo>
                  <a:pt x="1414" y="33"/>
                </a:lnTo>
                <a:lnTo>
                  <a:pt x="1418" y="25"/>
                </a:lnTo>
                <a:lnTo>
                  <a:pt x="1423" y="17"/>
                </a:lnTo>
                <a:lnTo>
                  <a:pt x="1425" y="9"/>
                </a:lnTo>
                <a:lnTo>
                  <a:pt x="1425" y="0"/>
                </a:lnTo>
                <a:lnTo>
                  <a:pt x="1418" y="6"/>
                </a:lnTo>
                <a:lnTo>
                  <a:pt x="1410" y="11"/>
                </a:lnTo>
                <a:lnTo>
                  <a:pt x="1403" y="18"/>
                </a:lnTo>
                <a:lnTo>
                  <a:pt x="1397" y="26"/>
                </a:lnTo>
                <a:lnTo>
                  <a:pt x="1384" y="42"/>
                </a:lnTo>
                <a:lnTo>
                  <a:pt x="1369" y="58"/>
                </a:lnTo>
                <a:lnTo>
                  <a:pt x="1361" y="65"/>
                </a:lnTo>
                <a:lnTo>
                  <a:pt x="1351" y="72"/>
                </a:lnTo>
                <a:lnTo>
                  <a:pt x="1342" y="77"/>
                </a:lnTo>
                <a:lnTo>
                  <a:pt x="1332" y="83"/>
                </a:lnTo>
                <a:lnTo>
                  <a:pt x="1323" y="90"/>
                </a:lnTo>
                <a:lnTo>
                  <a:pt x="1314" y="97"/>
                </a:lnTo>
                <a:lnTo>
                  <a:pt x="1303" y="102"/>
                </a:lnTo>
                <a:lnTo>
                  <a:pt x="1294" y="109"/>
                </a:lnTo>
                <a:lnTo>
                  <a:pt x="1275" y="122"/>
                </a:lnTo>
                <a:lnTo>
                  <a:pt x="1255" y="133"/>
                </a:lnTo>
                <a:lnTo>
                  <a:pt x="1235" y="144"/>
                </a:lnTo>
                <a:lnTo>
                  <a:pt x="1214" y="155"/>
                </a:lnTo>
                <a:lnTo>
                  <a:pt x="1194" y="164"/>
                </a:lnTo>
                <a:lnTo>
                  <a:pt x="1174" y="173"/>
                </a:lnTo>
                <a:lnTo>
                  <a:pt x="1152" y="181"/>
                </a:lnTo>
                <a:lnTo>
                  <a:pt x="1130" y="189"/>
                </a:lnTo>
                <a:lnTo>
                  <a:pt x="1120" y="192"/>
                </a:lnTo>
                <a:lnTo>
                  <a:pt x="1109" y="194"/>
                </a:lnTo>
                <a:lnTo>
                  <a:pt x="1096" y="197"/>
                </a:lnTo>
                <a:lnTo>
                  <a:pt x="1085" y="198"/>
                </a:lnTo>
                <a:lnTo>
                  <a:pt x="1082" y="198"/>
                </a:lnTo>
                <a:lnTo>
                  <a:pt x="1080" y="198"/>
                </a:lnTo>
                <a:lnTo>
                  <a:pt x="1078" y="199"/>
                </a:lnTo>
                <a:lnTo>
                  <a:pt x="1077" y="201"/>
                </a:lnTo>
                <a:lnTo>
                  <a:pt x="1079" y="202"/>
                </a:lnTo>
                <a:lnTo>
                  <a:pt x="1082" y="202"/>
                </a:lnTo>
                <a:lnTo>
                  <a:pt x="1088" y="202"/>
                </a:lnTo>
                <a:lnTo>
                  <a:pt x="1095" y="203"/>
                </a:lnTo>
                <a:lnTo>
                  <a:pt x="1100" y="205"/>
                </a:lnTo>
                <a:lnTo>
                  <a:pt x="1105" y="207"/>
                </a:lnTo>
                <a:lnTo>
                  <a:pt x="1094" y="209"/>
                </a:lnTo>
                <a:lnTo>
                  <a:pt x="1081" y="211"/>
                </a:lnTo>
                <a:lnTo>
                  <a:pt x="1069" y="214"/>
                </a:lnTo>
                <a:lnTo>
                  <a:pt x="1056" y="216"/>
                </a:lnTo>
                <a:lnTo>
                  <a:pt x="1045" y="217"/>
                </a:lnTo>
                <a:lnTo>
                  <a:pt x="1034" y="217"/>
                </a:lnTo>
                <a:lnTo>
                  <a:pt x="1028" y="218"/>
                </a:lnTo>
                <a:lnTo>
                  <a:pt x="1022" y="218"/>
                </a:lnTo>
                <a:lnTo>
                  <a:pt x="1016" y="219"/>
                </a:lnTo>
                <a:lnTo>
                  <a:pt x="1011" y="222"/>
                </a:lnTo>
                <a:lnTo>
                  <a:pt x="1013" y="223"/>
                </a:lnTo>
                <a:lnTo>
                  <a:pt x="1015" y="225"/>
                </a:lnTo>
                <a:lnTo>
                  <a:pt x="1018" y="225"/>
                </a:lnTo>
                <a:lnTo>
                  <a:pt x="1021" y="225"/>
                </a:lnTo>
                <a:lnTo>
                  <a:pt x="1024" y="226"/>
                </a:lnTo>
                <a:lnTo>
                  <a:pt x="1028" y="227"/>
                </a:lnTo>
                <a:lnTo>
                  <a:pt x="1032" y="227"/>
                </a:lnTo>
                <a:lnTo>
                  <a:pt x="1036" y="227"/>
                </a:lnTo>
                <a:lnTo>
                  <a:pt x="1032" y="228"/>
                </a:lnTo>
                <a:lnTo>
                  <a:pt x="1030" y="228"/>
                </a:lnTo>
                <a:lnTo>
                  <a:pt x="1024" y="230"/>
                </a:lnTo>
                <a:lnTo>
                  <a:pt x="1018" y="230"/>
                </a:lnTo>
                <a:lnTo>
                  <a:pt x="1011" y="230"/>
                </a:lnTo>
                <a:lnTo>
                  <a:pt x="1005" y="232"/>
                </a:lnTo>
                <a:lnTo>
                  <a:pt x="1007" y="234"/>
                </a:lnTo>
                <a:lnTo>
                  <a:pt x="1010" y="236"/>
                </a:lnTo>
                <a:lnTo>
                  <a:pt x="1013" y="236"/>
                </a:lnTo>
                <a:lnTo>
                  <a:pt x="1016" y="234"/>
                </a:lnTo>
                <a:lnTo>
                  <a:pt x="1020" y="234"/>
                </a:lnTo>
                <a:lnTo>
                  <a:pt x="1024" y="234"/>
                </a:lnTo>
                <a:lnTo>
                  <a:pt x="1028" y="236"/>
                </a:lnTo>
                <a:lnTo>
                  <a:pt x="1031" y="238"/>
                </a:lnTo>
                <a:lnTo>
                  <a:pt x="1024" y="240"/>
                </a:lnTo>
                <a:lnTo>
                  <a:pt x="1018" y="240"/>
                </a:lnTo>
                <a:lnTo>
                  <a:pt x="1011" y="240"/>
                </a:lnTo>
                <a:lnTo>
                  <a:pt x="1004" y="241"/>
                </a:lnTo>
                <a:lnTo>
                  <a:pt x="998" y="242"/>
                </a:lnTo>
                <a:lnTo>
                  <a:pt x="993" y="243"/>
                </a:lnTo>
                <a:lnTo>
                  <a:pt x="986" y="241"/>
                </a:lnTo>
                <a:lnTo>
                  <a:pt x="980" y="239"/>
                </a:lnTo>
                <a:lnTo>
                  <a:pt x="975" y="238"/>
                </a:lnTo>
                <a:lnTo>
                  <a:pt x="971" y="236"/>
                </a:lnTo>
                <a:lnTo>
                  <a:pt x="972" y="240"/>
                </a:lnTo>
                <a:lnTo>
                  <a:pt x="972" y="243"/>
                </a:lnTo>
                <a:lnTo>
                  <a:pt x="970" y="246"/>
                </a:lnTo>
                <a:lnTo>
                  <a:pt x="968" y="247"/>
                </a:lnTo>
                <a:lnTo>
                  <a:pt x="964" y="247"/>
                </a:lnTo>
                <a:lnTo>
                  <a:pt x="961" y="247"/>
                </a:lnTo>
                <a:lnTo>
                  <a:pt x="955" y="246"/>
                </a:lnTo>
                <a:lnTo>
                  <a:pt x="949" y="242"/>
                </a:lnTo>
                <a:lnTo>
                  <a:pt x="950" y="244"/>
                </a:lnTo>
                <a:lnTo>
                  <a:pt x="950" y="247"/>
                </a:lnTo>
                <a:lnTo>
                  <a:pt x="949" y="247"/>
                </a:lnTo>
                <a:lnTo>
                  <a:pt x="948" y="248"/>
                </a:lnTo>
                <a:lnTo>
                  <a:pt x="945" y="248"/>
                </a:lnTo>
                <a:lnTo>
                  <a:pt x="941" y="248"/>
                </a:lnTo>
                <a:lnTo>
                  <a:pt x="929" y="249"/>
                </a:lnTo>
                <a:lnTo>
                  <a:pt x="916" y="249"/>
                </a:lnTo>
                <a:lnTo>
                  <a:pt x="904" y="249"/>
                </a:lnTo>
                <a:lnTo>
                  <a:pt x="890" y="249"/>
                </a:lnTo>
                <a:lnTo>
                  <a:pt x="878" y="248"/>
                </a:lnTo>
                <a:lnTo>
                  <a:pt x="865" y="247"/>
                </a:lnTo>
                <a:lnTo>
                  <a:pt x="853" y="246"/>
                </a:lnTo>
                <a:lnTo>
                  <a:pt x="840" y="243"/>
                </a:lnTo>
                <a:lnTo>
                  <a:pt x="834" y="242"/>
                </a:lnTo>
                <a:lnTo>
                  <a:pt x="829" y="241"/>
                </a:lnTo>
                <a:lnTo>
                  <a:pt x="824" y="239"/>
                </a:lnTo>
                <a:lnTo>
                  <a:pt x="820" y="239"/>
                </a:lnTo>
                <a:lnTo>
                  <a:pt x="820" y="240"/>
                </a:lnTo>
                <a:lnTo>
                  <a:pt x="820" y="240"/>
                </a:lnTo>
                <a:lnTo>
                  <a:pt x="821" y="241"/>
                </a:lnTo>
                <a:lnTo>
                  <a:pt x="823" y="242"/>
                </a:lnTo>
                <a:lnTo>
                  <a:pt x="826" y="243"/>
                </a:lnTo>
                <a:lnTo>
                  <a:pt x="830" y="244"/>
                </a:lnTo>
                <a:lnTo>
                  <a:pt x="839" y="247"/>
                </a:lnTo>
                <a:lnTo>
                  <a:pt x="848" y="248"/>
                </a:lnTo>
                <a:lnTo>
                  <a:pt x="843" y="249"/>
                </a:lnTo>
                <a:lnTo>
                  <a:pt x="840" y="249"/>
                </a:lnTo>
                <a:lnTo>
                  <a:pt x="835" y="248"/>
                </a:lnTo>
                <a:lnTo>
                  <a:pt x="831" y="248"/>
                </a:lnTo>
                <a:lnTo>
                  <a:pt x="823" y="246"/>
                </a:lnTo>
                <a:lnTo>
                  <a:pt x="815" y="247"/>
                </a:lnTo>
                <a:lnTo>
                  <a:pt x="821" y="249"/>
                </a:lnTo>
                <a:lnTo>
                  <a:pt x="828" y="250"/>
                </a:lnTo>
                <a:lnTo>
                  <a:pt x="825" y="252"/>
                </a:lnTo>
                <a:lnTo>
                  <a:pt x="823" y="254"/>
                </a:lnTo>
                <a:lnTo>
                  <a:pt x="822" y="255"/>
                </a:lnTo>
                <a:lnTo>
                  <a:pt x="820" y="255"/>
                </a:lnTo>
                <a:lnTo>
                  <a:pt x="818" y="252"/>
                </a:lnTo>
                <a:lnTo>
                  <a:pt x="818" y="251"/>
                </a:lnTo>
                <a:lnTo>
                  <a:pt x="815" y="252"/>
                </a:lnTo>
                <a:lnTo>
                  <a:pt x="813" y="254"/>
                </a:lnTo>
                <a:lnTo>
                  <a:pt x="809" y="251"/>
                </a:lnTo>
                <a:lnTo>
                  <a:pt x="806" y="248"/>
                </a:lnTo>
                <a:lnTo>
                  <a:pt x="809" y="247"/>
                </a:lnTo>
                <a:lnTo>
                  <a:pt x="810" y="246"/>
                </a:lnTo>
                <a:lnTo>
                  <a:pt x="809" y="244"/>
                </a:lnTo>
                <a:lnTo>
                  <a:pt x="807" y="242"/>
                </a:lnTo>
                <a:lnTo>
                  <a:pt x="799" y="240"/>
                </a:lnTo>
                <a:lnTo>
                  <a:pt x="792" y="239"/>
                </a:lnTo>
                <a:lnTo>
                  <a:pt x="783" y="236"/>
                </a:lnTo>
                <a:lnTo>
                  <a:pt x="775" y="233"/>
                </a:lnTo>
                <a:lnTo>
                  <a:pt x="771" y="232"/>
                </a:lnTo>
                <a:lnTo>
                  <a:pt x="767" y="230"/>
                </a:lnTo>
                <a:lnTo>
                  <a:pt x="765" y="228"/>
                </a:lnTo>
                <a:lnTo>
                  <a:pt x="763" y="228"/>
                </a:lnTo>
                <a:lnTo>
                  <a:pt x="760" y="228"/>
                </a:lnTo>
                <a:lnTo>
                  <a:pt x="759" y="230"/>
                </a:lnTo>
                <a:lnTo>
                  <a:pt x="764" y="234"/>
                </a:lnTo>
                <a:lnTo>
                  <a:pt x="769" y="236"/>
                </a:lnTo>
                <a:lnTo>
                  <a:pt x="772" y="235"/>
                </a:lnTo>
                <a:lnTo>
                  <a:pt x="774" y="234"/>
                </a:lnTo>
                <a:lnTo>
                  <a:pt x="775" y="238"/>
                </a:lnTo>
                <a:lnTo>
                  <a:pt x="776" y="240"/>
                </a:lnTo>
                <a:lnTo>
                  <a:pt x="777" y="240"/>
                </a:lnTo>
                <a:lnTo>
                  <a:pt x="780" y="240"/>
                </a:lnTo>
                <a:lnTo>
                  <a:pt x="783" y="241"/>
                </a:lnTo>
                <a:lnTo>
                  <a:pt x="788" y="243"/>
                </a:lnTo>
                <a:lnTo>
                  <a:pt x="780" y="243"/>
                </a:lnTo>
                <a:lnTo>
                  <a:pt x="773" y="241"/>
                </a:lnTo>
                <a:lnTo>
                  <a:pt x="766" y="239"/>
                </a:lnTo>
                <a:lnTo>
                  <a:pt x="760" y="236"/>
                </a:lnTo>
                <a:lnTo>
                  <a:pt x="752" y="233"/>
                </a:lnTo>
                <a:lnTo>
                  <a:pt x="744" y="231"/>
                </a:lnTo>
                <a:lnTo>
                  <a:pt x="742" y="232"/>
                </a:lnTo>
                <a:lnTo>
                  <a:pt x="742" y="234"/>
                </a:lnTo>
                <a:lnTo>
                  <a:pt x="743" y="235"/>
                </a:lnTo>
                <a:lnTo>
                  <a:pt x="744" y="235"/>
                </a:lnTo>
                <a:lnTo>
                  <a:pt x="747" y="235"/>
                </a:lnTo>
                <a:lnTo>
                  <a:pt x="748" y="236"/>
                </a:lnTo>
                <a:lnTo>
                  <a:pt x="748" y="239"/>
                </a:lnTo>
                <a:lnTo>
                  <a:pt x="747" y="240"/>
                </a:lnTo>
                <a:lnTo>
                  <a:pt x="743" y="240"/>
                </a:lnTo>
                <a:lnTo>
                  <a:pt x="741" y="238"/>
                </a:lnTo>
                <a:lnTo>
                  <a:pt x="739" y="235"/>
                </a:lnTo>
                <a:lnTo>
                  <a:pt x="736" y="234"/>
                </a:lnTo>
                <a:lnTo>
                  <a:pt x="733" y="231"/>
                </a:lnTo>
                <a:lnTo>
                  <a:pt x="729" y="227"/>
                </a:lnTo>
                <a:lnTo>
                  <a:pt x="725" y="230"/>
                </a:lnTo>
                <a:lnTo>
                  <a:pt x="723" y="234"/>
                </a:lnTo>
                <a:lnTo>
                  <a:pt x="729" y="234"/>
                </a:lnTo>
                <a:lnTo>
                  <a:pt x="733" y="236"/>
                </a:lnTo>
                <a:lnTo>
                  <a:pt x="739" y="240"/>
                </a:lnTo>
                <a:lnTo>
                  <a:pt x="743" y="243"/>
                </a:lnTo>
                <a:lnTo>
                  <a:pt x="740" y="244"/>
                </a:lnTo>
                <a:lnTo>
                  <a:pt x="738" y="244"/>
                </a:lnTo>
                <a:lnTo>
                  <a:pt x="735" y="244"/>
                </a:lnTo>
                <a:lnTo>
                  <a:pt x="733" y="243"/>
                </a:lnTo>
                <a:lnTo>
                  <a:pt x="730" y="240"/>
                </a:lnTo>
                <a:lnTo>
                  <a:pt x="729" y="238"/>
                </a:lnTo>
                <a:lnTo>
                  <a:pt x="726" y="238"/>
                </a:lnTo>
                <a:lnTo>
                  <a:pt x="724" y="238"/>
                </a:lnTo>
                <a:lnTo>
                  <a:pt x="722" y="238"/>
                </a:lnTo>
                <a:lnTo>
                  <a:pt x="719" y="236"/>
                </a:lnTo>
                <a:lnTo>
                  <a:pt x="717" y="236"/>
                </a:lnTo>
                <a:lnTo>
                  <a:pt x="717" y="238"/>
                </a:lnTo>
                <a:lnTo>
                  <a:pt x="717" y="240"/>
                </a:lnTo>
                <a:lnTo>
                  <a:pt x="717" y="242"/>
                </a:lnTo>
                <a:lnTo>
                  <a:pt x="711" y="241"/>
                </a:lnTo>
                <a:lnTo>
                  <a:pt x="707" y="240"/>
                </a:lnTo>
                <a:lnTo>
                  <a:pt x="705" y="239"/>
                </a:lnTo>
                <a:lnTo>
                  <a:pt x="702" y="238"/>
                </a:lnTo>
                <a:lnTo>
                  <a:pt x="701" y="234"/>
                </a:lnTo>
                <a:lnTo>
                  <a:pt x="699" y="231"/>
                </a:lnTo>
                <a:lnTo>
                  <a:pt x="697" y="231"/>
                </a:lnTo>
                <a:lnTo>
                  <a:pt x="694" y="230"/>
                </a:lnTo>
                <a:lnTo>
                  <a:pt x="693" y="232"/>
                </a:lnTo>
                <a:lnTo>
                  <a:pt x="693" y="234"/>
                </a:lnTo>
                <a:lnTo>
                  <a:pt x="690" y="234"/>
                </a:lnTo>
                <a:lnTo>
                  <a:pt x="689" y="232"/>
                </a:lnTo>
                <a:lnTo>
                  <a:pt x="689" y="231"/>
                </a:lnTo>
                <a:lnTo>
                  <a:pt x="689" y="230"/>
                </a:lnTo>
                <a:lnTo>
                  <a:pt x="691" y="228"/>
                </a:lnTo>
                <a:lnTo>
                  <a:pt x="694" y="228"/>
                </a:lnTo>
                <a:lnTo>
                  <a:pt x="693" y="226"/>
                </a:lnTo>
                <a:lnTo>
                  <a:pt x="691" y="225"/>
                </a:lnTo>
                <a:lnTo>
                  <a:pt x="689" y="224"/>
                </a:lnTo>
                <a:lnTo>
                  <a:pt x="686" y="224"/>
                </a:lnTo>
                <a:lnTo>
                  <a:pt x="689" y="223"/>
                </a:lnTo>
                <a:lnTo>
                  <a:pt x="690" y="222"/>
                </a:lnTo>
                <a:lnTo>
                  <a:pt x="686" y="219"/>
                </a:lnTo>
                <a:lnTo>
                  <a:pt x="683" y="218"/>
                </a:lnTo>
                <a:lnTo>
                  <a:pt x="680" y="217"/>
                </a:lnTo>
                <a:lnTo>
                  <a:pt x="678" y="217"/>
                </a:lnTo>
                <a:lnTo>
                  <a:pt x="678" y="219"/>
                </a:lnTo>
                <a:lnTo>
                  <a:pt x="680" y="222"/>
                </a:lnTo>
                <a:lnTo>
                  <a:pt x="670" y="218"/>
                </a:lnTo>
                <a:lnTo>
                  <a:pt x="661" y="217"/>
                </a:lnTo>
                <a:lnTo>
                  <a:pt x="667" y="221"/>
                </a:lnTo>
                <a:lnTo>
                  <a:pt x="673" y="224"/>
                </a:lnTo>
                <a:lnTo>
                  <a:pt x="675" y="225"/>
                </a:lnTo>
                <a:lnTo>
                  <a:pt x="677" y="227"/>
                </a:lnTo>
                <a:lnTo>
                  <a:pt x="677" y="230"/>
                </a:lnTo>
                <a:lnTo>
                  <a:pt x="676" y="232"/>
                </a:lnTo>
                <a:lnTo>
                  <a:pt x="680" y="233"/>
                </a:lnTo>
                <a:lnTo>
                  <a:pt x="683" y="233"/>
                </a:lnTo>
                <a:lnTo>
                  <a:pt x="680" y="235"/>
                </a:lnTo>
                <a:lnTo>
                  <a:pt x="676" y="235"/>
                </a:lnTo>
                <a:lnTo>
                  <a:pt x="674" y="234"/>
                </a:lnTo>
                <a:lnTo>
                  <a:pt x="670" y="232"/>
                </a:lnTo>
                <a:lnTo>
                  <a:pt x="668" y="231"/>
                </a:lnTo>
                <a:lnTo>
                  <a:pt x="664" y="230"/>
                </a:lnTo>
                <a:lnTo>
                  <a:pt x="662" y="228"/>
                </a:lnTo>
                <a:lnTo>
                  <a:pt x="660" y="228"/>
                </a:lnTo>
                <a:lnTo>
                  <a:pt x="660" y="230"/>
                </a:lnTo>
                <a:lnTo>
                  <a:pt x="660" y="231"/>
                </a:lnTo>
                <a:lnTo>
                  <a:pt x="664" y="233"/>
                </a:lnTo>
                <a:lnTo>
                  <a:pt x="668" y="233"/>
                </a:lnTo>
                <a:lnTo>
                  <a:pt x="672" y="239"/>
                </a:lnTo>
                <a:lnTo>
                  <a:pt x="676" y="242"/>
                </a:lnTo>
                <a:lnTo>
                  <a:pt x="678" y="243"/>
                </a:lnTo>
                <a:lnTo>
                  <a:pt x="682" y="244"/>
                </a:lnTo>
                <a:lnTo>
                  <a:pt x="684" y="247"/>
                </a:lnTo>
                <a:lnTo>
                  <a:pt x="685" y="249"/>
                </a:lnTo>
                <a:lnTo>
                  <a:pt x="691" y="251"/>
                </a:lnTo>
                <a:lnTo>
                  <a:pt x="698" y="251"/>
                </a:lnTo>
                <a:lnTo>
                  <a:pt x="700" y="252"/>
                </a:lnTo>
                <a:lnTo>
                  <a:pt x="702" y="255"/>
                </a:lnTo>
                <a:lnTo>
                  <a:pt x="705" y="258"/>
                </a:lnTo>
                <a:lnTo>
                  <a:pt x="708" y="259"/>
                </a:lnTo>
                <a:lnTo>
                  <a:pt x="711" y="260"/>
                </a:lnTo>
                <a:lnTo>
                  <a:pt x="714" y="263"/>
                </a:lnTo>
                <a:lnTo>
                  <a:pt x="718" y="264"/>
                </a:lnTo>
                <a:lnTo>
                  <a:pt x="723" y="266"/>
                </a:lnTo>
                <a:lnTo>
                  <a:pt x="725" y="267"/>
                </a:lnTo>
                <a:lnTo>
                  <a:pt x="725" y="268"/>
                </a:lnTo>
                <a:lnTo>
                  <a:pt x="724" y="269"/>
                </a:lnTo>
                <a:lnTo>
                  <a:pt x="722" y="271"/>
                </a:lnTo>
                <a:lnTo>
                  <a:pt x="719" y="268"/>
                </a:lnTo>
                <a:lnTo>
                  <a:pt x="717" y="267"/>
                </a:lnTo>
                <a:lnTo>
                  <a:pt x="714" y="267"/>
                </a:lnTo>
                <a:lnTo>
                  <a:pt x="710" y="266"/>
                </a:lnTo>
                <a:lnTo>
                  <a:pt x="709" y="264"/>
                </a:lnTo>
                <a:lnTo>
                  <a:pt x="708" y="263"/>
                </a:lnTo>
                <a:lnTo>
                  <a:pt x="706" y="261"/>
                </a:lnTo>
                <a:lnTo>
                  <a:pt x="703" y="260"/>
                </a:lnTo>
                <a:lnTo>
                  <a:pt x="694" y="257"/>
                </a:lnTo>
                <a:lnTo>
                  <a:pt x="685" y="252"/>
                </a:lnTo>
                <a:lnTo>
                  <a:pt x="678" y="249"/>
                </a:lnTo>
                <a:lnTo>
                  <a:pt x="670" y="247"/>
                </a:lnTo>
                <a:lnTo>
                  <a:pt x="666" y="246"/>
                </a:lnTo>
                <a:lnTo>
                  <a:pt x="662" y="246"/>
                </a:lnTo>
                <a:lnTo>
                  <a:pt x="659" y="243"/>
                </a:lnTo>
                <a:lnTo>
                  <a:pt x="657" y="241"/>
                </a:lnTo>
                <a:lnTo>
                  <a:pt x="655" y="239"/>
                </a:lnTo>
                <a:lnTo>
                  <a:pt x="652" y="239"/>
                </a:lnTo>
                <a:lnTo>
                  <a:pt x="650" y="238"/>
                </a:lnTo>
                <a:lnTo>
                  <a:pt x="648" y="235"/>
                </a:lnTo>
                <a:lnTo>
                  <a:pt x="645" y="234"/>
                </a:lnTo>
                <a:lnTo>
                  <a:pt x="643" y="232"/>
                </a:lnTo>
                <a:lnTo>
                  <a:pt x="639" y="232"/>
                </a:lnTo>
                <a:lnTo>
                  <a:pt x="634" y="231"/>
                </a:lnTo>
                <a:lnTo>
                  <a:pt x="618" y="222"/>
                </a:lnTo>
                <a:lnTo>
                  <a:pt x="601" y="214"/>
                </a:lnTo>
                <a:lnTo>
                  <a:pt x="598" y="211"/>
                </a:lnTo>
                <a:lnTo>
                  <a:pt x="593" y="211"/>
                </a:lnTo>
                <a:lnTo>
                  <a:pt x="593" y="214"/>
                </a:lnTo>
                <a:lnTo>
                  <a:pt x="593" y="216"/>
                </a:lnTo>
                <a:lnTo>
                  <a:pt x="595" y="217"/>
                </a:lnTo>
                <a:lnTo>
                  <a:pt x="598" y="218"/>
                </a:lnTo>
                <a:lnTo>
                  <a:pt x="601" y="221"/>
                </a:lnTo>
                <a:lnTo>
                  <a:pt x="603" y="225"/>
                </a:lnTo>
                <a:lnTo>
                  <a:pt x="600" y="225"/>
                </a:lnTo>
                <a:lnTo>
                  <a:pt x="596" y="225"/>
                </a:lnTo>
                <a:lnTo>
                  <a:pt x="595" y="226"/>
                </a:lnTo>
                <a:lnTo>
                  <a:pt x="593" y="228"/>
                </a:lnTo>
                <a:lnTo>
                  <a:pt x="592" y="226"/>
                </a:lnTo>
                <a:lnTo>
                  <a:pt x="593" y="224"/>
                </a:lnTo>
                <a:lnTo>
                  <a:pt x="591" y="223"/>
                </a:lnTo>
                <a:lnTo>
                  <a:pt x="587" y="222"/>
                </a:lnTo>
                <a:lnTo>
                  <a:pt x="582" y="216"/>
                </a:lnTo>
                <a:lnTo>
                  <a:pt x="575" y="211"/>
                </a:lnTo>
                <a:lnTo>
                  <a:pt x="574" y="211"/>
                </a:lnTo>
                <a:lnTo>
                  <a:pt x="573" y="213"/>
                </a:lnTo>
                <a:lnTo>
                  <a:pt x="573" y="217"/>
                </a:lnTo>
                <a:lnTo>
                  <a:pt x="573" y="222"/>
                </a:lnTo>
                <a:lnTo>
                  <a:pt x="570" y="221"/>
                </a:lnTo>
                <a:lnTo>
                  <a:pt x="569" y="221"/>
                </a:lnTo>
                <a:lnTo>
                  <a:pt x="569" y="218"/>
                </a:lnTo>
                <a:lnTo>
                  <a:pt x="568" y="217"/>
                </a:lnTo>
                <a:lnTo>
                  <a:pt x="568" y="216"/>
                </a:lnTo>
                <a:lnTo>
                  <a:pt x="566" y="215"/>
                </a:lnTo>
                <a:lnTo>
                  <a:pt x="565" y="215"/>
                </a:lnTo>
                <a:lnTo>
                  <a:pt x="563" y="217"/>
                </a:lnTo>
                <a:lnTo>
                  <a:pt x="562" y="216"/>
                </a:lnTo>
                <a:lnTo>
                  <a:pt x="560" y="216"/>
                </a:lnTo>
                <a:lnTo>
                  <a:pt x="559" y="217"/>
                </a:lnTo>
                <a:lnTo>
                  <a:pt x="560" y="219"/>
                </a:lnTo>
                <a:lnTo>
                  <a:pt x="562" y="221"/>
                </a:lnTo>
                <a:lnTo>
                  <a:pt x="566" y="224"/>
                </a:lnTo>
                <a:lnTo>
                  <a:pt x="566" y="226"/>
                </a:lnTo>
                <a:lnTo>
                  <a:pt x="565" y="227"/>
                </a:lnTo>
                <a:lnTo>
                  <a:pt x="565" y="228"/>
                </a:lnTo>
                <a:lnTo>
                  <a:pt x="567" y="230"/>
                </a:lnTo>
                <a:lnTo>
                  <a:pt x="569" y="230"/>
                </a:lnTo>
                <a:lnTo>
                  <a:pt x="573" y="230"/>
                </a:lnTo>
                <a:lnTo>
                  <a:pt x="574" y="231"/>
                </a:lnTo>
                <a:lnTo>
                  <a:pt x="575" y="232"/>
                </a:lnTo>
                <a:lnTo>
                  <a:pt x="578" y="236"/>
                </a:lnTo>
                <a:lnTo>
                  <a:pt x="582" y="239"/>
                </a:lnTo>
                <a:lnTo>
                  <a:pt x="586" y="241"/>
                </a:lnTo>
                <a:lnTo>
                  <a:pt x="591" y="242"/>
                </a:lnTo>
                <a:lnTo>
                  <a:pt x="603" y="251"/>
                </a:lnTo>
                <a:lnTo>
                  <a:pt x="616" y="259"/>
                </a:lnTo>
                <a:lnTo>
                  <a:pt x="620" y="261"/>
                </a:lnTo>
                <a:lnTo>
                  <a:pt x="624" y="264"/>
                </a:lnTo>
                <a:lnTo>
                  <a:pt x="626" y="266"/>
                </a:lnTo>
                <a:lnTo>
                  <a:pt x="627" y="266"/>
                </a:lnTo>
                <a:lnTo>
                  <a:pt x="627" y="265"/>
                </a:lnTo>
                <a:lnTo>
                  <a:pt x="627" y="264"/>
                </a:lnTo>
                <a:lnTo>
                  <a:pt x="624" y="258"/>
                </a:lnTo>
                <a:lnTo>
                  <a:pt x="619" y="255"/>
                </a:lnTo>
                <a:lnTo>
                  <a:pt x="616" y="255"/>
                </a:lnTo>
                <a:lnTo>
                  <a:pt x="614" y="255"/>
                </a:lnTo>
                <a:lnTo>
                  <a:pt x="614" y="254"/>
                </a:lnTo>
                <a:lnTo>
                  <a:pt x="614" y="251"/>
                </a:lnTo>
                <a:lnTo>
                  <a:pt x="612" y="250"/>
                </a:lnTo>
                <a:lnTo>
                  <a:pt x="609" y="249"/>
                </a:lnTo>
                <a:lnTo>
                  <a:pt x="606" y="247"/>
                </a:lnTo>
                <a:lnTo>
                  <a:pt x="603" y="243"/>
                </a:lnTo>
                <a:lnTo>
                  <a:pt x="599" y="241"/>
                </a:lnTo>
                <a:lnTo>
                  <a:pt x="594" y="240"/>
                </a:lnTo>
                <a:lnTo>
                  <a:pt x="592" y="236"/>
                </a:lnTo>
                <a:lnTo>
                  <a:pt x="591" y="232"/>
                </a:lnTo>
                <a:lnTo>
                  <a:pt x="600" y="238"/>
                </a:lnTo>
                <a:lnTo>
                  <a:pt x="610" y="241"/>
                </a:lnTo>
                <a:lnTo>
                  <a:pt x="615" y="242"/>
                </a:lnTo>
                <a:lnTo>
                  <a:pt x="617" y="244"/>
                </a:lnTo>
                <a:lnTo>
                  <a:pt x="616" y="246"/>
                </a:lnTo>
                <a:lnTo>
                  <a:pt x="616" y="248"/>
                </a:lnTo>
                <a:lnTo>
                  <a:pt x="616" y="250"/>
                </a:lnTo>
                <a:lnTo>
                  <a:pt x="618" y="252"/>
                </a:lnTo>
                <a:lnTo>
                  <a:pt x="624" y="252"/>
                </a:lnTo>
                <a:lnTo>
                  <a:pt x="629" y="254"/>
                </a:lnTo>
                <a:lnTo>
                  <a:pt x="629" y="257"/>
                </a:lnTo>
                <a:lnTo>
                  <a:pt x="632" y="259"/>
                </a:lnTo>
                <a:lnTo>
                  <a:pt x="634" y="260"/>
                </a:lnTo>
                <a:lnTo>
                  <a:pt x="637" y="260"/>
                </a:lnTo>
                <a:lnTo>
                  <a:pt x="636" y="257"/>
                </a:lnTo>
                <a:lnTo>
                  <a:pt x="635" y="255"/>
                </a:lnTo>
                <a:lnTo>
                  <a:pt x="633" y="254"/>
                </a:lnTo>
                <a:lnTo>
                  <a:pt x="629" y="254"/>
                </a:lnTo>
                <a:lnTo>
                  <a:pt x="631" y="251"/>
                </a:lnTo>
                <a:lnTo>
                  <a:pt x="633" y="251"/>
                </a:lnTo>
                <a:lnTo>
                  <a:pt x="635" y="251"/>
                </a:lnTo>
                <a:lnTo>
                  <a:pt x="637" y="254"/>
                </a:lnTo>
                <a:lnTo>
                  <a:pt x="641" y="258"/>
                </a:lnTo>
                <a:lnTo>
                  <a:pt x="645" y="261"/>
                </a:lnTo>
                <a:lnTo>
                  <a:pt x="658" y="263"/>
                </a:lnTo>
                <a:lnTo>
                  <a:pt x="672" y="263"/>
                </a:lnTo>
                <a:lnTo>
                  <a:pt x="667" y="260"/>
                </a:lnTo>
                <a:lnTo>
                  <a:pt x="664" y="258"/>
                </a:lnTo>
                <a:lnTo>
                  <a:pt x="664" y="256"/>
                </a:lnTo>
                <a:lnTo>
                  <a:pt x="666" y="255"/>
                </a:lnTo>
                <a:lnTo>
                  <a:pt x="668" y="255"/>
                </a:lnTo>
                <a:lnTo>
                  <a:pt x="669" y="256"/>
                </a:lnTo>
                <a:lnTo>
                  <a:pt x="673" y="257"/>
                </a:lnTo>
                <a:lnTo>
                  <a:pt x="675" y="259"/>
                </a:lnTo>
                <a:lnTo>
                  <a:pt x="674" y="260"/>
                </a:lnTo>
                <a:lnTo>
                  <a:pt x="673" y="261"/>
                </a:lnTo>
                <a:lnTo>
                  <a:pt x="669" y="265"/>
                </a:lnTo>
                <a:lnTo>
                  <a:pt x="667" y="268"/>
                </a:lnTo>
                <a:lnTo>
                  <a:pt x="669" y="272"/>
                </a:lnTo>
                <a:lnTo>
                  <a:pt x="673" y="274"/>
                </a:lnTo>
                <a:lnTo>
                  <a:pt x="674" y="276"/>
                </a:lnTo>
                <a:lnTo>
                  <a:pt x="675" y="279"/>
                </a:lnTo>
                <a:lnTo>
                  <a:pt x="675" y="281"/>
                </a:lnTo>
                <a:lnTo>
                  <a:pt x="676" y="282"/>
                </a:lnTo>
                <a:lnTo>
                  <a:pt x="680" y="283"/>
                </a:lnTo>
                <a:lnTo>
                  <a:pt x="682" y="284"/>
                </a:lnTo>
                <a:lnTo>
                  <a:pt x="683" y="286"/>
                </a:lnTo>
                <a:lnTo>
                  <a:pt x="685" y="288"/>
                </a:lnTo>
                <a:lnTo>
                  <a:pt x="688" y="288"/>
                </a:lnTo>
                <a:lnTo>
                  <a:pt x="690" y="288"/>
                </a:lnTo>
                <a:lnTo>
                  <a:pt x="693" y="288"/>
                </a:lnTo>
                <a:lnTo>
                  <a:pt x="698" y="290"/>
                </a:lnTo>
                <a:lnTo>
                  <a:pt x="694" y="292"/>
                </a:lnTo>
                <a:lnTo>
                  <a:pt x="691" y="293"/>
                </a:lnTo>
                <a:lnTo>
                  <a:pt x="688" y="292"/>
                </a:lnTo>
                <a:lnTo>
                  <a:pt x="684" y="290"/>
                </a:lnTo>
                <a:lnTo>
                  <a:pt x="680" y="289"/>
                </a:lnTo>
                <a:lnTo>
                  <a:pt x="675" y="286"/>
                </a:lnTo>
                <a:lnTo>
                  <a:pt x="673" y="284"/>
                </a:lnTo>
                <a:lnTo>
                  <a:pt x="672" y="283"/>
                </a:lnTo>
                <a:lnTo>
                  <a:pt x="670" y="281"/>
                </a:lnTo>
                <a:lnTo>
                  <a:pt x="669" y="280"/>
                </a:lnTo>
                <a:lnTo>
                  <a:pt x="667" y="281"/>
                </a:lnTo>
                <a:lnTo>
                  <a:pt x="665" y="281"/>
                </a:lnTo>
                <a:lnTo>
                  <a:pt x="660" y="280"/>
                </a:lnTo>
                <a:lnTo>
                  <a:pt x="656" y="276"/>
                </a:lnTo>
                <a:lnTo>
                  <a:pt x="644" y="271"/>
                </a:lnTo>
                <a:lnTo>
                  <a:pt x="633" y="264"/>
                </a:lnTo>
                <a:lnTo>
                  <a:pt x="634" y="267"/>
                </a:lnTo>
                <a:lnTo>
                  <a:pt x="634" y="269"/>
                </a:lnTo>
                <a:lnTo>
                  <a:pt x="636" y="271"/>
                </a:lnTo>
                <a:lnTo>
                  <a:pt x="639" y="272"/>
                </a:lnTo>
                <a:lnTo>
                  <a:pt x="642" y="273"/>
                </a:lnTo>
                <a:lnTo>
                  <a:pt x="645" y="274"/>
                </a:lnTo>
                <a:lnTo>
                  <a:pt x="651" y="280"/>
                </a:lnTo>
                <a:lnTo>
                  <a:pt x="657" y="285"/>
                </a:lnTo>
                <a:lnTo>
                  <a:pt x="655" y="285"/>
                </a:lnTo>
                <a:lnTo>
                  <a:pt x="652" y="285"/>
                </a:lnTo>
                <a:lnTo>
                  <a:pt x="656" y="289"/>
                </a:lnTo>
                <a:lnTo>
                  <a:pt x="659" y="293"/>
                </a:lnTo>
                <a:lnTo>
                  <a:pt x="658" y="293"/>
                </a:lnTo>
                <a:lnTo>
                  <a:pt x="657" y="293"/>
                </a:lnTo>
                <a:lnTo>
                  <a:pt x="656" y="294"/>
                </a:lnTo>
                <a:lnTo>
                  <a:pt x="657" y="296"/>
                </a:lnTo>
                <a:lnTo>
                  <a:pt x="664" y="298"/>
                </a:lnTo>
                <a:lnTo>
                  <a:pt x="670" y="299"/>
                </a:lnTo>
                <a:lnTo>
                  <a:pt x="667" y="296"/>
                </a:lnTo>
                <a:lnTo>
                  <a:pt x="662" y="292"/>
                </a:lnTo>
                <a:lnTo>
                  <a:pt x="659" y="288"/>
                </a:lnTo>
                <a:lnTo>
                  <a:pt x="659" y="284"/>
                </a:lnTo>
                <a:lnTo>
                  <a:pt x="668" y="289"/>
                </a:lnTo>
                <a:lnTo>
                  <a:pt x="678" y="294"/>
                </a:lnTo>
                <a:lnTo>
                  <a:pt x="681" y="296"/>
                </a:lnTo>
                <a:lnTo>
                  <a:pt x="684" y="298"/>
                </a:lnTo>
                <a:lnTo>
                  <a:pt x="685" y="300"/>
                </a:lnTo>
                <a:lnTo>
                  <a:pt x="688" y="304"/>
                </a:lnTo>
                <a:lnTo>
                  <a:pt x="690" y="302"/>
                </a:lnTo>
                <a:lnTo>
                  <a:pt x="692" y="301"/>
                </a:lnTo>
                <a:lnTo>
                  <a:pt x="694" y="301"/>
                </a:lnTo>
                <a:lnTo>
                  <a:pt x="698" y="302"/>
                </a:lnTo>
                <a:lnTo>
                  <a:pt x="702" y="302"/>
                </a:lnTo>
                <a:lnTo>
                  <a:pt x="707" y="302"/>
                </a:lnTo>
                <a:lnTo>
                  <a:pt x="705" y="300"/>
                </a:lnTo>
                <a:lnTo>
                  <a:pt x="702" y="298"/>
                </a:lnTo>
                <a:lnTo>
                  <a:pt x="700" y="296"/>
                </a:lnTo>
                <a:lnTo>
                  <a:pt x="700" y="292"/>
                </a:lnTo>
                <a:lnTo>
                  <a:pt x="710" y="299"/>
                </a:lnTo>
                <a:lnTo>
                  <a:pt x="722" y="306"/>
                </a:lnTo>
                <a:lnTo>
                  <a:pt x="718" y="305"/>
                </a:lnTo>
                <a:lnTo>
                  <a:pt x="713" y="304"/>
                </a:lnTo>
                <a:lnTo>
                  <a:pt x="710" y="302"/>
                </a:lnTo>
                <a:lnTo>
                  <a:pt x="708" y="302"/>
                </a:lnTo>
                <a:lnTo>
                  <a:pt x="707" y="304"/>
                </a:lnTo>
                <a:lnTo>
                  <a:pt x="706" y="305"/>
                </a:lnTo>
                <a:lnTo>
                  <a:pt x="711" y="308"/>
                </a:lnTo>
                <a:lnTo>
                  <a:pt x="717" y="311"/>
                </a:lnTo>
                <a:lnTo>
                  <a:pt x="715" y="311"/>
                </a:lnTo>
                <a:lnTo>
                  <a:pt x="713" y="313"/>
                </a:lnTo>
                <a:lnTo>
                  <a:pt x="716" y="315"/>
                </a:lnTo>
                <a:lnTo>
                  <a:pt x="719" y="316"/>
                </a:lnTo>
                <a:lnTo>
                  <a:pt x="723" y="316"/>
                </a:lnTo>
                <a:lnTo>
                  <a:pt x="727" y="316"/>
                </a:lnTo>
                <a:lnTo>
                  <a:pt x="725" y="317"/>
                </a:lnTo>
                <a:lnTo>
                  <a:pt x="724" y="318"/>
                </a:lnTo>
                <a:lnTo>
                  <a:pt x="723" y="319"/>
                </a:lnTo>
                <a:lnTo>
                  <a:pt x="722" y="322"/>
                </a:lnTo>
                <a:lnTo>
                  <a:pt x="716" y="321"/>
                </a:lnTo>
                <a:lnTo>
                  <a:pt x="710" y="318"/>
                </a:lnTo>
                <a:lnTo>
                  <a:pt x="703" y="315"/>
                </a:lnTo>
                <a:lnTo>
                  <a:pt x="698" y="311"/>
                </a:lnTo>
                <a:lnTo>
                  <a:pt x="691" y="309"/>
                </a:lnTo>
                <a:lnTo>
                  <a:pt x="684" y="306"/>
                </a:lnTo>
                <a:lnTo>
                  <a:pt x="680" y="304"/>
                </a:lnTo>
                <a:lnTo>
                  <a:pt x="675" y="302"/>
                </a:lnTo>
                <a:lnTo>
                  <a:pt x="674" y="306"/>
                </a:lnTo>
                <a:lnTo>
                  <a:pt x="674" y="310"/>
                </a:lnTo>
                <a:lnTo>
                  <a:pt x="675" y="313"/>
                </a:lnTo>
                <a:lnTo>
                  <a:pt x="677" y="313"/>
                </a:lnTo>
                <a:lnTo>
                  <a:pt x="677" y="311"/>
                </a:lnTo>
                <a:lnTo>
                  <a:pt x="676" y="309"/>
                </a:lnTo>
                <a:lnTo>
                  <a:pt x="677" y="308"/>
                </a:lnTo>
                <a:lnTo>
                  <a:pt x="678" y="307"/>
                </a:lnTo>
                <a:lnTo>
                  <a:pt x="678" y="307"/>
                </a:lnTo>
                <a:lnTo>
                  <a:pt x="680" y="308"/>
                </a:lnTo>
                <a:lnTo>
                  <a:pt x="681" y="311"/>
                </a:lnTo>
                <a:lnTo>
                  <a:pt x="682" y="314"/>
                </a:lnTo>
                <a:lnTo>
                  <a:pt x="689" y="318"/>
                </a:lnTo>
                <a:lnTo>
                  <a:pt x="697" y="321"/>
                </a:lnTo>
                <a:lnTo>
                  <a:pt x="698" y="322"/>
                </a:lnTo>
                <a:lnTo>
                  <a:pt x="700" y="325"/>
                </a:lnTo>
                <a:lnTo>
                  <a:pt x="701" y="327"/>
                </a:lnTo>
                <a:lnTo>
                  <a:pt x="702" y="327"/>
                </a:lnTo>
                <a:lnTo>
                  <a:pt x="703" y="327"/>
                </a:lnTo>
                <a:lnTo>
                  <a:pt x="705" y="326"/>
                </a:lnTo>
                <a:lnTo>
                  <a:pt x="702" y="324"/>
                </a:lnTo>
                <a:lnTo>
                  <a:pt x="701" y="322"/>
                </a:lnTo>
                <a:lnTo>
                  <a:pt x="701" y="319"/>
                </a:lnTo>
                <a:lnTo>
                  <a:pt x="703" y="319"/>
                </a:lnTo>
                <a:lnTo>
                  <a:pt x="706" y="321"/>
                </a:lnTo>
                <a:lnTo>
                  <a:pt x="708" y="323"/>
                </a:lnTo>
                <a:lnTo>
                  <a:pt x="713" y="327"/>
                </a:lnTo>
                <a:lnTo>
                  <a:pt x="715" y="330"/>
                </a:lnTo>
                <a:lnTo>
                  <a:pt x="717" y="330"/>
                </a:lnTo>
                <a:lnTo>
                  <a:pt x="719" y="330"/>
                </a:lnTo>
                <a:lnTo>
                  <a:pt x="719" y="330"/>
                </a:lnTo>
                <a:lnTo>
                  <a:pt x="721" y="331"/>
                </a:lnTo>
                <a:lnTo>
                  <a:pt x="722" y="332"/>
                </a:lnTo>
                <a:lnTo>
                  <a:pt x="724" y="332"/>
                </a:lnTo>
                <a:lnTo>
                  <a:pt x="731" y="334"/>
                </a:lnTo>
                <a:lnTo>
                  <a:pt x="739" y="338"/>
                </a:lnTo>
                <a:lnTo>
                  <a:pt x="733" y="339"/>
                </a:lnTo>
                <a:lnTo>
                  <a:pt x="727" y="339"/>
                </a:lnTo>
                <a:lnTo>
                  <a:pt x="723" y="337"/>
                </a:lnTo>
                <a:lnTo>
                  <a:pt x="718" y="335"/>
                </a:lnTo>
                <a:lnTo>
                  <a:pt x="708" y="331"/>
                </a:lnTo>
                <a:lnTo>
                  <a:pt x="698" y="327"/>
                </a:lnTo>
                <a:lnTo>
                  <a:pt x="689" y="324"/>
                </a:lnTo>
                <a:lnTo>
                  <a:pt x="680" y="321"/>
                </a:lnTo>
                <a:lnTo>
                  <a:pt x="670" y="316"/>
                </a:lnTo>
                <a:lnTo>
                  <a:pt x="661" y="311"/>
                </a:lnTo>
                <a:lnTo>
                  <a:pt x="658" y="309"/>
                </a:lnTo>
                <a:lnTo>
                  <a:pt x="653" y="307"/>
                </a:lnTo>
                <a:lnTo>
                  <a:pt x="652" y="307"/>
                </a:lnTo>
                <a:lnTo>
                  <a:pt x="650" y="307"/>
                </a:lnTo>
                <a:lnTo>
                  <a:pt x="649" y="308"/>
                </a:lnTo>
                <a:lnTo>
                  <a:pt x="648" y="310"/>
                </a:lnTo>
                <a:lnTo>
                  <a:pt x="648" y="313"/>
                </a:lnTo>
                <a:lnTo>
                  <a:pt x="650" y="316"/>
                </a:lnTo>
                <a:lnTo>
                  <a:pt x="651" y="319"/>
                </a:lnTo>
                <a:lnTo>
                  <a:pt x="651" y="323"/>
                </a:lnTo>
                <a:lnTo>
                  <a:pt x="650" y="325"/>
                </a:lnTo>
                <a:lnTo>
                  <a:pt x="651" y="326"/>
                </a:lnTo>
                <a:lnTo>
                  <a:pt x="653" y="327"/>
                </a:lnTo>
                <a:lnTo>
                  <a:pt x="656" y="326"/>
                </a:lnTo>
                <a:lnTo>
                  <a:pt x="657" y="324"/>
                </a:lnTo>
                <a:lnTo>
                  <a:pt x="658" y="323"/>
                </a:lnTo>
                <a:lnTo>
                  <a:pt x="661" y="329"/>
                </a:lnTo>
                <a:lnTo>
                  <a:pt x="664" y="334"/>
                </a:lnTo>
                <a:lnTo>
                  <a:pt x="660" y="335"/>
                </a:lnTo>
                <a:lnTo>
                  <a:pt x="656" y="335"/>
                </a:lnTo>
                <a:lnTo>
                  <a:pt x="652" y="333"/>
                </a:lnTo>
                <a:lnTo>
                  <a:pt x="649" y="331"/>
                </a:lnTo>
                <a:lnTo>
                  <a:pt x="648" y="329"/>
                </a:lnTo>
                <a:lnTo>
                  <a:pt x="648" y="327"/>
                </a:lnTo>
                <a:lnTo>
                  <a:pt x="647" y="326"/>
                </a:lnTo>
                <a:lnTo>
                  <a:pt x="644" y="327"/>
                </a:lnTo>
                <a:lnTo>
                  <a:pt x="644" y="329"/>
                </a:lnTo>
                <a:lnTo>
                  <a:pt x="643" y="330"/>
                </a:lnTo>
                <a:lnTo>
                  <a:pt x="640" y="330"/>
                </a:lnTo>
                <a:lnTo>
                  <a:pt x="636" y="329"/>
                </a:lnTo>
                <a:lnTo>
                  <a:pt x="633" y="327"/>
                </a:lnTo>
                <a:lnTo>
                  <a:pt x="628" y="326"/>
                </a:lnTo>
                <a:lnTo>
                  <a:pt x="624" y="324"/>
                </a:lnTo>
                <a:lnTo>
                  <a:pt x="622" y="322"/>
                </a:lnTo>
                <a:lnTo>
                  <a:pt x="624" y="319"/>
                </a:lnTo>
                <a:lnTo>
                  <a:pt x="624" y="317"/>
                </a:lnTo>
                <a:lnTo>
                  <a:pt x="622" y="315"/>
                </a:lnTo>
                <a:lnTo>
                  <a:pt x="620" y="313"/>
                </a:lnTo>
                <a:lnTo>
                  <a:pt x="620" y="314"/>
                </a:lnTo>
                <a:lnTo>
                  <a:pt x="620" y="313"/>
                </a:lnTo>
                <a:lnTo>
                  <a:pt x="619" y="311"/>
                </a:lnTo>
                <a:lnTo>
                  <a:pt x="618" y="310"/>
                </a:lnTo>
                <a:lnTo>
                  <a:pt x="617" y="310"/>
                </a:lnTo>
                <a:lnTo>
                  <a:pt x="616" y="310"/>
                </a:lnTo>
                <a:lnTo>
                  <a:pt x="614" y="311"/>
                </a:lnTo>
                <a:lnTo>
                  <a:pt x="610" y="313"/>
                </a:lnTo>
                <a:lnTo>
                  <a:pt x="612" y="314"/>
                </a:lnTo>
                <a:lnTo>
                  <a:pt x="616" y="313"/>
                </a:lnTo>
                <a:lnTo>
                  <a:pt x="618" y="315"/>
                </a:lnTo>
                <a:lnTo>
                  <a:pt x="620" y="316"/>
                </a:lnTo>
                <a:lnTo>
                  <a:pt x="622" y="319"/>
                </a:lnTo>
                <a:lnTo>
                  <a:pt x="622" y="322"/>
                </a:lnTo>
                <a:lnTo>
                  <a:pt x="622" y="322"/>
                </a:lnTo>
                <a:lnTo>
                  <a:pt x="622" y="323"/>
                </a:lnTo>
                <a:lnTo>
                  <a:pt x="612" y="318"/>
                </a:lnTo>
                <a:lnTo>
                  <a:pt x="602" y="314"/>
                </a:lnTo>
                <a:lnTo>
                  <a:pt x="593" y="309"/>
                </a:lnTo>
                <a:lnTo>
                  <a:pt x="584" y="306"/>
                </a:lnTo>
                <a:lnTo>
                  <a:pt x="575" y="301"/>
                </a:lnTo>
                <a:lnTo>
                  <a:pt x="567" y="297"/>
                </a:lnTo>
                <a:lnTo>
                  <a:pt x="560" y="293"/>
                </a:lnTo>
                <a:lnTo>
                  <a:pt x="552" y="290"/>
                </a:lnTo>
                <a:lnTo>
                  <a:pt x="549" y="291"/>
                </a:lnTo>
                <a:lnTo>
                  <a:pt x="545" y="290"/>
                </a:lnTo>
                <a:lnTo>
                  <a:pt x="542" y="288"/>
                </a:lnTo>
                <a:lnTo>
                  <a:pt x="540" y="285"/>
                </a:lnTo>
                <a:lnTo>
                  <a:pt x="532" y="282"/>
                </a:lnTo>
                <a:lnTo>
                  <a:pt x="524" y="279"/>
                </a:lnTo>
                <a:lnTo>
                  <a:pt x="520" y="276"/>
                </a:lnTo>
                <a:lnTo>
                  <a:pt x="517" y="274"/>
                </a:lnTo>
                <a:lnTo>
                  <a:pt x="513" y="275"/>
                </a:lnTo>
                <a:lnTo>
                  <a:pt x="509" y="276"/>
                </a:lnTo>
                <a:lnTo>
                  <a:pt x="505" y="279"/>
                </a:lnTo>
                <a:lnTo>
                  <a:pt x="502" y="280"/>
                </a:lnTo>
                <a:lnTo>
                  <a:pt x="499" y="280"/>
                </a:lnTo>
                <a:lnTo>
                  <a:pt x="495" y="279"/>
                </a:lnTo>
                <a:lnTo>
                  <a:pt x="493" y="279"/>
                </a:lnTo>
                <a:lnTo>
                  <a:pt x="492" y="279"/>
                </a:lnTo>
                <a:lnTo>
                  <a:pt x="491" y="280"/>
                </a:lnTo>
                <a:lnTo>
                  <a:pt x="491" y="281"/>
                </a:lnTo>
                <a:lnTo>
                  <a:pt x="495" y="282"/>
                </a:lnTo>
                <a:lnTo>
                  <a:pt x="500" y="283"/>
                </a:lnTo>
                <a:lnTo>
                  <a:pt x="503" y="284"/>
                </a:lnTo>
                <a:lnTo>
                  <a:pt x="505" y="283"/>
                </a:lnTo>
                <a:lnTo>
                  <a:pt x="508" y="282"/>
                </a:lnTo>
                <a:lnTo>
                  <a:pt x="510" y="282"/>
                </a:lnTo>
                <a:lnTo>
                  <a:pt x="512" y="283"/>
                </a:lnTo>
                <a:lnTo>
                  <a:pt x="511" y="284"/>
                </a:lnTo>
                <a:lnTo>
                  <a:pt x="511" y="286"/>
                </a:lnTo>
                <a:lnTo>
                  <a:pt x="510" y="288"/>
                </a:lnTo>
                <a:lnTo>
                  <a:pt x="515" y="291"/>
                </a:lnTo>
                <a:lnTo>
                  <a:pt x="521" y="293"/>
                </a:lnTo>
                <a:lnTo>
                  <a:pt x="524" y="293"/>
                </a:lnTo>
                <a:lnTo>
                  <a:pt x="526" y="294"/>
                </a:lnTo>
                <a:lnTo>
                  <a:pt x="526" y="296"/>
                </a:lnTo>
                <a:lnTo>
                  <a:pt x="527" y="297"/>
                </a:lnTo>
                <a:lnTo>
                  <a:pt x="532" y="297"/>
                </a:lnTo>
                <a:lnTo>
                  <a:pt x="536" y="297"/>
                </a:lnTo>
                <a:lnTo>
                  <a:pt x="544" y="299"/>
                </a:lnTo>
                <a:lnTo>
                  <a:pt x="552" y="304"/>
                </a:lnTo>
                <a:lnTo>
                  <a:pt x="544" y="302"/>
                </a:lnTo>
                <a:lnTo>
                  <a:pt x="538" y="300"/>
                </a:lnTo>
                <a:lnTo>
                  <a:pt x="537" y="301"/>
                </a:lnTo>
                <a:lnTo>
                  <a:pt x="537" y="304"/>
                </a:lnTo>
                <a:lnTo>
                  <a:pt x="538" y="305"/>
                </a:lnTo>
                <a:lnTo>
                  <a:pt x="540" y="306"/>
                </a:lnTo>
                <a:lnTo>
                  <a:pt x="544" y="307"/>
                </a:lnTo>
                <a:lnTo>
                  <a:pt x="546" y="308"/>
                </a:lnTo>
                <a:lnTo>
                  <a:pt x="553" y="311"/>
                </a:lnTo>
                <a:lnTo>
                  <a:pt x="558" y="316"/>
                </a:lnTo>
                <a:lnTo>
                  <a:pt x="567" y="321"/>
                </a:lnTo>
                <a:lnTo>
                  <a:pt x="577" y="325"/>
                </a:lnTo>
                <a:lnTo>
                  <a:pt x="587" y="330"/>
                </a:lnTo>
                <a:lnTo>
                  <a:pt x="596" y="334"/>
                </a:lnTo>
                <a:lnTo>
                  <a:pt x="600" y="337"/>
                </a:lnTo>
                <a:lnTo>
                  <a:pt x="603" y="339"/>
                </a:lnTo>
                <a:lnTo>
                  <a:pt x="609" y="340"/>
                </a:lnTo>
                <a:lnTo>
                  <a:pt x="615" y="341"/>
                </a:lnTo>
                <a:lnTo>
                  <a:pt x="618" y="343"/>
                </a:lnTo>
                <a:lnTo>
                  <a:pt x="620" y="344"/>
                </a:lnTo>
                <a:lnTo>
                  <a:pt x="625" y="346"/>
                </a:lnTo>
                <a:lnTo>
                  <a:pt x="628" y="347"/>
                </a:lnTo>
                <a:lnTo>
                  <a:pt x="629" y="349"/>
                </a:lnTo>
                <a:lnTo>
                  <a:pt x="629" y="351"/>
                </a:lnTo>
                <a:lnTo>
                  <a:pt x="632" y="354"/>
                </a:lnTo>
                <a:lnTo>
                  <a:pt x="634" y="355"/>
                </a:lnTo>
                <a:lnTo>
                  <a:pt x="635" y="357"/>
                </a:lnTo>
                <a:lnTo>
                  <a:pt x="635" y="358"/>
                </a:lnTo>
                <a:lnTo>
                  <a:pt x="635" y="358"/>
                </a:lnTo>
                <a:lnTo>
                  <a:pt x="634" y="359"/>
                </a:lnTo>
                <a:lnTo>
                  <a:pt x="632" y="358"/>
                </a:lnTo>
                <a:lnTo>
                  <a:pt x="628" y="357"/>
                </a:lnTo>
                <a:lnTo>
                  <a:pt x="617" y="354"/>
                </a:lnTo>
                <a:lnTo>
                  <a:pt x="607" y="349"/>
                </a:lnTo>
                <a:lnTo>
                  <a:pt x="596" y="344"/>
                </a:lnTo>
                <a:lnTo>
                  <a:pt x="587" y="340"/>
                </a:lnTo>
                <a:lnTo>
                  <a:pt x="578" y="334"/>
                </a:lnTo>
                <a:lnTo>
                  <a:pt x="569" y="330"/>
                </a:lnTo>
                <a:lnTo>
                  <a:pt x="559" y="326"/>
                </a:lnTo>
                <a:lnTo>
                  <a:pt x="550" y="323"/>
                </a:lnTo>
                <a:lnTo>
                  <a:pt x="542" y="318"/>
                </a:lnTo>
                <a:lnTo>
                  <a:pt x="533" y="313"/>
                </a:lnTo>
                <a:lnTo>
                  <a:pt x="529" y="311"/>
                </a:lnTo>
                <a:lnTo>
                  <a:pt x="525" y="309"/>
                </a:lnTo>
                <a:lnTo>
                  <a:pt x="521" y="308"/>
                </a:lnTo>
                <a:lnTo>
                  <a:pt x="518" y="306"/>
                </a:lnTo>
                <a:lnTo>
                  <a:pt x="515" y="305"/>
                </a:lnTo>
                <a:lnTo>
                  <a:pt x="511" y="304"/>
                </a:lnTo>
                <a:lnTo>
                  <a:pt x="510" y="300"/>
                </a:lnTo>
                <a:lnTo>
                  <a:pt x="509" y="297"/>
                </a:lnTo>
                <a:lnTo>
                  <a:pt x="503" y="296"/>
                </a:lnTo>
                <a:lnTo>
                  <a:pt x="499" y="294"/>
                </a:lnTo>
                <a:lnTo>
                  <a:pt x="494" y="294"/>
                </a:lnTo>
                <a:lnTo>
                  <a:pt x="490" y="294"/>
                </a:lnTo>
                <a:lnTo>
                  <a:pt x="487" y="294"/>
                </a:lnTo>
                <a:lnTo>
                  <a:pt x="486" y="296"/>
                </a:lnTo>
                <a:lnTo>
                  <a:pt x="485" y="297"/>
                </a:lnTo>
                <a:lnTo>
                  <a:pt x="484" y="300"/>
                </a:lnTo>
                <a:lnTo>
                  <a:pt x="484" y="302"/>
                </a:lnTo>
                <a:lnTo>
                  <a:pt x="485" y="304"/>
                </a:lnTo>
                <a:lnTo>
                  <a:pt x="487" y="305"/>
                </a:lnTo>
                <a:lnTo>
                  <a:pt x="491" y="305"/>
                </a:lnTo>
                <a:lnTo>
                  <a:pt x="495" y="305"/>
                </a:lnTo>
                <a:lnTo>
                  <a:pt x="501" y="305"/>
                </a:lnTo>
                <a:lnTo>
                  <a:pt x="502" y="305"/>
                </a:lnTo>
                <a:lnTo>
                  <a:pt x="505" y="306"/>
                </a:lnTo>
                <a:lnTo>
                  <a:pt x="508" y="306"/>
                </a:lnTo>
                <a:lnTo>
                  <a:pt x="508" y="308"/>
                </a:lnTo>
                <a:lnTo>
                  <a:pt x="505" y="309"/>
                </a:lnTo>
                <a:lnTo>
                  <a:pt x="503" y="311"/>
                </a:lnTo>
                <a:lnTo>
                  <a:pt x="505" y="313"/>
                </a:lnTo>
                <a:lnTo>
                  <a:pt x="507" y="315"/>
                </a:lnTo>
                <a:lnTo>
                  <a:pt x="509" y="314"/>
                </a:lnTo>
                <a:lnTo>
                  <a:pt x="511" y="314"/>
                </a:lnTo>
                <a:lnTo>
                  <a:pt x="513" y="315"/>
                </a:lnTo>
                <a:lnTo>
                  <a:pt x="513" y="316"/>
                </a:lnTo>
                <a:lnTo>
                  <a:pt x="512" y="316"/>
                </a:lnTo>
                <a:lnTo>
                  <a:pt x="510" y="317"/>
                </a:lnTo>
                <a:lnTo>
                  <a:pt x="505" y="318"/>
                </a:lnTo>
                <a:lnTo>
                  <a:pt x="502" y="318"/>
                </a:lnTo>
                <a:lnTo>
                  <a:pt x="499" y="318"/>
                </a:lnTo>
                <a:lnTo>
                  <a:pt x="495" y="316"/>
                </a:lnTo>
                <a:lnTo>
                  <a:pt x="491" y="313"/>
                </a:lnTo>
                <a:lnTo>
                  <a:pt x="487" y="310"/>
                </a:lnTo>
                <a:lnTo>
                  <a:pt x="483" y="308"/>
                </a:lnTo>
                <a:lnTo>
                  <a:pt x="478" y="306"/>
                </a:lnTo>
                <a:lnTo>
                  <a:pt x="475" y="305"/>
                </a:lnTo>
                <a:lnTo>
                  <a:pt x="471" y="306"/>
                </a:lnTo>
                <a:lnTo>
                  <a:pt x="495" y="321"/>
                </a:lnTo>
                <a:lnTo>
                  <a:pt x="520" y="333"/>
                </a:lnTo>
                <a:lnTo>
                  <a:pt x="546" y="346"/>
                </a:lnTo>
                <a:lnTo>
                  <a:pt x="573" y="357"/>
                </a:lnTo>
                <a:lnTo>
                  <a:pt x="563" y="350"/>
                </a:lnTo>
                <a:lnTo>
                  <a:pt x="558" y="344"/>
                </a:lnTo>
                <a:lnTo>
                  <a:pt x="561" y="346"/>
                </a:lnTo>
                <a:lnTo>
                  <a:pt x="565" y="347"/>
                </a:lnTo>
                <a:lnTo>
                  <a:pt x="570" y="350"/>
                </a:lnTo>
                <a:lnTo>
                  <a:pt x="576" y="352"/>
                </a:lnTo>
                <a:lnTo>
                  <a:pt x="579" y="355"/>
                </a:lnTo>
                <a:lnTo>
                  <a:pt x="586" y="358"/>
                </a:lnTo>
                <a:lnTo>
                  <a:pt x="592" y="362"/>
                </a:lnTo>
                <a:lnTo>
                  <a:pt x="594" y="365"/>
                </a:lnTo>
                <a:lnTo>
                  <a:pt x="591" y="365"/>
                </a:lnTo>
                <a:lnTo>
                  <a:pt x="587" y="364"/>
                </a:lnTo>
                <a:lnTo>
                  <a:pt x="587" y="363"/>
                </a:lnTo>
                <a:lnTo>
                  <a:pt x="587" y="364"/>
                </a:lnTo>
                <a:lnTo>
                  <a:pt x="582" y="362"/>
                </a:lnTo>
                <a:lnTo>
                  <a:pt x="576" y="359"/>
                </a:lnTo>
                <a:lnTo>
                  <a:pt x="583" y="365"/>
                </a:lnTo>
                <a:lnTo>
                  <a:pt x="591" y="369"/>
                </a:lnTo>
                <a:lnTo>
                  <a:pt x="600" y="373"/>
                </a:lnTo>
                <a:lnTo>
                  <a:pt x="609" y="374"/>
                </a:lnTo>
                <a:lnTo>
                  <a:pt x="606" y="373"/>
                </a:lnTo>
                <a:lnTo>
                  <a:pt x="600" y="371"/>
                </a:lnTo>
                <a:lnTo>
                  <a:pt x="596" y="368"/>
                </a:lnTo>
                <a:lnTo>
                  <a:pt x="594" y="365"/>
                </a:lnTo>
                <a:lnTo>
                  <a:pt x="596" y="364"/>
                </a:lnTo>
                <a:lnTo>
                  <a:pt x="600" y="364"/>
                </a:lnTo>
                <a:lnTo>
                  <a:pt x="602" y="364"/>
                </a:lnTo>
                <a:lnTo>
                  <a:pt x="606" y="365"/>
                </a:lnTo>
                <a:lnTo>
                  <a:pt x="611" y="367"/>
                </a:lnTo>
                <a:lnTo>
                  <a:pt x="616" y="369"/>
                </a:lnTo>
                <a:lnTo>
                  <a:pt x="618" y="371"/>
                </a:lnTo>
                <a:lnTo>
                  <a:pt x="619" y="373"/>
                </a:lnTo>
                <a:lnTo>
                  <a:pt x="622" y="374"/>
                </a:lnTo>
                <a:lnTo>
                  <a:pt x="620" y="376"/>
                </a:lnTo>
                <a:lnTo>
                  <a:pt x="617" y="377"/>
                </a:lnTo>
                <a:lnTo>
                  <a:pt x="612" y="377"/>
                </a:lnTo>
                <a:lnTo>
                  <a:pt x="617" y="380"/>
                </a:lnTo>
                <a:lnTo>
                  <a:pt x="623" y="382"/>
                </a:lnTo>
                <a:lnTo>
                  <a:pt x="628" y="383"/>
                </a:lnTo>
                <a:lnTo>
                  <a:pt x="634" y="384"/>
                </a:lnTo>
                <a:lnTo>
                  <a:pt x="639" y="388"/>
                </a:lnTo>
                <a:lnTo>
                  <a:pt x="643" y="391"/>
                </a:lnTo>
                <a:lnTo>
                  <a:pt x="649" y="394"/>
                </a:lnTo>
                <a:lnTo>
                  <a:pt x="655" y="399"/>
                </a:lnTo>
                <a:lnTo>
                  <a:pt x="649" y="399"/>
                </a:lnTo>
                <a:lnTo>
                  <a:pt x="643" y="399"/>
                </a:lnTo>
                <a:lnTo>
                  <a:pt x="639" y="396"/>
                </a:lnTo>
                <a:lnTo>
                  <a:pt x="634" y="393"/>
                </a:lnTo>
                <a:lnTo>
                  <a:pt x="620" y="388"/>
                </a:lnTo>
                <a:lnTo>
                  <a:pt x="607" y="381"/>
                </a:lnTo>
                <a:lnTo>
                  <a:pt x="598" y="375"/>
                </a:lnTo>
                <a:lnTo>
                  <a:pt x="587" y="372"/>
                </a:lnTo>
                <a:lnTo>
                  <a:pt x="582" y="372"/>
                </a:lnTo>
                <a:lnTo>
                  <a:pt x="576" y="372"/>
                </a:lnTo>
                <a:lnTo>
                  <a:pt x="574" y="372"/>
                </a:lnTo>
                <a:lnTo>
                  <a:pt x="573" y="371"/>
                </a:lnTo>
                <a:lnTo>
                  <a:pt x="573" y="371"/>
                </a:lnTo>
                <a:lnTo>
                  <a:pt x="574" y="369"/>
                </a:lnTo>
                <a:lnTo>
                  <a:pt x="575" y="368"/>
                </a:lnTo>
                <a:lnTo>
                  <a:pt x="577" y="368"/>
                </a:lnTo>
                <a:lnTo>
                  <a:pt x="566" y="362"/>
                </a:lnTo>
                <a:lnTo>
                  <a:pt x="554" y="356"/>
                </a:lnTo>
                <a:lnTo>
                  <a:pt x="546" y="354"/>
                </a:lnTo>
                <a:lnTo>
                  <a:pt x="538" y="352"/>
                </a:lnTo>
                <a:lnTo>
                  <a:pt x="535" y="351"/>
                </a:lnTo>
                <a:lnTo>
                  <a:pt x="532" y="350"/>
                </a:lnTo>
                <a:lnTo>
                  <a:pt x="528" y="348"/>
                </a:lnTo>
                <a:lnTo>
                  <a:pt x="525" y="347"/>
                </a:lnTo>
                <a:lnTo>
                  <a:pt x="527" y="347"/>
                </a:lnTo>
                <a:lnTo>
                  <a:pt x="529" y="344"/>
                </a:lnTo>
                <a:lnTo>
                  <a:pt x="525" y="341"/>
                </a:lnTo>
                <a:lnTo>
                  <a:pt x="518" y="338"/>
                </a:lnTo>
                <a:lnTo>
                  <a:pt x="510" y="338"/>
                </a:lnTo>
                <a:lnTo>
                  <a:pt x="502" y="338"/>
                </a:lnTo>
                <a:lnTo>
                  <a:pt x="504" y="337"/>
                </a:lnTo>
                <a:lnTo>
                  <a:pt x="507" y="335"/>
                </a:lnTo>
                <a:lnTo>
                  <a:pt x="508" y="335"/>
                </a:lnTo>
                <a:lnTo>
                  <a:pt x="508" y="335"/>
                </a:lnTo>
                <a:lnTo>
                  <a:pt x="508" y="334"/>
                </a:lnTo>
                <a:lnTo>
                  <a:pt x="505" y="332"/>
                </a:lnTo>
                <a:lnTo>
                  <a:pt x="501" y="330"/>
                </a:lnTo>
                <a:lnTo>
                  <a:pt x="494" y="327"/>
                </a:lnTo>
                <a:lnTo>
                  <a:pt x="490" y="331"/>
                </a:lnTo>
                <a:lnTo>
                  <a:pt x="485" y="333"/>
                </a:lnTo>
                <a:lnTo>
                  <a:pt x="482" y="331"/>
                </a:lnTo>
                <a:lnTo>
                  <a:pt x="478" y="329"/>
                </a:lnTo>
                <a:lnTo>
                  <a:pt x="472" y="327"/>
                </a:lnTo>
                <a:lnTo>
                  <a:pt x="466" y="327"/>
                </a:lnTo>
                <a:lnTo>
                  <a:pt x="468" y="330"/>
                </a:lnTo>
                <a:lnTo>
                  <a:pt x="470" y="331"/>
                </a:lnTo>
                <a:lnTo>
                  <a:pt x="474" y="333"/>
                </a:lnTo>
                <a:lnTo>
                  <a:pt x="476" y="333"/>
                </a:lnTo>
                <a:lnTo>
                  <a:pt x="483" y="337"/>
                </a:lnTo>
                <a:lnTo>
                  <a:pt x="490" y="340"/>
                </a:lnTo>
                <a:lnTo>
                  <a:pt x="492" y="341"/>
                </a:lnTo>
                <a:lnTo>
                  <a:pt x="495" y="342"/>
                </a:lnTo>
                <a:lnTo>
                  <a:pt x="496" y="343"/>
                </a:lnTo>
                <a:lnTo>
                  <a:pt x="497" y="344"/>
                </a:lnTo>
                <a:lnTo>
                  <a:pt x="503" y="347"/>
                </a:lnTo>
                <a:lnTo>
                  <a:pt x="508" y="349"/>
                </a:lnTo>
                <a:lnTo>
                  <a:pt x="502" y="350"/>
                </a:lnTo>
                <a:lnTo>
                  <a:pt x="495" y="350"/>
                </a:lnTo>
                <a:lnTo>
                  <a:pt x="492" y="350"/>
                </a:lnTo>
                <a:lnTo>
                  <a:pt x="491" y="349"/>
                </a:lnTo>
                <a:lnTo>
                  <a:pt x="490" y="348"/>
                </a:lnTo>
                <a:lnTo>
                  <a:pt x="488" y="346"/>
                </a:lnTo>
                <a:lnTo>
                  <a:pt x="486" y="343"/>
                </a:lnTo>
                <a:lnTo>
                  <a:pt x="485" y="344"/>
                </a:lnTo>
                <a:lnTo>
                  <a:pt x="484" y="347"/>
                </a:lnTo>
                <a:lnTo>
                  <a:pt x="483" y="348"/>
                </a:lnTo>
                <a:lnTo>
                  <a:pt x="480" y="346"/>
                </a:lnTo>
                <a:lnTo>
                  <a:pt x="478" y="343"/>
                </a:lnTo>
                <a:lnTo>
                  <a:pt x="474" y="342"/>
                </a:lnTo>
                <a:lnTo>
                  <a:pt x="467" y="341"/>
                </a:lnTo>
                <a:lnTo>
                  <a:pt x="461" y="338"/>
                </a:lnTo>
                <a:lnTo>
                  <a:pt x="455" y="333"/>
                </a:lnTo>
                <a:lnTo>
                  <a:pt x="451" y="331"/>
                </a:lnTo>
                <a:lnTo>
                  <a:pt x="446" y="332"/>
                </a:lnTo>
                <a:lnTo>
                  <a:pt x="444" y="333"/>
                </a:lnTo>
                <a:lnTo>
                  <a:pt x="443" y="334"/>
                </a:lnTo>
                <a:lnTo>
                  <a:pt x="442" y="335"/>
                </a:lnTo>
                <a:lnTo>
                  <a:pt x="439" y="335"/>
                </a:lnTo>
                <a:lnTo>
                  <a:pt x="444" y="339"/>
                </a:lnTo>
                <a:lnTo>
                  <a:pt x="449" y="343"/>
                </a:lnTo>
                <a:lnTo>
                  <a:pt x="449" y="343"/>
                </a:lnTo>
                <a:lnTo>
                  <a:pt x="451" y="344"/>
                </a:lnTo>
                <a:lnTo>
                  <a:pt x="451" y="346"/>
                </a:lnTo>
                <a:lnTo>
                  <a:pt x="450" y="347"/>
                </a:lnTo>
                <a:lnTo>
                  <a:pt x="447" y="347"/>
                </a:lnTo>
                <a:lnTo>
                  <a:pt x="446" y="344"/>
                </a:lnTo>
                <a:lnTo>
                  <a:pt x="438" y="341"/>
                </a:lnTo>
                <a:lnTo>
                  <a:pt x="430" y="338"/>
                </a:lnTo>
                <a:lnTo>
                  <a:pt x="422" y="337"/>
                </a:lnTo>
                <a:lnTo>
                  <a:pt x="413" y="334"/>
                </a:lnTo>
                <a:lnTo>
                  <a:pt x="408" y="331"/>
                </a:lnTo>
                <a:lnTo>
                  <a:pt x="403" y="326"/>
                </a:lnTo>
                <a:lnTo>
                  <a:pt x="397" y="322"/>
                </a:lnTo>
                <a:lnTo>
                  <a:pt x="392" y="319"/>
                </a:lnTo>
                <a:lnTo>
                  <a:pt x="388" y="318"/>
                </a:lnTo>
                <a:lnTo>
                  <a:pt x="385" y="317"/>
                </a:lnTo>
                <a:lnTo>
                  <a:pt x="381" y="315"/>
                </a:lnTo>
                <a:lnTo>
                  <a:pt x="378" y="313"/>
                </a:lnTo>
                <a:lnTo>
                  <a:pt x="376" y="314"/>
                </a:lnTo>
                <a:lnTo>
                  <a:pt x="375" y="314"/>
                </a:lnTo>
                <a:lnTo>
                  <a:pt x="375" y="315"/>
                </a:lnTo>
                <a:lnTo>
                  <a:pt x="375" y="315"/>
                </a:lnTo>
                <a:lnTo>
                  <a:pt x="376" y="317"/>
                </a:lnTo>
                <a:lnTo>
                  <a:pt x="378" y="319"/>
                </a:lnTo>
                <a:lnTo>
                  <a:pt x="376" y="319"/>
                </a:lnTo>
                <a:lnTo>
                  <a:pt x="373" y="319"/>
                </a:lnTo>
                <a:lnTo>
                  <a:pt x="372" y="318"/>
                </a:lnTo>
                <a:lnTo>
                  <a:pt x="372" y="317"/>
                </a:lnTo>
                <a:lnTo>
                  <a:pt x="371" y="314"/>
                </a:lnTo>
                <a:lnTo>
                  <a:pt x="370" y="310"/>
                </a:lnTo>
                <a:lnTo>
                  <a:pt x="368" y="309"/>
                </a:lnTo>
                <a:lnTo>
                  <a:pt x="364" y="308"/>
                </a:lnTo>
                <a:lnTo>
                  <a:pt x="362" y="309"/>
                </a:lnTo>
                <a:lnTo>
                  <a:pt x="361" y="311"/>
                </a:lnTo>
                <a:lnTo>
                  <a:pt x="360" y="314"/>
                </a:lnTo>
                <a:lnTo>
                  <a:pt x="361" y="316"/>
                </a:lnTo>
                <a:lnTo>
                  <a:pt x="363" y="316"/>
                </a:lnTo>
                <a:lnTo>
                  <a:pt x="367" y="318"/>
                </a:lnTo>
                <a:lnTo>
                  <a:pt x="371" y="321"/>
                </a:lnTo>
                <a:lnTo>
                  <a:pt x="375" y="323"/>
                </a:lnTo>
                <a:lnTo>
                  <a:pt x="379" y="323"/>
                </a:lnTo>
                <a:lnTo>
                  <a:pt x="384" y="323"/>
                </a:lnTo>
                <a:lnTo>
                  <a:pt x="384" y="325"/>
                </a:lnTo>
                <a:lnTo>
                  <a:pt x="385" y="327"/>
                </a:lnTo>
                <a:lnTo>
                  <a:pt x="387" y="329"/>
                </a:lnTo>
                <a:lnTo>
                  <a:pt x="389" y="330"/>
                </a:lnTo>
                <a:lnTo>
                  <a:pt x="395" y="332"/>
                </a:lnTo>
                <a:lnTo>
                  <a:pt x="400" y="333"/>
                </a:lnTo>
                <a:lnTo>
                  <a:pt x="417" y="341"/>
                </a:lnTo>
                <a:lnTo>
                  <a:pt x="433" y="350"/>
                </a:lnTo>
                <a:lnTo>
                  <a:pt x="450" y="359"/>
                </a:lnTo>
                <a:lnTo>
                  <a:pt x="467" y="367"/>
                </a:lnTo>
                <a:lnTo>
                  <a:pt x="474" y="371"/>
                </a:lnTo>
                <a:lnTo>
                  <a:pt x="482" y="373"/>
                </a:lnTo>
                <a:lnTo>
                  <a:pt x="485" y="375"/>
                </a:lnTo>
                <a:lnTo>
                  <a:pt x="488" y="377"/>
                </a:lnTo>
                <a:lnTo>
                  <a:pt x="491" y="381"/>
                </a:lnTo>
                <a:lnTo>
                  <a:pt x="493" y="384"/>
                </a:lnTo>
                <a:lnTo>
                  <a:pt x="478" y="377"/>
                </a:lnTo>
                <a:lnTo>
                  <a:pt x="463" y="372"/>
                </a:lnTo>
                <a:lnTo>
                  <a:pt x="449" y="365"/>
                </a:lnTo>
                <a:lnTo>
                  <a:pt x="434" y="357"/>
                </a:lnTo>
                <a:lnTo>
                  <a:pt x="430" y="355"/>
                </a:lnTo>
                <a:lnTo>
                  <a:pt x="427" y="354"/>
                </a:lnTo>
                <a:lnTo>
                  <a:pt x="425" y="354"/>
                </a:lnTo>
                <a:lnTo>
                  <a:pt x="421" y="352"/>
                </a:lnTo>
                <a:lnTo>
                  <a:pt x="420" y="350"/>
                </a:lnTo>
                <a:lnTo>
                  <a:pt x="418" y="349"/>
                </a:lnTo>
                <a:lnTo>
                  <a:pt x="416" y="348"/>
                </a:lnTo>
                <a:lnTo>
                  <a:pt x="413" y="348"/>
                </a:lnTo>
                <a:lnTo>
                  <a:pt x="412" y="346"/>
                </a:lnTo>
                <a:lnTo>
                  <a:pt x="410" y="344"/>
                </a:lnTo>
                <a:lnTo>
                  <a:pt x="404" y="343"/>
                </a:lnTo>
                <a:lnTo>
                  <a:pt x="398" y="341"/>
                </a:lnTo>
                <a:lnTo>
                  <a:pt x="392" y="340"/>
                </a:lnTo>
                <a:lnTo>
                  <a:pt x="386" y="339"/>
                </a:lnTo>
                <a:lnTo>
                  <a:pt x="380" y="337"/>
                </a:lnTo>
                <a:lnTo>
                  <a:pt x="375" y="332"/>
                </a:lnTo>
                <a:lnTo>
                  <a:pt x="370" y="330"/>
                </a:lnTo>
                <a:lnTo>
                  <a:pt x="364" y="327"/>
                </a:lnTo>
                <a:lnTo>
                  <a:pt x="357" y="326"/>
                </a:lnTo>
                <a:lnTo>
                  <a:pt x="352" y="325"/>
                </a:lnTo>
                <a:lnTo>
                  <a:pt x="350" y="323"/>
                </a:lnTo>
                <a:lnTo>
                  <a:pt x="346" y="322"/>
                </a:lnTo>
                <a:lnTo>
                  <a:pt x="343" y="322"/>
                </a:lnTo>
                <a:lnTo>
                  <a:pt x="339" y="321"/>
                </a:lnTo>
                <a:lnTo>
                  <a:pt x="335" y="317"/>
                </a:lnTo>
                <a:lnTo>
                  <a:pt x="331" y="313"/>
                </a:lnTo>
                <a:lnTo>
                  <a:pt x="326" y="311"/>
                </a:lnTo>
                <a:lnTo>
                  <a:pt x="320" y="309"/>
                </a:lnTo>
                <a:lnTo>
                  <a:pt x="323" y="308"/>
                </a:lnTo>
                <a:lnTo>
                  <a:pt x="326" y="308"/>
                </a:lnTo>
                <a:lnTo>
                  <a:pt x="323" y="306"/>
                </a:lnTo>
                <a:lnTo>
                  <a:pt x="320" y="305"/>
                </a:lnTo>
                <a:lnTo>
                  <a:pt x="315" y="305"/>
                </a:lnTo>
                <a:lnTo>
                  <a:pt x="312" y="305"/>
                </a:lnTo>
                <a:lnTo>
                  <a:pt x="312" y="304"/>
                </a:lnTo>
                <a:lnTo>
                  <a:pt x="309" y="302"/>
                </a:lnTo>
                <a:lnTo>
                  <a:pt x="305" y="304"/>
                </a:lnTo>
                <a:lnTo>
                  <a:pt x="299" y="304"/>
                </a:lnTo>
                <a:lnTo>
                  <a:pt x="299" y="301"/>
                </a:lnTo>
                <a:lnTo>
                  <a:pt x="299" y="299"/>
                </a:lnTo>
                <a:lnTo>
                  <a:pt x="297" y="298"/>
                </a:lnTo>
                <a:lnTo>
                  <a:pt x="296" y="298"/>
                </a:lnTo>
                <a:lnTo>
                  <a:pt x="294" y="297"/>
                </a:lnTo>
                <a:lnTo>
                  <a:pt x="291" y="297"/>
                </a:lnTo>
                <a:lnTo>
                  <a:pt x="290" y="296"/>
                </a:lnTo>
                <a:lnTo>
                  <a:pt x="289" y="293"/>
                </a:lnTo>
                <a:lnTo>
                  <a:pt x="298" y="292"/>
                </a:lnTo>
                <a:lnTo>
                  <a:pt x="305" y="293"/>
                </a:lnTo>
                <a:lnTo>
                  <a:pt x="307" y="296"/>
                </a:lnTo>
                <a:lnTo>
                  <a:pt x="309" y="298"/>
                </a:lnTo>
                <a:lnTo>
                  <a:pt x="312" y="300"/>
                </a:lnTo>
                <a:lnTo>
                  <a:pt x="315" y="300"/>
                </a:lnTo>
                <a:lnTo>
                  <a:pt x="319" y="302"/>
                </a:lnTo>
                <a:lnTo>
                  <a:pt x="322" y="304"/>
                </a:lnTo>
                <a:lnTo>
                  <a:pt x="327" y="304"/>
                </a:lnTo>
                <a:lnTo>
                  <a:pt x="331" y="302"/>
                </a:lnTo>
                <a:lnTo>
                  <a:pt x="339" y="305"/>
                </a:lnTo>
                <a:lnTo>
                  <a:pt x="346" y="309"/>
                </a:lnTo>
                <a:lnTo>
                  <a:pt x="351" y="310"/>
                </a:lnTo>
                <a:lnTo>
                  <a:pt x="355" y="311"/>
                </a:lnTo>
                <a:lnTo>
                  <a:pt x="355" y="309"/>
                </a:lnTo>
                <a:lnTo>
                  <a:pt x="353" y="308"/>
                </a:lnTo>
                <a:lnTo>
                  <a:pt x="353" y="307"/>
                </a:lnTo>
                <a:lnTo>
                  <a:pt x="354" y="306"/>
                </a:lnTo>
                <a:lnTo>
                  <a:pt x="354" y="307"/>
                </a:lnTo>
                <a:lnTo>
                  <a:pt x="355" y="307"/>
                </a:lnTo>
                <a:lnTo>
                  <a:pt x="356" y="306"/>
                </a:lnTo>
                <a:lnTo>
                  <a:pt x="355" y="305"/>
                </a:lnTo>
                <a:lnTo>
                  <a:pt x="356" y="302"/>
                </a:lnTo>
                <a:lnTo>
                  <a:pt x="359" y="301"/>
                </a:lnTo>
                <a:lnTo>
                  <a:pt x="360" y="301"/>
                </a:lnTo>
                <a:lnTo>
                  <a:pt x="361" y="301"/>
                </a:lnTo>
                <a:lnTo>
                  <a:pt x="364" y="302"/>
                </a:lnTo>
                <a:lnTo>
                  <a:pt x="368" y="306"/>
                </a:lnTo>
                <a:lnTo>
                  <a:pt x="372" y="308"/>
                </a:lnTo>
                <a:lnTo>
                  <a:pt x="376" y="308"/>
                </a:lnTo>
                <a:lnTo>
                  <a:pt x="380" y="307"/>
                </a:lnTo>
                <a:lnTo>
                  <a:pt x="384" y="306"/>
                </a:lnTo>
                <a:lnTo>
                  <a:pt x="387" y="306"/>
                </a:lnTo>
                <a:lnTo>
                  <a:pt x="390" y="307"/>
                </a:lnTo>
                <a:lnTo>
                  <a:pt x="393" y="307"/>
                </a:lnTo>
                <a:lnTo>
                  <a:pt x="394" y="306"/>
                </a:lnTo>
                <a:lnTo>
                  <a:pt x="394" y="305"/>
                </a:lnTo>
                <a:lnTo>
                  <a:pt x="395" y="302"/>
                </a:lnTo>
                <a:lnTo>
                  <a:pt x="396" y="301"/>
                </a:lnTo>
                <a:lnTo>
                  <a:pt x="397" y="300"/>
                </a:lnTo>
                <a:lnTo>
                  <a:pt x="395" y="298"/>
                </a:lnTo>
                <a:lnTo>
                  <a:pt x="390" y="298"/>
                </a:lnTo>
                <a:lnTo>
                  <a:pt x="388" y="299"/>
                </a:lnTo>
                <a:lnTo>
                  <a:pt x="386" y="300"/>
                </a:lnTo>
                <a:lnTo>
                  <a:pt x="384" y="300"/>
                </a:lnTo>
                <a:lnTo>
                  <a:pt x="383" y="299"/>
                </a:lnTo>
                <a:lnTo>
                  <a:pt x="378" y="301"/>
                </a:lnTo>
                <a:lnTo>
                  <a:pt x="375" y="304"/>
                </a:lnTo>
                <a:lnTo>
                  <a:pt x="375" y="301"/>
                </a:lnTo>
                <a:lnTo>
                  <a:pt x="375" y="300"/>
                </a:lnTo>
                <a:lnTo>
                  <a:pt x="372" y="297"/>
                </a:lnTo>
                <a:lnTo>
                  <a:pt x="370" y="294"/>
                </a:lnTo>
                <a:lnTo>
                  <a:pt x="365" y="292"/>
                </a:lnTo>
                <a:lnTo>
                  <a:pt x="361" y="289"/>
                </a:lnTo>
                <a:lnTo>
                  <a:pt x="357" y="286"/>
                </a:lnTo>
                <a:lnTo>
                  <a:pt x="354" y="284"/>
                </a:lnTo>
                <a:lnTo>
                  <a:pt x="350" y="283"/>
                </a:lnTo>
                <a:lnTo>
                  <a:pt x="346" y="282"/>
                </a:lnTo>
                <a:lnTo>
                  <a:pt x="340" y="282"/>
                </a:lnTo>
                <a:lnTo>
                  <a:pt x="336" y="282"/>
                </a:lnTo>
                <a:lnTo>
                  <a:pt x="334" y="280"/>
                </a:lnTo>
                <a:lnTo>
                  <a:pt x="332" y="277"/>
                </a:lnTo>
                <a:lnTo>
                  <a:pt x="334" y="275"/>
                </a:lnTo>
                <a:lnTo>
                  <a:pt x="336" y="274"/>
                </a:lnTo>
                <a:lnTo>
                  <a:pt x="336" y="273"/>
                </a:lnTo>
                <a:lnTo>
                  <a:pt x="335" y="272"/>
                </a:lnTo>
                <a:lnTo>
                  <a:pt x="332" y="271"/>
                </a:lnTo>
                <a:lnTo>
                  <a:pt x="330" y="269"/>
                </a:lnTo>
                <a:lnTo>
                  <a:pt x="324" y="268"/>
                </a:lnTo>
                <a:lnTo>
                  <a:pt x="322" y="268"/>
                </a:lnTo>
                <a:lnTo>
                  <a:pt x="312" y="267"/>
                </a:lnTo>
                <a:lnTo>
                  <a:pt x="303" y="267"/>
                </a:lnTo>
                <a:lnTo>
                  <a:pt x="304" y="265"/>
                </a:lnTo>
                <a:lnTo>
                  <a:pt x="306" y="261"/>
                </a:lnTo>
                <a:lnTo>
                  <a:pt x="306" y="260"/>
                </a:lnTo>
                <a:lnTo>
                  <a:pt x="306" y="259"/>
                </a:lnTo>
                <a:lnTo>
                  <a:pt x="306" y="258"/>
                </a:lnTo>
                <a:lnTo>
                  <a:pt x="304" y="257"/>
                </a:lnTo>
                <a:lnTo>
                  <a:pt x="302" y="258"/>
                </a:lnTo>
                <a:lnTo>
                  <a:pt x="299" y="258"/>
                </a:lnTo>
                <a:lnTo>
                  <a:pt x="298" y="256"/>
                </a:lnTo>
                <a:lnTo>
                  <a:pt x="296" y="254"/>
                </a:lnTo>
                <a:lnTo>
                  <a:pt x="288" y="254"/>
                </a:lnTo>
                <a:lnTo>
                  <a:pt x="280" y="251"/>
                </a:lnTo>
                <a:lnTo>
                  <a:pt x="279" y="249"/>
                </a:lnTo>
                <a:lnTo>
                  <a:pt x="280" y="248"/>
                </a:lnTo>
                <a:lnTo>
                  <a:pt x="281" y="247"/>
                </a:lnTo>
                <a:lnTo>
                  <a:pt x="284" y="247"/>
                </a:lnTo>
                <a:lnTo>
                  <a:pt x="289" y="247"/>
                </a:lnTo>
                <a:lnTo>
                  <a:pt x="293" y="248"/>
                </a:lnTo>
                <a:lnTo>
                  <a:pt x="287" y="243"/>
                </a:lnTo>
                <a:lnTo>
                  <a:pt x="280" y="240"/>
                </a:lnTo>
                <a:lnTo>
                  <a:pt x="272" y="236"/>
                </a:lnTo>
                <a:lnTo>
                  <a:pt x="263" y="232"/>
                </a:lnTo>
                <a:lnTo>
                  <a:pt x="255" y="228"/>
                </a:lnTo>
                <a:lnTo>
                  <a:pt x="247" y="225"/>
                </a:lnTo>
                <a:lnTo>
                  <a:pt x="240" y="222"/>
                </a:lnTo>
                <a:lnTo>
                  <a:pt x="233" y="219"/>
                </a:lnTo>
                <a:lnTo>
                  <a:pt x="244" y="222"/>
                </a:lnTo>
                <a:lnTo>
                  <a:pt x="254" y="225"/>
                </a:lnTo>
                <a:lnTo>
                  <a:pt x="265" y="228"/>
                </a:lnTo>
                <a:lnTo>
                  <a:pt x="277" y="232"/>
                </a:lnTo>
                <a:lnTo>
                  <a:pt x="287" y="236"/>
                </a:lnTo>
                <a:lnTo>
                  <a:pt x="298" y="240"/>
                </a:lnTo>
                <a:lnTo>
                  <a:pt x="309" y="244"/>
                </a:lnTo>
                <a:lnTo>
                  <a:pt x="319" y="250"/>
                </a:lnTo>
                <a:lnTo>
                  <a:pt x="323" y="254"/>
                </a:lnTo>
                <a:lnTo>
                  <a:pt x="328" y="256"/>
                </a:lnTo>
                <a:lnTo>
                  <a:pt x="334" y="257"/>
                </a:lnTo>
                <a:lnTo>
                  <a:pt x="338" y="258"/>
                </a:lnTo>
                <a:lnTo>
                  <a:pt x="348" y="263"/>
                </a:lnTo>
                <a:lnTo>
                  <a:pt x="359" y="267"/>
                </a:lnTo>
                <a:lnTo>
                  <a:pt x="362" y="269"/>
                </a:lnTo>
                <a:lnTo>
                  <a:pt x="365" y="271"/>
                </a:lnTo>
                <a:lnTo>
                  <a:pt x="369" y="269"/>
                </a:lnTo>
                <a:lnTo>
                  <a:pt x="371" y="267"/>
                </a:lnTo>
                <a:lnTo>
                  <a:pt x="373" y="266"/>
                </a:lnTo>
                <a:lnTo>
                  <a:pt x="375" y="266"/>
                </a:lnTo>
                <a:lnTo>
                  <a:pt x="375" y="267"/>
                </a:lnTo>
                <a:lnTo>
                  <a:pt x="375" y="268"/>
                </a:lnTo>
                <a:lnTo>
                  <a:pt x="373" y="273"/>
                </a:lnTo>
                <a:lnTo>
                  <a:pt x="371" y="275"/>
                </a:lnTo>
                <a:lnTo>
                  <a:pt x="380" y="277"/>
                </a:lnTo>
                <a:lnTo>
                  <a:pt x="389" y="282"/>
                </a:lnTo>
                <a:lnTo>
                  <a:pt x="398" y="285"/>
                </a:lnTo>
                <a:lnTo>
                  <a:pt x="408" y="289"/>
                </a:lnTo>
                <a:lnTo>
                  <a:pt x="400" y="283"/>
                </a:lnTo>
                <a:lnTo>
                  <a:pt x="394" y="279"/>
                </a:lnTo>
                <a:lnTo>
                  <a:pt x="396" y="277"/>
                </a:lnTo>
                <a:lnTo>
                  <a:pt x="397" y="275"/>
                </a:lnTo>
                <a:lnTo>
                  <a:pt x="395" y="274"/>
                </a:lnTo>
                <a:lnTo>
                  <a:pt x="393" y="274"/>
                </a:lnTo>
                <a:lnTo>
                  <a:pt x="385" y="271"/>
                </a:lnTo>
                <a:lnTo>
                  <a:pt x="379" y="266"/>
                </a:lnTo>
                <a:lnTo>
                  <a:pt x="383" y="266"/>
                </a:lnTo>
                <a:lnTo>
                  <a:pt x="386" y="266"/>
                </a:lnTo>
                <a:lnTo>
                  <a:pt x="380" y="264"/>
                </a:lnTo>
                <a:lnTo>
                  <a:pt x="373" y="261"/>
                </a:lnTo>
                <a:lnTo>
                  <a:pt x="371" y="261"/>
                </a:lnTo>
                <a:lnTo>
                  <a:pt x="369" y="260"/>
                </a:lnTo>
                <a:lnTo>
                  <a:pt x="367" y="263"/>
                </a:lnTo>
                <a:lnTo>
                  <a:pt x="364" y="264"/>
                </a:lnTo>
                <a:lnTo>
                  <a:pt x="362" y="263"/>
                </a:lnTo>
                <a:lnTo>
                  <a:pt x="359" y="261"/>
                </a:lnTo>
                <a:lnTo>
                  <a:pt x="357" y="261"/>
                </a:lnTo>
                <a:lnTo>
                  <a:pt x="357" y="260"/>
                </a:lnTo>
                <a:lnTo>
                  <a:pt x="357" y="259"/>
                </a:lnTo>
                <a:lnTo>
                  <a:pt x="359" y="258"/>
                </a:lnTo>
                <a:lnTo>
                  <a:pt x="363" y="259"/>
                </a:lnTo>
                <a:lnTo>
                  <a:pt x="368" y="259"/>
                </a:lnTo>
                <a:lnTo>
                  <a:pt x="364" y="257"/>
                </a:lnTo>
                <a:lnTo>
                  <a:pt x="362" y="255"/>
                </a:lnTo>
                <a:lnTo>
                  <a:pt x="362" y="252"/>
                </a:lnTo>
                <a:lnTo>
                  <a:pt x="362" y="251"/>
                </a:lnTo>
                <a:lnTo>
                  <a:pt x="360" y="250"/>
                </a:lnTo>
                <a:lnTo>
                  <a:pt x="356" y="250"/>
                </a:lnTo>
                <a:lnTo>
                  <a:pt x="355" y="249"/>
                </a:lnTo>
                <a:lnTo>
                  <a:pt x="354" y="249"/>
                </a:lnTo>
                <a:lnTo>
                  <a:pt x="354" y="248"/>
                </a:lnTo>
                <a:lnTo>
                  <a:pt x="355" y="247"/>
                </a:lnTo>
                <a:lnTo>
                  <a:pt x="356" y="244"/>
                </a:lnTo>
                <a:lnTo>
                  <a:pt x="360" y="243"/>
                </a:lnTo>
                <a:lnTo>
                  <a:pt x="362" y="244"/>
                </a:lnTo>
                <a:lnTo>
                  <a:pt x="364" y="246"/>
                </a:lnTo>
                <a:lnTo>
                  <a:pt x="372" y="249"/>
                </a:lnTo>
                <a:lnTo>
                  <a:pt x="379" y="251"/>
                </a:lnTo>
                <a:lnTo>
                  <a:pt x="387" y="255"/>
                </a:lnTo>
                <a:lnTo>
                  <a:pt x="394" y="258"/>
                </a:lnTo>
                <a:lnTo>
                  <a:pt x="397" y="259"/>
                </a:lnTo>
                <a:lnTo>
                  <a:pt x="400" y="259"/>
                </a:lnTo>
                <a:lnTo>
                  <a:pt x="400" y="257"/>
                </a:lnTo>
                <a:lnTo>
                  <a:pt x="402" y="255"/>
                </a:lnTo>
                <a:lnTo>
                  <a:pt x="405" y="256"/>
                </a:lnTo>
                <a:lnTo>
                  <a:pt x="409" y="257"/>
                </a:lnTo>
                <a:lnTo>
                  <a:pt x="412" y="259"/>
                </a:lnTo>
                <a:lnTo>
                  <a:pt x="416" y="260"/>
                </a:lnTo>
                <a:lnTo>
                  <a:pt x="419" y="263"/>
                </a:lnTo>
                <a:lnTo>
                  <a:pt x="421" y="266"/>
                </a:lnTo>
                <a:lnTo>
                  <a:pt x="418" y="265"/>
                </a:lnTo>
                <a:lnTo>
                  <a:pt x="414" y="264"/>
                </a:lnTo>
                <a:lnTo>
                  <a:pt x="413" y="264"/>
                </a:lnTo>
                <a:lnTo>
                  <a:pt x="411" y="264"/>
                </a:lnTo>
                <a:lnTo>
                  <a:pt x="410" y="264"/>
                </a:lnTo>
                <a:lnTo>
                  <a:pt x="409" y="266"/>
                </a:lnTo>
                <a:lnTo>
                  <a:pt x="414" y="268"/>
                </a:lnTo>
                <a:lnTo>
                  <a:pt x="421" y="269"/>
                </a:lnTo>
                <a:lnTo>
                  <a:pt x="427" y="269"/>
                </a:lnTo>
                <a:lnTo>
                  <a:pt x="434" y="268"/>
                </a:lnTo>
                <a:lnTo>
                  <a:pt x="428" y="263"/>
                </a:lnTo>
                <a:lnTo>
                  <a:pt x="422" y="258"/>
                </a:lnTo>
                <a:lnTo>
                  <a:pt x="416" y="255"/>
                </a:lnTo>
                <a:lnTo>
                  <a:pt x="408" y="252"/>
                </a:lnTo>
                <a:lnTo>
                  <a:pt x="400" y="249"/>
                </a:lnTo>
                <a:lnTo>
                  <a:pt x="392" y="247"/>
                </a:lnTo>
                <a:lnTo>
                  <a:pt x="389" y="246"/>
                </a:lnTo>
                <a:lnTo>
                  <a:pt x="387" y="244"/>
                </a:lnTo>
                <a:lnTo>
                  <a:pt x="386" y="243"/>
                </a:lnTo>
                <a:lnTo>
                  <a:pt x="385" y="241"/>
                </a:lnTo>
                <a:lnTo>
                  <a:pt x="384" y="241"/>
                </a:lnTo>
                <a:lnTo>
                  <a:pt x="381" y="241"/>
                </a:lnTo>
                <a:lnTo>
                  <a:pt x="379" y="241"/>
                </a:lnTo>
                <a:lnTo>
                  <a:pt x="378" y="239"/>
                </a:lnTo>
                <a:lnTo>
                  <a:pt x="372" y="236"/>
                </a:lnTo>
                <a:lnTo>
                  <a:pt x="367" y="234"/>
                </a:lnTo>
                <a:lnTo>
                  <a:pt x="364" y="233"/>
                </a:lnTo>
                <a:lnTo>
                  <a:pt x="363" y="232"/>
                </a:lnTo>
                <a:lnTo>
                  <a:pt x="361" y="232"/>
                </a:lnTo>
                <a:lnTo>
                  <a:pt x="360" y="232"/>
                </a:lnTo>
                <a:lnTo>
                  <a:pt x="354" y="231"/>
                </a:lnTo>
                <a:lnTo>
                  <a:pt x="350" y="228"/>
                </a:lnTo>
                <a:lnTo>
                  <a:pt x="345" y="225"/>
                </a:lnTo>
                <a:lnTo>
                  <a:pt x="339" y="222"/>
                </a:lnTo>
                <a:lnTo>
                  <a:pt x="337" y="222"/>
                </a:lnTo>
                <a:lnTo>
                  <a:pt x="335" y="221"/>
                </a:lnTo>
                <a:lnTo>
                  <a:pt x="331" y="222"/>
                </a:lnTo>
                <a:lnTo>
                  <a:pt x="329" y="223"/>
                </a:lnTo>
                <a:lnTo>
                  <a:pt x="327" y="223"/>
                </a:lnTo>
                <a:lnTo>
                  <a:pt x="327" y="222"/>
                </a:lnTo>
                <a:lnTo>
                  <a:pt x="327" y="221"/>
                </a:lnTo>
                <a:lnTo>
                  <a:pt x="328" y="218"/>
                </a:lnTo>
                <a:lnTo>
                  <a:pt x="327" y="217"/>
                </a:lnTo>
                <a:lnTo>
                  <a:pt x="326" y="216"/>
                </a:lnTo>
                <a:lnTo>
                  <a:pt x="326" y="215"/>
                </a:lnTo>
                <a:lnTo>
                  <a:pt x="329" y="215"/>
                </a:lnTo>
                <a:lnTo>
                  <a:pt x="330" y="216"/>
                </a:lnTo>
                <a:lnTo>
                  <a:pt x="334" y="217"/>
                </a:lnTo>
                <a:lnTo>
                  <a:pt x="335" y="217"/>
                </a:lnTo>
                <a:lnTo>
                  <a:pt x="336" y="217"/>
                </a:lnTo>
                <a:lnTo>
                  <a:pt x="337" y="216"/>
                </a:lnTo>
                <a:lnTo>
                  <a:pt x="337" y="215"/>
                </a:lnTo>
                <a:lnTo>
                  <a:pt x="336" y="214"/>
                </a:lnTo>
                <a:lnTo>
                  <a:pt x="335" y="213"/>
                </a:lnTo>
                <a:lnTo>
                  <a:pt x="332" y="213"/>
                </a:lnTo>
                <a:lnTo>
                  <a:pt x="331" y="214"/>
                </a:lnTo>
                <a:lnTo>
                  <a:pt x="322" y="214"/>
                </a:lnTo>
                <a:lnTo>
                  <a:pt x="314" y="213"/>
                </a:lnTo>
                <a:lnTo>
                  <a:pt x="306" y="211"/>
                </a:lnTo>
                <a:lnTo>
                  <a:pt x="299" y="208"/>
                </a:lnTo>
                <a:lnTo>
                  <a:pt x="309" y="208"/>
                </a:lnTo>
                <a:lnTo>
                  <a:pt x="319" y="208"/>
                </a:lnTo>
                <a:lnTo>
                  <a:pt x="317" y="206"/>
                </a:lnTo>
                <a:lnTo>
                  <a:pt x="313" y="206"/>
                </a:lnTo>
                <a:lnTo>
                  <a:pt x="310" y="205"/>
                </a:lnTo>
                <a:lnTo>
                  <a:pt x="305" y="205"/>
                </a:lnTo>
                <a:lnTo>
                  <a:pt x="303" y="205"/>
                </a:lnTo>
                <a:lnTo>
                  <a:pt x="299" y="203"/>
                </a:lnTo>
                <a:lnTo>
                  <a:pt x="297" y="201"/>
                </a:lnTo>
                <a:lnTo>
                  <a:pt x="295" y="199"/>
                </a:lnTo>
                <a:lnTo>
                  <a:pt x="289" y="199"/>
                </a:lnTo>
                <a:lnTo>
                  <a:pt x="282" y="199"/>
                </a:lnTo>
                <a:lnTo>
                  <a:pt x="281" y="197"/>
                </a:lnTo>
                <a:lnTo>
                  <a:pt x="279" y="196"/>
                </a:lnTo>
                <a:lnTo>
                  <a:pt x="274" y="194"/>
                </a:lnTo>
                <a:lnTo>
                  <a:pt x="270" y="193"/>
                </a:lnTo>
                <a:lnTo>
                  <a:pt x="272" y="192"/>
                </a:lnTo>
                <a:lnTo>
                  <a:pt x="273" y="191"/>
                </a:lnTo>
                <a:lnTo>
                  <a:pt x="265" y="190"/>
                </a:lnTo>
                <a:lnTo>
                  <a:pt x="257" y="186"/>
                </a:lnTo>
                <a:lnTo>
                  <a:pt x="247" y="183"/>
                </a:lnTo>
                <a:lnTo>
                  <a:pt x="237" y="180"/>
                </a:lnTo>
                <a:lnTo>
                  <a:pt x="229" y="180"/>
                </a:lnTo>
                <a:lnTo>
                  <a:pt x="222" y="177"/>
                </a:lnTo>
                <a:lnTo>
                  <a:pt x="221" y="176"/>
                </a:lnTo>
                <a:lnTo>
                  <a:pt x="217" y="174"/>
                </a:lnTo>
                <a:lnTo>
                  <a:pt x="213" y="174"/>
                </a:lnTo>
                <a:lnTo>
                  <a:pt x="208" y="175"/>
                </a:lnTo>
                <a:lnTo>
                  <a:pt x="207" y="173"/>
                </a:lnTo>
                <a:lnTo>
                  <a:pt x="206" y="172"/>
                </a:lnTo>
                <a:lnTo>
                  <a:pt x="205" y="171"/>
                </a:lnTo>
                <a:lnTo>
                  <a:pt x="204" y="169"/>
                </a:lnTo>
                <a:lnTo>
                  <a:pt x="199" y="169"/>
                </a:lnTo>
                <a:lnTo>
                  <a:pt x="195" y="169"/>
                </a:lnTo>
                <a:lnTo>
                  <a:pt x="186" y="167"/>
                </a:lnTo>
                <a:lnTo>
                  <a:pt x="177" y="165"/>
                </a:lnTo>
                <a:lnTo>
                  <a:pt x="171" y="163"/>
                </a:lnTo>
                <a:lnTo>
                  <a:pt x="162" y="159"/>
                </a:lnTo>
                <a:lnTo>
                  <a:pt x="157" y="158"/>
                </a:lnTo>
                <a:lnTo>
                  <a:pt x="153" y="158"/>
                </a:lnTo>
                <a:lnTo>
                  <a:pt x="150" y="159"/>
                </a:lnTo>
                <a:lnTo>
                  <a:pt x="149" y="160"/>
                </a:lnTo>
                <a:lnTo>
                  <a:pt x="155" y="161"/>
                </a:lnTo>
                <a:lnTo>
                  <a:pt x="159" y="163"/>
                </a:lnTo>
                <a:lnTo>
                  <a:pt x="158" y="164"/>
                </a:lnTo>
                <a:lnTo>
                  <a:pt x="157" y="165"/>
                </a:lnTo>
                <a:lnTo>
                  <a:pt x="156" y="166"/>
                </a:lnTo>
                <a:lnTo>
                  <a:pt x="157" y="167"/>
                </a:lnTo>
                <a:lnTo>
                  <a:pt x="164" y="167"/>
                </a:lnTo>
                <a:lnTo>
                  <a:pt x="169" y="165"/>
                </a:lnTo>
                <a:lnTo>
                  <a:pt x="170" y="167"/>
                </a:lnTo>
                <a:lnTo>
                  <a:pt x="170" y="169"/>
                </a:lnTo>
                <a:lnTo>
                  <a:pt x="172" y="173"/>
                </a:lnTo>
                <a:lnTo>
                  <a:pt x="175" y="174"/>
                </a:lnTo>
                <a:lnTo>
                  <a:pt x="178" y="175"/>
                </a:lnTo>
                <a:lnTo>
                  <a:pt x="181" y="175"/>
                </a:lnTo>
                <a:lnTo>
                  <a:pt x="184" y="174"/>
                </a:lnTo>
                <a:lnTo>
                  <a:pt x="187" y="176"/>
                </a:lnTo>
                <a:lnTo>
                  <a:pt x="190" y="178"/>
                </a:lnTo>
                <a:lnTo>
                  <a:pt x="194" y="181"/>
                </a:lnTo>
                <a:lnTo>
                  <a:pt x="197" y="183"/>
                </a:lnTo>
                <a:lnTo>
                  <a:pt x="202" y="183"/>
                </a:lnTo>
                <a:lnTo>
                  <a:pt x="204" y="181"/>
                </a:lnTo>
                <a:lnTo>
                  <a:pt x="207" y="177"/>
                </a:lnTo>
                <a:lnTo>
                  <a:pt x="210" y="178"/>
                </a:lnTo>
                <a:lnTo>
                  <a:pt x="212" y="181"/>
                </a:lnTo>
                <a:lnTo>
                  <a:pt x="210" y="182"/>
                </a:lnTo>
                <a:lnTo>
                  <a:pt x="208" y="182"/>
                </a:lnTo>
                <a:lnTo>
                  <a:pt x="208" y="184"/>
                </a:lnTo>
                <a:lnTo>
                  <a:pt x="208" y="186"/>
                </a:lnTo>
                <a:lnTo>
                  <a:pt x="211" y="188"/>
                </a:lnTo>
                <a:lnTo>
                  <a:pt x="214" y="188"/>
                </a:lnTo>
                <a:lnTo>
                  <a:pt x="215" y="186"/>
                </a:lnTo>
                <a:lnTo>
                  <a:pt x="217" y="186"/>
                </a:lnTo>
                <a:lnTo>
                  <a:pt x="220" y="189"/>
                </a:lnTo>
                <a:lnTo>
                  <a:pt x="223" y="192"/>
                </a:lnTo>
                <a:lnTo>
                  <a:pt x="230" y="194"/>
                </a:lnTo>
                <a:lnTo>
                  <a:pt x="238" y="197"/>
                </a:lnTo>
                <a:lnTo>
                  <a:pt x="240" y="198"/>
                </a:lnTo>
                <a:lnTo>
                  <a:pt x="241" y="199"/>
                </a:lnTo>
                <a:lnTo>
                  <a:pt x="240" y="200"/>
                </a:lnTo>
                <a:lnTo>
                  <a:pt x="237" y="200"/>
                </a:lnTo>
                <a:lnTo>
                  <a:pt x="230" y="198"/>
                </a:lnTo>
                <a:lnTo>
                  <a:pt x="223" y="194"/>
                </a:lnTo>
                <a:lnTo>
                  <a:pt x="214" y="193"/>
                </a:lnTo>
                <a:lnTo>
                  <a:pt x="206" y="191"/>
                </a:lnTo>
                <a:lnTo>
                  <a:pt x="204" y="190"/>
                </a:lnTo>
                <a:lnTo>
                  <a:pt x="200" y="189"/>
                </a:lnTo>
                <a:lnTo>
                  <a:pt x="197" y="189"/>
                </a:lnTo>
                <a:lnTo>
                  <a:pt x="194" y="189"/>
                </a:lnTo>
                <a:lnTo>
                  <a:pt x="190" y="186"/>
                </a:lnTo>
                <a:lnTo>
                  <a:pt x="187" y="184"/>
                </a:lnTo>
                <a:lnTo>
                  <a:pt x="182" y="182"/>
                </a:lnTo>
                <a:lnTo>
                  <a:pt x="178" y="182"/>
                </a:lnTo>
                <a:lnTo>
                  <a:pt x="170" y="180"/>
                </a:lnTo>
                <a:lnTo>
                  <a:pt x="162" y="178"/>
                </a:lnTo>
                <a:lnTo>
                  <a:pt x="156" y="178"/>
                </a:lnTo>
                <a:lnTo>
                  <a:pt x="149" y="178"/>
                </a:lnTo>
                <a:lnTo>
                  <a:pt x="146" y="176"/>
                </a:lnTo>
                <a:lnTo>
                  <a:pt x="142" y="175"/>
                </a:lnTo>
                <a:lnTo>
                  <a:pt x="140" y="176"/>
                </a:lnTo>
                <a:lnTo>
                  <a:pt x="138" y="177"/>
                </a:lnTo>
                <a:lnTo>
                  <a:pt x="134" y="177"/>
                </a:lnTo>
                <a:lnTo>
                  <a:pt x="130" y="175"/>
                </a:lnTo>
                <a:lnTo>
                  <a:pt x="129" y="175"/>
                </a:lnTo>
                <a:lnTo>
                  <a:pt x="126" y="175"/>
                </a:lnTo>
                <a:lnTo>
                  <a:pt x="125" y="175"/>
                </a:lnTo>
                <a:lnTo>
                  <a:pt x="123" y="176"/>
                </a:lnTo>
                <a:lnTo>
                  <a:pt x="130" y="178"/>
                </a:lnTo>
                <a:lnTo>
                  <a:pt x="137" y="180"/>
                </a:lnTo>
                <a:lnTo>
                  <a:pt x="133" y="182"/>
                </a:lnTo>
                <a:lnTo>
                  <a:pt x="131" y="183"/>
                </a:lnTo>
                <a:lnTo>
                  <a:pt x="136" y="185"/>
                </a:lnTo>
                <a:lnTo>
                  <a:pt x="140" y="188"/>
                </a:lnTo>
                <a:lnTo>
                  <a:pt x="146" y="189"/>
                </a:lnTo>
                <a:lnTo>
                  <a:pt x="150" y="189"/>
                </a:lnTo>
                <a:lnTo>
                  <a:pt x="150" y="186"/>
                </a:lnTo>
                <a:lnTo>
                  <a:pt x="148" y="186"/>
                </a:lnTo>
                <a:lnTo>
                  <a:pt x="146" y="185"/>
                </a:lnTo>
                <a:lnTo>
                  <a:pt x="144" y="184"/>
                </a:lnTo>
                <a:lnTo>
                  <a:pt x="142" y="184"/>
                </a:lnTo>
                <a:lnTo>
                  <a:pt x="141" y="183"/>
                </a:lnTo>
                <a:lnTo>
                  <a:pt x="140" y="183"/>
                </a:lnTo>
                <a:lnTo>
                  <a:pt x="141" y="181"/>
                </a:lnTo>
                <a:lnTo>
                  <a:pt x="148" y="182"/>
                </a:lnTo>
                <a:lnTo>
                  <a:pt x="156" y="183"/>
                </a:lnTo>
                <a:lnTo>
                  <a:pt x="157" y="185"/>
                </a:lnTo>
                <a:lnTo>
                  <a:pt x="158" y="189"/>
                </a:lnTo>
                <a:lnTo>
                  <a:pt x="157" y="189"/>
                </a:lnTo>
                <a:lnTo>
                  <a:pt x="156" y="190"/>
                </a:lnTo>
                <a:lnTo>
                  <a:pt x="157" y="191"/>
                </a:lnTo>
                <a:lnTo>
                  <a:pt x="158" y="192"/>
                </a:lnTo>
                <a:lnTo>
                  <a:pt x="161" y="192"/>
                </a:lnTo>
                <a:lnTo>
                  <a:pt x="162" y="193"/>
                </a:lnTo>
                <a:lnTo>
                  <a:pt x="162" y="194"/>
                </a:lnTo>
                <a:lnTo>
                  <a:pt x="161" y="196"/>
                </a:lnTo>
                <a:lnTo>
                  <a:pt x="159" y="196"/>
                </a:lnTo>
                <a:lnTo>
                  <a:pt x="157" y="196"/>
                </a:lnTo>
                <a:lnTo>
                  <a:pt x="153" y="196"/>
                </a:lnTo>
                <a:lnTo>
                  <a:pt x="149" y="194"/>
                </a:lnTo>
                <a:lnTo>
                  <a:pt x="144" y="194"/>
                </a:lnTo>
                <a:lnTo>
                  <a:pt x="139" y="192"/>
                </a:lnTo>
                <a:lnTo>
                  <a:pt x="136" y="190"/>
                </a:lnTo>
                <a:lnTo>
                  <a:pt x="131" y="189"/>
                </a:lnTo>
                <a:lnTo>
                  <a:pt x="128" y="189"/>
                </a:lnTo>
                <a:lnTo>
                  <a:pt x="124" y="189"/>
                </a:lnTo>
                <a:lnTo>
                  <a:pt x="123" y="189"/>
                </a:lnTo>
                <a:lnTo>
                  <a:pt x="122" y="189"/>
                </a:lnTo>
                <a:lnTo>
                  <a:pt x="121" y="189"/>
                </a:lnTo>
                <a:lnTo>
                  <a:pt x="121" y="186"/>
                </a:lnTo>
                <a:lnTo>
                  <a:pt x="118" y="185"/>
                </a:lnTo>
                <a:lnTo>
                  <a:pt x="116" y="186"/>
                </a:lnTo>
                <a:lnTo>
                  <a:pt x="115" y="188"/>
                </a:lnTo>
                <a:lnTo>
                  <a:pt x="115" y="189"/>
                </a:lnTo>
                <a:lnTo>
                  <a:pt x="116" y="190"/>
                </a:lnTo>
                <a:lnTo>
                  <a:pt x="117" y="191"/>
                </a:lnTo>
                <a:lnTo>
                  <a:pt x="123" y="192"/>
                </a:lnTo>
                <a:lnTo>
                  <a:pt x="129" y="192"/>
                </a:lnTo>
                <a:lnTo>
                  <a:pt x="133" y="194"/>
                </a:lnTo>
                <a:lnTo>
                  <a:pt x="138" y="197"/>
                </a:lnTo>
                <a:lnTo>
                  <a:pt x="148" y="201"/>
                </a:lnTo>
                <a:lnTo>
                  <a:pt x="159" y="203"/>
                </a:lnTo>
                <a:lnTo>
                  <a:pt x="171" y="206"/>
                </a:lnTo>
                <a:lnTo>
                  <a:pt x="181" y="209"/>
                </a:lnTo>
                <a:lnTo>
                  <a:pt x="187" y="213"/>
                </a:lnTo>
                <a:lnTo>
                  <a:pt x="191" y="216"/>
                </a:lnTo>
                <a:lnTo>
                  <a:pt x="189" y="216"/>
                </a:lnTo>
                <a:lnTo>
                  <a:pt x="184" y="215"/>
                </a:lnTo>
                <a:lnTo>
                  <a:pt x="182" y="214"/>
                </a:lnTo>
                <a:lnTo>
                  <a:pt x="180" y="215"/>
                </a:lnTo>
                <a:lnTo>
                  <a:pt x="179" y="215"/>
                </a:lnTo>
                <a:lnTo>
                  <a:pt x="180" y="217"/>
                </a:lnTo>
                <a:lnTo>
                  <a:pt x="181" y="218"/>
                </a:lnTo>
                <a:lnTo>
                  <a:pt x="183" y="219"/>
                </a:lnTo>
                <a:lnTo>
                  <a:pt x="184" y="219"/>
                </a:lnTo>
                <a:lnTo>
                  <a:pt x="184" y="221"/>
                </a:lnTo>
                <a:lnTo>
                  <a:pt x="183" y="221"/>
                </a:lnTo>
                <a:lnTo>
                  <a:pt x="182" y="222"/>
                </a:lnTo>
                <a:lnTo>
                  <a:pt x="178" y="222"/>
                </a:lnTo>
                <a:lnTo>
                  <a:pt x="172" y="222"/>
                </a:lnTo>
                <a:lnTo>
                  <a:pt x="170" y="221"/>
                </a:lnTo>
                <a:lnTo>
                  <a:pt x="167" y="219"/>
                </a:lnTo>
                <a:lnTo>
                  <a:pt x="165" y="218"/>
                </a:lnTo>
                <a:lnTo>
                  <a:pt x="165" y="217"/>
                </a:lnTo>
                <a:lnTo>
                  <a:pt x="166" y="216"/>
                </a:lnTo>
                <a:lnTo>
                  <a:pt x="167" y="214"/>
                </a:lnTo>
                <a:lnTo>
                  <a:pt x="165" y="213"/>
                </a:lnTo>
                <a:lnTo>
                  <a:pt x="163" y="211"/>
                </a:lnTo>
                <a:lnTo>
                  <a:pt x="161" y="211"/>
                </a:lnTo>
                <a:lnTo>
                  <a:pt x="157" y="211"/>
                </a:lnTo>
                <a:lnTo>
                  <a:pt x="155" y="213"/>
                </a:lnTo>
                <a:lnTo>
                  <a:pt x="153" y="215"/>
                </a:lnTo>
                <a:lnTo>
                  <a:pt x="153" y="213"/>
                </a:lnTo>
                <a:lnTo>
                  <a:pt x="154" y="210"/>
                </a:lnTo>
                <a:lnTo>
                  <a:pt x="154" y="208"/>
                </a:lnTo>
                <a:lnTo>
                  <a:pt x="153" y="208"/>
                </a:lnTo>
                <a:lnTo>
                  <a:pt x="151" y="208"/>
                </a:lnTo>
                <a:lnTo>
                  <a:pt x="149" y="208"/>
                </a:lnTo>
                <a:lnTo>
                  <a:pt x="147" y="209"/>
                </a:lnTo>
                <a:lnTo>
                  <a:pt x="145" y="210"/>
                </a:lnTo>
                <a:lnTo>
                  <a:pt x="148" y="211"/>
                </a:lnTo>
                <a:lnTo>
                  <a:pt x="150" y="214"/>
                </a:lnTo>
                <a:lnTo>
                  <a:pt x="144" y="214"/>
                </a:lnTo>
                <a:lnTo>
                  <a:pt x="136" y="214"/>
                </a:lnTo>
                <a:lnTo>
                  <a:pt x="136" y="215"/>
                </a:lnTo>
                <a:lnTo>
                  <a:pt x="138" y="216"/>
                </a:lnTo>
                <a:lnTo>
                  <a:pt x="139" y="217"/>
                </a:lnTo>
                <a:lnTo>
                  <a:pt x="142" y="217"/>
                </a:lnTo>
                <a:lnTo>
                  <a:pt x="148" y="218"/>
                </a:lnTo>
                <a:lnTo>
                  <a:pt x="151" y="219"/>
                </a:lnTo>
                <a:lnTo>
                  <a:pt x="162" y="223"/>
                </a:lnTo>
                <a:lnTo>
                  <a:pt x="172" y="226"/>
                </a:lnTo>
                <a:lnTo>
                  <a:pt x="183" y="230"/>
                </a:lnTo>
                <a:lnTo>
                  <a:pt x="194" y="233"/>
                </a:lnTo>
                <a:lnTo>
                  <a:pt x="184" y="233"/>
                </a:lnTo>
                <a:lnTo>
                  <a:pt x="175" y="232"/>
                </a:lnTo>
                <a:lnTo>
                  <a:pt x="178" y="234"/>
                </a:lnTo>
                <a:lnTo>
                  <a:pt x="181" y="236"/>
                </a:lnTo>
                <a:lnTo>
                  <a:pt x="177" y="238"/>
                </a:lnTo>
                <a:lnTo>
                  <a:pt x="171" y="238"/>
                </a:lnTo>
                <a:lnTo>
                  <a:pt x="165" y="235"/>
                </a:lnTo>
                <a:lnTo>
                  <a:pt x="159" y="234"/>
                </a:lnTo>
                <a:lnTo>
                  <a:pt x="154" y="232"/>
                </a:lnTo>
                <a:lnTo>
                  <a:pt x="147" y="231"/>
                </a:lnTo>
                <a:lnTo>
                  <a:pt x="142" y="230"/>
                </a:lnTo>
                <a:lnTo>
                  <a:pt x="138" y="228"/>
                </a:lnTo>
                <a:lnTo>
                  <a:pt x="132" y="226"/>
                </a:lnTo>
                <a:lnTo>
                  <a:pt x="126" y="225"/>
                </a:lnTo>
                <a:lnTo>
                  <a:pt x="121" y="223"/>
                </a:lnTo>
                <a:lnTo>
                  <a:pt x="114" y="221"/>
                </a:lnTo>
                <a:lnTo>
                  <a:pt x="107" y="221"/>
                </a:lnTo>
                <a:lnTo>
                  <a:pt x="101" y="222"/>
                </a:lnTo>
                <a:lnTo>
                  <a:pt x="105" y="224"/>
                </a:lnTo>
                <a:lnTo>
                  <a:pt x="108" y="225"/>
                </a:lnTo>
                <a:lnTo>
                  <a:pt x="113" y="226"/>
                </a:lnTo>
                <a:lnTo>
                  <a:pt x="116" y="226"/>
                </a:lnTo>
                <a:lnTo>
                  <a:pt x="125" y="228"/>
                </a:lnTo>
                <a:lnTo>
                  <a:pt x="133" y="231"/>
                </a:lnTo>
                <a:lnTo>
                  <a:pt x="142" y="232"/>
                </a:lnTo>
                <a:lnTo>
                  <a:pt x="151" y="234"/>
                </a:lnTo>
                <a:lnTo>
                  <a:pt x="159" y="236"/>
                </a:lnTo>
                <a:lnTo>
                  <a:pt x="169" y="240"/>
                </a:lnTo>
                <a:lnTo>
                  <a:pt x="172" y="241"/>
                </a:lnTo>
                <a:lnTo>
                  <a:pt x="174" y="242"/>
                </a:lnTo>
                <a:lnTo>
                  <a:pt x="178" y="242"/>
                </a:lnTo>
                <a:lnTo>
                  <a:pt x="181" y="243"/>
                </a:lnTo>
                <a:lnTo>
                  <a:pt x="183" y="244"/>
                </a:lnTo>
                <a:lnTo>
                  <a:pt x="184" y="247"/>
                </a:lnTo>
                <a:lnTo>
                  <a:pt x="184" y="248"/>
                </a:lnTo>
                <a:lnTo>
                  <a:pt x="184" y="249"/>
                </a:lnTo>
                <a:lnTo>
                  <a:pt x="183" y="250"/>
                </a:lnTo>
                <a:lnTo>
                  <a:pt x="182" y="250"/>
                </a:lnTo>
                <a:lnTo>
                  <a:pt x="178" y="248"/>
                </a:lnTo>
                <a:lnTo>
                  <a:pt x="173" y="246"/>
                </a:lnTo>
                <a:lnTo>
                  <a:pt x="166" y="246"/>
                </a:lnTo>
                <a:lnTo>
                  <a:pt x="159" y="244"/>
                </a:lnTo>
                <a:lnTo>
                  <a:pt x="154" y="242"/>
                </a:lnTo>
                <a:lnTo>
                  <a:pt x="148" y="241"/>
                </a:lnTo>
                <a:lnTo>
                  <a:pt x="141" y="240"/>
                </a:lnTo>
                <a:lnTo>
                  <a:pt x="134" y="239"/>
                </a:lnTo>
                <a:lnTo>
                  <a:pt x="128" y="236"/>
                </a:lnTo>
                <a:lnTo>
                  <a:pt x="120" y="236"/>
                </a:lnTo>
                <a:lnTo>
                  <a:pt x="117" y="236"/>
                </a:lnTo>
                <a:lnTo>
                  <a:pt x="116" y="238"/>
                </a:lnTo>
                <a:lnTo>
                  <a:pt x="117" y="239"/>
                </a:lnTo>
                <a:lnTo>
                  <a:pt x="118" y="239"/>
                </a:lnTo>
                <a:lnTo>
                  <a:pt x="122" y="240"/>
                </a:lnTo>
                <a:lnTo>
                  <a:pt x="125" y="240"/>
                </a:lnTo>
                <a:lnTo>
                  <a:pt x="128" y="240"/>
                </a:lnTo>
                <a:lnTo>
                  <a:pt x="132" y="240"/>
                </a:lnTo>
                <a:lnTo>
                  <a:pt x="133" y="241"/>
                </a:lnTo>
                <a:lnTo>
                  <a:pt x="136" y="243"/>
                </a:lnTo>
                <a:lnTo>
                  <a:pt x="141" y="244"/>
                </a:lnTo>
                <a:lnTo>
                  <a:pt x="148" y="244"/>
                </a:lnTo>
                <a:lnTo>
                  <a:pt x="153" y="247"/>
                </a:lnTo>
                <a:lnTo>
                  <a:pt x="157" y="250"/>
                </a:lnTo>
                <a:lnTo>
                  <a:pt x="165" y="251"/>
                </a:lnTo>
                <a:lnTo>
                  <a:pt x="173" y="254"/>
                </a:lnTo>
                <a:lnTo>
                  <a:pt x="167" y="257"/>
                </a:lnTo>
                <a:lnTo>
                  <a:pt x="162" y="258"/>
                </a:lnTo>
                <a:lnTo>
                  <a:pt x="159" y="257"/>
                </a:lnTo>
                <a:lnTo>
                  <a:pt x="157" y="255"/>
                </a:lnTo>
                <a:lnTo>
                  <a:pt x="154" y="254"/>
                </a:lnTo>
                <a:lnTo>
                  <a:pt x="150" y="254"/>
                </a:lnTo>
                <a:lnTo>
                  <a:pt x="144" y="251"/>
                </a:lnTo>
                <a:lnTo>
                  <a:pt x="137" y="251"/>
                </a:lnTo>
                <a:lnTo>
                  <a:pt x="137" y="252"/>
                </a:lnTo>
                <a:lnTo>
                  <a:pt x="137" y="254"/>
                </a:lnTo>
                <a:lnTo>
                  <a:pt x="137" y="255"/>
                </a:lnTo>
                <a:lnTo>
                  <a:pt x="138" y="255"/>
                </a:lnTo>
                <a:lnTo>
                  <a:pt x="141" y="255"/>
                </a:lnTo>
                <a:lnTo>
                  <a:pt x="144" y="256"/>
                </a:lnTo>
                <a:lnTo>
                  <a:pt x="140" y="257"/>
                </a:lnTo>
                <a:lnTo>
                  <a:pt x="138" y="258"/>
                </a:lnTo>
                <a:lnTo>
                  <a:pt x="144" y="258"/>
                </a:lnTo>
                <a:lnTo>
                  <a:pt x="148" y="257"/>
                </a:lnTo>
                <a:lnTo>
                  <a:pt x="150" y="257"/>
                </a:lnTo>
                <a:lnTo>
                  <a:pt x="150" y="257"/>
                </a:lnTo>
                <a:lnTo>
                  <a:pt x="150" y="258"/>
                </a:lnTo>
                <a:lnTo>
                  <a:pt x="151" y="260"/>
                </a:lnTo>
                <a:lnTo>
                  <a:pt x="154" y="263"/>
                </a:lnTo>
                <a:lnTo>
                  <a:pt x="157" y="263"/>
                </a:lnTo>
                <a:lnTo>
                  <a:pt x="159" y="264"/>
                </a:lnTo>
                <a:lnTo>
                  <a:pt x="162" y="264"/>
                </a:lnTo>
                <a:lnTo>
                  <a:pt x="166" y="263"/>
                </a:lnTo>
                <a:lnTo>
                  <a:pt x="172" y="264"/>
                </a:lnTo>
                <a:lnTo>
                  <a:pt x="177" y="266"/>
                </a:lnTo>
                <a:lnTo>
                  <a:pt x="182" y="269"/>
                </a:lnTo>
                <a:lnTo>
                  <a:pt x="190" y="273"/>
                </a:lnTo>
                <a:lnTo>
                  <a:pt x="198" y="274"/>
                </a:lnTo>
                <a:lnTo>
                  <a:pt x="202" y="276"/>
                </a:lnTo>
                <a:lnTo>
                  <a:pt x="204" y="277"/>
                </a:lnTo>
                <a:lnTo>
                  <a:pt x="205" y="281"/>
                </a:lnTo>
                <a:lnTo>
                  <a:pt x="204" y="285"/>
                </a:lnTo>
                <a:lnTo>
                  <a:pt x="208" y="285"/>
                </a:lnTo>
                <a:lnTo>
                  <a:pt x="213" y="285"/>
                </a:lnTo>
                <a:lnTo>
                  <a:pt x="217" y="286"/>
                </a:lnTo>
                <a:lnTo>
                  <a:pt x="221" y="289"/>
                </a:lnTo>
                <a:lnTo>
                  <a:pt x="213" y="290"/>
                </a:lnTo>
                <a:lnTo>
                  <a:pt x="205" y="289"/>
                </a:lnTo>
                <a:lnTo>
                  <a:pt x="202" y="286"/>
                </a:lnTo>
                <a:lnTo>
                  <a:pt x="198" y="283"/>
                </a:lnTo>
                <a:lnTo>
                  <a:pt x="194" y="283"/>
                </a:lnTo>
                <a:lnTo>
                  <a:pt x="188" y="283"/>
                </a:lnTo>
                <a:lnTo>
                  <a:pt x="184" y="283"/>
                </a:lnTo>
                <a:lnTo>
                  <a:pt x="181" y="282"/>
                </a:lnTo>
                <a:lnTo>
                  <a:pt x="180" y="280"/>
                </a:lnTo>
                <a:lnTo>
                  <a:pt x="179" y="277"/>
                </a:lnTo>
                <a:lnTo>
                  <a:pt x="173" y="277"/>
                </a:lnTo>
                <a:lnTo>
                  <a:pt x="166" y="277"/>
                </a:lnTo>
                <a:lnTo>
                  <a:pt x="161" y="275"/>
                </a:lnTo>
                <a:lnTo>
                  <a:pt x="154" y="272"/>
                </a:lnTo>
                <a:lnTo>
                  <a:pt x="148" y="269"/>
                </a:lnTo>
                <a:lnTo>
                  <a:pt x="141" y="268"/>
                </a:lnTo>
                <a:lnTo>
                  <a:pt x="138" y="269"/>
                </a:lnTo>
                <a:lnTo>
                  <a:pt x="136" y="271"/>
                </a:lnTo>
                <a:lnTo>
                  <a:pt x="133" y="272"/>
                </a:lnTo>
                <a:lnTo>
                  <a:pt x="131" y="275"/>
                </a:lnTo>
                <a:lnTo>
                  <a:pt x="146" y="280"/>
                </a:lnTo>
                <a:lnTo>
                  <a:pt x="161" y="285"/>
                </a:lnTo>
                <a:lnTo>
                  <a:pt x="175" y="290"/>
                </a:lnTo>
                <a:lnTo>
                  <a:pt x="190" y="296"/>
                </a:lnTo>
                <a:lnTo>
                  <a:pt x="204" y="300"/>
                </a:lnTo>
                <a:lnTo>
                  <a:pt x="217" y="306"/>
                </a:lnTo>
                <a:lnTo>
                  <a:pt x="223" y="309"/>
                </a:lnTo>
                <a:lnTo>
                  <a:pt x="230" y="313"/>
                </a:lnTo>
                <a:lnTo>
                  <a:pt x="237" y="315"/>
                </a:lnTo>
                <a:lnTo>
                  <a:pt x="244" y="316"/>
                </a:lnTo>
                <a:lnTo>
                  <a:pt x="243" y="318"/>
                </a:lnTo>
                <a:lnTo>
                  <a:pt x="243" y="322"/>
                </a:lnTo>
                <a:lnTo>
                  <a:pt x="244" y="324"/>
                </a:lnTo>
                <a:lnTo>
                  <a:pt x="246" y="326"/>
                </a:lnTo>
                <a:lnTo>
                  <a:pt x="241" y="326"/>
                </a:lnTo>
                <a:lnTo>
                  <a:pt x="239" y="325"/>
                </a:lnTo>
                <a:lnTo>
                  <a:pt x="237" y="324"/>
                </a:lnTo>
                <a:lnTo>
                  <a:pt x="233" y="323"/>
                </a:lnTo>
                <a:lnTo>
                  <a:pt x="229" y="322"/>
                </a:lnTo>
                <a:lnTo>
                  <a:pt x="223" y="321"/>
                </a:lnTo>
                <a:lnTo>
                  <a:pt x="217" y="319"/>
                </a:lnTo>
                <a:lnTo>
                  <a:pt x="215" y="316"/>
                </a:lnTo>
                <a:lnTo>
                  <a:pt x="216" y="315"/>
                </a:lnTo>
                <a:lnTo>
                  <a:pt x="217" y="314"/>
                </a:lnTo>
                <a:lnTo>
                  <a:pt x="219" y="313"/>
                </a:lnTo>
                <a:lnTo>
                  <a:pt x="217" y="311"/>
                </a:lnTo>
                <a:lnTo>
                  <a:pt x="215" y="311"/>
                </a:lnTo>
                <a:lnTo>
                  <a:pt x="213" y="310"/>
                </a:lnTo>
                <a:lnTo>
                  <a:pt x="212" y="310"/>
                </a:lnTo>
                <a:lnTo>
                  <a:pt x="213" y="307"/>
                </a:lnTo>
                <a:lnTo>
                  <a:pt x="205" y="307"/>
                </a:lnTo>
                <a:lnTo>
                  <a:pt x="197" y="308"/>
                </a:lnTo>
                <a:lnTo>
                  <a:pt x="197" y="307"/>
                </a:lnTo>
                <a:lnTo>
                  <a:pt x="198" y="305"/>
                </a:lnTo>
                <a:lnTo>
                  <a:pt x="198" y="304"/>
                </a:lnTo>
                <a:lnTo>
                  <a:pt x="197" y="304"/>
                </a:lnTo>
                <a:lnTo>
                  <a:pt x="194" y="306"/>
                </a:lnTo>
                <a:lnTo>
                  <a:pt x="191" y="308"/>
                </a:lnTo>
                <a:lnTo>
                  <a:pt x="190" y="306"/>
                </a:lnTo>
                <a:lnTo>
                  <a:pt x="189" y="305"/>
                </a:lnTo>
                <a:lnTo>
                  <a:pt x="187" y="304"/>
                </a:lnTo>
                <a:lnTo>
                  <a:pt x="184" y="305"/>
                </a:lnTo>
                <a:lnTo>
                  <a:pt x="178" y="305"/>
                </a:lnTo>
                <a:lnTo>
                  <a:pt x="174" y="306"/>
                </a:lnTo>
                <a:lnTo>
                  <a:pt x="167" y="307"/>
                </a:lnTo>
                <a:lnTo>
                  <a:pt x="162" y="307"/>
                </a:lnTo>
                <a:lnTo>
                  <a:pt x="158" y="307"/>
                </a:lnTo>
                <a:lnTo>
                  <a:pt x="155" y="307"/>
                </a:lnTo>
                <a:lnTo>
                  <a:pt x="151" y="306"/>
                </a:lnTo>
                <a:lnTo>
                  <a:pt x="149" y="304"/>
                </a:lnTo>
                <a:lnTo>
                  <a:pt x="157" y="304"/>
                </a:lnTo>
                <a:lnTo>
                  <a:pt x="165" y="304"/>
                </a:lnTo>
                <a:lnTo>
                  <a:pt x="169" y="302"/>
                </a:lnTo>
                <a:lnTo>
                  <a:pt x="172" y="301"/>
                </a:lnTo>
                <a:lnTo>
                  <a:pt x="177" y="300"/>
                </a:lnTo>
                <a:lnTo>
                  <a:pt x="179" y="298"/>
                </a:lnTo>
                <a:lnTo>
                  <a:pt x="172" y="298"/>
                </a:lnTo>
                <a:lnTo>
                  <a:pt x="165" y="299"/>
                </a:lnTo>
                <a:lnTo>
                  <a:pt x="157" y="298"/>
                </a:lnTo>
                <a:lnTo>
                  <a:pt x="150" y="294"/>
                </a:lnTo>
                <a:lnTo>
                  <a:pt x="146" y="294"/>
                </a:lnTo>
                <a:lnTo>
                  <a:pt x="140" y="294"/>
                </a:lnTo>
                <a:lnTo>
                  <a:pt x="139" y="293"/>
                </a:lnTo>
                <a:lnTo>
                  <a:pt x="138" y="291"/>
                </a:lnTo>
                <a:lnTo>
                  <a:pt x="136" y="292"/>
                </a:lnTo>
                <a:lnTo>
                  <a:pt x="132" y="293"/>
                </a:lnTo>
                <a:lnTo>
                  <a:pt x="120" y="289"/>
                </a:lnTo>
                <a:lnTo>
                  <a:pt x="107" y="285"/>
                </a:lnTo>
                <a:lnTo>
                  <a:pt x="105" y="286"/>
                </a:lnTo>
                <a:lnTo>
                  <a:pt x="101" y="289"/>
                </a:lnTo>
                <a:lnTo>
                  <a:pt x="99" y="289"/>
                </a:lnTo>
                <a:lnTo>
                  <a:pt x="96" y="289"/>
                </a:lnTo>
                <a:lnTo>
                  <a:pt x="92" y="288"/>
                </a:lnTo>
                <a:lnTo>
                  <a:pt x="89" y="288"/>
                </a:lnTo>
                <a:lnTo>
                  <a:pt x="87" y="289"/>
                </a:lnTo>
                <a:lnTo>
                  <a:pt x="83" y="291"/>
                </a:lnTo>
                <a:lnTo>
                  <a:pt x="89" y="292"/>
                </a:lnTo>
                <a:lnTo>
                  <a:pt x="93" y="293"/>
                </a:lnTo>
                <a:lnTo>
                  <a:pt x="96" y="291"/>
                </a:lnTo>
                <a:lnTo>
                  <a:pt x="99" y="290"/>
                </a:lnTo>
                <a:lnTo>
                  <a:pt x="100" y="292"/>
                </a:lnTo>
                <a:lnTo>
                  <a:pt x="100" y="293"/>
                </a:lnTo>
                <a:lnTo>
                  <a:pt x="103" y="294"/>
                </a:lnTo>
                <a:lnTo>
                  <a:pt x="104" y="296"/>
                </a:lnTo>
                <a:lnTo>
                  <a:pt x="114" y="298"/>
                </a:lnTo>
                <a:lnTo>
                  <a:pt x="123" y="300"/>
                </a:lnTo>
                <a:lnTo>
                  <a:pt x="124" y="300"/>
                </a:lnTo>
                <a:lnTo>
                  <a:pt x="125" y="300"/>
                </a:lnTo>
                <a:lnTo>
                  <a:pt x="126" y="299"/>
                </a:lnTo>
                <a:lnTo>
                  <a:pt x="128" y="298"/>
                </a:lnTo>
                <a:lnTo>
                  <a:pt x="130" y="297"/>
                </a:lnTo>
                <a:lnTo>
                  <a:pt x="133" y="297"/>
                </a:lnTo>
                <a:lnTo>
                  <a:pt x="136" y="298"/>
                </a:lnTo>
                <a:lnTo>
                  <a:pt x="136" y="299"/>
                </a:lnTo>
                <a:lnTo>
                  <a:pt x="133" y="300"/>
                </a:lnTo>
                <a:lnTo>
                  <a:pt x="132" y="300"/>
                </a:lnTo>
                <a:lnTo>
                  <a:pt x="130" y="300"/>
                </a:lnTo>
                <a:lnTo>
                  <a:pt x="129" y="301"/>
                </a:lnTo>
                <a:lnTo>
                  <a:pt x="129" y="302"/>
                </a:lnTo>
                <a:lnTo>
                  <a:pt x="131" y="304"/>
                </a:lnTo>
                <a:lnTo>
                  <a:pt x="132" y="304"/>
                </a:lnTo>
                <a:lnTo>
                  <a:pt x="133" y="304"/>
                </a:lnTo>
                <a:lnTo>
                  <a:pt x="142" y="306"/>
                </a:lnTo>
                <a:lnTo>
                  <a:pt x="150" y="309"/>
                </a:lnTo>
                <a:lnTo>
                  <a:pt x="159" y="311"/>
                </a:lnTo>
                <a:lnTo>
                  <a:pt x="167" y="316"/>
                </a:lnTo>
                <a:lnTo>
                  <a:pt x="158" y="315"/>
                </a:lnTo>
                <a:lnTo>
                  <a:pt x="149" y="313"/>
                </a:lnTo>
                <a:lnTo>
                  <a:pt x="149" y="315"/>
                </a:lnTo>
                <a:lnTo>
                  <a:pt x="150" y="317"/>
                </a:lnTo>
                <a:lnTo>
                  <a:pt x="151" y="318"/>
                </a:lnTo>
                <a:lnTo>
                  <a:pt x="150" y="318"/>
                </a:lnTo>
                <a:lnTo>
                  <a:pt x="149" y="319"/>
                </a:lnTo>
                <a:lnTo>
                  <a:pt x="147" y="319"/>
                </a:lnTo>
                <a:lnTo>
                  <a:pt x="142" y="319"/>
                </a:lnTo>
                <a:lnTo>
                  <a:pt x="137" y="317"/>
                </a:lnTo>
                <a:lnTo>
                  <a:pt x="134" y="317"/>
                </a:lnTo>
                <a:lnTo>
                  <a:pt x="132" y="317"/>
                </a:lnTo>
                <a:lnTo>
                  <a:pt x="130" y="317"/>
                </a:lnTo>
                <a:lnTo>
                  <a:pt x="128" y="318"/>
                </a:lnTo>
                <a:lnTo>
                  <a:pt x="137" y="322"/>
                </a:lnTo>
                <a:lnTo>
                  <a:pt x="147" y="324"/>
                </a:lnTo>
                <a:lnTo>
                  <a:pt x="149" y="325"/>
                </a:lnTo>
                <a:lnTo>
                  <a:pt x="150" y="325"/>
                </a:lnTo>
                <a:lnTo>
                  <a:pt x="151" y="325"/>
                </a:lnTo>
                <a:lnTo>
                  <a:pt x="151" y="324"/>
                </a:lnTo>
                <a:lnTo>
                  <a:pt x="150" y="322"/>
                </a:lnTo>
                <a:lnTo>
                  <a:pt x="151" y="318"/>
                </a:lnTo>
                <a:lnTo>
                  <a:pt x="157" y="318"/>
                </a:lnTo>
                <a:lnTo>
                  <a:pt x="163" y="321"/>
                </a:lnTo>
                <a:lnTo>
                  <a:pt x="174" y="324"/>
                </a:lnTo>
                <a:lnTo>
                  <a:pt x="186" y="327"/>
                </a:lnTo>
                <a:lnTo>
                  <a:pt x="182" y="324"/>
                </a:lnTo>
                <a:lnTo>
                  <a:pt x="179" y="323"/>
                </a:lnTo>
                <a:lnTo>
                  <a:pt x="183" y="322"/>
                </a:lnTo>
                <a:lnTo>
                  <a:pt x="189" y="323"/>
                </a:lnTo>
                <a:lnTo>
                  <a:pt x="194" y="324"/>
                </a:lnTo>
                <a:lnTo>
                  <a:pt x="198" y="326"/>
                </a:lnTo>
                <a:lnTo>
                  <a:pt x="194" y="327"/>
                </a:lnTo>
                <a:lnTo>
                  <a:pt x="189" y="327"/>
                </a:lnTo>
                <a:lnTo>
                  <a:pt x="192" y="330"/>
                </a:lnTo>
                <a:lnTo>
                  <a:pt x="197" y="332"/>
                </a:lnTo>
                <a:lnTo>
                  <a:pt x="202" y="334"/>
                </a:lnTo>
                <a:lnTo>
                  <a:pt x="206" y="335"/>
                </a:lnTo>
                <a:lnTo>
                  <a:pt x="208" y="332"/>
                </a:lnTo>
                <a:lnTo>
                  <a:pt x="213" y="331"/>
                </a:lnTo>
                <a:lnTo>
                  <a:pt x="221" y="334"/>
                </a:lnTo>
                <a:lnTo>
                  <a:pt x="228" y="339"/>
                </a:lnTo>
                <a:lnTo>
                  <a:pt x="222" y="339"/>
                </a:lnTo>
                <a:lnTo>
                  <a:pt x="213" y="338"/>
                </a:lnTo>
                <a:lnTo>
                  <a:pt x="224" y="342"/>
                </a:lnTo>
                <a:lnTo>
                  <a:pt x="236" y="347"/>
                </a:lnTo>
                <a:lnTo>
                  <a:pt x="247" y="352"/>
                </a:lnTo>
                <a:lnTo>
                  <a:pt x="258" y="356"/>
                </a:lnTo>
                <a:lnTo>
                  <a:pt x="263" y="356"/>
                </a:lnTo>
                <a:lnTo>
                  <a:pt x="266" y="357"/>
                </a:lnTo>
                <a:lnTo>
                  <a:pt x="271" y="358"/>
                </a:lnTo>
                <a:lnTo>
                  <a:pt x="274" y="360"/>
                </a:lnTo>
                <a:lnTo>
                  <a:pt x="279" y="360"/>
                </a:lnTo>
                <a:lnTo>
                  <a:pt x="282" y="360"/>
                </a:lnTo>
                <a:lnTo>
                  <a:pt x="285" y="360"/>
                </a:lnTo>
                <a:lnTo>
                  <a:pt x="286" y="362"/>
                </a:lnTo>
                <a:lnTo>
                  <a:pt x="288" y="363"/>
                </a:lnTo>
                <a:lnTo>
                  <a:pt x="289" y="365"/>
                </a:lnTo>
                <a:lnTo>
                  <a:pt x="287" y="365"/>
                </a:lnTo>
                <a:lnTo>
                  <a:pt x="285" y="365"/>
                </a:lnTo>
                <a:lnTo>
                  <a:pt x="284" y="365"/>
                </a:lnTo>
                <a:lnTo>
                  <a:pt x="282" y="365"/>
                </a:lnTo>
                <a:lnTo>
                  <a:pt x="282" y="366"/>
                </a:lnTo>
                <a:lnTo>
                  <a:pt x="284" y="367"/>
                </a:lnTo>
                <a:lnTo>
                  <a:pt x="289" y="368"/>
                </a:lnTo>
                <a:lnTo>
                  <a:pt x="293" y="371"/>
                </a:lnTo>
                <a:lnTo>
                  <a:pt x="293" y="372"/>
                </a:lnTo>
                <a:lnTo>
                  <a:pt x="293" y="373"/>
                </a:lnTo>
                <a:lnTo>
                  <a:pt x="291" y="373"/>
                </a:lnTo>
                <a:lnTo>
                  <a:pt x="289" y="373"/>
                </a:lnTo>
                <a:lnTo>
                  <a:pt x="287" y="372"/>
                </a:lnTo>
                <a:lnTo>
                  <a:pt x="285" y="372"/>
                </a:lnTo>
                <a:lnTo>
                  <a:pt x="284" y="371"/>
                </a:lnTo>
                <a:lnTo>
                  <a:pt x="281" y="371"/>
                </a:lnTo>
                <a:lnTo>
                  <a:pt x="281" y="374"/>
                </a:lnTo>
                <a:lnTo>
                  <a:pt x="284" y="376"/>
                </a:lnTo>
                <a:lnTo>
                  <a:pt x="286" y="375"/>
                </a:lnTo>
                <a:lnTo>
                  <a:pt x="289" y="374"/>
                </a:lnTo>
                <a:lnTo>
                  <a:pt x="291" y="375"/>
                </a:lnTo>
                <a:lnTo>
                  <a:pt x="294" y="376"/>
                </a:lnTo>
                <a:lnTo>
                  <a:pt x="301" y="376"/>
                </a:lnTo>
                <a:lnTo>
                  <a:pt x="307" y="375"/>
                </a:lnTo>
                <a:lnTo>
                  <a:pt x="311" y="377"/>
                </a:lnTo>
                <a:lnTo>
                  <a:pt x="312" y="381"/>
                </a:lnTo>
                <a:lnTo>
                  <a:pt x="311" y="381"/>
                </a:lnTo>
                <a:lnTo>
                  <a:pt x="310" y="382"/>
                </a:lnTo>
                <a:lnTo>
                  <a:pt x="309" y="382"/>
                </a:lnTo>
                <a:lnTo>
                  <a:pt x="306" y="382"/>
                </a:lnTo>
                <a:lnTo>
                  <a:pt x="303" y="381"/>
                </a:lnTo>
                <a:lnTo>
                  <a:pt x="301" y="380"/>
                </a:lnTo>
                <a:lnTo>
                  <a:pt x="299" y="381"/>
                </a:lnTo>
                <a:lnTo>
                  <a:pt x="297" y="384"/>
                </a:lnTo>
                <a:lnTo>
                  <a:pt x="302" y="383"/>
                </a:lnTo>
                <a:lnTo>
                  <a:pt x="305" y="383"/>
                </a:lnTo>
                <a:lnTo>
                  <a:pt x="309" y="385"/>
                </a:lnTo>
                <a:lnTo>
                  <a:pt x="313" y="388"/>
                </a:lnTo>
                <a:lnTo>
                  <a:pt x="322" y="391"/>
                </a:lnTo>
                <a:lnTo>
                  <a:pt x="331" y="394"/>
                </a:lnTo>
                <a:lnTo>
                  <a:pt x="331" y="393"/>
                </a:lnTo>
                <a:lnTo>
                  <a:pt x="334" y="391"/>
                </a:lnTo>
                <a:lnTo>
                  <a:pt x="335" y="391"/>
                </a:lnTo>
                <a:lnTo>
                  <a:pt x="337" y="392"/>
                </a:lnTo>
                <a:lnTo>
                  <a:pt x="338" y="393"/>
                </a:lnTo>
                <a:lnTo>
                  <a:pt x="338" y="394"/>
                </a:lnTo>
                <a:lnTo>
                  <a:pt x="337" y="394"/>
                </a:lnTo>
                <a:lnTo>
                  <a:pt x="337" y="396"/>
                </a:lnTo>
                <a:lnTo>
                  <a:pt x="335" y="396"/>
                </a:lnTo>
                <a:lnTo>
                  <a:pt x="332" y="396"/>
                </a:lnTo>
                <a:lnTo>
                  <a:pt x="340" y="400"/>
                </a:lnTo>
                <a:lnTo>
                  <a:pt x="350" y="404"/>
                </a:lnTo>
                <a:lnTo>
                  <a:pt x="354" y="406"/>
                </a:lnTo>
                <a:lnTo>
                  <a:pt x="360" y="408"/>
                </a:lnTo>
                <a:lnTo>
                  <a:pt x="365" y="410"/>
                </a:lnTo>
                <a:lnTo>
                  <a:pt x="370" y="413"/>
                </a:lnTo>
                <a:lnTo>
                  <a:pt x="372" y="415"/>
                </a:lnTo>
                <a:lnTo>
                  <a:pt x="375" y="417"/>
                </a:lnTo>
                <a:lnTo>
                  <a:pt x="378" y="418"/>
                </a:lnTo>
                <a:lnTo>
                  <a:pt x="383" y="421"/>
                </a:lnTo>
                <a:lnTo>
                  <a:pt x="384" y="422"/>
                </a:lnTo>
                <a:lnTo>
                  <a:pt x="386" y="423"/>
                </a:lnTo>
                <a:lnTo>
                  <a:pt x="388" y="423"/>
                </a:lnTo>
                <a:lnTo>
                  <a:pt x="390" y="423"/>
                </a:lnTo>
                <a:lnTo>
                  <a:pt x="393" y="423"/>
                </a:lnTo>
                <a:lnTo>
                  <a:pt x="395" y="424"/>
                </a:lnTo>
                <a:lnTo>
                  <a:pt x="396" y="425"/>
                </a:lnTo>
                <a:lnTo>
                  <a:pt x="397" y="426"/>
                </a:lnTo>
                <a:lnTo>
                  <a:pt x="404" y="431"/>
                </a:lnTo>
                <a:lnTo>
                  <a:pt x="412" y="433"/>
                </a:lnTo>
                <a:lnTo>
                  <a:pt x="416" y="437"/>
                </a:lnTo>
                <a:lnTo>
                  <a:pt x="417" y="440"/>
                </a:lnTo>
                <a:lnTo>
                  <a:pt x="414" y="441"/>
                </a:lnTo>
                <a:lnTo>
                  <a:pt x="411" y="441"/>
                </a:lnTo>
                <a:lnTo>
                  <a:pt x="410" y="441"/>
                </a:lnTo>
                <a:lnTo>
                  <a:pt x="409" y="442"/>
                </a:lnTo>
                <a:lnTo>
                  <a:pt x="408" y="443"/>
                </a:lnTo>
                <a:lnTo>
                  <a:pt x="406" y="445"/>
                </a:lnTo>
                <a:lnTo>
                  <a:pt x="408" y="447"/>
                </a:lnTo>
                <a:lnTo>
                  <a:pt x="409" y="448"/>
                </a:lnTo>
                <a:lnTo>
                  <a:pt x="411" y="448"/>
                </a:lnTo>
                <a:lnTo>
                  <a:pt x="412" y="449"/>
                </a:lnTo>
                <a:lnTo>
                  <a:pt x="418" y="450"/>
                </a:lnTo>
                <a:lnTo>
                  <a:pt x="422" y="449"/>
                </a:lnTo>
                <a:lnTo>
                  <a:pt x="427" y="448"/>
                </a:lnTo>
                <a:lnTo>
                  <a:pt x="433" y="447"/>
                </a:lnTo>
                <a:lnTo>
                  <a:pt x="431" y="449"/>
                </a:lnTo>
                <a:lnTo>
                  <a:pt x="431" y="450"/>
                </a:lnTo>
                <a:lnTo>
                  <a:pt x="433" y="451"/>
                </a:lnTo>
                <a:lnTo>
                  <a:pt x="434" y="451"/>
                </a:lnTo>
                <a:lnTo>
                  <a:pt x="437" y="452"/>
                </a:lnTo>
                <a:lnTo>
                  <a:pt x="441" y="452"/>
                </a:lnTo>
                <a:lnTo>
                  <a:pt x="444" y="452"/>
                </a:lnTo>
                <a:lnTo>
                  <a:pt x="446" y="452"/>
                </a:lnTo>
                <a:lnTo>
                  <a:pt x="447" y="454"/>
                </a:lnTo>
                <a:lnTo>
                  <a:pt x="447" y="455"/>
                </a:lnTo>
                <a:lnTo>
                  <a:pt x="447" y="456"/>
                </a:lnTo>
                <a:lnTo>
                  <a:pt x="446" y="456"/>
                </a:lnTo>
                <a:lnTo>
                  <a:pt x="445" y="457"/>
                </a:lnTo>
                <a:lnTo>
                  <a:pt x="445" y="459"/>
                </a:lnTo>
                <a:lnTo>
                  <a:pt x="447" y="460"/>
                </a:lnTo>
                <a:lnTo>
                  <a:pt x="451" y="460"/>
                </a:lnTo>
                <a:lnTo>
                  <a:pt x="460" y="463"/>
                </a:lnTo>
                <a:lnTo>
                  <a:pt x="470" y="467"/>
                </a:lnTo>
                <a:lnTo>
                  <a:pt x="463" y="467"/>
                </a:lnTo>
                <a:lnTo>
                  <a:pt x="458" y="467"/>
                </a:lnTo>
                <a:lnTo>
                  <a:pt x="451" y="467"/>
                </a:lnTo>
                <a:lnTo>
                  <a:pt x="445" y="465"/>
                </a:lnTo>
                <a:lnTo>
                  <a:pt x="441" y="462"/>
                </a:lnTo>
                <a:lnTo>
                  <a:pt x="436" y="457"/>
                </a:lnTo>
                <a:lnTo>
                  <a:pt x="433" y="456"/>
                </a:lnTo>
                <a:lnTo>
                  <a:pt x="430" y="456"/>
                </a:lnTo>
                <a:lnTo>
                  <a:pt x="428" y="456"/>
                </a:lnTo>
                <a:lnTo>
                  <a:pt x="425" y="458"/>
                </a:lnTo>
                <a:lnTo>
                  <a:pt x="422" y="462"/>
                </a:lnTo>
                <a:lnTo>
                  <a:pt x="421" y="464"/>
                </a:lnTo>
                <a:lnTo>
                  <a:pt x="421" y="466"/>
                </a:lnTo>
                <a:lnTo>
                  <a:pt x="422" y="467"/>
                </a:lnTo>
                <a:lnTo>
                  <a:pt x="423" y="467"/>
                </a:lnTo>
                <a:lnTo>
                  <a:pt x="426" y="467"/>
                </a:lnTo>
                <a:lnTo>
                  <a:pt x="427" y="470"/>
                </a:lnTo>
                <a:lnTo>
                  <a:pt x="429" y="471"/>
                </a:lnTo>
                <a:lnTo>
                  <a:pt x="431" y="471"/>
                </a:lnTo>
                <a:lnTo>
                  <a:pt x="433" y="470"/>
                </a:lnTo>
                <a:lnTo>
                  <a:pt x="433" y="470"/>
                </a:lnTo>
                <a:lnTo>
                  <a:pt x="431" y="472"/>
                </a:lnTo>
                <a:lnTo>
                  <a:pt x="436" y="473"/>
                </a:lnTo>
                <a:lnTo>
                  <a:pt x="439" y="476"/>
                </a:lnTo>
                <a:lnTo>
                  <a:pt x="442" y="479"/>
                </a:lnTo>
                <a:lnTo>
                  <a:pt x="443" y="481"/>
                </a:lnTo>
                <a:lnTo>
                  <a:pt x="450" y="482"/>
                </a:lnTo>
                <a:lnTo>
                  <a:pt x="455" y="482"/>
                </a:lnTo>
                <a:lnTo>
                  <a:pt x="461" y="487"/>
                </a:lnTo>
                <a:lnTo>
                  <a:pt x="466" y="490"/>
                </a:lnTo>
                <a:lnTo>
                  <a:pt x="472" y="493"/>
                </a:lnTo>
                <a:lnTo>
                  <a:pt x="480" y="497"/>
                </a:lnTo>
                <a:lnTo>
                  <a:pt x="475" y="499"/>
                </a:lnTo>
                <a:lnTo>
                  <a:pt x="469" y="500"/>
                </a:lnTo>
                <a:lnTo>
                  <a:pt x="472" y="503"/>
                </a:lnTo>
                <a:lnTo>
                  <a:pt x="477" y="504"/>
                </a:lnTo>
                <a:lnTo>
                  <a:pt x="482" y="504"/>
                </a:lnTo>
                <a:lnTo>
                  <a:pt x="485" y="503"/>
                </a:lnTo>
                <a:lnTo>
                  <a:pt x="487" y="500"/>
                </a:lnTo>
                <a:lnTo>
                  <a:pt x="487" y="497"/>
                </a:lnTo>
                <a:lnTo>
                  <a:pt x="485" y="495"/>
                </a:lnTo>
                <a:lnTo>
                  <a:pt x="482" y="493"/>
                </a:lnTo>
                <a:lnTo>
                  <a:pt x="485" y="492"/>
                </a:lnTo>
                <a:lnTo>
                  <a:pt x="490" y="493"/>
                </a:lnTo>
                <a:lnTo>
                  <a:pt x="493" y="493"/>
                </a:lnTo>
                <a:lnTo>
                  <a:pt x="496" y="496"/>
                </a:lnTo>
                <a:lnTo>
                  <a:pt x="500" y="497"/>
                </a:lnTo>
                <a:lnTo>
                  <a:pt x="503" y="499"/>
                </a:lnTo>
                <a:lnTo>
                  <a:pt x="505" y="503"/>
                </a:lnTo>
                <a:lnTo>
                  <a:pt x="508" y="505"/>
                </a:lnTo>
                <a:lnTo>
                  <a:pt x="504" y="503"/>
                </a:lnTo>
                <a:lnTo>
                  <a:pt x="499" y="500"/>
                </a:lnTo>
                <a:lnTo>
                  <a:pt x="496" y="499"/>
                </a:lnTo>
                <a:lnTo>
                  <a:pt x="494" y="498"/>
                </a:lnTo>
                <a:lnTo>
                  <a:pt x="492" y="498"/>
                </a:lnTo>
                <a:lnTo>
                  <a:pt x="491" y="499"/>
                </a:lnTo>
                <a:lnTo>
                  <a:pt x="490" y="500"/>
                </a:lnTo>
                <a:lnTo>
                  <a:pt x="490" y="503"/>
                </a:lnTo>
                <a:lnTo>
                  <a:pt x="490" y="505"/>
                </a:lnTo>
                <a:lnTo>
                  <a:pt x="491" y="506"/>
                </a:lnTo>
                <a:lnTo>
                  <a:pt x="495" y="508"/>
                </a:lnTo>
                <a:lnTo>
                  <a:pt x="499" y="510"/>
                </a:lnTo>
                <a:lnTo>
                  <a:pt x="502" y="510"/>
                </a:lnTo>
                <a:lnTo>
                  <a:pt x="507" y="510"/>
                </a:lnTo>
                <a:lnTo>
                  <a:pt x="510" y="512"/>
                </a:lnTo>
                <a:lnTo>
                  <a:pt x="513" y="512"/>
                </a:lnTo>
                <a:lnTo>
                  <a:pt x="515" y="513"/>
                </a:lnTo>
                <a:lnTo>
                  <a:pt x="516" y="512"/>
                </a:lnTo>
                <a:lnTo>
                  <a:pt x="516" y="509"/>
                </a:lnTo>
                <a:lnTo>
                  <a:pt x="518" y="508"/>
                </a:lnTo>
                <a:lnTo>
                  <a:pt x="521" y="508"/>
                </a:lnTo>
                <a:lnTo>
                  <a:pt x="526" y="510"/>
                </a:lnTo>
                <a:lnTo>
                  <a:pt x="529" y="512"/>
                </a:lnTo>
                <a:lnTo>
                  <a:pt x="534" y="514"/>
                </a:lnTo>
                <a:lnTo>
                  <a:pt x="540" y="518"/>
                </a:lnTo>
                <a:lnTo>
                  <a:pt x="548" y="523"/>
                </a:lnTo>
                <a:lnTo>
                  <a:pt x="549" y="523"/>
                </a:lnTo>
                <a:lnTo>
                  <a:pt x="551" y="524"/>
                </a:lnTo>
                <a:lnTo>
                  <a:pt x="553" y="525"/>
                </a:lnTo>
                <a:lnTo>
                  <a:pt x="553" y="526"/>
                </a:lnTo>
                <a:lnTo>
                  <a:pt x="551" y="528"/>
                </a:lnTo>
                <a:lnTo>
                  <a:pt x="548" y="526"/>
                </a:lnTo>
                <a:lnTo>
                  <a:pt x="544" y="525"/>
                </a:lnTo>
                <a:lnTo>
                  <a:pt x="541" y="524"/>
                </a:lnTo>
                <a:lnTo>
                  <a:pt x="537" y="522"/>
                </a:lnTo>
                <a:lnTo>
                  <a:pt x="535" y="517"/>
                </a:lnTo>
                <a:lnTo>
                  <a:pt x="532" y="518"/>
                </a:lnTo>
                <a:lnTo>
                  <a:pt x="529" y="518"/>
                </a:lnTo>
                <a:lnTo>
                  <a:pt x="527" y="517"/>
                </a:lnTo>
                <a:lnTo>
                  <a:pt x="525" y="516"/>
                </a:lnTo>
                <a:lnTo>
                  <a:pt x="523" y="515"/>
                </a:lnTo>
                <a:lnTo>
                  <a:pt x="521" y="514"/>
                </a:lnTo>
                <a:lnTo>
                  <a:pt x="519" y="514"/>
                </a:lnTo>
                <a:lnTo>
                  <a:pt x="519" y="516"/>
                </a:lnTo>
                <a:lnTo>
                  <a:pt x="521" y="517"/>
                </a:lnTo>
                <a:lnTo>
                  <a:pt x="524" y="520"/>
                </a:lnTo>
                <a:lnTo>
                  <a:pt x="526" y="521"/>
                </a:lnTo>
                <a:lnTo>
                  <a:pt x="527" y="521"/>
                </a:lnTo>
                <a:lnTo>
                  <a:pt x="528" y="521"/>
                </a:lnTo>
                <a:lnTo>
                  <a:pt x="530" y="520"/>
                </a:lnTo>
                <a:lnTo>
                  <a:pt x="530" y="523"/>
                </a:lnTo>
                <a:lnTo>
                  <a:pt x="533" y="525"/>
                </a:lnTo>
                <a:lnTo>
                  <a:pt x="535" y="526"/>
                </a:lnTo>
                <a:lnTo>
                  <a:pt x="537" y="526"/>
                </a:lnTo>
                <a:lnTo>
                  <a:pt x="540" y="526"/>
                </a:lnTo>
                <a:lnTo>
                  <a:pt x="541" y="529"/>
                </a:lnTo>
                <a:lnTo>
                  <a:pt x="530" y="529"/>
                </a:lnTo>
                <a:lnTo>
                  <a:pt x="521" y="528"/>
                </a:lnTo>
                <a:lnTo>
                  <a:pt x="512" y="525"/>
                </a:lnTo>
                <a:lnTo>
                  <a:pt x="504" y="522"/>
                </a:lnTo>
                <a:lnTo>
                  <a:pt x="495" y="518"/>
                </a:lnTo>
                <a:lnTo>
                  <a:pt x="486" y="516"/>
                </a:lnTo>
                <a:lnTo>
                  <a:pt x="477" y="514"/>
                </a:lnTo>
                <a:lnTo>
                  <a:pt x="468" y="512"/>
                </a:lnTo>
                <a:lnTo>
                  <a:pt x="459" y="507"/>
                </a:lnTo>
                <a:lnTo>
                  <a:pt x="451" y="505"/>
                </a:lnTo>
                <a:lnTo>
                  <a:pt x="447" y="505"/>
                </a:lnTo>
                <a:lnTo>
                  <a:pt x="444" y="505"/>
                </a:lnTo>
                <a:lnTo>
                  <a:pt x="442" y="506"/>
                </a:lnTo>
                <a:lnTo>
                  <a:pt x="442" y="506"/>
                </a:lnTo>
                <a:lnTo>
                  <a:pt x="441" y="507"/>
                </a:lnTo>
                <a:lnTo>
                  <a:pt x="442" y="508"/>
                </a:lnTo>
                <a:lnTo>
                  <a:pt x="446" y="509"/>
                </a:lnTo>
                <a:lnTo>
                  <a:pt x="451" y="509"/>
                </a:lnTo>
                <a:lnTo>
                  <a:pt x="455" y="513"/>
                </a:lnTo>
                <a:lnTo>
                  <a:pt x="460" y="516"/>
                </a:lnTo>
                <a:lnTo>
                  <a:pt x="468" y="521"/>
                </a:lnTo>
                <a:lnTo>
                  <a:pt x="475" y="525"/>
                </a:lnTo>
                <a:lnTo>
                  <a:pt x="471" y="526"/>
                </a:lnTo>
                <a:lnTo>
                  <a:pt x="469" y="526"/>
                </a:lnTo>
                <a:lnTo>
                  <a:pt x="467" y="525"/>
                </a:lnTo>
                <a:lnTo>
                  <a:pt x="466" y="524"/>
                </a:lnTo>
                <a:lnTo>
                  <a:pt x="463" y="524"/>
                </a:lnTo>
                <a:lnTo>
                  <a:pt x="459" y="524"/>
                </a:lnTo>
                <a:lnTo>
                  <a:pt x="454" y="524"/>
                </a:lnTo>
                <a:lnTo>
                  <a:pt x="450" y="524"/>
                </a:lnTo>
                <a:lnTo>
                  <a:pt x="444" y="525"/>
                </a:lnTo>
                <a:lnTo>
                  <a:pt x="441" y="528"/>
                </a:lnTo>
                <a:lnTo>
                  <a:pt x="449" y="529"/>
                </a:lnTo>
                <a:lnTo>
                  <a:pt x="456" y="529"/>
                </a:lnTo>
                <a:lnTo>
                  <a:pt x="463" y="528"/>
                </a:lnTo>
                <a:lnTo>
                  <a:pt x="470" y="529"/>
                </a:lnTo>
                <a:lnTo>
                  <a:pt x="472" y="529"/>
                </a:lnTo>
                <a:lnTo>
                  <a:pt x="474" y="530"/>
                </a:lnTo>
                <a:lnTo>
                  <a:pt x="474" y="531"/>
                </a:lnTo>
                <a:lnTo>
                  <a:pt x="474" y="531"/>
                </a:lnTo>
                <a:lnTo>
                  <a:pt x="472" y="532"/>
                </a:lnTo>
                <a:lnTo>
                  <a:pt x="472" y="532"/>
                </a:lnTo>
                <a:lnTo>
                  <a:pt x="474" y="532"/>
                </a:lnTo>
                <a:lnTo>
                  <a:pt x="472" y="532"/>
                </a:lnTo>
                <a:lnTo>
                  <a:pt x="474" y="532"/>
                </a:lnTo>
                <a:lnTo>
                  <a:pt x="474" y="532"/>
                </a:lnTo>
                <a:lnTo>
                  <a:pt x="475" y="532"/>
                </a:lnTo>
                <a:lnTo>
                  <a:pt x="476" y="532"/>
                </a:lnTo>
                <a:lnTo>
                  <a:pt x="478" y="533"/>
                </a:lnTo>
                <a:lnTo>
                  <a:pt x="479" y="533"/>
                </a:lnTo>
                <a:lnTo>
                  <a:pt x="488" y="537"/>
                </a:lnTo>
                <a:lnTo>
                  <a:pt x="499" y="540"/>
                </a:lnTo>
                <a:lnTo>
                  <a:pt x="493" y="540"/>
                </a:lnTo>
                <a:lnTo>
                  <a:pt x="487" y="540"/>
                </a:lnTo>
                <a:lnTo>
                  <a:pt x="490" y="543"/>
                </a:lnTo>
                <a:lnTo>
                  <a:pt x="493" y="545"/>
                </a:lnTo>
                <a:lnTo>
                  <a:pt x="496" y="545"/>
                </a:lnTo>
                <a:lnTo>
                  <a:pt x="500" y="545"/>
                </a:lnTo>
                <a:lnTo>
                  <a:pt x="508" y="548"/>
                </a:lnTo>
                <a:lnTo>
                  <a:pt x="517" y="548"/>
                </a:lnTo>
                <a:lnTo>
                  <a:pt x="519" y="548"/>
                </a:lnTo>
                <a:lnTo>
                  <a:pt x="521" y="548"/>
                </a:lnTo>
                <a:lnTo>
                  <a:pt x="523" y="548"/>
                </a:lnTo>
                <a:lnTo>
                  <a:pt x="524" y="549"/>
                </a:lnTo>
                <a:lnTo>
                  <a:pt x="523" y="549"/>
                </a:lnTo>
                <a:lnTo>
                  <a:pt x="521" y="551"/>
                </a:lnTo>
                <a:lnTo>
                  <a:pt x="520" y="551"/>
                </a:lnTo>
                <a:lnTo>
                  <a:pt x="518" y="551"/>
                </a:lnTo>
                <a:lnTo>
                  <a:pt x="513" y="553"/>
                </a:lnTo>
                <a:lnTo>
                  <a:pt x="510" y="555"/>
                </a:lnTo>
                <a:lnTo>
                  <a:pt x="517" y="555"/>
                </a:lnTo>
                <a:lnTo>
                  <a:pt x="523" y="557"/>
                </a:lnTo>
                <a:lnTo>
                  <a:pt x="526" y="556"/>
                </a:lnTo>
                <a:lnTo>
                  <a:pt x="528" y="555"/>
                </a:lnTo>
                <a:lnTo>
                  <a:pt x="529" y="554"/>
                </a:lnTo>
                <a:lnTo>
                  <a:pt x="529" y="551"/>
                </a:lnTo>
                <a:lnTo>
                  <a:pt x="528" y="550"/>
                </a:lnTo>
                <a:lnTo>
                  <a:pt x="528" y="548"/>
                </a:lnTo>
                <a:lnTo>
                  <a:pt x="532" y="547"/>
                </a:lnTo>
                <a:lnTo>
                  <a:pt x="534" y="548"/>
                </a:lnTo>
                <a:lnTo>
                  <a:pt x="538" y="548"/>
                </a:lnTo>
                <a:lnTo>
                  <a:pt x="543" y="549"/>
                </a:lnTo>
                <a:lnTo>
                  <a:pt x="546" y="549"/>
                </a:lnTo>
                <a:lnTo>
                  <a:pt x="551" y="548"/>
                </a:lnTo>
                <a:lnTo>
                  <a:pt x="542" y="545"/>
                </a:lnTo>
                <a:lnTo>
                  <a:pt x="532" y="542"/>
                </a:lnTo>
                <a:lnTo>
                  <a:pt x="523" y="540"/>
                </a:lnTo>
                <a:lnTo>
                  <a:pt x="515" y="535"/>
                </a:lnTo>
                <a:lnTo>
                  <a:pt x="515" y="533"/>
                </a:lnTo>
                <a:lnTo>
                  <a:pt x="516" y="532"/>
                </a:lnTo>
                <a:lnTo>
                  <a:pt x="518" y="531"/>
                </a:lnTo>
                <a:lnTo>
                  <a:pt x="521" y="532"/>
                </a:lnTo>
                <a:lnTo>
                  <a:pt x="524" y="533"/>
                </a:lnTo>
                <a:lnTo>
                  <a:pt x="527" y="534"/>
                </a:lnTo>
                <a:lnTo>
                  <a:pt x="529" y="533"/>
                </a:lnTo>
                <a:lnTo>
                  <a:pt x="532" y="530"/>
                </a:lnTo>
                <a:lnTo>
                  <a:pt x="535" y="531"/>
                </a:lnTo>
                <a:lnTo>
                  <a:pt x="540" y="533"/>
                </a:lnTo>
                <a:lnTo>
                  <a:pt x="541" y="534"/>
                </a:lnTo>
                <a:lnTo>
                  <a:pt x="541" y="535"/>
                </a:lnTo>
                <a:lnTo>
                  <a:pt x="540" y="535"/>
                </a:lnTo>
                <a:lnTo>
                  <a:pt x="538" y="535"/>
                </a:lnTo>
                <a:lnTo>
                  <a:pt x="537" y="537"/>
                </a:lnTo>
                <a:lnTo>
                  <a:pt x="537" y="539"/>
                </a:lnTo>
                <a:lnTo>
                  <a:pt x="543" y="540"/>
                </a:lnTo>
                <a:lnTo>
                  <a:pt x="549" y="540"/>
                </a:lnTo>
                <a:lnTo>
                  <a:pt x="548" y="538"/>
                </a:lnTo>
                <a:lnTo>
                  <a:pt x="545" y="535"/>
                </a:lnTo>
                <a:lnTo>
                  <a:pt x="544" y="535"/>
                </a:lnTo>
                <a:lnTo>
                  <a:pt x="544" y="534"/>
                </a:lnTo>
                <a:lnTo>
                  <a:pt x="544" y="533"/>
                </a:lnTo>
                <a:lnTo>
                  <a:pt x="546" y="532"/>
                </a:lnTo>
                <a:lnTo>
                  <a:pt x="548" y="531"/>
                </a:lnTo>
                <a:lnTo>
                  <a:pt x="550" y="532"/>
                </a:lnTo>
                <a:lnTo>
                  <a:pt x="551" y="533"/>
                </a:lnTo>
                <a:lnTo>
                  <a:pt x="552" y="534"/>
                </a:lnTo>
                <a:lnTo>
                  <a:pt x="554" y="538"/>
                </a:lnTo>
                <a:lnTo>
                  <a:pt x="558" y="540"/>
                </a:lnTo>
                <a:lnTo>
                  <a:pt x="561" y="540"/>
                </a:lnTo>
                <a:lnTo>
                  <a:pt x="560" y="539"/>
                </a:lnTo>
                <a:lnTo>
                  <a:pt x="559" y="537"/>
                </a:lnTo>
                <a:lnTo>
                  <a:pt x="558" y="535"/>
                </a:lnTo>
                <a:lnTo>
                  <a:pt x="558" y="534"/>
                </a:lnTo>
                <a:lnTo>
                  <a:pt x="559" y="532"/>
                </a:lnTo>
                <a:lnTo>
                  <a:pt x="560" y="532"/>
                </a:lnTo>
                <a:lnTo>
                  <a:pt x="562" y="532"/>
                </a:lnTo>
                <a:lnTo>
                  <a:pt x="568" y="533"/>
                </a:lnTo>
                <a:lnTo>
                  <a:pt x="570" y="534"/>
                </a:lnTo>
                <a:lnTo>
                  <a:pt x="566" y="535"/>
                </a:lnTo>
                <a:lnTo>
                  <a:pt x="561" y="535"/>
                </a:lnTo>
                <a:lnTo>
                  <a:pt x="563" y="537"/>
                </a:lnTo>
                <a:lnTo>
                  <a:pt x="563" y="538"/>
                </a:lnTo>
                <a:lnTo>
                  <a:pt x="563" y="539"/>
                </a:lnTo>
                <a:lnTo>
                  <a:pt x="563" y="541"/>
                </a:lnTo>
                <a:lnTo>
                  <a:pt x="563" y="542"/>
                </a:lnTo>
                <a:lnTo>
                  <a:pt x="563" y="543"/>
                </a:lnTo>
                <a:lnTo>
                  <a:pt x="565" y="543"/>
                </a:lnTo>
                <a:lnTo>
                  <a:pt x="568" y="545"/>
                </a:lnTo>
                <a:lnTo>
                  <a:pt x="571" y="543"/>
                </a:lnTo>
                <a:lnTo>
                  <a:pt x="576" y="543"/>
                </a:lnTo>
                <a:lnTo>
                  <a:pt x="577" y="545"/>
                </a:lnTo>
                <a:lnTo>
                  <a:pt x="577" y="546"/>
                </a:lnTo>
                <a:lnTo>
                  <a:pt x="576" y="547"/>
                </a:lnTo>
                <a:lnTo>
                  <a:pt x="576" y="548"/>
                </a:lnTo>
                <a:lnTo>
                  <a:pt x="585" y="549"/>
                </a:lnTo>
                <a:lnTo>
                  <a:pt x="593" y="551"/>
                </a:lnTo>
                <a:lnTo>
                  <a:pt x="599" y="556"/>
                </a:lnTo>
                <a:lnTo>
                  <a:pt x="603" y="560"/>
                </a:lnTo>
                <a:lnTo>
                  <a:pt x="610" y="563"/>
                </a:lnTo>
                <a:lnTo>
                  <a:pt x="617" y="563"/>
                </a:lnTo>
                <a:lnTo>
                  <a:pt x="623" y="565"/>
                </a:lnTo>
                <a:lnTo>
                  <a:pt x="627" y="568"/>
                </a:lnTo>
                <a:lnTo>
                  <a:pt x="633" y="572"/>
                </a:lnTo>
                <a:lnTo>
                  <a:pt x="639" y="574"/>
                </a:lnTo>
                <a:lnTo>
                  <a:pt x="641" y="576"/>
                </a:lnTo>
                <a:lnTo>
                  <a:pt x="643" y="578"/>
                </a:lnTo>
                <a:lnTo>
                  <a:pt x="647" y="578"/>
                </a:lnTo>
                <a:lnTo>
                  <a:pt x="649" y="578"/>
                </a:lnTo>
                <a:lnTo>
                  <a:pt x="656" y="580"/>
                </a:lnTo>
                <a:lnTo>
                  <a:pt x="661" y="583"/>
                </a:lnTo>
                <a:lnTo>
                  <a:pt x="668" y="586"/>
                </a:lnTo>
                <a:lnTo>
                  <a:pt x="675" y="587"/>
                </a:lnTo>
                <a:lnTo>
                  <a:pt x="680" y="587"/>
                </a:lnTo>
                <a:lnTo>
                  <a:pt x="683" y="584"/>
                </a:lnTo>
                <a:lnTo>
                  <a:pt x="681" y="583"/>
                </a:lnTo>
                <a:lnTo>
                  <a:pt x="677" y="583"/>
                </a:lnTo>
                <a:lnTo>
                  <a:pt x="668" y="581"/>
                </a:lnTo>
                <a:lnTo>
                  <a:pt x="660" y="578"/>
                </a:lnTo>
                <a:lnTo>
                  <a:pt x="657" y="578"/>
                </a:lnTo>
                <a:lnTo>
                  <a:pt x="653" y="576"/>
                </a:lnTo>
                <a:lnTo>
                  <a:pt x="652" y="575"/>
                </a:lnTo>
                <a:lnTo>
                  <a:pt x="652" y="574"/>
                </a:lnTo>
                <a:lnTo>
                  <a:pt x="652" y="573"/>
                </a:lnTo>
                <a:lnTo>
                  <a:pt x="651" y="572"/>
                </a:lnTo>
                <a:lnTo>
                  <a:pt x="650" y="572"/>
                </a:lnTo>
                <a:lnTo>
                  <a:pt x="649" y="572"/>
                </a:lnTo>
                <a:lnTo>
                  <a:pt x="641" y="570"/>
                </a:lnTo>
                <a:lnTo>
                  <a:pt x="633" y="567"/>
                </a:lnTo>
                <a:lnTo>
                  <a:pt x="625" y="563"/>
                </a:lnTo>
                <a:lnTo>
                  <a:pt x="618" y="558"/>
                </a:lnTo>
                <a:lnTo>
                  <a:pt x="609" y="556"/>
                </a:lnTo>
                <a:lnTo>
                  <a:pt x="601" y="554"/>
                </a:lnTo>
                <a:lnTo>
                  <a:pt x="593" y="550"/>
                </a:lnTo>
                <a:lnTo>
                  <a:pt x="585" y="547"/>
                </a:lnTo>
                <a:lnTo>
                  <a:pt x="582" y="543"/>
                </a:lnTo>
                <a:lnTo>
                  <a:pt x="578" y="538"/>
                </a:lnTo>
                <a:lnTo>
                  <a:pt x="586" y="540"/>
                </a:lnTo>
                <a:lnTo>
                  <a:pt x="594" y="542"/>
                </a:lnTo>
                <a:lnTo>
                  <a:pt x="596" y="546"/>
                </a:lnTo>
                <a:lnTo>
                  <a:pt x="600" y="548"/>
                </a:lnTo>
                <a:lnTo>
                  <a:pt x="603" y="549"/>
                </a:lnTo>
                <a:lnTo>
                  <a:pt x="607" y="549"/>
                </a:lnTo>
                <a:lnTo>
                  <a:pt x="614" y="553"/>
                </a:lnTo>
                <a:lnTo>
                  <a:pt x="626" y="557"/>
                </a:lnTo>
                <a:lnTo>
                  <a:pt x="639" y="563"/>
                </a:lnTo>
                <a:lnTo>
                  <a:pt x="644" y="564"/>
                </a:lnTo>
                <a:lnTo>
                  <a:pt x="644" y="566"/>
                </a:lnTo>
                <a:lnTo>
                  <a:pt x="645" y="568"/>
                </a:lnTo>
                <a:lnTo>
                  <a:pt x="649" y="570"/>
                </a:lnTo>
                <a:lnTo>
                  <a:pt x="651" y="571"/>
                </a:lnTo>
                <a:lnTo>
                  <a:pt x="658" y="572"/>
                </a:lnTo>
                <a:lnTo>
                  <a:pt x="664" y="573"/>
                </a:lnTo>
                <a:lnTo>
                  <a:pt x="680" y="580"/>
                </a:lnTo>
                <a:lnTo>
                  <a:pt x="697" y="587"/>
                </a:lnTo>
                <a:lnTo>
                  <a:pt x="692" y="587"/>
                </a:lnTo>
                <a:lnTo>
                  <a:pt x="688" y="587"/>
                </a:lnTo>
                <a:lnTo>
                  <a:pt x="686" y="587"/>
                </a:lnTo>
                <a:lnTo>
                  <a:pt x="684" y="587"/>
                </a:lnTo>
                <a:lnTo>
                  <a:pt x="682" y="588"/>
                </a:lnTo>
                <a:lnTo>
                  <a:pt x="681" y="590"/>
                </a:lnTo>
                <a:lnTo>
                  <a:pt x="689" y="592"/>
                </a:lnTo>
                <a:lnTo>
                  <a:pt x="698" y="592"/>
                </a:lnTo>
                <a:lnTo>
                  <a:pt x="707" y="592"/>
                </a:lnTo>
                <a:lnTo>
                  <a:pt x="716" y="592"/>
                </a:lnTo>
                <a:lnTo>
                  <a:pt x="725" y="593"/>
                </a:lnTo>
                <a:lnTo>
                  <a:pt x="734" y="595"/>
                </a:lnTo>
                <a:lnTo>
                  <a:pt x="736" y="596"/>
                </a:lnTo>
                <a:lnTo>
                  <a:pt x="739" y="596"/>
                </a:lnTo>
                <a:lnTo>
                  <a:pt x="740" y="595"/>
                </a:lnTo>
                <a:lnTo>
                  <a:pt x="743" y="593"/>
                </a:lnTo>
                <a:lnTo>
                  <a:pt x="741" y="592"/>
                </a:lnTo>
                <a:lnTo>
                  <a:pt x="740" y="591"/>
                </a:lnTo>
                <a:lnTo>
                  <a:pt x="739" y="589"/>
                </a:lnTo>
                <a:lnTo>
                  <a:pt x="740" y="587"/>
                </a:lnTo>
                <a:lnTo>
                  <a:pt x="738" y="584"/>
                </a:lnTo>
                <a:lnTo>
                  <a:pt x="736" y="582"/>
                </a:lnTo>
                <a:lnTo>
                  <a:pt x="733" y="581"/>
                </a:lnTo>
                <a:lnTo>
                  <a:pt x="731" y="581"/>
                </a:lnTo>
                <a:lnTo>
                  <a:pt x="726" y="584"/>
                </a:lnTo>
                <a:lnTo>
                  <a:pt x="721" y="586"/>
                </a:lnTo>
                <a:lnTo>
                  <a:pt x="719" y="583"/>
                </a:lnTo>
                <a:lnTo>
                  <a:pt x="719" y="581"/>
                </a:lnTo>
                <a:lnTo>
                  <a:pt x="727" y="578"/>
                </a:lnTo>
                <a:lnTo>
                  <a:pt x="735" y="578"/>
                </a:lnTo>
                <a:lnTo>
                  <a:pt x="743" y="581"/>
                </a:lnTo>
                <a:lnTo>
                  <a:pt x="751" y="584"/>
                </a:lnTo>
                <a:lnTo>
                  <a:pt x="748" y="584"/>
                </a:lnTo>
                <a:lnTo>
                  <a:pt x="743" y="586"/>
                </a:lnTo>
                <a:lnTo>
                  <a:pt x="742" y="587"/>
                </a:lnTo>
                <a:lnTo>
                  <a:pt x="742" y="588"/>
                </a:lnTo>
                <a:lnTo>
                  <a:pt x="742" y="589"/>
                </a:lnTo>
                <a:lnTo>
                  <a:pt x="743" y="590"/>
                </a:lnTo>
                <a:lnTo>
                  <a:pt x="748" y="591"/>
                </a:lnTo>
                <a:lnTo>
                  <a:pt x="754" y="592"/>
                </a:lnTo>
                <a:lnTo>
                  <a:pt x="758" y="591"/>
                </a:lnTo>
                <a:lnTo>
                  <a:pt x="763" y="590"/>
                </a:lnTo>
                <a:lnTo>
                  <a:pt x="764" y="588"/>
                </a:lnTo>
                <a:lnTo>
                  <a:pt x="765" y="586"/>
                </a:lnTo>
                <a:lnTo>
                  <a:pt x="767" y="584"/>
                </a:lnTo>
                <a:lnTo>
                  <a:pt x="771" y="586"/>
                </a:lnTo>
                <a:lnTo>
                  <a:pt x="773" y="588"/>
                </a:lnTo>
                <a:lnTo>
                  <a:pt x="774" y="589"/>
                </a:lnTo>
                <a:lnTo>
                  <a:pt x="773" y="590"/>
                </a:lnTo>
                <a:lnTo>
                  <a:pt x="771" y="592"/>
                </a:lnTo>
                <a:lnTo>
                  <a:pt x="776" y="593"/>
                </a:lnTo>
                <a:lnTo>
                  <a:pt x="782" y="595"/>
                </a:lnTo>
                <a:lnTo>
                  <a:pt x="787" y="592"/>
                </a:lnTo>
                <a:lnTo>
                  <a:pt x="791" y="590"/>
                </a:lnTo>
                <a:lnTo>
                  <a:pt x="797" y="592"/>
                </a:lnTo>
                <a:lnTo>
                  <a:pt x="802" y="596"/>
                </a:lnTo>
                <a:lnTo>
                  <a:pt x="810" y="597"/>
                </a:lnTo>
                <a:lnTo>
                  <a:pt x="817" y="600"/>
                </a:lnTo>
                <a:lnTo>
                  <a:pt x="808" y="600"/>
                </a:lnTo>
                <a:lnTo>
                  <a:pt x="799" y="599"/>
                </a:lnTo>
                <a:lnTo>
                  <a:pt x="790" y="598"/>
                </a:lnTo>
                <a:lnTo>
                  <a:pt x="781" y="598"/>
                </a:lnTo>
                <a:lnTo>
                  <a:pt x="777" y="598"/>
                </a:lnTo>
                <a:lnTo>
                  <a:pt x="773" y="598"/>
                </a:lnTo>
                <a:lnTo>
                  <a:pt x="769" y="600"/>
                </a:lnTo>
                <a:lnTo>
                  <a:pt x="766" y="603"/>
                </a:lnTo>
                <a:lnTo>
                  <a:pt x="764" y="601"/>
                </a:lnTo>
                <a:lnTo>
                  <a:pt x="762" y="600"/>
                </a:lnTo>
                <a:lnTo>
                  <a:pt x="759" y="599"/>
                </a:lnTo>
                <a:lnTo>
                  <a:pt x="756" y="599"/>
                </a:lnTo>
                <a:lnTo>
                  <a:pt x="754" y="598"/>
                </a:lnTo>
                <a:lnTo>
                  <a:pt x="751" y="596"/>
                </a:lnTo>
                <a:lnTo>
                  <a:pt x="750" y="595"/>
                </a:lnTo>
                <a:lnTo>
                  <a:pt x="748" y="596"/>
                </a:lnTo>
                <a:lnTo>
                  <a:pt x="747" y="597"/>
                </a:lnTo>
                <a:lnTo>
                  <a:pt x="747" y="598"/>
                </a:lnTo>
                <a:lnTo>
                  <a:pt x="747" y="599"/>
                </a:lnTo>
                <a:lnTo>
                  <a:pt x="748" y="599"/>
                </a:lnTo>
                <a:lnTo>
                  <a:pt x="749" y="600"/>
                </a:lnTo>
                <a:lnTo>
                  <a:pt x="750" y="601"/>
                </a:lnTo>
                <a:lnTo>
                  <a:pt x="750" y="603"/>
                </a:lnTo>
                <a:lnTo>
                  <a:pt x="749" y="604"/>
                </a:lnTo>
                <a:lnTo>
                  <a:pt x="748" y="604"/>
                </a:lnTo>
                <a:lnTo>
                  <a:pt x="746" y="604"/>
                </a:lnTo>
                <a:lnTo>
                  <a:pt x="742" y="603"/>
                </a:lnTo>
                <a:lnTo>
                  <a:pt x="740" y="601"/>
                </a:lnTo>
                <a:lnTo>
                  <a:pt x="735" y="600"/>
                </a:lnTo>
                <a:lnTo>
                  <a:pt x="731" y="600"/>
                </a:lnTo>
                <a:lnTo>
                  <a:pt x="727" y="600"/>
                </a:lnTo>
                <a:lnTo>
                  <a:pt x="723" y="600"/>
                </a:lnTo>
                <a:lnTo>
                  <a:pt x="735" y="604"/>
                </a:lnTo>
                <a:lnTo>
                  <a:pt x="749" y="607"/>
                </a:lnTo>
                <a:lnTo>
                  <a:pt x="754" y="611"/>
                </a:lnTo>
                <a:lnTo>
                  <a:pt x="759" y="612"/>
                </a:lnTo>
                <a:lnTo>
                  <a:pt x="764" y="609"/>
                </a:lnTo>
                <a:lnTo>
                  <a:pt x="767" y="606"/>
                </a:lnTo>
                <a:lnTo>
                  <a:pt x="772" y="607"/>
                </a:lnTo>
                <a:lnTo>
                  <a:pt x="776" y="608"/>
                </a:lnTo>
                <a:lnTo>
                  <a:pt x="780" y="607"/>
                </a:lnTo>
                <a:lnTo>
                  <a:pt x="782" y="604"/>
                </a:lnTo>
                <a:lnTo>
                  <a:pt x="783" y="603"/>
                </a:lnTo>
                <a:lnTo>
                  <a:pt x="783" y="603"/>
                </a:lnTo>
                <a:lnTo>
                  <a:pt x="784" y="603"/>
                </a:lnTo>
                <a:lnTo>
                  <a:pt x="785" y="604"/>
                </a:lnTo>
                <a:lnTo>
                  <a:pt x="788" y="605"/>
                </a:lnTo>
                <a:lnTo>
                  <a:pt x="790" y="606"/>
                </a:lnTo>
                <a:lnTo>
                  <a:pt x="792" y="605"/>
                </a:lnTo>
                <a:lnTo>
                  <a:pt x="796" y="605"/>
                </a:lnTo>
                <a:lnTo>
                  <a:pt x="801" y="604"/>
                </a:lnTo>
                <a:lnTo>
                  <a:pt x="808" y="604"/>
                </a:lnTo>
                <a:lnTo>
                  <a:pt x="813" y="605"/>
                </a:lnTo>
                <a:lnTo>
                  <a:pt x="817" y="606"/>
                </a:lnTo>
                <a:lnTo>
                  <a:pt x="822" y="605"/>
                </a:lnTo>
                <a:lnTo>
                  <a:pt x="824" y="606"/>
                </a:lnTo>
                <a:lnTo>
                  <a:pt x="823" y="608"/>
                </a:lnTo>
                <a:lnTo>
                  <a:pt x="820" y="609"/>
                </a:lnTo>
                <a:lnTo>
                  <a:pt x="806" y="609"/>
                </a:lnTo>
                <a:lnTo>
                  <a:pt x="792" y="608"/>
                </a:lnTo>
                <a:lnTo>
                  <a:pt x="789" y="611"/>
                </a:lnTo>
                <a:lnTo>
                  <a:pt x="785" y="613"/>
                </a:lnTo>
                <a:lnTo>
                  <a:pt x="780" y="613"/>
                </a:lnTo>
                <a:lnTo>
                  <a:pt x="774" y="612"/>
                </a:lnTo>
                <a:lnTo>
                  <a:pt x="776" y="614"/>
                </a:lnTo>
                <a:lnTo>
                  <a:pt x="777" y="615"/>
                </a:lnTo>
                <a:lnTo>
                  <a:pt x="777" y="617"/>
                </a:lnTo>
                <a:lnTo>
                  <a:pt x="775" y="620"/>
                </a:lnTo>
                <a:lnTo>
                  <a:pt x="785" y="618"/>
                </a:lnTo>
                <a:lnTo>
                  <a:pt x="796" y="620"/>
                </a:lnTo>
                <a:lnTo>
                  <a:pt x="798" y="618"/>
                </a:lnTo>
                <a:lnTo>
                  <a:pt x="799" y="620"/>
                </a:lnTo>
                <a:lnTo>
                  <a:pt x="799" y="621"/>
                </a:lnTo>
                <a:lnTo>
                  <a:pt x="798" y="622"/>
                </a:lnTo>
                <a:lnTo>
                  <a:pt x="799" y="623"/>
                </a:lnTo>
                <a:lnTo>
                  <a:pt x="800" y="623"/>
                </a:lnTo>
                <a:lnTo>
                  <a:pt x="802" y="628"/>
                </a:lnTo>
                <a:lnTo>
                  <a:pt x="805" y="629"/>
                </a:lnTo>
                <a:lnTo>
                  <a:pt x="808" y="630"/>
                </a:lnTo>
                <a:lnTo>
                  <a:pt x="812" y="630"/>
                </a:lnTo>
                <a:lnTo>
                  <a:pt x="817" y="628"/>
                </a:lnTo>
                <a:lnTo>
                  <a:pt x="823" y="623"/>
                </a:lnTo>
                <a:lnTo>
                  <a:pt x="817" y="621"/>
                </a:lnTo>
                <a:lnTo>
                  <a:pt x="812" y="620"/>
                </a:lnTo>
                <a:lnTo>
                  <a:pt x="806" y="618"/>
                </a:lnTo>
                <a:lnTo>
                  <a:pt x="800" y="617"/>
                </a:lnTo>
                <a:lnTo>
                  <a:pt x="799" y="615"/>
                </a:lnTo>
                <a:lnTo>
                  <a:pt x="799" y="615"/>
                </a:lnTo>
                <a:lnTo>
                  <a:pt x="800" y="615"/>
                </a:lnTo>
                <a:lnTo>
                  <a:pt x="802" y="615"/>
                </a:lnTo>
                <a:lnTo>
                  <a:pt x="805" y="615"/>
                </a:lnTo>
                <a:lnTo>
                  <a:pt x="808" y="615"/>
                </a:lnTo>
                <a:lnTo>
                  <a:pt x="810" y="614"/>
                </a:lnTo>
                <a:lnTo>
                  <a:pt x="814" y="613"/>
                </a:lnTo>
                <a:lnTo>
                  <a:pt x="821" y="612"/>
                </a:lnTo>
                <a:lnTo>
                  <a:pt x="826" y="612"/>
                </a:lnTo>
                <a:lnTo>
                  <a:pt x="831" y="611"/>
                </a:lnTo>
                <a:lnTo>
                  <a:pt x="835" y="608"/>
                </a:lnTo>
                <a:lnTo>
                  <a:pt x="839" y="607"/>
                </a:lnTo>
                <a:lnTo>
                  <a:pt x="842" y="609"/>
                </a:lnTo>
                <a:lnTo>
                  <a:pt x="842" y="611"/>
                </a:lnTo>
                <a:lnTo>
                  <a:pt x="843" y="612"/>
                </a:lnTo>
                <a:lnTo>
                  <a:pt x="847" y="611"/>
                </a:lnTo>
                <a:lnTo>
                  <a:pt x="848" y="609"/>
                </a:lnTo>
                <a:lnTo>
                  <a:pt x="855" y="608"/>
                </a:lnTo>
                <a:lnTo>
                  <a:pt x="861" y="608"/>
                </a:lnTo>
                <a:lnTo>
                  <a:pt x="867" y="609"/>
                </a:lnTo>
                <a:lnTo>
                  <a:pt x="873" y="609"/>
                </a:lnTo>
                <a:lnTo>
                  <a:pt x="880" y="608"/>
                </a:lnTo>
                <a:lnTo>
                  <a:pt x="887" y="607"/>
                </a:lnTo>
                <a:lnTo>
                  <a:pt x="895" y="607"/>
                </a:lnTo>
                <a:lnTo>
                  <a:pt x="902" y="607"/>
                </a:lnTo>
                <a:lnTo>
                  <a:pt x="917" y="607"/>
                </a:lnTo>
                <a:lnTo>
                  <a:pt x="933" y="607"/>
                </a:lnTo>
                <a:lnTo>
                  <a:pt x="941" y="607"/>
                </a:lnTo>
                <a:lnTo>
                  <a:pt x="949" y="608"/>
                </a:lnTo>
                <a:lnTo>
                  <a:pt x="955" y="609"/>
                </a:lnTo>
                <a:lnTo>
                  <a:pt x="960" y="612"/>
                </a:lnTo>
                <a:lnTo>
                  <a:pt x="953" y="613"/>
                </a:lnTo>
                <a:lnTo>
                  <a:pt x="948" y="612"/>
                </a:lnTo>
                <a:lnTo>
                  <a:pt x="948" y="612"/>
                </a:lnTo>
                <a:lnTo>
                  <a:pt x="948" y="612"/>
                </a:lnTo>
                <a:lnTo>
                  <a:pt x="944" y="612"/>
                </a:lnTo>
                <a:lnTo>
                  <a:pt x="940" y="613"/>
                </a:lnTo>
                <a:lnTo>
                  <a:pt x="940" y="615"/>
                </a:lnTo>
                <a:lnTo>
                  <a:pt x="941" y="616"/>
                </a:lnTo>
                <a:lnTo>
                  <a:pt x="942" y="617"/>
                </a:lnTo>
                <a:lnTo>
                  <a:pt x="944" y="617"/>
                </a:lnTo>
                <a:lnTo>
                  <a:pt x="948" y="617"/>
                </a:lnTo>
                <a:lnTo>
                  <a:pt x="952" y="616"/>
                </a:lnTo>
                <a:lnTo>
                  <a:pt x="956" y="614"/>
                </a:lnTo>
                <a:lnTo>
                  <a:pt x="960" y="612"/>
                </a:lnTo>
                <a:lnTo>
                  <a:pt x="961" y="612"/>
                </a:lnTo>
                <a:lnTo>
                  <a:pt x="963" y="613"/>
                </a:lnTo>
                <a:lnTo>
                  <a:pt x="966" y="613"/>
                </a:lnTo>
                <a:lnTo>
                  <a:pt x="969" y="612"/>
                </a:lnTo>
                <a:lnTo>
                  <a:pt x="979" y="611"/>
                </a:lnTo>
                <a:lnTo>
                  <a:pt x="988" y="612"/>
                </a:lnTo>
                <a:lnTo>
                  <a:pt x="990" y="612"/>
                </a:lnTo>
                <a:lnTo>
                  <a:pt x="993" y="613"/>
                </a:lnTo>
                <a:lnTo>
                  <a:pt x="993" y="614"/>
                </a:lnTo>
                <a:lnTo>
                  <a:pt x="991" y="616"/>
                </a:lnTo>
                <a:lnTo>
                  <a:pt x="989" y="617"/>
                </a:lnTo>
                <a:lnTo>
                  <a:pt x="988" y="618"/>
                </a:lnTo>
                <a:lnTo>
                  <a:pt x="987" y="620"/>
                </a:lnTo>
                <a:lnTo>
                  <a:pt x="986" y="618"/>
                </a:lnTo>
                <a:lnTo>
                  <a:pt x="985" y="618"/>
                </a:lnTo>
                <a:lnTo>
                  <a:pt x="982" y="620"/>
                </a:lnTo>
                <a:lnTo>
                  <a:pt x="982" y="621"/>
                </a:lnTo>
                <a:lnTo>
                  <a:pt x="981" y="623"/>
                </a:lnTo>
                <a:lnTo>
                  <a:pt x="978" y="623"/>
                </a:lnTo>
                <a:lnTo>
                  <a:pt x="974" y="622"/>
                </a:lnTo>
                <a:lnTo>
                  <a:pt x="964" y="623"/>
                </a:lnTo>
                <a:lnTo>
                  <a:pt x="956" y="626"/>
                </a:lnTo>
                <a:lnTo>
                  <a:pt x="952" y="626"/>
                </a:lnTo>
                <a:lnTo>
                  <a:pt x="947" y="626"/>
                </a:lnTo>
                <a:lnTo>
                  <a:pt x="942" y="626"/>
                </a:lnTo>
                <a:lnTo>
                  <a:pt x="939" y="624"/>
                </a:lnTo>
                <a:lnTo>
                  <a:pt x="939" y="622"/>
                </a:lnTo>
                <a:lnTo>
                  <a:pt x="939" y="620"/>
                </a:lnTo>
                <a:lnTo>
                  <a:pt x="938" y="617"/>
                </a:lnTo>
                <a:lnTo>
                  <a:pt x="937" y="615"/>
                </a:lnTo>
                <a:lnTo>
                  <a:pt x="935" y="616"/>
                </a:lnTo>
                <a:lnTo>
                  <a:pt x="932" y="617"/>
                </a:lnTo>
                <a:lnTo>
                  <a:pt x="930" y="617"/>
                </a:lnTo>
                <a:lnTo>
                  <a:pt x="927" y="617"/>
                </a:lnTo>
                <a:lnTo>
                  <a:pt x="922" y="620"/>
                </a:lnTo>
                <a:lnTo>
                  <a:pt x="917" y="623"/>
                </a:lnTo>
                <a:lnTo>
                  <a:pt x="913" y="621"/>
                </a:lnTo>
                <a:lnTo>
                  <a:pt x="908" y="617"/>
                </a:lnTo>
                <a:lnTo>
                  <a:pt x="906" y="618"/>
                </a:lnTo>
                <a:lnTo>
                  <a:pt x="905" y="620"/>
                </a:lnTo>
                <a:lnTo>
                  <a:pt x="907" y="622"/>
                </a:lnTo>
                <a:lnTo>
                  <a:pt x="908" y="622"/>
                </a:lnTo>
                <a:lnTo>
                  <a:pt x="909" y="623"/>
                </a:lnTo>
                <a:lnTo>
                  <a:pt x="908" y="624"/>
                </a:lnTo>
                <a:lnTo>
                  <a:pt x="907" y="625"/>
                </a:lnTo>
                <a:lnTo>
                  <a:pt x="906" y="626"/>
                </a:lnTo>
                <a:lnTo>
                  <a:pt x="903" y="628"/>
                </a:lnTo>
                <a:lnTo>
                  <a:pt x="899" y="629"/>
                </a:lnTo>
                <a:lnTo>
                  <a:pt x="890" y="629"/>
                </a:lnTo>
                <a:lnTo>
                  <a:pt x="882" y="628"/>
                </a:lnTo>
                <a:lnTo>
                  <a:pt x="874" y="629"/>
                </a:lnTo>
                <a:lnTo>
                  <a:pt x="866" y="630"/>
                </a:lnTo>
                <a:lnTo>
                  <a:pt x="863" y="630"/>
                </a:lnTo>
                <a:lnTo>
                  <a:pt x="858" y="631"/>
                </a:lnTo>
                <a:lnTo>
                  <a:pt x="855" y="632"/>
                </a:lnTo>
                <a:lnTo>
                  <a:pt x="854" y="634"/>
                </a:lnTo>
                <a:lnTo>
                  <a:pt x="851" y="636"/>
                </a:lnTo>
                <a:lnTo>
                  <a:pt x="848" y="636"/>
                </a:lnTo>
                <a:lnTo>
                  <a:pt x="846" y="636"/>
                </a:lnTo>
                <a:lnTo>
                  <a:pt x="845" y="633"/>
                </a:lnTo>
                <a:lnTo>
                  <a:pt x="846" y="632"/>
                </a:lnTo>
                <a:lnTo>
                  <a:pt x="847" y="632"/>
                </a:lnTo>
                <a:lnTo>
                  <a:pt x="846" y="631"/>
                </a:lnTo>
                <a:lnTo>
                  <a:pt x="847" y="632"/>
                </a:lnTo>
                <a:lnTo>
                  <a:pt x="847" y="628"/>
                </a:lnTo>
                <a:lnTo>
                  <a:pt x="847" y="624"/>
                </a:lnTo>
                <a:lnTo>
                  <a:pt x="846" y="623"/>
                </a:lnTo>
                <a:lnTo>
                  <a:pt x="845" y="623"/>
                </a:lnTo>
                <a:lnTo>
                  <a:pt x="843" y="624"/>
                </a:lnTo>
                <a:lnTo>
                  <a:pt x="845" y="626"/>
                </a:lnTo>
                <a:lnTo>
                  <a:pt x="843" y="628"/>
                </a:lnTo>
                <a:lnTo>
                  <a:pt x="841" y="630"/>
                </a:lnTo>
                <a:lnTo>
                  <a:pt x="838" y="631"/>
                </a:lnTo>
                <a:lnTo>
                  <a:pt x="834" y="631"/>
                </a:lnTo>
                <a:lnTo>
                  <a:pt x="838" y="632"/>
                </a:lnTo>
                <a:lnTo>
                  <a:pt x="841" y="634"/>
                </a:lnTo>
                <a:lnTo>
                  <a:pt x="845" y="637"/>
                </a:lnTo>
                <a:lnTo>
                  <a:pt x="848" y="636"/>
                </a:lnTo>
                <a:lnTo>
                  <a:pt x="849" y="637"/>
                </a:lnTo>
                <a:lnTo>
                  <a:pt x="848" y="636"/>
                </a:lnTo>
                <a:lnTo>
                  <a:pt x="850" y="637"/>
                </a:lnTo>
                <a:lnTo>
                  <a:pt x="851" y="637"/>
                </a:lnTo>
                <a:lnTo>
                  <a:pt x="853" y="636"/>
                </a:lnTo>
                <a:lnTo>
                  <a:pt x="854" y="634"/>
                </a:lnTo>
                <a:lnTo>
                  <a:pt x="858" y="634"/>
                </a:lnTo>
                <a:lnTo>
                  <a:pt x="862" y="634"/>
                </a:lnTo>
                <a:lnTo>
                  <a:pt x="865" y="634"/>
                </a:lnTo>
                <a:lnTo>
                  <a:pt x="867" y="633"/>
                </a:lnTo>
                <a:lnTo>
                  <a:pt x="870" y="632"/>
                </a:lnTo>
                <a:lnTo>
                  <a:pt x="872" y="631"/>
                </a:lnTo>
                <a:lnTo>
                  <a:pt x="873" y="632"/>
                </a:lnTo>
                <a:lnTo>
                  <a:pt x="874" y="633"/>
                </a:lnTo>
                <a:lnTo>
                  <a:pt x="876" y="634"/>
                </a:lnTo>
                <a:lnTo>
                  <a:pt x="879" y="636"/>
                </a:lnTo>
                <a:lnTo>
                  <a:pt x="878" y="637"/>
                </a:lnTo>
                <a:lnTo>
                  <a:pt x="874" y="638"/>
                </a:lnTo>
                <a:lnTo>
                  <a:pt x="873" y="639"/>
                </a:lnTo>
                <a:lnTo>
                  <a:pt x="872" y="639"/>
                </a:lnTo>
                <a:lnTo>
                  <a:pt x="872" y="640"/>
                </a:lnTo>
                <a:lnTo>
                  <a:pt x="874" y="641"/>
                </a:lnTo>
                <a:lnTo>
                  <a:pt x="876" y="640"/>
                </a:lnTo>
                <a:lnTo>
                  <a:pt x="880" y="638"/>
                </a:lnTo>
                <a:lnTo>
                  <a:pt x="880" y="634"/>
                </a:lnTo>
                <a:lnTo>
                  <a:pt x="880" y="631"/>
                </a:lnTo>
                <a:lnTo>
                  <a:pt x="887" y="631"/>
                </a:lnTo>
                <a:lnTo>
                  <a:pt x="894" y="631"/>
                </a:lnTo>
                <a:lnTo>
                  <a:pt x="891" y="632"/>
                </a:lnTo>
                <a:lnTo>
                  <a:pt x="888" y="633"/>
                </a:lnTo>
                <a:lnTo>
                  <a:pt x="884" y="636"/>
                </a:lnTo>
                <a:lnTo>
                  <a:pt x="883" y="638"/>
                </a:lnTo>
                <a:lnTo>
                  <a:pt x="894" y="636"/>
                </a:lnTo>
                <a:lnTo>
                  <a:pt x="905" y="633"/>
                </a:lnTo>
                <a:lnTo>
                  <a:pt x="908" y="631"/>
                </a:lnTo>
                <a:lnTo>
                  <a:pt x="912" y="630"/>
                </a:lnTo>
                <a:lnTo>
                  <a:pt x="916" y="630"/>
                </a:lnTo>
                <a:lnTo>
                  <a:pt x="920" y="630"/>
                </a:lnTo>
                <a:lnTo>
                  <a:pt x="915" y="632"/>
                </a:lnTo>
                <a:lnTo>
                  <a:pt x="911" y="632"/>
                </a:lnTo>
                <a:lnTo>
                  <a:pt x="908" y="634"/>
                </a:lnTo>
                <a:lnTo>
                  <a:pt x="908" y="636"/>
                </a:lnTo>
                <a:lnTo>
                  <a:pt x="909" y="638"/>
                </a:lnTo>
                <a:lnTo>
                  <a:pt x="912" y="638"/>
                </a:lnTo>
                <a:lnTo>
                  <a:pt x="920" y="636"/>
                </a:lnTo>
                <a:lnTo>
                  <a:pt x="927" y="633"/>
                </a:lnTo>
                <a:lnTo>
                  <a:pt x="931" y="632"/>
                </a:lnTo>
                <a:lnTo>
                  <a:pt x="936" y="632"/>
                </a:lnTo>
                <a:lnTo>
                  <a:pt x="940" y="632"/>
                </a:lnTo>
                <a:lnTo>
                  <a:pt x="945" y="633"/>
                </a:lnTo>
                <a:lnTo>
                  <a:pt x="942" y="634"/>
                </a:lnTo>
                <a:lnTo>
                  <a:pt x="940" y="636"/>
                </a:lnTo>
                <a:lnTo>
                  <a:pt x="939" y="638"/>
                </a:lnTo>
                <a:lnTo>
                  <a:pt x="939" y="639"/>
                </a:lnTo>
                <a:lnTo>
                  <a:pt x="940" y="640"/>
                </a:lnTo>
                <a:lnTo>
                  <a:pt x="942" y="640"/>
                </a:lnTo>
                <a:lnTo>
                  <a:pt x="945" y="639"/>
                </a:lnTo>
                <a:lnTo>
                  <a:pt x="946" y="638"/>
                </a:lnTo>
                <a:lnTo>
                  <a:pt x="950" y="636"/>
                </a:lnTo>
                <a:lnTo>
                  <a:pt x="955" y="633"/>
                </a:lnTo>
                <a:lnTo>
                  <a:pt x="956" y="632"/>
                </a:lnTo>
                <a:lnTo>
                  <a:pt x="958" y="631"/>
                </a:lnTo>
                <a:lnTo>
                  <a:pt x="961" y="631"/>
                </a:lnTo>
                <a:lnTo>
                  <a:pt x="964" y="631"/>
                </a:lnTo>
                <a:lnTo>
                  <a:pt x="962" y="632"/>
                </a:lnTo>
                <a:lnTo>
                  <a:pt x="960" y="632"/>
                </a:lnTo>
                <a:lnTo>
                  <a:pt x="958" y="634"/>
                </a:lnTo>
                <a:lnTo>
                  <a:pt x="960" y="636"/>
                </a:lnTo>
                <a:lnTo>
                  <a:pt x="964" y="636"/>
                </a:lnTo>
                <a:lnTo>
                  <a:pt x="966" y="632"/>
                </a:lnTo>
                <a:lnTo>
                  <a:pt x="970" y="631"/>
                </a:lnTo>
                <a:lnTo>
                  <a:pt x="973" y="631"/>
                </a:lnTo>
                <a:lnTo>
                  <a:pt x="974" y="630"/>
                </a:lnTo>
                <a:lnTo>
                  <a:pt x="975" y="629"/>
                </a:lnTo>
                <a:lnTo>
                  <a:pt x="978" y="629"/>
                </a:lnTo>
                <a:lnTo>
                  <a:pt x="978" y="630"/>
                </a:lnTo>
                <a:lnTo>
                  <a:pt x="975" y="631"/>
                </a:lnTo>
                <a:lnTo>
                  <a:pt x="974" y="632"/>
                </a:lnTo>
                <a:lnTo>
                  <a:pt x="975" y="633"/>
                </a:lnTo>
                <a:lnTo>
                  <a:pt x="977" y="634"/>
                </a:lnTo>
                <a:lnTo>
                  <a:pt x="982" y="633"/>
                </a:lnTo>
                <a:lnTo>
                  <a:pt x="989" y="632"/>
                </a:lnTo>
                <a:lnTo>
                  <a:pt x="1004" y="631"/>
                </a:lnTo>
                <a:lnTo>
                  <a:pt x="1020" y="630"/>
                </a:lnTo>
                <a:lnTo>
                  <a:pt x="1035" y="626"/>
                </a:lnTo>
                <a:lnTo>
                  <a:pt x="1049" y="624"/>
                </a:lnTo>
                <a:lnTo>
                  <a:pt x="1064" y="623"/>
                </a:lnTo>
                <a:lnTo>
                  <a:pt x="1080" y="621"/>
                </a:lnTo>
                <a:lnTo>
                  <a:pt x="1095" y="618"/>
                </a:lnTo>
                <a:lnTo>
                  <a:pt x="1110" y="616"/>
                </a:lnTo>
                <a:lnTo>
                  <a:pt x="1125" y="613"/>
                </a:lnTo>
                <a:lnTo>
                  <a:pt x="1139" y="609"/>
                </a:lnTo>
                <a:lnTo>
                  <a:pt x="1153" y="606"/>
                </a:lnTo>
                <a:lnTo>
                  <a:pt x="1168" y="603"/>
                </a:lnTo>
                <a:lnTo>
                  <a:pt x="1183" y="600"/>
                </a:lnTo>
                <a:lnTo>
                  <a:pt x="1197" y="599"/>
                </a:lnTo>
                <a:lnTo>
                  <a:pt x="1186" y="606"/>
                </a:lnTo>
                <a:lnTo>
                  <a:pt x="1174" y="612"/>
                </a:lnTo>
                <a:lnTo>
                  <a:pt x="1169" y="615"/>
                </a:lnTo>
                <a:lnTo>
                  <a:pt x="1166" y="618"/>
                </a:lnTo>
                <a:lnTo>
                  <a:pt x="1164" y="620"/>
                </a:lnTo>
                <a:lnTo>
                  <a:pt x="1162" y="620"/>
                </a:lnTo>
                <a:lnTo>
                  <a:pt x="1160" y="620"/>
                </a:lnTo>
                <a:lnTo>
                  <a:pt x="1156" y="620"/>
                </a:lnTo>
                <a:lnTo>
                  <a:pt x="1158" y="617"/>
                </a:lnTo>
                <a:lnTo>
                  <a:pt x="1161" y="615"/>
                </a:lnTo>
                <a:lnTo>
                  <a:pt x="1162" y="614"/>
                </a:lnTo>
                <a:lnTo>
                  <a:pt x="1163" y="613"/>
                </a:lnTo>
                <a:lnTo>
                  <a:pt x="1163" y="613"/>
                </a:lnTo>
                <a:lnTo>
                  <a:pt x="1162" y="612"/>
                </a:lnTo>
                <a:lnTo>
                  <a:pt x="1159" y="611"/>
                </a:lnTo>
                <a:lnTo>
                  <a:pt x="1155" y="612"/>
                </a:lnTo>
                <a:lnTo>
                  <a:pt x="1153" y="614"/>
                </a:lnTo>
                <a:lnTo>
                  <a:pt x="1152" y="616"/>
                </a:lnTo>
                <a:lnTo>
                  <a:pt x="1151" y="620"/>
                </a:lnTo>
                <a:lnTo>
                  <a:pt x="1151" y="623"/>
                </a:lnTo>
                <a:lnTo>
                  <a:pt x="1151" y="624"/>
                </a:lnTo>
                <a:lnTo>
                  <a:pt x="1150" y="624"/>
                </a:lnTo>
                <a:lnTo>
                  <a:pt x="1147" y="625"/>
                </a:lnTo>
                <a:lnTo>
                  <a:pt x="1145" y="625"/>
                </a:lnTo>
                <a:lnTo>
                  <a:pt x="1142" y="625"/>
                </a:lnTo>
                <a:lnTo>
                  <a:pt x="1138" y="623"/>
                </a:lnTo>
                <a:lnTo>
                  <a:pt x="1135" y="621"/>
                </a:lnTo>
                <a:lnTo>
                  <a:pt x="1131" y="620"/>
                </a:lnTo>
                <a:lnTo>
                  <a:pt x="1123" y="622"/>
                </a:lnTo>
                <a:lnTo>
                  <a:pt x="1115" y="626"/>
                </a:lnTo>
                <a:lnTo>
                  <a:pt x="1106" y="630"/>
                </a:lnTo>
                <a:lnTo>
                  <a:pt x="1096" y="634"/>
                </a:lnTo>
                <a:lnTo>
                  <a:pt x="1085" y="637"/>
                </a:lnTo>
                <a:lnTo>
                  <a:pt x="1072" y="638"/>
                </a:lnTo>
                <a:lnTo>
                  <a:pt x="1067" y="638"/>
                </a:lnTo>
                <a:lnTo>
                  <a:pt x="1061" y="639"/>
                </a:lnTo>
                <a:lnTo>
                  <a:pt x="1057" y="640"/>
                </a:lnTo>
                <a:lnTo>
                  <a:pt x="1054" y="641"/>
                </a:lnTo>
                <a:lnTo>
                  <a:pt x="1053" y="642"/>
                </a:lnTo>
                <a:lnTo>
                  <a:pt x="1052" y="645"/>
                </a:lnTo>
                <a:lnTo>
                  <a:pt x="1062" y="645"/>
                </a:lnTo>
                <a:lnTo>
                  <a:pt x="1072" y="642"/>
                </a:lnTo>
                <a:lnTo>
                  <a:pt x="1084" y="640"/>
                </a:lnTo>
                <a:lnTo>
                  <a:pt x="1094" y="639"/>
                </a:lnTo>
                <a:lnTo>
                  <a:pt x="1108" y="637"/>
                </a:lnTo>
                <a:lnTo>
                  <a:pt x="1119" y="634"/>
                </a:lnTo>
                <a:lnTo>
                  <a:pt x="1121" y="633"/>
                </a:lnTo>
                <a:lnTo>
                  <a:pt x="1123" y="633"/>
                </a:lnTo>
                <a:lnTo>
                  <a:pt x="1125" y="636"/>
                </a:lnTo>
                <a:lnTo>
                  <a:pt x="1126" y="638"/>
                </a:lnTo>
                <a:lnTo>
                  <a:pt x="1128" y="639"/>
                </a:lnTo>
                <a:lnTo>
                  <a:pt x="1129" y="638"/>
                </a:lnTo>
                <a:lnTo>
                  <a:pt x="1130" y="636"/>
                </a:lnTo>
                <a:lnTo>
                  <a:pt x="1133" y="634"/>
                </a:lnTo>
                <a:lnTo>
                  <a:pt x="1137" y="633"/>
                </a:lnTo>
                <a:lnTo>
                  <a:pt x="1142" y="633"/>
                </a:lnTo>
                <a:lnTo>
                  <a:pt x="1145" y="631"/>
                </a:lnTo>
                <a:lnTo>
                  <a:pt x="1148" y="629"/>
                </a:lnTo>
                <a:lnTo>
                  <a:pt x="1153" y="626"/>
                </a:lnTo>
                <a:lnTo>
                  <a:pt x="1158" y="625"/>
                </a:lnTo>
                <a:lnTo>
                  <a:pt x="1167" y="624"/>
                </a:lnTo>
                <a:lnTo>
                  <a:pt x="1176" y="622"/>
                </a:lnTo>
                <a:lnTo>
                  <a:pt x="1174" y="626"/>
                </a:lnTo>
                <a:lnTo>
                  <a:pt x="1172" y="632"/>
                </a:lnTo>
                <a:lnTo>
                  <a:pt x="1176" y="631"/>
                </a:lnTo>
                <a:lnTo>
                  <a:pt x="1179" y="630"/>
                </a:lnTo>
                <a:lnTo>
                  <a:pt x="1181" y="629"/>
                </a:lnTo>
                <a:lnTo>
                  <a:pt x="1184" y="626"/>
                </a:lnTo>
                <a:lnTo>
                  <a:pt x="1186" y="625"/>
                </a:lnTo>
                <a:lnTo>
                  <a:pt x="1189" y="623"/>
                </a:lnTo>
                <a:lnTo>
                  <a:pt x="1193" y="620"/>
                </a:lnTo>
                <a:lnTo>
                  <a:pt x="1196" y="616"/>
                </a:lnTo>
                <a:lnTo>
                  <a:pt x="1199" y="615"/>
                </a:lnTo>
                <a:lnTo>
                  <a:pt x="1201" y="614"/>
                </a:lnTo>
                <a:lnTo>
                  <a:pt x="1202" y="613"/>
                </a:lnTo>
                <a:lnTo>
                  <a:pt x="1203" y="613"/>
                </a:lnTo>
                <a:lnTo>
                  <a:pt x="1204" y="614"/>
                </a:lnTo>
                <a:lnTo>
                  <a:pt x="1204" y="615"/>
                </a:lnTo>
                <a:lnTo>
                  <a:pt x="1203" y="617"/>
                </a:lnTo>
                <a:lnTo>
                  <a:pt x="1202" y="620"/>
                </a:lnTo>
                <a:lnTo>
                  <a:pt x="1205" y="620"/>
                </a:lnTo>
                <a:lnTo>
                  <a:pt x="1208" y="618"/>
                </a:lnTo>
                <a:lnTo>
                  <a:pt x="1208" y="615"/>
                </a:lnTo>
                <a:lnTo>
                  <a:pt x="1208" y="613"/>
                </a:lnTo>
                <a:lnTo>
                  <a:pt x="1209" y="609"/>
                </a:lnTo>
                <a:lnTo>
                  <a:pt x="1212" y="608"/>
                </a:lnTo>
                <a:lnTo>
                  <a:pt x="1220" y="604"/>
                </a:lnTo>
                <a:lnTo>
                  <a:pt x="1229" y="600"/>
                </a:lnTo>
                <a:lnTo>
                  <a:pt x="1238" y="596"/>
                </a:lnTo>
                <a:lnTo>
                  <a:pt x="1246" y="591"/>
                </a:lnTo>
                <a:lnTo>
                  <a:pt x="1253" y="591"/>
                </a:lnTo>
                <a:lnTo>
                  <a:pt x="1259" y="593"/>
                </a:lnTo>
                <a:lnTo>
                  <a:pt x="1257" y="595"/>
                </a:lnTo>
                <a:lnTo>
                  <a:pt x="1255" y="597"/>
                </a:lnTo>
                <a:lnTo>
                  <a:pt x="1260" y="597"/>
                </a:lnTo>
                <a:lnTo>
                  <a:pt x="1265" y="597"/>
                </a:lnTo>
                <a:lnTo>
                  <a:pt x="1263" y="592"/>
                </a:lnTo>
                <a:lnTo>
                  <a:pt x="1262" y="588"/>
                </a:lnTo>
                <a:lnTo>
                  <a:pt x="1265" y="584"/>
                </a:lnTo>
                <a:lnTo>
                  <a:pt x="1267" y="583"/>
                </a:lnTo>
                <a:lnTo>
                  <a:pt x="1270" y="582"/>
                </a:lnTo>
                <a:lnTo>
                  <a:pt x="1274" y="581"/>
                </a:lnTo>
                <a:lnTo>
                  <a:pt x="1281" y="579"/>
                </a:lnTo>
                <a:lnTo>
                  <a:pt x="1287" y="576"/>
                </a:lnTo>
                <a:lnTo>
                  <a:pt x="1291" y="574"/>
                </a:lnTo>
                <a:lnTo>
                  <a:pt x="1293" y="574"/>
                </a:lnTo>
                <a:lnTo>
                  <a:pt x="1295" y="575"/>
                </a:lnTo>
                <a:lnTo>
                  <a:pt x="1299" y="576"/>
                </a:lnTo>
                <a:lnTo>
                  <a:pt x="1304" y="573"/>
                </a:lnTo>
                <a:lnTo>
                  <a:pt x="1311" y="570"/>
                </a:lnTo>
                <a:lnTo>
                  <a:pt x="1314" y="571"/>
                </a:lnTo>
                <a:lnTo>
                  <a:pt x="1316" y="572"/>
                </a:lnTo>
                <a:lnTo>
                  <a:pt x="1316" y="573"/>
                </a:lnTo>
                <a:lnTo>
                  <a:pt x="1315" y="574"/>
                </a:lnTo>
                <a:lnTo>
                  <a:pt x="1314" y="575"/>
                </a:lnTo>
                <a:lnTo>
                  <a:pt x="1312" y="578"/>
                </a:lnTo>
                <a:lnTo>
                  <a:pt x="1312" y="580"/>
                </a:lnTo>
                <a:lnTo>
                  <a:pt x="1312" y="582"/>
                </a:lnTo>
                <a:lnTo>
                  <a:pt x="1317" y="579"/>
                </a:lnTo>
                <a:lnTo>
                  <a:pt x="1321" y="576"/>
                </a:lnTo>
                <a:lnTo>
                  <a:pt x="1326" y="574"/>
                </a:lnTo>
                <a:lnTo>
                  <a:pt x="1332" y="573"/>
                </a:lnTo>
                <a:lnTo>
                  <a:pt x="1341" y="570"/>
                </a:lnTo>
                <a:lnTo>
                  <a:pt x="1351" y="565"/>
                </a:lnTo>
                <a:lnTo>
                  <a:pt x="1356" y="564"/>
                </a:lnTo>
                <a:lnTo>
                  <a:pt x="1361" y="563"/>
                </a:lnTo>
                <a:lnTo>
                  <a:pt x="1366" y="562"/>
                </a:lnTo>
                <a:lnTo>
                  <a:pt x="1370" y="559"/>
                </a:lnTo>
                <a:lnTo>
                  <a:pt x="1382" y="555"/>
                </a:lnTo>
                <a:lnTo>
                  <a:pt x="1393" y="551"/>
                </a:lnTo>
                <a:lnTo>
                  <a:pt x="1405" y="549"/>
                </a:lnTo>
                <a:lnTo>
                  <a:pt x="1417" y="549"/>
                </a:lnTo>
                <a:lnTo>
                  <a:pt x="1430" y="549"/>
                </a:lnTo>
                <a:lnTo>
                  <a:pt x="1443" y="549"/>
                </a:lnTo>
                <a:lnTo>
                  <a:pt x="1453" y="551"/>
                </a:lnTo>
                <a:lnTo>
                  <a:pt x="1465" y="554"/>
                </a:lnTo>
                <a:lnTo>
                  <a:pt x="1477" y="555"/>
                </a:lnTo>
                <a:lnTo>
                  <a:pt x="1491" y="558"/>
                </a:lnTo>
                <a:lnTo>
                  <a:pt x="1490" y="556"/>
                </a:lnTo>
                <a:lnTo>
                  <a:pt x="1489" y="553"/>
                </a:lnTo>
                <a:lnTo>
                  <a:pt x="1490" y="551"/>
                </a:lnTo>
                <a:lnTo>
                  <a:pt x="1490" y="549"/>
                </a:lnTo>
                <a:lnTo>
                  <a:pt x="1487" y="546"/>
                </a:lnTo>
                <a:lnTo>
                  <a:pt x="1482" y="542"/>
                </a:lnTo>
                <a:lnTo>
                  <a:pt x="1472" y="532"/>
                </a:lnTo>
                <a:lnTo>
                  <a:pt x="1464" y="521"/>
                </a:lnTo>
                <a:lnTo>
                  <a:pt x="1467" y="522"/>
                </a:lnTo>
                <a:lnTo>
                  <a:pt x="1472" y="524"/>
                </a:lnTo>
                <a:lnTo>
                  <a:pt x="1474" y="525"/>
                </a:lnTo>
                <a:lnTo>
                  <a:pt x="1476" y="525"/>
                </a:lnTo>
                <a:lnTo>
                  <a:pt x="1477" y="525"/>
                </a:lnTo>
                <a:lnTo>
                  <a:pt x="1479" y="524"/>
                </a:lnTo>
                <a:lnTo>
                  <a:pt x="1477" y="518"/>
                </a:lnTo>
                <a:lnTo>
                  <a:pt x="1473" y="513"/>
                </a:lnTo>
                <a:lnTo>
                  <a:pt x="1459" y="499"/>
                </a:lnTo>
                <a:lnTo>
                  <a:pt x="1443" y="485"/>
                </a:lnTo>
                <a:lnTo>
                  <a:pt x="1449" y="483"/>
                </a:lnTo>
                <a:lnTo>
                  <a:pt x="1455" y="481"/>
                </a:lnTo>
                <a:lnTo>
                  <a:pt x="1459" y="477"/>
                </a:lnTo>
                <a:lnTo>
                  <a:pt x="1465" y="476"/>
                </a:lnTo>
                <a:lnTo>
                  <a:pt x="1466" y="476"/>
                </a:lnTo>
                <a:lnTo>
                  <a:pt x="1467" y="475"/>
                </a:lnTo>
                <a:lnTo>
                  <a:pt x="1468" y="477"/>
                </a:lnTo>
                <a:lnTo>
                  <a:pt x="1469" y="479"/>
                </a:lnTo>
                <a:lnTo>
                  <a:pt x="1473" y="479"/>
                </a:lnTo>
                <a:lnTo>
                  <a:pt x="1475" y="477"/>
                </a:lnTo>
                <a:lnTo>
                  <a:pt x="1485" y="474"/>
                </a:lnTo>
                <a:lnTo>
                  <a:pt x="1494" y="471"/>
                </a:lnTo>
                <a:lnTo>
                  <a:pt x="1504" y="468"/>
                </a:lnTo>
                <a:lnTo>
                  <a:pt x="1512" y="466"/>
                </a:lnTo>
                <a:lnTo>
                  <a:pt x="1514" y="465"/>
                </a:lnTo>
                <a:lnTo>
                  <a:pt x="1515" y="464"/>
                </a:lnTo>
                <a:lnTo>
                  <a:pt x="1516" y="463"/>
                </a:lnTo>
                <a:lnTo>
                  <a:pt x="1517" y="464"/>
                </a:lnTo>
                <a:lnTo>
                  <a:pt x="1518" y="465"/>
                </a:lnTo>
                <a:lnTo>
                  <a:pt x="1521" y="465"/>
                </a:lnTo>
                <a:lnTo>
                  <a:pt x="1522" y="463"/>
                </a:lnTo>
                <a:lnTo>
                  <a:pt x="1523" y="462"/>
                </a:lnTo>
                <a:lnTo>
                  <a:pt x="1524" y="460"/>
                </a:lnTo>
                <a:lnTo>
                  <a:pt x="1526" y="459"/>
                </a:lnTo>
                <a:lnTo>
                  <a:pt x="1525" y="457"/>
                </a:lnTo>
                <a:lnTo>
                  <a:pt x="1525" y="455"/>
                </a:lnTo>
                <a:lnTo>
                  <a:pt x="1529" y="454"/>
                </a:lnTo>
                <a:lnTo>
                  <a:pt x="1531" y="451"/>
                </a:lnTo>
                <a:lnTo>
                  <a:pt x="1527" y="450"/>
                </a:lnTo>
                <a:lnTo>
                  <a:pt x="1522" y="449"/>
                </a:lnTo>
                <a:lnTo>
                  <a:pt x="1526" y="446"/>
                </a:lnTo>
                <a:lnTo>
                  <a:pt x="1531" y="441"/>
                </a:lnTo>
                <a:lnTo>
                  <a:pt x="1530" y="439"/>
                </a:lnTo>
                <a:lnTo>
                  <a:pt x="1529" y="437"/>
                </a:lnTo>
                <a:lnTo>
                  <a:pt x="1525" y="435"/>
                </a:lnTo>
                <a:lnTo>
                  <a:pt x="1523" y="437"/>
                </a:lnTo>
                <a:lnTo>
                  <a:pt x="1522" y="438"/>
                </a:lnTo>
                <a:lnTo>
                  <a:pt x="1521" y="440"/>
                </a:lnTo>
                <a:lnTo>
                  <a:pt x="1521" y="441"/>
                </a:lnTo>
                <a:lnTo>
                  <a:pt x="1520" y="441"/>
                </a:lnTo>
                <a:lnTo>
                  <a:pt x="1518" y="441"/>
                </a:lnTo>
                <a:lnTo>
                  <a:pt x="1517" y="440"/>
                </a:lnTo>
                <a:lnTo>
                  <a:pt x="1517" y="438"/>
                </a:lnTo>
                <a:lnTo>
                  <a:pt x="1518" y="437"/>
                </a:lnTo>
                <a:lnTo>
                  <a:pt x="1518" y="434"/>
                </a:lnTo>
                <a:lnTo>
                  <a:pt x="1517" y="433"/>
                </a:lnTo>
                <a:lnTo>
                  <a:pt x="1521" y="430"/>
                </a:lnTo>
                <a:lnTo>
                  <a:pt x="1525" y="427"/>
                </a:lnTo>
                <a:lnTo>
                  <a:pt x="1529" y="426"/>
                </a:lnTo>
                <a:lnTo>
                  <a:pt x="1532" y="425"/>
                </a:lnTo>
                <a:lnTo>
                  <a:pt x="1534" y="425"/>
                </a:lnTo>
                <a:lnTo>
                  <a:pt x="1538" y="424"/>
                </a:lnTo>
                <a:lnTo>
                  <a:pt x="1538" y="422"/>
                </a:lnTo>
                <a:lnTo>
                  <a:pt x="1538" y="421"/>
                </a:lnTo>
                <a:lnTo>
                  <a:pt x="1535" y="420"/>
                </a:lnTo>
                <a:lnTo>
                  <a:pt x="1534" y="417"/>
                </a:lnTo>
                <a:lnTo>
                  <a:pt x="1530" y="415"/>
                </a:lnTo>
                <a:lnTo>
                  <a:pt x="1527" y="412"/>
                </a:lnTo>
                <a:lnTo>
                  <a:pt x="1527" y="409"/>
                </a:lnTo>
                <a:lnTo>
                  <a:pt x="1529" y="407"/>
                </a:lnTo>
                <a:lnTo>
                  <a:pt x="1525" y="406"/>
                </a:lnTo>
                <a:lnTo>
                  <a:pt x="1523" y="405"/>
                </a:lnTo>
                <a:lnTo>
                  <a:pt x="1515" y="401"/>
                </a:lnTo>
                <a:lnTo>
                  <a:pt x="1508" y="398"/>
                </a:lnTo>
                <a:lnTo>
                  <a:pt x="1505" y="394"/>
                </a:lnTo>
                <a:lnTo>
                  <a:pt x="1505" y="392"/>
                </a:lnTo>
                <a:lnTo>
                  <a:pt x="1506" y="389"/>
                </a:lnTo>
                <a:lnTo>
                  <a:pt x="1509" y="387"/>
                </a:lnTo>
                <a:lnTo>
                  <a:pt x="1514" y="380"/>
                </a:lnTo>
                <a:lnTo>
                  <a:pt x="1518" y="373"/>
                </a:lnTo>
                <a:lnTo>
                  <a:pt x="1523" y="367"/>
                </a:lnTo>
                <a:lnTo>
                  <a:pt x="1527" y="362"/>
                </a:lnTo>
                <a:lnTo>
                  <a:pt x="1529" y="359"/>
                </a:lnTo>
                <a:lnTo>
                  <a:pt x="1530" y="356"/>
                </a:lnTo>
                <a:lnTo>
                  <a:pt x="1529" y="355"/>
                </a:lnTo>
                <a:lnTo>
                  <a:pt x="1527" y="352"/>
                </a:lnTo>
                <a:lnTo>
                  <a:pt x="1525" y="351"/>
                </a:lnTo>
                <a:lnTo>
                  <a:pt x="1525" y="350"/>
                </a:lnTo>
                <a:lnTo>
                  <a:pt x="1526" y="349"/>
                </a:lnTo>
                <a:lnTo>
                  <a:pt x="1527" y="348"/>
                </a:lnTo>
                <a:lnTo>
                  <a:pt x="1531" y="344"/>
                </a:lnTo>
                <a:lnTo>
                  <a:pt x="1534" y="341"/>
                </a:lnTo>
                <a:lnTo>
                  <a:pt x="1538" y="340"/>
                </a:lnTo>
                <a:lnTo>
                  <a:pt x="1542" y="338"/>
                </a:lnTo>
                <a:lnTo>
                  <a:pt x="1542" y="333"/>
                </a:lnTo>
                <a:lnTo>
                  <a:pt x="1541" y="329"/>
                </a:lnTo>
                <a:lnTo>
                  <a:pt x="1541" y="326"/>
                </a:lnTo>
                <a:lnTo>
                  <a:pt x="1543" y="323"/>
                </a:lnTo>
                <a:lnTo>
                  <a:pt x="1546" y="322"/>
                </a:lnTo>
                <a:lnTo>
                  <a:pt x="1549" y="319"/>
                </a:lnTo>
                <a:lnTo>
                  <a:pt x="1553" y="318"/>
                </a:lnTo>
                <a:lnTo>
                  <a:pt x="1556" y="318"/>
                </a:lnTo>
                <a:lnTo>
                  <a:pt x="1559" y="318"/>
                </a:lnTo>
                <a:lnTo>
                  <a:pt x="1563" y="319"/>
                </a:lnTo>
                <a:lnTo>
                  <a:pt x="1562" y="319"/>
                </a:lnTo>
                <a:lnTo>
                  <a:pt x="1562" y="321"/>
                </a:lnTo>
                <a:lnTo>
                  <a:pt x="1563" y="321"/>
                </a:lnTo>
                <a:lnTo>
                  <a:pt x="1564" y="319"/>
                </a:lnTo>
                <a:lnTo>
                  <a:pt x="1566" y="319"/>
                </a:lnTo>
                <a:lnTo>
                  <a:pt x="1566" y="318"/>
                </a:lnTo>
                <a:lnTo>
                  <a:pt x="1566" y="317"/>
                </a:lnTo>
                <a:lnTo>
                  <a:pt x="1565" y="316"/>
                </a:lnTo>
                <a:lnTo>
                  <a:pt x="1557" y="315"/>
                </a:lnTo>
                <a:lnTo>
                  <a:pt x="1550" y="313"/>
                </a:lnTo>
                <a:lnTo>
                  <a:pt x="1550" y="310"/>
                </a:lnTo>
                <a:lnTo>
                  <a:pt x="1550" y="308"/>
                </a:lnTo>
                <a:lnTo>
                  <a:pt x="1549" y="307"/>
                </a:lnTo>
                <a:lnTo>
                  <a:pt x="1548" y="306"/>
                </a:lnTo>
                <a:lnTo>
                  <a:pt x="1547" y="304"/>
                </a:lnTo>
                <a:lnTo>
                  <a:pt x="1546" y="301"/>
                </a:lnTo>
                <a:lnTo>
                  <a:pt x="1546" y="299"/>
                </a:lnTo>
                <a:lnTo>
                  <a:pt x="1546" y="297"/>
                </a:lnTo>
                <a:lnTo>
                  <a:pt x="1547" y="294"/>
                </a:lnTo>
                <a:lnTo>
                  <a:pt x="1549" y="293"/>
                </a:lnTo>
                <a:lnTo>
                  <a:pt x="1551" y="292"/>
                </a:lnTo>
                <a:lnTo>
                  <a:pt x="1551" y="292"/>
                </a:lnTo>
                <a:lnTo>
                  <a:pt x="1553" y="293"/>
                </a:lnTo>
                <a:lnTo>
                  <a:pt x="1554" y="294"/>
                </a:lnTo>
                <a:lnTo>
                  <a:pt x="1557" y="296"/>
                </a:lnTo>
                <a:lnTo>
                  <a:pt x="1560" y="296"/>
                </a:lnTo>
                <a:lnTo>
                  <a:pt x="1563" y="297"/>
                </a:lnTo>
                <a:lnTo>
                  <a:pt x="1563" y="298"/>
                </a:lnTo>
                <a:lnTo>
                  <a:pt x="1563" y="299"/>
                </a:lnTo>
                <a:lnTo>
                  <a:pt x="1562" y="300"/>
                </a:lnTo>
                <a:lnTo>
                  <a:pt x="1560" y="301"/>
                </a:lnTo>
                <a:lnTo>
                  <a:pt x="1558" y="300"/>
                </a:lnTo>
                <a:lnTo>
                  <a:pt x="1556" y="302"/>
                </a:lnTo>
                <a:lnTo>
                  <a:pt x="1554" y="304"/>
                </a:lnTo>
                <a:lnTo>
                  <a:pt x="1554" y="305"/>
                </a:lnTo>
                <a:lnTo>
                  <a:pt x="1553" y="305"/>
                </a:lnTo>
                <a:lnTo>
                  <a:pt x="1553" y="306"/>
                </a:lnTo>
                <a:lnTo>
                  <a:pt x="1554" y="306"/>
                </a:lnTo>
                <a:lnTo>
                  <a:pt x="1556" y="305"/>
                </a:lnTo>
                <a:lnTo>
                  <a:pt x="1557" y="305"/>
                </a:lnTo>
                <a:lnTo>
                  <a:pt x="1559" y="304"/>
                </a:lnTo>
                <a:lnTo>
                  <a:pt x="1562" y="304"/>
                </a:lnTo>
                <a:lnTo>
                  <a:pt x="1566" y="301"/>
                </a:lnTo>
                <a:lnTo>
                  <a:pt x="1570" y="298"/>
                </a:lnTo>
                <a:lnTo>
                  <a:pt x="1571" y="296"/>
                </a:lnTo>
                <a:lnTo>
                  <a:pt x="1571" y="293"/>
                </a:lnTo>
                <a:lnTo>
                  <a:pt x="1571" y="292"/>
                </a:lnTo>
                <a:lnTo>
                  <a:pt x="1570" y="291"/>
                </a:lnTo>
                <a:lnTo>
                  <a:pt x="1566" y="289"/>
                </a:lnTo>
                <a:lnTo>
                  <a:pt x="1562" y="289"/>
                </a:lnTo>
                <a:lnTo>
                  <a:pt x="1564" y="284"/>
                </a:lnTo>
                <a:lnTo>
                  <a:pt x="1567" y="282"/>
                </a:lnTo>
                <a:lnTo>
                  <a:pt x="1568" y="279"/>
                </a:lnTo>
                <a:lnTo>
                  <a:pt x="1567" y="277"/>
                </a:lnTo>
                <a:lnTo>
                  <a:pt x="1565" y="279"/>
                </a:lnTo>
                <a:lnTo>
                  <a:pt x="1562" y="280"/>
                </a:lnTo>
                <a:lnTo>
                  <a:pt x="1563" y="277"/>
                </a:lnTo>
                <a:lnTo>
                  <a:pt x="1563" y="276"/>
                </a:lnTo>
                <a:lnTo>
                  <a:pt x="1562" y="275"/>
                </a:lnTo>
                <a:lnTo>
                  <a:pt x="1560" y="274"/>
                </a:lnTo>
                <a:lnTo>
                  <a:pt x="1558" y="274"/>
                </a:lnTo>
                <a:lnTo>
                  <a:pt x="1557" y="276"/>
                </a:lnTo>
                <a:lnTo>
                  <a:pt x="1557" y="279"/>
                </a:lnTo>
                <a:lnTo>
                  <a:pt x="1556" y="280"/>
                </a:lnTo>
                <a:lnTo>
                  <a:pt x="1554" y="281"/>
                </a:lnTo>
                <a:lnTo>
                  <a:pt x="1553" y="281"/>
                </a:lnTo>
                <a:lnTo>
                  <a:pt x="1551" y="280"/>
                </a:lnTo>
                <a:lnTo>
                  <a:pt x="1553" y="277"/>
                </a:lnTo>
                <a:lnTo>
                  <a:pt x="1553" y="276"/>
                </a:lnTo>
                <a:lnTo>
                  <a:pt x="1554" y="275"/>
                </a:lnTo>
                <a:lnTo>
                  <a:pt x="1550" y="274"/>
                </a:lnTo>
                <a:lnTo>
                  <a:pt x="1547" y="274"/>
                </a:lnTo>
                <a:lnTo>
                  <a:pt x="1557" y="268"/>
                </a:lnTo>
                <a:lnTo>
                  <a:pt x="1567" y="263"/>
                </a:lnTo>
                <a:lnTo>
                  <a:pt x="1560" y="263"/>
                </a:lnTo>
                <a:lnTo>
                  <a:pt x="1555" y="265"/>
                </a:lnTo>
                <a:lnTo>
                  <a:pt x="1553" y="265"/>
                </a:lnTo>
                <a:lnTo>
                  <a:pt x="1549" y="266"/>
                </a:lnTo>
                <a:lnTo>
                  <a:pt x="1547" y="265"/>
                </a:lnTo>
                <a:lnTo>
                  <a:pt x="1543" y="263"/>
                </a:lnTo>
                <a:lnTo>
                  <a:pt x="1550" y="260"/>
                </a:lnTo>
                <a:lnTo>
                  <a:pt x="1557" y="258"/>
                </a:lnTo>
                <a:lnTo>
                  <a:pt x="1562" y="257"/>
                </a:lnTo>
                <a:lnTo>
                  <a:pt x="1565" y="256"/>
                </a:lnTo>
                <a:lnTo>
                  <a:pt x="1567" y="256"/>
                </a:lnTo>
                <a:lnTo>
                  <a:pt x="1568" y="255"/>
                </a:lnTo>
                <a:lnTo>
                  <a:pt x="1570" y="252"/>
                </a:lnTo>
                <a:lnTo>
                  <a:pt x="1570" y="250"/>
                </a:lnTo>
                <a:lnTo>
                  <a:pt x="1567" y="248"/>
                </a:lnTo>
                <a:lnTo>
                  <a:pt x="1565" y="248"/>
                </a:lnTo>
                <a:lnTo>
                  <a:pt x="1563" y="248"/>
                </a:lnTo>
                <a:lnTo>
                  <a:pt x="1560" y="248"/>
                </a:lnTo>
                <a:lnTo>
                  <a:pt x="1555" y="250"/>
                </a:lnTo>
                <a:lnTo>
                  <a:pt x="1549" y="250"/>
                </a:lnTo>
                <a:lnTo>
                  <a:pt x="1543" y="250"/>
                </a:lnTo>
                <a:lnTo>
                  <a:pt x="1538" y="251"/>
                </a:lnTo>
                <a:lnTo>
                  <a:pt x="1531" y="252"/>
                </a:lnTo>
                <a:lnTo>
                  <a:pt x="1523" y="254"/>
                </a:lnTo>
                <a:lnTo>
                  <a:pt x="1518" y="254"/>
                </a:lnTo>
                <a:lnTo>
                  <a:pt x="1515" y="252"/>
                </a:lnTo>
                <a:lnTo>
                  <a:pt x="1512" y="252"/>
                </a:lnTo>
                <a:lnTo>
                  <a:pt x="1509" y="250"/>
                </a:lnTo>
                <a:lnTo>
                  <a:pt x="1525" y="246"/>
                </a:lnTo>
                <a:lnTo>
                  <a:pt x="1542" y="241"/>
                </a:lnTo>
                <a:lnTo>
                  <a:pt x="1548" y="240"/>
                </a:lnTo>
                <a:lnTo>
                  <a:pt x="1556" y="238"/>
                </a:lnTo>
                <a:lnTo>
                  <a:pt x="1559" y="235"/>
                </a:lnTo>
                <a:lnTo>
                  <a:pt x="1560" y="234"/>
                </a:lnTo>
                <a:lnTo>
                  <a:pt x="1560" y="231"/>
                </a:lnTo>
                <a:lnTo>
                  <a:pt x="1558" y="228"/>
                </a:lnTo>
                <a:lnTo>
                  <a:pt x="1562" y="227"/>
                </a:lnTo>
                <a:lnTo>
                  <a:pt x="1564" y="226"/>
                </a:lnTo>
                <a:lnTo>
                  <a:pt x="1567" y="225"/>
                </a:lnTo>
                <a:lnTo>
                  <a:pt x="1571" y="225"/>
                </a:lnTo>
                <a:lnTo>
                  <a:pt x="1572" y="225"/>
                </a:lnTo>
                <a:lnTo>
                  <a:pt x="1573" y="225"/>
                </a:lnTo>
                <a:lnTo>
                  <a:pt x="1574" y="224"/>
                </a:lnTo>
                <a:lnTo>
                  <a:pt x="1573" y="223"/>
                </a:lnTo>
                <a:lnTo>
                  <a:pt x="1571" y="222"/>
                </a:lnTo>
                <a:lnTo>
                  <a:pt x="1567" y="222"/>
                </a:lnTo>
                <a:lnTo>
                  <a:pt x="1568" y="222"/>
                </a:lnTo>
                <a:lnTo>
                  <a:pt x="1567" y="222"/>
                </a:lnTo>
                <a:close/>
                <a:moveTo>
                  <a:pt x="666" y="268"/>
                </a:moveTo>
                <a:lnTo>
                  <a:pt x="664" y="269"/>
                </a:lnTo>
                <a:lnTo>
                  <a:pt x="660" y="268"/>
                </a:lnTo>
                <a:lnTo>
                  <a:pt x="658" y="268"/>
                </a:lnTo>
                <a:lnTo>
                  <a:pt x="656" y="266"/>
                </a:lnTo>
                <a:lnTo>
                  <a:pt x="656" y="268"/>
                </a:lnTo>
                <a:lnTo>
                  <a:pt x="657" y="272"/>
                </a:lnTo>
                <a:lnTo>
                  <a:pt x="659" y="274"/>
                </a:lnTo>
                <a:lnTo>
                  <a:pt x="661" y="274"/>
                </a:lnTo>
                <a:lnTo>
                  <a:pt x="664" y="272"/>
                </a:lnTo>
                <a:lnTo>
                  <a:pt x="666" y="268"/>
                </a:lnTo>
                <a:lnTo>
                  <a:pt x="662" y="269"/>
                </a:lnTo>
                <a:lnTo>
                  <a:pt x="666" y="268"/>
                </a:lnTo>
                <a:close/>
                <a:moveTo>
                  <a:pt x="674" y="566"/>
                </a:moveTo>
                <a:lnTo>
                  <a:pt x="674" y="567"/>
                </a:lnTo>
                <a:lnTo>
                  <a:pt x="677" y="567"/>
                </a:lnTo>
                <a:lnTo>
                  <a:pt x="675" y="566"/>
                </a:lnTo>
                <a:lnTo>
                  <a:pt x="674" y="566"/>
                </a:lnTo>
                <a:lnTo>
                  <a:pt x="674" y="566"/>
                </a:lnTo>
                <a:lnTo>
                  <a:pt x="674" y="566"/>
                </a:lnTo>
                <a:close/>
                <a:moveTo>
                  <a:pt x="657" y="559"/>
                </a:moveTo>
                <a:lnTo>
                  <a:pt x="661" y="562"/>
                </a:lnTo>
                <a:lnTo>
                  <a:pt x="666" y="562"/>
                </a:lnTo>
                <a:lnTo>
                  <a:pt x="664" y="559"/>
                </a:lnTo>
                <a:lnTo>
                  <a:pt x="662" y="558"/>
                </a:lnTo>
                <a:lnTo>
                  <a:pt x="660" y="558"/>
                </a:lnTo>
                <a:lnTo>
                  <a:pt x="657" y="559"/>
                </a:lnTo>
                <a:close/>
                <a:moveTo>
                  <a:pt x="334" y="329"/>
                </a:moveTo>
                <a:lnTo>
                  <a:pt x="334" y="331"/>
                </a:lnTo>
                <a:lnTo>
                  <a:pt x="335" y="332"/>
                </a:lnTo>
                <a:lnTo>
                  <a:pt x="338" y="332"/>
                </a:lnTo>
                <a:lnTo>
                  <a:pt x="342" y="331"/>
                </a:lnTo>
                <a:lnTo>
                  <a:pt x="338" y="330"/>
                </a:lnTo>
                <a:lnTo>
                  <a:pt x="334" y="329"/>
                </a:lnTo>
                <a:lnTo>
                  <a:pt x="335" y="329"/>
                </a:lnTo>
                <a:lnTo>
                  <a:pt x="334" y="329"/>
                </a:lnTo>
                <a:close/>
                <a:moveTo>
                  <a:pt x="311" y="319"/>
                </a:moveTo>
                <a:lnTo>
                  <a:pt x="311" y="319"/>
                </a:lnTo>
                <a:lnTo>
                  <a:pt x="310" y="319"/>
                </a:lnTo>
                <a:lnTo>
                  <a:pt x="312" y="322"/>
                </a:lnTo>
                <a:lnTo>
                  <a:pt x="315" y="324"/>
                </a:lnTo>
                <a:lnTo>
                  <a:pt x="319" y="325"/>
                </a:lnTo>
                <a:lnTo>
                  <a:pt x="321" y="324"/>
                </a:lnTo>
                <a:lnTo>
                  <a:pt x="320" y="322"/>
                </a:lnTo>
                <a:lnTo>
                  <a:pt x="318" y="321"/>
                </a:lnTo>
                <a:lnTo>
                  <a:pt x="313" y="319"/>
                </a:lnTo>
                <a:lnTo>
                  <a:pt x="311" y="319"/>
                </a:lnTo>
                <a:lnTo>
                  <a:pt x="312" y="319"/>
                </a:lnTo>
                <a:lnTo>
                  <a:pt x="311" y="319"/>
                </a:lnTo>
                <a:close/>
                <a:moveTo>
                  <a:pt x="328" y="308"/>
                </a:moveTo>
                <a:lnTo>
                  <a:pt x="327" y="308"/>
                </a:lnTo>
                <a:lnTo>
                  <a:pt x="327" y="309"/>
                </a:lnTo>
                <a:lnTo>
                  <a:pt x="328" y="309"/>
                </a:lnTo>
                <a:lnTo>
                  <a:pt x="329" y="309"/>
                </a:lnTo>
                <a:lnTo>
                  <a:pt x="329" y="309"/>
                </a:lnTo>
                <a:lnTo>
                  <a:pt x="328" y="308"/>
                </a:lnTo>
                <a:lnTo>
                  <a:pt x="328" y="308"/>
                </a:lnTo>
                <a:lnTo>
                  <a:pt x="328" y="308"/>
                </a:lnTo>
                <a:close/>
                <a:moveTo>
                  <a:pt x="295" y="249"/>
                </a:moveTo>
                <a:lnTo>
                  <a:pt x="295" y="248"/>
                </a:lnTo>
                <a:lnTo>
                  <a:pt x="296" y="248"/>
                </a:lnTo>
                <a:lnTo>
                  <a:pt x="295" y="248"/>
                </a:lnTo>
                <a:lnTo>
                  <a:pt x="294" y="248"/>
                </a:lnTo>
                <a:lnTo>
                  <a:pt x="295" y="248"/>
                </a:lnTo>
                <a:lnTo>
                  <a:pt x="295" y="249"/>
                </a:lnTo>
                <a:lnTo>
                  <a:pt x="295" y="249"/>
                </a:lnTo>
                <a:lnTo>
                  <a:pt x="295" y="249"/>
                </a:lnTo>
                <a:close/>
                <a:moveTo>
                  <a:pt x="418" y="456"/>
                </a:moveTo>
                <a:lnTo>
                  <a:pt x="417" y="454"/>
                </a:lnTo>
                <a:lnTo>
                  <a:pt x="414" y="452"/>
                </a:lnTo>
                <a:lnTo>
                  <a:pt x="411" y="451"/>
                </a:lnTo>
                <a:lnTo>
                  <a:pt x="409" y="454"/>
                </a:lnTo>
                <a:lnTo>
                  <a:pt x="413" y="456"/>
                </a:lnTo>
                <a:lnTo>
                  <a:pt x="418" y="456"/>
                </a:lnTo>
                <a:lnTo>
                  <a:pt x="417" y="456"/>
                </a:lnTo>
                <a:lnTo>
                  <a:pt x="418" y="456"/>
                </a:lnTo>
                <a:close/>
                <a:moveTo>
                  <a:pt x="345" y="173"/>
                </a:moveTo>
                <a:lnTo>
                  <a:pt x="345" y="173"/>
                </a:lnTo>
                <a:lnTo>
                  <a:pt x="345" y="173"/>
                </a:lnTo>
                <a:lnTo>
                  <a:pt x="347" y="172"/>
                </a:lnTo>
                <a:lnTo>
                  <a:pt x="346" y="169"/>
                </a:lnTo>
                <a:lnTo>
                  <a:pt x="347" y="169"/>
                </a:lnTo>
                <a:lnTo>
                  <a:pt x="347" y="168"/>
                </a:lnTo>
                <a:lnTo>
                  <a:pt x="348" y="168"/>
                </a:lnTo>
                <a:lnTo>
                  <a:pt x="348" y="167"/>
                </a:lnTo>
                <a:lnTo>
                  <a:pt x="356" y="168"/>
                </a:lnTo>
                <a:lnTo>
                  <a:pt x="363" y="169"/>
                </a:lnTo>
                <a:lnTo>
                  <a:pt x="357" y="166"/>
                </a:lnTo>
                <a:lnTo>
                  <a:pt x="351" y="164"/>
                </a:lnTo>
                <a:lnTo>
                  <a:pt x="347" y="164"/>
                </a:lnTo>
                <a:lnTo>
                  <a:pt x="345" y="163"/>
                </a:lnTo>
                <a:lnTo>
                  <a:pt x="342" y="164"/>
                </a:lnTo>
                <a:lnTo>
                  <a:pt x="338" y="165"/>
                </a:lnTo>
                <a:lnTo>
                  <a:pt x="339" y="163"/>
                </a:lnTo>
                <a:lnTo>
                  <a:pt x="340" y="161"/>
                </a:lnTo>
                <a:lnTo>
                  <a:pt x="336" y="159"/>
                </a:lnTo>
                <a:lnTo>
                  <a:pt x="330" y="157"/>
                </a:lnTo>
                <a:lnTo>
                  <a:pt x="331" y="158"/>
                </a:lnTo>
                <a:lnTo>
                  <a:pt x="330" y="157"/>
                </a:lnTo>
                <a:lnTo>
                  <a:pt x="329" y="159"/>
                </a:lnTo>
                <a:lnTo>
                  <a:pt x="327" y="161"/>
                </a:lnTo>
                <a:lnTo>
                  <a:pt x="326" y="163"/>
                </a:lnTo>
                <a:lnTo>
                  <a:pt x="324" y="163"/>
                </a:lnTo>
                <a:lnTo>
                  <a:pt x="324" y="164"/>
                </a:lnTo>
                <a:lnTo>
                  <a:pt x="324" y="165"/>
                </a:lnTo>
                <a:lnTo>
                  <a:pt x="322" y="167"/>
                </a:lnTo>
                <a:lnTo>
                  <a:pt x="322" y="168"/>
                </a:lnTo>
                <a:lnTo>
                  <a:pt x="322" y="169"/>
                </a:lnTo>
                <a:lnTo>
                  <a:pt x="324" y="172"/>
                </a:lnTo>
                <a:lnTo>
                  <a:pt x="327" y="172"/>
                </a:lnTo>
                <a:lnTo>
                  <a:pt x="329" y="173"/>
                </a:lnTo>
                <a:lnTo>
                  <a:pt x="330" y="175"/>
                </a:lnTo>
                <a:lnTo>
                  <a:pt x="331" y="177"/>
                </a:lnTo>
                <a:lnTo>
                  <a:pt x="334" y="177"/>
                </a:lnTo>
                <a:lnTo>
                  <a:pt x="336" y="177"/>
                </a:lnTo>
                <a:lnTo>
                  <a:pt x="337" y="176"/>
                </a:lnTo>
                <a:lnTo>
                  <a:pt x="338" y="175"/>
                </a:lnTo>
                <a:lnTo>
                  <a:pt x="339" y="172"/>
                </a:lnTo>
                <a:lnTo>
                  <a:pt x="338" y="172"/>
                </a:lnTo>
                <a:lnTo>
                  <a:pt x="336" y="172"/>
                </a:lnTo>
                <a:lnTo>
                  <a:pt x="335" y="172"/>
                </a:lnTo>
                <a:lnTo>
                  <a:pt x="334" y="171"/>
                </a:lnTo>
                <a:lnTo>
                  <a:pt x="334" y="169"/>
                </a:lnTo>
                <a:lnTo>
                  <a:pt x="336" y="168"/>
                </a:lnTo>
                <a:lnTo>
                  <a:pt x="338" y="168"/>
                </a:lnTo>
                <a:lnTo>
                  <a:pt x="342" y="168"/>
                </a:lnTo>
                <a:lnTo>
                  <a:pt x="345" y="169"/>
                </a:lnTo>
                <a:lnTo>
                  <a:pt x="346" y="169"/>
                </a:lnTo>
                <a:lnTo>
                  <a:pt x="346" y="169"/>
                </a:lnTo>
                <a:lnTo>
                  <a:pt x="346" y="172"/>
                </a:lnTo>
                <a:lnTo>
                  <a:pt x="345" y="173"/>
                </a:lnTo>
                <a:close/>
                <a:moveTo>
                  <a:pt x="184" y="399"/>
                </a:moveTo>
                <a:lnTo>
                  <a:pt x="184" y="400"/>
                </a:lnTo>
                <a:lnTo>
                  <a:pt x="184" y="399"/>
                </a:lnTo>
                <a:lnTo>
                  <a:pt x="184" y="399"/>
                </a:lnTo>
                <a:lnTo>
                  <a:pt x="184" y="399"/>
                </a:lnTo>
                <a:close/>
                <a:moveTo>
                  <a:pt x="350" y="117"/>
                </a:moveTo>
                <a:lnTo>
                  <a:pt x="350" y="119"/>
                </a:lnTo>
                <a:lnTo>
                  <a:pt x="351" y="120"/>
                </a:lnTo>
                <a:lnTo>
                  <a:pt x="354" y="122"/>
                </a:lnTo>
                <a:lnTo>
                  <a:pt x="357" y="123"/>
                </a:lnTo>
                <a:lnTo>
                  <a:pt x="364" y="125"/>
                </a:lnTo>
                <a:lnTo>
                  <a:pt x="369" y="125"/>
                </a:lnTo>
                <a:lnTo>
                  <a:pt x="371" y="125"/>
                </a:lnTo>
                <a:lnTo>
                  <a:pt x="373" y="125"/>
                </a:lnTo>
                <a:lnTo>
                  <a:pt x="375" y="126"/>
                </a:lnTo>
                <a:lnTo>
                  <a:pt x="375" y="128"/>
                </a:lnTo>
                <a:lnTo>
                  <a:pt x="372" y="130"/>
                </a:lnTo>
                <a:lnTo>
                  <a:pt x="370" y="131"/>
                </a:lnTo>
                <a:lnTo>
                  <a:pt x="372" y="133"/>
                </a:lnTo>
                <a:lnTo>
                  <a:pt x="376" y="135"/>
                </a:lnTo>
                <a:lnTo>
                  <a:pt x="378" y="136"/>
                </a:lnTo>
                <a:lnTo>
                  <a:pt x="383" y="136"/>
                </a:lnTo>
                <a:lnTo>
                  <a:pt x="379" y="134"/>
                </a:lnTo>
                <a:lnTo>
                  <a:pt x="377" y="131"/>
                </a:lnTo>
                <a:lnTo>
                  <a:pt x="381" y="131"/>
                </a:lnTo>
                <a:lnTo>
                  <a:pt x="386" y="130"/>
                </a:lnTo>
                <a:lnTo>
                  <a:pt x="381" y="126"/>
                </a:lnTo>
                <a:lnTo>
                  <a:pt x="376" y="124"/>
                </a:lnTo>
                <a:lnTo>
                  <a:pt x="371" y="123"/>
                </a:lnTo>
                <a:lnTo>
                  <a:pt x="364" y="122"/>
                </a:lnTo>
                <a:lnTo>
                  <a:pt x="361" y="120"/>
                </a:lnTo>
                <a:lnTo>
                  <a:pt x="357" y="117"/>
                </a:lnTo>
                <a:lnTo>
                  <a:pt x="352" y="115"/>
                </a:lnTo>
                <a:lnTo>
                  <a:pt x="346" y="115"/>
                </a:lnTo>
                <a:lnTo>
                  <a:pt x="347" y="117"/>
                </a:lnTo>
                <a:lnTo>
                  <a:pt x="350" y="117"/>
                </a:lnTo>
                <a:lnTo>
                  <a:pt x="348" y="118"/>
                </a:lnTo>
                <a:lnTo>
                  <a:pt x="350" y="117"/>
                </a:lnTo>
                <a:close/>
                <a:moveTo>
                  <a:pt x="70" y="258"/>
                </a:moveTo>
                <a:lnTo>
                  <a:pt x="70" y="258"/>
                </a:lnTo>
                <a:lnTo>
                  <a:pt x="72" y="258"/>
                </a:lnTo>
                <a:lnTo>
                  <a:pt x="75" y="258"/>
                </a:lnTo>
                <a:lnTo>
                  <a:pt x="79" y="260"/>
                </a:lnTo>
                <a:lnTo>
                  <a:pt x="80" y="259"/>
                </a:lnTo>
                <a:lnTo>
                  <a:pt x="81" y="258"/>
                </a:lnTo>
                <a:lnTo>
                  <a:pt x="82" y="260"/>
                </a:lnTo>
                <a:lnTo>
                  <a:pt x="85" y="261"/>
                </a:lnTo>
                <a:lnTo>
                  <a:pt x="90" y="261"/>
                </a:lnTo>
                <a:lnTo>
                  <a:pt x="93" y="261"/>
                </a:lnTo>
                <a:lnTo>
                  <a:pt x="100" y="263"/>
                </a:lnTo>
                <a:lnTo>
                  <a:pt x="108" y="265"/>
                </a:lnTo>
                <a:lnTo>
                  <a:pt x="112" y="267"/>
                </a:lnTo>
                <a:lnTo>
                  <a:pt x="115" y="268"/>
                </a:lnTo>
                <a:lnTo>
                  <a:pt x="117" y="268"/>
                </a:lnTo>
                <a:lnTo>
                  <a:pt x="120" y="267"/>
                </a:lnTo>
                <a:lnTo>
                  <a:pt x="122" y="269"/>
                </a:lnTo>
                <a:lnTo>
                  <a:pt x="124" y="272"/>
                </a:lnTo>
                <a:lnTo>
                  <a:pt x="120" y="272"/>
                </a:lnTo>
                <a:lnTo>
                  <a:pt x="115" y="271"/>
                </a:lnTo>
                <a:lnTo>
                  <a:pt x="111" y="269"/>
                </a:lnTo>
                <a:lnTo>
                  <a:pt x="106" y="268"/>
                </a:lnTo>
                <a:lnTo>
                  <a:pt x="106" y="268"/>
                </a:lnTo>
                <a:lnTo>
                  <a:pt x="106" y="268"/>
                </a:lnTo>
                <a:lnTo>
                  <a:pt x="92" y="265"/>
                </a:lnTo>
                <a:lnTo>
                  <a:pt x="79" y="260"/>
                </a:lnTo>
                <a:lnTo>
                  <a:pt x="75" y="260"/>
                </a:lnTo>
                <a:lnTo>
                  <a:pt x="72" y="258"/>
                </a:lnTo>
                <a:lnTo>
                  <a:pt x="71" y="258"/>
                </a:lnTo>
                <a:lnTo>
                  <a:pt x="70" y="258"/>
                </a:lnTo>
                <a:close/>
                <a:moveTo>
                  <a:pt x="163" y="230"/>
                </a:moveTo>
                <a:lnTo>
                  <a:pt x="166" y="230"/>
                </a:lnTo>
                <a:lnTo>
                  <a:pt x="169" y="231"/>
                </a:lnTo>
                <a:lnTo>
                  <a:pt x="166" y="230"/>
                </a:lnTo>
                <a:lnTo>
                  <a:pt x="163" y="230"/>
                </a:lnTo>
                <a:close/>
                <a:moveTo>
                  <a:pt x="231" y="100"/>
                </a:moveTo>
                <a:lnTo>
                  <a:pt x="229" y="100"/>
                </a:lnTo>
                <a:lnTo>
                  <a:pt x="227" y="100"/>
                </a:lnTo>
                <a:lnTo>
                  <a:pt x="228" y="101"/>
                </a:lnTo>
                <a:lnTo>
                  <a:pt x="230" y="103"/>
                </a:lnTo>
                <a:lnTo>
                  <a:pt x="232" y="103"/>
                </a:lnTo>
                <a:lnTo>
                  <a:pt x="233" y="103"/>
                </a:lnTo>
                <a:lnTo>
                  <a:pt x="235" y="101"/>
                </a:lnTo>
                <a:lnTo>
                  <a:pt x="233" y="100"/>
                </a:lnTo>
                <a:lnTo>
                  <a:pt x="232" y="100"/>
                </a:lnTo>
                <a:lnTo>
                  <a:pt x="231" y="100"/>
                </a:lnTo>
                <a:close/>
                <a:moveTo>
                  <a:pt x="940" y="241"/>
                </a:moveTo>
                <a:lnTo>
                  <a:pt x="939" y="240"/>
                </a:lnTo>
                <a:lnTo>
                  <a:pt x="939" y="240"/>
                </a:lnTo>
                <a:lnTo>
                  <a:pt x="938" y="240"/>
                </a:lnTo>
                <a:lnTo>
                  <a:pt x="937" y="241"/>
                </a:lnTo>
                <a:lnTo>
                  <a:pt x="937" y="243"/>
                </a:lnTo>
                <a:lnTo>
                  <a:pt x="937" y="247"/>
                </a:lnTo>
                <a:lnTo>
                  <a:pt x="939" y="246"/>
                </a:lnTo>
                <a:lnTo>
                  <a:pt x="940" y="244"/>
                </a:lnTo>
                <a:lnTo>
                  <a:pt x="940" y="243"/>
                </a:lnTo>
                <a:lnTo>
                  <a:pt x="940" y="241"/>
                </a:lnTo>
                <a:lnTo>
                  <a:pt x="940" y="241"/>
                </a:lnTo>
                <a:lnTo>
                  <a:pt x="940" y="241"/>
                </a:lnTo>
                <a:close/>
                <a:moveTo>
                  <a:pt x="256" y="449"/>
                </a:moveTo>
                <a:lnTo>
                  <a:pt x="260" y="448"/>
                </a:lnTo>
                <a:lnTo>
                  <a:pt x="262" y="448"/>
                </a:lnTo>
                <a:lnTo>
                  <a:pt x="264" y="448"/>
                </a:lnTo>
                <a:lnTo>
                  <a:pt x="265" y="445"/>
                </a:lnTo>
                <a:lnTo>
                  <a:pt x="263" y="445"/>
                </a:lnTo>
                <a:lnTo>
                  <a:pt x="261" y="446"/>
                </a:lnTo>
                <a:lnTo>
                  <a:pt x="258" y="447"/>
                </a:lnTo>
                <a:lnTo>
                  <a:pt x="256" y="449"/>
                </a:lnTo>
                <a:close/>
                <a:moveTo>
                  <a:pt x="293" y="132"/>
                </a:moveTo>
                <a:lnTo>
                  <a:pt x="294" y="134"/>
                </a:lnTo>
                <a:lnTo>
                  <a:pt x="296" y="135"/>
                </a:lnTo>
                <a:lnTo>
                  <a:pt x="298" y="135"/>
                </a:lnTo>
                <a:lnTo>
                  <a:pt x="301" y="134"/>
                </a:lnTo>
                <a:lnTo>
                  <a:pt x="298" y="132"/>
                </a:lnTo>
                <a:lnTo>
                  <a:pt x="296" y="131"/>
                </a:lnTo>
                <a:lnTo>
                  <a:pt x="294" y="131"/>
                </a:lnTo>
                <a:lnTo>
                  <a:pt x="293" y="132"/>
                </a:lnTo>
                <a:lnTo>
                  <a:pt x="294" y="133"/>
                </a:lnTo>
                <a:lnTo>
                  <a:pt x="293" y="132"/>
                </a:lnTo>
                <a:close/>
                <a:moveTo>
                  <a:pt x="369" y="183"/>
                </a:moveTo>
                <a:lnTo>
                  <a:pt x="370" y="183"/>
                </a:lnTo>
                <a:lnTo>
                  <a:pt x="370" y="181"/>
                </a:lnTo>
                <a:lnTo>
                  <a:pt x="369" y="178"/>
                </a:lnTo>
                <a:lnTo>
                  <a:pt x="367" y="178"/>
                </a:lnTo>
                <a:lnTo>
                  <a:pt x="364" y="180"/>
                </a:lnTo>
                <a:lnTo>
                  <a:pt x="364" y="181"/>
                </a:lnTo>
                <a:lnTo>
                  <a:pt x="367" y="182"/>
                </a:lnTo>
                <a:lnTo>
                  <a:pt x="369" y="183"/>
                </a:lnTo>
                <a:lnTo>
                  <a:pt x="369" y="183"/>
                </a:lnTo>
                <a:lnTo>
                  <a:pt x="369" y="183"/>
                </a:lnTo>
                <a:close/>
                <a:moveTo>
                  <a:pt x="649" y="609"/>
                </a:moveTo>
                <a:lnTo>
                  <a:pt x="648" y="608"/>
                </a:lnTo>
                <a:lnTo>
                  <a:pt x="645" y="607"/>
                </a:lnTo>
                <a:lnTo>
                  <a:pt x="642" y="607"/>
                </a:lnTo>
                <a:lnTo>
                  <a:pt x="641" y="609"/>
                </a:lnTo>
                <a:lnTo>
                  <a:pt x="642" y="611"/>
                </a:lnTo>
                <a:lnTo>
                  <a:pt x="644" y="612"/>
                </a:lnTo>
                <a:lnTo>
                  <a:pt x="648" y="612"/>
                </a:lnTo>
                <a:lnTo>
                  <a:pt x="649" y="609"/>
                </a:lnTo>
                <a:close/>
                <a:moveTo>
                  <a:pt x="660" y="175"/>
                </a:moveTo>
                <a:lnTo>
                  <a:pt x="661" y="174"/>
                </a:lnTo>
                <a:lnTo>
                  <a:pt x="661" y="173"/>
                </a:lnTo>
                <a:lnTo>
                  <a:pt x="661" y="172"/>
                </a:lnTo>
                <a:lnTo>
                  <a:pt x="659" y="172"/>
                </a:lnTo>
                <a:lnTo>
                  <a:pt x="657" y="173"/>
                </a:lnTo>
                <a:lnTo>
                  <a:pt x="657" y="174"/>
                </a:lnTo>
                <a:lnTo>
                  <a:pt x="658" y="175"/>
                </a:lnTo>
                <a:lnTo>
                  <a:pt x="660" y="175"/>
                </a:lnTo>
                <a:lnTo>
                  <a:pt x="660" y="175"/>
                </a:lnTo>
                <a:lnTo>
                  <a:pt x="660" y="175"/>
                </a:lnTo>
                <a:close/>
                <a:moveTo>
                  <a:pt x="306" y="140"/>
                </a:moveTo>
                <a:lnTo>
                  <a:pt x="306" y="138"/>
                </a:lnTo>
                <a:lnTo>
                  <a:pt x="306" y="136"/>
                </a:lnTo>
                <a:lnTo>
                  <a:pt x="304" y="135"/>
                </a:lnTo>
                <a:lnTo>
                  <a:pt x="303" y="136"/>
                </a:lnTo>
                <a:lnTo>
                  <a:pt x="302" y="139"/>
                </a:lnTo>
                <a:lnTo>
                  <a:pt x="299" y="140"/>
                </a:lnTo>
                <a:lnTo>
                  <a:pt x="302" y="141"/>
                </a:lnTo>
                <a:lnTo>
                  <a:pt x="304" y="141"/>
                </a:lnTo>
                <a:lnTo>
                  <a:pt x="305" y="141"/>
                </a:lnTo>
                <a:lnTo>
                  <a:pt x="306" y="140"/>
                </a:lnTo>
                <a:lnTo>
                  <a:pt x="306" y="141"/>
                </a:lnTo>
                <a:lnTo>
                  <a:pt x="306" y="140"/>
                </a:lnTo>
                <a:close/>
                <a:moveTo>
                  <a:pt x="1002" y="642"/>
                </a:moveTo>
                <a:lnTo>
                  <a:pt x="1004" y="641"/>
                </a:lnTo>
                <a:lnTo>
                  <a:pt x="1007" y="641"/>
                </a:lnTo>
                <a:lnTo>
                  <a:pt x="1008" y="640"/>
                </a:lnTo>
                <a:lnTo>
                  <a:pt x="1008" y="640"/>
                </a:lnTo>
                <a:lnTo>
                  <a:pt x="1008" y="639"/>
                </a:lnTo>
                <a:lnTo>
                  <a:pt x="1006" y="638"/>
                </a:lnTo>
                <a:lnTo>
                  <a:pt x="1003" y="638"/>
                </a:lnTo>
                <a:lnTo>
                  <a:pt x="1001" y="639"/>
                </a:lnTo>
                <a:lnTo>
                  <a:pt x="1001" y="640"/>
                </a:lnTo>
                <a:lnTo>
                  <a:pt x="1001" y="641"/>
                </a:lnTo>
                <a:lnTo>
                  <a:pt x="1002" y="642"/>
                </a:lnTo>
                <a:lnTo>
                  <a:pt x="1002" y="642"/>
                </a:lnTo>
                <a:lnTo>
                  <a:pt x="1003" y="641"/>
                </a:lnTo>
                <a:lnTo>
                  <a:pt x="1002" y="642"/>
                </a:lnTo>
                <a:close/>
                <a:moveTo>
                  <a:pt x="227" y="95"/>
                </a:moveTo>
                <a:lnTo>
                  <a:pt x="230" y="95"/>
                </a:lnTo>
                <a:lnTo>
                  <a:pt x="233" y="95"/>
                </a:lnTo>
                <a:lnTo>
                  <a:pt x="232" y="94"/>
                </a:lnTo>
                <a:lnTo>
                  <a:pt x="230" y="92"/>
                </a:lnTo>
                <a:lnTo>
                  <a:pt x="228" y="91"/>
                </a:lnTo>
                <a:lnTo>
                  <a:pt x="227" y="91"/>
                </a:lnTo>
                <a:lnTo>
                  <a:pt x="224" y="92"/>
                </a:lnTo>
                <a:lnTo>
                  <a:pt x="224" y="93"/>
                </a:lnTo>
                <a:lnTo>
                  <a:pt x="225" y="94"/>
                </a:lnTo>
                <a:lnTo>
                  <a:pt x="227" y="95"/>
                </a:lnTo>
                <a:lnTo>
                  <a:pt x="227" y="95"/>
                </a:lnTo>
                <a:lnTo>
                  <a:pt x="227" y="95"/>
                </a:lnTo>
                <a:close/>
                <a:moveTo>
                  <a:pt x="614" y="175"/>
                </a:moveTo>
                <a:lnTo>
                  <a:pt x="615" y="174"/>
                </a:lnTo>
                <a:lnTo>
                  <a:pt x="615" y="173"/>
                </a:lnTo>
                <a:lnTo>
                  <a:pt x="615" y="171"/>
                </a:lnTo>
                <a:lnTo>
                  <a:pt x="614" y="169"/>
                </a:lnTo>
                <a:lnTo>
                  <a:pt x="612" y="169"/>
                </a:lnTo>
                <a:lnTo>
                  <a:pt x="611" y="169"/>
                </a:lnTo>
                <a:lnTo>
                  <a:pt x="610" y="169"/>
                </a:lnTo>
                <a:lnTo>
                  <a:pt x="610" y="171"/>
                </a:lnTo>
                <a:lnTo>
                  <a:pt x="611" y="173"/>
                </a:lnTo>
                <a:lnTo>
                  <a:pt x="614" y="175"/>
                </a:lnTo>
                <a:lnTo>
                  <a:pt x="614" y="175"/>
                </a:lnTo>
                <a:lnTo>
                  <a:pt x="614" y="175"/>
                </a:lnTo>
                <a:close/>
                <a:moveTo>
                  <a:pt x="431" y="493"/>
                </a:moveTo>
                <a:lnTo>
                  <a:pt x="428" y="491"/>
                </a:lnTo>
                <a:lnTo>
                  <a:pt x="426" y="490"/>
                </a:lnTo>
                <a:lnTo>
                  <a:pt x="422" y="490"/>
                </a:lnTo>
                <a:lnTo>
                  <a:pt x="420" y="490"/>
                </a:lnTo>
                <a:lnTo>
                  <a:pt x="420" y="490"/>
                </a:lnTo>
                <a:lnTo>
                  <a:pt x="420" y="490"/>
                </a:lnTo>
                <a:lnTo>
                  <a:pt x="422" y="492"/>
                </a:lnTo>
                <a:lnTo>
                  <a:pt x="425" y="493"/>
                </a:lnTo>
                <a:lnTo>
                  <a:pt x="428" y="493"/>
                </a:lnTo>
                <a:lnTo>
                  <a:pt x="431" y="493"/>
                </a:lnTo>
                <a:close/>
                <a:moveTo>
                  <a:pt x="375" y="256"/>
                </a:moveTo>
                <a:lnTo>
                  <a:pt x="376" y="258"/>
                </a:lnTo>
                <a:lnTo>
                  <a:pt x="378" y="260"/>
                </a:lnTo>
                <a:lnTo>
                  <a:pt x="380" y="260"/>
                </a:lnTo>
                <a:lnTo>
                  <a:pt x="384" y="259"/>
                </a:lnTo>
                <a:lnTo>
                  <a:pt x="379" y="257"/>
                </a:lnTo>
                <a:lnTo>
                  <a:pt x="375" y="256"/>
                </a:lnTo>
                <a:close/>
                <a:moveTo>
                  <a:pt x="515" y="560"/>
                </a:moveTo>
                <a:lnTo>
                  <a:pt x="515" y="563"/>
                </a:lnTo>
                <a:lnTo>
                  <a:pt x="517" y="566"/>
                </a:lnTo>
                <a:lnTo>
                  <a:pt x="517" y="567"/>
                </a:lnTo>
                <a:lnTo>
                  <a:pt x="518" y="568"/>
                </a:lnTo>
                <a:lnTo>
                  <a:pt x="519" y="568"/>
                </a:lnTo>
                <a:lnTo>
                  <a:pt x="520" y="567"/>
                </a:lnTo>
                <a:lnTo>
                  <a:pt x="520" y="565"/>
                </a:lnTo>
                <a:lnTo>
                  <a:pt x="519" y="563"/>
                </a:lnTo>
                <a:lnTo>
                  <a:pt x="517" y="562"/>
                </a:lnTo>
                <a:lnTo>
                  <a:pt x="515" y="560"/>
                </a:lnTo>
                <a:lnTo>
                  <a:pt x="516" y="562"/>
                </a:lnTo>
                <a:lnTo>
                  <a:pt x="515" y="560"/>
                </a:lnTo>
                <a:close/>
                <a:moveTo>
                  <a:pt x="0" y="244"/>
                </a:moveTo>
                <a:lnTo>
                  <a:pt x="2" y="247"/>
                </a:lnTo>
                <a:lnTo>
                  <a:pt x="5" y="248"/>
                </a:lnTo>
                <a:lnTo>
                  <a:pt x="7" y="248"/>
                </a:lnTo>
                <a:lnTo>
                  <a:pt x="9" y="248"/>
                </a:lnTo>
                <a:lnTo>
                  <a:pt x="8" y="244"/>
                </a:lnTo>
                <a:lnTo>
                  <a:pt x="6" y="243"/>
                </a:lnTo>
                <a:lnTo>
                  <a:pt x="2" y="243"/>
                </a:lnTo>
                <a:lnTo>
                  <a:pt x="0" y="244"/>
                </a:lnTo>
                <a:close/>
                <a:moveTo>
                  <a:pt x="244" y="100"/>
                </a:moveTo>
                <a:lnTo>
                  <a:pt x="246" y="99"/>
                </a:lnTo>
                <a:lnTo>
                  <a:pt x="246" y="98"/>
                </a:lnTo>
                <a:lnTo>
                  <a:pt x="244" y="97"/>
                </a:lnTo>
                <a:lnTo>
                  <a:pt x="240" y="95"/>
                </a:lnTo>
                <a:lnTo>
                  <a:pt x="238" y="95"/>
                </a:lnTo>
                <a:lnTo>
                  <a:pt x="236" y="95"/>
                </a:lnTo>
                <a:lnTo>
                  <a:pt x="239" y="99"/>
                </a:lnTo>
                <a:lnTo>
                  <a:pt x="244" y="100"/>
                </a:lnTo>
                <a:lnTo>
                  <a:pt x="244" y="100"/>
                </a:lnTo>
                <a:lnTo>
                  <a:pt x="244" y="100"/>
                </a:lnTo>
                <a:close/>
                <a:moveTo>
                  <a:pt x="338" y="473"/>
                </a:moveTo>
                <a:lnTo>
                  <a:pt x="337" y="474"/>
                </a:lnTo>
                <a:lnTo>
                  <a:pt x="335" y="476"/>
                </a:lnTo>
                <a:lnTo>
                  <a:pt x="336" y="477"/>
                </a:lnTo>
                <a:lnTo>
                  <a:pt x="337" y="477"/>
                </a:lnTo>
                <a:lnTo>
                  <a:pt x="339" y="477"/>
                </a:lnTo>
                <a:lnTo>
                  <a:pt x="340" y="475"/>
                </a:lnTo>
                <a:lnTo>
                  <a:pt x="340" y="474"/>
                </a:lnTo>
                <a:lnTo>
                  <a:pt x="338" y="473"/>
                </a:lnTo>
                <a:lnTo>
                  <a:pt x="338" y="474"/>
                </a:lnTo>
                <a:lnTo>
                  <a:pt x="338" y="473"/>
                </a:lnTo>
                <a:close/>
                <a:moveTo>
                  <a:pt x="484" y="141"/>
                </a:moveTo>
                <a:lnTo>
                  <a:pt x="485" y="140"/>
                </a:lnTo>
                <a:lnTo>
                  <a:pt x="484" y="139"/>
                </a:lnTo>
                <a:lnTo>
                  <a:pt x="482" y="138"/>
                </a:lnTo>
                <a:lnTo>
                  <a:pt x="480" y="138"/>
                </a:lnTo>
                <a:lnTo>
                  <a:pt x="478" y="138"/>
                </a:lnTo>
                <a:lnTo>
                  <a:pt x="475" y="139"/>
                </a:lnTo>
                <a:lnTo>
                  <a:pt x="479" y="141"/>
                </a:lnTo>
                <a:lnTo>
                  <a:pt x="484" y="141"/>
                </a:lnTo>
                <a:lnTo>
                  <a:pt x="484" y="141"/>
                </a:lnTo>
                <a:lnTo>
                  <a:pt x="484" y="141"/>
                </a:lnTo>
                <a:close/>
                <a:moveTo>
                  <a:pt x="542" y="215"/>
                </a:moveTo>
                <a:lnTo>
                  <a:pt x="545" y="215"/>
                </a:lnTo>
                <a:lnTo>
                  <a:pt x="548" y="215"/>
                </a:lnTo>
                <a:lnTo>
                  <a:pt x="549" y="214"/>
                </a:lnTo>
                <a:lnTo>
                  <a:pt x="549" y="213"/>
                </a:lnTo>
                <a:lnTo>
                  <a:pt x="550" y="211"/>
                </a:lnTo>
                <a:lnTo>
                  <a:pt x="549" y="209"/>
                </a:lnTo>
                <a:lnTo>
                  <a:pt x="549" y="209"/>
                </a:lnTo>
                <a:lnTo>
                  <a:pt x="549" y="209"/>
                </a:lnTo>
                <a:lnTo>
                  <a:pt x="545" y="211"/>
                </a:lnTo>
                <a:lnTo>
                  <a:pt x="542" y="215"/>
                </a:lnTo>
                <a:close/>
                <a:moveTo>
                  <a:pt x="499" y="557"/>
                </a:moveTo>
                <a:lnTo>
                  <a:pt x="503" y="555"/>
                </a:lnTo>
                <a:lnTo>
                  <a:pt x="508" y="551"/>
                </a:lnTo>
                <a:lnTo>
                  <a:pt x="504" y="550"/>
                </a:lnTo>
                <a:lnTo>
                  <a:pt x="501" y="551"/>
                </a:lnTo>
                <a:lnTo>
                  <a:pt x="500" y="554"/>
                </a:lnTo>
                <a:lnTo>
                  <a:pt x="499" y="557"/>
                </a:lnTo>
                <a:close/>
                <a:moveTo>
                  <a:pt x="438" y="190"/>
                </a:moveTo>
                <a:lnTo>
                  <a:pt x="435" y="186"/>
                </a:lnTo>
                <a:lnTo>
                  <a:pt x="430" y="183"/>
                </a:lnTo>
                <a:lnTo>
                  <a:pt x="431" y="186"/>
                </a:lnTo>
                <a:lnTo>
                  <a:pt x="433" y="189"/>
                </a:lnTo>
                <a:lnTo>
                  <a:pt x="434" y="190"/>
                </a:lnTo>
                <a:lnTo>
                  <a:pt x="438" y="190"/>
                </a:lnTo>
                <a:close/>
                <a:moveTo>
                  <a:pt x="610" y="307"/>
                </a:moveTo>
                <a:lnTo>
                  <a:pt x="609" y="304"/>
                </a:lnTo>
                <a:lnTo>
                  <a:pt x="606" y="300"/>
                </a:lnTo>
                <a:lnTo>
                  <a:pt x="606" y="304"/>
                </a:lnTo>
                <a:lnTo>
                  <a:pt x="607" y="306"/>
                </a:lnTo>
                <a:lnTo>
                  <a:pt x="609" y="307"/>
                </a:lnTo>
                <a:lnTo>
                  <a:pt x="610" y="307"/>
                </a:lnTo>
                <a:lnTo>
                  <a:pt x="610" y="306"/>
                </a:lnTo>
                <a:lnTo>
                  <a:pt x="610" y="307"/>
                </a:lnTo>
                <a:close/>
                <a:moveTo>
                  <a:pt x="577" y="210"/>
                </a:moveTo>
                <a:lnTo>
                  <a:pt x="576" y="206"/>
                </a:lnTo>
                <a:lnTo>
                  <a:pt x="577" y="202"/>
                </a:lnTo>
                <a:lnTo>
                  <a:pt x="574" y="203"/>
                </a:lnTo>
                <a:lnTo>
                  <a:pt x="573" y="205"/>
                </a:lnTo>
                <a:lnTo>
                  <a:pt x="574" y="207"/>
                </a:lnTo>
                <a:lnTo>
                  <a:pt x="577" y="210"/>
                </a:lnTo>
                <a:close/>
                <a:moveTo>
                  <a:pt x="610" y="199"/>
                </a:moveTo>
                <a:lnTo>
                  <a:pt x="610" y="199"/>
                </a:lnTo>
                <a:lnTo>
                  <a:pt x="610" y="199"/>
                </a:lnTo>
                <a:lnTo>
                  <a:pt x="610" y="198"/>
                </a:lnTo>
                <a:lnTo>
                  <a:pt x="612" y="199"/>
                </a:lnTo>
                <a:lnTo>
                  <a:pt x="612" y="200"/>
                </a:lnTo>
                <a:lnTo>
                  <a:pt x="615" y="202"/>
                </a:lnTo>
                <a:lnTo>
                  <a:pt x="618" y="206"/>
                </a:lnTo>
                <a:lnTo>
                  <a:pt x="620" y="207"/>
                </a:lnTo>
                <a:lnTo>
                  <a:pt x="622" y="207"/>
                </a:lnTo>
                <a:lnTo>
                  <a:pt x="624" y="207"/>
                </a:lnTo>
                <a:lnTo>
                  <a:pt x="625" y="207"/>
                </a:lnTo>
                <a:lnTo>
                  <a:pt x="625" y="207"/>
                </a:lnTo>
                <a:lnTo>
                  <a:pt x="625" y="207"/>
                </a:lnTo>
                <a:lnTo>
                  <a:pt x="626" y="205"/>
                </a:lnTo>
                <a:lnTo>
                  <a:pt x="625" y="203"/>
                </a:lnTo>
                <a:lnTo>
                  <a:pt x="623" y="203"/>
                </a:lnTo>
                <a:lnTo>
                  <a:pt x="620" y="202"/>
                </a:lnTo>
                <a:lnTo>
                  <a:pt x="618" y="202"/>
                </a:lnTo>
                <a:lnTo>
                  <a:pt x="616" y="201"/>
                </a:lnTo>
                <a:lnTo>
                  <a:pt x="615" y="198"/>
                </a:lnTo>
                <a:lnTo>
                  <a:pt x="612" y="196"/>
                </a:lnTo>
                <a:lnTo>
                  <a:pt x="612" y="194"/>
                </a:lnTo>
                <a:lnTo>
                  <a:pt x="611" y="194"/>
                </a:lnTo>
                <a:lnTo>
                  <a:pt x="610" y="194"/>
                </a:lnTo>
                <a:lnTo>
                  <a:pt x="609" y="196"/>
                </a:lnTo>
                <a:lnTo>
                  <a:pt x="609" y="197"/>
                </a:lnTo>
                <a:lnTo>
                  <a:pt x="610" y="198"/>
                </a:lnTo>
                <a:lnTo>
                  <a:pt x="610" y="198"/>
                </a:lnTo>
                <a:lnTo>
                  <a:pt x="610" y="199"/>
                </a:lnTo>
                <a:close/>
                <a:moveTo>
                  <a:pt x="602" y="198"/>
                </a:moveTo>
                <a:lnTo>
                  <a:pt x="603" y="200"/>
                </a:lnTo>
                <a:lnTo>
                  <a:pt x="606" y="201"/>
                </a:lnTo>
                <a:lnTo>
                  <a:pt x="607" y="201"/>
                </a:lnTo>
                <a:lnTo>
                  <a:pt x="609" y="201"/>
                </a:lnTo>
                <a:lnTo>
                  <a:pt x="609" y="200"/>
                </a:lnTo>
                <a:lnTo>
                  <a:pt x="610" y="199"/>
                </a:lnTo>
                <a:lnTo>
                  <a:pt x="606" y="197"/>
                </a:lnTo>
                <a:lnTo>
                  <a:pt x="602" y="198"/>
                </a:lnTo>
                <a:lnTo>
                  <a:pt x="602" y="198"/>
                </a:lnTo>
                <a:lnTo>
                  <a:pt x="602" y="198"/>
                </a:lnTo>
                <a:close/>
                <a:moveTo>
                  <a:pt x="1041" y="653"/>
                </a:moveTo>
                <a:lnTo>
                  <a:pt x="1040" y="651"/>
                </a:lnTo>
                <a:lnTo>
                  <a:pt x="1038" y="651"/>
                </a:lnTo>
                <a:lnTo>
                  <a:pt x="1037" y="651"/>
                </a:lnTo>
                <a:lnTo>
                  <a:pt x="1036" y="654"/>
                </a:lnTo>
                <a:lnTo>
                  <a:pt x="1037" y="656"/>
                </a:lnTo>
                <a:lnTo>
                  <a:pt x="1038" y="656"/>
                </a:lnTo>
                <a:lnTo>
                  <a:pt x="1040" y="654"/>
                </a:lnTo>
                <a:lnTo>
                  <a:pt x="1041" y="653"/>
                </a:lnTo>
                <a:lnTo>
                  <a:pt x="1041" y="653"/>
                </a:lnTo>
                <a:lnTo>
                  <a:pt x="1041" y="653"/>
                </a:lnTo>
                <a:close/>
                <a:moveTo>
                  <a:pt x="1039" y="657"/>
                </a:moveTo>
                <a:lnTo>
                  <a:pt x="1039" y="656"/>
                </a:lnTo>
                <a:lnTo>
                  <a:pt x="1039" y="657"/>
                </a:lnTo>
                <a:lnTo>
                  <a:pt x="1036" y="659"/>
                </a:lnTo>
                <a:lnTo>
                  <a:pt x="1031" y="662"/>
                </a:lnTo>
                <a:lnTo>
                  <a:pt x="1037" y="663"/>
                </a:lnTo>
                <a:lnTo>
                  <a:pt x="1044" y="663"/>
                </a:lnTo>
                <a:lnTo>
                  <a:pt x="1047" y="662"/>
                </a:lnTo>
                <a:lnTo>
                  <a:pt x="1049" y="662"/>
                </a:lnTo>
                <a:lnTo>
                  <a:pt x="1053" y="659"/>
                </a:lnTo>
                <a:lnTo>
                  <a:pt x="1054" y="657"/>
                </a:lnTo>
                <a:lnTo>
                  <a:pt x="1046" y="657"/>
                </a:lnTo>
                <a:lnTo>
                  <a:pt x="1039" y="657"/>
                </a:lnTo>
                <a:close/>
                <a:moveTo>
                  <a:pt x="1039" y="657"/>
                </a:moveTo>
                <a:lnTo>
                  <a:pt x="1039" y="657"/>
                </a:lnTo>
                <a:lnTo>
                  <a:pt x="1039" y="657"/>
                </a:lnTo>
                <a:close/>
                <a:moveTo>
                  <a:pt x="722" y="650"/>
                </a:moveTo>
                <a:lnTo>
                  <a:pt x="716" y="649"/>
                </a:lnTo>
                <a:lnTo>
                  <a:pt x="710" y="648"/>
                </a:lnTo>
                <a:lnTo>
                  <a:pt x="714" y="650"/>
                </a:lnTo>
                <a:lnTo>
                  <a:pt x="716" y="651"/>
                </a:lnTo>
                <a:lnTo>
                  <a:pt x="718" y="651"/>
                </a:lnTo>
                <a:lnTo>
                  <a:pt x="722" y="650"/>
                </a:lnTo>
                <a:close/>
                <a:moveTo>
                  <a:pt x="581" y="184"/>
                </a:moveTo>
                <a:lnTo>
                  <a:pt x="583" y="183"/>
                </a:lnTo>
                <a:lnTo>
                  <a:pt x="584" y="181"/>
                </a:lnTo>
                <a:lnTo>
                  <a:pt x="583" y="178"/>
                </a:lnTo>
                <a:lnTo>
                  <a:pt x="582" y="177"/>
                </a:lnTo>
                <a:lnTo>
                  <a:pt x="579" y="178"/>
                </a:lnTo>
                <a:lnTo>
                  <a:pt x="577" y="181"/>
                </a:lnTo>
                <a:lnTo>
                  <a:pt x="577" y="182"/>
                </a:lnTo>
                <a:lnTo>
                  <a:pt x="578" y="183"/>
                </a:lnTo>
                <a:lnTo>
                  <a:pt x="578" y="184"/>
                </a:lnTo>
                <a:lnTo>
                  <a:pt x="581" y="184"/>
                </a:lnTo>
                <a:lnTo>
                  <a:pt x="581" y="184"/>
                </a:lnTo>
                <a:lnTo>
                  <a:pt x="581" y="184"/>
                </a:lnTo>
                <a:close/>
                <a:moveTo>
                  <a:pt x="870" y="658"/>
                </a:moveTo>
                <a:lnTo>
                  <a:pt x="872" y="658"/>
                </a:lnTo>
                <a:lnTo>
                  <a:pt x="875" y="659"/>
                </a:lnTo>
                <a:lnTo>
                  <a:pt x="876" y="659"/>
                </a:lnTo>
                <a:lnTo>
                  <a:pt x="878" y="659"/>
                </a:lnTo>
                <a:lnTo>
                  <a:pt x="879" y="658"/>
                </a:lnTo>
                <a:lnTo>
                  <a:pt x="880" y="657"/>
                </a:lnTo>
                <a:lnTo>
                  <a:pt x="876" y="656"/>
                </a:lnTo>
                <a:lnTo>
                  <a:pt x="872" y="656"/>
                </a:lnTo>
                <a:lnTo>
                  <a:pt x="871" y="656"/>
                </a:lnTo>
                <a:lnTo>
                  <a:pt x="868" y="656"/>
                </a:lnTo>
                <a:lnTo>
                  <a:pt x="868" y="657"/>
                </a:lnTo>
                <a:lnTo>
                  <a:pt x="870" y="658"/>
                </a:lnTo>
                <a:lnTo>
                  <a:pt x="871" y="657"/>
                </a:lnTo>
                <a:lnTo>
                  <a:pt x="870" y="658"/>
                </a:lnTo>
                <a:close/>
                <a:moveTo>
                  <a:pt x="680" y="202"/>
                </a:moveTo>
                <a:lnTo>
                  <a:pt x="681" y="201"/>
                </a:lnTo>
                <a:lnTo>
                  <a:pt x="682" y="200"/>
                </a:lnTo>
                <a:lnTo>
                  <a:pt x="681" y="199"/>
                </a:lnTo>
                <a:lnTo>
                  <a:pt x="680" y="198"/>
                </a:lnTo>
                <a:lnTo>
                  <a:pt x="677" y="198"/>
                </a:lnTo>
                <a:lnTo>
                  <a:pt x="676" y="199"/>
                </a:lnTo>
                <a:lnTo>
                  <a:pt x="677" y="201"/>
                </a:lnTo>
                <a:lnTo>
                  <a:pt x="680" y="202"/>
                </a:lnTo>
                <a:lnTo>
                  <a:pt x="678" y="202"/>
                </a:lnTo>
                <a:lnTo>
                  <a:pt x="680" y="202"/>
                </a:lnTo>
                <a:close/>
                <a:moveTo>
                  <a:pt x="648" y="213"/>
                </a:moveTo>
                <a:lnTo>
                  <a:pt x="650" y="213"/>
                </a:lnTo>
                <a:lnTo>
                  <a:pt x="651" y="210"/>
                </a:lnTo>
                <a:lnTo>
                  <a:pt x="649" y="209"/>
                </a:lnTo>
                <a:lnTo>
                  <a:pt x="647" y="209"/>
                </a:lnTo>
                <a:lnTo>
                  <a:pt x="645" y="209"/>
                </a:lnTo>
                <a:lnTo>
                  <a:pt x="644" y="209"/>
                </a:lnTo>
                <a:lnTo>
                  <a:pt x="643" y="210"/>
                </a:lnTo>
                <a:lnTo>
                  <a:pt x="643" y="211"/>
                </a:lnTo>
                <a:lnTo>
                  <a:pt x="645" y="213"/>
                </a:lnTo>
                <a:lnTo>
                  <a:pt x="648" y="213"/>
                </a:lnTo>
                <a:lnTo>
                  <a:pt x="648" y="213"/>
                </a:lnTo>
                <a:lnTo>
                  <a:pt x="648" y="213"/>
                </a:lnTo>
                <a:close/>
                <a:moveTo>
                  <a:pt x="294" y="117"/>
                </a:moveTo>
                <a:lnTo>
                  <a:pt x="291" y="115"/>
                </a:lnTo>
                <a:lnTo>
                  <a:pt x="289" y="114"/>
                </a:lnTo>
                <a:lnTo>
                  <a:pt x="287" y="114"/>
                </a:lnTo>
                <a:lnTo>
                  <a:pt x="284" y="116"/>
                </a:lnTo>
                <a:lnTo>
                  <a:pt x="286" y="117"/>
                </a:lnTo>
                <a:lnTo>
                  <a:pt x="288" y="118"/>
                </a:lnTo>
                <a:lnTo>
                  <a:pt x="290" y="118"/>
                </a:lnTo>
                <a:lnTo>
                  <a:pt x="294" y="117"/>
                </a:lnTo>
                <a:close/>
                <a:moveTo>
                  <a:pt x="179" y="407"/>
                </a:moveTo>
                <a:lnTo>
                  <a:pt x="181" y="409"/>
                </a:lnTo>
                <a:lnTo>
                  <a:pt x="183" y="409"/>
                </a:lnTo>
                <a:lnTo>
                  <a:pt x="186" y="409"/>
                </a:lnTo>
                <a:lnTo>
                  <a:pt x="189" y="407"/>
                </a:lnTo>
                <a:lnTo>
                  <a:pt x="183" y="406"/>
                </a:lnTo>
                <a:lnTo>
                  <a:pt x="179" y="407"/>
                </a:lnTo>
                <a:close/>
                <a:moveTo>
                  <a:pt x="1538" y="199"/>
                </a:moveTo>
                <a:lnTo>
                  <a:pt x="1542" y="199"/>
                </a:lnTo>
                <a:lnTo>
                  <a:pt x="1547" y="198"/>
                </a:lnTo>
                <a:lnTo>
                  <a:pt x="1547" y="196"/>
                </a:lnTo>
                <a:lnTo>
                  <a:pt x="1543" y="196"/>
                </a:lnTo>
                <a:lnTo>
                  <a:pt x="1540" y="197"/>
                </a:lnTo>
                <a:lnTo>
                  <a:pt x="1538" y="199"/>
                </a:lnTo>
                <a:lnTo>
                  <a:pt x="1538" y="198"/>
                </a:lnTo>
                <a:lnTo>
                  <a:pt x="1538" y="199"/>
                </a:lnTo>
                <a:close/>
                <a:moveTo>
                  <a:pt x="217" y="439"/>
                </a:moveTo>
                <a:lnTo>
                  <a:pt x="220" y="439"/>
                </a:lnTo>
                <a:lnTo>
                  <a:pt x="223" y="439"/>
                </a:lnTo>
                <a:lnTo>
                  <a:pt x="225" y="439"/>
                </a:lnTo>
                <a:lnTo>
                  <a:pt x="227" y="437"/>
                </a:lnTo>
                <a:lnTo>
                  <a:pt x="227" y="435"/>
                </a:lnTo>
                <a:lnTo>
                  <a:pt x="227" y="435"/>
                </a:lnTo>
                <a:lnTo>
                  <a:pt x="224" y="435"/>
                </a:lnTo>
                <a:lnTo>
                  <a:pt x="223" y="435"/>
                </a:lnTo>
                <a:lnTo>
                  <a:pt x="220" y="438"/>
                </a:lnTo>
                <a:lnTo>
                  <a:pt x="217" y="439"/>
                </a:lnTo>
                <a:lnTo>
                  <a:pt x="221" y="438"/>
                </a:lnTo>
                <a:lnTo>
                  <a:pt x="217" y="439"/>
                </a:lnTo>
                <a:close/>
                <a:moveTo>
                  <a:pt x="586" y="600"/>
                </a:moveTo>
                <a:lnTo>
                  <a:pt x="583" y="599"/>
                </a:lnTo>
                <a:lnTo>
                  <a:pt x="582" y="598"/>
                </a:lnTo>
                <a:lnTo>
                  <a:pt x="583" y="600"/>
                </a:lnTo>
                <a:lnTo>
                  <a:pt x="584" y="603"/>
                </a:lnTo>
                <a:lnTo>
                  <a:pt x="586" y="604"/>
                </a:lnTo>
                <a:lnTo>
                  <a:pt x="589" y="604"/>
                </a:lnTo>
                <a:lnTo>
                  <a:pt x="590" y="603"/>
                </a:lnTo>
                <a:lnTo>
                  <a:pt x="589" y="601"/>
                </a:lnTo>
                <a:lnTo>
                  <a:pt x="587" y="600"/>
                </a:lnTo>
                <a:lnTo>
                  <a:pt x="586" y="600"/>
                </a:lnTo>
                <a:lnTo>
                  <a:pt x="585" y="599"/>
                </a:lnTo>
                <a:lnTo>
                  <a:pt x="586" y="600"/>
                </a:lnTo>
                <a:close/>
                <a:moveTo>
                  <a:pt x="430" y="297"/>
                </a:moveTo>
                <a:lnTo>
                  <a:pt x="427" y="294"/>
                </a:lnTo>
                <a:lnTo>
                  <a:pt x="425" y="293"/>
                </a:lnTo>
                <a:lnTo>
                  <a:pt x="421" y="293"/>
                </a:lnTo>
                <a:lnTo>
                  <a:pt x="418" y="293"/>
                </a:lnTo>
                <a:lnTo>
                  <a:pt x="420" y="296"/>
                </a:lnTo>
                <a:lnTo>
                  <a:pt x="423" y="297"/>
                </a:lnTo>
                <a:lnTo>
                  <a:pt x="426" y="297"/>
                </a:lnTo>
                <a:lnTo>
                  <a:pt x="430" y="297"/>
                </a:lnTo>
                <a:close/>
                <a:moveTo>
                  <a:pt x="767" y="622"/>
                </a:moveTo>
                <a:lnTo>
                  <a:pt x="765" y="621"/>
                </a:lnTo>
                <a:lnTo>
                  <a:pt x="763" y="621"/>
                </a:lnTo>
                <a:lnTo>
                  <a:pt x="760" y="621"/>
                </a:lnTo>
                <a:lnTo>
                  <a:pt x="758" y="623"/>
                </a:lnTo>
                <a:lnTo>
                  <a:pt x="760" y="623"/>
                </a:lnTo>
                <a:lnTo>
                  <a:pt x="763" y="624"/>
                </a:lnTo>
                <a:lnTo>
                  <a:pt x="765" y="623"/>
                </a:lnTo>
                <a:lnTo>
                  <a:pt x="767" y="622"/>
                </a:lnTo>
                <a:close/>
                <a:moveTo>
                  <a:pt x="131" y="254"/>
                </a:moveTo>
                <a:lnTo>
                  <a:pt x="132" y="252"/>
                </a:lnTo>
                <a:lnTo>
                  <a:pt x="132" y="250"/>
                </a:lnTo>
                <a:lnTo>
                  <a:pt x="131" y="248"/>
                </a:lnTo>
                <a:lnTo>
                  <a:pt x="129" y="248"/>
                </a:lnTo>
                <a:lnTo>
                  <a:pt x="126" y="249"/>
                </a:lnTo>
                <a:lnTo>
                  <a:pt x="125" y="251"/>
                </a:lnTo>
                <a:lnTo>
                  <a:pt x="128" y="252"/>
                </a:lnTo>
                <a:lnTo>
                  <a:pt x="131" y="254"/>
                </a:lnTo>
                <a:lnTo>
                  <a:pt x="130" y="254"/>
                </a:lnTo>
                <a:lnTo>
                  <a:pt x="131" y="254"/>
                </a:lnTo>
                <a:close/>
                <a:moveTo>
                  <a:pt x="682" y="623"/>
                </a:moveTo>
                <a:lnTo>
                  <a:pt x="680" y="622"/>
                </a:lnTo>
                <a:lnTo>
                  <a:pt x="678" y="622"/>
                </a:lnTo>
                <a:lnTo>
                  <a:pt x="678" y="623"/>
                </a:lnTo>
                <a:lnTo>
                  <a:pt x="678" y="624"/>
                </a:lnTo>
                <a:lnTo>
                  <a:pt x="680" y="625"/>
                </a:lnTo>
                <a:lnTo>
                  <a:pt x="683" y="626"/>
                </a:lnTo>
                <a:lnTo>
                  <a:pt x="685" y="625"/>
                </a:lnTo>
                <a:lnTo>
                  <a:pt x="685" y="624"/>
                </a:lnTo>
                <a:lnTo>
                  <a:pt x="684" y="623"/>
                </a:lnTo>
                <a:lnTo>
                  <a:pt x="682" y="623"/>
                </a:lnTo>
                <a:lnTo>
                  <a:pt x="682" y="623"/>
                </a:lnTo>
                <a:lnTo>
                  <a:pt x="682" y="623"/>
                </a:lnTo>
                <a:close/>
                <a:moveTo>
                  <a:pt x="315" y="152"/>
                </a:moveTo>
                <a:lnTo>
                  <a:pt x="317" y="156"/>
                </a:lnTo>
                <a:lnTo>
                  <a:pt x="319" y="158"/>
                </a:lnTo>
                <a:lnTo>
                  <a:pt x="323" y="159"/>
                </a:lnTo>
                <a:lnTo>
                  <a:pt x="328" y="159"/>
                </a:lnTo>
                <a:lnTo>
                  <a:pt x="327" y="157"/>
                </a:lnTo>
                <a:lnTo>
                  <a:pt x="323" y="155"/>
                </a:lnTo>
                <a:lnTo>
                  <a:pt x="319" y="153"/>
                </a:lnTo>
                <a:lnTo>
                  <a:pt x="315" y="152"/>
                </a:lnTo>
                <a:lnTo>
                  <a:pt x="317" y="153"/>
                </a:lnTo>
                <a:lnTo>
                  <a:pt x="315" y="152"/>
                </a:lnTo>
                <a:close/>
                <a:moveTo>
                  <a:pt x="1156" y="631"/>
                </a:moveTo>
                <a:lnTo>
                  <a:pt x="1154" y="632"/>
                </a:lnTo>
                <a:lnTo>
                  <a:pt x="1153" y="633"/>
                </a:lnTo>
                <a:lnTo>
                  <a:pt x="1154" y="636"/>
                </a:lnTo>
                <a:lnTo>
                  <a:pt x="1158" y="636"/>
                </a:lnTo>
                <a:lnTo>
                  <a:pt x="1159" y="636"/>
                </a:lnTo>
                <a:lnTo>
                  <a:pt x="1160" y="633"/>
                </a:lnTo>
                <a:lnTo>
                  <a:pt x="1159" y="632"/>
                </a:lnTo>
                <a:lnTo>
                  <a:pt x="1156" y="631"/>
                </a:lnTo>
                <a:lnTo>
                  <a:pt x="1156" y="632"/>
                </a:lnTo>
                <a:lnTo>
                  <a:pt x="1156" y="631"/>
                </a:lnTo>
                <a:close/>
                <a:moveTo>
                  <a:pt x="633" y="592"/>
                </a:moveTo>
                <a:lnTo>
                  <a:pt x="631" y="590"/>
                </a:lnTo>
                <a:lnTo>
                  <a:pt x="628" y="589"/>
                </a:lnTo>
                <a:lnTo>
                  <a:pt x="626" y="588"/>
                </a:lnTo>
                <a:lnTo>
                  <a:pt x="624" y="588"/>
                </a:lnTo>
                <a:lnTo>
                  <a:pt x="625" y="590"/>
                </a:lnTo>
                <a:lnTo>
                  <a:pt x="627" y="591"/>
                </a:lnTo>
                <a:lnTo>
                  <a:pt x="629" y="592"/>
                </a:lnTo>
                <a:lnTo>
                  <a:pt x="633" y="592"/>
                </a:lnTo>
                <a:close/>
                <a:moveTo>
                  <a:pt x="93" y="241"/>
                </a:moveTo>
                <a:lnTo>
                  <a:pt x="95" y="243"/>
                </a:lnTo>
                <a:lnTo>
                  <a:pt x="97" y="243"/>
                </a:lnTo>
                <a:lnTo>
                  <a:pt x="100" y="242"/>
                </a:lnTo>
                <a:lnTo>
                  <a:pt x="101" y="241"/>
                </a:lnTo>
                <a:lnTo>
                  <a:pt x="100" y="240"/>
                </a:lnTo>
                <a:lnTo>
                  <a:pt x="97" y="239"/>
                </a:lnTo>
                <a:lnTo>
                  <a:pt x="95" y="240"/>
                </a:lnTo>
                <a:lnTo>
                  <a:pt x="93" y="241"/>
                </a:lnTo>
                <a:lnTo>
                  <a:pt x="93" y="241"/>
                </a:lnTo>
                <a:lnTo>
                  <a:pt x="93" y="241"/>
                </a:lnTo>
                <a:close/>
                <a:moveTo>
                  <a:pt x="669" y="637"/>
                </a:moveTo>
                <a:lnTo>
                  <a:pt x="672" y="638"/>
                </a:lnTo>
                <a:lnTo>
                  <a:pt x="674" y="638"/>
                </a:lnTo>
                <a:lnTo>
                  <a:pt x="676" y="636"/>
                </a:lnTo>
                <a:lnTo>
                  <a:pt x="678" y="634"/>
                </a:lnTo>
                <a:lnTo>
                  <a:pt x="674" y="634"/>
                </a:lnTo>
                <a:lnTo>
                  <a:pt x="669" y="637"/>
                </a:lnTo>
                <a:lnTo>
                  <a:pt x="670" y="637"/>
                </a:lnTo>
                <a:lnTo>
                  <a:pt x="669" y="637"/>
                </a:lnTo>
                <a:close/>
                <a:moveTo>
                  <a:pt x="607" y="579"/>
                </a:moveTo>
                <a:lnTo>
                  <a:pt x="609" y="579"/>
                </a:lnTo>
                <a:lnTo>
                  <a:pt x="612" y="580"/>
                </a:lnTo>
                <a:lnTo>
                  <a:pt x="614" y="580"/>
                </a:lnTo>
                <a:lnTo>
                  <a:pt x="615" y="580"/>
                </a:lnTo>
                <a:lnTo>
                  <a:pt x="615" y="579"/>
                </a:lnTo>
                <a:lnTo>
                  <a:pt x="615" y="578"/>
                </a:lnTo>
                <a:lnTo>
                  <a:pt x="614" y="576"/>
                </a:lnTo>
                <a:lnTo>
                  <a:pt x="610" y="576"/>
                </a:lnTo>
                <a:lnTo>
                  <a:pt x="609" y="578"/>
                </a:lnTo>
                <a:lnTo>
                  <a:pt x="607" y="579"/>
                </a:lnTo>
                <a:lnTo>
                  <a:pt x="609" y="576"/>
                </a:lnTo>
                <a:lnTo>
                  <a:pt x="607" y="579"/>
                </a:lnTo>
                <a:close/>
                <a:moveTo>
                  <a:pt x="785" y="655"/>
                </a:moveTo>
                <a:lnTo>
                  <a:pt x="785" y="657"/>
                </a:lnTo>
                <a:lnTo>
                  <a:pt x="788" y="659"/>
                </a:lnTo>
                <a:lnTo>
                  <a:pt x="791" y="656"/>
                </a:lnTo>
                <a:lnTo>
                  <a:pt x="792" y="653"/>
                </a:lnTo>
                <a:lnTo>
                  <a:pt x="789" y="653"/>
                </a:lnTo>
                <a:lnTo>
                  <a:pt x="785" y="655"/>
                </a:lnTo>
                <a:lnTo>
                  <a:pt x="784" y="655"/>
                </a:lnTo>
                <a:lnTo>
                  <a:pt x="785" y="655"/>
                </a:lnTo>
                <a:close/>
                <a:moveTo>
                  <a:pt x="1061" y="651"/>
                </a:moveTo>
                <a:lnTo>
                  <a:pt x="1065" y="650"/>
                </a:lnTo>
                <a:lnTo>
                  <a:pt x="1070" y="648"/>
                </a:lnTo>
                <a:lnTo>
                  <a:pt x="1067" y="648"/>
                </a:lnTo>
                <a:lnTo>
                  <a:pt x="1064" y="648"/>
                </a:lnTo>
                <a:lnTo>
                  <a:pt x="1062" y="649"/>
                </a:lnTo>
                <a:lnTo>
                  <a:pt x="1061" y="651"/>
                </a:lnTo>
                <a:close/>
                <a:moveTo>
                  <a:pt x="148" y="401"/>
                </a:moveTo>
                <a:lnTo>
                  <a:pt x="150" y="404"/>
                </a:lnTo>
                <a:lnTo>
                  <a:pt x="154" y="404"/>
                </a:lnTo>
                <a:lnTo>
                  <a:pt x="156" y="402"/>
                </a:lnTo>
                <a:lnTo>
                  <a:pt x="158" y="401"/>
                </a:lnTo>
                <a:lnTo>
                  <a:pt x="154" y="400"/>
                </a:lnTo>
                <a:lnTo>
                  <a:pt x="148" y="401"/>
                </a:lnTo>
                <a:close/>
                <a:moveTo>
                  <a:pt x="323" y="143"/>
                </a:moveTo>
                <a:lnTo>
                  <a:pt x="326" y="148"/>
                </a:lnTo>
                <a:lnTo>
                  <a:pt x="328" y="150"/>
                </a:lnTo>
                <a:lnTo>
                  <a:pt x="330" y="150"/>
                </a:lnTo>
                <a:lnTo>
                  <a:pt x="334" y="149"/>
                </a:lnTo>
                <a:lnTo>
                  <a:pt x="334" y="147"/>
                </a:lnTo>
                <a:lnTo>
                  <a:pt x="332" y="145"/>
                </a:lnTo>
                <a:lnTo>
                  <a:pt x="331" y="144"/>
                </a:lnTo>
                <a:lnTo>
                  <a:pt x="330" y="144"/>
                </a:lnTo>
                <a:lnTo>
                  <a:pt x="327" y="143"/>
                </a:lnTo>
                <a:lnTo>
                  <a:pt x="323" y="143"/>
                </a:lnTo>
                <a:close/>
                <a:moveTo>
                  <a:pt x="1439" y="92"/>
                </a:moveTo>
                <a:lnTo>
                  <a:pt x="1446" y="90"/>
                </a:lnTo>
                <a:lnTo>
                  <a:pt x="1452" y="88"/>
                </a:lnTo>
                <a:lnTo>
                  <a:pt x="1448" y="86"/>
                </a:lnTo>
                <a:lnTo>
                  <a:pt x="1444" y="88"/>
                </a:lnTo>
                <a:lnTo>
                  <a:pt x="1442" y="89"/>
                </a:lnTo>
                <a:lnTo>
                  <a:pt x="1439" y="92"/>
                </a:lnTo>
                <a:close/>
                <a:moveTo>
                  <a:pt x="672" y="192"/>
                </a:moveTo>
                <a:lnTo>
                  <a:pt x="670" y="190"/>
                </a:lnTo>
                <a:lnTo>
                  <a:pt x="669" y="186"/>
                </a:lnTo>
                <a:lnTo>
                  <a:pt x="668" y="184"/>
                </a:lnTo>
                <a:lnTo>
                  <a:pt x="667" y="184"/>
                </a:lnTo>
                <a:lnTo>
                  <a:pt x="666" y="183"/>
                </a:lnTo>
                <a:lnTo>
                  <a:pt x="665" y="184"/>
                </a:lnTo>
                <a:lnTo>
                  <a:pt x="665" y="186"/>
                </a:lnTo>
                <a:lnTo>
                  <a:pt x="667" y="189"/>
                </a:lnTo>
                <a:lnTo>
                  <a:pt x="669" y="191"/>
                </a:lnTo>
                <a:lnTo>
                  <a:pt x="672" y="192"/>
                </a:lnTo>
                <a:lnTo>
                  <a:pt x="669" y="190"/>
                </a:lnTo>
                <a:lnTo>
                  <a:pt x="672" y="192"/>
                </a:lnTo>
                <a:close/>
                <a:moveTo>
                  <a:pt x="355" y="482"/>
                </a:moveTo>
                <a:lnTo>
                  <a:pt x="350" y="482"/>
                </a:lnTo>
                <a:lnTo>
                  <a:pt x="344" y="482"/>
                </a:lnTo>
                <a:lnTo>
                  <a:pt x="347" y="483"/>
                </a:lnTo>
                <a:lnTo>
                  <a:pt x="350" y="485"/>
                </a:lnTo>
                <a:lnTo>
                  <a:pt x="352" y="485"/>
                </a:lnTo>
                <a:lnTo>
                  <a:pt x="353" y="484"/>
                </a:lnTo>
                <a:lnTo>
                  <a:pt x="354" y="483"/>
                </a:lnTo>
                <a:lnTo>
                  <a:pt x="355" y="482"/>
                </a:lnTo>
                <a:close/>
                <a:moveTo>
                  <a:pt x="583" y="158"/>
                </a:moveTo>
                <a:lnTo>
                  <a:pt x="587" y="158"/>
                </a:lnTo>
                <a:lnTo>
                  <a:pt x="591" y="156"/>
                </a:lnTo>
                <a:lnTo>
                  <a:pt x="589" y="155"/>
                </a:lnTo>
                <a:lnTo>
                  <a:pt x="585" y="155"/>
                </a:lnTo>
                <a:lnTo>
                  <a:pt x="584" y="155"/>
                </a:lnTo>
                <a:lnTo>
                  <a:pt x="583" y="155"/>
                </a:lnTo>
                <a:lnTo>
                  <a:pt x="583" y="156"/>
                </a:lnTo>
                <a:lnTo>
                  <a:pt x="583" y="158"/>
                </a:lnTo>
                <a:lnTo>
                  <a:pt x="584" y="159"/>
                </a:lnTo>
                <a:lnTo>
                  <a:pt x="583" y="158"/>
                </a:lnTo>
                <a:close/>
                <a:moveTo>
                  <a:pt x="490" y="550"/>
                </a:moveTo>
                <a:lnTo>
                  <a:pt x="492" y="550"/>
                </a:lnTo>
                <a:lnTo>
                  <a:pt x="494" y="553"/>
                </a:lnTo>
                <a:lnTo>
                  <a:pt x="495" y="553"/>
                </a:lnTo>
                <a:lnTo>
                  <a:pt x="496" y="554"/>
                </a:lnTo>
                <a:lnTo>
                  <a:pt x="497" y="553"/>
                </a:lnTo>
                <a:lnTo>
                  <a:pt x="497" y="551"/>
                </a:lnTo>
                <a:lnTo>
                  <a:pt x="497" y="549"/>
                </a:lnTo>
                <a:lnTo>
                  <a:pt x="497" y="549"/>
                </a:lnTo>
                <a:lnTo>
                  <a:pt x="496" y="548"/>
                </a:lnTo>
                <a:lnTo>
                  <a:pt x="495" y="548"/>
                </a:lnTo>
                <a:lnTo>
                  <a:pt x="492" y="549"/>
                </a:lnTo>
                <a:lnTo>
                  <a:pt x="490" y="550"/>
                </a:lnTo>
                <a:lnTo>
                  <a:pt x="492" y="550"/>
                </a:lnTo>
                <a:lnTo>
                  <a:pt x="490" y="550"/>
                </a:lnTo>
                <a:close/>
                <a:moveTo>
                  <a:pt x="323" y="466"/>
                </a:moveTo>
                <a:lnTo>
                  <a:pt x="326" y="468"/>
                </a:lnTo>
                <a:lnTo>
                  <a:pt x="328" y="468"/>
                </a:lnTo>
                <a:lnTo>
                  <a:pt x="330" y="468"/>
                </a:lnTo>
                <a:lnTo>
                  <a:pt x="334" y="467"/>
                </a:lnTo>
                <a:lnTo>
                  <a:pt x="330" y="466"/>
                </a:lnTo>
                <a:lnTo>
                  <a:pt x="328" y="465"/>
                </a:lnTo>
                <a:lnTo>
                  <a:pt x="326" y="465"/>
                </a:lnTo>
                <a:lnTo>
                  <a:pt x="323" y="466"/>
                </a:lnTo>
                <a:close/>
                <a:moveTo>
                  <a:pt x="87" y="183"/>
                </a:moveTo>
                <a:lnTo>
                  <a:pt x="92" y="185"/>
                </a:lnTo>
                <a:lnTo>
                  <a:pt x="99" y="188"/>
                </a:lnTo>
                <a:lnTo>
                  <a:pt x="97" y="184"/>
                </a:lnTo>
                <a:lnTo>
                  <a:pt x="93" y="183"/>
                </a:lnTo>
                <a:lnTo>
                  <a:pt x="90" y="183"/>
                </a:lnTo>
                <a:lnTo>
                  <a:pt x="87" y="183"/>
                </a:lnTo>
                <a:close/>
                <a:moveTo>
                  <a:pt x="600" y="184"/>
                </a:moveTo>
                <a:lnTo>
                  <a:pt x="601" y="184"/>
                </a:lnTo>
                <a:lnTo>
                  <a:pt x="603" y="184"/>
                </a:lnTo>
                <a:lnTo>
                  <a:pt x="603" y="181"/>
                </a:lnTo>
                <a:lnTo>
                  <a:pt x="602" y="177"/>
                </a:lnTo>
                <a:lnTo>
                  <a:pt x="601" y="176"/>
                </a:lnTo>
                <a:lnTo>
                  <a:pt x="600" y="177"/>
                </a:lnTo>
                <a:lnTo>
                  <a:pt x="600" y="177"/>
                </a:lnTo>
                <a:lnTo>
                  <a:pt x="600" y="180"/>
                </a:lnTo>
                <a:lnTo>
                  <a:pt x="600" y="182"/>
                </a:lnTo>
                <a:lnTo>
                  <a:pt x="600" y="184"/>
                </a:lnTo>
                <a:lnTo>
                  <a:pt x="601" y="183"/>
                </a:lnTo>
                <a:lnTo>
                  <a:pt x="600" y="184"/>
                </a:lnTo>
                <a:close/>
                <a:moveTo>
                  <a:pt x="1505" y="97"/>
                </a:moveTo>
                <a:lnTo>
                  <a:pt x="1507" y="98"/>
                </a:lnTo>
                <a:lnTo>
                  <a:pt x="1509" y="98"/>
                </a:lnTo>
                <a:lnTo>
                  <a:pt x="1512" y="98"/>
                </a:lnTo>
                <a:lnTo>
                  <a:pt x="1514" y="97"/>
                </a:lnTo>
                <a:lnTo>
                  <a:pt x="1510" y="94"/>
                </a:lnTo>
                <a:lnTo>
                  <a:pt x="1507" y="94"/>
                </a:lnTo>
                <a:lnTo>
                  <a:pt x="1505" y="95"/>
                </a:lnTo>
                <a:lnTo>
                  <a:pt x="1505" y="97"/>
                </a:lnTo>
                <a:lnTo>
                  <a:pt x="1506" y="98"/>
                </a:lnTo>
                <a:lnTo>
                  <a:pt x="1505" y="97"/>
                </a:lnTo>
                <a:close/>
                <a:moveTo>
                  <a:pt x="1236" y="607"/>
                </a:moveTo>
                <a:lnTo>
                  <a:pt x="1241" y="604"/>
                </a:lnTo>
                <a:lnTo>
                  <a:pt x="1244" y="600"/>
                </a:lnTo>
                <a:lnTo>
                  <a:pt x="1241" y="600"/>
                </a:lnTo>
                <a:lnTo>
                  <a:pt x="1238" y="600"/>
                </a:lnTo>
                <a:lnTo>
                  <a:pt x="1236" y="603"/>
                </a:lnTo>
                <a:lnTo>
                  <a:pt x="1236" y="607"/>
                </a:lnTo>
                <a:close/>
                <a:moveTo>
                  <a:pt x="351" y="148"/>
                </a:moveTo>
                <a:lnTo>
                  <a:pt x="353" y="147"/>
                </a:lnTo>
                <a:lnTo>
                  <a:pt x="355" y="145"/>
                </a:lnTo>
                <a:lnTo>
                  <a:pt x="355" y="144"/>
                </a:lnTo>
                <a:lnTo>
                  <a:pt x="352" y="142"/>
                </a:lnTo>
                <a:lnTo>
                  <a:pt x="350" y="141"/>
                </a:lnTo>
                <a:lnTo>
                  <a:pt x="347" y="142"/>
                </a:lnTo>
                <a:lnTo>
                  <a:pt x="347" y="143"/>
                </a:lnTo>
                <a:lnTo>
                  <a:pt x="346" y="144"/>
                </a:lnTo>
                <a:lnTo>
                  <a:pt x="347" y="147"/>
                </a:lnTo>
                <a:lnTo>
                  <a:pt x="348" y="148"/>
                </a:lnTo>
                <a:lnTo>
                  <a:pt x="350" y="149"/>
                </a:lnTo>
                <a:lnTo>
                  <a:pt x="351" y="148"/>
                </a:lnTo>
                <a:lnTo>
                  <a:pt x="351" y="148"/>
                </a:lnTo>
                <a:lnTo>
                  <a:pt x="351" y="148"/>
                </a:lnTo>
                <a:close/>
                <a:moveTo>
                  <a:pt x="655" y="599"/>
                </a:moveTo>
                <a:lnTo>
                  <a:pt x="651" y="599"/>
                </a:lnTo>
                <a:lnTo>
                  <a:pt x="650" y="601"/>
                </a:lnTo>
                <a:lnTo>
                  <a:pt x="650" y="603"/>
                </a:lnTo>
                <a:lnTo>
                  <a:pt x="653" y="604"/>
                </a:lnTo>
                <a:lnTo>
                  <a:pt x="656" y="604"/>
                </a:lnTo>
                <a:lnTo>
                  <a:pt x="659" y="603"/>
                </a:lnTo>
                <a:lnTo>
                  <a:pt x="659" y="601"/>
                </a:lnTo>
                <a:lnTo>
                  <a:pt x="659" y="600"/>
                </a:lnTo>
                <a:lnTo>
                  <a:pt x="659" y="600"/>
                </a:lnTo>
                <a:lnTo>
                  <a:pt x="657" y="599"/>
                </a:lnTo>
                <a:lnTo>
                  <a:pt x="657" y="600"/>
                </a:lnTo>
                <a:lnTo>
                  <a:pt x="656" y="601"/>
                </a:lnTo>
                <a:lnTo>
                  <a:pt x="655" y="600"/>
                </a:lnTo>
                <a:lnTo>
                  <a:pt x="656" y="598"/>
                </a:lnTo>
                <a:lnTo>
                  <a:pt x="656" y="598"/>
                </a:lnTo>
                <a:lnTo>
                  <a:pt x="656" y="598"/>
                </a:lnTo>
                <a:lnTo>
                  <a:pt x="656" y="598"/>
                </a:lnTo>
                <a:lnTo>
                  <a:pt x="656" y="598"/>
                </a:lnTo>
                <a:lnTo>
                  <a:pt x="655" y="598"/>
                </a:lnTo>
                <a:lnTo>
                  <a:pt x="655" y="599"/>
                </a:lnTo>
                <a:lnTo>
                  <a:pt x="653" y="599"/>
                </a:lnTo>
                <a:lnTo>
                  <a:pt x="655" y="599"/>
                </a:lnTo>
                <a:close/>
                <a:moveTo>
                  <a:pt x="886" y="234"/>
                </a:moveTo>
                <a:lnTo>
                  <a:pt x="887" y="234"/>
                </a:lnTo>
                <a:lnTo>
                  <a:pt x="887" y="233"/>
                </a:lnTo>
                <a:lnTo>
                  <a:pt x="887" y="232"/>
                </a:lnTo>
                <a:lnTo>
                  <a:pt x="886" y="231"/>
                </a:lnTo>
                <a:lnTo>
                  <a:pt x="883" y="228"/>
                </a:lnTo>
                <a:lnTo>
                  <a:pt x="880" y="228"/>
                </a:lnTo>
                <a:lnTo>
                  <a:pt x="880" y="231"/>
                </a:lnTo>
                <a:lnTo>
                  <a:pt x="882" y="232"/>
                </a:lnTo>
                <a:lnTo>
                  <a:pt x="883" y="233"/>
                </a:lnTo>
                <a:lnTo>
                  <a:pt x="886" y="234"/>
                </a:lnTo>
                <a:lnTo>
                  <a:pt x="884" y="234"/>
                </a:lnTo>
                <a:lnTo>
                  <a:pt x="886" y="234"/>
                </a:lnTo>
                <a:close/>
                <a:moveTo>
                  <a:pt x="79" y="228"/>
                </a:moveTo>
                <a:lnTo>
                  <a:pt x="80" y="231"/>
                </a:lnTo>
                <a:lnTo>
                  <a:pt x="82" y="232"/>
                </a:lnTo>
                <a:lnTo>
                  <a:pt x="85" y="232"/>
                </a:lnTo>
                <a:lnTo>
                  <a:pt x="89" y="231"/>
                </a:lnTo>
                <a:lnTo>
                  <a:pt x="84" y="228"/>
                </a:lnTo>
                <a:lnTo>
                  <a:pt x="79" y="228"/>
                </a:lnTo>
                <a:lnTo>
                  <a:pt x="80" y="228"/>
                </a:lnTo>
                <a:lnTo>
                  <a:pt x="79" y="228"/>
                </a:lnTo>
                <a:close/>
                <a:moveTo>
                  <a:pt x="387" y="462"/>
                </a:moveTo>
                <a:lnTo>
                  <a:pt x="385" y="462"/>
                </a:lnTo>
                <a:lnTo>
                  <a:pt x="383" y="463"/>
                </a:lnTo>
                <a:lnTo>
                  <a:pt x="386" y="465"/>
                </a:lnTo>
                <a:lnTo>
                  <a:pt x="389" y="466"/>
                </a:lnTo>
                <a:lnTo>
                  <a:pt x="392" y="466"/>
                </a:lnTo>
                <a:lnTo>
                  <a:pt x="394" y="466"/>
                </a:lnTo>
                <a:lnTo>
                  <a:pt x="395" y="465"/>
                </a:lnTo>
                <a:lnTo>
                  <a:pt x="397" y="464"/>
                </a:lnTo>
                <a:lnTo>
                  <a:pt x="392" y="464"/>
                </a:lnTo>
                <a:lnTo>
                  <a:pt x="387" y="462"/>
                </a:lnTo>
                <a:lnTo>
                  <a:pt x="387" y="463"/>
                </a:lnTo>
                <a:lnTo>
                  <a:pt x="387" y="462"/>
                </a:lnTo>
                <a:close/>
                <a:moveTo>
                  <a:pt x="287" y="452"/>
                </a:moveTo>
                <a:lnTo>
                  <a:pt x="288" y="452"/>
                </a:lnTo>
                <a:lnTo>
                  <a:pt x="289" y="450"/>
                </a:lnTo>
                <a:lnTo>
                  <a:pt x="291" y="450"/>
                </a:lnTo>
                <a:lnTo>
                  <a:pt x="295" y="451"/>
                </a:lnTo>
                <a:lnTo>
                  <a:pt x="296" y="451"/>
                </a:lnTo>
                <a:lnTo>
                  <a:pt x="298" y="451"/>
                </a:lnTo>
                <a:lnTo>
                  <a:pt x="299" y="450"/>
                </a:lnTo>
                <a:lnTo>
                  <a:pt x="301" y="449"/>
                </a:lnTo>
                <a:lnTo>
                  <a:pt x="297" y="448"/>
                </a:lnTo>
                <a:lnTo>
                  <a:pt x="294" y="448"/>
                </a:lnTo>
                <a:lnTo>
                  <a:pt x="291" y="449"/>
                </a:lnTo>
                <a:lnTo>
                  <a:pt x="289" y="450"/>
                </a:lnTo>
                <a:lnTo>
                  <a:pt x="288" y="451"/>
                </a:lnTo>
                <a:lnTo>
                  <a:pt x="287" y="452"/>
                </a:lnTo>
                <a:lnTo>
                  <a:pt x="284" y="454"/>
                </a:lnTo>
                <a:lnTo>
                  <a:pt x="281" y="455"/>
                </a:lnTo>
                <a:lnTo>
                  <a:pt x="278" y="452"/>
                </a:lnTo>
                <a:lnTo>
                  <a:pt x="273" y="449"/>
                </a:lnTo>
                <a:lnTo>
                  <a:pt x="280" y="450"/>
                </a:lnTo>
                <a:lnTo>
                  <a:pt x="287" y="452"/>
                </a:lnTo>
                <a:close/>
                <a:moveTo>
                  <a:pt x="287" y="452"/>
                </a:moveTo>
                <a:lnTo>
                  <a:pt x="287" y="452"/>
                </a:lnTo>
                <a:lnTo>
                  <a:pt x="287" y="452"/>
                </a:lnTo>
                <a:close/>
                <a:moveTo>
                  <a:pt x="289" y="450"/>
                </a:moveTo>
                <a:lnTo>
                  <a:pt x="290" y="449"/>
                </a:lnTo>
                <a:lnTo>
                  <a:pt x="289" y="450"/>
                </a:lnTo>
                <a:close/>
                <a:moveTo>
                  <a:pt x="471" y="533"/>
                </a:moveTo>
                <a:lnTo>
                  <a:pt x="470" y="533"/>
                </a:lnTo>
                <a:lnTo>
                  <a:pt x="467" y="533"/>
                </a:lnTo>
                <a:lnTo>
                  <a:pt x="467" y="533"/>
                </a:lnTo>
                <a:lnTo>
                  <a:pt x="466" y="534"/>
                </a:lnTo>
                <a:lnTo>
                  <a:pt x="466" y="534"/>
                </a:lnTo>
                <a:lnTo>
                  <a:pt x="467" y="535"/>
                </a:lnTo>
                <a:lnTo>
                  <a:pt x="471" y="535"/>
                </a:lnTo>
                <a:lnTo>
                  <a:pt x="475" y="538"/>
                </a:lnTo>
                <a:lnTo>
                  <a:pt x="475" y="535"/>
                </a:lnTo>
                <a:lnTo>
                  <a:pt x="475" y="534"/>
                </a:lnTo>
                <a:lnTo>
                  <a:pt x="472" y="533"/>
                </a:lnTo>
                <a:lnTo>
                  <a:pt x="471" y="533"/>
                </a:lnTo>
                <a:lnTo>
                  <a:pt x="471" y="533"/>
                </a:lnTo>
                <a:lnTo>
                  <a:pt x="471" y="533"/>
                </a:lnTo>
                <a:close/>
                <a:moveTo>
                  <a:pt x="623" y="200"/>
                </a:moveTo>
                <a:lnTo>
                  <a:pt x="622" y="196"/>
                </a:lnTo>
                <a:lnTo>
                  <a:pt x="618" y="192"/>
                </a:lnTo>
                <a:lnTo>
                  <a:pt x="616" y="191"/>
                </a:lnTo>
                <a:lnTo>
                  <a:pt x="615" y="191"/>
                </a:lnTo>
                <a:lnTo>
                  <a:pt x="614" y="192"/>
                </a:lnTo>
                <a:lnTo>
                  <a:pt x="612" y="194"/>
                </a:lnTo>
                <a:lnTo>
                  <a:pt x="618" y="197"/>
                </a:lnTo>
                <a:lnTo>
                  <a:pt x="623" y="200"/>
                </a:lnTo>
                <a:lnTo>
                  <a:pt x="620" y="199"/>
                </a:lnTo>
                <a:lnTo>
                  <a:pt x="623" y="200"/>
                </a:lnTo>
                <a:close/>
                <a:moveTo>
                  <a:pt x="540" y="228"/>
                </a:moveTo>
                <a:lnTo>
                  <a:pt x="534" y="227"/>
                </a:lnTo>
                <a:lnTo>
                  <a:pt x="528" y="228"/>
                </a:lnTo>
                <a:lnTo>
                  <a:pt x="530" y="228"/>
                </a:lnTo>
                <a:lnTo>
                  <a:pt x="534" y="230"/>
                </a:lnTo>
                <a:lnTo>
                  <a:pt x="536" y="231"/>
                </a:lnTo>
                <a:lnTo>
                  <a:pt x="537" y="231"/>
                </a:lnTo>
                <a:lnTo>
                  <a:pt x="538" y="230"/>
                </a:lnTo>
                <a:lnTo>
                  <a:pt x="540" y="228"/>
                </a:lnTo>
                <a:lnTo>
                  <a:pt x="540" y="228"/>
                </a:lnTo>
                <a:lnTo>
                  <a:pt x="540" y="228"/>
                </a:lnTo>
                <a:close/>
                <a:moveTo>
                  <a:pt x="711" y="626"/>
                </a:moveTo>
                <a:lnTo>
                  <a:pt x="714" y="629"/>
                </a:lnTo>
                <a:lnTo>
                  <a:pt x="717" y="630"/>
                </a:lnTo>
                <a:lnTo>
                  <a:pt x="721" y="631"/>
                </a:lnTo>
                <a:lnTo>
                  <a:pt x="722" y="630"/>
                </a:lnTo>
                <a:lnTo>
                  <a:pt x="722" y="628"/>
                </a:lnTo>
                <a:lnTo>
                  <a:pt x="722" y="626"/>
                </a:lnTo>
                <a:lnTo>
                  <a:pt x="719" y="626"/>
                </a:lnTo>
                <a:lnTo>
                  <a:pt x="718" y="626"/>
                </a:lnTo>
                <a:lnTo>
                  <a:pt x="714" y="626"/>
                </a:lnTo>
                <a:lnTo>
                  <a:pt x="711" y="626"/>
                </a:lnTo>
                <a:lnTo>
                  <a:pt x="714" y="628"/>
                </a:lnTo>
                <a:lnTo>
                  <a:pt x="711" y="626"/>
                </a:lnTo>
                <a:close/>
                <a:moveTo>
                  <a:pt x="821" y="670"/>
                </a:moveTo>
                <a:lnTo>
                  <a:pt x="828" y="671"/>
                </a:lnTo>
                <a:lnTo>
                  <a:pt x="834" y="669"/>
                </a:lnTo>
                <a:lnTo>
                  <a:pt x="831" y="669"/>
                </a:lnTo>
                <a:lnTo>
                  <a:pt x="828" y="669"/>
                </a:lnTo>
                <a:lnTo>
                  <a:pt x="824" y="669"/>
                </a:lnTo>
                <a:lnTo>
                  <a:pt x="821" y="670"/>
                </a:lnTo>
                <a:close/>
                <a:moveTo>
                  <a:pt x="282" y="414"/>
                </a:moveTo>
                <a:lnTo>
                  <a:pt x="285" y="414"/>
                </a:lnTo>
                <a:lnTo>
                  <a:pt x="285" y="413"/>
                </a:lnTo>
                <a:lnTo>
                  <a:pt x="285" y="412"/>
                </a:lnTo>
                <a:lnTo>
                  <a:pt x="284" y="410"/>
                </a:lnTo>
                <a:lnTo>
                  <a:pt x="280" y="408"/>
                </a:lnTo>
                <a:lnTo>
                  <a:pt x="278" y="407"/>
                </a:lnTo>
                <a:lnTo>
                  <a:pt x="277" y="409"/>
                </a:lnTo>
                <a:lnTo>
                  <a:pt x="278" y="412"/>
                </a:lnTo>
                <a:lnTo>
                  <a:pt x="280" y="414"/>
                </a:lnTo>
                <a:lnTo>
                  <a:pt x="282" y="414"/>
                </a:lnTo>
                <a:close/>
                <a:moveTo>
                  <a:pt x="675" y="596"/>
                </a:moveTo>
                <a:lnTo>
                  <a:pt x="675" y="596"/>
                </a:lnTo>
                <a:lnTo>
                  <a:pt x="675" y="596"/>
                </a:lnTo>
                <a:lnTo>
                  <a:pt x="675" y="595"/>
                </a:lnTo>
                <a:lnTo>
                  <a:pt x="677" y="595"/>
                </a:lnTo>
                <a:lnTo>
                  <a:pt x="677" y="595"/>
                </a:lnTo>
                <a:lnTo>
                  <a:pt x="677" y="595"/>
                </a:lnTo>
                <a:lnTo>
                  <a:pt x="676" y="593"/>
                </a:lnTo>
                <a:lnTo>
                  <a:pt x="675" y="592"/>
                </a:lnTo>
                <a:lnTo>
                  <a:pt x="674" y="592"/>
                </a:lnTo>
                <a:lnTo>
                  <a:pt x="672" y="592"/>
                </a:lnTo>
                <a:lnTo>
                  <a:pt x="668" y="591"/>
                </a:lnTo>
                <a:lnTo>
                  <a:pt x="666" y="590"/>
                </a:lnTo>
                <a:lnTo>
                  <a:pt x="665" y="591"/>
                </a:lnTo>
                <a:lnTo>
                  <a:pt x="665" y="592"/>
                </a:lnTo>
                <a:lnTo>
                  <a:pt x="666" y="593"/>
                </a:lnTo>
                <a:lnTo>
                  <a:pt x="668" y="595"/>
                </a:lnTo>
                <a:lnTo>
                  <a:pt x="673" y="596"/>
                </a:lnTo>
                <a:lnTo>
                  <a:pt x="675" y="596"/>
                </a:lnTo>
                <a:close/>
                <a:moveTo>
                  <a:pt x="719" y="603"/>
                </a:moveTo>
                <a:lnTo>
                  <a:pt x="715" y="601"/>
                </a:lnTo>
                <a:lnTo>
                  <a:pt x="710" y="600"/>
                </a:lnTo>
                <a:lnTo>
                  <a:pt x="707" y="600"/>
                </a:lnTo>
                <a:lnTo>
                  <a:pt x="703" y="600"/>
                </a:lnTo>
                <a:lnTo>
                  <a:pt x="707" y="601"/>
                </a:lnTo>
                <a:lnTo>
                  <a:pt x="710" y="603"/>
                </a:lnTo>
                <a:lnTo>
                  <a:pt x="715" y="604"/>
                </a:lnTo>
                <a:lnTo>
                  <a:pt x="719" y="603"/>
                </a:lnTo>
                <a:close/>
                <a:moveTo>
                  <a:pt x="615" y="572"/>
                </a:moveTo>
                <a:lnTo>
                  <a:pt x="618" y="571"/>
                </a:lnTo>
                <a:lnTo>
                  <a:pt x="620" y="568"/>
                </a:lnTo>
                <a:lnTo>
                  <a:pt x="620" y="568"/>
                </a:lnTo>
                <a:lnTo>
                  <a:pt x="620" y="567"/>
                </a:lnTo>
                <a:lnTo>
                  <a:pt x="619" y="566"/>
                </a:lnTo>
                <a:lnTo>
                  <a:pt x="618" y="566"/>
                </a:lnTo>
                <a:lnTo>
                  <a:pt x="615" y="567"/>
                </a:lnTo>
                <a:lnTo>
                  <a:pt x="612" y="570"/>
                </a:lnTo>
                <a:lnTo>
                  <a:pt x="612" y="571"/>
                </a:lnTo>
                <a:lnTo>
                  <a:pt x="612" y="571"/>
                </a:lnTo>
                <a:lnTo>
                  <a:pt x="614" y="572"/>
                </a:lnTo>
                <a:lnTo>
                  <a:pt x="615" y="572"/>
                </a:lnTo>
                <a:lnTo>
                  <a:pt x="615" y="572"/>
                </a:lnTo>
                <a:lnTo>
                  <a:pt x="615" y="572"/>
                </a:lnTo>
                <a:close/>
                <a:moveTo>
                  <a:pt x="658" y="217"/>
                </a:moveTo>
                <a:lnTo>
                  <a:pt x="659" y="217"/>
                </a:lnTo>
                <a:lnTo>
                  <a:pt x="660" y="216"/>
                </a:lnTo>
                <a:lnTo>
                  <a:pt x="661" y="215"/>
                </a:lnTo>
                <a:lnTo>
                  <a:pt x="661" y="213"/>
                </a:lnTo>
                <a:lnTo>
                  <a:pt x="660" y="211"/>
                </a:lnTo>
                <a:lnTo>
                  <a:pt x="660" y="210"/>
                </a:lnTo>
                <a:lnTo>
                  <a:pt x="659" y="209"/>
                </a:lnTo>
                <a:lnTo>
                  <a:pt x="657" y="209"/>
                </a:lnTo>
                <a:lnTo>
                  <a:pt x="656" y="210"/>
                </a:lnTo>
                <a:lnTo>
                  <a:pt x="655" y="211"/>
                </a:lnTo>
                <a:lnTo>
                  <a:pt x="655" y="213"/>
                </a:lnTo>
                <a:lnTo>
                  <a:pt x="655" y="214"/>
                </a:lnTo>
                <a:lnTo>
                  <a:pt x="656" y="216"/>
                </a:lnTo>
                <a:lnTo>
                  <a:pt x="658" y="217"/>
                </a:lnTo>
                <a:lnTo>
                  <a:pt x="658" y="217"/>
                </a:lnTo>
                <a:lnTo>
                  <a:pt x="658" y="217"/>
                </a:lnTo>
                <a:close/>
                <a:moveTo>
                  <a:pt x="273" y="91"/>
                </a:moveTo>
                <a:lnTo>
                  <a:pt x="274" y="92"/>
                </a:lnTo>
                <a:lnTo>
                  <a:pt x="276" y="91"/>
                </a:lnTo>
                <a:lnTo>
                  <a:pt x="276" y="90"/>
                </a:lnTo>
                <a:lnTo>
                  <a:pt x="276" y="89"/>
                </a:lnTo>
                <a:lnTo>
                  <a:pt x="270" y="86"/>
                </a:lnTo>
                <a:lnTo>
                  <a:pt x="265" y="84"/>
                </a:lnTo>
                <a:lnTo>
                  <a:pt x="265" y="88"/>
                </a:lnTo>
                <a:lnTo>
                  <a:pt x="268" y="90"/>
                </a:lnTo>
                <a:lnTo>
                  <a:pt x="270" y="90"/>
                </a:lnTo>
                <a:lnTo>
                  <a:pt x="273" y="91"/>
                </a:lnTo>
                <a:lnTo>
                  <a:pt x="272" y="91"/>
                </a:lnTo>
                <a:lnTo>
                  <a:pt x="273" y="91"/>
                </a:lnTo>
                <a:close/>
                <a:moveTo>
                  <a:pt x="801" y="664"/>
                </a:moveTo>
                <a:lnTo>
                  <a:pt x="805" y="664"/>
                </a:lnTo>
                <a:lnTo>
                  <a:pt x="808" y="663"/>
                </a:lnTo>
                <a:lnTo>
                  <a:pt x="812" y="662"/>
                </a:lnTo>
                <a:lnTo>
                  <a:pt x="814" y="659"/>
                </a:lnTo>
                <a:lnTo>
                  <a:pt x="810" y="659"/>
                </a:lnTo>
                <a:lnTo>
                  <a:pt x="807" y="659"/>
                </a:lnTo>
                <a:lnTo>
                  <a:pt x="804" y="662"/>
                </a:lnTo>
                <a:lnTo>
                  <a:pt x="801" y="664"/>
                </a:lnTo>
                <a:close/>
                <a:moveTo>
                  <a:pt x="289" y="414"/>
                </a:moveTo>
                <a:lnTo>
                  <a:pt x="291" y="415"/>
                </a:lnTo>
                <a:lnTo>
                  <a:pt x="295" y="416"/>
                </a:lnTo>
                <a:lnTo>
                  <a:pt x="298" y="416"/>
                </a:lnTo>
                <a:lnTo>
                  <a:pt x="302" y="415"/>
                </a:lnTo>
                <a:lnTo>
                  <a:pt x="298" y="414"/>
                </a:lnTo>
                <a:lnTo>
                  <a:pt x="296" y="413"/>
                </a:lnTo>
                <a:lnTo>
                  <a:pt x="293" y="413"/>
                </a:lnTo>
                <a:lnTo>
                  <a:pt x="289" y="414"/>
                </a:lnTo>
                <a:close/>
                <a:moveTo>
                  <a:pt x="1558" y="355"/>
                </a:moveTo>
                <a:lnTo>
                  <a:pt x="1555" y="355"/>
                </a:lnTo>
                <a:lnTo>
                  <a:pt x="1553" y="357"/>
                </a:lnTo>
                <a:lnTo>
                  <a:pt x="1550" y="359"/>
                </a:lnTo>
                <a:lnTo>
                  <a:pt x="1549" y="362"/>
                </a:lnTo>
                <a:lnTo>
                  <a:pt x="1551" y="360"/>
                </a:lnTo>
                <a:lnTo>
                  <a:pt x="1556" y="358"/>
                </a:lnTo>
                <a:lnTo>
                  <a:pt x="1558" y="357"/>
                </a:lnTo>
                <a:lnTo>
                  <a:pt x="1559" y="356"/>
                </a:lnTo>
                <a:lnTo>
                  <a:pt x="1559" y="355"/>
                </a:lnTo>
                <a:lnTo>
                  <a:pt x="1558" y="355"/>
                </a:lnTo>
                <a:lnTo>
                  <a:pt x="1557" y="355"/>
                </a:lnTo>
                <a:lnTo>
                  <a:pt x="1558" y="355"/>
                </a:lnTo>
                <a:close/>
                <a:moveTo>
                  <a:pt x="1097" y="630"/>
                </a:moveTo>
                <a:lnTo>
                  <a:pt x="1100" y="629"/>
                </a:lnTo>
                <a:lnTo>
                  <a:pt x="1101" y="628"/>
                </a:lnTo>
                <a:lnTo>
                  <a:pt x="1102" y="625"/>
                </a:lnTo>
                <a:lnTo>
                  <a:pt x="1101" y="624"/>
                </a:lnTo>
                <a:lnTo>
                  <a:pt x="1097" y="626"/>
                </a:lnTo>
                <a:lnTo>
                  <a:pt x="1093" y="626"/>
                </a:lnTo>
                <a:lnTo>
                  <a:pt x="1092" y="628"/>
                </a:lnTo>
                <a:lnTo>
                  <a:pt x="1092" y="630"/>
                </a:lnTo>
                <a:lnTo>
                  <a:pt x="1093" y="631"/>
                </a:lnTo>
                <a:lnTo>
                  <a:pt x="1095" y="631"/>
                </a:lnTo>
                <a:lnTo>
                  <a:pt x="1096" y="631"/>
                </a:lnTo>
                <a:lnTo>
                  <a:pt x="1097" y="630"/>
                </a:lnTo>
                <a:lnTo>
                  <a:pt x="1097" y="630"/>
                </a:lnTo>
                <a:lnTo>
                  <a:pt x="1097" y="630"/>
                </a:lnTo>
                <a:close/>
                <a:moveTo>
                  <a:pt x="961" y="665"/>
                </a:moveTo>
                <a:lnTo>
                  <a:pt x="960" y="666"/>
                </a:lnTo>
                <a:lnTo>
                  <a:pt x="960" y="667"/>
                </a:lnTo>
                <a:lnTo>
                  <a:pt x="962" y="667"/>
                </a:lnTo>
                <a:lnTo>
                  <a:pt x="963" y="666"/>
                </a:lnTo>
                <a:lnTo>
                  <a:pt x="969" y="666"/>
                </a:lnTo>
                <a:lnTo>
                  <a:pt x="973" y="663"/>
                </a:lnTo>
                <a:lnTo>
                  <a:pt x="968" y="664"/>
                </a:lnTo>
                <a:lnTo>
                  <a:pt x="961" y="665"/>
                </a:lnTo>
                <a:lnTo>
                  <a:pt x="962" y="665"/>
                </a:lnTo>
                <a:lnTo>
                  <a:pt x="961" y="665"/>
                </a:lnTo>
                <a:close/>
                <a:moveTo>
                  <a:pt x="115" y="208"/>
                </a:moveTo>
                <a:lnTo>
                  <a:pt x="112" y="207"/>
                </a:lnTo>
                <a:lnTo>
                  <a:pt x="108" y="206"/>
                </a:lnTo>
                <a:lnTo>
                  <a:pt x="105" y="205"/>
                </a:lnTo>
                <a:lnTo>
                  <a:pt x="101" y="205"/>
                </a:lnTo>
                <a:lnTo>
                  <a:pt x="105" y="206"/>
                </a:lnTo>
                <a:lnTo>
                  <a:pt x="108" y="208"/>
                </a:lnTo>
                <a:lnTo>
                  <a:pt x="112" y="208"/>
                </a:lnTo>
                <a:lnTo>
                  <a:pt x="115" y="208"/>
                </a:lnTo>
                <a:close/>
                <a:moveTo>
                  <a:pt x="140" y="206"/>
                </a:moveTo>
                <a:lnTo>
                  <a:pt x="141" y="205"/>
                </a:lnTo>
                <a:lnTo>
                  <a:pt x="142" y="205"/>
                </a:lnTo>
                <a:lnTo>
                  <a:pt x="142" y="205"/>
                </a:lnTo>
                <a:lnTo>
                  <a:pt x="140" y="203"/>
                </a:lnTo>
                <a:lnTo>
                  <a:pt x="136" y="205"/>
                </a:lnTo>
                <a:lnTo>
                  <a:pt x="131" y="206"/>
                </a:lnTo>
                <a:lnTo>
                  <a:pt x="133" y="207"/>
                </a:lnTo>
                <a:lnTo>
                  <a:pt x="137" y="208"/>
                </a:lnTo>
                <a:lnTo>
                  <a:pt x="139" y="208"/>
                </a:lnTo>
                <a:lnTo>
                  <a:pt x="140" y="206"/>
                </a:lnTo>
                <a:lnTo>
                  <a:pt x="139" y="208"/>
                </a:lnTo>
                <a:lnTo>
                  <a:pt x="140" y="206"/>
                </a:lnTo>
                <a:close/>
                <a:moveTo>
                  <a:pt x="759" y="661"/>
                </a:moveTo>
                <a:lnTo>
                  <a:pt x="763" y="662"/>
                </a:lnTo>
                <a:lnTo>
                  <a:pt x="767" y="663"/>
                </a:lnTo>
                <a:lnTo>
                  <a:pt x="771" y="663"/>
                </a:lnTo>
                <a:lnTo>
                  <a:pt x="775" y="662"/>
                </a:lnTo>
                <a:lnTo>
                  <a:pt x="772" y="661"/>
                </a:lnTo>
                <a:lnTo>
                  <a:pt x="767" y="659"/>
                </a:lnTo>
                <a:lnTo>
                  <a:pt x="764" y="659"/>
                </a:lnTo>
                <a:lnTo>
                  <a:pt x="759" y="661"/>
                </a:lnTo>
                <a:close/>
                <a:moveTo>
                  <a:pt x="466" y="182"/>
                </a:moveTo>
                <a:lnTo>
                  <a:pt x="463" y="181"/>
                </a:lnTo>
                <a:lnTo>
                  <a:pt x="460" y="178"/>
                </a:lnTo>
                <a:lnTo>
                  <a:pt x="459" y="178"/>
                </a:lnTo>
                <a:lnTo>
                  <a:pt x="456" y="180"/>
                </a:lnTo>
                <a:lnTo>
                  <a:pt x="456" y="181"/>
                </a:lnTo>
                <a:lnTo>
                  <a:pt x="455" y="183"/>
                </a:lnTo>
                <a:lnTo>
                  <a:pt x="459" y="185"/>
                </a:lnTo>
                <a:lnTo>
                  <a:pt x="461" y="186"/>
                </a:lnTo>
                <a:lnTo>
                  <a:pt x="461" y="184"/>
                </a:lnTo>
                <a:lnTo>
                  <a:pt x="461" y="183"/>
                </a:lnTo>
                <a:lnTo>
                  <a:pt x="461" y="183"/>
                </a:lnTo>
                <a:lnTo>
                  <a:pt x="462" y="183"/>
                </a:lnTo>
                <a:lnTo>
                  <a:pt x="464" y="183"/>
                </a:lnTo>
                <a:lnTo>
                  <a:pt x="466" y="182"/>
                </a:lnTo>
                <a:lnTo>
                  <a:pt x="463" y="181"/>
                </a:lnTo>
                <a:lnTo>
                  <a:pt x="466" y="182"/>
                </a:lnTo>
                <a:close/>
                <a:moveTo>
                  <a:pt x="485" y="189"/>
                </a:moveTo>
                <a:lnTo>
                  <a:pt x="484" y="188"/>
                </a:lnTo>
                <a:lnTo>
                  <a:pt x="482" y="188"/>
                </a:lnTo>
                <a:lnTo>
                  <a:pt x="480" y="189"/>
                </a:lnTo>
                <a:lnTo>
                  <a:pt x="479" y="190"/>
                </a:lnTo>
                <a:lnTo>
                  <a:pt x="480" y="191"/>
                </a:lnTo>
                <a:lnTo>
                  <a:pt x="482" y="191"/>
                </a:lnTo>
                <a:lnTo>
                  <a:pt x="484" y="193"/>
                </a:lnTo>
                <a:lnTo>
                  <a:pt x="486" y="194"/>
                </a:lnTo>
                <a:lnTo>
                  <a:pt x="490" y="194"/>
                </a:lnTo>
                <a:lnTo>
                  <a:pt x="492" y="194"/>
                </a:lnTo>
                <a:lnTo>
                  <a:pt x="488" y="191"/>
                </a:lnTo>
                <a:lnTo>
                  <a:pt x="485" y="189"/>
                </a:lnTo>
                <a:close/>
                <a:moveTo>
                  <a:pt x="88" y="217"/>
                </a:moveTo>
                <a:lnTo>
                  <a:pt x="82" y="215"/>
                </a:lnTo>
                <a:lnTo>
                  <a:pt x="79" y="214"/>
                </a:lnTo>
                <a:lnTo>
                  <a:pt x="75" y="214"/>
                </a:lnTo>
                <a:lnTo>
                  <a:pt x="72" y="215"/>
                </a:lnTo>
                <a:lnTo>
                  <a:pt x="75" y="216"/>
                </a:lnTo>
                <a:lnTo>
                  <a:pt x="79" y="217"/>
                </a:lnTo>
                <a:lnTo>
                  <a:pt x="83" y="217"/>
                </a:lnTo>
                <a:lnTo>
                  <a:pt x="88" y="217"/>
                </a:lnTo>
                <a:close/>
                <a:moveTo>
                  <a:pt x="867" y="640"/>
                </a:moveTo>
                <a:lnTo>
                  <a:pt x="865" y="640"/>
                </a:lnTo>
                <a:lnTo>
                  <a:pt x="863" y="641"/>
                </a:lnTo>
                <a:lnTo>
                  <a:pt x="862" y="642"/>
                </a:lnTo>
                <a:lnTo>
                  <a:pt x="861" y="642"/>
                </a:lnTo>
                <a:lnTo>
                  <a:pt x="858" y="643"/>
                </a:lnTo>
                <a:lnTo>
                  <a:pt x="857" y="642"/>
                </a:lnTo>
                <a:lnTo>
                  <a:pt x="856" y="643"/>
                </a:lnTo>
                <a:lnTo>
                  <a:pt x="857" y="645"/>
                </a:lnTo>
                <a:lnTo>
                  <a:pt x="859" y="646"/>
                </a:lnTo>
                <a:lnTo>
                  <a:pt x="862" y="646"/>
                </a:lnTo>
                <a:lnTo>
                  <a:pt x="865" y="645"/>
                </a:lnTo>
                <a:lnTo>
                  <a:pt x="867" y="645"/>
                </a:lnTo>
                <a:lnTo>
                  <a:pt x="868" y="642"/>
                </a:lnTo>
                <a:lnTo>
                  <a:pt x="867" y="640"/>
                </a:lnTo>
                <a:lnTo>
                  <a:pt x="867" y="640"/>
                </a:lnTo>
                <a:lnTo>
                  <a:pt x="867" y="640"/>
                </a:lnTo>
                <a:close/>
                <a:moveTo>
                  <a:pt x="468" y="136"/>
                </a:moveTo>
                <a:lnTo>
                  <a:pt x="469" y="138"/>
                </a:lnTo>
                <a:lnTo>
                  <a:pt x="471" y="138"/>
                </a:lnTo>
                <a:lnTo>
                  <a:pt x="471" y="136"/>
                </a:lnTo>
                <a:lnTo>
                  <a:pt x="470" y="134"/>
                </a:lnTo>
                <a:lnTo>
                  <a:pt x="468" y="132"/>
                </a:lnTo>
                <a:lnTo>
                  <a:pt x="466" y="131"/>
                </a:lnTo>
                <a:lnTo>
                  <a:pt x="462" y="130"/>
                </a:lnTo>
                <a:lnTo>
                  <a:pt x="459" y="130"/>
                </a:lnTo>
                <a:lnTo>
                  <a:pt x="463" y="133"/>
                </a:lnTo>
                <a:lnTo>
                  <a:pt x="466" y="136"/>
                </a:lnTo>
                <a:lnTo>
                  <a:pt x="466" y="138"/>
                </a:lnTo>
                <a:lnTo>
                  <a:pt x="466" y="138"/>
                </a:lnTo>
                <a:lnTo>
                  <a:pt x="463" y="138"/>
                </a:lnTo>
                <a:lnTo>
                  <a:pt x="462" y="138"/>
                </a:lnTo>
                <a:lnTo>
                  <a:pt x="461" y="139"/>
                </a:lnTo>
                <a:lnTo>
                  <a:pt x="461" y="140"/>
                </a:lnTo>
                <a:lnTo>
                  <a:pt x="460" y="143"/>
                </a:lnTo>
                <a:lnTo>
                  <a:pt x="459" y="144"/>
                </a:lnTo>
                <a:lnTo>
                  <a:pt x="461" y="144"/>
                </a:lnTo>
                <a:lnTo>
                  <a:pt x="459" y="144"/>
                </a:lnTo>
                <a:lnTo>
                  <a:pt x="463" y="144"/>
                </a:lnTo>
                <a:lnTo>
                  <a:pt x="468" y="144"/>
                </a:lnTo>
                <a:lnTo>
                  <a:pt x="470" y="148"/>
                </a:lnTo>
                <a:lnTo>
                  <a:pt x="475" y="149"/>
                </a:lnTo>
                <a:lnTo>
                  <a:pt x="477" y="148"/>
                </a:lnTo>
                <a:lnTo>
                  <a:pt x="476" y="147"/>
                </a:lnTo>
                <a:lnTo>
                  <a:pt x="475" y="145"/>
                </a:lnTo>
                <a:lnTo>
                  <a:pt x="472" y="144"/>
                </a:lnTo>
                <a:lnTo>
                  <a:pt x="471" y="143"/>
                </a:lnTo>
                <a:lnTo>
                  <a:pt x="468" y="141"/>
                </a:lnTo>
                <a:lnTo>
                  <a:pt x="467" y="140"/>
                </a:lnTo>
                <a:lnTo>
                  <a:pt x="466" y="136"/>
                </a:lnTo>
                <a:lnTo>
                  <a:pt x="467" y="136"/>
                </a:lnTo>
                <a:lnTo>
                  <a:pt x="468" y="136"/>
                </a:lnTo>
                <a:lnTo>
                  <a:pt x="468" y="136"/>
                </a:lnTo>
                <a:lnTo>
                  <a:pt x="468" y="136"/>
                </a:lnTo>
                <a:close/>
                <a:moveTo>
                  <a:pt x="315" y="108"/>
                </a:moveTo>
                <a:lnTo>
                  <a:pt x="317" y="107"/>
                </a:lnTo>
                <a:lnTo>
                  <a:pt x="317" y="106"/>
                </a:lnTo>
                <a:lnTo>
                  <a:pt x="315" y="105"/>
                </a:lnTo>
                <a:lnTo>
                  <a:pt x="313" y="103"/>
                </a:lnTo>
                <a:lnTo>
                  <a:pt x="309" y="101"/>
                </a:lnTo>
                <a:lnTo>
                  <a:pt x="305" y="100"/>
                </a:lnTo>
                <a:lnTo>
                  <a:pt x="307" y="102"/>
                </a:lnTo>
                <a:lnTo>
                  <a:pt x="310" y="106"/>
                </a:lnTo>
                <a:lnTo>
                  <a:pt x="313" y="108"/>
                </a:lnTo>
                <a:lnTo>
                  <a:pt x="315" y="108"/>
                </a:lnTo>
                <a:lnTo>
                  <a:pt x="315" y="108"/>
                </a:lnTo>
                <a:lnTo>
                  <a:pt x="315" y="108"/>
                </a:lnTo>
                <a:close/>
                <a:moveTo>
                  <a:pt x="726" y="640"/>
                </a:moveTo>
                <a:lnTo>
                  <a:pt x="724" y="641"/>
                </a:lnTo>
                <a:lnTo>
                  <a:pt x="724" y="643"/>
                </a:lnTo>
                <a:lnTo>
                  <a:pt x="726" y="643"/>
                </a:lnTo>
                <a:lnTo>
                  <a:pt x="729" y="642"/>
                </a:lnTo>
                <a:lnTo>
                  <a:pt x="732" y="641"/>
                </a:lnTo>
                <a:lnTo>
                  <a:pt x="734" y="641"/>
                </a:lnTo>
                <a:lnTo>
                  <a:pt x="738" y="640"/>
                </a:lnTo>
                <a:lnTo>
                  <a:pt x="740" y="639"/>
                </a:lnTo>
                <a:lnTo>
                  <a:pt x="732" y="638"/>
                </a:lnTo>
                <a:lnTo>
                  <a:pt x="726" y="640"/>
                </a:lnTo>
                <a:lnTo>
                  <a:pt x="727" y="640"/>
                </a:lnTo>
                <a:lnTo>
                  <a:pt x="726" y="640"/>
                </a:lnTo>
                <a:close/>
                <a:moveTo>
                  <a:pt x="282" y="182"/>
                </a:moveTo>
                <a:lnTo>
                  <a:pt x="278" y="184"/>
                </a:lnTo>
                <a:lnTo>
                  <a:pt x="272" y="185"/>
                </a:lnTo>
                <a:lnTo>
                  <a:pt x="274" y="188"/>
                </a:lnTo>
                <a:lnTo>
                  <a:pt x="278" y="189"/>
                </a:lnTo>
                <a:lnTo>
                  <a:pt x="281" y="189"/>
                </a:lnTo>
                <a:lnTo>
                  <a:pt x="284" y="188"/>
                </a:lnTo>
                <a:lnTo>
                  <a:pt x="285" y="185"/>
                </a:lnTo>
                <a:lnTo>
                  <a:pt x="285" y="184"/>
                </a:lnTo>
                <a:lnTo>
                  <a:pt x="284" y="182"/>
                </a:lnTo>
                <a:lnTo>
                  <a:pt x="282" y="182"/>
                </a:lnTo>
                <a:lnTo>
                  <a:pt x="281" y="183"/>
                </a:lnTo>
                <a:lnTo>
                  <a:pt x="282" y="182"/>
                </a:lnTo>
                <a:close/>
                <a:moveTo>
                  <a:pt x="412" y="185"/>
                </a:moveTo>
                <a:lnTo>
                  <a:pt x="414" y="188"/>
                </a:lnTo>
                <a:lnTo>
                  <a:pt x="417" y="190"/>
                </a:lnTo>
                <a:lnTo>
                  <a:pt x="419" y="190"/>
                </a:lnTo>
                <a:lnTo>
                  <a:pt x="420" y="190"/>
                </a:lnTo>
                <a:lnTo>
                  <a:pt x="421" y="190"/>
                </a:lnTo>
                <a:lnTo>
                  <a:pt x="421" y="189"/>
                </a:lnTo>
                <a:lnTo>
                  <a:pt x="421" y="186"/>
                </a:lnTo>
                <a:lnTo>
                  <a:pt x="421" y="185"/>
                </a:lnTo>
                <a:lnTo>
                  <a:pt x="420" y="185"/>
                </a:lnTo>
                <a:lnTo>
                  <a:pt x="418" y="185"/>
                </a:lnTo>
                <a:lnTo>
                  <a:pt x="416" y="185"/>
                </a:lnTo>
                <a:lnTo>
                  <a:pt x="412" y="185"/>
                </a:lnTo>
                <a:lnTo>
                  <a:pt x="413" y="186"/>
                </a:lnTo>
                <a:lnTo>
                  <a:pt x="412" y="185"/>
                </a:lnTo>
                <a:close/>
                <a:moveTo>
                  <a:pt x="398" y="169"/>
                </a:moveTo>
                <a:lnTo>
                  <a:pt x="402" y="173"/>
                </a:lnTo>
                <a:lnTo>
                  <a:pt x="404" y="176"/>
                </a:lnTo>
                <a:lnTo>
                  <a:pt x="405" y="177"/>
                </a:lnTo>
                <a:lnTo>
                  <a:pt x="408" y="178"/>
                </a:lnTo>
                <a:lnTo>
                  <a:pt x="410" y="180"/>
                </a:lnTo>
                <a:lnTo>
                  <a:pt x="413" y="178"/>
                </a:lnTo>
                <a:lnTo>
                  <a:pt x="410" y="176"/>
                </a:lnTo>
                <a:lnTo>
                  <a:pt x="406" y="174"/>
                </a:lnTo>
                <a:lnTo>
                  <a:pt x="403" y="171"/>
                </a:lnTo>
                <a:lnTo>
                  <a:pt x="398" y="169"/>
                </a:lnTo>
                <a:close/>
                <a:moveTo>
                  <a:pt x="46" y="284"/>
                </a:moveTo>
                <a:lnTo>
                  <a:pt x="47" y="282"/>
                </a:lnTo>
                <a:lnTo>
                  <a:pt x="47" y="279"/>
                </a:lnTo>
                <a:lnTo>
                  <a:pt x="42" y="280"/>
                </a:lnTo>
                <a:lnTo>
                  <a:pt x="38" y="281"/>
                </a:lnTo>
                <a:lnTo>
                  <a:pt x="39" y="282"/>
                </a:lnTo>
                <a:lnTo>
                  <a:pt x="41" y="284"/>
                </a:lnTo>
                <a:lnTo>
                  <a:pt x="43" y="284"/>
                </a:lnTo>
                <a:lnTo>
                  <a:pt x="46" y="284"/>
                </a:lnTo>
                <a:lnTo>
                  <a:pt x="46" y="284"/>
                </a:lnTo>
                <a:lnTo>
                  <a:pt x="46" y="284"/>
                </a:lnTo>
                <a:close/>
                <a:moveTo>
                  <a:pt x="775" y="626"/>
                </a:moveTo>
                <a:lnTo>
                  <a:pt x="781" y="626"/>
                </a:lnTo>
                <a:lnTo>
                  <a:pt x="785" y="626"/>
                </a:lnTo>
                <a:lnTo>
                  <a:pt x="790" y="625"/>
                </a:lnTo>
                <a:lnTo>
                  <a:pt x="793" y="623"/>
                </a:lnTo>
                <a:lnTo>
                  <a:pt x="789" y="623"/>
                </a:lnTo>
                <a:lnTo>
                  <a:pt x="784" y="623"/>
                </a:lnTo>
                <a:lnTo>
                  <a:pt x="780" y="623"/>
                </a:lnTo>
                <a:lnTo>
                  <a:pt x="775" y="626"/>
                </a:lnTo>
                <a:close/>
                <a:moveTo>
                  <a:pt x="1459" y="68"/>
                </a:moveTo>
                <a:lnTo>
                  <a:pt x="1463" y="68"/>
                </a:lnTo>
                <a:lnTo>
                  <a:pt x="1466" y="66"/>
                </a:lnTo>
                <a:lnTo>
                  <a:pt x="1467" y="62"/>
                </a:lnTo>
                <a:lnTo>
                  <a:pt x="1468" y="59"/>
                </a:lnTo>
                <a:lnTo>
                  <a:pt x="1464" y="61"/>
                </a:lnTo>
                <a:lnTo>
                  <a:pt x="1459" y="65"/>
                </a:lnTo>
                <a:lnTo>
                  <a:pt x="1458" y="65"/>
                </a:lnTo>
                <a:lnTo>
                  <a:pt x="1457" y="66"/>
                </a:lnTo>
                <a:lnTo>
                  <a:pt x="1457" y="67"/>
                </a:lnTo>
                <a:lnTo>
                  <a:pt x="1459" y="68"/>
                </a:lnTo>
                <a:lnTo>
                  <a:pt x="1460" y="68"/>
                </a:lnTo>
                <a:lnTo>
                  <a:pt x="1459" y="68"/>
                </a:lnTo>
                <a:close/>
                <a:moveTo>
                  <a:pt x="420" y="134"/>
                </a:moveTo>
                <a:lnTo>
                  <a:pt x="423" y="132"/>
                </a:lnTo>
                <a:lnTo>
                  <a:pt x="426" y="128"/>
                </a:lnTo>
                <a:lnTo>
                  <a:pt x="422" y="127"/>
                </a:lnTo>
                <a:lnTo>
                  <a:pt x="420" y="127"/>
                </a:lnTo>
                <a:lnTo>
                  <a:pt x="417" y="127"/>
                </a:lnTo>
                <a:lnTo>
                  <a:pt x="416" y="130"/>
                </a:lnTo>
                <a:lnTo>
                  <a:pt x="414" y="132"/>
                </a:lnTo>
                <a:lnTo>
                  <a:pt x="416" y="133"/>
                </a:lnTo>
                <a:lnTo>
                  <a:pt x="418" y="133"/>
                </a:lnTo>
                <a:lnTo>
                  <a:pt x="420" y="134"/>
                </a:lnTo>
                <a:lnTo>
                  <a:pt x="420" y="133"/>
                </a:lnTo>
                <a:lnTo>
                  <a:pt x="420" y="134"/>
                </a:lnTo>
                <a:close/>
                <a:moveTo>
                  <a:pt x="307" y="467"/>
                </a:moveTo>
                <a:lnTo>
                  <a:pt x="314" y="467"/>
                </a:lnTo>
                <a:lnTo>
                  <a:pt x="320" y="467"/>
                </a:lnTo>
                <a:lnTo>
                  <a:pt x="318" y="464"/>
                </a:lnTo>
                <a:lnTo>
                  <a:pt x="314" y="463"/>
                </a:lnTo>
                <a:lnTo>
                  <a:pt x="312" y="464"/>
                </a:lnTo>
                <a:lnTo>
                  <a:pt x="307" y="467"/>
                </a:lnTo>
                <a:close/>
                <a:moveTo>
                  <a:pt x="1520" y="193"/>
                </a:moveTo>
                <a:lnTo>
                  <a:pt x="1525" y="193"/>
                </a:lnTo>
                <a:lnTo>
                  <a:pt x="1530" y="192"/>
                </a:lnTo>
                <a:lnTo>
                  <a:pt x="1534" y="190"/>
                </a:lnTo>
                <a:lnTo>
                  <a:pt x="1538" y="188"/>
                </a:lnTo>
                <a:lnTo>
                  <a:pt x="1533" y="188"/>
                </a:lnTo>
                <a:lnTo>
                  <a:pt x="1529" y="190"/>
                </a:lnTo>
                <a:lnTo>
                  <a:pt x="1524" y="191"/>
                </a:lnTo>
                <a:lnTo>
                  <a:pt x="1520" y="193"/>
                </a:lnTo>
                <a:close/>
                <a:moveTo>
                  <a:pt x="144" y="388"/>
                </a:moveTo>
                <a:lnTo>
                  <a:pt x="134" y="388"/>
                </a:lnTo>
                <a:lnTo>
                  <a:pt x="125" y="388"/>
                </a:lnTo>
                <a:lnTo>
                  <a:pt x="133" y="390"/>
                </a:lnTo>
                <a:lnTo>
                  <a:pt x="140" y="391"/>
                </a:lnTo>
                <a:lnTo>
                  <a:pt x="144" y="392"/>
                </a:lnTo>
                <a:lnTo>
                  <a:pt x="146" y="390"/>
                </a:lnTo>
                <a:lnTo>
                  <a:pt x="147" y="389"/>
                </a:lnTo>
                <a:lnTo>
                  <a:pt x="146" y="389"/>
                </a:lnTo>
                <a:lnTo>
                  <a:pt x="145" y="388"/>
                </a:lnTo>
                <a:lnTo>
                  <a:pt x="144" y="388"/>
                </a:lnTo>
                <a:lnTo>
                  <a:pt x="142" y="388"/>
                </a:lnTo>
                <a:lnTo>
                  <a:pt x="144" y="388"/>
                </a:lnTo>
                <a:close/>
                <a:moveTo>
                  <a:pt x="89" y="285"/>
                </a:moveTo>
                <a:lnTo>
                  <a:pt x="89" y="284"/>
                </a:lnTo>
                <a:lnTo>
                  <a:pt x="89" y="283"/>
                </a:lnTo>
                <a:lnTo>
                  <a:pt x="87" y="282"/>
                </a:lnTo>
                <a:lnTo>
                  <a:pt x="84" y="281"/>
                </a:lnTo>
                <a:lnTo>
                  <a:pt x="82" y="282"/>
                </a:lnTo>
                <a:lnTo>
                  <a:pt x="80" y="284"/>
                </a:lnTo>
                <a:lnTo>
                  <a:pt x="79" y="288"/>
                </a:lnTo>
                <a:lnTo>
                  <a:pt x="78" y="290"/>
                </a:lnTo>
                <a:lnTo>
                  <a:pt x="79" y="290"/>
                </a:lnTo>
                <a:lnTo>
                  <a:pt x="81" y="290"/>
                </a:lnTo>
                <a:lnTo>
                  <a:pt x="82" y="288"/>
                </a:lnTo>
                <a:lnTo>
                  <a:pt x="82" y="286"/>
                </a:lnTo>
                <a:lnTo>
                  <a:pt x="85" y="285"/>
                </a:lnTo>
                <a:lnTo>
                  <a:pt x="89" y="285"/>
                </a:lnTo>
                <a:lnTo>
                  <a:pt x="88" y="285"/>
                </a:lnTo>
                <a:lnTo>
                  <a:pt x="89" y="285"/>
                </a:lnTo>
                <a:close/>
                <a:moveTo>
                  <a:pt x="288" y="418"/>
                </a:moveTo>
                <a:lnTo>
                  <a:pt x="282" y="417"/>
                </a:lnTo>
                <a:lnTo>
                  <a:pt x="276" y="418"/>
                </a:lnTo>
                <a:lnTo>
                  <a:pt x="279" y="420"/>
                </a:lnTo>
                <a:lnTo>
                  <a:pt x="282" y="421"/>
                </a:lnTo>
                <a:lnTo>
                  <a:pt x="286" y="421"/>
                </a:lnTo>
                <a:lnTo>
                  <a:pt x="288" y="418"/>
                </a:lnTo>
                <a:close/>
                <a:moveTo>
                  <a:pt x="140" y="222"/>
                </a:moveTo>
                <a:lnTo>
                  <a:pt x="149" y="225"/>
                </a:lnTo>
                <a:lnTo>
                  <a:pt x="158" y="228"/>
                </a:lnTo>
                <a:lnTo>
                  <a:pt x="155" y="225"/>
                </a:lnTo>
                <a:lnTo>
                  <a:pt x="150" y="223"/>
                </a:lnTo>
                <a:lnTo>
                  <a:pt x="145" y="222"/>
                </a:lnTo>
                <a:lnTo>
                  <a:pt x="140" y="222"/>
                </a:lnTo>
                <a:close/>
                <a:moveTo>
                  <a:pt x="236" y="113"/>
                </a:moveTo>
                <a:lnTo>
                  <a:pt x="236" y="114"/>
                </a:lnTo>
                <a:lnTo>
                  <a:pt x="237" y="115"/>
                </a:lnTo>
                <a:lnTo>
                  <a:pt x="239" y="117"/>
                </a:lnTo>
                <a:lnTo>
                  <a:pt x="241" y="118"/>
                </a:lnTo>
                <a:lnTo>
                  <a:pt x="246" y="119"/>
                </a:lnTo>
                <a:lnTo>
                  <a:pt x="249" y="118"/>
                </a:lnTo>
                <a:lnTo>
                  <a:pt x="248" y="116"/>
                </a:lnTo>
                <a:lnTo>
                  <a:pt x="244" y="113"/>
                </a:lnTo>
                <a:lnTo>
                  <a:pt x="241" y="111"/>
                </a:lnTo>
                <a:lnTo>
                  <a:pt x="239" y="111"/>
                </a:lnTo>
                <a:lnTo>
                  <a:pt x="237" y="111"/>
                </a:lnTo>
                <a:lnTo>
                  <a:pt x="236" y="113"/>
                </a:lnTo>
                <a:lnTo>
                  <a:pt x="236" y="111"/>
                </a:lnTo>
                <a:lnTo>
                  <a:pt x="236" y="113"/>
                </a:lnTo>
                <a:close/>
                <a:moveTo>
                  <a:pt x="401" y="503"/>
                </a:moveTo>
                <a:lnTo>
                  <a:pt x="409" y="503"/>
                </a:lnTo>
                <a:lnTo>
                  <a:pt x="416" y="500"/>
                </a:lnTo>
                <a:lnTo>
                  <a:pt x="409" y="499"/>
                </a:lnTo>
                <a:lnTo>
                  <a:pt x="405" y="499"/>
                </a:lnTo>
                <a:lnTo>
                  <a:pt x="403" y="500"/>
                </a:lnTo>
                <a:lnTo>
                  <a:pt x="401" y="503"/>
                </a:lnTo>
                <a:close/>
                <a:moveTo>
                  <a:pt x="71" y="285"/>
                </a:moveTo>
                <a:lnTo>
                  <a:pt x="63" y="284"/>
                </a:lnTo>
                <a:lnTo>
                  <a:pt x="56" y="285"/>
                </a:lnTo>
                <a:lnTo>
                  <a:pt x="62" y="288"/>
                </a:lnTo>
                <a:lnTo>
                  <a:pt x="68" y="288"/>
                </a:lnTo>
                <a:lnTo>
                  <a:pt x="70" y="289"/>
                </a:lnTo>
                <a:lnTo>
                  <a:pt x="72" y="288"/>
                </a:lnTo>
                <a:lnTo>
                  <a:pt x="72" y="286"/>
                </a:lnTo>
                <a:lnTo>
                  <a:pt x="71" y="285"/>
                </a:lnTo>
                <a:lnTo>
                  <a:pt x="68" y="285"/>
                </a:lnTo>
                <a:lnTo>
                  <a:pt x="71" y="285"/>
                </a:lnTo>
                <a:close/>
                <a:moveTo>
                  <a:pt x="182" y="396"/>
                </a:moveTo>
                <a:lnTo>
                  <a:pt x="188" y="398"/>
                </a:lnTo>
                <a:lnTo>
                  <a:pt x="192" y="399"/>
                </a:lnTo>
                <a:lnTo>
                  <a:pt x="196" y="398"/>
                </a:lnTo>
                <a:lnTo>
                  <a:pt x="200" y="396"/>
                </a:lnTo>
                <a:lnTo>
                  <a:pt x="191" y="394"/>
                </a:lnTo>
                <a:lnTo>
                  <a:pt x="182" y="396"/>
                </a:lnTo>
                <a:close/>
                <a:moveTo>
                  <a:pt x="567" y="578"/>
                </a:moveTo>
                <a:lnTo>
                  <a:pt x="559" y="578"/>
                </a:lnTo>
                <a:lnTo>
                  <a:pt x="552" y="581"/>
                </a:lnTo>
                <a:lnTo>
                  <a:pt x="557" y="581"/>
                </a:lnTo>
                <a:lnTo>
                  <a:pt x="561" y="581"/>
                </a:lnTo>
                <a:lnTo>
                  <a:pt x="565" y="582"/>
                </a:lnTo>
                <a:lnTo>
                  <a:pt x="568" y="584"/>
                </a:lnTo>
                <a:lnTo>
                  <a:pt x="568" y="583"/>
                </a:lnTo>
                <a:lnTo>
                  <a:pt x="569" y="581"/>
                </a:lnTo>
                <a:lnTo>
                  <a:pt x="568" y="579"/>
                </a:lnTo>
                <a:lnTo>
                  <a:pt x="567" y="578"/>
                </a:lnTo>
                <a:lnTo>
                  <a:pt x="567" y="578"/>
                </a:lnTo>
                <a:lnTo>
                  <a:pt x="567" y="578"/>
                </a:lnTo>
                <a:close/>
                <a:moveTo>
                  <a:pt x="421" y="159"/>
                </a:moveTo>
                <a:lnTo>
                  <a:pt x="420" y="160"/>
                </a:lnTo>
                <a:lnTo>
                  <a:pt x="418" y="163"/>
                </a:lnTo>
                <a:lnTo>
                  <a:pt x="419" y="165"/>
                </a:lnTo>
                <a:lnTo>
                  <a:pt x="420" y="165"/>
                </a:lnTo>
                <a:lnTo>
                  <a:pt x="421" y="165"/>
                </a:lnTo>
                <a:lnTo>
                  <a:pt x="423" y="166"/>
                </a:lnTo>
                <a:lnTo>
                  <a:pt x="426" y="167"/>
                </a:lnTo>
                <a:lnTo>
                  <a:pt x="428" y="167"/>
                </a:lnTo>
                <a:lnTo>
                  <a:pt x="428" y="165"/>
                </a:lnTo>
                <a:lnTo>
                  <a:pt x="427" y="164"/>
                </a:lnTo>
                <a:lnTo>
                  <a:pt x="427" y="161"/>
                </a:lnTo>
                <a:lnTo>
                  <a:pt x="427" y="159"/>
                </a:lnTo>
                <a:lnTo>
                  <a:pt x="425" y="159"/>
                </a:lnTo>
                <a:lnTo>
                  <a:pt x="421" y="159"/>
                </a:lnTo>
                <a:lnTo>
                  <a:pt x="421" y="158"/>
                </a:lnTo>
                <a:lnTo>
                  <a:pt x="421" y="159"/>
                </a:lnTo>
                <a:close/>
                <a:moveTo>
                  <a:pt x="120" y="241"/>
                </a:moveTo>
                <a:lnTo>
                  <a:pt x="113" y="241"/>
                </a:lnTo>
                <a:lnTo>
                  <a:pt x="105" y="241"/>
                </a:lnTo>
                <a:lnTo>
                  <a:pt x="108" y="246"/>
                </a:lnTo>
                <a:lnTo>
                  <a:pt x="112" y="247"/>
                </a:lnTo>
                <a:lnTo>
                  <a:pt x="116" y="246"/>
                </a:lnTo>
                <a:lnTo>
                  <a:pt x="120" y="241"/>
                </a:lnTo>
                <a:close/>
                <a:moveTo>
                  <a:pt x="831" y="646"/>
                </a:moveTo>
                <a:lnTo>
                  <a:pt x="835" y="646"/>
                </a:lnTo>
                <a:lnTo>
                  <a:pt x="839" y="647"/>
                </a:lnTo>
                <a:lnTo>
                  <a:pt x="843" y="646"/>
                </a:lnTo>
                <a:lnTo>
                  <a:pt x="848" y="645"/>
                </a:lnTo>
                <a:lnTo>
                  <a:pt x="843" y="643"/>
                </a:lnTo>
                <a:lnTo>
                  <a:pt x="839" y="643"/>
                </a:lnTo>
                <a:lnTo>
                  <a:pt x="834" y="645"/>
                </a:lnTo>
                <a:lnTo>
                  <a:pt x="831" y="646"/>
                </a:lnTo>
                <a:lnTo>
                  <a:pt x="834" y="645"/>
                </a:lnTo>
                <a:lnTo>
                  <a:pt x="831" y="646"/>
                </a:lnTo>
                <a:close/>
                <a:moveTo>
                  <a:pt x="1541" y="354"/>
                </a:moveTo>
                <a:lnTo>
                  <a:pt x="1538" y="354"/>
                </a:lnTo>
                <a:lnTo>
                  <a:pt x="1535" y="357"/>
                </a:lnTo>
                <a:lnTo>
                  <a:pt x="1534" y="358"/>
                </a:lnTo>
                <a:lnTo>
                  <a:pt x="1534" y="359"/>
                </a:lnTo>
                <a:lnTo>
                  <a:pt x="1535" y="360"/>
                </a:lnTo>
                <a:lnTo>
                  <a:pt x="1538" y="360"/>
                </a:lnTo>
                <a:lnTo>
                  <a:pt x="1541" y="359"/>
                </a:lnTo>
                <a:lnTo>
                  <a:pt x="1545" y="357"/>
                </a:lnTo>
                <a:lnTo>
                  <a:pt x="1545" y="356"/>
                </a:lnTo>
                <a:lnTo>
                  <a:pt x="1545" y="355"/>
                </a:lnTo>
                <a:lnTo>
                  <a:pt x="1543" y="354"/>
                </a:lnTo>
                <a:lnTo>
                  <a:pt x="1541" y="354"/>
                </a:lnTo>
                <a:lnTo>
                  <a:pt x="1541" y="354"/>
                </a:lnTo>
                <a:lnTo>
                  <a:pt x="1541" y="354"/>
                </a:lnTo>
                <a:close/>
                <a:moveTo>
                  <a:pt x="675" y="597"/>
                </a:moveTo>
                <a:lnTo>
                  <a:pt x="680" y="598"/>
                </a:lnTo>
                <a:lnTo>
                  <a:pt x="685" y="599"/>
                </a:lnTo>
                <a:lnTo>
                  <a:pt x="691" y="600"/>
                </a:lnTo>
                <a:lnTo>
                  <a:pt x="698" y="600"/>
                </a:lnTo>
                <a:lnTo>
                  <a:pt x="691" y="597"/>
                </a:lnTo>
                <a:lnTo>
                  <a:pt x="683" y="596"/>
                </a:lnTo>
                <a:lnTo>
                  <a:pt x="678" y="596"/>
                </a:lnTo>
                <a:lnTo>
                  <a:pt x="675" y="597"/>
                </a:lnTo>
                <a:lnTo>
                  <a:pt x="677" y="597"/>
                </a:lnTo>
                <a:lnTo>
                  <a:pt x="675" y="597"/>
                </a:lnTo>
                <a:close/>
                <a:moveTo>
                  <a:pt x="830" y="631"/>
                </a:moveTo>
                <a:lnTo>
                  <a:pt x="829" y="629"/>
                </a:lnTo>
                <a:lnTo>
                  <a:pt x="828" y="629"/>
                </a:lnTo>
                <a:lnTo>
                  <a:pt x="825" y="629"/>
                </a:lnTo>
                <a:lnTo>
                  <a:pt x="823" y="630"/>
                </a:lnTo>
                <a:lnTo>
                  <a:pt x="818" y="631"/>
                </a:lnTo>
                <a:lnTo>
                  <a:pt x="815" y="634"/>
                </a:lnTo>
                <a:lnTo>
                  <a:pt x="818" y="634"/>
                </a:lnTo>
                <a:lnTo>
                  <a:pt x="824" y="633"/>
                </a:lnTo>
                <a:lnTo>
                  <a:pt x="826" y="633"/>
                </a:lnTo>
                <a:lnTo>
                  <a:pt x="829" y="633"/>
                </a:lnTo>
                <a:lnTo>
                  <a:pt x="830" y="632"/>
                </a:lnTo>
                <a:lnTo>
                  <a:pt x="830" y="631"/>
                </a:lnTo>
                <a:lnTo>
                  <a:pt x="830" y="631"/>
                </a:lnTo>
                <a:lnTo>
                  <a:pt x="830" y="631"/>
                </a:lnTo>
                <a:close/>
                <a:moveTo>
                  <a:pt x="1490" y="202"/>
                </a:moveTo>
                <a:lnTo>
                  <a:pt x="1496" y="202"/>
                </a:lnTo>
                <a:lnTo>
                  <a:pt x="1501" y="201"/>
                </a:lnTo>
                <a:lnTo>
                  <a:pt x="1506" y="200"/>
                </a:lnTo>
                <a:lnTo>
                  <a:pt x="1510" y="197"/>
                </a:lnTo>
                <a:lnTo>
                  <a:pt x="1505" y="197"/>
                </a:lnTo>
                <a:lnTo>
                  <a:pt x="1500" y="197"/>
                </a:lnTo>
                <a:lnTo>
                  <a:pt x="1494" y="199"/>
                </a:lnTo>
                <a:lnTo>
                  <a:pt x="1490" y="202"/>
                </a:lnTo>
                <a:close/>
                <a:moveTo>
                  <a:pt x="888" y="206"/>
                </a:moveTo>
                <a:lnTo>
                  <a:pt x="889" y="208"/>
                </a:lnTo>
                <a:lnTo>
                  <a:pt x="892" y="209"/>
                </a:lnTo>
                <a:lnTo>
                  <a:pt x="895" y="209"/>
                </a:lnTo>
                <a:lnTo>
                  <a:pt x="897" y="209"/>
                </a:lnTo>
                <a:lnTo>
                  <a:pt x="898" y="208"/>
                </a:lnTo>
                <a:lnTo>
                  <a:pt x="900" y="207"/>
                </a:lnTo>
                <a:lnTo>
                  <a:pt x="898" y="206"/>
                </a:lnTo>
                <a:lnTo>
                  <a:pt x="896" y="205"/>
                </a:lnTo>
                <a:lnTo>
                  <a:pt x="894" y="202"/>
                </a:lnTo>
                <a:lnTo>
                  <a:pt x="891" y="201"/>
                </a:lnTo>
                <a:lnTo>
                  <a:pt x="888" y="201"/>
                </a:lnTo>
                <a:lnTo>
                  <a:pt x="888" y="202"/>
                </a:lnTo>
                <a:lnTo>
                  <a:pt x="889" y="205"/>
                </a:lnTo>
                <a:lnTo>
                  <a:pt x="888" y="206"/>
                </a:lnTo>
                <a:lnTo>
                  <a:pt x="888" y="206"/>
                </a:lnTo>
                <a:lnTo>
                  <a:pt x="888" y="206"/>
                </a:lnTo>
                <a:close/>
                <a:moveTo>
                  <a:pt x="97" y="407"/>
                </a:moveTo>
                <a:lnTo>
                  <a:pt x="103" y="409"/>
                </a:lnTo>
                <a:lnTo>
                  <a:pt x="108" y="410"/>
                </a:lnTo>
                <a:lnTo>
                  <a:pt x="115" y="410"/>
                </a:lnTo>
                <a:lnTo>
                  <a:pt x="121" y="410"/>
                </a:lnTo>
                <a:lnTo>
                  <a:pt x="115" y="408"/>
                </a:lnTo>
                <a:lnTo>
                  <a:pt x="109" y="407"/>
                </a:lnTo>
                <a:lnTo>
                  <a:pt x="103" y="407"/>
                </a:lnTo>
                <a:lnTo>
                  <a:pt x="97" y="407"/>
                </a:lnTo>
                <a:close/>
                <a:moveTo>
                  <a:pt x="32" y="387"/>
                </a:moveTo>
                <a:lnTo>
                  <a:pt x="23" y="387"/>
                </a:lnTo>
                <a:lnTo>
                  <a:pt x="15" y="389"/>
                </a:lnTo>
                <a:lnTo>
                  <a:pt x="19" y="389"/>
                </a:lnTo>
                <a:lnTo>
                  <a:pt x="23" y="391"/>
                </a:lnTo>
                <a:lnTo>
                  <a:pt x="25" y="391"/>
                </a:lnTo>
                <a:lnTo>
                  <a:pt x="27" y="390"/>
                </a:lnTo>
                <a:lnTo>
                  <a:pt x="30" y="389"/>
                </a:lnTo>
                <a:lnTo>
                  <a:pt x="32" y="387"/>
                </a:lnTo>
                <a:close/>
                <a:moveTo>
                  <a:pt x="49" y="394"/>
                </a:moveTo>
                <a:lnTo>
                  <a:pt x="46" y="396"/>
                </a:lnTo>
                <a:lnTo>
                  <a:pt x="43" y="398"/>
                </a:lnTo>
                <a:lnTo>
                  <a:pt x="41" y="397"/>
                </a:lnTo>
                <a:lnTo>
                  <a:pt x="40" y="396"/>
                </a:lnTo>
                <a:lnTo>
                  <a:pt x="38" y="396"/>
                </a:lnTo>
                <a:lnTo>
                  <a:pt x="33" y="394"/>
                </a:lnTo>
                <a:lnTo>
                  <a:pt x="30" y="394"/>
                </a:lnTo>
                <a:lnTo>
                  <a:pt x="27" y="396"/>
                </a:lnTo>
                <a:lnTo>
                  <a:pt x="29" y="398"/>
                </a:lnTo>
                <a:lnTo>
                  <a:pt x="31" y="399"/>
                </a:lnTo>
                <a:lnTo>
                  <a:pt x="33" y="399"/>
                </a:lnTo>
                <a:lnTo>
                  <a:pt x="37" y="399"/>
                </a:lnTo>
                <a:lnTo>
                  <a:pt x="42" y="399"/>
                </a:lnTo>
                <a:lnTo>
                  <a:pt x="47" y="399"/>
                </a:lnTo>
                <a:lnTo>
                  <a:pt x="48" y="399"/>
                </a:lnTo>
                <a:lnTo>
                  <a:pt x="50" y="399"/>
                </a:lnTo>
                <a:lnTo>
                  <a:pt x="51" y="399"/>
                </a:lnTo>
                <a:lnTo>
                  <a:pt x="52" y="398"/>
                </a:lnTo>
                <a:lnTo>
                  <a:pt x="52" y="396"/>
                </a:lnTo>
                <a:lnTo>
                  <a:pt x="51" y="396"/>
                </a:lnTo>
                <a:lnTo>
                  <a:pt x="50" y="394"/>
                </a:lnTo>
                <a:lnTo>
                  <a:pt x="49" y="394"/>
                </a:lnTo>
                <a:lnTo>
                  <a:pt x="49" y="394"/>
                </a:lnTo>
                <a:lnTo>
                  <a:pt x="49" y="394"/>
                </a:lnTo>
                <a:close/>
                <a:moveTo>
                  <a:pt x="916" y="234"/>
                </a:moveTo>
                <a:lnTo>
                  <a:pt x="920" y="235"/>
                </a:lnTo>
                <a:lnTo>
                  <a:pt x="922" y="235"/>
                </a:lnTo>
                <a:lnTo>
                  <a:pt x="924" y="235"/>
                </a:lnTo>
                <a:lnTo>
                  <a:pt x="927" y="233"/>
                </a:lnTo>
                <a:lnTo>
                  <a:pt x="921" y="232"/>
                </a:lnTo>
                <a:lnTo>
                  <a:pt x="914" y="231"/>
                </a:lnTo>
                <a:lnTo>
                  <a:pt x="909" y="232"/>
                </a:lnTo>
                <a:lnTo>
                  <a:pt x="904" y="234"/>
                </a:lnTo>
                <a:lnTo>
                  <a:pt x="911" y="233"/>
                </a:lnTo>
                <a:lnTo>
                  <a:pt x="916" y="234"/>
                </a:lnTo>
                <a:lnTo>
                  <a:pt x="919" y="234"/>
                </a:lnTo>
                <a:lnTo>
                  <a:pt x="916" y="234"/>
                </a:lnTo>
                <a:close/>
                <a:moveTo>
                  <a:pt x="626" y="156"/>
                </a:moveTo>
                <a:lnTo>
                  <a:pt x="627" y="156"/>
                </a:lnTo>
                <a:lnTo>
                  <a:pt x="628" y="153"/>
                </a:lnTo>
                <a:lnTo>
                  <a:pt x="628" y="152"/>
                </a:lnTo>
                <a:lnTo>
                  <a:pt x="627" y="151"/>
                </a:lnTo>
                <a:lnTo>
                  <a:pt x="626" y="151"/>
                </a:lnTo>
                <a:lnTo>
                  <a:pt x="625" y="151"/>
                </a:lnTo>
                <a:lnTo>
                  <a:pt x="622" y="149"/>
                </a:lnTo>
                <a:lnTo>
                  <a:pt x="619" y="147"/>
                </a:lnTo>
                <a:lnTo>
                  <a:pt x="616" y="145"/>
                </a:lnTo>
                <a:lnTo>
                  <a:pt x="612" y="145"/>
                </a:lnTo>
                <a:lnTo>
                  <a:pt x="618" y="151"/>
                </a:lnTo>
                <a:lnTo>
                  <a:pt x="626" y="156"/>
                </a:lnTo>
                <a:lnTo>
                  <a:pt x="624" y="155"/>
                </a:lnTo>
                <a:lnTo>
                  <a:pt x="626" y="156"/>
                </a:lnTo>
                <a:close/>
                <a:moveTo>
                  <a:pt x="450" y="141"/>
                </a:moveTo>
                <a:lnTo>
                  <a:pt x="452" y="141"/>
                </a:lnTo>
                <a:lnTo>
                  <a:pt x="453" y="140"/>
                </a:lnTo>
                <a:lnTo>
                  <a:pt x="454" y="139"/>
                </a:lnTo>
                <a:lnTo>
                  <a:pt x="454" y="136"/>
                </a:lnTo>
                <a:lnTo>
                  <a:pt x="452" y="134"/>
                </a:lnTo>
                <a:lnTo>
                  <a:pt x="449" y="133"/>
                </a:lnTo>
                <a:lnTo>
                  <a:pt x="446" y="132"/>
                </a:lnTo>
                <a:lnTo>
                  <a:pt x="445" y="132"/>
                </a:lnTo>
                <a:lnTo>
                  <a:pt x="444" y="133"/>
                </a:lnTo>
                <a:lnTo>
                  <a:pt x="443" y="134"/>
                </a:lnTo>
                <a:lnTo>
                  <a:pt x="443" y="138"/>
                </a:lnTo>
                <a:lnTo>
                  <a:pt x="444" y="140"/>
                </a:lnTo>
                <a:lnTo>
                  <a:pt x="447" y="141"/>
                </a:lnTo>
                <a:lnTo>
                  <a:pt x="450" y="141"/>
                </a:lnTo>
                <a:lnTo>
                  <a:pt x="451" y="141"/>
                </a:lnTo>
                <a:lnTo>
                  <a:pt x="450" y="141"/>
                </a:lnTo>
                <a:close/>
                <a:moveTo>
                  <a:pt x="536" y="153"/>
                </a:moveTo>
                <a:lnTo>
                  <a:pt x="527" y="148"/>
                </a:lnTo>
                <a:lnTo>
                  <a:pt x="518" y="142"/>
                </a:lnTo>
                <a:lnTo>
                  <a:pt x="519" y="144"/>
                </a:lnTo>
                <a:lnTo>
                  <a:pt x="520" y="147"/>
                </a:lnTo>
                <a:lnTo>
                  <a:pt x="523" y="149"/>
                </a:lnTo>
                <a:lnTo>
                  <a:pt x="525" y="150"/>
                </a:lnTo>
                <a:lnTo>
                  <a:pt x="530" y="151"/>
                </a:lnTo>
                <a:lnTo>
                  <a:pt x="536" y="153"/>
                </a:lnTo>
                <a:close/>
                <a:moveTo>
                  <a:pt x="384" y="476"/>
                </a:moveTo>
                <a:lnTo>
                  <a:pt x="379" y="475"/>
                </a:lnTo>
                <a:lnTo>
                  <a:pt x="375" y="474"/>
                </a:lnTo>
                <a:lnTo>
                  <a:pt x="378" y="477"/>
                </a:lnTo>
                <a:lnTo>
                  <a:pt x="383" y="481"/>
                </a:lnTo>
                <a:lnTo>
                  <a:pt x="385" y="483"/>
                </a:lnTo>
                <a:lnTo>
                  <a:pt x="388" y="484"/>
                </a:lnTo>
                <a:lnTo>
                  <a:pt x="390" y="483"/>
                </a:lnTo>
                <a:lnTo>
                  <a:pt x="394" y="482"/>
                </a:lnTo>
                <a:lnTo>
                  <a:pt x="388" y="479"/>
                </a:lnTo>
                <a:lnTo>
                  <a:pt x="384" y="476"/>
                </a:lnTo>
                <a:lnTo>
                  <a:pt x="383" y="476"/>
                </a:lnTo>
                <a:lnTo>
                  <a:pt x="384" y="476"/>
                </a:lnTo>
                <a:close/>
                <a:moveTo>
                  <a:pt x="454" y="189"/>
                </a:moveTo>
                <a:lnTo>
                  <a:pt x="453" y="190"/>
                </a:lnTo>
                <a:lnTo>
                  <a:pt x="454" y="192"/>
                </a:lnTo>
                <a:lnTo>
                  <a:pt x="456" y="194"/>
                </a:lnTo>
                <a:lnTo>
                  <a:pt x="459" y="196"/>
                </a:lnTo>
                <a:lnTo>
                  <a:pt x="461" y="196"/>
                </a:lnTo>
                <a:lnTo>
                  <a:pt x="463" y="194"/>
                </a:lnTo>
                <a:lnTo>
                  <a:pt x="464" y="192"/>
                </a:lnTo>
                <a:lnTo>
                  <a:pt x="464" y="191"/>
                </a:lnTo>
                <a:lnTo>
                  <a:pt x="471" y="192"/>
                </a:lnTo>
                <a:lnTo>
                  <a:pt x="479" y="193"/>
                </a:lnTo>
                <a:lnTo>
                  <a:pt x="475" y="191"/>
                </a:lnTo>
                <a:lnTo>
                  <a:pt x="471" y="190"/>
                </a:lnTo>
                <a:lnTo>
                  <a:pt x="468" y="190"/>
                </a:lnTo>
                <a:lnTo>
                  <a:pt x="463" y="190"/>
                </a:lnTo>
                <a:lnTo>
                  <a:pt x="463" y="191"/>
                </a:lnTo>
                <a:lnTo>
                  <a:pt x="462" y="191"/>
                </a:lnTo>
                <a:lnTo>
                  <a:pt x="461" y="190"/>
                </a:lnTo>
                <a:lnTo>
                  <a:pt x="461" y="189"/>
                </a:lnTo>
                <a:lnTo>
                  <a:pt x="458" y="189"/>
                </a:lnTo>
                <a:lnTo>
                  <a:pt x="454" y="189"/>
                </a:lnTo>
                <a:lnTo>
                  <a:pt x="453" y="189"/>
                </a:lnTo>
                <a:lnTo>
                  <a:pt x="454" y="189"/>
                </a:lnTo>
                <a:close/>
                <a:moveTo>
                  <a:pt x="186" y="418"/>
                </a:moveTo>
                <a:lnTo>
                  <a:pt x="175" y="416"/>
                </a:lnTo>
                <a:lnTo>
                  <a:pt x="164" y="414"/>
                </a:lnTo>
                <a:lnTo>
                  <a:pt x="170" y="418"/>
                </a:lnTo>
                <a:lnTo>
                  <a:pt x="174" y="421"/>
                </a:lnTo>
                <a:lnTo>
                  <a:pt x="180" y="421"/>
                </a:lnTo>
                <a:lnTo>
                  <a:pt x="186" y="418"/>
                </a:lnTo>
                <a:close/>
                <a:moveTo>
                  <a:pt x="186" y="337"/>
                </a:moveTo>
                <a:lnTo>
                  <a:pt x="191" y="339"/>
                </a:lnTo>
                <a:lnTo>
                  <a:pt x="197" y="341"/>
                </a:lnTo>
                <a:lnTo>
                  <a:pt x="199" y="342"/>
                </a:lnTo>
                <a:lnTo>
                  <a:pt x="202" y="342"/>
                </a:lnTo>
                <a:lnTo>
                  <a:pt x="205" y="342"/>
                </a:lnTo>
                <a:lnTo>
                  <a:pt x="208" y="341"/>
                </a:lnTo>
                <a:lnTo>
                  <a:pt x="203" y="340"/>
                </a:lnTo>
                <a:lnTo>
                  <a:pt x="197" y="338"/>
                </a:lnTo>
                <a:lnTo>
                  <a:pt x="195" y="337"/>
                </a:lnTo>
                <a:lnTo>
                  <a:pt x="191" y="335"/>
                </a:lnTo>
                <a:lnTo>
                  <a:pt x="189" y="335"/>
                </a:lnTo>
                <a:lnTo>
                  <a:pt x="186" y="337"/>
                </a:lnTo>
                <a:close/>
                <a:moveTo>
                  <a:pt x="207" y="400"/>
                </a:moveTo>
                <a:lnTo>
                  <a:pt x="212" y="404"/>
                </a:lnTo>
                <a:lnTo>
                  <a:pt x="215" y="405"/>
                </a:lnTo>
                <a:lnTo>
                  <a:pt x="219" y="404"/>
                </a:lnTo>
                <a:lnTo>
                  <a:pt x="222" y="398"/>
                </a:lnTo>
                <a:lnTo>
                  <a:pt x="214" y="398"/>
                </a:lnTo>
                <a:lnTo>
                  <a:pt x="207" y="400"/>
                </a:lnTo>
                <a:close/>
                <a:moveTo>
                  <a:pt x="1020" y="657"/>
                </a:moveTo>
                <a:lnTo>
                  <a:pt x="1013" y="658"/>
                </a:lnTo>
                <a:lnTo>
                  <a:pt x="1007" y="662"/>
                </a:lnTo>
                <a:lnTo>
                  <a:pt x="1006" y="663"/>
                </a:lnTo>
                <a:lnTo>
                  <a:pt x="1005" y="665"/>
                </a:lnTo>
                <a:lnTo>
                  <a:pt x="1006" y="667"/>
                </a:lnTo>
                <a:lnTo>
                  <a:pt x="1008" y="669"/>
                </a:lnTo>
                <a:lnTo>
                  <a:pt x="1010" y="669"/>
                </a:lnTo>
                <a:lnTo>
                  <a:pt x="1010" y="667"/>
                </a:lnTo>
                <a:lnTo>
                  <a:pt x="1010" y="666"/>
                </a:lnTo>
                <a:lnTo>
                  <a:pt x="1008" y="665"/>
                </a:lnTo>
                <a:lnTo>
                  <a:pt x="1011" y="663"/>
                </a:lnTo>
                <a:lnTo>
                  <a:pt x="1013" y="662"/>
                </a:lnTo>
                <a:lnTo>
                  <a:pt x="1014" y="664"/>
                </a:lnTo>
                <a:lnTo>
                  <a:pt x="1014" y="666"/>
                </a:lnTo>
                <a:lnTo>
                  <a:pt x="1016" y="667"/>
                </a:lnTo>
                <a:lnTo>
                  <a:pt x="1019" y="667"/>
                </a:lnTo>
                <a:lnTo>
                  <a:pt x="1018" y="666"/>
                </a:lnTo>
                <a:lnTo>
                  <a:pt x="1016" y="665"/>
                </a:lnTo>
                <a:lnTo>
                  <a:pt x="1016" y="664"/>
                </a:lnTo>
                <a:lnTo>
                  <a:pt x="1016" y="663"/>
                </a:lnTo>
                <a:lnTo>
                  <a:pt x="1019" y="659"/>
                </a:lnTo>
                <a:lnTo>
                  <a:pt x="1020" y="657"/>
                </a:lnTo>
                <a:lnTo>
                  <a:pt x="1018" y="659"/>
                </a:lnTo>
                <a:lnTo>
                  <a:pt x="1020" y="657"/>
                </a:lnTo>
                <a:close/>
                <a:moveTo>
                  <a:pt x="149" y="164"/>
                </a:moveTo>
                <a:lnTo>
                  <a:pt x="147" y="161"/>
                </a:lnTo>
                <a:lnTo>
                  <a:pt x="145" y="159"/>
                </a:lnTo>
                <a:lnTo>
                  <a:pt x="144" y="158"/>
                </a:lnTo>
                <a:lnTo>
                  <a:pt x="142" y="157"/>
                </a:lnTo>
                <a:lnTo>
                  <a:pt x="141" y="156"/>
                </a:lnTo>
                <a:lnTo>
                  <a:pt x="138" y="156"/>
                </a:lnTo>
                <a:lnTo>
                  <a:pt x="134" y="158"/>
                </a:lnTo>
                <a:lnTo>
                  <a:pt x="130" y="158"/>
                </a:lnTo>
                <a:lnTo>
                  <a:pt x="128" y="157"/>
                </a:lnTo>
                <a:lnTo>
                  <a:pt x="126" y="157"/>
                </a:lnTo>
                <a:lnTo>
                  <a:pt x="124" y="157"/>
                </a:lnTo>
                <a:lnTo>
                  <a:pt x="123" y="159"/>
                </a:lnTo>
                <a:lnTo>
                  <a:pt x="130" y="161"/>
                </a:lnTo>
                <a:lnTo>
                  <a:pt x="137" y="163"/>
                </a:lnTo>
                <a:lnTo>
                  <a:pt x="144" y="164"/>
                </a:lnTo>
                <a:lnTo>
                  <a:pt x="149" y="164"/>
                </a:lnTo>
                <a:lnTo>
                  <a:pt x="149" y="164"/>
                </a:lnTo>
                <a:lnTo>
                  <a:pt x="149" y="164"/>
                </a:lnTo>
                <a:close/>
                <a:moveTo>
                  <a:pt x="425" y="476"/>
                </a:moveTo>
                <a:lnTo>
                  <a:pt x="428" y="480"/>
                </a:lnTo>
                <a:lnTo>
                  <a:pt x="433" y="482"/>
                </a:lnTo>
                <a:lnTo>
                  <a:pt x="426" y="482"/>
                </a:lnTo>
                <a:lnTo>
                  <a:pt x="418" y="482"/>
                </a:lnTo>
                <a:lnTo>
                  <a:pt x="420" y="484"/>
                </a:lnTo>
                <a:lnTo>
                  <a:pt x="423" y="484"/>
                </a:lnTo>
                <a:lnTo>
                  <a:pt x="426" y="487"/>
                </a:lnTo>
                <a:lnTo>
                  <a:pt x="430" y="487"/>
                </a:lnTo>
                <a:lnTo>
                  <a:pt x="433" y="485"/>
                </a:lnTo>
                <a:lnTo>
                  <a:pt x="434" y="483"/>
                </a:lnTo>
                <a:lnTo>
                  <a:pt x="437" y="482"/>
                </a:lnTo>
                <a:lnTo>
                  <a:pt x="439" y="481"/>
                </a:lnTo>
                <a:lnTo>
                  <a:pt x="436" y="479"/>
                </a:lnTo>
                <a:lnTo>
                  <a:pt x="433" y="476"/>
                </a:lnTo>
                <a:lnTo>
                  <a:pt x="429" y="476"/>
                </a:lnTo>
                <a:lnTo>
                  <a:pt x="425" y="476"/>
                </a:lnTo>
                <a:lnTo>
                  <a:pt x="427" y="477"/>
                </a:lnTo>
                <a:lnTo>
                  <a:pt x="425" y="476"/>
                </a:lnTo>
                <a:close/>
                <a:moveTo>
                  <a:pt x="139" y="310"/>
                </a:moveTo>
                <a:lnTo>
                  <a:pt x="139" y="309"/>
                </a:lnTo>
                <a:lnTo>
                  <a:pt x="137" y="308"/>
                </a:lnTo>
                <a:lnTo>
                  <a:pt x="134" y="308"/>
                </a:lnTo>
                <a:lnTo>
                  <a:pt x="133" y="308"/>
                </a:lnTo>
                <a:lnTo>
                  <a:pt x="130" y="307"/>
                </a:lnTo>
                <a:lnTo>
                  <a:pt x="126" y="305"/>
                </a:lnTo>
                <a:lnTo>
                  <a:pt x="123" y="302"/>
                </a:lnTo>
                <a:lnTo>
                  <a:pt x="121" y="302"/>
                </a:lnTo>
                <a:lnTo>
                  <a:pt x="115" y="302"/>
                </a:lnTo>
                <a:lnTo>
                  <a:pt x="109" y="304"/>
                </a:lnTo>
                <a:lnTo>
                  <a:pt x="115" y="306"/>
                </a:lnTo>
                <a:lnTo>
                  <a:pt x="125" y="309"/>
                </a:lnTo>
                <a:lnTo>
                  <a:pt x="130" y="310"/>
                </a:lnTo>
                <a:lnTo>
                  <a:pt x="134" y="311"/>
                </a:lnTo>
                <a:lnTo>
                  <a:pt x="138" y="311"/>
                </a:lnTo>
                <a:lnTo>
                  <a:pt x="139" y="310"/>
                </a:lnTo>
                <a:lnTo>
                  <a:pt x="139" y="310"/>
                </a:lnTo>
                <a:lnTo>
                  <a:pt x="139" y="310"/>
                </a:lnTo>
                <a:close/>
                <a:moveTo>
                  <a:pt x="557" y="551"/>
                </a:moveTo>
                <a:lnTo>
                  <a:pt x="559" y="550"/>
                </a:lnTo>
                <a:lnTo>
                  <a:pt x="561" y="550"/>
                </a:lnTo>
                <a:lnTo>
                  <a:pt x="563" y="550"/>
                </a:lnTo>
                <a:lnTo>
                  <a:pt x="566" y="551"/>
                </a:lnTo>
                <a:lnTo>
                  <a:pt x="570" y="554"/>
                </a:lnTo>
                <a:lnTo>
                  <a:pt x="575" y="556"/>
                </a:lnTo>
                <a:lnTo>
                  <a:pt x="578" y="556"/>
                </a:lnTo>
                <a:lnTo>
                  <a:pt x="581" y="555"/>
                </a:lnTo>
                <a:lnTo>
                  <a:pt x="581" y="554"/>
                </a:lnTo>
                <a:lnTo>
                  <a:pt x="577" y="553"/>
                </a:lnTo>
                <a:lnTo>
                  <a:pt x="574" y="551"/>
                </a:lnTo>
                <a:lnTo>
                  <a:pt x="570" y="549"/>
                </a:lnTo>
                <a:lnTo>
                  <a:pt x="567" y="548"/>
                </a:lnTo>
                <a:lnTo>
                  <a:pt x="563" y="547"/>
                </a:lnTo>
                <a:lnTo>
                  <a:pt x="559" y="547"/>
                </a:lnTo>
                <a:lnTo>
                  <a:pt x="554" y="549"/>
                </a:lnTo>
                <a:lnTo>
                  <a:pt x="554" y="550"/>
                </a:lnTo>
                <a:lnTo>
                  <a:pt x="554" y="551"/>
                </a:lnTo>
                <a:lnTo>
                  <a:pt x="556" y="553"/>
                </a:lnTo>
                <a:lnTo>
                  <a:pt x="557" y="551"/>
                </a:lnTo>
                <a:lnTo>
                  <a:pt x="559" y="550"/>
                </a:lnTo>
                <a:lnTo>
                  <a:pt x="557" y="551"/>
                </a:lnTo>
                <a:close/>
                <a:moveTo>
                  <a:pt x="479" y="203"/>
                </a:moveTo>
                <a:lnTo>
                  <a:pt x="492" y="211"/>
                </a:lnTo>
                <a:lnTo>
                  <a:pt x="505" y="218"/>
                </a:lnTo>
                <a:lnTo>
                  <a:pt x="504" y="215"/>
                </a:lnTo>
                <a:lnTo>
                  <a:pt x="505" y="211"/>
                </a:lnTo>
                <a:lnTo>
                  <a:pt x="492" y="208"/>
                </a:lnTo>
                <a:lnTo>
                  <a:pt x="479" y="203"/>
                </a:lnTo>
                <a:lnTo>
                  <a:pt x="486" y="203"/>
                </a:lnTo>
                <a:lnTo>
                  <a:pt x="479" y="203"/>
                </a:lnTo>
                <a:close/>
                <a:moveTo>
                  <a:pt x="459" y="281"/>
                </a:moveTo>
                <a:lnTo>
                  <a:pt x="461" y="281"/>
                </a:lnTo>
                <a:lnTo>
                  <a:pt x="462" y="281"/>
                </a:lnTo>
                <a:lnTo>
                  <a:pt x="461" y="281"/>
                </a:lnTo>
                <a:lnTo>
                  <a:pt x="459" y="281"/>
                </a:lnTo>
                <a:lnTo>
                  <a:pt x="454" y="279"/>
                </a:lnTo>
                <a:lnTo>
                  <a:pt x="450" y="275"/>
                </a:lnTo>
                <a:lnTo>
                  <a:pt x="450" y="275"/>
                </a:lnTo>
                <a:lnTo>
                  <a:pt x="450" y="275"/>
                </a:lnTo>
                <a:lnTo>
                  <a:pt x="447" y="274"/>
                </a:lnTo>
                <a:lnTo>
                  <a:pt x="445" y="274"/>
                </a:lnTo>
                <a:lnTo>
                  <a:pt x="443" y="276"/>
                </a:lnTo>
                <a:lnTo>
                  <a:pt x="442" y="277"/>
                </a:lnTo>
                <a:lnTo>
                  <a:pt x="439" y="277"/>
                </a:lnTo>
                <a:lnTo>
                  <a:pt x="437" y="275"/>
                </a:lnTo>
                <a:lnTo>
                  <a:pt x="436" y="275"/>
                </a:lnTo>
                <a:lnTo>
                  <a:pt x="435" y="275"/>
                </a:lnTo>
                <a:lnTo>
                  <a:pt x="434" y="275"/>
                </a:lnTo>
                <a:lnTo>
                  <a:pt x="433" y="277"/>
                </a:lnTo>
                <a:lnTo>
                  <a:pt x="436" y="279"/>
                </a:lnTo>
                <a:lnTo>
                  <a:pt x="438" y="280"/>
                </a:lnTo>
                <a:lnTo>
                  <a:pt x="439" y="281"/>
                </a:lnTo>
                <a:lnTo>
                  <a:pt x="441" y="282"/>
                </a:lnTo>
                <a:lnTo>
                  <a:pt x="442" y="283"/>
                </a:lnTo>
                <a:lnTo>
                  <a:pt x="444" y="283"/>
                </a:lnTo>
                <a:lnTo>
                  <a:pt x="446" y="281"/>
                </a:lnTo>
                <a:lnTo>
                  <a:pt x="449" y="279"/>
                </a:lnTo>
                <a:lnTo>
                  <a:pt x="454" y="280"/>
                </a:lnTo>
                <a:lnTo>
                  <a:pt x="459" y="281"/>
                </a:lnTo>
                <a:close/>
                <a:moveTo>
                  <a:pt x="459" y="281"/>
                </a:moveTo>
                <a:lnTo>
                  <a:pt x="460" y="281"/>
                </a:lnTo>
                <a:lnTo>
                  <a:pt x="459" y="281"/>
                </a:lnTo>
                <a:close/>
                <a:moveTo>
                  <a:pt x="373" y="449"/>
                </a:moveTo>
                <a:lnTo>
                  <a:pt x="357" y="448"/>
                </a:lnTo>
                <a:lnTo>
                  <a:pt x="342" y="447"/>
                </a:lnTo>
                <a:lnTo>
                  <a:pt x="345" y="449"/>
                </a:lnTo>
                <a:lnTo>
                  <a:pt x="350" y="450"/>
                </a:lnTo>
                <a:lnTo>
                  <a:pt x="353" y="451"/>
                </a:lnTo>
                <a:lnTo>
                  <a:pt x="357" y="451"/>
                </a:lnTo>
                <a:lnTo>
                  <a:pt x="365" y="450"/>
                </a:lnTo>
                <a:lnTo>
                  <a:pt x="373" y="449"/>
                </a:lnTo>
                <a:close/>
                <a:moveTo>
                  <a:pt x="288" y="171"/>
                </a:moveTo>
                <a:lnTo>
                  <a:pt x="287" y="167"/>
                </a:lnTo>
                <a:lnTo>
                  <a:pt x="285" y="165"/>
                </a:lnTo>
                <a:lnTo>
                  <a:pt x="281" y="165"/>
                </a:lnTo>
                <a:lnTo>
                  <a:pt x="278" y="165"/>
                </a:lnTo>
                <a:lnTo>
                  <a:pt x="274" y="167"/>
                </a:lnTo>
                <a:lnTo>
                  <a:pt x="271" y="169"/>
                </a:lnTo>
                <a:lnTo>
                  <a:pt x="270" y="172"/>
                </a:lnTo>
                <a:lnTo>
                  <a:pt x="270" y="175"/>
                </a:lnTo>
                <a:lnTo>
                  <a:pt x="271" y="176"/>
                </a:lnTo>
                <a:lnTo>
                  <a:pt x="273" y="177"/>
                </a:lnTo>
                <a:lnTo>
                  <a:pt x="276" y="177"/>
                </a:lnTo>
                <a:lnTo>
                  <a:pt x="279" y="176"/>
                </a:lnTo>
                <a:lnTo>
                  <a:pt x="285" y="174"/>
                </a:lnTo>
                <a:lnTo>
                  <a:pt x="288" y="171"/>
                </a:lnTo>
                <a:lnTo>
                  <a:pt x="287" y="169"/>
                </a:lnTo>
                <a:lnTo>
                  <a:pt x="288" y="171"/>
                </a:lnTo>
                <a:close/>
                <a:moveTo>
                  <a:pt x="1465" y="105"/>
                </a:moveTo>
                <a:lnTo>
                  <a:pt x="1464" y="102"/>
                </a:lnTo>
                <a:lnTo>
                  <a:pt x="1463" y="101"/>
                </a:lnTo>
                <a:lnTo>
                  <a:pt x="1464" y="99"/>
                </a:lnTo>
                <a:lnTo>
                  <a:pt x="1465" y="98"/>
                </a:lnTo>
                <a:lnTo>
                  <a:pt x="1467" y="97"/>
                </a:lnTo>
                <a:lnTo>
                  <a:pt x="1469" y="99"/>
                </a:lnTo>
                <a:lnTo>
                  <a:pt x="1472" y="99"/>
                </a:lnTo>
                <a:lnTo>
                  <a:pt x="1473" y="98"/>
                </a:lnTo>
                <a:lnTo>
                  <a:pt x="1474" y="97"/>
                </a:lnTo>
                <a:lnTo>
                  <a:pt x="1475" y="95"/>
                </a:lnTo>
                <a:lnTo>
                  <a:pt x="1476" y="95"/>
                </a:lnTo>
                <a:lnTo>
                  <a:pt x="1479" y="95"/>
                </a:lnTo>
                <a:lnTo>
                  <a:pt x="1479" y="94"/>
                </a:lnTo>
                <a:lnTo>
                  <a:pt x="1479" y="93"/>
                </a:lnTo>
                <a:lnTo>
                  <a:pt x="1477" y="92"/>
                </a:lnTo>
                <a:lnTo>
                  <a:pt x="1476" y="92"/>
                </a:lnTo>
                <a:lnTo>
                  <a:pt x="1472" y="92"/>
                </a:lnTo>
                <a:lnTo>
                  <a:pt x="1469" y="92"/>
                </a:lnTo>
                <a:lnTo>
                  <a:pt x="1465" y="94"/>
                </a:lnTo>
                <a:lnTo>
                  <a:pt x="1460" y="95"/>
                </a:lnTo>
                <a:lnTo>
                  <a:pt x="1456" y="99"/>
                </a:lnTo>
                <a:lnTo>
                  <a:pt x="1452" y="101"/>
                </a:lnTo>
                <a:lnTo>
                  <a:pt x="1458" y="102"/>
                </a:lnTo>
                <a:lnTo>
                  <a:pt x="1465" y="105"/>
                </a:lnTo>
                <a:lnTo>
                  <a:pt x="1461" y="105"/>
                </a:lnTo>
                <a:lnTo>
                  <a:pt x="1465" y="105"/>
                </a:lnTo>
                <a:close/>
                <a:moveTo>
                  <a:pt x="255" y="122"/>
                </a:moveTo>
                <a:lnTo>
                  <a:pt x="263" y="125"/>
                </a:lnTo>
                <a:lnTo>
                  <a:pt x="271" y="128"/>
                </a:lnTo>
                <a:lnTo>
                  <a:pt x="280" y="133"/>
                </a:lnTo>
                <a:lnTo>
                  <a:pt x="289" y="136"/>
                </a:lnTo>
                <a:lnTo>
                  <a:pt x="287" y="133"/>
                </a:lnTo>
                <a:lnTo>
                  <a:pt x="286" y="130"/>
                </a:lnTo>
                <a:lnTo>
                  <a:pt x="282" y="127"/>
                </a:lnTo>
                <a:lnTo>
                  <a:pt x="279" y="125"/>
                </a:lnTo>
                <a:lnTo>
                  <a:pt x="279" y="126"/>
                </a:lnTo>
                <a:lnTo>
                  <a:pt x="278" y="127"/>
                </a:lnTo>
                <a:lnTo>
                  <a:pt x="277" y="128"/>
                </a:lnTo>
                <a:lnTo>
                  <a:pt x="276" y="128"/>
                </a:lnTo>
                <a:lnTo>
                  <a:pt x="272" y="125"/>
                </a:lnTo>
                <a:lnTo>
                  <a:pt x="270" y="122"/>
                </a:lnTo>
                <a:lnTo>
                  <a:pt x="264" y="120"/>
                </a:lnTo>
                <a:lnTo>
                  <a:pt x="258" y="119"/>
                </a:lnTo>
                <a:lnTo>
                  <a:pt x="256" y="118"/>
                </a:lnTo>
                <a:lnTo>
                  <a:pt x="254" y="117"/>
                </a:lnTo>
                <a:lnTo>
                  <a:pt x="253" y="119"/>
                </a:lnTo>
                <a:lnTo>
                  <a:pt x="255" y="122"/>
                </a:lnTo>
                <a:lnTo>
                  <a:pt x="256" y="123"/>
                </a:lnTo>
                <a:lnTo>
                  <a:pt x="255" y="122"/>
                </a:lnTo>
                <a:close/>
                <a:moveTo>
                  <a:pt x="482" y="152"/>
                </a:moveTo>
                <a:lnTo>
                  <a:pt x="480" y="151"/>
                </a:lnTo>
                <a:lnTo>
                  <a:pt x="479" y="151"/>
                </a:lnTo>
                <a:lnTo>
                  <a:pt x="479" y="151"/>
                </a:lnTo>
                <a:lnTo>
                  <a:pt x="478" y="151"/>
                </a:lnTo>
                <a:lnTo>
                  <a:pt x="476" y="153"/>
                </a:lnTo>
                <a:lnTo>
                  <a:pt x="476" y="156"/>
                </a:lnTo>
                <a:lnTo>
                  <a:pt x="477" y="158"/>
                </a:lnTo>
                <a:lnTo>
                  <a:pt x="477" y="158"/>
                </a:lnTo>
                <a:lnTo>
                  <a:pt x="479" y="158"/>
                </a:lnTo>
                <a:lnTo>
                  <a:pt x="480" y="158"/>
                </a:lnTo>
                <a:lnTo>
                  <a:pt x="484" y="157"/>
                </a:lnTo>
                <a:lnTo>
                  <a:pt x="487" y="157"/>
                </a:lnTo>
                <a:lnTo>
                  <a:pt x="488" y="159"/>
                </a:lnTo>
                <a:lnTo>
                  <a:pt x="490" y="163"/>
                </a:lnTo>
                <a:lnTo>
                  <a:pt x="491" y="165"/>
                </a:lnTo>
                <a:lnTo>
                  <a:pt x="493" y="166"/>
                </a:lnTo>
                <a:lnTo>
                  <a:pt x="499" y="163"/>
                </a:lnTo>
                <a:lnTo>
                  <a:pt x="503" y="157"/>
                </a:lnTo>
                <a:lnTo>
                  <a:pt x="497" y="157"/>
                </a:lnTo>
                <a:lnTo>
                  <a:pt x="492" y="157"/>
                </a:lnTo>
                <a:lnTo>
                  <a:pt x="490" y="155"/>
                </a:lnTo>
                <a:lnTo>
                  <a:pt x="488" y="152"/>
                </a:lnTo>
                <a:lnTo>
                  <a:pt x="485" y="153"/>
                </a:lnTo>
                <a:lnTo>
                  <a:pt x="482" y="152"/>
                </a:lnTo>
                <a:lnTo>
                  <a:pt x="482" y="151"/>
                </a:lnTo>
                <a:lnTo>
                  <a:pt x="482" y="152"/>
                </a:lnTo>
                <a:close/>
                <a:moveTo>
                  <a:pt x="543" y="160"/>
                </a:moveTo>
                <a:lnTo>
                  <a:pt x="552" y="165"/>
                </a:lnTo>
                <a:lnTo>
                  <a:pt x="560" y="171"/>
                </a:lnTo>
                <a:lnTo>
                  <a:pt x="565" y="172"/>
                </a:lnTo>
                <a:lnTo>
                  <a:pt x="567" y="171"/>
                </a:lnTo>
                <a:lnTo>
                  <a:pt x="568" y="168"/>
                </a:lnTo>
                <a:lnTo>
                  <a:pt x="570" y="165"/>
                </a:lnTo>
                <a:lnTo>
                  <a:pt x="565" y="164"/>
                </a:lnTo>
                <a:lnTo>
                  <a:pt x="559" y="163"/>
                </a:lnTo>
                <a:lnTo>
                  <a:pt x="554" y="161"/>
                </a:lnTo>
                <a:lnTo>
                  <a:pt x="549" y="161"/>
                </a:lnTo>
                <a:lnTo>
                  <a:pt x="545" y="159"/>
                </a:lnTo>
                <a:lnTo>
                  <a:pt x="542" y="157"/>
                </a:lnTo>
                <a:lnTo>
                  <a:pt x="541" y="157"/>
                </a:lnTo>
                <a:lnTo>
                  <a:pt x="540" y="158"/>
                </a:lnTo>
                <a:lnTo>
                  <a:pt x="541" y="160"/>
                </a:lnTo>
                <a:lnTo>
                  <a:pt x="543" y="160"/>
                </a:lnTo>
                <a:lnTo>
                  <a:pt x="543" y="160"/>
                </a:lnTo>
                <a:lnTo>
                  <a:pt x="543" y="160"/>
                </a:lnTo>
                <a:close/>
                <a:moveTo>
                  <a:pt x="474" y="284"/>
                </a:moveTo>
                <a:lnTo>
                  <a:pt x="474" y="282"/>
                </a:lnTo>
                <a:lnTo>
                  <a:pt x="472" y="282"/>
                </a:lnTo>
                <a:lnTo>
                  <a:pt x="471" y="282"/>
                </a:lnTo>
                <a:lnTo>
                  <a:pt x="470" y="282"/>
                </a:lnTo>
                <a:lnTo>
                  <a:pt x="468" y="282"/>
                </a:lnTo>
                <a:lnTo>
                  <a:pt x="466" y="282"/>
                </a:lnTo>
                <a:lnTo>
                  <a:pt x="464" y="281"/>
                </a:lnTo>
                <a:lnTo>
                  <a:pt x="463" y="281"/>
                </a:lnTo>
                <a:lnTo>
                  <a:pt x="462" y="282"/>
                </a:lnTo>
                <a:lnTo>
                  <a:pt x="462" y="283"/>
                </a:lnTo>
                <a:lnTo>
                  <a:pt x="459" y="284"/>
                </a:lnTo>
                <a:lnTo>
                  <a:pt x="455" y="283"/>
                </a:lnTo>
                <a:lnTo>
                  <a:pt x="452" y="282"/>
                </a:lnTo>
                <a:lnTo>
                  <a:pt x="449" y="282"/>
                </a:lnTo>
                <a:lnTo>
                  <a:pt x="450" y="284"/>
                </a:lnTo>
                <a:lnTo>
                  <a:pt x="452" y="285"/>
                </a:lnTo>
                <a:lnTo>
                  <a:pt x="455" y="288"/>
                </a:lnTo>
                <a:lnTo>
                  <a:pt x="460" y="290"/>
                </a:lnTo>
                <a:lnTo>
                  <a:pt x="464" y="291"/>
                </a:lnTo>
                <a:lnTo>
                  <a:pt x="469" y="291"/>
                </a:lnTo>
                <a:lnTo>
                  <a:pt x="470" y="290"/>
                </a:lnTo>
                <a:lnTo>
                  <a:pt x="471" y="289"/>
                </a:lnTo>
                <a:lnTo>
                  <a:pt x="472" y="286"/>
                </a:lnTo>
                <a:lnTo>
                  <a:pt x="474" y="284"/>
                </a:lnTo>
                <a:lnTo>
                  <a:pt x="474" y="284"/>
                </a:lnTo>
                <a:lnTo>
                  <a:pt x="474" y="284"/>
                </a:lnTo>
                <a:close/>
                <a:moveTo>
                  <a:pt x="1015" y="643"/>
                </a:moveTo>
                <a:lnTo>
                  <a:pt x="1007" y="645"/>
                </a:lnTo>
                <a:lnTo>
                  <a:pt x="998" y="647"/>
                </a:lnTo>
                <a:lnTo>
                  <a:pt x="997" y="651"/>
                </a:lnTo>
                <a:lnTo>
                  <a:pt x="998" y="657"/>
                </a:lnTo>
                <a:lnTo>
                  <a:pt x="999" y="654"/>
                </a:lnTo>
                <a:lnTo>
                  <a:pt x="1002" y="650"/>
                </a:lnTo>
                <a:lnTo>
                  <a:pt x="1004" y="649"/>
                </a:lnTo>
                <a:lnTo>
                  <a:pt x="1008" y="650"/>
                </a:lnTo>
                <a:lnTo>
                  <a:pt x="1005" y="653"/>
                </a:lnTo>
                <a:lnTo>
                  <a:pt x="1002" y="654"/>
                </a:lnTo>
                <a:lnTo>
                  <a:pt x="1004" y="655"/>
                </a:lnTo>
                <a:lnTo>
                  <a:pt x="1006" y="655"/>
                </a:lnTo>
                <a:lnTo>
                  <a:pt x="1007" y="655"/>
                </a:lnTo>
                <a:lnTo>
                  <a:pt x="1010" y="654"/>
                </a:lnTo>
                <a:lnTo>
                  <a:pt x="1012" y="651"/>
                </a:lnTo>
                <a:lnTo>
                  <a:pt x="1014" y="649"/>
                </a:lnTo>
                <a:lnTo>
                  <a:pt x="1021" y="648"/>
                </a:lnTo>
                <a:lnTo>
                  <a:pt x="1026" y="646"/>
                </a:lnTo>
                <a:lnTo>
                  <a:pt x="1023" y="645"/>
                </a:lnTo>
                <a:lnTo>
                  <a:pt x="1021" y="643"/>
                </a:lnTo>
                <a:lnTo>
                  <a:pt x="1019" y="642"/>
                </a:lnTo>
                <a:lnTo>
                  <a:pt x="1015" y="643"/>
                </a:lnTo>
                <a:lnTo>
                  <a:pt x="1015" y="643"/>
                </a:lnTo>
                <a:lnTo>
                  <a:pt x="1015" y="643"/>
                </a:lnTo>
                <a:close/>
                <a:moveTo>
                  <a:pt x="433" y="173"/>
                </a:moveTo>
                <a:lnTo>
                  <a:pt x="430" y="172"/>
                </a:lnTo>
                <a:lnTo>
                  <a:pt x="428" y="172"/>
                </a:lnTo>
                <a:lnTo>
                  <a:pt x="427" y="173"/>
                </a:lnTo>
                <a:lnTo>
                  <a:pt x="426" y="173"/>
                </a:lnTo>
                <a:lnTo>
                  <a:pt x="426" y="175"/>
                </a:lnTo>
                <a:lnTo>
                  <a:pt x="426" y="176"/>
                </a:lnTo>
                <a:lnTo>
                  <a:pt x="427" y="177"/>
                </a:lnTo>
                <a:lnTo>
                  <a:pt x="428" y="178"/>
                </a:lnTo>
                <a:lnTo>
                  <a:pt x="431" y="181"/>
                </a:lnTo>
                <a:lnTo>
                  <a:pt x="435" y="180"/>
                </a:lnTo>
                <a:lnTo>
                  <a:pt x="436" y="178"/>
                </a:lnTo>
                <a:lnTo>
                  <a:pt x="436" y="177"/>
                </a:lnTo>
                <a:lnTo>
                  <a:pt x="436" y="177"/>
                </a:lnTo>
                <a:lnTo>
                  <a:pt x="438" y="178"/>
                </a:lnTo>
                <a:lnTo>
                  <a:pt x="439" y="182"/>
                </a:lnTo>
                <a:lnTo>
                  <a:pt x="441" y="183"/>
                </a:lnTo>
                <a:lnTo>
                  <a:pt x="442" y="182"/>
                </a:lnTo>
                <a:lnTo>
                  <a:pt x="443" y="180"/>
                </a:lnTo>
                <a:lnTo>
                  <a:pt x="446" y="178"/>
                </a:lnTo>
                <a:lnTo>
                  <a:pt x="451" y="176"/>
                </a:lnTo>
                <a:lnTo>
                  <a:pt x="450" y="174"/>
                </a:lnTo>
                <a:lnTo>
                  <a:pt x="445" y="172"/>
                </a:lnTo>
                <a:lnTo>
                  <a:pt x="441" y="171"/>
                </a:lnTo>
                <a:lnTo>
                  <a:pt x="438" y="171"/>
                </a:lnTo>
                <a:lnTo>
                  <a:pt x="442" y="174"/>
                </a:lnTo>
                <a:lnTo>
                  <a:pt x="443" y="177"/>
                </a:lnTo>
                <a:lnTo>
                  <a:pt x="437" y="175"/>
                </a:lnTo>
                <a:lnTo>
                  <a:pt x="433" y="173"/>
                </a:lnTo>
                <a:lnTo>
                  <a:pt x="433" y="173"/>
                </a:lnTo>
                <a:lnTo>
                  <a:pt x="433" y="173"/>
                </a:lnTo>
                <a:close/>
                <a:moveTo>
                  <a:pt x="711" y="617"/>
                </a:moveTo>
                <a:lnTo>
                  <a:pt x="710" y="616"/>
                </a:lnTo>
                <a:lnTo>
                  <a:pt x="708" y="615"/>
                </a:lnTo>
                <a:lnTo>
                  <a:pt x="706" y="616"/>
                </a:lnTo>
                <a:lnTo>
                  <a:pt x="703" y="616"/>
                </a:lnTo>
                <a:lnTo>
                  <a:pt x="699" y="618"/>
                </a:lnTo>
                <a:lnTo>
                  <a:pt x="696" y="621"/>
                </a:lnTo>
                <a:lnTo>
                  <a:pt x="697" y="623"/>
                </a:lnTo>
                <a:lnTo>
                  <a:pt x="698" y="624"/>
                </a:lnTo>
                <a:lnTo>
                  <a:pt x="697" y="625"/>
                </a:lnTo>
                <a:lnTo>
                  <a:pt x="697" y="626"/>
                </a:lnTo>
                <a:lnTo>
                  <a:pt x="693" y="628"/>
                </a:lnTo>
                <a:lnTo>
                  <a:pt x="691" y="630"/>
                </a:lnTo>
                <a:lnTo>
                  <a:pt x="694" y="630"/>
                </a:lnTo>
                <a:lnTo>
                  <a:pt x="698" y="630"/>
                </a:lnTo>
                <a:lnTo>
                  <a:pt x="700" y="630"/>
                </a:lnTo>
                <a:lnTo>
                  <a:pt x="701" y="630"/>
                </a:lnTo>
                <a:lnTo>
                  <a:pt x="703" y="629"/>
                </a:lnTo>
                <a:lnTo>
                  <a:pt x="706" y="626"/>
                </a:lnTo>
                <a:lnTo>
                  <a:pt x="707" y="626"/>
                </a:lnTo>
                <a:lnTo>
                  <a:pt x="708" y="626"/>
                </a:lnTo>
                <a:lnTo>
                  <a:pt x="708" y="626"/>
                </a:lnTo>
                <a:lnTo>
                  <a:pt x="708" y="625"/>
                </a:lnTo>
                <a:lnTo>
                  <a:pt x="709" y="624"/>
                </a:lnTo>
                <a:lnTo>
                  <a:pt x="710" y="623"/>
                </a:lnTo>
                <a:lnTo>
                  <a:pt x="711" y="621"/>
                </a:lnTo>
                <a:lnTo>
                  <a:pt x="711" y="617"/>
                </a:lnTo>
                <a:lnTo>
                  <a:pt x="713" y="617"/>
                </a:lnTo>
                <a:lnTo>
                  <a:pt x="711" y="617"/>
                </a:lnTo>
                <a:close/>
                <a:moveTo>
                  <a:pt x="416" y="491"/>
                </a:moveTo>
                <a:lnTo>
                  <a:pt x="418" y="490"/>
                </a:lnTo>
                <a:lnTo>
                  <a:pt x="420" y="490"/>
                </a:lnTo>
                <a:lnTo>
                  <a:pt x="418" y="488"/>
                </a:lnTo>
                <a:lnTo>
                  <a:pt x="416" y="487"/>
                </a:lnTo>
                <a:lnTo>
                  <a:pt x="413" y="487"/>
                </a:lnTo>
                <a:lnTo>
                  <a:pt x="411" y="487"/>
                </a:lnTo>
                <a:lnTo>
                  <a:pt x="406" y="488"/>
                </a:lnTo>
                <a:lnTo>
                  <a:pt x="402" y="488"/>
                </a:lnTo>
                <a:lnTo>
                  <a:pt x="406" y="492"/>
                </a:lnTo>
                <a:lnTo>
                  <a:pt x="413" y="495"/>
                </a:lnTo>
                <a:lnTo>
                  <a:pt x="417" y="495"/>
                </a:lnTo>
                <a:lnTo>
                  <a:pt x="420" y="497"/>
                </a:lnTo>
                <a:lnTo>
                  <a:pt x="421" y="499"/>
                </a:lnTo>
                <a:lnTo>
                  <a:pt x="421" y="500"/>
                </a:lnTo>
                <a:lnTo>
                  <a:pt x="422" y="501"/>
                </a:lnTo>
                <a:lnTo>
                  <a:pt x="426" y="501"/>
                </a:lnTo>
                <a:lnTo>
                  <a:pt x="428" y="503"/>
                </a:lnTo>
                <a:lnTo>
                  <a:pt x="431" y="503"/>
                </a:lnTo>
                <a:lnTo>
                  <a:pt x="434" y="504"/>
                </a:lnTo>
                <a:lnTo>
                  <a:pt x="436" y="504"/>
                </a:lnTo>
                <a:lnTo>
                  <a:pt x="436" y="503"/>
                </a:lnTo>
                <a:lnTo>
                  <a:pt x="437" y="503"/>
                </a:lnTo>
                <a:lnTo>
                  <a:pt x="426" y="497"/>
                </a:lnTo>
                <a:lnTo>
                  <a:pt x="416" y="491"/>
                </a:lnTo>
                <a:lnTo>
                  <a:pt x="418" y="493"/>
                </a:lnTo>
                <a:lnTo>
                  <a:pt x="416" y="491"/>
                </a:lnTo>
                <a:close/>
                <a:moveTo>
                  <a:pt x="357" y="464"/>
                </a:moveTo>
                <a:lnTo>
                  <a:pt x="353" y="463"/>
                </a:lnTo>
                <a:lnTo>
                  <a:pt x="348" y="460"/>
                </a:lnTo>
                <a:lnTo>
                  <a:pt x="345" y="459"/>
                </a:lnTo>
                <a:lnTo>
                  <a:pt x="343" y="459"/>
                </a:lnTo>
                <a:lnTo>
                  <a:pt x="342" y="458"/>
                </a:lnTo>
                <a:lnTo>
                  <a:pt x="339" y="458"/>
                </a:lnTo>
                <a:lnTo>
                  <a:pt x="338" y="456"/>
                </a:lnTo>
                <a:lnTo>
                  <a:pt x="338" y="455"/>
                </a:lnTo>
                <a:lnTo>
                  <a:pt x="332" y="454"/>
                </a:lnTo>
                <a:lnTo>
                  <a:pt x="326" y="454"/>
                </a:lnTo>
                <a:lnTo>
                  <a:pt x="323" y="454"/>
                </a:lnTo>
                <a:lnTo>
                  <a:pt x="321" y="452"/>
                </a:lnTo>
                <a:lnTo>
                  <a:pt x="319" y="452"/>
                </a:lnTo>
                <a:lnTo>
                  <a:pt x="319" y="455"/>
                </a:lnTo>
                <a:lnTo>
                  <a:pt x="321" y="456"/>
                </a:lnTo>
                <a:lnTo>
                  <a:pt x="324" y="457"/>
                </a:lnTo>
                <a:lnTo>
                  <a:pt x="330" y="459"/>
                </a:lnTo>
                <a:lnTo>
                  <a:pt x="336" y="462"/>
                </a:lnTo>
                <a:lnTo>
                  <a:pt x="343" y="462"/>
                </a:lnTo>
                <a:lnTo>
                  <a:pt x="348" y="463"/>
                </a:lnTo>
                <a:lnTo>
                  <a:pt x="346" y="465"/>
                </a:lnTo>
                <a:lnTo>
                  <a:pt x="343" y="467"/>
                </a:lnTo>
                <a:lnTo>
                  <a:pt x="350" y="467"/>
                </a:lnTo>
                <a:lnTo>
                  <a:pt x="356" y="466"/>
                </a:lnTo>
                <a:lnTo>
                  <a:pt x="359" y="467"/>
                </a:lnTo>
                <a:lnTo>
                  <a:pt x="360" y="466"/>
                </a:lnTo>
                <a:lnTo>
                  <a:pt x="360" y="464"/>
                </a:lnTo>
                <a:lnTo>
                  <a:pt x="357" y="464"/>
                </a:lnTo>
                <a:lnTo>
                  <a:pt x="357" y="464"/>
                </a:lnTo>
                <a:lnTo>
                  <a:pt x="357" y="464"/>
                </a:lnTo>
                <a:close/>
                <a:moveTo>
                  <a:pt x="516" y="210"/>
                </a:moveTo>
                <a:lnTo>
                  <a:pt x="519" y="211"/>
                </a:lnTo>
                <a:lnTo>
                  <a:pt x="524" y="214"/>
                </a:lnTo>
                <a:lnTo>
                  <a:pt x="527" y="218"/>
                </a:lnTo>
                <a:lnTo>
                  <a:pt x="532" y="221"/>
                </a:lnTo>
                <a:lnTo>
                  <a:pt x="530" y="217"/>
                </a:lnTo>
                <a:lnTo>
                  <a:pt x="527" y="214"/>
                </a:lnTo>
                <a:lnTo>
                  <a:pt x="530" y="213"/>
                </a:lnTo>
                <a:lnTo>
                  <a:pt x="532" y="209"/>
                </a:lnTo>
                <a:lnTo>
                  <a:pt x="526" y="208"/>
                </a:lnTo>
                <a:lnTo>
                  <a:pt x="520" y="205"/>
                </a:lnTo>
                <a:lnTo>
                  <a:pt x="519" y="205"/>
                </a:lnTo>
                <a:lnTo>
                  <a:pt x="519" y="203"/>
                </a:lnTo>
                <a:lnTo>
                  <a:pt x="517" y="203"/>
                </a:lnTo>
                <a:lnTo>
                  <a:pt x="515" y="203"/>
                </a:lnTo>
                <a:lnTo>
                  <a:pt x="511" y="201"/>
                </a:lnTo>
                <a:lnTo>
                  <a:pt x="508" y="198"/>
                </a:lnTo>
                <a:lnTo>
                  <a:pt x="507" y="202"/>
                </a:lnTo>
                <a:lnTo>
                  <a:pt x="505" y="206"/>
                </a:lnTo>
                <a:lnTo>
                  <a:pt x="504" y="206"/>
                </a:lnTo>
                <a:lnTo>
                  <a:pt x="503" y="206"/>
                </a:lnTo>
                <a:lnTo>
                  <a:pt x="502" y="207"/>
                </a:lnTo>
                <a:lnTo>
                  <a:pt x="503" y="208"/>
                </a:lnTo>
                <a:lnTo>
                  <a:pt x="507" y="208"/>
                </a:lnTo>
                <a:lnTo>
                  <a:pt x="510" y="207"/>
                </a:lnTo>
                <a:lnTo>
                  <a:pt x="511" y="207"/>
                </a:lnTo>
                <a:lnTo>
                  <a:pt x="512" y="207"/>
                </a:lnTo>
                <a:lnTo>
                  <a:pt x="515" y="208"/>
                </a:lnTo>
                <a:lnTo>
                  <a:pt x="516" y="210"/>
                </a:lnTo>
                <a:lnTo>
                  <a:pt x="515" y="209"/>
                </a:lnTo>
                <a:lnTo>
                  <a:pt x="516" y="210"/>
                </a:lnTo>
                <a:close/>
                <a:moveTo>
                  <a:pt x="293" y="156"/>
                </a:moveTo>
                <a:lnTo>
                  <a:pt x="295" y="157"/>
                </a:lnTo>
                <a:lnTo>
                  <a:pt x="295" y="158"/>
                </a:lnTo>
                <a:lnTo>
                  <a:pt x="295" y="159"/>
                </a:lnTo>
                <a:lnTo>
                  <a:pt x="296" y="160"/>
                </a:lnTo>
                <a:lnTo>
                  <a:pt x="303" y="164"/>
                </a:lnTo>
                <a:lnTo>
                  <a:pt x="310" y="166"/>
                </a:lnTo>
                <a:lnTo>
                  <a:pt x="312" y="167"/>
                </a:lnTo>
                <a:lnTo>
                  <a:pt x="315" y="167"/>
                </a:lnTo>
                <a:lnTo>
                  <a:pt x="318" y="168"/>
                </a:lnTo>
                <a:lnTo>
                  <a:pt x="319" y="167"/>
                </a:lnTo>
                <a:lnTo>
                  <a:pt x="319" y="167"/>
                </a:lnTo>
                <a:lnTo>
                  <a:pt x="319" y="165"/>
                </a:lnTo>
                <a:lnTo>
                  <a:pt x="315" y="161"/>
                </a:lnTo>
                <a:lnTo>
                  <a:pt x="312" y="159"/>
                </a:lnTo>
                <a:lnTo>
                  <a:pt x="306" y="159"/>
                </a:lnTo>
                <a:lnTo>
                  <a:pt x="303" y="158"/>
                </a:lnTo>
                <a:lnTo>
                  <a:pt x="304" y="157"/>
                </a:lnTo>
                <a:lnTo>
                  <a:pt x="306" y="156"/>
                </a:lnTo>
                <a:lnTo>
                  <a:pt x="307" y="156"/>
                </a:lnTo>
                <a:lnTo>
                  <a:pt x="307" y="153"/>
                </a:lnTo>
                <a:lnTo>
                  <a:pt x="306" y="150"/>
                </a:lnTo>
                <a:lnTo>
                  <a:pt x="303" y="149"/>
                </a:lnTo>
                <a:lnTo>
                  <a:pt x="301" y="148"/>
                </a:lnTo>
                <a:lnTo>
                  <a:pt x="297" y="148"/>
                </a:lnTo>
                <a:lnTo>
                  <a:pt x="295" y="148"/>
                </a:lnTo>
                <a:lnTo>
                  <a:pt x="293" y="150"/>
                </a:lnTo>
                <a:lnTo>
                  <a:pt x="291" y="152"/>
                </a:lnTo>
                <a:lnTo>
                  <a:pt x="293" y="156"/>
                </a:lnTo>
                <a:lnTo>
                  <a:pt x="293" y="155"/>
                </a:lnTo>
                <a:lnTo>
                  <a:pt x="293" y="156"/>
                </a:lnTo>
                <a:close/>
                <a:moveTo>
                  <a:pt x="468" y="317"/>
                </a:moveTo>
                <a:lnTo>
                  <a:pt x="471" y="319"/>
                </a:lnTo>
                <a:lnTo>
                  <a:pt x="476" y="323"/>
                </a:lnTo>
                <a:lnTo>
                  <a:pt x="480" y="324"/>
                </a:lnTo>
                <a:lnTo>
                  <a:pt x="486" y="324"/>
                </a:lnTo>
                <a:lnTo>
                  <a:pt x="480" y="321"/>
                </a:lnTo>
                <a:lnTo>
                  <a:pt x="475" y="317"/>
                </a:lnTo>
                <a:lnTo>
                  <a:pt x="469" y="316"/>
                </a:lnTo>
                <a:lnTo>
                  <a:pt x="463" y="315"/>
                </a:lnTo>
                <a:lnTo>
                  <a:pt x="461" y="314"/>
                </a:lnTo>
                <a:lnTo>
                  <a:pt x="460" y="311"/>
                </a:lnTo>
                <a:lnTo>
                  <a:pt x="459" y="310"/>
                </a:lnTo>
                <a:lnTo>
                  <a:pt x="456" y="310"/>
                </a:lnTo>
                <a:lnTo>
                  <a:pt x="455" y="310"/>
                </a:lnTo>
                <a:lnTo>
                  <a:pt x="453" y="310"/>
                </a:lnTo>
                <a:lnTo>
                  <a:pt x="453" y="308"/>
                </a:lnTo>
                <a:lnTo>
                  <a:pt x="452" y="306"/>
                </a:lnTo>
                <a:lnTo>
                  <a:pt x="449" y="305"/>
                </a:lnTo>
                <a:lnTo>
                  <a:pt x="444" y="306"/>
                </a:lnTo>
                <a:lnTo>
                  <a:pt x="443" y="307"/>
                </a:lnTo>
                <a:lnTo>
                  <a:pt x="443" y="307"/>
                </a:lnTo>
                <a:lnTo>
                  <a:pt x="444" y="308"/>
                </a:lnTo>
                <a:lnTo>
                  <a:pt x="446" y="309"/>
                </a:lnTo>
                <a:lnTo>
                  <a:pt x="451" y="313"/>
                </a:lnTo>
                <a:lnTo>
                  <a:pt x="456" y="315"/>
                </a:lnTo>
                <a:lnTo>
                  <a:pt x="462" y="317"/>
                </a:lnTo>
                <a:lnTo>
                  <a:pt x="468" y="317"/>
                </a:lnTo>
                <a:lnTo>
                  <a:pt x="464" y="317"/>
                </a:lnTo>
                <a:lnTo>
                  <a:pt x="468" y="317"/>
                </a:lnTo>
                <a:close/>
                <a:moveTo>
                  <a:pt x="1003" y="227"/>
                </a:moveTo>
                <a:lnTo>
                  <a:pt x="997" y="226"/>
                </a:lnTo>
                <a:lnTo>
                  <a:pt x="991" y="224"/>
                </a:lnTo>
                <a:lnTo>
                  <a:pt x="989" y="223"/>
                </a:lnTo>
                <a:lnTo>
                  <a:pt x="987" y="223"/>
                </a:lnTo>
                <a:lnTo>
                  <a:pt x="983" y="222"/>
                </a:lnTo>
                <a:lnTo>
                  <a:pt x="981" y="219"/>
                </a:lnTo>
                <a:lnTo>
                  <a:pt x="970" y="219"/>
                </a:lnTo>
                <a:lnTo>
                  <a:pt x="957" y="217"/>
                </a:lnTo>
                <a:lnTo>
                  <a:pt x="969" y="222"/>
                </a:lnTo>
                <a:lnTo>
                  <a:pt x="979" y="225"/>
                </a:lnTo>
                <a:lnTo>
                  <a:pt x="986" y="227"/>
                </a:lnTo>
                <a:lnTo>
                  <a:pt x="990" y="227"/>
                </a:lnTo>
                <a:lnTo>
                  <a:pt x="996" y="228"/>
                </a:lnTo>
                <a:lnTo>
                  <a:pt x="1003" y="227"/>
                </a:lnTo>
                <a:lnTo>
                  <a:pt x="1005" y="227"/>
                </a:lnTo>
                <a:lnTo>
                  <a:pt x="1007" y="226"/>
                </a:lnTo>
                <a:lnTo>
                  <a:pt x="1005" y="227"/>
                </a:lnTo>
                <a:lnTo>
                  <a:pt x="1003" y="227"/>
                </a:lnTo>
                <a:close/>
                <a:moveTo>
                  <a:pt x="1003" y="227"/>
                </a:moveTo>
                <a:lnTo>
                  <a:pt x="998" y="227"/>
                </a:lnTo>
                <a:lnTo>
                  <a:pt x="1003" y="227"/>
                </a:lnTo>
                <a:close/>
                <a:moveTo>
                  <a:pt x="345" y="267"/>
                </a:moveTo>
                <a:lnTo>
                  <a:pt x="339" y="266"/>
                </a:lnTo>
                <a:lnTo>
                  <a:pt x="335" y="265"/>
                </a:lnTo>
                <a:lnTo>
                  <a:pt x="330" y="261"/>
                </a:lnTo>
                <a:lnTo>
                  <a:pt x="326" y="259"/>
                </a:lnTo>
                <a:lnTo>
                  <a:pt x="322" y="256"/>
                </a:lnTo>
                <a:lnTo>
                  <a:pt x="318" y="255"/>
                </a:lnTo>
                <a:lnTo>
                  <a:pt x="312" y="254"/>
                </a:lnTo>
                <a:lnTo>
                  <a:pt x="307" y="254"/>
                </a:lnTo>
                <a:lnTo>
                  <a:pt x="317" y="258"/>
                </a:lnTo>
                <a:lnTo>
                  <a:pt x="327" y="263"/>
                </a:lnTo>
                <a:lnTo>
                  <a:pt x="337" y="267"/>
                </a:lnTo>
                <a:lnTo>
                  <a:pt x="347" y="273"/>
                </a:lnTo>
                <a:lnTo>
                  <a:pt x="350" y="275"/>
                </a:lnTo>
                <a:lnTo>
                  <a:pt x="353" y="277"/>
                </a:lnTo>
                <a:lnTo>
                  <a:pt x="355" y="279"/>
                </a:lnTo>
                <a:lnTo>
                  <a:pt x="357" y="279"/>
                </a:lnTo>
                <a:lnTo>
                  <a:pt x="359" y="279"/>
                </a:lnTo>
                <a:lnTo>
                  <a:pt x="360" y="277"/>
                </a:lnTo>
                <a:lnTo>
                  <a:pt x="361" y="276"/>
                </a:lnTo>
                <a:lnTo>
                  <a:pt x="360" y="274"/>
                </a:lnTo>
                <a:lnTo>
                  <a:pt x="357" y="273"/>
                </a:lnTo>
                <a:lnTo>
                  <a:pt x="354" y="271"/>
                </a:lnTo>
                <a:lnTo>
                  <a:pt x="348" y="268"/>
                </a:lnTo>
                <a:lnTo>
                  <a:pt x="345" y="267"/>
                </a:lnTo>
                <a:lnTo>
                  <a:pt x="343" y="267"/>
                </a:lnTo>
                <a:lnTo>
                  <a:pt x="345" y="267"/>
                </a:lnTo>
                <a:close/>
                <a:moveTo>
                  <a:pt x="353" y="181"/>
                </a:moveTo>
                <a:lnTo>
                  <a:pt x="352" y="180"/>
                </a:lnTo>
                <a:lnTo>
                  <a:pt x="350" y="181"/>
                </a:lnTo>
                <a:lnTo>
                  <a:pt x="350" y="182"/>
                </a:lnTo>
                <a:lnTo>
                  <a:pt x="350" y="183"/>
                </a:lnTo>
                <a:lnTo>
                  <a:pt x="352" y="185"/>
                </a:lnTo>
                <a:lnTo>
                  <a:pt x="354" y="185"/>
                </a:lnTo>
                <a:lnTo>
                  <a:pt x="357" y="185"/>
                </a:lnTo>
                <a:lnTo>
                  <a:pt x="359" y="188"/>
                </a:lnTo>
                <a:lnTo>
                  <a:pt x="362" y="189"/>
                </a:lnTo>
                <a:lnTo>
                  <a:pt x="365" y="191"/>
                </a:lnTo>
                <a:lnTo>
                  <a:pt x="372" y="193"/>
                </a:lnTo>
                <a:lnTo>
                  <a:pt x="379" y="197"/>
                </a:lnTo>
                <a:lnTo>
                  <a:pt x="383" y="199"/>
                </a:lnTo>
                <a:lnTo>
                  <a:pt x="385" y="200"/>
                </a:lnTo>
                <a:lnTo>
                  <a:pt x="388" y="200"/>
                </a:lnTo>
                <a:lnTo>
                  <a:pt x="393" y="200"/>
                </a:lnTo>
                <a:lnTo>
                  <a:pt x="389" y="197"/>
                </a:lnTo>
                <a:lnTo>
                  <a:pt x="385" y="194"/>
                </a:lnTo>
                <a:lnTo>
                  <a:pt x="379" y="192"/>
                </a:lnTo>
                <a:lnTo>
                  <a:pt x="373" y="191"/>
                </a:lnTo>
                <a:lnTo>
                  <a:pt x="369" y="189"/>
                </a:lnTo>
                <a:lnTo>
                  <a:pt x="365" y="185"/>
                </a:lnTo>
                <a:lnTo>
                  <a:pt x="362" y="182"/>
                </a:lnTo>
                <a:lnTo>
                  <a:pt x="361" y="177"/>
                </a:lnTo>
                <a:lnTo>
                  <a:pt x="357" y="180"/>
                </a:lnTo>
                <a:lnTo>
                  <a:pt x="353" y="181"/>
                </a:lnTo>
                <a:lnTo>
                  <a:pt x="354" y="181"/>
                </a:lnTo>
                <a:lnTo>
                  <a:pt x="353" y="181"/>
                </a:lnTo>
                <a:close/>
                <a:moveTo>
                  <a:pt x="1564" y="327"/>
                </a:moveTo>
                <a:lnTo>
                  <a:pt x="1560" y="325"/>
                </a:lnTo>
                <a:lnTo>
                  <a:pt x="1557" y="324"/>
                </a:lnTo>
                <a:lnTo>
                  <a:pt x="1554" y="323"/>
                </a:lnTo>
                <a:lnTo>
                  <a:pt x="1550" y="323"/>
                </a:lnTo>
                <a:lnTo>
                  <a:pt x="1548" y="325"/>
                </a:lnTo>
                <a:lnTo>
                  <a:pt x="1548" y="327"/>
                </a:lnTo>
                <a:lnTo>
                  <a:pt x="1548" y="330"/>
                </a:lnTo>
                <a:lnTo>
                  <a:pt x="1549" y="332"/>
                </a:lnTo>
                <a:lnTo>
                  <a:pt x="1549" y="335"/>
                </a:lnTo>
                <a:lnTo>
                  <a:pt x="1549" y="338"/>
                </a:lnTo>
                <a:lnTo>
                  <a:pt x="1548" y="340"/>
                </a:lnTo>
                <a:lnTo>
                  <a:pt x="1546" y="341"/>
                </a:lnTo>
                <a:lnTo>
                  <a:pt x="1543" y="342"/>
                </a:lnTo>
                <a:lnTo>
                  <a:pt x="1540" y="342"/>
                </a:lnTo>
                <a:lnTo>
                  <a:pt x="1539" y="343"/>
                </a:lnTo>
                <a:lnTo>
                  <a:pt x="1538" y="344"/>
                </a:lnTo>
                <a:lnTo>
                  <a:pt x="1537" y="346"/>
                </a:lnTo>
                <a:lnTo>
                  <a:pt x="1538" y="347"/>
                </a:lnTo>
                <a:lnTo>
                  <a:pt x="1543" y="344"/>
                </a:lnTo>
                <a:lnTo>
                  <a:pt x="1549" y="341"/>
                </a:lnTo>
                <a:lnTo>
                  <a:pt x="1555" y="339"/>
                </a:lnTo>
                <a:lnTo>
                  <a:pt x="1559" y="335"/>
                </a:lnTo>
                <a:lnTo>
                  <a:pt x="1560" y="333"/>
                </a:lnTo>
                <a:lnTo>
                  <a:pt x="1562" y="331"/>
                </a:lnTo>
                <a:lnTo>
                  <a:pt x="1564" y="329"/>
                </a:lnTo>
                <a:lnTo>
                  <a:pt x="1564" y="327"/>
                </a:lnTo>
                <a:lnTo>
                  <a:pt x="1564" y="327"/>
                </a:lnTo>
                <a:lnTo>
                  <a:pt x="1564" y="327"/>
                </a:lnTo>
                <a:close/>
                <a:moveTo>
                  <a:pt x="633" y="611"/>
                </a:moveTo>
                <a:lnTo>
                  <a:pt x="628" y="608"/>
                </a:lnTo>
                <a:lnTo>
                  <a:pt x="624" y="607"/>
                </a:lnTo>
                <a:lnTo>
                  <a:pt x="619" y="608"/>
                </a:lnTo>
                <a:lnTo>
                  <a:pt x="615" y="607"/>
                </a:lnTo>
                <a:lnTo>
                  <a:pt x="611" y="606"/>
                </a:lnTo>
                <a:lnTo>
                  <a:pt x="607" y="604"/>
                </a:lnTo>
                <a:lnTo>
                  <a:pt x="603" y="604"/>
                </a:lnTo>
                <a:lnTo>
                  <a:pt x="599" y="605"/>
                </a:lnTo>
                <a:lnTo>
                  <a:pt x="604" y="606"/>
                </a:lnTo>
                <a:lnTo>
                  <a:pt x="610" y="607"/>
                </a:lnTo>
                <a:lnTo>
                  <a:pt x="611" y="608"/>
                </a:lnTo>
                <a:lnTo>
                  <a:pt x="612" y="611"/>
                </a:lnTo>
                <a:lnTo>
                  <a:pt x="612" y="613"/>
                </a:lnTo>
                <a:lnTo>
                  <a:pt x="611" y="615"/>
                </a:lnTo>
                <a:lnTo>
                  <a:pt x="616" y="615"/>
                </a:lnTo>
                <a:lnTo>
                  <a:pt x="620" y="616"/>
                </a:lnTo>
                <a:lnTo>
                  <a:pt x="623" y="617"/>
                </a:lnTo>
                <a:lnTo>
                  <a:pt x="625" y="616"/>
                </a:lnTo>
                <a:lnTo>
                  <a:pt x="626" y="615"/>
                </a:lnTo>
                <a:lnTo>
                  <a:pt x="628" y="613"/>
                </a:lnTo>
                <a:lnTo>
                  <a:pt x="629" y="616"/>
                </a:lnTo>
                <a:lnTo>
                  <a:pt x="632" y="618"/>
                </a:lnTo>
                <a:lnTo>
                  <a:pt x="634" y="618"/>
                </a:lnTo>
                <a:lnTo>
                  <a:pt x="636" y="616"/>
                </a:lnTo>
                <a:lnTo>
                  <a:pt x="635" y="613"/>
                </a:lnTo>
                <a:lnTo>
                  <a:pt x="633" y="611"/>
                </a:lnTo>
                <a:lnTo>
                  <a:pt x="632" y="611"/>
                </a:lnTo>
                <a:lnTo>
                  <a:pt x="633" y="611"/>
                </a:lnTo>
                <a:close/>
                <a:moveTo>
                  <a:pt x="780" y="639"/>
                </a:moveTo>
                <a:lnTo>
                  <a:pt x="784" y="636"/>
                </a:lnTo>
                <a:lnTo>
                  <a:pt x="789" y="630"/>
                </a:lnTo>
                <a:lnTo>
                  <a:pt x="784" y="632"/>
                </a:lnTo>
                <a:lnTo>
                  <a:pt x="780" y="633"/>
                </a:lnTo>
                <a:lnTo>
                  <a:pt x="777" y="637"/>
                </a:lnTo>
                <a:lnTo>
                  <a:pt x="773" y="639"/>
                </a:lnTo>
                <a:lnTo>
                  <a:pt x="769" y="639"/>
                </a:lnTo>
                <a:lnTo>
                  <a:pt x="766" y="639"/>
                </a:lnTo>
                <a:lnTo>
                  <a:pt x="765" y="639"/>
                </a:lnTo>
                <a:lnTo>
                  <a:pt x="765" y="640"/>
                </a:lnTo>
                <a:lnTo>
                  <a:pt x="765" y="642"/>
                </a:lnTo>
                <a:lnTo>
                  <a:pt x="765" y="645"/>
                </a:lnTo>
                <a:lnTo>
                  <a:pt x="765" y="642"/>
                </a:lnTo>
                <a:lnTo>
                  <a:pt x="766" y="641"/>
                </a:lnTo>
                <a:lnTo>
                  <a:pt x="768" y="640"/>
                </a:lnTo>
                <a:lnTo>
                  <a:pt x="769" y="640"/>
                </a:lnTo>
                <a:lnTo>
                  <a:pt x="772" y="641"/>
                </a:lnTo>
                <a:lnTo>
                  <a:pt x="773" y="642"/>
                </a:lnTo>
                <a:lnTo>
                  <a:pt x="773" y="643"/>
                </a:lnTo>
                <a:lnTo>
                  <a:pt x="773" y="646"/>
                </a:lnTo>
                <a:lnTo>
                  <a:pt x="775" y="643"/>
                </a:lnTo>
                <a:lnTo>
                  <a:pt x="776" y="642"/>
                </a:lnTo>
                <a:lnTo>
                  <a:pt x="779" y="642"/>
                </a:lnTo>
                <a:lnTo>
                  <a:pt x="782" y="642"/>
                </a:lnTo>
                <a:lnTo>
                  <a:pt x="788" y="643"/>
                </a:lnTo>
                <a:lnTo>
                  <a:pt x="792" y="645"/>
                </a:lnTo>
                <a:lnTo>
                  <a:pt x="799" y="645"/>
                </a:lnTo>
                <a:lnTo>
                  <a:pt x="806" y="646"/>
                </a:lnTo>
                <a:lnTo>
                  <a:pt x="812" y="643"/>
                </a:lnTo>
                <a:lnTo>
                  <a:pt x="817" y="640"/>
                </a:lnTo>
                <a:lnTo>
                  <a:pt x="807" y="641"/>
                </a:lnTo>
                <a:lnTo>
                  <a:pt x="798" y="641"/>
                </a:lnTo>
                <a:lnTo>
                  <a:pt x="789" y="640"/>
                </a:lnTo>
                <a:lnTo>
                  <a:pt x="780" y="639"/>
                </a:lnTo>
                <a:lnTo>
                  <a:pt x="784" y="638"/>
                </a:lnTo>
                <a:lnTo>
                  <a:pt x="780" y="639"/>
                </a:lnTo>
                <a:close/>
                <a:moveTo>
                  <a:pt x="672" y="607"/>
                </a:moveTo>
                <a:lnTo>
                  <a:pt x="676" y="608"/>
                </a:lnTo>
                <a:lnTo>
                  <a:pt x="682" y="608"/>
                </a:lnTo>
                <a:lnTo>
                  <a:pt x="688" y="607"/>
                </a:lnTo>
                <a:lnTo>
                  <a:pt x="692" y="605"/>
                </a:lnTo>
                <a:lnTo>
                  <a:pt x="692" y="604"/>
                </a:lnTo>
                <a:lnTo>
                  <a:pt x="692" y="603"/>
                </a:lnTo>
                <a:lnTo>
                  <a:pt x="691" y="603"/>
                </a:lnTo>
                <a:lnTo>
                  <a:pt x="689" y="603"/>
                </a:lnTo>
                <a:lnTo>
                  <a:pt x="684" y="603"/>
                </a:lnTo>
                <a:lnTo>
                  <a:pt x="681" y="604"/>
                </a:lnTo>
                <a:lnTo>
                  <a:pt x="675" y="603"/>
                </a:lnTo>
                <a:lnTo>
                  <a:pt x="670" y="601"/>
                </a:lnTo>
                <a:lnTo>
                  <a:pt x="668" y="603"/>
                </a:lnTo>
                <a:lnTo>
                  <a:pt x="666" y="605"/>
                </a:lnTo>
                <a:lnTo>
                  <a:pt x="659" y="606"/>
                </a:lnTo>
                <a:lnTo>
                  <a:pt x="652" y="606"/>
                </a:lnTo>
                <a:lnTo>
                  <a:pt x="656" y="609"/>
                </a:lnTo>
                <a:lnTo>
                  <a:pt x="660" y="613"/>
                </a:lnTo>
                <a:lnTo>
                  <a:pt x="655" y="614"/>
                </a:lnTo>
                <a:lnTo>
                  <a:pt x="649" y="614"/>
                </a:lnTo>
                <a:lnTo>
                  <a:pt x="645" y="613"/>
                </a:lnTo>
                <a:lnTo>
                  <a:pt x="642" y="613"/>
                </a:lnTo>
                <a:lnTo>
                  <a:pt x="640" y="615"/>
                </a:lnTo>
                <a:lnTo>
                  <a:pt x="640" y="616"/>
                </a:lnTo>
                <a:lnTo>
                  <a:pt x="641" y="616"/>
                </a:lnTo>
                <a:lnTo>
                  <a:pt x="643" y="617"/>
                </a:lnTo>
                <a:lnTo>
                  <a:pt x="649" y="617"/>
                </a:lnTo>
                <a:lnTo>
                  <a:pt x="652" y="617"/>
                </a:lnTo>
                <a:lnTo>
                  <a:pt x="656" y="617"/>
                </a:lnTo>
                <a:lnTo>
                  <a:pt x="660" y="617"/>
                </a:lnTo>
                <a:lnTo>
                  <a:pt x="665" y="616"/>
                </a:lnTo>
                <a:lnTo>
                  <a:pt x="667" y="613"/>
                </a:lnTo>
                <a:lnTo>
                  <a:pt x="668" y="611"/>
                </a:lnTo>
                <a:lnTo>
                  <a:pt x="667" y="609"/>
                </a:lnTo>
                <a:lnTo>
                  <a:pt x="668" y="608"/>
                </a:lnTo>
                <a:lnTo>
                  <a:pt x="672" y="607"/>
                </a:lnTo>
                <a:lnTo>
                  <a:pt x="672" y="607"/>
                </a:lnTo>
                <a:lnTo>
                  <a:pt x="672" y="607"/>
                </a:lnTo>
                <a:close/>
                <a:moveTo>
                  <a:pt x="293" y="125"/>
                </a:moveTo>
                <a:lnTo>
                  <a:pt x="305" y="128"/>
                </a:lnTo>
                <a:lnTo>
                  <a:pt x="319" y="134"/>
                </a:lnTo>
                <a:lnTo>
                  <a:pt x="323" y="135"/>
                </a:lnTo>
                <a:lnTo>
                  <a:pt x="327" y="139"/>
                </a:lnTo>
                <a:lnTo>
                  <a:pt x="330" y="141"/>
                </a:lnTo>
                <a:lnTo>
                  <a:pt x="332" y="141"/>
                </a:lnTo>
                <a:lnTo>
                  <a:pt x="336" y="142"/>
                </a:lnTo>
                <a:lnTo>
                  <a:pt x="338" y="142"/>
                </a:lnTo>
                <a:lnTo>
                  <a:pt x="336" y="136"/>
                </a:lnTo>
                <a:lnTo>
                  <a:pt x="331" y="132"/>
                </a:lnTo>
                <a:lnTo>
                  <a:pt x="327" y="127"/>
                </a:lnTo>
                <a:lnTo>
                  <a:pt x="322" y="125"/>
                </a:lnTo>
                <a:lnTo>
                  <a:pt x="319" y="126"/>
                </a:lnTo>
                <a:lnTo>
                  <a:pt x="317" y="126"/>
                </a:lnTo>
                <a:lnTo>
                  <a:pt x="314" y="124"/>
                </a:lnTo>
                <a:lnTo>
                  <a:pt x="311" y="122"/>
                </a:lnTo>
                <a:lnTo>
                  <a:pt x="304" y="119"/>
                </a:lnTo>
                <a:lnTo>
                  <a:pt x="298" y="117"/>
                </a:lnTo>
                <a:lnTo>
                  <a:pt x="296" y="119"/>
                </a:lnTo>
                <a:lnTo>
                  <a:pt x="296" y="122"/>
                </a:lnTo>
                <a:lnTo>
                  <a:pt x="294" y="123"/>
                </a:lnTo>
                <a:lnTo>
                  <a:pt x="291" y="122"/>
                </a:lnTo>
                <a:lnTo>
                  <a:pt x="286" y="119"/>
                </a:lnTo>
                <a:lnTo>
                  <a:pt x="280" y="118"/>
                </a:lnTo>
                <a:lnTo>
                  <a:pt x="282" y="122"/>
                </a:lnTo>
                <a:lnTo>
                  <a:pt x="286" y="123"/>
                </a:lnTo>
                <a:lnTo>
                  <a:pt x="288" y="124"/>
                </a:lnTo>
                <a:lnTo>
                  <a:pt x="293" y="125"/>
                </a:lnTo>
                <a:lnTo>
                  <a:pt x="294" y="125"/>
                </a:lnTo>
                <a:lnTo>
                  <a:pt x="293" y="125"/>
                </a:lnTo>
                <a:close/>
                <a:moveTo>
                  <a:pt x="311" y="125"/>
                </a:moveTo>
                <a:lnTo>
                  <a:pt x="307" y="126"/>
                </a:lnTo>
                <a:lnTo>
                  <a:pt x="305" y="125"/>
                </a:lnTo>
                <a:lnTo>
                  <a:pt x="304" y="124"/>
                </a:lnTo>
                <a:lnTo>
                  <a:pt x="302" y="123"/>
                </a:lnTo>
                <a:lnTo>
                  <a:pt x="304" y="123"/>
                </a:lnTo>
                <a:lnTo>
                  <a:pt x="306" y="123"/>
                </a:lnTo>
                <a:lnTo>
                  <a:pt x="309" y="124"/>
                </a:lnTo>
                <a:lnTo>
                  <a:pt x="311" y="125"/>
                </a:lnTo>
                <a:close/>
                <a:moveTo>
                  <a:pt x="411" y="313"/>
                </a:moveTo>
                <a:lnTo>
                  <a:pt x="406" y="313"/>
                </a:lnTo>
                <a:lnTo>
                  <a:pt x="403" y="311"/>
                </a:lnTo>
                <a:lnTo>
                  <a:pt x="400" y="310"/>
                </a:lnTo>
                <a:lnTo>
                  <a:pt x="396" y="309"/>
                </a:lnTo>
                <a:lnTo>
                  <a:pt x="393" y="309"/>
                </a:lnTo>
                <a:lnTo>
                  <a:pt x="390" y="309"/>
                </a:lnTo>
                <a:lnTo>
                  <a:pt x="387" y="310"/>
                </a:lnTo>
                <a:lnTo>
                  <a:pt x="384" y="309"/>
                </a:lnTo>
                <a:lnTo>
                  <a:pt x="392" y="315"/>
                </a:lnTo>
                <a:lnTo>
                  <a:pt x="401" y="319"/>
                </a:lnTo>
                <a:lnTo>
                  <a:pt x="409" y="324"/>
                </a:lnTo>
                <a:lnTo>
                  <a:pt x="419" y="329"/>
                </a:lnTo>
                <a:lnTo>
                  <a:pt x="427" y="333"/>
                </a:lnTo>
                <a:lnTo>
                  <a:pt x="436" y="334"/>
                </a:lnTo>
                <a:lnTo>
                  <a:pt x="437" y="333"/>
                </a:lnTo>
                <a:lnTo>
                  <a:pt x="438" y="331"/>
                </a:lnTo>
                <a:lnTo>
                  <a:pt x="441" y="331"/>
                </a:lnTo>
                <a:lnTo>
                  <a:pt x="443" y="330"/>
                </a:lnTo>
                <a:lnTo>
                  <a:pt x="439" y="327"/>
                </a:lnTo>
                <a:lnTo>
                  <a:pt x="435" y="326"/>
                </a:lnTo>
                <a:lnTo>
                  <a:pt x="428" y="325"/>
                </a:lnTo>
                <a:lnTo>
                  <a:pt x="422" y="324"/>
                </a:lnTo>
                <a:lnTo>
                  <a:pt x="417" y="323"/>
                </a:lnTo>
                <a:lnTo>
                  <a:pt x="413" y="323"/>
                </a:lnTo>
                <a:lnTo>
                  <a:pt x="412" y="322"/>
                </a:lnTo>
                <a:lnTo>
                  <a:pt x="411" y="321"/>
                </a:lnTo>
                <a:lnTo>
                  <a:pt x="410" y="318"/>
                </a:lnTo>
                <a:lnTo>
                  <a:pt x="410" y="316"/>
                </a:lnTo>
                <a:lnTo>
                  <a:pt x="417" y="316"/>
                </a:lnTo>
                <a:lnTo>
                  <a:pt x="422" y="315"/>
                </a:lnTo>
                <a:lnTo>
                  <a:pt x="420" y="314"/>
                </a:lnTo>
                <a:lnTo>
                  <a:pt x="417" y="313"/>
                </a:lnTo>
                <a:lnTo>
                  <a:pt x="414" y="311"/>
                </a:lnTo>
                <a:lnTo>
                  <a:pt x="411" y="313"/>
                </a:lnTo>
                <a:lnTo>
                  <a:pt x="410" y="313"/>
                </a:lnTo>
                <a:lnTo>
                  <a:pt x="411" y="313"/>
                </a:lnTo>
                <a:close/>
                <a:moveTo>
                  <a:pt x="982" y="211"/>
                </a:moveTo>
                <a:lnTo>
                  <a:pt x="985" y="213"/>
                </a:lnTo>
                <a:lnTo>
                  <a:pt x="985" y="211"/>
                </a:lnTo>
                <a:lnTo>
                  <a:pt x="986" y="209"/>
                </a:lnTo>
                <a:lnTo>
                  <a:pt x="986" y="208"/>
                </a:lnTo>
                <a:lnTo>
                  <a:pt x="988" y="208"/>
                </a:lnTo>
                <a:lnTo>
                  <a:pt x="991" y="208"/>
                </a:lnTo>
                <a:lnTo>
                  <a:pt x="996" y="209"/>
                </a:lnTo>
                <a:lnTo>
                  <a:pt x="999" y="208"/>
                </a:lnTo>
                <a:lnTo>
                  <a:pt x="1002" y="206"/>
                </a:lnTo>
                <a:lnTo>
                  <a:pt x="1005" y="206"/>
                </a:lnTo>
                <a:lnTo>
                  <a:pt x="1007" y="206"/>
                </a:lnTo>
                <a:lnTo>
                  <a:pt x="1011" y="207"/>
                </a:lnTo>
                <a:lnTo>
                  <a:pt x="1026" y="209"/>
                </a:lnTo>
                <a:lnTo>
                  <a:pt x="1041" y="210"/>
                </a:lnTo>
                <a:lnTo>
                  <a:pt x="1057" y="210"/>
                </a:lnTo>
                <a:lnTo>
                  <a:pt x="1073" y="210"/>
                </a:lnTo>
                <a:lnTo>
                  <a:pt x="1071" y="208"/>
                </a:lnTo>
                <a:lnTo>
                  <a:pt x="1069" y="206"/>
                </a:lnTo>
                <a:lnTo>
                  <a:pt x="1065" y="206"/>
                </a:lnTo>
                <a:lnTo>
                  <a:pt x="1063" y="205"/>
                </a:lnTo>
                <a:lnTo>
                  <a:pt x="1068" y="203"/>
                </a:lnTo>
                <a:lnTo>
                  <a:pt x="1071" y="199"/>
                </a:lnTo>
                <a:lnTo>
                  <a:pt x="1060" y="201"/>
                </a:lnTo>
                <a:lnTo>
                  <a:pt x="1048" y="202"/>
                </a:lnTo>
                <a:lnTo>
                  <a:pt x="1036" y="203"/>
                </a:lnTo>
                <a:lnTo>
                  <a:pt x="1024" y="203"/>
                </a:lnTo>
                <a:lnTo>
                  <a:pt x="1011" y="203"/>
                </a:lnTo>
                <a:lnTo>
                  <a:pt x="998" y="203"/>
                </a:lnTo>
                <a:lnTo>
                  <a:pt x="985" y="203"/>
                </a:lnTo>
                <a:lnTo>
                  <a:pt x="972" y="206"/>
                </a:lnTo>
                <a:lnTo>
                  <a:pt x="977" y="209"/>
                </a:lnTo>
                <a:lnTo>
                  <a:pt x="982" y="211"/>
                </a:lnTo>
                <a:lnTo>
                  <a:pt x="982" y="211"/>
                </a:lnTo>
                <a:lnTo>
                  <a:pt x="982" y="211"/>
                </a:lnTo>
                <a:close/>
                <a:moveTo>
                  <a:pt x="348" y="152"/>
                </a:moveTo>
                <a:lnTo>
                  <a:pt x="344" y="151"/>
                </a:lnTo>
                <a:lnTo>
                  <a:pt x="338" y="150"/>
                </a:lnTo>
                <a:lnTo>
                  <a:pt x="342" y="153"/>
                </a:lnTo>
                <a:lnTo>
                  <a:pt x="345" y="155"/>
                </a:lnTo>
                <a:lnTo>
                  <a:pt x="343" y="156"/>
                </a:lnTo>
                <a:lnTo>
                  <a:pt x="342" y="158"/>
                </a:lnTo>
                <a:lnTo>
                  <a:pt x="346" y="159"/>
                </a:lnTo>
                <a:lnTo>
                  <a:pt x="351" y="159"/>
                </a:lnTo>
                <a:lnTo>
                  <a:pt x="355" y="160"/>
                </a:lnTo>
                <a:lnTo>
                  <a:pt x="360" y="163"/>
                </a:lnTo>
                <a:lnTo>
                  <a:pt x="367" y="167"/>
                </a:lnTo>
                <a:lnTo>
                  <a:pt x="375" y="169"/>
                </a:lnTo>
                <a:lnTo>
                  <a:pt x="375" y="167"/>
                </a:lnTo>
                <a:lnTo>
                  <a:pt x="373" y="166"/>
                </a:lnTo>
                <a:lnTo>
                  <a:pt x="372" y="165"/>
                </a:lnTo>
                <a:lnTo>
                  <a:pt x="371" y="164"/>
                </a:lnTo>
                <a:lnTo>
                  <a:pt x="370" y="161"/>
                </a:lnTo>
                <a:lnTo>
                  <a:pt x="370" y="158"/>
                </a:lnTo>
                <a:lnTo>
                  <a:pt x="369" y="156"/>
                </a:lnTo>
                <a:lnTo>
                  <a:pt x="370" y="153"/>
                </a:lnTo>
                <a:lnTo>
                  <a:pt x="375" y="155"/>
                </a:lnTo>
                <a:lnTo>
                  <a:pt x="379" y="156"/>
                </a:lnTo>
                <a:lnTo>
                  <a:pt x="381" y="157"/>
                </a:lnTo>
                <a:lnTo>
                  <a:pt x="384" y="157"/>
                </a:lnTo>
                <a:lnTo>
                  <a:pt x="385" y="158"/>
                </a:lnTo>
                <a:lnTo>
                  <a:pt x="386" y="160"/>
                </a:lnTo>
                <a:lnTo>
                  <a:pt x="384" y="161"/>
                </a:lnTo>
                <a:lnTo>
                  <a:pt x="383" y="164"/>
                </a:lnTo>
                <a:lnTo>
                  <a:pt x="385" y="165"/>
                </a:lnTo>
                <a:lnTo>
                  <a:pt x="388" y="166"/>
                </a:lnTo>
                <a:lnTo>
                  <a:pt x="390" y="166"/>
                </a:lnTo>
                <a:lnTo>
                  <a:pt x="390" y="165"/>
                </a:lnTo>
                <a:lnTo>
                  <a:pt x="390" y="164"/>
                </a:lnTo>
                <a:lnTo>
                  <a:pt x="390" y="163"/>
                </a:lnTo>
                <a:lnTo>
                  <a:pt x="392" y="161"/>
                </a:lnTo>
                <a:lnTo>
                  <a:pt x="393" y="160"/>
                </a:lnTo>
                <a:lnTo>
                  <a:pt x="394" y="161"/>
                </a:lnTo>
                <a:lnTo>
                  <a:pt x="396" y="163"/>
                </a:lnTo>
                <a:lnTo>
                  <a:pt x="401" y="165"/>
                </a:lnTo>
                <a:lnTo>
                  <a:pt x="404" y="167"/>
                </a:lnTo>
                <a:lnTo>
                  <a:pt x="405" y="168"/>
                </a:lnTo>
                <a:lnTo>
                  <a:pt x="406" y="168"/>
                </a:lnTo>
                <a:lnTo>
                  <a:pt x="408" y="167"/>
                </a:lnTo>
                <a:lnTo>
                  <a:pt x="409" y="166"/>
                </a:lnTo>
                <a:lnTo>
                  <a:pt x="406" y="164"/>
                </a:lnTo>
                <a:lnTo>
                  <a:pt x="404" y="163"/>
                </a:lnTo>
                <a:lnTo>
                  <a:pt x="404" y="161"/>
                </a:lnTo>
                <a:lnTo>
                  <a:pt x="404" y="160"/>
                </a:lnTo>
                <a:lnTo>
                  <a:pt x="405" y="159"/>
                </a:lnTo>
                <a:lnTo>
                  <a:pt x="402" y="158"/>
                </a:lnTo>
                <a:lnTo>
                  <a:pt x="398" y="158"/>
                </a:lnTo>
                <a:lnTo>
                  <a:pt x="394" y="158"/>
                </a:lnTo>
                <a:lnTo>
                  <a:pt x="388" y="157"/>
                </a:lnTo>
                <a:lnTo>
                  <a:pt x="383" y="155"/>
                </a:lnTo>
                <a:lnTo>
                  <a:pt x="378" y="152"/>
                </a:lnTo>
                <a:lnTo>
                  <a:pt x="375" y="149"/>
                </a:lnTo>
                <a:lnTo>
                  <a:pt x="387" y="153"/>
                </a:lnTo>
                <a:lnTo>
                  <a:pt x="400" y="156"/>
                </a:lnTo>
                <a:lnTo>
                  <a:pt x="396" y="155"/>
                </a:lnTo>
                <a:lnTo>
                  <a:pt x="392" y="152"/>
                </a:lnTo>
                <a:lnTo>
                  <a:pt x="389" y="150"/>
                </a:lnTo>
                <a:lnTo>
                  <a:pt x="387" y="147"/>
                </a:lnTo>
                <a:lnTo>
                  <a:pt x="385" y="147"/>
                </a:lnTo>
                <a:lnTo>
                  <a:pt x="381" y="147"/>
                </a:lnTo>
                <a:lnTo>
                  <a:pt x="378" y="145"/>
                </a:lnTo>
                <a:lnTo>
                  <a:pt x="373" y="143"/>
                </a:lnTo>
                <a:lnTo>
                  <a:pt x="370" y="143"/>
                </a:lnTo>
                <a:lnTo>
                  <a:pt x="370" y="144"/>
                </a:lnTo>
                <a:lnTo>
                  <a:pt x="370" y="147"/>
                </a:lnTo>
                <a:lnTo>
                  <a:pt x="370" y="149"/>
                </a:lnTo>
                <a:lnTo>
                  <a:pt x="369" y="150"/>
                </a:lnTo>
                <a:lnTo>
                  <a:pt x="367" y="150"/>
                </a:lnTo>
                <a:lnTo>
                  <a:pt x="365" y="149"/>
                </a:lnTo>
                <a:lnTo>
                  <a:pt x="364" y="148"/>
                </a:lnTo>
                <a:lnTo>
                  <a:pt x="361" y="144"/>
                </a:lnTo>
                <a:lnTo>
                  <a:pt x="359" y="143"/>
                </a:lnTo>
                <a:lnTo>
                  <a:pt x="360" y="147"/>
                </a:lnTo>
                <a:lnTo>
                  <a:pt x="361" y="150"/>
                </a:lnTo>
                <a:lnTo>
                  <a:pt x="363" y="152"/>
                </a:lnTo>
                <a:lnTo>
                  <a:pt x="365" y="155"/>
                </a:lnTo>
                <a:lnTo>
                  <a:pt x="357" y="156"/>
                </a:lnTo>
                <a:lnTo>
                  <a:pt x="348" y="156"/>
                </a:lnTo>
                <a:lnTo>
                  <a:pt x="346" y="156"/>
                </a:lnTo>
                <a:lnTo>
                  <a:pt x="346" y="155"/>
                </a:lnTo>
                <a:lnTo>
                  <a:pt x="347" y="155"/>
                </a:lnTo>
                <a:lnTo>
                  <a:pt x="348" y="152"/>
                </a:lnTo>
                <a:lnTo>
                  <a:pt x="347" y="152"/>
                </a:lnTo>
                <a:lnTo>
                  <a:pt x="348" y="152"/>
                </a:lnTo>
                <a:close/>
                <a:moveTo>
                  <a:pt x="268" y="149"/>
                </a:moveTo>
                <a:lnTo>
                  <a:pt x="270" y="148"/>
                </a:lnTo>
                <a:lnTo>
                  <a:pt x="273" y="148"/>
                </a:lnTo>
                <a:lnTo>
                  <a:pt x="272" y="144"/>
                </a:lnTo>
                <a:lnTo>
                  <a:pt x="270" y="142"/>
                </a:lnTo>
                <a:lnTo>
                  <a:pt x="271" y="141"/>
                </a:lnTo>
                <a:lnTo>
                  <a:pt x="272" y="140"/>
                </a:lnTo>
                <a:lnTo>
                  <a:pt x="273" y="140"/>
                </a:lnTo>
                <a:lnTo>
                  <a:pt x="276" y="140"/>
                </a:lnTo>
                <a:lnTo>
                  <a:pt x="279" y="141"/>
                </a:lnTo>
                <a:lnTo>
                  <a:pt x="280" y="142"/>
                </a:lnTo>
                <a:lnTo>
                  <a:pt x="282" y="147"/>
                </a:lnTo>
                <a:lnTo>
                  <a:pt x="286" y="149"/>
                </a:lnTo>
                <a:lnTo>
                  <a:pt x="289" y="147"/>
                </a:lnTo>
                <a:lnTo>
                  <a:pt x="291" y="143"/>
                </a:lnTo>
                <a:lnTo>
                  <a:pt x="282" y="140"/>
                </a:lnTo>
                <a:lnTo>
                  <a:pt x="273" y="135"/>
                </a:lnTo>
                <a:lnTo>
                  <a:pt x="263" y="133"/>
                </a:lnTo>
                <a:lnTo>
                  <a:pt x="253" y="133"/>
                </a:lnTo>
                <a:lnTo>
                  <a:pt x="255" y="134"/>
                </a:lnTo>
                <a:lnTo>
                  <a:pt x="256" y="135"/>
                </a:lnTo>
                <a:lnTo>
                  <a:pt x="256" y="138"/>
                </a:lnTo>
                <a:lnTo>
                  <a:pt x="255" y="139"/>
                </a:lnTo>
                <a:lnTo>
                  <a:pt x="252" y="135"/>
                </a:lnTo>
                <a:lnTo>
                  <a:pt x="248" y="130"/>
                </a:lnTo>
                <a:lnTo>
                  <a:pt x="246" y="130"/>
                </a:lnTo>
                <a:lnTo>
                  <a:pt x="244" y="130"/>
                </a:lnTo>
                <a:lnTo>
                  <a:pt x="243" y="127"/>
                </a:lnTo>
                <a:lnTo>
                  <a:pt x="241" y="126"/>
                </a:lnTo>
                <a:lnTo>
                  <a:pt x="237" y="125"/>
                </a:lnTo>
                <a:lnTo>
                  <a:pt x="232" y="124"/>
                </a:lnTo>
                <a:lnTo>
                  <a:pt x="229" y="123"/>
                </a:lnTo>
                <a:lnTo>
                  <a:pt x="227" y="124"/>
                </a:lnTo>
                <a:lnTo>
                  <a:pt x="224" y="125"/>
                </a:lnTo>
                <a:lnTo>
                  <a:pt x="223" y="127"/>
                </a:lnTo>
                <a:lnTo>
                  <a:pt x="221" y="126"/>
                </a:lnTo>
                <a:lnTo>
                  <a:pt x="217" y="126"/>
                </a:lnTo>
                <a:lnTo>
                  <a:pt x="213" y="124"/>
                </a:lnTo>
                <a:lnTo>
                  <a:pt x="207" y="122"/>
                </a:lnTo>
                <a:lnTo>
                  <a:pt x="204" y="120"/>
                </a:lnTo>
                <a:lnTo>
                  <a:pt x="200" y="120"/>
                </a:lnTo>
                <a:lnTo>
                  <a:pt x="198" y="122"/>
                </a:lnTo>
                <a:lnTo>
                  <a:pt x="196" y="123"/>
                </a:lnTo>
                <a:lnTo>
                  <a:pt x="205" y="125"/>
                </a:lnTo>
                <a:lnTo>
                  <a:pt x="214" y="128"/>
                </a:lnTo>
                <a:lnTo>
                  <a:pt x="223" y="131"/>
                </a:lnTo>
                <a:lnTo>
                  <a:pt x="232" y="134"/>
                </a:lnTo>
                <a:lnTo>
                  <a:pt x="241" y="136"/>
                </a:lnTo>
                <a:lnTo>
                  <a:pt x="250" y="140"/>
                </a:lnTo>
                <a:lnTo>
                  <a:pt x="260" y="143"/>
                </a:lnTo>
                <a:lnTo>
                  <a:pt x="268" y="149"/>
                </a:lnTo>
                <a:lnTo>
                  <a:pt x="262" y="144"/>
                </a:lnTo>
                <a:lnTo>
                  <a:pt x="268" y="149"/>
                </a:lnTo>
                <a:close/>
                <a:moveTo>
                  <a:pt x="920" y="651"/>
                </a:moveTo>
                <a:lnTo>
                  <a:pt x="916" y="651"/>
                </a:lnTo>
                <a:lnTo>
                  <a:pt x="913" y="650"/>
                </a:lnTo>
                <a:lnTo>
                  <a:pt x="912" y="647"/>
                </a:lnTo>
                <a:lnTo>
                  <a:pt x="911" y="645"/>
                </a:lnTo>
                <a:lnTo>
                  <a:pt x="909" y="648"/>
                </a:lnTo>
                <a:lnTo>
                  <a:pt x="907" y="650"/>
                </a:lnTo>
                <a:lnTo>
                  <a:pt x="904" y="650"/>
                </a:lnTo>
                <a:lnTo>
                  <a:pt x="900" y="651"/>
                </a:lnTo>
                <a:lnTo>
                  <a:pt x="892" y="650"/>
                </a:lnTo>
                <a:lnTo>
                  <a:pt x="887" y="650"/>
                </a:lnTo>
                <a:lnTo>
                  <a:pt x="876" y="649"/>
                </a:lnTo>
                <a:lnTo>
                  <a:pt x="868" y="649"/>
                </a:lnTo>
                <a:lnTo>
                  <a:pt x="867" y="651"/>
                </a:lnTo>
                <a:lnTo>
                  <a:pt x="867" y="651"/>
                </a:lnTo>
                <a:lnTo>
                  <a:pt x="868" y="653"/>
                </a:lnTo>
                <a:lnTo>
                  <a:pt x="871" y="653"/>
                </a:lnTo>
                <a:lnTo>
                  <a:pt x="874" y="653"/>
                </a:lnTo>
                <a:lnTo>
                  <a:pt x="876" y="653"/>
                </a:lnTo>
                <a:lnTo>
                  <a:pt x="884" y="654"/>
                </a:lnTo>
                <a:lnTo>
                  <a:pt x="894" y="654"/>
                </a:lnTo>
                <a:lnTo>
                  <a:pt x="899" y="653"/>
                </a:lnTo>
                <a:lnTo>
                  <a:pt x="905" y="654"/>
                </a:lnTo>
                <a:lnTo>
                  <a:pt x="906" y="656"/>
                </a:lnTo>
                <a:lnTo>
                  <a:pt x="906" y="658"/>
                </a:lnTo>
                <a:lnTo>
                  <a:pt x="905" y="661"/>
                </a:lnTo>
                <a:lnTo>
                  <a:pt x="903" y="661"/>
                </a:lnTo>
                <a:lnTo>
                  <a:pt x="895" y="662"/>
                </a:lnTo>
                <a:lnTo>
                  <a:pt x="887" y="664"/>
                </a:lnTo>
                <a:lnTo>
                  <a:pt x="895" y="665"/>
                </a:lnTo>
                <a:lnTo>
                  <a:pt x="902" y="664"/>
                </a:lnTo>
                <a:lnTo>
                  <a:pt x="907" y="659"/>
                </a:lnTo>
                <a:lnTo>
                  <a:pt x="912" y="655"/>
                </a:lnTo>
                <a:lnTo>
                  <a:pt x="917" y="654"/>
                </a:lnTo>
                <a:lnTo>
                  <a:pt x="922" y="655"/>
                </a:lnTo>
                <a:lnTo>
                  <a:pt x="928" y="655"/>
                </a:lnTo>
                <a:lnTo>
                  <a:pt x="933" y="654"/>
                </a:lnTo>
                <a:lnTo>
                  <a:pt x="947" y="654"/>
                </a:lnTo>
                <a:lnTo>
                  <a:pt x="960" y="653"/>
                </a:lnTo>
                <a:lnTo>
                  <a:pt x="966" y="651"/>
                </a:lnTo>
                <a:lnTo>
                  <a:pt x="972" y="650"/>
                </a:lnTo>
                <a:lnTo>
                  <a:pt x="978" y="650"/>
                </a:lnTo>
                <a:lnTo>
                  <a:pt x="985" y="649"/>
                </a:lnTo>
                <a:lnTo>
                  <a:pt x="986" y="648"/>
                </a:lnTo>
                <a:lnTo>
                  <a:pt x="986" y="647"/>
                </a:lnTo>
                <a:lnTo>
                  <a:pt x="985" y="647"/>
                </a:lnTo>
                <a:lnTo>
                  <a:pt x="982" y="646"/>
                </a:lnTo>
                <a:lnTo>
                  <a:pt x="977" y="645"/>
                </a:lnTo>
                <a:lnTo>
                  <a:pt x="970" y="646"/>
                </a:lnTo>
                <a:lnTo>
                  <a:pt x="957" y="646"/>
                </a:lnTo>
                <a:lnTo>
                  <a:pt x="945" y="648"/>
                </a:lnTo>
                <a:lnTo>
                  <a:pt x="932" y="649"/>
                </a:lnTo>
                <a:lnTo>
                  <a:pt x="920" y="651"/>
                </a:lnTo>
                <a:lnTo>
                  <a:pt x="921" y="651"/>
                </a:lnTo>
                <a:lnTo>
                  <a:pt x="925" y="650"/>
                </a:lnTo>
                <a:lnTo>
                  <a:pt x="928" y="650"/>
                </a:lnTo>
                <a:lnTo>
                  <a:pt x="920" y="651"/>
                </a:lnTo>
                <a:close/>
                <a:moveTo>
                  <a:pt x="602" y="586"/>
                </a:moveTo>
                <a:lnTo>
                  <a:pt x="602" y="582"/>
                </a:lnTo>
                <a:lnTo>
                  <a:pt x="601" y="581"/>
                </a:lnTo>
                <a:lnTo>
                  <a:pt x="600" y="580"/>
                </a:lnTo>
                <a:lnTo>
                  <a:pt x="598" y="578"/>
                </a:lnTo>
                <a:lnTo>
                  <a:pt x="596" y="576"/>
                </a:lnTo>
                <a:lnTo>
                  <a:pt x="596" y="576"/>
                </a:lnTo>
                <a:lnTo>
                  <a:pt x="596" y="575"/>
                </a:lnTo>
                <a:lnTo>
                  <a:pt x="598" y="574"/>
                </a:lnTo>
                <a:lnTo>
                  <a:pt x="600" y="571"/>
                </a:lnTo>
                <a:lnTo>
                  <a:pt x="602" y="570"/>
                </a:lnTo>
                <a:lnTo>
                  <a:pt x="606" y="570"/>
                </a:lnTo>
                <a:lnTo>
                  <a:pt x="609" y="570"/>
                </a:lnTo>
                <a:lnTo>
                  <a:pt x="608" y="567"/>
                </a:lnTo>
                <a:lnTo>
                  <a:pt x="608" y="566"/>
                </a:lnTo>
                <a:lnTo>
                  <a:pt x="606" y="565"/>
                </a:lnTo>
                <a:lnTo>
                  <a:pt x="603" y="565"/>
                </a:lnTo>
                <a:lnTo>
                  <a:pt x="600" y="565"/>
                </a:lnTo>
                <a:lnTo>
                  <a:pt x="595" y="565"/>
                </a:lnTo>
                <a:lnTo>
                  <a:pt x="591" y="566"/>
                </a:lnTo>
                <a:lnTo>
                  <a:pt x="586" y="567"/>
                </a:lnTo>
                <a:lnTo>
                  <a:pt x="584" y="565"/>
                </a:lnTo>
                <a:lnTo>
                  <a:pt x="581" y="563"/>
                </a:lnTo>
                <a:lnTo>
                  <a:pt x="577" y="563"/>
                </a:lnTo>
                <a:lnTo>
                  <a:pt x="573" y="563"/>
                </a:lnTo>
                <a:lnTo>
                  <a:pt x="569" y="560"/>
                </a:lnTo>
                <a:lnTo>
                  <a:pt x="566" y="558"/>
                </a:lnTo>
                <a:lnTo>
                  <a:pt x="557" y="558"/>
                </a:lnTo>
                <a:lnTo>
                  <a:pt x="549" y="557"/>
                </a:lnTo>
                <a:lnTo>
                  <a:pt x="551" y="562"/>
                </a:lnTo>
                <a:lnTo>
                  <a:pt x="556" y="564"/>
                </a:lnTo>
                <a:lnTo>
                  <a:pt x="557" y="566"/>
                </a:lnTo>
                <a:lnTo>
                  <a:pt x="556" y="568"/>
                </a:lnTo>
                <a:lnTo>
                  <a:pt x="554" y="570"/>
                </a:lnTo>
                <a:lnTo>
                  <a:pt x="553" y="572"/>
                </a:lnTo>
                <a:lnTo>
                  <a:pt x="554" y="573"/>
                </a:lnTo>
                <a:lnTo>
                  <a:pt x="558" y="574"/>
                </a:lnTo>
                <a:lnTo>
                  <a:pt x="561" y="573"/>
                </a:lnTo>
                <a:lnTo>
                  <a:pt x="565" y="573"/>
                </a:lnTo>
                <a:lnTo>
                  <a:pt x="568" y="573"/>
                </a:lnTo>
                <a:lnTo>
                  <a:pt x="573" y="573"/>
                </a:lnTo>
                <a:lnTo>
                  <a:pt x="576" y="574"/>
                </a:lnTo>
                <a:lnTo>
                  <a:pt x="579" y="576"/>
                </a:lnTo>
                <a:lnTo>
                  <a:pt x="578" y="578"/>
                </a:lnTo>
                <a:lnTo>
                  <a:pt x="577" y="579"/>
                </a:lnTo>
                <a:lnTo>
                  <a:pt x="576" y="580"/>
                </a:lnTo>
                <a:lnTo>
                  <a:pt x="577" y="581"/>
                </a:lnTo>
                <a:lnTo>
                  <a:pt x="578" y="582"/>
                </a:lnTo>
                <a:lnTo>
                  <a:pt x="579" y="581"/>
                </a:lnTo>
                <a:lnTo>
                  <a:pt x="581" y="580"/>
                </a:lnTo>
                <a:lnTo>
                  <a:pt x="582" y="579"/>
                </a:lnTo>
                <a:lnTo>
                  <a:pt x="583" y="578"/>
                </a:lnTo>
                <a:lnTo>
                  <a:pt x="585" y="579"/>
                </a:lnTo>
                <a:lnTo>
                  <a:pt x="587" y="580"/>
                </a:lnTo>
                <a:lnTo>
                  <a:pt x="587" y="581"/>
                </a:lnTo>
                <a:lnTo>
                  <a:pt x="584" y="583"/>
                </a:lnTo>
                <a:lnTo>
                  <a:pt x="582" y="584"/>
                </a:lnTo>
                <a:lnTo>
                  <a:pt x="585" y="584"/>
                </a:lnTo>
                <a:lnTo>
                  <a:pt x="589" y="587"/>
                </a:lnTo>
                <a:lnTo>
                  <a:pt x="589" y="588"/>
                </a:lnTo>
                <a:lnTo>
                  <a:pt x="590" y="590"/>
                </a:lnTo>
                <a:lnTo>
                  <a:pt x="591" y="589"/>
                </a:lnTo>
                <a:lnTo>
                  <a:pt x="591" y="587"/>
                </a:lnTo>
                <a:lnTo>
                  <a:pt x="593" y="587"/>
                </a:lnTo>
                <a:lnTo>
                  <a:pt x="594" y="587"/>
                </a:lnTo>
                <a:lnTo>
                  <a:pt x="596" y="588"/>
                </a:lnTo>
                <a:lnTo>
                  <a:pt x="599" y="588"/>
                </a:lnTo>
                <a:lnTo>
                  <a:pt x="601" y="587"/>
                </a:lnTo>
                <a:lnTo>
                  <a:pt x="602" y="586"/>
                </a:lnTo>
                <a:lnTo>
                  <a:pt x="602" y="586"/>
                </a:lnTo>
                <a:lnTo>
                  <a:pt x="602" y="586"/>
                </a:lnTo>
                <a:close/>
                <a:moveTo>
                  <a:pt x="560" y="564"/>
                </a:moveTo>
                <a:lnTo>
                  <a:pt x="558" y="564"/>
                </a:lnTo>
                <a:lnTo>
                  <a:pt x="558" y="563"/>
                </a:lnTo>
                <a:lnTo>
                  <a:pt x="558" y="562"/>
                </a:lnTo>
                <a:lnTo>
                  <a:pt x="560" y="563"/>
                </a:lnTo>
                <a:lnTo>
                  <a:pt x="560" y="563"/>
                </a:lnTo>
                <a:lnTo>
                  <a:pt x="560" y="564"/>
                </a:lnTo>
                <a:lnTo>
                  <a:pt x="559" y="564"/>
                </a:lnTo>
                <a:lnTo>
                  <a:pt x="560" y="564"/>
                </a:lnTo>
                <a:close/>
                <a:moveTo>
                  <a:pt x="396" y="437"/>
                </a:moveTo>
                <a:lnTo>
                  <a:pt x="393" y="437"/>
                </a:lnTo>
                <a:lnTo>
                  <a:pt x="389" y="434"/>
                </a:lnTo>
                <a:lnTo>
                  <a:pt x="389" y="432"/>
                </a:lnTo>
                <a:lnTo>
                  <a:pt x="388" y="430"/>
                </a:lnTo>
                <a:lnTo>
                  <a:pt x="385" y="429"/>
                </a:lnTo>
                <a:lnTo>
                  <a:pt x="380" y="429"/>
                </a:lnTo>
                <a:lnTo>
                  <a:pt x="377" y="429"/>
                </a:lnTo>
                <a:lnTo>
                  <a:pt x="373" y="429"/>
                </a:lnTo>
                <a:lnTo>
                  <a:pt x="373" y="427"/>
                </a:lnTo>
                <a:lnTo>
                  <a:pt x="371" y="426"/>
                </a:lnTo>
                <a:lnTo>
                  <a:pt x="364" y="425"/>
                </a:lnTo>
                <a:lnTo>
                  <a:pt x="359" y="425"/>
                </a:lnTo>
                <a:lnTo>
                  <a:pt x="356" y="424"/>
                </a:lnTo>
                <a:lnTo>
                  <a:pt x="354" y="422"/>
                </a:lnTo>
                <a:lnTo>
                  <a:pt x="352" y="422"/>
                </a:lnTo>
                <a:lnTo>
                  <a:pt x="348" y="423"/>
                </a:lnTo>
                <a:lnTo>
                  <a:pt x="345" y="423"/>
                </a:lnTo>
                <a:lnTo>
                  <a:pt x="342" y="423"/>
                </a:lnTo>
                <a:lnTo>
                  <a:pt x="340" y="421"/>
                </a:lnTo>
                <a:lnTo>
                  <a:pt x="338" y="418"/>
                </a:lnTo>
                <a:lnTo>
                  <a:pt x="332" y="418"/>
                </a:lnTo>
                <a:lnTo>
                  <a:pt x="328" y="417"/>
                </a:lnTo>
                <a:lnTo>
                  <a:pt x="327" y="416"/>
                </a:lnTo>
                <a:lnTo>
                  <a:pt x="327" y="415"/>
                </a:lnTo>
                <a:lnTo>
                  <a:pt x="327" y="415"/>
                </a:lnTo>
                <a:lnTo>
                  <a:pt x="328" y="414"/>
                </a:lnTo>
                <a:lnTo>
                  <a:pt x="329" y="414"/>
                </a:lnTo>
                <a:lnTo>
                  <a:pt x="330" y="412"/>
                </a:lnTo>
                <a:lnTo>
                  <a:pt x="324" y="412"/>
                </a:lnTo>
                <a:lnTo>
                  <a:pt x="320" y="410"/>
                </a:lnTo>
                <a:lnTo>
                  <a:pt x="318" y="410"/>
                </a:lnTo>
                <a:lnTo>
                  <a:pt x="318" y="412"/>
                </a:lnTo>
                <a:lnTo>
                  <a:pt x="318" y="412"/>
                </a:lnTo>
                <a:lnTo>
                  <a:pt x="318" y="414"/>
                </a:lnTo>
                <a:lnTo>
                  <a:pt x="318" y="415"/>
                </a:lnTo>
                <a:lnTo>
                  <a:pt x="318" y="415"/>
                </a:lnTo>
                <a:lnTo>
                  <a:pt x="318" y="415"/>
                </a:lnTo>
                <a:lnTo>
                  <a:pt x="317" y="415"/>
                </a:lnTo>
                <a:lnTo>
                  <a:pt x="314" y="415"/>
                </a:lnTo>
                <a:lnTo>
                  <a:pt x="312" y="414"/>
                </a:lnTo>
                <a:lnTo>
                  <a:pt x="309" y="415"/>
                </a:lnTo>
                <a:lnTo>
                  <a:pt x="305" y="415"/>
                </a:lnTo>
                <a:lnTo>
                  <a:pt x="320" y="420"/>
                </a:lnTo>
                <a:lnTo>
                  <a:pt x="335" y="424"/>
                </a:lnTo>
                <a:lnTo>
                  <a:pt x="330" y="425"/>
                </a:lnTo>
                <a:lnTo>
                  <a:pt x="326" y="424"/>
                </a:lnTo>
                <a:lnTo>
                  <a:pt x="330" y="427"/>
                </a:lnTo>
                <a:lnTo>
                  <a:pt x="335" y="430"/>
                </a:lnTo>
                <a:lnTo>
                  <a:pt x="340" y="431"/>
                </a:lnTo>
                <a:lnTo>
                  <a:pt x="345" y="430"/>
                </a:lnTo>
                <a:lnTo>
                  <a:pt x="345" y="429"/>
                </a:lnTo>
                <a:lnTo>
                  <a:pt x="345" y="427"/>
                </a:lnTo>
                <a:lnTo>
                  <a:pt x="347" y="427"/>
                </a:lnTo>
                <a:lnTo>
                  <a:pt x="351" y="427"/>
                </a:lnTo>
                <a:lnTo>
                  <a:pt x="354" y="430"/>
                </a:lnTo>
                <a:lnTo>
                  <a:pt x="359" y="432"/>
                </a:lnTo>
                <a:lnTo>
                  <a:pt x="362" y="433"/>
                </a:lnTo>
                <a:lnTo>
                  <a:pt x="365" y="433"/>
                </a:lnTo>
                <a:lnTo>
                  <a:pt x="371" y="433"/>
                </a:lnTo>
                <a:lnTo>
                  <a:pt x="376" y="432"/>
                </a:lnTo>
                <a:lnTo>
                  <a:pt x="379" y="433"/>
                </a:lnTo>
                <a:lnTo>
                  <a:pt x="383" y="435"/>
                </a:lnTo>
                <a:lnTo>
                  <a:pt x="385" y="439"/>
                </a:lnTo>
                <a:lnTo>
                  <a:pt x="387" y="443"/>
                </a:lnTo>
                <a:lnTo>
                  <a:pt x="384" y="441"/>
                </a:lnTo>
                <a:lnTo>
                  <a:pt x="378" y="440"/>
                </a:lnTo>
                <a:lnTo>
                  <a:pt x="372" y="440"/>
                </a:lnTo>
                <a:lnTo>
                  <a:pt x="368" y="441"/>
                </a:lnTo>
                <a:lnTo>
                  <a:pt x="368" y="443"/>
                </a:lnTo>
                <a:lnTo>
                  <a:pt x="368" y="443"/>
                </a:lnTo>
                <a:lnTo>
                  <a:pt x="369" y="445"/>
                </a:lnTo>
                <a:lnTo>
                  <a:pt x="371" y="445"/>
                </a:lnTo>
                <a:lnTo>
                  <a:pt x="377" y="446"/>
                </a:lnTo>
                <a:lnTo>
                  <a:pt x="383" y="448"/>
                </a:lnTo>
                <a:lnTo>
                  <a:pt x="387" y="449"/>
                </a:lnTo>
                <a:lnTo>
                  <a:pt x="392" y="449"/>
                </a:lnTo>
                <a:lnTo>
                  <a:pt x="397" y="448"/>
                </a:lnTo>
                <a:lnTo>
                  <a:pt x="401" y="446"/>
                </a:lnTo>
                <a:lnTo>
                  <a:pt x="403" y="442"/>
                </a:lnTo>
                <a:lnTo>
                  <a:pt x="402" y="440"/>
                </a:lnTo>
                <a:lnTo>
                  <a:pt x="400" y="438"/>
                </a:lnTo>
                <a:lnTo>
                  <a:pt x="396" y="437"/>
                </a:lnTo>
                <a:lnTo>
                  <a:pt x="396" y="437"/>
                </a:lnTo>
                <a:lnTo>
                  <a:pt x="396" y="437"/>
                </a:lnTo>
                <a:close/>
                <a:moveTo>
                  <a:pt x="339" y="426"/>
                </a:moveTo>
                <a:lnTo>
                  <a:pt x="342" y="426"/>
                </a:lnTo>
                <a:lnTo>
                  <a:pt x="343" y="426"/>
                </a:lnTo>
                <a:lnTo>
                  <a:pt x="342" y="427"/>
                </a:lnTo>
                <a:lnTo>
                  <a:pt x="339" y="426"/>
                </a:lnTo>
                <a:close/>
                <a:moveTo>
                  <a:pt x="398" y="127"/>
                </a:moveTo>
                <a:lnTo>
                  <a:pt x="395" y="128"/>
                </a:lnTo>
                <a:lnTo>
                  <a:pt x="392" y="130"/>
                </a:lnTo>
                <a:lnTo>
                  <a:pt x="388" y="131"/>
                </a:lnTo>
                <a:lnTo>
                  <a:pt x="387" y="134"/>
                </a:lnTo>
                <a:lnTo>
                  <a:pt x="388" y="136"/>
                </a:lnTo>
                <a:lnTo>
                  <a:pt x="388" y="141"/>
                </a:lnTo>
                <a:lnTo>
                  <a:pt x="390" y="143"/>
                </a:lnTo>
                <a:lnTo>
                  <a:pt x="393" y="144"/>
                </a:lnTo>
                <a:lnTo>
                  <a:pt x="394" y="141"/>
                </a:lnTo>
                <a:lnTo>
                  <a:pt x="397" y="138"/>
                </a:lnTo>
                <a:lnTo>
                  <a:pt x="402" y="139"/>
                </a:lnTo>
                <a:lnTo>
                  <a:pt x="405" y="141"/>
                </a:lnTo>
                <a:lnTo>
                  <a:pt x="410" y="143"/>
                </a:lnTo>
                <a:lnTo>
                  <a:pt x="413" y="147"/>
                </a:lnTo>
                <a:lnTo>
                  <a:pt x="417" y="148"/>
                </a:lnTo>
                <a:lnTo>
                  <a:pt x="420" y="149"/>
                </a:lnTo>
                <a:lnTo>
                  <a:pt x="422" y="150"/>
                </a:lnTo>
                <a:lnTo>
                  <a:pt x="423" y="152"/>
                </a:lnTo>
                <a:lnTo>
                  <a:pt x="430" y="157"/>
                </a:lnTo>
                <a:lnTo>
                  <a:pt x="438" y="159"/>
                </a:lnTo>
                <a:lnTo>
                  <a:pt x="447" y="163"/>
                </a:lnTo>
                <a:lnTo>
                  <a:pt x="458" y="166"/>
                </a:lnTo>
                <a:lnTo>
                  <a:pt x="462" y="168"/>
                </a:lnTo>
                <a:lnTo>
                  <a:pt x="467" y="172"/>
                </a:lnTo>
                <a:lnTo>
                  <a:pt x="471" y="176"/>
                </a:lnTo>
                <a:lnTo>
                  <a:pt x="475" y="180"/>
                </a:lnTo>
                <a:lnTo>
                  <a:pt x="475" y="177"/>
                </a:lnTo>
                <a:lnTo>
                  <a:pt x="476" y="175"/>
                </a:lnTo>
                <a:lnTo>
                  <a:pt x="477" y="174"/>
                </a:lnTo>
                <a:lnTo>
                  <a:pt x="479" y="174"/>
                </a:lnTo>
                <a:lnTo>
                  <a:pt x="482" y="175"/>
                </a:lnTo>
                <a:lnTo>
                  <a:pt x="483" y="176"/>
                </a:lnTo>
                <a:lnTo>
                  <a:pt x="484" y="178"/>
                </a:lnTo>
                <a:lnTo>
                  <a:pt x="483" y="181"/>
                </a:lnTo>
                <a:lnTo>
                  <a:pt x="485" y="178"/>
                </a:lnTo>
                <a:lnTo>
                  <a:pt x="487" y="178"/>
                </a:lnTo>
                <a:lnTo>
                  <a:pt x="490" y="177"/>
                </a:lnTo>
                <a:lnTo>
                  <a:pt x="492" y="178"/>
                </a:lnTo>
                <a:lnTo>
                  <a:pt x="497" y="178"/>
                </a:lnTo>
                <a:lnTo>
                  <a:pt x="502" y="178"/>
                </a:lnTo>
                <a:lnTo>
                  <a:pt x="499" y="175"/>
                </a:lnTo>
                <a:lnTo>
                  <a:pt x="495" y="174"/>
                </a:lnTo>
                <a:lnTo>
                  <a:pt x="491" y="174"/>
                </a:lnTo>
                <a:lnTo>
                  <a:pt x="487" y="175"/>
                </a:lnTo>
                <a:lnTo>
                  <a:pt x="486" y="172"/>
                </a:lnTo>
                <a:lnTo>
                  <a:pt x="486" y="169"/>
                </a:lnTo>
                <a:lnTo>
                  <a:pt x="485" y="166"/>
                </a:lnTo>
                <a:lnTo>
                  <a:pt x="482" y="164"/>
                </a:lnTo>
                <a:lnTo>
                  <a:pt x="480" y="166"/>
                </a:lnTo>
                <a:lnTo>
                  <a:pt x="479" y="165"/>
                </a:lnTo>
                <a:lnTo>
                  <a:pt x="477" y="165"/>
                </a:lnTo>
                <a:lnTo>
                  <a:pt x="476" y="165"/>
                </a:lnTo>
                <a:lnTo>
                  <a:pt x="476" y="166"/>
                </a:lnTo>
                <a:lnTo>
                  <a:pt x="476" y="167"/>
                </a:lnTo>
                <a:lnTo>
                  <a:pt x="476" y="168"/>
                </a:lnTo>
                <a:lnTo>
                  <a:pt x="476" y="169"/>
                </a:lnTo>
                <a:lnTo>
                  <a:pt x="474" y="169"/>
                </a:lnTo>
                <a:lnTo>
                  <a:pt x="470" y="169"/>
                </a:lnTo>
                <a:lnTo>
                  <a:pt x="468" y="169"/>
                </a:lnTo>
                <a:lnTo>
                  <a:pt x="467" y="168"/>
                </a:lnTo>
                <a:lnTo>
                  <a:pt x="467" y="167"/>
                </a:lnTo>
                <a:lnTo>
                  <a:pt x="466" y="165"/>
                </a:lnTo>
                <a:lnTo>
                  <a:pt x="462" y="164"/>
                </a:lnTo>
                <a:lnTo>
                  <a:pt x="460" y="163"/>
                </a:lnTo>
                <a:lnTo>
                  <a:pt x="461" y="160"/>
                </a:lnTo>
                <a:lnTo>
                  <a:pt x="461" y="159"/>
                </a:lnTo>
                <a:lnTo>
                  <a:pt x="460" y="156"/>
                </a:lnTo>
                <a:lnTo>
                  <a:pt x="459" y="153"/>
                </a:lnTo>
                <a:lnTo>
                  <a:pt x="455" y="151"/>
                </a:lnTo>
                <a:lnTo>
                  <a:pt x="452" y="150"/>
                </a:lnTo>
                <a:lnTo>
                  <a:pt x="452" y="150"/>
                </a:lnTo>
                <a:lnTo>
                  <a:pt x="452" y="151"/>
                </a:lnTo>
                <a:lnTo>
                  <a:pt x="453" y="152"/>
                </a:lnTo>
                <a:lnTo>
                  <a:pt x="454" y="153"/>
                </a:lnTo>
                <a:lnTo>
                  <a:pt x="456" y="156"/>
                </a:lnTo>
                <a:lnTo>
                  <a:pt x="459" y="156"/>
                </a:lnTo>
                <a:lnTo>
                  <a:pt x="451" y="158"/>
                </a:lnTo>
                <a:lnTo>
                  <a:pt x="443" y="158"/>
                </a:lnTo>
                <a:lnTo>
                  <a:pt x="447" y="157"/>
                </a:lnTo>
                <a:lnTo>
                  <a:pt x="451" y="156"/>
                </a:lnTo>
                <a:lnTo>
                  <a:pt x="451" y="153"/>
                </a:lnTo>
                <a:lnTo>
                  <a:pt x="450" y="153"/>
                </a:lnTo>
                <a:lnTo>
                  <a:pt x="449" y="152"/>
                </a:lnTo>
                <a:lnTo>
                  <a:pt x="447" y="152"/>
                </a:lnTo>
                <a:lnTo>
                  <a:pt x="444" y="153"/>
                </a:lnTo>
                <a:lnTo>
                  <a:pt x="443" y="153"/>
                </a:lnTo>
                <a:lnTo>
                  <a:pt x="439" y="153"/>
                </a:lnTo>
                <a:lnTo>
                  <a:pt x="438" y="153"/>
                </a:lnTo>
                <a:lnTo>
                  <a:pt x="436" y="152"/>
                </a:lnTo>
                <a:lnTo>
                  <a:pt x="435" y="151"/>
                </a:lnTo>
                <a:lnTo>
                  <a:pt x="431" y="148"/>
                </a:lnTo>
                <a:lnTo>
                  <a:pt x="428" y="145"/>
                </a:lnTo>
                <a:lnTo>
                  <a:pt x="423" y="144"/>
                </a:lnTo>
                <a:lnTo>
                  <a:pt x="420" y="142"/>
                </a:lnTo>
                <a:lnTo>
                  <a:pt x="419" y="140"/>
                </a:lnTo>
                <a:lnTo>
                  <a:pt x="419" y="139"/>
                </a:lnTo>
                <a:lnTo>
                  <a:pt x="417" y="139"/>
                </a:lnTo>
                <a:lnTo>
                  <a:pt x="413" y="140"/>
                </a:lnTo>
                <a:lnTo>
                  <a:pt x="409" y="139"/>
                </a:lnTo>
                <a:lnTo>
                  <a:pt x="402" y="135"/>
                </a:lnTo>
                <a:lnTo>
                  <a:pt x="400" y="133"/>
                </a:lnTo>
                <a:lnTo>
                  <a:pt x="397" y="131"/>
                </a:lnTo>
                <a:lnTo>
                  <a:pt x="397" y="128"/>
                </a:lnTo>
                <a:lnTo>
                  <a:pt x="398" y="127"/>
                </a:lnTo>
                <a:lnTo>
                  <a:pt x="396" y="128"/>
                </a:lnTo>
                <a:lnTo>
                  <a:pt x="398" y="127"/>
                </a:lnTo>
                <a:close/>
                <a:moveTo>
                  <a:pt x="501" y="277"/>
                </a:moveTo>
                <a:lnTo>
                  <a:pt x="502" y="276"/>
                </a:lnTo>
                <a:lnTo>
                  <a:pt x="504" y="275"/>
                </a:lnTo>
                <a:lnTo>
                  <a:pt x="505" y="273"/>
                </a:lnTo>
                <a:lnTo>
                  <a:pt x="507" y="271"/>
                </a:lnTo>
                <a:lnTo>
                  <a:pt x="505" y="268"/>
                </a:lnTo>
                <a:lnTo>
                  <a:pt x="502" y="267"/>
                </a:lnTo>
                <a:lnTo>
                  <a:pt x="499" y="266"/>
                </a:lnTo>
                <a:lnTo>
                  <a:pt x="496" y="264"/>
                </a:lnTo>
                <a:lnTo>
                  <a:pt x="494" y="261"/>
                </a:lnTo>
                <a:lnTo>
                  <a:pt x="491" y="260"/>
                </a:lnTo>
                <a:lnTo>
                  <a:pt x="483" y="257"/>
                </a:lnTo>
                <a:lnTo>
                  <a:pt x="475" y="254"/>
                </a:lnTo>
                <a:lnTo>
                  <a:pt x="471" y="251"/>
                </a:lnTo>
                <a:lnTo>
                  <a:pt x="469" y="249"/>
                </a:lnTo>
                <a:lnTo>
                  <a:pt x="466" y="247"/>
                </a:lnTo>
                <a:lnTo>
                  <a:pt x="461" y="246"/>
                </a:lnTo>
                <a:lnTo>
                  <a:pt x="451" y="242"/>
                </a:lnTo>
                <a:lnTo>
                  <a:pt x="441" y="240"/>
                </a:lnTo>
                <a:lnTo>
                  <a:pt x="437" y="238"/>
                </a:lnTo>
                <a:lnTo>
                  <a:pt x="434" y="238"/>
                </a:lnTo>
                <a:lnTo>
                  <a:pt x="430" y="238"/>
                </a:lnTo>
                <a:lnTo>
                  <a:pt x="427" y="241"/>
                </a:lnTo>
                <a:lnTo>
                  <a:pt x="425" y="242"/>
                </a:lnTo>
                <a:lnTo>
                  <a:pt x="422" y="243"/>
                </a:lnTo>
                <a:lnTo>
                  <a:pt x="421" y="244"/>
                </a:lnTo>
                <a:lnTo>
                  <a:pt x="421" y="246"/>
                </a:lnTo>
                <a:lnTo>
                  <a:pt x="421" y="247"/>
                </a:lnTo>
                <a:lnTo>
                  <a:pt x="422" y="248"/>
                </a:lnTo>
                <a:lnTo>
                  <a:pt x="429" y="247"/>
                </a:lnTo>
                <a:lnTo>
                  <a:pt x="436" y="248"/>
                </a:lnTo>
                <a:lnTo>
                  <a:pt x="434" y="248"/>
                </a:lnTo>
                <a:lnTo>
                  <a:pt x="431" y="250"/>
                </a:lnTo>
                <a:lnTo>
                  <a:pt x="434" y="254"/>
                </a:lnTo>
                <a:lnTo>
                  <a:pt x="438" y="256"/>
                </a:lnTo>
                <a:lnTo>
                  <a:pt x="443" y="255"/>
                </a:lnTo>
                <a:lnTo>
                  <a:pt x="447" y="256"/>
                </a:lnTo>
                <a:lnTo>
                  <a:pt x="453" y="260"/>
                </a:lnTo>
                <a:lnTo>
                  <a:pt x="459" y="264"/>
                </a:lnTo>
                <a:lnTo>
                  <a:pt x="464" y="266"/>
                </a:lnTo>
                <a:lnTo>
                  <a:pt x="470" y="268"/>
                </a:lnTo>
                <a:lnTo>
                  <a:pt x="477" y="267"/>
                </a:lnTo>
                <a:lnTo>
                  <a:pt x="485" y="266"/>
                </a:lnTo>
                <a:lnTo>
                  <a:pt x="488" y="266"/>
                </a:lnTo>
                <a:lnTo>
                  <a:pt x="492" y="266"/>
                </a:lnTo>
                <a:lnTo>
                  <a:pt x="496" y="267"/>
                </a:lnTo>
                <a:lnTo>
                  <a:pt x="499" y="268"/>
                </a:lnTo>
                <a:lnTo>
                  <a:pt x="500" y="273"/>
                </a:lnTo>
                <a:lnTo>
                  <a:pt x="501" y="277"/>
                </a:lnTo>
                <a:lnTo>
                  <a:pt x="501" y="277"/>
                </a:lnTo>
                <a:lnTo>
                  <a:pt x="501" y="277"/>
                </a:lnTo>
                <a:close/>
                <a:moveTo>
                  <a:pt x="476" y="265"/>
                </a:moveTo>
                <a:lnTo>
                  <a:pt x="474" y="266"/>
                </a:lnTo>
                <a:lnTo>
                  <a:pt x="472" y="266"/>
                </a:lnTo>
                <a:lnTo>
                  <a:pt x="472" y="265"/>
                </a:lnTo>
                <a:lnTo>
                  <a:pt x="471" y="264"/>
                </a:lnTo>
                <a:lnTo>
                  <a:pt x="468" y="264"/>
                </a:lnTo>
                <a:lnTo>
                  <a:pt x="466" y="261"/>
                </a:lnTo>
                <a:lnTo>
                  <a:pt x="469" y="258"/>
                </a:lnTo>
                <a:lnTo>
                  <a:pt x="472" y="257"/>
                </a:lnTo>
                <a:lnTo>
                  <a:pt x="475" y="257"/>
                </a:lnTo>
                <a:lnTo>
                  <a:pt x="477" y="258"/>
                </a:lnTo>
                <a:lnTo>
                  <a:pt x="479" y="260"/>
                </a:lnTo>
                <a:lnTo>
                  <a:pt x="482" y="261"/>
                </a:lnTo>
                <a:lnTo>
                  <a:pt x="478" y="264"/>
                </a:lnTo>
                <a:lnTo>
                  <a:pt x="476" y="265"/>
                </a:lnTo>
                <a:lnTo>
                  <a:pt x="476" y="265"/>
                </a:lnTo>
                <a:lnTo>
                  <a:pt x="476" y="265"/>
                </a:lnTo>
                <a:close/>
                <a:moveTo>
                  <a:pt x="500" y="165"/>
                </a:moveTo>
                <a:lnTo>
                  <a:pt x="502" y="169"/>
                </a:lnTo>
                <a:lnTo>
                  <a:pt x="504" y="174"/>
                </a:lnTo>
                <a:lnTo>
                  <a:pt x="508" y="175"/>
                </a:lnTo>
                <a:lnTo>
                  <a:pt x="511" y="174"/>
                </a:lnTo>
                <a:lnTo>
                  <a:pt x="512" y="174"/>
                </a:lnTo>
                <a:lnTo>
                  <a:pt x="515" y="175"/>
                </a:lnTo>
                <a:lnTo>
                  <a:pt x="517" y="175"/>
                </a:lnTo>
                <a:lnTo>
                  <a:pt x="518" y="177"/>
                </a:lnTo>
                <a:lnTo>
                  <a:pt x="519" y="181"/>
                </a:lnTo>
                <a:lnTo>
                  <a:pt x="521" y="183"/>
                </a:lnTo>
                <a:lnTo>
                  <a:pt x="523" y="184"/>
                </a:lnTo>
                <a:lnTo>
                  <a:pt x="524" y="184"/>
                </a:lnTo>
                <a:lnTo>
                  <a:pt x="525" y="185"/>
                </a:lnTo>
                <a:lnTo>
                  <a:pt x="524" y="186"/>
                </a:lnTo>
                <a:lnTo>
                  <a:pt x="516" y="184"/>
                </a:lnTo>
                <a:lnTo>
                  <a:pt x="508" y="181"/>
                </a:lnTo>
                <a:lnTo>
                  <a:pt x="505" y="181"/>
                </a:lnTo>
                <a:lnTo>
                  <a:pt x="503" y="182"/>
                </a:lnTo>
                <a:lnTo>
                  <a:pt x="503" y="184"/>
                </a:lnTo>
                <a:lnTo>
                  <a:pt x="503" y="185"/>
                </a:lnTo>
                <a:lnTo>
                  <a:pt x="504" y="189"/>
                </a:lnTo>
                <a:lnTo>
                  <a:pt x="508" y="192"/>
                </a:lnTo>
                <a:lnTo>
                  <a:pt x="510" y="193"/>
                </a:lnTo>
                <a:lnTo>
                  <a:pt x="510" y="192"/>
                </a:lnTo>
                <a:lnTo>
                  <a:pt x="511" y="191"/>
                </a:lnTo>
                <a:lnTo>
                  <a:pt x="512" y="191"/>
                </a:lnTo>
                <a:lnTo>
                  <a:pt x="515" y="192"/>
                </a:lnTo>
                <a:lnTo>
                  <a:pt x="515" y="193"/>
                </a:lnTo>
                <a:lnTo>
                  <a:pt x="516" y="197"/>
                </a:lnTo>
                <a:lnTo>
                  <a:pt x="518" y="198"/>
                </a:lnTo>
                <a:lnTo>
                  <a:pt x="520" y="197"/>
                </a:lnTo>
                <a:lnTo>
                  <a:pt x="523" y="197"/>
                </a:lnTo>
                <a:lnTo>
                  <a:pt x="523" y="197"/>
                </a:lnTo>
                <a:lnTo>
                  <a:pt x="525" y="199"/>
                </a:lnTo>
                <a:lnTo>
                  <a:pt x="532" y="205"/>
                </a:lnTo>
                <a:lnTo>
                  <a:pt x="540" y="210"/>
                </a:lnTo>
                <a:lnTo>
                  <a:pt x="541" y="208"/>
                </a:lnTo>
                <a:lnTo>
                  <a:pt x="543" y="206"/>
                </a:lnTo>
                <a:lnTo>
                  <a:pt x="545" y="206"/>
                </a:lnTo>
                <a:lnTo>
                  <a:pt x="548" y="207"/>
                </a:lnTo>
                <a:lnTo>
                  <a:pt x="549" y="207"/>
                </a:lnTo>
                <a:lnTo>
                  <a:pt x="549" y="209"/>
                </a:lnTo>
                <a:lnTo>
                  <a:pt x="552" y="208"/>
                </a:lnTo>
                <a:lnTo>
                  <a:pt x="557" y="208"/>
                </a:lnTo>
                <a:lnTo>
                  <a:pt x="558" y="210"/>
                </a:lnTo>
                <a:lnTo>
                  <a:pt x="560" y="211"/>
                </a:lnTo>
                <a:lnTo>
                  <a:pt x="562" y="213"/>
                </a:lnTo>
                <a:lnTo>
                  <a:pt x="563" y="211"/>
                </a:lnTo>
                <a:lnTo>
                  <a:pt x="565" y="209"/>
                </a:lnTo>
                <a:lnTo>
                  <a:pt x="563" y="207"/>
                </a:lnTo>
                <a:lnTo>
                  <a:pt x="558" y="203"/>
                </a:lnTo>
                <a:lnTo>
                  <a:pt x="552" y="201"/>
                </a:lnTo>
                <a:lnTo>
                  <a:pt x="553" y="199"/>
                </a:lnTo>
                <a:lnTo>
                  <a:pt x="556" y="199"/>
                </a:lnTo>
                <a:lnTo>
                  <a:pt x="557" y="200"/>
                </a:lnTo>
                <a:lnTo>
                  <a:pt x="558" y="201"/>
                </a:lnTo>
                <a:lnTo>
                  <a:pt x="559" y="201"/>
                </a:lnTo>
                <a:lnTo>
                  <a:pt x="561" y="201"/>
                </a:lnTo>
                <a:lnTo>
                  <a:pt x="559" y="199"/>
                </a:lnTo>
                <a:lnTo>
                  <a:pt x="557" y="198"/>
                </a:lnTo>
                <a:lnTo>
                  <a:pt x="556" y="194"/>
                </a:lnTo>
                <a:lnTo>
                  <a:pt x="553" y="192"/>
                </a:lnTo>
                <a:lnTo>
                  <a:pt x="550" y="191"/>
                </a:lnTo>
                <a:lnTo>
                  <a:pt x="545" y="190"/>
                </a:lnTo>
                <a:lnTo>
                  <a:pt x="541" y="191"/>
                </a:lnTo>
                <a:lnTo>
                  <a:pt x="538" y="192"/>
                </a:lnTo>
                <a:lnTo>
                  <a:pt x="537" y="193"/>
                </a:lnTo>
                <a:lnTo>
                  <a:pt x="534" y="193"/>
                </a:lnTo>
                <a:lnTo>
                  <a:pt x="530" y="192"/>
                </a:lnTo>
                <a:lnTo>
                  <a:pt x="527" y="190"/>
                </a:lnTo>
                <a:lnTo>
                  <a:pt x="527" y="186"/>
                </a:lnTo>
                <a:lnTo>
                  <a:pt x="528" y="184"/>
                </a:lnTo>
                <a:lnTo>
                  <a:pt x="530" y="183"/>
                </a:lnTo>
                <a:lnTo>
                  <a:pt x="534" y="184"/>
                </a:lnTo>
                <a:lnTo>
                  <a:pt x="535" y="185"/>
                </a:lnTo>
                <a:lnTo>
                  <a:pt x="538" y="186"/>
                </a:lnTo>
                <a:lnTo>
                  <a:pt x="541" y="186"/>
                </a:lnTo>
                <a:lnTo>
                  <a:pt x="542" y="186"/>
                </a:lnTo>
                <a:lnTo>
                  <a:pt x="542" y="186"/>
                </a:lnTo>
                <a:lnTo>
                  <a:pt x="542" y="184"/>
                </a:lnTo>
                <a:lnTo>
                  <a:pt x="538" y="183"/>
                </a:lnTo>
                <a:lnTo>
                  <a:pt x="535" y="182"/>
                </a:lnTo>
                <a:lnTo>
                  <a:pt x="532" y="180"/>
                </a:lnTo>
                <a:lnTo>
                  <a:pt x="528" y="176"/>
                </a:lnTo>
                <a:lnTo>
                  <a:pt x="521" y="172"/>
                </a:lnTo>
                <a:lnTo>
                  <a:pt x="515" y="169"/>
                </a:lnTo>
                <a:lnTo>
                  <a:pt x="511" y="167"/>
                </a:lnTo>
                <a:lnTo>
                  <a:pt x="507" y="165"/>
                </a:lnTo>
                <a:lnTo>
                  <a:pt x="503" y="164"/>
                </a:lnTo>
                <a:lnTo>
                  <a:pt x="500" y="165"/>
                </a:lnTo>
                <a:lnTo>
                  <a:pt x="501" y="165"/>
                </a:lnTo>
                <a:lnTo>
                  <a:pt x="500" y="165"/>
                </a:lnTo>
                <a:close/>
                <a:moveTo>
                  <a:pt x="553" y="196"/>
                </a:moveTo>
                <a:lnTo>
                  <a:pt x="553" y="198"/>
                </a:lnTo>
                <a:lnTo>
                  <a:pt x="552" y="199"/>
                </a:lnTo>
                <a:lnTo>
                  <a:pt x="551" y="200"/>
                </a:lnTo>
                <a:lnTo>
                  <a:pt x="549" y="201"/>
                </a:lnTo>
                <a:lnTo>
                  <a:pt x="545" y="199"/>
                </a:lnTo>
                <a:lnTo>
                  <a:pt x="543" y="194"/>
                </a:lnTo>
                <a:lnTo>
                  <a:pt x="549" y="194"/>
                </a:lnTo>
                <a:lnTo>
                  <a:pt x="553" y="196"/>
                </a:lnTo>
                <a:lnTo>
                  <a:pt x="552" y="194"/>
                </a:lnTo>
                <a:lnTo>
                  <a:pt x="553" y="196"/>
                </a:lnTo>
                <a:close/>
                <a:moveTo>
                  <a:pt x="534" y="197"/>
                </a:moveTo>
                <a:lnTo>
                  <a:pt x="537" y="198"/>
                </a:lnTo>
                <a:lnTo>
                  <a:pt x="541" y="199"/>
                </a:lnTo>
                <a:lnTo>
                  <a:pt x="544" y="199"/>
                </a:lnTo>
                <a:lnTo>
                  <a:pt x="545" y="201"/>
                </a:lnTo>
                <a:lnTo>
                  <a:pt x="545" y="202"/>
                </a:lnTo>
                <a:lnTo>
                  <a:pt x="545" y="203"/>
                </a:lnTo>
                <a:lnTo>
                  <a:pt x="544" y="203"/>
                </a:lnTo>
                <a:lnTo>
                  <a:pt x="543" y="202"/>
                </a:lnTo>
                <a:lnTo>
                  <a:pt x="542" y="202"/>
                </a:lnTo>
                <a:lnTo>
                  <a:pt x="540" y="202"/>
                </a:lnTo>
                <a:lnTo>
                  <a:pt x="538" y="202"/>
                </a:lnTo>
                <a:lnTo>
                  <a:pt x="537" y="203"/>
                </a:lnTo>
                <a:lnTo>
                  <a:pt x="535" y="202"/>
                </a:lnTo>
                <a:lnTo>
                  <a:pt x="534" y="201"/>
                </a:lnTo>
                <a:lnTo>
                  <a:pt x="533" y="199"/>
                </a:lnTo>
                <a:lnTo>
                  <a:pt x="534" y="197"/>
                </a:lnTo>
                <a:lnTo>
                  <a:pt x="534" y="197"/>
                </a:lnTo>
                <a:lnTo>
                  <a:pt x="534" y="197"/>
                </a:lnTo>
                <a:close/>
                <a:moveTo>
                  <a:pt x="549" y="209"/>
                </a:moveTo>
                <a:lnTo>
                  <a:pt x="549" y="209"/>
                </a:lnTo>
                <a:lnTo>
                  <a:pt x="549" y="209"/>
                </a:lnTo>
                <a:close/>
                <a:moveTo>
                  <a:pt x="225" y="156"/>
                </a:moveTo>
                <a:lnTo>
                  <a:pt x="225" y="157"/>
                </a:lnTo>
                <a:lnTo>
                  <a:pt x="225" y="156"/>
                </a:lnTo>
                <a:lnTo>
                  <a:pt x="225" y="156"/>
                </a:lnTo>
                <a:lnTo>
                  <a:pt x="225" y="156"/>
                </a:lnTo>
                <a:close/>
                <a:moveTo>
                  <a:pt x="175" y="141"/>
                </a:moveTo>
                <a:lnTo>
                  <a:pt x="184" y="142"/>
                </a:lnTo>
                <a:lnTo>
                  <a:pt x="192" y="145"/>
                </a:lnTo>
                <a:lnTo>
                  <a:pt x="197" y="145"/>
                </a:lnTo>
                <a:lnTo>
                  <a:pt x="200" y="147"/>
                </a:lnTo>
                <a:lnTo>
                  <a:pt x="204" y="149"/>
                </a:lnTo>
                <a:lnTo>
                  <a:pt x="207" y="150"/>
                </a:lnTo>
                <a:lnTo>
                  <a:pt x="212" y="151"/>
                </a:lnTo>
                <a:lnTo>
                  <a:pt x="215" y="152"/>
                </a:lnTo>
                <a:lnTo>
                  <a:pt x="219" y="152"/>
                </a:lnTo>
                <a:lnTo>
                  <a:pt x="222" y="152"/>
                </a:lnTo>
                <a:lnTo>
                  <a:pt x="224" y="155"/>
                </a:lnTo>
                <a:lnTo>
                  <a:pt x="227" y="156"/>
                </a:lnTo>
                <a:lnTo>
                  <a:pt x="231" y="157"/>
                </a:lnTo>
                <a:lnTo>
                  <a:pt x="236" y="157"/>
                </a:lnTo>
                <a:lnTo>
                  <a:pt x="235" y="158"/>
                </a:lnTo>
                <a:lnTo>
                  <a:pt x="232" y="159"/>
                </a:lnTo>
                <a:lnTo>
                  <a:pt x="231" y="160"/>
                </a:lnTo>
                <a:lnTo>
                  <a:pt x="229" y="160"/>
                </a:lnTo>
                <a:lnTo>
                  <a:pt x="227" y="160"/>
                </a:lnTo>
                <a:lnTo>
                  <a:pt x="225" y="159"/>
                </a:lnTo>
                <a:lnTo>
                  <a:pt x="224" y="158"/>
                </a:lnTo>
                <a:lnTo>
                  <a:pt x="224" y="157"/>
                </a:lnTo>
                <a:lnTo>
                  <a:pt x="214" y="155"/>
                </a:lnTo>
                <a:lnTo>
                  <a:pt x="203" y="152"/>
                </a:lnTo>
                <a:lnTo>
                  <a:pt x="194" y="150"/>
                </a:lnTo>
                <a:lnTo>
                  <a:pt x="184" y="148"/>
                </a:lnTo>
                <a:lnTo>
                  <a:pt x="187" y="150"/>
                </a:lnTo>
                <a:lnTo>
                  <a:pt x="190" y="151"/>
                </a:lnTo>
                <a:lnTo>
                  <a:pt x="192" y="152"/>
                </a:lnTo>
                <a:lnTo>
                  <a:pt x="196" y="152"/>
                </a:lnTo>
                <a:lnTo>
                  <a:pt x="198" y="155"/>
                </a:lnTo>
                <a:lnTo>
                  <a:pt x="200" y="156"/>
                </a:lnTo>
                <a:lnTo>
                  <a:pt x="202" y="156"/>
                </a:lnTo>
                <a:lnTo>
                  <a:pt x="204" y="157"/>
                </a:lnTo>
                <a:lnTo>
                  <a:pt x="207" y="157"/>
                </a:lnTo>
                <a:lnTo>
                  <a:pt x="211" y="158"/>
                </a:lnTo>
                <a:lnTo>
                  <a:pt x="212" y="159"/>
                </a:lnTo>
                <a:lnTo>
                  <a:pt x="211" y="159"/>
                </a:lnTo>
                <a:lnTo>
                  <a:pt x="211" y="160"/>
                </a:lnTo>
                <a:lnTo>
                  <a:pt x="210" y="160"/>
                </a:lnTo>
                <a:lnTo>
                  <a:pt x="206" y="161"/>
                </a:lnTo>
                <a:lnTo>
                  <a:pt x="204" y="161"/>
                </a:lnTo>
                <a:lnTo>
                  <a:pt x="212" y="163"/>
                </a:lnTo>
                <a:lnTo>
                  <a:pt x="219" y="165"/>
                </a:lnTo>
                <a:lnTo>
                  <a:pt x="219" y="164"/>
                </a:lnTo>
                <a:lnTo>
                  <a:pt x="217" y="161"/>
                </a:lnTo>
                <a:lnTo>
                  <a:pt x="217" y="159"/>
                </a:lnTo>
                <a:lnTo>
                  <a:pt x="219" y="159"/>
                </a:lnTo>
                <a:lnTo>
                  <a:pt x="223" y="161"/>
                </a:lnTo>
                <a:lnTo>
                  <a:pt x="228" y="164"/>
                </a:lnTo>
                <a:lnTo>
                  <a:pt x="231" y="164"/>
                </a:lnTo>
                <a:lnTo>
                  <a:pt x="237" y="165"/>
                </a:lnTo>
                <a:lnTo>
                  <a:pt x="239" y="165"/>
                </a:lnTo>
                <a:lnTo>
                  <a:pt x="241" y="166"/>
                </a:lnTo>
                <a:lnTo>
                  <a:pt x="243" y="167"/>
                </a:lnTo>
                <a:lnTo>
                  <a:pt x="244" y="169"/>
                </a:lnTo>
                <a:lnTo>
                  <a:pt x="236" y="168"/>
                </a:lnTo>
                <a:lnTo>
                  <a:pt x="227" y="168"/>
                </a:lnTo>
                <a:lnTo>
                  <a:pt x="232" y="172"/>
                </a:lnTo>
                <a:lnTo>
                  <a:pt x="239" y="174"/>
                </a:lnTo>
                <a:lnTo>
                  <a:pt x="246" y="175"/>
                </a:lnTo>
                <a:lnTo>
                  <a:pt x="253" y="176"/>
                </a:lnTo>
                <a:lnTo>
                  <a:pt x="257" y="180"/>
                </a:lnTo>
                <a:lnTo>
                  <a:pt x="260" y="183"/>
                </a:lnTo>
                <a:lnTo>
                  <a:pt x="264" y="184"/>
                </a:lnTo>
                <a:lnTo>
                  <a:pt x="269" y="184"/>
                </a:lnTo>
                <a:lnTo>
                  <a:pt x="266" y="182"/>
                </a:lnTo>
                <a:lnTo>
                  <a:pt x="265" y="178"/>
                </a:lnTo>
                <a:lnTo>
                  <a:pt x="264" y="176"/>
                </a:lnTo>
                <a:lnTo>
                  <a:pt x="264" y="173"/>
                </a:lnTo>
                <a:lnTo>
                  <a:pt x="265" y="167"/>
                </a:lnTo>
                <a:lnTo>
                  <a:pt x="265" y="163"/>
                </a:lnTo>
                <a:lnTo>
                  <a:pt x="264" y="160"/>
                </a:lnTo>
                <a:lnTo>
                  <a:pt x="261" y="159"/>
                </a:lnTo>
                <a:lnTo>
                  <a:pt x="258" y="158"/>
                </a:lnTo>
                <a:lnTo>
                  <a:pt x="255" y="157"/>
                </a:lnTo>
                <a:lnTo>
                  <a:pt x="248" y="157"/>
                </a:lnTo>
                <a:lnTo>
                  <a:pt x="241" y="158"/>
                </a:lnTo>
                <a:lnTo>
                  <a:pt x="243" y="156"/>
                </a:lnTo>
                <a:lnTo>
                  <a:pt x="244" y="153"/>
                </a:lnTo>
                <a:lnTo>
                  <a:pt x="225" y="150"/>
                </a:lnTo>
                <a:lnTo>
                  <a:pt x="208" y="144"/>
                </a:lnTo>
                <a:lnTo>
                  <a:pt x="191" y="140"/>
                </a:lnTo>
                <a:lnTo>
                  <a:pt x="174" y="136"/>
                </a:lnTo>
                <a:lnTo>
                  <a:pt x="174" y="139"/>
                </a:lnTo>
                <a:lnTo>
                  <a:pt x="175" y="141"/>
                </a:lnTo>
                <a:lnTo>
                  <a:pt x="177" y="141"/>
                </a:lnTo>
                <a:lnTo>
                  <a:pt x="175" y="141"/>
                </a:lnTo>
                <a:close/>
                <a:moveTo>
                  <a:pt x="240" y="160"/>
                </a:moveTo>
                <a:lnTo>
                  <a:pt x="241" y="160"/>
                </a:lnTo>
                <a:lnTo>
                  <a:pt x="244" y="160"/>
                </a:lnTo>
                <a:lnTo>
                  <a:pt x="246" y="161"/>
                </a:lnTo>
                <a:lnTo>
                  <a:pt x="246" y="163"/>
                </a:lnTo>
                <a:lnTo>
                  <a:pt x="243" y="164"/>
                </a:lnTo>
                <a:lnTo>
                  <a:pt x="238" y="164"/>
                </a:lnTo>
                <a:lnTo>
                  <a:pt x="238" y="161"/>
                </a:lnTo>
                <a:lnTo>
                  <a:pt x="240" y="160"/>
                </a:lnTo>
                <a:lnTo>
                  <a:pt x="239" y="160"/>
                </a:lnTo>
                <a:lnTo>
                  <a:pt x="240" y="160"/>
                </a:lnTo>
                <a:close/>
                <a:moveTo>
                  <a:pt x="314" y="196"/>
                </a:moveTo>
                <a:lnTo>
                  <a:pt x="318" y="200"/>
                </a:lnTo>
                <a:lnTo>
                  <a:pt x="321" y="205"/>
                </a:lnTo>
                <a:lnTo>
                  <a:pt x="328" y="208"/>
                </a:lnTo>
                <a:lnTo>
                  <a:pt x="337" y="210"/>
                </a:lnTo>
                <a:lnTo>
                  <a:pt x="345" y="214"/>
                </a:lnTo>
                <a:lnTo>
                  <a:pt x="354" y="217"/>
                </a:lnTo>
                <a:lnTo>
                  <a:pt x="357" y="218"/>
                </a:lnTo>
                <a:lnTo>
                  <a:pt x="361" y="219"/>
                </a:lnTo>
                <a:lnTo>
                  <a:pt x="364" y="223"/>
                </a:lnTo>
                <a:lnTo>
                  <a:pt x="368" y="225"/>
                </a:lnTo>
                <a:lnTo>
                  <a:pt x="372" y="226"/>
                </a:lnTo>
                <a:lnTo>
                  <a:pt x="377" y="228"/>
                </a:lnTo>
                <a:lnTo>
                  <a:pt x="380" y="230"/>
                </a:lnTo>
                <a:lnTo>
                  <a:pt x="384" y="231"/>
                </a:lnTo>
                <a:lnTo>
                  <a:pt x="385" y="230"/>
                </a:lnTo>
                <a:lnTo>
                  <a:pt x="387" y="228"/>
                </a:lnTo>
                <a:lnTo>
                  <a:pt x="388" y="230"/>
                </a:lnTo>
                <a:lnTo>
                  <a:pt x="389" y="233"/>
                </a:lnTo>
                <a:lnTo>
                  <a:pt x="392" y="234"/>
                </a:lnTo>
                <a:lnTo>
                  <a:pt x="393" y="235"/>
                </a:lnTo>
                <a:lnTo>
                  <a:pt x="394" y="235"/>
                </a:lnTo>
                <a:lnTo>
                  <a:pt x="395" y="234"/>
                </a:lnTo>
                <a:lnTo>
                  <a:pt x="397" y="233"/>
                </a:lnTo>
                <a:lnTo>
                  <a:pt x="401" y="232"/>
                </a:lnTo>
                <a:lnTo>
                  <a:pt x="408" y="234"/>
                </a:lnTo>
                <a:lnTo>
                  <a:pt x="413" y="239"/>
                </a:lnTo>
                <a:lnTo>
                  <a:pt x="418" y="240"/>
                </a:lnTo>
                <a:lnTo>
                  <a:pt x="421" y="240"/>
                </a:lnTo>
                <a:lnTo>
                  <a:pt x="422" y="236"/>
                </a:lnTo>
                <a:lnTo>
                  <a:pt x="423" y="232"/>
                </a:lnTo>
                <a:lnTo>
                  <a:pt x="420" y="230"/>
                </a:lnTo>
                <a:lnTo>
                  <a:pt x="414" y="228"/>
                </a:lnTo>
                <a:lnTo>
                  <a:pt x="410" y="230"/>
                </a:lnTo>
                <a:lnTo>
                  <a:pt x="406" y="231"/>
                </a:lnTo>
                <a:lnTo>
                  <a:pt x="403" y="230"/>
                </a:lnTo>
                <a:lnTo>
                  <a:pt x="400" y="228"/>
                </a:lnTo>
                <a:lnTo>
                  <a:pt x="397" y="230"/>
                </a:lnTo>
                <a:lnTo>
                  <a:pt x="395" y="231"/>
                </a:lnTo>
                <a:lnTo>
                  <a:pt x="393" y="230"/>
                </a:lnTo>
                <a:lnTo>
                  <a:pt x="393" y="228"/>
                </a:lnTo>
                <a:lnTo>
                  <a:pt x="394" y="226"/>
                </a:lnTo>
                <a:lnTo>
                  <a:pt x="394" y="225"/>
                </a:lnTo>
                <a:lnTo>
                  <a:pt x="390" y="223"/>
                </a:lnTo>
                <a:lnTo>
                  <a:pt x="387" y="222"/>
                </a:lnTo>
                <a:lnTo>
                  <a:pt x="383" y="219"/>
                </a:lnTo>
                <a:lnTo>
                  <a:pt x="378" y="217"/>
                </a:lnTo>
                <a:lnTo>
                  <a:pt x="377" y="217"/>
                </a:lnTo>
                <a:lnTo>
                  <a:pt x="375" y="216"/>
                </a:lnTo>
                <a:lnTo>
                  <a:pt x="373" y="215"/>
                </a:lnTo>
                <a:lnTo>
                  <a:pt x="376" y="214"/>
                </a:lnTo>
                <a:lnTo>
                  <a:pt x="380" y="215"/>
                </a:lnTo>
                <a:lnTo>
                  <a:pt x="385" y="218"/>
                </a:lnTo>
                <a:lnTo>
                  <a:pt x="389" y="219"/>
                </a:lnTo>
                <a:lnTo>
                  <a:pt x="394" y="222"/>
                </a:lnTo>
                <a:lnTo>
                  <a:pt x="397" y="223"/>
                </a:lnTo>
                <a:lnTo>
                  <a:pt x="400" y="223"/>
                </a:lnTo>
                <a:lnTo>
                  <a:pt x="402" y="223"/>
                </a:lnTo>
                <a:lnTo>
                  <a:pt x="403" y="222"/>
                </a:lnTo>
                <a:lnTo>
                  <a:pt x="394" y="218"/>
                </a:lnTo>
                <a:lnTo>
                  <a:pt x="385" y="214"/>
                </a:lnTo>
                <a:lnTo>
                  <a:pt x="377" y="209"/>
                </a:lnTo>
                <a:lnTo>
                  <a:pt x="368" y="205"/>
                </a:lnTo>
                <a:lnTo>
                  <a:pt x="370" y="205"/>
                </a:lnTo>
                <a:lnTo>
                  <a:pt x="372" y="205"/>
                </a:lnTo>
                <a:lnTo>
                  <a:pt x="373" y="203"/>
                </a:lnTo>
                <a:lnTo>
                  <a:pt x="375" y="203"/>
                </a:lnTo>
                <a:lnTo>
                  <a:pt x="375" y="202"/>
                </a:lnTo>
                <a:lnTo>
                  <a:pt x="375" y="201"/>
                </a:lnTo>
                <a:lnTo>
                  <a:pt x="369" y="199"/>
                </a:lnTo>
                <a:lnTo>
                  <a:pt x="363" y="197"/>
                </a:lnTo>
                <a:lnTo>
                  <a:pt x="359" y="194"/>
                </a:lnTo>
                <a:lnTo>
                  <a:pt x="353" y="192"/>
                </a:lnTo>
                <a:lnTo>
                  <a:pt x="347" y="193"/>
                </a:lnTo>
                <a:lnTo>
                  <a:pt x="340" y="194"/>
                </a:lnTo>
                <a:lnTo>
                  <a:pt x="344" y="192"/>
                </a:lnTo>
                <a:lnTo>
                  <a:pt x="346" y="190"/>
                </a:lnTo>
                <a:lnTo>
                  <a:pt x="340" y="188"/>
                </a:lnTo>
                <a:lnTo>
                  <a:pt x="335" y="185"/>
                </a:lnTo>
                <a:lnTo>
                  <a:pt x="329" y="182"/>
                </a:lnTo>
                <a:lnTo>
                  <a:pt x="322" y="182"/>
                </a:lnTo>
                <a:lnTo>
                  <a:pt x="318" y="183"/>
                </a:lnTo>
                <a:lnTo>
                  <a:pt x="314" y="182"/>
                </a:lnTo>
                <a:lnTo>
                  <a:pt x="315" y="180"/>
                </a:lnTo>
                <a:lnTo>
                  <a:pt x="318" y="178"/>
                </a:lnTo>
                <a:lnTo>
                  <a:pt x="311" y="176"/>
                </a:lnTo>
                <a:lnTo>
                  <a:pt x="305" y="175"/>
                </a:lnTo>
                <a:lnTo>
                  <a:pt x="299" y="172"/>
                </a:lnTo>
                <a:lnTo>
                  <a:pt x="293" y="171"/>
                </a:lnTo>
                <a:lnTo>
                  <a:pt x="289" y="172"/>
                </a:lnTo>
                <a:lnTo>
                  <a:pt x="289" y="172"/>
                </a:lnTo>
                <a:lnTo>
                  <a:pt x="290" y="174"/>
                </a:lnTo>
                <a:lnTo>
                  <a:pt x="293" y="175"/>
                </a:lnTo>
                <a:lnTo>
                  <a:pt x="296" y="178"/>
                </a:lnTo>
                <a:lnTo>
                  <a:pt x="298" y="182"/>
                </a:lnTo>
                <a:lnTo>
                  <a:pt x="297" y="188"/>
                </a:lnTo>
                <a:lnTo>
                  <a:pt x="295" y="192"/>
                </a:lnTo>
                <a:lnTo>
                  <a:pt x="294" y="193"/>
                </a:lnTo>
                <a:lnTo>
                  <a:pt x="294" y="196"/>
                </a:lnTo>
                <a:lnTo>
                  <a:pt x="295" y="197"/>
                </a:lnTo>
                <a:lnTo>
                  <a:pt x="297" y="198"/>
                </a:lnTo>
                <a:lnTo>
                  <a:pt x="305" y="199"/>
                </a:lnTo>
                <a:lnTo>
                  <a:pt x="312" y="200"/>
                </a:lnTo>
                <a:lnTo>
                  <a:pt x="313" y="198"/>
                </a:lnTo>
                <a:lnTo>
                  <a:pt x="314" y="196"/>
                </a:lnTo>
                <a:lnTo>
                  <a:pt x="314" y="198"/>
                </a:lnTo>
                <a:lnTo>
                  <a:pt x="314" y="196"/>
                </a:lnTo>
                <a:close/>
                <a:moveTo>
                  <a:pt x="360" y="209"/>
                </a:moveTo>
                <a:lnTo>
                  <a:pt x="364" y="208"/>
                </a:lnTo>
                <a:lnTo>
                  <a:pt x="370" y="210"/>
                </a:lnTo>
                <a:lnTo>
                  <a:pt x="367" y="213"/>
                </a:lnTo>
                <a:lnTo>
                  <a:pt x="363" y="213"/>
                </a:lnTo>
                <a:lnTo>
                  <a:pt x="362" y="213"/>
                </a:lnTo>
                <a:lnTo>
                  <a:pt x="361" y="211"/>
                </a:lnTo>
                <a:lnTo>
                  <a:pt x="360" y="210"/>
                </a:lnTo>
                <a:lnTo>
                  <a:pt x="360" y="209"/>
                </a:lnTo>
                <a:lnTo>
                  <a:pt x="360" y="209"/>
                </a:lnTo>
                <a:lnTo>
                  <a:pt x="360" y="209"/>
                </a:lnTo>
                <a:close/>
                <a:moveTo>
                  <a:pt x="319" y="188"/>
                </a:moveTo>
                <a:lnTo>
                  <a:pt x="321" y="188"/>
                </a:lnTo>
                <a:lnTo>
                  <a:pt x="323" y="188"/>
                </a:lnTo>
                <a:lnTo>
                  <a:pt x="324" y="190"/>
                </a:lnTo>
                <a:lnTo>
                  <a:pt x="324" y="192"/>
                </a:lnTo>
                <a:lnTo>
                  <a:pt x="321" y="193"/>
                </a:lnTo>
                <a:lnTo>
                  <a:pt x="319" y="193"/>
                </a:lnTo>
                <a:lnTo>
                  <a:pt x="319" y="192"/>
                </a:lnTo>
                <a:lnTo>
                  <a:pt x="318" y="190"/>
                </a:lnTo>
                <a:lnTo>
                  <a:pt x="317" y="189"/>
                </a:lnTo>
                <a:lnTo>
                  <a:pt x="319" y="188"/>
                </a:lnTo>
                <a:lnTo>
                  <a:pt x="319" y="188"/>
                </a:lnTo>
                <a:lnTo>
                  <a:pt x="319" y="188"/>
                </a:lnTo>
                <a:close/>
                <a:moveTo>
                  <a:pt x="311" y="189"/>
                </a:moveTo>
                <a:lnTo>
                  <a:pt x="309" y="189"/>
                </a:lnTo>
                <a:lnTo>
                  <a:pt x="306" y="186"/>
                </a:lnTo>
                <a:lnTo>
                  <a:pt x="306" y="185"/>
                </a:lnTo>
                <a:lnTo>
                  <a:pt x="307" y="183"/>
                </a:lnTo>
                <a:lnTo>
                  <a:pt x="311" y="184"/>
                </a:lnTo>
                <a:lnTo>
                  <a:pt x="313" y="185"/>
                </a:lnTo>
                <a:lnTo>
                  <a:pt x="314" y="186"/>
                </a:lnTo>
                <a:lnTo>
                  <a:pt x="314" y="188"/>
                </a:lnTo>
                <a:lnTo>
                  <a:pt x="313" y="189"/>
                </a:lnTo>
                <a:lnTo>
                  <a:pt x="311" y="189"/>
                </a:lnTo>
                <a:lnTo>
                  <a:pt x="311" y="189"/>
                </a:lnTo>
                <a:lnTo>
                  <a:pt x="311" y="189"/>
                </a:lnTo>
                <a:close/>
                <a:moveTo>
                  <a:pt x="559" y="346"/>
                </a:moveTo>
                <a:lnTo>
                  <a:pt x="559" y="346"/>
                </a:lnTo>
                <a:lnTo>
                  <a:pt x="559" y="346"/>
                </a:lnTo>
                <a:close/>
                <a:moveTo>
                  <a:pt x="1424" y="92"/>
                </a:moveTo>
                <a:lnTo>
                  <a:pt x="1425" y="91"/>
                </a:lnTo>
                <a:lnTo>
                  <a:pt x="1425" y="91"/>
                </a:lnTo>
                <a:lnTo>
                  <a:pt x="1426" y="91"/>
                </a:lnTo>
                <a:lnTo>
                  <a:pt x="1427" y="91"/>
                </a:lnTo>
                <a:lnTo>
                  <a:pt x="1425" y="93"/>
                </a:lnTo>
                <a:lnTo>
                  <a:pt x="1424" y="92"/>
                </a:lnTo>
                <a:lnTo>
                  <a:pt x="1424" y="92"/>
                </a:lnTo>
                <a:lnTo>
                  <a:pt x="1424" y="92"/>
                </a:lnTo>
                <a:close/>
                <a:moveTo>
                  <a:pt x="693" y="246"/>
                </a:moveTo>
                <a:lnTo>
                  <a:pt x="689" y="244"/>
                </a:lnTo>
                <a:lnTo>
                  <a:pt x="684" y="242"/>
                </a:lnTo>
                <a:lnTo>
                  <a:pt x="684" y="240"/>
                </a:lnTo>
                <a:lnTo>
                  <a:pt x="684" y="239"/>
                </a:lnTo>
                <a:lnTo>
                  <a:pt x="686" y="238"/>
                </a:lnTo>
                <a:lnTo>
                  <a:pt x="688" y="238"/>
                </a:lnTo>
                <a:lnTo>
                  <a:pt x="692" y="239"/>
                </a:lnTo>
                <a:lnTo>
                  <a:pt x="697" y="241"/>
                </a:lnTo>
                <a:lnTo>
                  <a:pt x="697" y="242"/>
                </a:lnTo>
                <a:lnTo>
                  <a:pt x="697" y="244"/>
                </a:lnTo>
                <a:lnTo>
                  <a:pt x="696" y="246"/>
                </a:lnTo>
                <a:lnTo>
                  <a:pt x="693" y="246"/>
                </a:lnTo>
                <a:lnTo>
                  <a:pt x="693" y="246"/>
                </a:lnTo>
                <a:lnTo>
                  <a:pt x="693" y="246"/>
                </a:lnTo>
                <a:close/>
                <a:moveTo>
                  <a:pt x="589" y="230"/>
                </a:moveTo>
                <a:lnTo>
                  <a:pt x="587" y="231"/>
                </a:lnTo>
                <a:lnTo>
                  <a:pt x="586" y="231"/>
                </a:lnTo>
                <a:lnTo>
                  <a:pt x="584" y="230"/>
                </a:lnTo>
                <a:lnTo>
                  <a:pt x="581" y="228"/>
                </a:lnTo>
                <a:lnTo>
                  <a:pt x="576" y="224"/>
                </a:lnTo>
                <a:lnTo>
                  <a:pt x="574" y="222"/>
                </a:lnTo>
                <a:lnTo>
                  <a:pt x="576" y="221"/>
                </a:lnTo>
                <a:lnTo>
                  <a:pt x="578" y="222"/>
                </a:lnTo>
                <a:lnTo>
                  <a:pt x="579" y="224"/>
                </a:lnTo>
                <a:lnTo>
                  <a:pt x="582" y="226"/>
                </a:lnTo>
                <a:lnTo>
                  <a:pt x="584" y="226"/>
                </a:lnTo>
                <a:lnTo>
                  <a:pt x="586" y="227"/>
                </a:lnTo>
                <a:lnTo>
                  <a:pt x="589" y="227"/>
                </a:lnTo>
                <a:lnTo>
                  <a:pt x="589" y="230"/>
                </a:lnTo>
                <a:lnTo>
                  <a:pt x="589" y="230"/>
                </a:lnTo>
                <a:lnTo>
                  <a:pt x="589" y="230"/>
                </a:lnTo>
                <a:close/>
                <a:moveTo>
                  <a:pt x="652" y="256"/>
                </a:moveTo>
                <a:lnTo>
                  <a:pt x="652" y="256"/>
                </a:lnTo>
                <a:lnTo>
                  <a:pt x="652" y="256"/>
                </a:lnTo>
                <a:lnTo>
                  <a:pt x="652" y="256"/>
                </a:lnTo>
                <a:lnTo>
                  <a:pt x="652" y="256"/>
                </a:lnTo>
                <a:close/>
                <a:moveTo>
                  <a:pt x="659" y="250"/>
                </a:moveTo>
                <a:lnTo>
                  <a:pt x="658" y="252"/>
                </a:lnTo>
                <a:lnTo>
                  <a:pt x="657" y="254"/>
                </a:lnTo>
                <a:lnTo>
                  <a:pt x="656" y="254"/>
                </a:lnTo>
                <a:lnTo>
                  <a:pt x="655" y="254"/>
                </a:lnTo>
                <a:lnTo>
                  <a:pt x="652" y="252"/>
                </a:lnTo>
                <a:lnTo>
                  <a:pt x="649" y="251"/>
                </a:lnTo>
                <a:lnTo>
                  <a:pt x="648" y="252"/>
                </a:lnTo>
                <a:lnTo>
                  <a:pt x="647" y="254"/>
                </a:lnTo>
                <a:lnTo>
                  <a:pt x="649" y="256"/>
                </a:lnTo>
                <a:lnTo>
                  <a:pt x="652" y="257"/>
                </a:lnTo>
                <a:lnTo>
                  <a:pt x="651" y="258"/>
                </a:lnTo>
                <a:lnTo>
                  <a:pt x="650" y="258"/>
                </a:lnTo>
                <a:lnTo>
                  <a:pt x="648" y="258"/>
                </a:lnTo>
                <a:lnTo>
                  <a:pt x="647" y="258"/>
                </a:lnTo>
                <a:lnTo>
                  <a:pt x="644" y="255"/>
                </a:lnTo>
                <a:lnTo>
                  <a:pt x="644" y="251"/>
                </a:lnTo>
                <a:lnTo>
                  <a:pt x="643" y="249"/>
                </a:lnTo>
                <a:lnTo>
                  <a:pt x="640" y="248"/>
                </a:lnTo>
                <a:lnTo>
                  <a:pt x="639" y="244"/>
                </a:lnTo>
                <a:lnTo>
                  <a:pt x="637" y="241"/>
                </a:lnTo>
                <a:lnTo>
                  <a:pt x="634" y="242"/>
                </a:lnTo>
                <a:lnTo>
                  <a:pt x="629" y="242"/>
                </a:lnTo>
                <a:lnTo>
                  <a:pt x="625" y="241"/>
                </a:lnTo>
                <a:lnTo>
                  <a:pt x="619" y="239"/>
                </a:lnTo>
                <a:lnTo>
                  <a:pt x="610" y="233"/>
                </a:lnTo>
                <a:lnTo>
                  <a:pt x="603" y="228"/>
                </a:lnTo>
                <a:lnTo>
                  <a:pt x="606" y="227"/>
                </a:lnTo>
                <a:lnTo>
                  <a:pt x="608" y="226"/>
                </a:lnTo>
                <a:lnTo>
                  <a:pt x="610" y="227"/>
                </a:lnTo>
                <a:lnTo>
                  <a:pt x="612" y="228"/>
                </a:lnTo>
                <a:lnTo>
                  <a:pt x="616" y="231"/>
                </a:lnTo>
                <a:lnTo>
                  <a:pt x="619" y="234"/>
                </a:lnTo>
                <a:lnTo>
                  <a:pt x="624" y="235"/>
                </a:lnTo>
                <a:lnTo>
                  <a:pt x="629" y="236"/>
                </a:lnTo>
                <a:lnTo>
                  <a:pt x="631" y="235"/>
                </a:lnTo>
                <a:lnTo>
                  <a:pt x="633" y="235"/>
                </a:lnTo>
                <a:lnTo>
                  <a:pt x="635" y="235"/>
                </a:lnTo>
                <a:lnTo>
                  <a:pt x="636" y="236"/>
                </a:lnTo>
                <a:lnTo>
                  <a:pt x="636" y="239"/>
                </a:lnTo>
                <a:lnTo>
                  <a:pt x="637" y="240"/>
                </a:lnTo>
                <a:lnTo>
                  <a:pt x="639" y="239"/>
                </a:lnTo>
                <a:lnTo>
                  <a:pt x="640" y="239"/>
                </a:lnTo>
                <a:lnTo>
                  <a:pt x="642" y="240"/>
                </a:lnTo>
                <a:lnTo>
                  <a:pt x="645" y="240"/>
                </a:lnTo>
                <a:lnTo>
                  <a:pt x="649" y="240"/>
                </a:lnTo>
                <a:lnTo>
                  <a:pt x="650" y="241"/>
                </a:lnTo>
                <a:lnTo>
                  <a:pt x="652" y="243"/>
                </a:lnTo>
                <a:lnTo>
                  <a:pt x="653" y="246"/>
                </a:lnTo>
                <a:lnTo>
                  <a:pt x="658" y="247"/>
                </a:lnTo>
                <a:lnTo>
                  <a:pt x="659" y="250"/>
                </a:lnTo>
                <a:lnTo>
                  <a:pt x="659" y="250"/>
                </a:lnTo>
                <a:lnTo>
                  <a:pt x="659" y="250"/>
                </a:lnTo>
                <a:close/>
                <a:moveTo>
                  <a:pt x="689" y="316"/>
                </a:moveTo>
                <a:lnTo>
                  <a:pt x="685" y="316"/>
                </a:lnTo>
                <a:lnTo>
                  <a:pt x="684" y="314"/>
                </a:lnTo>
                <a:lnTo>
                  <a:pt x="684" y="313"/>
                </a:lnTo>
                <a:lnTo>
                  <a:pt x="685" y="311"/>
                </a:lnTo>
                <a:lnTo>
                  <a:pt x="688" y="310"/>
                </a:lnTo>
                <a:lnTo>
                  <a:pt x="690" y="310"/>
                </a:lnTo>
                <a:lnTo>
                  <a:pt x="692" y="313"/>
                </a:lnTo>
                <a:lnTo>
                  <a:pt x="693" y="315"/>
                </a:lnTo>
                <a:lnTo>
                  <a:pt x="691" y="316"/>
                </a:lnTo>
                <a:lnTo>
                  <a:pt x="689" y="316"/>
                </a:lnTo>
                <a:lnTo>
                  <a:pt x="689" y="315"/>
                </a:lnTo>
                <a:lnTo>
                  <a:pt x="689" y="316"/>
                </a:lnTo>
                <a:close/>
                <a:moveTo>
                  <a:pt x="527" y="323"/>
                </a:moveTo>
                <a:lnTo>
                  <a:pt x="526" y="322"/>
                </a:lnTo>
                <a:lnTo>
                  <a:pt x="523" y="319"/>
                </a:lnTo>
                <a:lnTo>
                  <a:pt x="521" y="319"/>
                </a:lnTo>
                <a:lnTo>
                  <a:pt x="521" y="319"/>
                </a:lnTo>
                <a:lnTo>
                  <a:pt x="520" y="321"/>
                </a:lnTo>
                <a:lnTo>
                  <a:pt x="520" y="323"/>
                </a:lnTo>
                <a:lnTo>
                  <a:pt x="521" y="324"/>
                </a:lnTo>
                <a:lnTo>
                  <a:pt x="524" y="324"/>
                </a:lnTo>
                <a:lnTo>
                  <a:pt x="526" y="324"/>
                </a:lnTo>
                <a:lnTo>
                  <a:pt x="526" y="325"/>
                </a:lnTo>
                <a:lnTo>
                  <a:pt x="526" y="326"/>
                </a:lnTo>
                <a:lnTo>
                  <a:pt x="527" y="327"/>
                </a:lnTo>
                <a:lnTo>
                  <a:pt x="527" y="330"/>
                </a:lnTo>
                <a:lnTo>
                  <a:pt x="527" y="332"/>
                </a:lnTo>
                <a:lnTo>
                  <a:pt x="527" y="332"/>
                </a:lnTo>
                <a:lnTo>
                  <a:pt x="526" y="331"/>
                </a:lnTo>
                <a:lnTo>
                  <a:pt x="523" y="327"/>
                </a:lnTo>
                <a:lnTo>
                  <a:pt x="519" y="326"/>
                </a:lnTo>
                <a:lnTo>
                  <a:pt x="517" y="323"/>
                </a:lnTo>
                <a:lnTo>
                  <a:pt x="513" y="321"/>
                </a:lnTo>
                <a:lnTo>
                  <a:pt x="516" y="319"/>
                </a:lnTo>
                <a:lnTo>
                  <a:pt x="519" y="319"/>
                </a:lnTo>
                <a:lnTo>
                  <a:pt x="520" y="317"/>
                </a:lnTo>
                <a:lnTo>
                  <a:pt x="521" y="316"/>
                </a:lnTo>
                <a:lnTo>
                  <a:pt x="527" y="317"/>
                </a:lnTo>
                <a:lnTo>
                  <a:pt x="532" y="319"/>
                </a:lnTo>
                <a:lnTo>
                  <a:pt x="533" y="322"/>
                </a:lnTo>
                <a:lnTo>
                  <a:pt x="532" y="323"/>
                </a:lnTo>
                <a:lnTo>
                  <a:pt x="529" y="323"/>
                </a:lnTo>
                <a:lnTo>
                  <a:pt x="527" y="323"/>
                </a:lnTo>
                <a:lnTo>
                  <a:pt x="527" y="323"/>
                </a:lnTo>
                <a:lnTo>
                  <a:pt x="527" y="323"/>
                </a:lnTo>
                <a:close/>
                <a:moveTo>
                  <a:pt x="537" y="338"/>
                </a:moveTo>
                <a:lnTo>
                  <a:pt x="541" y="335"/>
                </a:lnTo>
                <a:lnTo>
                  <a:pt x="543" y="335"/>
                </a:lnTo>
                <a:lnTo>
                  <a:pt x="545" y="337"/>
                </a:lnTo>
                <a:lnTo>
                  <a:pt x="548" y="338"/>
                </a:lnTo>
                <a:lnTo>
                  <a:pt x="543" y="338"/>
                </a:lnTo>
                <a:lnTo>
                  <a:pt x="537" y="338"/>
                </a:lnTo>
                <a:close/>
                <a:moveTo>
                  <a:pt x="553" y="334"/>
                </a:moveTo>
                <a:lnTo>
                  <a:pt x="551" y="333"/>
                </a:lnTo>
                <a:lnTo>
                  <a:pt x="549" y="332"/>
                </a:lnTo>
                <a:lnTo>
                  <a:pt x="549" y="331"/>
                </a:lnTo>
                <a:lnTo>
                  <a:pt x="549" y="330"/>
                </a:lnTo>
                <a:lnTo>
                  <a:pt x="549" y="329"/>
                </a:lnTo>
                <a:lnTo>
                  <a:pt x="551" y="329"/>
                </a:lnTo>
                <a:lnTo>
                  <a:pt x="553" y="329"/>
                </a:lnTo>
                <a:lnTo>
                  <a:pt x="554" y="331"/>
                </a:lnTo>
                <a:lnTo>
                  <a:pt x="554" y="333"/>
                </a:lnTo>
                <a:lnTo>
                  <a:pt x="553" y="334"/>
                </a:lnTo>
                <a:lnTo>
                  <a:pt x="552" y="334"/>
                </a:lnTo>
                <a:lnTo>
                  <a:pt x="553" y="334"/>
                </a:lnTo>
                <a:close/>
                <a:moveTo>
                  <a:pt x="632" y="379"/>
                </a:moveTo>
                <a:lnTo>
                  <a:pt x="629" y="380"/>
                </a:lnTo>
                <a:lnTo>
                  <a:pt x="627" y="380"/>
                </a:lnTo>
                <a:lnTo>
                  <a:pt x="625" y="380"/>
                </a:lnTo>
                <a:lnTo>
                  <a:pt x="623" y="380"/>
                </a:lnTo>
                <a:lnTo>
                  <a:pt x="624" y="379"/>
                </a:lnTo>
                <a:lnTo>
                  <a:pt x="626" y="377"/>
                </a:lnTo>
                <a:lnTo>
                  <a:pt x="626" y="375"/>
                </a:lnTo>
                <a:lnTo>
                  <a:pt x="626" y="373"/>
                </a:lnTo>
                <a:lnTo>
                  <a:pt x="628" y="373"/>
                </a:lnTo>
                <a:lnTo>
                  <a:pt x="631" y="374"/>
                </a:lnTo>
                <a:lnTo>
                  <a:pt x="632" y="375"/>
                </a:lnTo>
                <a:lnTo>
                  <a:pt x="633" y="375"/>
                </a:lnTo>
                <a:lnTo>
                  <a:pt x="632" y="376"/>
                </a:lnTo>
                <a:lnTo>
                  <a:pt x="632" y="379"/>
                </a:lnTo>
                <a:lnTo>
                  <a:pt x="631" y="379"/>
                </a:lnTo>
                <a:lnTo>
                  <a:pt x="632" y="379"/>
                </a:lnTo>
                <a:close/>
                <a:moveTo>
                  <a:pt x="379" y="321"/>
                </a:moveTo>
                <a:lnTo>
                  <a:pt x="379" y="321"/>
                </a:lnTo>
                <a:lnTo>
                  <a:pt x="379" y="319"/>
                </a:lnTo>
                <a:lnTo>
                  <a:pt x="380" y="321"/>
                </a:lnTo>
                <a:lnTo>
                  <a:pt x="379" y="321"/>
                </a:lnTo>
                <a:lnTo>
                  <a:pt x="379" y="321"/>
                </a:lnTo>
                <a:lnTo>
                  <a:pt x="379" y="321"/>
                </a:lnTo>
                <a:close/>
                <a:moveTo>
                  <a:pt x="478" y="359"/>
                </a:moveTo>
                <a:lnTo>
                  <a:pt x="469" y="356"/>
                </a:lnTo>
                <a:lnTo>
                  <a:pt x="461" y="354"/>
                </a:lnTo>
                <a:lnTo>
                  <a:pt x="456" y="350"/>
                </a:lnTo>
                <a:lnTo>
                  <a:pt x="453" y="347"/>
                </a:lnTo>
                <a:lnTo>
                  <a:pt x="455" y="346"/>
                </a:lnTo>
                <a:lnTo>
                  <a:pt x="458" y="347"/>
                </a:lnTo>
                <a:lnTo>
                  <a:pt x="459" y="348"/>
                </a:lnTo>
                <a:lnTo>
                  <a:pt x="461" y="350"/>
                </a:lnTo>
                <a:lnTo>
                  <a:pt x="466" y="352"/>
                </a:lnTo>
                <a:lnTo>
                  <a:pt x="472" y="352"/>
                </a:lnTo>
                <a:lnTo>
                  <a:pt x="478" y="355"/>
                </a:lnTo>
                <a:lnTo>
                  <a:pt x="484" y="358"/>
                </a:lnTo>
                <a:lnTo>
                  <a:pt x="488" y="362"/>
                </a:lnTo>
                <a:lnTo>
                  <a:pt x="492" y="367"/>
                </a:lnTo>
                <a:lnTo>
                  <a:pt x="485" y="363"/>
                </a:lnTo>
                <a:lnTo>
                  <a:pt x="478" y="359"/>
                </a:lnTo>
                <a:lnTo>
                  <a:pt x="477" y="359"/>
                </a:lnTo>
                <a:lnTo>
                  <a:pt x="478" y="359"/>
                </a:lnTo>
                <a:close/>
                <a:moveTo>
                  <a:pt x="279" y="202"/>
                </a:moveTo>
                <a:lnTo>
                  <a:pt x="281" y="202"/>
                </a:lnTo>
                <a:lnTo>
                  <a:pt x="284" y="202"/>
                </a:lnTo>
                <a:lnTo>
                  <a:pt x="286" y="203"/>
                </a:lnTo>
                <a:lnTo>
                  <a:pt x="288" y="206"/>
                </a:lnTo>
                <a:lnTo>
                  <a:pt x="282" y="207"/>
                </a:lnTo>
                <a:lnTo>
                  <a:pt x="278" y="206"/>
                </a:lnTo>
                <a:lnTo>
                  <a:pt x="277" y="205"/>
                </a:lnTo>
                <a:lnTo>
                  <a:pt x="277" y="203"/>
                </a:lnTo>
                <a:lnTo>
                  <a:pt x="277" y="202"/>
                </a:lnTo>
                <a:lnTo>
                  <a:pt x="279" y="202"/>
                </a:lnTo>
                <a:lnTo>
                  <a:pt x="279" y="202"/>
                </a:lnTo>
                <a:lnTo>
                  <a:pt x="279" y="202"/>
                </a:lnTo>
                <a:close/>
                <a:moveTo>
                  <a:pt x="294" y="217"/>
                </a:moveTo>
                <a:lnTo>
                  <a:pt x="301" y="221"/>
                </a:lnTo>
                <a:lnTo>
                  <a:pt x="306" y="222"/>
                </a:lnTo>
                <a:lnTo>
                  <a:pt x="311" y="223"/>
                </a:lnTo>
                <a:lnTo>
                  <a:pt x="314" y="224"/>
                </a:lnTo>
                <a:lnTo>
                  <a:pt x="318" y="223"/>
                </a:lnTo>
                <a:lnTo>
                  <a:pt x="321" y="223"/>
                </a:lnTo>
                <a:lnTo>
                  <a:pt x="322" y="225"/>
                </a:lnTo>
                <a:lnTo>
                  <a:pt x="322" y="227"/>
                </a:lnTo>
                <a:lnTo>
                  <a:pt x="320" y="227"/>
                </a:lnTo>
                <a:lnTo>
                  <a:pt x="319" y="227"/>
                </a:lnTo>
                <a:lnTo>
                  <a:pt x="318" y="228"/>
                </a:lnTo>
                <a:lnTo>
                  <a:pt x="318" y="230"/>
                </a:lnTo>
                <a:lnTo>
                  <a:pt x="320" y="230"/>
                </a:lnTo>
                <a:lnTo>
                  <a:pt x="320" y="230"/>
                </a:lnTo>
                <a:lnTo>
                  <a:pt x="332" y="233"/>
                </a:lnTo>
                <a:lnTo>
                  <a:pt x="345" y="236"/>
                </a:lnTo>
                <a:lnTo>
                  <a:pt x="350" y="239"/>
                </a:lnTo>
                <a:lnTo>
                  <a:pt x="353" y="241"/>
                </a:lnTo>
                <a:lnTo>
                  <a:pt x="353" y="242"/>
                </a:lnTo>
                <a:lnTo>
                  <a:pt x="353" y="243"/>
                </a:lnTo>
                <a:lnTo>
                  <a:pt x="351" y="244"/>
                </a:lnTo>
                <a:lnTo>
                  <a:pt x="348" y="244"/>
                </a:lnTo>
                <a:lnTo>
                  <a:pt x="340" y="243"/>
                </a:lnTo>
                <a:lnTo>
                  <a:pt x="335" y="241"/>
                </a:lnTo>
                <a:lnTo>
                  <a:pt x="328" y="238"/>
                </a:lnTo>
                <a:lnTo>
                  <a:pt x="322" y="234"/>
                </a:lnTo>
                <a:lnTo>
                  <a:pt x="309" y="230"/>
                </a:lnTo>
                <a:lnTo>
                  <a:pt x="296" y="224"/>
                </a:lnTo>
                <a:lnTo>
                  <a:pt x="285" y="219"/>
                </a:lnTo>
                <a:lnTo>
                  <a:pt x="273" y="216"/>
                </a:lnTo>
                <a:lnTo>
                  <a:pt x="269" y="215"/>
                </a:lnTo>
                <a:lnTo>
                  <a:pt x="265" y="214"/>
                </a:lnTo>
                <a:lnTo>
                  <a:pt x="262" y="210"/>
                </a:lnTo>
                <a:lnTo>
                  <a:pt x="261" y="207"/>
                </a:lnTo>
                <a:lnTo>
                  <a:pt x="278" y="211"/>
                </a:lnTo>
                <a:lnTo>
                  <a:pt x="294" y="217"/>
                </a:lnTo>
                <a:lnTo>
                  <a:pt x="296" y="218"/>
                </a:lnTo>
                <a:lnTo>
                  <a:pt x="293" y="217"/>
                </a:lnTo>
                <a:lnTo>
                  <a:pt x="290" y="216"/>
                </a:lnTo>
                <a:lnTo>
                  <a:pt x="294" y="217"/>
                </a:lnTo>
                <a:close/>
                <a:moveTo>
                  <a:pt x="247" y="201"/>
                </a:moveTo>
                <a:lnTo>
                  <a:pt x="253" y="202"/>
                </a:lnTo>
                <a:lnTo>
                  <a:pt x="260" y="205"/>
                </a:lnTo>
                <a:lnTo>
                  <a:pt x="255" y="206"/>
                </a:lnTo>
                <a:lnTo>
                  <a:pt x="252" y="206"/>
                </a:lnTo>
                <a:lnTo>
                  <a:pt x="249" y="205"/>
                </a:lnTo>
                <a:lnTo>
                  <a:pt x="247" y="201"/>
                </a:lnTo>
                <a:close/>
                <a:moveTo>
                  <a:pt x="228" y="186"/>
                </a:moveTo>
                <a:lnTo>
                  <a:pt x="230" y="184"/>
                </a:lnTo>
                <a:lnTo>
                  <a:pt x="231" y="184"/>
                </a:lnTo>
                <a:lnTo>
                  <a:pt x="233" y="186"/>
                </a:lnTo>
                <a:lnTo>
                  <a:pt x="236" y="189"/>
                </a:lnTo>
                <a:lnTo>
                  <a:pt x="241" y="189"/>
                </a:lnTo>
                <a:lnTo>
                  <a:pt x="247" y="192"/>
                </a:lnTo>
                <a:lnTo>
                  <a:pt x="241" y="192"/>
                </a:lnTo>
                <a:lnTo>
                  <a:pt x="236" y="191"/>
                </a:lnTo>
                <a:lnTo>
                  <a:pt x="231" y="190"/>
                </a:lnTo>
                <a:lnTo>
                  <a:pt x="228" y="186"/>
                </a:lnTo>
                <a:lnTo>
                  <a:pt x="230" y="188"/>
                </a:lnTo>
                <a:lnTo>
                  <a:pt x="228" y="186"/>
                </a:lnTo>
                <a:close/>
                <a:moveTo>
                  <a:pt x="159" y="201"/>
                </a:moveTo>
                <a:lnTo>
                  <a:pt x="155" y="201"/>
                </a:lnTo>
                <a:lnTo>
                  <a:pt x="150" y="199"/>
                </a:lnTo>
                <a:lnTo>
                  <a:pt x="151" y="198"/>
                </a:lnTo>
                <a:lnTo>
                  <a:pt x="154" y="198"/>
                </a:lnTo>
                <a:lnTo>
                  <a:pt x="156" y="198"/>
                </a:lnTo>
                <a:lnTo>
                  <a:pt x="158" y="198"/>
                </a:lnTo>
                <a:lnTo>
                  <a:pt x="161" y="199"/>
                </a:lnTo>
                <a:lnTo>
                  <a:pt x="159" y="201"/>
                </a:lnTo>
                <a:lnTo>
                  <a:pt x="159" y="201"/>
                </a:lnTo>
                <a:lnTo>
                  <a:pt x="159" y="201"/>
                </a:lnTo>
                <a:close/>
                <a:moveTo>
                  <a:pt x="187" y="289"/>
                </a:moveTo>
                <a:lnTo>
                  <a:pt x="180" y="289"/>
                </a:lnTo>
                <a:lnTo>
                  <a:pt x="173" y="286"/>
                </a:lnTo>
                <a:lnTo>
                  <a:pt x="166" y="284"/>
                </a:lnTo>
                <a:lnTo>
                  <a:pt x="161" y="281"/>
                </a:lnTo>
                <a:lnTo>
                  <a:pt x="171" y="282"/>
                </a:lnTo>
                <a:lnTo>
                  <a:pt x="181" y="282"/>
                </a:lnTo>
                <a:lnTo>
                  <a:pt x="181" y="284"/>
                </a:lnTo>
                <a:lnTo>
                  <a:pt x="183" y="285"/>
                </a:lnTo>
                <a:lnTo>
                  <a:pt x="186" y="285"/>
                </a:lnTo>
                <a:lnTo>
                  <a:pt x="188" y="285"/>
                </a:lnTo>
                <a:lnTo>
                  <a:pt x="189" y="286"/>
                </a:lnTo>
                <a:lnTo>
                  <a:pt x="190" y="288"/>
                </a:lnTo>
                <a:lnTo>
                  <a:pt x="189" y="289"/>
                </a:lnTo>
                <a:lnTo>
                  <a:pt x="187" y="289"/>
                </a:lnTo>
                <a:lnTo>
                  <a:pt x="184" y="289"/>
                </a:lnTo>
                <a:lnTo>
                  <a:pt x="187" y="289"/>
                </a:lnTo>
                <a:close/>
                <a:moveTo>
                  <a:pt x="121" y="294"/>
                </a:moveTo>
                <a:lnTo>
                  <a:pt x="114" y="294"/>
                </a:lnTo>
                <a:lnTo>
                  <a:pt x="106" y="292"/>
                </a:lnTo>
                <a:lnTo>
                  <a:pt x="111" y="291"/>
                </a:lnTo>
                <a:lnTo>
                  <a:pt x="116" y="291"/>
                </a:lnTo>
                <a:lnTo>
                  <a:pt x="118" y="291"/>
                </a:lnTo>
                <a:lnTo>
                  <a:pt x="120" y="292"/>
                </a:lnTo>
                <a:lnTo>
                  <a:pt x="121" y="293"/>
                </a:lnTo>
                <a:lnTo>
                  <a:pt x="121" y="294"/>
                </a:lnTo>
                <a:lnTo>
                  <a:pt x="120" y="296"/>
                </a:lnTo>
                <a:lnTo>
                  <a:pt x="121" y="294"/>
                </a:lnTo>
                <a:close/>
                <a:moveTo>
                  <a:pt x="148" y="304"/>
                </a:moveTo>
                <a:lnTo>
                  <a:pt x="148" y="304"/>
                </a:lnTo>
                <a:lnTo>
                  <a:pt x="149" y="304"/>
                </a:lnTo>
                <a:lnTo>
                  <a:pt x="149" y="304"/>
                </a:lnTo>
                <a:lnTo>
                  <a:pt x="148" y="304"/>
                </a:lnTo>
                <a:close/>
                <a:moveTo>
                  <a:pt x="188" y="316"/>
                </a:moveTo>
                <a:lnTo>
                  <a:pt x="184" y="315"/>
                </a:lnTo>
                <a:lnTo>
                  <a:pt x="182" y="315"/>
                </a:lnTo>
                <a:lnTo>
                  <a:pt x="181" y="313"/>
                </a:lnTo>
                <a:lnTo>
                  <a:pt x="180" y="310"/>
                </a:lnTo>
                <a:lnTo>
                  <a:pt x="183" y="310"/>
                </a:lnTo>
                <a:lnTo>
                  <a:pt x="187" y="311"/>
                </a:lnTo>
                <a:lnTo>
                  <a:pt x="187" y="311"/>
                </a:lnTo>
                <a:lnTo>
                  <a:pt x="188" y="314"/>
                </a:lnTo>
                <a:lnTo>
                  <a:pt x="189" y="315"/>
                </a:lnTo>
                <a:lnTo>
                  <a:pt x="188" y="316"/>
                </a:lnTo>
                <a:lnTo>
                  <a:pt x="187" y="316"/>
                </a:lnTo>
                <a:lnTo>
                  <a:pt x="188" y="316"/>
                </a:lnTo>
                <a:close/>
                <a:moveTo>
                  <a:pt x="302" y="319"/>
                </a:moveTo>
                <a:lnTo>
                  <a:pt x="296" y="321"/>
                </a:lnTo>
                <a:lnTo>
                  <a:pt x="289" y="321"/>
                </a:lnTo>
                <a:lnTo>
                  <a:pt x="287" y="321"/>
                </a:lnTo>
                <a:lnTo>
                  <a:pt x="284" y="319"/>
                </a:lnTo>
                <a:lnTo>
                  <a:pt x="281" y="318"/>
                </a:lnTo>
                <a:lnTo>
                  <a:pt x="280" y="316"/>
                </a:lnTo>
                <a:lnTo>
                  <a:pt x="285" y="314"/>
                </a:lnTo>
                <a:lnTo>
                  <a:pt x="290" y="313"/>
                </a:lnTo>
                <a:lnTo>
                  <a:pt x="294" y="314"/>
                </a:lnTo>
                <a:lnTo>
                  <a:pt x="298" y="315"/>
                </a:lnTo>
                <a:lnTo>
                  <a:pt x="299" y="315"/>
                </a:lnTo>
                <a:lnTo>
                  <a:pt x="301" y="316"/>
                </a:lnTo>
                <a:lnTo>
                  <a:pt x="302" y="318"/>
                </a:lnTo>
                <a:lnTo>
                  <a:pt x="302" y="319"/>
                </a:lnTo>
                <a:lnTo>
                  <a:pt x="302" y="321"/>
                </a:lnTo>
                <a:lnTo>
                  <a:pt x="302" y="319"/>
                </a:lnTo>
                <a:close/>
                <a:moveTo>
                  <a:pt x="299" y="304"/>
                </a:moveTo>
                <a:lnTo>
                  <a:pt x="297" y="306"/>
                </a:lnTo>
                <a:lnTo>
                  <a:pt x="295" y="308"/>
                </a:lnTo>
                <a:lnTo>
                  <a:pt x="293" y="308"/>
                </a:lnTo>
                <a:lnTo>
                  <a:pt x="289" y="308"/>
                </a:lnTo>
                <a:lnTo>
                  <a:pt x="282" y="305"/>
                </a:lnTo>
                <a:lnTo>
                  <a:pt x="277" y="301"/>
                </a:lnTo>
                <a:lnTo>
                  <a:pt x="277" y="299"/>
                </a:lnTo>
                <a:lnTo>
                  <a:pt x="278" y="299"/>
                </a:lnTo>
                <a:lnTo>
                  <a:pt x="278" y="298"/>
                </a:lnTo>
                <a:lnTo>
                  <a:pt x="279" y="298"/>
                </a:lnTo>
                <a:lnTo>
                  <a:pt x="279" y="298"/>
                </a:lnTo>
                <a:lnTo>
                  <a:pt x="277" y="297"/>
                </a:lnTo>
                <a:lnTo>
                  <a:pt x="270" y="294"/>
                </a:lnTo>
                <a:lnTo>
                  <a:pt x="264" y="293"/>
                </a:lnTo>
                <a:lnTo>
                  <a:pt x="261" y="293"/>
                </a:lnTo>
                <a:lnTo>
                  <a:pt x="256" y="293"/>
                </a:lnTo>
                <a:lnTo>
                  <a:pt x="254" y="291"/>
                </a:lnTo>
                <a:lnTo>
                  <a:pt x="252" y="289"/>
                </a:lnTo>
                <a:lnTo>
                  <a:pt x="247" y="290"/>
                </a:lnTo>
                <a:lnTo>
                  <a:pt x="243" y="288"/>
                </a:lnTo>
                <a:lnTo>
                  <a:pt x="245" y="285"/>
                </a:lnTo>
                <a:lnTo>
                  <a:pt x="247" y="282"/>
                </a:lnTo>
                <a:lnTo>
                  <a:pt x="260" y="286"/>
                </a:lnTo>
                <a:lnTo>
                  <a:pt x="271" y="292"/>
                </a:lnTo>
                <a:lnTo>
                  <a:pt x="276" y="293"/>
                </a:lnTo>
                <a:lnTo>
                  <a:pt x="279" y="293"/>
                </a:lnTo>
                <a:lnTo>
                  <a:pt x="280" y="296"/>
                </a:lnTo>
                <a:lnTo>
                  <a:pt x="279" y="297"/>
                </a:lnTo>
                <a:lnTo>
                  <a:pt x="281" y="298"/>
                </a:lnTo>
                <a:lnTo>
                  <a:pt x="284" y="299"/>
                </a:lnTo>
                <a:lnTo>
                  <a:pt x="291" y="300"/>
                </a:lnTo>
                <a:lnTo>
                  <a:pt x="299" y="304"/>
                </a:lnTo>
                <a:lnTo>
                  <a:pt x="296" y="304"/>
                </a:lnTo>
                <a:lnTo>
                  <a:pt x="299" y="304"/>
                </a:lnTo>
                <a:close/>
                <a:moveTo>
                  <a:pt x="247" y="282"/>
                </a:moveTo>
                <a:lnTo>
                  <a:pt x="244" y="283"/>
                </a:lnTo>
                <a:lnTo>
                  <a:pt x="239" y="284"/>
                </a:lnTo>
                <a:lnTo>
                  <a:pt x="237" y="284"/>
                </a:lnTo>
                <a:lnTo>
                  <a:pt x="235" y="284"/>
                </a:lnTo>
                <a:lnTo>
                  <a:pt x="235" y="283"/>
                </a:lnTo>
                <a:lnTo>
                  <a:pt x="235" y="281"/>
                </a:lnTo>
                <a:lnTo>
                  <a:pt x="237" y="280"/>
                </a:lnTo>
                <a:lnTo>
                  <a:pt x="240" y="279"/>
                </a:lnTo>
                <a:lnTo>
                  <a:pt x="244" y="280"/>
                </a:lnTo>
                <a:lnTo>
                  <a:pt x="247" y="282"/>
                </a:lnTo>
                <a:lnTo>
                  <a:pt x="245" y="282"/>
                </a:lnTo>
                <a:lnTo>
                  <a:pt x="247" y="282"/>
                </a:lnTo>
                <a:close/>
                <a:moveTo>
                  <a:pt x="237" y="273"/>
                </a:moveTo>
                <a:lnTo>
                  <a:pt x="238" y="271"/>
                </a:lnTo>
                <a:lnTo>
                  <a:pt x="241" y="269"/>
                </a:lnTo>
                <a:lnTo>
                  <a:pt x="245" y="271"/>
                </a:lnTo>
                <a:lnTo>
                  <a:pt x="247" y="271"/>
                </a:lnTo>
                <a:lnTo>
                  <a:pt x="245" y="273"/>
                </a:lnTo>
                <a:lnTo>
                  <a:pt x="241" y="274"/>
                </a:lnTo>
                <a:lnTo>
                  <a:pt x="238" y="274"/>
                </a:lnTo>
                <a:lnTo>
                  <a:pt x="237" y="273"/>
                </a:lnTo>
                <a:lnTo>
                  <a:pt x="236" y="272"/>
                </a:lnTo>
                <a:lnTo>
                  <a:pt x="237" y="273"/>
                </a:lnTo>
                <a:close/>
                <a:moveTo>
                  <a:pt x="254" y="274"/>
                </a:moveTo>
                <a:lnTo>
                  <a:pt x="258" y="274"/>
                </a:lnTo>
                <a:lnTo>
                  <a:pt x="263" y="276"/>
                </a:lnTo>
                <a:lnTo>
                  <a:pt x="269" y="279"/>
                </a:lnTo>
                <a:lnTo>
                  <a:pt x="274" y="277"/>
                </a:lnTo>
                <a:lnTo>
                  <a:pt x="273" y="280"/>
                </a:lnTo>
                <a:lnTo>
                  <a:pt x="272" y="281"/>
                </a:lnTo>
                <a:lnTo>
                  <a:pt x="271" y="282"/>
                </a:lnTo>
                <a:lnTo>
                  <a:pt x="269" y="282"/>
                </a:lnTo>
                <a:lnTo>
                  <a:pt x="265" y="280"/>
                </a:lnTo>
                <a:lnTo>
                  <a:pt x="262" y="279"/>
                </a:lnTo>
                <a:lnTo>
                  <a:pt x="258" y="279"/>
                </a:lnTo>
                <a:lnTo>
                  <a:pt x="255" y="277"/>
                </a:lnTo>
                <a:lnTo>
                  <a:pt x="253" y="276"/>
                </a:lnTo>
                <a:lnTo>
                  <a:pt x="253" y="276"/>
                </a:lnTo>
                <a:lnTo>
                  <a:pt x="253" y="275"/>
                </a:lnTo>
                <a:lnTo>
                  <a:pt x="254" y="274"/>
                </a:lnTo>
                <a:lnTo>
                  <a:pt x="254" y="274"/>
                </a:lnTo>
                <a:lnTo>
                  <a:pt x="254" y="274"/>
                </a:lnTo>
                <a:close/>
                <a:moveTo>
                  <a:pt x="312" y="292"/>
                </a:moveTo>
                <a:lnTo>
                  <a:pt x="319" y="293"/>
                </a:lnTo>
                <a:lnTo>
                  <a:pt x="324" y="293"/>
                </a:lnTo>
                <a:lnTo>
                  <a:pt x="321" y="296"/>
                </a:lnTo>
                <a:lnTo>
                  <a:pt x="319" y="297"/>
                </a:lnTo>
                <a:lnTo>
                  <a:pt x="317" y="296"/>
                </a:lnTo>
                <a:lnTo>
                  <a:pt x="312" y="292"/>
                </a:lnTo>
                <a:close/>
                <a:moveTo>
                  <a:pt x="337" y="290"/>
                </a:moveTo>
                <a:lnTo>
                  <a:pt x="342" y="289"/>
                </a:lnTo>
                <a:lnTo>
                  <a:pt x="347" y="289"/>
                </a:lnTo>
                <a:lnTo>
                  <a:pt x="351" y="289"/>
                </a:lnTo>
                <a:lnTo>
                  <a:pt x="353" y="290"/>
                </a:lnTo>
                <a:lnTo>
                  <a:pt x="355" y="292"/>
                </a:lnTo>
                <a:lnTo>
                  <a:pt x="355" y="293"/>
                </a:lnTo>
                <a:lnTo>
                  <a:pt x="355" y="296"/>
                </a:lnTo>
                <a:lnTo>
                  <a:pt x="353" y="297"/>
                </a:lnTo>
                <a:lnTo>
                  <a:pt x="351" y="298"/>
                </a:lnTo>
                <a:lnTo>
                  <a:pt x="350" y="298"/>
                </a:lnTo>
                <a:lnTo>
                  <a:pt x="346" y="298"/>
                </a:lnTo>
                <a:lnTo>
                  <a:pt x="342" y="297"/>
                </a:lnTo>
                <a:lnTo>
                  <a:pt x="338" y="297"/>
                </a:lnTo>
                <a:lnTo>
                  <a:pt x="334" y="297"/>
                </a:lnTo>
                <a:lnTo>
                  <a:pt x="331" y="293"/>
                </a:lnTo>
                <a:lnTo>
                  <a:pt x="332" y="291"/>
                </a:lnTo>
                <a:lnTo>
                  <a:pt x="334" y="290"/>
                </a:lnTo>
                <a:lnTo>
                  <a:pt x="337" y="290"/>
                </a:lnTo>
                <a:lnTo>
                  <a:pt x="338" y="289"/>
                </a:lnTo>
                <a:lnTo>
                  <a:pt x="337" y="290"/>
                </a:lnTo>
                <a:close/>
                <a:moveTo>
                  <a:pt x="331" y="284"/>
                </a:moveTo>
                <a:lnTo>
                  <a:pt x="334" y="284"/>
                </a:lnTo>
                <a:lnTo>
                  <a:pt x="334" y="285"/>
                </a:lnTo>
                <a:lnTo>
                  <a:pt x="334" y="285"/>
                </a:lnTo>
                <a:lnTo>
                  <a:pt x="332" y="286"/>
                </a:lnTo>
                <a:lnTo>
                  <a:pt x="328" y="288"/>
                </a:lnTo>
                <a:lnTo>
                  <a:pt x="326" y="289"/>
                </a:lnTo>
                <a:lnTo>
                  <a:pt x="320" y="289"/>
                </a:lnTo>
                <a:lnTo>
                  <a:pt x="315" y="286"/>
                </a:lnTo>
                <a:lnTo>
                  <a:pt x="312" y="288"/>
                </a:lnTo>
                <a:lnTo>
                  <a:pt x="309" y="289"/>
                </a:lnTo>
                <a:lnTo>
                  <a:pt x="305" y="290"/>
                </a:lnTo>
                <a:lnTo>
                  <a:pt x="302" y="289"/>
                </a:lnTo>
                <a:lnTo>
                  <a:pt x="299" y="288"/>
                </a:lnTo>
                <a:lnTo>
                  <a:pt x="297" y="286"/>
                </a:lnTo>
                <a:lnTo>
                  <a:pt x="295" y="285"/>
                </a:lnTo>
                <a:lnTo>
                  <a:pt x="293" y="284"/>
                </a:lnTo>
                <a:lnTo>
                  <a:pt x="294" y="282"/>
                </a:lnTo>
                <a:lnTo>
                  <a:pt x="294" y="279"/>
                </a:lnTo>
                <a:lnTo>
                  <a:pt x="303" y="281"/>
                </a:lnTo>
                <a:lnTo>
                  <a:pt x="312" y="283"/>
                </a:lnTo>
                <a:lnTo>
                  <a:pt x="322" y="283"/>
                </a:lnTo>
                <a:lnTo>
                  <a:pt x="331" y="284"/>
                </a:lnTo>
                <a:lnTo>
                  <a:pt x="327" y="283"/>
                </a:lnTo>
                <a:lnTo>
                  <a:pt x="331" y="284"/>
                </a:lnTo>
                <a:close/>
                <a:moveTo>
                  <a:pt x="284" y="267"/>
                </a:moveTo>
                <a:lnTo>
                  <a:pt x="282" y="266"/>
                </a:lnTo>
                <a:lnTo>
                  <a:pt x="282" y="266"/>
                </a:lnTo>
                <a:lnTo>
                  <a:pt x="282" y="265"/>
                </a:lnTo>
                <a:lnTo>
                  <a:pt x="284" y="265"/>
                </a:lnTo>
                <a:lnTo>
                  <a:pt x="286" y="266"/>
                </a:lnTo>
                <a:lnTo>
                  <a:pt x="288" y="267"/>
                </a:lnTo>
                <a:lnTo>
                  <a:pt x="290" y="266"/>
                </a:lnTo>
                <a:lnTo>
                  <a:pt x="293" y="266"/>
                </a:lnTo>
                <a:lnTo>
                  <a:pt x="294" y="268"/>
                </a:lnTo>
                <a:lnTo>
                  <a:pt x="294" y="271"/>
                </a:lnTo>
                <a:lnTo>
                  <a:pt x="297" y="271"/>
                </a:lnTo>
                <a:lnTo>
                  <a:pt x="301" y="271"/>
                </a:lnTo>
                <a:lnTo>
                  <a:pt x="303" y="272"/>
                </a:lnTo>
                <a:lnTo>
                  <a:pt x="304" y="273"/>
                </a:lnTo>
                <a:lnTo>
                  <a:pt x="305" y="274"/>
                </a:lnTo>
                <a:lnTo>
                  <a:pt x="305" y="274"/>
                </a:lnTo>
                <a:lnTo>
                  <a:pt x="303" y="276"/>
                </a:lnTo>
                <a:lnTo>
                  <a:pt x="299" y="276"/>
                </a:lnTo>
                <a:lnTo>
                  <a:pt x="295" y="275"/>
                </a:lnTo>
                <a:lnTo>
                  <a:pt x="290" y="274"/>
                </a:lnTo>
                <a:lnTo>
                  <a:pt x="286" y="273"/>
                </a:lnTo>
                <a:lnTo>
                  <a:pt x="284" y="274"/>
                </a:lnTo>
                <a:lnTo>
                  <a:pt x="286" y="274"/>
                </a:lnTo>
                <a:lnTo>
                  <a:pt x="287" y="275"/>
                </a:lnTo>
                <a:lnTo>
                  <a:pt x="288" y="276"/>
                </a:lnTo>
                <a:lnTo>
                  <a:pt x="286" y="277"/>
                </a:lnTo>
                <a:lnTo>
                  <a:pt x="281" y="279"/>
                </a:lnTo>
                <a:lnTo>
                  <a:pt x="274" y="277"/>
                </a:lnTo>
                <a:lnTo>
                  <a:pt x="276" y="274"/>
                </a:lnTo>
                <a:lnTo>
                  <a:pt x="277" y="271"/>
                </a:lnTo>
                <a:lnTo>
                  <a:pt x="274" y="271"/>
                </a:lnTo>
                <a:lnTo>
                  <a:pt x="273" y="271"/>
                </a:lnTo>
                <a:lnTo>
                  <a:pt x="272" y="269"/>
                </a:lnTo>
                <a:lnTo>
                  <a:pt x="272" y="268"/>
                </a:lnTo>
                <a:lnTo>
                  <a:pt x="271" y="265"/>
                </a:lnTo>
                <a:lnTo>
                  <a:pt x="270" y="261"/>
                </a:lnTo>
                <a:lnTo>
                  <a:pt x="273" y="264"/>
                </a:lnTo>
                <a:lnTo>
                  <a:pt x="277" y="267"/>
                </a:lnTo>
                <a:lnTo>
                  <a:pt x="279" y="268"/>
                </a:lnTo>
                <a:lnTo>
                  <a:pt x="280" y="268"/>
                </a:lnTo>
                <a:lnTo>
                  <a:pt x="281" y="268"/>
                </a:lnTo>
                <a:lnTo>
                  <a:pt x="284" y="267"/>
                </a:lnTo>
                <a:lnTo>
                  <a:pt x="282" y="268"/>
                </a:lnTo>
                <a:lnTo>
                  <a:pt x="284" y="267"/>
                </a:lnTo>
                <a:close/>
                <a:moveTo>
                  <a:pt x="276" y="241"/>
                </a:moveTo>
                <a:lnTo>
                  <a:pt x="277" y="242"/>
                </a:lnTo>
                <a:lnTo>
                  <a:pt x="276" y="244"/>
                </a:lnTo>
                <a:lnTo>
                  <a:pt x="273" y="243"/>
                </a:lnTo>
                <a:lnTo>
                  <a:pt x="272" y="242"/>
                </a:lnTo>
                <a:lnTo>
                  <a:pt x="266" y="241"/>
                </a:lnTo>
                <a:lnTo>
                  <a:pt x="262" y="239"/>
                </a:lnTo>
                <a:lnTo>
                  <a:pt x="265" y="238"/>
                </a:lnTo>
                <a:lnTo>
                  <a:pt x="269" y="238"/>
                </a:lnTo>
                <a:lnTo>
                  <a:pt x="272" y="239"/>
                </a:lnTo>
                <a:lnTo>
                  <a:pt x="276" y="241"/>
                </a:lnTo>
                <a:lnTo>
                  <a:pt x="274" y="241"/>
                </a:lnTo>
                <a:lnTo>
                  <a:pt x="276" y="241"/>
                </a:lnTo>
                <a:close/>
                <a:moveTo>
                  <a:pt x="263" y="259"/>
                </a:moveTo>
                <a:lnTo>
                  <a:pt x="263" y="260"/>
                </a:lnTo>
                <a:lnTo>
                  <a:pt x="262" y="261"/>
                </a:lnTo>
                <a:lnTo>
                  <a:pt x="261" y="263"/>
                </a:lnTo>
                <a:lnTo>
                  <a:pt x="260" y="263"/>
                </a:lnTo>
                <a:lnTo>
                  <a:pt x="258" y="261"/>
                </a:lnTo>
                <a:lnTo>
                  <a:pt x="257" y="259"/>
                </a:lnTo>
                <a:lnTo>
                  <a:pt x="254" y="258"/>
                </a:lnTo>
                <a:lnTo>
                  <a:pt x="249" y="257"/>
                </a:lnTo>
                <a:lnTo>
                  <a:pt x="252" y="260"/>
                </a:lnTo>
                <a:lnTo>
                  <a:pt x="253" y="264"/>
                </a:lnTo>
                <a:lnTo>
                  <a:pt x="250" y="263"/>
                </a:lnTo>
                <a:lnTo>
                  <a:pt x="247" y="263"/>
                </a:lnTo>
                <a:lnTo>
                  <a:pt x="245" y="263"/>
                </a:lnTo>
                <a:lnTo>
                  <a:pt x="243" y="260"/>
                </a:lnTo>
                <a:lnTo>
                  <a:pt x="243" y="258"/>
                </a:lnTo>
                <a:lnTo>
                  <a:pt x="244" y="257"/>
                </a:lnTo>
                <a:lnTo>
                  <a:pt x="246" y="256"/>
                </a:lnTo>
                <a:lnTo>
                  <a:pt x="248" y="255"/>
                </a:lnTo>
                <a:lnTo>
                  <a:pt x="249" y="254"/>
                </a:lnTo>
                <a:lnTo>
                  <a:pt x="250" y="254"/>
                </a:lnTo>
                <a:lnTo>
                  <a:pt x="252" y="254"/>
                </a:lnTo>
                <a:lnTo>
                  <a:pt x="254" y="254"/>
                </a:lnTo>
                <a:lnTo>
                  <a:pt x="258" y="256"/>
                </a:lnTo>
                <a:lnTo>
                  <a:pt x="263" y="259"/>
                </a:lnTo>
                <a:close/>
                <a:moveTo>
                  <a:pt x="227" y="216"/>
                </a:moveTo>
                <a:lnTo>
                  <a:pt x="225" y="217"/>
                </a:lnTo>
                <a:lnTo>
                  <a:pt x="223" y="216"/>
                </a:lnTo>
                <a:lnTo>
                  <a:pt x="224" y="216"/>
                </a:lnTo>
                <a:lnTo>
                  <a:pt x="227" y="216"/>
                </a:lnTo>
                <a:lnTo>
                  <a:pt x="227" y="216"/>
                </a:lnTo>
                <a:lnTo>
                  <a:pt x="227" y="216"/>
                </a:lnTo>
                <a:close/>
                <a:moveTo>
                  <a:pt x="220" y="214"/>
                </a:moveTo>
                <a:lnTo>
                  <a:pt x="221" y="214"/>
                </a:lnTo>
                <a:lnTo>
                  <a:pt x="221" y="214"/>
                </a:lnTo>
                <a:lnTo>
                  <a:pt x="220" y="214"/>
                </a:lnTo>
                <a:lnTo>
                  <a:pt x="219" y="214"/>
                </a:lnTo>
                <a:lnTo>
                  <a:pt x="220" y="214"/>
                </a:lnTo>
                <a:lnTo>
                  <a:pt x="220" y="214"/>
                </a:lnTo>
                <a:lnTo>
                  <a:pt x="220" y="214"/>
                </a:lnTo>
                <a:lnTo>
                  <a:pt x="220" y="214"/>
                </a:lnTo>
                <a:close/>
                <a:moveTo>
                  <a:pt x="181" y="194"/>
                </a:moveTo>
                <a:lnTo>
                  <a:pt x="182" y="193"/>
                </a:lnTo>
                <a:lnTo>
                  <a:pt x="183" y="192"/>
                </a:lnTo>
                <a:lnTo>
                  <a:pt x="184" y="192"/>
                </a:lnTo>
                <a:lnTo>
                  <a:pt x="186" y="194"/>
                </a:lnTo>
                <a:lnTo>
                  <a:pt x="186" y="197"/>
                </a:lnTo>
                <a:lnTo>
                  <a:pt x="186" y="198"/>
                </a:lnTo>
                <a:lnTo>
                  <a:pt x="183" y="198"/>
                </a:lnTo>
                <a:lnTo>
                  <a:pt x="181" y="198"/>
                </a:lnTo>
                <a:lnTo>
                  <a:pt x="180" y="197"/>
                </a:lnTo>
                <a:lnTo>
                  <a:pt x="181" y="194"/>
                </a:lnTo>
                <a:lnTo>
                  <a:pt x="180" y="194"/>
                </a:lnTo>
                <a:lnTo>
                  <a:pt x="181" y="194"/>
                </a:lnTo>
                <a:close/>
                <a:moveTo>
                  <a:pt x="191" y="207"/>
                </a:moveTo>
                <a:lnTo>
                  <a:pt x="188" y="206"/>
                </a:lnTo>
                <a:lnTo>
                  <a:pt x="184" y="206"/>
                </a:lnTo>
                <a:lnTo>
                  <a:pt x="182" y="206"/>
                </a:lnTo>
                <a:lnTo>
                  <a:pt x="181" y="202"/>
                </a:lnTo>
                <a:lnTo>
                  <a:pt x="178" y="202"/>
                </a:lnTo>
                <a:lnTo>
                  <a:pt x="175" y="201"/>
                </a:lnTo>
                <a:lnTo>
                  <a:pt x="173" y="199"/>
                </a:lnTo>
                <a:lnTo>
                  <a:pt x="171" y="198"/>
                </a:lnTo>
                <a:lnTo>
                  <a:pt x="167" y="198"/>
                </a:lnTo>
                <a:lnTo>
                  <a:pt x="165" y="197"/>
                </a:lnTo>
                <a:lnTo>
                  <a:pt x="165" y="196"/>
                </a:lnTo>
                <a:lnTo>
                  <a:pt x="166" y="194"/>
                </a:lnTo>
                <a:lnTo>
                  <a:pt x="170" y="194"/>
                </a:lnTo>
                <a:lnTo>
                  <a:pt x="171" y="194"/>
                </a:lnTo>
                <a:lnTo>
                  <a:pt x="169" y="192"/>
                </a:lnTo>
                <a:lnTo>
                  <a:pt x="166" y="191"/>
                </a:lnTo>
                <a:lnTo>
                  <a:pt x="166" y="190"/>
                </a:lnTo>
                <a:lnTo>
                  <a:pt x="167" y="189"/>
                </a:lnTo>
                <a:lnTo>
                  <a:pt x="169" y="188"/>
                </a:lnTo>
                <a:lnTo>
                  <a:pt x="171" y="188"/>
                </a:lnTo>
                <a:lnTo>
                  <a:pt x="174" y="188"/>
                </a:lnTo>
                <a:lnTo>
                  <a:pt x="177" y="188"/>
                </a:lnTo>
                <a:lnTo>
                  <a:pt x="174" y="192"/>
                </a:lnTo>
                <a:lnTo>
                  <a:pt x="172" y="196"/>
                </a:lnTo>
                <a:lnTo>
                  <a:pt x="181" y="198"/>
                </a:lnTo>
                <a:lnTo>
                  <a:pt x="196" y="203"/>
                </a:lnTo>
                <a:lnTo>
                  <a:pt x="210" y="209"/>
                </a:lnTo>
                <a:lnTo>
                  <a:pt x="215" y="213"/>
                </a:lnTo>
                <a:lnTo>
                  <a:pt x="203" y="210"/>
                </a:lnTo>
                <a:lnTo>
                  <a:pt x="191" y="207"/>
                </a:lnTo>
                <a:lnTo>
                  <a:pt x="192" y="207"/>
                </a:lnTo>
                <a:lnTo>
                  <a:pt x="191" y="207"/>
                </a:lnTo>
                <a:close/>
                <a:moveTo>
                  <a:pt x="192" y="216"/>
                </a:moveTo>
                <a:lnTo>
                  <a:pt x="194" y="216"/>
                </a:lnTo>
                <a:lnTo>
                  <a:pt x="196" y="216"/>
                </a:lnTo>
                <a:lnTo>
                  <a:pt x="195" y="217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close/>
                <a:moveTo>
                  <a:pt x="195" y="234"/>
                </a:moveTo>
                <a:lnTo>
                  <a:pt x="195" y="235"/>
                </a:lnTo>
                <a:lnTo>
                  <a:pt x="196" y="235"/>
                </a:lnTo>
                <a:lnTo>
                  <a:pt x="195" y="235"/>
                </a:lnTo>
                <a:lnTo>
                  <a:pt x="194" y="235"/>
                </a:lnTo>
                <a:lnTo>
                  <a:pt x="194" y="234"/>
                </a:lnTo>
                <a:lnTo>
                  <a:pt x="195" y="234"/>
                </a:lnTo>
                <a:lnTo>
                  <a:pt x="194" y="234"/>
                </a:lnTo>
                <a:lnTo>
                  <a:pt x="195" y="234"/>
                </a:lnTo>
                <a:close/>
                <a:moveTo>
                  <a:pt x="204" y="244"/>
                </a:moveTo>
                <a:lnTo>
                  <a:pt x="202" y="246"/>
                </a:lnTo>
                <a:lnTo>
                  <a:pt x="198" y="244"/>
                </a:lnTo>
                <a:lnTo>
                  <a:pt x="196" y="243"/>
                </a:lnTo>
                <a:lnTo>
                  <a:pt x="192" y="243"/>
                </a:lnTo>
                <a:lnTo>
                  <a:pt x="198" y="242"/>
                </a:lnTo>
                <a:lnTo>
                  <a:pt x="204" y="244"/>
                </a:lnTo>
                <a:close/>
                <a:moveTo>
                  <a:pt x="204" y="256"/>
                </a:moveTo>
                <a:lnTo>
                  <a:pt x="200" y="256"/>
                </a:lnTo>
                <a:lnTo>
                  <a:pt x="196" y="256"/>
                </a:lnTo>
                <a:lnTo>
                  <a:pt x="191" y="255"/>
                </a:lnTo>
                <a:lnTo>
                  <a:pt x="188" y="252"/>
                </a:lnTo>
                <a:lnTo>
                  <a:pt x="188" y="250"/>
                </a:lnTo>
                <a:lnTo>
                  <a:pt x="189" y="250"/>
                </a:lnTo>
                <a:lnTo>
                  <a:pt x="191" y="250"/>
                </a:lnTo>
                <a:lnTo>
                  <a:pt x="195" y="251"/>
                </a:lnTo>
                <a:lnTo>
                  <a:pt x="200" y="254"/>
                </a:lnTo>
                <a:lnTo>
                  <a:pt x="204" y="256"/>
                </a:lnTo>
                <a:lnTo>
                  <a:pt x="200" y="255"/>
                </a:lnTo>
                <a:lnTo>
                  <a:pt x="204" y="256"/>
                </a:lnTo>
                <a:close/>
                <a:moveTo>
                  <a:pt x="181" y="243"/>
                </a:moveTo>
                <a:lnTo>
                  <a:pt x="181" y="240"/>
                </a:lnTo>
                <a:lnTo>
                  <a:pt x="182" y="238"/>
                </a:lnTo>
                <a:lnTo>
                  <a:pt x="182" y="236"/>
                </a:lnTo>
                <a:lnTo>
                  <a:pt x="183" y="235"/>
                </a:lnTo>
                <a:lnTo>
                  <a:pt x="184" y="236"/>
                </a:lnTo>
                <a:lnTo>
                  <a:pt x="187" y="238"/>
                </a:lnTo>
                <a:lnTo>
                  <a:pt x="189" y="240"/>
                </a:lnTo>
                <a:lnTo>
                  <a:pt x="189" y="241"/>
                </a:lnTo>
                <a:lnTo>
                  <a:pt x="189" y="242"/>
                </a:lnTo>
                <a:lnTo>
                  <a:pt x="188" y="243"/>
                </a:lnTo>
                <a:lnTo>
                  <a:pt x="184" y="243"/>
                </a:lnTo>
                <a:lnTo>
                  <a:pt x="181" y="243"/>
                </a:lnTo>
                <a:lnTo>
                  <a:pt x="182" y="243"/>
                </a:lnTo>
                <a:lnTo>
                  <a:pt x="181" y="243"/>
                </a:lnTo>
                <a:close/>
                <a:moveTo>
                  <a:pt x="189" y="263"/>
                </a:moveTo>
                <a:lnTo>
                  <a:pt x="186" y="261"/>
                </a:lnTo>
                <a:lnTo>
                  <a:pt x="183" y="260"/>
                </a:lnTo>
                <a:lnTo>
                  <a:pt x="181" y="261"/>
                </a:lnTo>
                <a:lnTo>
                  <a:pt x="180" y="263"/>
                </a:lnTo>
                <a:lnTo>
                  <a:pt x="179" y="264"/>
                </a:lnTo>
                <a:lnTo>
                  <a:pt x="178" y="264"/>
                </a:lnTo>
                <a:lnTo>
                  <a:pt x="175" y="261"/>
                </a:lnTo>
                <a:lnTo>
                  <a:pt x="174" y="260"/>
                </a:lnTo>
                <a:lnTo>
                  <a:pt x="175" y="258"/>
                </a:lnTo>
                <a:lnTo>
                  <a:pt x="178" y="257"/>
                </a:lnTo>
                <a:lnTo>
                  <a:pt x="180" y="257"/>
                </a:lnTo>
                <a:lnTo>
                  <a:pt x="183" y="257"/>
                </a:lnTo>
                <a:lnTo>
                  <a:pt x="186" y="256"/>
                </a:lnTo>
                <a:lnTo>
                  <a:pt x="188" y="257"/>
                </a:lnTo>
                <a:lnTo>
                  <a:pt x="189" y="258"/>
                </a:lnTo>
                <a:lnTo>
                  <a:pt x="190" y="259"/>
                </a:lnTo>
                <a:lnTo>
                  <a:pt x="190" y="261"/>
                </a:lnTo>
                <a:lnTo>
                  <a:pt x="189" y="263"/>
                </a:lnTo>
                <a:lnTo>
                  <a:pt x="189" y="263"/>
                </a:lnTo>
                <a:lnTo>
                  <a:pt x="189" y="263"/>
                </a:lnTo>
                <a:close/>
                <a:moveTo>
                  <a:pt x="191" y="267"/>
                </a:moveTo>
                <a:lnTo>
                  <a:pt x="190" y="266"/>
                </a:lnTo>
                <a:lnTo>
                  <a:pt x="191" y="265"/>
                </a:lnTo>
                <a:lnTo>
                  <a:pt x="191" y="265"/>
                </a:lnTo>
                <a:lnTo>
                  <a:pt x="192" y="264"/>
                </a:lnTo>
                <a:lnTo>
                  <a:pt x="196" y="264"/>
                </a:lnTo>
                <a:lnTo>
                  <a:pt x="198" y="264"/>
                </a:lnTo>
                <a:lnTo>
                  <a:pt x="203" y="265"/>
                </a:lnTo>
                <a:lnTo>
                  <a:pt x="208" y="266"/>
                </a:lnTo>
                <a:lnTo>
                  <a:pt x="205" y="268"/>
                </a:lnTo>
                <a:lnTo>
                  <a:pt x="199" y="269"/>
                </a:lnTo>
                <a:lnTo>
                  <a:pt x="195" y="269"/>
                </a:lnTo>
                <a:lnTo>
                  <a:pt x="191" y="267"/>
                </a:lnTo>
                <a:lnTo>
                  <a:pt x="191" y="267"/>
                </a:lnTo>
                <a:lnTo>
                  <a:pt x="191" y="267"/>
                </a:lnTo>
                <a:close/>
                <a:moveTo>
                  <a:pt x="207" y="226"/>
                </a:moveTo>
                <a:lnTo>
                  <a:pt x="207" y="223"/>
                </a:lnTo>
                <a:lnTo>
                  <a:pt x="208" y="221"/>
                </a:lnTo>
                <a:lnTo>
                  <a:pt x="210" y="219"/>
                </a:lnTo>
                <a:lnTo>
                  <a:pt x="211" y="218"/>
                </a:lnTo>
                <a:lnTo>
                  <a:pt x="216" y="218"/>
                </a:lnTo>
                <a:lnTo>
                  <a:pt x="222" y="221"/>
                </a:lnTo>
                <a:lnTo>
                  <a:pt x="231" y="223"/>
                </a:lnTo>
                <a:lnTo>
                  <a:pt x="241" y="227"/>
                </a:lnTo>
                <a:lnTo>
                  <a:pt x="250" y="231"/>
                </a:lnTo>
                <a:lnTo>
                  <a:pt x="260" y="235"/>
                </a:lnTo>
                <a:lnTo>
                  <a:pt x="253" y="235"/>
                </a:lnTo>
                <a:lnTo>
                  <a:pt x="246" y="234"/>
                </a:lnTo>
                <a:lnTo>
                  <a:pt x="240" y="231"/>
                </a:lnTo>
                <a:lnTo>
                  <a:pt x="235" y="228"/>
                </a:lnTo>
                <a:lnTo>
                  <a:pt x="230" y="231"/>
                </a:lnTo>
                <a:lnTo>
                  <a:pt x="225" y="230"/>
                </a:lnTo>
                <a:lnTo>
                  <a:pt x="223" y="228"/>
                </a:lnTo>
                <a:lnTo>
                  <a:pt x="224" y="227"/>
                </a:lnTo>
                <a:lnTo>
                  <a:pt x="227" y="227"/>
                </a:lnTo>
                <a:lnTo>
                  <a:pt x="228" y="225"/>
                </a:lnTo>
                <a:lnTo>
                  <a:pt x="222" y="224"/>
                </a:lnTo>
                <a:lnTo>
                  <a:pt x="216" y="225"/>
                </a:lnTo>
                <a:lnTo>
                  <a:pt x="214" y="226"/>
                </a:lnTo>
                <a:lnTo>
                  <a:pt x="212" y="227"/>
                </a:lnTo>
                <a:lnTo>
                  <a:pt x="211" y="228"/>
                </a:lnTo>
                <a:lnTo>
                  <a:pt x="210" y="228"/>
                </a:lnTo>
                <a:lnTo>
                  <a:pt x="208" y="227"/>
                </a:lnTo>
                <a:lnTo>
                  <a:pt x="207" y="226"/>
                </a:lnTo>
                <a:lnTo>
                  <a:pt x="207" y="224"/>
                </a:lnTo>
                <a:lnTo>
                  <a:pt x="207" y="226"/>
                </a:lnTo>
                <a:close/>
                <a:moveTo>
                  <a:pt x="208" y="240"/>
                </a:moveTo>
                <a:lnTo>
                  <a:pt x="220" y="242"/>
                </a:lnTo>
                <a:lnTo>
                  <a:pt x="231" y="244"/>
                </a:lnTo>
                <a:lnTo>
                  <a:pt x="235" y="246"/>
                </a:lnTo>
                <a:lnTo>
                  <a:pt x="238" y="248"/>
                </a:lnTo>
                <a:lnTo>
                  <a:pt x="240" y="249"/>
                </a:lnTo>
                <a:lnTo>
                  <a:pt x="241" y="250"/>
                </a:lnTo>
                <a:lnTo>
                  <a:pt x="241" y="251"/>
                </a:lnTo>
                <a:lnTo>
                  <a:pt x="240" y="252"/>
                </a:lnTo>
                <a:lnTo>
                  <a:pt x="237" y="252"/>
                </a:lnTo>
                <a:lnTo>
                  <a:pt x="233" y="250"/>
                </a:lnTo>
                <a:lnTo>
                  <a:pt x="229" y="249"/>
                </a:lnTo>
                <a:lnTo>
                  <a:pt x="224" y="248"/>
                </a:lnTo>
                <a:lnTo>
                  <a:pt x="220" y="247"/>
                </a:lnTo>
                <a:lnTo>
                  <a:pt x="215" y="246"/>
                </a:lnTo>
                <a:lnTo>
                  <a:pt x="213" y="243"/>
                </a:lnTo>
                <a:lnTo>
                  <a:pt x="208" y="240"/>
                </a:lnTo>
                <a:lnTo>
                  <a:pt x="213" y="241"/>
                </a:lnTo>
                <a:lnTo>
                  <a:pt x="208" y="240"/>
                </a:lnTo>
                <a:close/>
                <a:moveTo>
                  <a:pt x="221" y="285"/>
                </a:moveTo>
                <a:lnTo>
                  <a:pt x="220" y="284"/>
                </a:lnTo>
                <a:lnTo>
                  <a:pt x="220" y="283"/>
                </a:lnTo>
                <a:lnTo>
                  <a:pt x="220" y="281"/>
                </a:lnTo>
                <a:lnTo>
                  <a:pt x="222" y="279"/>
                </a:lnTo>
                <a:lnTo>
                  <a:pt x="223" y="276"/>
                </a:lnTo>
                <a:lnTo>
                  <a:pt x="225" y="274"/>
                </a:lnTo>
                <a:lnTo>
                  <a:pt x="228" y="274"/>
                </a:lnTo>
                <a:lnTo>
                  <a:pt x="229" y="274"/>
                </a:lnTo>
                <a:lnTo>
                  <a:pt x="230" y="275"/>
                </a:lnTo>
                <a:lnTo>
                  <a:pt x="231" y="275"/>
                </a:lnTo>
                <a:lnTo>
                  <a:pt x="230" y="276"/>
                </a:lnTo>
                <a:lnTo>
                  <a:pt x="229" y="277"/>
                </a:lnTo>
                <a:lnTo>
                  <a:pt x="227" y="277"/>
                </a:lnTo>
                <a:lnTo>
                  <a:pt x="225" y="279"/>
                </a:lnTo>
                <a:lnTo>
                  <a:pt x="223" y="282"/>
                </a:lnTo>
                <a:lnTo>
                  <a:pt x="221" y="285"/>
                </a:lnTo>
                <a:lnTo>
                  <a:pt x="221" y="285"/>
                </a:lnTo>
                <a:lnTo>
                  <a:pt x="221" y="285"/>
                </a:lnTo>
                <a:close/>
                <a:moveTo>
                  <a:pt x="221" y="301"/>
                </a:moveTo>
                <a:lnTo>
                  <a:pt x="225" y="300"/>
                </a:lnTo>
                <a:lnTo>
                  <a:pt x="230" y="300"/>
                </a:lnTo>
                <a:lnTo>
                  <a:pt x="232" y="302"/>
                </a:lnTo>
                <a:lnTo>
                  <a:pt x="235" y="306"/>
                </a:lnTo>
                <a:lnTo>
                  <a:pt x="231" y="305"/>
                </a:lnTo>
                <a:lnTo>
                  <a:pt x="228" y="305"/>
                </a:lnTo>
                <a:lnTo>
                  <a:pt x="223" y="304"/>
                </a:lnTo>
                <a:lnTo>
                  <a:pt x="221" y="301"/>
                </a:lnTo>
                <a:close/>
                <a:moveTo>
                  <a:pt x="241" y="297"/>
                </a:moveTo>
                <a:lnTo>
                  <a:pt x="232" y="298"/>
                </a:lnTo>
                <a:lnTo>
                  <a:pt x="223" y="297"/>
                </a:lnTo>
                <a:lnTo>
                  <a:pt x="223" y="294"/>
                </a:lnTo>
                <a:lnTo>
                  <a:pt x="223" y="293"/>
                </a:lnTo>
                <a:lnTo>
                  <a:pt x="223" y="292"/>
                </a:lnTo>
                <a:lnTo>
                  <a:pt x="224" y="292"/>
                </a:lnTo>
                <a:lnTo>
                  <a:pt x="228" y="291"/>
                </a:lnTo>
                <a:lnTo>
                  <a:pt x="230" y="291"/>
                </a:lnTo>
                <a:lnTo>
                  <a:pt x="237" y="293"/>
                </a:lnTo>
                <a:lnTo>
                  <a:pt x="244" y="296"/>
                </a:lnTo>
                <a:lnTo>
                  <a:pt x="249" y="299"/>
                </a:lnTo>
                <a:lnTo>
                  <a:pt x="256" y="301"/>
                </a:lnTo>
                <a:lnTo>
                  <a:pt x="263" y="304"/>
                </a:lnTo>
                <a:lnTo>
                  <a:pt x="269" y="306"/>
                </a:lnTo>
                <a:lnTo>
                  <a:pt x="274" y="307"/>
                </a:lnTo>
                <a:lnTo>
                  <a:pt x="278" y="310"/>
                </a:lnTo>
                <a:lnTo>
                  <a:pt x="278" y="313"/>
                </a:lnTo>
                <a:lnTo>
                  <a:pt x="276" y="315"/>
                </a:lnTo>
                <a:lnTo>
                  <a:pt x="272" y="317"/>
                </a:lnTo>
                <a:lnTo>
                  <a:pt x="270" y="317"/>
                </a:lnTo>
                <a:lnTo>
                  <a:pt x="268" y="316"/>
                </a:lnTo>
                <a:lnTo>
                  <a:pt x="266" y="316"/>
                </a:lnTo>
                <a:lnTo>
                  <a:pt x="266" y="315"/>
                </a:lnTo>
                <a:lnTo>
                  <a:pt x="266" y="315"/>
                </a:lnTo>
                <a:lnTo>
                  <a:pt x="268" y="314"/>
                </a:lnTo>
                <a:lnTo>
                  <a:pt x="269" y="311"/>
                </a:lnTo>
                <a:lnTo>
                  <a:pt x="264" y="311"/>
                </a:lnTo>
                <a:lnTo>
                  <a:pt x="260" y="311"/>
                </a:lnTo>
                <a:lnTo>
                  <a:pt x="256" y="308"/>
                </a:lnTo>
                <a:lnTo>
                  <a:pt x="255" y="305"/>
                </a:lnTo>
                <a:lnTo>
                  <a:pt x="250" y="304"/>
                </a:lnTo>
                <a:lnTo>
                  <a:pt x="247" y="304"/>
                </a:lnTo>
                <a:lnTo>
                  <a:pt x="245" y="302"/>
                </a:lnTo>
                <a:lnTo>
                  <a:pt x="244" y="301"/>
                </a:lnTo>
                <a:lnTo>
                  <a:pt x="243" y="300"/>
                </a:lnTo>
                <a:lnTo>
                  <a:pt x="241" y="297"/>
                </a:lnTo>
                <a:lnTo>
                  <a:pt x="240" y="299"/>
                </a:lnTo>
                <a:lnTo>
                  <a:pt x="241" y="297"/>
                </a:lnTo>
                <a:close/>
                <a:moveTo>
                  <a:pt x="261" y="319"/>
                </a:moveTo>
                <a:lnTo>
                  <a:pt x="264" y="318"/>
                </a:lnTo>
                <a:lnTo>
                  <a:pt x="266" y="319"/>
                </a:lnTo>
                <a:lnTo>
                  <a:pt x="269" y="321"/>
                </a:lnTo>
                <a:lnTo>
                  <a:pt x="271" y="323"/>
                </a:lnTo>
                <a:lnTo>
                  <a:pt x="268" y="324"/>
                </a:lnTo>
                <a:lnTo>
                  <a:pt x="263" y="324"/>
                </a:lnTo>
                <a:lnTo>
                  <a:pt x="261" y="322"/>
                </a:lnTo>
                <a:lnTo>
                  <a:pt x="261" y="319"/>
                </a:lnTo>
                <a:lnTo>
                  <a:pt x="262" y="319"/>
                </a:lnTo>
                <a:lnTo>
                  <a:pt x="261" y="319"/>
                </a:lnTo>
                <a:close/>
                <a:moveTo>
                  <a:pt x="253" y="316"/>
                </a:moveTo>
                <a:lnTo>
                  <a:pt x="250" y="315"/>
                </a:lnTo>
                <a:lnTo>
                  <a:pt x="250" y="315"/>
                </a:lnTo>
                <a:lnTo>
                  <a:pt x="250" y="314"/>
                </a:lnTo>
                <a:lnTo>
                  <a:pt x="252" y="313"/>
                </a:lnTo>
                <a:lnTo>
                  <a:pt x="254" y="311"/>
                </a:lnTo>
                <a:lnTo>
                  <a:pt x="256" y="313"/>
                </a:lnTo>
                <a:lnTo>
                  <a:pt x="260" y="314"/>
                </a:lnTo>
                <a:lnTo>
                  <a:pt x="261" y="316"/>
                </a:lnTo>
                <a:lnTo>
                  <a:pt x="256" y="316"/>
                </a:lnTo>
                <a:lnTo>
                  <a:pt x="253" y="316"/>
                </a:lnTo>
                <a:lnTo>
                  <a:pt x="253" y="316"/>
                </a:lnTo>
                <a:lnTo>
                  <a:pt x="253" y="316"/>
                </a:lnTo>
                <a:close/>
                <a:moveTo>
                  <a:pt x="280" y="346"/>
                </a:moveTo>
                <a:lnTo>
                  <a:pt x="279" y="346"/>
                </a:lnTo>
                <a:lnTo>
                  <a:pt x="278" y="344"/>
                </a:lnTo>
                <a:lnTo>
                  <a:pt x="280" y="344"/>
                </a:lnTo>
                <a:lnTo>
                  <a:pt x="281" y="344"/>
                </a:lnTo>
                <a:lnTo>
                  <a:pt x="281" y="346"/>
                </a:lnTo>
                <a:lnTo>
                  <a:pt x="280" y="346"/>
                </a:lnTo>
                <a:lnTo>
                  <a:pt x="280" y="346"/>
                </a:lnTo>
                <a:lnTo>
                  <a:pt x="280" y="346"/>
                </a:lnTo>
                <a:close/>
                <a:moveTo>
                  <a:pt x="243" y="330"/>
                </a:moveTo>
                <a:lnTo>
                  <a:pt x="249" y="329"/>
                </a:lnTo>
                <a:lnTo>
                  <a:pt x="256" y="327"/>
                </a:lnTo>
                <a:lnTo>
                  <a:pt x="262" y="327"/>
                </a:lnTo>
                <a:lnTo>
                  <a:pt x="269" y="331"/>
                </a:lnTo>
                <a:lnTo>
                  <a:pt x="272" y="333"/>
                </a:lnTo>
                <a:lnTo>
                  <a:pt x="278" y="334"/>
                </a:lnTo>
                <a:lnTo>
                  <a:pt x="281" y="335"/>
                </a:lnTo>
                <a:lnTo>
                  <a:pt x="286" y="337"/>
                </a:lnTo>
                <a:lnTo>
                  <a:pt x="288" y="337"/>
                </a:lnTo>
                <a:lnTo>
                  <a:pt x="290" y="338"/>
                </a:lnTo>
                <a:lnTo>
                  <a:pt x="291" y="338"/>
                </a:lnTo>
                <a:lnTo>
                  <a:pt x="291" y="339"/>
                </a:lnTo>
                <a:lnTo>
                  <a:pt x="291" y="340"/>
                </a:lnTo>
                <a:lnTo>
                  <a:pt x="290" y="340"/>
                </a:lnTo>
                <a:lnTo>
                  <a:pt x="284" y="340"/>
                </a:lnTo>
                <a:lnTo>
                  <a:pt x="277" y="339"/>
                </a:lnTo>
                <a:lnTo>
                  <a:pt x="260" y="334"/>
                </a:lnTo>
                <a:lnTo>
                  <a:pt x="243" y="330"/>
                </a:lnTo>
                <a:lnTo>
                  <a:pt x="252" y="331"/>
                </a:lnTo>
                <a:lnTo>
                  <a:pt x="243" y="330"/>
                </a:lnTo>
                <a:close/>
                <a:moveTo>
                  <a:pt x="302" y="351"/>
                </a:moveTo>
                <a:lnTo>
                  <a:pt x="299" y="348"/>
                </a:lnTo>
                <a:lnTo>
                  <a:pt x="297" y="347"/>
                </a:lnTo>
                <a:lnTo>
                  <a:pt x="294" y="347"/>
                </a:lnTo>
                <a:lnTo>
                  <a:pt x="290" y="346"/>
                </a:lnTo>
                <a:lnTo>
                  <a:pt x="288" y="346"/>
                </a:lnTo>
                <a:lnTo>
                  <a:pt x="285" y="344"/>
                </a:lnTo>
                <a:lnTo>
                  <a:pt x="284" y="344"/>
                </a:lnTo>
                <a:lnTo>
                  <a:pt x="284" y="343"/>
                </a:lnTo>
                <a:lnTo>
                  <a:pt x="284" y="342"/>
                </a:lnTo>
                <a:lnTo>
                  <a:pt x="286" y="342"/>
                </a:lnTo>
                <a:lnTo>
                  <a:pt x="288" y="342"/>
                </a:lnTo>
                <a:lnTo>
                  <a:pt x="291" y="342"/>
                </a:lnTo>
                <a:lnTo>
                  <a:pt x="295" y="341"/>
                </a:lnTo>
                <a:lnTo>
                  <a:pt x="299" y="341"/>
                </a:lnTo>
                <a:lnTo>
                  <a:pt x="303" y="342"/>
                </a:lnTo>
                <a:lnTo>
                  <a:pt x="305" y="346"/>
                </a:lnTo>
                <a:lnTo>
                  <a:pt x="304" y="348"/>
                </a:lnTo>
                <a:lnTo>
                  <a:pt x="304" y="351"/>
                </a:lnTo>
                <a:lnTo>
                  <a:pt x="303" y="351"/>
                </a:lnTo>
                <a:lnTo>
                  <a:pt x="302" y="351"/>
                </a:lnTo>
                <a:lnTo>
                  <a:pt x="301" y="349"/>
                </a:lnTo>
                <a:lnTo>
                  <a:pt x="302" y="351"/>
                </a:lnTo>
                <a:close/>
                <a:moveTo>
                  <a:pt x="315" y="384"/>
                </a:moveTo>
                <a:lnTo>
                  <a:pt x="314" y="384"/>
                </a:lnTo>
                <a:lnTo>
                  <a:pt x="315" y="382"/>
                </a:lnTo>
                <a:lnTo>
                  <a:pt x="317" y="381"/>
                </a:lnTo>
                <a:lnTo>
                  <a:pt x="319" y="382"/>
                </a:lnTo>
                <a:lnTo>
                  <a:pt x="324" y="384"/>
                </a:lnTo>
                <a:lnTo>
                  <a:pt x="329" y="388"/>
                </a:lnTo>
                <a:lnTo>
                  <a:pt x="326" y="388"/>
                </a:lnTo>
                <a:lnTo>
                  <a:pt x="322" y="388"/>
                </a:lnTo>
                <a:lnTo>
                  <a:pt x="319" y="387"/>
                </a:lnTo>
                <a:lnTo>
                  <a:pt x="315" y="384"/>
                </a:lnTo>
                <a:lnTo>
                  <a:pt x="317" y="385"/>
                </a:lnTo>
                <a:lnTo>
                  <a:pt x="315" y="384"/>
                </a:lnTo>
                <a:close/>
                <a:moveTo>
                  <a:pt x="342" y="364"/>
                </a:moveTo>
                <a:lnTo>
                  <a:pt x="339" y="365"/>
                </a:lnTo>
                <a:lnTo>
                  <a:pt x="337" y="365"/>
                </a:lnTo>
                <a:lnTo>
                  <a:pt x="335" y="364"/>
                </a:lnTo>
                <a:lnTo>
                  <a:pt x="332" y="363"/>
                </a:lnTo>
                <a:lnTo>
                  <a:pt x="328" y="362"/>
                </a:lnTo>
                <a:lnTo>
                  <a:pt x="323" y="360"/>
                </a:lnTo>
                <a:lnTo>
                  <a:pt x="321" y="358"/>
                </a:lnTo>
                <a:lnTo>
                  <a:pt x="320" y="355"/>
                </a:lnTo>
                <a:lnTo>
                  <a:pt x="313" y="355"/>
                </a:lnTo>
                <a:lnTo>
                  <a:pt x="306" y="356"/>
                </a:lnTo>
                <a:lnTo>
                  <a:pt x="305" y="356"/>
                </a:lnTo>
                <a:lnTo>
                  <a:pt x="303" y="355"/>
                </a:lnTo>
                <a:lnTo>
                  <a:pt x="303" y="354"/>
                </a:lnTo>
                <a:lnTo>
                  <a:pt x="304" y="351"/>
                </a:lnTo>
                <a:lnTo>
                  <a:pt x="306" y="350"/>
                </a:lnTo>
                <a:lnTo>
                  <a:pt x="311" y="350"/>
                </a:lnTo>
                <a:lnTo>
                  <a:pt x="315" y="351"/>
                </a:lnTo>
                <a:lnTo>
                  <a:pt x="319" y="352"/>
                </a:lnTo>
                <a:lnTo>
                  <a:pt x="326" y="355"/>
                </a:lnTo>
                <a:lnTo>
                  <a:pt x="331" y="358"/>
                </a:lnTo>
                <a:lnTo>
                  <a:pt x="338" y="360"/>
                </a:lnTo>
                <a:lnTo>
                  <a:pt x="342" y="364"/>
                </a:lnTo>
                <a:lnTo>
                  <a:pt x="342" y="364"/>
                </a:lnTo>
                <a:lnTo>
                  <a:pt x="342" y="364"/>
                </a:lnTo>
                <a:close/>
                <a:moveTo>
                  <a:pt x="351" y="350"/>
                </a:moveTo>
                <a:lnTo>
                  <a:pt x="354" y="350"/>
                </a:lnTo>
                <a:lnTo>
                  <a:pt x="357" y="351"/>
                </a:lnTo>
                <a:lnTo>
                  <a:pt x="359" y="351"/>
                </a:lnTo>
                <a:lnTo>
                  <a:pt x="359" y="350"/>
                </a:lnTo>
                <a:lnTo>
                  <a:pt x="360" y="348"/>
                </a:lnTo>
                <a:lnTo>
                  <a:pt x="360" y="344"/>
                </a:lnTo>
                <a:lnTo>
                  <a:pt x="363" y="349"/>
                </a:lnTo>
                <a:lnTo>
                  <a:pt x="368" y="352"/>
                </a:lnTo>
                <a:lnTo>
                  <a:pt x="363" y="354"/>
                </a:lnTo>
                <a:lnTo>
                  <a:pt x="359" y="354"/>
                </a:lnTo>
                <a:lnTo>
                  <a:pt x="356" y="354"/>
                </a:lnTo>
                <a:lnTo>
                  <a:pt x="354" y="354"/>
                </a:lnTo>
                <a:lnTo>
                  <a:pt x="352" y="352"/>
                </a:lnTo>
                <a:lnTo>
                  <a:pt x="351" y="350"/>
                </a:lnTo>
                <a:lnTo>
                  <a:pt x="353" y="351"/>
                </a:lnTo>
                <a:lnTo>
                  <a:pt x="351" y="350"/>
                </a:lnTo>
                <a:close/>
                <a:moveTo>
                  <a:pt x="371" y="381"/>
                </a:moveTo>
                <a:lnTo>
                  <a:pt x="371" y="377"/>
                </a:lnTo>
                <a:lnTo>
                  <a:pt x="372" y="375"/>
                </a:lnTo>
                <a:lnTo>
                  <a:pt x="377" y="376"/>
                </a:lnTo>
                <a:lnTo>
                  <a:pt x="380" y="379"/>
                </a:lnTo>
                <a:lnTo>
                  <a:pt x="376" y="380"/>
                </a:lnTo>
                <a:lnTo>
                  <a:pt x="371" y="381"/>
                </a:lnTo>
                <a:lnTo>
                  <a:pt x="372" y="379"/>
                </a:lnTo>
                <a:lnTo>
                  <a:pt x="371" y="381"/>
                </a:lnTo>
                <a:close/>
                <a:moveTo>
                  <a:pt x="389" y="364"/>
                </a:moveTo>
                <a:lnTo>
                  <a:pt x="383" y="364"/>
                </a:lnTo>
                <a:lnTo>
                  <a:pt x="375" y="363"/>
                </a:lnTo>
                <a:lnTo>
                  <a:pt x="378" y="360"/>
                </a:lnTo>
                <a:lnTo>
                  <a:pt x="384" y="359"/>
                </a:lnTo>
                <a:lnTo>
                  <a:pt x="386" y="359"/>
                </a:lnTo>
                <a:lnTo>
                  <a:pt x="388" y="360"/>
                </a:lnTo>
                <a:lnTo>
                  <a:pt x="389" y="362"/>
                </a:lnTo>
                <a:lnTo>
                  <a:pt x="389" y="364"/>
                </a:lnTo>
                <a:lnTo>
                  <a:pt x="389" y="364"/>
                </a:lnTo>
                <a:lnTo>
                  <a:pt x="389" y="364"/>
                </a:lnTo>
                <a:close/>
                <a:moveTo>
                  <a:pt x="401" y="372"/>
                </a:moveTo>
                <a:lnTo>
                  <a:pt x="400" y="369"/>
                </a:lnTo>
                <a:lnTo>
                  <a:pt x="400" y="367"/>
                </a:lnTo>
                <a:lnTo>
                  <a:pt x="401" y="365"/>
                </a:lnTo>
                <a:lnTo>
                  <a:pt x="402" y="363"/>
                </a:lnTo>
                <a:lnTo>
                  <a:pt x="404" y="362"/>
                </a:lnTo>
                <a:lnTo>
                  <a:pt x="405" y="363"/>
                </a:lnTo>
                <a:lnTo>
                  <a:pt x="408" y="365"/>
                </a:lnTo>
                <a:lnTo>
                  <a:pt x="409" y="366"/>
                </a:lnTo>
                <a:lnTo>
                  <a:pt x="405" y="369"/>
                </a:lnTo>
                <a:lnTo>
                  <a:pt x="401" y="372"/>
                </a:lnTo>
                <a:lnTo>
                  <a:pt x="402" y="372"/>
                </a:lnTo>
                <a:lnTo>
                  <a:pt x="401" y="372"/>
                </a:lnTo>
                <a:close/>
                <a:moveTo>
                  <a:pt x="417" y="363"/>
                </a:moveTo>
                <a:lnTo>
                  <a:pt x="413" y="360"/>
                </a:lnTo>
                <a:lnTo>
                  <a:pt x="411" y="358"/>
                </a:lnTo>
                <a:lnTo>
                  <a:pt x="408" y="358"/>
                </a:lnTo>
                <a:lnTo>
                  <a:pt x="404" y="358"/>
                </a:lnTo>
                <a:lnTo>
                  <a:pt x="401" y="358"/>
                </a:lnTo>
                <a:lnTo>
                  <a:pt x="401" y="358"/>
                </a:lnTo>
                <a:lnTo>
                  <a:pt x="401" y="357"/>
                </a:lnTo>
                <a:lnTo>
                  <a:pt x="400" y="355"/>
                </a:lnTo>
                <a:lnTo>
                  <a:pt x="393" y="352"/>
                </a:lnTo>
                <a:lnTo>
                  <a:pt x="386" y="351"/>
                </a:lnTo>
                <a:lnTo>
                  <a:pt x="383" y="349"/>
                </a:lnTo>
                <a:lnTo>
                  <a:pt x="378" y="348"/>
                </a:lnTo>
                <a:lnTo>
                  <a:pt x="375" y="347"/>
                </a:lnTo>
                <a:lnTo>
                  <a:pt x="371" y="346"/>
                </a:lnTo>
                <a:lnTo>
                  <a:pt x="368" y="344"/>
                </a:lnTo>
                <a:lnTo>
                  <a:pt x="365" y="341"/>
                </a:lnTo>
                <a:lnTo>
                  <a:pt x="363" y="340"/>
                </a:lnTo>
                <a:lnTo>
                  <a:pt x="361" y="340"/>
                </a:lnTo>
                <a:lnTo>
                  <a:pt x="357" y="340"/>
                </a:lnTo>
                <a:lnTo>
                  <a:pt x="355" y="341"/>
                </a:lnTo>
                <a:lnTo>
                  <a:pt x="357" y="342"/>
                </a:lnTo>
                <a:lnTo>
                  <a:pt x="360" y="344"/>
                </a:lnTo>
                <a:lnTo>
                  <a:pt x="353" y="344"/>
                </a:lnTo>
                <a:lnTo>
                  <a:pt x="346" y="344"/>
                </a:lnTo>
                <a:lnTo>
                  <a:pt x="344" y="343"/>
                </a:lnTo>
                <a:lnTo>
                  <a:pt x="342" y="343"/>
                </a:lnTo>
                <a:lnTo>
                  <a:pt x="340" y="344"/>
                </a:lnTo>
                <a:lnTo>
                  <a:pt x="340" y="348"/>
                </a:lnTo>
                <a:lnTo>
                  <a:pt x="342" y="350"/>
                </a:lnTo>
                <a:lnTo>
                  <a:pt x="342" y="352"/>
                </a:lnTo>
                <a:lnTo>
                  <a:pt x="335" y="351"/>
                </a:lnTo>
                <a:lnTo>
                  <a:pt x="329" y="349"/>
                </a:lnTo>
                <a:lnTo>
                  <a:pt x="331" y="348"/>
                </a:lnTo>
                <a:lnTo>
                  <a:pt x="335" y="347"/>
                </a:lnTo>
                <a:lnTo>
                  <a:pt x="338" y="346"/>
                </a:lnTo>
                <a:lnTo>
                  <a:pt x="339" y="342"/>
                </a:lnTo>
                <a:lnTo>
                  <a:pt x="330" y="342"/>
                </a:lnTo>
                <a:lnTo>
                  <a:pt x="321" y="342"/>
                </a:lnTo>
                <a:lnTo>
                  <a:pt x="318" y="342"/>
                </a:lnTo>
                <a:lnTo>
                  <a:pt x="313" y="342"/>
                </a:lnTo>
                <a:lnTo>
                  <a:pt x="312" y="340"/>
                </a:lnTo>
                <a:lnTo>
                  <a:pt x="313" y="340"/>
                </a:lnTo>
                <a:lnTo>
                  <a:pt x="314" y="339"/>
                </a:lnTo>
                <a:lnTo>
                  <a:pt x="314" y="339"/>
                </a:lnTo>
                <a:lnTo>
                  <a:pt x="315" y="338"/>
                </a:lnTo>
                <a:lnTo>
                  <a:pt x="314" y="337"/>
                </a:lnTo>
                <a:lnTo>
                  <a:pt x="312" y="335"/>
                </a:lnTo>
                <a:lnTo>
                  <a:pt x="309" y="334"/>
                </a:lnTo>
                <a:lnTo>
                  <a:pt x="306" y="334"/>
                </a:lnTo>
                <a:lnTo>
                  <a:pt x="303" y="335"/>
                </a:lnTo>
                <a:lnTo>
                  <a:pt x="299" y="334"/>
                </a:lnTo>
                <a:lnTo>
                  <a:pt x="299" y="332"/>
                </a:lnTo>
                <a:lnTo>
                  <a:pt x="297" y="333"/>
                </a:lnTo>
                <a:lnTo>
                  <a:pt x="295" y="332"/>
                </a:lnTo>
                <a:lnTo>
                  <a:pt x="295" y="331"/>
                </a:lnTo>
                <a:lnTo>
                  <a:pt x="294" y="331"/>
                </a:lnTo>
                <a:lnTo>
                  <a:pt x="293" y="332"/>
                </a:lnTo>
                <a:lnTo>
                  <a:pt x="293" y="333"/>
                </a:lnTo>
                <a:lnTo>
                  <a:pt x="288" y="332"/>
                </a:lnTo>
                <a:lnTo>
                  <a:pt x="284" y="331"/>
                </a:lnTo>
                <a:lnTo>
                  <a:pt x="287" y="330"/>
                </a:lnTo>
                <a:lnTo>
                  <a:pt x="288" y="326"/>
                </a:lnTo>
                <a:lnTo>
                  <a:pt x="288" y="325"/>
                </a:lnTo>
                <a:lnTo>
                  <a:pt x="287" y="323"/>
                </a:lnTo>
                <a:lnTo>
                  <a:pt x="288" y="321"/>
                </a:lnTo>
                <a:lnTo>
                  <a:pt x="289" y="321"/>
                </a:lnTo>
                <a:lnTo>
                  <a:pt x="295" y="323"/>
                </a:lnTo>
                <a:lnTo>
                  <a:pt x="301" y="324"/>
                </a:lnTo>
                <a:lnTo>
                  <a:pt x="297" y="325"/>
                </a:lnTo>
                <a:lnTo>
                  <a:pt x="293" y="326"/>
                </a:lnTo>
                <a:lnTo>
                  <a:pt x="296" y="329"/>
                </a:lnTo>
                <a:lnTo>
                  <a:pt x="301" y="329"/>
                </a:lnTo>
                <a:lnTo>
                  <a:pt x="306" y="329"/>
                </a:lnTo>
                <a:lnTo>
                  <a:pt x="310" y="329"/>
                </a:lnTo>
                <a:lnTo>
                  <a:pt x="307" y="327"/>
                </a:lnTo>
                <a:lnTo>
                  <a:pt x="306" y="326"/>
                </a:lnTo>
                <a:lnTo>
                  <a:pt x="304" y="324"/>
                </a:lnTo>
                <a:lnTo>
                  <a:pt x="303" y="323"/>
                </a:lnTo>
                <a:lnTo>
                  <a:pt x="304" y="321"/>
                </a:lnTo>
                <a:lnTo>
                  <a:pt x="306" y="319"/>
                </a:lnTo>
                <a:lnTo>
                  <a:pt x="307" y="319"/>
                </a:lnTo>
                <a:lnTo>
                  <a:pt x="310" y="319"/>
                </a:lnTo>
                <a:lnTo>
                  <a:pt x="309" y="317"/>
                </a:lnTo>
                <a:lnTo>
                  <a:pt x="307" y="315"/>
                </a:lnTo>
                <a:lnTo>
                  <a:pt x="318" y="316"/>
                </a:lnTo>
                <a:lnTo>
                  <a:pt x="328" y="318"/>
                </a:lnTo>
                <a:lnTo>
                  <a:pt x="337" y="322"/>
                </a:lnTo>
                <a:lnTo>
                  <a:pt x="346" y="326"/>
                </a:lnTo>
                <a:lnTo>
                  <a:pt x="351" y="330"/>
                </a:lnTo>
                <a:lnTo>
                  <a:pt x="355" y="332"/>
                </a:lnTo>
                <a:lnTo>
                  <a:pt x="357" y="333"/>
                </a:lnTo>
                <a:lnTo>
                  <a:pt x="360" y="334"/>
                </a:lnTo>
                <a:lnTo>
                  <a:pt x="360" y="335"/>
                </a:lnTo>
                <a:lnTo>
                  <a:pt x="360" y="338"/>
                </a:lnTo>
                <a:lnTo>
                  <a:pt x="362" y="339"/>
                </a:lnTo>
                <a:lnTo>
                  <a:pt x="365" y="339"/>
                </a:lnTo>
                <a:lnTo>
                  <a:pt x="368" y="338"/>
                </a:lnTo>
                <a:lnTo>
                  <a:pt x="370" y="338"/>
                </a:lnTo>
                <a:lnTo>
                  <a:pt x="372" y="340"/>
                </a:lnTo>
                <a:lnTo>
                  <a:pt x="376" y="342"/>
                </a:lnTo>
                <a:lnTo>
                  <a:pt x="380" y="343"/>
                </a:lnTo>
                <a:lnTo>
                  <a:pt x="384" y="344"/>
                </a:lnTo>
                <a:lnTo>
                  <a:pt x="394" y="347"/>
                </a:lnTo>
                <a:lnTo>
                  <a:pt x="403" y="351"/>
                </a:lnTo>
                <a:lnTo>
                  <a:pt x="410" y="355"/>
                </a:lnTo>
                <a:lnTo>
                  <a:pt x="418" y="358"/>
                </a:lnTo>
                <a:lnTo>
                  <a:pt x="421" y="359"/>
                </a:lnTo>
                <a:lnTo>
                  <a:pt x="426" y="360"/>
                </a:lnTo>
                <a:lnTo>
                  <a:pt x="428" y="363"/>
                </a:lnTo>
                <a:lnTo>
                  <a:pt x="430" y="366"/>
                </a:lnTo>
                <a:lnTo>
                  <a:pt x="427" y="367"/>
                </a:lnTo>
                <a:lnTo>
                  <a:pt x="423" y="366"/>
                </a:lnTo>
                <a:lnTo>
                  <a:pt x="420" y="365"/>
                </a:lnTo>
                <a:lnTo>
                  <a:pt x="417" y="363"/>
                </a:lnTo>
                <a:lnTo>
                  <a:pt x="417" y="363"/>
                </a:lnTo>
                <a:lnTo>
                  <a:pt x="417" y="363"/>
                </a:lnTo>
                <a:close/>
                <a:moveTo>
                  <a:pt x="802" y="623"/>
                </a:moveTo>
                <a:lnTo>
                  <a:pt x="804" y="623"/>
                </a:lnTo>
                <a:lnTo>
                  <a:pt x="804" y="624"/>
                </a:lnTo>
                <a:lnTo>
                  <a:pt x="802" y="624"/>
                </a:lnTo>
                <a:lnTo>
                  <a:pt x="801" y="624"/>
                </a:lnTo>
                <a:lnTo>
                  <a:pt x="801" y="623"/>
                </a:lnTo>
                <a:lnTo>
                  <a:pt x="802" y="623"/>
                </a:lnTo>
                <a:close/>
                <a:moveTo>
                  <a:pt x="933" y="626"/>
                </a:moveTo>
                <a:lnTo>
                  <a:pt x="933" y="629"/>
                </a:lnTo>
                <a:lnTo>
                  <a:pt x="931" y="631"/>
                </a:lnTo>
                <a:lnTo>
                  <a:pt x="930" y="628"/>
                </a:lnTo>
                <a:lnTo>
                  <a:pt x="930" y="623"/>
                </a:lnTo>
                <a:lnTo>
                  <a:pt x="930" y="622"/>
                </a:lnTo>
                <a:lnTo>
                  <a:pt x="931" y="620"/>
                </a:lnTo>
                <a:lnTo>
                  <a:pt x="931" y="620"/>
                </a:lnTo>
                <a:lnTo>
                  <a:pt x="933" y="620"/>
                </a:lnTo>
                <a:lnTo>
                  <a:pt x="936" y="621"/>
                </a:lnTo>
                <a:lnTo>
                  <a:pt x="936" y="622"/>
                </a:lnTo>
                <a:lnTo>
                  <a:pt x="935" y="624"/>
                </a:lnTo>
                <a:lnTo>
                  <a:pt x="933" y="626"/>
                </a:lnTo>
                <a:lnTo>
                  <a:pt x="935" y="624"/>
                </a:lnTo>
                <a:lnTo>
                  <a:pt x="933" y="626"/>
                </a:lnTo>
                <a:close/>
                <a:moveTo>
                  <a:pt x="1176" y="616"/>
                </a:moveTo>
                <a:lnTo>
                  <a:pt x="1178" y="614"/>
                </a:lnTo>
                <a:lnTo>
                  <a:pt x="1180" y="612"/>
                </a:lnTo>
                <a:lnTo>
                  <a:pt x="1181" y="612"/>
                </a:lnTo>
                <a:lnTo>
                  <a:pt x="1183" y="612"/>
                </a:lnTo>
                <a:lnTo>
                  <a:pt x="1183" y="612"/>
                </a:lnTo>
                <a:lnTo>
                  <a:pt x="1184" y="613"/>
                </a:lnTo>
                <a:lnTo>
                  <a:pt x="1183" y="615"/>
                </a:lnTo>
                <a:lnTo>
                  <a:pt x="1179" y="616"/>
                </a:lnTo>
                <a:lnTo>
                  <a:pt x="1177" y="617"/>
                </a:lnTo>
                <a:lnTo>
                  <a:pt x="1176" y="616"/>
                </a:lnTo>
                <a:lnTo>
                  <a:pt x="1177" y="615"/>
                </a:lnTo>
                <a:lnTo>
                  <a:pt x="1176" y="616"/>
                </a:lnTo>
                <a:close/>
                <a:moveTo>
                  <a:pt x="1184" y="626"/>
                </a:moveTo>
                <a:lnTo>
                  <a:pt x="1180" y="626"/>
                </a:lnTo>
                <a:lnTo>
                  <a:pt x="1178" y="626"/>
                </a:lnTo>
                <a:lnTo>
                  <a:pt x="1179" y="622"/>
                </a:lnTo>
                <a:lnTo>
                  <a:pt x="1181" y="620"/>
                </a:lnTo>
                <a:lnTo>
                  <a:pt x="1185" y="618"/>
                </a:lnTo>
                <a:lnTo>
                  <a:pt x="1189" y="620"/>
                </a:lnTo>
                <a:lnTo>
                  <a:pt x="1186" y="623"/>
                </a:lnTo>
                <a:lnTo>
                  <a:pt x="1184" y="626"/>
                </a:lnTo>
                <a:lnTo>
                  <a:pt x="1183" y="625"/>
                </a:lnTo>
                <a:lnTo>
                  <a:pt x="1184" y="626"/>
                </a:lnTo>
                <a:close/>
                <a:moveTo>
                  <a:pt x="1204" y="192"/>
                </a:moveTo>
                <a:lnTo>
                  <a:pt x="1189" y="197"/>
                </a:lnTo>
                <a:lnTo>
                  <a:pt x="1174" y="200"/>
                </a:lnTo>
                <a:lnTo>
                  <a:pt x="1180" y="196"/>
                </a:lnTo>
                <a:lnTo>
                  <a:pt x="1188" y="193"/>
                </a:lnTo>
                <a:lnTo>
                  <a:pt x="1196" y="192"/>
                </a:lnTo>
                <a:lnTo>
                  <a:pt x="1204" y="192"/>
                </a:lnTo>
                <a:close/>
                <a:moveTo>
                  <a:pt x="1169" y="183"/>
                </a:moveTo>
                <a:lnTo>
                  <a:pt x="1170" y="183"/>
                </a:lnTo>
                <a:lnTo>
                  <a:pt x="1172" y="183"/>
                </a:lnTo>
                <a:lnTo>
                  <a:pt x="1174" y="184"/>
                </a:lnTo>
                <a:lnTo>
                  <a:pt x="1174" y="185"/>
                </a:lnTo>
                <a:lnTo>
                  <a:pt x="1171" y="188"/>
                </a:lnTo>
                <a:lnTo>
                  <a:pt x="1167" y="189"/>
                </a:lnTo>
                <a:lnTo>
                  <a:pt x="1166" y="190"/>
                </a:lnTo>
                <a:lnTo>
                  <a:pt x="1163" y="191"/>
                </a:lnTo>
                <a:lnTo>
                  <a:pt x="1162" y="190"/>
                </a:lnTo>
                <a:lnTo>
                  <a:pt x="1162" y="189"/>
                </a:lnTo>
                <a:lnTo>
                  <a:pt x="1164" y="185"/>
                </a:lnTo>
                <a:lnTo>
                  <a:pt x="1169" y="183"/>
                </a:lnTo>
                <a:lnTo>
                  <a:pt x="1169" y="183"/>
                </a:lnTo>
                <a:lnTo>
                  <a:pt x="1169" y="183"/>
                </a:lnTo>
                <a:close/>
                <a:moveTo>
                  <a:pt x="1145" y="190"/>
                </a:moveTo>
                <a:lnTo>
                  <a:pt x="1146" y="190"/>
                </a:lnTo>
                <a:lnTo>
                  <a:pt x="1148" y="188"/>
                </a:lnTo>
                <a:lnTo>
                  <a:pt x="1151" y="188"/>
                </a:lnTo>
                <a:lnTo>
                  <a:pt x="1152" y="188"/>
                </a:lnTo>
                <a:lnTo>
                  <a:pt x="1152" y="188"/>
                </a:lnTo>
                <a:lnTo>
                  <a:pt x="1152" y="189"/>
                </a:lnTo>
                <a:lnTo>
                  <a:pt x="1151" y="191"/>
                </a:lnTo>
                <a:lnTo>
                  <a:pt x="1148" y="192"/>
                </a:lnTo>
                <a:lnTo>
                  <a:pt x="1145" y="192"/>
                </a:lnTo>
                <a:lnTo>
                  <a:pt x="1143" y="192"/>
                </a:lnTo>
                <a:lnTo>
                  <a:pt x="1144" y="191"/>
                </a:lnTo>
                <a:lnTo>
                  <a:pt x="1145" y="190"/>
                </a:lnTo>
                <a:lnTo>
                  <a:pt x="1145" y="190"/>
                </a:lnTo>
                <a:lnTo>
                  <a:pt x="1145" y="190"/>
                </a:lnTo>
                <a:close/>
                <a:moveTo>
                  <a:pt x="1122" y="199"/>
                </a:moveTo>
                <a:lnTo>
                  <a:pt x="1123" y="199"/>
                </a:lnTo>
                <a:lnTo>
                  <a:pt x="1125" y="201"/>
                </a:lnTo>
                <a:lnTo>
                  <a:pt x="1123" y="202"/>
                </a:lnTo>
                <a:lnTo>
                  <a:pt x="1121" y="203"/>
                </a:lnTo>
                <a:lnTo>
                  <a:pt x="1119" y="203"/>
                </a:lnTo>
                <a:lnTo>
                  <a:pt x="1119" y="202"/>
                </a:lnTo>
                <a:lnTo>
                  <a:pt x="1120" y="200"/>
                </a:lnTo>
                <a:lnTo>
                  <a:pt x="1122" y="199"/>
                </a:lnTo>
                <a:lnTo>
                  <a:pt x="1122" y="199"/>
                </a:lnTo>
                <a:lnTo>
                  <a:pt x="1122" y="199"/>
                </a:lnTo>
                <a:close/>
                <a:moveTo>
                  <a:pt x="1031" y="233"/>
                </a:moveTo>
                <a:lnTo>
                  <a:pt x="1047" y="232"/>
                </a:lnTo>
                <a:lnTo>
                  <a:pt x="1063" y="232"/>
                </a:lnTo>
                <a:lnTo>
                  <a:pt x="1060" y="234"/>
                </a:lnTo>
                <a:lnTo>
                  <a:pt x="1055" y="235"/>
                </a:lnTo>
                <a:lnTo>
                  <a:pt x="1052" y="236"/>
                </a:lnTo>
                <a:lnTo>
                  <a:pt x="1047" y="236"/>
                </a:lnTo>
                <a:lnTo>
                  <a:pt x="1039" y="235"/>
                </a:lnTo>
                <a:lnTo>
                  <a:pt x="1031" y="233"/>
                </a:lnTo>
                <a:close/>
                <a:moveTo>
                  <a:pt x="859" y="255"/>
                </a:moveTo>
                <a:lnTo>
                  <a:pt x="862" y="255"/>
                </a:lnTo>
                <a:lnTo>
                  <a:pt x="865" y="255"/>
                </a:lnTo>
                <a:lnTo>
                  <a:pt x="868" y="256"/>
                </a:lnTo>
                <a:lnTo>
                  <a:pt x="868" y="257"/>
                </a:lnTo>
                <a:lnTo>
                  <a:pt x="864" y="258"/>
                </a:lnTo>
                <a:lnTo>
                  <a:pt x="858" y="256"/>
                </a:lnTo>
                <a:lnTo>
                  <a:pt x="858" y="256"/>
                </a:lnTo>
                <a:lnTo>
                  <a:pt x="859" y="255"/>
                </a:lnTo>
                <a:lnTo>
                  <a:pt x="861" y="255"/>
                </a:lnTo>
                <a:lnTo>
                  <a:pt x="859" y="255"/>
                </a:lnTo>
                <a:close/>
                <a:moveTo>
                  <a:pt x="851" y="256"/>
                </a:moveTo>
                <a:lnTo>
                  <a:pt x="841" y="256"/>
                </a:lnTo>
                <a:lnTo>
                  <a:pt x="832" y="255"/>
                </a:lnTo>
                <a:lnTo>
                  <a:pt x="837" y="252"/>
                </a:lnTo>
                <a:lnTo>
                  <a:pt x="841" y="251"/>
                </a:lnTo>
                <a:lnTo>
                  <a:pt x="846" y="252"/>
                </a:lnTo>
                <a:lnTo>
                  <a:pt x="851" y="256"/>
                </a:lnTo>
                <a:close/>
                <a:moveTo>
                  <a:pt x="792" y="243"/>
                </a:moveTo>
                <a:lnTo>
                  <a:pt x="796" y="243"/>
                </a:lnTo>
                <a:lnTo>
                  <a:pt x="799" y="244"/>
                </a:lnTo>
                <a:lnTo>
                  <a:pt x="801" y="246"/>
                </a:lnTo>
                <a:lnTo>
                  <a:pt x="805" y="248"/>
                </a:lnTo>
                <a:lnTo>
                  <a:pt x="799" y="248"/>
                </a:lnTo>
                <a:lnTo>
                  <a:pt x="793" y="248"/>
                </a:lnTo>
                <a:lnTo>
                  <a:pt x="791" y="247"/>
                </a:lnTo>
                <a:lnTo>
                  <a:pt x="790" y="246"/>
                </a:lnTo>
                <a:lnTo>
                  <a:pt x="790" y="244"/>
                </a:lnTo>
                <a:lnTo>
                  <a:pt x="792" y="243"/>
                </a:lnTo>
                <a:lnTo>
                  <a:pt x="793" y="243"/>
                </a:lnTo>
                <a:lnTo>
                  <a:pt x="792" y="243"/>
                </a:lnTo>
                <a:close/>
                <a:moveTo>
                  <a:pt x="775" y="256"/>
                </a:moveTo>
                <a:lnTo>
                  <a:pt x="773" y="258"/>
                </a:lnTo>
                <a:lnTo>
                  <a:pt x="772" y="258"/>
                </a:lnTo>
                <a:lnTo>
                  <a:pt x="769" y="257"/>
                </a:lnTo>
                <a:lnTo>
                  <a:pt x="767" y="255"/>
                </a:lnTo>
                <a:lnTo>
                  <a:pt x="772" y="255"/>
                </a:lnTo>
                <a:lnTo>
                  <a:pt x="775" y="256"/>
                </a:lnTo>
                <a:close/>
                <a:moveTo>
                  <a:pt x="750" y="247"/>
                </a:moveTo>
                <a:lnTo>
                  <a:pt x="755" y="248"/>
                </a:lnTo>
                <a:lnTo>
                  <a:pt x="758" y="251"/>
                </a:lnTo>
                <a:lnTo>
                  <a:pt x="755" y="251"/>
                </a:lnTo>
                <a:lnTo>
                  <a:pt x="751" y="251"/>
                </a:lnTo>
                <a:lnTo>
                  <a:pt x="750" y="250"/>
                </a:lnTo>
                <a:lnTo>
                  <a:pt x="749" y="249"/>
                </a:lnTo>
                <a:lnTo>
                  <a:pt x="749" y="248"/>
                </a:lnTo>
                <a:lnTo>
                  <a:pt x="750" y="247"/>
                </a:lnTo>
                <a:lnTo>
                  <a:pt x="751" y="247"/>
                </a:lnTo>
                <a:lnTo>
                  <a:pt x="750" y="247"/>
                </a:lnTo>
                <a:close/>
                <a:moveTo>
                  <a:pt x="747" y="315"/>
                </a:moveTo>
                <a:lnTo>
                  <a:pt x="744" y="315"/>
                </a:lnTo>
                <a:lnTo>
                  <a:pt x="743" y="315"/>
                </a:lnTo>
                <a:lnTo>
                  <a:pt x="742" y="313"/>
                </a:lnTo>
                <a:lnTo>
                  <a:pt x="741" y="309"/>
                </a:lnTo>
                <a:lnTo>
                  <a:pt x="744" y="313"/>
                </a:lnTo>
                <a:lnTo>
                  <a:pt x="747" y="315"/>
                </a:lnTo>
                <a:close/>
                <a:moveTo>
                  <a:pt x="724" y="307"/>
                </a:moveTo>
                <a:lnTo>
                  <a:pt x="724" y="306"/>
                </a:lnTo>
                <a:lnTo>
                  <a:pt x="724" y="304"/>
                </a:lnTo>
                <a:lnTo>
                  <a:pt x="726" y="305"/>
                </a:lnTo>
                <a:lnTo>
                  <a:pt x="729" y="305"/>
                </a:lnTo>
                <a:lnTo>
                  <a:pt x="734" y="308"/>
                </a:lnTo>
                <a:lnTo>
                  <a:pt x="740" y="311"/>
                </a:lnTo>
                <a:lnTo>
                  <a:pt x="732" y="310"/>
                </a:lnTo>
                <a:lnTo>
                  <a:pt x="724" y="307"/>
                </a:lnTo>
                <a:lnTo>
                  <a:pt x="726" y="307"/>
                </a:lnTo>
                <a:lnTo>
                  <a:pt x="724" y="307"/>
                </a:lnTo>
                <a:close/>
                <a:moveTo>
                  <a:pt x="701" y="341"/>
                </a:moveTo>
                <a:lnTo>
                  <a:pt x="700" y="343"/>
                </a:lnTo>
                <a:lnTo>
                  <a:pt x="697" y="346"/>
                </a:lnTo>
                <a:lnTo>
                  <a:pt x="696" y="347"/>
                </a:lnTo>
                <a:lnTo>
                  <a:pt x="694" y="348"/>
                </a:lnTo>
                <a:lnTo>
                  <a:pt x="694" y="349"/>
                </a:lnTo>
                <a:lnTo>
                  <a:pt x="696" y="350"/>
                </a:lnTo>
                <a:lnTo>
                  <a:pt x="693" y="351"/>
                </a:lnTo>
                <a:lnTo>
                  <a:pt x="691" y="351"/>
                </a:lnTo>
                <a:lnTo>
                  <a:pt x="689" y="349"/>
                </a:lnTo>
                <a:lnTo>
                  <a:pt x="690" y="347"/>
                </a:lnTo>
                <a:lnTo>
                  <a:pt x="685" y="344"/>
                </a:lnTo>
                <a:lnTo>
                  <a:pt x="682" y="341"/>
                </a:lnTo>
                <a:lnTo>
                  <a:pt x="692" y="341"/>
                </a:lnTo>
                <a:lnTo>
                  <a:pt x="701" y="341"/>
                </a:lnTo>
                <a:lnTo>
                  <a:pt x="699" y="342"/>
                </a:lnTo>
                <a:lnTo>
                  <a:pt x="701" y="341"/>
                </a:lnTo>
                <a:close/>
                <a:moveTo>
                  <a:pt x="677" y="329"/>
                </a:moveTo>
                <a:lnTo>
                  <a:pt x="677" y="331"/>
                </a:lnTo>
                <a:lnTo>
                  <a:pt x="678" y="332"/>
                </a:lnTo>
                <a:lnTo>
                  <a:pt x="681" y="332"/>
                </a:lnTo>
                <a:lnTo>
                  <a:pt x="682" y="333"/>
                </a:lnTo>
                <a:lnTo>
                  <a:pt x="684" y="334"/>
                </a:lnTo>
                <a:lnTo>
                  <a:pt x="685" y="335"/>
                </a:lnTo>
                <a:lnTo>
                  <a:pt x="686" y="337"/>
                </a:lnTo>
                <a:lnTo>
                  <a:pt x="686" y="337"/>
                </a:lnTo>
                <a:lnTo>
                  <a:pt x="686" y="338"/>
                </a:lnTo>
                <a:lnTo>
                  <a:pt x="684" y="339"/>
                </a:lnTo>
                <a:lnTo>
                  <a:pt x="681" y="337"/>
                </a:lnTo>
                <a:lnTo>
                  <a:pt x="677" y="334"/>
                </a:lnTo>
                <a:lnTo>
                  <a:pt x="670" y="331"/>
                </a:lnTo>
                <a:lnTo>
                  <a:pt x="664" y="327"/>
                </a:lnTo>
                <a:lnTo>
                  <a:pt x="670" y="329"/>
                </a:lnTo>
                <a:lnTo>
                  <a:pt x="677" y="329"/>
                </a:lnTo>
                <a:lnTo>
                  <a:pt x="676" y="331"/>
                </a:lnTo>
                <a:lnTo>
                  <a:pt x="677" y="329"/>
                </a:lnTo>
                <a:close/>
                <a:moveTo>
                  <a:pt x="631" y="409"/>
                </a:moveTo>
                <a:lnTo>
                  <a:pt x="634" y="409"/>
                </a:lnTo>
                <a:lnTo>
                  <a:pt x="635" y="410"/>
                </a:lnTo>
                <a:lnTo>
                  <a:pt x="633" y="412"/>
                </a:lnTo>
                <a:lnTo>
                  <a:pt x="631" y="412"/>
                </a:lnTo>
                <a:lnTo>
                  <a:pt x="628" y="410"/>
                </a:lnTo>
                <a:lnTo>
                  <a:pt x="627" y="407"/>
                </a:lnTo>
                <a:lnTo>
                  <a:pt x="629" y="408"/>
                </a:lnTo>
                <a:lnTo>
                  <a:pt x="631" y="409"/>
                </a:lnTo>
                <a:lnTo>
                  <a:pt x="631" y="409"/>
                </a:lnTo>
                <a:lnTo>
                  <a:pt x="631" y="409"/>
                </a:lnTo>
                <a:close/>
                <a:moveTo>
                  <a:pt x="562" y="372"/>
                </a:moveTo>
                <a:lnTo>
                  <a:pt x="561" y="374"/>
                </a:lnTo>
                <a:lnTo>
                  <a:pt x="560" y="377"/>
                </a:lnTo>
                <a:lnTo>
                  <a:pt x="562" y="377"/>
                </a:lnTo>
                <a:lnTo>
                  <a:pt x="563" y="376"/>
                </a:lnTo>
                <a:lnTo>
                  <a:pt x="567" y="377"/>
                </a:lnTo>
                <a:lnTo>
                  <a:pt x="569" y="379"/>
                </a:lnTo>
                <a:lnTo>
                  <a:pt x="574" y="382"/>
                </a:lnTo>
                <a:lnTo>
                  <a:pt x="578" y="384"/>
                </a:lnTo>
                <a:lnTo>
                  <a:pt x="583" y="385"/>
                </a:lnTo>
                <a:lnTo>
                  <a:pt x="587" y="388"/>
                </a:lnTo>
                <a:lnTo>
                  <a:pt x="590" y="390"/>
                </a:lnTo>
                <a:lnTo>
                  <a:pt x="593" y="391"/>
                </a:lnTo>
                <a:lnTo>
                  <a:pt x="596" y="390"/>
                </a:lnTo>
                <a:lnTo>
                  <a:pt x="600" y="391"/>
                </a:lnTo>
                <a:lnTo>
                  <a:pt x="602" y="393"/>
                </a:lnTo>
                <a:lnTo>
                  <a:pt x="606" y="396"/>
                </a:lnTo>
                <a:lnTo>
                  <a:pt x="608" y="398"/>
                </a:lnTo>
                <a:lnTo>
                  <a:pt x="612" y="398"/>
                </a:lnTo>
                <a:lnTo>
                  <a:pt x="608" y="398"/>
                </a:lnTo>
                <a:lnTo>
                  <a:pt x="604" y="399"/>
                </a:lnTo>
                <a:lnTo>
                  <a:pt x="601" y="398"/>
                </a:lnTo>
                <a:lnTo>
                  <a:pt x="598" y="397"/>
                </a:lnTo>
                <a:lnTo>
                  <a:pt x="591" y="392"/>
                </a:lnTo>
                <a:lnTo>
                  <a:pt x="585" y="389"/>
                </a:lnTo>
                <a:lnTo>
                  <a:pt x="579" y="385"/>
                </a:lnTo>
                <a:lnTo>
                  <a:pt x="574" y="383"/>
                </a:lnTo>
                <a:lnTo>
                  <a:pt x="573" y="385"/>
                </a:lnTo>
                <a:lnTo>
                  <a:pt x="570" y="388"/>
                </a:lnTo>
                <a:lnTo>
                  <a:pt x="567" y="388"/>
                </a:lnTo>
                <a:lnTo>
                  <a:pt x="562" y="384"/>
                </a:lnTo>
                <a:lnTo>
                  <a:pt x="558" y="382"/>
                </a:lnTo>
                <a:lnTo>
                  <a:pt x="556" y="379"/>
                </a:lnTo>
                <a:lnTo>
                  <a:pt x="554" y="376"/>
                </a:lnTo>
                <a:lnTo>
                  <a:pt x="554" y="375"/>
                </a:lnTo>
                <a:lnTo>
                  <a:pt x="554" y="374"/>
                </a:lnTo>
                <a:lnTo>
                  <a:pt x="556" y="373"/>
                </a:lnTo>
                <a:lnTo>
                  <a:pt x="559" y="372"/>
                </a:lnTo>
                <a:lnTo>
                  <a:pt x="562" y="372"/>
                </a:lnTo>
                <a:lnTo>
                  <a:pt x="561" y="373"/>
                </a:lnTo>
                <a:lnTo>
                  <a:pt x="562" y="372"/>
                </a:lnTo>
                <a:close/>
                <a:moveTo>
                  <a:pt x="567" y="410"/>
                </a:moveTo>
                <a:lnTo>
                  <a:pt x="562" y="410"/>
                </a:lnTo>
                <a:lnTo>
                  <a:pt x="558" y="407"/>
                </a:lnTo>
                <a:lnTo>
                  <a:pt x="560" y="407"/>
                </a:lnTo>
                <a:lnTo>
                  <a:pt x="563" y="407"/>
                </a:lnTo>
                <a:lnTo>
                  <a:pt x="566" y="408"/>
                </a:lnTo>
                <a:lnTo>
                  <a:pt x="567" y="410"/>
                </a:lnTo>
                <a:close/>
                <a:moveTo>
                  <a:pt x="526" y="358"/>
                </a:moveTo>
                <a:lnTo>
                  <a:pt x="528" y="359"/>
                </a:lnTo>
                <a:lnTo>
                  <a:pt x="530" y="358"/>
                </a:lnTo>
                <a:lnTo>
                  <a:pt x="529" y="357"/>
                </a:lnTo>
                <a:lnTo>
                  <a:pt x="528" y="355"/>
                </a:lnTo>
                <a:lnTo>
                  <a:pt x="528" y="354"/>
                </a:lnTo>
                <a:lnTo>
                  <a:pt x="529" y="354"/>
                </a:lnTo>
                <a:lnTo>
                  <a:pt x="530" y="355"/>
                </a:lnTo>
                <a:lnTo>
                  <a:pt x="532" y="355"/>
                </a:lnTo>
                <a:lnTo>
                  <a:pt x="536" y="357"/>
                </a:lnTo>
                <a:lnTo>
                  <a:pt x="541" y="358"/>
                </a:lnTo>
                <a:lnTo>
                  <a:pt x="535" y="359"/>
                </a:lnTo>
                <a:lnTo>
                  <a:pt x="530" y="359"/>
                </a:lnTo>
                <a:lnTo>
                  <a:pt x="534" y="363"/>
                </a:lnTo>
                <a:lnTo>
                  <a:pt x="537" y="365"/>
                </a:lnTo>
                <a:lnTo>
                  <a:pt x="542" y="367"/>
                </a:lnTo>
                <a:lnTo>
                  <a:pt x="546" y="368"/>
                </a:lnTo>
                <a:lnTo>
                  <a:pt x="548" y="369"/>
                </a:lnTo>
                <a:lnTo>
                  <a:pt x="549" y="371"/>
                </a:lnTo>
                <a:lnTo>
                  <a:pt x="550" y="372"/>
                </a:lnTo>
                <a:lnTo>
                  <a:pt x="549" y="373"/>
                </a:lnTo>
                <a:lnTo>
                  <a:pt x="544" y="373"/>
                </a:lnTo>
                <a:lnTo>
                  <a:pt x="541" y="372"/>
                </a:lnTo>
                <a:lnTo>
                  <a:pt x="530" y="367"/>
                </a:lnTo>
                <a:lnTo>
                  <a:pt x="521" y="364"/>
                </a:lnTo>
                <a:lnTo>
                  <a:pt x="518" y="365"/>
                </a:lnTo>
                <a:lnTo>
                  <a:pt x="515" y="365"/>
                </a:lnTo>
                <a:lnTo>
                  <a:pt x="513" y="363"/>
                </a:lnTo>
                <a:lnTo>
                  <a:pt x="511" y="360"/>
                </a:lnTo>
                <a:lnTo>
                  <a:pt x="510" y="358"/>
                </a:lnTo>
                <a:lnTo>
                  <a:pt x="510" y="356"/>
                </a:lnTo>
                <a:lnTo>
                  <a:pt x="512" y="358"/>
                </a:lnTo>
                <a:lnTo>
                  <a:pt x="516" y="360"/>
                </a:lnTo>
                <a:lnTo>
                  <a:pt x="517" y="362"/>
                </a:lnTo>
                <a:lnTo>
                  <a:pt x="518" y="362"/>
                </a:lnTo>
                <a:lnTo>
                  <a:pt x="519" y="362"/>
                </a:lnTo>
                <a:lnTo>
                  <a:pt x="518" y="359"/>
                </a:lnTo>
                <a:lnTo>
                  <a:pt x="517" y="358"/>
                </a:lnTo>
                <a:lnTo>
                  <a:pt x="516" y="357"/>
                </a:lnTo>
                <a:lnTo>
                  <a:pt x="515" y="356"/>
                </a:lnTo>
                <a:lnTo>
                  <a:pt x="517" y="355"/>
                </a:lnTo>
                <a:lnTo>
                  <a:pt x="521" y="356"/>
                </a:lnTo>
                <a:lnTo>
                  <a:pt x="526" y="358"/>
                </a:lnTo>
                <a:lnTo>
                  <a:pt x="525" y="358"/>
                </a:lnTo>
                <a:lnTo>
                  <a:pt x="526" y="358"/>
                </a:lnTo>
                <a:close/>
                <a:moveTo>
                  <a:pt x="532" y="385"/>
                </a:moveTo>
                <a:lnTo>
                  <a:pt x="529" y="384"/>
                </a:lnTo>
                <a:lnTo>
                  <a:pt x="526" y="383"/>
                </a:lnTo>
                <a:lnTo>
                  <a:pt x="529" y="382"/>
                </a:lnTo>
                <a:lnTo>
                  <a:pt x="533" y="382"/>
                </a:lnTo>
                <a:lnTo>
                  <a:pt x="534" y="384"/>
                </a:lnTo>
                <a:lnTo>
                  <a:pt x="534" y="385"/>
                </a:lnTo>
                <a:lnTo>
                  <a:pt x="533" y="387"/>
                </a:lnTo>
                <a:lnTo>
                  <a:pt x="532" y="385"/>
                </a:lnTo>
                <a:lnTo>
                  <a:pt x="532" y="385"/>
                </a:lnTo>
                <a:lnTo>
                  <a:pt x="532" y="385"/>
                </a:lnTo>
                <a:close/>
                <a:moveTo>
                  <a:pt x="518" y="400"/>
                </a:moveTo>
                <a:lnTo>
                  <a:pt x="517" y="400"/>
                </a:lnTo>
                <a:lnTo>
                  <a:pt x="516" y="398"/>
                </a:lnTo>
                <a:lnTo>
                  <a:pt x="516" y="397"/>
                </a:lnTo>
                <a:lnTo>
                  <a:pt x="516" y="396"/>
                </a:lnTo>
                <a:lnTo>
                  <a:pt x="517" y="394"/>
                </a:lnTo>
                <a:lnTo>
                  <a:pt x="519" y="394"/>
                </a:lnTo>
                <a:lnTo>
                  <a:pt x="521" y="396"/>
                </a:lnTo>
                <a:lnTo>
                  <a:pt x="523" y="398"/>
                </a:lnTo>
                <a:lnTo>
                  <a:pt x="521" y="400"/>
                </a:lnTo>
                <a:lnTo>
                  <a:pt x="518" y="400"/>
                </a:lnTo>
                <a:lnTo>
                  <a:pt x="518" y="400"/>
                </a:lnTo>
                <a:lnTo>
                  <a:pt x="518" y="400"/>
                </a:lnTo>
                <a:close/>
                <a:moveTo>
                  <a:pt x="507" y="343"/>
                </a:moveTo>
                <a:lnTo>
                  <a:pt x="507" y="342"/>
                </a:lnTo>
                <a:lnTo>
                  <a:pt x="508" y="341"/>
                </a:lnTo>
                <a:lnTo>
                  <a:pt x="509" y="341"/>
                </a:lnTo>
                <a:lnTo>
                  <a:pt x="511" y="341"/>
                </a:lnTo>
                <a:lnTo>
                  <a:pt x="513" y="343"/>
                </a:lnTo>
                <a:lnTo>
                  <a:pt x="515" y="346"/>
                </a:lnTo>
                <a:lnTo>
                  <a:pt x="515" y="347"/>
                </a:lnTo>
                <a:lnTo>
                  <a:pt x="517" y="348"/>
                </a:lnTo>
                <a:lnTo>
                  <a:pt x="521" y="348"/>
                </a:lnTo>
                <a:lnTo>
                  <a:pt x="525" y="348"/>
                </a:lnTo>
                <a:lnTo>
                  <a:pt x="524" y="350"/>
                </a:lnTo>
                <a:lnTo>
                  <a:pt x="523" y="352"/>
                </a:lnTo>
                <a:lnTo>
                  <a:pt x="521" y="352"/>
                </a:lnTo>
                <a:lnTo>
                  <a:pt x="518" y="351"/>
                </a:lnTo>
                <a:lnTo>
                  <a:pt x="515" y="350"/>
                </a:lnTo>
                <a:lnTo>
                  <a:pt x="511" y="348"/>
                </a:lnTo>
                <a:lnTo>
                  <a:pt x="508" y="346"/>
                </a:lnTo>
                <a:lnTo>
                  <a:pt x="507" y="343"/>
                </a:lnTo>
                <a:close/>
                <a:moveTo>
                  <a:pt x="508" y="349"/>
                </a:moveTo>
                <a:lnTo>
                  <a:pt x="509" y="350"/>
                </a:lnTo>
                <a:lnTo>
                  <a:pt x="509" y="351"/>
                </a:lnTo>
                <a:lnTo>
                  <a:pt x="508" y="350"/>
                </a:lnTo>
                <a:lnTo>
                  <a:pt x="508" y="349"/>
                </a:lnTo>
                <a:lnTo>
                  <a:pt x="508" y="350"/>
                </a:lnTo>
                <a:lnTo>
                  <a:pt x="508" y="349"/>
                </a:lnTo>
                <a:close/>
                <a:moveTo>
                  <a:pt x="508" y="358"/>
                </a:moveTo>
                <a:lnTo>
                  <a:pt x="504" y="358"/>
                </a:lnTo>
                <a:lnTo>
                  <a:pt x="501" y="358"/>
                </a:lnTo>
                <a:lnTo>
                  <a:pt x="499" y="357"/>
                </a:lnTo>
                <a:lnTo>
                  <a:pt x="497" y="354"/>
                </a:lnTo>
                <a:lnTo>
                  <a:pt x="501" y="354"/>
                </a:lnTo>
                <a:lnTo>
                  <a:pt x="503" y="355"/>
                </a:lnTo>
                <a:lnTo>
                  <a:pt x="505" y="356"/>
                </a:lnTo>
                <a:lnTo>
                  <a:pt x="508" y="358"/>
                </a:lnTo>
                <a:close/>
                <a:moveTo>
                  <a:pt x="494" y="412"/>
                </a:moveTo>
                <a:lnTo>
                  <a:pt x="496" y="410"/>
                </a:lnTo>
                <a:lnTo>
                  <a:pt x="499" y="410"/>
                </a:lnTo>
                <a:lnTo>
                  <a:pt x="501" y="410"/>
                </a:lnTo>
                <a:lnTo>
                  <a:pt x="503" y="410"/>
                </a:lnTo>
                <a:lnTo>
                  <a:pt x="504" y="412"/>
                </a:lnTo>
                <a:lnTo>
                  <a:pt x="505" y="414"/>
                </a:lnTo>
                <a:lnTo>
                  <a:pt x="507" y="415"/>
                </a:lnTo>
                <a:lnTo>
                  <a:pt x="507" y="417"/>
                </a:lnTo>
                <a:lnTo>
                  <a:pt x="507" y="417"/>
                </a:lnTo>
                <a:lnTo>
                  <a:pt x="505" y="418"/>
                </a:lnTo>
                <a:lnTo>
                  <a:pt x="503" y="420"/>
                </a:lnTo>
                <a:lnTo>
                  <a:pt x="500" y="421"/>
                </a:lnTo>
                <a:lnTo>
                  <a:pt x="497" y="416"/>
                </a:lnTo>
                <a:lnTo>
                  <a:pt x="494" y="412"/>
                </a:lnTo>
                <a:lnTo>
                  <a:pt x="494" y="412"/>
                </a:lnTo>
                <a:lnTo>
                  <a:pt x="494" y="412"/>
                </a:lnTo>
                <a:close/>
                <a:moveTo>
                  <a:pt x="492" y="421"/>
                </a:moveTo>
                <a:lnTo>
                  <a:pt x="493" y="420"/>
                </a:lnTo>
                <a:lnTo>
                  <a:pt x="494" y="418"/>
                </a:lnTo>
                <a:lnTo>
                  <a:pt x="495" y="418"/>
                </a:lnTo>
                <a:lnTo>
                  <a:pt x="496" y="420"/>
                </a:lnTo>
                <a:lnTo>
                  <a:pt x="499" y="421"/>
                </a:lnTo>
                <a:lnTo>
                  <a:pt x="500" y="421"/>
                </a:lnTo>
                <a:lnTo>
                  <a:pt x="497" y="424"/>
                </a:lnTo>
                <a:lnTo>
                  <a:pt x="494" y="425"/>
                </a:lnTo>
                <a:lnTo>
                  <a:pt x="493" y="425"/>
                </a:lnTo>
                <a:lnTo>
                  <a:pt x="492" y="424"/>
                </a:lnTo>
                <a:lnTo>
                  <a:pt x="492" y="423"/>
                </a:lnTo>
                <a:lnTo>
                  <a:pt x="492" y="421"/>
                </a:lnTo>
                <a:lnTo>
                  <a:pt x="493" y="421"/>
                </a:lnTo>
                <a:lnTo>
                  <a:pt x="492" y="421"/>
                </a:lnTo>
                <a:close/>
                <a:moveTo>
                  <a:pt x="449" y="388"/>
                </a:moveTo>
                <a:lnTo>
                  <a:pt x="445" y="388"/>
                </a:lnTo>
                <a:lnTo>
                  <a:pt x="442" y="388"/>
                </a:lnTo>
                <a:lnTo>
                  <a:pt x="439" y="387"/>
                </a:lnTo>
                <a:lnTo>
                  <a:pt x="437" y="384"/>
                </a:lnTo>
                <a:lnTo>
                  <a:pt x="439" y="384"/>
                </a:lnTo>
                <a:lnTo>
                  <a:pt x="443" y="383"/>
                </a:lnTo>
                <a:lnTo>
                  <a:pt x="446" y="383"/>
                </a:lnTo>
                <a:lnTo>
                  <a:pt x="449" y="384"/>
                </a:lnTo>
                <a:lnTo>
                  <a:pt x="450" y="385"/>
                </a:lnTo>
                <a:lnTo>
                  <a:pt x="450" y="387"/>
                </a:lnTo>
                <a:lnTo>
                  <a:pt x="450" y="388"/>
                </a:lnTo>
                <a:lnTo>
                  <a:pt x="449" y="388"/>
                </a:lnTo>
                <a:lnTo>
                  <a:pt x="447" y="388"/>
                </a:lnTo>
                <a:lnTo>
                  <a:pt x="449" y="388"/>
                </a:lnTo>
                <a:close/>
                <a:moveTo>
                  <a:pt x="463" y="410"/>
                </a:moveTo>
                <a:lnTo>
                  <a:pt x="459" y="412"/>
                </a:lnTo>
                <a:lnTo>
                  <a:pt x="454" y="412"/>
                </a:lnTo>
                <a:lnTo>
                  <a:pt x="453" y="410"/>
                </a:lnTo>
                <a:lnTo>
                  <a:pt x="453" y="409"/>
                </a:lnTo>
                <a:lnTo>
                  <a:pt x="455" y="409"/>
                </a:lnTo>
                <a:lnTo>
                  <a:pt x="458" y="408"/>
                </a:lnTo>
                <a:lnTo>
                  <a:pt x="461" y="407"/>
                </a:lnTo>
                <a:lnTo>
                  <a:pt x="464" y="407"/>
                </a:lnTo>
                <a:lnTo>
                  <a:pt x="466" y="408"/>
                </a:lnTo>
                <a:lnTo>
                  <a:pt x="466" y="409"/>
                </a:lnTo>
                <a:lnTo>
                  <a:pt x="464" y="410"/>
                </a:lnTo>
                <a:lnTo>
                  <a:pt x="463" y="410"/>
                </a:lnTo>
                <a:lnTo>
                  <a:pt x="463" y="410"/>
                </a:lnTo>
                <a:lnTo>
                  <a:pt x="463" y="410"/>
                </a:lnTo>
                <a:close/>
                <a:moveTo>
                  <a:pt x="454" y="397"/>
                </a:moveTo>
                <a:lnTo>
                  <a:pt x="456" y="396"/>
                </a:lnTo>
                <a:lnTo>
                  <a:pt x="459" y="394"/>
                </a:lnTo>
                <a:lnTo>
                  <a:pt x="462" y="396"/>
                </a:lnTo>
                <a:lnTo>
                  <a:pt x="468" y="396"/>
                </a:lnTo>
                <a:lnTo>
                  <a:pt x="464" y="398"/>
                </a:lnTo>
                <a:lnTo>
                  <a:pt x="461" y="399"/>
                </a:lnTo>
                <a:lnTo>
                  <a:pt x="458" y="399"/>
                </a:lnTo>
                <a:lnTo>
                  <a:pt x="454" y="397"/>
                </a:lnTo>
                <a:close/>
                <a:moveTo>
                  <a:pt x="466" y="391"/>
                </a:moveTo>
                <a:lnTo>
                  <a:pt x="468" y="388"/>
                </a:lnTo>
                <a:lnTo>
                  <a:pt x="468" y="387"/>
                </a:lnTo>
                <a:lnTo>
                  <a:pt x="466" y="385"/>
                </a:lnTo>
                <a:lnTo>
                  <a:pt x="464" y="384"/>
                </a:lnTo>
                <a:lnTo>
                  <a:pt x="462" y="384"/>
                </a:lnTo>
                <a:lnTo>
                  <a:pt x="460" y="383"/>
                </a:lnTo>
                <a:lnTo>
                  <a:pt x="458" y="382"/>
                </a:lnTo>
                <a:lnTo>
                  <a:pt x="456" y="381"/>
                </a:lnTo>
                <a:lnTo>
                  <a:pt x="460" y="380"/>
                </a:lnTo>
                <a:lnTo>
                  <a:pt x="463" y="380"/>
                </a:lnTo>
                <a:lnTo>
                  <a:pt x="466" y="381"/>
                </a:lnTo>
                <a:lnTo>
                  <a:pt x="468" y="382"/>
                </a:lnTo>
                <a:lnTo>
                  <a:pt x="472" y="385"/>
                </a:lnTo>
                <a:lnTo>
                  <a:pt x="476" y="390"/>
                </a:lnTo>
                <a:lnTo>
                  <a:pt x="471" y="390"/>
                </a:lnTo>
                <a:lnTo>
                  <a:pt x="466" y="391"/>
                </a:lnTo>
                <a:lnTo>
                  <a:pt x="469" y="389"/>
                </a:lnTo>
                <a:lnTo>
                  <a:pt x="466" y="391"/>
                </a:lnTo>
                <a:close/>
                <a:moveTo>
                  <a:pt x="468" y="483"/>
                </a:moveTo>
                <a:lnTo>
                  <a:pt x="471" y="483"/>
                </a:lnTo>
                <a:lnTo>
                  <a:pt x="475" y="484"/>
                </a:lnTo>
                <a:lnTo>
                  <a:pt x="477" y="487"/>
                </a:lnTo>
                <a:lnTo>
                  <a:pt x="479" y="489"/>
                </a:lnTo>
                <a:lnTo>
                  <a:pt x="477" y="490"/>
                </a:lnTo>
                <a:lnTo>
                  <a:pt x="475" y="490"/>
                </a:lnTo>
                <a:lnTo>
                  <a:pt x="474" y="489"/>
                </a:lnTo>
                <a:lnTo>
                  <a:pt x="472" y="488"/>
                </a:lnTo>
                <a:lnTo>
                  <a:pt x="470" y="485"/>
                </a:lnTo>
                <a:lnTo>
                  <a:pt x="468" y="483"/>
                </a:lnTo>
                <a:close/>
                <a:moveTo>
                  <a:pt x="512" y="499"/>
                </a:moveTo>
                <a:lnTo>
                  <a:pt x="516" y="498"/>
                </a:lnTo>
                <a:lnTo>
                  <a:pt x="518" y="497"/>
                </a:lnTo>
                <a:lnTo>
                  <a:pt x="518" y="496"/>
                </a:lnTo>
                <a:lnTo>
                  <a:pt x="516" y="495"/>
                </a:lnTo>
                <a:lnTo>
                  <a:pt x="513" y="493"/>
                </a:lnTo>
                <a:lnTo>
                  <a:pt x="511" y="493"/>
                </a:lnTo>
                <a:lnTo>
                  <a:pt x="507" y="495"/>
                </a:lnTo>
                <a:lnTo>
                  <a:pt x="502" y="495"/>
                </a:lnTo>
                <a:lnTo>
                  <a:pt x="501" y="492"/>
                </a:lnTo>
                <a:lnTo>
                  <a:pt x="499" y="490"/>
                </a:lnTo>
                <a:lnTo>
                  <a:pt x="494" y="489"/>
                </a:lnTo>
                <a:lnTo>
                  <a:pt x="488" y="487"/>
                </a:lnTo>
                <a:lnTo>
                  <a:pt x="485" y="484"/>
                </a:lnTo>
                <a:lnTo>
                  <a:pt x="482" y="482"/>
                </a:lnTo>
                <a:lnTo>
                  <a:pt x="477" y="482"/>
                </a:lnTo>
                <a:lnTo>
                  <a:pt x="474" y="481"/>
                </a:lnTo>
                <a:lnTo>
                  <a:pt x="472" y="479"/>
                </a:lnTo>
                <a:lnTo>
                  <a:pt x="474" y="476"/>
                </a:lnTo>
                <a:lnTo>
                  <a:pt x="475" y="474"/>
                </a:lnTo>
                <a:lnTo>
                  <a:pt x="474" y="473"/>
                </a:lnTo>
                <a:lnTo>
                  <a:pt x="471" y="473"/>
                </a:lnTo>
                <a:lnTo>
                  <a:pt x="468" y="473"/>
                </a:lnTo>
                <a:lnTo>
                  <a:pt x="470" y="471"/>
                </a:lnTo>
                <a:lnTo>
                  <a:pt x="472" y="470"/>
                </a:lnTo>
                <a:lnTo>
                  <a:pt x="475" y="471"/>
                </a:lnTo>
                <a:lnTo>
                  <a:pt x="476" y="472"/>
                </a:lnTo>
                <a:lnTo>
                  <a:pt x="478" y="471"/>
                </a:lnTo>
                <a:lnTo>
                  <a:pt x="479" y="471"/>
                </a:lnTo>
                <a:lnTo>
                  <a:pt x="480" y="471"/>
                </a:lnTo>
                <a:lnTo>
                  <a:pt x="482" y="471"/>
                </a:lnTo>
                <a:lnTo>
                  <a:pt x="483" y="473"/>
                </a:lnTo>
                <a:lnTo>
                  <a:pt x="483" y="474"/>
                </a:lnTo>
                <a:lnTo>
                  <a:pt x="480" y="475"/>
                </a:lnTo>
                <a:lnTo>
                  <a:pt x="480" y="476"/>
                </a:lnTo>
                <a:lnTo>
                  <a:pt x="480" y="477"/>
                </a:lnTo>
                <a:lnTo>
                  <a:pt x="483" y="477"/>
                </a:lnTo>
                <a:lnTo>
                  <a:pt x="484" y="479"/>
                </a:lnTo>
                <a:lnTo>
                  <a:pt x="485" y="477"/>
                </a:lnTo>
                <a:lnTo>
                  <a:pt x="485" y="477"/>
                </a:lnTo>
                <a:lnTo>
                  <a:pt x="485" y="475"/>
                </a:lnTo>
                <a:lnTo>
                  <a:pt x="495" y="479"/>
                </a:lnTo>
                <a:lnTo>
                  <a:pt x="507" y="481"/>
                </a:lnTo>
                <a:lnTo>
                  <a:pt x="511" y="484"/>
                </a:lnTo>
                <a:lnTo>
                  <a:pt x="516" y="488"/>
                </a:lnTo>
                <a:lnTo>
                  <a:pt x="521" y="490"/>
                </a:lnTo>
                <a:lnTo>
                  <a:pt x="527" y="492"/>
                </a:lnTo>
                <a:lnTo>
                  <a:pt x="533" y="496"/>
                </a:lnTo>
                <a:lnTo>
                  <a:pt x="536" y="500"/>
                </a:lnTo>
                <a:lnTo>
                  <a:pt x="534" y="501"/>
                </a:lnTo>
                <a:lnTo>
                  <a:pt x="532" y="503"/>
                </a:lnTo>
                <a:lnTo>
                  <a:pt x="528" y="503"/>
                </a:lnTo>
                <a:lnTo>
                  <a:pt x="525" y="501"/>
                </a:lnTo>
                <a:lnTo>
                  <a:pt x="517" y="500"/>
                </a:lnTo>
                <a:lnTo>
                  <a:pt x="512" y="499"/>
                </a:lnTo>
                <a:lnTo>
                  <a:pt x="516" y="499"/>
                </a:lnTo>
                <a:lnTo>
                  <a:pt x="512" y="499"/>
                </a:lnTo>
                <a:close/>
                <a:moveTo>
                  <a:pt x="603" y="538"/>
                </a:moveTo>
                <a:lnTo>
                  <a:pt x="596" y="534"/>
                </a:lnTo>
                <a:lnTo>
                  <a:pt x="590" y="530"/>
                </a:lnTo>
                <a:lnTo>
                  <a:pt x="586" y="529"/>
                </a:lnTo>
                <a:lnTo>
                  <a:pt x="583" y="529"/>
                </a:lnTo>
                <a:lnTo>
                  <a:pt x="581" y="531"/>
                </a:lnTo>
                <a:lnTo>
                  <a:pt x="578" y="533"/>
                </a:lnTo>
                <a:lnTo>
                  <a:pt x="576" y="528"/>
                </a:lnTo>
                <a:lnTo>
                  <a:pt x="571" y="522"/>
                </a:lnTo>
                <a:lnTo>
                  <a:pt x="570" y="520"/>
                </a:lnTo>
                <a:lnTo>
                  <a:pt x="569" y="518"/>
                </a:lnTo>
                <a:lnTo>
                  <a:pt x="566" y="521"/>
                </a:lnTo>
                <a:lnTo>
                  <a:pt x="562" y="522"/>
                </a:lnTo>
                <a:lnTo>
                  <a:pt x="556" y="521"/>
                </a:lnTo>
                <a:lnTo>
                  <a:pt x="551" y="516"/>
                </a:lnTo>
                <a:lnTo>
                  <a:pt x="542" y="512"/>
                </a:lnTo>
                <a:lnTo>
                  <a:pt x="534" y="508"/>
                </a:lnTo>
                <a:lnTo>
                  <a:pt x="549" y="509"/>
                </a:lnTo>
                <a:lnTo>
                  <a:pt x="563" y="510"/>
                </a:lnTo>
                <a:lnTo>
                  <a:pt x="569" y="513"/>
                </a:lnTo>
                <a:lnTo>
                  <a:pt x="575" y="516"/>
                </a:lnTo>
                <a:lnTo>
                  <a:pt x="576" y="518"/>
                </a:lnTo>
                <a:lnTo>
                  <a:pt x="577" y="521"/>
                </a:lnTo>
                <a:lnTo>
                  <a:pt x="579" y="522"/>
                </a:lnTo>
                <a:lnTo>
                  <a:pt x="582" y="522"/>
                </a:lnTo>
                <a:lnTo>
                  <a:pt x="587" y="523"/>
                </a:lnTo>
                <a:lnTo>
                  <a:pt x="592" y="525"/>
                </a:lnTo>
                <a:lnTo>
                  <a:pt x="596" y="529"/>
                </a:lnTo>
                <a:lnTo>
                  <a:pt x="602" y="532"/>
                </a:lnTo>
                <a:lnTo>
                  <a:pt x="608" y="533"/>
                </a:lnTo>
                <a:lnTo>
                  <a:pt x="612" y="534"/>
                </a:lnTo>
                <a:lnTo>
                  <a:pt x="615" y="539"/>
                </a:lnTo>
                <a:lnTo>
                  <a:pt x="617" y="542"/>
                </a:lnTo>
                <a:lnTo>
                  <a:pt x="610" y="540"/>
                </a:lnTo>
                <a:lnTo>
                  <a:pt x="603" y="538"/>
                </a:lnTo>
                <a:lnTo>
                  <a:pt x="602" y="538"/>
                </a:lnTo>
                <a:lnTo>
                  <a:pt x="603" y="538"/>
                </a:lnTo>
                <a:close/>
                <a:moveTo>
                  <a:pt x="628" y="542"/>
                </a:moveTo>
                <a:lnTo>
                  <a:pt x="626" y="543"/>
                </a:lnTo>
                <a:lnTo>
                  <a:pt x="624" y="545"/>
                </a:lnTo>
                <a:lnTo>
                  <a:pt x="623" y="543"/>
                </a:lnTo>
                <a:lnTo>
                  <a:pt x="622" y="541"/>
                </a:lnTo>
                <a:lnTo>
                  <a:pt x="622" y="540"/>
                </a:lnTo>
                <a:lnTo>
                  <a:pt x="623" y="539"/>
                </a:lnTo>
                <a:lnTo>
                  <a:pt x="624" y="539"/>
                </a:lnTo>
                <a:lnTo>
                  <a:pt x="625" y="539"/>
                </a:lnTo>
                <a:lnTo>
                  <a:pt x="628" y="540"/>
                </a:lnTo>
                <a:lnTo>
                  <a:pt x="631" y="541"/>
                </a:lnTo>
                <a:lnTo>
                  <a:pt x="633" y="542"/>
                </a:lnTo>
                <a:lnTo>
                  <a:pt x="636" y="545"/>
                </a:lnTo>
                <a:lnTo>
                  <a:pt x="636" y="546"/>
                </a:lnTo>
                <a:lnTo>
                  <a:pt x="637" y="547"/>
                </a:lnTo>
                <a:lnTo>
                  <a:pt x="636" y="548"/>
                </a:lnTo>
                <a:lnTo>
                  <a:pt x="635" y="548"/>
                </a:lnTo>
                <a:lnTo>
                  <a:pt x="631" y="546"/>
                </a:lnTo>
                <a:lnTo>
                  <a:pt x="628" y="542"/>
                </a:lnTo>
                <a:lnTo>
                  <a:pt x="628" y="543"/>
                </a:lnTo>
                <a:lnTo>
                  <a:pt x="628" y="542"/>
                </a:lnTo>
                <a:close/>
                <a:moveTo>
                  <a:pt x="688" y="566"/>
                </a:moveTo>
                <a:lnTo>
                  <a:pt x="683" y="565"/>
                </a:lnTo>
                <a:lnTo>
                  <a:pt x="680" y="566"/>
                </a:lnTo>
                <a:lnTo>
                  <a:pt x="682" y="568"/>
                </a:lnTo>
                <a:lnTo>
                  <a:pt x="685" y="570"/>
                </a:lnTo>
                <a:lnTo>
                  <a:pt x="686" y="571"/>
                </a:lnTo>
                <a:lnTo>
                  <a:pt x="688" y="572"/>
                </a:lnTo>
                <a:lnTo>
                  <a:pt x="686" y="572"/>
                </a:lnTo>
                <a:lnTo>
                  <a:pt x="684" y="573"/>
                </a:lnTo>
                <a:lnTo>
                  <a:pt x="678" y="572"/>
                </a:lnTo>
                <a:lnTo>
                  <a:pt x="673" y="570"/>
                </a:lnTo>
                <a:lnTo>
                  <a:pt x="667" y="570"/>
                </a:lnTo>
                <a:lnTo>
                  <a:pt x="661" y="568"/>
                </a:lnTo>
                <a:lnTo>
                  <a:pt x="658" y="565"/>
                </a:lnTo>
                <a:lnTo>
                  <a:pt x="655" y="564"/>
                </a:lnTo>
                <a:lnTo>
                  <a:pt x="649" y="564"/>
                </a:lnTo>
                <a:lnTo>
                  <a:pt x="645" y="564"/>
                </a:lnTo>
                <a:lnTo>
                  <a:pt x="644" y="560"/>
                </a:lnTo>
                <a:lnTo>
                  <a:pt x="643" y="558"/>
                </a:lnTo>
                <a:lnTo>
                  <a:pt x="641" y="558"/>
                </a:lnTo>
                <a:lnTo>
                  <a:pt x="639" y="558"/>
                </a:lnTo>
                <a:lnTo>
                  <a:pt x="636" y="558"/>
                </a:lnTo>
                <a:lnTo>
                  <a:pt x="635" y="555"/>
                </a:lnTo>
                <a:lnTo>
                  <a:pt x="637" y="554"/>
                </a:lnTo>
                <a:lnTo>
                  <a:pt x="642" y="553"/>
                </a:lnTo>
                <a:lnTo>
                  <a:pt x="644" y="555"/>
                </a:lnTo>
                <a:lnTo>
                  <a:pt x="648" y="556"/>
                </a:lnTo>
                <a:lnTo>
                  <a:pt x="649" y="555"/>
                </a:lnTo>
                <a:lnTo>
                  <a:pt x="650" y="554"/>
                </a:lnTo>
                <a:lnTo>
                  <a:pt x="649" y="553"/>
                </a:lnTo>
                <a:lnTo>
                  <a:pt x="648" y="551"/>
                </a:lnTo>
                <a:lnTo>
                  <a:pt x="644" y="549"/>
                </a:lnTo>
                <a:lnTo>
                  <a:pt x="641" y="548"/>
                </a:lnTo>
                <a:lnTo>
                  <a:pt x="644" y="548"/>
                </a:lnTo>
                <a:lnTo>
                  <a:pt x="648" y="548"/>
                </a:lnTo>
                <a:lnTo>
                  <a:pt x="650" y="550"/>
                </a:lnTo>
                <a:lnTo>
                  <a:pt x="652" y="553"/>
                </a:lnTo>
                <a:lnTo>
                  <a:pt x="653" y="555"/>
                </a:lnTo>
                <a:lnTo>
                  <a:pt x="655" y="556"/>
                </a:lnTo>
                <a:lnTo>
                  <a:pt x="657" y="556"/>
                </a:lnTo>
                <a:lnTo>
                  <a:pt x="658" y="555"/>
                </a:lnTo>
                <a:lnTo>
                  <a:pt x="661" y="554"/>
                </a:lnTo>
                <a:lnTo>
                  <a:pt x="666" y="555"/>
                </a:lnTo>
                <a:lnTo>
                  <a:pt x="668" y="558"/>
                </a:lnTo>
                <a:lnTo>
                  <a:pt x="672" y="559"/>
                </a:lnTo>
                <a:lnTo>
                  <a:pt x="677" y="559"/>
                </a:lnTo>
                <a:lnTo>
                  <a:pt x="683" y="559"/>
                </a:lnTo>
                <a:lnTo>
                  <a:pt x="694" y="564"/>
                </a:lnTo>
                <a:lnTo>
                  <a:pt x="705" y="570"/>
                </a:lnTo>
                <a:lnTo>
                  <a:pt x="700" y="570"/>
                </a:lnTo>
                <a:lnTo>
                  <a:pt x="696" y="571"/>
                </a:lnTo>
                <a:lnTo>
                  <a:pt x="693" y="571"/>
                </a:lnTo>
                <a:lnTo>
                  <a:pt x="691" y="570"/>
                </a:lnTo>
                <a:lnTo>
                  <a:pt x="689" y="568"/>
                </a:lnTo>
                <a:lnTo>
                  <a:pt x="688" y="566"/>
                </a:lnTo>
                <a:lnTo>
                  <a:pt x="689" y="568"/>
                </a:lnTo>
                <a:lnTo>
                  <a:pt x="688" y="566"/>
                </a:lnTo>
                <a:close/>
                <a:moveTo>
                  <a:pt x="714" y="578"/>
                </a:moveTo>
                <a:lnTo>
                  <a:pt x="711" y="576"/>
                </a:lnTo>
                <a:lnTo>
                  <a:pt x="711" y="574"/>
                </a:lnTo>
                <a:lnTo>
                  <a:pt x="711" y="572"/>
                </a:lnTo>
                <a:lnTo>
                  <a:pt x="713" y="571"/>
                </a:lnTo>
                <a:lnTo>
                  <a:pt x="716" y="572"/>
                </a:lnTo>
                <a:lnTo>
                  <a:pt x="717" y="574"/>
                </a:lnTo>
                <a:lnTo>
                  <a:pt x="718" y="575"/>
                </a:lnTo>
                <a:lnTo>
                  <a:pt x="717" y="576"/>
                </a:lnTo>
                <a:lnTo>
                  <a:pt x="716" y="578"/>
                </a:lnTo>
                <a:lnTo>
                  <a:pt x="714" y="578"/>
                </a:lnTo>
                <a:lnTo>
                  <a:pt x="713" y="578"/>
                </a:lnTo>
                <a:lnTo>
                  <a:pt x="714" y="578"/>
                </a:lnTo>
                <a:close/>
                <a:moveTo>
                  <a:pt x="841" y="604"/>
                </a:moveTo>
                <a:lnTo>
                  <a:pt x="850" y="601"/>
                </a:lnTo>
                <a:lnTo>
                  <a:pt x="858" y="603"/>
                </a:lnTo>
                <a:lnTo>
                  <a:pt x="855" y="604"/>
                </a:lnTo>
                <a:lnTo>
                  <a:pt x="851" y="605"/>
                </a:lnTo>
                <a:lnTo>
                  <a:pt x="848" y="605"/>
                </a:lnTo>
                <a:lnTo>
                  <a:pt x="841" y="604"/>
                </a:lnTo>
                <a:close/>
                <a:moveTo>
                  <a:pt x="994" y="630"/>
                </a:moveTo>
                <a:lnTo>
                  <a:pt x="990" y="631"/>
                </a:lnTo>
                <a:lnTo>
                  <a:pt x="986" y="630"/>
                </a:lnTo>
                <a:lnTo>
                  <a:pt x="988" y="628"/>
                </a:lnTo>
                <a:lnTo>
                  <a:pt x="991" y="628"/>
                </a:lnTo>
                <a:lnTo>
                  <a:pt x="994" y="628"/>
                </a:lnTo>
                <a:lnTo>
                  <a:pt x="994" y="630"/>
                </a:lnTo>
                <a:lnTo>
                  <a:pt x="994" y="630"/>
                </a:lnTo>
                <a:lnTo>
                  <a:pt x="994" y="630"/>
                </a:lnTo>
                <a:close/>
                <a:moveTo>
                  <a:pt x="1012" y="616"/>
                </a:moveTo>
                <a:lnTo>
                  <a:pt x="1006" y="616"/>
                </a:lnTo>
                <a:lnTo>
                  <a:pt x="1001" y="615"/>
                </a:lnTo>
                <a:lnTo>
                  <a:pt x="1002" y="613"/>
                </a:lnTo>
                <a:lnTo>
                  <a:pt x="1004" y="612"/>
                </a:lnTo>
                <a:lnTo>
                  <a:pt x="1006" y="612"/>
                </a:lnTo>
                <a:lnTo>
                  <a:pt x="1008" y="612"/>
                </a:lnTo>
                <a:lnTo>
                  <a:pt x="1010" y="613"/>
                </a:lnTo>
                <a:lnTo>
                  <a:pt x="1012" y="614"/>
                </a:lnTo>
                <a:lnTo>
                  <a:pt x="1012" y="615"/>
                </a:lnTo>
                <a:lnTo>
                  <a:pt x="1012" y="616"/>
                </a:lnTo>
                <a:lnTo>
                  <a:pt x="1012" y="616"/>
                </a:lnTo>
                <a:lnTo>
                  <a:pt x="1012" y="616"/>
                </a:lnTo>
                <a:close/>
                <a:moveTo>
                  <a:pt x="1332" y="143"/>
                </a:moveTo>
                <a:lnTo>
                  <a:pt x="1319" y="151"/>
                </a:lnTo>
                <a:lnTo>
                  <a:pt x="1307" y="157"/>
                </a:lnTo>
                <a:lnTo>
                  <a:pt x="1294" y="163"/>
                </a:lnTo>
                <a:lnTo>
                  <a:pt x="1282" y="168"/>
                </a:lnTo>
                <a:lnTo>
                  <a:pt x="1275" y="169"/>
                </a:lnTo>
                <a:lnTo>
                  <a:pt x="1268" y="171"/>
                </a:lnTo>
                <a:lnTo>
                  <a:pt x="1266" y="171"/>
                </a:lnTo>
                <a:lnTo>
                  <a:pt x="1265" y="171"/>
                </a:lnTo>
                <a:lnTo>
                  <a:pt x="1263" y="169"/>
                </a:lnTo>
                <a:lnTo>
                  <a:pt x="1263" y="168"/>
                </a:lnTo>
                <a:lnTo>
                  <a:pt x="1276" y="166"/>
                </a:lnTo>
                <a:lnTo>
                  <a:pt x="1285" y="164"/>
                </a:lnTo>
                <a:lnTo>
                  <a:pt x="1281" y="164"/>
                </a:lnTo>
                <a:lnTo>
                  <a:pt x="1275" y="163"/>
                </a:lnTo>
                <a:lnTo>
                  <a:pt x="1275" y="161"/>
                </a:lnTo>
                <a:lnTo>
                  <a:pt x="1276" y="160"/>
                </a:lnTo>
                <a:lnTo>
                  <a:pt x="1277" y="160"/>
                </a:lnTo>
                <a:lnTo>
                  <a:pt x="1279" y="160"/>
                </a:lnTo>
                <a:lnTo>
                  <a:pt x="1284" y="160"/>
                </a:lnTo>
                <a:lnTo>
                  <a:pt x="1286" y="160"/>
                </a:lnTo>
                <a:lnTo>
                  <a:pt x="1285" y="158"/>
                </a:lnTo>
                <a:lnTo>
                  <a:pt x="1283" y="156"/>
                </a:lnTo>
                <a:lnTo>
                  <a:pt x="1290" y="157"/>
                </a:lnTo>
                <a:lnTo>
                  <a:pt x="1295" y="157"/>
                </a:lnTo>
                <a:lnTo>
                  <a:pt x="1296" y="156"/>
                </a:lnTo>
                <a:lnTo>
                  <a:pt x="1299" y="153"/>
                </a:lnTo>
                <a:lnTo>
                  <a:pt x="1301" y="153"/>
                </a:lnTo>
                <a:lnTo>
                  <a:pt x="1302" y="153"/>
                </a:lnTo>
                <a:lnTo>
                  <a:pt x="1308" y="151"/>
                </a:lnTo>
                <a:lnTo>
                  <a:pt x="1312" y="148"/>
                </a:lnTo>
                <a:lnTo>
                  <a:pt x="1315" y="147"/>
                </a:lnTo>
                <a:lnTo>
                  <a:pt x="1316" y="144"/>
                </a:lnTo>
                <a:lnTo>
                  <a:pt x="1316" y="142"/>
                </a:lnTo>
                <a:lnTo>
                  <a:pt x="1317" y="141"/>
                </a:lnTo>
                <a:lnTo>
                  <a:pt x="1320" y="139"/>
                </a:lnTo>
                <a:lnTo>
                  <a:pt x="1325" y="139"/>
                </a:lnTo>
                <a:lnTo>
                  <a:pt x="1332" y="136"/>
                </a:lnTo>
                <a:lnTo>
                  <a:pt x="1337" y="133"/>
                </a:lnTo>
                <a:lnTo>
                  <a:pt x="1344" y="130"/>
                </a:lnTo>
                <a:lnTo>
                  <a:pt x="1351" y="125"/>
                </a:lnTo>
                <a:lnTo>
                  <a:pt x="1354" y="124"/>
                </a:lnTo>
                <a:lnTo>
                  <a:pt x="1358" y="123"/>
                </a:lnTo>
                <a:lnTo>
                  <a:pt x="1362" y="123"/>
                </a:lnTo>
                <a:lnTo>
                  <a:pt x="1366" y="123"/>
                </a:lnTo>
                <a:lnTo>
                  <a:pt x="1357" y="128"/>
                </a:lnTo>
                <a:lnTo>
                  <a:pt x="1349" y="133"/>
                </a:lnTo>
                <a:lnTo>
                  <a:pt x="1340" y="139"/>
                </a:lnTo>
                <a:lnTo>
                  <a:pt x="1332" y="143"/>
                </a:lnTo>
                <a:lnTo>
                  <a:pt x="1327" y="147"/>
                </a:lnTo>
                <a:lnTo>
                  <a:pt x="1331" y="144"/>
                </a:lnTo>
                <a:lnTo>
                  <a:pt x="1334" y="142"/>
                </a:lnTo>
                <a:lnTo>
                  <a:pt x="1332" y="143"/>
                </a:lnTo>
                <a:close/>
                <a:moveTo>
                  <a:pt x="1357" y="557"/>
                </a:moveTo>
                <a:lnTo>
                  <a:pt x="1356" y="558"/>
                </a:lnTo>
                <a:lnTo>
                  <a:pt x="1354" y="559"/>
                </a:lnTo>
                <a:lnTo>
                  <a:pt x="1352" y="557"/>
                </a:lnTo>
                <a:lnTo>
                  <a:pt x="1352" y="555"/>
                </a:lnTo>
                <a:lnTo>
                  <a:pt x="1353" y="553"/>
                </a:lnTo>
                <a:lnTo>
                  <a:pt x="1356" y="553"/>
                </a:lnTo>
                <a:lnTo>
                  <a:pt x="1358" y="553"/>
                </a:lnTo>
                <a:lnTo>
                  <a:pt x="1360" y="555"/>
                </a:lnTo>
                <a:lnTo>
                  <a:pt x="1358" y="555"/>
                </a:lnTo>
                <a:lnTo>
                  <a:pt x="1357" y="557"/>
                </a:lnTo>
                <a:lnTo>
                  <a:pt x="1357" y="557"/>
                </a:lnTo>
                <a:lnTo>
                  <a:pt x="1357" y="557"/>
                </a:lnTo>
                <a:close/>
                <a:moveTo>
                  <a:pt x="1368" y="554"/>
                </a:moveTo>
                <a:lnTo>
                  <a:pt x="1366" y="554"/>
                </a:lnTo>
                <a:lnTo>
                  <a:pt x="1365" y="556"/>
                </a:lnTo>
                <a:lnTo>
                  <a:pt x="1362" y="556"/>
                </a:lnTo>
                <a:lnTo>
                  <a:pt x="1360" y="555"/>
                </a:lnTo>
                <a:lnTo>
                  <a:pt x="1362" y="553"/>
                </a:lnTo>
                <a:lnTo>
                  <a:pt x="1366" y="550"/>
                </a:lnTo>
                <a:lnTo>
                  <a:pt x="1367" y="550"/>
                </a:lnTo>
                <a:lnTo>
                  <a:pt x="1368" y="551"/>
                </a:lnTo>
                <a:lnTo>
                  <a:pt x="1369" y="553"/>
                </a:lnTo>
                <a:lnTo>
                  <a:pt x="1368" y="554"/>
                </a:lnTo>
                <a:lnTo>
                  <a:pt x="1368" y="554"/>
                </a:lnTo>
                <a:lnTo>
                  <a:pt x="1368" y="554"/>
                </a:lnTo>
                <a:close/>
                <a:moveTo>
                  <a:pt x="1556" y="285"/>
                </a:moveTo>
                <a:lnTo>
                  <a:pt x="1557" y="286"/>
                </a:lnTo>
                <a:lnTo>
                  <a:pt x="1557" y="289"/>
                </a:lnTo>
                <a:lnTo>
                  <a:pt x="1555" y="289"/>
                </a:lnTo>
                <a:lnTo>
                  <a:pt x="1554" y="288"/>
                </a:lnTo>
                <a:lnTo>
                  <a:pt x="1548" y="289"/>
                </a:lnTo>
                <a:lnTo>
                  <a:pt x="1542" y="289"/>
                </a:lnTo>
                <a:lnTo>
                  <a:pt x="1546" y="286"/>
                </a:lnTo>
                <a:lnTo>
                  <a:pt x="1548" y="285"/>
                </a:lnTo>
                <a:lnTo>
                  <a:pt x="1553" y="285"/>
                </a:lnTo>
                <a:lnTo>
                  <a:pt x="1556" y="285"/>
                </a:lnTo>
                <a:lnTo>
                  <a:pt x="1555" y="285"/>
                </a:lnTo>
                <a:lnTo>
                  <a:pt x="1556" y="28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350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56">
            <a:extLst>
              <a:ext uri="{FF2B5EF4-FFF2-40B4-BE49-F238E27FC236}">
                <a16:creationId xmlns:a16="http://schemas.microsoft.com/office/drawing/2014/main" id="{395B87A4-90E9-944F-9911-52CF18126896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227715" y="369014"/>
            <a:ext cx="11627778" cy="3707983"/>
          </a:xfrm>
          <a:custGeom>
            <a:avLst/>
            <a:gdLst>
              <a:gd name="T0" fmla="*/ 1316 w 1412"/>
              <a:gd name="T1" fmla="*/ 327 h 501"/>
              <a:gd name="T2" fmla="*/ 1320 w 1412"/>
              <a:gd name="T3" fmla="*/ 303 h 501"/>
              <a:gd name="T4" fmla="*/ 1192 w 1412"/>
              <a:gd name="T5" fmla="*/ 283 h 501"/>
              <a:gd name="T6" fmla="*/ 796 w 1412"/>
              <a:gd name="T7" fmla="*/ 237 h 501"/>
              <a:gd name="T8" fmla="*/ 929 w 1412"/>
              <a:gd name="T9" fmla="*/ 180 h 501"/>
              <a:gd name="T10" fmla="*/ 833 w 1412"/>
              <a:gd name="T11" fmla="*/ 195 h 501"/>
              <a:gd name="T12" fmla="*/ 819 w 1412"/>
              <a:gd name="T13" fmla="*/ 186 h 501"/>
              <a:gd name="T14" fmla="*/ 962 w 1412"/>
              <a:gd name="T15" fmla="*/ 150 h 501"/>
              <a:gd name="T16" fmla="*/ 1065 w 1412"/>
              <a:gd name="T17" fmla="*/ 133 h 501"/>
              <a:gd name="T18" fmla="*/ 1143 w 1412"/>
              <a:gd name="T19" fmla="*/ 126 h 501"/>
              <a:gd name="T20" fmla="*/ 1141 w 1412"/>
              <a:gd name="T21" fmla="*/ 101 h 501"/>
              <a:gd name="T22" fmla="*/ 1157 w 1412"/>
              <a:gd name="T23" fmla="*/ 129 h 501"/>
              <a:gd name="T24" fmla="*/ 1208 w 1412"/>
              <a:gd name="T25" fmla="*/ 132 h 501"/>
              <a:gd name="T26" fmla="*/ 1203 w 1412"/>
              <a:gd name="T27" fmla="*/ 68 h 501"/>
              <a:gd name="T28" fmla="*/ 1164 w 1412"/>
              <a:gd name="T29" fmla="*/ 14 h 501"/>
              <a:gd name="T30" fmla="*/ 939 w 1412"/>
              <a:gd name="T31" fmla="*/ 0 h 501"/>
              <a:gd name="T32" fmla="*/ 10 w 1412"/>
              <a:gd name="T33" fmla="*/ 141 h 501"/>
              <a:gd name="T34" fmla="*/ 264 w 1412"/>
              <a:gd name="T35" fmla="*/ 232 h 501"/>
              <a:gd name="T36" fmla="*/ 399 w 1412"/>
              <a:gd name="T37" fmla="*/ 242 h 501"/>
              <a:gd name="T38" fmla="*/ 103 w 1412"/>
              <a:gd name="T39" fmla="*/ 398 h 501"/>
              <a:gd name="T40" fmla="*/ 233 w 1412"/>
              <a:gd name="T41" fmla="*/ 490 h 501"/>
              <a:gd name="T42" fmla="*/ 393 w 1412"/>
              <a:gd name="T43" fmla="*/ 457 h 501"/>
              <a:gd name="T44" fmla="*/ 612 w 1412"/>
              <a:gd name="T45" fmla="*/ 428 h 501"/>
              <a:gd name="T46" fmla="*/ 738 w 1412"/>
              <a:gd name="T47" fmla="*/ 423 h 501"/>
              <a:gd name="T48" fmla="*/ 844 w 1412"/>
              <a:gd name="T49" fmla="*/ 418 h 501"/>
              <a:gd name="T50" fmla="*/ 900 w 1412"/>
              <a:gd name="T51" fmla="*/ 406 h 501"/>
              <a:gd name="T52" fmla="*/ 979 w 1412"/>
              <a:gd name="T53" fmla="*/ 414 h 501"/>
              <a:gd name="T54" fmla="*/ 1091 w 1412"/>
              <a:gd name="T55" fmla="*/ 403 h 501"/>
              <a:gd name="T56" fmla="*/ 1166 w 1412"/>
              <a:gd name="T57" fmla="*/ 405 h 501"/>
              <a:gd name="T58" fmla="*/ 1192 w 1412"/>
              <a:gd name="T59" fmla="*/ 419 h 501"/>
              <a:gd name="T60" fmla="*/ 1180 w 1412"/>
              <a:gd name="T61" fmla="*/ 396 h 501"/>
              <a:gd name="T62" fmla="*/ 1121 w 1412"/>
              <a:gd name="T63" fmla="*/ 378 h 501"/>
              <a:gd name="T64" fmla="*/ 1213 w 1412"/>
              <a:gd name="T65" fmla="*/ 389 h 501"/>
              <a:gd name="T66" fmla="*/ 1255 w 1412"/>
              <a:gd name="T67" fmla="*/ 402 h 501"/>
              <a:gd name="T68" fmla="*/ 1327 w 1412"/>
              <a:gd name="T69" fmla="*/ 402 h 501"/>
              <a:gd name="T70" fmla="*/ 1366 w 1412"/>
              <a:gd name="T71" fmla="*/ 386 h 501"/>
              <a:gd name="T72" fmla="*/ 1327 w 1412"/>
              <a:gd name="T73" fmla="*/ 377 h 501"/>
              <a:gd name="T74" fmla="*/ 1370 w 1412"/>
              <a:gd name="T75" fmla="*/ 358 h 501"/>
              <a:gd name="T76" fmla="*/ 1061 w 1412"/>
              <a:gd name="T77" fmla="*/ 104 h 501"/>
              <a:gd name="T78" fmla="*/ 1097 w 1412"/>
              <a:gd name="T79" fmla="*/ 37 h 501"/>
              <a:gd name="T80" fmla="*/ 1205 w 1412"/>
              <a:gd name="T81" fmla="*/ 39 h 501"/>
              <a:gd name="T82" fmla="*/ 1068 w 1412"/>
              <a:gd name="T83" fmla="*/ 40 h 501"/>
              <a:gd name="T84" fmla="*/ 997 w 1412"/>
              <a:gd name="T85" fmla="*/ 62 h 501"/>
              <a:gd name="T86" fmla="*/ 808 w 1412"/>
              <a:gd name="T87" fmla="*/ 169 h 501"/>
              <a:gd name="T88" fmla="*/ 270 w 1412"/>
              <a:gd name="T89" fmla="*/ 227 h 501"/>
              <a:gd name="T90" fmla="*/ 587 w 1412"/>
              <a:gd name="T91" fmla="*/ 241 h 501"/>
              <a:gd name="T92" fmla="*/ 590 w 1412"/>
              <a:gd name="T93" fmla="*/ 256 h 501"/>
              <a:gd name="T94" fmla="*/ 418 w 1412"/>
              <a:gd name="T95" fmla="*/ 271 h 501"/>
              <a:gd name="T96" fmla="*/ 257 w 1412"/>
              <a:gd name="T97" fmla="*/ 464 h 501"/>
              <a:gd name="T98" fmla="*/ 294 w 1412"/>
              <a:gd name="T99" fmla="*/ 457 h 501"/>
              <a:gd name="T100" fmla="*/ 654 w 1412"/>
              <a:gd name="T101" fmla="*/ 259 h 501"/>
              <a:gd name="T102" fmla="*/ 315 w 1412"/>
              <a:gd name="T103" fmla="*/ 329 h 501"/>
              <a:gd name="T104" fmla="*/ 241 w 1412"/>
              <a:gd name="T105" fmla="*/ 333 h 501"/>
              <a:gd name="T106" fmla="*/ 399 w 1412"/>
              <a:gd name="T107" fmla="*/ 275 h 501"/>
              <a:gd name="T108" fmla="*/ 487 w 1412"/>
              <a:gd name="T109" fmla="*/ 277 h 501"/>
              <a:gd name="T110" fmla="*/ 562 w 1412"/>
              <a:gd name="T111" fmla="*/ 261 h 501"/>
              <a:gd name="T112" fmla="*/ 711 w 1412"/>
              <a:gd name="T113" fmla="*/ 422 h 501"/>
              <a:gd name="T114" fmla="*/ 690 w 1412"/>
              <a:gd name="T115" fmla="*/ 233 h 501"/>
              <a:gd name="T116" fmla="*/ 981 w 1412"/>
              <a:gd name="T117" fmla="*/ 378 h 501"/>
              <a:gd name="T118" fmla="*/ 1132 w 1412"/>
              <a:gd name="T119" fmla="*/ 356 h 501"/>
              <a:gd name="T120" fmla="*/ 1312 w 1412"/>
              <a:gd name="T121" fmla="*/ 396 h 501"/>
              <a:gd name="T122" fmla="*/ 1285 w 1412"/>
              <a:gd name="T123" fmla="*/ 328 h 501"/>
              <a:gd name="T124" fmla="*/ 1296 w 1412"/>
              <a:gd name="T125" fmla="*/ 317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12" h="501">
                <a:moveTo>
                  <a:pt x="1410" y="347"/>
                </a:moveTo>
                <a:lnTo>
                  <a:pt x="1404" y="347"/>
                </a:lnTo>
                <a:lnTo>
                  <a:pt x="1397" y="348"/>
                </a:lnTo>
                <a:lnTo>
                  <a:pt x="1395" y="349"/>
                </a:lnTo>
                <a:lnTo>
                  <a:pt x="1393" y="350"/>
                </a:lnTo>
                <a:lnTo>
                  <a:pt x="1390" y="350"/>
                </a:lnTo>
                <a:lnTo>
                  <a:pt x="1387" y="348"/>
                </a:lnTo>
                <a:lnTo>
                  <a:pt x="1386" y="346"/>
                </a:lnTo>
                <a:lnTo>
                  <a:pt x="1385" y="345"/>
                </a:lnTo>
                <a:lnTo>
                  <a:pt x="1384" y="344"/>
                </a:lnTo>
                <a:lnTo>
                  <a:pt x="1381" y="344"/>
                </a:lnTo>
                <a:lnTo>
                  <a:pt x="1378" y="345"/>
                </a:lnTo>
                <a:lnTo>
                  <a:pt x="1374" y="345"/>
                </a:lnTo>
                <a:lnTo>
                  <a:pt x="1373" y="345"/>
                </a:lnTo>
                <a:lnTo>
                  <a:pt x="1373" y="344"/>
                </a:lnTo>
                <a:lnTo>
                  <a:pt x="1372" y="341"/>
                </a:lnTo>
                <a:lnTo>
                  <a:pt x="1370" y="341"/>
                </a:lnTo>
                <a:lnTo>
                  <a:pt x="1365" y="341"/>
                </a:lnTo>
                <a:lnTo>
                  <a:pt x="1361" y="341"/>
                </a:lnTo>
                <a:lnTo>
                  <a:pt x="1353" y="341"/>
                </a:lnTo>
                <a:lnTo>
                  <a:pt x="1345" y="342"/>
                </a:lnTo>
                <a:lnTo>
                  <a:pt x="1340" y="342"/>
                </a:lnTo>
                <a:lnTo>
                  <a:pt x="1337" y="341"/>
                </a:lnTo>
                <a:lnTo>
                  <a:pt x="1337" y="339"/>
                </a:lnTo>
                <a:lnTo>
                  <a:pt x="1339" y="337"/>
                </a:lnTo>
                <a:lnTo>
                  <a:pt x="1335" y="336"/>
                </a:lnTo>
                <a:lnTo>
                  <a:pt x="1328" y="335"/>
                </a:lnTo>
                <a:lnTo>
                  <a:pt x="1332" y="332"/>
                </a:lnTo>
                <a:lnTo>
                  <a:pt x="1336" y="330"/>
                </a:lnTo>
                <a:lnTo>
                  <a:pt x="1331" y="330"/>
                </a:lnTo>
                <a:lnTo>
                  <a:pt x="1325" y="330"/>
                </a:lnTo>
                <a:lnTo>
                  <a:pt x="1322" y="330"/>
                </a:lnTo>
                <a:lnTo>
                  <a:pt x="1320" y="329"/>
                </a:lnTo>
                <a:lnTo>
                  <a:pt x="1318" y="328"/>
                </a:lnTo>
                <a:lnTo>
                  <a:pt x="1316" y="327"/>
                </a:lnTo>
                <a:lnTo>
                  <a:pt x="1321" y="323"/>
                </a:lnTo>
                <a:lnTo>
                  <a:pt x="1325" y="319"/>
                </a:lnTo>
                <a:lnTo>
                  <a:pt x="1325" y="317"/>
                </a:lnTo>
                <a:lnTo>
                  <a:pt x="1325" y="315"/>
                </a:lnTo>
                <a:lnTo>
                  <a:pt x="1324" y="315"/>
                </a:lnTo>
                <a:lnTo>
                  <a:pt x="1323" y="315"/>
                </a:lnTo>
                <a:lnTo>
                  <a:pt x="1320" y="315"/>
                </a:lnTo>
                <a:lnTo>
                  <a:pt x="1315" y="315"/>
                </a:lnTo>
                <a:lnTo>
                  <a:pt x="1312" y="315"/>
                </a:lnTo>
                <a:lnTo>
                  <a:pt x="1307" y="314"/>
                </a:lnTo>
                <a:lnTo>
                  <a:pt x="1306" y="313"/>
                </a:lnTo>
                <a:lnTo>
                  <a:pt x="1305" y="313"/>
                </a:lnTo>
                <a:lnTo>
                  <a:pt x="1306" y="312"/>
                </a:lnTo>
                <a:lnTo>
                  <a:pt x="1310" y="311"/>
                </a:lnTo>
                <a:lnTo>
                  <a:pt x="1315" y="311"/>
                </a:lnTo>
                <a:lnTo>
                  <a:pt x="1320" y="310"/>
                </a:lnTo>
                <a:lnTo>
                  <a:pt x="1325" y="311"/>
                </a:lnTo>
                <a:lnTo>
                  <a:pt x="1331" y="311"/>
                </a:lnTo>
                <a:lnTo>
                  <a:pt x="1341" y="312"/>
                </a:lnTo>
                <a:lnTo>
                  <a:pt x="1351" y="312"/>
                </a:lnTo>
                <a:lnTo>
                  <a:pt x="1360" y="314"/>
                </a:lnTo>
                <a:lnTo>
                  <a:pt x="1368" y="315"/>
                </a:lnTo>
                <a:lnTo>
                  <a:pt x="1371" y="315"/>
                </a:lnTo>
                <a:lnTo>
                  <a:pt x="1374" y="313"/>
                </a:lnTo>
                <a:lnTo>
                  <a:pt x="1377" y="312"/>
                </a:lnTo>
                <a:lnTo>
                  <a:pt x="1380" y="308"/>
                </a:lnTo>
                <a:lnTo>
                  <a:pt x="1374" y="306"/>
                </a:lnTo>
                <a:lnTo>
                  <a:pt x="1369" y="305"/>
                </a:lnTo>
                <a:lnTo>
                  <a:pt x="1362" y="304"/>
                </a:lnTo>
                <a:lnTo>
                  <a:pt x="1356" y="304"/>
                </a:lnTo>
                <a:lnTo>
                  <a:pt x="1344" y="302"/>
                </a:lnTo>
                <a:lnTo>
                  <a:pt x="1332" y="302"/>
                </a:lnTo>
                <a:lnTo>
                  <a:pt x="1328" y="304"/>
                </a:lnTo>
                <a:lnTo>
                  <a:pt x="1323" y="305"/>
                </a:lnTo>
                <a:lnTo>
                  <a:pt x="1320" y="303"/>
                </a:lnTo>
                <a:lnTo>
                  <a:pt x="1318" y="300"/>
                </a:lnTo>
                <a:lnTo>
                  <a:pt x="1313" y="298"/>
                </a:lnTo>
                <a:lnTo>
                  <a:pt x="1308" y="298"/>
                </a:lnTo>
                <a:lnTo>
                  <a:pt x="1305" y="299"/>
                </a:lnTo>
                <a:lnTo>
                  <a:pt x="1300" y="302"/>
                </a:lnTo>
                <a:lnTo>
                  <a:pt x="1296" y="303"/>
                </a:lnTo>
                <a:lnTo>
                  <a:pt x="1292" y="303"/>
                </a:lnTo>
                <a:lnTo>
                  <a:pt x="1290" y="303"/>
                </a:lnTo>
                <a:lnTo>
                  <a:pt x="1289" y="302"/>
                </a:lnTo>
                <a:lnTo>
                  <a:pt x="1288" y="300"/>
                </a:lnTo>
                <a:lnTo>
                  <a:pt x="1288" y="298"/>
                </a:lnTo>
                <a:lnTo>
                  <a:pt x="1285" y="296"/>
                </a:lnTo>
                <a:lnTo>
                  <a:pt x="1281" y="295"/>
                </a:lnTo>
                <a:lnTo>
                  <a:pt x="1277" y="296"/>
                </a:lnTo>
                <a:lnTo>
                  <a:pt x="1272" y="297"/>
                </a:lnTo>
                <a:lnTo>
                  <a:pt x="1263" y="296"/>
                </a:lnTo>
                <a:lnTo>
                  <a:pt x="1255" y="295"/>
                </a:lnTo>
                <a:lnTo>
                  <a:pt x="1258" y="291"/>
                </a:lnTo>
                <a:lnTo>
                  <a:pt x="1264" y="289"/>
                </a:lnTo>
                <a:lnTo>
                  <a:pt x="1250" y="287"/>
                </a:lnTo>
                <a:lnTo>
                  <a:pt x="1236" y="286"/>
                </a:lnTo>
                <a:lnTo>
                  <a:pt x="1238" y="288"/>
                </a:lnTo>
                <a:lnTo>
                  <a:pt x="1241" y="290"/>
                </a:lnTo>
                <a:lnTo>
                  <a:pt x="1238" y="291"/>
                </a:lnTo>
                <a:lnTo>
                  <a:pt x="1236" y="292"/>
                </a:lnTo>
                <a:lnTo>
                  <a:pt x="1232" y="292"/>
                </a:lnTo>
                <a:lnTo>
                  <a:pt x="1230" y="290"/>
                </a:lnTo>
                <a:lnTo>
                  <a:pt x="1228" y="287"/>
                </a:lnTo>
                <a:lnTo>
                  <a:pt x="1226" y="284"/>
                </a:lnTo>
                <a:lnTo>
                  <a:pt x="1221" y="283"/>
                </a:lnTo>
                <a:lnTo>
                  <a:pt x="1214" y="283"/>
                </a:lnTo>
                <a:lnTo>
                  <a:pt x="1208" y="282"/>
                </a:lnTo>
                <a:lnTo>
                  <a:pt x="1203" y="281"/>
                </a:lnTo>
                <a:lnTo>
                  <a:pt x="1197" y="282"/>
                </a:lnTo>
                <a:lnTo>
                  <a:pt x="1192" y="283"/>
                </a:lnTo>
                <a:lnTo>
                  <a:pt x="1190" y="281"/>
                </a:lnTo>
                <a:lnTo>
                  <a:pt x="1189" y="279"/>
                </a:lnTo>
                <a:lnTo>
                  <a:pt x="1183" y="278"/>
                </a:lnTo>
                <a:lnTo>
                  <a:pt x="1179" y="279"/>
                </a:lnTo>
                <a:lnTo>
                  <a:pt x="1151" y="275"/>
                </a:lnTo>
                <a:lnTo>
                  <a:pt x="1123" y="273"/>
                </a:lnTo>
                <a:lnTo>
                  <a:pt x="1096" y="270"/>
                </a:lnTo>
                <a:lnTo>
                  <a:pt x="1068" y="269"/>
                </a:lnTo>
                <a:lnTo>
                  <a:pt x="1040" y="266"/>
                </a:lnTo>
                <a:lnTo>
                  <a:pt x="1013" y="265"/>
                </a:lnTo>
                <a:lnTo>
                  <a:pt x="984" y="265"/>
                </a:lnTo>
                <a:lnTo>
                  <a:pt x="956" y="264"/>
                </a:lnTo>
                <a:lnTo>
                  <a:pt x="927" y="264"/>
                </a:lnTo>
                <a:lnTo>
                  <a:pt x="900" y="263"/>
                </a:lnTo>
                <a:lnTo>
                  <a:pt x="871" y="263"/>
                </a:lnTo>
                <a:lnTo>
                  <a:pt x="843" y="263"/>
                </a:lnTo>
                <a:lnTo>
                  <a:pt x="828" y="263"/>
                </a:lnTo>
                <a:lnTo>
                  <a:pt x="812" y="263"/>
                </a:lnTo>
                <a:lnTo>
                  <a:pt x="796" y="263"/>
                </a:lnTo>
                <a:lnTo>
                  <a:pt x="780" y="263"/>
                </a:lnTo>
                <a:lnTo>
                  <a:pt x="764" y="264"/>
                </a:lnTo>
                <a:lnTo>
                  <a:pt x="748" y="264"/>
                </a:lnTo>
                <a:lnTo>
                  <a:pt x="744" y="264"/>
                </a:lnTo>
                <a:lnTo>
                  <a:pt x="736" y="265"/>
                </a:lnTo>
                <a:lnTo>
                  <a:pt x="733" y="264"/>
                </a:lnTo>
                <a:lnTo>
                  <a:pt x="729" y="264"/>
                </a:lnTo>
                <a:lnTo>
                  <a:pt x="727" y="263"/>
                </a:lnTo>
                <a:lnTo>
                  <a:pt x="726" y="262"/>
                </a:lnTo>
                <a:lnTo>
                  <a:pt x="733" y="262"/>
                </a:lnTo>
                <a:lnTo>
                  <a:pt x="739" y="259"/>
                </a:lnTo>
                <a:lnTo>
                  <a:pt x="745" y="257"/>
                </a:lnTo>
                <a:lnTo>
                  <a:pt x="752" y="254"/>
                </a:lnTo>
                <a:lnTo>
                  <a:pt x="766" y="248"/>
                </a:lnTo>
                <a:lnTo>
                  <a:pt x="779" y="244"/>
                </a:lnTo>
                <a:lnTo>
                  <a:pt x="796" y="237"/>
                </a:lnTo>
                <a:lnTo>
                  <a:pt x="813" y="230"/>
                </a:lnTo>
                <a:lnTo>
                  <a:pt x="830" y="223"/>
                </a:lnTo>
                <a:lnTo>
                  <a:pt x="847" y="217"/>
                </a:lnTo>
                <a:lnTo>
                  <a:pt x="865" y="211"/>
                </a:lnTo>
                <a:lnTo>
                  <a:pt x="882" y="205"/>
                </a:lnTo>
                <a:lnTo>
                  <a:pt x="899" y="198"/>
                </a:lnTo>
                <a:lnTo>
                  <a:pt x="917" y="192"/>
                </a:lnTo>
                <a:lnTo>
                  <a:pt x="933" y="187"/>
                </a:lnTo>
                <a:lnTo>
                  <a:pt x="950" y="181"/>
                </a:lnTo>
                <a:lnTo>
                  <a:pt x="958" y="179"/>
                </a:lnTo>
                <a:lnTo>
                  <a:pt x="966" y="176"/>
                </a:lnTo>
                <a:lnTo>
                  <a:pt x="974" y="174"/>
                </a:lnTo>
                <a:lnTo>
                  <a:pt x="982" y="171"/>
                </a:lnTo>
                <a:lnTo>
                  <a:pt x="977" y="170"/>
                </a:lnTo>
                <a:lnTo>
                  <a:pt x="974" y="170"/>
                </a:lnTo>
                <a:lnTo>
                  <a:pt x="975" y="167"/>
                </a:lnTo>
                <a:lnTo>
                  <a:pt x="976" y="166"/>
                </a:lnTo>
                <a:lnTo>
                  <a:pt x="976" y="164"/>
                </a:lnTo>
                <a:lnTo>
                  <a:pt x="974" y="163"/>
                </a:lnTo>
                <a:lnTo>
                  <a:pt x="972" y="163"/>
                </a:lnTo>
                <a:lnTo>
                  <a:pt x="969" y="163"/>
                </a:lnTo>
                <a:lnTo>
                  <a:pt x="968" y="164"/>
                </a:lnTo>
                <a:lnTo>
                  <a:pt x="967" y="165"/>
                </a:lnTo>
                <a:lnTo>
                  <a:pt x="967" y="165"/>
                </a:lnTo>
                <a:lnTo>
                  <a:pt x="968" y="166"/>
                </a:lnTo>
                <a:lnTo>
                  <a:pt x="970" y="169"/>
                </a:lnTo>
                <a:lnTo>
                  <a:pt x="970" y="170"/>
                </a:lnTo>
                <a:lnTo>
                  <a:pt x="961" y="171"/>
                </a:lnTo>
                <a:lnTo>
                  <a:pt x="952" y="172"/>
                </a:lnTo>
                <a:lnTo>
                  <a:pt x="944" y="175"/>
                </a:lnTo>
                <a:lnTo>
                  <a:pt x="936" y="178"/>
                </a:lnTo>
                <a:lnTo>
                  <a:pt x="933" y="176"/>
                </a:lnTo>
                <a:lnTo>
                  <a:pt x="929" y="176"/>
                </a:lnTo>
                <a:lnTo>
                  <a:pt x="929" y="178"/>
                </a:lnTo>
                <a:lnTo>
                  <a:pt x="929" y="180"/>
                </a:lnTo>
                <a:lnTo>
                  <a:pt x="928" y="181"/>
                </a:lnTo>
                <a:lnTo>
                  <a:pt x="926" y="181"/>
                </a:lnTo>
                <a:lnTo>
                  <a:pt x="923" y="183"/>
                </a:lnTo>
                <a:lnTo>
                  <a:pt x="918" y="184"/>
                </a:lnTo>
                <a:lnTo>
                  <a:pt x="913" y="184"/>
                </a:lnTo>
                <a:lnTo>
                  <a:pt x="910" y="184"/>
                </a:lnTo>
                <a:lnTo>
                  <a:pt x="907" y="186"/>
                </a:lnTo>
                <a:lnTo>
                  <a:pt x="903" y="186"/>
                </a:lnTo>
                <a:lnTo>
                  <a:pt x="900" y="184"/>
                </a:lnTo>
                <a:lnTo>
                  <a:pt x="896" y="183"/>
                </a:lnTo>
                <a:lnTo>
                  <a:pt x="895" y="179"/>
                </a:lnTo>
                <a:lnTo>
                  <a:pt x="894" y="176"/>
                </a:lnTo>
                <a:lnTo>
                  <a:pt x="891" y="178"/>
                </a:lnTo>
                <a:lnTo>
                  <a:pt x="888" y="180"/>
                </a:lnTo>
                <a:lnTo>
                  <a:pt x="883" y="180"/>
                </a:lnTo>
                <a:lnTo>
                  <a:pt x="878" y="180"/>
                </a:lnTo>
                <a:lnTo>
                  <a:pt x="878" y="183"/>
                </a:lnTo>
                <a:lnTo>
                  <a:pt x="880" y="187"/>
                </a:lnTo>
                <a:lnTo>
                  <a:pt x="885" y="186"/>
                </a:lnTo>
                <a:lnTo>
                  <a:pt x="888" y="186"/>
                </a:lnTo>
                <a:lnTo>
                  <a:pt x="885" y="189"/>
                </a:lnTo>
                <a:lnTo>
                  <a:pt x="882" y="190"/>
                </a:lnTo>
                <a:lnTo>
                  <a:pt x="877" y="190"/>
                </a:lnTo>
                <a:lnTo>
                  <a:pt x="873" y="189"/>
                </a:lnTo>
                <a:lnTo>
                  <a:pt x="869" y="187"/>
                </a:lnTo>
                <a:lnTo>
                  <a:pt x="866" y="187"/>
                </a:lnTo>
                <a:lnTo>
                  <a:pt x="861" y="189"/>
                </a:lnTo>
                <a:lnTo>
                  <a:pt x="855" y="192"/>
                </a:lnTo>
                <a:lnTo>
                  <a:pt x="852" y="195"/>
                </a:lnTo>
                <a:lnTo>
                  <a:pt x="849" y="197"/>
                </a:lnTo>
                <a:lnTo>
                  <a:pt x="845" y="196"/>
                </a:lnTo>
                <a:lnTo>
                  <a:pt x="843" y="194"/>
                </a:lnTo>
                <a:lnTo>
                  <a:pt x="840" y="194"/>
                </a:lnTo>
                <a:lnTo>
                  <a:pt x="836" y="194"/>
                </a:lnTo>
                <a:lnTo>
                  <a:pt x="833" y="195"/>
                </a:lnTo>
                <a:lnTo>
                  <a:pt x="832" y="197"/>
                </a:lnTo>
                <a:lnTo>
                  <a:pt x="833" y="198"/>
                </a:lnTo>
                <a:lnTo>
                  <a:pt x="833" y="199"/>
                </a:lnTo>
                <a:lnTo>
                  <a:pt x="833" y="200"/>
                </a:lnTo>
                <a:lnTo>
                  <a:pt x="832" y="200"/>
                </a:lnTo>
                <a:lnTo>
                  <a:pt x="829" y="199"/>
                </a:lnTo>
                <a:lnTo>
                  <a:pt x="828" y="197"/>
                </a:lnTo>
                <a:lnTo>
                  <a:pt x="826" y="197"/>
                </a:lnTo>
                <a:lnTo>
                  <a:pt x="824" y="197"/>
                </a:lnTo>
                <a:lnTo>
                  <a:pt x="824" y="195"/>
                </a:lnTo>
                <a:lnTo>
                  <a:pt x="825" y="194"/>
                </a:lnTo>
                <a:lnTo>
                  <a:pt x="827" y="194"/>
                </a:lnTo>
                <a:lnTo>
                  <a:pt x="828" y="192"/>
                </a:lnTo>
                <a:lnTo>
                  <a:pt x="829" y="191"/>
                </a:lnTo>
                <a:lnTo>
                  <a:pt x="828" y="190"/>
                </a:lnTo>
                <a:lnTo>
                  <a:pt x="827" y="190"/>
                </a:lnTo>
                <a:lnTo>
                  <a:pt x="825" y="190"/>
                </a:lnTo>
                <a:lnTo>
                  <a:pt x="821" y="191"/>
                </a:lnTo>
                <a:lnTo>
                  <a:pt x="819" y="194"/>
                </a:lnTo>
                <a:lnTo>
                  <a:pt x="819" y="196"/>
                </a:lnTo>
                <a:lnTo>
                  <a:pt x="819" y="197"/>
                </a:lnTo>
                <a:lnTo>
                  <a:pt x="814" y="198"/>
                </a:lnTo>
                <a:lnTo>
                  <a:pt x="809" y="197"/>
                </a:lnTo>
                <a:lnTo>
                  <a:pt x="803" y="198"/>
                </a:lnTo>
                <a:lnTo>
                  <a:pt x="799" y="199"/>
                </a:lnTo>
                <a:lnTo>
                  <a:pt x="797" y="197"/>
                </a:lnTo>
                <a:lnTo>
                  <a:pt x="797" y="196"/>
                </a:lnTo>
                <a:lnTo>
                  <a:pt x="799" y="194"/>
                </a:lnTo>
                <a:lnTo>
                  <a:pt x="801" y="194"/>
                </a:lnTo>
                <a:lnTo>
                  <a:pt x="803" y="190"/>
                </a:lnTo>
                <a:lnTo>
                  <a:pt x="805" y="189"/>
                </a:lnTo>
                <a:lnTo>
                  <a:pt x="810" y="189"/>
                </a:lnTo>
                <a:lnTo>
                  <a:pt x="813" y="190"/>
                </a:lnTo>
                <a:lnTo>
                  <a:pt x="817" y="188"/>
                </a:lnTo>
                <a:lnTo>
                  <a:pt x="819" y="186"/>
                </a:lnTo>
                <a:lnTo>
                  <a:pt x="824" y="184"/>
                </a:lnTo>
                <a:lnTo>
                  <a:pt x="827" y="183"/>
                </a:lnTo>
                <a:lnTo>
                  <a:pt x="840" y="179"/>
                </a:lnTo>
                <a:lnTo>
                  <a:pt x="851" y="174"/>
                </a:lnTo>
                <a:lnTo>
                  <a:pt x="862" y="171"/>
                </a:lnTo>
                <a:lnTo>
                  <a:pt x="873" y="167"/>
                </a:lnTo>
                <a:lnTo>
                  <a:pt x="877" y="166"/>
                </a:lnTo>
                <a:lnTo>
                  <a:pt x="882" y="164"/>
                </a:lnTo>
                <a:lnTo>
                  <a:pt x="886" y="161"/>
                </a:lnTo>
                <a:lnTo>
                  <a:pt x="891" y="158"/>
                </a:lnTo>
                <a:lnTo>
                  <a:pt x="902" y="158"/>
                </a:lnTo>
                <a:lnTo>
                  <a:pt x="913" y="157"/>
                </a:lnTo>
                <a:lnTo>
                  <a:pt x="919" y="156"/>
                </a:lnTo>
                <a:lnTo>
                  <a:pt x="925" y="156"/>
                </a:lnTo>
                <a:lnTo>
                  <a:pt x="929" y="156"/>
                </a:lnTo>
                <a:lnTo>
                  <a:pt x="935" y="155"/>
                </a:lnTo>
                <a:lnTo>
                  <a:pt x="939" y="153"/>
                </a:lnTo>
                <a:lnTo>
                  <a:pt x="941" y="148"/>
                </a:lnTo>
                <a:lnTo>
                  <a:pt x="942" y="147"/>
                </a:lnTo>
                <a:lnTo>
                  <a:pt x="944" y="145"/>
                </a:lnTo>
                <a:lnTo>
                  <a:pt x="946" y="145"/>
                </a:lnTo>
                <a:lnTo>
                  <a:pt x="949" y="144"/>
                </a:lnTo>
                <a:lnTo>
                  <a:pt x="953" y="142"/>
                </a:lnTo>
                <a:lnTo>
                  <a:pt x="959" y="141"/>
                </a:lnTo>
                <a:lnTo>
                  <a:pt x="965" y="139"/>
                </a:lnTo>
                <a:lnTo>
                  <a:pt x="970" y="139"/>
                </a:lnTo>
                <a:lnTo>
                  <a:pt x="975" y="139"/>
                </a:lnTo>
                <a:lnTo>
                  <a:pt x="978" y="141"/>
                </a:lnTo>
                <a:lnTo>
                  <a:pt x="979" y="142"/>
                </a:lnTo>
                <a:lnTo>
                  <a:pt x="978" y="145"/>
                </a:lnTo>
                <a:lnTo>
                  <a:pt x="977" y="146"/>
                </a:lnTo>
                <a:lnTo>
                  <a:pt x="975" y="147"/>
                </a:lnTo>
                <a:lnTo>
                  <a:pt x="970" y="148"/>
                </a:lnTo>
                <a:lnTo>
                  <a:pt x="965" y="149"/>
                </a:lnTo>
                <a:lnTo>
                  <a:pt x="962" y="150"/>
                </a:lnTo>
                <a:lnTo>
                  <a:pt x="961" y="151"/>
                </a:lnTo>
                <a:lnTo>
                  <a:pt x="960" y="154"/>
                </a:lnTo>
                <a:lnTo>
                  <a:pt x="959" y="156"/>
                </a:lnTo>
                <a:lnTo>
                  <a:pt x="962" y="155"/>
                </a:lnTo>
                <a:lnTo>
                  <a:pt x="966" y="154"/>
                </a:lnTo>
                <a:lnTo>
                  <a:pt x="968" y="154"/>
                </a:lnTo>
                <a:lnTo>
                  <a:pt x="972" y="155"/>
                </a:lnTo>
                <a:lnTo>
                  <a:pt x="973" y="156"/>
                </a:lnTo>
                <a:lnTo>
                  <a:pt x="975" y="156"/>
                </a:lnTo>
                <a:lnTo>
                  <a:pt x="977" y="155"/>
                </a:lnTo>
                <a:lnTo>
                  <a:pt x="979" y="153"/>
                </a:lnTo>
                <a:lnTo>
                  <a:pt x="985" y="153"/>
                </a:lnTo>
                <a:lnTo>
                  <a:pt x="993" y="153"/>
                </a:lnTo>
                <a:lnTo>
                  <a:pt x="998" y="151"/>
                </a:lnTo>
                <a:lnTo>
                  <a:pt x="1001" y="151"/>
                </a:lnTo>
                <a:lnTo>
                  <a:pt x="1003" y="150"/>
                </a:lnTo>
                <a:lnTo>
                  <a:pt x="1005" y="148"/>
                </a:lnTo>
                <a:lnTo>
                  <a:pt x="995" y="147"/>
                </a:lnTo>
                <a:lnTo>
                  <a:pt x="985" y="148"/>
                </a:lnTo>
                <a:lnTo>
                  <a:pt x="990" y="145"/>
                </a:lnTo>
                <a:lnTo>
                  <a:pt x="994" y="142"/>
                </a:lnTo>
                <a:lnTo>
                  <a:pt x="990" y="141"/>
                </a:lnTo>
                <a:lnTo>
                  <a:pt x="986" y="140"/>
                </a:lnTo>
                <a:lnTo>
                  <a:pt x="992" y="138"/>
                </a:lnTo>
                <a:lnTo>
                  <a:pt x="998" y="137"/>
                </a:lnTo>
                <a:lnTo>
                  <a:pt x="1003" y="136"/>
                </a:lnTo>
                <a:lnTo>
                  <a:pt x="1009" y="137"/>
                </a:lnTo>
                <a:lnTo>
                  <a:pt x="1016" y="138"/>
                </a:lnTo>
                <a:lnTo>
                  <a:pt x="1022" y="139"/>
                </a:lnTo>
                <a:lnTo>
                  <a:pt x="1027" y="139"/>
                </a:lnTo>
                <a:lnTo>
                  <a:pt x="1032" y="138"/>
                </a:lnTo>
                <a:lnTo>
                  <a:pt x="1044" y="136"/>
                </a:lnTo>
                <a:lnTo>
                  <a:pt x="1056" y="134"/>
                </a:lnTo>
                <a:lnTo>
                  <a:pt x="1060" y="134"/>
                </a:lnTo>
                <a:lnTo>
                  <a:pt x="1065" y="133"/>
                </a:lnTo>
                <a:lnTo>
                  <a:pt x="1067" y="131"/>
                </a:lnTo>
                <a:lnTo>
                  <a:pt x="1068" y="129"/>
                </a:lnTo>
                <a:lnTo>
                  <a:pt x="1071" y="129"/>
                </a:lnTo>
                <a:lnTo>
                  <a:pt x="1073" y="129"/>
                </a:lnTo>
                <a:lnTo>
                  <a:pt x="1076" y="129"/>
                </a:lnTo>
                <a:lnTo>
                  <a:pt x="1079" y="129"/>
                </a:lnTo>
                <a:lnTo>
                  <a:pt x="1082" y="130"/>
                </a:lnTo>
                <a:lnTo>
                  <a:pt x="1085" y="132"/>
                </a:lnTo>
                <a:lnTo>
                  <a:pt x="1094" y="130"/>
                </a:lnTo>
                <a:lnTo>
                  <a:pt x="1102" y="129"/>
                </a:lnTo>
                <a:lnTo>
                  <a:pt x="1102" y="130"/>
                </a:lnTo>
                <a:lnTo>
                  <a:pt x="1104" y="132"/>
                </a:lnTo>
                <a:lnTo>
                  <a:pt x="1104" y="133"/>
                </a:lnTo>
                <a:lnTo>
                  <a:pt x="1104" y="134"/>
                </a:lnTo>
                <a:lnTo>
                  <a:pt x="1102" y="136"/>
                </a:lnTo>
                <a:lnTo>
                  <a:pt x="1101" y="137"/>
                </a:lnTo>
                <a:lnTo>
                  <a:pt x="1096" y="140"/>
                </a:lnTo>
                <a:lnTo>
                  <a:pt x="1089" y="141"/>
                </a:lnTo>
                <a:lnTo>
                  <a:pt x="1083" y="142"/>
                </a:lnTo>
                <a:lnTo>
                  <a:pt x="1077" y="144"/>
                </a:lnTo>
                <a:lnTo>
                  <a:pt x="1079" y="145"/>
                </a:lnTo>
                <a:lnTo>
                  <a:pt x="1080" y="146"/>
                </a:lnTo>
                <a:lnTo>
                  <a:pt x="1082" y="146"/>
                </a:lnTo>
                <a:lnTo>
                  <a:pt x="1083" y="145"/>
                </a:lnTo>
                <a:lnTo>
                  <a:pt x="1090" y="145"/>
                </a:lnTo>
                <a:lnTo>
                  <a:pt x="1096" y="145"/>
                </a:lnTo>
                <a:lnTo>
                  <a:pt x="1101" y="144"/>
                </a:lnTo>
                <a:lnTo>
                  <a:pt x="1107" y="142"/>
                </a:lnTo>
                <a:lnTo>
                  <a:pt x="1114" y="140"/>
                </a:lnTo>
                <a:lnTo>
                  <a:pt x="1119" y="138"/>
                </a:lnTo>
                <a:lnTo>
                  <a:pt x="1129" y="132"/>
                </a:lnTo>
                <a:lnTo>
                  <a:pt x="1139" y="129"/>
                </a:lnTo>
                <a:lnTo>
                  <a:pt x="1140" y="128"/>
                </a:lnTo>
                <a:lnTo>
                  <a:pt x="1142" y="126"/>
                </a:lnTo>
                <a:lnTo>
                  <a:pt x="1143" y="126"/>
                </a:lnTo>
                <a:lnTo>
                  <a:pt x="1143" y="125"/>
                </a:lnTo>
                <a:lnTo>
                  <a:pt x="1143" y="124"/>
                </a:lnTo>
                <a:lnTo>
                  <a:pt x="1142" y="123"/>
                </a:lnTo>
                <a:lnTo>
                  <a:pt x="1140" y="123"/>
                </a:lnTo>
                <a:lnTo>
                  <a:pt x="1137" y="123"/>
                </a:lnTo>
                <a:lnTo>
                  <a:pt x="1134" y="121"/>
                </a:lnTo>
                <a:lnTo>
                  <a:pt x="1130" y="119"/>
                </a:lnTo>
                <a:lnTo>
                  <a:pt x="1126" y="119"/>
                </a:lnTo>
                <a:lnTo>
                  <a:pt x="1123" y="119"/>
                </a:lnTo>
                <a:lnTo>
                  <a:pt x="1119" y="117"/>
                </a:lnTo>
                <a:lnTo>
                  <a:pt x="1117" y="115"/>
                </a:lnTo>
                <a:lnTo>
                  <a:pt x="1116" y="115"/>
                </a:lnTo>
                <a:lnTo>
                  <a:pt x="1114" y="119"/>
                </a:lnTo>
                <a:lnTo>
                  <a:pt x="1112" y="122"/>
                </a:lnTo>
                <a:lnTo>
                  <a:pt x="1108" y="123"/>
                </a:lnTo>
                <a:lnTo>
                  <a:pt x="1105" y="124"/>
                </a:lnTo>
                <a:lnTo>
                  <a:pt x="1101" y="123"/>
                </a:lnTo>
                <a:lnTo>
                  <a:pt x="1100" y="122"/>
                </a:lnTo>
                <a:lnTo>
                  <a:pt x="1099" y="121"/>
                </a:lnTo>
                <a:lnTo>
                  <a:pt x="1098" y="120"/>
                </a:lnTo>
                <a:lnTo>
                  <a:pt x="1099" y="119"/>
                </a:lnTo>
                <a:lnTo>
                  <a:pt x="1104" y="119"/>
                </a:lnTo>
                <a:lnTo>
                  <a:pt x="1109" y="117"/>
                </a:lnTo>
                <a:lnTo>
                  <a:pt x="1104" y="116"/>
                </a:lnTo>
                <a:lnTo>
                  <a:pt x="1098" y="116"/>
                </a:lnTo>
                <a:lnTo>
                  <a:pt x="1100" y="114"/>
                </a:lnTo>
                <a:lnTo>
                  <a:pt x="1102" y="113"/>
                </a:lnTo>
                <a:lnTo>
                  <a:pt x="1106" y="112"/>
                </a:lnTo>
                <a:lnTo>
                  <a:pt x="1109" y="111"/>
                </a:lnTo>
                <a:lnTo>
                  <a:pt x="1117" y="111"/>
                </a:lnTo>
                <a:lnTo>
                  <a:pt x="1123" y="109"/>
                </a:lnTo>
                <a:lnTo>
                  <a:pt x="1129" y="108"/>
                </a:lnTo>
                <a:lnTo>
                  <a:pt x="1133" y="106"/>
                </a:lnTo>
                <a:lnTo>
                  <a:pt x="1137" y="104"/>
                </a:lnTo>
                <a:lnTo>
                  <a:pt x="1141" y="101"/>
                </a:lnTo>
                <a:lnTo>
                  <a:pt x="1148" y="101"/>
                </a:lnTo>
                <a:lnTo>
                  <a:pt x="1155" y="101"/>
                </a:lnTo>
                <a:lnTo>
                  <a:pt x="1162" y="100"/>
                </a:lnTo>
                <a:lnTo>
                  <a:pt x="1168" y="100"/>
                </a:lnTo>
                <a:lnTo>
                  <a:pt x="1174" y="100"/>
                </a:lnTo>
                <a:lnTo>
                  <a:pt x="1180" y="100"/>
                </a:lnTo>
                <a:lnTo>
                  <a:pt x="1182" y="100"/>
                </a:lnTo>
                <a:lnTo>
                  <a:pt x="1183" y="99"/>
                </a:lnTo>
                <a:lnTo>
                  <a:pt x="1185" y="99"/>
                </a:lnTo>
                <a:lnTo>
                  <a:pt x="1187" y="101"/>
                </a:lnTo>
                <a:lnTo>
                  <a:pt x="1187" y="104"/>
                </a:lnTo>
                <a:lnTo>
                  <a:pt x="1185" y="105"/>
                </a:lnTo>
                <a:lnTo>
                  <a:pt x="1183" y="105"/>
                </a:lnTo>
                <a:lnTo>
                  <a:pt x="1181" y="106"/>
                </a:lnTo>
                <a:lnTo>
                  <a:pt x="1176" y="106"/>
                </a:lnTo>
                <a:lnTo>
                  <a:pt x="1173" y="106"/>
                </a:lnTo>
                <a:lnTo>
                  <a:pt x="1168" y="105"/>
                </a:lnTo>
                <a:lnTo>
                  <a:pt x="1164" y="106"/>
                </a:lnTo>
                <a:lnTo>
                  <a:pt x="1160" y="108"/>
                </a:lnTo>
                <a:lnTo>
                  <a:pt x="1158" y="112"/>
                </a:lnTo>
                <a:lnTo>
                  <a:pt x="1149" y="113"/>
                </a:lnTo>
                <a:lnTo>
                  <a:pt x="1140" y="112"/>
                </a:lnTo>
                <a:lnTo>
                  <a:pt x="1139" y="113"/>
                </a:lnTo>
                <a:lnTo>
                  <a:pt x="1138" y="114"/>
                </a:lnTo>
                <a:lnTo>
                  <a:pt x="1138" y="115"/>
                </a:lnTo>
                <a:lnTo>
                  <a:pt x="1138" y="116"/>
                </a:lnTo>
                <a:lnTo>
                  <a:pt x="1140" y="116"/>
                </a:lnTo>
                <a:lnTo>
                  <a:pt x="1141" y="116"/>
                </a:lnTo>
                <a:lnTo>
                  <a:pt x="1148" y="116"/>
                </a:lnTo>
                <a:lnTo>
                  <a:pt x="1156" y="116"/>
                </a:lnTo>
                <a:lnTo>
                  <a:pt x="1155" y="121"/>
                </a:lnTo>
                <a:lnTo>
                  <a:pt x="1154" y="125"/>
                </a:lnTo>
                <a:lnTo>
                  <a:pt x="1154" y="128"/>
                </a:lnTo>
                <a:lnTo>
                  <a:pt x="1155" y="129"/>
                </a:lnTo>
                <a:lnTo>
                  <a:pt x="1157" y="129"/>
                </a:lnTo>
                <a:lnTo>
                  <a:pt x="1160" y="129"/>
                </a:lnTo>
                <a:lnTo>
                  <a:pt x="1164" y="126"/>
                </a:lnTo>
                <a:lnTo>
                  <a:pt x="1168" y="123"/>
                </a:lnTo>
                <a:lnTo>
                  <a:pt x="1172" y="122"/>
                </a:lnTo>
                <a:lnTo>
                  <a:pt x="1174" y="123"/>
                </a:lnTo>
                <a:lnTo>
                  <a:pt x="1178" y="124"/>
                </a:lnTo>
                <a:lnTo>
                  <a:pt x="1180" y="125"/>
                </a:lnTo>
                <a:lnTo>
                  <a:pt x="1173" y="131"/>
                </a:lnTo>
                <a:lnTo>
                  <a:pt x="1165" y="136"/>
                </a:lnTo>
                <a:lnTo>
                  <a:pt x="1162" y="136"/>
                </a:lnTo>
                <a:lnTo>
                  <a:pt x="1158" y="134"/>
                </a:lnTo>
                <a:lnTo>
                  <a:pt x="1156" y="133"/>
                </a:lnTo>
                <a:lnTo>
                  <a:pt x="1152" y="134"/>
                </a:lnTo>
                <a:lnTo>
                  <a:pt x="1155" y="137"/>
                </a:lnTo>
                <a:lnTo>
                  <a:pt x="1158" y="138"/>
                </a:lnTo>
                <a:lnTo>
                  <a:pt x="1160" y="139"/>
                </a:lnTo>
                <a:lnTo>
                  <a:pt x="1165" y="139"/>
                </a:lnTo>
                <a:lnTo>
                  <a:pt x="1168" y="139"/>
                </a:lnTo>
                <a:lnTo>
                  <a:pt x="1172" y="139"/>
                </a:lnTo>
                <a:lnTo>
                  <a:pt x="1174" y="138"/>
                </a:lnTo>
                <a:lnTo>
                  <a:pt x="1173" y="138"/>
                </a:lnTo>
                <a:lnTo>
                  <a:pt x="1176" y="138"/>
                </a:lnTo>
                <a:lnTo>
                  <a:pt x="1181" y="138"/>
                </a:lnTo>
                <a:lnTo>
                  <a:pt x="1182" y="137"/>
                </a:lnTo>
                <a:lnTo>
                  <a:pt x="1183" y="137"/>
                </a:lnTo>
                <a:lnTo>
                  <a:pt x="1184" y="137"/>
                </a:lnTo>
                <a:lnTo>
                  <a:pt x="1184" y="138"/>
                </a:lnTo>
                <a:lnTo>
                  <a:pt x="1188" y="138"/>
                </a:lnTo>
                <a:lnTo>
                  <a:pt x="1191" y="139"/>
                </a:lnTo>
                <a:lnTo>
                  <a:pt x="1196" y="139"/>
                </a:lnTo>
                <a:lnTo>
                  <a:pt x="1201" y="139"/>
                </a:lnTo>
                <a:lnTo>
                  <a:pt x="1207" y="139"/>
                </a:lnTo>
                <a:lnTo>
                  <a:pt x="1213" y="137"/>
                </a:lnTo>
                <a:lnTo>
                  <a:pt x="1209" y="134"/>
                </a:lnTo>
                <a:lnTo>
                  <a:pt x="1208" y="132"/>
                </a:lnTo>
                <a:lnTo>
                  <a:pt x="1208" y="129"/>
                </a:lnTo>
                <a:lnTo>
                  <a:pt x="1209" y="125"/>
                </a:lnTo>
                <a:lnTo>
                  <a:pt x="1212" y="123"/>
                </a:lnTo>
                <a:lnTo>
                  <a:pt x="1212" y="121"/>
                </a:lnTo>
                <a:lnTo>
                  <a:pt x="1211" y="119"/>
                </a:lnTo>
                <a:lnTo>
                  <a:pt x="1208" y="116"/>
                </a:lnTo>
                <a:lnTo>
                  <a:pt x="1206" y="114"/>
                </a:lnTo>
                <a:lnTo>
                  <a:pt x="1203" y="109"/>
                </a:lnTo>
                <a:lnTo>
                  <a:pt x="1200" y="106"/>
                </a:lnTo>
                <a:lnTo>
                  <a:pt x="1200" y="104"/>
                </a:lnTo>
                <a:lnTo>
                  <a:pt x="1203" y="104"/>
                </a:lnTo>
                <a:lnTo>
                  <a:pt x="1205" y="104"/>
                </a:lnTo>
                <a:lnTo>
                  <a:pt x="1206" y="104"/>
                </a:lnTo>
                <a:lnTo>
                  <a:pt x="1206" y="103"/>
                </a:lnTo>
                <a:lnTo>
                  <a:pt x="1206" y="101"/>
                </a:lnTo>
                <a:lnTo>
                  <a:pt x="1206" y="99"/>
                </a:lnTo>
                <a:lnTo>
                  <a:pt x="1204" y="97"/>
                </a:lnTo>
                <a:lnTo>
                  <a:pt x="1201" y="95"/>
                </a:lnTo>
                <a:lnTo>
                  <a:pt x="1203" y="91"/>
                </a:lnTo>
                <a:lnTo>
                  <a:pt x="1204" y="89"/>
                </a:lnTo>
                <a:lnTo>
                  <a:pt x="1205" y="86"/>
                </a:lnTo>
                <a:lnTo>
                  <a:pt x="1205" y="83"/>
                </a:lnTo>
                <a:lnTo>
                  <a:pt x="1204" y="82"/>
                </a:lnTo>
                <a:lnTo>
                  <a:pt x="1204" y="81"/>
                </a:lnTo>
                <a:lnTo>
                  <a:pt x="1203" y="79"/>
                </a:lnTo>
                <a:lnTo>
                  <a:pt x="1204" y="78"/>
                </a:lnTo>
                <a:lnTo>
                  <a:pt x="1206" y="76"/>
                </a:lnTo>
                <a:lnTo>
                  <a:pt x="1207" y="75"/>
                </a:lnTo>
                <a:lnTo>
                  <a:pt x="1208" y="75"/>
                </a:lnTo>
                <a:lnTo>
                  <a:pt x="1208" y="74"/>
                </a:lnTo>
                <a:lnTo>
                  <a:pt x="1208" y="73"/>
                </a:lnTo>
                <a:lnTo>
                  <a:pt x="1207" y="73"/>
                </a:lnTo>
                <a:lnTo>
                  <a:pt x="1205" y="72"/>
                </a:lnTo>
                <a:lnTo>
                  <a:pt x="1204" y="72"/>
                </a:lnTo>
                <a:lnTo>
                  <a:pt x="1203" y="68"/>
                </a:lnTo>
                <a:lnTo>
                  <a:pt x="1203" y="64"/>
                </a:lnTo>
                <a:lnTo>
                  <a:pt x="1214" y="59"/>
                </a:lnTo>
                <a:lnTo>
                  <a:pt x="1222" y="55"/>
                </a:lnTo>
                <a:lnTo>
                  <a:pt x="1221" y="53"/>
                </a:lnTo>
                <a:lnTo>
                  <a:pt x="1220" y="51"/>
                </a:lnTo>
                <a:lnTo>
                  <a:pt x="1219" y="51"/>
                </a:lnTo>
                <a:lnTo>
                  <a:pt x="1219" y="50"/>
                </a:lnTo>
                <a:lnTo>
                  <a:pt x="1219" y="49"/>
                </a:lnTo>
                <a:lnTo>
                  <a:pt x="1220" y="47"/>
                </a:lnTo>
                <a:lnTo>
                  <a:pt x="1223" y="45"/>
                </a:lnTo>
                <a:lnTo>
                  <a:pt x="1228" y="45"/>
                </a:lnTo>
                <a:lnTo>
                  <a:pt x="1232" y="45"/>
                </a:lnTo>
                <a:lnTo>
                  <a:pt x="1237" y="45"/>
                </a:lnTo>
                <a:lnTo>
                  <a:pt x="1240" y="43"/>
                </a:lnTo>
                <a:lnTo>
                  <a:pt x="1244" y="41"/>
                </a:lnTo>
                <a:lnTo>
                  <a:pt x="1244" y="39"/>
                </a:lnTo>
                <a:lnTo>
                  <a:pt x="1244" y="37"/>
                </a:lnTo>
                <a:lnTo>
                  <a:pt x="1244" y="33"/>
                </a:lnTo>
                <a:lnTo>
                  <a:pt x="1245" y="31"/>
                </a:lnTo>
                <a:lnTo>
                  <a:pt x="1246" y="31"/>
                </a:lnTo>
                <a:lnTo>
                  <a:pt x="1249" y="31"/>
                </a:lnTo>
                <a:lnTo>
                  <a:pt x="1253" y="31"/>
                </a:lnTo>
                <a:lnTo>
                  <a:pt x="1255" y="30"/>
                </a:lnTo>
                <a:lnTo>
                  <a:pt x="1256" y="28"/>
                </a:lnTo>
                <a:lnTo>
                  <a:pt x="1255" y="24"/>
                </a:lnTo>
                <a:lnTo>
                  <a:pt x="1252" y="22"/>
                </a:lnTo>
                <a:lnTo>
                  <a:pt x="1247" y="21"/>
                </a:lnTo>
                <a:lnTo>
                  <a:pt x="1242" y="20"/>
                </a:lnTo>
                <a:lnTo>
                  <a:pt x="1239" y="20"/>
                </a:lnTo>
                <a:lnTo>
                  <a:pt x="1226" y="18"/>
                </a:lnTo>
                <a:lnTo>
                  <a:pt x="1215" y="17"/>
                </a:lnTo>
                <a:lnTo>
                  <a:pt x="1203" y="16"/>
                </a:lnTo>
                <a:lnTo>
                  <a:pt x="1190" y="15"/>
                </a:lnTo>
                <a:lnTo>
                  <a:pt x="1178" y="14"/>
                </a:lnTo>
                <a:lnTo>
                  <a:pt x="1164" y="14"/>
                </a:lnTo>
                <a:lnTo>
                  <a:pt x="1159" y="14"/>
                </a:lnTo>
                <a:lnTo>
                  <a:pt x="1152" y="15"/>
                </a:lnTo>
                <a:lnTo>
                  <a:pt x="1146" y="14"/>
                </a:lnTo>
                <a:lnTo>
                  <a:pt x="1142" y="13"/>
                </a:lnTo>
                <a:lnTo>
                  <a:pt x="1143" y="12"/>
                </a:lnTo>
                <a:lnTo>
                  <a:pt x="1146" y="10"/>
                </a:lnTo>
                <a:lnTo>
                  <a:pt x="1147" y="8"/>
                </a:lnTo>
                <a:lnTo>
                  <a:pt x="1146" y="7"/>
                </a:lnTo>
                <a:lnTo>
                  <a:pt x="1142" y="7"/>
                </a:lnTo>
                <a:lnTo>
                  <a:pt x="1138" y="8"/>
                </a:lnTo>
                <a:lnTo>
                  <a:pt x="1135" y="12"/>
                </a:lnTo>
                <a:lnTo>
                  <a:pt x="1132" y="14"/>
                </a:lnTo>
                <a:lnTo>
                  <a:pt x="1127" y="15"/>
                </a:lnTo>
                <a:lnTo>
                  <a:pt x="1124" y="14"/>
                </a:lnTo>
                <a:lnTo>
                  <a:pt x="1126" y="13"/>
                </a:lnTo>
                <a:lnTo>
                  <a:pt x="1129" y="10"/>
                </a:lnTo>
                <a:lnTo>
                  <a:pt x="1127" y="9"/>
                </a:lnTo>
                <a:lnTo>
                  <a:pt x="1126" y="9"/>
                </a:lnTo>
                <a:lnTo>
                  <a:pt x="1126" y="8"/>
                </a:lnTo>
                <a:lnTo>
                  <a:pt x="1125" y="7"/>
                </a:lnTo>
                <a:lnTo>
                  <a:pt x="1126" y="5"/>
                </a:lnTo>
                <a:lnTo>
                  <a:pt x="1129" y="5"/>
                </a:lnTo>
                <a:lnTo>
                  <a:pt x="1138" y="6"/>
                </a:lnTo>
                <a:lnTo>
                  <a:pt x="1146" y="5"/>
                </a:lnTo>
                <a:lnTo>
                  <a:pt x="1147" y="4"/>
                </a:lnTo>
                <a:lnTo>
                  <a:pt x="1147" y="3"/>
                </a:lnTo>
                <a:lnTo>
                  <a:pt x="1146" y="1"/>
                </a:lnTo>
                <a:lnTo>
                  <a:pt x="1142" y="1"/>
                </a:lnTo>
                <a:lnTo>
                  <a:pt x="1122" y="0"/>
                </a:lnTo>
                <a:lnTo>
                  <a:pt x="1101" y="0"/>
                </a:lnTo>
                <a:lnTo>
                  <a:pt x="1081" y="0"/>
                </a:lnTo>
                <a:lnTo>
                  <a:pt x="1060" y="0"/>
                </a:lnTo>
                <a:lnTo>
                  <a:pt x="1019" y="0"/>
                </a:lnTo>
                <a:lnTo>
                  <a:pt x="979" y="0"/>
                </a:lnTo>
                <a:lnTo>
                  <a:pt x="939" y="0"/>
                </a:lnTo>
                <a:lnTo>
                  <a:pt x="898" y="1"/>
                </a:lnTo>
                <a:lnTo>
                  <a:pt x="858" y="1"/>
                </a:lnTo>
                <a:lnTo>
                  <a:pt x="817" y="1"/>
                </a:lnTo>
                <a:lnTo>
                  <a:pt x="776" y="3"/>
                </a:lnTo>
                <a:lnTo>
                  <a:pt x="735" y="4"/>
                </a:lnTo>
                <a:lnTo>
                  <a:pt x="695" y="5"/>
                </a:lnTo>
                <a:lnTo>
                  <a:pt x="654" y="6"/>
                </a:lnTo>
                <a:lnTo>
                  <a:pt x="613" y="8"/>
                </a:lnTo>
                <a:lnTo>
                  <a:pt x="572" y="10"/>
                </a:lnTo>
                <a:lnTo>
                  <a:pt x="553" y="12"/>
                </a:lnTo>
                <a:lnTo>
                  <a:pt x="532" y="13"/>
                </a:lnTo>
                <a:lnTo>
                  <a:pt x="513" y="15"/>
                </a:lnTo>
                <a:lnTo>
                  <a:pt x="492" y="17"/>
                </a:lnTo>
                <a:lnTo>
                  <a:pt x="473" y="18"/>
                </a:lnTo>
                <a:lnTo>
                  <a:pt x="453" y="21"/>
                </a:lnTo>
                <a:lnTo>
                  <a:pt x="433" y="23"/>
                </a:lnTo>
                <a:lnTo>
                  <a:pt x="413" y="25"/>
                </a:lnTo>
                <a:lnTo>
                  <a:pt x="374" y="31"/>
                </a:lnTo>
                <a:lnTo>
                  <a:pt x="334" y="37"/>
                </a:lnTo>
                <a:lnTo>
                  <a:pt x="295" y="43"/>
                </a:lnTo>
                <a:lnTo>
                  <a:pt x="257" y="51"/>
                </a:lnTo>
                <a:lnTo>
                  <a:pt x="218" y="61"/>
                </a:lnTo>
                <a:lnTo>
                  <a:pt x="178" y="70"/>
                </a:lnTo>
                <a:lnTo>
                  <a:pt x="141" y="80"/>
                </a:lnTo>
                <a:lnTo>
                  <a:pt x="102" y="92"/>
                </a:lnTo>
                <a:lnTo>
                  <a:pt x="93" y="95"/>
                </a:lnTo>
                <a:lnTo>
                  <a:pt x="84" y="98"/>
                </a:lnTo>
                <a:lnTo>
                  <a:pt x="76" y="101"/>
                </a:lnTo>
                <a:lnTo>
                  <a:pt x="67" y="105"/>
                </a:lnTo>
                <a:lnTo>
                  <a:pt x="50" y="112"/>
                </a:lnTo>
                <a:lnTo>
                  <a:pt x="33" y="121"/>
                </a:lnTo>
                <a:lnTo>
                  <a:pt x="26" y="125"/>
                </a:lnTo>
                <a:lnTo>
                  <a:pt x="20" y="130"/>
                </a:lnTo>
                <a:lnTo>
                  <a:pt x="14" y="136"/>
                </a:lnTo>
                <a:lnTo>
                  <a:pt x="10" y="141"/>
                </a:lnTo>
                <a:lnTo>
                  <a:pt x="4" y="147"/>
                </a:lnTo>
                <a:lnTo>
                  <a:pt x="1" y="153"/>
                </a:lnTo>
                <a:lnTo>
                  <a:pt x="0" y="162"/>
                </a:lnTo>
                <a:lnTo>
                  <a:pt x="1" y="171"/>
                </a:lnTo>
                <a:lnTo>
                  <a:pt x="2" y="180"/>
                </a:lnTo>
                <a:lnTo>
                  <a:pt x="4" y="189"/>
                </a:lnTo>
                <a:lnTo>
                  <a:pt x="8" y="197"/>
                </a:lnTo>
                <a:lnTo>
                  <a:pt x="12" y="205"/>
                </a:lnTo>
                <a:lnTo>
                  <a:pt x="20" y="219"/>
                </a:lnTo>
                <a:lnTo>
                  <a:pt x="29" y="232"/>
                </a:lnTo>
                <a:lnTo>
                  <a:pt x="35" y="238"/>
                </a:lnTo>
                <a:lnTo>
                  <a:pt x="41" y="244"/>
                </a:lnTo>
                <a:lnTo>
                  <a:pt x="47" y="248"/>
                </a:lnTo>
                <a:lnTo>
                  <a:pt x="54" y="253"/>
                </a:lnTo>
                <a:lnTo>
                  <a:pt x="61" y="257"/>
                </a:lnTo>
                <a:lnTo>
                  <a:pt x="69" y="258"/>
                </a:lnTo>
                <a:lnTo>
                  <a:pt x="77" y="258"/>
                </a:lnTo>
                <a:lnTo>
                  <a:pt x="85" y="258"/>
                </a:lnTo>
                <a:lnTo>
                  <a:pt x="95" y="258"/>
                </a:lnTo>
                <a:lnTo>
                  <a:pt x="104" y="257"/>
                </a:lnTo>
                <a:lnTo>
                  <a:pt x="115" y="257"/>
                </a:lnTo>
                <a:lnTo>
                  <a:pt x="125" y="256"/>
                </a:lnTo>
                <a:lnTo>
                  <a:pt x="134" y="254"/>
                </a:lnTo>
                <a:lnTo>
                  <a:pt x="143" y="253"/>
                </a:lnTo>
                <a:lnTo>
                  <a:pt x="152" y="252"/>
                </a:lnTo>
                <a:lnTo>
                  <a:pt x="161" y="249"/>
                </a:lnTo>
                <a:lnTo>
                  <a:pt x="181" y="246"/>
                </a:lnTo>
                <a:lnTo>
                  <a:pt x="200" y="242"/>
                </a:lnTo>
                <a:lnTo>
                  <a:pt x="218" y="239"/>
                </a:lnTo>
                <a:lnTo>
                  <a:pt x="237" y="236"/>
                </a:lnTo>
                <a:lnTo>
                  <a:pt x="247" y="236"/>
                </a:lnTo>
                <a:lnTo>
                  <a:pt x="256" y="234"/>
                </a:lnTo>
                <a:lnTo>
                  <a:pt x="258" y="234"/>
                </a:lnTo>
                <a:lnTo>
                  <a:pt x="261" y="233"/>
                </a:lnTo>
                <a:lnTo>
                  <a:pt x="264" y="232"/>
                </a:lnTo>
                <a:lnTo>
                  <a:pt x="265" y="231"/>
                </a:lnTo>
                <a:lnTo>
                  <a:pt x="265" y="232"/>
                </a:lnTo>
                <a:lnTo>
                  <a:pt x="264" y="233"/>
                </a:lnTo>
                <a:lnTo>
                  <a:pt x="274" y="232"/>
                </a:lnTo>
                <a:lnTo>
                  <a:pt x="284" y="230"/>
                </a:lnTo>
                <a:lnTo>
                  <a:pt x="288" y="230"/>
                </a:lnTo>
                <a:lnTo>
                  <a:pt x="291" y="230"/>
                </a:lnTo>
                <a:lnTo>
                  <a:pt x="293" y="229"/>
                </a:lnTo>
                <a:lnTo>
                  <a:pt x="294" y="228"/>
                </a:lnTo>
                <a:lnTo>
                  <a:pt x="294" y="228"/>
                </a:lnTo>
                <a:lnTo>
                  <a:pt x="292" y="228"/>
                </a:lnTo>
                <a:lnTo>
                  <a:pt x="307" y="225"/>
                </a:lnTo>
                <a:lnTo>
                  <a:pt x="323" y="223"/>
                </a:lnTo>
                <a:lnTo>
                  <a:pt x="338" y="221"/>
                </a:lnTo>
                <a:lnTo>
                  <a:pt x="354" y="219"/>
                </a:lnTo>
                <a:lnTo>
                  <a:pt x="368" y="216"/>
                </a:lnTo>
                <a:lnTo>
                  <a:pt x="384" y="213"/>
                </a:lnTo>
                <a:lnTo>
                  <a:pt x="399" y="211"/>
                </a:lnTo>
                <a:lnTo>
                  <a:pt x="414" y="208"/>
                </a:lnTo>
                <a:lnTo>
                  <a:pt x="430" y="206"/>
                </a:lnTo>
                <a:lnTo>
                  <a:pt x="445" y="203"/>
                </a:lnTo>
                <a:lnTo>
                  <a:pt x="461" y="200"/>
                </a:lnTo>
                <a:lnTo>
                  <a:pt x="475" y="199"/>
                </a:lnTo>
                <a:lnTo>
                  <a:pt x="491" y="197"/>
                </a:lnTo>
                <a:lnTo>
                  <a:pt x="506" y="197"/>
                </a:lnTo>
                <a:lnTo>
                  <a:pt x="512" y="197"/>
                </a:lnTo>
                <a:lnTo>
                  <a:pt x="517" y="196"/>
                </a:lnTo>
                <a:lnTo>
                  <a:pt x="520" y="196"/>
                </a:lnTo>
                <a:lnTo>
                  <a:pt x="522" y="195"/>
                </a:lnTo>
                <a:lnTo>
                  <a:pt x="524" y="195"/>
                </a:lnTo>
                <a:lnTo>
                  <a:pt x="525" y="197"/>
                </a:lnTo>
                <a:lnTo>
                  <a:pt x="494" y="207"/>
                </a:lnTo>
                <a:lnTo>
                  <a:pt x="463" y="220"/>
                </a:lnTo>
                <a:lnTo>
                  <a:pt x="431" y="231"/>
                </a:lnTo>
                <a:lnTo>
                  <a:pt x="399" y="242"/>
                </a:lnTo>
                <a:lnTo>
                  <a:pt x="384" y="249"/>
                </a:lnTo>
                <a:lnTo>
                  <a:pt x="371" y="255"/>
                </a:lnTo>
                <a:lnTo>
                  <a:pt x="356" y="262"/>
                </a:lnTo>
                <a:lnTo>
                  <a:pt x="342" y="267"/>
                </a:lnTo>
                <a:lnTo>
                  <a:pt x="326" y="274"/>
                </a:lnTo>
                <a:lnTo>
                  <a:pt x="311" y="281"/>
                </a:lnTo>
                <a:lnTo>
                  <a:pt x="295" y="288"/>
                </a:lnTo>
                <a:lnTo>
                  <a:pt x="281" y="295"/>
                </a:lnTo>
                <a:lnTo>
                  <a:pt x="251" y="308"/>
                </a:lnTo>
                <a:lnTo>
                  <a:pt x="220" y="322"/>
                </a:lnTo>
                <a:lnTo>
                  <a:pt x="190" y="336"/>
                </a:lnTo>
                <a:lnTo>
                  <a:pt x="159" y="349"/>
                </a:lnTo>
                <a:lnTo>
                  <a:pt x="145" y="355"/>
                </a:lnTo>
                <a:lnTo>
                  <a:pt x="130" y="361"/>
                </a:lnTo>
                <a:lnTo>
                  <a:pt x="117" y="366"/>
                </a:lnTo>
                <a:lnTo>
                  <a:pt x="103" y="373"/>
                </a:lnTo>
                <a:lnTo>
                  <a:pt x="89" y="380"/>
                </a:lnTo>
                <a:lnTo>
                  <a:pt x="77" y="389"/>
                </a:lnTo>
                <a:lnTo>
                  <a:pt x="76" y="389"/>
                </a:lnTo>
                <a:lnTo>
                  <a:pt x="75" y="391"/>
                </a:lnTo>
                <a:lnTo>
                  <a:pt x="75" y="393"/>
                </a:lnTo>
                <a:lnTo>
                  <a:pt x="76" y="394"/>
                </a:lnTo>
                <a:lnTo>
                  <a:pt x="77" y="394"/>
                </a:lnTo>
                <a:lnTo>
                  <a:pt x="78" y="393"/>
                </a:lnTo>
                <a:lnTo>
                  <a:pt x="79" y="393"/>
                </a:lnTo>
                <a:lnTo>
                  <a:pt x="80" y="393"/>
                </a:lnTo>
                <a:lnTo>
                  <a:pt x="82" y="394"/>
                </a:lnTo>
                <a:lnTo>
                  <a:pt x="82" y="395"/>
                </a:lnTo>
                <a:lnTo>
                  <a:pt x="85" y="396"/>
                </a:lnTo>
                <a:lnTo>
                  <a:pt x="88" y="395"/>
                </a:lnTo>
                <a:lnTo>
                  <a:pt x="91" y="394"/>
                </a:lnTo>
                <a:lnTo>
                  <a:pt x="93" y="394"/>
                </a:lnTo>
                <a:lnTo>
                  <a:pt x="96" y="394"/>
                </a:lnTo>
                <a:lnTo>
                  <a:pt x="99" y="396"/>
                </a:lnTo>
                <a:lnTo>
                  <a:pt x="103" y="398"/>
                </a:lnTo>
                <a:lnTo>
                  <a:pt x="108" y="403"/>
                </a:lnTo>
                <a:lnTo>
                  <a:pt x="112" y="407"/>
                </a:lnTo>
                <a:lnTo>
                  <a:pt x="116" y="412"/>
                </a:lnTo>
                <a:lnTo>
                  <a:pt x="117" y="418"/>
                </a:lnTo>
                <a:lnTo>
                  <a:pt x="120" y="422"/>
                </a:lnTo>
                <a:lnTo>
                  <a:pt x="125" y="423"/>
                </a:lnTo>
                <a:lnTo>
                  <a:pt x="128" y="424"/>
                </a:lnTo>
                <a:lnTo>
                  <a:pt x="129" y="429"/>
                </a:lnTo>
                <a:lnTo>
                  <a:pt x="129" y="432"/>
                </a:lnTo>
                <a:lnTo>
                  <a:pt x="133" y="436"/>
                </a:lnTo>
                <a:lnTo>
                  <a:pt x="137" y="439"/>
                </a:lnTo>
                <a:lnTo>
                  <a:pt x="145" y="447"/>
                </a:lnTo>
                <a:lnTo>
                  <a:pt x="152" y="455"/>
                </a:lnTo>
                <a:lnTo>
                  <a:pt x="157" y="460"/>
                </a:lnTo>
                <a:lnTo>
                  <a:pt x="159" y="465"/>
                </a:lnTo>
                <a:lnTo>
                  <a:pt x="161" y="471"/>
                </a:lnTo>
                <a:lnTo>
                  <a:pt x="162" y="477"/>
                </a:lnTo>
                <a:lnTo>
                  <a:pt x="162" y="481"/>
                </a:lnTo>
                <a:lnTo>
                  <a:pt x="162" y="487"/>
                </a:lnTo>
                <a:lnTo>
                  <a:pt x="162" y="488"/>
                </a:lnTo>
                <a:lnTo>
                  <a:pt x="163" y="490"/>
                </a:lnTo>
                <a:lnTo>
                  <a:pt x="166" y="493"/>
                </a:lnTo>
                <a:lnTo>
                  <a:pt x="168" y="494"/>
                </a:lnTo>
                <a:lnTo>
                  <a:pt x="173" y="495"/>
                </a:lnTo>
                <a:lnTo>
                  <a:pt x="177" y="496"/>
                </a:lnTo>
                <a:lnTo>
                  <a:pt x="179" y="496"/>
                </a:lnTo>
                <a:lnTo>
                  <a:pt x="182" y="497"/>
                </a:lnTo>
                <a:lnTo>
                  <a:pt x="184" y="499"/>
                </a:lnTo>
                <a:lnTo>
                  <a:pt x="187" y="501"/>
                </a:lnTo>
                <a:lnTo>
                  <a:pt x="196" y="496"/>
                </a:lnTo>
                <a:lnTo>
                  <a:pt x="206" y="490"/>
                </a:lnTo>
                <a:lnTo>
                  <a:pt x="212" y="489"/>
                </a:lnTo>
                <a:lnTo>
                  <a:pt x="219" y="489"/>
                </a:lnTo>
                <a:lnTo>
                  <a:pt x="226" y="490"/>
                </a:lnTo>
                <a:lnTo>
                  <a:pt x="233" y="490"/>
                </a:lnTo>
                <a:lnTo>
                  <a:pt x="236" y="488"/>
                </a:lnTo>
                <a:lnTo>
                  <a:pt x="241" y="487"/>
                </a:lnTo>
                <a:lnTo>
                  <a:pt x="244" y="487"/>
                </a:lnTo>
                <a:lnTo>
                  <a:pt x="249" y="488"/>
                </a:lnTo>
                <a:lnTo>
                  <a:pt x="255" y="486"/>
                </a:lnTo>
                <a:lnTo>
                  <a:pt x="260" y="483"/>
                </a:lnTo>
                <a:lnTo>
                  <a:pt x="268" y="481"/>
                </a:lnTo>
                <a:lnTo>
                  <a:pt x="276" y="481"/>
                </a:lnTo>
                <a:lnTo>
                  <a:pt x="292" y="478"/>
                </a:lnTo>
                <a:lnTo>
                  <a:pt x="308" y="476"/>
                </a:lnTo>
                <a:lnTo>
                  <a:pt x="316" y="476"/>
                </a:lnTo>
                <a:lnTo>
                  <a:pt x="324" y="474"/>
                </a:lnTo>
                <a:lnTo>
                  <a:pt x="331" y="473"/>
                </a:lnTo>
                <a:lnTo>
                  <a:pt x="339" y="471"/>
                </a:lnTo>
                <a:lnTo>
                  <a:pt x="341" y="468"/>
                </a:lnTo>
                <a:lnTo>
                  <a:pt x="344" y="464"/>
                </a:lnTo>
                <a:lnTo>
                  <a:pt x="348" y="463"/>
                </a:lnTo>
                <a:lnTo>
                  <a:pt x="350" y="462"/>
                </a:lnTo>
                <a:lnTo>
                  <a:pt x="351" y="460"/>
                </a:lnTo>
                <a:lnTo>
                  <a:pt x="352" y="456"/>
                </a:lnTo>
                <a:lnTo>
                  <a:pt x="356" y="455"/>
                </a:lnTo>
                <a:lnTo>
                  <a:pt x="359" y="454"/>
                </a:lnTo>
                <a:lnTo>
                  <a:pt x="361" y="455"/>
                </a:lnTo>
                <a:lnTo>
                  <a:pt x="361" y="456"/>
                </a:lnTo>
                <a:lnTo>
                  <a:pt x="360" y="458"/>
                </a:lnTo>
                <a:lnTo>
                  <a:pt x="359" y="461"/>
                </a:lnTo>
                <a:lnTo>
                  <a:pt x="358" y="463"/>
                </a:lnTo>
                <a:lnTo>
                  <a:pt x="358" y="464"/>
                </a:lnTo>
                <a:lnTo>
                  <a:pt x="359" y="465"/>
                </a:lnTo>
                <a:lnTo>
                  <a:pt x="364" y="464"/>
                </a:lnTo>
                <a:lnTo>
                  <a:pt x="371" y="462"/>
                </a:lnTo>
                <a:lnTo>
                  <a:pt x="377" y="461"/>
                </a:lnTo>
                <a:lnTo>
                  <a:pt x="384" y="457"/>
                </a:lnTo>
                <a:lnTo>
                  <a:pt x="391" y="456"/>
                </a:lnTo>
                <a:lnTo>
                  <a:pt x="393" y="457"/>
                </a:lnTo>
                <a:lnTo>
                  <a:pt x="395" y="458"/>
                </a:lnTo>
                <a:lnTo>
                  <a:pt x="398" y="457"/>
                </a:lnTo>
                <a:lnTo>
                  <a:pt x="401" y="455"/>
                </a:lnTo>
                <a:lnTo>
                  <a:pt x="409" y="454"/>
                </a:lnTo>
                <a:lnTo>
                  <a:pt x="417" y="454"/>
                </a:lnTo>
                <a:lnTo>
                  <a:pt x="426" y="453"/>
                </a:lnTo>
                <a:lnTo>
                  <a:pt x="434" y="450"/>
                </a:lnTo>
                <a:lnTo>
                  <a:pt x="443" y="449"/>
                </a:lnTo>
                <a:lnTo>
                  <a:pt x="453" y="448"/>
                </a:lnTo>
                <a:lnTo>
                  <a:pt x="462" y="447"/>
                </a:lnTo>
                <a:lnTo>
                  <a:pt x="470" y="445"/>
                </a:lnTo>
                <a:lnTo>
                  <a:pt x="478" y="444"/>
                </a:lnTo>
                <a:lnTo>
                  <a:pt x="487" y="444"/>
                </a:lnTo>
                <a:lnTo>
                  <a:pt x="495" y="441"/>
                </a:lnTo>
                <a:lnTo>
                  <a:pt x="503" y="439"/>
                </a:lnTo>
                <a:lnTo>
                  <a:pt x="511" y="439"/>
                </a:lnTo>
                <a:lnTo>
                  <a:pt x="520" y="439"/>
                </a:lnTo>
                <a:lnTo>
                  <a:pt x="529" y="439"/>
                </a:lnTo>
                <a:lnTo>
                  <a:pt x="538" y="437"/>
                </a:lnTo>
                <a:lnTo>
                  <a:pt x="546" y="436"/>
                </a:lnTo>
                <a:lnTo>
                  <a:pt x="555" y="435"/>
                </a:lnTo>
                <a:lnTo>
                  <a:pt x="562" y="435"/>
                </a:lnTo>
                <a:lnTo>
                  <a:pt x="570" y="435"/>
                </a:lnTo>
                <a:lnTo>
                  <a:pt x="579" y="435"/>
                </a:lnTo>
                <a:lnTo>
                  <a:pt x="587" y="431"/>
                </a:lnTo>
                <a:lnTo>
                  <a:pt x="583" y="430"/>
                </a:lnTo>
                <a:lnTo>
                  <a:pt x="580" y="430"/>
                </a:lnTo>
                <a:lnTo>
                  <a:pt x="583" y="428"/>
                </a:lnTo>
                <a:lnTo>
                  <a:pt x="589" y="427"/>
                </a:lnTo>
                <a:lnTo>
                  <a:pt x="595" y="425"/>
                </a:lnTo>
                <a:lnTo>
                  <a:pt x="599" y="427"/>
                </a:lnTo>
                <a:lnTo>
                  <a:pt x="602" y="429"/>
                </a:lnTo>
                <a:lnTo>
                  <a:pt x="603" y="431"/>
                </a:lnTo>
                <a:lnTo>
                  <a:pt x="607" y="430"/>
                </a:lnTo>
                <a:lnTo>
                  <a:pt x="612" y="428"/>
                </a:lnTo>
                <a:lnTo>
                  <a:pt x="622" y="428"/>
                </a:lnTo>
                <a:lnTo>
                  <a:pt x="630" y="431"/>
                </a:lnTo>
                <a:lnTo>
                  <a:pt x="634" y="431"/>
                </a:lnTo>
                <a:lnTo>
                  <a:pt x="638" y="430"/>
                </a:lnTo>
                <a:lnTo>
                  <a:pt x="641" y="429"/>
                </a:lnTo>
                <a:lnTo>
                  <a:pt x="645" y="428"/>
                </a:lnTo>
                <a:lnTo>
                  <a:pt x="645" y="423"/>
                </a:lnTo>
                <a:lnTo>
                  <a:pt x="646" y="420"/>
                </a:lnTo>
                <a:lnTo>
                  <a:pt x="648" y="420"/>
                </a:lnTo>
                <a:lnTo>
                  <a:pt x="649" y="421"/>
                </a:lnTo>
                <a:lnTo>
                  <a:pt x="649" y="422"/>
                </a:lnTo>
                <a:lnTo>
                  <a:pt x="651" y="423"/>
                </a:lnTo>
                <a:lnTo>
                  <a:pt x="652" y="424"/>
                </a:lnTo>
                <a:lnTo>
                  <a:pt x="654" y="424"/>
                </a:lnTo>
                <a:lnTo>
                  <a:pt x="656" y="423"/>
                </a:lnTo>
                <a:lnTo>
                  <a:pt x="659" y="423"/>
                </a:lnTo>
                <a:lnTo>
                  <a:pt x="664" y="424"/>
                </a:lnTo>
                <a:lnTo>
                  <a:pt x="669" y="427"/>
                </a:lnTo>
                <a:lnTo>
                  <a:pt x="674" y="428"/>
                </a:lnTo>
                <a:lnTo>
                  <a:pt x="681" y="427"/>
                </a:lnTo>
                <a:lnTo>
                  <a:pt x="688" y="427"/>
                </a:lnTo>
                <a:lnTo>
                  <a:pt x="696" y="427"/>
                </a:lnTo>
                <a:lnTo>
                  <a:pt x="703" y="427"/>
                </a:lnTo>
                <a:lnTo>
                  <a:pt x="710" y="427"/>
                </a:lnTo>
                <a:lnTo>
                  <a:pt x="711" y="424"/>
                </a:lnTo>
                <a:lnTo>
                  <a:pt x="711" y="423"/>
                </a:lnTo>
                <a:lnTo>
                  <a:pt x="713" y="423"/>
                </a:lnTo>
                <a:lnTo>
                  <a:pt x="717" y="422"/>
                </a:lnTo>
                <a:lnTo>
                  <a:pt x="720" y="419"/>
                </a:lnTo>
                <a:lnTo>
                  <a:pt x="722" y="414"/>
                </a:lnTo>
                <a:lnTo>
                  <a:pt x="725" y="418"/>
                </a:lnTo>
                <a:lnTo>
                  <a:pt x="727" y="420"/>
                </a:lnTo>
                <a:lnTo>
                  <a:pt x="729" y="422"/>
                </a:lnTo>
                <a:lnTo>
                  <a:pt x="733" y="423"/>
                </a:lnTo>
                <a:lnTo>
                  <a:pt x="738" y="423"/>
                </a:lnTo>
                <a:lnTo>
                  <a:pt x="746" y="421"/>
                </a:lnTo>
                <a:lnTo>
                  <a:pt x="752" y="418"/>
                </a:lnTo>
                <a:lnTo>
                  <a:pt x="758" y="415"/>
                </a:lnTo>
                <a:lnTo>
                  <a:pt x="760" y="418"/>
                </a:lnTo>
                <a:lnTo>
                  <a:pt x="762" y="419"/>
                </a:lnTo>
                <a:lnTo>
                  <a:pt x="764" y="416"/>
                </a:lnTo>
                <a:lnTo>
                  <a:pt x="767" y="415"/>
                </a:lnTo>
                <a:lnTo>
                  <a:pt x="768" y="419"/>
                </a:lnTo>
                <a:lnTo>
                  <a:pt x="771" y="422"/>
                </a:lnTo>
                <a:lnTo>
                  <a:pt x="776" y="422"/>
                </a:lnTo>
                <a:lnTo>
                  <a:pt x="779" y="421"/>
                </a:lnTo>
                <a:lnTo>
                  <a:pt x="787" y="421"/>
                </a:lnTo>
                <a:lnTo>
                  <a:pt x="796" y="422"/>
                </a:lnTo>
                <a:lnTo>
                  <a:pt x="804" y="421"/>
                </a:lnTo>
                <a:lnTo>
                  <a:pt x="812" y="420"/>
                </a:lnTo>
                <a:lnTo>
                  <a:pt x="814" y="420"/>
                </a:lnTo>
                <a:lnTo>
                  <a:pt x="818" y="419"/>
                </a:lnTo>
                <a:lnTo>
                  <a:pt x="820" y="418"/>
                </a:lnTo>
                <a:lnTo>
                  <a:pt x="820" y="415"/>
                </a:lnTo>
                <a:lnTo>
                  <a:pt x="819" y="415"/>
                </a:lnTo>
                <a:lnTo>
                  <a:pt x="818" y="414"/>
                </a:lnTo>
                <a:lnTo>
                  <a:pt x="818" y="413"/>
                </a:lnTo>
                <a:lnTo>
                  <a:pt x="819" y="412"/>
                </a:lnTo>
                <a:lnTo>
                  <a:pt x="821" y="412"/>
                </a:lnTo>
                <a:lnTo>
                  <a:pt x="822" y="412"/>
                </a:lnTo>
                <a:lnTo>
                  <a:pt x="826" y="412"/>
                </a:lnTo>
                <a:lnTo>
                  <a:pt x="829" y="413"/>
                </a:lnTo>
                <a:lnTo>
                  <a:pt x="832" y="412"/>
                </a:lnTo>
                <a:lnTo>
                  <a:pt x="834" y="413"/>
                </a:lnTo>
                <a:lnTo>
                  <a:pt x="834" y="415"/>
                </a:lnTo>
                <a:lnTo>
                  <a:pt x="835" y="418"/>
                </a:lnTo>
                <a:lnTo>
                  <a:pt x="837" y="418"/>
                </a:lnTo>
                <a:lnTo>
                  <a:pt x="838" y="418"/>
                </a:lnTo>
                <a:lnTo>
                  <a:pt x="842" y="418"/>
                </a:lnTo>
                <a:lnTo>
                  <a:pt x="844" y="418"/>
                </a:lnTo>
                <a:lnTo>
                  <a:pt x="847" y="420"/>
                </a:lnTo>
                <a:lnTo>
                  <a:pt x="851" y="422"/>
                </a:lnTo>
                <a:lnTo>
                  <a:pt x="855" y="419"/>
                </a:lnTo>
                <a:lnTo>
                  <a:pt x="860" y="414"/>
                </a:lnTo>
                <a:lnTo>
                  <a:pt x="862" y="414"/>
                </a:lnTo>
                <a:lnTo>
                  <a:pt x="863" y="415"/>
                </a:lnTo>
                <a:lnTo>
                  <a:pt x="863" y="416"/>
                </a:lnTo>
                <a:lnTo>
                  <a:pt x="865" y="419"/>
                </a:lnTo>
                <a:lnTo>
                  <a:pt x="865" y="420"/>
                </a:lnTo>
                <a:lnTo>
                  <a:pt x="866" y="421"/>
                </a:lnTo>
                <a:lnTo>
                  <a:pt x="866" y="422"/>
                </a:lnTo>
                <a:lnTo>
                  <a:pt x="867" y="422"/>
                </a:lnTo>
                <a:lnTo>
                  <a:pt x="868" y="422"/>
                </a:lnTo>
                <a:lnTo>
                  <a:pt x="868" y="422"/>
                </a:lnTo>
                <a:lnTo>
                  <a:pt x="871" y="421"/>
                </a:lnTo>
                <a:lnTo>
                  <a:pt x="874" y="420"/>
                </a:lnTo>
                <a:lnTo>
                  <a:pt x="876" y="420"/>
                </a:lnTo>
                <a:lnTo>
                  <a:pt x="877" y="419"/>
                </a:lnTo>
                <a:lnTo>
                  <a:pt x="880" y="419"/>
                </a:lnTo>
                <a:lnTo>
                  <a:pt x="883" y="419"/>
                </a:lnTo>
                <a:lnTo>
                  <a:pt x="882" y="422"/>
                </a:lnTo>
                <a:lnTo>
                  <a:pt x="882" y="424"/>
                </a:lnTo>
                <a:lnTo>
                  <a:pt x="883" y="425"/>
                </a:lnTo>
                <a:lnTo>
                  <a:pt x="886" y="425"/>
                </a:lnTo>
                <a:lnTo>
                  <a:pt x="887" y="425"/>
                </a:lnTo>
                <a:lnTo>
                  <a:pt x="890" y="424"/>
                </a:lnTo>
                <a:lnTo>
                  <a:pt x="891" y="423"/>
                </a:lnTo>
                <a:lnTo>
                  <a:pt x="893" y="423"/>
                </a:lnTo>
                <a:lnTo>
                  <a:pt x="893" y="421"/>
                </a:lnTo>
                <a:lnTo>
                  <a:pt x="894" y="419"/>
                </a:lnTo>
                <a:lnTo>
                  <a:pt x="895" y="416"/>
                </a:lnTo>
                <a:lnTo>
                  <a:pt x="898" y="414"/>
                </a:lnTo>
                <a:lnTo>
                  <a:pt x="898" y="411"/>
                </a:lnTo>
                <a:lnTo>
                  <a:pt x="899" y="406"/>
                </a:lnTo>
                <a:lnTo>
                  <a:pt x="900" y="406"/>
                </a:lnTo>
                <a:lnTo>
                  <a:pt x="901" y="406"/>
                </a:lnTo>
                <a:lnTo>
                  <a:pt x="904" y="405"/>
                </a:lnTo>
                <a:lnTo>
                  <a:pt x="908" y="404"/>
                </a:lnTo>
                <a:lnTo>
                  <a:pt x="910" y="404"/>
                </a:lnTo>
                <a:lnTo>
                  <a:pt x="912" y="405"/>
                </a:lnTo>
                <a:lnTo>
                  <a:pt x="916" y="406"/>
                </a:lnTo>
                <a:lnTo>
                  <a:pt x="919" y="406"/>
                </a:lnTo>
                <a:lnTo>
                  <a:pt x="929" y="406"/>
                </a:lnTo>
                <a:lnTo>
                  <a:pt x="941" y="406"/>
                </a:lnTo>
                <a:lnTo>
                  <a:pt x="950" y="407"/>
                </a:lnTo>
                <a:lnTo>
                  <a:pt x="959" y="406"/>
                </a:lnTo>
                <a:lnTo>
                  <a:pt x="961" y="403"/>
                </a:lnTo>
                <a:lnTo>
                  <a:pt x="961" y="400"/>
                </a:lnTo>
                <a:lnTo>
                  <a:pt x="961" y="397"/>
                </a:lnTo>
                <a:lnTo>
                  <a:pt x="959" y="395"/>
                </a:lnTo>
                <a:lnTo>
                  <a:pt x="965" y="394"/>
                </a:lnTo>
                <a:lnTo>
                  <a:pt x="969" y="394"/>
                </a:lnTo>
                <a:lnTo>
                  <a:pt x="975" y="394"/>
                </a:lnTo>
                <a:lnTo>
                  <a:pt x="979" y="395"/>
                </a:lnTo>
                <a:lnTo>
                  <a:pt x="973" y="398"/>
                </a:lnTo>
                <a:lnTo>
                  <a:pt x="968" y="402"/>
                </a:lnTo>
                <a:lnTo>
                  <a:pt x="969" y="405"/>
                </a:lnTo>
                <a:lnTo>
                  <a:pt x="973" y="408"/>
                </a:lnTo>
                <a:lnTo>
                  <a:pt x="973" y="411"/>
                </a:lnTo>
                <a:lnTo>
                  <a:pt x="970" y="411"/>
                </a:lnTo>
                <a:lnTo>
                  <a:pt x="969" y="412"/>
                </a:lnTo>
                <a:lnTo>
                  <a:pt x="967" y="412"/>
                </a:lnTo>
                <a:lnTo>
                  <a:pt x="966" y="414"/>
                </a:lnTo>
                <a:lnTo>
                  <a:pt x="966" y="415"/>
                </a:lnTo>
                <a:lnTo>
                  <a:pt x="967" y="415"/>
                </a:lnTo>
                <a:lnTo>
                  <a:pt x="968" y="415"/>
                </a:lnTo>
                <a:lnTo>
                  <a:pt x="970" y="415"/>
                </a:lnTo>
                <a:lnTo>
                  <a:pt x="973" y="415"/>
                </a:lnTo>
                <a:lnTo>
                  <a:pt x="976" y="414"/>
                </a:lnTo>
                <a:lnTo>
                  <a:pt x="979" y="414"/>
                </a:lnTo>
                <a:lnTo>
                  <a:pt x="983" y="415"/>
                </a:lnTo>
                <a:lnTo>
                  <a:pt x="985" y="415"/>
                </a:lnTo>
                <a:lnTo>
                  <a:pt x="990" y="411"/>
                </a:lnTo>
                <a:lnTo>
                  <a:pt x="994" y="407"/>
                </a:lnTo>
                <a:lnTo>
                  <a:pt x="1001" y="405"/>
                </a:lnTo>
                <a:lnTo>
                  <a:pt x="1007" y="404"/>
                </a:lnTo>
                <a:lnTo>
                  <a:pt x="1011" y="400"/>
                </a:lnTo>
                <a:lnTo>
                  <a:pt x="1016" y="398"/>
                </a:lnTo>
                <a:lnTo>
                  <a:pt x="1030" y="398"/>
                </a:lnTo>
                <a:lnTo>
                  <a:pt x="1043" y="397"/>
                </a:lnTo>
                <a:lnTo>
                  <a:pt x="1047" y="396"/>
                </a:lnTo>
                <a:lnTo>
                  <a:pt x="1049" y="396"/>
                </a:lnTo>
                <a:lnTo>
                  <a:pt x="1050" y="397"/>
                </a:lnTo>
                <a:lnTo>
                  <a:pt x="1052" y="398"/>
                </a:lnTo>
                <a:lnTo>
                  <a:pt x="1056" y="398"/>
                </a:lnTo>
                <a:lnTo>
                  <a:pt x="1060" y="398"/>
                </a:lnTo>
                <a:lnTo>
                  <a:pt x="1065" y="399"/>
                </a:lnTo>
                <a:lnTo>
                  <a:pt x="1069" y="402"/>
                </a:lnTo>
                <a:lnTo>
                  <a:pt x="1069" y="403"/>
                </a:lnTo>
                <a:lnTo>
                  <a:pt x="1069" y="403"/>
                </a:lnTo>
                <a:lnTo>
                  <a:pt x="1069" y="404"/>
                </a:lnTo>
                <a:lnTo>
                  <a:pt x="1068" y="405"/>
                </a:lnTo>
                <a:lnTo>
                  <a:pt x="1067" y="408"/>
                </a:lnTo>
                <a:lnTo>
                  <a:pt x="1065" y="412"/>
                </a:lnTo>
                <a:lnTo>
                  <a:pt x="1060" y="415"/>
                </a:lnTo>
                <a:lnTo>
                  <a:pt x="1056" y="420"/>
                </a:lnTo>
                <a:lnTo>
                  <a:pt x="1066" y="418"/>
                </a:lnTo>
                <a:lnTo>
                  <a:pt x="1076" y="418"/>
                </a:lnTo>
                <a:lnTo>
                  <a:pt x="1086" y="416"/>
                </a:lnTo>
                <a:lnTo>
                  <a:pt x="1097" y="414"/>
                </a:lnTo>
                <a:lnTo>
                  <a:pt x="1084" y="412"/>
                </a:lnTo>
                <a:lnTo>
                  <a:pt x="1073" y="412"/>
                </a:lnTo>
                <a:lnTo>
                  <a:pt x="1084" y="408"/>
                </a:lnTo>
                <a:lnTo>
                  <a:pt x="1093" y="405"/>
                </a:lnTo>
                <a:lnTo>
                  <a:pt x="1091" y="403"/>
                </a:lnTo>
                <a:lnTo>
                  <a:pt x="1085" y="403"/>
                </a:lnTo>
                <a:lnTo>
                  <a:pt x="1077" y="403"/>
                </a:lnTo>
                <a:lnTo>
                  <a:pt x="1074" y="403"/>
                </a:lnTo>
                <a:lnTo>
                  <a:pt x="1082" y="400"/>
                </a:lnTo>
                <a:lnTo>
                  <a:pt x="1090" y="399"/>
                </a:lnTo>
                <a:lnTo>
                  <a:pt x="1093" y="397"/>
                </a:lnTo>
                <a:lnTo>
                  <a:pt x="1097" y="396"/>
                </a:lnTo>
                <a:lnTo>
                  <a:pt x="1100" y="396"/>
                </a:lnTo>
                <a:lnTo>
                  <a:pt x="1105" y="396"/>
                </a:lnTo>
                <a:lnTo>
                  <a:pt x="1102" y="399"/>
                </a:lnTo>
                <a:lnTo>
                  <a:pt x="1101" y="403"/>
                </a:lnTo>
                <a:lnTo>
                  <a:pt x="1100" y="405"/>
                </a:lnTo>
                <a:lnTo>
                  <a:pt x="1100" y="406"/>
                </a:lnTo>
                <a:lnTo>
                  <a:pt x="1101" y="407"/>
                </a:lnTo>
                <a:lnTo>
                  <a:pt x="1102" y="408"/>
                </a:lnTo>
                <a:lnTo>
                  <a:pt x="1113" y="408"/>
                </a:lnTo>
                <a:lnTo>
                  <a:pt x="1122" y="406"/>
                </a:lnTo>
                <a:lnTo>
                  <a:pt x="1119" y="406"/>
                </a:lnTo>
                <a:lnTo>
                  <a:pt x="1117" y="405"/>
                </a:lnTo>
                <a:lnTo>
                  <a:pt x="1122" y="402"/>
                </a:lnTo>
                <a:lnTo>
                  <a:pt x="1126" y="398"/>
                </a:lnTo>
                <a:lnTo>
                  <a:pt x="1131" y="397"/>
                </a:lnTo>
                <a:lnTo>
                  <a:pt x="1137" y="397"/>
                </a:lnTo>
                <a:lnTo>
                  <a:pt x="1135" y="399"/>
                </a:lnTo>
                <a:lnTo>
                  <a:pt x="1135" y="404"/>
                </a:lnTo>
                <a:lnTo>
                  <a:pt x="1135" y="405"/>
                </a:lnTo>
                <a:lnTo>
                  <a:pt x="1137" y="406"/>
                </a:lnTo>
                <a:lnTo>
                  <a:pt x="1138" y="407"/>
                </a:lnTo>
                <a:lnTo>
                  <a:pt x="1139" y="407"/>
                </a:lnTo>
                <a:lnTo>
                  <a:pt x="1143" y="405"/>
                </a:lnTo>
                <a:lnTo>
                  <a:pt x="1148" y="403"/>
                </a:lnTo>
                <a:lnTo>
                  <a:pt x="1154" y="403"/>
                </a:lnTo>
                <a:lnTo>
                  <a:pt x="1158" y="404"/>
                </a:lnTo>
                <a:lnTo>
                  <a:pt x="1163" y="404"/>
                </a:lnTo>
                <a:lnTo>
                  <a:pt x="1166" y="405"/>
                </a:lnTo>
                <a:lnTo>
                  <a:pt x="1167" y="406"/>
                </a:lnTo>
                <a:lnTo>
                  <a:pt x="1168" y="407"/>
                </a:lnTo>
                <a:lnTo>
                  <a:pt x="1168" y="410"/>
                </a:lnTo>
                <a:lnTo>
                  <a:pt x="1168" y="412"/>
                </a:lnTo>
                <a:lnTo>
                  <a:pt x="1168" y="413"/>
                </a:lnTo>
                <a:lnTo>
                  <a:pt x="1167" y="414"/>
                </a:lnTo>
                <a:lnTo>
                  <a:pt x="1166" y="414"/>
                </a:lnTo>
                <a:lnTo>
                  <a:pt x="1165" y="414"/>
                </a:lnTo>
                <a:lnTo>
                  <a:pt x="1163" y="413"/>
                </a:lnTo>
                <a:lnTo>
                  <a:pt x="1162" y="412"/>
                </a:lnTo>
                <a:lnTo>
                  <a:pt x="1160" y="411"/>
                </a:lnTo>
                <a:lnTo>
                  <a:pt x="1160" y="408"/>
                </a:lnTo>
                <a:lnTo>
                  <a:pt x="1156" y="412"/>
                </a:lnTo>
                <a:lnTo>
                  <a:pt x="1152" y="414"/>
                </a:lnTo>
                <a:lnTo>
                  <a:pt x="1152" y="415"/>
                </a:lnTo>
                <a:lnTo>
                  <a:pt x="1152" y="416"/>
                </a:lnTo>
                <a:lnTo>
                  <a:pt x="1154" y="418"/>
                </a:lnTo>
                <a:lnTo>
                  <a:pt x="1155" y="418"/>
                </a:lnTo>
                <a:lnTo>
                  <a:pt x="1158" y="418"/>
                </a:lnTo>
                <a:lnTo>
                  <a:pt x="1160" y="418"/>
                </a:lnTo>
                <a:lnTo>
                  <a:pt x="1165" y="418"/>
                </a:lnTo>
                <a:lnTo>
                  <a:pt x="1171" y="418"/>
                </a:lnTo>
                <a:lnTo>
                  <a:pt x="1173" y="418"/>
                </a:lnTo>
                <a:lnTo>
                  <a:pt x="1174" y="416"/>
                </a:lnTo>
                <a:lnTo>
                  <a:pt x="1174" y="414"/>
                </a:lnTo>
                <a:lnTo>
                  <a:pt x="1173" y="412"/>
                </a:lnTo>
                <a:lnTo>
                  <a:pt x="1178" y="411"/>
                </a:lnTo>
                <a:lnTo>
                  <a:pt x="1184" y="411"/>
                </a:lnTo>
                <a:lnTo>
                  <a:pt x="1187" y="411"/>
                </a:lnTo>
                <a:lnTo>
                  <a:pt x="1189" y="411"/>
                </a:lnTo>
                <a:lnTo>
                  <a:pt x="1191" y="413"/>
                </a:lnTo>
                <a:lnTo>
                  <a:pt x="1192" y="415"/>
                </a:lnTo>
                <a:lnTo>
                  <a:pt x="1192" y="416"/>
                </a:lnTo>
                <a:lnTo>
                  <a:pt x="1192" y="418"/>
                </a:lnTo>
                <a:lnTo>
                  <a:pt x="1192" y="419"/>
                </a:lnTo>
                <a:lnTo>
                  <a:pt x="1195" y="419"/>
                </a:lnTo>
                <a:lnTo>
                  <a:pt x="1204" y="419"/>
                </a:lnTo>
                <a:lnTo>
                  <a:pt x="1211" y="415"/>
                </a:lnTo>
                <a:lnTo>
                  <a:pt x="1208" y="415"/>
                </a:lnTo>
                <a:lnTo>
                  <a:pt x="1203" y="415"/>
                </a:lnTo>
                <a:lnTo>
                  <a:pt x="1200" y="415"/>
                </a:lnTo>
                <a:lnTo>
                  <a:pt x="1199" y="414"/>
                </a:lnTo>
                <a:lnTo>
                  <a:pt x="1199" y="413"/>
                </a:lnTo>
                <a:lnTo>
                  <a:pt x="1200" y="412"/>
                </a:lnTo>
                <a:lnTo>
                  <a:pt x="1204" y="412"/>
                </a:lnTo>
                <a:lnTo>
                  <a:pt x="1208" y="412"/>
                </a:lnTo>
                <a:lnTo>
                  <a:pt x="1214" y="412"/>
                </a:lnTo>
                <a:lnTo>
                  <a:pt x="1220" y="411"/>
                </a:lnTo>
                <a:lnTo>
                  <a:pt x="1224" y="410"/>
                </a:lnTo>
                <a:lnTo>
                  <a:pt x="1230" y="407"/>
                </a:lnTo>
                <a:lnTo>
                  <a:pt x="1231" y="407"/>
                </a:lnTo>
                <a:lnTo>
                  <a:pt x="1232" y="406"/>
                </a:lnTo>
                <a:lnTo>
                  <a:pt x="1232" y="405"/>
                </a:lnTo>
                <a:lnTo>
                  <a:pt x="1232" y="403"/>
                </a:lnTo>
                <a:lnTo>
                  <a:pt x="1234" y="400"/>
                </a:lnTo>
                <a:lnTo>
                  <a:pt x="1239" y="399"/>
                </a:lnTo>
                <a:lnTo>
                  <a:pt x="1244" y="399"/>
                </a:lnTo>
                <a:lnTo>
                  <a:pt x="1247" y="399"/>
                </a:lnTo>
                <a:lnTo>
                  <a:pt x="1247" y="398"/>
                </a:lnTo>
                <a:lnTo>
                  <a:pt x="1245" y="397"/>
                </a:lnTo>
                <a:lnTo>
                  <a:pt x="1242" y="396"/>
                </a:lnTo>
                <a:lnTo>
                  <a:pt x="1240" y="396"/>
                </a:lnTo>
                <a:lnTo>
                  <a:pt x="1236" y="395"/>
                </a:lnTo>
                <a:lnTo>
                  <a:pt x="1231" y="396"/>
                </a:lnTo>
                <a:lnTo>
                  <a:pt x="1217" y="395"/>
                </a:lnTo>
                <a:lnTo>
                  <a:pt x="1204" y="394"/>
                </a:lnTo>
                <a:lnTo>
                  <a:pt x="1197" y="394"/>
                </a:lnTo>
                <a:lnTo>
                  <a:pt x="1190" y="394"/>
                </a:lnTo>
                <a:lnTo>
                  <a:pt x="1184" y="395"/>
                </a:lnTo>
                <a:lnTo>
                  <a:pt x="1180" y="396"/>
                </a:lnTo>
                <a:lnTo>
                  <a:pt x="1174" y="394"/>
                </a:lnTo>
                <a:lnTo>
                  <a:pt x="1168" y="393"/>
                </a:lnTo>
                <a:lnTo>
                  <a:pt x="1162" y="391"/>
                </a:lnTo>
                <a:lnTo>
                  <a:pt x="1155" y="391"/>
                </a:lnTo>
                <a:lnTo>
                  <a:pt x="1143" y="393"/>
                </a:lnTo>
                <a:lnTo>
                  <a:pt x="1132" y="393"/>
                </a:lnTo>
                <a:lnTo>
                  <a:pt x="1119" y="390"/>
                </a:lnTo>
                <a:lnTo>
                  <a:pt x="1107" y="388"/>
                </a:lnTo>
                <a:lnTo>
                  <a:pt x="1104" y="388"/>
                </a:lnTo>
                <a:lnTo>
                  <a:pt x="1097" y="389"/>
                </a:lnTo>
                <a:lnTo>
                  <a:pt x="1092" y="388"/>
                </a:lnTo>
                <a:lnTo>
                  <a:pt x="1089" y="387"/>
                </a:lnTo>
                <a:lnTo>
                  <a:pt x="1090" y="383"/>
                </a:lnTo>
                <a:lnTo>
                  <a:pt x="1088" y="381"/>
                </a:lnTo>
                <a:lnTo>
                  <a:pt x="1081" y="380"/>
                </a:lnTo>
                <a:lnTo>
                  <a:pt x="1074" y="380"/>
                </a:lnTo>
                <a:lnTo>
                  <a:pt x="1079" y="379"/>
                </a:lnTo>
                <a:lnTo>
                  <a:pt x="1083" y="378"/>
                </a:lnTo>
                <a:lnTo>
                  <a:pt x="1088" y="378"/>
                </a:lnTo>
                <a:lnTo>
                  <a:pt x="1093" y="378"/>
                </a:lnTo>
                <a:lnTo>
                  <a:pt x="1097" y="375"/>
                </a:lnTo>
                <a:lnTo>
                  <a:pt x="1100" y="373"/>
                </a:lnTo>
                <a:lnTo>
                  <a:pt x="1099" y="370"/>
                </a:lnTo>
                <a:lnTo>
                  <a:pt x="1098" y="365"/>
                </a:lnTo>
                <a:lnTo>
                  <a:pt x="1101" y="369"/>
                </a:lnTo>
                <a:lnTo>
                  <a:pt x="1104" y="372"/>
                </a:lnTo>
                <a:lnTo>
                  <a:pt x="1105" y="377"/>
                </a:lnTo>
                <a:lnTo>
                  <a:pt x="1106" y="380"/>
                </a:lnTo>
                <a:lnTo>
                  <a:pt x="1109" y="381"/>
                </a:lnTo>
                <a:lnTo>
                  <a:pt x="1113" y="383"/>
                </a:lnTo>
                <a:lnTo>
                  <a:pt x="1114" y="383"/>
                </a:lnTo>
                <a:lnTo>
                  <a:pt x="1116" y="383"/>
                </a:lnTo>
                <a:lnTo>
                  <a:pt x="1117" y="382"/>
                </a:lnTo>
                <a:lnTo>
                  <a:pt x="1118" y="381"/>
                </a:lnTo>
                <a:lnTo>
                  <a:pt x="1121" y="378"/>
                </a:lnTo>
                <a:lnTo>
                  <a:pt x="1123" y="377"/>
                </a:lnTo>
                <a:lnTo>
                  <a:pt x="1127" y="377"/>
                </a:lnTo>
                <a:lnTo>
                  <a:pt x="1132" y="377"/>
                </a:lnTo>
                <a:lnTo>
                  <a:pt x="1135" y="374"/>
                </a:lnTo>
                <a:lnTo>
                  <a:pt x="1141" y="371"/>
                </a:lnTo>
                <a:lnTo>
                  <a:pt x="1143" y="370"/>
                </a:lnTo>
                <a:lnTo>
                  <a:pt x="1145" y="370"/>
                </a:lnTo>
                <a:lnTo>
                  <a:pt x="1147" y="371"/>
                </a:lnTo>
                <a:lnTo>
                  <a:pt x="1147" y="373"/>
                </a:lnTo>
                <a:lnTo>
                  <a:pt x="1146" y="377"/>
                </a:lnTo>
                <a:lnTo>
                  <a:pt x="1143" y="380"/>
                </a:lnTo>
                <a:lnTo>
                  <a:pt x="1147" y="381"/>
                </a:lnTo>
                <a:lnTo>
                  <a:pt x="1150" y="381"/>
                </a:lnTo>
                <a:lnTo>
                  <a:pt x="1151" y="385"/>
                </a:lnTo>
                <a:lnTo>
                  <a:pt x="1152" y="386"/>
                </a:lnTo>
                <a:lnTo>
                  <a:pt x="1154" y="387"/>
                </a:lnTo>
                <a:lnTo>
                  <a:pt x="1156" y="385"/>
                </a:lnTo>
                <a:lnTo>
                  <a:pt x="1157" y="383"/>
                </a:lnTo>
                <a:lnTo>
                  <a:pt x="1158" y="381"/>
                </a:lnTo>
                <a:lnTo>
                  <a:pt x="1162" y="379"/>
                </a:lnTo>
                <a:lnTo>
                  <a:pt x="1165" y="377"/>
                </a:lnTo>
                <a:lnTo>
                  <a:pt x="1168" y="379"/>
                </a:lnTo>
                <a:lnTo>
                  <a:pt x="1168" y="380"/>
                </a:lnTo>
                <a:lnTo>
                  <a:pt x="1173" y="380"/>
                </a:lnTo>
                <a:lnTo>
                  <a:pt x="1178" y="378"/>
                </a:lnTo>
                <a:lnTo>
                  <a:pt x="1183" y="379"/>
                </a:lnTo>
                <a:lnTo>
                  <a:pt x="1190" y="379"/>
                </a:lnTo>
                <a:lnTo>
                  <a:pt x="1188" y="381"/>
                </a:lnTo>
                <a:lnTo>
                  <a:pt x="1185" y="383"/>
                </a:lnTo>
                <a:lnTo>
                  <a:pt x="1188" y="385"/>
                </a:lnTo>
                <a:lnTo>
                  <a:pt x="1191" y="386"/>
                </a:lnTo>
                <a:lnTo>
                  <a:pt x="1196" y="388"/>
                </a:lnTo>
                <a:lnTo>
                  <a:pt x="1200" y="390"/>
                </a:lnTo>
                <a:lnTo>
                  <a:pt x="1207" y="391"/>
                </a:lnTo>
                <a:lnTo>
                  <a:pt x="1213" y="389"/>
                </a:lnTo>
                <a:lnTo>
                  <a:pt x="1208" y="388"/>
                </a:lnTo>
                <a:lnTo>
                  <a:pt x="1205" y="386"/>
                </a:lnTo>
                <a:lnTo>
                  <a:pt x="1220" y="382"/>
                </a:lnTo>
                <a:lnTo>
                  <a:pt x="1236" y="380"/>
                </a:lnTo>
                <a:lnTo>
                  <a:pt x="1241" y="378"/>
                </a:lnTo>
                <a:lnTo>
                  <a:pt x="1248" y="377"/>
                </a:lnTo>
                <a:lnTo>
                  <a:pt x="1254" y="379"/>
                </a:lnTo>
                <a:lnTo>
                  <a:pt x="1259" y="381"/>
                </a:lnTo>
                <a:lnTo>
                  <a:pt x="1267" y="381"/>
                </a:lnTo>
                <a:lnTo>
                  <a:pt x="1274" y="382"/>
                </a:lnTo>
                <a:lnTo>
                  <a:pt x="1281" y="382"/>
                </a:lnTo>
                <a:lnTo>
                  <a:pt x="1288" y="381"/>
                </a:lnTo>
                <a:lnTo>
                  <a:pt x="1292" y="382"/>
                </a:lnTo>
                <a:lnTo>
                  <a:pt x="1296" y="385"/>
                </a:lnTo>
                <a:lnTo>
                  <a:pt x="1303" y="385"/>
                </a:lnTo>
                <a:lnTo>
                  <a:pt x="1310" y="385"/>
                </a:lnTo>
                <a:lnTo>
                  <a:pt x="1307" y="387"/>
                </a:lnTo>
                <a:lnTo>
                  <a:pt x="1305" y="388"/>
                </a:lnTo>
                <a:lnTo>
                  <a:pt x="1299" y="388"/>
                </a:lnTo>
                <a:lnTo>
                  <a:pt x="1294" y="387"/>
                </a:lnTo>
                <a:lnTo>
                  <a:pt x="1292" y="388"/>
                </a:lnTo>
                <a:lnTo>
                  <a:pt x="1290" y="388"/>
                </a:lnTo>
                <a:lnTo>
                  <a:pt x="1290" y="389"/>
                </a:lnTo>
                <a:lnTo>
                  <a:pt x="1291" y="391"/>
                </a:lnTo>
                <a:lnTo>
                  <a:pt x="1294" y="393"/>
                </a:lnTo>
                <a:lnTo>
                  <a:pt x="1296" y="393"/>
                </a:lnTo>
                <a:lnTo>
                  <a:pt x="1299" y="395"/>
                </a:lnTo>
                <a:lnTo>
                  <a:pt x="1303" y="397"/>
                </a:lnTo>
                <a:lnTo>
                  <a:pt x="1289" y="398"/>
                </a:lnTo>
                <a:lnTo>
                  <a:pt x="1274" y="397"/>
                </a:lnTo>
                <a:lnTo>
                  <a:pt x="1261" y="398"/>
                </a:lnTo>
                <a:lnTo>
                  <a:pt x="1247" y="399"/>
                </a:lnTo>
                <a:lnTo>
                  <a:pt x="1249" y="402"/>
                </a:lnTo>
                <a:lnTo>
                  <a:pt x="1253" y="403"/>
                </a:lnTo>
                <a:lnTo>
                  <a:pt x="1255" y="402"/>
                </a:lnTo>
                <a:lnTo>
                  <a:pt x="1258" y="403"/>
                </a:lnTo>
                <a:lnTo>
                  <a:pt x="1259" y="404"/>
                </a:lnTo>
                <a:lnTo>
                  <a:pt x="1259" y="404"/>
                </a:lnTo>
                <a:lnTo>
                  <a:pt x="1259" y="405"/>
                </a:lnTo>
                <a:lnTo>
                  <a:pt x="1257" y="405"/>
                </a:lnTo>
                <a:lnTo>
                  <a:pt x="1254" y="405"/>
                </a:lnTo>
                <a:lnTo>
                  <a:pt x="1252" y="406"/>
                </a:lnTo>
                <a:lnTo>
                  <a:pt x="1246" y="405"/>
                </a:lnTo>
                <a:lnTo>
                  <a:pt x="1240" y="406"/>
                </a:lnTo>
                <a:lnTo>
                  <a:pt x="1240" y="408"/>
                </a:lnTo>
                <a:lnTo>
                  <a:pt x="1241" y="412"/>
                </a:lnTo>
                <a:lnTo>
                  <a:pt x="1244" y="415"/>
                </a:lnTo>
                <a:lnTo>
                  <a:pt x="1246" y="416"/>
                </a:lnTo>
                <a:lnTo>
                  <a:pt x="1249" y="418"/>
                </a:lnTo>
                <a:lnTo>
                  <a:pt x="1252" y="418"/>
                </a:lnTo>
                <a:lnTo>
                  <a:pt x="1254" y="415"/>
                </a:lnTo>
                <a:lnTo>
                  <a:pt x="1256" y="413"/>
                </a:lnTo>
                <a:lnTo>
                  <a:pt x="1259" y="412"/>
                </a:lnTo>
                <a:lnTo>
                  <a:pt x="1263" y="411"/>
                </a:lnTo>
                <a:lnTo>
                  <a:pt x="1267" y="411"/>
                </a:lnTo>
                <a:lnTo>
                  <a:pt x="1270" y="412"/>
                </a:lnTo>
                <a:lnTo>
                  <a:pt x="1278" y="412"/>
                </a:lnTo>
                <a:lnTo>
                  <a:pt x="1285" y="411"/>
                </a:lnTo>
                <a:lnTo>
                  <a:pt x="1291" y="411"/>
                </a:lnTo>
                <a:lnTo>
                  <a:pt x="1298" y="410"/>
                </a:lnTo>
                <a:lnTo>
                  <a:pt x="1300" y="407"/>
                </a:lnTo>
                <a:lnTo>
                  <a:pt x="1304" y="406"/>
                </a:lnTo>
                <a:lnTo>
                  <a:pt x="1307" y="405"/>
                </a:lnTo>
                <a:lnTo>
                  <a:pt x="1312" y="405"/>
                </a:lnTo>
                <a:lnTo>
                  <a:pt x="1316" y="405"/>
                </a:lnTo>
                <a:lnTo>
                  <a:pt x="1321" y="404"/>
                </a:lnTo>
                <a:lnTo>
                  <a:pt x="1322" y="404"/>
                </a:lnTo>
                <a:lnTo>
                  <a:pt x="1324" y="404"/>
                </a:lnTo>
                <a:lnTo>
                  <a:pt x="1325" y="403"/>
                </a:lnTo>
                <a:lnTo>
                  <a:pt x="1327" y="402"/>
                </a:lnTo>
                <a:lnTo>
                  <a:pt x="1329" y="402"/>
                </a:lnTo>
                <a:lnTo>
                  <a:pt x="1331" y="403"/>
                </a:lnTo>
                <a:lnTo>
                  <a:pt x="1332" y="403"/>
                </a:lnTo>
                <a:lnTo>
                  <a:pt x="1331" y="404"/>
                </a:lnTo>
                <a:lnTo>
                  <a:pt x="1333" y="405"/>
                </a:lnTo>
                <a:lnTo>
                  <a:pt x="1336" y="406"/>
                </a:lnTo>
                <a:lnTo>
                  <a:pt x="1340" y="406"/>
                </a:lnTo>
                <a:lnTo>
                  <a:pt x="1344" y="406"/>
                </a:lnTo>
                <a:lnTo>
                  <a:pt x="1347" y="405"/>
                </a:lnTo>
                <a:lnTo>
                  <a:pt x="1351" y="404"/>
                </a:lnTo>
                <a:lnTo>
                  <a:pt x="1352" y="405"/>
                </a:lnTo>
                <a:lnTo>
                  <a:pt x="1353" y="407"/>
                </a:lnTo>
                <a:lnTo>
                  <a:pt x="1353" y="407"/>
                </a:lnTo>
                <a:lnTo>
                  <a:pt x="1356" y="407"/>
                </a:lnTo>
                <a:lnTo>
                  <a:pt x="1361" y="407"/>
                </a:lnTo>
                <a:lnTo>
                  <a:pt x="1365" y="407"/>
                </a:lnTo>
                <a:lnTo>
                  <a:pt x="1368" y="407"/>
                </a:lnTo>
                <a:lnTo>
                  <a:pt x="1371" y="407"/>
                </a:lnTo>
                <a:lnTo>
                  <a:pt x="1373" y="404"/>
                </a:lnTo>
                <a:lnTo>
                  <a:pt x="1374" y="399"/>
                </a:lnTo>
                <a:lnTo>
                  <a:pt x="1376" y="398"/>
                </a:lnTo>
                <a:lnTo>
                  <a:pt x="1377" y="396"/>
                </a:lnTo>
                <a:lnTo>
                  <a:pt x="1377" y="395"/>
                </a:lnTo>
                <a:lnTo>
                  <a:pt x="1374" y="394"/>
                </a:lnTo>
                <a:lnTo>
                  <a:pt x="1377" y="391"/>
                </a:lnTo>
                <a:lnTo>
                  <a:pt x="1379" y="390"/>
                </a:lnTo>
                <a:lnTo>
                  <a:pt x="1381" y="388"/>
                </a:lnTo>
                <a:lnTo>
                  <a:pt x="1384" y="386"/>
                </a:lnTo>
                <a:lnTo>
                  <a:pt x="1387" y="383"/>
                </a:lnTo>
                <a:lnTo>
                  <a:pt x="1388" y="382"/>
                </a:lnTo>
                <a:lnTo>
                  <a:pt x="1389" y="380"/>
                </a:lnTo>
                <a:lnTo>
                  <a:pt x="1390" y="375"/>
                </a:lnTo>
                <a:lnTo>
                  <a:pt x="1380" y="380"/>
                </a:lnTo>
                <a:lnTo>
                  <a:pt x="1371" y="383"/>
                </a:lnTo>
                <a:lnTo>
                  <a:pt x="1366" y="386"/>
                </a:lnTo>
                <a:lnTo>
                  <a:pt x="1364" y="389"/>
                </a:lnTo>
                <a:lnTo>
                  <a:pt x="1363" y="393"/>
                </a:lnTo>
                <a:lnTo>
                  <a:pt x="1364" y="394"/>
                </a:lnTo>
                <a:lnTo>
                  <a:pt x="1365" y="394"/>
                </a:lnTo>
                <a:lnTo>
                  <a:pt x="1368" y="395"/>
                </a:lnTo>
                <a:lnTo>
                  <a:pt x="1369" y="395"/>
                </a:lnTo>
                <a:lnTo>
                  <a:pt x="1371" y="396"/>
                </a:lnTo>
                <a:lnTo>
                  <a:pt x="1369" y="398"/>
                </a:lnTo>
                <a:lnTo>
                  <a:pt x="1368" y="399"/>
                </a:lnTo>
                <a:lnTo>
                  <a:pt x="1364" y="398"/>
                </a:lnTo>
                <a:lnTo>
                  <a:pt x="1361" y="396"/>
                </a:lnTo>
                <a:lnTo>
                  <a:pt x="1357" y="395"/>
                </a:lnTo>
                <a:lnTo>
                  <a:pt x="1355" y="391"/>
                </a:lnTo>
                <a:lnTo>
                  <a:pt x="1357" y="389"/>
                </a:lnTo>
                <a:lnTo>
                  <a:pt x="1361" y="387"/>
                </a:lnTo>
                <a:lnTo>
                  <a:pt x="1357" y="386"/>
                </a:lnTo>
                <a:lnTo>
                  <a:pt x="1355" y="386"/>
                </a:lnTo>
                <a:lnTo>
                  <a:pt x="1352" y="387"/>
                </a:lnTo>
                <a:lnTo>
                  <a:pt x="1348" y="387"/>
                </a:lnTo>
                <a:lnTo>
                  <a:pt x="1345" y="387"/>
                </a:lnTo>
                <a:lnTo>
                  <a:pt x="1341" y="385"/>
                </a:lnTo>
                <a:lnTo>
                  <a:pt x="1339" y="383"/>
                </a:lnTo>
                <a:lnTo>
                  <a:pt x="1338" y="380"/>
                </a:lnTo>
                <a:lnTo>
                  <a:pt x="1341" y="380"/>
                </a:lnTo>
                <a:lnTo>
                  <a:pt x="1346" y="379"/>
                </a:lnTo>
                <a:lnTo>
                  <a:pt x="1347" y="378"/>
                </a:lnTo>
                <a:lnTo>
                  <a:pt x="1348" y="375"/>
                </a:lnTo>
                <a:lnTo>
                  <a:pt x="1348" y="374"/>
                </a:lnTo>
                <a:lnTo>
                  <a:pt x="1347" y="373"/>
                </a:lnTo>
                <a:lnTo>
                  <a:pt x="1341" y="372"/>
                </a:lnTo>
                <a:lnTo>
                  <a:pt x="1337" y="374"/>
                </a:lnTo>
                <a:lnTo>
                  <a:pt x="1335" y="375"/>
                </a:lnTo>
                <a:lnTo>
                  <a:pt x="1331" y="377"/>
                </a:lnTo>
                <a:lnTo>
                  <a:pt x="1329" y="377"/>
                </a:lnTo>
                <a:lnTo>
                  <a:pt x="1327" y="377"/>
                </a:lnTo>
                <a:lnTo>
                  <a:pt x="1324" y="377"/>
                </a:lnTo>
                <a:lnTo>
                  <a:pt x="1322" y="377"/>
                </a:lnTo>
                <a:lnTo>
                  <a:pt x="1319" y="377"/>
                </a:lnTo>
                <a:lnTo>
                  <a:pt x="1315" y="377"/>
                </a:lnTo>
                <a:lnTo>
                  <a:pt x="1313" y="377"/>
                </a:lnTo>
                <a:lnTo>
                  <a:pt x="1311" y="377"/>
                </a:lnTo>
                <a:lnTo>
                  <a:pt x="1308" y="377"/>
                </a:lnTo>
                <a:lnTo>
                  <a:pt x="1306" y="375"/>
                </a:lnTo>
                <a:lnTo>
                  <a:pt x="1307" y="371"/>
                </a:lnTo>
                <a:lnTo>
                  <a:pt x="1308" y="369"/>
                </a:lnTo>
                <a:lnTo>
                  <a:pt x="1307" y="367"/>
                </a:lnTo>
                <a:lnTo>
                  <a:pt x="1305" y="366"/>
                </a:lnTo>
                <a:lnTo>
                  <a:pt x="1311" y="364"/>
                </a:lnTo>
                <a:lnTo>
                  <a:pt x="1318" y="364"/>
                </a:lnTo>
                <a:lnTo>
                  <a:pt x="1322" y="364"/>
                </a:lnTo>
                <a:lnTo>
                  <a:pt x="1325" y="366"/>
                </a:lnTo>
                <a:lnTo>
                  <a:pt x="1328" y="367"/>
                </a:lnTo>
                <a:lnTo>
                  <a:pt x="1331" y="370"/>
                </a:lnTo>
                <a:lnTo>
                  <a:pt x="1335" y="371"/>
                </a:lnTo>
                <a:lnTo>
                  <a:pt x="1336" y="370"/>
                </a:lnTo>
                <a:lnTo>
                  <a:pt x="1338" y="367"/>
                </a:lnTo>
                <a:lnTo>
                  <a:pt x="1340" y="366"/>
                </a:lnTo>
                <a:lnTo>
                  <a:pt x="1346" y="367"/>
                </a:lnTo>
                <a:lnTo>
                  <a:pt x="1351" y="370"/>
                </a:lnTo>
                <a:lnTo>
                  <a:pt x="1355" y="366"/>
                </a:lnTo>
                <a:lnTo>
                  <a:pt x="1360" y="363"/>
                </a:lnTo>
                <a:lnTo>
                  <a:pt x="1362" y="362"/>
                </a:lnTo>
                <a:lnTo>
                  <a:pt x="1363" y="363"/>
                </a:lnTo>
                <a:lnTo>
                  <a:pt x="1363" y="365"/>
                </a:lnTo>
                <a:lnTo>
                  <a:pt x="1365" y="366"/>
                </a:lnTo>
                <a:lnTo>
                  <a:pt x="1368" y="367"/>
                </a:lnTo>
                <a:lnTo>
                  <a:pt x="1371" y="365"/>
                </a:lnTo>
                <a:lnTo>
                  <a:pt x="1373" y="364"/>
                </a:lnTo>
                <a:lnTo>
                  <a:pt x="1373" y="361"/>
                </a:lnTo>
                <a:lnTo>
                  <a:pt x="1370" y="358"/>
                </a:lnTo>
                <a:lnTo>
                  <a:pt x="1368" y="356"/>
                </a:lnTo>
                <a:lnTo>
                  <a:pt x="1373" y="354"/>
                </a:lnTo>
                <a:lnTo>
                  <a:pt x="1380" y="353"/>
                </a:lnTo>
                <a:lnTo>
                  <a:pt x="1387" y="356"/>
                </a:lnTo>
                <a:lnTo>
                  <a:pt x="1395" y="358"/>
                </a:lnTo>
                <a:lnTo>
                  <a:pt x="1402" y="357"/>
                </a:lnTo>
                <a:lnTo>
                  <a:pt x="1407" y="355"/>
                </a:lnTo>
                <a:lnTo>
                  <a:pt x="1410" y="353"/>
                </a:lnTo>
                <a:lnTo>
                  <a:pt x="1412" y="350"/>
                </a:lnTo>
                <a:lnTo>
                  <a:pt x="1412" y="348"/>
                </a:lnTo>
                <a:lnTo>
                  <a:pt x="1412" y="347"/>
                </a:lnTo>
                <a:lnTo>
                  <a:pt x="1412" y="347"/>
                </a:lnTo>
                <a:lnTo>
                  <a:pt x="1410" y="347"/>
                </a:lnTo>
                <a:lnTo>
                  <a:pt x="1410" y="347"/>
                </a:lnTo>
                <a:lnTo>
                  <a:pt x="1410" y="347"/>
                </a:lnTo>
                <a:close/>
                <a:moveTo>
                  <a:pt x="1126" y="105"/>
                </a:moveTo>
                <a:lnTo>
                  <a:pt x="1118" y="107"/>
                </a:lnTo>
                <a:lnTo>
                  <a:pt x="1109" y="108"/>
                </a:lnTo>
                <a:lnTo>
                  <a:pt x="1102" y="108"/>
                </a:lnTo>
                <a:lnTo>
                  <a:pt x="1096" y="109"/>
                </a:lnTo>
                <a:lnTo>
                  <a:pt x="1086" y="116"/>
                </a:lnTo>
                <a:lnTo>
                  <a:pt x="1079" y="123"/>
                </a:lnTo>
                <a:lnTo>
                  <a:pt x="1072" y="124"/>
                </a:lnTo>
                <a:lnTo>
                  <a:pt x="1066" y="125"/>
                </a:lnTo>
                <a:lnTo>
                  <a:pt x="1064" y="125"/>
                </a:lnTo>
                <a:lnTo>
                  <a:pt x="1061" y="126"/>
                </a:lnTo>
                <a:lnTo>
                  <a:pt x="1059" y="126"/>
                </a:lnTo>
                <a:lnTo>
                  <a:pt x="1057" y="125"/>
                </a:lnTo>
                <a:lnTo>
                  <a:pt x="1060" y="123"/>
                </a:lnTo>
                <a:lnTo>
                  <a:pt x="1064" y="121"/>
                </a:lnTo>
                <a:lnTo>
                  <a:pt x="1061" y="117"/>
                </a:lnTo>
                <a:lnTo>
                  <a:pt x="1059" y="112"/>
                </a:lnTo>
                <a:lnTo>
                  <a:pt x="1059" y="108"/>
                </a:lnTo>
                <a:lnTo>
                  <a:pt x="1060" y="106"/>
                </a:lnTo>
                <a:lnTo>
                  <a:pt x="1061" y="104"/>
                </a:lnTo>
                <a:lnTo>
                  <a:pt x="1064" y="104"/>
                </a:lnTo>
                <a:lnTo>
                  <a:pt x="1069" y="103"/>
                </a:lnTo>
                <a:lnTo>
                  <a:pt x="1076" y="103"/>
                </a:lnTo>
                <a:lnTo>
                  <a:pt x="1080" y="101"/>
                </a:lnTo>
                <a:lnTo>
                  <a:pt x="1083" y="100"/>
                </a:lnTo>
                <a:lnTo>
                  <a:pt x="1085" y="103"/>
                </a:lnTo>
                <a:lnTo>
                  <a:pt x="1086" y="105"/>
                </a:lnTo>
                <a:lnTo>
                  <a:pt x="1093" y="105"/>
                </a:lnTo>
                <a:lnTo>
                  <a:pt x="1099" y="103"/>
                </a:lnTo>
                <a:lnTo>
                  <a:pt x="1107" y="104"/>
                </a:lnTo>
                <a:lnTo>
                  <a:pt x="1114" y="105"/>
                </a:lnTo>
                <a:lnTo>
                  <a:pt x="1119" y="103"/>
                </a:lnTo>
                <a:lnTo>
                  <a:pt x="1124" y="99"/>
                </a:lnTo>
                <a:lnTo>
                  <a:pt x="1126" y="100"/>
                </a:lnTo>
                <a:lnTo>
                  <a:pt x="1129" y="101"/>
                </a:lnTo>
                <a:lnTo>
                  <a:pt x="1129" y="103"/>
                </a:lnTo>
                <a:lnTo>
                  <a:pt x="1129" y="104"/>
                </a:lnTo>
                <a:lnTo>
                  <a:pt x="1129" y="104"/>
                </a:lnTo>
                <a:lnTo>
                  <a:pt x="1126" y="105"/>
                </a:lnTo>
                <a:lnTo>
                  <a:pt x="1124" y="105"/>
                </a:lnTo>
                <a:lnTo>
                  <a:pt x="1126" y="105"/>
                </a:lnTo>
                <a:close/>
                <a:moveTo>
                  <a:pt x="1179" y="134"/>
                </a:moveTo>
                <a:lnTo>
                  <a:pt x="1179" y="134"/>
                </a:lnTo>
                <a:lnTo>
                  <a:pt x="1179" y="134"/>
                </a:lnTo>
                <a:close/>
                <a:moveTo>
                  <a:pt x="1072" y="34"/>
                </a:moveTo>
                <a:lnTo>
                  <a:pt x="1074" y="33"/>
                </a:lnTo>
                <a:lnTo>
                  <a:pt x="1077" y="32"/>
                </a:lnTo>
                <a:lnTo>
                  <a:pt x="1082" y="32"/>
                </a:lnTo>
                <a:lnTo>
                  <a:pt x="1085" y="32"/>
                </a:lnTo>
                <a:lnTo>
                  <a:pt x="1088" y="34"/>
                </a:lnTo>
                <a:lnTo>
                  <a:pt x="1090" y="36"/>
                </a:lnTo>
                <a:lnTo>
                  <a:pt x="1096" y="36"/>
                </a:lnTo>
                <a:lnTo>
                  <a:pt x="1100" y="37"/>
                </a:lnTo>
                <a:lnTo>
                  <a:pt x="1099" y="37"/>
                </a:lnTo>
                <a:lnTo>
                  <a:pt x="1097" y="37"/>
                </a:lnTo>
                <a:lnTo>
                  <a:pt x="1094" y="38"/>
                </a:lnTo>
                <a:lnTo>
                  <a:pt x="1094" y="39"/>
                </a:lnTo>
                <a:lnTo>
                  <a:pt x="1096" y="40"/>
                </a:lnTo>
                <a:lnTo>
                  <a:pt x="1099" y="40"/>
                </a:lnTo>
                <a:lnTo>
                  <a:pt x="1102" y="40"/>
                </a:lnTo>
                <a:lnTo>
                  <a:pt x="1105" y="39"/>
                </a:lnTo>
                <a:lnTo>
                  <a:pt x="1113" y="37"/>
                </a:lnTo>
                <a:lnTo>
                  <a:pt x="1119" y="36"/>
                </a:lnTo>
                <a:lnTo>
                  <a:pt x="1127" y="37"/>
                </a:lnTo>
                <a:lnTo>
                  <a:pt x="1135" y="34"/>
                </a:lnTo>
                <a:lnTo>
                  <a:pt x="1138" y="33"/>
                </a:lnTo>
                <a:lnTo>
                  <a:pt x="1139" y="32"/>
                </a:lnTo>
                <a:lnTo>
                  <a:pt x="1141" y="33"/>
                </a:lnTo>
                <a:lnTo>
                  <a:pt x="1142" y="36"/>
                </a:lnTo>
                <a:lnTo>
                  <a:pt x="1141" y="37"/>
                </a:lnTo>
                <a:lnTo>
                  <a:pt x="1140" y="38"/>
                </a:lnTo>
                <a:lnTo>
                  <a:pt x="1143" y="41"/>
                </a:lnTo>
                <a:lnTo>
                  <a:pt x="1148" y="42"/>
                </a:lnTo>
                <a:lnTo>
                  <a:pt x="1150" y="43"/>
                </a:lnTo>
                <a:lnTo>
                  <a:pt x="1152" y="45"/>
                </a:lnTo>
                <a:lnTo>
                  <a:pt x="1154" y="45"/>
                </a:lnTo>
                <a:lnTo>
                  <a:pt x="1155" y="43"/>
                </a:lnTo>
                <a:lnTo>
                  <a:pt x="1155" y="42"/>
                </a:lnTo>
                <a:lnTo>
                  <a:pt x="1155" y="41"/>
                </a:lnTo>
                <a:lnTo>
                  <a:pt x="1151" y="39"/>
                </a:lnTo>
                <a:lnTo>
                  <a:pt x="1148" y="37"/>
                </a:lnTo>
                <a:lnTo>
                  <a:pt x="1157" y="36"/>
                </a:lnTo>
                <a:lnTo>
                  <a:pt x="1166" y="36"/>
                </a:lnTo>
                <a:lnTo>
                  <a:pt x="1175" y="36"/>
                </a:lnTo>
                <a:lnTo>
                  <a:pt x="1184" y="36"/>
                </a:lnTo>
                <a:lnTo>
                  <a:pt x="1192" y="36"/>
                </a:lnTo>
                <a:lnTo>
                  <a:pt x="1201" y="37"/>
                </a:lnTo>
                <a:lnTo>
                  <a:pt x="1204" y="37"/>
                </a:lnTo>
                <a:lnTo>
                  <a:pt x="1205" y="38"/>
                </a:lnTo>
                <a:lnTo>
                  <a:pt x="1205" y="39"/>
                </a:lnTo>
                <a:lnTo>
                  <a:pt x="1203" y="40"/>
                </a:lnTo>
                <a:lnTo>
                  <a:pt x="1195" y="43"/>
                </a:lnTo>
                <a:lnTo>
                  <a:pt x="1187" y="43"/>
                </a:lnTo>
                <a:lnTo>
                  <a:pt x="1179" y="43"/>
                </a:lnTo>
                <a:lnTo>
                  <a:pt x="1172" y="43"/>
                </a:lnTo>
                <a:lnTo>
                  <a:pt x="1168" y="46"/>
                </a:lnTo>
                <a:lnTo>
                  <a:pt x="1165" y="47"/>
                </a:lnTo>
                <a:lnTo>
                  <a:pt x="1163" y="48"/>
                </a:lnTo>
                <a:lnTo>
                  <a:pt x="1158" y="47"/>
                </a:lnTo>
                <a:lnTo>
                  <a:pt x="1150" y="48"/>
                </a:lnTo>
                <a:lnTo>
                  <a:pt x="1142" y="50"/>
                </a:lnTo>
                <a:lnTo>
                  <a:pt x="1143" y="48"/>
                </a:lnTo>
                <a:lnTo>
                  <a:pt x="1143" y="46"/>
                </a:lnTo>
                <a:lnTo>
                  <a:pt x="1141" y="43"/>
                </a:lnTo>
                <a:lnTo>
                  <a:pt x="1139" y="43"/>
                </a:lnTo>
                <a:lnTo>
                  <a:pt x="1132" y="43"/>
                </a:lnTo>
                <a:lnTo>
                  <a:pt x="1126" y="45"/>
                </a:lnTo>
                <a:lnTo>
                  <a:pt x="1121" y="48"/>
                </a:lnTo>
                <a:lnTo>
                  <a:pt x="1114" y="51"/>
                </a:lnTo>
                <a:lnTo>
                  <a:pt x="1108" y="51"/>
                </a:lnTo>
                <a:lnTo>
                  <a:pt x="1101" y="53"/>
                </a:lnTo>
                <a:lnTo>
                  <a:pt x="1097" y="55"/>
                </a:lnTo>
                <a:lnTo>
                  <a:pt x="1091" y="55"/>
                </a:lnTo>
                <a:lnTo>
                  <a:pt x="1086" y="51"/>
                </a:lnTo>
                <a:lnTo>
                  <a:pt x="1081" y="47"/>
                </a:lnTo>
                <a:lnTo>
                  <a:pt x="1079" y="45"/>
                </a:lnTo>
                <a:lnTo>
                  <a:pt x="1076" y="45"/>
                </a:lnTo>
                <a:lnTo>
                  <a:pt x="1075" y="45"/>
                </a:lnTo>
                <a:lnTo>
                  <a:pt x="1072" y="47"/>
                </a:lnTo>
                <a:lnTo>
                  <a:pt x="1068" y="47"/>
                </a:lnTo>
                <a:lnTo>
                  <a:pt x="1067" y="46"/>
                </a:lnTo>
                <a:lnTo>
                  <a:pt x="1066" y="45"/>
                </a:lnTo>
                <a:lnTo>
                  <a:pt x="1064" y="43"/>
                </a:lnTo>
                <a:lnTo>
                  <a:pt x="1066" y="41"/>
                </a:lnTo>
                <a:lnTo>
                  <a:pt x="1068" y="40"/>
                </a:lnTo>
                <a:lnTo>
                  <a:pt x="1071" y="38"/>
                </a:lnTo>
                <a:lnTo>
                  <a:pt x="1072" y="34"/>
                </a:lnTo>
                <a:lnTo>
                  <a:pt x="1072" y="37"/>
                </a:lnTo>
                <a:lnTo>
                  <a:pt x="1072" y="34"/>
                </a:lnTo>
                <a:close/>
                <a:moveTo>
                  <a:pt x="1033" y="116"/>
                </a:moveTo>
                <a:lnTo>
                  <a:pt x="1036" y="115"/>
                </a:lnTo>
                <a:lnTo>
                  <a:pt x="1039" y="116"/>
                </a:lnTo>
                <a:lnTo>
                  <a:pt x="1042" y="119"/>
                </a:lnTo>
                <a:lnTo>
                  <a:pt x="1044" y="121"/>
                </a:lnTo>
                <a:lnTo>
                  <a:pt x="1039" y="122"/>
                </a:lnTo>
                <a:lnTo>
                  <a:pt x="1033" y="123"/>
                </a:lnTo>
                <a:lnTo>
                  <a:pt x="1030" y="126"/>
                </a:lnTo>
                <a:lnTo>
                  <a:pt x="1026" y="130"/>
                </a:lnTo>
                <a:lnTo>
                  <a:pt x="1023" y="130"/>
                </a:lnTo>
                <a:lnTo>
                  <a:pt x="1020" y="130"/>
                </a:lnTo>
                <a:lnTo>
                  <a:pt x="1019" y="128"/>
                </a:lnTo>
                <a:lnTo>
                  <a:pt x="1020" y="125"/>
                </a:lnTo>
                <a:lnTo>
                  <a:pt x="1026" y="120"/>
                </a:lnTo>
                <a:lnTo>
                  <a:pt x="1033" y="116"/>
                </a:lnTo>
                <a:lnTo>
                  <a:pt x="1033" y="116"/>
                </a:lnTo>
                <a:lnTo>
                  <a:pt x="1033" y="116"/>
                </a:lnTo>
                <a:close/>
                <a:moveTo>
                  <a:pt x="983" y="54"/>
                </a:moveTo>
                <a:lnTo>
                  <a:pt x="982" y="55"/>
                </a:lnTo>
                <a:lnTo>
                  <a:pt x="983" y="54"/>
                </a:lnTo>
                <a:lnTo>
                  <a:pt x="983" y="55"/>
                </a:lnTo>
                <a:lnTo>
                  <a:pt x="983" y="54"/>
                </a:lnTo>
                <a:close/>
                <a:moveTo>
                  <a:pt x="982" y="54"/>
                </a:moveTo>
                <a:lnTo>
                  <a:pt x="983" y="57"/>
                </a:lnTo>
                <a:lnTo>
                  <a:pt x="984" y="59"/>
                </a:lnTo>
                <a:lnTo>
                  <a:pt x="986" y="61"/>
                </a:lnTo>
                <a:lnTo>
                  <a:pt x="990" y="61"/>
                </a:lnTo>
                <a:lnTo>
                  <a:pt x="993" y="59"/>
                </a:lnTo>
                <a:lnTo>
                  <a:pt x="998" y="59"/>
                </a:lnTo>
                <a:lnTo>
                  <a:pt x="998" y="61"/>
                </a:lnTo>
                <a:lnTo>
                  <a:pt x="997" y="62"/>
                </a:lnTo>
                <a:lnTo>
                  <a:pt x="995" y="62"/>
                </a:lnTo>
                <a:lnTo>
                  <a:pt x="994" y="63"/>
                </a:lnTo>
                <a:lnTo>
                  <a:pt x="990" y="63"/>
                </a:lnTo>
                <a:lnTo>
                  <a:pt x="985" y="63"/>
                </a:lnTo>
                <a:lnTo>
                  <a:pt x="982" y="65"/>
                </a:lnTo>
                <a:lnTo>
                  <a:pt x="978" y="67"/>
                </a:lnTo>
                <a:lnTo>
                  <a:pt x="975" y="66"/>
                </a:lnTo>
                <a:lnTo>
                  <a:pt x="970" y="64"/>
                </a:lnTo>
                <a:lnTo>
                  <a:pt x="966" y="62"/>
                </a:lnTo>
                <a:lnTo>
                  <a:pt x="961" y="59"/>
                </a:lnTo>
                <a:lnTo>
                  <a:pt x="972" y="56"/>
                </a:lnTo>
                <a:lnTo>
                  <a:pt x="982" y="54"/>
                </a:lnTo>
                <a:lnTo>
                  <a:pt x="979" y="58"/>
                </a:lnTo>
                <a:lnTo>
                  <a:pt x="982" y="54"/>
                </a:lnTo>
                <a:close/>
                <a:moveTo>
                  <a:pt x="946" y="38"/>
                </a:moveTo>
                <a:lnTo>
                  <a:pt x="949" y="38"/>
                </a:lnTo>
                <a:lnTo>
                  <a:pt x="951" y="39"/>
                </a:lnTo>
                <a:lnTo>
                  <a:pt x="953" y="39"/>
                </a:lnTo>
                <a:lnTo>
                  <a:pt x="953" y="41"/>
                </a:lnTo>
                <a:lnTo>
                  <a:pt x="953" y="43"/>
                </a:lnTo>
                <a:lnTo>
                  <a:pt x="951" y="47"/>
                </a:lnTo>
                <a:lnTo>
                  <a:pt x="949" y="49"/>
                </a:lnTo>
                <a:lnTo>
                  <a:pt x="946" y="49"/>
                </a:lnTo>
                <a:lnTo>
                  <a:pt x="944" y="48"/>
                </a:lnTo>
                <a:lnTo>
                  <a:pt x="943" y="47"/>
                </a:lnTo>
                <a:lnTo>
                  <a:pt x="942" y="45"/>
                </a:lnTo>
                <a:lnTo>
                  <a:pt x="942" y="42"/>
                </a:lnTo>
                <a:lnTo>
                  <a:pt x="942" y="40"/>
                </a:lnTo>
                <a:lnTo>
                  <a:pt x="943" y="39"/>
                </a:lnTo>
                <a:lnTo>
                  <a:pt x="944" y="39"/>
                </a:lnTo>
                <a:lnTo>
                  <a:pt x="946" y="38"/>
                </a:lnTo>
                <a:lnTo>
                  <a:pt x="948" y="39"/>
                </a:lnTo>
                <a:lnTo>
                  <a:pt x="946" y="38"/>
                </a:lnTo>
                <a:close/>
                <a:moveTo>
                  <a:pt x="805" y="171"/>
                </a:moveTo>
                <a:lnTo>
                  <a:pt x="808" y="169"/>
                </a:lnTo>
                <a:lnTo>
                  <a:pt x="811" y="167"/>
                </a:lnTo>
                <a:lnTo>
                  <a:pt x="816" y="166"/>
                </a:lnTo>
                <a:lnTo>
                  <a:pt x="819" y="166"/>
                </a:lnTo>
                <a:lnTo>
                  <a:pt x="820" y="166"/>
                </a:lnTo>
                <a:lnTo>
                  <a:pt x="821" y="167"/>
                </a:lnTo>
                <a:lnTo>
                  <a:pt x="821" y="169"/>
                </a:lnTo>
                <a:lnTo>
                  <a:pt x="820" y="170"/>
                </a:lnTo>
                <a:lnTo>
                  <a:pt x="818" y="172"/>
                </a:lnTo>
                <a:lnTo>
                  <a:pt x="814" y="174"/>
                </a:lnTo>
                <a:lnTo>
                  <a:pt x="819" y="174"/>
                </a:lnTo>
                <a:lnTo>
                  <a:pt x="824" y="174"/>
                </a:lnTo>
                <a:lnTo>
                  <a:pt x="820" y="176"/>
                </a:lnTo>
                <a:lnTo>
                  <a:pt x="818" y="178"/>
                </a:lnTo>
                <a:lnTo>
                  <a:pt x="814" y="178"/>
                </a:lnTo>
                <a:lnTo>
                  <a:pt x="811" y="176"/>
                </a:lnTo>
                <a:lnTo>
                  <a:pt x="809" y="175"/>
                </a:lnTo>
                <a:lnTo>
                  <a:pt x="807" y="174"/>
                </a:lnTo>
                <a:lnTo>
                  <a:pt x="805" y="173"/>
                </a:lnTo>
                <a:lnTo>
                  <a:pt x="805" y="171"/>
                </a:lnTo>
                <a:lnTo>
                  <a:pt x="805" y="172"/>
                </a:lnTo>
                <a:lnTo>
                  <a:pt x="805" y="171"/>
                </a:lnTo>
                <a:close/>
                <a:moveTo>
                  <a:pt x="283" y="220"/>
                </a:moveTo>
                <a:lnTo>
                  <a:pt x="284" y="220"/>
                </a:lnTo>
                <a:lnTo>
                  <a:pt x="286" y="220"/>
                </a:lnTo>
                <a:lnTo>
                  <a:pt x="288" y="219"/>
                </a:lnTo>
                <a:lnTo>
                  <a:pt x="288" y="216"/>
                </a:lnTo>
                <a:lnTo>
                  <a:pt x="288" y="219"/>
                </a:lnTo>
                <a:lnTo>
                  <a:pt x="286" y="220"/>
                </a:lnTo>
                <a:lnTo>
                  <a:pt x="284" y="220"/>
                </a:lnTo>
                <a:lnTo>
                  <a:pt x="283" y="220"/>
                </a:lnTo>
                <a:lnTo>
                  <a:pt x="283" y="220"/>
                </a:lnTo>
                <a:lnTo>
                  <a:pt x="283" y="220"/>
                </a:lnTo>
                <a:close/>
                <a:moveTo>
                  <a:pt x="270" y="227"/>
                </a:moveTo>
                <a:lnTo>
                  <a:pt x="272" y="227"/>
                </a:lnTo>
                <a:lnTo>
                  <a:pt x="270" y="227"/>
                </a:lnTo>
                <a:close/>
                <a:moveTo>
                  <a:pt x="759" y="216"/>
                </a:moveTo>
                <a:lnTo>
                  <a:pt x="759" y="217"/>
                </a:lnTo>
                <a:lnTo>
                  <a:pt x="760" y="217"/>
                </a:lnTo>
                <a:lnTo>
                  <a:pt x="759" y="217"/>
                </a:lnTo>
                <a:lnTo>
                  <a:pt x="759" y="216"/>
                </a:lnTo>
                <a:close/>
                <a:moveTo>
                  <a:pt x="758" y="216"/>
                </a:moveTo>
                <a:lnTo>
                  <a:pt x="756" y="215"/>
                </a:lnTo>
                <a:lnTo>
                  <a:pt x="756" y="214"/>
                </a:lnTo>
                <a:lnTo>
                  <a:pt x="756" y="215"/>
                </a:lnTo>
                <a:lnTo>
                  <a:pt x="758" y="216"/>
                </a:lnTo>
                <a:close/>
                <a:moveTo>
                  <a:pt x="802" y="209"/>
                </a:moveTo>
                <a:lnTo>
                  <a:pt x="802" y="208"/>
                </a:lnTo>
                <a:lnTo>
                  <a:pt x="802" y="209"/>
                </a:lnTo>
                <a:lnTo>
                  <a:pt x="802" y="208"/>
                </a:lnTo>
                <a:lnTo>
                  <a:pt x="802" y="209"/>
                </a:lnTo>
                <a:close/>
                <a:moveTo>
                  <a:pt x="693" y="240"/>
                </a:moveTo>
                <a:lnTo>
                  <a:pt x="693" y="240"/>
                </a:lnTo>
                <a:lnTo>
                  <a:pt x="694" y="240"/>
                </a:lnTo>
                <a:lnTo>
                  <a:pt x="693" y="240"/>
                </a:lnTo>
                <a:lnTo>
                  <a:pt x="693" y="240"/>
                </a:lnTo>
                <a:close/>
                <a:moveTo>
                  <a:pt x="687" y="236"/>
                </a:moveTo>
                <a:lnTo>
                  <a:pt x="688" y="234"/>
                </a:lnTo>
                <a:lnTo>
                  <a:pt x="688" y="236"/>
                </a:lnTo>
                <a:lnTo>
                  <a:pt x="687" y="236"/>
                </a:lnTo>
                <a:lnTo>
                  <a:pt x="685" y="236"/>
                </a:lnTo>
                <a:lnTo>
                  <a:pt x="686" y="236"/>
                </a:lnTo>
                <a:lnTo>
                  <a:pt x="687" y="236"/>
                </a:lnTo>
                <a:close/>
                <a:moveTo>
                  <a:pt x="588" y="253"/>
                </a:moveTo>
                <a:lnTo>
                  <a:pt x="590" y="252"/>
                </a:lnTo>
                <a:lnTo>
                  <a:pt x="591" y="250"/>
                </a:lnTo>
                <a:lnTo>
                  <a:pt x="590" y="249"/>
                </a:lnTo>
                <a:lnTo>
                  <a:pt x="589" y="247"/>
                </a:lnTo>
                <a:lnTo>
                  <a:pt x="588" y="245"/>
                </a:lnTo>
                <a:lnTo>
                  <a:pt x="588" y="242"/>
                </a:lnTo>
                <a:lnTo>
                  <a:pt x="587" y="241"/>
                </a:lnTo>
                <a:lnTo>
                  <a:pt x="588" y="239"/>
                </a:lnTo>
                <a:lnTo>
                  <a:pt x="590" y="237"/>
                </a:lnTo>
                <a:lnTo>
                  <a:pt x="593" y="238"/>
                </a:lnTo>
                <a:lnTo>
                  <a:pt x="595" y="238"/>
                </a:lnTo>
                <a:lnTo>
                  <a:pt x="597" y="239"/>
                </a:lnTo>
                <a:lnTo>
                  <a:pt x="601" y="237"/>
                </a:lnTo>
                <a:lnTo>
                  <a:pt x="604" y="236"/>
                </a:lnTo>
                <a:lnTo>
                  <a:pt x="607" y="236"/>
                </a:lnTo>
                <a:lnTo>
                  <a:pt x="610" y="238"/>
                </a:lnTo>
                <a:lnTo>
                  <a:pt x="614" y="239"/>
                </a:lnTo>
                <a:lnTo>
                  <a:pt x="619" y="239"/>
                </a:lnTo>
                <a:lnTo>
                  <a:pt x="631" y="237"/>
                </a:lnTo>
                <a:lnTo>
                  <a:pt x="644" y="236"/>
                </a:lnTo>
                <a:lnTo>
                  <a:pt x="640" y="239"/>
                </a:lnTo>
                <a:lnTo>
                  <a:pt x="636" y="240"/>
                </a:lnTo>
                <a:lnTo>
                  <a:pt x="636" y="242"/>
                </a:lnTo>
                <a:lnTo>
                  <a:pt x="637" y="246"/>
                </a:lnTo>
                <a:lnTo>
                  <a:pt x="636" y="247"/>
                </a:lnTo>
                <a:lnTo>
                  <a:pt x="635" y="247"/>
                </a:lnTo>
                <a:lnTo>
                  <a:pt x="630" y="249"/>
                </a:lnTo>
                <a:lnTo>
                  <a:pt x="626" y="250"/>
                </a:lnTo>
                <a:lnTo>
                  <a:pt x="618" y="253"/>
                </a:lnTo>
                <a:lnTo>
                  <a:pt x="610" y="254"/>
                </a:lnTo>
                <a:lnTo>
                  <a:pt x="612" y="250"/>
                </a:lnTo>
                <a:lnTo>
                  <a:pt x="615" y="249"/>
                </a:lnTo>
                <a:lnTo>
                  <a:pt x="608" y="248"/>
                </a:lnTo>
                <a:lnTo>
                  <a:pt x="602" y="247"/>
                </a:lnTo>
                <a:lnTo>
                  <a:pt x="603" y="250"/>
                </a:lnTo>
                <a:lnTo>
                  <a:pt x="605" y="253"/>
                </a:lnTo>
                <a:lnTo>
                  <a:pt x="606" y="254"/>
                </a:lnTo>
                <a:lnTo>
                  <a:pt x="606" y="255"/>
                </a:lnTo>
                <a:lnTo>
                  <a:pt x="605" y="256"/>
                </a:lnTo>
                <a:lnTo>
                  <a:pt x="603" y="257"/>
                </a:lnTo>
                <a:lnTo>
                  <a:pt x="597" y="257"/>
                </a:lnTo>
                <a:lnTo>
                  <a:pt x="590" y="256"/>
                </a:lnTo>
                <a:lnTo>
                  <a:pt x="589" y="256"/>
                </a:lnTo>
                <a:lnTo>
                  <a:pt x="587" y="255"/>
                </a:lnTo>
                <a:lnTo>
                  <a:pt x="586" y="254"/>
                </a:lnTo>
                <a:lnTo>
                  <a:pt x="588" y="253"/>
                </a:lnTo>
                <a:lnTo>
                  <a:pt x="589" y="253"/>
                </a:lnTo>
                <a:lnTo>
                  <a:pt x="588" y="253"/>
                </a:lnTo>
                <a:close/>
                <a:moveTo>
                  <a:pt x="529" y="244"/>
                </a:moveTo>
                <a:lnTo>
                  <a:pt x="530" y="242"/>
                </a:lnTo>
                <a:lnTo>
                  <a:pt x="531" y="244"/>
                </a:lnTo>
                <a:lnTo>
                  <a:pt x="531" y="245"/>
                </a:lnTo>
                <a:lnTo>
                  <a:pt x="532" y="246"/>
                </a:lnTo>
                <a:lnTo>
                  <a:pt x="533" y="246"/>
                </a:lnTo>
                <a:lnTo>
                  <a:pt x="534" y="247"/>
                </a:lnTo>
                <a:lnTo>
                  <a:pt x="537" y="247"/>
                </a:lnTo>
                <a:lnTo>
                  <a:pt x="539" y="247"/>
                </a:lnTo>
                <a:lnTo>
                  <a:pt x="539" y="248"/>
                </a:lnTo>
                <a:lnTo>
                  <a:pt x="538" y="250"/>
                </a:lnTo>
                <a:lnTo>
                  <a:pt x="536" y="252"/>
                </a:lnTo>
                <a:lnTo>
                  <a:pt x="533" y="252"/>
                </a:lnTo>
                <a:lnTo>
                  <a:pt x="531" y="252"/>
                </a:lnTo>
                <a:lnTo>
                  <a:pt x="529" y="250"/>
                </a:lnTo>
                <a:lnTo>
                  <a:pt x="527" y="249"/>
                </a:lnTo>
                <a:lnTo>
                  <a:pt x="525" y="248"/>
                </a:lnTo>
                <a:lnTo>
                  <a:pt x="527" y="246"/>
                </a:lnTo>
                <a:lnTo>
                  <a:pt x="529" y="244"/>
                </a:lnTo>
                <a:lnTo>
                  <a:pt x="529" y="244"/>
                </a:lnTo>
                <a:lnTo>
                  <a:pt x="529" y="244"/>
                </a:lnTo>
                <a:close/>
                <a:moveTo>
                  <a:pt x="426" y="265"/>
                </a:moveTo>
                <a:lnTo>
                  <a:pt x="425" y="265"/>
                </a:lnTo>
                <a:lnTo>
                  <a:pt x="425" y="265"/>
                </a:lnTo>
                <a:lnTo>
                  <a:pt x="426" y="265"/>
                </a:lnTo>
                <a:lnTo>
                  <a:pt x="426" y="265"/>
                </a:lnTo>
                <a:lnTo>
                  <a:pt x="426" y="265"/>
                </a:lnTo>
                <a:lnTo>
                  <a:pt x="426" y="265"/>
                </a:lnTo>
                <a:close/>
                <a:moveTo>
                  <a:pt x="418" y="271"/>
                </a:moveTo>
                <a:lnTo>
                  <a:pt x="418" y="270"/>
                </a:lnTo>
                <a:lnTo>
                  <a:pt x="418" y="269"/>
                </a:lnTo>
                <a:lnTo>
                  <a:pt x="418" y="270"/>
                </a:lnTo>
                <a:lnTo>
                  <a:pt x="418" y="271"/>
                </a:lnTo>
                <a:close/>
                <a:moveTo>
                  <a:pt x="417" y="269"/>
                </a:moveTo>
                <a:lnTo>
                  <a:pt x="417" y="267"/>
                </a:lnTo>
                <a:lnTo>
                  <a:pt x="417" y="267"/>
                </a:lnTo>
                <a:lnTo>
                  <a:pt x="417" y="267"/>
                </a:lnTo>
                <a:lnTo>
                  <a:pt x="417" y="269"/>
                </a:lnTo>
                <a:close/>
                <a:moveTo>
                  <a:pt x="258" y="478"/>
                </a:moveTo>
                <a:lnTo>
                  <a:pt x="249" y="478"/>
                </a:lnTo>
                <a:lnTo>
                  <a:pt x="240" y="479"/>
                </a:lnTo>
                <a:lnTo>
                  <a:pt x="236" y="480"/>
                </a:lnTo>
                <a:lnTo>
                  <a:pt x="234" y="480"/>
                </a:lnTo>
                <a:lnTo>
                  <a:pt x="231" y="480"/>
                </a:lnTo>
                <a:lnTo>
                  <a:pt x="227" y="479"/>
                </a:lnTo>
                <a:lnTo>
                  <a:pt x="224" y="478"/>
                </a:lnTo>
                <a:lnTo>
                  <a:pt x="223" y="477"/>
                </a:lnTo>
                <a:lnTo>
                  <a:pt x="220" y="478"/>
                </a:lnTo>
                <a:lnTo>
                  <a:pt x="217" y="478"/>
                </a:lnTo>
                <a:lnTo>
                  <a:pt x="214" y="478"/>
                </a:lnTo>
                <a:lnTo>
                  <a:pt x="210" y="477"/>
                </a:lnTo>
                <a:lnTo>
                  <a:pt x="207" y="476"/>
                </a:lnTo>
                <a:lnTo>
                  <a:pt x="203" y="473"/>
                </a:lnTo>
                <a:lnTo>
                  <a:pt x="210" y="471"/>
                </a:lnTo>
                <a:lnTo>
                  <a:pt x="217" y="470"/>
                </a:lnTo>
                <a:lnTo>
                  <a:pt x="224" y="470"/>
                </a:lnTo>
                <a:lnTo>
                  <a:pt x="231" y="471"/>
                </a:lnTo>
                <a:lnTo>
                  <a:pt x="234" y="472"/>
                </a:lnTo>
                <a:lnTo>
                  <a:pt x="239" y="473"/>
                </a:lnTo>
                <a:lnTo>
                  <a:pt x="243" y="471"/>
                </a:lnTo>
                <a:lnTo>
                  <a:pt x="248" y="469"/>
                </a:lnTo>
                <a:lnTo>
                  <a:pt x="251" y="468"/>
                </a:lnTo>
                <a:lnTo>
                  <a:pt x="256" y="465"/>
                </a:lnTo>
                <a:lnTo>
                  <a:pt x="257" y="464"/>
                </a:lnTo>
                <a:lnTo>
                  <a:pt x="258" y="462"/>
                </a:lnTo>
                <a:lnTo>
                  <a:pt x="259" y="461"/>
                </a:lnTo>
                <a:lnTo>
                  <a:pt x="260" y="462"/>
                </a:lnTo>
                <a:lnTo>
                  <a:pt x="264" y="466"/>
                </a:lnTo>
                <a:lnTo>
                  <a:pt x="265" y="472"/>
                </a:lnTo>
                <a:lnTo>
                  <a:pt x="264" y="474"/>
                </a:lnTo>
                <a:lnTo>
                  <a:pt x="262" y="477"/>
                </a:lnTo>
                <a:lnTo>
                  <a:pt x="260" y="478"/>
                </a:lnTo>
                <a:lnTo>
                  <a:pt x="258" y="478"/>
                </a:lnTo>
                <a:lnTo>
                  <a:pt x="258" y="478"/>
                </a:lnTo>
                <a:lnTo>
                  <a:pt x="258" y="478"/>
                </a:lnTo>
                <a:close/>
                <a:moveTo>
                  <a:pt x="277" y="471"/>
                </a:moveTo>
                <a:lnTo>
                  <a:pt x="278" y="469"/>
                </a:lnTo>
                <a:lnTo>
                  <a:pt x="281" y="466"/>
                </a:lnTo>
                <a:lnTo>
                  <a:pt x="281" y="466"/>
                </a:lnTo>
                <a:lnTo>
                  <a:pt x="281" y="465"/>
                </a:lnTo>
                <a:lnTo>
                  <a:pt x="280" y="465"/>
                </a:lnTo>
                <a:lnTo>
                  <a:pt x="277" y="465"/>
                </a:lnTo>
                <a:lnTo>
                  <a:pt x="276" y="466"/>
                </a:lnTo>
                <a:lnTo>
                  <a:pt x="274" y="469"/>
                </a:lnTo>
                <a:lnTo>
                  <a:pt x="273" y="469"/>
                </a:lnTo>
                <a:lnTo>
                  <a:pt x="272" y="470"/>
                </a:lnTo>
                <a:lnTo>
                  <a:pt x="270" y="469"/>
                </a:lnTo>
                <a:lnTo>
                  <a:pt x="269" y="468"/>
                </a:lnTo>
                <a:lnTo>
                  <a:pt x="269" y="466"/>
                </a:lnTo>
                <a:lnTo>
                  <a:pt x="270" y="465"/>
                </a:lnTo>
                <a:lnTo>
                  <a:pt x="273" y="464"/>
                </a:lnTo>
                <a:lnTo>
                  <a:pt x="274" y="464"/>
                </a:lnTo>
                <a:lnTo>
                  <a:pt x="277" y="462"/>
                </a:lnTo>
                <a:lnTo>
                  <a:pt x="281" y="461"/>
                </a:lnTo>
                <a:lnTo>
                  <a:pt x="284" y="461"/>
                </a:lnTo>
                <a:lnTo>
                  <a:pt x="286" y="461"/>
                </a:lnTo>
                <a:lnTo>
                  <a:pt x="289" y="457"/>
                </a:lnTo>
                <a:lnTo>
                  <a:pt x="292" y="455"/>
                </a:lnTo>
                <a:lnTo>
                  <a:pt x="294" y="457"/>
                </a:lnTo>
                <a:lnTo>
                  <a:pt x="295" y="461"/>
                </a:lnTo>
                <a:lnTo>
                  <a:pt x="298" y="461"/>
                </a:lnTo>
                <a:lnTo>
                  <a:pt x="299" y="460"/>
                </a:lnTo>
                <a:lnTo>
                  <a:pt x="315" y="457"/>
                </a:lnTo>
                <a:lnTo>
                  <a:pt x="330" y="453"/>
                </a:lnTo>
                <a:lnTo>
                  <a:pt x="326" y="457"/>
                </a:lnTo>
                <a:lnTo>
                  <a:pt x="321" y="462"/>
                </a:lnTo>
                <a:lnTo>
                  <a:pt x="314" y="464"/>
                </a:lnTo>
                <a:lnTo>
                  <a:pt x="308" y="466"/>
                </a:lnTo>
                <a:lnTo>
                  <a:pt x="301" y="469"/>
                </a:lnTo>
                <a:lnTo>
                  <a:pt x="293" y="470"/>
                </a:lnTo>
                <a:lnTo>
                  <a:pt x="285" y="471"/>
                </a:lnTo>
                <a:lnTo>
                  <a:pt x="277" y="471"/>
                </a:lnTo>
                <a:lnTo>
                  <a:pt x="284" y="471"/>
                </a:lnTo>
                <a:lnTo>
                  <a:pt x="277" y="471"/>
                </a:lnTo>
                <a:close/>
                <a:moveTo>
                  <a:pt x="283" y="340"/>
                </a:moveTo>
                <a:lnTo>
                  <a:pt x="284" y="340"/>
                </a:lnTo>
                <a:lnTo>
                  <a:pt x="284" y="340"/>
                </a:lnTo>
                <a:lnTo>
                  <a:pt x="284" y="340"/>
                </a:lnTo>
                <a:lnTo>
                  <a:pt x="283" y="340"/>
                </a:lnTo>
                <a:close/>
                <a:moveTo>
                  <a:pt x="681" y="242"/>
                </a:moveTo>
                <a:lnTo>
                  <a:pt x="677" y="246"/>
                </a:lnTo>
                <a:lnTo>
                  <a:pt x="672" y="248"/>
                </a:lnTo>
                <a:lnTo>
                  <a:pt x="670" y="247"/>
                </a:lnTo>
                <a:lnTo>
                  <a:pt x="665" y="249"/>
                </a:lnTo>
                <a:lnTo>
                  <a:pt x="662" y="249"/>
                </a:lnTo>
                <a:lnTo>
                  <a:pt x="660" y="250"/>
                </a:lnTo>
                <a:lnTo>
                  <a:pt x="659" y="250"/>
                </a:lnTo>
                <a:lnTo>
                  <a:pt x="657" y="250"/>
                </a:lnTo>
                <a:lnTo>
                  <a:pt x="656" y="252"/>
                </a:lnTo>
                <a:lnTo>
                  <a:pt x="656" y="253"/>
                </a:lnTo>
                <a:lnTo>
                  <a:pt x="660" y="255"/>
                </a:lnTo>
                <a:lnTo>
                  <a:pt x="663" y="255"/>
                </a:lnTo>
                <a:lnTo>
                  <a:pt x="659" y="258"/>
                </a:lnTo>
                <a:lnTo>
                  <a:pt x="654" y="259"/>
                </a:lnTo>
                <a:lnTo>
                  <a:pt x="644" y="263"/>
                </a:lnTo>
                <a:lnTo>
                  <a:pt x="634" y="265"/>
                </a:lnTo>
                <a:lnTo>
                  <a:pt x="624" y="267"/>
                </a:lnTo>
                <a:lnTo>
                  <a:pt x="615" y="269"/>
                </a:lnTo>
                <a:lnTo>
                  <a:pt x="606" y="271"/>
                </a:lnTo>
                <a:lnTo>
                  <a:pt x="597" y="272"/>
                </a:lnTo>
                <a:lnTo>
                  <a:pt x="588" y="273"/>
                </a:lnTo>
                <a:lnTo>
                  <a:pt x="579" y="275"/>
                </a:lnTo>
                <a:lnTo>
                  <a:pt x="574" y="277"/>
                </a:lnTo>
                <a:lnTo>
                  <a:pt x="570" y="278"/>
                </a:lnTo>
                <a:lnTo>
                  <a:pt x="565" y="278"/>
                </a:lnTo>
                <a:lnTo>
                  <a:pt x="561" y="277"/>
                </a:lnTo>
                <a:lnTo>
                  <a:pt x="557" y="274"/>
                </a:lnTo>
                <a:lnTo>
                  <a:pt x="554" y="273"/>
                </a:lnTo>
                <a:lnTo>
                  <a:pt x="550" y="273"/>
                </a:lnTo>
                <a:lnTo>
                  <a:pt x="547" y="274"/>
                </a:lnTo>
                <a:lnTo>
                  <a:pt x="539" y="278"/>
                </a:lnTo>
                <a:lnTo>
                  <a:pt x="531" y="280"/>
                </a:lnTo>
                <a:lnTo>
                  <a:pt x="522" y="282"/>
                </a:lnTo>
                <a:lnTo>
                  <a:pt x="512" y="283"/>
                </a:lnTo>
                <a:lnTo>
                  <a:pt x="501" y="284"/>
                </a:lnTo>
                <a:lnTo>
                  <a:pt x="492" y="287"/>
                </a:lnTo>
                <a:lnTo>
                  <a:pt x="481" y="289"/>
                </a:lnTo>
                <a:lnTo>
                  <a:pt x="471" y="291"/>
                </a:lnTo>
                <a:lnTo>
                  <a:pt x="461" y="292"/>
                </a:lnTo>
                <a:lnTo>
                  <a:pt x="450" y="295"/>
                </a:lnTo>
                <a:lnTo>
                  <a:pt x="430" y="299"/>
                </a:lnTo>
                <a:lnTo>
                  <a:pt x="409" y="304"/>
                </a:lnTo>
                <a:lnTo>
                  <a:pt x="388" y="308"/>
                </a:lnTo>
                <a:lnTo>
                  <a:pt x="368" y="312"/>
                </a:lnTo>
                <a:lnTo>
                  <a:pt x="357" y="315"/>
                </a:lnTo>
                <a:lnTo>
                  <a:pt x="346" y="319"/>
                </a:lnTo>
                <a:lnTo>
                  <a:pt x="335" y="322"/>
                </a:lnTo>
                <a:lnTo>
                  <a:pt x="325" y="325"/>
                </a:lnTo>
                <a:lnTo>
                  <a:pt x="315" y="329"/>
                </a:lnTo>
                <a:lnTo>
                  <a:pt x="305" y="333"/>
                </a:lnTo>
                <a:lnTo>
                  <a:pt x="299" y="336"/>
                </a:lnTo>
                <a:lnTo>
                  <a:pt x="293" y="337"/>
                </a:lnTo>
                <a:lnTo>
                  <a:pt x="289" y="338"/>
                </a:lnTo>
                <a:lnTo>
                  <a:pt x="285" y="339"/>
                </a:lnTo>
                <a:lnTo>
                  <a:pt x="282" y="339"/>
                </a:lnTo>
                <a:lnTo>
                  <a:pt x="280" y="340"/>
                </a:lnTo>
                <a:lnTo>
                  <a:pt x="275" y="340"/>
                </a:lnTo>
                <a:lnTo>
                  <a:pt x="272" y="340"/>
                </a:lnTo>
                <a:lnTo>
                  <a:pt x="262" y="344"/>
                </a:lnTo>
                <a:lnTo>
                  <a:pt x="253" y="347"/>
                </a:lnTo>
                <a:lnTo>
                  <a:pt x="259" y="346"/>
                </a:lnTo>
                <a:lnTo>
                  <a:pt x="264" y="344"/>
                </a:lnTo>
                <a:lnTo>
                  <a:pt x="265" y="342"/>
                </a:lnTo>
                <a:lnTo>
                  <a:pt x="265" y="340"/>
                </a:lnTo>
                <a:lnTo>
                  <a:pt x="265" y="339"/>
                </a:lnTo>
                <a:lnTo>
                  <a:pt x="266" y="339"/>
                </a:lnTo>
                <a:lnTo>
                  <a:pt x="266" y="338"/>
                </a:lnTo>
                <a:lnTo>
                  <a:pt x="268" y="338"/>
                </a:lnTo>
                <a:lnTo>
                  <a:pt x="278" y="333"/>
                </a:lnTo>
                <a:lnTo>
                  <a:pt x="286" y="328"/>
                </a:lnTo>
                <a:lnTo>
                  <a:pt x="283" y="328"/>
                </a:lnTo>
                <a:lnTo>
                  <a:pt x="278" y="328"/>
                </a:lnTo>
                <a:lnTo>
                  <a:pt x="275" y="330"/>
                </a:lnTo>
                <a:lnTo>
                  <a:pt x="270" y="331"/>
                </a:lnTo>
                <a:lnTo>
                  <a:pt x="262" y="336"/>
                </a:lnTo>
                <a:lnTo>
                  <a:pt x="253" y="339"/>
                </a:lnTo>
                <a:lnTo>
                  <a:pt x="250" y="341"/>
                </a:lnTo>
                <a:lnTo>
                  <a:pt x="248" y="341"/>
                </a:lnTo>
                <a:lnTo>
                  <a:pt x="244" y="341"/>
                </a:lnTo>
                <a:lnTo>
                  <a:pt x="242" y="339"/>
                </a:lnTo>
                <a:lnTo>
                  <a:pt x="241" y="337"/>
                </a:lnTo>
                <a:lnTo>
                  <a:pt x="240" y="336"/>
                </a:lnTo>
                <a:lnTo>
                  <a:pt x="241" y="335"/>
                </a:lnTo>
                <a:lnTo>
                  <a:pt x="241" y="333"/>
                </a:lnTo>
                <a:lnTo>
                  <a:pt x="244" y="332"/>
                </a:lnTo>
                <a:lnTo>
                  <a:pt x="248" y="331"/>
                </a:lnTo>
                <a:lnTo>
                  <a:pt x="256" y="329"/>
                </a:lnTo>
                <a:lnTo>
                  <a:pt x="264" y="325"/>
                </a:lnTo>
                <a:lnTo>
                  <a:pt x="267" y="324"/>
                </a:lnTo>
                <a:lnTo>
                  <a:pt x="269" y="322"/>
                </a:lnTo>
                <a:lnTo>
                  <a:pt x="272" y="321"/>
                </a:lnTo>
                <a:lnTo>
                  <a:pt x="274" y="320"/>
                </a:lnTo>
                <a:lnTo>
                  <a:pt x="275" y="320"/>
                </a:lnTo>
                <a:lnTo>
                  <a:pt x="276" y="320"/>
                </a:lnTo>
                <a:lnTo>
                  <a:pt x="276" y="319"/>
                </a:lnTo>
                <a:lnTo>
                  <a:pt x="276" y="317"/>
                </a:lnTo>
                <a:lnTo>
                  <a:pt x="277" y="315"/>
                </a:lnTo>
                <a:lnTo>
                  <a:pt x="278" y="314"/>
                </a:lnTo>
                <a:lnTo>
                  <a:pt x="280" y="314"/>
                </a:lnTo>
                <a:lnTo>
                  <a:pt x="283" y="313"/>
                </a:lnTo>
                <a:lnTo>
                  <a:pt x="289" y="312"/>
                </a:lnTo>
                <a:lnTo>
                  <a:pt x="295" y="311"/>
                </a:lnTo>
                <a:lnTo>
                  <a:pt x="302" y="306"/>
                </a:lnTo>
                <a:lnTo>
                  <a:pt x="309" y="302"/>
                </a:lnTo>
                <a:lnTo>
                  <a:pt x="313" y="299"/>
                </a:lnTo>
                <a:lnTo>
                  <a:pt x="317" y="297"/>
                </a:lnTo>
                <a:lnTo>
                  <a:pt x="322" y="296"/>
                </a:lnTo>
                <a:lnTo>
                  <a:pt x="325" y="296"/>
                </a:lnTo>
                <a:lnTo>
                  <a:pt x="332" y="295"/>
                </a:lnTo>
                <a:lnTo>
                  <a:pt x="338" y="292"/>
                </a:lnTo>
                <a:lnTo>
                  <a:pt x="339" y="290"/>
                </a:lnTo>
                <a:lnTo>
                  <a:pt x="341" y="288"/>
                </a:lnTo>
                <a:lnTo>
                  <a:pt x="346" y="287"/>
                </a:lnTo>
                <a:lnTo>
                  <a:pt x="350" y="284"/>
                </a:lnTo>
                <a:lnTo>
                  <a:pt x="360" y="281"/>
                </a:lnTo>
                <a:lnTo>
                  <a:pt x="369" y="278"/>
                </a:lnTo>
                <a:lnTo>
                  <a:pt x="379" y="275"/>
                </a:lnTo>
                <a:lnTo>
                  <a:pt x="389" y="275"/>
                </a:lnTo>
                <a:lnTo>
                  <a:pt x="399" y="275"/>
                </a:lnTo>
                <a:lnTo>
                  <a:pt x="410" y="274"/>
                </a:lnTo>
                <a:lnTo>
                  <a:pt x="413" y="273"/>
                </a:lnTo>
                <a:lnTo>
                  <a:pt x="417" y="273"/>
                </a:lnTo>
                <a:lnTo>
                  <a:pt x="418" y="272"/>
                </a:lnTo>
                <a:lnTo>
                  <a:pt x="420" y="272"/>
                </a:lnTo>
                <a:lnTo>
                  <a:pt x="421" y="271"/>
                </a:lnTo>
                <a:lnTo>
                  <a:pt x="420" y="269"/>
                </a:lnTo>
                <a:lnTo>
                  <a:pt x="421" y="269"/>
                </a:lnTo>
                <a:lnTo>
                  <a:pt x="420" y="269"/>
                </a:lnTo>
                <a:lnTo>
                  <a:pt x="423" y="269"/>
                </a:lnTo>
                <a:lnTo>
                  <a:pt x="425" y="269"/>
                </a:lnTo>
                <a:lnTo>
                  <a:pt x="426" y="267"/>
                </a:lnTo>
                <a:lnTo>
                  <a:pt x="426" y="266"/>
                </a:lnTo>
                <a:lnTo>
                  <a:pt x="430" y="266"/>
                </a:lnTo>
                <a:lnTo>
                  <a:pt x="434" y="266"/>
                </a:lnTo>
                <a:lnTo>
                  <a:pt x="437" y="265"/>
                </a:lnTo>
                <a:lnTo>
                  <a:pt x="440" y="265"/>
                </a:lnTo>
                <a:lnTo>
                  <a:pt x="451" y="262"/>
                </a:lnTo>
                <a:lnTo>
                  <a:pt x="462" y="261"/>
                </a:lnTo>
                <a:lnTo>
                  <a:pt x="462" y="262"/>
                </a:lnTo>
                <a:lnTo>
                  <a:pt x="464" y="262"/>
                </a:lnTo>
                <a:lnTo>
                  <a:pt x="465" y="262"/>
                </a:lnTo>
                <a:lnTo>
                  <a:pt x="466" y="262"/>
                </a:lnTo>
                <a:lnTo>
                  <a:pt x="466" y="263"/>
                </a:lnTo>
                <a:lnTo>
                  <a:pt x="466" y="264"/>
                </a:lnTo>
                <a:lnTo>
                  <a:pt x="465" y="266"/>
                </a:lnTo>
                <a:lnTo>
                  <a:pt x="466" y="269"/>
                </a:lnTo>
                <a:lnTo>
                  <a:pt x="468" y="269"/>
                </a:lnTo>
                <a:lnTo>
                  <a:pt x="472" y="267"/>
                </a:lnTo>
                <a:lnTo>
                  <a:pt x="475" y="267"/>
                </a:lnTo>
                <a:lnTo>
                  <a:pt x="476" y="269"/>
                </a:lnTo>
                <a:lnTo>
                  <a:pt x="478" y="271"/>
                </a:lnTo>
                <a:lnTo>
                  <a:pt x="480" y="272"/>
                </a:lnTo>
                <a:lnTo>
                  <a:pt x="483" y="275"/>
                </a:lnTo>
                <a:lnTo>
                  <a:pt x="487" y="277"/>
                </a:lnTo>
                <a:lnTo>
                  <a:pt x="489" y="275"/>
                </a:lnTo>
                <a:lnTo>
                  <a:pt x="492" y="273"/>
                </a:lnTo>
                <a:lnTo>
                  <a:pt x="495" y="272"/>
                </a:lnTo>
                <a:lnTo>
                  <a:pt x="498" y="272"/>
                </a:lnTo>
                <a:lnTo>
                  <a:pt x="504" y="271"/>
                </a:lnTo>
                <a:lnTo>
                  <a:pt x="509" y="270"/>
                </a:lnTo>
                <a:lnTo>
                  <a:pt x="513" y="269"/>
                </a:lnTo>
                <a:lnTo>
                  <a:pt x="516" y="265"/>
                </a:lnTo>
                <a:lnTo>
                  <a:pt x="512" y="264"/>
                </a:lnTo>
                <a:lnTo>
                  <a:pt x="506" y="264"/>
                </a:lnTo>
                <a:lnTo>
                  <a:pt x="504" y="262"/>
                </a:lnTo>
                <a:lnTo>
                  <a:pt x="503" y="258"/>
                </a:lnTo>
                <a:lnTo>
                  <a:pt x="500" y="256"/>
                </a:lnTo>
                <a:lnTo>
                  <a:pt x="499" y="255"/>
                </a:lnTo>
                <a:lnTo>
                  <a:pt x="499" y="254"/>
                </a:lnTo>
                <a:lnTo>
                  <a:pt x="501" y="252"/>
                </a:lnTo>
                <a:lnTo>
                  <a:pt x="506" y="249"/>
                </a:lnTo>
                <a:lnTo>
                  <a:pt x="511" y="249"/>
                </a:lnTo>
                <a:lnTo>
                  <a:pt x="515" y="249"/>
                </a:lnTo>
                <a:lnTo>
                  <a:pt x="520" y="250"/>
                </a:lnTo>
                <a:lnTo>
                  <a:pt x="523" y="252"/>
                </a:lnTo>
                <a:lnTo>
                  <a:pt x="523" y="253"/>
                </a:lnTo>
                <a:lnTo>
                  <a:pt x="522" y="255"/>
                </a:lnTo>
                <a:lnTo>
                  <a:pt x="521" y="258"/>
                </a:lnTo>
                <a:lnTo>
                  <a:pt x="523" y="259"/>
                </a:lnTo>
                <a:lnTo>
                  <a:pt x="524" y="262"/>
                </a:lnTo>
                <a:lnTo>
                  <a:pt x="525" y="261"/>
                </a:lnTo>
                <a:lnTo>
                  <a:pt x="527" y="259"/>
                </a:lnTo>
                <a:lnTo>
                  <a:pt x="530" y="258"/>
                </a:lnTo>
                <a:lnTo>
                  <a:pt x="534" y="258"/>
                </a:lnTo>
                <a:lnTo>
                  <a:pt x="549" y="256"/>
                </a:lnTo>
                <a:lnTo>
                  <a:pt x="564" y="255"/>
                </a:lnTo>
                <a:lnTo>
                  <a:pt x="562" y="257"/>
                </a:lnTo>
                <a:lnTo>
                  <a:pt x="560" y="259"/>
                </a:lnTo>
                <a:lnTo>
                  <a:pt x="562" y="261"/>
                </a:lnTo>
                <a:lnTo>
                  <a:pt x="565" y="259"/>
                </a:lnTo>
                <a:lnTo>
                  <a:pt x="569" y="258"/>
                </a:lnTo>
                <a:lnTo>
                  <a:pt x="572" y="258"/>
                </a:lnTo>
                <a:lnTo>
                  <a:pt x="578" y="261"/>
                </a:lnTo>
                <a:lnTo>
                  <a:pt x="583" y="265"/>
                </a:lnTo>
                <a:lnTo>
                  <a:pt x="587" y="265"/>
                </a:lnTo>
                <a:lnTo>
                  <a:pt x="590" y="265"/>
                </a:lnTo>
                <a:lnTo>
                  <a:pt x="595" y="264"/>
                </a:lnTo>
                <a:lnTo>
                  <a:pt x="598" y="263"/>
                </a:lnTo>
                <a:lnTo>
                  <a:pt x="607" y="261"/>
                </a:lnTo>
                <a:lnTo>
                  <a:pt x="616" y="258"/>
                </a:lnTo>
                <a:lnTo>
                  <a:pt x="624" y="257"/>
                </a:lnTo>
                <a:lnTo>
                  <a:pt x="632" y="255"/>
                </a:lnTo>
                <a:lnTo>
                  <a:pt x="636" y="252"/>
                </a:lnTo>
                <a:lnTo>
                  <a:pt x="639" y="248"/>
                </a:lnTo>
                <a:lnTo>
                  <a:pt x="641" y="248"/>
                </a:lnTo>
                <a:lnTo>
                  <a:pt x="645" y="248"/>
                </a:lnTo>
                <a:lnTo>
                  <a:pt x="647" y="247"/>
                </a:lnTo>
                <a:lnTo>
                  <a:pt x="649" y="246"/>
                </a:lnTo>
                <a:lnTo>
                  <a:pt x="656" y="244"/>
                </a:lnTo>
                <a:lnTo>
                  <a:pt x="662" y="241"/>
                </a:lnTo>
                <a:lnTo>
                  <a:pt x="662" y="242"/>
                </a:lnTo>
                <a:lnTo>
                  <a:pt x="663" y="242"/>
                </a:lnTo>
                <a:lnTo>
                  <a:pt x="667" y="241"/>
                </a:lnTo>
                <a:lnTo>
                  <a:pt x="670" y="241"/>
                </a:lnTo>
                <a:lnTo>
                  <a:pt x="676" y="241"/>
                </a:lnTo>
                <a:lnTo>
                  <a:pt x="682" y="242"/>
                </a:lnTo>
                <a:lnTo>
                  <a:pt x="681" y="241"/>
                </a:lnTo>
                <a:lnTo>
                  <a:pt x="681" y="241"/>
                </a:lnTo>
                <a:lnTo>
                  <a:pt x="680" y="242"/>
                </a:lnTo>
                <a:lnTo>
                  <a:pt x="681" y="242"/>
                </a:lnTo>
                <a:lnTo>
                  <a:pt x="680" y="242"/>
                </a:lnTo>
                <a:lnTo>
                  <a:pt x="681" y="242"/>
                </a:lnTo>
                <a:close/>
                <a:moveTo>
                  <a:pt x="711" y="423"/>
                </a:moveTo>
                <a:lnTo>
                  <a:pt x="711" y="422"/>
                </a:lnTo>
                <a:lnTo>
                  <a:pt x="711" y="423"/>
                </a:lnTo>
                <a:lnTo>
                  <a:pt x="711" y="423"/>
                </a:lnTo>
                <a:lnTo>
                  <a:pt x="711" y="423"/>
                </a:lnTo>
                <a:close/>
                <a:moveTo>
                  <a:pt x="711" y="239"/>
                </a:moveTo>
                <a:lnTo>
                  <a:pt x="711" y="239"/>
                </a:lnTo>
                <a:lnTo>
                  <a:pt x="711" y="239"/>
                </a:lnTo>
                <a:lnTo>
                  <a:pt x="711" y="239"/>
                </a:lnTo>
                <a:lnTo>
                  <a:pt x="711" y="239"/>
                </a:lnTo>
                <a:close/>
                <a:moveTo>
                  <a:pt x="721" y="236"/>
                </a:moveTo>
                <a:lnTo>
                  <a:pt x="720" y="233"/>
                </a:lnTo>
                <a:lnTo>
                  <a:pt x="720" y="231"/>
                </a:lnTo>
                <a:lnTo>
                  <a:pt x="719" y="229"/>
                </a:lnTo>
                <a:lnTo>
                  <a:pt x="717" y="230"/>
                </a:lnTo>
                <a:lnTo>
                  <a:pt x="715" y="232"/>
                </a:lnTo>
                <a:lnTo>
                  <a:pt x="715" y="234"/>
                </a:lnTo>
                <a:lnTo>
                  <a:pt x="713" y="237"/>
                </a:lnTo>
                <a:lnTo>
                  <a:pt x="711" y="238"/>
                </a:lnTo>
                <a:lnTo>
                  <a:pt x="711" y="234"/>
                </a:lnTo>
                <a:lnTo>
                  <a:pt x="707" y="233"/>
                </a:lnTo>
                <a:lnTo>
                  <a:pt x="709" y="236"/>
                </a:lnTo>
                <a:lnTo>
                  <a:pt x="707" y="238"/>
                </a:lnTo>
                <a:lnTo>
                  <a:pt x="706" y="239"/>
                </a:lnTo>
                <a:lnTo>
                  <a:pt x="703" y="239"/>
                </a:lnTo>
                <a:lnTo>
                  <a:pt x="700" y="239"/>
                </a:lnTo>
                <a:lnTo>
                  <a:pt x="697" y="239"/>
                </a:lnTo>
                <a:lnTo>
                  <a:pt x="695" y="240"/>
                </a:lnTo>
                <a:lnTo>
                  <a:pt x="694" y="240"/>
                </a:lnTo>
                <a:lnTo>
                  <a:pt x="695" y="240"/>
                </a:lnTo>
                <a:lnTo>
                  <a:pt x="695" y="239"/>
                </a:lnTo>
                <a:lnTo>
                  <a:pt x="692" y="238"/>
                </a:lnTo>
                <a:lnTo>
                  <a:pt x="692" y="236"/>
                </a:lnTo>
                <a:lnTo>
                  <a:pt x="692" y="233"/>
                </a:lnTo>
                <a:lnTo>
                  <a:pt x="693" y="231"/>
                </a:lnTo>
                <a:lnTo>
                  <a:pt x="692" y="232"/>
                </a:lnTo>
                <a:lnTo>
                  <a:pt x="690" y="233"/>
                </a:lnTo>
                <a:lnTo>
                  <a:pt x="695" y="233"/>
                </a:lnTo>
                <a:lnTo>
                  <a:pt x="698" y="233"/>
                </a:lnTo>
                <a:lnTo>
                  <a:pt x="700" y="232"/>
                </a:lnTo>
                <a:lnTo>
                  <a:pt x="702" y="231"/>
                </a:lnTo>
                <a:lnTo>
                  <a:pt x="704" y="231"/>
                </a:lnTo>
                <a:lnTo>
                  <a:pt x="704" y="230"/>
                </a:lnTo>
                <a:lnTo>
                  <a:pt x="710" y="228"/>
                </a:lnTo>
                <a:lnTo>
                  <a:pt x="714" y="225"/>
                </a:lnTo>
                <a:lnTo>
                  <a:pt x="715" y="225"/>
                </a:lnTo>
                <a:lnTo>
                  <a:pt x="718" y="223"/>
                </a:lnTo>
                <a:lnTo>
                  <a:pt x="722" y="221"/>
                </a:lnTo>
                <a:lnTo>
                  <a:pt x="728" y="220"/>
                </a:lnTo>
                <a:lnTo>
                  <a:pt x="729" y="220"/>
                </a:lnTo>
                <a:lnTo>
                  <a:pt x="731" y="220"/>
                </a:lnTo>
                <a:lnTo>
                  <a:pt x="733" y="221"/>
                </a:lnTo>
                <a:lnTo>
                  <a:pt x="734" y="222"/>
                </a:lnTo>
                <a:lnTo>
                  <a:pt x="729" y="224"/>
                </a:lnTo>
                <a:lnTo>
                  <a:pt x="725" y="227"/>
                </a:lnTo>
                <a:lnTo>
                  <a:pt x="736" y="227"/>
                </a:lnTo>
                <a:lnTo>
                  <a:pt x="746" y="227"/>
                </a:lnTo>
                <a:lnTo>
                  <a:pt x="738" y="230"/>
                </a:lnTo>
                <a:lnTo>
                  <a:pt x="730" y="233"/>
                </a:lnTo>
                <a:lnTo>
                  <a:pt x="728" y="234"/>
                </a:lnTo>
                <a:lnTo>
                  <a:pt x="726" y="236"/>
                </a:lnTo>
                <a:lnTo>
                  <a:pt x="723" y="237"/>
                </a:lnTo>
                <a:lnTo>
                  <a:pt x="721" y="236"/>
                </a:lnTo>
                <a:close/>
                <a:moveTo>
                  <a:pt x="992" y="380"/>
                </a:moveTo>
                <a:lnTo>
                  <a:pt x="990" y="383"/>
                </a:lnTo>
                <a:lnTo>
                  <a:pt x="986" y="386"/>
                </a:lnTo>
                <a:lnTo>
                  <a:pt x="981" y="387"/>
                </a:lnTo>
                <a:lnTo>
                  <a:pt x="976" y="387"/>
                </a:lnTo>
                <a:lnTo>
                  <a:pt x="964" y="386"/>
                </a:lnTo>
                <a:lnTo>
                  <a:pt x="954" y="386"/>
                </a:lnTo>
                <a:lnTo>
                  <a:pt x="968" y="381"/>
                </a:lnTo>
                <a:lnTo>
                  <a:pt x="981" y="378"/>
                </a:lnTo>
                <a:lnTo>
                  <a:pt x="983" y="374"/>
                </a:lnTo>
                <a:lnTo>
                  <a:pt x="986" y="372"/>
                </a:lnTo>
                <a:lnTo>
                  <a:pt x="989" y="372"/>
                </a:lnTo>
                <a:lnTo>
                  <a:pt x="991" y="374"/>
                </a:lnTo>
                <a:lnTo>
                  <a:pt x="992" y="377"/>
                </a:lnTo>
                <a:lnTo>
                  <a:pt x="992" y="380"/>
                </a:lnTo>
                <a:lnTo>
                  <a:pt x="992" y="380"/>
                </a:lnTo>
                <a:lnTo>
                  <a:pt x="992" y="380"/>
                </a:lnTo>
                <a:close/>
                <a:moveTo>
                  <a:pt x="1061" y="347"/>
                </a:moveTo>
                <a:lnTo>
                  <a:pt x="1055" y="347"/>
                </a:lnTo>
                <a:lnTo>
                  <a:pt x="1048" y="347"/>
                </a:lnTo>
                <a:lnTo>
                  <a:pt x="1046" y="346"/>
                </a:lnTo>
                <a:lnTo>
                  <a:pt x="1046" y="345"/>
                </a:lnTo>
                <a:lnTo>
                  <a:pt x="1047" y="344"/>
                </a:lnTo>
                <a:lnTo>
                  <a:pt x="1047" y="342"/>
                </a:lnTo>
                <a:lnTo>
                  <a:pt x="1049" y="341"/>
                </a:lnTo>
                <a:lnTo>
                  <a:pt x="1052" y="340"/>
                </a:lnTo>
                <a:lnTo>
                  <a:pt x="1060" y="339"/>
                </a:lnTo>
                <a:lnTo>
                  <a:pt x="1068" y="339"/>
                </a:lnTo>
                <a:lnTo>
                  <a:pt x="1075" y="340"/>
                </a:lnTo>
                <a:lnTo>
                  <a:pt x="1083" y="341"/>
                </a:lnTo>
                <a:lnTo>
                  <a:pt x="1077" y="344"/>
                </a:lnTo>
                <a:lnTo>
                  <a:pt x="1073" y="346"/>
                </a:lnTo>
                <a:lnTo>
                  <a:pt x="1067" y="347"/>
                </a:lnTo>
                <a:lnTo>
                  <a:pt x="1061" y="347"/>
                </a:lnTo>
                <a:lnTo>
                  <a:pt x="1063" y="347"/>
                </a:lnTo>
                <a:lnTo>
                  <a:pt x="1061" y="347"/>
                </a:lnTo>
                <a:close/>
                <a:moveTo>
                  <a:pt x="1148" y="362"/>
                </a:moveTo>
                <a:lnTo>
                  <a:pt x="1146" y="362"/>
                </a:lnTo>
                <a:lnTo>
                  <a:pt x="1142" y="362"/>
                </a:lnTo>
                <a:lnTo>
                  <a:pt x="1141" y="360"/>
                </a:lnTo>
                <a:lnTo>
                  <a:pt x="1139" y="358"/>
                </a:lnTo>
                <a:lnTo>
                  <a:pt x="1137" y="357"/>
                </a:lnTo>
                <a:lnTo>
                  <a:pt x="1134" y="357"/>
                </a:lnTo>
                <a:lnTo>
                  <a:pt x="1132" y="356"/>
                </a:lnTo>
                <a:lnTo>
                  <a:pt x="1131" y="354"/>
                </a:lnTo>
                <a:lnTo>
                  <a:pt x="1134" y="353"/>
                </a:lnTo>
                <a:lnTo>
                  <a:pt x="1139" y="352"/>
                </a:lnTo>
                <a:lnTo>
                  <a:pt x="1143" y="352"/>
                </a:lnTo>
                <a:lnTo>
                  <a:pt x="1147" y="354"/>
                </a:lnTo>
                <a:lnTo>
                  <a:pt x="1148" y="355"/>
                </a:lnTo>
                <a:lnTo>
                  <a:pt x="1149" y="358"/>
                </a:lnTo>
                <a:lnTo>
                  <a:pt x="1149" y="360"/>
                </a:lnTo>
                <a:lnTo>
                  <a:pt x="1149" y="361"/>
                </a:lnTo>
                <a:lnTo>
                  <a:pt x="1149" y="362"/>
                </a:lnTo>
                <a:lnTo>
                  <a:pt x="1148" y="362"/>
                </a:lnTo>
                <a:lnTo>
                  <a:pt x="1148" y="362"/>
                </a:lnTo>
                <a:lnTo>
                  <a:pt x="1148" y="362"/>
                </a:lnTo>
                <a:close/>
                <a:moveTo>
                  <a:pt x="1283" y="407"/>
                </a:moveTo>
                <a:lnTo>
                  <a:pt x="1280" y="407"/>
                </a:lnTo>
                <a:lnTo>
                  <a:pt x="1279" y="405"/>
                </a:lnTo>
                <a:lnTo>
                  <a:pt x="1279" y="404"/>
                </a:lnTo>
                <a:lnTo>
                  <a:pt x="1279" y="403"/>
                </a:lnTo>
                <a:lnTo>
                  <a:pt x="1280" y="403"/>
                </a:lnTo>
                <a:lnTo>
                  <a:pt x="1281" y="403"/>
                </a:lnTo>
                <a:lnTo>
                  <a:pt x="1283" y="404"/>
                </a:lnTo>
                <a:lnTo>
                  <a:pt x="1286" y="405"/>
                </a:lnTo>
                <a:lnTo>
                  <a:pt x="1286" y="406"/>
                </a:lnTo>
                <a:lnTo>
                  <a:pt x="1286" y="407"/>
                </a:lnTo>
                <a:lnTo>
                  <a:pt x="1285" y="407"/>
                </a:lnTo>
                <a:lnTo>
                  <a:pt x="1283" y="407"/>
                </a:lnTo>
                <a:lnTo>
                  <a:pt x="1283" y="407"/>
                </a:lnTo>
                <a:lnTo>
                  <a:pt x="1283" y="407"/>
                </a:lnTo>
                <a:close/>
                <a:moveTo>
                  <a:pt x="1312" y="396"/>
                </a:moveTo>
                <a:lnTo>
                  <a:pt x="1314" y="396"/>
                </a:lnTo>
                <a:lnTo>
                  <a:pt x="1315" y="396"/>
                </a:lnTo>
                <a:lnTo>
                  <a:pt x="1314" y="396"/>
                </a:lnTo>
                <a:lnTo>
                  <a:pt x="1312" y="396"/>
                </a:lnTo>
                <a:lnTo>
                  <a:pt x="1313" y="396"/>
                </a:lnTo>
                <a:lnTo>
                  <a:pt x="1312" y="396"/>
                </a:lnTo>
                <a:close/>
                <a:moveTo>
                  <a:pt x="1327" y="402"/>
                </a:moveTo>
                <a:lnTo>
                  <a:pt x="1327" y="400"/>
                </a:lnTo>
                <a:lnTo>
                  <a:pt x="1327" y="400"/>
                </a:lnTo>
                <a:lnTo>
                  <a:pt x="1327" y="400"/>
                </a:lnTo>
                <a:lnTo>
                  <a:pt x="1327" y="402"/>
                </a:lnTo>
                <a:close/>
                <a:moveTo>
                  <a:pt x="1328" y="399"/>
                </a:moveTo>
                <a:lnTo>
                  <a:pt x="1327" y="399"/>
                </a:lnTo>
                <a:lnTo>
                  <a:pt x="1328" y="399"/>
                </a:lnTo>
                <a:lnTo>
                  <a:pt x="1328" y="399"/>
                </a:lnTo>
                <a:lnTo>
                  <a:pt x="1328" y="399"/>
                </a:lnTo>
                <a:close/>
                <a:moveTo>
                  <a:pt x="1205" y="372"/>
                </a:moveTo>
                <a:lnTo>
                  <a:pt x="1200" y="373"/>
                </a:lnTo>
                <a:lnTo>
                  <a:pt x="1195" y="373"/>
                </a:lnTo>
                <a:lnTo>
                  <a:pt x="1192" y="373"/>
                </a:lnTo>
                <a:lnTo>
                  <a:pt x="1189" y="372"/>
                </a:lnTo>
                <a:lnTo>
                  <a:pt x="1188" y="371"/>
                </a:lnTo>
                <a:lnTo>
                  <a:pt x="1187" y="371"/>
                </a:lnTo>
                <a:lnTo>
                  <a:pt x="1188" y="370"/>
                </a:lnTo>
                <a:lnTo>
                  <a:pt x="1189" y="367"/>
                </a:lnTo>
                <a:lnTo>
                  <a:pt x="1191" y="367"/>
                </a:lnTo>
                <a:lnTo>
                  <a:pt x="1193" y="367"/>
                </a:lnTo>
                <a:lnTo>
                  <a:pt x="1195" y="365"/>
                </a:lnTo>
                <a:lnTo>
                  <a:pt x="1197" y="364"/>
                </a:lnTo>
                <a:lnTo>
                  <a:pt x="1199" y="364"/>
                </a:lnTo>
                <a:lnTo>
                  <a:pt x="1203" y="366"/>
                </a:lnTo>
                <a:lnTo>
                  <a:pt x="1205" y="370"/>
                </a:lnTo>
                <a:lnTo>
                  <a:pt x="1205" y="372"/>
                </a:lnTo>
                <a:lnTo>
                  <a:pt x="1205" y="372"/>
                </a:lnTo>
                <a:lnTo>
                  <a:pt x="1205" y="372"/>
                </a:lnTo>
                <a:close/>
                <a:moveTo>
                  <a:pt x="1306" y="327"/>
                </a:moveTo>
                <a:lnTo>
                  <a:pt x="1291" y="330"/>
                </a:lnTo>
                <a:lnTo>
                  <a:pt x="1277" y="332"/>
                </a:lnTo>
                <a:lnTo>
                  <a:pt x="1279" y="330"/>
                </a:lnTo>
                <a:lnTo>
                  <a:pt x="1282" y="328"/>
                </a:lnTo>
                <a:lnTo>
                  <a:pt x="1285" y="328"/>
                </a:lnTo>
                <a:lnTo>
                  <a:pt x="1285" y="327"/>
                </a:lnTo>
                <a:lnTo>
                  <a:pt x="1285" y="325"/>
                </a:lnTo>
                <a:lnTo>
                  <a:pt x="1283" y="324"/>
                </a:lnTo>
                <a:lnTo>
                  <a:pt x="1279" y="323"/>
                </a:lnTo>
                <a:lnTo>
                  <a:pt x="1272" y="323"/>
                </a:lnTo>
                <a:lnTo>
                  <a:pt x="1264" y="322"/>
                </a:lnTo>
                <a:lnTo>
                  <a:pt x="1257" y="321"/>
                </a:lnTo>
                <a:lnTo>
                  <a:pt x="1250" y="321"/>
                </a:lnTo>
                <a:lnTo>
                  <a:pt x="1245" y="322"/>
                </a:lnTo>
                <a:lnTo>
                  <a:pt x="1242" y="322"/>
                </a:lnTo>
                <a:lnTo>
                  <a:pt x="1240" y="323"/>
                </a:lnTo>
                <a:lnTo>
                  <a:pt x="1238" y="323"/>
                </a:lnTo>
                <a:lnTo>
                  <a:pt x="1237" y="322"/>
                </a:lnTo>
                <a:lnTo>
                  <a:pt x="1238" y="319"/>
                </a:lnTo>
                <a:lnTo>
                  <a:pt x="1244" y="315"/>
                </a:lnTo>
                <a:lnTo>
                  <a:pt x="1249" y="313"/>
                </a:lnTo>
                <a:lnTo>
                  <a:pt x="1254" y="312"/>
                </a:lnTo>
                <a:lnTo>
                  <a:pt x="1255" y="313"/>
                </a:lnTo>
                <a:lnTo>
                  <a:pt x="1256" y="314"/>
                </a:lnTo>
                <a:lnTo>
                  <a:pt x="1257" y="315"/>
                </a:lnTo>
                <a:lnTo>
                  <a:pt x="1259" y="315"/>
                </a:lnTo>
                <a:lnTo>
                  <a:pt x="1264" y="315"/>
                </a:lnTo>
                <a:lnTo>
                  <a:pt x="1267" y="316"/>
                </a:lnTo>
                <a:lnTo>
                  <a:pt x="1270" y="317"/>
                </a:lnTo>
                <a:lnTo>
                  <a:pt x="1271" y="319"/>
                </a:lnTo>
                <a:lnTo>
                  <a:pt x="1272" y="320"/>
                </a:lnTo>
                <a:lnTo>
                  <a:pt x="1274" y="319"/>
                </a:lnTo>
                <a:lnTo>
                  <a:pt x="1277" y="317"/>
                </a:lnTo>
                <a:lnTo>
                  <a:pt x="1278" y="316"/>
                </a:lnTo>
                <a:lnTo>
                  <a:pt x="1279" y="315"/>
                </a:lnTo>
                <a:lnTo>
                  <a:pt x="1281" y="316"/>
                </a:lnTo>
                <a:lnTo>
                  <a:pt x="1285" y="320"/>
                </a:lnTo>
                <a:lnTo>
                  <a:pt x="1289" y="321"/>
                </a:lnTo>
                <a:lnTo>
                  <a:pt x="1292" y="320"/>
                </a:lnTo>
                <a:lnTo>
                  <a:pt x="1296" y="317"/>
                </a:lnTo>
                <a:lnTo>
                  <a:pt x="1302" y="317"/>
                </a:lnTo>
                <a:lnTo>
                  <a:pt x="1307" y="317"/>
                </a:lnTo>
                <a:lnTo>
                  <a:pt x="1314" y="317"/>
                </a:lnTo>
                <a:lnTo>
                  <a:pt x="1321" y="319"/>
                </a:lnTo>
                <a:lnTo>
                  <a:pt x="1314" y="323"/>
                </a:lnTo>
                <a:lnTo>
                  <a:pt x="1306" y="327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64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45">
            <a:extLst>
              <a:ext uri="{FF2B5EF4-FFF2-40B4-BE49-F238E27FC236}">
                <a16:creationId xmlns:a16="http://schemas.microsoft.com/office/drawing/2014/main" id="{411AD48B-AFD0-D044-B425-23735CF87A4D}"/>
              </a:ext>
            </a:extLst>
          </p:cNvPr>
          <p:cNvSpPr>
            <a:spLocks noGrp="1" noEditPoints="1"/>
          </p:cNvSpPr>
          <p:nvPr>
            <p:ph type="pic" sz="quarter" idx="24"/>
          </p:nvPr>
        </p:nvSpPr>
        <p:spPr bwMode="auto">
          <a:xfrm>
            <a:off x="300110" y="-566981"/>
            <a:ext cx="11591779" cy="4679978"/>
          </a:xfrm>
          <a:custGeom>
            <a:avLst/>
            <a:gdLst>
              <a:gd name="T0" fmla="*/ 644 w 1165"/>
              <a:gd name="T1" fmla="*/ 724 h 777"/>
              <a:gd name="T2" fmla="*/ 570 w 1165"/>
              <a:gd name="T3" fmla="*/ 753 h 777"/>
              <a:gd name="T4" fmla="*/ 674 w 1165"/>
              <a:gd name="T5" fmla="*/ 759 h 777"/>
              <a:gd name="T6" fmla="*/ 696 w 1165"/>
              <a:gd name="T7" fmla="*/ 734 h 777"/>
              <a:gd name="T8" fmla="*/ 740 w 1165"/>
              <a:gd name="T9" fmla="*/ 728 h 777"/>
              <a:gd name="T10" fmla="*/ 773 w 1165"/>
              <a:gd name="T11" fmla="*/ 714 h 777"/>
              <a:gd name="T12" fmla="*/ 705 w 1165"/>
              <a:gd name="T13" fmla="*/ 710 h 777"/>
              <a:gd name="T14" fmla="*/ 676 w 1165"/>
              <a:gd name="T15" fmla="*/ 726 h 777"/>
              <a:gd name="T16" fmla="*/ 594 w 1165"/>
              <a:gd name="T17" fmla="*/ 723 h 777"/>
              <a:gd name="T18" fmla="*/ 577 w 1165"/>
              <a:gd name="T19" fmla="*/ 715 h 777"/>
              <a:gd name="T20" fmla="*/ 524 w 1165"/>
              <a:gd name="T21" fmla="*/ 716 h 777"/>
              <a:gd name="T22" fmla="*/ 455 w 1165"/>
              <a:gd name="T23" fmla="*/ 724 h 777"/>
              <a:gd name="T24" fmla="*/ 413 w 1165"/>
              <a:gd name="T25" fmla="*/ 701 h 777"/>
              <a:gd name="T26" fmla="*/ 352 w 1165"/>
              <a:gd name="T27" fmla="*/ 690 h 777"/>
              <a:gd name="T28" fmla="*/ 301 w 1165"/>
              <a:gd name="T29" fmla="*/ 687 h 777"/>
              <a:gd name="T30" fmla="*/ 379 w 1165"/>
              <a:gd name="T31" fmla="*/ 686 h 777"/>
              <a:gd name="T32" fmla="*/ 539 w 1165"/>
              <a:gd name="T33" fmla="*/ 699 h 777"/>
              <a:gd name="T34" fmla="*/ 598 w 1165"/>
              <a:gd name="T35" fmla="*/ 693 h 777"/>
              <a:gd name="T36" fmla="*/ 857 w 1165"/>
              <a:gd name="T37" fmla="*/ 665 h 777"/>
              <a:gd name="T38" fmla="*/ 968 w 1165"/>
              <a:gd name="T39" fmla="*/ 643 h 777"/>
              <a:gd name="T40" fmla="*/ 1065 w 1165"/>
              <a:gd name="T41" fmla="*/ 617 h 777"/>
              <a:gd name="T42" fmla="*/ 1124 w 1165"/>
              <a:gd name="T43" fmla="*/ 577 h 777"/>
              <a:gd name="T44" fmla="*/ 1100 w 1165"/>
              <a:gd name="T45" fmla="*/ 541 h 777"/>
              <a:gd name="T46" fmla="*/ 965 w 1165"/>
              <a:gd name="T47" fmla="*/ 518 h 777"/>
              <a:gd name="T48" fmla="*/ 1035 w 1165"/>
              <a:gd name="T49" fmla="*/ 455 h 777"/>
              <a:gd name="T50" fmla="*/ 859 w 1165"/>
              <a:gd name="T51" fmla="*/ 467 h 777"/>
              <a:gd name="T52" fmla="*/ 694 w 1165"/>
              <a:gd name="T53" fmla="*/ 466 h 777"/>
              <a:gd name="T54" fmla="*/ 523 w 1165"/>
              <a:gd name="T55" fmla="*/ 441 h 777"/>
              <a:gd name="T56" fmla="*/ 495 w 1165"/>
              <a:gd name="T57" fmla="*/ 429 h 777"/>
              <a:gd name="T58" fmla="*/ 722 w 1165"/>
              <a:gd name="T59" fmla="*/ 427 h 777"/>
              <a:gd name="T60" fmla="*/ 873 w 1165"/>
              <a:gd name="T61" fmla="*/ 409 h 777"/>
              <a:gd name="T62" fmla="*/ 1074 w 1165"/>
              <a:gd name="T63" fmla="*/ 358 h 777"/>
              <a:gd name="T64" fmla="*/ 1008 w 1165"/>
              <a:gd name="T65" fmla="*/ 343 h 777"/>
              <a:gd name="T66" fmla="*/ 759 w 1165"/>
              <a:gd name="T67" fmla="*/ 336 h 777"/>
              <a:gd name="T68" fmla="*/ 589 w 1165"/>
              <a:gd name="T69" fmla="*/ 282 h 777"/>
              <a:gd name="T70" fmla="*/ 520 w 1165"/>
              <a:gd name="T71" fmla="*/ 224 h 777"/>
              <a:gd name="T72" fmla="*/ 339 w 1165"/>
              <a:gd name="T73" fmla="*/ 180 h 777"/>
              <a:gd name="T74" fmla="*/ 239 w 1165"/>
              <a:gd name="T75" fmla="*/ 219 h 777"/>
              <a:gd name="T76" fmla="*/ 229 w 1165"/>
              <a:gd name="T77" fmla="*/ 312 h 777"/>
              <a:gd name="T78" fmla="*/ 308 w 1165"/>
              <a:gd name="T79" fmla="*/ 387 h 777"/>
              <a:gd name="T80" fmla="*/ 391 w 1165"/>
              <a:gd name="T81" fmla="*/ 411 h 777"/>
              <a:gd name="T82" fmla="*/ 338 w 1165"/>
              <a:gd name="T83" fmla="*/ 404 h 777"/>
              <a:gd name="T84" fmla="*/ 286 w 1165"/>
              <a:gd name="T85" fmla="*/ 385 h 777"/>
              <a:gd name="T86" fmla="*/ 162 w 1165"/>
              <a:gd name="T87" fmla="*/ 304 h 777"/>
              <a:gd name="T88" fmla="*/ 50 w 1165"/>
              <a:gd name="T89" fmla="*/ 328 h 777"/>
              <a:gd name="T90" fmla="*/ 33 w 1165"/>
              <a:gd name="T91" fmla="*/ 430 h 777"/>
              <a:gd name="T92" fmla="*/ 244 w 1165"/>
              <a:gd name="T93" fmla="*/ 491 h 777"/>
              <a:gd name="T94" fmla="*/ 219 w 1165"/>
              <a:gd name="T95" fmla="*/ 542 h 777"/>
              <a:gd name="T96" fmla="*/ 177 w 1165"/>
              <a:gd name="T97" fmla="*/ 553 h 777"/>
              <a:gd name="T98" fmla="*/ 130 w 1165"/>
              <a:gd name="T99" fmla="*/ 625 h 777"/>
              <a:gd name="T100" fmla="*/ 196 w 1165"/>
              <a:gd name="T101" fmla="*/ 681 h 777"/>
              <a:gd name="T102" fmla="*/ 350 w 1165"/>
              <a:gd name="T103" fmla="*/ 742 h 777"/>
              <a:gd name="T104" fmla="*/ 536 w 1165"/>
              <a:gd name="T105" fmla="*/ 772 h 777"/>
              <a:gd name="T106" fmla="*/ 719 w 1165"/>
              <a:gd name="T107" fmla="*/ 460 h 777"/>
              <a:gd name="T108" fmla="*/ 657 w 1165"/>
              <a:gd name="T109" fmla="*/ 710 h 777"/>
              <a:gd name="T110" fmla="*/ 622 w 1165"/>
              <a:gd name="T111" fmla="*/ 707 h 777"/>
              <a:gd name="T112" fmla="*/ 776 w 1165"/>
              <a:gd name="T113" fmla="*/ 731 h 777"/>
              <a:gd name="T114" fmla="*/ 874 w 1165"/>
              <a:gd name="T115" fmla="*/ 696 h 777"/>
              <a:gd name="T116" fmla="*/ 408 w 1165"/>
              <a:gd name="T117" fmla="*/ 770 h 777"/>
              <a:gd name="T118" fmla="*/ 504 w 1165"/>
              <a:gd name="T119" fmla="*/ 775 h 777"/>
              <a:gd name="T120" fmla="*/ 711 w 1165"/>
              <a:gd name="T121" fmla="*/ 700 h 777"/>
              <a:gd name="T122" fmla="*/ 473 w 1165"/>
              <a:gd name="T123" fmla="*/ 272 h 777"/>
              <a:gd name="T124" fmla="*/ 549 w 1165"/>
              <a:gd name="T125" fmla="*/ 752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65" h="777">
                <a:moveTo>
                  <a:pt x="289" y="2"/>
                </a:moveTo>
                <a:lnTo>
                  <a:pt x="289" y="1"/>
                </a:lnTo>
                <a:lnTo>
                  <a:pt x="288" y="0"/>
                </a:lnTo>
                <a:lnTo>
                  <a:pt x="285" y="0"/>
                </a:lnTo>
                <a:lnTo>
                  <a:pt x="283" y="0"/>
                </a:lnTo>
                <a:lnTo>
                  <a:pt x="280" y="0"/>
                </a:lnTo>
                <a:lnTo>
                  <a:pt x="277" y="0"/>
                </a:lnTo>
                <a:lnTo>
                  <a:pt x="275" y="1"/>
                </a:lnTo>
                <a:lnTo>
                  <a:pt x="274" y="3"/>
                </a:lnTo>
                <a:lnTo>
                  <a:pt x="274" y="4"/>
                </a:lnTo>
                <a:lnTo>
                  <a:pt x="276" y="5"/>
                </a:lnTo>
                <a:lnTo>
                  <a:pt x="277" y="5"/>
                </a:lnTo>
                <a:lnTo>
                  <a:pt x="281" y="5"/>
                </a:lnTo>
                <a:lnTo>
                  <a:pt x="285" y="4"/>
                </a:lnTo>
                <a:lnTo>
                  <a:pt x="289" y="2"/>
                </a:lnTo>
                <a:lnTo>
                  <a:pt x="288" y="4"/>
                </a:lnTo>
                <a:lnTo>
                  <a:pt x="289" y="2"/>
                </a:lnTo>
                <a:close/>
                <a:moveTo>
                  <a:pt x="644" y="724"/>
                </a:moveTo>
                <a:lnTo>
                  <a:pt x="643" y="724"/>
                </a:lnTo>
                <a:lnTo>
                  <a:pt x="641" y="724"/>
                </a:lnTo>
                <a:lnTo>
                  <a:pt x="643" y="725"/>
                </a:lnTo>
                <a:lnTo>
                  <a:pt x="644" y="724"/>
                </a:lnTo>
                <a:close/>
                <a:moveTo>
                  <a:pt x="578" y="769"/>
                </a:moveTo>
                <a:lnTo>
                  <a:pt x="579" y="769"/>
                </a:lnTo>
                <a:lnTo>
                  <a:pt x="580" y="768"/>
                </a:lnTo>
                <a:lnTo>
                  <a:pt x="581" y="767"/>
                </a:lnTo>
                <a:lnTo>
                  <a:pt x="581" y="766"/>
                </a:lnTo>
                <a:lnTo>
                  <a:pt x="585" y="766"/>
                </a:lnTo>
                <a:lnTo>
                  <a:pt x="587" y="766"/>
                </a:lnTo>
                <a:lnTo>
                  <a:pt x="591" y="767"/>
                </a:lnTo>
                <a:lnTo>
                  <a:pt x="596" y="768"/>
                </a:lnTo>
                <a:lnTo>
                  <a:pt x="597" y="768"/>
                </a:lnTo>
                <a:lnTo>
                  <a:pt x="599" y="767"/>
                </a:lnTo>
                <a:lnTo>
                  <a:pt x="600" y="766"/>
                </a:lnTo>
                <a:lnTo>
                  <a:pt x="603" y="764"/>
                </a:lnTo>
                <a:lnTo>
                  <a:pt x="604" y="760"/>
                </a:lnTo>
                <a:lnTo>
                  <a:pt x="603" y="758"/>
                </a:lnTo>
                <a:lnTo>
                  <a:pt x="599" y="757"/>
                </a:lnTo>
                <a:lnTo>
                  <a:pt x="596" y="757"/>
                </a:lnTo>
                <a:lnTo>
                  <a:pt x="580" y="757"/>
                </a:lnTo>
                <a:lnTo>
                  <a:pt x="564" y="757"/>
                </a:lnTo>
                <a:lnTo>
                  <a:pt x="565" y="754"/>
                </a:lnTo>
                <a:lnTo>
                  <a:pt x="567" y="753"/>
                </a:lnTo>
                <a:lnTo>
                  <a:pt x="570" y="753"/>
                </a:lnTo>
                <a:lnTo>
                  <a:pt x="573" y="752"/>
                </a:lnTo>
                <a:lnTo>
                  <a:pt x="581" y="752"/>
                </a:lnTo>
                <a:lnTo>
                  <a:pt x="586" y="752"/>
                </a:lnTo>
                <a:lnTo>
                  <a:pt x="599" y="750"/>
                </a:lnTo>
                <a:lnTo>
                  <a:pt x="614" y="749"/>
                </a:lnTo>
                <a:lnTo>
                  <a:pt x="628" y="749"/>
                </a:lnTo>
                <a:lnTo>
                  <a:pt x="641" y="749"/>
                </a:lnTo>
                <a:lnTo>
                  <a:pt x="647" y="748"/>
                </a:lnTo>
                <a:lnTo>
                  <a:pt x="652" y="749"/>
                </a:lnTo>
                <a:lnTo>
                  <a:pt x="657" y="750"/>
                </a:lnTo>
                <a:lnTo>
                  <a:pt x="663" y="753"/>
                </a:lnTo>
                <a:lnTo>
                  <a:pt x="654" y="754"/>
                </a:lnTo>
                <a:lnTo>
                  <a:pt x="644" y="754"/>
                </a:lnTo>
                <a:lnTo>
                  <a:pt x="633" y="756"/>
                </a:lnTo>
                <a:lnTo>
                  <a:pt x="624" y="757"/>
                </a:lnTo>
                <a:lnTo>
                  <a:pt x="629" y="759"/>
                </a:lnTo>
                <a:lnTo>
                  <a:pt x="635" y="760"/>
                </a:lnTo>
                <a:lnTo>
                  <a:pt x="640" y="761"/>
                </a:lnTo>
                <a:lnTo>
                  <a:pt x="647" y="761"/>
                </a:lnTo>
                <a:lnTo>
                  <a:pt x="660" y="760"/>
                </a:lnTo>
                <a:lnTo>
                  <a:pt x="671" y="759"/>
                </a:lnTo>
                <a:lnTo>
                  <a:pt x="674" y="759"/>
                </a:lnTo>
                <a:lnTo>
                  <a:pt x="679" y="758"/>
                </a:lnTo>
                <a:lnTo>
                  <a:pt x="681" y="757"/>
                </a:lnTo>
                <a:lnTo>
                  <a:pt x="684" y="756"/>
                </a:lnTo>
                <a:lnTo>
                  <a:pt x="684" y="754"/>
                </a:lnTo>
                <a:lnTo>
                  <a:pt x="682" y="752"/>
                </a:lnTo>
                <a:lnTo>
                  <a:pt x="680" y="751"/>
                </a:lnTo>
                <a:lnTo>
                  <a:pt x="677" y="752"/>
                </a:lnTo>
                <a:lnTo>
                  <a:pt x="674" y="752"/>
                </a:lnTo>
                <a:lnTo>
                  <a:pt x="673" y="752"/>
                </a:lnTo>
                <a:lnTo>
                  <a:pt x="672" y="751"/>
                </a:lnTo>
                <a:lnTo>
                  <a:pt x="671" y="749"/>
                </a:lnTo>
                <a:lnTo>
                  <a:pt x="678" y="747"/>
                </a:lnTo>
                <a:lnTo>
                  <a:pt x="686" y="745"/>
                </a:lnTo>
                <a:lnTo>
                  <a:pt x="688" y="745"/>
                </a:lnTo>
                <a:lnTo>
                  <a:pt x="692" y="744"/>
                </a:lnTo>
                <a:lnTo>
                  <a:pt x="693" y="744"/>
                </a:lnTo>
                <a:lnTo>
                  <a:pt x="693" y="743"/>
                </a:lnTo>
                <a:lnTo>
                  <a:pt x="693" y="742"/>
                </a:lnTo>
                <a:lnTo>
                  <a:pt x="690" y="742"/>
                </a:lnTo>
                <a:lnTo>
                  <a:pt x="694" y="740"/>
                </a:lnTo>
                <a:lnTo>
                  <a:pt x="695" y="736"/>
                </a:lnTo>
                <a:lnTo>
                  <a:pt x="696" y="734"/>
                </a:lnTo>
                <a:lnTo>
                  <a:pt x="694" y="731"/>
                </a:lnTo>
                <a:lnTo>
                  <a:pt x="704" y="729"/>
                </a:lnTo>
                <a:lnTo>
                  <a:pt x="713" y="731"/>
                </a:lnTo>
                <a:lnTo>
                  <a:pt x="712" y="734"/>
                </a:lnTo>
                <a:lnTo>
                  <a:pt x="712" y="739"/>
                </a:lnTo>
                <a:lnTo>
                  <a:pt x="712" y="742"/>
                </a:lnTo>
                <a:lnTo>
                  <a:pt x="714" y="745"/>
                </a:lnTo>
                <a:lnTo>
                  <a:pt x="719" y="747"/>
                </a:lnTo>
                <a:lnTo>
                  <a:pt x="725" y="745"/>
                </a:lnTo>
                <a:lnTo>
                  <a:pt x="730" y="743"/>
                </a:lnTo>
                <a:lnTo>
                  <a:pt x="734" y="742"/>
                </a:lnTo>
                <a:lnTo>
                  <a:pt x="738" y="742"/>
                </a:lnTo>
                <a:lnTo>
                  <a:pt x="743" y="741"/>
                </a:lnTo>
                <a:lnTo>
                  <a:pt x="746" y="740"/>
                </a:lnTo>
                <a:lnTo>
                  <a:pt x="747" y="739"/>
                </a:lnTo>
                <a:lnTo>
                  <a:pt x="747" y="737"/>
                </a:lnTo>
                <a:lnTo>
                  <a:pt x="746" y="735"/>
                </a:lnTo>
                <a:lnTo>
                  <a:pt x="743" y="735"/>
                </a:lnTo>
                <a:lnTo>
                  <a:pt x="739" y="733"/>
                </a:lnTo>
                <a:lnTo>
                  <a:pt x="738" y="731"/>
                </a:lnTo>
                <a:lnTo>
                  <a:pt x="739" y="729"/>
                </a:lnTo>
                <a:lnTo>
                  <a:pt x="740" y="728"/>
                </a:lnTo>
                <a:lnTo>
                  <a:pt x="743" y="727"/>
                </a:lnTo>
                <a:lnTo>
                  <a:pt x="748" y="727"/>
                </a:lnTo>
                <a:lnTo>
                  <a:pt x="754" y="728"/>
                </a:lnTo>
                <a:lnTo>
                  <a:pt x="759" y="731"/>
                </a:lnTo>
                <a:lnTo>
                  <a:pt x="764" y="733"/>
                </a:lnTo>
                <a:lnTo>
                  <a:pt x="766" y="731"/>
                </a:lnTo>
                <a:lnTo>
                  <a:pt x="766" y="728"/>
                </a:lnTo>
                <a:lnTo>
                  <a:pt x="766" y="726"/>
                </a:lnTo>
                <a:lnTo>
                  <a:pt x="766" y="726"/>
                </a:lnTo>
                <a:lnTo>
                  <a:pt x="766" y="725"/>
                </a:lnTo>
                <a:lnTo>
                  <a:pt x="768" y="725"/>
                </a:lnTo>
                <a:lnTo>
                  <a:pt x="783" y="723"/>
                </a:lnTo>
                <a:lnTo>
                  <a:pt x="797" y="722"/>
                </a:lnTo>
                <a:lnTo>
                  <a:pt x="803" y="722"/>
                </a:lnTo>
                <a:lnTo>
                  <a:pt x="809" y="720"/>
                </a:lnTo>
                <a:lnTo>
                  <a:pt x="814" y="718"/>
                </a:lnTo>
                <a:lnTo>
                  <a:pt x="818" y="714"/>
                </a:lnTo>
                <a:lnTo>
                  <a:pt x="804" y="716"/>
                </a:lnTo>
                <a:lnTo>
                  <a:pt x="791" y="716"/>
                </a:lnTo>
                <a:lnTo>
                  <a:pt x="779" y="716"/>
                </a:lnTo>
                <a:lnTo>
                  <a:pt x="768" y="715"/>
                </a:lnTo>
                <a:lnTo>
                  <a:pt x="773" y="714"/>
                </a:lnTo>
                <a:lnTo>
                  <a:pt x="781" y="714"/>
                </a:lnTo>
                <a:lnTo>
                  <a:pt x="786" y="712"/>
                </a:lnTo>
                <a:lnTo>
                  <a:pt x="788" y="711"/>
                </a:lnTo>
                <a:lnTo>
                  <a:pt x="789" y="709"/>
                </a:lnTo>
                <a:lnTo>
                  <a:pt x="788" y="707"/>
                </a:lnTo>
                <a:lnTo>
                  <a:pt x="785" y="706"/>
                </a:lnTo>
                <a:lnTo>
                  <a:pt x="780" y="706"/>
                </a:lnTo>
                <a:lnTo>
                  <a:pt x="775" y="707"/>
                </a:lnTo>
                <a:lnTo>
                  <a:pt x="771" y="708"/>
                </a:lnTo>
                <a:lnTo>
                  <a:pt x="763" y="710"/>
                </a:lnTo>
                <a:lnTo>
                  <a:pt x="756" y="711"/>
                </a:lnTo>
                <a:lnTo>
                  <a:pt x="752" y="710"/>
                </a:lnTo>
                <a:lnTo>
                  <a:pt x="747" y="710"/>
                </a:lnTo>
                <a:lnTo>
                  <a:pt x="745" y="711"/>
                </a:lnTo>
                <a:lnTo>
                  <a:pt x="742" y="712"/>
                </a:lnTo>
                <a:lnTo>
                  <a:pt x="738" y="714"/>
                </a:lnTo>
                <a:lnTo>
                  <a:pt x="734" y="712"/>
                </a:lnTo>
                <a:lnTo>
                  <a:pt x="730" y="714"/>
                </a:lnTo>
                <a:lnTo>
                  <a:pt x="726" y="714"/>
                </a:lnTo>
                <a:lnTo>
                  <a:pt x="714" y="709"/>
                </a:lnTo>
                <a:lnTo>
                  <a:pt x="703" y="707"/>
                </a:lnTo>
                <a:lnTo>
                  <a:pt x="705" y="710"/>
                </a:lnTo>
                <a:lnTo>
                  <a:pt x="707" y="712"/>
                </a:lnTo>
                <a:lnTo>
                  <a:pt x="709" y="715"/>
                </a:lnTo>
                <a:lnTo>
                  <a:pt x="710" y="716"/>
                </a:lnTo>
                <a:lnTo>
                  <a:pt x="709" y="717"/>
                </a:lnTo>
                <a:lnTo>
                  <a:pt x="707" y="718"/>
                </a:lnTo>
                <a:lnTo>
                  <a:pt x="701" y="719"/>
                </a:lnTo>
                <a:lnTo>
                  <a:pt x="694" y="719"/>
                </a:lnTo>
                <a:lnTo>
                  <a:pt x="686" y="719"/>
                </a:lnTo>
                <a:lnTo>
                  <a:pt x="679" y="719"/>
                </a:lnTo>
                <a:lnTo>
                  <a:pt x="679" y="720"/>
                </a:lnTo>
                <a:lnTo>
                  <a:pt x="680" y="722"/>
                </a:lnTo>
                <a:lnTo>
                  <a:pt x="681" y="722"/>
                </a:lnTo>
                <a:lnTo>
                  <a:pt x="684" y="722"/>
                </a:lnTo>
                <a:lnTo>
                  <a:pt x="690" y="722"/>
                </a:lnTo>
                <a:lnTo>
                  <a:pt x="698" y="722"/>
                </a:lnTo>
                <a:lnTo>
                  <a:pt x="705" y="722"/>
                </a:lnTo>
                <a:lnTo>
                  <a:pt x="711" y="722"/>
                </a:lnTo>
                <a:lnTo>
                  <a:pt x="710" y="724"/>
                </a:lnTo>
                <a:lnTo>
                  <a:pt x="706" y="724"/>
                </a:lnTo>
                <a:lnTo>
                  <a:pt x="696" y="725"/>
                </a:lnTo>
                <a:lnTo>
                  <a:pt x="686" y="726"/>
                </a:lnTo>
                <a:lnTo>
                  <a:pt x="676" y="726"/>
                </a:lnTo>
                <a:lnTo>
                  <a:pt x="665" y="727"/>
                </a:lnTo>
                <a:lnTo>
                  <a:pt x="656" y="727"/>
                </a:lnTo>
                <a:lnTo>
                  <a:pt x="647" y="727"/>
                </a:lnTo>
                <a:lnTo>
                  <a:pt x="638" y="727"/>
                </a:lnTo>
                <a:lnTo>
                  <a:pt x="629" y="727"/>
                </a:lnTo>
                <a:lnTo>
                  <a:pt x="624" y="727"/>
                </a:lnTo>
                <a:lnTo>
                  <a:pt x="619" y="726"/>
                </a:lnTo>
                <a:lnTo>
                  <a:pt x="613" y="726"/>
                </a:lnTo>
                <a:lnTo>
                  <a:pt x="610" y="724"/>
                </a:lnTo>
                <a:lnTo>
                  <a:pt x="624" y="724"/>
                </a:lnTo>
                <a:lnTo>
                  <a:pt x="638" y="724"/>
                </a:lnTo>
                <a:lnTo>
                  <a:pt x="644" y="724"/>
                </a:lnTo>
                <a:lnTo>
                  <a:pt x="649" y="725"/>
                </a:lnTo>
                <a:lnTo>
                  <a:pt x="654" y="724"/>
                </a:lnTo>
                <a:lnTo>
                  <a:pt x="659" y="722"/>
                </a:lnTo>
                <a:lnTo>
                  <a:pt x="653" y="720"/>
                </a:lnTo>
                <a:lnTo>
                  <a:pt x="647" y="719"/>
                </a:lnTo>
                <a:lnTo>
                  <a:pt x="641" y="720"/>
                </a:lnTo>
                <a:lnTo>
                  <a:pt x="636" y="720"/>
                </a:lnTo>
                <a:lnTo>
                  <a:pt x="622" y="722"/>
                </a:lnTo>
                <a:lnTo>
                  <a:pt x="607" y="723"/>
                </a:lnTo>
                <a:lnTo>
                  <a:pt x="594" y="723"/>
                </a:lnTo>
                <a:lnTo>
                  <a:pt x="580" y="723"/>
                </a:lnTo>
                <a:lnTo>
                  <a:pt x="573" y="723"/>
                </a:lnTo>
                <a:lnTo>
                  <a:pt x="566" y="723"/>
                </a:lnTo>
                <a:lnTo>
                  <a:pt x="565" y="722"/>
                </a:lnTo>
                <a:lnTo>
                  <a:pt x="565" y="720"/>
                </a:lnTo>
                <a:lnTo>
                  <a:pt x="566" y="719"/>
                </a:lnTo>
                <a:lnTo>
                  <a:pt x="569" y="719"/>
                </a:lnTo>
                <a:lnTo>
                  <a:pt x="572" y="719"/>
                </a:lnTo>
                <a:lnTo>
                  <a:pt x="575" y="719"/>
                </a:lnTo>
                <a:lnTo>
                  <a:pt x="586" y="718"/>
                </a:lnTo>
                <a:lnTo>
                  <a:pt x="596" y="717"/>
                </a:lnTo>
                <a:lnTo>
                  <a:pt x="597" y="717"/>
                </a:lnTo>
                <a:lnTo>
                  <a:pt x="598" y="716"/>
                </a:lnTo>
                <a:lnTo>
                  <a:pt x="597" y="714"/>
                </a:lnTo>
                <a:lnTo>
                  <a:pt x="596" y="709"/>
                </a:lnTo>
                <a:lnTo>
                  <a:pt x="594" y="708"/>
                </a:lnTo>
                <a:lnTo>
                  <a:pt x="590" y="707"/>
                </a:lnTo>
                <a:lnTo>
                  <a:pt x="586" y="708"/>
                </a:lnTo>
                <a:lnTo>
                  <a:pt x="583" y="709"/>
                </a:lnTo>
                <a:lnTo>
                  <a:pt x="580" y="710"/>
                </a:lnTo>
                <a:lnTo>
                  <a:pt x="578" y="714"/>
                </a:lnTo>
                <a:lnTo>
                  <a:pt x="577" y="715"/>
                </a:lnTo>
                <a:lnTo>
                  <a:pt x="574" y="716"/>
                </a:lnTo>
                <a:lnTo>
                  <a:pt x="570" y="716"/>
                </a:lnTo>
                <a:lnTo>
                  <a:pt x="565" y="716"/>
                </a:lnTo>
                <a:lnTo>
                  <a:pt x="567" y="714"/>
                </a:lnTo>
                <a:lnTo>
                  <a:pt x="571" y="712"/>
                </a:lnTo>
                <a:lnTo>
                  <a:pt x="570" y="710"/>
                </a:lnTo>
                <a:lnTo>
                  <a:pt x="566" y="709"/>
                </a:lnTo>
                <a:lnTo>
                  <a:pt x="563" y="708"/>
                </a:lnTo>
                <a:lnTo>
                  <a:pt x="561" y="708"/>
                </a:lnTo>
                <a:lnTo>
                  <a:pt x="555" y="707"/>
                </a:lnTo>
                <a:lnTo>
                  <a:pt x="552" y="708"/>
                </a:lnTo>
                <a:lnTo>
                  <a:pt x="550" y="709"/>
                </a:lnTo>
                <a:lnTo>
                  <a:pt x="549" y="710"/>
                </a:lnTo>
                <a:lnTo>
                  <a:pt x="549" y="712"/>
                </a:lnTo>
                <a:lnTo>
                  <a:pt x="550" y="716"/>
                </a:lnTo>
                <a:lnTo>
                  <a:pt x="547" y="716"/>
                </a:lnTo>
                <a:lnTo>
                  <a:pt x="544" y="716"/>
                </a:lnTo>
                <a:lnTo>
                  <a:pt x="541" y="712"/>
                </a:lnTo>
                <a:lnTo>
                  <a:pt x="540" y="711"/>
                </a:lnTo>
                <a:lnTo>
                  <a:pt x="536" y="714"/>
                </a:lnTo>
                <a:lnTo>
                  <a:pt x="532" y="716"/>
                </a:lnTo>
                <a:lnTo>
                  <a:pt x="524" y="716"/>
                </a:lnTo>
                <a:lnTo>
                  <a:pt x="515" y="715"/>
                </a:lnTo>
                <a:lnTo>
                  <a:pt x="511" y="715"/>
                </a:lnTo>
                <a:lnTo>
                  <a:pt x="506" y="714"/>
                </a:lnTo>
                <a:lnTo>
                  <a:pt x="504" y="712"/>
                </a:lnTo>
                <a:lnTo>
                  <a:pt x="504" y="712"/>
                </a:lnTo>
                <a:lnTo>
                  <a:pt x="503" y="712"/>
                </a:lnTo>
                <a:lnTo>
                  <a:pt x="503" y="710"/>
                </a:lnTo>
                <a:lnTo>
                  <a:pt x="504" y="709"/>
                </a:lnTo>
                <a:lnTo>
                  <a:pt x="504" y="708"/>
                </a:lnTo>
                <a:lnTo>
                  <a:pt x="504" y="707"/>
                </a:lnTo>
                <a:lnTo>
                  <a:pt x="501" y="706"/>
                </a:lnTo>
                <a:lnTo>
                  <a:pt x="499" y="707"/>
                </a:lnTo>
                <a:lnTo>
                  <a:pt x="496" y="707"/>
                </a:lnTo>
                <a:lnTo>
                  <a:pt x="488" y="708"/>
                </a:lnTo>
                <a:lnTo>
                  <a:pt x="479" y="708"/>
                </a:lnTo>
                <a:lnTo>
                  <a:pt x="470" y="707"/>
                </a:lnTo>
                <a:lnTo>
                  <a:pt x="462" y="703"/>
                </a:lnTo>
                <a:lnTo>
                  <a:pt x="462" y="711"/>
                </a:lnTo>
                <a:lnTo>
                  <a:pt x="459" y="718"/>
                </a:lnTo>
                <a:lnTo>
                  <a:pt x="457" y="720"/>
                </a:lnTo>
                <a:lnTo>
                  <a:pt x="456" y="723"/>
                </a:lnTo>
                <a:lnTo>
                  <a:pt x="455" y="724"/>
                </a:lnTo>
                <a:lnTo>
                  <a:pt x="455" y="725"/>
                </a:lnTo>
                <a:lnTo>
                  <a:pt x="453" y="725"/>
                </a:lnTo>
                <a:lnTo>
                  <a:pt x="450" y="725"/>
                </a:lnTo>
                <a:lnTo>
                  <a:pt x="447" y="725"/>
                </a:lnTo>
                <a:lnTo>
                  <a:pt x="441" y="725"/>
                </a:lnTo>
                <a:lnTo>
                  <a:pt x="439" y="724"/>
                </a:lnTo>
                <a:lnTo>
                  <a:pt x="437" y="724"/>
                </a:lnTo>
                <a:lnTo>
                  <a:pt x="435" y="723"/>
                </a:lnTo>
                <a:lnTo>
                  <a:pt x="435" y="722"/>
                </a:lnTo>
                <a:lnTo>
                  <a:pt x="440" y="719"/>
                </a:lnTo>
                <a:lnTo>
                  <a:pt x="446" y="719"/>
                </a:lnTo>
                <a:lnTo>
                  <a:pt x="449" y="717"/>
                </a:lnTo>
                <a:lnTo>
                  <a:pt x="450" y="712"/>
                </a:lnTo>
                <a:lnTo>
                  <a:pt x="447" y="710"/>
                </a:lnTo>
                <a:lnTo>
                  <a:pt x="442" y="709"/>
                </a:lnTo>
                <a:lnTo>
                  <a:pt x="438" y="704"/>
                </a:lnTo>
                <a:lnTo>
                  <a:pt x="433" y="700"/>
                </a:lnTo>
                <a:lnTo>
                  <a:pt x="430" y="699"/>
                </a:lnTo>
                <a:lnTo>
                  <a:pt x="427" y="699"/>
                </a:lnTo>
                <a:lnTo>
                  <a:pt x="424" y="700"/>
                </a:lnTo>
                <a:lnTo>
                  <a:pt x="420" y="700"/>
                </a:lnTo>
                <a:lnTo>
                  <a:pt x="413" y="701"/>
                </a:lnTo>
                <a:lnTo>
                  <a:pt x="406" y="702"/>
                </a:lnTo>
                <a:lnTo>
                  <a:pt x="401" y="703"/>
                </a:lnTo>
                <a:lnTo>
                  <a:pt x="399" y="704"/>
                </a:lnTo>
                <a:lnTo>
                  <a:pt x="397" y="703"/>
                </a:lnTo>
                <a:lnTo>
                  <a:pt x="394" y="700"/>
                </a:lnTo>
                <a:lnTo>
                  <a:pt x="392" y="698"/>
                </a:lnTo>
                <a:lnTo>
                  <a:pt x="390" y="695"/>
                </a:lnTo>
                <a:lnTo>
                  <a:pt x="389" y="695"/>
                </a:lnTo>
                <a:lnTo>
                  <a:pt x="387" y="695"/>
                </a:lnTo>
                <a:lnTo>
                  <a:pt x="382" y="698"/>
                </a:lnTo>
                <a:lnTo>
                  <a:pt x="377" y="700"/>
                </a:lnTo>
                <a:lnTo>
                  <a:pt x="376" y="701"/>
                </a:lnTo>
                <a:lnTo>
                  <a:pt x="374" y="701"/>
                </a:lnTo>
                <a:lnTo>
                  <a:pt x="374" y="700"/>
                </a:lnTo>
                <a:lnTo>
                  <a:pt x="373" y="698"/>
                </a:lnTo>
                <a:lnTo>
                  <a:pt x="373" y="695"/>
                </a:lnTo>
                <a:lnTo>
                  <a:pt x="373" y="694"/>
                </a:lnTo>
                <a:lnTo>
                  <a:pt x="372" y="693"/>
                </a:lnTo>
                <a:lnTo>
                  <a:pt x="369" y="693"/>
                </a:lnTo>
                <a:lnTo>
                  <a:pt x="363" y="692"/>
                </a:lnTo>
                <a:lnTo>
                  <a:pt x="356" y="690"/>
                </a:lnTo>
                <a:lnTo>
                  <a:pt x="352" y="690"/>
                </a:lnTo>
                <a:lnTo>
                  <a:pt x="350" y="691"/>
                </a:lnTo>
                <a:lnTo>
                  <a:pt x="348" y="692"/>
                </a:lnTo>
                <a:lnTo>
                  <a:pt x="346" y="696"/>
                </a:lnTo>
                <a:lnTo>
                  <a:pt x="344" y="692"/>
                </a:lnTo>
                <a:lnTo>
                  <a:pt x="342" y="689"/>
                </a:lnTo>
                <a:lnTo>
                  <a:pt x="341" y="687"/>
                </a:lnTo>
                <a:lnTo>
                  <a:pt x="340" y="687"/>
                </a:lnTo>
                <a:lnTo>
                  <a:pt x="338" y="687"/>
                </a:lnTo>
                <a:lnTo>
                  <a:pt x="335" y="689"/>
                </a:lnTo>
                <a:lnTo>
                  <a:pt x="331" y="691"/>
                </a:lnTo>
                <a:lnTo>
                  <a:pt x="327" y="692"/>
                </a:lnTo>
                <a:lnTo>
                  <a:pt x="326" y="691"/>
                </a:lnTo>
                <a:lnTo>
                  <a:pt x="325" y="690"/>
                </a:lnTo>
                <a:lnTo>
                  <a:pt x="324" y="687"/>
                </a:lnTo>
                <a:lnTo>
                  <a:pt x="324" y="684"/>
                </a:lnTo>
                <a:lnTo>
                  <a:pt x="322" y="686"/>
                </a:lnTo>
                <a:lnTo>
                  <a:pt x="318" y="689"/>
                </a:lnTo>
                <a:lnTo>
                  <a:pt x="315" y="691"/>
                </a:lnTo>
                <a:lnTo>
                  <a:pt x="311" y="691"/>
                </a:lnTo>
                <a:lnTo>
                  <a:pt x="308" y="691"/>
                </a:lnTo>
                <a:lnTo>
                  <a:pt x="305" y="690"/>
                </a:lnTo>
                <a:lnTo>
                  <a:pt x="301" y="687"/>
                </a:lnTo>
                <a:lnTo>
                  <a:pt x="298" y="686"/>
                </a:lnTo>
                <a:lnTo>
                  <a:pt x="290" y="682"/>
                </a:lnTo>
                <a:lnTo>
                  <a:pt x="281" y="681"/>
                </a:lnTo>
                <a:lnTo>
                  <a:pt x="272" y="679"/>
                </a:lnTo>
                <a:lnTo>
                  <a:pt x="262" y="678"/>
                </a:lnTo>
                <a:lnTo>
                  <a:pt x="260" y="678"/>
                </a:lnTo>
                <a:lnTo>
                  <a:pt x="258" y="677"/>
                </a:lnTo>
                <a:lnTo>
                  <a:pt x="258" y="676"/>
                </a:lnTo>
                <a:lnTo>
                  <a:pt x="257" y="675"/>
                </a:lnTo>
                <a:lnTo>
                  <a:pt x="257" y="674"/>
                </a:lnTo>
                <a:lnTo>
                  <a:pt x="258" y="673"/>
                </a:lnTo>
                <a:lnTo>
                  <a:pt x="261" y="671"/>
                </a:lnTo>
                <a:lnTo>
                  <a:pt x="265" y="671"/>
                </a:lnTo>
                <a:lnTo>
                  <a:pt x="268" y="671"/>
                </a:lnTo>
                <a:lnTo>
                  <a:pt x="272" y="673"/>
                </a:lnTo>
                <a:lnTo>
                  <a:pt x="282" y="674"/>
                </a:lnTo>
                <a:lnTo>
                  <a:pt x="293" y="676"/>
                </a:lnTo>
                <a:lnTo>
                  <a:pt x="303" y="677"/>
                </a:lnTo>
                <a:lnTo>
                  <a:pt x="314" y="678"/>
                </a:lnTo>
                <a:lnTo>
                  <a:pt x="335" y="682"/>
                </a:lnTo>
                <a:lnTo>
                  <a:pt x="357" y="684"/>
                </a:lnTo>
                <a:lnTo>
                  <a:pt x="379" y="686"/>
                </a:lnTo>
                <a:lnTo>
                  <a:pt x="400" y="689"/>
                </a:lnTo>
                <a:lnTo>
                  <a:pt x="410" y="690"/>
                </a:lnTo>
                <a:lnTo>
                  <a:pt x="421" y="691"/>
                </a:lnTo>
                <a:lnTo>
                  <a:pt x="431" y="692"/>
                </a:lnTo>
                <a:lnTo>
                  <a:pt x="442" y="693"/>
                </a:lnTo>
                <a:lnTo>
                  <a:pt x="451" y="693"/>
                </a:lnTo>
                <a:lnTo>
                  <a:pt x="462" y="694"/>
                </a:lnTo>
                <a:lnTo>
                  <a:pt x="472" y="694"/>
                </a:lnTo>
                <a:lnTo>
                  <a:pt x="482" y="695"/>
                </a:lnTo>
                <a:lnTo>
                  <a:pt x="486" y="695"/>
                </a:lnTo>
                <a:lnTo>
                  <a:pt x="489" y="695"/>
                </a:lnTo>
                <a:lnTo>
                  <a:pt x="494" y="696"/>
                </a:lnTo>
                <a:lnTo>
                  <a:pt x="498" y="698"/>
                </a:lnTo>
                <a:lnTo>
                  <a:pt x="507" y="699"/>
                </a:lnTo>
                <a:lnTo>
                  <a:pt x="516" y="698"/>
                </a:lnTo>
                <a:lnTo>
                  <a:pt x="521" y="696"/>
                </a:lnTo>
                <a:lnTo>
                  <a:pt x="523" y="695"/>
                </a:lnTo>
                <a:lnTo>
                  <a:pt x="527" y="694"/>
                </a:lnTo>
                <a:lnTo>
                  <a:pt x="531" y="695"/>
                </a:lnTo>
                <a:lnTo>
                  <a:pt x="533" y="698"/>
                </a:lnTo>
                <a:lnTo>
                  <a:pt x="537" y="699"/>
                </a:lnTo>
                <a:lnTo>
                  <a:pt x="539" y="699"/>
                </a:lnTo>
                <a:lnTo>
                  <a:pt x="542" y="698"/>
                </a:lnTo>
                <a:lnTo>
                  <a:pt x="544" y="699"/>
                </a:lnTo>
                <a:lnTo>
                  <a:pt x="542" y="700"/>
                </a:lnTo>
                <a:lnTo>
                  <a:pt x="544" y="702"/>
                </a:lnTo>
                <a:lnTo>
                  <a:pt x="546" y="702"/>
                </a:lnTo>
                <a:lnTo>
                  <a:pt x="547" y="702"/>
                </a:lnTo>
                <a:lnTo>
                  <a:pt x="547" y="700"/>
                </a:lnTo>
                <a:lnTo>
                  <a:pt x="547" y="699"/>
                </a:lnTo>
                <a:lnTo>
                  <a:pt x="547" y="696"/>
                </a:lnTo>
                <a:lnTo>
                  <a:pt x="548" y="694"/>
                </a:lnTo>
                <a:lnTo>
                  <a:pt x="550" y="693"/>
                </a:lnTo>
                <a:lnTo>
                  <a:pt x="552" y="693"/>
                </a:lnTo>
                <a:lnTo>
                  <a:pt x="554" y="694"/>
                </a:lnTo>
                <a:lnTo>
                  <a:pt x="556" y="695"/>
                </a:lnTo>
                <a:lnTo>
                  <a:pt x="556" y="696"/>
                </a:lnTo>
                <a:lnTo>
                  <a:pt x="556" y="696"/>
                </a:lnTo>
                <a:lnTo>
                  <a:pt x="558" y="694"/>
                </a:lnTo>
                <a:lnTo>
                  <a:pt x="564" y="692"/>
                </a:lnTo>
                <a:lnTo>
                  <a:pt x="571" y="692"/>
                </a:lnTo>
                <a:lnTo>
                  <a:pt x="577" y="692"/>
                </a:lnTo>
                <a:lnTo>
                  <a:pt x="583" y="693"/>
                </a:lnTo>
                <a:lnTo>
                  <a:pt x="598" y="693"/>
                </a:lnTo>
                <a:lnTo>
                  <a:pt x="613" y="692"/>
                </a:lnTo>
                <a:lnTo>
                  <a:pt x="615" y="691"/>
                </a:lnTo>
                <a:lnTo>
                  <a:pt x="619" y="689"/>
                </a:lnTo>
                <a:lnTo>
                  <a:pt x="622" y="690"/>
                </a:lnTo>
                <a:lnTo>
                  <a:pt x="626" y="690"/>
                </a:lnTo>
                <a:lnTo>
                  <a:pt x="633" y="690"/>
                </a:lnTo>
                <a:lnTo>
                  <a:pt x="641" y="690"/>
                </a:lnTo>
                <a:lnTo>
                  <a:pt x="647" y="689"/>
                </a:lnTo>
                <a:lnTo>
                  <a:pt x="653" y="689"/>
                </a:lnTo>
                <a:lnTo>
                  <a:pt x="662" y="689"/>
                </a:lnTo>
                <a:lnTo>
                  <a:pt x="672" y="687"/>
                </a:lnTo>
                <a:lnTo>
                  <a:pt x="689" y="686"/>
                </a:lnTo>
                <a:lnTo>
                  <a:pt x="705" y="685"/>
                </a:lnTo>
                <a:lnTo>
                  <a:pt x="722" y="683"/>
                </a:lnTo>
                <a:lnTo>
                  <a:pt x="739" y="681"/>
                </a:lnTo>
                <a:lnTo>
                  <a:pt x="756" y="679"/>
                </a:lnTo>
                <a:lnTo>
                  <a:pt x="773" y="677"/>
                </a:lnTo>
                <a:lnTo>
                  <a:pt x="791" y="676"/>
                </a:lnTo>
                <a:lnTo>
                  <a:pt x="809" y="674"/>
                </a:lnTo>
                <a:lnTo>
                  <a:pt x="825" y="670"/>
                </a:lnTo>
                <a:lnTo>
                  <a:pt x="841" y="668"/>
                </a:lnTo>
                <a:lnTo>
                  <a:pt x="857" y="665"/>
                </a:lnTo>
                <a:lnTo>
                  <a:pt x="874" y="662"/>
                </a:lnTo>
                <a:lnTo>
                  <a:pt x="907" y="658"/>
                </a:lnTo>
                <a:lnTo>
                  <a:pt x="940" y="652"/>
                </a:lnTo>
                <a:lnTo>
                  <a:pt x="973" y="646"/>
                </a:lnTo>
                <a:lnTo>
                  <a:pt x="1006" y="641"/>
                </a:lnTo>
                <a:lnTo>
                  <a:pt x="1009" y="641"/>
                </a:lnTo>
                <a:lnTo>
                  <a:pt x="1011" y="641"/>
                </a:lnTo>
                <a:lnTo>
                  <a:pt x="1014" y="640"/>
                </a:lnTo>
                <a:lnTo>
                  <a:pt x="1015" y="639"/>
                </a:lnTo>
                <a:lnTo>
                  <a:pt x="1015" y="637"/>
                </a:lnTo>
                <a:lnTo>
                  <a:pt x="1015" y="636"/>
                </a:lnTo>
                <a:lnTo>
                  <a:pt x="1014" y="635"/>
                </a:lnTo>
                <a:lnTo>
                  <a:pt x="1012" y="634"/>
                </a:lnTo>
                <a:lnTo>
                  <a:pt x="1011" y="634"/>
                </a:lnTo>
                <a:lnTo>
                  <a:pt x="1010" y="635"/>
                </a:lnTo>
                <a:lnTo>
                  <a:pt x="1007" y="636"/>
                </a:lnTo>
                <a:lnTo>
                  <a:pt x="1005" y="637"/>
                </a:lnTo>
                <a:lnTo>
                  <a:pt x="991" y="639"/>
                </a:lnTo>
                <a:lnTo>
                  <a:pt x="978" y="642"/>
                </a:lnTo>
                <a:lnTo>
                  <a:pt x="975" y="643"/>
                </a:lnTo>
                <a:lnTo>
                  <a:pt x="970" y="643"/>
                </a:lnTo>
                <a:lnTo>
                  <a:pt x="968" y="643"/>
                </a:lnTo>
                <a:lnTo>
                  <a:pt x="965" y="643"/>
                </a:lnTo>
                <a:lnTo>
                  <a:pt x="965" y="642"/>
                </a:lnTo>
                <a:lnTo>
                  <a:pt x="964" y="641"/>
                </a:lnTo>
                <a:lnTo>
                  <a:pt x="956" y="642"/>
                </a:lnTo>
                <a:lnTo>
                  <a:pt x="949" y="644"/>
                </a:lnTo>
                <a:lnTo>
                  <a:pt x="940" y="645"/>
                </a:lnTo>
                <a:lnTo>
                  <a:pt x="931" y="646"/>
                </a:lnTo>
                <a:lnTo>
                  <a:pt x="921" y="646"/>
                </a:lnTo>
                <a:lnTo>
                  <a:pt x="912" y="648"/>
                </a:lnTo>
                <a:lnTo>
                  <a:pt x="919" y="645"/>
                </a:lnTo>
                <a:lnTo>
                  <a:pt x="926" y="644"/>
                </a:lnTo>
                <a:lnTo>
                  <a:pt x="934" y="642"/>
                </a:lnTo>
                <a:lnTo>
                  <a:pt x="942" y="641"/>
                </a:lnTo>
                <a:lnTo>
                  <a:pt x="951" y="639"/>
                </a:lnTo>
                <a:lnTo>
                  <a:pt x="959" y="637"/>
                </a:lnTo>
                <a:lnTo>
                  <a:pt x="968" y="636"/>
                </a:lnTo>
                <a:lnTo>
                  <a:pt x="977" y="635"/>
                </a:lnTo>
                <a:lnTo>
                  <a:pt x="995" y="633"/>
                </a:lnTo>
                <a:lnTo>
                  <a:pt x="1012" y="629"/>
                </a:lnTo>
                <a:lnTo>
                  <a:pt x="1031" y="626"/>
                </a:lnTo>
                <a:lnTo>
                  <a:pt x="1048" y="621"/>
                </a:lnTo>
                <a:lnTo>
                  <a:pt x="1065" y="617"/>
                </a:lnTo>
                <a:lnTo>
                  <a:pt x="1083" y="612"/>
                </a:lnTo>
                <a:lnTo>
                  <a:pt x="1100" y="608"/>
                </a:lnTo>
                <a:lnTo>
                  <a:pt x="1117" y="603"/>
                </a:lnTo>
                <a:lnTo>
                  <a:pt x="1133" y="598"/>
                </a:lnTo>
                <a:lnTo>
                  <a:pt x="1148" y="592"/>
                </a:lnTo>
                <a:lnTo>
                  <a:pt x="1156" y="588"/>
                </a:lnTo>
                <a:lnTo>
                  <a:pt x="1164" y="584"/>
                </a:lnTo>
                <a:lnTo>
                  <a:pt x="1165" y="581"/>
                </a:lnTo>
                <a:lnTo>
                  <a:pt x="1165" y="578"/>
                </a:lnTo>
                <a:lnTo>
                  <a:pt x="1165" y="576"/>
                </a:lnTo>
                <a:lnTo>
                  <a:pt x="1165" y="573"/>
                </a:lnTo>
                <a:lnTo>
                  <a:pt x="1165" y="573"/>
                </a:lnTo>
                <a:lnTo>
                  <a:pt x="1165" y="573"/>
                </a:lnTo>
                <a:lnTo>
                  <a:pt x="1164" y="571"/>
                </a:lnTo>
                <a:lnTo>
                  <a:pt x="1162" y="570"/>
                </a:lnTo>
                <a:lnTo>
                  <a:pt x="1158" y="569"/>
                </a:lnTo>
                <a:lnTo>
                  <a:pt x="1155" y="570"/>
                </a:lnTo>
                <a:lnTo>
                  <a:pt x="1147" y="571"/>
                </a:lnTo>
                <a:lnTo>
                  <a:pt x="1142" y="573"/>
                </a:lnTo>
                <a:lnTo>
                  <a:pt x="1135" y="575"/>
                </a:lnTo>
                <a:lnTo>
                  <a:pt x="1127" y="577"/>
                </a:lnTo>
                <a:lnTo>
                  <a:pt x="1124" y="577"/>
                </a:lnTo>
                <a:lnTo>
                  <a:pt x="1119" y="576"/>
                </a:lnTo>
                <a:lnTo>
                  <a:pt x="1117" y="574"/>
                </a:lnTo>
                <a:lnTo>
                  <a:pt x="1116" y="571"/>
                </a:lnTo>
                <a:lnTo>
                  <a:pt x="1115" y="568"/>
                </a:lnTo>
                <a:lnTo>
                  <a:pt x="1116" y="565"/>
                </a:lnTo>
                <a:lnTo>
                  <a:pt x="1118" y="562"/>
                </a:lnTo>
                <a:lnTo>
                  <a:pt x="1121" y="559"/>
                </a:lnTo>
                <a:lnTo>
                  <a:pt x="1125" y="554"/>
                </a:lnTo>
                <a:lnTo>
                  <a:pt x="1131" y="550"/>
                </a:lnTo>
                <a:lnTo>
                  <a:pt x="1147" y="544"/>
                </a:lnTo>
                <a:lnTo>
                  <a:pt x="1165" y="541"/>
                </a:lnTo>
                <a:lnTo>
                  <a:pt x="1164" y="538"/>
                </a:lnTo>
                <a:lnTo>
                  <a:pt x="1163" y="537"/>
                </a:lnTo>
                <a:lnTo>
                  <a:pt x="1160" y="536"/>
                </a:lnTo>
                <a:lnTo>
                  <a:pt x="1159" y="536"/>
                </a:lnTo>
                <a:lnTo>
                  <a:pt x="1156" y="535"/>
                </a:lnTo>
                <a:lnTo>
                  <a:pt x="1151" y="536"/>
                </a:lnTo>
                <a:lnTo>
                  <a:pt x="1140" y="536"/>
                </a:lnTo>
                <a:lnTo>
                  <a:pt x="1130" y="537"/>
                </a:lnTo>
                <a:lnTo>
                  <a:pt x="1119" y="540"/>
                </a:lnTo>
                <a:lnTo>
                  <a:pt x="1109" y="541"/>
                </a:lnTo>
                <a:lnTo>
                  <a:pt x="1100" y="541"/>
                </a:lnTo>
                <a:lnTo>
                  <a:pt x="1090" y="540"/>
                </a:lnTo>
                <a:lnTo>
                  <a:pt x="1081" y="538"/>
                </a:lnTo>
                <a:lnTo>
                  <a:pt x="1072" y="536"/>
                </a:lnTo>
                <a:lnTo>
                  <a:pt x="1064" y="536"/>
                </a:lnTo>
                <a:lnTo>
                  <a:pt x="1057" y="535"/>
                </a:lnTo>
                <a:lnTo>
                  <a:pt x="1053" y="533"/>
                </a:lnTo>
                <a:lnTo>
                  <a:pt x="1050" y="530"/>
                </a:lnTo>
                <a:lnTo>
                  <a:pt x="1047" y="530"/>
                </a:lnTo>
                <a:lnTo>
                  <a:pt x="1043" y="529"/>
                </a:lnTo>
                <a:lnTo>
                  <a:pt x="1040" y="530"/>
                </a:lnTo>
                <a:lnTo>
                  <a:pt x="1036" y="529"/>
                </a:lnTo>
                <a:lnTo>
                  <a:pt x="1033" y="528"/>
                </a:lnTo>
                <a:lnTo>
                  <a:pt x="1030" y="526"/>
                </a:lnTo>
                <a:lnTo>
                  <a:pt x="1022" y="524"/>
                </a:lnTo>
                <a:lnTo>
                  <a:pt x="1014" y="524"/>
                </a:lnTo>
                <a:lnTo>
                  <a:pt x="1003" y="524"/>
                </a:lnTo>
                <a:lnTo>
                  <a:pt x="992" y="523"/>
                </a:lnTo>
                <a:lnTo>
                  <a:pt x="983" y="524"/>
                </a:lnTo>
                <a:lnTo>
                  <a:pt x="974" y="523"/>
                </a:lnTo>
                <a:lnTo>
                  <a:pt x="972" y="520"/>
                </a:lnTo>
                <a:lnTo>
                  <a:pt x="968" y="518"/>
                </a:lnTo>
                <a:lnTo>
                  <a:pt x="965" y="518"/>
                </a:lnTo>
                <a:lnTo>
                  <a:pt x="961" y="519"/>
                </a:lnTo>
                <a:lnTo>
                  <a:pt x="953" y="520"/>
                </a:lnTo>
                <a:lnTo>
                  <a:pt x="944" y="521"/>
                </a:lnTo>
                <a:lnTo>
                  <a:pt x="940" y="521"/>
                </a:lnTo>
                <a:lnTo>
                  <a:pt x="936" y="521"/>
                </a:lnTo>
                <a:lnTo>
                  <a:pt x="933" y="519"/>
                </a:lnTo>
                <a:lnTo>
                  <a:pt x="932" y="516"/>
                </a:lnTo>
                <a:lnTo>
                  <a:pt x="932" y="512"/>
                </a:lnTo>
                <a:lnTo>
                  <a:pt x="934" y="509"/>
                </a:lnTo>
                <a:lnTo>
                  <a:pt x="937" y="505"/>
                </a:lnTo>
                <a:lnTo>
                  <a:pt x="942" y="503"/>
                </a:lnTo>
                <a:lnTo>
                  <a:pt x="951" y="499"/>
                </a:lnTo>
                <a:lnTo>
                  <a:pt x="958" y="495"/>
                </a:lnTo>
                <a:lnTo>
                  <a:pt x="969" y="491"/>
                </a:lnTo>
                <a:lnTo>
                  <a:pt x="979" y="487"/>
                </a:lnTo>
                <a:lnTo>
                  <a:pt x="991" y="484"/>
                </a:lnTo>
                <a:lnTo>
                  <a:pt x="1002" y="479"/>
                </a:lnTo>
                <a:lnTo>
                  <a:pt x="1014" y="475"/>
                </a:lnTo>
                <a:lnTo>
                  <a:pt x="1025" y="470"/>
                </a:lnTo>
                <a:lnTo>
                  <a:pt x="1035" y="465"/>
                </a:lnTo>
                <a:lnTo>
                  <a:pt x="1047" y="459"/>
                </a:lnTo>
                <a:lnTo>
                  <a:pt x="1035" y="455"/>
                </a:lnTo>
                <a:lnTo>
                  <a:pt x="1025" y="453"/>
                </a:lnTo>
                <a:lnTo>
                  <a:pt x="1024" y="451"/>
                </a:lnTo>
                <a:lnTo>
                  <a:pt x="1024" y="449"/>
                </a:lnTo>
                <a:lnTo>
                  <a:pt x="1023" y="446"/>
                </a:lnTo>
                <a:lnTo>
                  <a:pt x="1019" y="445"/>
                </a:lnTo>
                <a:lnTo>
                  <a:pt x="1014" y="446"/>
                </a:lnTo>
                <a:lnTo>
                  <a:pt x="1007" y="449"/>
                </a:lnTo>
                <a:lnTo>
                  <a:pt x="999" y="447"/>
                </a:lnTo>
                <a:lnTo>
                  <a:pt x="990" y="446"/>
                </a:lnTo>
                <a:lnTo>
                  <a:pt x="979" y="446"/>
                </a:lnTo>
                <a:lnTo>
                  <a:pt x="968" y="447"/>
                </a:lnTo>
                <a:lnTo>
                  <a:pt x="959" y="450"/>
                </a:lnTo>
                <a:lnTo>
                  <a:pt x="949" y="452"/>
                </a:lnTo>
                <a:lnTo>
                  <a:pt x="940" y="454"/>
                </a:lnTo>
                <a:lnTo>
                  <a:pt x="929" y="457"/>
                </a:lnTo>
                <a:lnTo>
                  <a:pt x="919" y="459"/>
                </a:lnTo>
                <a:lnTo>
                  <a:pt x="909" y="460"/>
                </a:lnTo>
                <a:lnTo>
                  <a:pt x="899" y="461"/>
                </a:lnTo>
                <a:lnTo>
                  <a:pt x="888" y="462"/>
                </a:lnTo>
                <a:lnTo>
                  <a:pt x="878" y="465"/>
                </a:lnTo>
                <a:lnTo>
                  <a:pt x="869" y="466"/>
                </a:lnTo>
                <a:lnTo>
                  <a:pt x="859" y="467"/>
                </a:lnTo>
                <a:lnTo>
                  <a:pt x="849" y="468"/>
                </a:lnTo>
                <a:lnTo>
                  <a:pt x="840" y="468"/>
                </a:lnTo>
                <a:lnTo>
                  <a:pt x="830" y="469"/>
                </a:lnTo>
                <a:lnTo>
                  <a:pt x="819" y="471"/>
                </a:lnTo>
                <a:lnTo>
                  <a:pt x="808" y="471"/>
                </a:lnTo>
                <a:lnTo>
                  <a:pt x="796" y="471"/>
                </a:lnTo>
                <a:lnTo>
                  <a:pt x="786" y="471"/>
                </a:lnTo>
                <a:lnTo>
                  <a:pt x="775" y="473"/>
                </a:lnTo>
                <a:lnTo>
                  <a:pt x="763" y="473"/>
                </a:lnTo>
                <a:lnTo>
                  <a:pt x="751" y="473"/>
                </a:lnTo>
                <a:lnTo>
                  <a:pt x="738" y="471"/>
                </a:lnTo>
                <a:lnTo>
                  <a:pt x="727" y="470"/>
                </a:lnTo>
                <a:lnTo>
                  <a:pt x="714" y="469"/>
                </a:lnTo>
                <a:lnTo>
                  <a:pt x="703" y="469"/>
                </a:lnTo>
                <a:lnTo>
                  <a:pt x="690" y="469"/>
                </a:lnTo>
                <a:lnTo>
                  <a:pt x="686" y="470"/>
                </a:lnTo>
                <a:lnTo>
                  <a:pt x="681" y="470"/>
                </a:lnTo>
                <a:lnTo>
                  <a:pt x="678" y="469"/>
                </a:lnTo>
                <a:lnTo>
                  <a:pt x="674" y="466"/>
                </a:lnTo>
                <a:lnTo>
                  <a:pt x="681" y="466"/>
                </a:lnTo>
                <a:lnTo>
                  <a:pt x="688" y="466"/>
                </a:lnTo>
                <a:lnTo>
                  <a:pt x="694" y="466"/>
                </a:lnTo>
                <a:lnTo>
                  <a:pt x="700" y="466"/>
                </a:lnTo>
                <a:lnTo>
                  <a:pt x="701" y="465"/>
                </a:lnTo>
                <a:lnTo>
                  <a:pt x="702" y="462"/>
                </a:lnTo>
                <a:lnTo>
                  <a:pt x="702" y="461"/>
                </a:lnTo>
                <a:lnTo>
                  <a:pt x="701" y="460"/>
                </a:lnTo>
                <a:lnTo>
                  <a:pt x="696" y="460"/>
                </a:lnTo>
                <a:lnTo>
                  <a:pt x="692" y="461"/>
                </a:lnTo>
                <a:lnTo>
                  <a:pt x="677" y="461"/>
                </a:lnTo>
                <a:lnTo>
                  <a:pt x="662" y="460"/>
                </a:lnTo>
                <a:lnTo>
                  <a:pt x="649" y="461"/>
                </a:lnTo>
                <a:lnTo>
                  <a:pt x="636" y="462"/>
                </a:lnTo>
                <a:lnTo>
                  <a:pt x="622" y="462"/>
                </a:lnTo>
                <a:lnTo>
                  <a:pt x="610" y="460"/>
                </a:lnTo>
                <a:lnTo>
                  <a:pt x="595" y="458"/>
                </a:lnTo>
                <a:lnTo>
                  <a:pt x="580" y="455"/>
                </a:lnTo>
                <a:lnTo>
                  <a:pt x="565" y="454"/>
                </a:lnTo>
                <a:lnTo>
                  <a:pt x="550" y="452"/>
                </a:lnTo>
                <a:lnTo>
                  <a:pt x="536" y="450"/>
                </a:lnTo>
                <a:lnTo>
                  <a:pt x="521" y="447"/>
                </a:lnTo>
                <a:lnTo>
                  <a:pt x="523" y="445"/>
                </a:lnTo>
                <a:lnTo>
                  <a:pt x="524" y="443"/>
                </a:lnTo>
                <a:lnTo>
                  <a:pt x="523" y="441"/>
                </a:lnTo>
                <a:lnTo>
                  <a:pt x="520" y="440"/>
                </a:lnTo>
                <a:lnTo>
                  <a:pt x="516" y="440"/>
                </a:lnTo>
                <a:lnTo>
                  <a:pt x="514" y="440"/>
                </a:lnTo>
                <a:lnTo>
                  <a:pt x="498" y="437"/>
                </a:lnTo>
                <a:lnTo>
                  <a:pt x="481" y="435"/>
                </a:lnTo>
                <a:lnTo>
                  <a:pt x="468" y="432"/>
                </a:lnTo>
                <a:lnTo>
                  <a:pt x="455" y="429"/>
                </a:lnTo>
                <a:lnTo>
                  <a:pt x="448" y="430"/>
                </a:lnTo>
                <a:lnTo>
                  <a:pt x="441" y="430"/>
                </a:lnTo>
                <a:lnTo>
                  <a:pt x="435" y="429"/>
                </a:lnTo>
                <a:lnTo>
                  <a:pt x="429" y="428"/>
                </a:lnTo>
                <a:lnTo>
                  <a:pt x="423" y="425"/>
                </a:lnTo>
                <a:lnTo>
                  <a:pt x="417" y="422"/>
                </a:lnTo>
                <a:lnTo>
                  <a:pt x="418" y="420"/>
                </a:lnTo>
                <a:lnTo>
                  <a:pt x="420" y="419"/>
                </a:lnTo>
                <a:lnTo>
                  <a:pt x="423" y="418"/>
                </a:lnTo>
                <a:lnTo>
                  <a:pt x="426" y="418"/>
                </a:lnTo>
                <a:lnTo>
                  <a:pt x="437" y="419"/>
                </a:lnTo>
                <a:lnTo>
                  <a:pt x="448" y="421"/>
                </a:lnTo>
                <a:lnTo>
                  <a:pt x="472" y="427"/>
                </a:lnTo>
                <a:lnTo>
                  <a:pt x="486" y="429"/>
                </a:lnTo>
                <a:lnTo>
                  <a:pt x="495" y="429"/>
                </a:lnTo>
                <a:lnTo>
                  <a:pt x="505" y="430"/>
                </a:lnTo>
                <a:lnTo>
                  <a:pt x="514" y="430"/>
                </a:lnTo>
                <a:lnTo>
                  <a:pt x="524" y="432"/>
                </a:lnTo>
                <a:lnTo>
                  <a:pt x="534" y="432"/>
                </a:lnTo>
                <a:lnTo>
                  <a:pt x="546" y="432"/>
                </a:lnTo>
                <a:lnTo>
                  <a:pt x="556" y="433"/>
                </a:lnTo>
                <a:lnTo>
                  <a:pt x="566" y="433"/>
                </a:lnTo>
                <a:lnTo>
                  <a:pt x="589" y="434"/>
                </a:lnTo>
                <a:lnTo>
                  <a:pt x="611" y="434"/>
                </a:lnTo>
                <a:lnTo>
                  <a:pt x="632" y="434"/>
                </a:lnTo>
                <a:lnTo>
                  <a:pt x="655" y="434"/>
                </a:lnTo>
                <a:lnTo>
                  <a:pt x="664" y="433"/>
                </a:lnTo>
                <a:lnTo>
                  <a:pt x="674" y="432"/>
                </a:lnTo>
                <a:lnTo>
                  <a:pt x="685" y="432"/>
                </a:lnTo>
                <a:lnTo>
                  <a:pt x="695" y="432"/>
                </a:lnTo>
                <a:lnTo>
                  <a:pt x="702" y="432"/>
                </a:lnTo>
                <a:lnTo>
                  <a:pt x="707" y="432"/>
                </a:lnTo>
                <a:lnTo>
                  <a:pt x="710" y="432"/>
                </a:lnTo>
                <a:lnTo>
                  <a:pt x="713" y="432"/>
                </a:lnTo>
                <a:lnTo>
                  <a:pt x="715" y="429"/>
                </a:lnTo>
                <a:lnTo>
                  <a:pt x="719" y="427"/>
                </a:lnTo>
                <a:lnTo>
                  <a:pt x="722" y="427"/>
                </a:lnTo>
                <a:lnTo>
                  <a:pt x="728" y="428"/>
                </a:lnTo>
                <a:lnTo>
                  <a:pt x="737" y="429"/>
                </a:lnTo>
                <a:lnTo>
                  <a:pt x="746" y="428"/>
                </a:lnTo>
                <a:lnTo>
                  <a:pt x="755" y="427"/>
                </a:lnTo>
                <a:lnTo>
                  <a:pt x="764" y="426"/>
                </a:lnTo>
                <a:lnTo>
                  <a:pt x="767" y="425"/>
                </a:lnTo>
                <a:lnTo>
                  <a:pt x="769" y="424"/>
                </a:lnTo>
                <a:lnTo>
                  <a:pt x="773" y="424"/>
                </a:lnTo>
                <a:lnTo>
                  <a:pt x="778" y="425"/>
                </a:lnTo>
                <a:lnTo>
                  <a:pt x="780" y="425"/>
                </a:lnTo>
                <a:lnTo>
                  <a:pt x="783" y="424"/>
                </a:lnTo>
                <a:lnTo>
                  <a:pt x="784" y="422"/>
                </a:lnTo>
                <a:lnTo>
                  <a:pt x="786" y="420"/>
                </a:lnTo>
                <a:lnTo>
                  <a:pt x="794" y="418"/>
                </a:lnTo>
                <a:lnTo>
                  <a:pt x="804" y="418"/>
                </a:lnTo>
                <a:lnTo>
                  <a:pt x="814" y="417"/>
                </a:lnTo>
                <a:lnTo>
                  <a:pt x="824" y="416"/>
                </a:lnTo>
                <a:lnTo>
                  <a:pt x="834" y="415"/>
                </a:lnTo>
                <a:lnTo>
                  <a:pt x="844" y="413"/>
                </a:lnTo>
                <a:lnTo>
                  <a:pt x="853" y="412"/>
                </a:lnTo>
                <a:lnTo>
                  <a:pt x="863" y="411"/>
                </a:lnTo>
                <a:lnTo>
                  <a:pt x="873" y="409"/>
                </a:lnTo>
                <a:lnTo>
                  <a:pt x="882" y="408"/>
                </a:lnTo>
                <a:lnTo>
                  <a:pt x="898" y="403"/>
                </a:lnTo>
                <a:lnTo>
                  <a:pt x="912" y="400"/>
                </a:lnTo>
                <a:lnTo>
                  <a:pt x="915" y="400"/>
                </a:lnTo>
                <a:lnTo>
                  <a:pt x="916" y="400"/>
                </a:lnTo>
                <a:lnTo>
                  <a:pt x="917" y="401"/>
                </a:lnTo>
                <a:lnTo>
                  <a:pt x="919" y="402"/>
                </a:lnTo>
                <a:lnTo>
                  <a:pt x="921" y="403"/>
                </a:lnTo>
                <a:lnTo>
                  <a:pt x="924" y="403"/>
                </a:lnTo>
                <a:lnTo>
                  <a:pt x="928" y="400"/>
                </a:lnTo>
                <a:lnTo>
                  <a:pt x="934" y="396"/>
                </a:lnTo>
                <a:lnTo>
                  <a:pt x="949" y="392"/>
                </a:lnTo>
                <a:lnTo>
                  <a:pt x="965" y="388"/>
                </a:lnTo>
                <a:lnTo>
                  <a:pt x="975" y="386"/>
                </a:lnTo>
                <a:lnTo>
                  <a:pt x="986" y="383"/>
                </a:lnTo>
                <a:lnTo>
                  <a:pt x="998" y="380"/>
                </a:lnTo>
                <a:lnTo>
                  <a:pt x="1008" y="378"/>
                </a:lnTo>
                <a:lnTo>
                  <a:pt x="1019" y="375"/>
                </a:lnTo>
                <a:lnTo>
                  <a:pt x="1031" y="371"/>
                </a:lnTo>
                <a:lnTo>
                  <a:pt x="1042" y="368"/>
                </a:lnTo>
                <a:lnTo>
                  <a:pt x="1052" y="364"/>
                </a:lnTo>
                <a:lnTo>
                  <a:pt x="1074" y="358"/>
                </a:lnTo>
                <a:lnTo>
                  <a:pt x="1096" y="349"/>
                </a:lnTo>
                <a:lnTo>
                  <a:pt x="1106" y="344"/>
                </a:lnTo>
                <a:lnTo>
                  <a:pt x="1116" y="339"/>
                </a:lnTo>
                <a:lnTo>
                  <a:pt x="1126" y="334"/>
                </a:lnTo>
                <a:lnTo>
                  <a:pt x="1135" y="327"/>
                </a:lnTo>
                <a:lnTo>
                  <a:pt x="1130" y="327"/>
                </a:lnTo>
                <a:lnTo>
                  <a:pt x="1124" y="327"/>
                </a:lnTo>
                <a:lnTo>
                  <a:pt x="1118" y="328"/>
                </a:lnTo>
                <a:lnTo>
                  <a:pt x="1113" y="329"/>
                </a:lnTo>
                <a:lnTo>
                  <a:pt x="1102" y="332"/>
                </a:lnTo>
                <a:lnTo>
                  <a:pt x="1091" y="334"/>
                </a:lnTo>
                <a:lnTo>
                  <a:pt x="1079" y="336"/>
                </a:lnTo>
                <a:lnTo>
                  <a:pt x="1065" y="337"/>
                </a:lnTo>
                <a:lnTo>
                  <a:pt x="1060" y="337"/>
                </a:lnTo>
                <a:lnTo>
                  <a:pt x="1055" y="337"/>
                </a:lnTo>
                <a:lnTo>
                  <a:pt x="1050" y="335"/>
                </a:lnTo>
                <a:lnTo>
                  <a:pt x="1044" y="335"/>
                </a:lnTo>
                <a:lnTo>
                  <a:pt x="1034" y="337"/>
                </a:lnTo>
                <a:lnTo>
                  <a:pt x="1024" y="338"/>
                </a:lnTo>
                <a:lnTo>
                  <a:pt x="1018" y="339"/>
                </a:lnTo>
                <a:lnTo>
                  <a:pt x="1012" y="342"/>
                </a:lnTo>
                <a:lnTo>
                  <a:pt x="1008" y="343"/>
                </a:lnTo>
                <a:lnTo>
                  <a:pt x="1002" y="342"/>
                </a:lnTo>
                <a:lnTo>
                  <a:pt x="991" y="338"/>
                </a:lnTo>
                <a:lnTo>
                  <a:pt x="979" y="336"/>
                </a:lnTo>
                <a:lnTo>
                  <a:pt x="968" y="335"/>
                </a:lnTo>
                <a:lnTo>
                  <a:pt x="957" y="334"/>
                </a:lnTo>
                <a:lnTo>
                  <a:pt x="944" y="333"/>
                </a:lnTo>
                <a:lnTo>
                  <a:pt x="932" y="332"/>
                </a:lnTo>
                <a:lnTo>
                  <a:pt x="918" y="332"/>
                </a:lnTo>
                <a:lnTo>
                  <a:pt x="904" y="333"/>
                </a:lnTo>
                <a:lnTo>
                  <a:pt x="891" y="334"/>
                </a:lnTo>
                <a:lnTo>
                  <a:pt x="877" y="335"/>
                </a:lnTo>
                <a:lnTo>
                  <a:pt x="862" y="336"/>
                </a:lnTo>
                <a:lnTo>
                  <a:pt x="849" y="337"/>
                </a:lnTo>
                <a:lnTo>
                  <a:pt x="835" y="338"/>
                </a:lnTo>
                <a:lnTo>
                  <a:pt x="822" y="338"/>
                </a:lnTo>
                <a:lnTo>
                  <a:pt x="809" y="339"/>
                </a:lnTo>
                <a:lnTo>
                  <a:pt x="795" y="341"/>
                </a:lnTo>
                <a:lnTo>
                  <a:pt x="783" y="339"/>
                </a:lnTo>
                <a:lnTo>
                  <a:pt x="770" y="338"/>
                </a:lnTo>
                <a:lnTo>
                  <a:pt x="767" y="338"/>
                </a:lnTo>
                <a:lnTo>
                  <a:pt x="762" y="337"/>
                </a:lnTo>
                <a:lnTo>
                  <a:pt x="759" y="336"/>
                </a:lnTo>
                <a:lnTo>
                  <a:pt x="755" y="334"/>
                </a:lnTo>
                <a:lnTo>
                  <a:pt x="752" y="328"/>
                </a:lnTo>
                <a:lnTo>
                  <a:pt x="746" y="324"/>
                </a:lnTo>
                <a:lnTo>
                  <a:pt x="735" y="321"/>
                </a:lnTo>
                <a:lnTo>
                  <a:pt x="721" y="321"/>
                </a:lnTo>
                <a:lnTo>
                  <a:pt x="711" y="320"/>
                </a:lnTo>
                <a:lnTo>
                  <a:pt x="702" y="318"/>
                </a:lnTo>
                <a:lnTo>
                  <a:pt x="698" y="316"/>
                </a:lnTo>
                <a:lnTo>
                  <a:pt x="694" y="313"/>
                </a:lnTo>
                <a:lnTo>
                  <a:pt x="690" y="310"/>
                </a:lnTo>
                <a:lnTo>
                  <a:pt x="688" y="305"/>
                </a:lnTo>
                <a:lnTo>
                  <a:pt x="686" y="301"/>
                </a:lnTo>
                <a:lnTo>
                  <a:pt x="684" y="299"/>
                </a:lnTo>
                <a:lnTo>
                  <a:pt x="681" y="296"/>
                </a:lnTo>
                <a:lnTo>
                  <a:pt x="677" y="294"/>
                </a:lnTo>
                <a:lnTo>
                  <a:pt x="663" y="292"/>
                </a:lnTo>
                <a:lnTo>
                  <a:pt x="649" y="289"/>
                </a:lnTo>
                <a:lnTo>
                  <a:pt x="637" y="287"/>
                </a:lnTo>
                <a:lnTo>
                  <a:pt x="624" y="286"/>
                </a:lnTo>
                <a:lnTo>
                  <a:pt x="612" y="284"/>
                </a:lnTo>
                <a:lnTo>
                  <a:pt x="599" y="283"/>
                </a:lnTo>
                <a:lnTo>
                  <a:pt x="589" y="282"/>
                </a:lnTo>
                <a:lnTo>
                  <a:pt x="581" y="279"/>
                </a:lnTo>
                <a:lnTo>
                  <a:pt x="578" y="277"/>
                </a:lnTo>
                <a:lnTo>
                  <a:pt x="574" y="275"/>
                </a:lnTo>
                <a:lnTo>
                  <a:pt x="572" y="271"/>
                </a:lnTo>
                <a:lnTo>
                  <a:pt x="569" y="268"/>
                </a:lnTo>
                <a:lnTo>
                  <a:pt x="566" y="263"/>
                </a:lnTo>
                <a:lnTo>
                  <a:pt x="563" y="261"/>
                </a:lnTo>
                <a:lnTo>
                  <a:pt x="560" y="259"/>
                </a:lnTo>
                <a:lnTo>
                  <a:pt x="555" y="256"/>
                </a:lnTo>
                <a:lnTo>
                  <a:pt x="553" y="255"/>
                </a:lnTo>
                <a:lnTo>
                  <a:pt x="552" y="254"/>
                </a:lnTo>
                <a:lnTo>
                  <a:pt x="553" y="252"/>
                </a:lnTo>
                <a:lnTo>
                  <a:pt x="553" y="251"/>
                </a:lnTo>
                <a:lnTo>
                  <a:pt x="556" y="249"/>
                </a:lnTo>
                <a:lnTo>
                  <a:pt x="557" y="245"/>
                </a:lnTo>
                <a:lnTo>
                  <a:pt x="554" y="239"/>
                </a:lnTo>
                <a:lnTo>
                  <a:pt x="549" y="234"/>
                </a:lnTo>
                <a:lnTo>
                  <a:pt x="546" y="230"/>
                </a:lnTo>
                <a:lnTo>
                  <a:pt x="542" y="228"/>
                </a:lnTo>
                <a:lnTo>
                  <a:pt x="538" y="227"/>
                </a:lnTo>
                <a:lnTo>
                  <a:pt x="532" y="226"/>
                </a:lnTo>
                <a:lnTo>
                  <a:pt x="520" y="224"/>
                </a:lnTo>
                <a:lnTo>
                  <a:pt x="508" y="220"/>
                </a:lnTo>
                <a:lnTo>
                  <a:pt x="496" y="217"/>
                </a:lnTo>
                <a:lnTo>
                  <a:pt x="484" y="212"/>
                </a:lnTo>
                <a:lnTo>
                  <a:pt x="471" y="208"/>
                </a:lnTo>
                <a:lnTo>
                  <a:pt x="457" y="202"/>
                </a:lnTo>
                <a:lnTo>
                  <a:pt x="443" y="196"/>
                </a:lnTo>
                <a:lnTo>
                  <a:pt x="430" y="191"/>
                </a:lnTo>
                <a:lnTo>
                  <a:pt x="417" y="185"/>
                </a:lnTo>
                <a:lnTo>
                  <a:pt x="406" y="179"/>
                </a:lnTo>
                <a:lnTo>
                  <a:pt x="393" y="173"/>
                </a:lnTo>
                <a:lnTo>
                  <a:pt x="381" y="169"/>
                </a:lnTo>
                <a:lnTo>
                  <a:pt x="369" y="166"/>
                </a:lnTo>
                <a:lnTo>
                  <a:pt x="358" y="164"/>
                </a:lnTo>
                <a:lnTo>
                  <a:pt x="350" y="168"/>
                </a:lnTo>
                <a:lnTo>
                  <a:pt x="341" y="171"/>
                </a:lnTo>
                <a:lnTo>
                  <a:pt x="338" y="171"/>
                </a:lnTo>
                <a:lnTo>
                  <a:pt x="333" y="170"/>
                </a:lnTo>
                <a:lnTo>
                  <a:pt x="331" y="171"/>
                </a:lnTo>
                <a:lnTo>
                  <a:pt x="330" y="171"/>
                </a:lnTo>
                <a:lnTo>
                  <a:pt x="330" y="173"/>
                </a:lnTo>
                <a:lnTo>
                  <a:pt x="332" y="176"/>
                </a:lnTo>
                <a:lnTo>
                  <a:pt x="339" y="180"/>
                </a:lnTo>
                <a:lnTo>
                  <a:pt x="344" y="187"/>
                </a:lnTo>
                <a:lnTo>
                  <a:pt x="341" y="187"/>
                </a:lnTo>
                <a:lnTo>
                  <a:pt x="338" y="186"/>
                </a:lnTo>
                <a:lnTo>
                  <a:pt x="333" y="184"/>
                </a:lnTo>
                <a:lnTo>
                  <a:pt x="330" y="181"/>
                </a:lnTo>
                <a:lnTo>
                  <a:pt x="326" y="179"/>
                </a:lnTo>
                <a:lnTo>
                  <a:pt x="324" y="179"/>
                </a:lnTo>
                <a:lnTo>
                  <a:pt x="322" y="180"/>
                </a:lnTo>
                <a:lnTo>
                  <a:pt x="319" y="184"/>
                </a:lnTo>
                <a:lnTo>
                  <a:pt x="319" y="185"/>
                </a:lnTo>
                <a:lnTo>
                  <a:pt x="318" y="187"/>
                </a:lnTo>
                <a:lnTo>
                  <a:pt x="315" y="187"/>
                </a:lnTo>
                <a:lnTo>
                  <a:pt x="310" y="187"/>
                </a:lnTo>
                <a:lnTo>
                  <a:pt x="303" y="187"/>
                </a:lnTo>
                <a:lnTo>
                  <a:pt x="297" y="189"/>
                </a:lnTo>
                <a:lnTo>
                  <a:pt x="283" y="192"/>
                </a:lnTo>
                <a:lnTo>
                  <a:pt x="269" y="194"/>
                </a:lnTo>
                <a:lnTo>
                  <a:pt x="262" y="197"/>
                </a:lnTo>
                <a:lnTo>
                  <a:pt x="257" y="201"/>
                </a:lnTo>
                <a:lnTo>
                  <a:pt x="251" y="204"/>
                </a:lnTo>
                <a:lnTo>
                  <a:pt x="247" y="209"/>
                </a:lnTo>
                <a:lnTo>
                  <a:pt x="239" y="219"/>
                </a:lnTo>
                <a:lnTo>
                  <a:pt x="231" y="229"/>
                </a:lnTo>
                <a:lnTo>
                  <a:pt x="226" y="236"/>
                </a:lnTo>
                <a:lnTo>
                  <a:pt x="223" y="243"/>
                </a:lnTo>
                <a:lnTo>
                  <a:pt x="221" y="250"/>
                </a:lnTo>
                <a:lnTo>
                  <a:pt x="220" y="255"/>
                </a:lnTo>
                <a:lnTo>
                  <a:pt x="220" y="262"/>
                </a:lnTo>
                <a:lnTo>
                  <a:pt x="223" y="269"/>
                </a:lnTo>
                <a:lnTo>
                  <a:pt x="225" y="276"/>
                </a:lnTo>
                <a:lnTo>
                  <a:pt x="227" y="283"/>
                </a:lnTo>
                <a:lnTo>
                  <a:pt x="225" y="282"/>
                </a:lnTo>
                <a:lnTo>
                  <a:pt x="221" y="280"/>
                </a:lnTo>
                <a:lnTo>
                  <a:pt x="219" y="280"/>
                </a:lnTo>
                <a:lnTo>
                  <a:pt x="217" y="282"/>
                </a:lnTo>
                <a:lnTo>
                  <a:pt x="220" y="286"/>
                </a:lnTo>
                <a:lnTo>
                  <a:pt x="225" y="288"/>
                </a:lnTo>
                <a:lnTo>
                  <a:pt x="227" y="289"/>
                </a:lnTo>
                <a:lnTo>
                  <a:pt x="228" y="292"/>
                </a:lnTo>
                <a:lnTo>
                  <a:pt x="229" y="294"/>
                </a:lnTo>
                <a:lnTo>
                  <a:pt x="228" y="297"/>
                </a:lnTo>
                <a:lnTo>
                  <a:pt x="227" y="302"/>
                </a:lnTo>
                <a:lnTo>
                  <a:pt x="227" y="308"/>
                </a:lnTo>
                <a:lnTo>
                  <a:pt x="229" y="312"/>
                </a:lnTo>
                <a:lnTo>
                  <a:pt x="232" y="318"/>
                </a:lnTo>
                <a:lnTo>
                  <a:pt x="242" y="326"/>
                </a:lnTo>
                <a:lnTo>
                  <a:pt x="253" y="334"/>
                </a:lnTo>
                <a:lnTo>
                  <a:pt x="264" y="344"/>
                </a:lnTo>
                <a:lnTo>
                  <a:pt x="273" y="355"/>
                </a:lnTo>
                <a:lnTo>
                  <a:pt x="278" y="360"/>
                </a:lnTo>
                <a:lnTo>
                  <a:pt x="284" y="363"/>
                </a:lnTo>
                <a:lnTo>
                  <a:pt x="290" y="367"/>
                </a:lnTo>
                <a:lnTo>
                  <a:pt x="297" y="369"/>
                </a:lnTo>
                <a:lnTo>
                  <a:pt x="310" y="372"/>
                </a:lnTo>
                <a:lnTo>
                  <a:pt x="324" y="378"/>
                </a:lnTo>
                <a:lnTo>
                  <a:pt x="328" y="380"/>
                </a:lnTo>
                <a:lnTo>
                  <a:pt x="333" y="384"/>
                </a:lnTo>
                <a:lnTo>
                  <a:pt x="334" y="386"/>
                </a:lnTo>
                <a:lnTo>
                  <a:pt x="334" y="388"/>
                </a:lnTo>
                <a:lnTo>
                  <a:pt x="332" y="390"/>
                </a:lnTo>
                <a:lnTo>
                  <a:pt x="330" y="390"/>
                </a:lnTo>
                <a:lnTo>
                  <a:pt x="324" y="388"/>
                </a:lnTo>
                <a:lnTo>
                  <a:pt x="318" y="386"/>
                </a:lnTo>
                <a:lnTo>
                  <a:pt x="313" y="385"/>
                </a:lnTo>
                <a:lnTo>
                  <a:pt x="307" y="385"/>
                </a:lnTo>
                <a:lnTo>
                  <a:pt x="308" y="387"/>
                </a:lnTo>
                <a:lnTo>
                  <a:pt x="310" y="390"/>
                </a:lnTo>
                <a:lnTo>
                  <a:pt x="313" y="391"/>
                </a:lnTo>
                <a:lnTo>
                  <a:pt x="316" y="392"/>
                </a:lnTo>
                <a:lnTo>
                  <a:pt x="324" y="393"/>
                </a:lnTo>
                <a:lnTo>
                  <a:pt x="328" y="394"/>
                </a:lnTo>
                <a:lnTo>
                  <a:pt x="332" y="396"/>
                </a:lnTo>
                <a:lnTo>
                  <a:pt x="334" y="399"/>
                </a:lnTo>
                <a:lnTo>
                  <a:pt x="336" y="400"/>
                </a:lnTo>
                <a:lnTo>
                  <a:pt x="338" y="401"/>
                </a:lnTo>
                <a:lnTo>
                  <a:pt x="339" y="401"/>
                </a:lnTo>
                <a:lnTo>
                  <a:pt x="341" y="400"/>
                </a:lnTo>
                <a:lnTo>
                  <a:pt x="346" y="400"/>
                </a:lnTo>
                <a:lnTo>
                  <a:pt x="351" y="401"/>
                </a:lnTo>
                <a:lnTo>
                  <a:pt x="356" y="402"/>
                </a:lnTo>
                <a:lnTo>
                  <a:pt x="360" y="403"/>
                </a:lnTo>
                <a:lnTo>
                  <a:pt x="366" y="404"/>
                </a:lnTo>
                <a:lnTo>
                  <a:pt x="364" y="404"/>
                </a:lnTo>
                <a:lnTo>
                  <a:pt x="359" y="403"/>
                </a:lnTo>
                <a:lnTo>
                  <a:pt x="360" y="403"/>
                </a:lnTo>
                <a:lnTo>
                  <a:pt x="371" y="405"/>
                </a:lnTo>
                <a:lnTo>
                  <a:pt x="381" y="409"/>
                </a:lnTo>
                <a:lnTo>
                  <a:pt x="391" y="411"/>
                </a:lnTo>
                <a:lnTo>
                  <a:pt x="401" y="412"/>
                </a:lnTo>
                <a:lnTo>
                  <a:pt x="407" y="413"/>
                </a:lnTo>
                <a:lnTo>
                  <a:pt x="412" y="416"/>
                </a:lnTo>
                <a:lnTo>
                  <a:pt x="414" y="417"/>
                </a:lnTo>
                <a:lnTo>
                  <a:pt x="415" y="417"/>
                </a:lnTo>
                <a:lnTo>
                  <a:pt x="416" y="419"/>
                </a:lnTo>
                <a:lnTo>
                  <a:pt x="417" y="422"/>
                </a:lnTo>
                <a:lnTo>
                  <a:pt x="416" y="421"/>
                </a:lnTo>
                <a:lnTo>
                  <a:pt x="413" y="421"/>
                </a:lnTo>
                <a:lnTo>
                  <a:pt x="409" y="421"/>
                </a:lnTo>
                <a:lnTo>
                  <a:pt x="406" y="421"/>
                </a:lnTo>
                <a:lnTo>
                  <a:pt x="392" y="418"/>
                </a:lnTo>
                <a:lnTo>
                  <a:pt x="381" y="413"/>
                </a:lnTo>
                <a:lnTo>
                  <a:pt x="368" y="412"/>
                </a:lnTo>
                <a:lnTo>
                  <a:pt x="357" y="411"/>
                </a:lnTo>
                <a:lnTo>
                  <a:pt x="351" y="412"/>
                </a:lnTo>
                <a:lnTo>
                  <a:pt x="346" y="412"/>
                </a:lnTo>
                <a:lnTo>
                  <a:pt x="343" y="412"/>
                </a:lnTo>
                <a:lnTo>
                  <a:pt x="342" y="411"/>
                </a:lnTo>
                <a:lnTo>
                  <a:pt x="340" y="410"/>
                </a:lnTo>
                <a:lnTo>
                  <a:pt x="338" y="408"/>
                </a:lnTo>
                <a:lnTo>
                  <a:pt x="338" y="404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6" y="402"/>
                </a:lnTo>
                <a:lnTo>
                  <a:pt x="336" y="402"/>
                </a:lnTo>
                <a:lnTo>
                  <a:pt x="338" y="402"/>
                </a:lnTo>
                <a:lnTo>
                  <a:pt x="334" y="402"/>
                </a:lnTo>
                <a:lnTo>
                  <a:pt x="332" y="402"/>
                </a:lnTo>
                <a:lnTo>
                  <a:pt x="326" y="400"/>
                </a:lnTo>
                <a:lnTo>
                  <a:pt x="321" y="396"/>
                </a:lnTo>
                <a:lnTo>
                  <a:pt x="315" y="395"/>
                </a:lnTo>
                <a:lnTo>
                  <a:pt x="309" y="394"/>
                </a:lnTo>
                <a:lnTo>
                  <a:pt x="302" y="394"/>
                </a:lnTo>
                <a:lnTo>
                  <a:pt x="295" y="393"/>
                </a:lnTo>
                <a:lnTo>
                  <a:pt x="292" y="391"/>
                </a:lnTo>
                <a:lnTo>
                  <a:pt x="289" y="387"/>
                </a:lnTo>
                <a:lnTo>
                  <a:pt x="286" y="385"/>
                </a:lnTo>
                <a:lnTo>
                  <a:pt x="286" y="384"/>
                </a:lnTo>
                <a:lnTo>
                  <a:pt x="286" y="383"/>
                </a:lnTo>
                <a:lnTo>
                  <a:pt x="288" y="380"/>
                </a:lnTo>
                <a:lnTo>
                  <a:pt x="291" y="380"/>
                </a:lnTo>
                <a:lnTo>
                  <a:pt x="294" y="382"/>
                </a:lnTo>
                <a:lnTo>
                  <a:pt x="295" y="383"/>
                </a:lnTo>
                <a:lnTo>
                  <a:pt x="297" y="384"/>
                </a:lnTo>
                <a:lnTo>
                  <a:pt x="298" y="383"/>
                </a:lnTo>
                <a:lnTo>
                  <a:pt x="298" y="380"/>
                </a:lnTo>
                <a:lnTo>
                  <a:pt x="294" y="378"/>
                </a:lnTo>
                <a:lnTo>
                  <a:pt x="290" y="376"/>
                </a:lnTo>
                <a:lnTo>
                  <a:pt x="278" y="374"/>
                </a:lnTo>
                <a:lnTo>
                  <a:pt x="268" y="371"/>
                </a:lnTo>
                <a:lnTo>
                  <a:pt x="255" y="364"/>
                </a:lnTo>
                <a:lnTo>
                  <a:pt x="242" y="358"/>
                </a:lnTo>
                <a:lnTo>
                  <a:pt x="229" y="351"/>
                </a:lnTo>
                <a:lnTo>
                  <a:pt x="217" y="343"/>
                </a:lnTo>
                <a:lnTo>
                  <a:pt x="206" y="336"/>
                </a:lnTo>
                <a:lnTo>
                  <a:pt x="194" y="329"/>
                </a:lnTo>
                <a:lnTo>
                  <a:pt x="183" y="322"/>
                </a:lnTo>
                <a:lnTo>
                  <a:pt x="171" y="314"/>
                </a:lnTo>
                <a:lnTo>
                  <a:pt x="162" y="304"/>
                </a:lnTo>
                <a:lnTo>
                  <a:pt x="154" y="295"/>
                </a:lnTo>
                <a:lnTo>
                  <a:pt x="149" y="291"/>
                </a:lnTo>
                <a:lnTo>
                  <a:pt x="144" y="287"/>
                </a:lnTo>
                <a:lnTo>
                  <a:pt x="138" y="284"/>
                </a:lnTo>
                <a:lnTo>
                  <a:pt x="132" y="283"/>
                </a:lnTo>
                <a:lnTo>
                  <a:pt x="126" y="284"/>
                </a:lnTo>
                <a:lnTo>
                  <a:pt x="119" y="285"/>
                </a:lnTo>
                <a:lnTo>
                  <a:pt x="113" y="287"/>
                </a:lnTo>
                <a:lnTo>
                  <a:pt x="108" y="291"/>
                </a:lnTo>
                <a:lnTo>
                  <a:pt x="96" y="299"/>
                </a:lnTo>
                <a:lnTo>
                  <a:pt x="88" y="308"/>
                </a:lnTo>
                <a:lnTo>
                  <a:pt x="85" y="311"/>
                </a:lnTo>
                <a:lnTo>
                  <a:pt x="83" y="314"/>
                </a:lnTo>
                <a:lnTo>
                  <a:pt x="79" y="317"/>
                </a:lnTo>
                <a:lnTo>
                  <a:pt x="75" y="318"/>
                </a:lnTo>
                <a:lnTo>
                  <a:pt x="72" y="318"/>
                </a:lnTo>
                <a:lnTo>
                  <a:pt x="70" y="318"/>
                </a:lnTo>
                <a:lnTo>
                  <a:pt x="68" y="319"/>
                </a:lnTo>
                <a:lnTo>
                  <a:pt x="66" y="321"/>
                </a:lnTo>
                <a:lnTo>
                  <a:pt x="61" y="325"/>
                </a:lnTo>
                <a:lnTo>
                  <a:pt x="54" y="327"/>
                </a:lnTo>
                <a:lnTo>
                  <a:pt x="50" y="328"/>
                </a:lnTo>
                <a:lnTo>
                  <a:pt x="45" y="329"/>
                </a:lnTo>
                <a:lnTo>
                  <a:pt x="43" y="332"/>
                </a:lnTo>
                <a:lnTo>
                  <a:pt x="38" y="336"/>
                </a:lnTo>
                <a:lnTo>
                  <a:pt x="28" y="343"/>
                </a:lnTo>
                <a:lnTo>
                  <a:pt x="18" y="349"/>
                </a:lnTo>
                <a:lnTo>
                  <a:pt x="12" y="352"/>
                </a:lnTo>
                <a:lnTo>
                  <a:pt x="8" y="355"/>
                </a:lnTo>
                <a:lnTo>
                  <a:pt x="4" y="359"/>
                </a:lnTo>
                <a:lnTo>
                  <a:pt x="2" y="363"/>
                </a:lnTo>
                <a:lnTo>
                  <a:pt x="0" y="368"/>
                </a:lnTo>
                <a:lnTo>
                  <a:pt x="0" y="372"/>
                </a:lnTo>
                <a:lnTo>
                  <a:pt x="0" y="378"/>
                </a:lnTo>
                <a:lnTo>
                  <a:pt x="1" y="384"/>
                </a:lnTo>
                <a:lnTo>
                  <a:pt x="4" y="388"/>
                </a:lnTo>
                <a:lnTo>
                  <a:pt x="5" y="394"/>
                </a:lnTo>
                <a:lnTo>
                  <a:pt x="2" y="399"/>
                </a:lnTo>
                <a:lnTo>
                  <a:pt x="1" y="403"/>
                </a:lnTo>
                <a:lnTo>
                  <a:pt x="4" y="408"/>
                </a:lnTo>
                <a:lnTo>
                  <a:pt x="9" y="412"/>
                </a:lnTo>
                <a:lnTo>
                  <a:pt x="14" y="417"/>
                </a:lnTo>
                <a:lnTo>
                  <a:pt x="21" y="421"/>
                </a:lnTo>
                <a:lnTo>
                  <a:pt x="33" y="430"/>
                </a:lnTo>
                <a:lnTo>
                  <a:pt x="46" y="437"/>
                </a:lnTo>
                <a:lnTo>
                  <a:pt x="60" y="444"/>
                </a:lnTo>
                <a:lnTo>
                  <a:pt x="74" y="451"/>
                </a:lnTo>
                <a:lnTo>
                  <a:pt x="79" y="455"/>
                </a:lnTo>
                <a:lnTo>
                  <a:pt x="86" y="459"/>
                </a:lnTo>
                <a:lnTo>
                  <a:pt x="89" y="460"/>
                </a:lnTo>
                <a:lnTo>
                  <a:pt x="94" y="461"/>
                </a:lnTo>
                <a:lnTo>
                  <a:pt x="97" y="462"/>
                </a:lnTo>
                <a:lnTo>
                  <a:pt x="101" y="461"/>
                </a:lnTo>
                <a:lnTo>
                  <a:pt x="109" y="460"/>
                </a:lnTo>
                <a:lnTo>
                  <a:pt x="118" y="461"/>
                </a:lnTo>
                <a:lnTo>
                  <a:pt x="126" y="463"/>
                </a:lnTo>
                <a:lnTo>
                  <a:pt x="135" y="466"/>
                </a:lnTo>
                <a:lnTo>
                  <a:pt x="152" y="470"/>
                </a:lnTo>
                <a:lnTo>
                  <a:pt x="169" y="475"/>
                </a:lnTo>
                <a:lnTo>
                  <a:pt x="187" y="478"/>
                </a:lnTo>
                <a:lnTo>
                  <a:pt x="204" y="482"/>
                </a:lnTo>
                <a:lnTo>
                  <a:pt x="214" y="484"/>
                </a:lnTo>
                <a:lnTo>
                  <a:pt x="223" y="486"/>
                </a:lnTo>
                <a:lnTo>
                  <a:pt x="232" y="488"/>
                </a:lnTo>
                <a:lnTo>
                  <a:pt x="241" y="491"/>
                </a:lnTo>
                <a:lnTo>
                  <a:pt x="244" y="491"/>
                </a:lnTo>
                <a:lnTo>
                  <a:pt x="248" y="492"/>
                </a:lnTo>
                <a:lnTo>
                  <a:pt x="250" y="493"/>
                </a:lnTo>
                <a:lnTo>
                  <a:pt x="251" y="495"/>
                </a:lnTo>
                <a:lnTo>
                  <a:pt x="250" y="496"/>
                </a:lnTo>
                <a:lnTo>
                  <a:pt x="247" y="498"/>
                </a:lnTo>
                <a:lnTo>
                  <a:pt x="244" y="498"/>
                </a:lnTo>
                <a:lnTo>
                  <a:pt x="242" y="498"/>
                </a:lnTo>
                <a:lnTo>
                  <a:pt x="239" y="499"/>
                </a:lnTo>
                <a:lnTo>
                  <a:pt x="235" y="499"/>
                </a:lnTo>
                <a:lnTo>
                  <a:pt x="232" y="499"/>
                </a:lnTo>
                <a:lnTo>
                  <a:pt x="229" y="501"/>
                </a:lnTo>
                <a:lnTo>
                  <a:pt x="226" y="505"/>
                </a:lnTo>
                <a:lnTo>
                  <a:pt x="223" y="512"/>
                </a:lnTo>
                <a:lnTo>
                  <a:pt x="220" y="518"/>
                </a:lnTo>
                <a:lnTo>
                  <a:pt x="220" y="525"/>
                </a:lnTo>
                <a:lnTo>
                  <a:pt x="221" y="530"/>
                </a:lnTo>
                <a:lnTo>
                  <a:pt x="226" y="536"/>
                </a:lnTo>
                <a:lnTo>
                  <a:pt x="221" y="536"/>
                </a:lnTo>
                <a:lnTo>
                  <a:pt x="217" y="537"/>
                </a:lnTo>
                <a:lnTo>
                  <a:pt x="217" y="540"/>
                </a:lnTo>
                <a:lnTo>
                  <a:pt x="217" y="541"/>
                </a:lnTo>
                <a:lnTo>
                  <a:pt x="219" y="542"/>
                </a:lnTo>
                <a:lnTo>
                  <a:pt x="220" y="542"/>
                </a:lnTo>
                <a:lnTo>
                  <a:pt x="226" y="544"/>
                </a:lnTo>
                <a:lnTo>
                  <a:pt x="231" y="546"/>
                </a:lnTo>
                <a:lnTo>
                  <a:pt x="235" y="550"/>
                </a:lnTo>
                <a:lnTo>
                  <a:pt x="239" y="554"/>
                </a:lnTo>
                <a:lnTo>
                  <a:pt x="223" y="551"/>
                </a:lnTo>
                <a:lnTo>
                  <a:pt x="208" y="548"/>
                </a:lnTo>
                <a:lnTo>
                  <a:pt x="200" y="546"/>
                </a:lnTo>
                <a:lnTo>
                  <a:pt x="193" y="546"/>
                </a:lnTo>
                <a:lnTo>
                  <a:pt x="191" y="546"/>
                </a:lnTo>
                <a:lnTo>
                  <a:pt x="190" y="546"/>
                </a:lnTo>
                <a:lnTo>
                  <a:pt x="187" y="548"/>
                </a:lnTo>
                <a:lnTo>
                  <a:pt x="187" y="546"/>
                </a:lnTo>
                <a:lnTo>
                  <a:pt x="186" y="545"/>
                </a:lnTo>
                <a:lnTo>
                  <a:pt x="185" y="546"/>
                </a:lnTo>
                <a:lnTo>
                  <a:pt x="186" y="548"/>
                </a:lnTo>
                <a:lnTo>
                  <a:pt x="188" y="550"/>
                </a:lnTo>
                <a:lnTo>
                  <a:pt x="190" y="552"/>
                </a:lnTo>
                <a:lnTo>
                  <a:pt x="191" y="553"/>
                </a:lnTo>
                <a:lnTo>
                  <a:pt x="187" y="554"/>
                </a:lnTo>
                <a:lnTo>
                  <a:pt x="183" y="554"/>
                </a:lnTo>
                <a:lnTo>
                  <a:pt x="177" y="553"/>
                </a:lnTo>
                <a:lnTo>
                  <a:pt x="174" y="552"/>
                </a:lnTo>
                <a:lnTo>
                  <a:pt x="169" y="552"/>
                </a:lnTo>
                <a:lnTo>
                  <a:pt x="165" y="552"/>
                </a:lnTo>
                <a:lnTo>
                  <a:pt x="160" y="553"/>
                </a:lnTo>
                <a:lnTo>
                  <a:pt x="155" y="556"/>
                </a:lnTo>
                <a:lnTo>
                  <a:pt x="152" y="558"/>
                </a:lnTo>
                <a:lnTo>
                  <a:pt x="149" y="561"/>
                </a:lnTo>
                <a:lnTo>
                  <a:pt x="146" y="565"/>
                </a:lnTo>
                <a:lnTo>
                  <a:pt x="143" y="569"/>
                </a:lnTo>
                <a:lnTo>
                  <a:pt x="140" y="577"/>
                </a:lnTo>
                <a:lnTo>
                  <a:pt x="137" y="586"/>
                </a:lnTo>
                <a:lnTo>
                  <a:pt x="135" y="595"/>
                </a:lnTo>
                <a:lnTo>
                  <a:pt x="135" y="604"/>
                </a:lnTo>
                <a:lnTo>
                  <a:pt x="137" y="606"/>
                </a:lnTo>
                <a:lnTo>
                  <a:pt x="137" y="607"/>
                </a:lnTo>
                <a:lnTo>
                  <a:pt x="137" y="608"/>
                </a:lnTo>
                <a:lnTo>
                  <a:pt x="136" y="610"/>
                </a:lnTo>
                <a:lnTo>
                  <a:pt x="135" y="612"/>
                </a:lnTo>
                <a:lnTo>
                  <a:pt x="133" y="616"/>
                </a:lnTo>
                <a:lnTo>
                  <a:pt x="132" y="619"/>
                </a:lnTo>
                <a:lnTo>
                  <a:pt x="130" y="621"/>
                </a:lnTo>
                <a:lnTo>
                  <a:pt x="130" y="625"/>
                </a:lnTo>
                <a:lnTo>
                  <a:pt x="134" y="627"/>
                </a:lnTo>
                <a:lnTo>
                  <a:pt x="132" y="628"/>
                </a:lnTo>
                <a:lnTo>
                  <a:pt x="129" y="629"/>
                </a:lnTo>
                <a:lnTo>
                  <a:pt x="128" y="629"/>
                </a:lnTo>
                <a:lnTo>
                  <a:pt x="128" y="631"/>
                </a:lnTo>
                <a:lnTo>
                  <a:pt x="128" y="632"/>
                </a:lnTo>
                <a:lnTo>
                  <a:pt x="128" y="633"/>
                </a:lnTo>
                <a:lnTo>
                  <a:pt x="130" y="634"/>
                </a:lnTo>
                <a:lnTo>
                  <a:pt x="133" y="635"/>
                </a:lnTo>
                <a:lnTo>
                  <a:pt x="138" y="637"/>
                </a:lnTo>
                <a:lnTo>
                  <a:pt x="143" y="640"/>
                </a:lnTo>
                <a:lnTo>
                  <a:pt x="153" y="644"/>
                </a:lnTo>
                <a:lnTo>
                  <a:pt x="162" y="648"/>
                </a:lnTo>
                <a:lnTo>
                  <a:pt x="173" y="651"/>
                </a:lnTo>
                <a:lnTo>
                  <a:pt x="183" y="656"/>
                </a:lnTo>
                <a:lnTo>
                  <a:pt x="181" y="658"/>
                </a:lnTo>
                <a:lnTo>
                  <a:pt x="178" y="660"/>
                </a:lnTo>
                <a:lnTo>
                  <a:pt x="177" y="662"/>
                </a:lnTo>
                <a:lnTo>
                  <a:pt x="176" y="666"/>
                </a:lnTo>
                <a:lnTo>
                  <a:pt x="183" y="670"/>
                </a:lnTo>
                <a:lnTo>
                  <a:pt x="190" y="674"/>
                </a:lnTo>
                <a:lnTo>
                  <a:pt x="196" y="681"/>
                </a:lnTo>
                <a:lnTo>
                  <a:pt x="204" y="687"/>
                </a:lnTo>
                <a:lnTo>
                  <a:pt x="212" y="693"/>
                </a:lnTo>
                <a:lnTo>
                  <a:pt x="223" y="698"/>
                </a:lnTo>
                <a:lnTo>
                  <a:pt x="211" y="696"/>
                </a:lnTo>
                <a:lnTo>
                  <a:pt x="201" y="696"/>
                </a:lnTo>
                <a:lnTo>
                  <a:pt x="210" y="701"/>
                </a:lnTo>
                <a:lnTo>
                  <a:pt x="220" y="706"/>
                </a:lnTo>
                <a:lnTo>
                  <a:pt x="229" y="709"/>
                </a:lnTo>
                <a:lnTo>
                  <a:pt x="237" y="714"/>
                </a:lnTo>
                <a:lnTo>
                  <a:pt x="249" y="717"/>
                </a:lnTo>
                <a:lnTo>
                  <a:pt x="259" y="720"/>
                </a:lnTo>
                <a:lnTo>
                  <a:pt x="269" y="724"/>
                </a:lnTo>
                <a:lnTo>
                  <a:pt x="281" y="726"/>
                </a:lnTo>
                <a:lnTo>
                  <a:pt x="291" y="728"/>
                </a:lnTo>
                <a:lnTo>
                  <a:pt x="301" y="731"/>
                </a:lnTo>
                <a:lnTo>
                  <a:pt x="313" y="733"/>
                </a:lnTo>
                <a:lnTo>
                  <a:pt x="323" y="734"/>
                </a:lnTo>
                <a:lnTo>
                  <a:pt x="334" y="735"/>
                </a:lnTo>
                <a:lnTo>
                  <a:pt x="344" y="737"/>
                </a:lnTo>
                <a:lnTo>
                  <a:pt x="349" y="739"/>
                </a:lnTo>
                <a:lnTo>
                  <a:pt x="351" y="740"/>
                </a:lnTo>
                <a:lnTo>
                  <a:pt x="350" y="742"/>
                </a:lnTo>
                <a:lnTo>
                  <a:pt x="349" y="745"/>
                </a:lnTo>
                <a:lnTo>
                  <a:pt x="375" y="749"/>
                </a:lnTo>
                <a:lnTo>
                  <a:pt x="400" y="752"/>
                </a:lnTo>
                <a:lnTo>
                  <a:pt x="425" y="754"/>
                </a:lnTo>
                <a:lnTo>
                  <a:pt x="451" y="757"/>
                </a:lnTo>
                <a:lnTo>
                  <a:pt x="463" y="757"/>
                </a:lnTo>
                <a:lnTo>
                  <a:pt x="474" y="758"/>
                </a:lnTo>
                <a:lnTo>
                  <a:pt x="486" y="758"/>
                </a:lnTo>
                <a:lnTo>
                  <a:pt x="497" y="760"/>
                </a:lnTo>
                <a:lnTo>
                  <a:pt x="508" y="762"/>
                </a:lnTo>
                <a:lnTo>
                  <a:pt x="521" y="764"/>
                </a:lnTo>
                <a:lnTo>
                  <a:pt x="533" y="765"/>
                </a:lnTo>
                <a:lnTo>
                  <a:pt x="545" y="766"/>
                </a:lnTo>
                <a:lnTo>
                  <a:pt x="539" y="768"/>
                </a:lnTo>
                <a:lnTo>
                  <a:pt x="532" y="768"/>
                </a:lnTo>
                <a:lnTo>
                  <a:pt x="529" y="768"/>
                </a:lnTo>
                <a:lnTo>
                  <a:pt x="525" y="769"/>
                </a:lnTo>
                <a:lnTo>
                  <a:pt x="524" y="772"/>
                </a:lnTo>
                <a:lnTo>
                  <a:pt x="525" y="773"/>
                </a:lnTo>
                <a:lnTo>
                  <a:pt x="528" y="774"/>
                </a:lnTo>
                <a:lnTo>
                  <a:pt x="530" y="773"/>
                </a:lnTo>
                <a:lnTo>
                  <a:pt x="536" y="772"/>
                </a:lnTo>
                <a:lnTo>
                  <a:pt x="539" y="772"/>
                </a:lnTo>
                <a:lnTo>
                  <a:pt x="544" y="772"/>
                </a:lnTo>
                <a:lnTo>
                  <a:pt x="548" y="772"/>
                </a:lnTo>
                <a:lnTo>
                  <a:pt x="553" y="772"/>
                </a:lnTo>
                <a:lnTo>
                  <a:pt x="557" y="768"/>
                </a:lnTo>
                <a:lnTo>
                  <a:pt x="560" y="766"/>
                </a:lnTo>
                <a:lnTo>
                  <a:pt x="563" y="762"/>
                </a:lnTo>
                <a:lnTo>
                  <a:pt x="566" y="762"/>
                </a:lnTo>
                <a:lnTo>
                  <a:pt x="571" y="761"/>
                </a:lnTo>
                <a:lnTo>
                  <a:pt x="575" y="762"/>
                </a:lnTo>
                <a:lnTo>
                  <a:pt x="579" y="765"/>
                </a:lnTo>
                <a:lnTo>
                  <a:pt x="580" y="766"/>
                </a:lnTo>
                <a:lnTo>
                  <a:pt x="581" y="766"/>
                </a:lnTo>
                <a:lnTo>
                  <a:pt x="580" y="767"/>
                </a:lnTo>
                <a:lnTo>
                  <a:pt x="580" y="768"/>
                </a:lnTo>
                <a:lnTo>
                  <a:pt x="579" y="768"/>
                </a:lnTo>
                <a:lnTo>
                  <a:pt x="578" y="769"/>
                </a:lnTo>
                <a:close/>
                <a:moveTo>
                  <a:pt x="580" y="768"/>
                </a:moveTo>
                <a:lnTo>
                  <a:pt x="580" y="767"/>
                </a:lnTo>
                <a:lnTo>
                  <a:pt x="580" y="768"/>
                </a:lnTo>
                <a:close/>
                <a:moveTo>
                  <a:pt x="728" y="460"/>
                </a:moveTo>
                <a:lnTo>
                  <a:pt x="719" y="460"/>
                </a:lnTo>
                <a:lnTo>
                  <a:pt x="711" y="460"/>
                </a:lnTo>
                <a:lnTo>
                  <a:pt x="714" y="462"/>
                </a:lnTo>
                <a:lnTo>
                  <a:pt x="719" y="462"/>
                </a:lnTo>
                <a:lnTo>
                  <a:pt x="723" y="461"/>
                </a:lnTo>
                <a:lnTo>
                  <a:pt x="728" y="460"/>
                </a:lnTo>
                <a:close/>
                <a:moveTo>
                  <a:pt x="611" y="715"/>
                </a:moveTo>
                <a:lnTo>
                  <a:pt x="608" y="715"/>
                </a:lnTo>
                <a:lnTo>
                  <a:pt x="607" y="716"/>
                </a:lnTo>
                <a:lnTo>
                  <a:pt x="608" y="717"/>
                </a:lnTo>
                <a:lnTo>
                  <a:pt x="612" y="717"/>
                </a:lnTo>
                <a:lnTo>
                  <a:pt x="621" y="716"/>
                </a:lnTo>
                <a:lnTo>
                  <a:pt x="631" y="716"/>
                </a:lnTo>
                <a:lnTo>
                  <a:pt x="640" y="716"/>
                </a:lnTo>
                <a:lnTo>
                  <a:pt x="649" y="715"/>
                </a:lnTo>
                <a:lnTo>
                  <a:pt x="651" y="715"/>
                </a:lnTo>
                <a:lnTo>
                  <a:pt x="652" y="715"/>
                </a:lnTo>
                <a:lnTo>
                  <a:pt x="653" y="714"/>
                </a:lnTo>
                <a:lnTo>
                  <a:pt x="653" y="712"/>
                </a:lnTo>
                <a:lnTo>
                  <a:pt x="653" y="711"/>
                </a:lnTo>
                <a:lnTo>
                  <a:pt x="654" y="711"/>
                </a:lnTo>
                <a:lnTo>
                  <a:pt x="655" y="710"/>
                </a:lnTo>
                <a:lnTo>
                  <a:pt x="657" y="710"/>
                </a:lnTo>
                <a:lnTo>
                  <a:pt x="660" y="710"/>
                </a:lnTo>
                <a:lnTo>
                  <a:pt x="663" y="709"/>
                </a:lnTo>
                <a:lnTo>
                  <a:pt x="665" y="708"/>
                </a:lnTo>
                <a:lnTo>
                  <a:pt x="667" y="706"/>
                </a:lnTo>
                <a:lnTo>
                  <a:pt x="667" y="703"/>
                </a:lnTo>
                <a:lnTo>
                  <a:pt x="664" y="703"/>
                </a:lnTo>
                <a:lnTo>
                  <a:pt x="661" y="703"/>
                </a:lnTo>
                <a:lnTo>
                  <a:pt x="659" y="703"/>
                </a:lnTo>
                <a:lnTo>
                  <a:pt x="651" y="704"/>
                </a:lnTo>
                <a:lnTo>
                  <a:pt x="643" y="706"/>
                </a:lnTo>
                <a:lnTo>
                  <a:pt x="639" y="707"/>
                </a:lnTo>
                <a:lnTo>
                  <a:pt x="636" y="708"/>
                </a:lnTo>
                <a:lnTo>
                  <a:pt x="632" y="709"/>
                </a:lnTo>
                <a:lnTo>
                  <a:pt x="631" y="709"/>
                </a:lnTo>
                <a:lnTo>
                  <a:pt x="630" y="710"/>
                </a:lnTo>
                <a:lnTo>
                  <a:pt x="630" y="712"/>
                </a:lnTo>
                <a:lnTo>
                  <a:pt x="627" y="712"/>
                </a:lnTo>
                <a:lnTo>
                  <a:pt x="623" y="712"/>
                </a:lnTo>
                <a:lnTo>
                  <a:pt x="624" y="710"/>
                </a:lnTo>
                <a:lnTo>
                  <a:pt x="624" y="709"/>
                </a:lnTo>
                <a:lnTo>
                  <a:pt x="623" y="707"/>
                </a:lnTo>
                <a:lnTo>
                  <a:pt x="622" y="707"/>
                </a:lnTo>
                <a:lnTo>
                  <a:pt x="620" y="707"/>
                </a:lnTo>
                <a:lnTo>
                  <a:pt x="619" y="709"/>
                </a:lnTo>
                <a:lnTo>
                  <a:pt x="620" y="710"/>
                </a:lnTo>
                <a:lnTo>
                  <a:pt x="621" y="711"/>
                </a:lnTo>
                <a:lnTo>
                  <a:pt x="616" y="714"/>
                </a:lnTo>
                <a:lnTo>
                  <a:pt x="611" y="715"/>
                </a:lnTo>
                <a:lnTo>
                  <a:pt x="612" y="714"/>
                </a:lnTo>
                <a:lnTo>
                  <a:pt x="611" y="715"/>
                </a:lnTo>
                <a:close/>
                <a:moveTo>
                  <a:pt x="773" y="732"/>
                </a:moveTo>
                <a:lnTo>
                  <a:pt x="773" y="734"/>
                </a:lnTo>
                <a:lnTo>
                  <a:pt x="773" y="734"/>
                </a:lnTo>
                <a:lnTo>
                  <a:pt x="775" y="735"/>
                </a:lnTo>
                <a:lnTo>
                  <a:pt x="776" y="735"/>
                </a:lnTo>
                <a:lnTo>
                  <a:pt x="779" y="735"/>
                </a:lnTo>
                <a:lnTo>
                  <a:pt x="781" y="735"/>
                </a:lnTo>
                <a:lnTo>
                  <a:pt x="789" y="736"/>
                </a:lnTo>
                <a:lnTo>
                  <a:pt x="796" y="735"/>
                </a:lnTo>
                <a:lnTo>
                  <a:pt x="791" y="734"/>
                </a:lnTo>
                <a:lnTo>
                  <a:pt x="784" y="733"/>
                </a:lnTo>
                <a:lnTo>
                  <a:pt x="780" y="732"/>
                </a:lnTo>
                <a:lnTo>
                  <a:pt x="778" y="731"/>
                </a:lnTo>
                <a:lnTo>
                  <a:pt x="776" y="731"/>
                </a:lnTo>
                <a:lnTo>
                  <a:pt x="773" y="732"/>
                </a:lnTo>
                <a:lnTo>
                  <a:pt x="773" y="732"/>
                </a:lnTo>
                <a:lnTo>
                  <a:pt x="773" y="732"/>
                </a:lnTo>
                <a:close/>
                <a:moveTo>
                  <a:pt x="874" y="696"/>
                </a:moveTo>
                <a:lnTo>
                  <a:pt x="865" y="698"/>
                </a:lnTo>
                <a:lnTo>
                  <a:pt x="854" y="699"/>
                </a:lnTo>
                <a:lnTo>
                  <a:pt x="844" y="700"/>
                </a:lnTo>
                <a:lnTo>
                  <a:pt x="834" y="702"/>
                </a:lnTo>
                <a:lnTo>
                  <a:pt x="835" y="704"/>
                </a:lnTo>
                <a:lnTo>
                  <a:pt x="838" y="706"/>
                </a:lnTo>
                <a:lnTo>
                  <a:pt x="842" y="706"/>
                </a:lnTo>
                <a:lnTo>
                  <a:pt x="846" y="706"/>
                </a:lnTo>
                <a:lnTo>
                  <a:pt x="855" y="704"/>
                </a:lnTo>
                <a:lnTo>
                  <a:pt x="861" y="702"/>
                </a:lnTo>
                <a:lnTo>
                  <a:pt x="869" y="702"/>
                </a:lnTo>
                <a:lnTo>
                  <a:pt x="877" y="701"/>
                </a:lnTo>
                <a:lnTo>
                  <a:pt x="878" y="699"/>
                </a:lnTo>
                <a:lnTo>
                  <a:pt x="877" y="698"/>
                </a:lnTo>
                <a:lnTo>
                  <a:pt x="876" y="696"/>
                </a:lnTo>
                <a:lnTo>
                  <a:pt x="874" y="696"/>
                </a:lnTo>
                <a:lnTo>
                  <a:pt x="873" y="696"/>
                </a:lnTo>
                <a:lnTo>
                  <a:pt x="874" y="696"/>
                </a:lnTo>
                <a:close/>
                <a:moveTo>
                  <a:pt x="490" y="768"/>
                </a:moveTo>
                <a:lnTo>
                  <a:pt x="473" y="768"/>
                </a:lnTo>
                <a:lnTo>
                  <a:pt x="457" y="768"/>
                </a:lnTo>
                <a:lnTo>
                  <a:pt x="451" y="766"/>
                </a:lnTo>
                <a:lnTo>
                  <a:pt x="446" y="765"/>
                </a:lnTo>
                <a:lnTo>
                  <a:pt x="443" y="765"/>
                </a:lnTo>
                <a:lnTo>
                  <a:pt x="441" y="765"/>
                </a:lnTo>
                <a:lnTo>
                  <a:pt x="439" y="766"/>
                </a:lnTo>
                <a:lnTo>
                  <a:pt x="435" y="767"/>
                </a:lnTo>
                <a:lnTo>
                  <a:pt x="433" y="769"/>
                </a:lnTo>
                <a:lnTo>
                  <a:pt x="433" y="769"/>
                </a:lnTo>
                <a:lnTo>
                  <a:pt x="432" y="769"/>
                </a:lnTo>
                <a:lnTo>
                  <a:pt x="430" y="767"/>
                </a:lnTo>
                <a:lnTo>
                  <a:pt x="425" y="765"/>
                </a:lnTo>
                <a:lnTo>
                  <a:pt x="420" y="762"/>
                </a:lnTo>
                <a:lnTo>
                  <a:pt x="413" y="762"/>
                </a:lnTo>
                <a:lnTo>
                  <a:pt x="405" y="761"/>
                </a:lnTo>
                <a:lnTo>
                  <a:pt x="398" y="762"/>
                </a:lnTo>
                <a:lnTo>
                  <a:pt x="391" y="765"/>
                </a:lnTo>
                <a:lnTo>
                  <a:pt x="398" y="767"/>
                </a:lnTo>
                <a:lnTo>
                  <a:pt x="405" y="768"/>
                </a:lnTo>
                <a:lnTo>
                  <a:pt x="408" y="770"/>
                </a:lnTo>
                <a:lnTo>
                  <a:pt x="409" y="774"/>
                </a:lnTo>
                <a:lnTo>
                  <a:pt x="414" y="775"/>
                </a:lnTo>
                <a:lnTo>
                  <a:pt x="417" y="774"/>
                </a:lnTo>
                <a:lnTo>
                  <a:pt x="425" y="774"/>
                </a:lnTo>
                <a:lnTo>
                  <a:pt x="432" y="775"/>
                </a:lnTo>
                <a:lnTo>
                  <a:pt x="435" y="776"/>
                </a:lnTo>
                <a:lnTo>
                  <a:pt x="439" y="776"/>
                </a:lnTo>
                <a:lnTo>
                  <a:pt x="441" y="774"/>
                </a:lnTo>
                <a:lnTo>
                  <a:pt x="443" y="772"/>
                </a:lnTo>
                <a:lnTo>
                  <a:pt x="450" y="770"/>
                </a:lnTo>
                <a:lnTo>
                  <a:pt x="457" y="772"/>
                </a:lnTo>
                <a:lnTo>
                  <a:pt x="459" y="772"/>
                </a:lnTo>
                <a:lnTo>
                  <a:pt x="463" y="773"/>
                </a:lnTo>
                <a:lnTo>
                  <a:pt x="467" y="773"/>
                </a:lnTo>
                <a:lnTo>
                  <a:pt x="472" y="773"/>
                </a:lnTo>
                <a:lnTo>
                  <a:pt x="478" y="776"/>
                </a:lnTo>
                <a:lnTo>
                  <a:pt x="483" y="777"/>
                </a:lnTo>
                <a:lnTo>
                  <a:pt x="484" y="777"/>
                </a:lnTo>
                <a:lnTo>
                  <a:pt x="484" y="777"/>
                </a:lnTo>
                <a:lnTo>
                  <a:pt x="494" y="777"/>
                </a:lnTo>
                <a:lnTo>
                  <a:pt x="504" y="777"/>
                </a:lnTo>
                <a:lnTo>
                  <a:pt x="504" y="775"/>
                </a:lnTo>
                <a:lnTo>
                  <a:pt x="503" y="773"/>
                </a:lnTo>
                <a:lnTo>
                  <a:pt x="500" y="772"/>
                </a:lnTo>
                <a:lnTo>
                  <a:pt x="499" y="770"/>
                </a:lnTo>
                <a:lnTo>
                  <a:pt x="495" y="768"/>
                </a:lnTo>
                <a:lnTo>
                  <a:pt x="490" y="768"/>
                </a:lnTo>
                <a:lnTo>
                  <a:pt x="489" y="768"/>
                </a:lnTo>
                <a:lnTo>
                  <a:pt x="490" y="768"/>
                </a:lnTo>
                <a:close/>
                <a:moveTo>
                  <a:pt x="483" y="777"/>
                </a:moveTo>
                <a:lnTo>
                  <a:pt x="482" y="777"/>
                </a:lnTo>
                <a:lnTo>
                  <a:pt x="481" y="776"/>
                </a:lnTo>
                <a:lnTo>
                  <a:pt x="481" y="775"/>
                </a:lnTo>
                <a:lnTo>
                  <a:pt x="483" y="774"/>
                </a:lnTo>
                <a:lnTo>
                  <a:pt x="484" y="774"/>
                </a:lnTo>
                <a:lnTo>
                  <a:pt x="486" y="775"/>
                </a:lnTo>
                <a:lnTo>
                  <a:pt x="486" y="776"/>
                </a:lnTo>
                <a:lnTo>
                  <a:pt x="484" y="777"/>
                </a:lnTo>
                <a:lnTo>
                  <a:pt x="484" y="777"/>
                </a:lnTo>
                <a:lnTo>
                  <a:pt x="483" y="777"/>
                </a:lnTo>
                <a:close/>
                <a:moveTo>
                  <a:pt x="483" y="777"/>
                </a:moveTo>
                <a:lnTo>
                  <a:pt x="484" y="777"/>
                </a:lnTo>
                <a:lnTo>
                  <a:pt x="483" y="777"/>
                </a:lnTo>
                <a:close/>
                <a:moveTo>
                  <a:pt x="711" y="700"/>
                </a:moveTo>
                <a:lnTo>
                  <a:pt x="706" y="701"/>
                </a:lnTo>
                <a:lnTo>
                  <a:pt x="703" y="701"/>
                </a:lnTo>
                <a:lnTo>
                  <a:pt x="702" y="702"/>
                </a:lnTo>
                <a:lnTo>
                  <a:pt x="702" y="703"/>
                </a:lnTo>
                <a:lnTo>
                  <a:pt x="702" y="704"/>
                </a:lnTo>
                <a:lnTo>
                  <a:pt x="703" y="707"/>
                </a:lnTo>
                <a:lnTo>
                  <a:pt x="710" y="703"/>
                </a:lnTo>
                <a:lnTo>
                  <a:pt x="715" y="700"/>
                </a:lnTo>
                <a:lnTo>
                  <a:pt x="713" y="700"/>
                </a:lnTo>
                <a:lnTo>
                  <a:pt x="711" y="700"/>
                </a:lnTo>
                <a:lnTo>
                  <a:pt x="707" y="701"/>
                </a:lnTo>
                <a:lnTo>
                  <a:pt x="711" y="700"/>
                </a:lnTo>
                <a:close/>
                <a:moveTo>
                  <a:pt x="473" y="271"/>
                </a:moveTo>
                <a:lnTo>
                  <a:pt x="472" y="277"/>
                </a:lnTo>
                <a:lnTo>
                  <a:pt x="470" y="283"/>
                </a:lnTo>
                <a:lnTo>
                  <a:pt x="472" y="279"/>
                </a:lnTo>
                <a:lnTo>
                  <a:pt x="473" y="274"/>
                </a:lnTo>
                <a:lnTo>
                  <a:pt x="473" y="268"/>
                </a:lnTo>
                <a:lnTo>
                  <a:pt x="472" y="264"/>
                </a:lnTo>
                <a:lnTo>
                  <a:pt x="473" y="268"/>
                </a:lnTo>
                <a:lnTo>
                  <a:pt x="473" y="271"/>
                </a:lnTo>
                <a:lnTo>
                  <a:pt x="473" y="272"/>
                </a:lnTo>
                <a:lnTo>
                  <a:pt x="473" y="271"/>
                </a:lnTo>
                <a:close/>
                <a:moveTo>
                  <a:pt x="673" y="739"/>
                </a:moveTo>
                <a:lnTo>
                  <a:pt x="676" y="736"/>
                </a:lnTo>
                <a:lnTo>
                  <a:pt x="677" y="734"/>
                </a:lnTo>
                <a:lnTo>
                  <a:pt x="679" y="733"/>
                </a:lnTo>
                <a:lnTo>
                  <a:pt x="681" y="733"/>
                </a:lnTo>
                <a:lnTo>
                  <a:pt x="682" y="735"/>
                </a:lnTo>
                <a:lnTo>
                  <a:pt x="685" y="737"/>
                </a:lnTo>
                <a:lnTo>
                  <a:pt x="687" y="739"/>
                </a:lnTo>
                <a:lnTo>
                  <a:pt x="688" y="741"/>
                </a:lnTo>
                <a:lnTo>
                  <a:pt x="681" y="744"/>
                </a:lnTo>
                <a:lnTo>
                  <a:pt x="673" y="745"/>
                </a:lnTo>
                <a:lnTo>
                  <a:pt x="671" y="743"/>
                </a:lnTo>
                <a:lnTo>
                  <a:pt x="671" y="742"/>
                </a:lnTo>
                <a:lnTo>
                  <a:pt x="671" y="740"/>
                </a:lnTo>
                <a:lnTo>
                  <a:pt x="673" y="739"/>
                </a:lnTo>
                <a:lnTo>
                  <a:pt x="673" y="737"/>
                </a:lnTo>
                <a:lnTo>
                  <a:pt x="673" y="739"/>
                </a:lnTo>
                <a:close/>
                <a:moveTo>
                  <a:pt x="536" y="752"/>
                </a:moveTo>
                <a:lnTo>
                  <a:pt x="540" y="751"/>
                </a:lnTo>
                <a:lnTo>
                  <a:pt x="545" y="751"/>
                </a:lnTo>
                <a:lnTo>
                  <a:pt x="549" y="752"/>
                </a:lnTo>
                <a:lnTo>
                  <a:pt x="554" y="754"/>
                </a:lnTo>
                <a:lnTo>
                  <a:pt x="545" y="754"/>
                </a:lnTo>
                <a:lnTo>
                  <a:pt x="534" y="754"/>
                </a:lnTo>
                <a:lnTo>
                  <a:pt x="536" y="753"/>
                </a:lnTo>
                <a:lnTo>
                  <a:pt x="536" y="752"/>
                </a:lnTo>
                <a:lnTo>
                  <a:pt x="538" y="751"/>
                </a:lnTo>
                <a:lnTo>
                  <a:pt x="536" y="75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13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63">
            <a:extLst>
              <a:ext uri="{FF2B5EF4-FFF2-40B4-BE49-F238E27FC236}">
                <a16:creationId xmlns:a16="http://schemas.microsoft.com/office/drawing/2014/main" id="{2D414732-FD2B-484F-B2DB-5E2AF07BFDC4}"/>
              </a:ext>
            </a:extLst>
          </p:cNvPr>
          <p:cNvSpPr>
            <a:spLocks noGrp="1" noEditPoints="1"/>
          </p:cNvSpPr>
          <p:nvPr>
            <p:ph type="pic" sz="quarter" idx="20"/>
          </p:nvPr>
        </p:nvSpPr>
        <p:spPr bwMode="auto">
          <a:xfrm>
            <a:off x="191716" y="261015"/>
            <a:ext cx="11735776" cy="3743983"/>
          </a:xfrm>
          <a:custGeom>
            <a:avLst/>
            <a:gdLst>
              <a:gd name="T0" fmla="*/ 124 w 2412"/>
              <a:gd name="T1" fmla="*/ 479 h 1023"/>
              <a:gd name="T2" fmla="*/ 502 w 2412"/>
              <a:gd name="T3" fmla="*/ 746 h 1023"/>
              <a:gd name="T4" fmla="*/ 756 w 2412"/>
              <a:gd name="T5" fmla="*/ 886 h 1023"/>
              <a:gd name="T6" fmla="*/ 607 w 2412"/>
              <a:gd name="T7" fmla="*/ 875 h 1023"/>
              <a:gd name="T8" fmla="*/ 923 w 2412"/>
              <a:gd name="T9" fmla="*/ 958 h 1023"/>
              <a:gd name="T10" fmla="*/ 641 w 2412"/>
              <a:gd name="T11" fmla="*/ 855 h 1023"/>
              <a:gd name="T12" fmla="*/ 1140 w 2412"/>
              <a:gd name="T13" fmla="*/ 932 h 1023"/>
              <a:gd name="T14" fmla="*/ 876 w 2412"/>
              <a:gd name="T15" fmla="*/ 815 h 1023"/>
              <a:gd name="T16" fmla="*/ 1736 w 2412"/>
              <a:gd name="T17" fmla="*/ 828 h 1023"/>
              <a:gd name="T18" fmla="*/ 1269 w 2412"/>
              <a:gd name="T19" fmla="*/ 799 h 1023"/>
              <a:gd name="T20" fmla="*/ 2381 w 2412"/>
              <a:gd name="T21" fmla="*/ 575 h 1023"/>
              <a:gd name="T22" fmla="*/ 1669 w 2412"/>
              <a:gd name="T23" fmla="*/ 729 h 1023"/>
              <a:gd name="T24" fmla="*/ 611 w 2412"/>
              <a:gd name="T25" fmla="*/ 585 h 1023"/>
              <a:gd name="T26" fmla="*/ 989 w 2412"/>
              <a:gd name="T27" fmla="*/ 631 h 1023"/>
              <a:gd name="T28" fmla="*/ 1800 w 2412"/>
              <a:gd name="T29" fmla="*/ 618 h 1023"/>
              <a:gd name="T30" fmla="*/ 1824 w 2412"/>
              <a:gd name="T31" fmla="*/ 638 h 1023"/>
              <a:gd name="T32" fmla="*/ 2008 w 2412"/>
              <a:gd name="T33" fmla="*/ 525 h 1023"/>
              <a:gd name="T34" fmla="*/ 1682 w 2412"/>
              <a:gd name="T35" fmla="*/ 608 h 1023"/>
              <a:gd name="T36" fmla="*/ 1097 w 2412"/>
              <a:gd name="T37" fmla="*/ 610 h 1023"/>
              <a:gd name="T38" fmla="*/ 1365 w 2412"/>
              <a:gd name="T39" fmla="*/ 620 h 1023"/>
              <a:gd name="T40" fmla="*/ 1420 w 2412"/>
              <a:gd name="T41" fmla="*/ 565 h 1023"/>
              <a:gd name="T42" fmla="*/ 1006 w 2412"/>
              <a:gd name="T43" fmla="*/ 514 h 1023"/>
              <a:gd name="T44" fmla="*/ 870 w 2412"/>
              <a:gd name="T45" fmla="*/ 439 h 1023"/>
              <a:gd name="T46" fmla="*/ 1725 w 2412"/>
              <a:gd name="T47" fmla="*/ 459 h 1023"/>
              <a:gd name="T48" fmla="*/ 1763 w 2412"/>
              <a:gd name="T49" fmla="*/ 424 h 1023"/>
              <a:gd name="T50" fmla="*/ 926 w 2412"/>
              <a:gd name="T51" fmla="*/ 376 h 1023"/>
              <a:gd name="T52" fmla="*/ 1146 w 2412"/>
              <a:gd name="T53" fmla="*/ 382 h 1023"/>
              <a:gd name="T54" fmla="*/ 1682 w 2412"/>
              <a:gd name="T55" fmla="*/ 422 h 1023"/>
              <a:gd name="T56" fmla="*/ 2053 w 2412"/>
              <a:gd name="T57" fmla="*/ 259 h 1023"/>
              <a:gd name="T58" fmla="*/ 1843 w 2412"/>
              <a:gd name="T59" fmla="*/ 263 h 1023"/>
              <a:gd name="T60" fmla="*/ 1358 w 2412"/>
              <a:gd name="T61" fmla="*/ 379 h 1023"/>
              <a:gd name="T62" fmla="*/ 858 w 2412"/>
              <a:gd name="T63" fmla="*/ 284 h 1023"/>
              <a:gd name="T64" fmla="*/ 648 w 2412"/>
              <a:gd name="T65" fmla="*/ 161 h 1023"/>
              <a:gd name="T66" fmla="*/ 571 w 2412"/>
              <a:gd name="T67" fmla="*/ 648 h 1023"/>
              <a:gd name="T68" fmla="*/ 1541 w 2412"/>
              <a:gd name="T69" fmla="*/ 317 h 1023"/>
              <a:gd name="T70" fmla="*/ 1275 w 2412"/>
              <a:gd name="T71" fmla="*/ 314 h 1023"/>
              <a:gd name="T72" fmla="*/ 1639 w 2412"/>
              <a:gd name="T73" fmla="*/ 551 h 1023"/>
              <a:gd name="T74" fmla="*/ 1343 w 2412"/>
              <a:gd name="T75" fmla="*/ 311 h 1023"/>
              <a:gd name="T76" fmla="*/ 2026 w 2412"/>
              <a:gd name="T77" fmla="*/ 213 h 1023"/>
              <a:gd name="T78" fmla="*/ 1950 w 2412"/>
              <a:gd name="T79" fmla="*/ 913 h 1023"/>
              <a:gd name="T80" fmla="*/ 631 w 2412"/>
              <a:gd name="T81" fmla="*/ 598 h 1023"/>
              <a:gd name="T82" fmla="*/ 1641 w 2412"/>
              <a:gd name="T83" fmla="*/ 396 h 1023"/>
              <a:gd name="T84" fmla="*/ 1323 w 2412"/>
              <a:gd name="T85" fmla="*/ 292 h 1023"/>
              <a:gd name="T86" fmla="*/ 1075 w 2412"/>
              <a:gd name="T87" fmla="*/ 884 h 1023"/>
              <a:gd name="T88" fmla="*/ 1504 w 2412"/>
              <a:gd name="T89" fmla="*/ 294 h 1023"/>
              <a:gd name="T90" fmla="*/ 1821 w 2412"/>
              <a:gd name="T91" fmla="*/ 516 h 1023"/>
              <a:gd name="T92" fmla="*/ 1163 w 2412"/>
              <a:gd name="T93" fmla="*/ 514 h 1023"/>
              <a:gd name="T94" fmla="*/ 1115 w 2412"/>
              <a:gd name="T95" fmla="*/ 272 h 1023"/>
              <a:gd name="T96" fmla="*/ 1346 w 2412"/>
              <a:gd name="T97" fmla="*/ 975 h 1023"/>
              <a:gd name="T98" fmla="*/ 1423 w 2412"/>
              <a:gd name="T99" fmla="*/ 490 h 1023"/>
              <a:gd name="T100" fmla="*/ 1438 w 2412"/>
              <a:gd name="T101" fmla="*/ 963 h 1023"/>
              <a:gd name="T102" fmla="*/ 336 w 2412"/>
              <a:gd name="T103" fmla="*/ 879 h 1023"/>
              <a:gd name="T104" fmla="*/ 954 w 2412"/>
              <a:gd name="T105" fmla="*/ 271 h 1023"/>
              <a:gd name="T106" fmla="*/ 1999 w 2412"/>
              <a:gd name="T107" fmla="*/ 776 h 1023"/>
              <a:gd name="T108" fmla="*/ 1466 w 2412"/>
              <a:gd name="T109" fmla="*/ 517 h 1023"/>
              <a:gd name="T110" fmla="*/ 1915 w 2412"/>
              <a:gd name="T111" fmla="*/ 452 h 1023"/>
              <a:gd name="T112" fmla="*/ 1174 w 2412"/>
              <a:gd name="T113" fmla="*/ 645 h 1023"/>
              <a:gd name="T114" fmla="*/ 807 w 2412"/>
              <a:gd name="T115" fmla="*/ 418 h 1023"/>
              <a:gd name="T116" fmla="*/ 1628 w 2412"/>
              <a:gd name="T117" fmla="*/ 375 h 1023"/>
              <a:gd name="T118" fmla="*/ 180 w 2412"/>
              <a:gd name="T119" fmla="*/ 59 h 1023"/>
              <a:gd name="T120" fmla="*/ 613 w 2412"/>
              <a:gd name="T121" fmla="*/ 624 h 1023"/>
              <a:gd name="T122" fmla="*/ 588 w 2412"/>
              <a:gd name="T123" fmla="*/ 781 h 1023"/>
              <a:gd name="T124" fmla="*/ 960 w 2412"/>
              <a:gd name="T125" fmla="*/ 871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12" h="1023">
                <a:moveTo>
                  <a:pt x="52" y="82"/>
                </a:moveTo>
                <a:lnTo>
                  <a:pt x="58" y="82"/>
                </a:lnTo>
                <a:lnTo>
                  <a:pt x="65" y="81"/>
                </a:lnTo>
                <a:lnTo>
                  <a:pt x="69" y="81"/>
                </a:lnTo>
                <a:lnTo>
                  <a:pt x="73" y="82"/>
                </a:lnTo>
                <a:lnTo>
                  <a:pt x="77" y="82"/>
                </a:lnTo>
                <a:lnTo>
                  <a:pt x="79" y="84"/>
                </a:lnTo>
                <a:lnTo>
                  <a:pt x="82" y="87"/>
                </a:lnTo>
                <a:lnTo>
                  <a:pt x="85" y="91"/>
                </a:lnTo>
                <a:lnTo>
                  <a:pt x="88" y="93"/>
                </a:lnTo>
                <a:lnTo>
                  <a:pt x="91" y="97"/>
                </a:lnTo>
                <a:lnTo>
                  <a:pt x="94" y="99"/>
                </a:lnTo>
                <a:lnTo>
                  <a:pt x="95" y="102"/>
                </a:lnTo>
                <a:lnTo>
                  <a:pt x="94" y="105"/>
                </a:lnTo>
                <a:lnTo>
                  <a:pt x="93" y="108"/>
                </a:lnTo>
                <a:lnTo>
                  <a:pt x="93" y="111"/>
                </a:lnTo>
                <a:lnTo>
                  <a:pt x="94" y="115"/>
                </a:lnTo>
                <a:lnTo>
                  <a:pt x="97" y="118"/>
                </a:lnTo>
                <a:lnTo>
                  <a:pt x="99" y="122"/>
                </a:lnTo>
                <a:lnTo>
                  <a:pt x="102" y="125"/>
                </a:lnTo>
                <a:lnTo>
                  <a:pt x="103" y="128"/>
                </a:lnTo>
                <a:lnTo>
                  <a:pt x="104" y="132"/>
                </a:lnTo>
                <a:lnTo>
                  <a:pt x="102" y="134"/>
                </a:lnTo>
                <a:lnTo>
                  <a:pt x="99" y="136"/>
                </a:lnTo>
                <a:lnTo>
                  <a:pt x="95" y="136"/>
                </a:lnTo>
                <a:lnTo>
                  <a:pt x="90" y="135"/>
                </a:lnTo>
                <a:lnTo>
                  <a:pt x="87" y="135"/>
                </a:lnTo>
                <a:lnTo>
                  <a:pt x="82" y="133"/>
                </a:lnTo>
                <a:lnTo>
                  <a:pt x="79" y="132"/>
                </a:lnTo>
                <a:lnTo>
                  <a:pt x="75" y="131"/>
                </a:lnTo>
                <a:lnTo>
                  <a:pt x="71" y="132"/>
                </a:lnTo>
                <a:lnTo>
                  <a:pt x="64" y="137"/>
                </a:lnTo>
                <a:lnTo>
                  <a:pt x="58" y="144"/>
                </a:lnTo>
                <a:lnTo>
                  <a:pt x="52" y="151"/>
                </a:lnTo>
                <a:lnTo>
                  <a:pt x="45" y="157"/>
                </a:lnTo>
                <a:lnTo>
                  <a:pt x="38" y="162"/>
                </a:lnTo>
                <a:lnTo>
                  <a:pt x="32" y="168"/>
                </a:lnTo>
                <a:lnTo>
                  <a:pt x="24" y="172"/>
                </a:lnTo>
                <a:lnTo>
                  <a:pt x="16" y="175"/>
                </a:lnTo>
                <a:lnTo>
                  <a:pt x="8" y="178"/>
                </a:lnTo>
                <a:lnTo>
                  <a:pt x="1" y="183"/>
                </a:lnTo>
                <a:lnTo>
                  <a:pt x="0" y="184"/>
                </a:lnTo>
                <a:lnTo>
                  <a:pt x="0" y="185"/>
                </a:lnTo>
                <a:lnTo>
                  <a:pt x="0" y="186"/>
                </a:lnTo>
                <a:lnTo>
                  <a:pt x="1" y="188"/>
                </a:lnTo>
                <a:lnTo>
                  <a:pt x="4" y="190"/>
                </a:lnTo>
                <a:lnTo>
                  <a:pt x="7" y="192"/>
                </a:lnTo>
                <a:lnTo>
                  <a:pt x="13" y="195"/>
                </a:lnTo>
                <a:lnTo>
                  <a:pt x="17" y="200"/>
                </a:lnTo>
                <a:lnTo>
                  <a:pt x="19" y="208"/>
                </a:lnTo>
                <a:lnTo>
                  <a:pt x="19" y="216"/>
                </a:lnTo>
                <a:lnTo>
                  <a:pt x="20" y="219"/>
                </a:lnTo>
                <a:lnTo>
                  <a:pt x="22" y="220"/>
                </a:lnTo>
                <a:lnTo>
                  <a:pt x="24" y="222"/>
                </a:lnTo>
                <a:lnTo>
                  <a:pt x="28" y="223"/>
                </a:lnTo>
                <a:lnTo>
                  <a:pt x="33" y="227"/>
                </a:lnTo>
                <a:lnTo>
                  <a:pt x="40" y="230"/>
                </a:lnTo>
                <a:lnTo>
                  <a:pt x="48" y="228"/>
                </a:lnTo>
                <a:lnTo>
                  <a:pt x="55" y="230"/>
                </a:lnTo>
                <a:lnTo>
                  <a:pt x="65" y="234"/>
                </a:lnTo>
                <a:lnTo>
                  <a:pt x="75" y="239"/>
                </a:lnTo>
                <a:lnTo>
                  <a:pt x="78" y="241"/>
                </a:lnTo>
                <a:lnTo>
                  <a:pt x="81" y="243"/>
                </a:lnTo>
                <a:lnTo>
                  <a:pt x="83" y="244"/>
                </a:lnTo>
                <a:lnTo>
                  <a:pt x="85" y="245"/>
                </a:lnTo>
                <a:lnTo>
                  <a:pt x="85" y="247"/>
                </a:lnTo>
                <a:lnTo>
                  <a:pt x="85" y="249"/>
                </a:lnTo>
                <a:lnTo>
                  <a:pt x="81" y="251"/>
                </a:lnTo>
                <a:lnTo>
                  <a:pt x="78" y="253"/>
                </a:lnTo>
                <a:lnTo>
                  <a:pt x="77" y="256"/>
                </a:lnTo>
                <a:lnTo>
                  <a:pt x="75" y="259"/>
                </a:lnTo>
                <a:lnTo>
                  <a:pt x="78" y="266"/>
                </a:lnTo>
                <a:lnTo>
                  <a:pt x="81" y="274"/>
                </a:lnTo>
                <a:lnTo>
                  <a:pt x="82" y="278"/>
                </a:lnTo>
                <a:lnTo>
                  <a:pt x="83" y="282"/>
                </a:lnTo>
                <a:lnTo>
                  <a:pt x="82" y="285"/>
                </a:lnTo>
                <a:lnTo>
                  <a:pt x="81" y="290"/>
                </a:lnTo>
                <a:lnTo>
                  <a:pt x="79" y="292"/>
                </a:lnTo>
                <a:lnTo>
                  <a:pt x="77" y="293"/>
                </a:lnTo>
                <a:lnTo>
                  <a:pt x="74" y="293"/>
                </a:lnTo>
                <a:lnTo>
                  <a:pt x="72" y="291"/>
                </a:lnTo>
                <a:lnTo>
                  <a:pt x="70" y="289"/>
                </a:lnTo>
                <a:lnTo>
                  <a:pt x="69" y="286"/>
                </a:lnTo>
                <a:lnTo>
                  <a:pt x="64" y="286"/>
                </a:lnTo>
                <a:lnTo>
                  <a:pt x="59" y="288"/>
                </a:lnTo>
                <a:lnTo>
                  <a:pt x="52" y="290"/>
                </a:lnTo>
                <a:lnTo>
                  <a:pt x="45" y="294"/>
                </a:lnTo>
                <a:lnTo>
                  <a:pt x="38" y="300"/>
                </a:lnTo>
                <a:lnTo>
                  <a:pt x="33" y="307"/>
                </a:lnTo>
                <a:lnTo>
                  <a:pt x="30" y="314"/>
                </a:lnTo>
                <a:lnTo>
                  <a:pt x="26" y="321"/>
                </a:lnTo>
                <a:lnTo>
                  <a:pt x="26" y="325"/>
                </a:lnTo>
                <a:lnTo>
                  <a:pt x="26" y="328"/>
                </a:lnTo>
                <a:lnTo>
                  <a:pt x="28" y="332"/>
                </a:lnTo>
                <a:lnTo>
                  <a:pt x="29" y="336"/>
                </a:lnTo>
                <a:lnTo>
                  <a:pt x="36" y="342"/>
                </a:lnTo>
                <a:lnTo>
                  <a:pt x="42" y="348"/>
                </a:lnTo>
                <a:lnTo>
                  <a:pt x="53" y="356"/>
                </a:lnTo>
                <a:lnTo>
                  <a:pt x="63" y="363"/>
                </a:lnTo>
                <a:lnTo>
                  <a:pt x="81" y="375"/>
                </a:lnTo>
                <a:lnTo>
                  <a:pt x="100" y="388"/>
                </a:lnTo>
                <a:lnTo>
                  <a:pt x="120" y="398"/>
                </a:lnTo>
                <a:lnTo>
                  <a:pt x="140" y="410"/>
                </a:lnTo>
                <a:lnTo>
                  <a:pt x="144" y="413"/>
                </a:lnTo>
                <a:lnTo>
                  <a:pt x="147" y="415"/>
                </a:lnTo>
                <a:lnTo>
                  <a:pt x="151" y="418"/>
                </a:lnTo>
                <a:lnTo>
                  <a:pt x="153" y="422"/>
                </a:lnTo>
                <a:lnTo>
                  <a:pt x="153" y="425"/>
                </a:lnTo>
                <a:lnTo>
                  <a:pt x="153" y="430"/>
                </a:lnTo>
                <a:lnTo>
                  <a:pt x="153" y="433"/>
                </a:lnTo>
                <a:lnTo>
                  <a:pt x="151" y="435"/>
                </a:lnTo>
                <a:lnTo>
                  <a:pt x="146" y="437"/>
                </a:lnTo>
                <a:lnTo>
                  <a:pt x="140" y="438"/>
                </a:lnTo>
                <a:lnTo>
                  <a:pt x="137" y="438"/>
                </a:lnTo>
                <a:lnTo>
                  <a:pt x="133" y="439"/>
                </a:lnTo>
                <a:lnTo>
                  <a:pt x="130" y="440"/>
                </a:lnTo>
                <a:lnTo>
                  <a:pt x="128" y="442"/>
                </a:lnTo>
                <a:lnTo>
                  <a:pt x="123" y="449"/>
                </a:lnTo>
                <a:lnTo>
                  <a:pt x="119" y="456"/>
                </a:lnTo>
                <a:lnTo>
                  <a:pt x="115" y="459"/>
                </a:lnTo>
                <a:lnTo>
                  <a:pt x="114" y="462"/>
                </a:lnTo>
                <a:lnTo>
                  <a:pt x="114" y="465"/>
                </a:lnTo>
                <a:lnTo>
                  <a:pt x="115" y="469"/>
                </a:lnTo>
                <a:lnTo>
                  <a:pt x="119" y="473"/>
                </a:lnTo>
                <a:lnTo>
                  <a:pt x="122" y="476"/>
                </a:lnTo>
                <a:lnTo>
                  <a:pt x="123" y="477"/>
                </a:lnTo>
                <a:lnTo>
                  <a:pt x="124" y="479"/>
                </a:lnTo>
                <a:lnTo>
                  <a:pt x="126" y="481"/>
                </a:lnTo>
                <a:lnTo>
                  <a:pt x="126" y="483"/>
                </a:lnTo>
                <a:lnTo>
                  <a:pt x="127" y="485"/>
                </a:lnTo>
                <a:lnTo>
                  <a:pt x="128" y="488"/>
                </a:lnTo>
                <a:lnTo>
                  <a:pt x="130" y="489"/>
                </a:lnTo>
                <a:lnTo>
                  <a:pt x="133" y="490"/>
                </a:lnTo>
                <a:lnTo>
                  <a:pt x="139" y="493"/>
                </a:lnTo>
                <a:lnTo>
                  <a:pt x="146" y="498"/>
                </a:lnTo>
                <a:lnTo>
                  <a:pt x="152" y="502"/>
                </a:lnTo>
                <a:lnTo>
                  <a:pt x="157" y="508"/>
                </a:lnTo>
                <a:lnTo>
                  <a:pt x="160" y="512"/>
                </a:lnTo>
                <a:lnTo>
                  <a:pt x="161" y="516"/>
                </a:lnTo>
                <a:lnTo>
                  <a:pt x="162" y="517"/>
                </a:lnTo>
                <a:lnTo>
                  <a:pt x="162" y="520"/>
                </a:lnTo>
                <a:lnTo>
                  <a:pt x="161" y="521"/>
                </a:lnTo>
                <a:lnTo>
                  <a:pt x="160" y="522"/>
                </a:lnTo>
                <a:lnTo>
                  <a:pt x="157" y="522"/>
                </a:lnTo>
                <a:lnTo>
                  <a:pt x="156" y="522"/>
                </a:lnTo>
                <a:lnTo>
                  <a:pt x="155" y="521"/>
                </a:lnTo>
                <a:lnTo>
                  <a:pt x="154" y="520"/>
                </a:lnTo>
                <a:lnTo>
                  <a:pt x="153" y="517"/>
                </a:lnTo>
                <a:lnTo>
                  <a:pt x="152" y="514"/>
                </a:lnTo>
                <a:lnTo>
                  <a:pt x="149" y="512"/>
                </a:lnTo>
                <a:lnTo>
                  <a:pt x="146" y="509"/>
                </a:lnTo>
                <a:lnTo>
                  <a:pt x="143" y="508"/>
                </a:lnTo>
                <a:lnTo>
                  <a:pt x="138" y="508"/>
                </a:lnTo>
                <a:lnTo>
                  <a:pt x="136" y="509"/>
                </a:lnTo>
                <a:lnTo>
                  <a:pt x="135" y="512"/>
                </a:lnTo>
                <a:lnTo>
                  <a:pt x="135" y="513"/>
                </a:lnTo>
                <a:lnTo>
                  <a:pt x="136" y="515"/>
                </a:lnTo>
                <a:lnTo>
                  <a:pt x="138" y="520"/>
                </a:lnTo>
                <a:lnTo>
                  <a:pt x="140" y="523"/>
                </a:lnTo>
                <a:lnTo>
                  <a:pt x="141" y="526"/>
                </a:lnTo>
                <a:lnTo>
                  <a:pt x="139" y="530"/>
                </a:lnTo>
                <a:lnTo>
                  <a:pt x="138" y="533"/>
                </a:lnTo>
                <a:lnTo>
                  <a:pt x="136" y="537"/>
                </a:lnTo>
                <a:lnTo>
                  <a:pt x="132" y="545"/>
                </a:lnTo>
                <a:lnTo>
                  <a:pt x="130" y="552"/>
                </a:lnTo>
                <a:lnTo>
                  <a:pt x="130" y="557"/>
                </a:lnTo>
                <a:lnTo>
                  <a:pt x="129" y="560"/>
                </a:lnTo>
                <a:lnTo>
                  <a:pt x="129" y="563"/>
                </a:lnTo>
                <a:lnTo>
                  <a:pt x="130" y="567"/>
                </a:lnTo>
                <a:lnTo>
                  <a:pt x="137" y="575"/>
                </a:lnTo>
                <a:lnTo>
                  <a:pt x="146" y="582"/>
                </a:lnTo>
                <a:lnTo>
                  <a:pt x="162" y="593"/>
                </a:lnTo>
                <a:lnTo>
                  <a:pt x="179" y="604"/>
                </a:lnTo>
                <a:lnTo>
                  <a:pt x="188" y="608"/>
                </a:lnTo>
                <a:lnTo>
                  <a:pt x="196" y="613"/>
                </a:lnTo>
                <a:lnTo>
                  <a:pt x="205" y="616"/>
                </a:lnTo>
                <a:lnTo>
                  <a:pt x="214" y="618"/>
                </a:lnTo>
                <a:lnTo>
                  <a:pt x="221" y="620"/>
                </a:lnTo>
                <a:lnTo>
                  <a:pt x="228" y="621"/>
                </a:lnTo>
                <a:lnTo>
                  <a:pt x="231" y="622"/>
                </a:lnTo>
                <a:lnTo>
                  <a:pt x="232" y="624"/>
                </a:lnTo>
                <a:lnTo>
                  <a:pt x="235" y="628"/>
                </a:lnTo>
                <a:lnTo>
                  <a:pt x="236" y="630"/>
                </a:lnTo>
                <a:lnTo>
                  <a:pt x="238" y="633"/>
                </a:lnTo>
                <a:lnTo>
                  <a:pt x="242" y="635"/>
                </a:lnTo>
                <a:lnTo>
                  <a:pt x="245" y="638"/>
                </a:lnTo>
                <a:lnTo>
                  <a:pt x="248" y="639"/>
                </a:lnTo>
                <a:lnTo>
                  <a:pt x="259" y="643"/>
                </a:lnTo>
                <a:lnTo>
                  <a:pt x="268" y="649"/>
                </a:lnTo>
                <a:lnTo>
                  <a:pt x="277" y="653"/>
                </a:lnTo>
                <a:lnTo>
                  <a:pt x="287" y="657"/>
                </a:lnTo>
                <a:lnTo>
                  <a:pt x="295" y="660"/>
                </a:lnTo>
                <a:lnTo>
                  <a:pt x="303" y="666"/>
                </a:lnTo>
                <a:lnTo>
                  <a:pt x="312" y="673"/>
                </a:lnTo>
                <a:lnTo>
                  <a:pt x="321" y="678"/>
                </a:lnTo>
                <a:lnTo>
                  <a:pt x="330" y="682"/>
                </a:lnTo>
                <a:lnTo>
                  <a:pt x="341" y="686"/>
                </a:lnTo>
                <a:lnTo>
                  <a:pt x="351" y="690"/>
                </a:lnTo>
                <a:lnTo>
                  <a:pt x="361" y="693"/>
                </a:lnTo>
                <a:lnTo>
                  <a:pt x="372" y="697"/>
                </a:lnTo>
                <a:lnTo>
                  <a:pt x="383" y="699"/>
                </a:lnTo>
                <a:lnTo>
                  <a:pt x="393" y="704"/>
                </a:lnTo>
                <a:lnTo>
                  <a:pt x="402" y="708"/>
                </a:lnTo>
                <a:lnTo>
                  <a:pt x="411" y="713"/>
                </a:lnTo>
                <a:lnTo>
                  <a:pt x="421" y="715"/>
                </a:lnTo>
                <a:lnTo>
                  <a:pt x="433" y="718"/>
                </a:lnTo>
                <a:lnTo>
                  <a:pt x="444" y="722"/>
                </a:lnTo>
                <a:lnTo>
                  <a:pt x="456" y="725"/>
                </a:lnTo>
                <a:lnTo>
                  <a:pt x="466" y="729"/>
                </a:lnTo>
                <a:lnTo>
                  <a:pt x="489" y="737"/>
                </a:lnTo>
                <a:lnTo>
                  <a:pt x="511" y="743"/>
                </a:lnTo>
                <a:lnTo>
                  <a:pt x="533" y="749"/>
                </a:lnTo>
                <a:lnTo>
                  <a:pt x="556" y="756"/>
                </a:lnTo>
                <a:lnTo>
                  <a:pt x="567" y="758"/>
                </a:lnTo>
                <a:lnTo>
                  <a:pt x="577" y="762"/>
                </a:lnTo>
                <a:lnTo>
                  <a:pt x="589" y="764"/>
                </a:lnTo>
                <a:lnTo>
                  <a:pt x="600" y="766"/>
                </a:lnTo>
                <a:lnTo>
                  <a:pt x="610" y="767"/>
                </a:lnTo>
                <a:lnTo>
                  <a:pt x="622" y="770"/>
                </a:lnTo>
                <a:lnTo>
                  <a:pt x="632" y="771"/>
                </a:lnTo>
                <a:lnTo>
                  <a:pt x="643" y="774"/>
                </a:lnTo>
                <a:lnTo>
                  <a:pt x="654" y="776"/>
                </a:lnTo>
                <a:lnTo>
                  <a:pt x="665" y="779"/>
                </a:lnTo>
                <a:lnTo>
                  <a:pt x="675" y="782"/>
                </a:lnTo>
                <a:lnTo>
                  <a:pt x="685" y="787"/>
                </a:lnTo>
                <a:lnTo>
                  <a:pt x="682" y="788"/>
                </a:lnTo>
                <a:lnTo>
                  <a:pt x="681" y="789"/>
                </a:lnTo>
                <a:lnTo>
                  <a:pt x="679" y="789"/>
                </a:lnTo>
                <a:lnTo>
                  <a:pt x="675" y="788"/>
                </a:lnTo>
                <a:lnTo>
                  <a:pt x="671" y="787"/>
                </a:lnTo>
                <a:lnTo>
                  <a:pt x="666" y="787"/>
                </a:lnTo>
                <a:lnTo>
                  <a:pt x="656" y="786"/>
                </a:lnTo>
                <a:lnTo>
                  <a:pt x="646" y="784"/>
                </a:lnTo>
                <a:lnTo>
                  <a:pt x="637" y="783"/>
                </a:lnTo>
                <a:lnTo>
                  <a:pt x="626" y="781"/>
                </a:lnTo>
                <a:lnTo>
                  <a:pt x="617" y="779"/>
                </a:lnTo>
                <a:lnTo>
                  <a:pt x="607" y="776"/>
                </a:lnTo>
                <a:lnTo>
                  <a:pt x="599" y="774"/>
                </a:lnTo>
                <a:lnTo>
                  <a:pt x="590" y="771"/>
                </a:lnTo>
                <a:lnTo>
                  <a:pt x="581" y="769"/>
                </a:lnTo>
                <a:lnTo>
                  <a:pt x="572" y="765"/>
                </a:lnTo>
                <a:lnTo>
                  <a:pt x="561" y="764"/>
                </a:lnTo>
                <a:lnTo>
                  <a:pt x="552" y="764"/>
                </a:lnTo>
                <a:lnTo>
                  <a:pt x="549" y="765"/>
                </a:lnTo>
                <a:lnTo>
                  <a:pt x="547" y="767"/>
                </a:lnTo>
                <a:lnTo>
                  <a:pt x="548" y="770"/>
                </a:lnTo>
                <a:lnTo>
                  <a:pt x="547" y="773"/>
                </a:lnTo>
                <a:lnTo>
                  <a:pt x="541" y="770"/>
                </a:lnTo>
                <a:lnTo>
                  <a:pt x="535" y="769"/>
                </a:lnTo>
                <a:lnTo>
                  <a:pt x="528" y="764"/>
                </a:lnTo>
                <a:lnTo>
                  <a:pt x="523" y="757"/>
                </a:lnTo>
                <a:lnTo>
                  <a:pt x="517" y="753"/>
                </a:lnTo>
                <a:lnTo>
                  <a:pt x="510" y="749"/>
                </a:lnTo>
                <a:lnTo>
                  <a:pt x="502" y="746"/>
                </a:lnTo>
                <a:lnTo>
                  <a:pt x="494" y="745"/>
                </a:lnTo>
                <a:lnTo>
                  <a:pt x="486" y="742"/>
                </a:lnTo>
                <a:lnTo>
                  <a:pt x="479" y="741"/>
                </a:lnTo>
                <a:lnTo>
                  <a:pt x="476" y="740"/>
                </a:lnTo>
                <a:lnTo>
                  <a:pt x="473" y="741"/>
                </a:lnTo>
                <a:lnTo>
                  <a:pt x="473" y="743"/>
                </a:lnTo>
                <a:lnTo>
                  <a:pt x="473" y="747"/>
                </a:lnTo>
                <a:lnTo>
                  <a:pt x="470" y="748"/>
                </a:lnTo>
                <a:lnTo>
                  <a:pt x="467" y="748"/>
                </a:lnTo>
                <a:lnTo>
                  <a:pt x="462" y="748"/>
                </a:lnTo>
                <a:lnTo>
                  <a:pt x="458" y="747"/>
                </a:lnTo>
                <a:lnTo>
                  <a:pt x="450" y="743"/>
                </a:lnTo>
                <a:lnTo>
                  <a:pt x="444" y="740"/>
                </a:lnTo>
                <a:lnTo>
                  <a:pt x="436" y="736"/>
                </a:lnTo>
                <a:lnTo>
                  <a:pt x="429" y="731"/>
                </a:lnTo>
                <a:lnTo>
                  <a:pt x="421" y="728"/>
                </a:lnTo>
                <a:lnTo>
                  <a:pt x="412" y="725"/>
                </a:lnTo>
                <a:lnTo>
                  <a:pt x="396" y="718"/>
                </a:lnTo>
                <a:lnTo>
                  <a:pt x="378" y="714"/>
                </a:lnTo>
                <a:lnTo>
                  <a:pt x="370" y="713"/>
                </a:lnTo>
                <a:lnTo>
                  <a:pt x="362" y="711"/>
                </a:lnTo>
                <a:lnTo>
                  <a:pt x="355" y="706"/>
                </a:lnTo>
                <a:lnTo>
                  <a:pt x="349" y="700"/>
                </a:lnTo>
                <a:lnTo>
                  <a:pt x="341" y="695"/>
                </a:lnTo>
                <a:lnTo>
                  <a:pt x="333" y="690"/>
                </a:lnTo>
                <a:lnTo>
                  <a:pt x="325" y="688"/>
                </a:lnTo>
                <a:lnTo>
                  <a:pt x="316" y="684"/>
                </a:lnTo>
                <a:lnTo>
                  <a:pt x="305" y="682"/>
                </a:lnTo>
                <a:lnTo>
                  <a:pt x="296" y="678"/>
                </a:lnTo>
                <a:lnTo>
                  <a:pt x="294" y="676"/>
                </a:lnTo>
                <a:lnTo>
                  <a:pt x="293" y="675"/>
                </a:lnTo>
                <a:lnTo>
                  <a:pt x="293" y="673"/>
                </a:lnTo>
                <a:lnTo>
                  <a:pt x="293" y="671"/>
                </a:lnTo>
                <a:lnTo>
                  <a:pt x="291" y="668"/>
                </a:lnTo>
                <a:lnTo>
                  <a:pt x="288" y="666"/>
                </a:lnTo>
                <a:lnTo>
                  <a:pt x="281" y="662"/>
                </a:lnTo>
                <a:lnTo>
                  <a:pt x="273" y="657"/>
                </a:lnTo>
                <a:lnTo>
                  <a:pt x="269" y="655"/>
                </a:lnTo>
                <a:lnTo>
                  <a:pt x="264" y="654"/>
                </a:lnTo>
                <a:lnTo>
                  <a:pt x="260" y="654"/>
                </a:lnTo>
                <a:lnTo>
                  <a:pt x="255" y="654"/>
                </a:lnTo>
                <a:lnTo>
                  <a:pt x="260" y="657"/>
                </a:lnTo>
                <a:lnTo>
                  <a:pt x="264" y="659"/>
                </a:lnTo>
                <a:lnTo>
                  <a:pt x="269" y="662"/>
                </a:lnTo>
                <a:lnTo>
                  <a:pt x="275" y="664"/>
                </a:lnTo>
                <a:lnTo>
                  <a:pt x="277" y="665"/>
                </a:lnTo>
                <a:lnTo>
                  <a:pt x="278" y="667"/>
                </a:lnTo>
                <a:lnTo>
                  <a:pt x="278" y="670"/>
                </a:lnTo>
                <a:lnTo>
                  <a:pt x="277" y="670"/>
                </a:lnTo>
                <a:lnTo>
                  <a:pt x="276" y="671"/>
                </a:lnTo>
                <a:lnTo>
                  <a:pt x="275" y="671"/>
                </a:lnTo>
                <a:lnTo>
                  <a:pt x="271" y="670"/>
                </a:lnTo>
                <a:lnTo>
                  <a:pt x="269" y="668"/>
                </a:lnTo>
                <a:lnTo>
                  <a:pt x="264" y="665"/>
                </a:lnTo>
                <a:lnTo>
                  <a:pt x="260" y="662"/>
                </a:lnTo>
                <a:lnTo>
                  <a:pt x="254" y="660"/>
                </a:lnTo>
                <a:lnTo>
                  <a:pt x="248" y="659"/>
                </a:lnTo>
                <a:lnTo>
                  <a:pt x="243" y="660"/>
                </a:lnTo>
                <a:lnTo>
                  <a:pt x="239" y="664"/>
                </a:lnTo>
                <a:lnTo>
                  <a:pt x="235" y="667"/>
                </a:lnTo>
                <a:lnTo>
                  <a:pt x="231" y="671"/>
                </a:lnTo>
                <a:lnTo>
                  <a:pt x="228" y="673"/>
                </a:lnTo>
                <a:lnTo>
                  <a:pt x="222" y="674"/>
                </a:lnTo>
                <a:lnTo>
                  <a:pt x="218" y="674"/>
                </a:lnTo>
                <a:lnTo>
                  <a:pt x="212" y="674"/>
                </a:lnTo>
                <a:lnTo>
                  <a:pt x="207" y="674"/>
                </a:lnTo>
                <a:lnTo>
                  <a:pt x="203" y="675"/>
                </a:lnTo>
                <a:lnTo>
                  <a:pt x="202" y="676"/>
                </a:lnTo>
                <a:lnTo>
                  <a:pt x="201" y="679"/>
                </a:lnTo>
                <a:lnTo>
                  <a:pt x="199" y="681"/>
                </a:lnTo>
                <a:lnTo>
                  <a:pt x="199" y="684"/>
                </a:lnTo>
                <a:lnTo>
                  <a:pt x="205" y="692"/>
                </a:lnTo>
                <a:lnTo>
                  <a:pt x="211" y="699"/>
                </a:lnTo>
                <a:lnTo>
                  <a:pt x="211" y="706"/>
                </a:lnTo>
                <a:lnTo>
                  <a:pt x="211" y="713"/>
                </a:lnTo>
                <a:lnTo>
                  <a:pt x="210" y="718"/>
                </a:lnTo>
                <a:lnTo>
                  <a:pt x="210" y="724"/>
                </a:lnTo>
                <a:lnTo>
                  <a:pt x="219" y="729"/>
                </a:lnTo>
                <a:lnTo>
                  <a:pt x="229" y="731"/>
                </a:lnTo>
                <a:lnTo>
                  <a:pt x="242" y="738"/>
                </a:lnTo>
                <a:lnTo>
                  <a:pt x="254" y="745"/>
                </a:lnTo>
                <a:lnTo>
                  <a:pt x="268" y="750"/>
                </a:lnTo>
                <a:lnTo>
                  <a:pt x="281" y="755"/>
                </a:lnTo>
                <a:lnTo>
                  <a:pt x="295" y="759"/>
                </a:lnTo>
                <a:lnTo>
                  <a:pt x="308" y="765"/>
                </a:lnTo>
                <a:lnTo>
                  <a:pt x="319" y="770"/>
                </a:lnTo>
                <a:lnTo>
                  <a:pt x="329" y="775"/>
                </a:lnTo>
                <a:lnTo>
                  <a:pt x="335" y="778"/>
                </a:lnTo>
                <a:lnTo>
                  <a:pt x="342" y="779"/>
                </a:lnTo>
                <a:lnTo>
                  <a:pt x="350" y="782"/>
                </a:lnTo>
                <a:lnTo>
                  <a:pt x="358" y="786"/>
                </a:lnTo>
                <a:lnTo>
                  <a:pt x="371" y="791"/>
                </a:lnTo>
                <a:lnTo>
                  <a:pt x="384" y="796"/>
                </a:lnTo>
                <a:lnTo>
                  <a:pt x="398" y="801"/>
                </a:lnTo>
                <a:lnTo>
                  <a:pt x="411" y="806"/>
                </a:lnTo>
                <a:lnTo>
                  <a:pt x="423" y="809"/>
                </a:lnTo>
                <a:lnTo>
                  <a:pt x="433" y="815"/>
                </a:lnTo>
                <a:lnTo>
                  <a:pt x="433" y="815"/>
                </a:lnTo>
                <a:lnTo>
                  <a:pt x="434" y="816"/>
                </a:lnTo>
                <a:lnTo>
                  <a:pt x="433" y="816"/>
                </a:lnTo>
                <a:lnTo>
                  <a:pt x="434" y="816"/>
                </a:lnTo>
                <a:lnTo>
                  <a:pt x="436" y="816"/>
                </a:lnTo>
                <a:lnTo>
                  <a:pt x="437" y="817"/>
                </a:lnTo>
                <a:lnTo>
                  <a:pt x="442" y="817"/>
                </a:lnTo>
                <a:lnTo>
                  <a:pt x="445" y="819"/>
                </a:lnTo>
                <a:lnTo>
                  <a:pt x="452" y="820"/>
                </a:lnTo>
                <a:lnTo>
                  <a:pt x="459" y="822"/>
                </a:lnTo>
                <a:lnTo>
                  <a:pt x="474" y="826"/>
                </a:lnTo>
                <a:lnTo>
                  <a:pt x="487" y="831"/>
                </a:lnTo>
                <a:lnTo>
                  <a:pt x="501" y="836"/>
                </a:lnTo>
                <a:lnTo>
                  <a:pt x="516" y="839"/>
                </a:lnTo>
                <a:lnTo>
                  <a:pt x="530" y="842"/>
                </a:lnTo>
                <a:lnTo>
                  <a:pt x="544" y="845"/>
                </a:lnTo>
                <a:lnTo>
                  <a:pt x="559" y="847"/>
                </a:lnTo>
                <a:lnTo>
                  <a:pt x="574" y="850"/>
                </a:lnTo>
                <a:lnTo>
                  <a:pt x="589" y="854"/>
                </a:lnTo>
                <a:lnTo>
                  <a:pt x="605" y="857"/>
                </a:lnTo>
                <a:lnTo>
                  <a:pt x="619" y="861"/>
                </a:lnTo>
                <a:lnTo>
                  <a:pt x="635" y="863"/>
                </a:lnTo>
                <a:lnTo>
                  <a:pt x="651" y="866"/>
                </a:lnTo>
                <a:lnTo>
                  <a:pt x="666" y="870"/>
                </a:lnTo>
                <a:lnTo>
                  <a:pt x="681" y="872"/>
                </a:lnTo>
                <a:lnTo>
                  <a:pt x="696" y="875"/>
                </a:lnTo>
                <a:lnTo>
                  <a:pt x="711" y="878"/>
                </a:lnTo>
                <a:lnTo>
                  <a:pt x="725" y="880"/>
                </a:lnTo>
                <a:lnTo>
                  <a:pt x="741" y="883"/>
                </a:lnTo>
                <a:lnTo>
                  <a:pt x="756" y="886"/>
                </a:lnTo>
                <a:lnTo>
                  <a:pt x="787" y="891"/>
                </a:lnTo>
                <a:lnTo>
                  <a:pt x="817" y="897"/>
                </a:lnTo>
                <a:lnTo>
                  <a:pt x="849" y="904"/>
                </a:lnTo>
                <a:lnTo>
                  <a:pt x="880" y="909"/>
                </a:lnTo>
                <a:lnTo>
                  <a:pt x="896" y="913"/>
                </a:lnTo>
                <a:lnTo>
                  <a:pt x="913" y="916"/>
                </a:lnTo>
                <a:lnTo>
                  <a:pt x="929" y="917"/>
                </a:lnTo>
                <a:lnTo>
                  <a:pt x="946" y="920"/>
                </a:lnTo>
                <a:lnTo>
                  <a:pt x="963" y="922"/>
                </a:lnTo>
                <a:lnTo>
                  <a:pt x="980" y="925"/>
                </a:lnTo>
                <a:lnTo>
                  <a:pt x="997" y="928"/>
                </a:lnTo>
                <a:lnTo>
                  <a:pt x="1014" y="931"/>
                </a:lnTo>
                <a:lnTo>
                  <a:pt x="1031" y="935"/>
                </a:lnTo>
                <a:lnTo>
                  <a:pt x="1049" y="937"/>
                </a:lnTo>
                <a:lnTo>
                  <a:pt x="1064" y="939"/>
                </a:lnTo>
                <a:lnTo>
                  <a:pt x="1082" y="941"/>
                </a:lnTo>
                <a:lnTo>
                  <a:pt x="1100" y="944"/>
                </a:lnTo>
                <a:lnTo>
                  <a:pt x="1117" y="945"/>
                </a:lnTo>
                <a:lnTo>
                  <a:pt x="1135" y="948"/>
                </a:lnTo>
                <a:lnTo>
                  <a:pt x="1152" y="952"/>
                </a:lnTo>
                <a:lnTo>
                  <a:pt x="1149" y="954"/>
                </a:lnTo>
                <a:lnTo>
                  <a:pt x="1145" y="955"/>
                </a:lnTo>
                <a:lnTo>
                  <a:pt x="1142" y="956"/>
                </a:lnTo>
                <a:lnTo>
                  <a:pt x="1138" y="956"/>
                </a:lnTo>
                <a:lnTo>
                  <a:pt x="1132" y="955"/>
                </a:lnTo>
                <a:lnTo>
                  <a:pt x="1125" y="953"/>
                </a:lnTo>
                <a:lnTo>
                  <a:pt x="1116" y="952"/>
                </a:lnTo>
                <a:lnTo>
                  <a:pt x="1108" y="950"/>
                </a:lnTo>
                <a:lnTo>
                  <a:pt x="1099" y="949"/>
                </a:lnTo>
                <a:lnTo>
                  <a:pt x="1089" y="947"/>
                </a:lnTo>
                <a:lnTo>
                  <a:pt x="1077" y="948"/>
                </a:lnTo>
                <a:lnTo>
                  <a:pt x="1064" y="947"/>
                </a:lnTo>
                <a:lnTo>
                  <a:pt x="1049" y="942"/>
                </a:lnTo>
                <a:lnTo>
                  <a:pt x="1031" y="940"/>
                </a:lnTo>
                <a:lnTo>
                  <a:pt x="1016" y="941"/>
                </a:lnTo>
                <a:lnTo>
                  <a:pt x="1000" y="940"/>
                </a:lnTo>
                <a:lnTo>
                  <a:pt x="993" y="938"/>
                </a:lnTo>
                <a:lnTo>
                  <a:pt x="987" y="936"/>
                </a:lnTo>
                <a:lnTo>
                  <a:pt x="979" y="935"/>
                </a:lnTo>
                <a:lnTo>
                  <a:pt x="971" y="933"/>
                </a:lnTo>
                <a:lnTo>
                  <a:pt x="955" y="932"/>
                </a:lnTo>
                <a:lnTo>
                  <a:pt x="938" y="930"/>
                </a:lnTo>
                <a:lnTo>
                  <a:pt x="922" y="925"/>
                </a:lnTo>
                <a:lnTo>
                  <a:pt x="906" y="922"/>
                </a:lnTo>
                <a:lnTo>
                  <a:pt x="890" y="920"/>
                </a:lnTo>
                <a:lnTo>
                  <a:pt x="876" y="919"/>
                </a:lnTo>
                <a:lnTo>
                  <a:pt x="866" y="916"/>
                </a:lnTo>
                <a:lnTo>
                  <a:pt x="856" y="915"/>
                </a:lnTo>
                <a:lnTo>
                  <a:pt x="847" y="914"/>
                </a:lnTo>
                <a:lnTo>
                  <a:pt x="838" y="912"/>
                </a:lnTo>
                <a:lnTo>
                  <a:pt x="821" y="909"/>
                </a:lnTo>
                <a:lnTo>
                  <a:pt x="804" y="907"/>
                </a:lnTo>
                <a:lnTo>
                  <a:pt x="787" y="904"/>
                </a:lnTo>
                <a:lnTo>
                  <a:pt x="770" y="900"/>
                </a:lnTo>
                <a:lnTo>
                  <a:pt x="754" y="897"/>
                </a:lnTo>
                <a:lnTo>
                  <a:pt x="737" y="895"/>
                </a:lnTo>
                <a:lnTo>
                  <a:pt x="730" y="894"/>
                </a:lnTo>
                <a:lnTo>
                  <a:pt x="722" y="894"/>
                </a:lnTo>
                <a:lnTo>
                  <a:pt x="717" y="892"/>
                </a:lnTo>
                <a:lnTo>
                  <a:pt x="713" y="892"/>
                </a:lnTo>
                <a:lnTo>
                  <a:pt x="709" y="890"/>
                </a:lnTo>
                <a:lnTo>
                  <a:pt x="706" y="888"/>
                </a:lnTo>
                <a:lnTo>
                  <a:pt x="693" y="886"/>
                </a:lnTo>
                <a:lnTo>
                  <a:pt x="680" y="884"/>
                </a:lnTo>
                <a:lnTo>
                  <a:pt x="673" y="882"/>
                </a:lnTo>
                <a:lnTo>
                  <a:pt x="666" y="881"/>
                </a:lnTo>
                <a:lnTo>
                  <a:pt x="655" y="880"/>
                </a:lnTo>
                <a:lnTo>
                  <a:pt x="646" y="878"/>
                </a:lnTo>
                <a:lnTo>
                  <a:pt x="641" y="875"/>
                </a:lnTo>
                <a:lnTo>
                  <a:pt x="635" y="874"/>
                </a:lnTo>
                <a:lnTo>
                  <a:pt x="629" y="873"/>
                </a:lnTo>
                <a:lnTo>
                  <a:pt x="622" y="872"/>
                </a:lnTo>
                <a:lnTo>
                  <a:pt x="613" y="870"/>
                </a:lnTo>
                <a:lnTo>
                  <a:pt x="604" y="867"/>
                </a:lnTo>
                <a:lnTo>
                  <a:pt x="596" y="865"/>
                </a:lnTo>
                <a:lnTo>
                  <a:pt x="586" y="864"/>
                </a:lnTo>
                <a:lnTo>
                  <a:pt x="572" y="859"/>
                </a:lnTo>
                <a:lnTo>
                  <a:pt x="556" y="854"/>
                </a:lnTo>
                <a:lnTo>
                  <a:pt x="540" y="849"/>
                </a:lnTo>
                <a:lnTo>
                  <a:pt x="525" y="846"/>
                </a:lnTo>
                <a:lnTo>
                  <a:pt x="509" y="842"/>
                </a:lnTo>
                <a:lnTo>
                  <a:pt x="493" y="838"/>
                </a:lnTo>
                <a:lnTo>
                  <a:pt x="478" y="832"/>
                </a:lnTo>
                <a:lnTo>
                  <a:pt x="462" y="829"/>
                </a:lnTo>
                <a:lnTo>
                  <a:pt x="456" y="826"/>
                </a:lnTo>
                <a:lnTo>
                  <a:pt x="449" y="825"/>
                </a:lnTo>
                <a:lnTo>
                  <a:pt x="441" y="823"/>
                </a:lnTo>
                <a:lnTo>
                  <a:pt x="435" y="820"/>
                </a:lnTo>
                <a:lnTo>
                  <a:pt x="435" y="820"/>
                </a:lnTo>
                <a:lnTo>
                  <a:pt x="434" y="819"/>
                </a:lnTo>
                <a:lnTo>
                  <a:pt x="434" y="817"/>
                </a:lnTo>
                <a:lnTo>
                  <a:pt x="433" y="817"/>
                </a:lnTo>
                <a:lnTo>
                  <a:pt x="433" y="816"/>
                </a:lnTo>
                <a:lnTo>
                  <a:pt x="432" y="817"/>
                </a:lnTo>
                <a:lnTo>
                  <a:pt x="431" y="817"/>
                </a:lnTo>
                <a:lnTo>
                  <a:pt x="428" y="819"/>
                </a:lnTo>
                <a:lnTo>
                  <a:pt x="417" y="815"/>
                </a:lnTo>
                <a:lnTo>
                  <a:pt x="407" y="812"/>
                </a:lnTo>
                <a:lnTo>
                  <a:pt x="391" y="807"/>
                </a:lnTo>
                <a:lnTo>
                  <a:pt x="374" y="803"/>
                </a:lnTo>
                <a:lnTo>
                  <a:pt x="357" y="797"/>
                </a:lnTo>
                <a:lnTo>
                  <a:pt x="341" y="790"/>
                </a:lnTo>
                <a:lnTo>
                  <a:pt x="337" y="788"/>
                </a:lnTo>
                <a:lnTo>
                  <a:pt x="333" y="788"/>
                </a:lnTo>
                <a:lnTo>
                  <a:pt x="330" y="790"/>
                </a:lnTo>
                <a:lnTo>
                  <a:pt x="332" y="792"/>
                </a:lnTo>
                <a:lnTo>
                  <a:pt x="333" y="795"/>
                </a:lnTo>
                <a:lnTo>
                  <a:pt x="335" y="796"/>
                </a:lnTo>
                <a:lnTo>
                  <a:pt x="349" y="803"/>
                </a:lnTo>
                <a:lnTo>
                  <a:pt x="362" y="807"/>
                </a:lnTo>
                <a:lnTo>
                  <a:pt x="378" y="813"/>
                </a:lnTo>
                <a:lnTo>
                  <a:pt x="394" y="820"/>
                </a:lnTo>
                <a:lnTo>
                  <a:pt x="410" y="825"/>
                </a:lnTo>
                <a:lnTo>
                  <a:pt x="427" y="831"/>
                </a:lnTo>
                <a:lnTo>
                  <a:pt x="443" y="836"/>
                </a:lnTo>
                <a:lnTo>
                  <a:pt x="460" y="840"/>
                </a:lnTo>
                <a:lnTo>
                  <a:pt x="477" y="844"/>
                </a:lnTo>
                <a:lnTo>
                  <a:pt x="495" y="847"/>
                </a:lnTo>
                <a:lnTo>
                  <a:pt x="505" y="849"/>
                </a:lnTo>
                <a:lnTo>
                  <a:pt x="514" y="850"/>
                </a:lnTo>
                <a:lnTo>
                  <a:pt x="523" y="853"/>
                </a:lnTo>
                <a:lnTo>
                  <a:pt x="532" y="855"/>
                </a:lnTo>
                <a:lnTo>
                  <a:pt x="549" y="859"/>
                </a:lnTo>
                <a:lnTo>
                  <a:pt x="565" y="865"/>
                </a:lnTo>
                <a:lnTo>
                  <a:pt x="582" y="869"/>
                </a:lnTo>
                <a:lnTo>
                  <a:pt x="598" y="873"/>
                </a:lnTo>
                <a:lnTo>
                  <a:pt x="607" y="875"/>
                </a:lnTo>
                <a:lnTo>
                  <a:pt x="615" y="879"/>
                </a:lnTo>
                <a:lnTo>
                  <a:pt x="618" y="880"/>
                </a:lnTo>
                <a:lnTo>
                  <a:pt x="622" y="880"/>
                </a:lnTo>
                <a:lnTo>
                  <a:pt x="624" y="879"/>
                </a:lnTo>
                <a:lnTo>
                  <a:pt x="626" y="879"/>
                </a:lnTo>
                <a:lnTo>
                  <a:pt x="627" y="879"/>
                </a:lnTo>
                <a:lnTo>
                  <a:pt x="629" y="879"/>
                </a:lnTo>
                <a:lnTo>
                  <a:pt x="630" y="879"/>
                </a:lnTo>
                <a:lnTo>
                  <a:pt x="631" y="880"/>
                </a:lnTo>
                <a:lnTo>
                  <a:pt x="635" y="882"/>
                </a:lnTo>
                <a:lnTo>
                  <a:pt x="640" y="886"/>
                </a:lnTo>
                <a:lnTo>
                  <a:pt x="648" y="889"/>
                </a:lnTo>
                <a:lnTo>
                  <a:pt x="655" y="890"/>
                </a:lnTo>
                <a:lnTo>
                  <a:pt x="664" y="890"/>
                </a:lnTo>
                <a:lnTo>
                  <a:pt x="673" y="891"/>
                </a:lnTo>
                <a:lnTo>
                  <a:pt x="682" y="894"/>
                </a:lnTo>
                <a:lnTo>
                  <a:pt x="692" y="896"/>
                </a:lnTo>
                <a:lnTo>
                  <a:pt x="700" y="898"/>
                </a:lnTo>
                <a:lnTo>
                  <a:pt x="709" y="898"/>
                </a:lnTo>
                <a:lnTo>
                  <a:pt x="718" y="899"/>
                </a:lnTo>
                <a:lnTo>
                  <a:pt x="728" y="900"/>
                </a:lnTo>
                <a:lnTo>
                  <a:pt x="737" y="903"/>
                </a:lnTo>
                <a:lnTo>
                  <a:pt x="746" y="905"/>
                </a:lnTo>
                <a:lnTo>
                  <a:pt x="750" y="906"/>
                </a:lnTo>
                <a:lnTo>
                  <a:pt x="755" y="906"/>
                </a:lnTo>
                <a:lnTo>
                  <a:pt x="759" y="906"/>
                </a:lnTo>
                <a:lnTo>
                  <a:pt x="765" y="906"/>
                </a:lnTo>
                <a:lnTo>
                  <a:pt x="759" y="906"/>
                </a:lnTo>
                <a:lnTo>
                  <a:pt x="755" y="906"/>
                </a:lnTo>
                <a:lnTo>
                  <a:pt x="756" y="913"/>
                </a:lnTo>
                <a:lnTo>
                  <a:pt x="756" y="919"/>
                </a:lnTo>
                <a:lnTo>
                  <a:pt x="756" y="920"/>
                </a:lnTo>
                <a:lnTo>
                  <a:pt x="755" y="921"/>
                </a:lnTo>
                <a:lnTo>
                  <a:pt x="755" y="922"/>
                </a:lnTo>
                <a:lnTo>
                  <a:pt x="753" y="921"/>
                </a:lnTo>
                <a:lnTo>
                  <a:pt x="751" y="921"/>
                </a:lnTo>
                <a:lnTo>
                  <a:pt x="750" y="921"/>
                </a:lnTo>
                <a:lnTo>
                  <a:pt x="745" y="921"/>
                </a:lnTo>
                <a:lnTo>
                  <a:pt x="740" y="919"/>
                </a:lnTo>
                <a:lnTo>
                  <a:pt x="738" y="916"/>
                </a:lnTo>
                <a:lnTo>
                  <a:pt x="737" y="914"/>
                </a:lnTo>
                <a:lnTo>
                  <a:pt x="731" y="912"/>
                </a:lnTo>
                <a:lnTo>
                  <a:pt x="725" y="911"/>
                </a:lnTo>
                <a:lnTo>
                  <a:pt x="715" y="907"/>
                </a:lnTo>
                <a:lnTo>
                  <a:pt x="706" y="905"/>
                </a:lnTo>
                <a:lnTo>
                  <a:pt x="696" y="903"/>
                </a:lnTo>
                <a:lnTo>
                  <a:pt x="685" y="902"/>
                </a:lnTo>
                <a:lnTo>
                  <a:pt x="675" y="902"/>
                </a:lnTo>
                <a:lnTo>
                  <a:pt x="665" y="903"/>
                </a:lnTo>
                <a:lnTo>
                  <a:pt x="659" y="904"/>
                </a:lnTo>
                <a:lnTo>
                  <a:pt x="655" y="903"/>
                </a:lnTo>
                <a:lnTo>
                  <a:pt x="649" y="902"/>
                </a:lnTo>
                <a:lnTo>
                  <a:pt x="644" y="900"/>
                </a:lnTo>
                <a:lnTo>
                  <a:pt x="641" y="899"/>
                </a:lnTo>
                <a:lnTo>
                  <a:pt x="638" y="898"/>
                </a:lnTo>
                <a:lnTo>
                  <a:pt x="637" y="899"/>
                </a:lnTo>
                <a:lnTo>
                  <a:pt x="637" y="900"/>
                </a:lnTo>
                <a:lnTo>
                  <a:pt x="637" y="903"/>
                </a:lnTo>
                <a:lnTo>
                  <a:pt x="637" y="905"/>
                </a:lnTo>
                <a:lnTo>
                  <a:pt x="631" y="905"/>
                </a:lnTo>
                <a:lnTo>
                  <a:pt x="626" y="905"/>
                </a:lnTo>
                <a:lnTo>
                  <a:pt x="622" y="904"/>
                </a:lnTo>
                <a:lnTo>
                  <a:pt x="617" y="902"/>
                </a:lnTo>
                <a:lnTo>
                  <a:pt x="609" y="896"/>
                </a:lnTo>
                <a:lnTo>
                  <a:pt x="602" y="889"/>
                </a:lnTo>
                <a:lnTo>
                  <a:pt x="599" y="886"/>
                </a:lnTo>
                <a:lnTo>
                  <a:pt x="596" y="883"/>
                </a:lnTo>
                <a:lnTo>
                  <a:pt x="591" y="881"/>
                </a:lnTo>
                <a:lnTo>
                  <a:pt x="586" y="880"/>
                </a:lnTo>
                <a:lnTo>
                  <a:pt x="581" y="880"/>
                </a:lnTo>
                <a:lnTo>
                  <a:pt x="575" y="878"/>
                </a:lnTo>
                <a:lnTo>
                  <a:pt x="568" y="875"/>
                </a:lnTo>
                <a:lnTo>
                  <a:pt x="563" y="872"/>
                </a:lnTo>
                <a:lnTo>
                  <a:pt x="555" y="869"/>
                </a:lnTo>
                <a:lnTo>
                  <a:pt x="543" y="865"/>
                </a:lnTo>
                <a:lnTo>
                  <a:pt x="538" y="864"/>
                </a:lnTo>
                <a:lnTo>
                  <a:pt x="533" y="864"/>
                </a:lnTo>
                <a:lnTo>
                  <a:pt x="528" y="865"/>
                </a:lnTo>
                <a:lnTo>
                  <a:pt x="526" y="869"/>
                </a:lnTo>
                <a:lnTo>
                  <a:pt x="525" y="872"/>
                </a:lnTo>
                <a:lnTo>
                  <a:pt x="523" y="877"/>
                </a:lnTo>
                <a:lnTo>
                  <a:pt x="519" y="879"/>
                </a:lnTo>
                <a:lnTo>
                  <a:pt x="515" y="879"/>
                </a:lnTo>
                <a:lnTo>
                  <a:pt x="509" y="879"/>
                </a:lnTo>
                <a:lnTo>
                  <a:pt x="505" y="879"/>
                </a:lnTo>
                <a:lnTo>
                  <a:pt x="500" y="877"/>
                </a:lnTo>
                <a:lnTo>
                  <a:pt x="495" y="874"/>
                </a:lnTo>
                <a:lnTo>
                  <a:pt x="498" y="878"/>
                </a:lnTo>
                <a:lnTo>
                  <a:pt x="499" y="880"/>
                </a:lnTo>
                <a:lnTo>
                  <a:pt x="502" y="881"/>
                </a:lnTo>
                <a:lnTo>
                  <a:pt x="506" y="882"/>
                </a:lnTo>
                <a:lnTo>
                  <a:pt x="517" y="887"/>
                </a:lnTo>
                <a:lnTo>
                  <a:pt x="528" y="890"/>
                </a:lnTo>
                <a:lnTo>
                  <a:pt x="540" y="894"/>
                </a:lnTo>
                <a:lnTo>
                  <a:pt x="552" y="896"/>
                </a:lnTo>
                <a:lnTo>
                  <a:pt x="564" y="898"/>
                </a:lnTo>
                <a:lnTo>
                  <a:pt x="575" y="900"/>
                </a:lnTo>
                <a:lnTo>
                  <a:pt x="598" y="907"/>
                </a:lnTo>
                <a:lnTo>
                  <a:pt x="622" y="913"/>
                </a:lnTo>
                <a:lnTo>
                  <a:pt x="633" y="916"/>
                </a:lnTo>
                <a:lnTo>
                  <a:pt x="644" y="919"/>
                </a:lnTo>
                <a:lnTo>
                  <a:pt x="656" y="921"/>
                </a:lnTo>
                <a:lnTo>
                  <a:pt x="667" y="922"/>
                </a:lnTo>
                <a:lnTo>
                  <a:pt x="677" y="922"/>
                </a:lnTo>
                <a:lnTo>
                  <a:pt x="687" y="923"/>
                </a:lnTo>
                <a:lnTo>
                  <a:pt x="696" y="925"/>
                </a:lnTo>
                <a:lnTo>
                  <a:pt x="705" y="930"/>
                </a:lnTo>
                <a:lnTo>
                  <a:pt x="716" y="932"/>
                </a:lnTo>
                <a:lnTo>
                  <a:pt x="728" y="935"/>
                </a:lnTo>
                <a:lnTo>
                  <a:pt x="739" y="937"/>
                </a:lnTo>
                <a:lnTo>
                  <a:pt x="750" y="938"/>
                </a:lnTo>
                <a:lnTo>
                  <a:pt x="774" y="941"/>
                </a:lnTo>
                <a:lnTo>
                  <a:pt x="797" y="946"/>
                </a:lnTo>
                <a:lnTo>
                  <a:pt x="821" y="950"/>
                </a:lnTo>
                <a:lnTo>
                  <a:pt x="845" y="956"/>
                </a:lnTo>
                <a:lnTo>
                  <a:pt x="857" y="958"/>
                </a:lnTo>
                <a:lnTo>
                  <a:pt x="869" y="961"/>
                </a:lnTo>
                <a:lnTo>
                  <a:pt x="882" y="962"/>
                </a:lnTo>
                <a:lnTo>
                  <a:pt x="895" y="964"/>
                </a:lnTo>
                <a:lnTo>
                  <a:pt x="901" y="966"/>
                </a:lnTo>
                <a:lnTo>
                  <a:pt x="907" y="967"/>
                </a:lnTo>
                <a:lnTo>
                  <a:pt x="914" y="969"/>
                </a:lnTo>
                <a:lnTo>
                  <a:pt x="921" y="969"/>
                </a:lnTo>
                <a:lnTo>
                  <a:pt x="934" y="966"/>
                </a:lnTo>
                <a:lnTo>
                  <a:pt x="947" y="963"/>
                </a:lnTo>
                <a:lnTo>
                  <a:pt x="935" y="961"/>
                </a:lnTo>
                <a:lnTo>
                  <a:pt x="923" y="958"/>
                </a:lnTo>
                <a:lnTo>
                  <a:pt x="912" y="956"/>
                </a:lnTo>
                <a:lnTo>
                  <a:pt x="901" y="955"/>
                </a:lnTo>
                <a:lnTo>
                  <a:pt x="889" y="953"/>
                </a:lnTo>
                <a:lnTo>
                  <a:pt x="878" y="950"/>
                </a:lnTo>
                <a:lnTo>
                  <a:pt x="866" y="949"/>
                </a:lnTo>
                <a:lnTo>
                  <a:pt x="855" y="947"/>
                </a:lnTo>
                <a:lnTo>
                  <a:pt x="844" y="945"/>
                </a:lnTo>
                <a:lnTo>
                  <a:pt x="832" y="942"/>
                </a:lnTo>
                <a:lnTo>
                  <a:pt x="821" y="940"/>
                </a:lnTo>
                <a:lnTo>
                  <a:pt x="810" y="939"/>
                </a:lnTo>
                <a:lnTo>
                  <a:pt x="804" y="939"/>
                </a:lnTo>
                <a:lnTo>
                  <a:pt x="798" y="938"/>
                </a:lnTo>
                <a:lnTo>
                  <a:pt x="797" y="937"/>
                </a:lnTo>
                <a:lnTo>
                  <a:pt x="796" y="936"/>
                </a:lnTo>
                <a:lnTo>
                  <a:pt x="795" y="936"/>
                </a:lnTo>
                <a:lnTo>
                  <a:pt x="794" y="936"/>
                </a:lnTo>
                <a:lnTo>
                  <a:pt x="789" y="935"/>
                </a:lnTo>
                <a:lnTo>
                  <a:pt x="784" y="933"/>
                </a:lnTo>
                <a:lnTo>
                  <a:pt x="781" y="931"/>
                </a:lnTo>
                <a:lnTo>
                  <a:pt x="778" y="928"/>
                </a:lnTo>
                <a:lnTo>
                  <a:pt x="781" y="932"/>
                </a:lnTo>
                <a:lnTo>
                  <a:pt x="787" y="935"/>
                </a:lnTo>
                <a:lnTo>
                  <a:pt x="789" y="935"/>
                </a:lnTo>
                <a:lnTo>
                  <a:pt x="791" y="932"/>
                </a:lnTo>
                <a:lnTo>
                  <a:pt x="795" y="930"/>
                </a:lnTo>
                <a:lnTo>
                  <a:pt x="796" y="927"/>
                </a:lnTo>
                <a:lnTo>
                  <a:pt x="797" y="923"/>
                </a:lnTo>
                <a:lnTo>
                  <a:pt x="799" y="920"/>
                </a:lnTo>
                <a:lnTo>
                  <a:pt x="803" y="919"/>
                </a:lnTo>
                <a:lnTo>
                  <a:pt x="806" y="919"/>
                </a:lnTo>
                <a:lnTo>
                  <a:pt x="808" y="919"/>
                </a:lnTo>
                <a:lnTo>
                  <a:pt x="810" y="919"/>
                </a:lnTo>
                <a:lnTo>
                  <a:pt x="812" y="917"/>
                </a:lnTo>
                <a:lnTo>
                  <a:pt x="813" y="916"/>
                </a:lnTo>
                <a:lnTo>
                  <a:pt x="820" y="917"/>
                </a:lnTo>
                <a:lnTo>
                  <a:pt x="825" y="920"/>
                </a:lnTo>
                <a:lnTo>
                  <a:pt x="833" y="921"/>
                </a:lnTo>
                <a:lnTo>
                  <a:pt x="840" y="921"/>
                </a:lnTo>
                <a:lnTo>
                  <a:pt x="854" y="923"/>
                </a:lnTo>
                <a:lnTo>
                  <a:pt x="868" y="927"/>
                </a:lnTo>
                <a:lnTo>
                  <a:pt x="880" y="929"/>
                </a:lnTo>
                <a:lnTo>
                  <a:pt x="894" y="931"/>
                </a:lnTo>
                <a:lnTo>
                  <a:pt x="906" y="932"/>
                </a:lnTo>
                <a:lnTo>
                  <a:pt x="920" y="932"/>
                </a:lnTo>
                <a:lnTo>
                  <a:pt x="931" y="935"/>
                </a:lnTo>
                <a:lnTo>
                  <a:pt x="943" y="937"/>
                </a:lnTo>
                <a:lnTo>
                  <a:pt x="947" y="939"/>
                </a:lnTo>
                <a:lnTo>
                  <a:pt x="952" y="940"/>
                </a:lnTo>
                <a:lnTo>
                  <a:pt x="955" y="942"/>
                </a:lnTo>
                <a:lnTo>
                  <a:pt x="959" y="944"/>
                </a:lnTo>
                <a:lnTo>
                  <a:pt x="964" y="944"/>
                </a:lnTo>
                <a:lnTo>
                  <a:pt x="970" y="942"/>
                </a:lnTo>
                <a:lnTo>
                  <a:pt x="976" y="942"/>
                </a:lnTo>
                <a:lnTo>
                  <a:pt x="983" y="942"/>
                </a:lnTo>
                <a:lnTo>
                  <a:pt x="996" y="944"/>
                </a:lnTo>
                <a:lnTo>
                  <a:pt x="1009" y="946"/>
                </a:lnTo>
                <a:lnTo>
                  <a:pt x="1021" y="949"/>
                </a:lnTo>
                <a:lnTo>
                  <a:pt x="1034" y="953"/>
                </a:lnTo>
                <a:lnTo>
                  <a:pt x="1046" y="954"/>
                </a:lnTo>
                <a:lnTo>
                  <a:pt x="1059" y="955"/>
                </a:lnTo>
                <a:lnTo>
                  <a:pt x="1071" y="956"/>
                </a:lnTo>
                <a:lnTo>
                  <a:pt x="1084" y="957"/>
                </a:lnTo>
                <a:lnTo>
                  <a:pt x="1095" y="958"/>
                </a:lnTo>
                <a:lnTo>
                  <a:pt x="1107" y="961"/>
                </a:lnTo>
                <a:lnTo>
                  <a:pt x="1118" y="965"/>
                </a:lnTo>
                <a:lnTo>
                  <a:pt x="1130" y="969"/>
                </a:lnTo>
                <a:lnTo>
                  <a:pt x="1136" y="966"/>
                </a:lnTo>
                <a:lnTo>
                  <a:pt x="1142" y="964"/>
                </a:lnTo>
                <a:lnTo>
                  <a:pt x="1149" y="964"/>
                </a:lnTo>
                <a:lnTo>
                  <a:pt x="1154" y="965"/>
                </a:lnTo>
                <a:lnTo>
                  <a:pt x="1169" y="969"/>
                </a:lnTo>
                <a:lnTo>
                  <a:pt x="1184" y="970"/>
                </a:lnTo>
                <a:lnTo>
                  <a:pt x="1189" y="970"/>
                </a:lnTo>
                <a:lnTo>
                  <a:pt x="1195" y="970"/>
                </a:lnTo>
                <a:lnTo>
                  <a:pt x="1198" y="969"/>
                </a:lnTo>
                <a:lnTo>
                  <a:pt x="1200" y="966"/>
                </a:lnTo>
                <a:lnTo>
                  <a:pt x="1200" y="965"/>
                </a:lnTo>
                <a:lnTo>
                  <a:pt x="1199" y="962"/>
                </a:lnTo>
                <a:lnTo>
                  <a:pt x="1189" y="958"/>
                </a:lnTo>
                <a:lnTo>
                  <a:pt x="1178" y="957"/>
                </a:lnTo>
                <a:lnTo>
                  <a:pt x="1185" y="955"/>
                </a:lnTo>
                <a:lnTo>
                  <a:pt x="1192" y="954"/>
                </a:lnTo>
                <a:lnTo>
                  <a:pt x="1198" y="955"/>
                </a:lnTo>
                <a:lnTo>
                  <a:pt x="1204" y="958"/>
                </a:lnTo>
                <a:lnTo>
                  <a:pt x="1210" y="960"/>
                </a:lnTo>
                <a:lnTo>
                  <a:pt x="1217" y="961"/>
                </a:lnTo>
                <a:lnTo>
                  <a:pt x="1220" y="961"/>
                </a:lnTo>
                <a:lnTo>
                  <a:pt x="1224" y="960"/>
                </a:lnTo>
                <a:lnTo>
                  <a:pt x="1226" y="958"/>
                </a:lnTo>
                <a:lnTo>
                  <a:pt x="1228" y="956"/>
                </a:lnTo>
                <a:lnTo>
                  <a:pt x="1228" y="955"/>
                </a:lnTo>
                <a:lnTo>
                  <a:pt x="1227" y="953"/>
                </a:lnTo>
                <a:lnTo>
                  <a:pt x="1226" y="953"/>
                </a:lnTo>
                <a:lnTo>
                  <a:pt x="1225" y="952"/>
                </a:lnTo>
                <a:lnTo>
                  <a:pt x="1222" y="952"/>
                </a:lnTo>
                <a:lnTo>
                  <a:pt x="1219" y="950"/>
                </a:lnTo>
                <a:lnTo>
                  <a:pt x="1212" y="950"/>
                </a:lnTo>
                <a:lnTo>
                  <a:pt x="1204" y="949"/>
                </a:lnTo>
                <a:lnTo>
                  <a:pt x="1195" y="947"/>
                </a:lnTo>
                <a:lnTo>
                  <a:pt x="1185" y="946"/>
                </a:lnTo>
                <a:lnTo>
                  <a:pt x="1176" y="945"/>
                </a:lnTo>
                <a:lnTo>
                  <a:pt x="1166" y="944"/>
                </a:lnTo>
                <a:lnTo>
                  <a:pt x="1149" y="941"/>
                </a:lnTo>
                <a:lnTo>
                  <a:pt x="1132" y="937"/>
                </a:lnTo>
                <a:lnTo>
                  <a:pt x="1115" y="933"/>
                </a:lnTo>
                <a:lnTo>
                  <a:pt x="1097" y="931"/>
                </a:lnTo>
                <a:lnTo>
                  <a:pt x="1078" y="929"/>
                </a:lnTo>
                <a:lnTo>
                  <a:pt x="1060" y="927"/>
                </a:lnTo>
                <a:lnTo>
                  <a:pt x="1041" y="924"/>
                </a:lnTo>
                <a:lnTo>
                  <a:pt x="1022" y="921"/>
                </a:lnTo>
                <a:lnTo>
                  <a:pt x="1003" y="919"/>
                </a:lnTo>
                <a:lnTo>
                  <a:pt x="985" y="915"/>
                </a:lnTo>
                <a:lnTo>
                  <a:pt x="967" y="912"/>
                </a:lnTo>
                <a:lnTo>
                  <a:pt x="948" y="909"/>
                </a:lnTo>
                <a:lnTo>
                  <a:pt x="931" y="908"/>
                </a:lnTo>
                <a:lnTo>
                  <a:pt x="913" y="906"/>
                </a:lnTo>
                <a:lnTo>
                  <a:pt x="895" y="904"/>
                </a:lnTo>
                <a:lnTo>
                  <a:pt x="878" y="900"/>
                </a:lnTo>
                <a:lnTo>
                  <a:pt x="840" y="894"/>
                </a:lnTo>
                <a:lnTo>
                  <a:pt x="804" y="887"/>
                </a:lnTo>
                <a:lnTo>
                  <a:pt x="767" y="880"/>
                </a:lnTo>
                <a:lnTo>
                  <a:pt x="730" y="873"/>
                </a:lnTo>
                <a:lnTo>
                  <a:pt x="711" y="869"/>
                </a:lnTo>
                <a:lnTo>
                  <a:pt x="690" y="865"/>
                </a:lnTo>
                <a:lnTo>
                  <a:pt x="671" y="861"/>
                </a:lnTo>
                <a:lnTo>
                  <a:pt x="650" y="857"/>
                </a:lnTo>
                <a:lnTo>
                  <a:pt x="641" y="855"/>
                </a:lnTo>
                <a:lnTo>
                  <a:pt x="631" y="853"/>
                </a:lnTo>
                <a:lnTo>
                  <a:pt x="622" y="850"/>
                </a:lnTo>
                <a:lnTo>
                  <a:pt x="611" y="849"/>
                </a:lnTo>
                <a:lnTo>
                  <a:pt x="601" y="847"/>
                </a:lnTo>
                <a:lnTo>
                  <a:pt x="591" y="845"/>
                </a:lnTo>
                <a:lnTo>
                  <a:pt x="582" y="841"/>
                </a:lnTo>
                <a:lnTo>
                  <a:pt x="572" y="837"/>
                </a:lnTo>
                <a:lnTo>
                  <a:pt x="575" y="836"/>
                </a:lnTo>
                <a:lnTo>
                  <a:pt x="577" y="836"/>
                </a:lnTo>
                <a:lnTo>
                  <a:pt x="581" y="836"/>
                </a:lnTo>
                <a:lnTo>
                  <a:pt x="585" y="837"/>
                </a:lnTo>
                <a:lnTo>
                  <a:pt x="592" y="839"/>
                </a:lnTo>
                <a:lnTo>
                  <a:pt x="598" y="840"/>
                </a:lnTo>
                <a:lnTo>
                  <a:pt x="606" y="842"/>
                </a:lnTo>
                <a:lnTo>
                  <a:pt x="614" y="844"/>
                </a:lnTo>
                <a:lnTo>
                  <a:pt x="622" y="846"/>
                </a:lnTo>
                <a:lnTo>
                  <a:pt x="630" y="848"/>
                </a:lnTo>
                <a:lnTo>
                  <a:pt x="646" y="852"/>
                </a:lnTo>
                <a:lnTo>
                  <a:pt x="662" y="855"/>
                </a:lnTo>
                <a:lnTo>
                  <a:pt x="679" y="858"/>
                </a:lnTo>
                <a:lnTo>
                  <a:pt x="695" y="862"/>
                </a:lnTo>
                <a:lnTo>
                  <a:pt x="711" y="865"/>
                </a:lnTo>
                <a:lnTo>
                  <a:pt x="726" y="869"/>
                </a:lnTo>
                <a:lnTo>
                  <a:pt x="742" y="870"/>
                </a:lnTo>
                <a:lnTo>
                  <a:pt x="759" y="872"/>
                </a:lnTo>
                <a:lnTo>
                  <a:pt x="763" y="873"/>
                </a:lnTo>
                <a:lnTo>
                  <a:pt x="770" y="874"/>
                </a:lnTo>
                <a:lnTo>
                  <a:pt x="773" y="875"/>
                </a:lnTo>
                <a:lnTo>
                  <a:pt x="775" y="874"/>
                </a:lnTo>
                <a:lnTo>
                  <a:pt x="777" y="874"/>
                </a:lnTo>
                <a:lnTo>
                  <a:pt x="778" y="872"/>
                </a:lnTo>
                <a:lnTo>
                  <a:pt x="777" y="870"/>
                </a:lnTo>
                <a:lnTo>
                  <a:pt x="773" y="869"/>
                </a:lnTo>
                <a:lnTo>
                  <a:pt x="770" y="867"/>
                </a:lnTo>
                <a:lnTo>
                  <a:pt x="765" y="866"/>
                </a:lnTo>
                <a:lnTo>
                  <a:pt x="756" y="865"/>
                </a:lnTo>
                <a:lnTo>
                  <a:pt x="749" y="865"/>
                </a:lnTo>
                <a:lnTo>
                  <a:pt x="751" y="863"/>
                </a:lnTo>
                <a:lnTo>
                  <a:pt x="754" y="862"/>
                </a:lnTo>
                <a:lnTo>
                  <a:pt x="757" y="862"/>
                </a:lnTo>
                <a:lnTo>
                  <a:pt x="761" y="862"/>
                </a:lnTo>
                <a:lnTo>
                  <a:pt x="766" y="863"/>
                </a:lnTo>
                <a:lnTo>
                  <a:pt x="772" y="864"/>
                </a:lnTo>
                <a:lnTo>
                  <a:pt x="787" y="866"/>
                </a:lnTo>
                <a:lnTo>
                  <a:pt x="803" y="869"/>
                </a:lnTo>
                <a:lnTo>
                  <a:pt x="816" y="871"/>
                </a:lnTo>
                <a:lnTo>
                  <a:pt x="830" y="873"/>
                </a:lnTo>
                <a:lnTo>
                  <a:pt x="837" y="873"/>
                </a:lnTo>
                <a:lnTo>
                  <a:pt x="843" y="874"/>
                </a:lnTo>
                <a:lnTo>
                  <a:pt x="848" y="877"/>
                </a:lnTo>
                <a:lnTo>
                  <a:pt x="854" y="879"/>
                </a:lnTo>
                <a:lnTo>
                  <a:pt x="850" y="881"/>
                </a:lnTo>
                <a:lnTo>
                  <a:pt x="847" y="881"/>
                </a:lnTo>
                <a:lnTo>
                  <a:pt x="844" y="882"/>
                </a:lnTo>
                <a:lnTo>
                  <a:pt x="841" y="886"/>
                </a:lnTo>
                <a:lnTo>
                  <a:pt x="850" y="887"/>
                </a:lnTo>
                <a:lnTo>
                  <a:pt x="858" y="888"/>
                </a:lnTo>
                <a:lnTo>
                  <a:pt x="868" y="890"/>
                </a:lnTo>
                <a:lnTo>
                  <a:pt x="876" y="892"/>
                </a:lnTo>
                <a:lnTo>
                  <a:pt x="882" y="894"/>
                </a:lnTo>
                <a:lnTo>
                  <a:pt x="888" y="894"/>
                </a:lnTo>
                <a:lnTo>
                  <a:pt x="890" y="890"/>
                </a:lnTo>
                <a:lnTo>
                  <a:pt x="894" y="887"/>
                </a:lnTo>
                <a:lnTo>
                  <a:pt x="901" y="886"/>
                </a:lnTo>
                <a:lnTo>
                  <a:pt x="909" y="887"/>
                </a:lnTo>
                <a:lnTo>
                  <a:pt x="915" y="889"/>
                </a:lnTo>
                <a:lnTo>
                  <a:pt x="922" y="891"/>
                </a:lnTo>
                <a:lnTo>
                  <a:pt x="931" y="894"/>
                </a:lnTo>
                <a:lnTo>
                  <a:pt x="939" y="896"/>
                </a:lnTo>
                <a:lnTo>
                  <a:pt x="948" y="898"/>
                </a:lnTo>
                <a:lnTo>
                  <a:pt x="957" y="899"/>
                </a:lnTo>
                <a:lnTo>
                  <a:pt x="967" y="902"/>
                </a:lnTo>
                <a:lnTo>
                  <a:pt x="976" y="903"/>
                </a:lnTo>
                <a:lnTo>
                  <a:pt x="979" y="904"/>
                </a:lnTo>
                <a:lnTo>
                  <a:pt x="983" y="904"/>
                </a:lnTo>
                <a:lnTo>
                  <a:pt x="984" y="906"/>
                </a:lnTo>
                <a:lnTo>
                  <a:pt x="985" y="908"/>
                </a:lnTo>
                <a:lnTo>
                  <a:pt x="990" y="909"/>
                </a:lnTo>
                <a:lnTo>
                  <a:pt x="997" y="911"/>
                </a:lnTo>
                <a:lnTo>
                  <a:pt x="1005" y="913"/>
                </a:lnTo>
                <a:lnTo>
                  <a:pt x="1012" y="915"/>
                </a:lnTo>
                <a:lnTo>
                  <a:pt x="1021" y="916"/>
                </a:lnTo>
                <a:lnTo>
                  <a:pt x="1030" y="917"/>
                </a:lnTo>
                <a:lnTo>
                  <a:pt x="1038" y="919"/>
                </a:lnTo>
                <a:lnTo>
                  <a:pt x="1047" y="920"/>
                </a:lnTo>
                <a:lnTo>
                  <a:pt x="1055" y="922"/>
                </a:lnTo>
                <a:lnTo>
                  <a:pt x="1064" y="923"/>
                </a:lnTo>
                <a:lnTo>
                  <a:pt x="1072" y="924"/>
                </a:lnTo>
                <a:lnTo>
                  <a:pt x="1082" y="923"/>
                </a:lnTo>
                <a:lnTo>
                  <a:pt x="1078" y="919"/>
                </a:lnTo>
                <a:lnTo>
                  <a:pt x="1072" y="915"/>
                </a:lnTo>
                <a:lnTo>
                  <a:pt x="1067" y="914"/>
                </a:lnTo>
                <a:lnTo>
                  <a:pt x="1060" y="914"/>
                </a:lnTo>
                <a:lnTo>
                  <a:pt x="1046" y="915"/>
                </a:lnTo>
                <a:lnTo>
                  <a:pt x="1034" y="915"/>
                </a:lnTo>
                <a:lnTo>
                  <a:pt x="1021" y="912"/>
                </a:lnTo>
                <a:lnTo>
                  <a:pt x="1008" y="908"/>
                </a:lnTo>
                <a:lnTo>
                  <a:pt x="1003" y="908"/>
                </a:lnTo>
                <a:lnTo>
                  <a:pt x="997" y="908"/>
                </a:lnTo>
                <a:lnTo>
                  <a:pt x="995" y="908"/>
                </a:lnTo>
                <a:lnTo>
                  <a:pt x="993" y="907"/>
                </a:lnTo>
                <a:lnTo>
                  <a:pt x="990" y="906"/>
                </a:lnTo>
                <a:lnTo>
                  <a:pt x="989" y="904"/>
                </a:lnTo>
                <a:lnTo>
                  <a:pt x="996" y="903"/>
                </a:lnTo>
                <a:lnTo>
                  <a:pt x="1004" y="903"/>
                </a:lnTo>
                <a:lnTo>
                  <a:pt x="1011" y="904"/>
                </a:lnTo>
                <a:lnTo>
                  <a:pt x="1019" y="904"/>
                </a:lnTo>
                <a:lnTo>
                  <a:pt x="1025" y="905"/>
                </a:lnTo>
                <a:lnTo>
                  <a:pt x="1031" y="907"/>
                </a:lnTo>
                <a:lnTo>
                  <a:pt x="1034" y="908"/>
                </a:lnTo>
                <a:lnTo>
                  <a:pt x="1036" y="909"/>
                </a:lnTo>
                <a:lnTo>
                  <a:pt x="1038" y="911"/>
                </a:lnTo>
                <a:lnTo>
                  <a:pt x="1042" y="911"/>
                </a:lnTo>
                <a:lnTo>
                  <a:pt x="1047" y="909"/>
                </a:lnTo>
                <a:lnTo>
                  <a:pt x="1053" y="908"/>
                </a:lnTo>
                <a:lnTo>
                  <a:pt x="1061" y="909"/>
                </a:lnTo>
                <a:lnTo>
                  <a:pt x="1069" y="911"/>
                </a:lnTo>
                <a:lnTo>
                  <a:pt x="1077" y="912"/>
                </a:lnTo>
                <a:lnTo>
                  <a:pt x="1085" y="913"/>
                </a:lnTo>
                <a:lnTo>
                  <a:pt x="1094" y="914"/>
                </a:lnTo>
                <a:lnTo>
                  <a:pt x="1102" y="915"/>
                </a:lnTo>
                <a:lnTo>
                  <a:pt x="1107" y="921"/>
                </a:lnTo>
                <a:lnTo>
                  <a:pt x="1111" y="928"/>
                </a:lnTo>
                <a:lnTo>
                  <a:pt x="1121" y="928"/>
                </a:lnTo>
                <a:lnTo>
                  <a:pt x="1130" y="927"/>
                </a:lnTo>
                <a:lnTo>
                  <a:pt x="1135" y="929"/>
                </a:lnTo>
                <a:lnTo>
                  <a:pt x="1140" y="932"/>
                </a:lnTo>
                <a:lnTo>
                  <a:pt x="1142" y="933"/>
                </a:lnTo>
                <a:lnTo>
                  <a:pt x="1144" y="933"/>
                </a:lnTo>
                <a:lnTo>
                  <a:pt x="1146" y="933"/>
                </a:lnTo>
                <a:lnTo>
                  <a:pt x="1149" y="932"/>
                </a:lnTo>
                <a:lnTo>
                  <a:pt x="1153" y="929"/>
                </a:lnTo>
                <a:lnTo>
                  <a:pt x="1158" y="925"/>
                </a:lnTo>
                <a:lnTo>
                  <a:pt x="1163" y="923"/>
                </a:lnTo>
                <a:lnTo>
                  <a:pt x="1169" y="921"/>
                </a:lnTo>
                <a:lnTo>
                  <a:pt x="1156" y="919"/>
                </a:lnTo>
                <a:lnTo>
                  <a:pt x="1141" y="915"/>
                </a:lnTo>
                <a:lnTo>
                  <a:pt x="1143" y="913"/>
                </a:lnTo>
                <a:lnTo>
                  <a:pt x="1145" y="912"/>
                </a:lnTo>
                <a:lnTo>
                  <a:pt x="1149" y="912"/>
                </a:lnTo>
                <a:lnTo>
                  <a:pt x="1152" y="912"/>
                </a:lnTo>
                <a:lnTo>
                  <a:pt x="1159" y="912"/>
                </a:lnTo>
                <a:lnTo>
                  <a:pt x="1165" y="913"/>
                </a:lnTo>
                <a:lnTo>
                  <a:pt x="1178" y="916"/>
                </a:lnTo>
                <a:lnTo>
                  <a:pt x="1193" y="920"/>
                </a:lnTo>
                <a:lnTo>
                  <a:pt x="1209" y="920"/>
                </a:lnTo>
                <a:lnTo>
                  <a:pt x="1225" y="920"/>
                </a:lnTo>
                <a:lnTo>
                  <a:pt x="1234" y="920"/>
                </a:lnTo>
                <a:lnTo>
                  <a:pt x="1243" y="920"/>
                </a:lnTo>
                <a:lnTo>
                  <a:pt x="1252" y="920"/>
                </a:lnTo>
                <a:lnTo>
                  <a:pt x="1261" y="920"/>
                </a:lnTo>
                <a:lnTo>
                  <a:pt x="1253" y="919"/>
                </a:lnTo>
                <a:lnTo>
                  <a:pt x="1245" y="916"/>
                </a:lnTo>
                <a:lnTo>
                  <a:pt x="1239" y="915"/>
                </a:lnTo>
                <a:lnTo>
                  <a:pt x="1231" y="915"/>
                </a:lnTo>
                <a:lnTo>
                  <a:pt x="1223" y="915"/>
                </a:lnTo>
                <a:lnTo>
                  <a:pt x="1214" y="914"/>
                </a:lnTo>
                <a:lnTo>
                  <a:pt x="1206" y="913"/>
                </a:lnTo>
                <a:lnTo>
                  <a:pt x="1198" y="911"/>
                </a:lnTo>
                <a:lnTo>
                  <a:pt x="1178" y="907"/>
                </a:lnTo>
                <a:lnTo>
                  <a:pt x="1158" y="905"/>
                </a:lnTo>
                <a:lnTo>
                  <a:pt x="1138" y="902"/>
                </a:lnTo>
                <a:lnTo>
                  <a:pt x="1119" y="900"/>
                </a:lnTo>
                <a:lnTo>
                  <a:pt x="1100" y="898"/>
                </a:lnTo>
                <a:lnTo>
                  <a:pt x="1080" y="896"/>
                </a:lnTo>
                <a:lnTo>
                  <a:pt x="1062" y="892"/>
                </a:lnTo>
                <a:lnTo>
                  <a:pt x="1043" y="889"/>
                </a:lnTo>
                <a:lnTo>
                  <a:pt x="1034" y="888"/>
                </a:lnTo>
                <a:lnTo>
                  <a:pt x="1023" y="886"/>
                </a:lnTo>
                <a:lnTo>
                  <a:pt x="1013" y="884"/>
                </a:lnTo>
                <a:lnTo>
                  <a:pt x="1003" y="882"/>
                </a:lnTo>
                <a:lnTo>
                  <a:pt x="994" y="881"/>
                </a:lnTo>
                <a:lnTo>
                  <a:pt x="985" y="880"/>
                </a:lnTo>
                <a:lnTo>
                  <a:pt x="975" y="878"/>
                </a:lnTo>
                <a:lnTo>
                  <a:pt x="967" y="874"/>
                </a:lnTo>
                <a:lnTo>
                  <a:pt x="968" y="873"/>
                </a:lnTo>
                <a:lnTo>
                  <a:pt x="970" y="872"/>
                </a:lnTo>
                <a:lnTo>
                  <a:pt x="972" y="872"/>
                </a:lnTo>
                <a:lnTo>
                  <a:pt x="975" y="872"/>
                </a:lnTo>
                <a:lnTo>
                  <a:pt x="980" y="873"/>
                </a:lnTo>
                <a:lnTo>
                  <a:pt x="985" y="874"/>
                </a:lnTo>
                <a:lnTo>
                  <a:pt x="998" y="875"/>
                </a:lnTo>
                <a:lnTo>
                  <a:pt x="1013" y="878"/>
                </a:lnTo>
                <a:lnTo>
                  <a:pt x="1027" y="880"/>
                </a:lnTo>
                <a:lnTo>
                  <a:pt x="1041" y="881"/>
                </a:lnTo>
                <a:lnTo>
                  <a:pt x="1055" y="882"/>
                </a:lnTo>
                <a:lnTo>
                  <a:pt x="1069" y="882"/>
                </a:lnTo>
                <a:lnTo>
                  <a:pt x="1055" y="879"/>
                </a:lnTo>
                <a:lnTo>
                  <a:pt x="1042" y="875"/>
                </a:lnTo>
                <a:lnTo>
                  <a:pt x="1028" y="873"/>
                </a:lnTo>
                <a:lnTo>
                  <a:pt x="1014" y="871"/>
                </a:lnTo>
                <a:lnTo>
                  <a:pt x="986" y="867"/>
                </a:lnTo>
                <a:lnTo>
                  <a:pt x="959" y="863"/>
                </a:lnTo>
                <a:lnTo>
                  <a:pt x="964" y="861"/>
                </a:lnTo>
                <a:lnTo>
                  <a:pt x="969" y="861"/>
                </a:lnTo>
                <a:lnTo>
                  <a:pt x="975" y="861"/>
                </a:lnTo>
                <a:lnTo>
                  <a:pt x="979" y="862"/>
                </a:lnTo>
                <a:lnTo>
                  <a:pt x="985" y="863"/>
                </a:lnTo>
                <a:lnTo>
                  <a:pt x="990" y="864"/>
                </a:lnTo>
                <a:lnTo>
                  <a:pt x="995" y="863"/>
                </a:lnTo>
                <a:lnTo>
                  <a:pt x="1001" y="862"/>
                </a:lnTo>
                <a:lnTo>
                  <a:pt x="994" y="861"/>
                </a:lnTo>
                <a:lnTo>
                  <a:pt x="987" y="859"/>
                </a:lnTo>
                <a:lnTo>
                  <a:pt x="981" y="858"/>
                </a:lnTo>
                <a:lnTo>
                  <a:pt x="977" y="856"/>
                </a:lnTo>
                <a:lnTo>
                  <a:pt x="976" y="855"/>
                </a:lnTo>
                <a:lnTo>
                  <a:pt x="977" y="853"/>
                </a:lnTo>
                <a:lnTo>
                  <a:pt x="980" y="852"/>
                </a:lnTo>
                <a:lnTo>
                  <a:pt x="983" y="852"/>
                </a:lnTo>
                <a:lnTo>
                  <a:pt x="989" y="850"/>
                </a:lnTo>
                <a:lnTo>
                  <a:pt x="993" y="850"/>
                </a:lnTo>
                <a:lnTo>
                  <a:pt x="990" y="848"/>
                </a:lnTo>
                <a:lnTo>
                  <a:pt x="987" y="847"/>
                </a:lnTo>
                <a:lnTo>
                  <a:pt x="984" y="846"/>
                </a:lnTo>
                <a:lnTo>
                  <a:pt x="980" y="846"/>
                </a:lnTo>
                <a:lnTo>
                  <a:pt x="977" y="845"/>
                </a:lnTo>
                <a:lnTo>
                  <a:pt x="973" y="845"/>
                </a:lnTo>
                <a:lnTo>
                  <a:pt x="971" y="842"/>
                </a:lnTo>
                <a:lnTo>
                  <a:pt x="969" y="841"/>
                </a:lnTo>
                <a:lnTo>
                  <a:pt x="962" y="840"/>
                </a:lnTo>
                <a:lnTo>
                  <a:pt x="954" y="840"/>
                </a:lnTo>
                <a:lnTo>
                  <a:pt x="946" y="839"/>
                </a:lnTo>
                <a:lnTo>
                  <a:pt x="937" y="837"/>
                </a:lnTo>
                <a:lnTo>
                  <a:pt x="921" y="834"/>
                </a:lnTo>
                <a:lnTo>
                  <a:pt x="905" y="831"/>
                </a:lnTo>
                <a:lnTo>
                  <a:pt x="888" y="826"/>
                </a:lnTo>
                <a:lnTo>
                  <a:pt x="872" y="823"/>
                </a:lnTo>
                <a:lnTo>
                  <a:pt x="863" y="822"/>
                </a:lnTo>
                <a:lnTo>
                  <a:pt x="854" y="821"/>
                </a:lnTo>
                <a:lnTo>
                  <a:pt x="845" y="820"/>
                </a:lnTo>
                <a:lnTo>
                  <a:pt x="836" y="820"/>
                </a:lnTo>
                <a:lnTo>
                  <a:pt x="827" y="819"/>
                </a:lnTo>
                <a:lnTo>
                  <a:pt x="817" y="816"/>
                </a:lnTo>
                <a:lnTo>
                  <a:pt x="810" y="813"/>
                </a:lnTo>
                <a:lnTo>
                  <a:pt x="802" y="811"/>
                </a:lnTo>
                <a:lnTo>
                  <a:pt x="794" y="812"/>
                </a:lnTo>
                <a:lnTo>
                  <a:pt x="784" y="812"/>
                </a:lnTo>
                <a:lnTo>
                  <a:pt x="777" y="811"/>
                </a:lnTo>
                <a:lnTo>
                  <a:pt x="767" y="808"/>
                </a:lnTo>
                <a:lnTo>
                  <a:pt x="759" y="807"/>
                </a:lnTo>
                <a:lnTo>
                  <a:pt x="751" y="805"/>
                </a:lnTo>
                <a:lnTo>
                  <a:pt x="747" y="805"/>
                </a:lnTo>
                <a:lnTo>
                  <a:pt x="744" y="804"/>
                </a:lnTo>
                <a:lnTo>
                  <a:pt x="740" y="803"/>
                </a:lnTo>
                <a:lnTo>
                  <a:pt x="738" y="799"/>
                </a:lnTo>
                <a:lnTo>
                  <a:pt x="751" y="798"/>
                </a:lnTo>
                <a:lnTo>
                  <a:pt x="765" y="799"/>
                </a:lnTo>
                <a:lnTo>
                  <a:pt x="779" y="803"/>
                </a:lnTo>
                <a:lnTo>
                  <a:pt x="791" y="805"/>
                </a:lnTo>
                <a:lnTo>
                  <a:pt x="806" y="807"/>
                </a:lnTo>
                <a:lnTo>
                  <a:pt x="820" y="809"/>
                </a:lnTo>
                <a:lnTo>
                  <a:pt x="835" y="812"/>
                </a:lnTo>
                <a:lnTo>
                  <a:pt x="849" y="813"/>
                </a:lnTo>
                <a:lnTo>
                  <a:pt x="876" y="815"/>
                </a:lnTo>
                <a:lnTo>
                  <a:pt x="903" y="819"/>
                </a:lnTo>
                <a:lnTo>
                  <a:pt x="930" y="823"/>
                </a:lnTo>
                <a:lnTo>
                  <a:pt x="957" y="828"/>
                </a:lnTo>
                <a:lnTo>
                  <a:pt x="972" y="830"/>
                </a:lnTo>
                <a:lnTo>
                  <a:pt x="987" y="832"/>
                </a:lnTo>
                <a:lnTo>
                  <a:pt x="1001" y="833"/>
                </a:lnTo>
                <a:lnTo>
                  <a:pt x="1016" y="836"/>
                </a:lnTo>
                <a:lnTo>
                  <a:pt x="1030" y="838"/>
                </a:lnTo>
                <a:lnTo>
                  <a:pt x="1044" y="840"/>
                </a:lnTo>
                <a:lnTo>
                  <a:pt x="1058" y="841"/>
                </a:lnTo>
                <a:lnTo>
                  <a:pt x="1072" y="844"/>
                </a:lnTo>
                <a:lnTo>
                  <a:pt x="1077" y="842"/>
                </a:lnTo>
                <a:lnTo>
                  <a:pt x="1083" y="842"/>
                </a:lnTo>
                <a:lnTo>
                  <a:pt x="1088" y="845"/>
                </a:lnTo>
                <a:lnTo>
                  <a:pt x="1094" y="846"/>
                </a:lnTo>
                <a:lnTo>
                  <a:pt x="1108" y="847"/>
                </a:lnTo>
                <a:lnTo>
                  <a:pt x="1123" y="849"/>
                </a:lnTo>
                <a:lnTo>
                  <a:pt x="1135" y="849"/>
                </a:lnTo>
                <a:lnTo>
                  <a:pt x="1149" y="850"/>
                </a:lnTo>
                <a:lnTo>
                  <a:pt x="1161" y="853"/>
                </a:lnTo>
                <a:lnTo>
                  <a:pt x="1175" y="854"/>
                </a:lnTo>
                <a:lnTo>
                  <a:pt x="1178" y="854"/>
                </a:lnTo>
                <a:lnTo>
                  <a:pt x="1182" y="853"/>
                </a:lnTo>
                <a:lnTo>
                  <a:pt x="1183" y="853"/>
                </a:lnTo>
                <a:lnTo>
                  <a:pt x="1184" y="852"/>
                </a:lnTo>
                <a:lnTo>
                  <a:pt x="1184" y="849"/>
                </a:lnTo>
                <a:lnTo>
                  <a:pt x="1182" y="848"/>
                </a:lnTo>
                <a:lnTo>
                  <a:pt x="1178" y="846"/>
                </a:lnTo>
                <a:lnTo>
                  <a:pt x="1173" y="845"/>
                </a:lnTo>
                <a:lnTo>
                  <a:pt x="1167" y="845"/>
                </a:lnTo>
                <a:lnTo>
                  <a:pt x="1162" y="846"/>
                </a:lnTo>
                <a:lnTo>
                  <a:pt x="1146" y="844"/>
                </a:lnTo>
                <a:lnTo>
                  <a:pt x="1130" y="841"/>
                </a:lnTo>
                <a:lnTo>
                  <a:pt x="1125" y="841"/>
                </a:lnTo>
                <a:lnTo>
                  <a:pt x="1119" y="841"/>
                </a:lnTo>
                <a:lnTo>
                  <a:pt x="1116" y="841"/>
                </a:lnTo>
                <a:lnTo>
                  <a:pt x="1113" y="840"/>
                </a:lnTo>
                <a:lnTo>
                  <a:pt x="1112" y="838"/>
                </a:lnTo>
                <a:lnTo>
                  <a:pt x="1112" y="836"/>
                </a:lnTo>
                <a:lnTo>
                  <a:pt x="1119" y="837"/>
                </a:lnTo>
                <a:lnTo>
                  <a:pt x="1126" y="838"/>
                </a:lnTo>
                <a:lnTo>
                  <a:pt x="1133" y="838"/>
                </a:lnTo>
                <a:lnTo>
                  <a:pt x="1138" y="838"/>
                </a:lnTo>
                <a:lnTo>
                  <a:pt x="1143" y="839"/>
                </a:lnTo>
                <a:lnTo>
                  <a:pt x="1149" y="839"/>
                </a:lnTo>
                <a:lnTo>
                  <a:pt x="1152" y="840"/>
                </a:lnTo>
                <a:lnTo>
                  <a:pt x="1156" y="842"/>
                </a:lnTo>
                <a:lnTo>
                  <a:pt x="1158" y="844"/>
                </a:lnTo>
                <a:lnTo>
                  <a:pt x="1160" y="845"/>
                </a:lnTo>
                <a:lnTo>
                  <a:pt x="1165" y="844"/>
                </a:lnTo>
                <a:lnTo>
                  <a:pt x="1169" y="842"/>
                </a:lnTo>
                <a:lnTo>
                  <a:pt x="1176" y="844"/>
                </a:lnTo>
                <a:lnTo>
                  <a:pt x="1183" y="845"/>
                </a:lnTo>
                <a:lnTo>
                  <a:pt x="1195" y="846"/>
                </a:lnTo>
                <a:lnTo>
                  <a:pt x="1209" y="846"/>
                </a:lnTo>
                <a:lnTo>
                  <a:pt x="1203" y="849"/>
                </a:lnTo>
                <a:lnTo>
                  <a:pt x="1200" y="853"/>
                </a:lnTo>
                <a:lnTo>
                  <a:pt x="1200" y="854"/>
                </a:lnTo>
                <a:lnTo>
                  <a:pt x="1201" y="855"/>
                </a:lnTo>
                <a:lnTo>
                  <a:pt x="1203" y="856"/>
                </a:lnTo>
                <a:lnTo>
                  <a:pt x="1206" y="857"/>
                </a:lnTo>
                <a:lnTo>
                  <a:pt x="1210" y="857"/>
                </a:lnTo>
                <a:lnTo>
                  <a:pt x="1214" y="858"/>
                </a:lnTo>
                <a:lnTo>
                  <a:pt x="1217" y="857"/>
                </a:lnTo>
                <a:lnTo>
                  <a:pt x="1220" y="856"/>
                </a:lnTo>
                <a:lnTo>
                  <a:pt x="1224" y="854"/>
                </a:lnTo>
                <a:lnTo>
                  <a:pt x="1227" y="852"/>
                </a:lnTo>
                <a:lnTo>
                  <a:pt x="1232" y="849"/>
                </a:lnTo>
                <a:lnTo>
                  <a:pt x="1237" y="848"/>
                </a:lnTo>
                <a:lnTo>
                  <a:pt x="1244" y="848"/>
                </a:lnTo>
                <a:lnTo>
                  <a:pt x="1250" y="849"/>
                </a:lnTo>
                <a:lnTo>
                  <a:pt x="1252" y="849"/>
                </a:lnTo>
                <a:lnTo>
                  <a:pt x="1256" y="849"/>
                </a:lnTo>
                <a:lnTo>
                  <a:pt x="1257" y="850"/>
                </a:lnTo>
                <a:lnTo>
                  <a:pt x="1258" y="852"/>
                </a:lnTo>
                <a:lnTo>
                  <a:pt x="1264" y="852"/>
                </a:lnTo>
                <a:lnTo>
                  <a:pt x="1269" y="852"/>
                </a:lnTo>
                <a:lnTo>
                  <a:pt x="1283" y="853"/>
                </a:lnTo>
                <a:lnTo>
                  <a:pt x="1297" y="854"/>
                </a:lnTo>
                <a:lnTo>
                  <a:pt x="1307" y="854"/>
                </a:lnTo>
                <a:lnTo>
                  <a:pt x="1316" y="852"/>
                </a:lnTo>
                <a:lnTo>
                  <a:pt x="1321" y="849"/>
                </a:lnTo>
                <a:lnTo>
                  <a:pt x="1325" y="848"/>
                </a:lnTo>
                <a:lnTo>
                  <a:pt x="1327" y="848"/>
                </a:lnTo>
                <a:lnTo>
                  <a:pt x="1330" y="849"/>
                </a:lnTo>
                <a:lnTo>
                  <a:pt x="1334" y="848"/>
                </a:lnTo>
                <a:lnTo>
                  <a:pt x="1339" y="848"/>
                </a:lnTo>
                <a:lnTo>
                  <a:pt x="1343" y="848"/>
                </a:lnTo>
                <a:lnTo>
                  <a:pt x="1347" y="850"/>
                </a:lnTo>
                <a:lnTo>
                  <a:pt x="1352" y="852"/>
                </a:lnTo>
                <a:lnTo>
                  <a:pt x="1357" y="853"/>
                </a:lnTo>
                <a:lnTo>
                  <a:pt x="1371" y="854"/>
                </a:lnTo>
                <a:lnTo>
                  <a:pt x="1384" y="854"/>
                </a:lnTo>
                <a:lnTo>
                  <a:pt x="1397" y="854"/>
                </a:lnTo>
                <a:lnTo>
                  <a:pt x="1409" y="854"/>
                </a:lnTo>
                <a:lnTo>
                  <a:pt x="1422" y="854"/>
                </a:lnTo>
                <a:lnTo>
                  <a:pt x="1435" y="854"/>
                </a:lnTo>
                <a:lnTo>
                  <a:pt x="1448" y="854"/>
                </a:lnTo>
                <a:lnTo>
                  <a:pt x="1461" y="854"/>
                </a:lnTo>
                <a:lnTo>
                  <a:pt x="1473" y="854"/>
                </a:lnTo>
                <a:lnTo>
                  <a:pt x="1486" y="853"/>
                </a:lnTo>
                <a:lnTo>
                  <a:pt x="1499" y="852"/>
                </a:lnTo>
                <a:lnTo>
                  <a:pt x="1512" y="852"/>
                </a:lnTo>
                <a:lnTo>
                  <a:pt x="1525" y="852"/>
                </a:lnTo>
                <a:lnTo>
                  <a:pt x="1539" y="852"/>
                </a:lnTo>
                <a:lnTo>
                  <a:pt x="1569" y="853"/>
                </a:lnTo>
                <a:lnTo>
                  <a:pt x="1598" y="853"/>
                </a:lnTo>
                <a:lnTo>
                  <a:pt x="1613" y="852"/>
                </a:lnTo>
                <a:lnTo>
                  <a:pt x="1628" y="850"/>
                </a:lnTo>
                <a:lnTo>
                  <a:pt x="1643" y="848"/>
                </a:lnTo>
                <a:lnTo>
                  <a:pt x="1657" y="846"/>
                </a:lnTo>
                <a:lnTo>
                  <a:pt x="1634" y="845"/>
                </a:lnTo>
                <a:lnTo>
                  <a:pt x="1608" y="845"/>
                </a:lnTo>
                <a:lnTo>
                  <a:pt x="1585" y="844"/>
                </a:lnTo>
                <a:lnTo>
                  <a:pt x="1561" y="841"/>
                </a:lnTo>
                <a:lnTo>
                  <a:pt x="1574" y="840"/>
                </a:lnTo>
                <a:lnTo>
                  <a:pt x="1588" y="839"/>
                </a:lnTo>
                <a:lnTo>
                  <a:pt x="1603" y="837"/>
                </a:lnTo>
                <a:lnTo>
                  <a:pt x="1619" y="836"/>
                </a:lnTo>
                <a:lnTo>
                  <a:pt x="1634" y="834"/>
                </a:lnTo>
                <a:lnTo>
                  <a:pt x="1649" y="834"/>
                </a:lnTo>
                <a:lnTo>
                  <a:pt x="1664" y="834"/>
                </a:lnTo>
                <a:lnTo>
                  <a:pt x="1680" y="834"/>
                </a:lnTo>
                <a:lnTo>
                  <a:pt x="1694" y="833"/>
                </a:lnTo>
                <a:lnTo>
                  <a:pt x="1708" y="831"/>
                </a:lnTo>
                <a:lnTo>
                  <a:pt x="1721" y="829"/>
                </a:lnTo>
                <a:lnTo>
                  <a:pt x="1736" y="828"/>
                </a:lnTo>
                <a:lnTo>
                  <a:pt x="1751" y="826"/>
                </a:lnTo>
                <a:lnTo>
                  <a:pt x="1766" y="824"/>
                </a:lnTo>
                <a:lnTo>
                  <a:pt x="1780" y="822"/>
                </a:lnTo>
                <a:lnTo>
                  <a:pt x="1794" y="817"/>
                </a:lnTo>
                <a:lnTo>
                  <a:pt x="1791" y="816"/>
                </a:lnTo>
                <a:lnTo>
                  <a:pt x="1786" y="816"/>
                </a:lnTo>
                <a:lnTo>
                  <a:pt x="1784" y="815"/>
                </a:lnTo>
                <a:lnTo>
                  <a:pt x="1783" y="814"/>
                </a:lnTo>
                <a:lnTo>
                  <a:pt x="1783" y="813"/>
                </a:lnTo>
                <a:lnTo>
                  <a:pt x="1785" y="812"/>
                </a:lnTo>
                <a:lnTo>
                  <a:pt x="1795" y="808"/>
                </a:lnTo>
                <a:lnTo>
                  <a:pt x="1803" y="804"/>
                </a:lnTo>
                <a:lnTo>
                  <a:pt x="1805" y="799"/>
                </a:lnTo>
                <a:lnTo>
                  <a:pt x="1809" y="796"/>
                </a:lnTo>
                <a:lnTo>
                  <a:pt x="1813" y="795"/>
                </a:lnTo>
                <a:lnTo>
                  <a:pt x="1818" y="794"/>
                </a:lnTo>
                <a:lnTo>
                  <a:pt x="1822" y="794"/>
                </a:lnTo>
                <a:lnTo>
                  <a:pt x="1826" y="792"/>
                </a:lnTo>
                <a:lnTo>
                  <a:pt x="1829" y="790"/>
                </a:lnTo>
                <a:lnTo>
                  <a:pt x="1832" y="787"/>
                </a:lnTo>
                <a:lnTo>
                  <a:pt x="1802" y="792"/>
                </a:lnTo>
                <a:lnTo>
                  <a:pt x="1771" y="797"/>
                </a:lnTo>
                <a:lnTo>
                  <a:pt x="1742" y="801"/>
                </a:lnTo>
                <a:lnTo>
                  <a:pt x="1711" y="806"/>
                </a:lnTo>
                <a:lnTo>
                  <a:pt x="1714" y="807"/>
                </a:lnTo>
                <a:lnTo>
                  <a:pt x="1718" y="808"/>
                </a:lnTo>
                <a:lnTo>
                  <a:pt x="1721" y="808"/>
                </a:lnTo>
                <a:lnTo>
                  <a:pt x="1726" y="808"/>
                </a:lnTo>
                <a:lnTo>
                  <a:pt x="1733" y="807"/>
                </a:lnTo>
                <a:lnTo>
                  <a:pt x="1741" y="805"/>
                </a:lnTo>
                <a:lnTo>
                  <a:pt x="1748" y="805"/>
                </a:lnTo>
                <a:lnTo>
                  <a:pt x="1758" y="805"/>
                </a:lnTo>
                <a:lnTo>
                  <a:pt x="1766" y="808"/>
                </a:lnTo>
                <a:lnTo>
                  <a:pt x="1774" y="813"/>
                </a:lnTo>
                <a:lnTo>
                  <a:pt x="1768" y="815"/>
                </a:lnTo>
                <a:lnTo>
                  <a:pt x="1763" y="816"/>
                </a:lnTo>
                <a:lnTo>
                  <a:pt x="1758" y="817"/>
                </a:lnTo>
                <a:lnTo>
                  <a:pt x="1753" y="817"/>
                </a:lnTo>
                <a:lnTo>
                  <a:pt x="1743" y="819"/>
                </a:lnTo>
                <a:lnTo>
                  <a:pt x="1731" y="819"/>
                </a:lnTo>
                <a:lnTo>
                  <a:pt x="1720" y="820"/>
                </a:lnTo>
                <a:lnTo>
                  <a:pt x="1708" y="821"/>
                </a:lnTo>
                <a:lnTo>
                  <a:pt x="1695" y="822"/>
                </a:lnTo>
                <a:lnTo>
                  <a:pt x="1682" y="823"/>
                </a:lnTo>
                <a:lnTo>
                  <a:pt x="1657" y="824"/>
                </a:lnTo>
                <a:lnTo>
                  <a:pt x="1634" y="822"/>
                </a:lnTo>
                <a:lnTo>
                  <a:pt x="1608" y="821"/>
                </a:lnTo>
                <a:lnTo>
                  <a:pt x="1583" y="822"/>
                </a:lnTo>
                <a:lnTo>
                  <a:pt x="1572" y="822"/>
                </a:lnTo>
                <a:lnTo>
                  <a:pt x="1561" y="823"/>
                </a:lnTo>
                <a:lnTo>
                  <a:pt x="1549" y="824"/>
                </a:lnTo>
                <a:lnTo>
                  <a:pt x="1539" y="826"/>
                </a:lnTo>
                <a:lnTo>
                  <a:pt x="1535" y="828"/>
                </a:lnTo>
                <a:lnTo>
                  <a:pt x="1532" y="830"/>
                </a:lnTo>
                <a:lnTo>
                  <a:pt x="1530" y="832"/>
                </a:lnTo>
                <a:lnTo>
                  <a:pt x="1528" y="833"/>
                </a:lnTo>
                <a:lnTo>
                  <a:pt x="1527" y="833"/>
                </a:lnTo>
                <a:lnTo>
                  <a:pt x="1523" y="833"/>
                </a:lnTo>
                <a:lnTo>
                  <a:pt x="1520" y="833"/>
                </a:lnTo>
                <a:lnTo>
                  <a:pt x="1517" y="833"/>
                </a:lnTo>
                <a:lnTo>
                  <a:pt x="1514" y="832"/>
                </a:lnTo>
                <a:lnTo>
                  <a:pt x="1513" y="829"/>
                </a:lnTo>
                <a:lnTo>
                  <a:pt x="1513" y="828"/>
                </a:lnTo>
                <a:lnTo>
                  <a:pt x="1514" y="825"/>
                </a:lnTo>
                <a:lnTo>
                  <a:pt x="1515" y="824"/>
                </a:lnTo>
                <a:lnTo>
                  <a:pt x="1516" y="824"/>
                </a:lnTo>
                <a:lnTo>
                  <a:pt x="1521" y="823"/>
                </a:lnTo>
                <a:lnTo>
                  <a:pt x="1524" y="823"/>
                </a:lnTo>
                <a:lnTo>
                  <a:pt x="1535" y="821"/>
                </a:lnTo>
                <a:lnTo>
                  <a:pt x="1545" y="820"/>
                </a:lnTo>
                <a:lnTo>
                  <a:pt x="1556" y="817"/>
                </a:lnTo>
                <a:lnTo>
                  <a:pt x="1568" y="817"/>
                </a:lnTo>
                <a:lnTo>
                  <a:pt x="1580" y="816"/>
                </a:lnTo>
                <a:lnTo>
                  <a:pt x="1591" y="816"/>
                </a:lnTo>
                <a:lnTo>
                  <a:pt x="1604" y="816"/>
                </a:lnTo>
                <a:lnTo>
                  <a:pt x="1616" y="816"/>
                </a:lnTo>
                <a:lnTo>
                  <a:pt x="1629" y="816"/>
                </a:lnTo>
                <a:lnTo>
                  <a:pt x="1640" y="815"/>
                </a:lnTo>
                <a:lnTo>
                  <a:pt x="1653" y="814"/>
                </a:lnTo>
                <a:lnTo>
                  <a:pt x="1665" y="813"/>
                </a:lnTo>
                <a:lnTo>
                  <a:pt x="1678" y="812"/>
                </a:lnTo>
                <a:lnTo>
                  <a:pt x="1689" y="811"/>
                </a:lnTo>
                <a:lnTo>
                  <a:pt x="1693" y="812"/>
                </a:lnTo>
                <a:lnTo>
                  <a:pt x="1695" y="812"/>
                </a:lnTo>
                <a:lnTo>
                  <a:pt x="1698" y="811"/>
                </a:lnTo>
                <a:lnTo>
                  <a:pt x="1700" y="809"/>
                </a:lnTo>
                <a:lnTo>
                  <a:pt x="1701" y="807"/>
                </a:lnTo>
                <a:lnTo>
                  <a:pt x="1700" y="806"/>
                </a:lnTo>
                <a:lnTo>
                  <a:pt x="1698" y="805"/>
                </a:lnTo>
                <a:lnTo>
                  <a:pt x="1696" y="805"/>
                </a:lnTo>
                <a:lnTo>
                  <a:pt x="1693" y="805"/>
                </a:lnTo>
                <a:lnTo>
                  <a:pt x="1689" y="805"/>
                </a:lnTo>
                <a:lnTo>
                  <a:pt x="1677" y="806"/>
                </a:lnTo>
                <a:lnTo>
                  <a:pt x="1665" y="807"/>
                </a:lnTo>
                <a:lnTo>
                  <a:pt x="1653" y="808"/>
                </a:lnTo>
                <a:lnTo>
                  <a:pt x="1640" y="809"/>
                </a:lnTo>
                <a:lnTo>
                  <a:pt x="1614" y="811"/>
                </a:lnTo>
                <a:lnTo>
                  <a:pt x="1589" y="812"/>
                </a:lnTo>
                <a:lnTo>
                  <a:pt x="1563" y="812"/>
                </a:lnTo>
                <a:lnTo>
                  <a:pt x="1538" y="812"/>
                </a:lnTo>
                <a:lnTo>
                  <a:pt x="1525" y="812"/>
                </a:lnTo>
                <a:lnTo>
                  <a:pt x="1513" y="811"/>
                </a:lnTo>
                <a:lnTo>
                  <a:pt x="1502" y="811"/>
                </a:lnTo>
                <a:lnTo>
                  <a:pt x="1490" y="811"/>
                </a:lnTo>
                <a:lnTo>
                  <a:pt x="1486" y="812"/>
                </a:lnTo>
                <a:lnTo>
                  <a:pt x="1482" y="814"/>
                </a:lnTo>
                <a:lnTo>
                  <a:pt x="1476" y="815"/>
                </a:lnTo>
                <a:lnTo>
                  <a:pt x="1472" y="815"/>
                </a:lnTo>
                <a:lnTo>
                  <a:pt x="1459" y="813"/>
                </a:lnTo>
                <a:lnTo>
                  <a:pt x="1447" y="809"/>
                </a:lnTo>
                <a:lnTo>
                  <a:pt x="1433" y="809"/>
                </a:lnTo>
                <a:lnTo>
                  <a:pt x="1420" y="811"/>
                </a:lnTo>
                <a:lnTo>
                  <a:pt x="1406" y="811"/>
                </a:lnTo>
                <a:lnTo>
                  <a:pt x="1392" y="809"/>
                </a:lnTo>
                <a:lnTo>
                  <a:pt x="1387" y="809"/>
                </a:lnTo>
                <a:lnTo>
                  <a:pt x="1381" y="808"/>
                </a:lnTo>
                <a:lnTo>
                  <a:pt x="1375" y="806"/>
                </a:lnTo>
                <a:lnTo>
                  <a:pt x="1369" y="806"/>
                </a:lnTo>
                <a:lnTo>
                  <a:pt x="1359" y="804"/>
                </a:lnTo>
                <a:lnTo>
                  <a:pt x="1349" y="800"/>
                </a:lnTo>
                <a:lnTo>
                  <a:pt x="1336" y="798"/>
                </a:lnTo>
                <a:lnTo>
                  <a:pt x="1324" y="798"/>
                </a:lnTo>
                <a:lnTo>
                  <a:pt x="1310" y="798"/>
                </a:lnTo>
                <a:lnTo>
                  <a:pt x="1298" y="798"/>
                </a:lnTo>
                <a:lnTo>
                  <a:pt x="1286" y="799"/>
                </a:lnTo>
                <a:lnTo>
                  <a:pt x="1275" y="799"/>
                </a:lnTo>
                <a:lnTo>
                  <a:pt x="1269" y="799"/>
                </a:lnTo>
                <a:lnTo>
                  <a:pt x="1265" y="798"/>
                </a:lnTo>
                <a:lnTo>
                  <a:pt x="1259" y="796"/>
                </a:lnTo>
                <a:lnTo>
                  <a:pt x="1255" y="791"/>
                </a:lnTo>
                <a:lnTo>
                  <a:pt x="1268" y="789"/>
                </a:lnTo>
                <a:lnTo>
                  <a:pt x="1282" y="789"/>
                </a:lnTo>
                <a:lnTo>
                  <a:pt x="1295" y="790"/>
                </a:lnTo>
                <a:lnTo>
                  <a:pt x="1309" y="789"/>
                </a:lnTo>
                <a:lnTo>
                  <a:pt x="1298" y="786"/>
                </a:lnTo>
                <a:lnTo>
                  <a:pt x="1286" y="784"/>
                </a:lnTo>
                <a:lnTo>
                  <a:pt x="1274" y="783"/>
                </a:lnTo>
                <a:lnTo>
                  <a:pt x="1262" y="782"/>
                </a:lnTo>
                <a:lnTo>
                  <a:pt x="1257" y="782"/>
                </a:lnTo>
                <a:lnTo>
                  <a:pt x="1252" y="781"/>
                </a:lnTo>
                <a:lnTo>
                  <a:pt x="1251" y="778"/>
                </a:lnTo>
                <a:lnTo>
                  <a:pt x="1250" y="775"/>
                </a:lnTo>
                <a:lnTo>
                  <a:pt x="1248" y="772"/>
                </a:lnTo>
                <a:lnTo>
                  <a:pt x="1245" y="770"/>
                </a:lnTo>
                <a:lnTo>
                  <a:pt x="1245" y="766"/>
                </a:lnTo>
                <a:lnTo>
                  <a:pt x="1247" y="765"/>
                </a:lnTo>
                <a:lnTo>
                  <a:pt x="1250" y="765"/>
                </a:lnTo>
                <a:lnTo>
                  <a:pt x="1252" y="765"/>
                </a:lnTo>
                <a:lnTo>
                  <a:pt x="1261" y="766"/>
                </a:lnTo>
                <a:lnTo>
                  <a:pt x="1270" y="770"/>
                </a:lnTo>
                <a:lnTo>
                  <a:pt x="1275" y="771"/>
                </a:lnTo>
                <a:lnTo>
                  <a:pt x="1281" y="772"/>
                </a:lnTo>
                <a:lnTo>
                  <a:pt x="1286" y="772"/>
                </a:lnTo>
                <a:lnTo>
                  <a:pt x="1293" y="772"/>
                </a:lnTo>
                <a:lnTo>
                  <a:pt x="1306" y="771"/>
                </a:lnTo>
                <a:lnTo>
                  <a:pt x="1318" y="770"/>
                </a:lnTo>
                <a:lnTo>
                  <a:pt x="1331" y="767"/>
                </a:lnTo>
                <a:lnTo>
                  <a:pt x="1343" y="765"/>
                </a:lnTo>
                <a:lnTo>
                  <a:pt x="1357" y="764"/>
                </a:lnTo>
                <a:lnTo>
                  <a:pt x="1371" y="764"/>
                </a:lnTo>
                <a:lnTo>
                  <a:pt x="1376" y="765"/>
                </a:lnTo>
                <a:lnTo>
                  <a:pt x="1382" y="766"/>
                </a:lnTo>
                <a:lnTo>
                  <a:pt x="1387" y="769"/>
                </a:lnTo>
                <a:lnTo>
                  <a:pt x="1391" y="772"/>
                </a:lnTo>
                <a:lnTo>
                  <a:pt x="1397" y="774"/>
                </a:lnTo>
                <a:lnTo>
                  <a:pt x="1401" y="775"/>
                </a:lnTo>
                <a:lnTo>
                  <a:pt x="1407" y="775"/>
                </a:lnTo>
                <a:lnTo>
                  <a:pt x="1413" y="775"/>
                </a:lnTo>
                <a:lnTo>
                  <a:pt x="1426" y="776"/>
                </a:lnTo>
                <a:lnTo>
                  <a:pt x="1440" y="776"/>
                </a:lnTo>
                <a:lnTo>
                  <a:pt x="1466" y="775"/>
                </a:lnTo>
                <a:lnTo>
                  <a:pt x="1494" y="775"/>
                </a:lnTo>
                <a:lnTo>
                  <a:pt x="1520" y="773"/>
                </a:lnTo>
                <a:lnTo>
                  <a:pt x="1547" y="773"/>
                </a:lnTo>
                <a:lnTo>
                  <a:pt x="1560" y="772"/>
                </a:lnTo>
                <a:lnTo>
                  <a:pt x="1573" y="772"/>
                </a:lnTo>
                <a:lnTo>
                  <a:pt x="1586" y="772"/>
                </a:lnTo>
                <a:lnTo>
                  <a:pt x="1598" y="772"/>
                </a:lnTo>
                <a:lnTo>
                  <a:pt x="1611" y="774"/>
                </a:lnTo>
                <a:lnTo>
                  <a:pt x="1623" y="776"/>
                </a:lnTo>
                <a:lnTo>
                  <a:pt x="1635" y="774"/>
                </a:lnTo>
                <a:lnTo>
                  <a:pt x="1646" y="773"/>
                </a:lnTo>
                <a:lnTo>
                  <a:pt x="1673" y="771"/>
                </a:lnTo>
                <a:lnTo>
                  <a:pt x="1700" y="769"/>
                </a:lnTo>
                <a:lnTo>
                  <a:pt x="1727" y="765"/>
                </a:lnTo>
                <a:lnTo>
                  <a:pt x="1753" y="761"/>
                </a:lnTo>
                <a:lnTo>
                  <a:pt x="1766" y="758"/>
                </a:lnTo>
                <a:lnTo>
                  <a:pt x="1777" y="755"/>
                </a:lnTo>
                <a:lnTo>
                  <a:pt x="1788" y="754"/>
                </a:lnTo>
                <a:lnTo>
                  <a:pt x="1799" y="755"/>
                </a:lnTo>
                <a:lnTo>
                  <a:pt x="1810" y="754"/>
                </a:lnTo>
                <a:lnTo>
                  <a:pt x="1822" y="750"/>
                </a:lnTo>
                <a:lnTo>
                  <a:pt x="1837" y="749"/>
                </a:lnTo>
                <a:lnTo>
                  <a:pt x="1851" y="747"/>
                </a:lnTo>
                <a:lnTo>
                  <a:pt x="1878" y="743"/>
                </a:lnTo>
                <a:lnTo>
                  <a:pt x="1904" y="739"/>
                </a:lnTo>
                <a:lnTo>
                  <a:pt x="1931" y="733"/>
                </a:lnTo>
                <a:lnTo>
                  <a:pt x="1957" y="728"/>
                </a:lnTo>
                <a:lnTo>
                  <a:pt x="1970" y="724"/>
                </a:lnTo>
                <a:lnTo>
                  <a:pt x="1985" y="720"/>
                </a:lnTo>
                <a:lnTo>
                  <a:pt x="1999" y="716"/>
                </a:lnTo>
                <a:lnTo>
                  <a:pt x="2014" y="713"/>
                </a:lnTo>
                <a:lnTo>
                  <a:pt x="2027" y="709"/>
                </a:lnTo>
                <a:lnTo>
                  <a:pt x="2042" y="706"/>
                </a:lnTo>
                <a:lnTo>
                  <a:pt x="2049" y="705"/>
                </a:lnTo>
                <a:lnTo>
                  <a:pt x="2055" y="703"/>
                </a:lnTo>
                <a:lnTo>
                  <a:pt x="2060" y="700"/>
                </a:lnTo>
                <a:lnTo>
                  <a:pt x="2065" y="697"/>
                </a:lnTo>
                <a:lnTo>
                  <a:pt x="2077" y="693"/>
                </a:lnTo>
                <a:lnTo>
                  <a:pt x="2091" y="692"/>
                </a:lnTo>
                <a:lnTo>
                  <a:pt x="2098" y="690"/>
                </a:lnTo>
                <a:lnTo>
                  <a:pt x="2105" y="688"/>
                </a:lnTo>
                <a:lnTo>
                  <a:pt x="2110" y="686"/>
                </a:lnTo>
                <a:lnTo>
                  <a:pt x="2117" y="682"/>
                </a:lnTo>
                <a:lnTo>
                  <a:pt x="2130" y="676"/>
                </a:lnTo>
                <a:lnTo>
                  <a:pt x="2143" y="672"/>
                </a:lnTo>
                <a:lnTo>
                  <a:pt x="2157" y="667"/>
                </a:lnTo>
                <a:lnTo>
                  <a:pt x="2171" y="663"/>
                </a:lnTo>
                <a:lnTo>
                  <a:pt x="2171" y="666"/>
                </a:lnTo>
                <a:lnTo>
                  <a:pt x="2171" y="670"/>
                </a:lnTo>
                <a:lnTo>
                  <a:pt x="2171" y="671"/>
                </a:lnTo>
                <a:lnTo>
                  <a:pt x="2172" y="672"/>
                </a:lnTo>
                <a:lnTo>
                  <a:pt x="2173" y="672"/>
                </a:lnTo>
                <a:lnTo>
                  <a:pt x="2175" y="673"/>
                </a:lnTo>
                <a:lnTo>
                  <a:pt x="2179" y="673"/>
                </a:lnTo>
                <a:lnTo>
                  <a:pt x="2182" y="673"/>
                </a:lnTo>
                <a:lnTo>
                  <a:pt x="2184" y="672"/>
                </a:lnTo>
                <a:lnTo>
                  <a:pt x="2188" y="670"/>
                </a:lnTo>
                <a:lnTo>
                  <a:pt x="2191" y="664"/>
                </a:lnTo>
                <a:lnTo>
                  <a:pt x="2193" y="658"/>
                </a:lnTo>
                <a:lnTo>
                  <a:pt x="2193" y="657"/>
                </a:lnTo>
                <a:lnTo>
                  <a:pt x="2193" y="656"/>
                </a:lnTo>
                <a:lnTo>
                  <a:pt x="2195" y="655"/>
                </a:lnTo>
                <a:lnTo>
                  <a:pt x="2196" y="655"/>
                </a:lnTo>
                <a:lnTo>
                  <a:pt x="2198" y="654"/>
                </a:lnTo>
                <a:lnTo>
                  <a:pt x="2201" y="653"/>
                </a:lnTo>
                <a:lnTo>
                  <a:pt x="2206" y="651"/>
                </a:lnTo>
                <a:lnTo>
                  <a:pt x="2211" y="649"/>
                </a:lnTo>
                <a:lnTo>
                  <a:pt x="2226" y="640"/>
                </a:lnTo>
                <a:lnTo>
                  <a:pt x="2244" y="631"/>
                </a:lnTo>
                <a:lnTo>
                  <a:pt x="2249" y="629"/>
                </a:lnTo>
                <a:lnTo>
                  <a:pt x="2254" y="626"/>
                </a:lnTo>
                <a:lnTo>
                  <a:pt x="2258" y="625"/>
                </a:lnTo>
                <a:lnTo>
                  <a:pt x="2262" y="624"/>
                </a:lnTo>
                <a:lnTo>
                  <a:pt x="2264" y="623"/>
                </a:lnTo>
                <a:lnTo>
                  <a:pt x="2266" y="621"/>
                </a:lnTo>
                <a:lnTo>
                  <a:pt x="2271" y="618"/>
                </a:lnTo>
                <a:lnTo>
                  <a:pt x="2277" y="617"/>
                </a:lnTo>
                <a:lnTo>
                  <a:pt x="2298" y="609"/>
                </a:lnTo>
                <a:lnTo>
                  <a:pt x="2319" y="601"/>
                </a:lnTo>
                <a:lnTo>
                  <a:pt x="2339" y="593"/>
                </a:lnTo>
                <a:lnTo>
                  <a:pt x="2360" y="584"/>
                </a:lnTo>
                <a:lnTo>
                  <a:pt x="2370" y="580"/>
                </a:lnTo>
                <a:lnTo>
                  <a:pt x="2381" y="575"/>
                </a:lnTo>
                <a:lnTo>
                  <a:pt x="2392" y="572"/>
                </a:lnTo>
                <a:lnTo>
                  <a:pt x="2402" y="566"/>
                </a:lnTo>
                <a:lnTo>
                  <a:pt x="2404" y="565"/>
                </a:lnTo>
                <a:lnTo>
                  <a:pt x="2405" y="563"/>
                </a:lnTo>
                <a:lnTo>
                  <a:pt x="2405" y="559"/>
                </a:lnTo>
                <a:lnTo>
                  <a:pt x="2404" y="556"/>
                </a:lnTo>
                <a:lnTo>
                  <a:pt x="2406" y="554"/>
                </a:lnTo>
                <a:lnTo>
                  <a:pt x="2410" y="552"/>
                </a:lnTo>
                <a:lnTo>
                  <a:pt x="2411" y="551"/>
                </a:lnTo>
                <a:lnTo>
                  <a:pt x="2412" y="550"/>
                </a:lnTo>
                <a:lnTo>
                  <a:pt x="2412" y="549"/>
                </a:lnTo>
                <a:lnTo>
                  <a:pt x="2411" y="547"/>
                </a:lnTo>
                <a:lnTo>
                  <a:pt x="2412" y="547"/>
                </a:lnTo>
                <a:lnTo>
                  <a:pt x="2411" y="547"/>
                </a:lnTo>
                <a:lnTo>
                  <a:pt x="2410" y="546"/>
                </a:lnTo>
                <a:lnTo>
                  <a:pt x="2409" y="545"/>
                </a:lnTo>
                <a:lnTo>
                  <a:pt x="2407" y="545"/>
                </a:lnTo>
                <a:lnTo>
                  <a:pt x="2405" y="543"/>
                </a:lnTo>
                <a:lnTo>
                  <a:pt x="2401" y="545"/>
                </a:lnTo>
                <a:lnTo>
                  <a:pt x="2395" y="547"/>
                </a:lnTo>
                <a:lnTo>
                  <a:pt x="2386" y="552"/>
                </a:lnTo>
                <a:lnTo>
                  <a:pt x="2379" y="557"/>
                </a:lnTo>
                <a:lnTo>
                  <a:pt x="2369" y="559"/>
                </a:lnTo>
                <a:lnTo>
                  <a:pt x="2359" y="559"/>
                </a:lnTo>
                <a:lnTo>
                  <a:pt x="2349" y="560"/>
                </a:lnTo>
                <a:lnTo>
                  <a:pt x="2339" y="564"/>
                </a:lnTo>
                <a:lnTo>
                  <a:pt x="2332" y="567"/>
                </a:lnTo>
                <a:lnTo>
                  <a:pt x="2323" y="572"/>
                </a:lnTo>
                <a:lnTo>
                  <a:pt x="2315" y="574"/>
                </a:lnTo>
                <a:lnTo>
                  <a:pt x="2306" y="579"/>
                </a:lnTo>
                <a:lnTo>
                  <a:pt x="2299" y="583"/>
                </a:lnTo>
                <a:lnTo>
                  <a:pt x="2294" y="588"/>
                </a:lnTo>
                <a:lnTo>
                  <a:pt x="2289" y="590"/>
                </a:lnTo>
                <a:lnTo>
                  <a:pt x="2285" y="591"/>
                </a:lnTo>
                <a:lnTo>
                  <a:pt x="2282" y="592"/>
                </a:lnTo>
                <a:lnTo>
                  <a:pt x="2279" y="595"/>
                </a:lnTo>
                <a:lnTo>
                  <a:pt x="2275" y="595"/>
                </a:lnTo>
                <a:lnTo>
                  <a:pt x="2272" y="596"/>
                </a:lnTo>
                <a:lnTo>
                  <a:pt x="2270" y="598"/>
                </a:lnTo>
                <a:lnTo>
                  <a:pt x="2267" y="600"/>
                </a:lnTo>
                <a:lnTo>
                  <a:pt x="2262" y="600"/>
                </a:lnTo>
                <a:lnTo>
                  <a:pt x="2257" y="601"/>
                </a:lnTo>
                <a:lnTo>
                  <a:pt x="2253" y="603"/>
                </a:lnTo>
                <a:lnTo>
                  <a:pt x="2248" y="605"/>
                </a:lnTo>
                <a:lnTo>
                  <a:pt x="2241" y="609"/>
                </a:lnTo>
                <a:lnTo>
                  <a:pt x="2234" y="613"/>
                </a:lnTo>
                <a:lnTo>
                  <a:pt x="2231" y="614"/>
                </a:lnTo>
                <a:lnTo>
                  <a:pt x="2229" y="615"/>
                </a:lnTo>
                <a:lnTo>
                  <a:pt x="2224" y="617"/>
                </a:lnTo>
                <a:lnTo>
                  <a:pt x="2220" y="620"/>
                </a:lnTo>
                <a:lnTo>
                  <a:pt x="2212" y="621"/>
                </a:lnTo>
                <a:lnTo>
                  <a:pt x="2205" y="624"/>
                </a:lnTo>
                <a:lnTo>
                  <a:pt x="2199" y="625"/>
                </a:lnTo>
                <a:lnTo>
                  <a:pt x="2195" y="625"/>
                </a:lnTo>
                <a:lnTo>
                  <a:pt x="2189" y="626"/>
                </a:lnTo>
                <a:lnTo>
                  <a:pt x="2186" y="628"/>
                </a:lnTo>
                <a:lnTo>
                  <a:pt x="2182" y="628"/>
                </a:lnTo>
                <a:lnTo>
                  <a:pt x="2180" y="626"/>
                </a:lnTo>
                <a:lnTo>
                  <a:pt x="2178" y="625"/>
                </a:lnTo>
                <a:lnTo>
                  <a:pt x="2176" y="622"/>
                </a:lnTo>
                <a:lnTo>
                  <a:pt x="2179" y="620"/>
                </a:lnTo>
                <a:lnTo>
                  <a:pt x="2182" y="618"/>
                </a:lnTo>
                <a:lnTo>
                  <a:pt x="2186" y="618"/>
                </a:lnTo>
                <a:lnTo>
                  <a:pt x="2189" y="618"/>
                </a:lnTo>
                <a:lnTo>
                  <a:pt x="2199" y="614"/>
                </a:lnTo>
                <a:lnTo>
                  <a:pt x="2209" y="609"/>
                </a:lnTo>
                <a:lnTo>
                  <a:pt x="2221" y="606"/>
                </a:lnTo>
                <a:lnTo>
                  <a:pt x="2232" y="603"/>
                </a:lnTo>
                <a:lnTo>
                  <a:pt x="2244" y="598"/>
                </a:lnTo>
                <a:lnTo>
                  <a:pt x="2255" y="595"/>
                </a:lnTo>
                <a:lnTo>
                  <a:pt x="2265" y="589"/>
                </a:lnTo>
                <a:lnTo>
                  <a:pt x="2274" y="582"/>
                </a:lnTo>
                <a:lnTo>
                  <a:pt x="2272" y="581"/>
                </a:lnTo>
                <a:lnTo>
                  <a:pt x="2269" y="580"/>
                </a:lnTo>
                <a:lnTo>
                  <a:pt x="2265" y="581"/>
                </a:lnTo>
                <a:lnTo>
                  <a:pt x="2261" y="581"/>
                </a:lnTo>
                <a:lnTo>
                  <a:pt x="2253" y="584"/>
                </a:lnTo>
                <a:lnTo>
                  <a:pt x="2246" y="587"/>
                </a:lnTo>
                <a:lnTo>
                  <a:pt x="2229" y="591"/>
                </a:lnTo>
                <a:lnTo>
                  <a:pt x="2212" y="597"/>
                </a:lnTo>
                <a:lnTo>
                  <a:pt x="2197" y="603"/>
                </a:lnTo>
                <a:lnTo>
                  <a:pt x="2182" y="608"/>
                </a:lnTo>
                <a:lnTo>
                  <a:pt x="2167" y="615"/>
                </a:lnTo>
                <a:lnTo>
                  <a:pt x="2153" y="621"/>
                </a:lnTo>
                <a:lnTo>
                  <a:pt x="2137" y="626"/>
                </a:lnTo>
                <a:lnTo>
                  <a:pt x="2121" y="631"/>
                </a:lnTo>
                <a:lnTo>
                  <a:pt x="2105" y="637"/>
                </a:lnTo>
                <a:lnTo>
                  <a:pt x="2090" y="642"/>
                </a:lnTo>
                <a:lnTo>
                  <a:pt x="2077" y="648"/>
                </a:lnTo>
                <a:lnTo>
                  <a:pt x="2065" y="653"/>
                </a:lnTo>
                <a:lnTo>
                  <a:pt x="2056" y="654"/>
                </a:lnTo>
                <a:lnTo>
                  <a:pt x="2048" y="656"/>
                </a:lnTo>
                <a:lnTo>
                  <a:pt x="2039" y="658"/>
                </a:lnTo>
                <a:lnTo>
                  <a:pt x="2031" y="660"/>
                </a:lnTo>
                <a:lnTo>
                  <a:pt x="2017" y="665"/>
                </a:lnTo>
                <a:lnTo>
                  <a:pt x="2003" y="670"/>
                </a:lnTo>
                <a:lnTo>
                  <a:pt x="1995" y="672"/>
                </a:lnTo>
                <a:lnTo>
                  <a:pt x="1987" y="674"/>
                </a:lnTo>
                <a:lnTo>
                  <a:pt x="1980" y="678"/>
                </a:lnTo>
                <a:lnTo>
                  <a:pt x="1973" y="681"/>
                </a:lnTo>
                <a:lnTo>
                  <a:pt x="1959" y="683"/>
                </a:lnTo>
                <a:lnTo>
                  <a:pt x="1945" y="686"/>
                </a:lnTo>
                <a:lnTo>
                  <a:pt x="1937" y="687"/>
                </a:lnTo>
                <a:lnTo>
                  <a:pt x="1929" y="689"/>
                </a:lnTo>
                <a:lnTo>
                  <a:pt x="1927" y="690"/>
                </a:lnTo>
                <a:lnTo>
                  <a:pt x="1924" y="691"/>
                </a:lnTo>
                <a:lnTo>
                  <a:pt x="1920" y="692"/>
                </a:lnTo>
                <a:lnTo>
                  <a:pt x="1917" y="692"/>
                </a:lnTo>
                <a:lnTo>
                  <a:pt x="1911" y="693"/>
                </a:lnTo>
                <a:lnTo>
                  <a:pt x="1906" y="696"/>
                </a:lnTo>
                <a:lnTo>
                  <a:pt x="1899" y="696"/>
                </a:lnTo>
                <a:lnTo>
                  <a:pt x="1891" y="696"/>
                </a:lnTo>
                <a:lnTo>
                  <a:pt x="1882" y="697"/>
                </a:lnTo>
                <a:lnTo>
                  <a:pt x="1873" y="698"/>
                </a:lnTo>
                <a:lnTo>
                  <a:pt x="1863" y="700"/>
                </a:lnTo>
                <a:lnTo>
                  <a:pt x="1854" y="701"/>
                </a:lnTo>
                <a:lnTo>
                  <a:pt x="1837" y="705"/>
                </a:lnTo>
                <a:lnTo>
                  <a:pt x="1821" y="708"/>
                </a:lnTo>
                <a:lnTo>
                  <a:pt x="1804" y="713"/>
                </a:lnTo>
                <a:lnTo>
                  <a:pt x="1787" y="716"/>
                </a:lnTo>
                <a:lnTo>
                  <a:pt x="1771" y="720"/>
                </a:lnTo>
                <a:lnTo>
                  <a:pt x="1754" y="722"/>
                </a:lnTo>
                <a:lnTo>
                  <a:pt x="1738" y="723"/>
                </a:lnTo>
                <a:lnTo>
                  <a:pt x="1721" y="724"/>
                </a:lnTo>
                <a:lnTo>
                  <a:pt x="1704" y="725"/>
                </a:lnTo>
                <a:lnTo>
                  <a:pt x="1686" y="726"/>
                </a:lnTo>
                <a:lnTo>
                  <a:pt x="1669" y="729"/>
                </a:lnTo>
                <a:lnTo>
                  <a:pt x="1652" y="730"/>
                </a:lnTo>
                <a:lnTo>
                  <a:pt x="1616" y="732"/>
                </a:lnTo>
                <a:lnTo>
                  <a:pt x="1581" y="732"/>
                </a:lnTo>
                <a:lnTo>
                  <a:pt x="1546" y="732"/>
                </a:lnTo>
                <a:lnTo>
                  <a:pt x="1511" y="731"/>
                </a:lnTo>
                <a:lnTo>
                  <a:pt x="1492" y="730"/>
                </a:lnTo>
                <a:lnTo>
                  <a:pt x="1475" y="729"/>
                </a:lnTo>
                <a:lnTo>
                  <a:pt x="1457" y="728"/>
                </a:lnTo>
                <a:lnTo>
                  <a:pt x="1440" y="726"/>
                </a:lnTo>
                <a:lnTo>
                  <a:pt x="1423" y="725"/>
                </a:lnTo>
                <a:lnTo>
                  <a:pt x="1407" y="724"/>
                </a:lnTo>
                <a:lnTo>
                  <a:pt x="1399" y="724"/>
                </a:lnTo>
                <a:lnTo>
                  <a:pt x="1391" y="722"/>
                </a:lnTo>
                <a:lnTo>
                  <a:pt x="1388" y="721"/>
                </a:lnTo>
                <a:lnTo>
                  <a:pt x="1384" y="720"/>
                </a:lnTo>
                <a:lnTo>
                  <a:pt x="1381" y="720"/>
                </a:lnTo>
                <a:lnTo>
                  <a:pt x="1379" y="721"/>
                </a:lnTo>
                <a:lnTo>
                  <a:pt x="1372" y="721"/>
                </a:lnTo>
                <a:lnTo>
                  <a:pt x="1366" y="718"/>
                </a:lnTo>
                <a:lnTo>
                  <a:pt x="1360" y="717"/>
                </a:lnTo>
                <a:lnTo>
                  <a:pt x="1355" y="716"/>
                </a:lnTo>
                <a:lnTo>
                  <a:pt x="1347" y="715"/>
                </a:lnTo>
                <a:lnTo>
                  <a:pt x="1338" y="713"/>
                </a:lnTo>
                <a:lnTo>
                  <a:pt x="1330" y="712"/>
                </a:lnTo>
                <a:lnTo>
                  <a:pt x="1321" y="709"/>
                </a:lnTo>
                <a:lnTo>
                  <a:pt x="1305" y="708"/>
                </a:lnTo>
                <a:lnTo>
                  <a:pt x="1288" y="707"/>
                </a:lnTo>
                <a:lnTo>
                  <a:pt x="1278" y="708"/>
                </a:lnTo>
                <a:lnTo>
                  <a:pt x="1269" y="709"/>
                </a:lnTo>
                <a:lnTo>
                  <a:pt x="1260" y="711"/>
                </a:lnTo>
                <a:lnTo>
                  <a:pt x="1251" y="712"/>
                </a:lnTo>
                <a:lnTo>
                  <a:pt x="1235" y="711"/>
                </a:lnTo>
                <a:lnTo>
                  <a:pt x="1219" y="707"/>
                </a:lnTo>
                <a:lnTo>
                  <a:pt x="1202" y="706"/>
                </a:lnTo>
                <a:lnTo>
                  <a:pt x="1185" y="703"/>
                </a:lnTo>
                <a:lnTo>
                  <a:pt x="1176" y="701"/>
                </a:lnTo>
                <a:lnTo>
                  <a:pt x="1168" y="700"/>
                </a:lnTo>
                <a:lnTo>
                  <a:pt x="1159" y="699"/>
                </a:lnTo>
                <a:lnTo>
                  <a:pt x="1150" y="697"/>
                </a:lnTo>
                <a:lnTo>
                  <a:pt x="1134" y="691"/>
                </a:lnTo>
                <a:lnTo>
                  <a:pt x="1117" y="688"/>
                </a:lnTo>
                <a:lnTo>
                  <a:pt x="1108" y="687"/>
                </a:lnTo>
                <a:lnTo>
                  <a:pt x="1097" y="686"/>
                </a:lnTo>
                <a:lnTo>
                  <a:pt x="1088" y="684"/>
                </a:lnTo>
                <a:lnTo>
                  <a:pt x="1079" y="682"/>
                </a:lnTo>
                <a:lnTo>
                  <a:pt x="1069" y="681"/>
                </a:lnTo>
                <a:lnTo>
                  <a:pt x="1060" y="678"/>
                </a:lnTo>
                <a:lnTo>
                  <a:pt x="1055" y="674"/>
                </a:lnTo>
                <a:lnTo>
                  <a:pt x="1052" y="670"/>
                </a:lnTo>
                <a:lnTo>
                  <a:pt x="1050" y="667"/>
                </a:lnTo>
                <a:lnTo>
                  <a:pt x="1047" y="666"/>
                </a:lnTo>
                <a:lnTo>
                  <a:pt x="1046" y="666"/>
                </a:lnTo>
                <a:lnTo>
                  <a:pt x="1044" y="666"/>
                </a:lnTo>
                <a:lnTo>
                  <a:pt x="1039" y="667"/>
                </a:lnTo>
                <a:lnTo>
                  <a:pt x="1036" y="670"/>
                </a:lnTo>
                <a:lnTo>
                  <a:pt x="1029" y="671"/>
                </a:lnTo>
                <a:lnTo>
                  <a:pt x="1021" y="672"/>
                </a:lnTo>
                <a:lnTo>
                  <a:pt x="1014" y="671"/>
                </a:lnTo>
                <a:lnTo>
                  <a:pt x="1009" y="668"/>
                </a:lnTo>
                <a:lnTo>
                  <a:pt x="1012" y="668"/>
                </a:lnTo>
                <a:lnTo>
                  <a:pt x="1018" y="668"/>
                </a:lnTo>
                <a:lnTo>
                  <a:pt x="1021" y="667"/>
                </a:lnTo>
                <a:lnTo>
                  <a:pt x="1026" y="665"/>
                </a:lnTo>
                <a:lnTo>
                  <a:pt x="1019" y="659"/>
                </a:lnTo>
                <a:lnTo>
                  <a:pt x="1011" y="656"/>
                </a:lnTo>
                <a:lnTo>
                  <a:pt x="1001" y="655"/>
                </a:lnTo>
                <a:lnTo>
                  <a:pt x="990" y="654"/>
                </a:lnTo>
                <a:lnTo>
                  <a:pt x="980" y="651"/>
                </a:lnTo>
                <a:lnTo>
                  <a:pt x="969" y="649"/>
                </a:lnTo>
                <a:lnTo>
                  <a:pt x="959" y="648"/>
                </a:lnTo>
                <a:lnTo>
                  <a:pt x="947" y="647"/>
                </a:lnTo>
                <a:lnTo>
                  <a:pt x="937" y="648"/>
                </a:lnTo>
                <a:lnTo>
                  <a:pt x="928" y="648"/>
                </a:lnTo>
                <a:lnTo>
                  <a:pt x="917" y="646"/>
                </a:lnTo>
                <a:lnTo>
                  <a:pt x="905" y="643"/>
                </a:lnTo>
                <a:lnTo>
                  <a:pt x="896" y="642"/>
                </a:lnTo>
                <a:lnTo>
                  <a:pt x="887" y="641"/>
                </a:lnTo>
                <a:lnTo>
                  <a:pt x="877" y="641"/>
                </a:lnTo>
                <a:lnTo>
                  <a:pt x="869" y="643"/>
                </a:lnTo>
                <a:lnTo>
                  <a:pt x="864" y="645"/>
                </a:lnTo>
                <a:lnTo>
                  <a:pt x="861" y="647"/>
                </a:lnTo>
                <a:lnTo>
                  <a:pt x="857" y="648"/>
                </a:lnTo>
                <a:lnTo>
                  <a:pt x="853" y="647"/>
                </a:lnTo>
                <a:lnTo>
                  <a:pt x="844" y="642"/>
                </a:lnTo>
                <a:lnTo>
                  <a:pt x="836" y="638"/>
                </a:lnTo>
                <a:lnTo>
                  <a:pt x="827" y="634"/>
                </a:lnTo>
                <a:lnTo>
                  <a:pt x="817" y="630"/>
                </a:lnTo>
                <a:lnTo>
                  <a:pt x="813" y="629"/>
                </a:lnTo>
                <a:lnTo>
                  <a:pt x="808" y="626"/>
                </a:lnTo>
                <a:lnTo>
                  <a:pt x="806" y="626"/>
                </a:lnTo>
                <a:lnTo>
                  <a:pt x="805" y="625"/>
                </a:lnTo>
                <a:lnTo>
                  <a:pt x="804" y="626"/>
                </a:lnTo>
                <a:lnTo>
                  <a:pt x="802" y="626"/>
                </a:lnTo>
                <a:lnTo>
                  <a:pt x="798" y="628"/>
                </a:lnTo>
                <a:lnTo>
                  <a:pt x="795" y="628"/>
                </a:lnTo>
                <a:lnTo>
                  <a:pt x="790" y="626"/>
                </a:lnTo>
                <a:lnTo>
                  <a:pt x="787" y="625"/>
                </a:lnTo>
                <a:lnTo>
                  <a:pt x="775" y="622"/>
                </a:lnTo>
                <a:lnTo>
                  <a:pt x="764" y="618"/>
                </a:lnTo>
                <a:lnTo>
                  <a:pt x="753" y="616"/>
                </a:lnTo>
                <a:lnTo>
                  <a:pt x="742" y="613"/>
                </a:lnTo>
                <a:lnTo>
                  <a:pt x="731" y="610"/>
                </a:lnTo>
                <a:lnTo>
                  <a:pt x="721" y="608"/>
                </a:lnTo>
                <a:lnTo>
                  <a:pt x="709" y="607"/>
                </a:lnTo>
                <a:lnTo>
                  <a:pt x="697" y="605"/>
                </a:lnTo>
                <a:lnTo>
                  <a:pt x="685" y="604"/>
                </a:lnTo>
                <a:lnTo>
                  <a:pt x="674" y="603"/>
                </a:lnTo>
                <a:lnTo>
                  <a:pt x="664" y="601"/>
                </a:lnTo>
                <a:lnTo>
                  <a:pt x="654" y="598"/>
                </a:lnTo>
                <a:lnTo>
                  <a:pt x="643" y="593"/>
                </a:lnTo>
                <a:lnTo>
                  <a:pt x="634" y="591"/>
                </a:lnTo>
                <a:lnTo>
                  <a:pt x="637" y="597"/>
                </a:lnTo>
                <a:lnTo>
                  <a:pt x="638" y="604"/>
                </a:lnTo>
                <a:lnTo>
                  <a:pt x="638" y="606"/>
                </a:lnTo>
                <a:lnTo>
                  <a:pt x="637" y="609"/>
                </a:lnTo>
                <a:lnTo>
                  <a:pt x="634" y="612"/>
                </a:lnTo>
                <a:lnTo>
                  <a:pt x="631" y="613"/>
                </a:lnTo>
                <a:lnTo>
                  <a:pt x="629" y="614"/>
                </a:lnTo>
                <a:lnTo>
                  <a:pt x="625" y="613"/>
                </a:lnTo>
                <a:lnTo>
                  <a:pt x="622" y="612"/>
                </a:lnTo>
                <a:lnTo>
                  <a:pt x="619" y="610"/>
                </a:lnTo>
                <a:lnTo>
                  <a:pt x="615" y="606"/>
                </a:lnTo>
                <a:lnTo>
                  <a:pt x="611" y="600"/>
                </a:lnTo>
                <a:lnTo>
                  <a:pt x="611" y="595"/>
                </a:lnTo>
                <a:lnTo>
                  <a:pt x="613" y="589"/>
                </a:lnTo>
                <a:lnTo>
                  <a:pt x="613" y="587"/>
                </a:lnTo>
                <a:lnTo>
                  <a:pt x="611" y="585"/>
                </a:lnTo>
                <a:lnTo>
                  <a:pt x="610" y="584"/>
                </a:lnTo>
                <a:lnTo>
                  <a:pt x="608" y="584"/>
                </a:lnTo>
                <a:lnTo>
                  <a:pt x="605" y="584"/>
                </a:lnTo>
                <a:lnTo>
                  <a:pt x="601" y="584"/>
                </a:lnTo>
                <a:lnTo>
                  <a:pt x="591" y="582"/>
                </a:lnTo>
                <a:lnTo>
                  <a:pt x="581" y="580"/>
                </a:lnTo>
                <a:lnTo>
                  <a:pt x="572" y="579"/>
                </a:lnTo>
                <a:lnTo>
                  <a:pt x="561" y="576"/>
                </a:lnTo>
                <a:lnTo>
                  <a:pt x="551" y="574"/>
                </a:lnTo>
                <a:lnTo>
                  <a:pt x="542" y="572"/>
                </a:lnTo>
                <a:lnTo>
                  <a:pt x="532" y="568"/>
                </a:lnTo>
                <a:lnTo>
                  <a:pt x="523" y="565"/>
                </a:lnTo>
                <a:lnTo>
                  <a:pt x="512" y="562"/>
                </a:lnTo>
                <a:lnTo>
                  <a:pt x="503" y="559"/>
                </a:lnTo>
                <a:lnTo>
                  <a:pt x="494" y="558"/>
                </a:lnTo>
                <a:lnTo>
                  <a:pt x="485" y="557"/>
                </a:lnTo>
                <a:lnTo>
                  <a:pt x="477" y="554"/>
                </a:lnTo>
                <a:lnTo>
                  <a:pt x="469" y="550"/>
                </a:lnTo>
                <a:lnTo>
                  <a:pt x="462" y="546"/>
                </a:lnTo>
                <a:lnTo>
                  <a:pt x="456" y="541"/>
                </a:lnTo>
                <a:lnTo>
                  <a:pt x="453" y="538"/>
                </a:lnTo>
                <a:lnTo>
                  <a:pt x="450" y="535"/>
                </a:lnTo>
                <a:lnTo>
                  <a:pt x="446" y="534"/>
                </a:lnTo>
                <a:lnTo>
                  <a:pt x="443" y="533"/>
                </a:lnTo>
                <a:lnTo>
                  <a:pt x="433" y="530"/>
                </a:lnTo>
                <a:lnTo>
                  <a:pt x="424" y="526"/>
                </a:lnTo>
                <a:lnTo>
                  <a:pt x="415" y="524"/>
                </a:lnTo>
                <a:lnTo>
                  <a:pt x="407" y="521"/>
                </a:lnTo>
                <a:lnTo>
                  <a:pt x="404" y="520"/>
                </a:lnTo>
                <a:lnTo>
                  <a:pt x="402" y="518"/>
                </a:lnTo>
                <a:lnTo>
                  <a:pt x="401" y="517"/>
                </a:lnTo>
                <a:lnTo>
                  <a:pt x="403" y="515"/>
                </a:lnTo>
                <a:lnTo>
                  <a:pt x="411" y="515"/>
                </a:lnTo>
                <a:lnTo>
                  <a:pt x="418" y="517"/>
                </a:lnTo>
                <a:lnTo>
                  <a:pt x="429" y="520"/>
                </a:lnTo>
                <a:lnTo>
                  <a:pt x="440" y="523"/>
                </a:lnTo>
                <a:lnTo>
                  <a:pt x="459" y="527"/>
                </a:lnTo>
                <a:lnTo>
                  <a:pt x="479" y="532"/>
                </a:lnTo>
                <a:lnTo>
                  <a:pt x="499" y="538"/>
                </a:lnTo>
                <a:lnTo>
                  <a:pt x="517" y="545"/>
                </a:lnTo>
                <a:lnTo>
                  <a:pt x="526" y="548"/>
                </a:lnTo>
                <a:lnTo>
                  <a:pt x="536" y="550"/>
                </a:lnTo>
                <a:lnTo>
                  <a:pt x="545" y="551"/>
                </a:lnTo>
                <a:lnTo>
                  <a:pt x="555" y="552"/>
                </a:lnTo>
                <a:lnTo>
                  <a:pt x="565" y="555"/>
                </a:lnTo>
                <a:lnTo>
                  <a:pt x="575" y="556"/>
                </a:lnTo>
                <a:lnTo>
                  <a:pt x="585" y="558"/>
                </a:lnTo>
                <a:lnTo>
                  <a:pt x="596" y="560"/>
                </a:lnTo>
                <a:lnTo>
                  <a:pt x="605" y="563"/>
                </a:lnTo>
                <a:lnTo>
                  <a:pt x="615" y="566"/>
                </a:lnTo>
                <a:lnTo>
                  <a:pt x="625" y="567"/>
                </a:lnTo>
                <a:lnTo>
                  <a:pt x="634" y="568"/>
                </a:lnTo>
                <a:lnTo>
                  <a:pt x="643" y="570"/>
                </a:lnTo>
                <a:lnTo>
                  <a:pt x="652" y="573"/>
                </a:lnTo>
                <a:lnTo>
                  <a:pt x="662" y="575"/>
                </a:lnTo>
                <a:lnTo>
                  <a:pt x="672" y="577"/>
                </a:lnTo>
                <a:lnTo>
                  <a:pt x="677" y="579"/>
                </a:lnTo>
                <a:lnTo>
                  <a:pt x="683" y="580"/>
                </a:lnTo>
                <a:lnTo>
                  <a:pt x="687" y="581"/>
                </a:lnTo>
                <a:lnTo>
                  <a:pt x="690" y="583"/>
                </a:lnTo>
                <a:lnTo>
                  <a:pt x="700" y="584"/>
                </a:lnTo>
                <a:lnTo>
                  <a:pt x="709" y="584"/>
                </a:lnTo>
                <a:lnTo>
                  <a:pt x="721" y="588"/>
                </a:lnTo>
                <a:lnTo>
                  <a:pt x="732" y="590"/>
                </a:lnTo>
                <a:lnTo>
                  <a:pt x="744" y="593"/>
                </a:lnTo>
                <a:lnTo>
                  <a:pt x="755" y="596"/>
                </a:lnTo>
                <a:lnTo>
                  <a:pt x="779" y="601"/>
                </a:lnTo>
                <a:lnTo>
                  <a:pt x="802" y="606"/>
                </a:lnTo>
                <a:lnTo>
                  <a:pt x="814" y="608"/>
                </a:lnTo>
                <a:lnTo>
                  <a:pt x="825" y="609"/>
                </a:lnTo>
                <a:lnTo>
                  <a:pt x="837" y="610"/>
                </a:lnTo>
                <a:lnTo>
                  <a:pt x="849" y="610"/>
                </a:lnTo>
                <a:lnTo>
                  <a:pt x="841" y="606"/>
                </a:lnTo>
                <a:lnTo>
                  <a:pt x="833" y="605"/>
                </a:lnTo>
                <a:lnTo>
                  <a:pt x="830" y="604"/>
                </a:lnTo>
                <a:lnTo>
                  <a:pt x="828" y="601"/>
                </a:lnTo>
                <a:lnTo>
                  <a:pt x="827" y="600"/>
                </a:lnTo>
                <a:lnTo>
                  <a:pt x="828" y="599"/>
                </a:lnTo>
                <a:lnTo>
                  <a:pt x="829" y="599"/>
                </a:lnTo>
                <a:lnTo>
                  <a:pt x="831" y="598"/>
                </a:lnTo>
                <a:lnTo>
                  <a:pt x="843" y="598"/>
                </a:lnTo>
                <a:lnTo>
                  <a:pt x="854" y="599"/>
                </a:lnTo>
                <a:lnTo>
                  <a:pt x="865" y="601"/>
                </a:lnTo>
                <a:lnTo>
                  <a:pt x="876" y="604"/>
                </a:lnTo>
                <a:lnTo>
                  <a:pt x="888" y="607"/>
                </a:lnTo>
                <a:lnTo>
                  <a:pt x="899" y="609"/>
                </a:lnTo>
                <a:lnTo>
                  <a:pt x="912" y="612"/>
                </a:lnTo>
                <a:lnTo>
                  <a:pt x="923" y="613"/>
                </a:lnTo>
                <a:lnTo>
                  <a:pt x="932" y="614"/>
                </a:lnTo>
                <a:lnTo>
                  <a:pt x="942" y="615"/>
                </a:lnTo>
                <a:lnTo>
                  <a:pt x="950" y="618"/>
                </a:lnTo>
                <a:lnTo>
                  <a:pt x="957" y="622"/>
                </a:lnTo>
                <a:lnTo>
                  <a:pt x="967" y="621"/>
                </a:lnTo>
                <a:lnTo>
                  <a:pt x="975" y="620"/>
                </a:lnTo>
                <a:lnTo>
                  <a:pt x="979" y="620"/>
                </a:lnTo>
                <a:lnTo>
                  <a:pt x="984" y="621"/>
                </a:lnTo>
                <a:lnTo>
                  <a:pt x="987" y="623"/>
                </a:lnTo>
                <a:lnTo>
                  <a:pt x="990" y="625"/>
                </a:lnTo>
                <a:lnTo>
                  <a:pt x="1000" y="626"/>
                </a:lnTo>
                <a:lnTo>
                  <a:pt x="1010" y="626"/>
                </a:lnTo>
                <a:lnTo>
                  <a:pt x="1022" y="628"/>
                </a:lnTo>
                <a:lnTo>
                  <a:pt x="1035" y="629"/>
                </a:lnTo>
                <a:lnTo>
                  <a:pt x="1046" y="630"/>
                </a:lnTo>
                <a:lnTo>
                  <a:pt x="1058" y="632"/>
                </a:lnTo>
                <a:lnTo>
                  <a:pt x="1060" y="632"/>
                </a:lnTo>
                <a:lnTo>
                  <a:pt x="1063" y="633"/>
                </a:lnTo>
                <a:lnTo>
                  <a:pt x="1064" y="634"/>
                </a:lnTo>
                <a:lnTo>
                  <a:pt x="1066" y="635"/>
                </a:lnTo>
                <a:lnTo>
                  <a:pt x="1069" y="637"/>
                </a:lnTo>
                <a:lnTo>
                  <a:pt x="1072" y="637"/>
                </a:lnTo>
                <a:lnTo>
                  <a:pt x="1076" y="637"/>
                </a:lnTo>
                <a:lnTo>
                  <a:pt x="1078" y="637"/>
                </a:lnTo>
                <a:lnTo>
                  <a:pt x="1080" y="637"/>
                </a:lnTo>
                <a:lnTo>
                  <a:pt x="1082" y="639"/>
                </a:lnTo>
                <a:lnTo>
                  <a:pt x="1082" y="641"/>
                </a:lnTo>
                <a:lnTo>
                  <a:pt x="1080" y="641"/>
                </a:lnTo>
                <a:lnTo>
                  <a:pt x="1079" y="642"/>
                </a:lnTo>
                <a:lnTo>
                  <a:pt x="1078" y="642"/>
                </a:lnTo>
                <a:lnTo>
                  <a:pt x="1075" y="642"/>
                </a:lnTo>
                <a:lnTo>
                  <a:pt x="1071" y="642"/>
                </a:lnTo>
                <a:lnTo>
                  <a:pt x="1059" y="641"/>
                </a:lnTo>
                <a:lnTo>
                  <a:pt x="1046" y="639"/>
                </a:lnTo>
                <a:lnTo>
                  <a:pt x="1033" y="637"/>
                </a:lnTo>
                <a:lnTo>
                  <a:pt x="1020" y="635"/>
                </a:lnTo>
                <a:lnTo>
                  <a:pt x="1008" y="633"/>
                </a:lnTo>
                <a:lnTo>
                  <a:pt x="996" y="631"/>
                </a:lnTo>
                <a:lnTo>
                  <a:pt x="989" y="631"/>
                </a:lnTo>
                <a:lnTo>
                  <a:pt x="984" y="630"/>
                </a:lnTo>
                <a:lnTo>
                  <a:pt x="978" y="631"/>
                </a:lnTo>
                <a:lnTo>
                  <a:pt x="971" y="632"/>
                </a:lnTo>
                <a:lnTo>
                  <a:pt x="981" y="637"/>
                </a:lnTo>
                <a:lnTo>
                  <a:pt x="992" y="639"/>
                </a:lnTo>
                <a:lnTo>
                  <a:pt x="1004" y="641"/>
                </a:lnTo>
                <a:lnTo>
                  <a:pt x="1016" y="643"/>
                </a:lnTo>
                <a:lnTo>
                  <a:pt x="1028" y="645"/>
                </a:lnTo>
                <a:lnTo>
                  <a:pt x="1041" y="646"/>
                </a:lnTo>
                <a:lnTo>
                  <a:pt x="1052" y="646"/>
                </a:lnTo>
                <a:lnTo>
                  <a:pt x="1062" y="647"/>
                </a:lnTo>
                <a:lnTo>
                  <a:pt x="1074" y="649"/>
                </a:lnTo>
                <a:lnTo>
                  <a:pt x="1085" y="651"/>
                </a:lnTo>
                <a:lnTo>
                  <a:pt x="1095" y="653"/>
                </a:lnTo>
                <a:lnTo>
                  <a:pt x="1107" y="654"/>
                </a:lnTo>
                <a:lnTo>
                  <a:pt x="1119" y="655"/>
                </a:lnTo>
                <a:lnTo>
                  <a:pt x="1130" y="656"/>
                </a:lnTo>
                <a:lnTo>
                  <a:pt x="1143" y="656"/>
                </a:lnTo>
                <a:lnTo>
                  <a:pt x="1156" y="657"/>
                </a:lnTo>
                <a:lnTo>
                  <a:pt x="1168" y="658"/>
                </a:lnTo>
                <a:lnTo>
                  <a:pt x="1181" y="659"/>
                </a:lnTo>
                <a:lnTo>
                  <a:pt x="1193" y="660"/>
                </a:lnTo>
                <a:lnTo>
                  <a:pt x="1206" y="660"/>
                </a:lnTo>
                <a:lnTo>
                  <a:pt x="1217" y="662"/>
                </a:lnTo>
                <a:lnTo>
                  <a:pt x="1228" y="664"/>
                </a:lnTo>
                <a:lnTo>
                  <a:pt x="1241" y="665"/>
                </a:lnTo>
                <a:lnTo>
                  <a:pt x="1252" y="666"/>
                </a:lnTo>
                <a:lnTo>
                  <a:pt x="1276" y="667"/>
                </a:lnTo>
                <a:lnTo>
                  <a:pt x="1301" y="668"/>
                </a:lnTo>
                <a:lnTo>
                  <a:pt x="1325" y="670"/>
                </a:lnTo>
                <a:lnTo>
                  <a:pt x="1349" y="671"/>
                </a:lnTo>
                <a:lnTo>
                  <a:pt x="1347" y="668"/>
                </a:lnTo>
                <a:lnTo>
                  <a:pt x="1343" y="666"/>
                </a:lnTo>
                <a:lnTo>
                  <a:pt x="1340" y="666"/>
                </a:lnTo>
                <a:lnTo>
                  <a:pt x="1335" y="665"/>
                </a:lnTo>
                <a:lnTo>
                  <a:pt x="1327" y="665"/>
                </a:lnTo>
                <a:lnTo>
                  <a:pt x="1321" y="666"/>
                </a:lnTo>
                <a:lnTo>
                  <a:pt x="1310" y="665"/>
                </a:lnTo>
                <a:lnTo>
                  <a:pt x="1300" y="664"/>
                </a:lnTo>
                <a:lnTo>
                  <a:pt x="1290" y="664"/>
                </a:lnTo>
                <a:lnTo>
                  <a:pt x="1280" y="663"/>
                </a:lnTo>
                <a:lnTo>
                  <a:pt x="1269" y="662"/>
                </a:lnTo>
                <a:lnTo>
                  <a:pt x="1260" y="662"/>
                </a:lnTo>
                <a:lnTo>
                  <a:pt x="1255" y="660"/>
                </a:lnTo>
                <a:lnTo>
                  <a:pt x="1249" y="659"/>
                </a:lnTo>
                <a:lnTo>
                  <a:pt x="1248" y="659"/>
                </a:lnTo>
                <a:lnTo>
                  <a:pt x="1247" y="658"/>
                </a:lnTo>
                <a:lnTo>
                  <a:pt x="1245" y="656"/>
                </a:lnTo>
                <a:lnTo>
                  <a:pt x="1245" y="654"/>
                </a:lnTo>
                <a:lnTo>
                  <a:pt x="1257" y="654"/>
                </a:lnTo>
                <a:lnTo>
                  <a:pt x="1267" y="655"/>
                </a:lnTo>
                <a:lnTo>
                  <a:pt x="1276" y="656"/>
                </a:lnTo>
                <a:lnTo>
                  <a:pt x="1285" y="657"/>
                </a:lnTo>
                <a:lnTo>
                  <a:pt x="1294" y="658"/>
                </a:lnTo>
                <a:lnTo>
                  <a:pt x="1303" y="658"/>
                </a:lnTo>
                <a:lnTo>
                  <a:pt x="1314" y="657"/>
                </a:lnTo>
                <a:lnTo>
                  <a:pt x="1324" y="656"/>
                </a:lnTo>
                <a:lnTo>
                  <a:pt x="1334" y="655"/>
                </a:lnTo>
                <a:lnTo>
                  <a:pt x="1344" y="655"/>
                </a:lnTo>
                <a:lnTo>
                  <a:pt x="1364" y="655"/>
                </a:lnTo>
                <a:lnTo>
                  <a:pt x="1383" y="655"/>
                </a:lnTo>
                <a:lnTo>
                  <a:pt x="1402" y="656"/>
                </a:lnTo>
                <a:lnTo>
                  <a:pt x="1421" y="656"/>
                </a:lnTo>
                <a:lnTo>
                  <a:pt x="1431" y="657"/>
                </a:lnTo>
                <a:lnTo>
                  <a:pt x="1440" y="657"/>
                </a:lnTo>
                <a:lnTo>
                  <a:pt x="1449" y="657"/>
                </a:lnTo>
                <a:lnTo>
                  <a:pt x="1458" y="658"/>
                </a:lnTo>
                <a:lnTo>
                  <a:pt x="1467" y="658"/>
                </a:lnTo>
                <a:lnTo>
                  <a:pt x="1475" y="659"/>
                </a:lnTo>
                <a:lnTo>
                  <a:pt x="1480" y="659"/>
                </a:lnTo>
                <a:lnTo>
                  <a:pt x="1484" y="659"/>
                </a:lnTo>
                <a:lnTo>
                  <a:pt x="1488" y="658"/>
                </a:lnTo>
                <a:lnTo>
                  <a:pt x="1492" y="656"/>
                </a:lnTo>
                <a:lnTo>
                  <a:pt x="1498" y="655"/>
                </a:lnTo>
                <a:lnTo>
                  <a:pt x="1505" y="655"/>
                </a:lnTo>
                <a:lnTo>
                  <a:pt x="1512" y="656"/>
                </a:lnTo>
                <a:lnTo>
                  <a:pt x="1519" y="657"/>
                </a:lnTo>
                <a:lnTo>
                  <a:pt x="1529" y="658"/>
                </a:lnTo>
                <a:lnTo>
                  <a:pt x="1539" y="658"/>
                </a:lnTo>
                <a:lnTo>
                  <a:pt x="1549" y="658"/>
                </a:lnTo>
                <a:lnTo>
                  <a:pt x="1560" y="657"/>
                </a:lnTo>
                <a:lnTo>
                  <a:pt x="1566" y="657"/>
                </a:lnTo>
                <a:lnTo>
                  <a:pt x="1574" y="658"/>
                </a:lnTo>
                <a:lnTo>
                  <a:pt x="1581" y="657"/>
                </a:lnTo>
                <a:lnTo>
                  <a:pt x="1588" y="655"/>
                </a:lnTo>
                <a:lnTo>
                  <a:pt x="1593" y="651"/>
                </a:lnTo>
                <a:lnTo>
                  <a:pt x="1597" y="649"/>
                </a:lnTo>
                <a:lnTo>
                  <a:pt x="1602" y="651"/>
                </a:lnTo>
                <a:lnTo>
                  <a:pt x="1606" y="655"/>
                </a:lnTo>
                <a:lnTo>
                  <a:pt x="1613" y="657"/>
                </a:lnTo>
                <a:lnTo>
                  <a:pt x="1620" y="657"/>
                </a:lnTo>
                <a:lnTo>
                  <a:pt x="1628" y="657"/>
                </a:lnTo>
                <a:lnTo>
                  <a:pt x="1634" y="656"/>
                </a:lnTo>
                <a:lnTo>
                  <a:pt x="1645" y="656"/>
                </a:lnTo>
                <a:lnTo>
                  <a:pt x="1655" y="655"/>
                </a:lnTo>
                <a:lnTo>
                  <a:pt x="1665" y="655"/>
                </a:lnTo>
                <a:lnTo>
                  <a:pt x="1676" y="654"/>
                </a:lnTo>
                <a:lnTo>
                  <a:pt x="1685" y="653"/>
                </a:lnTo>
                <a:lnTo>
                  <a:pt x="1695" y="651"/>
                </a:lnTo>
                <a:lnTo>
                  <a:pt x="1705" y="650"/>
                </a:lnTo>
                <a:lnTo>
                  <a:pt x="1715" y="648"/>
                </a:lnTo>
                <a:lnTo>
                  <a:pt x="1722" y="647"/>
                </a:lnTo>
                <a:lnTo>
                  <a:pt x="1728" y="645"/>
                </a:lnTo>
                <a:lnTo>
                  <a:pt x="1730" y="643"/>
                </a:lnTo>
                <a:lnTo>
                  <a:pt x="1733" y="642"/>
                </a:lnTo>
                <a:lnTo>
                  <a:pt x="1735" y="638"/>
                </a:lnTo>
                <a:lnTo>
                  <a:pt x="1738" y="635"/>
                </a:lnTo>
                <a:lnTo>
                  <a:pt x="1745" y="637"/>
                </a:lnTo>
                <a:lnTo>
                  <a:pt x="1752" y="638"/>
                </a:lnTo>
                <a:lnTo>
                  <a:pt x="1759" y="637"/>
                </a:lnTo>
                <a:lnTo>
                  <a:pt x="1766" y="633"/>
                </a:lnTo>
                <a:lnTo>
                  <a:pt x="1769" y="632"/>
                </a:lnTo>
                <a:lnTo>
                  <a:pt x="1771" y="631"/>
                </a:lnTo>
                <a:lnTo>
                  <a:pt x="1776" y="631"/>
                </a:lnTo>
                <a:lnTo>
                  <a:pt x="1780" y="630"/>
                </a:lnTo>
                <a:lnTo>
                  <a:pt x="1781" y="629"/>
                </a:lnTo>
                <a:lnTo>
                  <a:pt x="1783" y="628"/>
                </a:lnTo>
                <a:lnTo>
                  <a:pt x="1781" y="626"/>
                </a:lnTo>
                <a:lnTo>
                  <a:pt x="1780" y="626"/>
                </a:lnTo>
                <a:lnTo>
                  <a:pt x="1776" y="625"/>
                </a:lnTo>
                <a:lnTo>
                  <a:pt x="1774" y="624"/>
                </a:lnTo>
                <a:lnTo>
                  <a:pt x="1777" y="621"/>
                </a:lnTo>
                <a:lnTo>
                  <a:pt x="1780" y="620"/>
                </a:lnTo>
                <a:lnTo>
                  <a:pt x="1785" y="620"/>
                </a:lnTo>
                <a:lnTo>
                  <a:pt x="1789" y="620"/>
                </a:lnTo>
                <a:lnTo>
                  <a:pt x="1795" y="618"/>
                </a:lnTo>
                <a:lnTo>
                  <a:pt x="1800" y="618"/>
                </a:lnTo>
                <a:lnTo>
                  <a:pt x="1805" y="616"/>
                </a:lnTo>
                <a:lnTo>
                  <a:pt x="1810" y="614"/>
                </a:lnTo>
                <a:lnTo>
                  <a:pt x="1818" y="612"/>
                </a:lnTo>
                <a:lnTo>
                  <a:pt x="1827" y="609"/>
                </a:lnTo>
                <a:lnTo>
                  <a:pt x="1830" y="608"/>
                </a:lnTo>
                <a:lnTo>
                  <a:pt x="1834" y="609"/>
                </a:lnTo>
                <a:lnTo>
                  <a:pt x="1835" y="610"/>
                </a:lnTo>
                <a:lnTo>
                  <a:pt x="1835" y="613"/>
                </a:lnTo>
                <a:lnTo>
                  <a:pt x="1834" y="614"/>
                </a:lnTo>
                <a:lnTo>
                  <a:pt x="1833" y="615"/>
                </a:lnTo>
                <a:lnTo>
                  <a:pt x="1829" y="615"/>
                </a:lnTo>
                <a:lnTo>
                  <a:pt x="1826" y="616"/>
                </a:lnTo>
                <a:lnTo>
                  <a:pt x="1826" y="618"/>
                </a:lnTo>
                <a:lnTo>
                  <a:pt x="1826" y="621"/>
                </a:lnTo>
                <a:lnTo>
                  <a:pt x="1830" y="622"/>
                </a:lnTo>
                <a:lnTo>
                  <a:pt x="1835" y="621"/>
                </a:lnTo>
                <a:lnTo>
                  <a:pt x="1841" y="620"/>
                </a:lnTo>
                <a:lnTo>
                  <a:pt x="1844" y="617"/>
                </a:lnTo>
                <a:lnTo>
                  <a:pt x="1847" y="617"/>
                </a:lnTo>
                <a:lnTo>
                  <a:pt x="1850" y="618"/>
                </a:lnTo>
                <a:lnTo>
                  <a:pt x="1850" y="621"/>
                </a:lnTo>
                <a:lnTo>
                  <a:pt x="1847" y="623"/>
                </a:lnTo>
                <a:lnTo>
                  <a:pt x="1837" y="628"/>
                </a:lnTo>
                <a:lnTo>
                  <a:pt x="1826" y="630"/>
                </a:lnTo>
                <a:lnTo>
                  <a:pt x="1814" y="633"/>
                </a:lnTo>
                <a:lnTo>
                  <a:pt x="1804" y="634"/>
                </a:lnTo>
                <a:lnTo>
                  <a:pt x="1793" y="635"/>
                </a:lnTo>
                <a:lnTo>
                  <a:pt x="1781" y="638"/>
                </a:lnTo>
                <a:lnTo>
                  <a:pt x="1770" y="640"/>
                </a:lnTo>
                <a:lnTo>
                  <a:pt x="1759" y="643"/>
                </a:lnTo>
                <a:lnTo>
                  <a:pt x="1747" y="646"/>
                </a:lnTo>
                <a:lnTo>
                  <a:pt x="1736" y="648"/>
                </a:lnTo>
                <a:lnTo>
                  <a:pt x="1725" y="650"/>
                </a:lnTo>
                <a:lnTo>
                  <a:pt x="1713" y="653"/>
                </a:lnTo>
                <a:lnTo>
                  <a:pt x="1702" y="654"/>
                </a:lnTo>
                <a:lnTo>
                  <a:pt x="1689" y="655"/>
                </a:lnTo>
                <a:lnTo>
                  <a:pt x="1679" y="656"/>
                </a:lnTo>
                <a:lnTo>
                  <a:pt x="1668" y="659"/>
                </a:lnTo>
                <a:lnTo>
                  <a:pt x="1657" y="662"/>
                </a:lnTo>
                <a:lnTo>
                  <a:pt x="1646" y="664"/>
                </a:lnTo>
                <a:lnTo>
                  <a:pt x="1636" y="665"/>
                </a:lnTo>
                <a:lnTo>
                  <a:pt x="1626" y="664"/>
                </a:lnTo>
                <a:lnTo>
                  <a:pt x="1615" y="665"/>
                </a:lnTo>
                <a:lnTo>
                  <a:pt x="1604" y="666"/>
                </a:lnTo>
                <a:lnTo>
                  <a:pt x="1598" y="667"/>
                </a:lnTo>
                <a:lnTo>
                  <a:pt x="1593" y="666"/>
                </a:lnTo>
                <a:lnTo>
                  <a:pt x="1588" y="665"/>
                </a:lnTo>
                <a:lnTo>
                  <a:pt x="1582" y="663"/>
                </a:lnTo>
                <a:lnTo>
                  <a:pt x="1573" y="664"/>
                </a:lnTo>
                <a:lnTo>
                  <a:pt x="1563" y="666"/>
                </a:lnTo>
                <a:lnTo>
                  <a:pt x="1552" y="666"/>
                </a:lnTo>
                <a:lnTo>
                  <a:pt x="1539" y="666"/>
                </a:lnTo>
                <a:lnTo>
                  <a:pt x="1527" y="666"/>
                </a:lnTo>
                <a:lnTo>
                  <a:pt x="1514" y="666"/>
                </a:lnTo>
                <a:lnTo>
                  <a:pt x="1502" y="665"/>
                </a:lnTo>
                <a:lnTo>
                  <a:pt x="1489" y="665"/>
                </a:lnTo>
                <a:lnTo>
                  <a:pt x="1476" y="665"/>
                </a:lnTo>
                <a:lnTo>
                  <a:pt x="1464" y="665"/>
                </a:lnTo>
                <a:lnTo>
                  <a:pt x="1457" y="665"/>
                </a:lnTo>
                <a:lnTo>
                  <a:pt x="1445" y="665"/>
                </a:lnTo>
                <a:lnTo>
                  <a:pt x="1439" y="666"/>
                </a:lnTo>
                <a:lnTo>
                  <a:pt x="1435" y="667"/>
                </a:lnTo>
                <a:lnTo>
                  <a:pt x="1434" y="668"/>
                </a:lnTo>
                <a:lnTo>
                  <a:pt x="1434" y="670"/>
                </a:lnTo>
                <a:lnTo>
                  <a:pt x="1434" y="671"/>
                </a:lnTo>
                <a:lnTo>
                  <a:pt x="1437" y="673"/>
                </a:lnTo>
                <a:lnTo>
                  <a:pt x="1446" y="675"/>
                </a:lnTo>
                <a:lnTo>
                  <a:pt x="1455" y="675"/>
                </a:lnTo>
                <a:lnTo>
                  <a:pt x="1468" y="676"/>
                </a:lnTo>
                <a:lnTo>
                  <a:pt x="1480" y="678"/>
                </a:lnTo>
                <a:lnTo>
                  <a:pt x="1492" y="676"/>
                </a:lnTo>
                <a:lnTo>
                  <a:pt x="1505" y="675"/>
                </a:lnTo>
                <a:lnTo>
                  <a:pt x="1516" y="674"/>
                </a:lnTo>
                <a:lnTo>
                  <a:pt x="1529" y="675"/>
                </a:lnTo>
                <a:lnTo>
                  <a:pt x="1540" y="676"/>
                </a:lnTo>
                <a:lnTo>
                  <a:pt x="1553" y="676"/>
                </a:lnTo>
                <a:lnTo>
                  <a:pt x="1565" y="675"/>
                </a:lnTo>
                <a:lnTo>
                  <a:pt x="1578" y="675"/>
                </a:lnTo>
                <a:lnTo>
                  <a:pt x="1591" y="674"/>
                </a:lnTo>
                <a:lnTo>
                  <a:pt x="1604" y="673"/>
                </a:lnTo>
                <a:lnTo>
                  <a:pt x="1618" y="672"/>
                </a:lnTo>
                <a:lnTo>
                  <a:pt x="1631" y="673"/>
                </a:lnTo>
                <a:lnTo>
                  <a:pt x="1643" y="675"/>
                </a:lnTo>
                <a:lnTo>
                  <a:pt x="1655" y="676"/>
                </a:lnTo>
                <a:lnTo>
                  <a:pt x="1668" y="675"/>
                </a:lnTo>
                <a:lnTo>
                  <a:pt x="1679" y="673"/>
                </a:lnTo>
                <a:lnTo>
                  <a:pt x="1686" y="672"/>
                </a:lnTo>
                <a:lnTo>
                  <a:pt x="1693" y="672"/>
                </a:lnTo>
                <a:lnTo>
                  <a:pt x="1697" y="672"/>
                </a:lnTo>
                <a:lnTo>
                  <a:pt x="1702" y="672"/>
                </a:lnTo>
                <a:lnTo>
                  <a:pt x="1704" y="671"/>
                </a:lnTo>
                <a:lnTo>
                  <a:pt x="1705" y="670"/>
                </a:lnTo>
                <a:lnTo>
                  <a:pt x="1705" y="668"/>
                </a:lnTo>
                <a:lnTo>
                  <a:pt x="1704" y="667"/>
                </a:lnTo>
                <a:lnTo>
                  <a:pt x="1702" y="666"/>
                </a:lnTo>
                <a:lnTo>
                  <a:pt x="1700" y="665"/>
                </a:lnTo>
                <a:lnTo>
                  <a:pt x="1700" y="663"/>
                </a:lnTo>
                <a:lnTo>
                  <a:pt x="1701" y="662"/>
                </a:lnTo>
                <a:lnTo>
                  <a:pt x="1702" y="662"/>
                </a:lnTo>
                <a:lnTo>
                  <a:pt x="1704" y="662"/>
                </a:lnTo>
                <a:lnTo>
                  <a:pt x="1710" y="660"/>
                </a:lnTo>
                <a:lnTo>
                  <a:pt x="1717" y="659"/>
                </a:lnTo>
                <a:lnTo>
                  <a:pt x="1730" y="658"/>
                </a:lnTo>
                <a:lnTo>
                  <a:pt x="1743" y="657"/>
                </a:lnTo>
                <a:lnTo>
                  <a:pt x="1728" y="663"/>
                </a:lnTo>
                <a:lnTo>
                  <a:pt x="1712" y="667"/>
                </a:lnTo>
                <a:lnTo>
                  <a:pt x="1722" y="666"/>
                </a:lnTo>
                <a:lnTo>
                  <a:pt x="1733" y="665"/>
                </a:lnTo>
                <a:lnTo>
                  <a:pt x="1744" y="665"/>
                </a:lnTo>
                <a:lnTo>
                  <a:pt x="1754" y="663"/>
                </a:lnTo>
                <a:lnTo>
                  <a:pt x="1759" y="662"/>
                </a:lnTo>
                <a:lnTo>
                  <a:pt x="1762" y="659"/>
                </a:lnTo>
                <a:lnTo>
                  <a:pt x="1764" y="659"/>
                </a:lnTo>
                <a:lnTo>
                  <a:pt x="1767" y="659"/>
                </a:lnTo>
                <a:lnTo>
                  <a:pt x="1769" y="657"/>
                </a:lnTo>
                <a:lnTo>
                  <a:pt x="1768" y="656"/>
                </a:lnTo>
                <a:lnTo>
                  <a:pt x="1767" y="654"/>
                </a:lnTo>
                <a:lnTo>
                  <a:pt x="1766" y="651"/>
                </a:lnTo>
                <a:lnTo>
                  <a:pt x="1767" y="649"/>
                </a:lnTo>
                <a:lnTo>
                  <a:pt x="1770" y="648"/>
                </a:lnTo>
                <a:lnTo>
                  <a:pt x="1774" y="646"/>
                </a:lnTo>
                <a:lnTo>
                  <a:pt x="1776" y="645"/>
                </a:lnTo>
                <a:lnTo>
                  <a:pt x="1786" y="642"/>
                </a:lnTo>
                <a:lnTo>
                  <a:pt x="1795" y="640"/>
                </a:lnTo>
                <a:lnTo>
                  <a:pt x="1807" y="639"/>
                </a:lnTo>
                <a:lnTo>
                  <a:pt x="1818" y="638"/>
                </a:lnTo>
                <a:lnTo>
                  <a:pt x="1824" y="638"/>
                </a:lnTo>
                <a:lnTo>
                  <a:pt x="1828" y="637"/>
                </a:lnTo>
                <a:lnTo>
                  <a:pt x="1834" y="637"/>
                </a:lnTo>
                <a:lnTo>
                  <a:pt x="1838" y="638"/>
                </a:lnTo>
                <a:lnTo>
                  <a:pt x="1828" y="641"/>
                </a:lnTo>
                <a:lnTo>
                  <a:pt x="1818" y="643"/>
                </a:lnTo>
                <a:lnTo>
                  <a:pt x="1809" y="647"/>
                </a:lnTo>
                <a:lnTo>
                  <a:pt x="1799" y="649"/>
                </a:lnTo>
                <a:lnTo>
                  <a:pt x="1805" y="650"/>
                </a:lnTo>
                <a:lnTo>
                  <a:pt x="1812" y="649"/>
                </a:lnTo>
                <a:lnTo>
                  <a:pt x="1819" y="648"/>
                </a:lnTo>
                <a:lnTo>
                  <a:pt x="1826" y="647"/>
                </a:lnTo>
                <a:lnTo>
                  <a:pt x="1841" y="646"/>
                </a:lnTo>
                <a:lnTo>
                  <a:pt x="1854" y="642"/>
                </a:lnTo>
                <a:lnTo>
                  <a:pt x="1867" y="639"/>
                </a:lnTo>
                <a:lnTo>
                  <a:pt x="1878" y="635"/>
                </a:lnTo>
                <a:lnTo>
                  <a:pt x="1883" y="635"/>
                </a:lnTo>
                <a:lnTo>
                  <a:pt x="1887" y="634"/>
                </a:lnTo>
                <a:lnTo>
                  <a:pt x="1892" y="633"/>
                </a:lnTo>
                <a:lnTo>
                  <a:pt x="1895" y="631"/>
                </a:lnTo>
                <a:lnTo>
                  <a:pt x="1898" y="628"/>
                </a:lnTo>
                <a:lnTo>
                  <a:pt x="1900" y="624"/>
                </a:lnTo>
                <a:lnTo>
                  <a:pt x="1901" y="623"/>
                </a:lnTo>
                <a:lnTo>
                  <a:pt x="1902" y="622"/>
                </a:lnTo>
                <a:lnTo>
                  <a:pt x="1903" y="621"/>
                </a:lnTo>
                <a:lnTo>
                  <a:pt x="1906" y="621"/>
                </a:lnTo>
                <a:lnTo>
                  <a:pt x="1911" y="624"/>
                </a:lnTo>
                <a:lnTo>
                  <a:pt x="1917" y="624"/>
                </a:lnTo>
                <a:lnTo>
                  <a:pt x="1923" y="623"/>
                </a:lnTo>
                <a:lnTo>
                  <a:pt x="1927" y="621"/>
                </a:lnTo>
                <a:lnTo>
                  <a:pt x="1941" y="616"/>
                </a:lnTo>
                <a:lnTo>
                  <a:pt x="1953" y="612"/>
                </a:lnTo>
                <a:lnTo>
                  <a:pt x="1960" y="610"/>
                </a:lnTo>
                <a:lnTo>
                  <a:pt x="1966" y="608"/>
                </a:lnTo>
                <a:lnTo>
                  <a:pt x="1969" y="607"/>
                </a:lnTo>
                <a:lnTo>
                  <a:pt x="1972" y="606"/>
                </a:lnTo>
                <a:lnTo>
                  <a:pt x="1973" y="604"/>
                </a:lnTo>
                <a:lnTo>
                  <a:pt x="1973" y="603"/>
                </a:lnTo>
                <a:lnTo>
                  <a:pt x="1972" y="601"/>
                </a:lnTo>
                <a:lnTo>
                  <a:pt x="1970" y="600"/>
                </a:lnTo>
                <a:lnTo>
                  <a:pt x="1973" y="603"/>
                </a:lnTo>
                <a:lnTo>
                  <a:pt x="1974" y="604"/>
                </a:lnTo>
                <a:lnTo>
                  <a:pt x="1976" y="603"/>
                </a:lnTo>
                <a:lnTo>
                  <a:pt x="1980" y="601"/>
                </a:lnTo>
                <a:lnTo>
                  <a:pt x="1987" y="600"/>
                </a:lnTo>
                <a:lnTo>
                  <a:pt x="1994" y="599"/>
                </a:lnTo>
                <a:lnTo>
                  <a:pt x="2009" y="593"/>
                </a:lnTo>
                <a:lnTo>
                  <a:pt x="2023" y="588"/>
                </a:lnTo>
                <a:lnTo>
                  <a:pt x="2030" y="584"/>
                </a:lnTo>
                <a:lnTo>
                  <a:pt x="2036" y="584"/>
                </a:lnTo>
                <a:lnTo>
                  <a:pt x="2043" y="582"/>
                </a:lnTo>
                <a:lnTo>
                  <a:pt x="2050" y="580"/>
                </a:lnTo>
                <a:lnTo>
                  <a:pt x="2064" y="573"/>
                </a:lnTo>
                <a:lnTo>
                  <a:pt x="2077" y="566"/>
                </a:lnTo>
                <a:lnTo>
                  <a:pt x="2081" y="565"/>
                </a:lnTo>
                <a:lnTo>
                  <a:pt x="2084" y="563"/>
                </a:lnTo>
                <a:lnTo>
                  <a:pt x="2084" y="558"/>
                </a:lnTo>
                <a:lnTo>
                  <a:pt x="2083" y="555"/>
                </a:lnTo>
                <a:lnTo>
                  <a:pt x="2086" y="551"/>
                </a:lnTo>
                <a:lnTo>
                  <a:pt x="2090" y="549"/>
                </a:lnTo>
                <a:lnTo>
                  <a:pt x="2090" y="547"/>
                </a:lnTo>
                <a:lnTo>
                  <a:pt x="2089" y="546"/>
                </a:lnTo>
                <a:lnTo>
                  <a:pt x="2086" y="545"/>
                </a:lnTo>
                <a:lnTo>
                  <a:pt x="2084" y="545"/>
                </a:lnTo>
                <a:lnTo>
                  <a:pt x="2077" y="543"/>
                </a:lnTo>
                <a:lnTo>
                  <a:pt x="2071" y="545"/>
                </a:lnTo>
                <a:lnTo>
                  <a:pt x="2064" y="546"/>
                </a:lnTo>
                <a:lnTo>
                  <a:pt x="2057" y="548"/>
                </a:lnTo>
                <a:lnTo>
                  <a:pt x="2051" y="550"/>
                </a:lnTo>
                <a:lnTo>
                  <a:pt x="2046" y="552"/>
                </a:lnTo>
                <a:lnTo>
                  <a:pt x="2043" y="554"/>
                </a:lnTo>
                <a:lnTo>
                  <a:pt x="2041" y="556"/>
                </a:lnTo>
                <a:lnTo>
                  <a:pt x="2041" y="558"/>
                </a:lnTo>
                <a:lnTo>
                  <a:pt x="2041" y="562"/>
                </a:lnTo>
                <a:lnTo>
                  <a:pt x="2034" y="563"/>
                </a:lnTo>
                <a:lnTo>
                  <a:pt x="2027" y="564"/>
                </a:lnTo>
                <a:lnTo>
                  <a:pt x="2020" y="566"/>
                </a:lnTo>
                <a:lnTo>
                  <a:pt x="2014" y="568"/>
                </a:lnTo>
                <a:lnTo>
                  <a:pt x="2009" y="571"/>
                </a:lnTo>
                <a:lnTo>
                  <a:pt x="2003" y="573"/>
                </a:lnTo>
                <a:lnTo>
                  <a:pt x="2002" y="573"/>
                </a:lnTo>
                <a:lnTo>
                  <a:pt x="2000" y="573"/>
                </a:lnTo>
                <a:lnTo>
                  <a:pt x="1998" y="572"/>
                </a:lnTo>
                <a:lnTo>
                  <a:pt x="1997" y="571"/>
                </a:lnTo>
                <a:lnTo>
                  <a:pt x="2002" y="566"/>
                </a:lnTo>
                <a:lnTo>
                  <a:pt x="2007" y="560"/>
                </a:lnTo>
                <a:lnTo>
                  <a:pt x="2005" y="558"/>
                </a:lnTo>
                <a:lnTo>
                  <a:pt x="2002" y="558"/>
                </a:lnTo>
                <a:lnTo>
                  <a:pt x="1999" y="558"/>
                </a:lnTo>
                <a:lnTo>
                  <a:pt x="1994" y="558"/>
                </a:lnTo>
                <a:lnTo>
                  <a:pt x="1986" y="560"/>
                </a:lnTo>
                <a:lnTo>
                  <a:pt x="1982" y="563"/>
                </a:lnTo>
                <a:lnTo>
                  <a:pt x="1969" y="567"/>
                </a:lnTo>
                <a:lnTo>
                  <a:pt x="1957" y="572"/>
                </a:lnTo>
                <a:lnTo>
                  <a:pt x="1950" y="572"/>
                </a:lnTo>
                <a:lnTo>
                  <a:pt x="1944" y="573"/>
                </a:lnTo>
                <a:lnTo>
                  <a:pt x="1940" y="575"/>
                </a:lnTo>
                <a:lnTo>
                  <a:pt x="1935" y="577"/>
                </a:lnTo>
                <a:lnTo>
                  <a:pt x="1931" y="579"/>
                </a:lnTo>
                <a:lnTo>
                  <a:pt x="1925" y="576"/>
                </a:lnTo>
                <a:lnTo>
                  <a:pt x="1920" y="576"/>
                </a:lnTo>
                <a:lnTo>
                  <a:pt x="1915" y="576"/>
                </a:lnTo>
                <a:lnTo>
                  <a:pt x="1900" y="581"/>
                </a:lnTo>
                <a:lnTo>
                  <a:pt x="1885" y="583"/>
                </a:lnTo>
                <a:lnTo>
                  <a:pt x="1886" y="579"/>
                </a:lnTo>
                <a:lnTo>
                  <a:pt x="1888" y="576"/>
                </a:lnTo>
                <a:lnTo>
                  <a:pt x="1891" y="574"/>
                </a:lnTo>
                <a:lnTo>
                  <a:pt x="1894" y="572"/>
                </a:lnTo>
                <a:lnTo>
                  <a:pt x="1901" y="570"/>
                </a:lnTo>
                <a:lnTo>
                  <a:pt x="1907" y="566"/>
                </a:lnTo>
                <a:lnTo>
                  <a:pt x="1912" y="560"/>
                </a:lnTo>
                <a:lnTo>
                  <a:pt x="1918" y="556"/>
                </a:lnTo>
                <a:lnTo>
                  <a:pt x="1927" y="557"/>
                </a:lnTo>
                <a:lnTo>
                  <a:pt x="1935" y="558"/>
                </a:lnTo>
                <a:lnTo>
                  <a:pt x="1941" y="556"/>
                </a:lnTo>
                <a:lnTo>
                  <a:pt x="1947" y="554"/>
                </a:lnTo>
                <a:lnTo>
                  <a:pt x="1952" y="552"/>
                </a:lnTo>
                <a:lnTo>
                  <a:pt x="1958" y="550"/>
                </a:lnTo>
                <a:lnTo>
                  <a:pt x="1964" y="547"/>
                </a:lnTo>
                <a:lnTo>
                  <a:pt x="1968" y="541"/>
                </a:lnTo>
                <a:lnTo>
                  <a:pt x="1973" y="538"/>
                </a:lnTo>
                <a:lnTo>
                  <a:pt x="1980" y="537"/>
                </a:lnTo>
                <a:lnTo>
                  <a:pt x="1986" y="533"/>
                </a:lnTo>
                <a:lnTo>
                  <a:pt x="1994" y="531"/>
                </a:lnTo>
                <a:lnTo>
                  <a:pt x="1998" y="531"/>
                </a:lnTo>
                <a:lnTo>
                  <a:pt x="2002" y="530"/>
                </a:lnTo>
                <a:lnTo>
                  <a:pt x="2005" y="527"/>
                </a:lnTo>
                <a:lnTo>
                  <a:pt x="2008" y="525"/>
                </a:lnTo>
                <a:lnTo>
                  <a:pt x="2010" y="525"/>
                </a:lnTo>
                <a:lnTo>
                  <a:pt x="2014" y="526"/>
                </a:lnTo>
                <a:lnTo>
                  <a:pt x="2016" y="527"/>
                </a:lnTo>
                <a:lnTo>
                  <a:pt x="2018" y="530"/>
                </a:lnTo>
                <a:lnTo>
                  <a:pt x="2018" y="532"/>
                </a:lnTo>
                <a:lnTo>
                  <a:pt x="2018" y="535"/>
                </a:lnTo>
                <a:lnTo>
                  <a:pt x="2018" y="537"/>
                </a:lnTo>
                <a:lnTo>
                  <a:pt x="2020" y="539"/>
                </a:lnTo>
                <a:lnTo>
                  <a:pt x="2027" y="537"/>
                </a:lnTo>
                <a:lnTo>
                  <a:pt x="2033" y="533"/>
                </a:lnTo>
                <a:lnTo>
                  <a:pt x="2040" y="529"/>
                </a:lnTo>
                <a:lnTo>
                  <a:pt x="2046" y="525"/>
                </a:lnTo>
                <a:lnTo>
                  <a:pt x="2047" y="522"/>
                </a:lnTo>
                <a:lnTo>
                  <a:pt x="2047" y="518"/>
                </a:lnTo>
                <a:lnTo>
                  <a:pt x="2047" y="516"/>
                </a:lnTo>
                <a:lnTo>
                  <a:pt x="2046" y="513"/>
                </a:lnTo>
                <a:lnTo>
                  <a:pt x="2046" y="509"/>
                </a:lnTo>
                <a:lnTo>
                  <a:pt x="2048" y="506"/>
                </a:lnTo>
                <a:lnTo>
                  <a:pt x="2050" y="504"/>
                </a:lnTo>
                <a:lnTo>
                  <a:pt x="2052" y="501"/>
                </a:lnTo>
                <a:lnTo>
                  <a:pt x="2048" y="499"/>
                </a:lnTo>
                <a:lnTo>
                  <a:pt x="2042" y="499"/>
                </a:lnTo>
                <a:lnTo>
                  <a:pt x="2042" y="499"/>
                </a:lnTo>
                <a:lnTo>
                  <a:pt x="2042" y="499"/>
                </a:lnTo>
                <a:lnTo>
                  <a:pt x="2042" y="501"/>
                </a:lnTo>
                <a:lnTo>
                  <a:pt x="2040" y="504"/>
                </a:lnTo>
                <a:lnTo>
                  <a:pt x="2036" y="506"/>
                </a:lnTo>
                <a:lnTo>
                  <a:pt x="2032" y="507"/>
                </a:lnTo>
                <a:lnTo>
                  <a:pt x="2023" y="509"/>
                </a:lnTo>
                <a:lnTo>
                  <a:pt x="2017" y="512"/>
                </a:lnTo>
                <a:lnTo>
                  <a:pt x="2000" y="516"/>
                </a:lnTo>
                <a:lnTo>
                  <a:pt x="1983" y="520"/>
                </a:lnTo>
                <a:lnTo>
                  <a:pt x="1975" y="522"/>
                </a:lnTo>
                <a:lnTo>
                  <a:pt x="1968" y="524"/>
                </a:lnTo>
                <a:lnTo>
                  <a:pt x="1960" y="527"/>
                </a:lnTo>
                <a:lnTo>
                  <a:pt x="1953" y="531"/>
                </a:lnTo>
                <a:lnTo>
                  <a:pt x="1940" y="538"/>
                </a:lnTo>
                <a:lnTo>
                  <a:pt x="1925" y="542"/>
                </a:lnTo>
                <a:lnTo>
                  <a:pt x="1887" y="552"/>
                </a:lnTo>
                <a:lnTo>
                  <a:pt x="1850" y="562"/>
                </a:lnTo>
                <a:lnTo>
                  <a:pt x="1812" y="571"/>
                </a:lnTo>
                <a:lnTo>
                  <a:pt x="1774" y="580"/>
                </a:lnTo>
                <a:lnTo>
                  <a:pt x="1780" y="582"/>
                </a:lnTo>
                <a:lnTo>
                  <a:pt x="1787" y="584"/>
                </a:lnTo>
                <a:lnTo>
                  <a:pt x="1779" y="585"/>
                </a:lnTo>
                <a:lnTo>
                  <a:pt x="1770" y="588"/>
                </a:lnTo>
                <a:lnTo>
                  <a:pt x="1766" y="589"/>
                </a:lnTo>
                <a:lnTo>
                  <a:pt x="1762" y="589"/>
                </a:lnTo>
                <a:lnTo>
                  <a:pt x="1759" y="587"/>
                </a:lnTo>
                <a:lnTo>
                  <a:pt x="1754" y="584"/>
                </a:lnTo>
                <a:lnTo>
                  <a:pt x="1751" y="583"/>
                </a:lnTo>
                <a:lnTo>
                  <a:pt x="1745" y="583"/>
                </a:lnTo>
                <a:lnTo>
                  <a:pt x="1739" y="583"/>
                </a:lnTo>
                <a:lnTo>
                  <a:pt x="1735" y="584"/>
                </a:lnTo>
                <a:lnTo>
                  <a:pt x="1721" y="584"/>
                </a:lnTo>
                <a:lnTo>
                  <a:pt x="1709" y="587"/>
                </a:lnTo>
                <a:lnTo>
                  <a:pt x="1684" y="590"/>
                </a:lnTo>
                <a:lnTo>
                  <a:pt x="1657" y="593"/>
                </a:lnTo>
                <a:lnTo>
                  <a:pt x="1632" y="596"/>
                </a:lnTo>
                <a:lnTo>
                  <a:pt x="1607" y="598"/>
                </a:lnTo>
                <a:lnTo>
                  <a:pt x="1621" y="598"/>
                </a:lnTo>
                <a:lnTo>
                  <a:pt x="1636" y="598"/>
                </a:lnTo>
                <a:lnTo>
                  <a:pt x="1647" y="598"/>
                </a:lnTo>
                <a:lnTo>
                  <a:pt x="1660" y="598"/>
                </a:lnTo>
                <a:lnTo>
                  <a:pt x="1661" y="599"/>
                </a:lnTo>
                <a:lnTo>
                  <a:pt x="1663" y="599"/>
                </a:lnTo>
                <a:lnTo>
                  <a:pt x="1664" y="601"/>
                </a:lnTo>
                <a:lnTo>
                  <a:pt x="1664" y="603"/>
                </a:lnTo>
                <a:lnTo>
                  <a:pt x="1663" y="605"/>
                </a:lnTo>
                <a:lnTo>
                  <a:pt x="1661" y="605"/>
                </a:lnTo>
                <a:lnTo>
                  <a:pt x="1657" y="606"/>
                </a:lnTo>
                <a:lnTo>
                  <a:pt x="1655" y="606"/>
                </a:lnTo>
                <a:lnTo>
                  <a:pt x="1641" y="607"/>
                </a:lnTo>
                <a:lnTo>
                  <a:pt x="1627" y="608"/>
                </a:lnTo>
                <a:lnTo>
                  <a:pt x="1614" y="608"/>
                </a:lnTo>
                <a:lnTo>
                  <a:pt x="1601" y="609"/>
                </a:lnTo>
                <a:lnTo>
                  <a:pt x="1587" y="610"/>
                </a:lnTo>
                <a:lnTo>
                  <a:pt x="1574" y="612"/>
                </a:lnTo>
                <a:lnTo>
                  <a:pt x="1570" y="612"/>
                </a:lnTo>
                <a:lnTo>
                  <a:pt x="1565" y="610"/>
                </a:lnTo>
                <a:lnTo>
                  <a:pt x="1563" y="609"/>
                </a:lnTo>
                <a:lnTo>
                  <a:pt x="1561" y="609"/>
                </a:lnTo>
                <a:lnTo>
                  <a:pt x="1560" y="607"/>
                </a:lnTo>
                <a:lnTo>
                  <a:pt x="1560" y="606"/>
                </a:lnTo>
                <a:lnTo>
                  <a:pt x="1561" y="604"/>
                </a:lnTo>
                <a:lnTo>
                  <a:pt x="1563" y="603"/>
                </a:lnTo>
                <a:lnTo>
                  <a:pt x="1565" y="601"/>
                </a:lnTo>
                <a:lnTo>
                  <a:pt x="1569" y="601"/>
                </a:lnTo>
                <a:lnTo>
                  <a:pt x="1575" y="601"/>
                </a:lnTo>
                <a:lnTo>
                  <a:pt x="1580" y="601"/>
                </a:lnTo>
                <a:lnTo>
                  <a:pt x="1562" y="601"/>
                </a:lnTo>
                <a:lnTo>
                  <a:pt x="1544" y="600"/>
                </a:lnTo>
                <a:lnTo>
                  <a:pt x="1524" y="600"/>
                </a:lnTo>
                <a:lnTo>
                  <a:pt x="1506" y="603"/>
                </a:lnTo>
                <a:lnTo>
                  <a:pt x="1511" y="605"/>
                </a:lnTo>
                <a:lnTo>
                  <a:pt x="1514" y="606"/>
                </a:lnTo>
                <a:lnTo>
                  <a:pt x="1517" y="606"/>
                </a:lnTo>
                <a:lnTo>
                  <a:pt x="1522" y="606"/>
                </a:lnTo>
                <a:lnTo>
                  <a:pt x="1529" y="605"/>
                </a:lnTo>
                <a:lnTo>
                  <a:pt x="1537" y="604"/>
                </a:lnTo>
                <a:lnTo>
                  <a:pt x="1539" y="604"/>
                </a:lnTo>
                <a:lnTo>
                  <a:pt x="1541" y="604"/>
                </a:lnTo>
                <a:lnTo>
                  <a:pt x="1544" y="605"/>
                </a:lnTo>
                <a:lnTo>
                  <a:pt x="1545" y="607"/>
                </a:lnTo>
                <a:lnTo>
                  <a:pt x="1544" y="609"/>
                </a:lnTo>
                <a:lnTo>
                  <a:pt x="1540" y="609"/>
                </a:lnTo>
                <a:lnTo>
                  <a:pt x="1538" y="609"/>
                </a:lnTo>
                <a:lnTo>
                  <a:pt x="1536" y="609"/>
                </a:lnTo>
                <a:lnTo>
                  <a:pt x="1520" y="612"/>
                </a:lnTo>
                <a:lnTo>
                  <a:pt x="1504" y="614"/>
                </a:lnTo>
                <a:lnTo>
                  <a:pt x="1497" y="614"/>
                </a:lnTo>
                <a:lnTo>
                  <a:pt x="1490" y="614"/>
                </a:lnTo>
                <a:lnTo>
                  <a:pt x="1488" y="614"/>
                </a:lnTo>
                <a:lnTo>
                  <a:pt x="1484" y="615"/>
                </a:lnTo>
                <a:lnTo>
                  <a:pt x="1483" y="617"/>
                </a:lnTo>
                <a:lnTo>
                  <a:pt x="1482" y="621"/>
                </a:lnTo>
                <a:lnTo>
                  <a:pt x="1500" y="618"/>
                </a:lnTo>
                <a:lnTo>
                  <a:pt x="1520" y="618"/>
                </a:lnTo>
                <a:lnTo>
                  <a:pt x="1538" y="620"/>
                </a:lnTo>
                <a:lnTo>
                  <a:pt x="1557" y="620"/>
                </a:lnTo>
                <a:lnTo>
                  <a:pt x="1575" y="618"/>
                </a:lnTo>
                <a:lnTo>
                  <a:pt x="1594" y="617"/>
                </a:lnTo>
                <a:lnTo>
                  <a:pt x="1612" y="615"/>
                </a:lnTo>
                <a:lnTo>
                  <a:pt x="1630" y="614"/>
                </a:lnTo>
                <a:lnTo>
                  <a:pt x="1647" y="612"/>
                </a:lnTo>
                <a:lnTo>
                  <a:pt x="1665" y="609"/>
                </a:lnTo>
                <a:lnTo>
                  <a:pt x="1682" y="608"/>
                </a:lnTo>
                <a:lnTo>
                  <a:pt x="1700" y="608"/>
                </a:lnTo>
                <a:lnTo>
                  <a:pt x="1715" y="608"/>
                </a:lnTo>
                <a:lnTo>
                  <a:pt x="1730" y="607"/>
                </a:lnTo>
                <a:lnTo>
                  <a:pt x="1746" y="601"/>
                </a:lnTo>
                <a:lnTo>
                  <a:pt x="1761" y="595"/>
                </a:lnTo>
                <a:lnTo>
                  <a:pt x="1776" y="592"/>
                </a:lnTo>
                <a:lnTo>
                  <a:pt x="1792" y="591"/>
                </a:lnTo>
                <a:lnTo>
                  <a:pt x="1807" y="588"/>
                </a:lnTo>
                <a:lnTo>
                  <a:pt x="1822" y="583"/>
                </a:lnTo>
                <a:lnTo>
                  <a:pt x="1838" y="580"/>
                </a:lnTo>
                <a:lnTo>
                  <a:pt x="1853" y="577"/>
                </a:lnTo>
                <a:lnTo>
                  <a:pt x="1857" y="577"/>
                </a:lnTo>
                <a:lnTo>
                  <a:pt x="1859" y="577"/>
                </a:lnTo>
                <a:lnTo>
                  <a:pt x="1860" y="579"/>
                </a:lnTo>
                <a:lnTo>
                  <a:pt x="1861" y="580"/>
                </a:lnTo>
                <a:lnTo>
                  <a:pt x="1861" y="582"/>
                </a:lnTo>
                <a:lnTo>
                  <a:pt x="1860" y="583"/>
                </a:lnTo>
                <a:lnTo>
                  <a:pt x="1859" y="584"/>
                </a:lnTo>
                <a:lnTo>
                  <a:pt x="1855" y="585"/>
                </a:lnTo>
                <a:lnTo>
                  <a:pt x="1852" y="584"/>
                </a:lnTo>
                <a:lnTo>
                  <a:pt x="1849" y="585"/>
                </a:lnTo>
                <a:lnTo>
                  <a:pt x="1849" y="587"/>
                </a:lnTo>
                <a:lnTo>
                  <a:pt x="1849" y="588"/>
                </a:lnTo>
                <a:lnTo>
                  <a:pt x="1849" y="590"/>
                </a:lnTo>
                <a:lnTo>
                  <a:pt x="1847" y="592"/>
                </a:lnTo>
                <a:lnTo>
                  <a:pt x="1844" y="596"/>
                </a:lnTo>
                <a:lnTo>
                  <a:pt x="1840" y="598"/>
                </a:lnTo>
                <a:lnTo>
                  <a:pt x="1833" y="601"/>
                </a:lnTo>
                <a:lnTo>
                  <a:pt x="1826" y="603"/>
                </a:lnTo>
                <a:lnTo>
                  <a:pt x="1810" y="606"/>
                </a:lnTo>
                <a:lnTo>
                  <a:pt x="1794" y="608"/>
                </a:lnTo>
                <a:lnTo>
                  <a:pt x="1786" y="609"/>
                </a:lnTo>
                <a:lnTo>
                  <a:pt x="1777" y="609"/>
                </a:lnTo>
                <a:lnTo>
                  <a:pt x="1769" y="609"/>
                </a:lnTo>
                <a:lnTo>
                  <a:pt x="1760" y="610"/>
                </a:lnTo>
                <a:lnTo>
                  <a:pt x="1743" y="613"/>
                </a:lnTo>
                <a:lnTo>
                  <a:pt x="1726" y="616"/>
                </a:lnTo>
                <a:lnTo>
                  <a:pt x="1708" y="620"/>
                </a:lnTo>
                <a:lnTo>
                  <a:pt x="1690" y="623"/>
                </a:lnTo>
                <a:lnTo>
                  <a:pt x="1681" y="624"/>
                </a:lnTo>
                <a:lnTo>
                  <a:pt x="1673" y="624"/>
                </a:lnTo>
                <a:lnTo>
                  <a:pt x="1664" y="625"/>
                </a:lnTo>
                <a:lnTo>
                  <a:pt x="1656" y="625"/>
                </a:lnTo>
                <a:lnTo>
                  <a:pt x="1646" y="625"/>
                </a:lnTo>
                <a:lnTo>
                  <a:pt x="1637" y="625"/>
                </a:lnTo>
                <a:lnTo>
                  <a:pt x="1629" y="626"/>
                </a:lnTo>
                <a:lnTo>
                  <a:pt x="1621" y="626"/>
                </a:lnTo>
                <a:lnTo>
                  <a:pt x="1607" y="629"/>
                </a:lnTo>
                <a:lnTo>
                  <a:pt x="1593" y="629"/>
                </a:lnTo>
                <a:lnTo>
                  <a:pt x="1582" y="630"/>
                </a:lnTo>
                <a:lnTo>
                  <a:pt x="1573" y="630"/>
                </a:lnTo>
                <a:lnTo>
                  <a:pt x="1563" y="631"/>
                </a:lnTo>
                <a:lnTo>
                  <a:pt x="1553" y="631"/>
                </a:lnTo>
                <a:lnTo>
                  <a:pt x="1545" y="631"/>
                </a:lnTo>
                <a:lnTo>
                  <a:pt x="1536" y="631"/>
                </a:lnTo>
                <a:lnTo>
                  <a:pt x="1527" y="632"/>
                </a:lnTo>
                <a:lnTo>
                  <a:pt x="1519" y="632"/>
                </a:lnTo>
                <a:lnTo>
                  <a:pt x="1511" y="632"/>
                </a:lnTo>
                <a:lnTo>
                  <a:pt x="1503" y="632"/>
                </a:lnTo>
                <a:lnTo>
                  <a:pt x="1499" y="631"/>
                </a:lnTo>
                <a:lnTo>
                  <a:pt x="1496" y="631"/>
                </a:lnTo>
                <a:lnTo>
                  <a:pt x="1492" y="631"/>
                </a:lnTo>
                <a:lnTo>
                  <a:pt x="1490" y="633"/>
                </a:lnTo>
                <a:lnTo>
                  <a:pt x="1490" y="635"/>
                </a:lnTo>
                <a:lnTo>
                  <a:pt x="1491" y="635"/>
                </a:lnTo>
                <a:lnTo>
                  <a:pt x="1492" y="635"/>
                </a:lnTo>
                <a:lnTo>
                  <a:pt x="1494" y="637"/>
                </a:lnTo>
                <a:lnTo>
                  <a:pt x="1495" y="638"/>
                </a:lnTo>
                <a:lnTo>
                  <a:pt x="1496" y="639"/>
                </a:lnTo>
                <a:lnTo>
                  <a:pt x="1496" y="641"/>
                </a:lnTo>
                <a:lnTo>
                  <a:pt x="1496" y="642"/>
                </a:lnTo>
                <a:lnTo>
                  <a:pt x="1495" y="642"/>
                </a:lnTo>
                <a:lnTo>
                  <a:pt x="1492" y="643"/>
                </a:lnTo>
                <a:lnTo>
                  <a:pt x="1484" y="645"/>
                </a:lnTo>
                <a:lnTo>
                  <a:pt x="1476" y="646"/>
                </a:lnTo>
                <a:lnTo>
                  <a:pt x="1466" y="647"/>
                </a:lnTo>
                <a:lnTo>
                  <a:pt x="1456" y="648"/>
                </a:lnTo>
                <a:lnTo>
                  <a:pt x="1440" y="648"/>
                </a:lnTo>
                <a:lnTo>
                  <a:pt x="1424" y="646"/>
                </a:lnTo>
                <a:lnTo>
                  <a:pt x="1416" y="646"/>
                </a:lnTo>
                <a:lnTo>
                  <a:pt x="1407" y="647"/>
                </a:lnTo>
                <a:lnTo>
                  <a:pt x="1398" y="647"/>
                </a:lnTo>
                <a:lnTo>
                  <a:pt x="1389" y="646"/>
                </a:lnTo>
                <a:lnTo>
                  <a:pt x="1372" y="646"/>
                </a:lnTo>
                <a:lnTo>
                  <a:pt x="1356" y="643"/>
                </a:lnTo>
                <a:lnTo>
                  <a:pt x="1342" y="638"/>
                </a:lnTo>
                <a:lnTo>
                  <a:pt x="1330" y="631"/>
                </a:lnTo>
                <a:lnTo>
                  <a:pt x="1314" y="632"/>
                </a:lnTo>
                <a:lnTo>
                  <a:pt x="1299" y="635"/>
                </a:lnTo>
                <a:lnTo>
                  <a:pt x="1290" y="637"/>
                </a:lnTo>
                <a:lnTo>
                  <a:pt x="1282" y="637"/>
                </a:lnTo>
                <a:lnTo>
                  <a:pt x="1274" y="637"/>
                </a:lnTo>
                <a:lnTo>
                  <a:pt x="1265" y="637"/>
                </a:lnTo>
                <a:lnTo>
                  <a:pt x="1260" y="640"/>
                </a:lnTo>
                <a:lnTo>
                  <a:pt x="1256" y="645"/>
                </a:lnTo>
                <a:lnTo>
                  <a:pt x="1252" y="646"/>
                </a:lnTo>
                <a:lnTo>
                  <a:pt x="1249" y="646"/>
                </a:lnTo>
                <a:lnTo>
                  <a:pt x="1244" y="646"/>
                </a:lnTo>
                <a:lnTo>
                  <a:pt x="1242" y="643"/>
                </a:lnTo>
                <a:lnTo>
                  <a:pt x="1241" y="642"/>
                </a:lnTo>
                <a:lnTo>
                  <a:pt x="1241" y="639"/>
                </a:lnTo>
                <a:lnTo>
                  <a:pt x="1242" y="637"/>
                </a:lnTo>
                <a:lnTo>
                  <a:pt x="1243" y="635"/>
                </a:lnTo>
                <a:lnTo>
                  <a:pt x="1245" y="634"/>
                </a:lnTo>
                <a:lnTo>
                  <a:pt x="1248" y="634"/>
                </a:lnTo>
                <a:lnTo>
                  <a:pt x="1249" y="633"/>
                </a:lnTo>
                <a:lnTo>
                  <a:pt x="1249" y="631"/>
                </a:lnTo>
                <a:lnTo>
                  <a:pt x="1248" y="629"/>
                </a:lnTo>
                <a:lnTo>
                  <a:pt x="1247" y="626"/>
                </a:lnTo>
                <a:lnTo>
                  <a:pt x="1243" y="626"/>
                </a:lnTo>
                <a:lnTo>
                  <a:pt x="1241" y="625"/>
                </a:lnTo>
                <a:lnTo>
                  <a:pt x="1231" y="624"/>
                </a:lnTo>
                <a:lnTo>
                  <a:pt x="1220" y="624"/>
                </a:lnTo>
                <a:lnTo>
                  <a:pt x="1210" y="622"/>
                </a:lnTo>
                <a:lnTo>
                  <a:pt x="1201" y="621"/>
                </a:lnTo>
                <a:lnTo>
                  <a:pt x="1191" y="620"/>
                </a:lnTo>
                <a:lnTo>
                  <a:pt x="1182" y="618"/>
                </a:lnTo>
                <a:lnTo>
                  <a:pt x="1171" y="618"/>
                </a:lnTo>
                <a:lnTo>
                  <a:pt x="1162" y="618"/>
                </a:lnTo>
                <a:lnTo>
                  <a:pt x="1153" y="618"/>
                </a:lnTo>
                <a:lnTo>
                  <a:pt x="1143" y="617"/>
                </a:lnTo>
                <a:lnTo>
                  <a:pt x="1134" y="617"/>
                </a:lnTo>
                <a:lnTo>
                  <a:pt x="1124" y="615"/>
                </a:lnTo>
                <a:lnTo>
                  <a:pt x="1115" y="614"/>
                </a:lnTo>
                <a:lnTo>
                  <a:pt x="1104" y="612"/>
                </a:lnTo>
                <a:lnTo>
                  <a:pt x="1101" y="612"/>
                </a:lnTo>
                <a:lnTo>
                  <a:pt x="1097" y="610"/>
                </a:lnTo>
                <a:lnTo>
                  <a:pt x="1095" y="609"/>
                </a:lnTo>
                <a:lnTo>
                  <a:pt x="1092" y="606"/>
                </a:lnTo>
                <a:lnTo>
                  <a:pt x="1091" y="605"/>
                </a:lnTo>
                <a:lnTo>
                  <a:pt x="1089" y="604"/>
                </a:lnTo>
                <a:lnTo>
                  <a:pt x="1088" y="603"/>
                </a:lnTo>
                <a:lnTo>
                  <a:pt x="1086" y="603"/>
                </a:lnTo>
                <a:lnTo>
                  <a:pt x="1080" y="605"/>
                </a:lnTo>
                <a:lnTo>
                  <a:pt x="1074" y="607"/>
                </a:lnTo>
                <a:lnTo>
                  <a:pt x="1070" y="607"/>
                </a:lnTo>
                <a:lnTo>
                  <a:pt x="1067" y="607"/>
                </a:lnTo>
                <a:lnTo>
                  <a:pt x="1063" y="605"/>
                </a:lnTo>
                <a:lnTo>
                  <a:pt x="1061" y="603"/>
                </a:lnTo>
                <a:lnTo>
                  <a:pt x="1063" y="603"/>
                </a:lnTo>
                <a:lnTo>
                  <a:pt x="1068" y="601"/>
                </a:lnTo>
                <a:lnTo>
                  <a:pt x="1069" y="601"/>
                </a:lnTo>
                <a:lnTo>
                  <a:pt x="1070" y="600"/>
                </a:lnTo>
                <a:lnTo>
                  <a:pt x="1071" y="599"/>
                </a:lnTo>
                <a:lnTo>
                  <a:pt x="1071" y="598"/>
                </a:lnTo>
                <a:lnTo>
                  <a:pt x="1063" y="595"/>
                </a:lnTo>
                <a:lnTo>
                  <a:pt x="1054" y="593"/>
                </a:lnTo>
                <a:lnTo>
                  <a:pt x="1045" y="591"/>
                </a:lnTo>
                <a:lnTo>
                  <a:pt x="1035" y="590"/>
                </a:lnTo>
                <a:lnTo>
                  <a:pt x="1026" y="589"/>
                </a:lnTo>
                <a:lnTo>
                  <a:pt x="1016" y="588"/>
                </a:lnTo>
                <a:lnTo>
                  <a:pt x="1006" y="588"/>
                </a:lnTo>
                <a:lnTo>
                  <a:pt x="997" y="588"/>
                </a:lnTo>
                <a:lnTo>
                  <a:pt x="995" y="588"/>
                </a:lnTo>
                <a:lnTo>
                  <a:pt x="993" y="588"/>
                </a:lnTo>
                <a:lnTo>
                  <a:pt x="992" y="589"/>
                </a:lnTo>
                <a:lnTo>
                  <a:pt x="990" y="589"/>
                </a:lnTo>
                <a:lnTo>
                  <a:pt x="989" y="589"/>
                </a:lnTo>
                <a:lnTo>
                  <a:pt x="986" y="589"/>
                </a:lnTo>
                <a:lnTo>
                  <a:pt x="971" y="583"/>
                </a:lnTo>
                <a:lnTo>
                  <a:pt x="956" y="579"/>
                </a:lnTo>
                <a:lnTo>
                  <a:pt x="952" y="579"/>
                </a:lnTo>
                <a:lnTo>
                  <a:pt x="947" y="577"/>
                </a:lnTo>
                <a:lnTo>
                  <a:pt x="946" y="576"/>
                </a:lnTo>
                <a:lnTo>
                  <a:pt x="944" y="574"/>
                </a:lnTo>
                <a:lnTo>
                  <a:pt x="938" y="571"/>
                </a:lnTo>
                <a:lnTo>
                  <a:pt x="931" y="568"/>
                </a:lnTo>
                <a:lnTo>
                  <a:pt x="927" y="567"/>
                </a:lnTo>
                <a:lnTo>
                  <a:pt x="922" y="567"/>
                </a:lnTo>
                <a:lnTo>
                  <a:pt x="920" y="567"/>
                </a:lnTo>
                <a:lnTo>
                  <a:pt x="919" y="568"/>
                </a:lnTo>
                <a:lnTo>
                  <a:pt x="917" y="570"/>
                </a:lnTo>
                <a:lnTo>
                  <a:pt x="914" y="572"/>
                </a:lnTo>
                <a:lnTo>
                  <a:pt x="913" y="575"/>
                </a:lnTo>
                <a:lnTo>
                  <a:pt x="911" y="576"/>
                </a:lnTo>
                <a:lnTo>
                  <a:pt x="907" y="574"/>
                </a:lnTo>
                <a:lnTo>
                  <a:pt x="904" y="572"/>
                </a:lnTo>
                <a:lnTo>
                  <a:pt x="895" y="570"/>
                </a:lnTo>
                <a:lnTo>
                  <a:pt x="885" y="567"/>
                </a:lnTo>
                <a:lnTo>
                  <a:pt x="876" y="565"/>
                </a:lnTo>
                <a:lnTo>
                  <a:pt x="865" y="564"/>
                </a:lnTo>
                <a:lnTo>
                  <a:pt x="856" y="563"/>
                </a:lnTo>
                <a:lnTo>
                  <a:pt x="847" y="562"/>
                </a:lnTo>
                <a:lnTo>
                  <a:pt x="825" y="559"/>
                </a:lnTo>
                <a:lnTo>
                  <a:pt x="805" y="555"/>
                </a:lnTo>
                <a:lnTo>
                  <a:pt x="786" y="549"/>
                </a:lnTo>
                <a:lnTo>
                  <a:pt x="765" y="543"/>
                </a:lnTo>
                <a:lnTo>
                  <a:pt x="772" y="541"/>
                </a:lnTo>
                <a:lnTo>
                  <a:pt x="780" y="541"/>
                </a:lnTo>
                <a:lnTo>
                  <a:pt x="787" y="541"/>
                </a:lnTo>
                <a:lnTo>
                  <a:pt x="795" y="543"/>
                </a:lnTo>
                <a:lnTo>
                  <a:pt x="810" y="548"/>
                </a:lnTo>
                <a:lnTo>
                  <a:pt x="824" y="550"/>
                </a:lnTo>
                <a:lnTo>
                  <a:pt x="839" y="548"/>
                </a:lnTo>
                <a:lnTo>
                  <a:pt x="853" y="548"/>
                </a:lnTo>
                <a:lnTo>
                  <a:pt x="862" y="549"/>
                </a:lnTo>
                <a:lnTo>
                  <a:pt x="871" y="550"/>
                </a:lnTo>
                <a:lnTo>
                  <a:pt x="880" y="552"/>
                </a:lnTo>
                <a:lnTo>
                  <a:pt x="888" y="554"/>
                </a:lnTo>
                <a:lnTo>
                  <a:pt x="923" y="559"/>
                </a:lnTo>
                <a:lnTo>
                  <a:pt x="957" y="565"/>
                </a:lnTo>
                <a:lnTo>
                  <a:pt x="992" y="570"/>
                </a:lnTo>
                <a:lnTo>
                  <a:pt x="1026" y="574"/>
                </a:lnTo>
                <a:lnTo>
                  <a:pt x="1060" y="579"/>
                </a:lnTo>
                <a:lnTo>
                  <a:pt x="1094" y="583"/>
                </a:lnTo>
                <a:lnTo>
                  <a:pt x="1128" y="585"/>
                </a:lnTo>
                <a:lnTo>
                  <a:pt x="1162" y="589"/>
                </a:lnTo>
                <a:lnTo>
                  <a:pt x="1176" y="590"/>
                </a:lnTo>
                <a:lnTo>
                  <a:pt x="1191" y="593"/>
                </a:lnTo>
                <a:lnTo>
                  <a:pt x="1206" y="598"/>
                </a:lnTo>
                <a:lnTo>
                  <a:pt x="1222" y="600"/>
                </a:lnTo>
                <a:lnTo>
                  <a:pt x="1229" y="599"/>
                </a:lnTo>
                <a:lnTo>
                  <a:pt x="1236" y="598"/>
                </a:lnTo>
                <a:lnTo>
                  <a:pt x="1242" y="598"/>
                </a:lnTo>
                <a:lnTo>
                  <a:pt x="1247" y="601"/>
                </a:lnTo>
                <a:lnTo>
                  <a:pt x="1252" y="603"/>
                </a:lnTo>
                <a:lnTo>
                  <a:pt x="1258" y="601"/>
                </a:lnTo>
                <a:lnTo>
                  <a:pt x="1267" y="601"/>
                </a:lnTo>
                <a:lnTo>
                  <a:pt x="1276" y="601"/>
                </a:lnTo>
                <a:lnTo>
                  <a:pt x="1285" y="601"/>
                </a:lnTo>
                <a:lnTo>
                  <a:pt x="1295" y="600"/>
                </a:lnTo>
                <a:lnTo>
                  <a:pt x="1305" y="600"/>
                </a:lnTo>
                <a:lnTo>
                  <a:pt x="1314" y="600"/>
                </a:lnTo>
                <a:lnTo>
                  <a:pt x="1318" y="600"/>
                </a:lnTo>
                <a:lnTo>
                  <a:pt x="1323" y="600"/>
                </a:lnTo>
                <a:lnTo>
                  <a:pt x="1324" y="600"/>
                </a:lnTo>
                <a:lnTo>
                  <a:pt x="1326" y="601"/>
                </a:lnTo>
                <a:lnTo>
                  <a:pt x="1327" y="601"/>
                </a:lnTo>
                <a:lnTo>
                  <a:pt x="1327" y="604"/>
                </a:lnTo>
                <a:lnTo>
                  <a:pt x="1329" y="606"/>
                </a:lnTo>
                <a:lnTo>
                  <a:pt x="1329" y="608"/>
                </a:lnTo>
                <a:lnTo>
                  <a:pt x="1329" y="610"/>
                </a:lnTo>
                <a:lnTo>
                  <a:pt x="1332" y="610"/>
                </a:lnTo>
                <a:lnTo>
                  <a:pt x="1333" y="610"/>
                </a:lnTo>
                <a:lnTo>
                  <a:pt x="1334" y="609"/>
                </a:lnTo>
                <a:lnTo>
                  <a:pt x="1334" y="608"/>
                </a:lnTo>
                <a:lnTo>
                  <a:pt x="1334" y="607"/>
                </a:lnTo>
                <a:lnTo>
                  <a:pt x="1334" y="604"/>
                </a:lnTo>
                <a:lnTo>
                  <a:pt x="1335" y="601"/>
                </a:lnTo>
                <a:lnTo>
                  <a:pt x="1343" y="600"/>
                </a:lnTo>
                <a:lnTo>
                  <a:pt x="1352" y="601"/>
                </a:lnTo>
                <a:lnTo>
                  <a:pt x="1360" y="603"/>
                </a:lnTo>
                <a:lnTo>
                  <a:pt x="1369" y="604"/>
                </a:lnTo>
                <a:lnTo>
                  <a:pt x="1380" y="605"/>
                </a:lnTo>
                <a:lnTo>
                  <a:pt x="1389" y="606"/>
                </a:lnTo>
                <a:lnTo>
                  <a:pt x="1382" y="607"/>
                </a:lnTo>
                <a:lnTo>
                  <a:pt x="1374" y="607"/>
                </a:lnTo>
                <a:lnTo>
                  <a:pt x="1371" y="608"/>
                </a:lnTo>
                <a:lnTo>
                  <a:pt x="1367" y="609"/>
                </a:lnTo>
                <a:lnTo>
                  <a:pt x="1365" y="610"/>
                </a:lnTo>
                <a:lnTo>
                  <a:pt x="1363" y="614"/>
                </a:lnTo>
                <a:lnTo>
                  <a:pt x="1363" y="616"/>
                </a:lnTo>
                <a:lnTo>
                  <a:pt x="1363" y="618"/>
                </a:lnTo>
                <a:lnTo>
                  <a:pt x="1365" y="620"/>
                </a:lnTo>
                <a:lnTo>
                  <a:pt x="1367" y="621"/>
                </a:lnTo>
                <a:lnTo>
                  <a:pt x="1372" y="622"/>
                </a:lnTo>
                <a:lnTo>
                  <a:pt x="1376" y="622"/>
                </a:lnTo>
                <a:lnTo>
                  <a:pt x="1387" y="622"/>
                </a:lnTo>
                <a:lnTo>
                  <a:pt x="1397" y="620"/>
                </a:lnTo>
                <a:lnTo>
                  <a:pt x="1399" y="617"/>
                </a:lnTo>
                <a:lnTo>
                  <a:pt x="1400" y="616"/>
                </a:lnTo>
                <a:lnTo>
                  <a:pt x="1399" y="615"/>
                </a:lnTo>
                <a:lnTo>
                  <a:pt x="1398" y="614"/>
                </a:lnTo>
                <a:lnTo>
                  <a:pt x="1393" y="612"/>
                </a:lnTo>
                <a:lnTo>
                  <a:pt x="1391" y="607"/>
                </a:lnTo>
                <a:lnTo>
                  <a:pt x="1401" y="607"/>
                </a:lnTo>
                <a:lnTo>
                  <a:pt x="1412" y="607"/>
                </a:lnTo>
                <a:lnTo>
                  <a:pt x="1417" y="606"/>
                </a:lnTo>
                <a:lnTo>
                  <a:pt x="1422" y="606"/>
                </a:lnTo>
                <a:lnTo>
                  <a:pt x="1426" y="604"/>
                </a:lnTo>
                <a:lnTo>
                  <a:pt x="1431" y="600"/>
                </a:lnTo>
                <a:lnTo>
                  <a:pt x="1423" y="598"/>
                </a:lnTo>
                <a:lnTo>
                  <a:pt x="1414" y="598"/>
                </a:lnTo>
                <a:lnTo>
                  <a:pt x="1405" y="597"/>
                </a:lnTo>
                <a:lnTo>
                  <a:pt x="1396" y="596"/>
                </a:lnTo>
                <a:lnTo>
                  <a:pt x="1388" y="593"/>
                </a:lnTo>
                <a:lnTo>
                  <a:pt x="1380" y="591"/>
                </a:lnTo>
                <a:lnTo>
                  <a:pt x="1371" y="591"/>
                </a:lnTo>
                <a:lnTo>
                  <a:pt x="1363" y="590"/>
                </a:lnTo>
                <a:lnTo>
                  <a:pt x="1358" y="590"/>
                </a:lnTo>
                <a:lnTo>
                  <a:pt x="1355" y="590"/>
                </a:lnTo>
                <a:lnTo>
                  <a:pt x="1352" y="590"/>
                </a:lnTo>
                <a:lnTo>
                  <a:pt x="1349" y="592"/>
                </a:lnTo>
                <a:lnTo>
                  <a:pt x="1348" y="595"/>
                </a:lnTo>
                <a:lnTo>
                  <a:pt x="1346" y="597"/>
                </a:lnTo>
                <a:lnTo>
                  <a:pt x="1340" y="597"/>
                </a:lnTo>
                <a:lnTo>
                  <a:pt x="1334" y="597"/>
                </a:lnTo>
                <a:lnTo>
                  <a:pt x="1324" y="597"/>
                </a:lnTo>
                <a:lnTo>
                  <a:pt x="1314" y="596"/>
                </a:lnTo>
                <a:lnTo>
                  <a:pt x="1305" y="596"/>
                </a:lnTo>
                <a:lnTo>
                  <a:pt x="1295" y="593"/>
                </a:lnTo>
                <a:lnTo>
                  <a:pt x="1289" y="590"/>
                </a:lnTo>
                <a:lnTo>
                  <a:pt x="1282" y="588"/>
                </a:lnTo>
                <a:lnTo>
                  <a:pt x="1273" y="588"/>
                </a:lnTo>
                <a:lnTo>
                  <a:pt x="1265" y="591"/>
                </a:lnTo>
                <a:lnTo>
                  <a:pt x="1256" y="591"/>
                </a:lnTo>
                <a:lnTo>
                  <a:pt x="1247" y="589"/>
                </a:lnTo>
                <a:lnTo>
                  <a:pt x="1236" y="588"/>
                </a:lnTo>
                <a:lnTo>
                  <a:pt x="1226" y="587"/>
                </a:lnTo>
                <a:lnTo>
                  <a:pt x="1217" y="585"/>
                </a:lnTo>
                <a:lnTo>
                  <a:pt x="1207" y="584"/>
                </a:lnTo>
                <a:lnTo>
                  <a:pt x="1198" y="584"/>
                </a:lnTo>
                <a:lnTo>
                  <a:pt x="1189" y="584"/>
                </a:lnTo>
                <a:lnTo>
                  <a:pt x="1179" y="584"/>
                </a:lnTo>
                <a:lnTo>
                  <a:pt x="1170" y="584"/>
                </a:lnTo>
                <a:lnTo>
                  <a:pt x="1161" y="583"/>
                </a:lnTo>
                <a:lnTo>
                  <a:pt x="1153" y="581"/>
                </a:lnTo>
                <a:lnTo>
                  <a:pt x="1144" y="576"/>
                </a:lnTo>
                <a:lnTo>
                  <a:pt x="1135" y="573"/>
                </a:lnTo>
                <a:lnTo>
                  <a:pt x="1126" y="571"/>
                </a:lnTo>
                <a:lnTo>
                  <a:pt x="1117" y="571"/>
                </a:lnTo>
                <a:lnTo>
                  <a:pt x="1107" y="572"/>
                </a:lnTo>
                <a:lnTo>
                  <a:pt x="1096" y="572"/>
                </a:lnTo>
                <a:lnTo>
                  <a:pt x="1085" y="571"/>
                </a:lnTo>
                <a:lnTo>
                  <a:pt x="1075" y="567"/>
                </a:lnTo>
                <a:lnTo>
                  <a:pt x="1077" y="564"/>
                </a:lnTo>
                <a:lnTo>
                  <a:pt x="1080" y="563"/>
                </a:lnTo>
                <a:lnTo>
                  <a:pt x="1085" y="563"/>
                </a:lnTo>
                <a:lnTo>
                  <a:pt x="1088" y="563"/>
                </a:lnTo>
                <a:lnTo>
                  <a:pt x="1099" y="559"/>
                </a:lnTo>
                <a:lnTo>
                  <a:pt x="1109" y="558"/>
                </a:lnTo>
                <a:lnTo>
                  <a:pt x="1120" y="562"/>
                </a:lnTo>
                <a:lnTo>
                  <a:pt x="1132" y="564"/>
                </a:lnTo>
                <a:lnTo>
                  <a:pt x="1145" y="565"/>
                </a:lnTo>
                <a:lnTo>
                  <a:pt x="1158" y="565"/>
                </a:lnTo>
                <a:lnTo>
                  <a:pt x="1168" y="568"/>
                </a:lnTo>
                <a:lnTo>
                  <a:pt x="1178" y="571"/>
                </a:lnTo>
                <a:lnTo>
                  <a:pt x="1191" y="570"/>
                </a:lnTo>
                <a:lnTo>
                  <a:pt x="1203" y="568"/>
                </a:lnTo>
                <a:lnTo>
                  <a:pt x="1216" y="570"/>
                </a:lnTo>
                <a:lnTo>
                  <a:pt x="1228" y="571"/>
                </a:lnTo>
                <a:lnTo>
                  <a:pt x="1241" y="573"/>
                </a:lnTo>
                <a:lnTo>
                  <a:pt x="1255" y="574"/>
                </a:lnTo>
                <a:lnTo>
                  <a:pt x="1266" y="576"/>
                </a:lnTo>
                <a:lnTo>
                  <a:pt x="1277" y="580"/>
                </a:lnTo>
                <a:lnTo>
                  <a:pt x="1290" y="582"/>
                </a:lnTo>
                <a:lnTo>
                  <a:pt x="1301" y="584"/>
                </a:lnTo>
                <a:lnTo>
                  <a:pt x="1315" y="584"/>
                </a:lnTo>
                <a:lnTo>
                  <a:pt x="1329" y="584"/>
                </a:lnTo>
                <a:lnTo>
                  <a:pt x="1342" y="584"/>
                </a:lnTo>
                <a:lnTo>
                  <a:pt x="1356" y="584"/>
                </a:lnTo>
                <a:lnTo>
                  <a:pt x="1383" y="585"/>
                </a:lnTo>
                <a:lnTo>
                  <a:pt x="1409" y="587"/>
                </a:lnTo>
                <a:lnTo>
                  <a:pt x="1437" y="587"/>
                </a:lnTo>
                <a:lnTo>
                  <a:pt x="1464" y="587"/>
                </a:lnTo>
                <a:lnTo>
                  <a:pt x="1478" y="587"/>
                </a:lnTo>
                <a:lnTo>
                  <a:pt x="1491" y="584"/>
                </a:lnTo>
                <a:lnTo>
                  <a:pt x="1494" y="584"/>
                </a:lnTo>
                <a:lnTo>
                  <a:pt x="1497" y="584"/>
                </a:lnTo>
                <a:lnTo>
                  <a:pt x="1500" y="582"/>
                </a:lnTo>
                <a:lnTo>
                  <a:pt x="1502" y="580"/>
                </a:lnTo>
                <a:lnTo>
                  <a:pt x="1500" y="577"/>
                </a:lnTo>
                <a:lnTo>
                  <a:pt x="1498" y="575"/>
                </a:lnTo>
                <a:lnTo>
                  <a:pt x="1488" y="574"/>
                </a:lnTo>
                <a:lnTo>
                  <a:pt x="1478" y="575"/>
                </a:lnTo>
                <a:lnTo>
                  <a:pt x="1463" y="575"/>
                </a:lnTo>
                <a:lnTo>
                  <a:pt x="1448" y="575"/>
                </a:lnTo>
                <a:lnTo>
                  <a:pt x="1449" y="573"/>
                </a:lnTo>
                <a:lnTo>
                  <a:pt x="1451" y="571"/>
                </a:lnTo>
                <a:lnTo>
                  <a:pt x="1455" y="570"/>
                </a:lnTo>
                <a:lnTo>
                  <a:pt x="1457" y="568"/>
                </a:lnTo>
                <a:lnTo>
                  <a:pt x="1463" y="567"/>
                </a:lnTo>
                <a:lnTo>
                  <a:pt x="1470" y="567"/>
                </a:lnTo>
                <a:lnTo>
                  <a:pt x="1476" y="567"/>
                </a:lnTo>
                <a:lnTo>
                  <a:pt x="1482" y="568"/>
                </a:lnTo>
                <a:lnTo>
                  <a:pt x="1484" y="568"/>
                </a:lnTo>
                <a:lnTo>
                  <a:pt x="1487" y="568"/>
                </a:lnTo>
                <a:lnTo>
                  <a:pt x="1489" y="567"/>
                </a:lnTo>
                <a:lnTo>
                  <a:pt x="1490" y="565"/>
                </a:lnTo>
                <a:lnTo>
                  <a:pt x="1489" y="564"/>
                </a:lnTo>
                <a:lnTo>
                  <a:pt x="1488" y="563"/>
                </a:lnTo>
                <a:lnTo>
                  <a:pt x="1486" y="562"/>
                </a:lnTo>
                <a:lnTo>
                  <a:pt x="1482" y="562"/>
                </a:lnTo>
                <a:lnTo>
                  <a:pt x="1475" y="562"/>
                </a:lnTo>
                <a:lnTo>
                  <a:pt x="1466" y="562"/>
                </a:lnTo>
                <a:lnTo>
                  <a:pt x="1449" y="563"/>
                </a:lnTo>
                <a:lnTo>
                  <a:pt x="1439" y="565"/>
                </a:lnTo>
                <a:lnTo>
                  <a:pt x="1431" y="564"/>
                </a:lnTo>
                <a:lnTo>
                  <a:pt x="1423" y="564"/>
                </a:lnTo>
                <a:lnTo>
                  <a:pt x="1421" y="564"/>
                </a:lnTo>
                <a:lnTo>
                  <a:pt x="1420" y="565"/>
                </a:lnTo>
                <a:lnTo>
                  <a:pt x="1420" y="566"/>
                </a:lnTo>
                <a:lnTo>
                  <a:pt x="1420" y="567"/>
                </a:lnTo>
                <a:lnTo>
                  <a:pt x="1420" y="571"/>
                </a:lnTo>
                <a:lnTo>
                  <a:pt x="1418" y="573"/>
                </a:lnTo>
                <a:lnTo>
                  <a:pt x="1413" y="574"/>
                </a:lnTo>
                <a:lnTo>
                  <a:pt x="1407" y="574"/>
                </a:lnTo>
                <a:lnTo>
                  <a:pt x="1399" y="574"/>
                </a:lnTo>
                <a:lnTo>
                  <a:pt x="1391" y="574"/>
                </a:lnTo>
                <a:lnTo>
                  <a:pt x="1375" y="573"/>
                </a:lnTo>
                <a:lnTo>
                  <a:pt x="1358" y="572"/>
                </a:lnTo>
                <a:lnTo>
                  <a:pt x="1342" y="572"/>
                </a:lnTo>
                <a:lnTo>
                  <a:pt x="1327" y="572"/>
                </a:lnTo>
                <a:lnTo>
                  <a:pt x="1310" y="571"/>
                </a:lnTo>
                <a:lnTo>
                  <a:pt x="1293" y="570"/>
                </a:lnTo>
                <a:lnTo>
                  <a:pt x="1283" y="571"/>
                </a:lnTo>
                <a:lnTo>
                  <a:pt x="1272" y="572"/>
                </a:lnTo>
                <a:lnTo>
                  <a:pt x="1266" y="571"/>
                </a:lnTo>
                <a:lnTo>
                  <a:pt x="1264" y="568"/>
                </a:lnTo>
                <a:lnTo>
                  <a:pt x="1260" y="565"/>
                </a:lnTo>
                <a:lnTo>
                  <a:pt x="1258" y="562"/>
                </a:lnTo>
                <a:lnTo>
                  <a:pt x="1255" y="559"/>
                </a:lnTo>
                <a:lnTo>
                  <a:pt x="1250" y="558"/>
                </a:lnTo>
                <a:lnTo>
                  <a:pt x="1247" y="558"/>
                </a:lnTo>
                <a:lnTo>
                  <a:pt x="1243" y="558"/>
                </a:lnTo>
                <a:lnTo>
                  <a:pt x="1235" y="559"/>
                </a:lnTo>
                <a:lnTo>
                  <a:pt x="1227" y="558"/>
                </a:lnTo>
                <a:lnTo>
                  <a:pt x="1219" y="557"/>
                </a:lnTo>
                <a:lnTo>
                  <a:pt x="1212" y="556"/>
                </a:lnTo>
                <a:lnTo>
                  <a:pt x="1199" y="551"/>
                </a:lnTo>
                <a:lnTo>
                  <a:pt x="1185" y="549"/>
                </a:lnTo>
                <a:lnTo>
                  <a:pt x="1168" y="547"/>
                </a:lnTo>
                <a:lnTo>
                  <a:pt x="1152" y="546"/>
                </a:lnTo>
                <a:lnTo>
                  <a:pt x="1136" y="542"/>
                </a:lnTo>
                <a:lnTo>
                  <a:pt x="1121" y="540"/>
                </a:lnTo>
                <a:lnTo>
                  <a:pt x="1107" y="537"/>
                </a:lnTo>
                <a:lnTo>
                  <a:pt x="1092" y="534"/>
                </a:lnTo>
                <a:lnTo>
                  <a:pt x="1076" y="532"/>
                </a:lnTo>
                <a:lnTo>
                  <a:pt x="1061" y="531"/>
                </a:lnTo>
                <a:lnTo>
                  <a:pt x="1045" y="529"/>
                </a:lnTo>
                <a:lnTo>
                  <a:pt x="1029" y="526"/>
                </a:lnTo>
                <a:lnTo>
                  <a:pt x="997" y="523"/>
                </a:lnTo>
                <a:lnTo>
                  <a:pt x="965" y="518"/>
                </a:lnTo>
                <a:lnTo>
                  <a:pt x="935" y="513"/>
                </a:lnTo>
                <a:lnTo>
                  <a:pt x="904" y="507"/>
                </a:lnTo>
                <a:lnTo>
                  <a:pt x="888" y="504"/>
                </a:lnTo>
                <a:lnTo>
                  <a:pt x="872" y="500"/>
                </a:lnTo>
                <a:lnTo>
                  <a:pt x="857" y="497"/>
                </a:lnTo>
                <a:lnTo>
                  <a:pt x="841" y="494"/>
                </a:lnTo>
                <a:lnTo>
                  <a:pt x="828" y="491"/>
                </a:lnTo>
                <a:lnTo>
                  <a:pt x="813" y="485"/>
                </a:lnTo>
                <a:lnTo>
                  <a:pt x="799" y="482"/>
                </a:lnTo>
                <a:lnTo>
                  <a:pt x="784" y="479"/>
                </a:lnTo>
                <a:lnTo>
                  <a:pt x="771" y="477"/>
                </a:lnTo>
                <a:lnTo>
                  <a:pt x="757" y="476"/>
                </a:lnTo>
                <a:lnTo>
                  <a:pt x="742" y="472"/>
                </a:lnTo>
                <a:lnTo>
                  <a:pt x="729" y="467"/>
                </a:lnTo>
                <a:lnTo>
                  <a:pt x="714" y="466"/>
                </a:lnTo>
                <a:lnTo>
                  <a:pt x="700" y="465"/>
                </a:lnTo>
                <a:lnTo>
                  <a:pt x="688" y="458"/>
                </a:lnTo>
                <a:lnTo>
                  <a:pt x="673" y="454"/>
                </a:lnTo>
                <a:lnTo>
                  <a:pt x="659" y="451"/>
                </a:lnTo>
                <a:lnTo>
                  <a:pt x="644" y="449"/>
                </a:lnTo>
                <a:lnTo>
                  <a:pt x="632" y="449"/>
                </a:lnTo>
                <a:lnTo>
                  <a:pt x="621" y="448"/>
                </a:lnTo>
                <a:lnTo>
                  <a:pt x="615" y="443"/>
                </a:lnTo>
                <a:lnTo>
                  <a:pt x="610" y="440"/>
                </a:lnTo>
                <a:lnTo>
                  <a:pt x="604" y="439"/>
                </a:lnTo>
                <a:lnTo>
                  <a:pt x="597" y="439"/>
                </a:lnTo>
                <a:lnTo>
                  <a:pt x="580" y="435"/>
                </a:lnTo>
                <a:lnTo>
                  <a:pt x="565" y="431"/>
                </a:lnTo>
                <a:lnTo>
                  <a:pt x="548" y="425"/>
                </a:lnTo>
                <a:lnTo>
                  <a:pt x="531" y="422"/>
                </a:lnTo>
                <a:lnTo>
                  <a:pt x="514" y="417"/>
                </a:lnTo>
                <a:lnTo>
                  <a:pt x="497" y="413"/>
                </a:lnTo>
                <a:lnTo>
                  <a:pt x="487" y="410"/>
                </a:lnTo>
                <a:lnTo>
                  <a:pt x="479" y="407"/>
                </a:lnTo>
                <a:lnTo>
                  <a:pt x="470" y="405"/>
                </a:lnTo>
                <a:lnTo>
                  <a:pt x="461" y="401"/>
                </a:lnTo>
                <a:lnTo>
                  <a:pt x="452" y="399"/>
                </a:lnTo>
                <a:lnTo>
                  <a:pt x="444" y="396"/>
                </a:lnTo>
                <a:lnTo>
                  <a:pt x="441" y="396"/>
                </a:lnTo>
                <a:lnTo>
                  <a:pt x="437" y="394"/>
                </a:lnTo>
                <a:lnTo>
                  <a:pt x="434" y="393"/>
                </a:lnTo>
                <a:lnTo>
                  <a:pt x="433" y="391"/>
                </a:lnTo>
                <a:lnTo>
                  <a:pt x="432" y="390"/>
                </a:lnTo>
                <a:lnTo>
                  <a:pt x="432" y="385"/>
                </a:lnTo>
                <a:lnTo>
                  <a:pt x="438" y="386"/>
                </a:lnTo>
                <a:lnTo>
                  <a:pt x="445" y="389"/>
                </a:lnTo>
                <a:lnTo>
                  <a:pt x="452" y="392"/>
                </a:lnTo>
                <a:lnTo>
                  <a:pt x="459" y="396"/>
                </a:lnTo>
                <a:lnTo>
                  <a:pt x="474" y="400"/>
                </a:lnTo>
                <a:lnTo>
                  <a:pt x="490" y="404"/>
                </a:lnTo>
                <a:lnTo>
                  <a:pt x="506" y="409"/>
                </a:lnTo>
                <a:lnTo>
                  <a:pt x="522" y="414"/>
                </a:lnTo>
                <a:lnTo>
                  <a:pt x="539" y="417"/>
                </a:lnTo>
                <a:lnTo>
                  <a:pt x="555" y="422"/>
                </a:lnTo>
                <a:lnTo>
                  <a:pt x="590" y="429"/>
                </a:lnTo>
                <a:lnTo>
                  <a:pt x="624" y="437"/>
                </a:lnTo>
                <a:lnTo>
                  <a:pt x="658" y="444"/>
                </a:lnTo>
                <a:lnTo>
                  <a:pt x="692" y="451"/>
                </a:lnTo>
                <a:lnTo>
                  <a:pt x="709" y="455"/>
                </a:lnTo>
                <a:lnTo>
                  <a:pt x="726" y="459"/>
                </a:lnTo>
                <a:lnTo>
                  <a:pt x="744" y="463"/>
                </a:lnTo>
                <a:lnTo>
                  <a:pt x="761" y="466"/>
                </a:lnTo>
                <a:lnTo>
                  <a:pt x="778" y="469"/>
                </a:lnTo>
                <a:lnTo>
                  <a:pt x="795" y="473"/>
                </a:lnTo>
                <a:lnTo>
                  <a:pt x="812" y="475"/>
                </a:lnTo>
                <a:lnTo>
                  <a:pt x="829" y="479"/>
                </a:lnTo>
                <a:lnTo>
                  <a:pt x="836" y="481"/>
                </a:lnTo>
                <a:lnTo>
                  <a:pt x="843" y="483"/>
                </a:lnTo>
                <a:lnTo>
                  <a:pt x="848" y="482"/>
                </a:lnTo>
                <a:lnTo>
                  <a:pt x="854" y="482"/>
                </a:lnTo>
                <a:lnTo>
                  <a:pt x="862" y="485"/>
                </a:lnTo>
                <a:lnTo>
                  <a:pt x="869" y="489"/>
                </a:lnTo>
                <a:lnTo>
                  <a:pt x="877" y="490"/>
                </a:lnTo>
                <a:lnTo>
                  <a:pt x="885" y="491"/>
                </a:lnTo>
                <a:lnTo>
                  <a:pt x="901" y="493"/>
                </a:lnTo>
                <a:lnTo>
                  <a:pt x="915" y="497"/>
                </a:lnTo>
                <a:lnTo>
                  <a:pt x="929" y="501"/>
                </a:lnTo>
                <a:lnTo>
                  <a:pt x="942" y="507"/>
                </a:lnTo>
                <a:lnTo>
                  <a:pt x="952" y="508"/>
                </a:lnTo>
                <a:lnTo>
                  <a:pt x="961" y="509"/>
                </a:lnTo>
                <a:lnTo>
                  <a:pt x="970" y="509"/>
                </a:lnTo>
                <a:lnTo>
                  <a:pt x="980" y="509"/>
                </a:lnTo>
                <a:lnTo>
                  <a:pt x="988" y="512"/>
                </a:lnTo>
                <a:lnTo>
                  <a:pt x="997" y="513"/>
                </a:lnTo>
                <a:lnTo>
                  <a:pt x="1006" y="514"/>
                </a:lnTo>
                <a:lnTo>
                  <a:pt x="1016" y="516"/>
                </a:lnTo>
                <a:lnTo>
                  <a:pt x="1026" y="517"/>
                </a:lnTo>
                <a:lnTo>
                  <a:pt x="1035" y="518"/>
                </a:lnTo>
                <a:lnTo>
                  <a:pt x="1045" y="518"/>
                </a:lnTo>
                <a:lnTo>
                  <a:pt x="1055" y="520"/>
                </a:lnTo>
                <a:lnTo>
                  <a:pt x="1063" y="522"/>
                </a:lnTo>
                <a:lnTo>
                  <a:pt x="1072" y="523"/>
                </a:lnTo>
                <a:lnTo>
                  <a:pt x="1080" y="522"/>
                </a:lnTo>
                <a:lnTo>
                  <a:pt x="1089" y="520"/>
                </a:lnTo>
                <a:lnTo>
                  <a:pt x="1084" y="518"/>
                </a:lnTo>
                <a:lnTo>
                  <a:pt x="1078" y="516"/>
                </a:lnTo>
                <a:lnTo>
                  <a:pt x="1077" y="514"/>
                </a:lnTo>
                <a:lnTo>
                  <a:pt x="1077" y="513"/>
                </a:lnTo>
                <a:lnTo>
                  <a:pt x="1078" y="513"/>
                </a:lnTo>
                <a:lnTo>
                  <a:pt x="1080" y="512"/>
                </a:lnTo>
                <a:lnTo>
                  <a:pt x="1084" y="512"/>
                </a:lnTo>
                <a:lnTo>
                  <a:pt x="1086" y="513"/>
                </a:lnTo>
                <a:lnTo>
                  <a:pt x="1096" y="514"/>
                </a:lnTo>
                <a:lnTo>
                  <a:pt x="1108" y="515"/>
                </a:lnTo>
                <a:lnTo>
                  <a:pt x="1111" y="514"/>
                </a:lnTo>
                <a:lnTo>
                  <a:pt x="1113" y="510"/>
                </a:lnTo>
                <a:lnTo>
                  <a:pt x="1115" y="509"/>
                </a:lnTo>
                <a:lnTo>
                  <a:pt x="1115" y="508"/>
                </a:lnTo>
                <a:lnTo>
                  <a:pt x="1113" y="507"/>
                </a:lnTo>
                <a:lnTo>
                  <a:pt x="1111" y="506"/>
                </a:lnTo>
                <a:lnTo>
                  <a:pt x="1102" y="507"/>
                </a:lnTo>
                <a:lnTo>
                  <a:pt x="1094" y="508"/>
                </a:lnTo>
                <a:lnTo>
                  <a:pt x="1087" y="508"/>
                </a:lnTo>
                <a:lnTo>
                  <a:pt x="1082" y="508"/>
                </a:lnTo>
                <a:lnTo>
                  <a:pt x="1076" y="506"/>
                </a:lnTo>
                <a:lnTo>
                  <a:pt x="1070" y="505"/>
                </a:lnTo>
                <a:lnTo>
                  <a:pt x="1062" y="502"/>
                </a:lnTo>
                <a:lnTo>
                  <a:pt x="1050" y="500"/>
                </a:lnTo>
                <a:lnTo>
                  <a:pt x="1043" y="499"/>
                </a:lnTo>
                <a:lnTo>
                  <a:pt x="1037" y="499"/>
                </a:lnTo>
                <a:lnTo>
                  <a:pt x="1034" y="499"/>
                </a:lnTo>
                <a:lnTo>
                  <a:pt x="1033" y="501"/>
                </a:lnTo>
                <a:lnTo>
                  <a:pt x="1034" y="504"/>
                </a:lnTo>
                <a:lnTo>
                  <a:pt x="1036" y="506"/>
                </a:lnTo>
                <a:lnTo>
                  <a:pt x="1036" y="508"/>
                </a:lnTo>
                <a:lnTo>
                  <a:pt x="1035" y="509"/>
                </a:lnTo>
                <a:lnTo>
                  <a:pt x="1034" y="509"/>
                </a:lnTo>
                <a:lnTo>
                  <a:pt x="1033" y="509"/>
                </a:lnTo>
                <a:lnTo>
                  <a:pt x="1022" y="508"/>
                </a:lnTo>
                <a:lnTo>
                  <a:pt x="1012" y="506"/>
                </a:lnTo>
                <a:lnTo>
                  <a:pt x="1002" y="505"/>
                </a:lnTo>
                <a:lnTo>
                  <a:pt x="989" y="502"/>
                </a:lnTo>
                <a:lnTo>
                  <a:pt x="978" y="500"/>
                </a:lnTo>
                <a:lnTo>
                  <a:pt x="967" y="498"/>
                </a:lnTo>
                <a:lnTo>
                  <a:pt x="956" y="494"/>
                </a:lnTo>
                <a:lnTo>
                  <a:pt x="946" y="492"/>
                </a:lnTo>
                <a:lnTo>
                  <a:pt x="936" y="490"/>
                </a:lnTo>
                <a:lnTo>
                  <a:pt x="924" y="490"/>
                </a:lnTo>
                <a:lnTo>
                  <a:pt x="913" y="489"/>
                </a:lnTo>
                <a:lnTo>
                  <a:pt x="901" y="488"/>
                </a:lnTo>
                <a:lnTo>
                  <a:pt x="889" y="484"/>
                </a:lnTo>
                <a:lnTo>
                  <a:pt x="878" y="482"/>
                </a:lnTo>
                <a:lnTo>
                  <a:pt x="865" y="481"/>
                </a:lnTo>
                <a:lnTo>
                  <a:pt x="853" y="480"/>
                </a:lnTo>
                <a:lnTo>
                  <a:pt x="848" y="479"/>
                </a:lnTo>
                <a:lnTo>
                  <a:pt x="843" y="476"/>
                </a:lnTo>
                <a:lnTo>
                  <a:pt x="838" y="474"/>
                </a:lnTo>
                <a:lnTo>
                  <a:pt x="833" y="471"/>
                </a:lnTo>
                <a:lnTo>
                  <a:pt x="830" y="467"/>
                </a:lnTo>
                <a:lnTo>
                  <a:pt x="827" y="465"/>
                </a:lnTo>
                <a:lnTo>
                  <a:pt x="821" y="465"/>
                </a:lnTo>
                <a:lnTo>
                  <a:pt x="815" y="465"/>
                </a:lnTo>
                <a:lnTo>
                  <a:pt x="811" y="463"/>
                </a:lnTo>
                <a:lnTo>
                  <a:pt x="806" y="460"/>
                </a:lnTo>
                <a:lnTo>
                  <a:pt x="802" y="458"/>
                </a:lnTo>
                <a:lnTo>
                  <a:pt x="796" y="457"/>
                </a:lnTo>
                <a:lnTo>
                  <a:pt x="798" y="454"/>
                </a:lnTo>
                <a:lnTo>
                  <a:pt x="799" y="454"/>
                </a:lnTo>
                <a:lnTo>
                  <a:pt x="802" y="454"/>
                </a:lnTo>
                <a:lnTo>
                  <a:pt x="805" y="454"/>
                </a:lnTo>
                <a:lnTo>
                  <a:pt x="811" y="456"/>
                </a:lnTo>
                <a:lnTo>
                  <a:pt x="816" y="457"/>
                </a:lnTo>
                <a:lnTo>
                  <a:pt x="833" y="459"/>
                </a:lnTo>
                <a:lnTo>
                  <a:pt x="850" y="462"/>
                </a:lnTo>
                <a:lnTo>
                  <a:pt x="866" y="463"/>
                </a:lnTo>
                <a:lnTo>
                  <a:pt x="882" y="464"/>
                </a:lnTo>
                <a:lnTo>
                  <a:pt x="890" y="464"/>
                </a:lnTo>
                <a:lnTo>
                  <a:pt x="898" y="465"/>
                </a:lnTo>
                <a:lnTo>
                  <a:pt x="906" y="467"/>
                </a:lnTo>
                <a:lnTo>
                  <a:pt x="913" y="469"/>
                </a:lnTo>
                <a:lnTo>
                  <a:pt x="928" y="474"/>
                </a:lnTo>
                <a:lnTo>
                  <a:pt x="944" y="477"/>
                </a:lnTo>
                <a:lnTo>
                  <a:pt x="959" y="480"/>
                </a:lnTo>
                <a:lnTo>
                  <a:pt x="975" y="480"/>
                </a:lnTo>
                <a:lnTo>
                  <a:pt x="979" y="479"/>
                </a:lnTo>
                <a:lnTo>
                  <a:pt x="984" y="479"/>
                </a:lnTo>
                <a:lnTo>
                  <a:pt x="986" y="480"/>
                </a:lnTo>
                <a:lnTo>
                  <a:pt x="988" y="481"/>
                </a:lnTo>
                <a:lnTo>
                  <a:pt x="994" y="481"/>
                </a:lnTo>
                <a:lnTo>
                  <a:pt x="1000" y="480"/>
                </a:lnTo>
                <a:lnTo>
                  <a:pt x="1002" y="480"/>
                </a:lnTo>
                <a:lnTo>
                  <a:pt x="1004" y="480"/>
                </a:lnTo>
                <a:lnTo>
                  <a:pt x="1006" y="479"/>
                </a:lnTo>
                <a:lnTo>
                  <a:pt x="1006" y="476"/>
                </a:lnTo>
                <a:lnTo>
                  <a:pt x="1004" y="475"/>
                </a:lnTo>
                <a:lnTo>
                  <a:pt x="1001" y="474"/>
                </a:lnTo>
                <a:lnTo>
                  <a:pt x="996" y="474"/>
                </a:lnTo>
                <a:lnTo>
                  <a:pt x="993" y="474"/>
                </a:lnTo>
                <a:lnTo>
                  <a:pt x="980" y="472"/>
                </a:lnTo>
                <a:lnTo>
                  <a:pt x="968" y="467"/>
                </a:lnTo>
                <a:lnTo>
                  <a:pt x="963" y="467"/>
                </a:lnTo>
                <a:lnTo>
                  <a:pt x="957" y="465"/>
                </a:lnTo>
                <a:lnTo>
                  <a:pt x="955" y="460"/>
                </a:lnTo>
                <a:lnTo>
                  <a:pt x="954" y="455"/>
                </a:lnTo>
                <a:lnTo>
                  <a:pt x="951" y="451"/>
                </a:lnTo>
                <a:lnTo>
                  <a:pt x="946" y="450"/>
                </a:lnTo>
                <a:lnTo>
                  <a:pt x="942" y="450"/>
                </a:lnTo>
                <a:lnTo>
                  <a:pt x="937" y="450"/>
                </a:lnTo>
                <a:lnTo>
                  <a:pt x="929" y="450"/>
                </a:lnTo>
                <a:lnTo>
                  <a:pt x="922" y="449"/>
                </a:lnTo>
                <a:lnTo>
                  <a:pt x="914" y="448"/>
                </a:lnTo>
                <a:lnTo>
                  <a:pt x="907" y="447"/>
                </a:lnTo>
                <a:lnTo>
                  <a:pt x="903" y="449"/>
                </a:lnTo>
                <a:lnTo>
                  <a:pt x="899" y="450"/>
                </a:lnTo>
                <a:lnTo>
                  <a:pt x="896" y="452"/>
                </a:lnTo>
                <a:lnTo>
                  <a:pt x="891" y="451"/>
                </a:lnTo>
                <a:lnTo>
                  <a:pt x="887" y="446"/>
                </a:lnTo>
                <a:lnTo>
                  <a:pt x="882" y="440"/>
                </a:lnTo>
                <a:lnTo>
                  <a:pt x="880" y="440"/>
                </a:lnTo>
                <a:lnTo>
                  <a:pt x="877" y="440"/>
                </a:lnTo>
                <a:lnTo>
                  <a:pt x="873" y="440"/>
                </a:lnTo>
                <a:lnTo>
                  <a:pt x="870" y="439"/>
                </a:lnTo>
                <a:lnTo>
                  <a:pt x="869" y="440"/>
                </a:lnTo>
                <a:lnTo>
                  <a:pt x="868" y="441"/>
                </a:lnTo>
                <a:lnTo>
                  <a:pt x="868" y="442"/>
                </a:lnTo>
                <a:lnTo>
                  <a:pt x="866" y="443"/>
                </a:lnTo>
                <a:lnTo>
                  <a:pt x="868" y="444"/>
                </a:lnTo>
                <a:lnTo>
                  <a:pt x="868" y="447"/>
                </a:lnTo>
                <a:lnTo>
                  <a:pt x="864" y="448"/>
                </a:lnTo>
                <a:lnTo>
                  <a:pt x="860" y="447"/>
                </a:lnTo>
                <a:lnTo>
                  <a:pt x="845" y="444"/>
                </a:lnTo>
                <a:lnTo>
                  <a:pt x="830" y="441"/>
                </a:lnTo>
                <a:lnTo>
                  <a:pt x="823" y="440"/>
                </a:lnTo>
                <a:lnTo>
                  <a:pt x="817" y="438"/>
                </a:lnTo>
                <a:lnTo>
                  <a:pt x="815" y="435"/>
                </a:lnTo>
                <a:lnTo>
                  <a:pt x="814" y="434"/>
                </a:lnTo>
                <a:lnTo>
                  <a:pt x="814" y="432"/>
                </a:lnTo>
                <a:lnTo>
                  <a:pt x="816" y="431"/>
                </a:lnTo>
                <a:lnTo>
                  <a:pt x="821" y="431"/>
                </a:lnTo>
                <a:lnTo>
                  <a:pt x="825" y="432"/>
                </a:lnTo>
                <a:lnTo>
                  <a:pt x="827" y="432"/>
                </a:lnTo>
                <a:lnTo>
                  <a:pt x="829" y="431"/>
                </a:lnTo>
                <a:lnTo>
                  <a:pt x="831" y="430"/>
                </a:lnTo>
                <a:lnTo>
                  <a:pt x="832" y="427"/>
                </a:lnTo>
                <a:lnTo>
                  <a:pt x="833" y="425"/>
                </a:lnTo>
                <a:lnTo>
                  <a:pt x="835" y="423"/>
                </a:lnTo>
                <a:lnTo>
                  <a:pt x="836" y="422"/>
                </a:lnTo>
                <a:lnTo>
                  <a:pt x="839" y="422"/>
                </a:lnTo>
                <a:lnTo>
                  <a:pt x="843" y="422"/>
                </a:lnTo>
                <a:lnTo>
                  <a:pt x="845" y="422"/>
                </a:lnTo>
                <a:lnTo>
                  <a:pt x="846" y="422"/>
                </a:lnTo>
                <a:lnTo>
                  <a:pt x="848" y="419"/>
                </a:lnTo>
                <a:lnTo>
                  <a:pt x="837" y="417"/>
                </a:lnTo>
                <a:lnTo>
                  <a:pt x="827" y="415"/>
                </a:lnTo>
                <a:lnTo>
                  <a:pt x="815" y="413"/>
                </a:lnTo>
                <a:lnTo>
                  <a:pt x="804" y="408"/>
                </a:lnTo>
                <a:lnTo>
                  <a:pt x="812" y="407"/>
                </a:lnTo>
                <a:lnTo>
                  <a:pt x="820" y="406"/>
                </a:lnTo>
                <a:lnTo>
                  <a:pt x="821" y="405"/>
                </a:lnTo>
                <a:lnTo>
                  <a:pt x="823" y="404"/>
                </a:lnTo>
                <a:lnTo>
                  <a:pt x="825" y="404"/>
                </a:lnTo>
                <a:lnTo>
                  <a:pt x="828" y="404"/>
                </a:lnTo>
                <a:lnTo>
                  <a:pt x="835" y="404"/>
                </a:lnTo>
                <a:lnTo>
                  <a:pt x="840" y="405"/>
                </a:lnTo>
                <a:lnTo>
                  <a:pt x="852" y="407"/>
                </a:lnTo>
                <a:lnTo>
                  <a:pt x="862" y="410"/>
                </a:lnTo>
                <a:lnTo>
                  <a:pt x="873" y="413"/>
                </a:lnTo>
                <a:lnTo>
                  <a:pt x="883" y="415"/>
                </a:lnTo>
                <a:lnTo>
                  <a:pt x="895" y="417"/>
                </a:lnTo>
                <a:lnTo>
                  <a:pt x="906" y="418"/>
                </a:lnTo>
                <a:lnTo>
                  <a:pt x="918" y="419"/>
                </a:lnTo>
                <a:lnTo>
                  <a:pt x="929" y="422"/>
                </a:lnTo>
                <a:lnTo>
                  <a:pt x="942" y="424"/>
                </a:lnTo>
                <a:lnTo>
                  <a:pt x="954" y="425"/>
                </a:lnTo>
                <a:lnTo>
                  <a:pt x="967" y="427"/>
                </a:lnTo>
                <a:lnTo>
                  <a:pt x="979" y="427"/>
                </a:lnTo>
                <a:lnTo>
                  <a:pt x="1003" y="429"/>
                </a:lnTo>
                <a:lnTo>
                  <a:pt x="1028" y="432"/>
                </a:lnTo>
                <a:lnTo>
                  <a:pt x="1052" y="437"/>
                </a:lnTo>
                <a:lnTo>
                  <a:pt x="1077" y="440"/>
                </a:lnTo>
                <a:lnTo>
                  <a:pt x="1101" y="443"/>
                </a:lnTo>
                <a:lnTo>
                  <a:pt x="1125" y="446"/>
                </a:lnTo>
                <a:lnTo>
                  <a:pt x="1149" y="448"/>
                </a:lnTo>
                <a:lnTo>
                  <a:pt x="1174" y="450"/>
                </a:lnTo>
                <a:lnTo>
                  <a:pt x="1185" y="451"/>
                </a:lnTo>
                <a:lnTo>
                  <a:pt x="1198" y="454"/>
                </a:lnTo>
                <a:lnTo>
                  <a:pt x="1209" y="456"/>
                </a:lnTo>
                <a:lnTo>
                  <a:pt x="1222" y="458"/>
                </a:lnTo>
                <a:lnTo>
                  <a:pt x="1233" y="462"/>
                </a:lnTo>
                <a:lnTo>
                  <a:pt x="1244" y="463"/>
                </a:lnTo>
                <a:lnTo>
                  <a:pt x="1256" y="464"/>
                </a:lnTo>
                <a:lnTo>
                  <a:pt x="1267" y="465"/>
                </a:lnTo>
                <a:lnTo>
                  <a:pt x="1293" y="466"/>
                </a:lnTo>
                <a:lnTo>
                  <a:pt x="1318" y="467"/>
                </a:lnTo>
                <a:lnTo>
                  <a:pt x="1343" y="468"/>
                </a:lnTo>
                <a:lnTo>
                  <a:pt x="1368" y="468"/>
                </a:lnTo>
                <a:lnTo>
                  <a:pt x="1393" y="471"/>
                </a:lnTo>
                <a:lnTo>
                  <a:pt x="1418" y="474"/>
                </a:lnTo>
                <a:lnTo>
                  <a:pt x="1431" y="475"/>
                </a:lnTo>
                <a:lnTo>
                  <a:pt x="1443" y="475"/>
                </a:lnTo>
                <a:lnTo>
                  <a:pt x="1456" y="475"/>
                </a:lnTo>
                <a:lnTo>
                  <a:pt x="1467" y="474"/>
                </a:lnTo>
                <a:lnTo>
                  <a:pt x="1476" y="472"/>
                </a:lnTo>
                <a:lnTo>
                  <a:pt x="1487" y="471"/>
                </a:lnTo>
                <a:lnTo>
                  <a:pt x="1498" y="471"/>
                </a:lnTo>
                <a:lnTo>
                  <a:pt x="1509" y="469"/>
                </a:lnTo>
                <a:lnTo>
                  <a:pt x="1521" y="468"/>
                </a:lnTo>
                <a:lnTo>
                  <a:pt x="1532" y="467"/>
                </a:lnTo>
                <a:lnTo>
                  <a:pt x="1544" y="467"/>
                </a:lnTo>
                <a:lnTo>
                  <a:pt x="1555" y="466"/>
                </a:lnTo>
                <a:lnTo>
                  <a:pt x="1568" y="466"/>
                </a:lnTo>
                <a:lnTo>
                  <a:pt x="1580" y="467"/>
                </a:lnTo>
                <a:lnTo>
                  <a:pt x="1583" y="468"/>
                </a:lnTo>
                <a:lnTo>
                  <a:pt x="1588" y="468"/>
                </a:lnTo>
                <a:lnTo>
                  <a:pt x="1591" y="466"/>
                </a:lnTo>
                <a:lnTo>
                  <a:pt x="1594" y="463"/>
                </a:lnTo>
                <a:lnTo>
                  <a:pt x="1598" y="462"/>
                </a:lnTo>
                <a:lnTo>
                  <a:pt x="1602" y="462"/>
                </a:lnTo>
                <a:lnTo>
                  <a:pt x="1610" y="462"/>
                </a:lnTo>
                <a:lnTo>
                  <a:pt x="1616" y="462"/>
                </a:lnTo>
                <a:lnTo>
                  <a:pt x="1630" y="462"/>
                </a:lnTo>
                <a:lnTo>
                  <a:pt x="1645" y="462"/>
                </a:lnTo>
                <a:lnTo>
                  <a:pt x="1657" y="458"/>
                </a:lnTo>
                <a:lnTo>
                  <a:pt x="1669" y="456"/>
                </a:lnTo>
                <a:lnTo>
                  <a:pt x="1679" y="458"/>
                </a:lnTo>
                <a:lnTo>
                  <a:pt x="1689" y="459"/>
                </a:lnTo>
                <a:lnTo>
                  <a:pt x="1701" y="455"/>
                </a:lnTo>
                <a:lnTo>
                  <a:pt x="1712" y="451"/>
                </a:lnTo>
                <a:lnTo>
                  <a:pt x="1717" y="451"/>
                </a:lnTo>
                <a:lnTo>
                  <a:pt x="1723" y="451"/>
                </a:lnTo>
                <a:lnTo>
                  <a:pt x="1729" y="451"/>
                </a:lnTo>
                <a:lnTo>
                  <a:pt x="1731" y="449"/>
                </a:lnTo>
                <a:lnTo>
                  <a:pt x="1738" y="447"/>
                </a:lnTo>
                <a:lnTo>
                  <a:pt x="1744" y="442"/>
                </a:lnTo>
                <a:lnTo>
                  <a:pt x="1745" y="440"/>
                </a:lnTo>
                <a:lnTo>
                  <a:pt x="1747" y="439"/>
                </a:lnTo>
                <a:lnTo>
                  <a:pt x="1750" y="439"/>
                </a:lnTo>
                <a:lnTo>
                  <a:pt x="1752" y="439"/>
                </a:lnTo>
                <a:lnTo>
                  <a:pt x="1754" y="442"/>
                </a:lnTo>
                <a:lnTo>
                  <a:pt x="1754" y="444"/>
                </a:lnTo>
                <a:lnTo>
                  <a:pt x="1753" y="448"/>
                </a:lnTo>
                <a:lnTo>
                  <a:pt x="1751" y="450"/>
                </a:lnTo>
                <a:lnTo>
                  <a:pt x="1747" y="452"/>
                </a:lnTo>
                <a:lnTo>
                  <a:pt x="1745" y="454"/>
                </a:lnTo>
                <a:lnTo>
                  <a:pt x="1742" y="455"/>
                </a:lnTo>
                <a:lnTo>
                  <a:pt x="1737" y="455"/>
                </a:lnTo>
                <a:lnTo>
                  <a:pt x="1733" y="456"/>
                </a:lnTo>
                <a:lnTo>
                  <a:pt x="1728" y="458"/>
                </a:lnTo>
                <a:lnTo>
                  <a:pt x="1725" y="459"/>
                </a:lnTo>
                <a:lnTo>
                  <a:pt x="1721" y="459"/>
                </a:lnTo>
                <a:lnTo>
                  <a:pt x="1718" y="462"/>
                </a:lnTo>
                <a:lnTo>
                  <a:pt x="1714" y="463"/>
                </a:lnTo>
                <a:lnTo>
                  <a:pt x="1708" y="463"/>
                </a:lnTo>
                <a:lnTo>
                  <a:pt x="1700" y="464"/>
                </a:lnTo>
                <a:lnTo>
                  <a:pt x="1697" y="465"/>
                </a:lnTo>
                <a:lnTo>
                  <a:pt x="1694" y="466"/>
                </a:lnTo>
                <a:lnTo>
                  <a:pt x="1689" y="466"/>
                </a:lnTo>
                <a:lnTo>
                  <a:pt x="1686" y="468"/>
                </a:lnTo>
                <a:lnTo>
                  <a:pt x="1690" y="471"/>
                </a:lnTo>
                <a:lnTo>
                  <a:pt x="1695" y="474"/>
                </a:lnTo>
                <a:lnTo>
                  <a:pt x="1700" y="476"/>
                </a:lnTo>
                <a:lnTo>
                  <a:pt x="1705" y="476"/>
                </a:lnTo>
                <a:lnTo>
                  <a:pt x="1717" y="475"/>
                </a:lnTo>
                <a:lnTo>
                  <a:pt x="1728" y="473"/>
                </a:lnTo>
                <a:lnTo>
                  <a:pt x="1733" y="475"/>
                </a:lnTo>
                <a:lnTo>
                  <a:pt x="1738" y="476"/>
                </a:lnTo>
                <a:lnTo>
                  <a:pt x="1743" y="474"/>
                </a:lnTo>
                <a:lnTo>
                  <a:pt x="1746" y="471"/>
                </a:lnTo>
                <a:lnTo>
                  <a:pt x="1759" y="468"/>
                </a:lnTo>
                <a:lnTo>
                  <a:pt x="1771" y="467"/>
                </a:lnTo>
                <a:lnTo>
                  <a:pt x="1784" y="463"/>
                </a:lnTo>
                <a:lnTo>
                  <a:pt x="1796" y="458"/>
                </a:lnTo>
                <a:lnTo>
                  <a:pt x="1802" y="456"/>
                </a:lnTo>
                <a:lnTo>
                  <a:pt x="1808" y="454"/>
                </a:lnTo>
                <a:lnTo>
                  <a:pt x="1813" y="452"/>
                </a:lnTo>
                <a:lnTo>
                  <a:pt x="1819" y="454"/>
                </a:lnTo>
                <a:lnTo>
                  <a:pt x="1826" y="452"/>
                </a:lnTo>
                <a:lnTo>
                  <a:pt x="1832" y="451"/>
                </a:lnTo>
                <a:lnTo>
                  <a:pt x="1837" y="450"/>
                </a:lnTo>
                <a:lnTo>
                  <a:pt x="1843" y="448"/>
                </a:lnTo>
                <a:lnTo>
                  <a:pt x="1855" y="443"/>
                </a:lnTo>
                <a:lnTo>
                  <a:pt x="1867" y="440"/>
                </a:lnTo>
                <a:lnTo>
                  <a:pt x="1862" y="437"/>
                </a:lnTo>
                <a:lnTo>
                  <a:pt x="1857" y="433"/>
                </a:lnTo>
                <a:lnTo>
                  <a:pt x="1859" y="432"/>
                </a:lnTo>
                <a:lnTo>
                  <a:pt x="1861" y="430"/>
                </a:lnTo>
                <a:lnTo>
                  <a:pt x="1862" y="426"/>
                </a:lnTo>
                <a:lnTo>
                  <a:pt x="1866" y="424"/>
                </a:lnTo>
                <a:lnTo>
                  <a:pt x="1869" y="424"/>
                </a:lnTo>
                <a:lnTo>
                  <a:pt x="1873" y="425"/>
                </a:lnTo>
                <a:lnTo>
                  <a:pt x="1877" y="427"/>
                </a:lnTo>
                <a:lnTo>
                  <a:pt x="1879" y="430"/>
                </a:lnTo>
                <a:lnTo>
                  <a:pt x="1884" y="432"/>
                </a:lnTo>
                <a:lnTo>
                  <a:pt x="1887" y="434"/>
                </a:lnTo>
                <a:lnTo>
                  <a:pt x="1888" y="434"/>
                </a:lnTo>
                <a:lnTo>
                  <a:pt x="1891" y="434"/>
                </a:lnTo>
                <a:lnTo>
                  <a:pt x="1891" y="432"/>
                </a:lnTo>
                <a:lnTo>
                  <a:pt x="1892" y="430"/>
                </a:lnTo>
                <a:lnTo>
                  <a:pt x="1892" y="425"/>
                </a:lnTo>
                <a:lnTo>
                  <a:pt x="1893" y="422"/>
                </a:lnTo>
                <a:lnTo>
                  <a:pt x="1895" y="418"/>
                </a:lnTo>
                <a:lnTo>
                  <a:pt x="1899" y="415"/>
                </a:lnTo>
                <a:lnTo>
                  <a:pt x="1909" y="410"/>
                </a:lnTo>
                <a:lnTo>
                  <a:pt x="1919" y="408"/>
                </a:lnTo>
                <a:lnTo>
                  <a:pt x="1931" y="405"/>
                </a:lnTo>
                <a:lnTo>
                  <a:pt x="1941" y="401"/>
                </a:lnTo>
                <a:lnTo>
                  <a:pt x="1957" y="391"/>
                </a:lnTo>
                <a:lnTo>
                  <a:pt x="1973" y="381"/>
                </a:lnTo>
                <a:lnTo>
                  <a:pt x="1969" y="380"/>
                </a:lnTo>
                <a:lnTo>
                  <a:pt x="1966" y="380"/>
                </a:lnTo>
                <a:lnTo>
                  <a:pt x="1962" y="380"/>
                </a:lnTo>
                <a:lnTo>
                  <a:pt x="1959" y="381"/>
                </a:lnTo>
                <a:lnTo>
                  <a:pt x="1950" y="381"/>
                </a:lnTo>
                <a:lnTo>
                  <a:pt x="1941" y="381"/>
                </a:lnTo>
                <a:lnTo>
                  <a:pt x="1932" y="381"/>
                </a:lnTo>
                <a:lnTo>
                  <a:pt x="1923" y="382"/>
                </a:lnTo>
                <a:lnTo>
                  <a:pt x="1924" y="388"/>
                </a:lnTo>
                <a:lnTo>
                  <a:pt x="1927" y="392"/>
                </a:lnTo>
                <a:lnTo>
                  <a:pt x="1926" y="394"/>
                </a:lnTo>
                <a:lnTo>
                  <a:pt x="1926" y="396"/>
                </a:lnTo>
                <a:lnTo>
                  <a:pt x="1925" y="397"/>
                </a:lnTo>
                <a:lnTo>
                  <a:pt x="1924" y="397"/>
                </a:lnTo>
                <a:lnTo>
                  <a:pt x="1920" y="397"/>
                </a:lnTo>
                <a:lnTo>
                  <a:pt x="1918" y="396"/>
                </a:lnTo>
                <a:lnTo>
                  <a:pt x="1915" y="394"/>
                </a:lnTo>
                <a:lnTo>
                  <a:pt x="1911" y="393"/>
                </a:lnTo>
                <a:lnTo>
                  <a:pt x="1910" y="393"/>
                </a:lnTo>
                <a:lnTo>
                  <a:pt x="1909" y="393"/>
                </a:lnTo>
                <a:lnTo>
                  <a:pt x="1909" y="394"/>
                </a:lnTo>
                <a:lnTo>
                  <a:pt x="1909" y="397"/>
                </a:lnTo>
                <a:lnTo>
                  <a:pt x="1911" y="398"/>
                </a:lnTo>
                <a:lnTo>
                  <a:pt x="1914" y="400"/>
                </a:lnTo>
                <a:lnTo>
                  <a:pt x="1914" y="401"/>
                </a:lnTo>
                <a:lnTo>
                  <a:pt x="1915" y="402"/>
                </a:lnTo>
                <a:lnTo>
                  <a:pt x="1914" y="404"/>
                </a:lnTo>
                <a:lnTo>
                  <a:pt x="1912" y="405"/>
                </a:lnTo>
                <a:lnTo>
                  <a:pt x="1910" y="405"/>
                </a:lnTo>
                <a:lnTo>
                  <a:pt x="1908" y="404"/>
                </a:lnTo>
                <a:lnTo>
                  <a:pt x="1903" y="401"/>
                </a:lnTo>
                <a:lnTo>
                  <a:pt x="1899" y="401"/>
                </a:lnTo>
                <a:lnTo>
                  <a:pt x="1894" y="402"/>
                </a:lnTo>
                <a:lnTo>
                  <a:pt x="1891" y="402"/>
                </a:lnTo>
                <a:lnTo>
                  <a:pt x="1887" y="402"/>
                </a:lnTo>
                <a:lnTo>
                  <a:pt x="1884" y="401"/>
                </a:lnTo>
                <a:lnTo>
                  <a:pt x="1880" y="399"/>
                </a:lnTo>
                <a:lnTo>
                  <a:pt x="1877" y="399"/>
                </a:lnTo>
                <a:lnTo>
                  <a:pt x="1873" y="399"/>
                </a:lnTo>
                <a:lnTo>
                  <a:pt x="1869" y="400"/>
                </a:lnTo>
                <a:lnTo>
                  <a:pt x="1863" y="405"/>
                </a:lnTo>
                <a:lnTo>
                  <a:pt x="1859" y="409"/>
                </a:lnTo>
                <a:lnTo>
                  <a:pt x="1853" y="414"/>
                </a:lnTo>
                <a:lnTo>
                  <a:pt x="1846" y="416"/>
                </a:lnTo>
                <a:lnTo>
                  <a:pt x="1840" y="416"/>
                </a:lnTo>
                <a:lnTo>
                  <a:pt x="1833" y="415"/>
                </a:lnTo>
                <a:lnTo>
                  <a:pt x="1830" y="415"/>
                </a:lnTo>
                <a:lnTo>
                  <a:pt x="1829" y="416"/>
                </a:lnTo>
                <a:lnTo>
                  <a:pt x="1828" y="418"/>
                </a:lnTo>
                <a:lnTo>
                  <a:pt x="1826" y="421"/>
                </a:lnTo>
                <a:lnTo>
                  <a:pt x="1825" y="422"/>
                </a:lnTo>
                <a:lnTo>
                  <a:pt x="1822" y="423"/>
                </a:lnTo>
                <a:lnTo>
                  <a:pt x="1820" y="424"/>
                </a:lnTo>
                <a:lnTo>
                  <a:pt x="1817" y="424"/>
                </a:lnTo>
                <a:lnTo>
                  <a:pt x="1814" y="424"/>
                </a:lnTo>
                <a:lnTo>
                  <a:pt x="1813" y="424"/>
                </a:lnTo>
                <a:lnTo>
                  <a:pt x="1813" y="422"/>
                </a:lnTo>
                <a:lnTo>
                  <a:pt x="1812" y="419"/>
                </a:lnTo>
                <a:lnTo>
                  <a:pt x="1811" y="417"/>
                </a:lnTo>
                <a:lnTo>
                  <a:pt x="1810" y="416"/>
                </a:lnTo>
                <a:lnTo>
                  <a:pt x="1809" y="415"/>
                </a:lnTo>
                <a:lnTo>
                  <a:pt x="1808" y="415"/>
                </a:lnTo>
                <a:lnTo>
                  <a:pt x="1804" y="416"/>
                </a:lnTo>
                <a:lnTo>
                  <a:pt x="1800" y="417"/>
                </a:lnTo>
                <a:lnTo>
                  <a:pt x="1791" y="419"/>
                </a:lnTo>
                <a:lnTo>
                  <a:pt x="1781" y="422"/>
                </a:lnTo>
                <a:lnTo>
                  <a:pt x="1772" y="423"/>
                </a:lnTo>
                <a:lnTo>
                  <a:pt x="1763" y="424"/>
                </a:lnTo>
                <a:lnTo>
                  <a:pt x="1754" y="426"/>
                </a:lnTo>
                <a:lnTo>
                  <a:pt x="1744" y="427"/>
                </a:lnTo>
                <a:lnTo>
                  <a:pt x="1737" y="429"/>
                </a:lnTo>
                <a:lnTo>
                  <a:pt x="1731" y="430"/>
                </a:lnTo>
                <a:lnTo>
                  <a:pt x="1728" y="431"/>
                </a:lnTo>
                <a:lnTo>
                  <a:pt x="1725" y="433"/>
                </a:lnTo>
                <a:lnTo>
                  <a:pt x="1721" y="433"/>
                </a:lnTo>
                <a:lnTo>
                  <a:pt x="1717" y="433"/>
                </a:lnTo>
                <a:lnTo>
                  <a:pt x="1709" y="435"/>
                </a:lnTo>
                <a:lnTo>
                  <a:pt x="1701" y="438"/>
                </a:lnTo>
                <a:lnTo>
                  <a:pt x="1693" y="439"/>
                </a:lnTo>
                <a:lnTo>
                  <a:pt x="1685" y="440"/>
                </a:lnTo>
                <a:lnTo>
                  <a:pt x="1676" y="440"/>
                </a:lnTo>
                <a:lnTo>
                  <a:pt x="1667" y="442"/>
                </a:lnTo>
                <a:lnTo>
                  <a:pt x="1657" y="444"/>
                </a:lnTo>
                <a:lnTo>
                  <a:pt x="1648" y="446"/>
                </a:lnTo>
                <a:lnTo>
                  <a:pt x="1638" y="446"/>
                </a:lnTo>
                <a:lnTo>
                  <a:pt x="1629" y="447"/>
                </a:lnTo>
                <a:lnTo>
                  <a:pt x="1611" y="449"/>
                </a:lnTo>
                <a:lnTo>
                  <a:pt x="1593" y="452"/>
                </a:lnTo>
                <a:lnTo>
                  <a:pt x="1583" y="454"/>
                </a:lnTo>
                <a:lnTo>
                  <a:pt x="1574" y="455"/>
                </a:lnTo>
                <a:lnTo>
                  <a:pt x="1565" y="455"/>
                </a:lnTo>
                <a:lnTo>
                  <a:pt x="1556" y="454"/>
                </a:lnTo>
                <a:lnTo>
                  <a:pt x="1547" y="450"/>
                </a:lnTo>
                <a:lnTo>
                  <a:pt x="1537" y="448"/>
                </a:lnTo>
                <a:lnTo>
                  <a:pt x="1529" y="451"/>
                </a:lnTo>
                <a:lnTo>
                  <a:pt x="1522" y="456"/>
                </a:lnTo>
                <a:lnTo>
                  <a:pt x="1512" y="459"/>
                </a:lnTo>
                <a:lnTo>
                  <a:pt x="1502" y="460"/>
                </a:lnTo>
                <a:lnTo>
                  <a:pt x="1491" y="460"/>
                </a:lnTo>
                <a:lnTo>
                  <a:pt x="1481" y="460"/>
                </a:lnTo>
                <a:lnTo>
                  <a:pt x="1457" y="459"/>
                </a:lnTo>
                <a:lnTo>
                  <a:pt x="1434" y="459"/>
                </a:lnTo>
                <a:lnTo>
                  <a:pt x="1410" y="458"/>
                </a:lnTo>
                <a:lnTo>
                  <a:pt x="1388" y="457"/>
                </a:lnTo>
                <a:lnTo>
                  <a:pt x="1388" y="455"/>
                </a:lnTo>
                <a:lnTo>
                  <a:pt x="1389" y="452"/>
                </a:lnTo>
                <a:lnTo>
                  <a:pt x="1388" y="451"/>
                </a:lnTo>
                <a:lnTo>
                  <a:pt x="1387" y="451"/>
                </a:lnTo>
                <a:lnTo>
                  <a:pt x="1383" y="450"/>
                </a:lnTo>
                <a:lnTo>
                  <a:pt x="1380" y="450"/>
                </a:lnTo>
                <a:lnTo>
                  <a:pt x="1365" y="451"/>
                </a:lnTo>
                <a:lnTo>
                  <a:pt x="1351" y="451"/>
                </a:lnTo>
                <a:lnTo>
                  <a:pt x="1338" y="451"/>
                </a:lnTo>
                <a:lnTo>
                  <a:pt x="1324" y="450"/>
                </a:lnTo>
                <a:lnTo>
                  <a:pt x="1310" y="447"/>
                </a:lnTo>
                <a:lnTo>
                  <a:pt x="1297" y="444"/>
                </a:lnTo>
                <a:lnTo>
                  <a:pt x="1285" y="444"/>
                </a:lnTo>
                <a:lnTo>
                  <a:pt x="1274" y="444"/>
                </a:lnTo>
                <a:lnTo>
                  <a:pt x="1267" y="444"/>
                </a:lnTo>
                <a:lnTo>
                  <a:pt x="1260" y="444"/>
                </a:lnTo>
                <a:lnTo>
                  <a:pt x="1257" y="446"/>
                </a:lnTo>
                <a:lnTo>
                  <a:pt x="1252" y="448"/>
                </a:lnTo>
                <a:lnTo>
                  <a:pt x="1249" y="450"/>
                </a:lnTo>
                <a:lnTo>
                  <a:pt x="1244" y="451"/>
                </a:lnTo>
                <a:lnTo>
                  <a:pt x="1240" y="451"/>
                </a:lnTo>
                <a:lnTo>
                  <a:pt x="1235" y="450"/>
                </a:lnTo>
                <a:lnTo>
                  <a:pt x="1233" y="451"/>
                </a:lnTo>
                <a:lnTo>
                  <a:pt x="1229" y="450"/>
                </a:lnTo>
                <a:lnTo>
                  <a:pt x="1228" y="449"/>
                </a:lnTo>
                <a:lnTo>
                  <a:pt x="1228" y="448"/>
                </a:lnTo>
                <a:lnTo>
                  <a:pt x="1229" y="446"/>
                </a:lnTo>
                <a:lnTo>
                  <a:pt x="1231" y="444"/>
                </a:lnTo>
                <a:lnTo>
                  <a:pt x="1236" y="444"/>
                </a:lnTo>
                <a:lnTo>
                  <a:pt x="1241" y="443"/>
                </a:lnTo>
                <a:lnTo>
                  <a:pt x="1241" y="441"/>
                </a:lnTo>
                <a:lnTo>
                  <a:pt x="1240" y="440"/>
                </a:lnTo>
                <a:lnTo>
                  <a:pt x="1237" y="440"/>
                </a:lnTo>
                <a:lnTo>
                  <a:pt x="1235" y="439"/>
                </a:lnTo>
                <a:lnTo>
                  <a:pt x="1228" y="439"/>
                </a:lnTo>
                <a:lnTo>
                  <a:pt x="1225" y="439"/>
                </a:lnTo>
                <a:lnTo>
                  <a:pt x="1212" y="438"/>
                </a:lnTo>
                <a:lnTo>
                  <a:pt x="1199" y="437"/>
                </a:lnTo>
                <a:lnTo>
                  <a:pt x="1192" y="435"/>
                </a:lnTo>
                <a:lnTo>
                  <a:pt x="1185" y="434"/>
                </a:lnTo>
                <a:lnTo>
                  <a:pt x="1182" y="434"/>
                </a:lnTo>
                <a:lnTo>
                  <a:pt x="1179" y="434"/>
                </a:lnTo>
                <a:lnTo>
                  <a:pt x="1176" y="433"/>
                </a:lnTo>
                <a:lnTo>
                  <a:pt x="1175" y="431"/>
                </a:lnTo>
                <a:lnTo>
                  <a:pt x="1173" y="427"/>
                </a:lnTo>
                <a:lnTo>
                  <a:pt x="1173" y="424"/>
                </a:lnTo>
                <a:lnTo>
                  <a:pt x="1174" y="421"/>
                </a:lnTo>
                <a:lnTo>
                  <a:pt x="1174" y="417"/>
                </a:lnTo>
                <a:lnTo>
                  <a:pt x="1169" y="415"/>
                </a:lnTo>
                <a:lnTo>
                  <a:pt x="1165" y="414"/>
                </a:lnTo>
                <a:lnTo>
                  <a:pt x="1162" y="414"/>
                </a:lnTo>
                <a:lnTo>
                  <a:pt x="1161" y="414"/>
                </a:lnTo>
                <a:lnTo>
                  <a:pt x="1161" y="415"/>
                </a:lnTo>
                <a:lnTo>
                  <a:pt x="1161" y="417"/>
                </a:lnTo>
                <a:lnTo>
                  <a:pt x="1160" y="419"/>
                </a:lnTo>
                <a:lnTo>
                  <a:pt x="1159" y="421"/>
                </a:lnTo>
                <a:lnTo>
                  <a:pt x="1158" y="421"/>
                </a:lnTo>
                <a:lnTo>
                  <a:pt x="1156" y="422"/>
                </a:lnTo>
                <a:lnTo>
                  <a:pt x="1151" y="421"/>
                </a:lnTo>
                <a:lnTo>
                  <a:pt x="1146" y="421"/>
                </a:lnTo>
                <a:lnTo>
                  <a:pt x="1142" y="421"/>
                </a:lnTo>
                <a:lnTo>
                  <a:pt x="1137" y="421"/>
                </a:lnTo>
                <a:lnTo>
                  <a:pt x="1133" y="419"/>
                </a:lnTo>
                <a:lnTo>
                  <a:pt x="1128" y="417"/>
                </a:lnTo>
                <a:lnTo>
                  <a:pt x="1125" y="414"/>
                </a:lnTo>
                <a:lnTo>
                  <a:pt x="1120" y="411"/>
                </a:lnTo>
                <a:lnTo>
                  <a:pt x="1115" y="410"/>
                </a:lnTo>
                <a:lnTo>
                  <a:pt x="1109" y="411"/>
                </a:lnTo>
                <a:lnTo>
                  <a:pt x="1096" y="410"/>
                </a:lnTo>
                <a:lnTo>
                  <a:pt x="1084" y="408"/>
                </a:lnTo>
                <a:lnTo>
                  <a:pt x="1070" y="406"/>
                </a:lnTo>
                <a:lnTo>
                  <a:pt x="1058" y="405"/>
                </a:lnTo>
                <a:lnTo>
                  <a:pt x="1045" y="405"/>
                </a:lnTo>
                <a:lnTo>
                  <a:pt x="1033" y="406"/>
                </a:lnTo>
                <a:lnTo>
                  <a:pt x="1019" y="406"/>
                </a:lnTo>
                <a:lnTo>
                  <a:pt x="1006" y="405"/>
                </a:lnTo>
                <a:lnTo>
                  <a:pt x="993" y="402"/>
                </a:lnTo>
                <a:lnTo>
                  <a:pt x="980" y="399"/>
                </a:lnTo>
                <a:lnTo>
                  <a:pt x="975" y="399"/>
                </a:lnTo>
                <a:lnTo>
                  <a:pt x="970" y="398"/>
                </a:lnTo>
                <a:lnTo>
                  <a:pt x="968" y="394"/>
                </a:lnTo>
                <a:lnTo>
                  <a:pt x="964" y="391"/>
                </a:lnTo>
                <a:lnTo>
                  <a:pt x="959" y="391"/>
                </a:lnTo>
                <a:lnTo>
                  <a:pt x="952" y="392"/>
                </a:lnTo>
                <a:lnTo>
                  <a:pt x="947" y="392"/>
                </a:lnTo>
                <a:lnTo>
                  <a:pt x="943" y="391"/>
                </a:lnTo>
                <a:lnTo>
                  <a:pt x="939" y="389"/>
                </a:lnTo>
                <a:lnTo>
                  <a:pt x="937" y="385"/>
                </a:lnTo>
                <a:lnTo>
                  <a:pt x="934" y="382"/>
                </a:lnTo>
                <a:lnTo>
                  <a:pt x="930" y="379"/>
                </a:lnTo>
                <a:lnTo>
                  <a:pt x="926" y="376"/>
                </a:lnTo>
                <a:lnTo>
                  <a:pt x="922" y="375"/>
                </a:lnTo>
                <a:lnTo>
                  <a:pt x="912" y="373"/>
                </a:lnTo>
                <a:lnTo>
                  <a:pt x="903" y="372"/>
                </a:lnTo>
                <a:lnTo>
                  <a:pt x="893" y="368"/>
                </a:lnTo>
                <a:lnTo>
                  <a:pt x="882" y="364"/>
                </a:lnTo>
                <a:lnTo>
                  <a:pt x="874" y="358"/>
                </a:lnTo>
                <a:lnTo>
                  <a:pt x="865" y="355"/>
                </a:lnTo>
                <a:lnTo>
                  <a:pt x="860" y="356"/>
                </a:lnTo>
                <a:lnTo>
                  <a:pt x="856" y="358"/>
                </a:lnTo>
                <a:lnTo>
                  <a:pt x="849" y="358"/>
                </a:lnTo>
                <a:lnTo>
                  <a:pt x="844" y="358"/>
                </a:lnTo>
                <a:lnTo>
                  <a:pt x="830" y="357"/>
                </a:lnTo>
                <a:lnTo>
                  <a:pt x="815" y="357"/>
                </a:lnTo>
                <a:lnTo>
                  <a:pt x="802" y="357"/>
                </a:lnTo>
                <a:lnTo>
                  <a:pt x="787" y="357"/>
                </a:lnTo>
                <a:lnTo>
                  <a:pt x="773" y="357"/>
                </a:lnTo>
                <a:lnTo>
                  <a:pt x="758" y="357"/>
                </a:lnTo>
                <a:lnTo>
                  <a:pt x="754" y="357"/>
                </a:lnTo>
                <a:lnTo>
                  <a:pt x="750" y="356"/>
                </a:lnTo>
                <a:lnTo>
                  <a:pt x="747" y="352"/>
                </a:lnTo>
                <a:lnTo>
                  <a:pt x="744" y="349"/>
                </a:lnTo>
                <a:lnTo>
                  <a:pt x="741" y="346"/>
                </a:lnTo>
                <a:lnTo>
                  <a:pt x="738" y="342"/>
                </a:lnTo>
                <a:lnTo>
                  <a:pt x="737" y="341"/>
                </a:lnTo>
                <a:lnTo>
                  <a:pt x="734" y="340"/>
                </a:lnTo>
                <a:lnTo>
                  <a:pt x="732" y="341"/>
                </a:lnTo>
                <a:lnTo>
                  <a:pt x="730" y="341"/>
                </a:lnTo>
                <a:lnTo>
                  <a:pt x="726" y="344"/>
                </a:lnTo>
                <a:lnTo>
                  <a:pt x="722" y="348"/>
                </a:lnTo>
                <a:lnTo>
                  <a:pt x="717" y="347"/>
                </a:lnTo>
                <a:lnTo>
                  <a:pt x="713" y="344"/>
                </a:lnTo>
                <a:lnTo>
                  <a:pt x="713" y="340"/>
                </a:lnTo>
                <a:lnTo>
                  <a:pt x="713" y="335"/>
                </a:lnTo>
                <a:lnTo>
                  <a:pt x="708" y="332"/>
                </a:lnTo>
                <a:lnTo>
                  <a:pt x="703" y="330"/>
                </a:lnTo>
                <a:lnTo>
                  <a:pt x="689" y="327"/>
                </a:lnTo>
                <a:lnTo>
                  <a:pt x="676" y="325"/>
                </a:lnTo>
                <a:lnTo>
                  <a:pt x="664" y="322"/>
                </a:lnTo>
                <a:lnTo>
                  <a:pt x="650" y="319"/>
                </a:lnTo>
                <a:lnTo>
                  <a:pt x="655" y="317"/>
                </a:lnTo>
                <a:lnTo>
                  <a:pt x="659" y="316"/>
                </a:lnTo>
                <a:lnTo>
                  <a:pt x="664" y="317"/>
                </a:lnTo>
                <a:lnTo>
                  <a:pt x="668" y="317"/>
                </a:lnTo>
                <a:lnTo>
                  <a:pt x="673" y="318"/>
                </a:lnTo>
                <a:lnTo>
                  <a:pt x="677" y="319"/>
                </a:lnTo>
                <a:lnTo>
                  <a:pt x="681" y="318"/>
                </a:lnTo>
                <a:lnTo>
                  <a:pt x="685" y="316"/>
                </a:lnTo>
                <a:lnTo>
                  <a:pt x="680" y="315"/>
                </a:lnTo>
                <a:lnTo>
                  <a:pt x="671" y="313"/>
                </a:lnTo>
                <a:lnTo>
                  <a:pt x="667" y="310"/>
                </a:lnTo>
                <a:lnTo>
                  <a:pt x="665" y="309"/>
                </a:lnTo>
                <a:lnTo>
                  <a:pt x="664" y="307"/>
                </a:lnTo>
                <a:lnTo>
                  <a:pt x="665" y="306"/>
                </a:lnTo>
                <a:lnTo>
                  <a:pt x="667" y="305"/>
                </a:lnTo>
                <a:lnTo>
                  <a:pt x="671" y="303"/>
                </a:lnTo>
                <a:lnTo>
                  <a:pt x="674" y="303"/>
                </a:lnTo>
                <a:lnTo>
                  <a:pt x="676" y="305"/>
                </a:lnTo>
                <a:lnTo>
                  <a:pt x="683" y="306"/>
                </a:lnTo>
                <a:lnTo>
                  <a:pt x="688" y="308"/>
                </a:lnTo>
                <a:lnTo>
                  <a:pt x="693" y="310"/>
                </a:lnTo>
                <a:lnTo>
                  <a:pt x="698" y="313"/>
                </a:lnTo>
                <a:lnTo>
                  <a:pt x="704" y="313"/>
                </a:lnTo>
                <a:lnTo>
                  <a:pt x="708" y="313"/>
                </a:lnTo>
                <a:lnTo>
                  <a:pt x="711" y="315"/>
                </a:lnTo>
                <a:lnTo>
                  <a:pt x="714" y="317"/>
                </a:lnTo>
                <a:lnTo>
                  <a:pt x="721" y="318"/>
                </a:lnTo>
                <a:lnTo>
                  <a:pt x="729" y="319"/>
                </a:lnTo>
                <a:lnTo>
                  <a:pt x="745" y="322"/>
                </a:lnTo>
                <a:lnTo>
                  <a:pt x="762" y="324"/>
                </a:lnTo>
                <a:lnTo>
                  <a:pt x="771" y="327"/>
                </a:lnTo>
                <a:lnTo>
                  <a:pt x="779" y="330"/>
                </a:lnTo>
                <a:lnTo>
                  <a:pt x="788" y="332"/>
                </a:lnTo>
                <a:lnTo>
                  <a:pt x="797" y="333"/>
                </a:lnTo>
                <a:lnTo>
                  <a:pt x="813" y="335"/>
                </a:lnTo>
                <a:lnTo>
                  <a:pt x="830" y="334"/>
                </a:lnTo>
                <a:lnTo>
                  <a:pt x="837" y="333"/>
                </a:lnTo>
                <a:lnTo>
                  <a:pt x="843" y="333"/>
                </a:lnTo>
                <a:lnTo>
                  <a:pt x="847" y="338"/>
                </a:lnTo>
                <a:lnTo>
                  <a:pt x="853" y="341"/>
                </a:lnTo>
                <a:lnTo>
                  <a:pt x="861" y="343"/>
                </a:lnTo>
                <a:lnTo>
                  <a:pt x="868" y="346"/>
                </a:lnTo>
                <a:lnTo>
                  <a:pt x="876" y="346"/>
                </a:lnTo>
                <a:lnTo>
                  <a:pt x="882" y="347"/>
                </a:lnTo>
                <a:lnTo>
                  <a:pt x="899" y="349"/>
                </a:lnTo>
                <a:lnTo>
                  <a:pt x="917" y="351"/>
                </a:lnTo>
                <a:lnTo>
                  <a:pt x="923" y="352"/>
                </a:lnTo>
                <a:lnTo>
                  <a:pt x="930" y="352"/>
                </a:lnTo>
                <a:lnTo>
                  <a:pt x="937" y="355"/>
                </a:lnTo>
                <a:lnTo>
                  <a:pt x="944" y="356"/>
                </a:lnTo>
                <a:lnTo>
                  <a:pt x="961" y="358"/>
                </a:lnTo>
                <a:lnTo>
                  <a:pt x="978" y="358"/>
                </a:lnTo>
                <a:lnTo>
                  <a:pt x="985" y="356"/>
                </a:lnTo>
                <a:lnTo>
                  <a:pt x="992" y="354"/>
                </a:lnTo>
                <a:lnTo>
                  <a:pt x="995" y="352"/>
                </a:lnTo>
                <a:lnTo>
                  <a:pt x="998" y="351"/>
                </a:lnTo>
                <a:lnTo>
                  <a:pt x="1002" y="352"/>
                </a:lnTo>
                <a:lnTo>
                  <a:pt x="1006" y="352"/>
                </a:lnTo>
                <a:lnTo>
                  <a:pt x="1012" y="357"/>
                </a:lnTo>
                <a:lnTo>
                  <a:pt x="1019" y="360"/>
                </a:lnTo>
                <a:lnTo>
                  <a:pt x="1026" y="364"/>
                </a:lnTo>
                <a:lnTo>
                  <a:pt x="1033" y="366"/>
                </a:lnTo>
                <a:lnTo>
                  <a:pt x="1039" y="366"/>
                </a:lnTo>
                <a:lnTo>
                  <a:pt x="1045" y="365"/>
                </a:lnTo>
                <a:lnTo>
                  <a:pt x="1050" y="364"/>
                </a:lnTo>
                <a:lnTo>
                  <a:pt x="1053" y="363"/>
                </a:lnTo>
                <a:lnTo>
                  <a:pt x="1056" y="364"/>
                </a:lnTo>
                <a:lnTo>
                  <a:pt x="1060" y="364"/>
                </a:lnTo>
                <a:lnTo>
                  <a:pt x="1066" y="361"/>
                </a:lnTo>
                <a:lnTo>
                  <a:pt x="1070" y="359"/>
                </a:lnTo>
                <a:lnTo>
                  <a:pt x="1072" y="358"/>
                </a:lnTo>
                <a:lnTo>
                  <a:pt x="1075" y="357"/>
                </a:lnTo>
                <a:lnTo>
                  <a:pt x="1078" y="358"/>
                </a:lnTo>
                <a:lnTo>
                  <a:pt x="1082" y="360"/>
                </a:lnTo>
                <a:lnTo>
                  <a:pt x="1084" y="364"/>
                </a:lnTo>
                <a:lnTo>
                  <a:pt x="1087" y="367"/>
                </a:lnTo>
                <a:lnTo>
                  <a:pt x="1093" y="368"/>
                </a:lnTo>
                <a:lnTo>
                  <a:pt x="1099" y="368"/>
                </a:lnTo>
                <a:lnTo>
                  <a:pt x="1104" y="368"/>
                </a:lnTo>
                <a:lnTo>
                  <a:pt x="1110" y="371"/>
                </a:lnTo>
                <a:lnTo>
                  <a:pt x="1113" y="373"/>
                </a:lnTo>
                <a:lnTo>
                  <a:pt x="1118" y="377"/>
                </a:lnTo>
                <a:lnTo>
                  <a:pt x="1120" y="379"/>
                </a:lnTo>
                <a:lnTo>
                  <a:pt x="1123" y="380"/>
                </a:lnTo>
                <a:lnTo>
                  <a:pt x="1125" y="381"/>
                </a:lnTo>
                <a:lnTo>
                  <a:pt x="1127" y="381"/>
                </a:lnTo>
                <a:lnTo>
                  <a:pt x="1137" y="382"/>
                </a:lnTo>
                <a:lnTo>
                  <a:pt x="1146" y="382"/>
                </a:lnTo>
                <a:lnTo>
                  <a:pt x="1156" y="383"/>
                </a:lnTo>
                <a:lnTo>
                  <a:pt x="1166" y="384"/>
                </a:lnTo>
                <a:lnTo>
                  <a:pt x="1175" y="385"/>
                </a:lnTo>
                <a:lnTo>
                  <a:pt x="1184" y="386"/>
                </a:lnTo>
                <a:lnTo>
                  <a:pt x="1220" y="390"/>
                </a:lnTo>
                <a:lnTo>
                  <a:pt x="1257" y="393"/>
                </a:lnTo>
                <a:lnTo>
                  <a:pt x="1294" y="397"/>
                </a:lnTo>
                <a:lnTo>
                  <a:pt x="1331" y="398"/>
                </a:lnTo>
                <a:lnTo>
                  <a:pt x="1339" y="399"/>
                </a:lnTo>
                <a:lnTo>
                  <a:pt x="1348" y="399"/>
                </a:lnTo>
                <a:lnTo>
                  <a:pt x="1357" y="399"/>
                </a:lnTo>
                <a:lnTo>
                  <a:pt x="1366" y="399"/>
                </a:lnTo>
                <a:lnTo>
                  <a:pt x="1374" y="399"/>
                </a:lnTo>
                <a:lnTo>
                  <a:pt x="1383" y="398"/>
                </a:lnTo>
                <a:lnTo>
                  <a:pt x="1392" y="398"/>
                </a:lnTo>
                <a:lnTo>
                  <a:pt x="1401" y="399"/>
                </a:lnTo>
                <a:lnTo>
                  <a:pt x="1417" y="402"/>
                </a:lnTo>
                <a:lnTo>
                  <a:pt x="1434" y="404"/>
                </a:lnTo>
                <a:lnTo>
                  <a:pt x="1443" y="404"/>
                </a:lnTo>
                <a:lnTo>
                  <a:pt x="1453" y="405"/>
                </a:lnTo>
                <a:lnTo>
                  <a:pt x="1463" y="405"/>
                </a:lnTo>
                <a:lnTo>
                  <a:pt x="1472" y="405"/>
                </a:lnTo>
                <a:lnTo>
                  <a:pt x="1489" y="404"/>
                </a:lnTo>
                <a:lnTo>
                  <a:pt x="1507" y="404"/>
                </a:lnTo>
                <a:lnTo>
                  <a:pt x="1524" y="404"/>
                </a:lnTo>
                <a:lnTo>
                  <a:pt x="1541" y="401"/>
                </a:lnTo>
                <a:lnTo>
                  <a:pt x="1547" y="400"/>
                </a:lnTo>
                <a:lnTo>
                  <a:pt x="1553" y="396"/>
                </a:lnTo>
                <a:lnTo>
                  <a:pt x="1560" y="394"/>
                </a:lnTo>
                <a:lnTo>
                  <a:pt x="1566" y="393"/>
                </a:lnTo>
                <a:lnTo>
                  <a:pt x="1575" y="392"/>
                </a:lnTo>
                <a:lnTo>
                  <a:pt x="1585" y="391"/>
                </a:lnTo>
                <a:lnTo>
                  <a:pt x="1594" y="390"/>
                </a:lnTo>
                <a:lnTo>
                  <a:pt x="1602" y="390"/>
                </a:lnTo>
                <a:lnTo>
                  <a:pt x="1612" y="389"/>
                </a:lnTo>
                <a:lnTo>
                  <a:pt x="1622" y="389"/>
                </a:lnTo>
                <a:lnTo>
                  <a:pt x="1632" y="388"/>
                </a:lnTo>
                <a:lnTo>
                  <a:pt x="1641" y="386"/>
                </a:lnTo>
                <a:lnTo>
                  <a:pt x="1652" y="384"/>
                </a:lnTo>
                <a:lnTo>
                  <a:pt x="1661" y="382"/>
                </a:lnTo>
                <a:lnTo>
                  <a:pt x="1671" y="381"/>
                </a:lnTo>
                <a:lnTo>
                  <a:pt x="1681" y="379"/>
                </a:lnTo>
                <a:lnTo>
                  <a:pt x="1701" y="375"/>
                </a:lnTo>
                <a:lnTo>
                  <a:pt x="1721" y="373"/>
                </a:lnTo>
                <a:lnTo>
                  <a:pt x="1741" y="371"/>
                </a:lnTo>
                <a:lnTo>
                  <a:pt x="1761" y="366"/>
                </a:lnTo>
                <a:lnTo>
                  <a:pt x="1780" y="361"/>
                </a:lnTo>
                <a:lnTo>
                  <a:pt x="1801" y="357"/>
                </a:lnTo>
                <a:lnTo>
                  <a:pt x="1820" y="354"/>
                </a:lnTo>
                <a:lnTo>
                  <a:pt x="1841" y="349"/>
                </a:lnTo>
                <a:lnTo>
                  <a:pt x="1850" y="347"/>
                </a:lnTo>
                <a:lnTo>
                  <a:pt x="1860" y="344"/>
                </a:lnTo>
                <a:lnTo>
                  <a:pt x="1870" y="341"/>
                </a:lnTo>
                <a:lnTo>
                  <a:pt x="1879" y="339"/>
                </a:lnTo>
                <a:lnTo>
                  <a:pt x="1882" y="338"/>
                </a:lnTo>
                <a:lnTo>
                  <a:pt x="1885" y="336"/>
                </a:lnTo>
                <a:lnTo>
                  <a:pt x="1890" y="335"/>
                </a:lnTo>
                <a:lnTo>
                  <a:pt x="1894" y="334"/>
                </a:lnTo>
                <a:lnTo>
                  <a:pt x="1896" y="333"/>
                </a:lnTo>
                <a:lnTo>
                  <a:pt x="1900" y="332"/>
                </a:lnTo>
                <a:lnTo>
                  <a:pt x="1902" y="332"/>
                </a:lnTo>
                <a:lnTo>
                  <a:pt x="1906" y="333"/>
                </a:lnTo>
                <a:lnTo>
                  <a:pt x="1901" y="338"/>
                </a:lnTo>
                <a:lnTo>
                  <a:pt x="1895" y="341"/>
                </a:lnTo>
                <a:lnTo>
                  <a:pt x="1890" y="341"/>
                </a:lnTo>
                <a:lnTo>
                  <a:pt x="1884" y="343"/>
                </a:lnTo>
                <a:lnTo>
                  <a:pt x="1880" y="347"/>
                </a:lnTo>
                <a:lnTo>
                  <a:pt x="1878" y="352"/>
                </a:lnTo>
                <a:lnTo>
                  <a:pt x="1876" y="355"/>
                </a:lnTo>
                <a:lnTo>
                  <a:pt x="1871" y="356"/>
                </a:lnTo>
                <a:lnTo>
                  <a:pt x="1867" y="357"/>
                </a:lnTo>
                <a:lnTo>
                  <a:pt x="1863" y="357"/>
                </a:lnTo>
                <a:lnTo>
                  <a:pt x="1854" y="358"/>
                </a:lnTo>
                <a:lnTo>
                  <a:pt x="1844" y="358"/>
                </a:lnTo>
                <a:lnTo>
                  <a:pt x="1835" y="359"/>
                </a:lnTo>
                <a:lnTo>
                  <a:pt x="1826" y="361"/>
                </a:lnTo>
                <a:lnTo>
                  <a:pt x="1817" y="365"/>
                </a:lnTo>
                <a:lnTo>
                  <a:pt x="1808" y="368"/>
                </a:lnTo>
                <a:lnTo>
                  <a:pt x="1800" y="372"/>
                </a:lnTo>
                <a:lnTo>
                  <a:pt x="1791" y="376"/>
                </a:lnTo>
                <a:lnTo>
                  <a:pt x="1783" y="377"/>
                </a:lnTo>
                <a:lnTo>
                  <a:pt x="1774" y="377"/>
                </a:lnTo>
                <a:lnTo>
                  <a:pt x="1764" y="379"/>
                </a:lnTo>
                <a:lnTo>
                  <a:pt x="1756" y="382"/>
                </a:lnTo>
                <a:lnTo>
                  <a:pt x="1741" y="389"/>
                </a:lnTo>
                <a:lnTo>
                  <a:pt x="1723" y="396"/>
                </a:lnTo>
                <a:lnTo>
                  <a:pt x="1713" y="397"/>
                </a:lnTo>
                <a:lnTo>
                  <a:pt x="1704" y="399"/>
                </a:lnTo>
                <a:lnTo>
                  <a:pt x="1698" y="401"/>
                </a:lnTo>
                <a:lnTo>
                  <a:pt x="1694" y="402"/>
                </a:lnTo>
                <a:lnTo>
                  <a:pt x="1692" y="401"/>
                </a:lnTo>
                <a:lnTo>
                  <a:pt x="1690" y="399"/>
                </a:lnTo>
                <a:lnTo>
                  <a:pt x="1687" y="398"/>
                </a:lnTo>
                <a:lnTo>
                  <a:pt x="1686" y="398"/>
                </a:lnTo>
                <a:lnTo>
                  <a:pt x="1684" y="400"/>
                </a:lnTo>
                <a:lnTo>
                  <a:pt x="1682" y="401"/>
                </a:lnTo>
                <a:lnTo>
                  <a:pt x="1677" y="406"/>
                </a:lnTo>
                <a:lnTo>
                  <a:pt x="1671" y="409"/>
                </a:lnTo>
                <a:lnTo>
                  <a:pt x="1672" y="411"/>
                </a:lnTo>
                <a:lnTo>
                  <a:pt x="1674" y="413"/>
                </a:lnTo>
                <a:lnTo>
                  <a:pt x="1677" y="413"/>
                </a:lnTo>
                <a:lnTo>
                  <a:pt x="1679" y="413"/>
                </a:lnTo>
                <a:lnTo>
                  <a:pt x="1684" y="413"/>
                </a:lnTo>
                <a:lnTo>
                  <a:pt x="1688" y="414"/>
                </a:lnTo>
                <a:lnTo>
                  <a:pt x="1682" y="416"/>
                </a:lnTo>
                <a:lnTo>
                  <a:pt x="1677" y="417"/>
                </a:lnTo>
                <a:lnTo>
                  <a:pt x="1671" y="417"/>
                </a:lnTo>
                <a:lnTo>
                  <a:pt x="1667" y="416"/>
                </a:lnTo>
                <a:lnTo>
                  <a:pt x="1660" y="414"/>
                </a:lnTo>
                <a:lnTo>
                  <a:pt x="1654" y="411"/>
                </a:lnTo>
                <a:lnTo>
                  <a:pt x="1648" y="411"/>
                </a:lnTo>
                <a:lnTo>
                  <a:pt x="1641" y="413"/>
                </a:lnTo>
                <a:lnTo>
                  <a:pt x="1637" y="413"/>
                </a:lnTo>
                <a:lnTo>
                  <a:pt x="1632" y="413"/>
                </a:lnTo>
                <a:lnTo>
                  <a:pt x="1630" y="413"/>
                </a:lnTo>
                <a:lnTo>
                  <a:pt x="1628" y="414"/>
                </a:lnTo>
                <a:lnTo>
                  <a:pt x="1626" y="415"/>
                </a:lnTo>
                <a:lnTo>
                  <a:pt x="1624" y="417"/>
                </a:lnTo>
                <a:lnTo>
                  <a:pt x="1624" y="419"/>
                </a:lnTo>
                <a:lnTo>
                  <a:pt x="1626" y="421"/>
                </a:lnTo>
                <a:lnTo>
                  <a:pt x="1628" y="422"/>
                </a:lnTo>
                <a:lnTo>
                  <a:pt x="1630" y="422"/>
                </a:lnTo>
                <a:lnTo>
                  <a:pt x="1636" y="422"/>
                </a:lnTo>
                <a:lnTo>
                  <a:pt x="1640" y="422"/>
                </a:lnTo>
                <a:lnTo>
                  <a:pt x="1655" y="422"/>
                </a:lnTo>
                <a:lnTo>
                  <a:pt x="1669" y="422"/>
                </a:lnTo>
                <a:lnTo>
                  <a:pt x="1682" y="422"/>
                </a:lnTo>
                <a:lnTo>
                  <a:pt x="1696" y="419"/>
                </a:lnTo>
                <a:lnTo>
                  <a:pt x="1709" y="416"/>
                </a:lnTo>
                <a:lnTo>
                  <a:pt x="1721" y="414"/>
                </a:lnTo>
                <a:lnTo>
                  <a:pt x="1726" y="414"/>
                </a:lnTo>
                <a:lnTo>
                  <a:pt x="1731" y="413"/>
                </a:lnTo>
                <a:lnTo>
                  <a:pt x="1736" y="410"/>
                </a:lnTo>
                <a:lnTo>
                  <a:pt x="1742" y="409"/>
                </a:lnTo>
                <a:lnTo>
                  <a:pt x="1754" y="408"/>
                </a:lnTo>
                <a:lnTo>
                  <a:pt x="1767" y="406"/>
                </a:lnTo>
                <a:lnTo>
                  <a:pt x="1777" y="402"/>
                </a:lnTo>
                <a:lnTo>
                  <a:pt x="1786" y="399"/>
                </a:lnTo>
                <a:lnTo>
                  <a:pt x="1789" y="399"/>
                </a:lnTo>
                <a:lnTo>
                  <a:pt x="1791" y="398"/>
                </a:lnTo>
                <a:lnTo>
                  <a:pt x="1792" y="396"/>
                </a:lnTo>
                <a:lnTo>
                  <a:pt x="1791" y="393"/>
                </a:lnTo>
                <a:lnTo>
                  <a:pt x="1791" y="391"/>
                </a:lnTo>
                <a:lnTo>
                  <a:pt x="1791" y="389"/>
                </a:lnTo>
                <a:lnTo>
                  <a:pt x="1792" y="388"/>
                </a:lnTo>
                <a:lnTo>
                  <a:pt x="1795" y="388"/>
                </a:lnTo>
                <a:lnTo>
                  <a:pt x="1802" y="386"/>
                </a:lnTo>
                <a:lnTo>
                  <a:pt x="1809" y="385"/>
                </a:lnTo>
                <a:lnTo>
                  <a:pt x="1821" y="382"/>
                </a:lnTo>
                <a:lnTo>
                  <a:pt x="1834" y="377"/>
                </a:lnTo>
                <a:lnTo>
                  <a:pt x="1846" y="374"/>
                </a:lnTo>
                <a:lnTo>
                  <a:pt x="1859" y="369"/>
                </a:lnTo>
                <a:lnTo>
                  <a:pt x="1873" y="365"/>
                </a:lnTo>
                <a:lnTo>
                  <a:pt x="1886" y="360"/>
                </a:lnTo>
                <a:lnTo>
                  <a:pt x="1900" y="357"/>
                </a:lnTo>
                <a:lnTo>
                  <a:pt x="1914" y="354"/>
                </a:lnTo>
                <a:lnTo>
                  <a:pt x="1929" y="349"/>
                </a:lnTo>
                <a:lnTo>
                  <a:pt x="1944" y="343"/>
                </a:lnTo>
                <a:lnTo>
                  <a:pt x="1959" y="338"/>
                </a:lnTo>
                <a:lnTo>
                  <a:pt x="1975" y="332"/>
                </a:lnTo>
                <a:lnTo>
                  <a:pt x="1980" y="331"/>
                </a:lnTo>
                <a:lnTo>
                  <a:pt x="1983" y="328"/>
                </a:lnTo>
                <a:lnTo>
                  <a:pt x="1983" y="326"/>
                </a:lnTo>
                <a:lnTo>
                  <a:pt x="1982" y="324"/>
                </a:lnTo>
                <a:lnTo>
                  <a:pt x="1980" y="324"/>
                </a:lnTo>
                <a:lnTo>
                  <a:pt x="1977" y="323"/>
                </a:lnTo>
                <a:lnTo>
                  <a:pt x="1974" y="326"/>
                </a:lnTo>
                <a:lnTo>
                  <a:pt x="1969" y="328"/>
                </a:lnTo>
                <a:lnTo>
                  <a:pt x="1962" y="328"/>
                </a:lnTo>
                <a:lnTo>
                  <a:pt x="1956" y="328"/>
                </a:lnTo>
                <a:lnTo>
                  <a:pt x="1959" y="324"/>
                </a:lnTo>
                <a:lnTo>
                  <a:pt x="1962" y="319"/>
                </a:lnTo>
                <a:lnTo>
                  <a:pt x="1964" y="316"/>
                </a:lnTo>
                <a:lnTo>
                  <a:pt x="1966" y="313"/>
                </a:lnTo>
                <a:lnTo>
                  <a:pt x="1969" y="309"/>
                </a:lnTo>
                <a:lnTo>
                  <a:pt x="1974" y="308"/>
                </a:lnTo>
                <a:lnTo>
                  <a:pt x="1975" y="309"/>
                </a:lnTo>
                <a:lnTo>
                  <a:pt x="1976" y="309"/>
                </a:lnTo>
                <a:lnTo>
                  <a:pt x="1977" y="309"/>
                </a:lnTo>
                <a:lnTo>
                  <a:pt x="1978" y="309"/>
                </a:lnTo>
                <a:lnTo>
                  <a:pt x="1978" y="310"/>
                </a:lnTo>
                <a:lnTo>
                  <a:pt x="1978" y="311"/>
                </a:lnTo>
                <a:lnTo>
                  <a:pt x="1977" y="313"/>
                </a:lnTo>
                <a:lnTo>
                  <a:pt x="1977" y="315"/>
                </a:lnTo>
                <a:lnTo>
                  <a:pt x="1977" y="316"/>
                </a:lnTo>
                <a:lnTo>
                  <a:pt x="1978" y="317"/>
                </a:lnTo>
                <a:lnTo>
                  <a:pt x="1982" y="317"/>
                </a:lnTo>
                <a:lnTo>
                  <a:pt x="1984" y="316"/>
                </a:lnTo>
                <a:lnTo>
                  <a:pt x="1991" y="314"/>
                </a:lnTo>
                <a:lnTo>
                  <a:pt x="1995" y="309"/>
                </a:lnTo>
                <a:lnTo>
                  <a:pt x="2001" y="303"/>
                </a:lnTo>
                <a:lnTo>
                  <a:pt x="2007" y="300"/>
                </a:lnTo>
                <a:lnTo>
                  <a:pt x="2013" y="297"/>
                </a:lnTo>
                <a:lnTo>
                  <a:pt x="2019" y="294"/>
                </a:lnTo>
                <a:lnTo>
                  <a:pt x="2026" y="293"/>
                </a:lnTo>
                <a:lnTo>
                  <a:pt x="2033" y="294"/>
                </a:lnTo>
                <a:lnTo>
                  <a:pt x="2041" y="298"/>
                </a:lnTo>
                <a:lnTo>
                  <a:pt x="2047" y="302"/>
                </a:lnTo>
                <a:lnTo>
                  <a:pt x="2050" y="303"/>
                </a:lnTo>
                <a:lnTo>
                  <a:pt x="2053" y="305"/>
                </a:lnTo>
                <a:lnTo>
                  <a:pt x="2057" y="305"/>
                </a:lnTo>
                <a:lnTo>
                  <a:pt x="2061" y="303"/>
                </a:lnTo>
                <a:lnTo>
                  <a:pt x="2064" y="301"/>
                </a:lnTo>
                <a:lnTo>
                  <a:pt x="2068" y="300"/>
                </a:lnTo>
                <a:lnTo>
                  <a:pt x="2071" y="298"/>
                </a:lnTo>
                <a:lnTo>
                  <a:pt x="2073" y="296"/>
                </a:lnTo>
                <a:lnTo>
                  <a:pt x="2072" y="290"/>
                </a:lnTo>
                <a:lnTo>
                  <a:pt x="2072" y="284"/>
                </a:lnTo>
                <a:lnTo>
                  <a:pt x="2077" y="282"/>
                </a:lnTo>
                <a:lnTo>
                  <a:pt x="2083" y="280"/>
                </a:lnTo>
                <a:lnTo>
                  <a:pt x="2090" y="277"/>
                </a:lnTo>
                <a:lnTo>
                  <a:pt x="2096" y="274"/>
                </a:lnTo>
                <a:lnTo>
                  <a:pt x="2100" y="269"/>
                </a:lnTo>
                <a:lnTo>
                  <a:pt x="2105" y="265"/>
                </a:lnTo>
                <a:lnTo>
                  <a:pt x="2108" y="265"/>
                </a:lnTo>
                <a:lnTo>
                  <a:pt x="2113" y="265"/>
                </a:lnTo>
                <a:lnTo>
                  <a:pt x="2114" y="265"/>
                </a:lnTo>
                <a:lnTo>
                  <a:pt x="2116" y="264"/>
                </a:lnTo>
                <a:lnTo>
                  <a:pt x="2116" y="263"/>
                </a:lnTo>
                <a:lnTo>
                  <a:pt x="2116" y="261"/>
                </a:lnTo>
                <a:lnTo>
                  <a:pt x="2109" y="258"/>
                </a:lnTo>
                <a:lnTo>
                  <a:pt x="2104" y="258"/>
                </a:lnTo>
                <a:lnTo>
                  <a:pt x="2113" y="251"/>
                </a:lnTo>
                <a:lnTo>
                  <a:pt x="2122" y="248"/>
                </a:lnTo>
                <a:lnTo>
                  <a:pt x="2133" y="244"/>
                </a:lnTo>
                <a:lnTo>
                  <a:pt x="2143" y="242"/>
                </a:lnTo>
                <a:lnTo>
                  <a:pt x="2154" y="236"/>
                </a:lnTo>
                <a:lnTo>
                  <a:pt x="2164" y="232"/>
                </a:lnTo>
                <a:lnTo>
                  <a:pt x="2175" y="228"/>
                </a:lnTo>
                <a:lnTo>
                  <a:pt x="2186" y="224"/>
                </a:lnTo>
                <a:lnTo>
                  <a:pt x="2197" y="219"/>
                </a:lnTo>
                <a:lnTo>
                  <a:pt x="2208" y="215"/>
                </a:lnTo>
                <a:lnTo>
                  <a:pt x="2211" y="213"/>
                </a:lnTo>
                <a:lnTo>
                  <a:pt x="2212" y="210"/>
                </a:lnTo>
                <a:lnTo>
                  <a:pt x="2212" y="209"/>
                </a:lnTo>
                <a:lnTo>
                  <a:pt x="2212" y="208"/>
                </a:lnTo>
                <a:lnTo>
                  <a:pt x="2211" y="208"/>
                </a:lnTo>
                <a:lnTo>
                  <a:pt x="2208" y="207"/>
                </a:lnTo>
                <a:lnTo>
                  <a:pt x="2198" y="210"/>
                </a:lnTo>
                <a:lnTo>
                  <a:pt x="2189" y="215"/>
                </a:lnTo>
                <a:lnTo>
                  <a:pt x="2178" y="219"/>
                </a:lnTo>
                <a:lnTo>
                  <a:pt x="2166" y="223"/>
                </a:lnTo>
                <a:lnTo>
                  <a:pt x="2156" y="226"/>
                </a:lnTo>
                <a:lnTo>
                  <a:pt x="2145" y="228"/>
                </a:lnTo>
                <a:lnTo>
                  <a:pt x="2134" y="233"/>
                </a:lnTo>
                <a:lnTo>
                  <a:pt x="2124" y="238"/>
                </a:lnTo>
                <a:lnTo>
                  <a:pt x="2114" y="240"/>
                </a:lnTo>
                <a:lnTo>
                  <a:pt x="2104" y="242"/>
                </a:lnTo>
                <a:lnTo>
                  <a:pt x="2093" y="243"/>
                </a:lnTo>
                <a:lnTo>
                  <a:pt x="2084" y="247"/>
                </a:lnTo>
                <a:lnTo>
                  <a:pt x="2074" y="251"/>
                </a:lnTo>
                <a:lnTo>
                  <a:pt x="2064" y="256"/>
                </a:lnTo>
                <a:lnTo>
                  <a:pt x="2059" y="258"/>
                </a:lnTo>
                <a:lnTo>
                  <a:pt x="2053" y="259"/>
                </a:lnTo>
                <a:lnTo>
                  <a:pt x="2049" y="260"/>
                </a:lnTo>
                <a:lnTo>
                  <a:pt x="2043" y="260"/>
                </a:lnTo>
                <a:lnTo>
                  <a:pt x="2033" y="259"/>
                </a:lnTo>
                <a:lnTo>
                  <a:pt x="2023" y="260"/>
                </a:lnTo>
                <a:lnTo>
                  <a:pt x="2013" y="264"/>
                </a:lnTo>
                <a:lnTo>
                  <a:pt x="2003" y="268"/>
                </a:lnTo>
                <a:lnTo>
                  <a:pt x="2006" y="268"/>
                </a:lnTo>
                <a:lnTo>
                  <a:pt x="2009" y="269"/>
                </a:lnTo>
                <a:lnTo>
                  <a:pt x="2005" y="268"/>
                </a:lnTo>
                <a:lnTo>
                  <a:pt x="2001" y="268"/>
                </a:lnTo>
                <a:lnTo>
                  <a:pt x="1995" y="269"/>
                </a:lnTo>
                <a:lnTo>
                  <a:pt x="1990" y="271"/>
                </a:lnTo>
                <a:lnTo>
                  <a:pt x="1981" y="275"/>
                </a:lnTo>
                <a:lnTo>
                  <a:pt x="1970" y="280"/>
                </a:lnTo>
                <a:lnTo>
                  <a:pt x="1962" y="281"/>
                </a:lnTo>
                <a:lnTo>
                  <a:pt x="1954" y="283"/>
                </a:lnTo>
                <a:lnTo>
                  <a:pt x="1950" y="285"/>
                </a:lnTo>
                <a:lnTo>
                  <a:pt x="1945" y="286"/>
                </a:lnTo>
                <a:lnTo>
                  <a:pt x="1941" y="285"/>
                </a:lnTo>
                <a:lnTo>
                  <a:pt x="1936" y="285"/>
                </a:lnTo>
                <a:lnTo>
                  <a:pt x="1925" y="286"/>
                </a:lnTo>
                <a:lnTo>
                  <a:pt x="1914" y="289"/>
                </a:lnTo>
                <a:lnTo>
                  <a:pt x="1902" y="292"/>
                </a:lnTo>
                <a:lnTo>
                  <a:pt x="1891" y="296"/>
                </a:lnTo>
                <a:lnTo>
                  <a:pt x="1879" y="299"/>
                </a:lnTo>
                <a:lnTo>
                  <a:pt x="1868" y="300"/>
                </a:lnTo>
                <a:lnTo>
                  <a:pt x="1863" y="301"/>
                </a:lnTo>
                <a:lnTo>
                  <a:pt x="1859" y="303"/>
                </a:lnTo>
                <a:lnTo>
                  <a:pt x="1858" y="306"/>
                </a:lnTo>
                <a:lnTo>
                  <a:pt x="1855" y="306"/>
                </a:lnTo>
                <a:lnTo>
                  <a:pt x="1854" y="306"/>
                </a:lnTo>
                <a:lnTo>
                  <a:pt x="1852" y="306"/>
                </a:lnTo>
                <a:lnTo>
                  <a:pt x="1844" y="309"/>
                </a:lnTo>
                <a:lnTo>
                  <a:pt x="1836" y="313"/>
                </a:lnTo>
                <a:lnTo>
                  <a:pt x="1825" y="316"/>
                </a:lnTo>
                <a:lnTo>
                  <a:pt x="1813" y="319"/>
                </a:lnTo>
                <a:lnTo>
                  <a:pt x="1801" y="323"/>
                </a:lnTo>
                <a:lnTo>
                  <a:pt x="1789" y="325"/>
                </a:lnTo>
                <a:lnTo>
                  <a:pt x="1777" y="328"/>
                </a:lnTo>
                <a:lnTo>
                  <a:pt x="1766" y="332"/>
                </a:lnTo>
                <a:lnTo>
                  <a:pt x="1754" y="335"/>
                </a:lnTo>
                <a:lnTo>
                  <a:pt x="1742" y="338"/>
                </a:lnTo>
                <a:lnTo>
                  <a:pt x="1730" y="341"/>
                </a:lnTo>
                <a:lnTo>
                  <a:pt x="1719" y="343"/>
                </a:lnTo>
                <a:lnTo>
                  <a:pt x="1706" y="348"/>
                </a:lnTo>
                <a:lnTo>
                  <a:pt x="1694" y="349"/>
                </a:lnTo>
                <a:lnTo>
                  <a:pt x="1688" y="349"/>
                </a:lnTo>
                <a:lnTo>
                  <a:pt x="1682" y="348"/>
                </a:lnTo>
                <a:lnTo>
                  <a:pt x="1677" y="348"/>
                </a:lnTo>
                <a:lnTo>
                  <a:pt x="1671" y="347"/>
                </a:lnTo>
                <a:lnTo>
                  <a:pt x="1684" y="346"/>
                </a:lnTo>
                <a:lnTo>
                  <a:pt x="1695" y="342"/>
                </a:lnTo>
                <a:lnTo>
                  <a:pt x="1704" y="341"/>
                </a:lnTo>
                <a:lnTo>
                  <a:pt x="1712" y="338"/>
                </a:lnTo>
                <a:lnTo>
                  <a:pt x="1712" y="334"/>
                </a:lnTo>
                <a:lnTo>
                  <a:pt x="1712" y="332"/>
                </a:lnTo>
                <a:lnTo>
                  <a:pt x="1712" y="330"/>
                </a:lnTo>
                <a:lnTo>
                  <a:pt x="1714" y="328"/>
                </a:lnTo>
                <a:lnTo>
                  <a:pt x="1715" y="328"/>
                </a:lnTo>
                <a:lnTo>
                  <a:pt x="1719" y="330"/>
                </a:lnTo>
                <a:lnTo>
                  <a:pt x="1730" y="326"/>
                </a:lnTo>
                <a:lnTo>
                  <a:pt x="1742" y="323"/>
                </a:lnTo>
                <a:lnTo>
                  <a:pt x="1755" y="321"/>
                </a:lnTo>
                <a:lnTo>
                  <a:pt x="1769" y="317"/>
                </a:lnTo>
                <a:lnTo>
                  <a:pt x="1783" y="314"/>
                </a:lnTo>
                <a:lnTo>
                  <a:pt x="1796" y="309"/>
                </a:lnTo>
                <a:lnTo>
                  <a:pt x="1808" y="306"/>
                </a:lnTo>
                <a:lnTo>
                  <a:pt x="1820" y="301"/>
                </a:lnTo>
                <a:lnTo>
                  <a:pt x="1833" y="299"/>
                </a:lnTo>
                <a:lnTo>
                  <a:pt x="1845" y="298"/>
                </a:lnTo>
                <a:lnTo>
                  <a:pt x="1855" y="293"/>
                </a:lnTo>
                <a:lnTo>
                  <a:pt x="1866" y="288"/>
                </a:lnTo>
                <a:lnTo>
                  <a:pt x="1877" y="284"/>
                </a:lnTo>
                <a:lnTo>
                  <a:pt x="1888" y="281"/>
                </a:lnTo>
                <a:lnTo>
                  <a:pt x="1899" y="278"/>
                </a:lnTo>
                <a:lnTo>
                  <a:pt x="1908" y="276"/>
                </a:lnTo>
                <a:lnTo>
                  <a:pt x="1917" y="271"/>
                </a:lnTo>
                <a:lnTo>
                  <a:pt x="1926" y="264"/>
                </a:lnTo>
                <a:lnTo>
                  <a:pt x="1931" y="261"/>
                </a:lnTo>
                <a:lnTo>
                  <a:pt x="1935" y="261"/>
                </a:lnTo>
                <a:lnTo>
                  <a:pt x="1941" y="263"/>
                </a:lnTo>
                <a:lnTo>
                  <a:pt x="1945" y="263"/>
                </a:lnTo>
                <a:lnTo>
                  <a:pt x="1952" y="263"/>
                </a:lnTo>
                <a:lnTo>
                  <a:pt x="1959" y="261"/>
                </a:lnTo>
                <a:lnTo>
                  <a:pt x="1966" y="259"/>
                </a:lnTo>
                <a:lnTo>
                  <a:pt x="1972" y="256"/>
                </a:lnTo>
                <a:lnTo>
                  <a:pt x="1976" y="255"/>
                </a:lnTo>
                <a:lnTo>
                  <a:pt x="1982" y="253"/>
                </a:lnTo>
                <a:lnTo>
                  <a:pt x="1984" y="252"/>
                </a:lnTo>
                <a:lnTo>
                  <a:pt x="1985" y="250"/>
                </a:lnTo>
                <a:lnTo>
                  <a:pt x="1986" y="249"/>
                </a:lnTo>
                <a:lnTo>
                  <a:pt x="1986" y="245"/>
                </a:lnTo>
                <a:lnTo>
                  <a:pt x="1983" y="242"/>
                </a:lnTo>
                <a:lnTo>
                  <a:pt x="1980" y="240"/>
                </a:lnTo>
                <a:lnTo>
                  <a:pt x="1975" y="235"/>
                </a:lnTo>
                <a:lnTo>
                  <a:pt x="1970" y="231"/>
                </a:lnTo>
                <a:lnTo>
                  <a:pt x="1965" y="228"/>
                </a:lnTo>
                <a:lnTo>
                  <a:pt x="1959" y="228"/>
                </a:lnTo>
                <a:lnTo>
                  <a:pt x="1953" y="230"/>
                </a:lnTo>
                <a:lnTo>
                  <a:pt x="1948" y="232"/>
                </a:lnTo>
                <a:lnTo>
                  <a:pt x="1934" y="236"/>
                </a:lnTo>
                <a:lnTo>
                  <a:pt x="1920" y="240"/>
                </a:lnTo>
                <a:lnTo>
                  <a:pt x="1907" y="243"/>
                </a:lnTo>
                <a:lnTo>
                  <a:pt x="1894" y="248"/>
                </a:lnTo>
                <a:lnTo>
                  <a:pt x="1880" y="252"/>
                </a:lnTo>
                <a:lnTo>
                  <a:pt x="1869" y="258"/>
                </a:lnTo>
                <a:lnTo>
                  <a:pt x="1871" y="259"/>
                </a:lnTo>
                <a:lnTo>
                  <a:pt x="1875" y="259"/>
                </a:lnTo>
                <a:lnTo>
                  <a:pt x="1878" y="261"/>
                </a:lnTo>
                <a:lnTo>
                  <a:pt x="1880" y="264"/>
                </a:lnTo>
                <a:lnTo>
                  <a:pt x="1880" y="266"/>
                </a:lnTo>
                <a:lnTo>
                  <a:pt x="1880" y="267"/>
                </a:lnTo>
                <a:lnTo>
                  <a:pt x="1880" y="268"/>
                </a:lnTo>
                <a:lnTo>
                  <a:pt x="1879" y="269"/>
                </a:lnTo>
                <a:lnTo>
                  <a:pt x="1876" y="271"/>
                </a:lnTo>
                <a:lnTo>
                  <a:pt x="1873" y="271"/>
                </a:lnTo>
                <a:lnTo>
                  <a:pt x="1866" y="274"/>
                </a:lnTo>
                <a:lnTo>
                  <a:pt x="1858" y="275"/>
                </a:lnTo>
                <a:lnTo>
                  <a:pt x="1857" y="274"/>
                </a:lnTo>
                <a:lnTo>
                  <a:pt x="1855" y="271"/>
                </a:lnTo>
                <a:lnTo>
                  <a:pt x="1855" y="267"/>
                </a:lnTo>
                <a:lnTo>
                  <a:pt x="1855" y="265"/>
                </a:lnTo>
                <a:lnTo>
                  <a:pt x="1855" y="261"/>
                </a:lnTo>
                <a:lnTo>
                  <a:pt x="1853" y="260"/>
                </a:lnTo>
                <a:lnTo>
                  <a:pt x="1850" y="259"/>
                </a:lnTo>
                <a:lnTo>
                  <a:pt x="1846" y="260"/>
                </a:lnTo>
                <a:lnTo>
                  <a:pt x="1843" y="263"/>
                </a:lnTo>
                <a:lnTo>
                  <a:pt x="1841" y="265"/>
                </a:lnTo>
                <a:lnTo>
                  <a:pt x="1840" y="267"/>
                </a:lnTo>
                <a:lnTo>
                  <a:pt x="1838" y="272"/>
                </a:lnTo>
                <a:lnTo>
                  <a:pt x="1836" y="274"/>
                </a:lnTo>
                <a:lnTo>
                  <a:pt x="1834" y="275"/>
                </a:lnTo>
                <a:lnTo>
                  <a:pt x="1832" y="276"/>
                </a:lnTo>
                <a:lnTo>
                  <a:pt x="1829" y="277"/>
                </a:lnTo>
                <a:lnTo>
                  <a:pt x="1826" y="280"/>
                </a:lnTo>
                <a:lnTo>
                  <a:pt x="1825" y="281"/>
                </a:lnTo>
                <a:lnTo>
                  <a:pt x="1825" y="281"/>
                </a:lnTo>
                <a:lnTo>
                  <a:pt x="1826" y="282"/>
                </a:lnTo>
                <a:lnTo>
                  <a:pt x="1827" y="284"/>
                </a:lnTo>
                <a:lnTo>
                  <a:pt x="1827" y="288"/>
                </a:lnTo>
                <a:lnTo>
                  <a:pt x="1825" y="289"/>
                </a:lnTo>
                <a:lnTo>
                  <a:pt x="1820" y="289"/>
                </a:lnTo>
                <a:lnTo>
                  <a:pt x="1809" y="292"/>
                </a:lnTo>
                <a:lnTo>
                  <a:pt x="1797" y="297"/>
                </a:lnTo>
                <a:lnTo>
                  <a:pt x="1786" y="299"/>
                </a:lnTo>
                <a:lnTo>
                  <a:pt x="1775" y="302"/>
                </a:lnTo>
                <a:lnTo>
                  <a:pt x="1763" y="305"/>
                </a:lnTo>
                <a:lnTo>
                  <a:pt x="1752" y="307"/>
                </a:lnTo>
                <a:lnTo>
                  <a:pt x="1741" y="309"/>
                </a:lnTo>
                <a:lnTo>
                  <a:pt x="1729" y="311"/>
                </a:lnTo>
                <a:lnTo>
                  <a:pt x="1717" y="314"/>
                </a:lnTo>
                <a:lnTo>
                  <a:pt x="1705" y="317"/>
                </a:lnTo>
                <a:lnTo>
                  <a:pt x="1696" y="319"/>
                </a:lnTo>
                <a:lnTo>
                  <a:pt x="1687" y="323"/>
                </a:lnTo>
                <a:lnTo>
                  <a:pt x="1676" y="325"/>
                </a:lnTo>
                <a:lnTo>
                  <a:pt x="1664" y="326"/>
                </a:lnTo>
                <a:lnTo>
                  <a:pt x="1654" y="328"/>
                </a:lnTo>
                <a:lnTo>
                  <a:pt x="1644" y="331"/>
                </a:lnTo>
                <a:lnTo>
                  <a:pt x="1641" y="334"/>
                </a:lnTo>
                <a:lnTo>
                  <a:pt x="1641" y="336"/>
                </a:lnTo>
                <a:lnTo>
                  <a:pt x="1644" y="339"/>
                </a:lnTo>
                <a:lnTo>
                  <a:pt x="1647" y="340"/>
                </a:lnTo>
                <a:lnTo>
                  <a:pt x="1660" y="339"/>
                </a:lnTo>
                <a:lnTo>
                  <a:pt x="1670" y="336"/>
                </a:lnTo>
                <a:lnTo>
                  <a:pt x="1684" y="334"/>
                </a:lnTo>
                <a:lnTo>
                  <a:pt x="1698" y="331"/>
                </a:lnTo>
                <a:lnTo>
                  <a:pt x="1695" y="334"/>
                </a:lnTo>
                <a:lnTo>
                  <a:pt x="1693" y="336"/>
                </a:lnTo>
                <a:lnTo>
                  <a:pt x="1689" y="338"/>
                </a:lnTo>
                <a:lnTo>
                  <a:pt x="1687" y="339"/>
                </a:lnTo>
                <a:lnTo>
                  <a:pt x="1680" y="340"/>
                </a:lnTo>
                <a:lnTo>
                  <a:pt x="1672" y="341"/>
                </a:lnTo>
                <a:lnTo>
                  <a:pt x="1665" y="343"/>
                </a:lnTo>
                <a:lnTo>
                  <a:pt x="1659" y="348"/>
                </a:lnTo>
                <a:lnTo>
                  <a:pt x="1651" y="350"/>
                </a:lnTo>
                <a:lnTo>
                  <a:pt x="1643" y="351"/>
                </a:lnTo>
                <a:lnTo>
                  <a:pt x="1627" y="357"/>
                </a:lnTo>
                <a:lnTo>
                  <a:pt x="1611" y="363"/>
                </a:lnTo>
                <a:lnTo>
                  <a:pt x="1602" y="364"/>
                </a:lnTo>
                <a:lnTo>
                  <a:pt x="1594" y="367"/>
                </a:lnTo>
                <a:lnTo>
                  <a:pt x="1586" y="371"/>
                </a:lnTo>
                <a:lnTo>
                  <a:pt x="1578" y="374"/>
                </a:lnTo>
                <a:lnTo>
                  <a:pt x="1575" y="375"/>
                </a:lnTo>
                <a:lnTo>
                  <a:pt x="1572" y="375"/>
                </a:lnTo>
                <a:lnTo>
                  <a:pt x="1570" y="374"/>
                </a:lnTo>
                <a:lnTo>
                  <a:pt x="1568" y="372"/>
                </a:lnTo>
                <a:lnTo>
                  <a:pt x="1561" y="369"/>
                </a:lnTo>
                <a:lnTo>
                  <a:pt x="1553" y="369"/>
                </a:lnTo>
                <a:lnTo>
                  <a:pt x="1536" y="372"/>
                </a:lnTo>
                <a:lnTo>
                  <a:pt x="1520" y="374"/>
                </a:lnTo>
                <a:lnTo>
                  <a:pt x="1514" y="374"/>
                </a:lnTo>
                <a:lnTo>
                  <a:pt x="1508" y="374"/>
                </a:lnTo>
                <a:lnTo>
                  <a:pt x="1507" y="372"/>
                </a:lnTo>
                <a:lnTo>
                  <a:pt x="1507" y="371"/>
                </a:lnTo>
                <a:lnTo>
                  <a:pt x="1509" y="369"/>
                </a:lnTo>
                <a:lnTo>
                  <a:pt x="1512" y="369"/>
                </a:lnTo>
                <a:lnTo>
                  <a:pt x="1519" y="368"/>
                </a:lnTo>
                <a:lnTo>
                  <a:pt x="1525" y="368"/>
                </a:lnTo>
                <a:lnTo>
                  <a:pt x="1532" y="367"/>
                </a:lnTo>
                <a:lnTo>
                  <a:pt x="1539" y="364"/>
                </a:lnTo>
                <a:lnTo>
                  <a:pt x="1525" y="364"/>
                </a:lnTo>
                <a:lnTo>
                  <a:pt x="1512" y="364"/>
                </a:lnTo>
                <a:lnTo>
                  <a:pt x="1499" y="364"/>
                </a:lnTo>
                <a:lnTo>
                  <a:pt x="1486" y="364"/>
                </a:lnTo>
                <a:lnTo>
                  <a:pt x="1494" y="368"/>
                </a:lnTo>
                <a:lnTo>
                  <a:pt x="1503" y="372"/>
                </a:lnTo>
                <a:lnTo>
                  <a:pt x="1492" y="375"/>
                </a:lnTo>
                <a:lnTo>
                  <a:pt x="1480" y="375"/>
                </a:lnTo>
                <a:lnTo>
                  <a:pt x="1475" y="375"/>
                </a:lnTo>
                <a:lnTo>
                  <a:pt x="1470" y="375"/>
                </a:lnTo>
                <a:lnTo>
                  <a:pt x="1466" y="374"/>
                </a:lnTo>
                <a:lnTo>
                  <a:pt x="1464" y="372"/>
                </a:lnTo>
                <a:lnTo>
                  <a:pt x="1458" y="368"/>
                </a:lnTo>
                <a:lnTo>
                  <a:pt x="1453" y="365"/>
                </a:lnTo>
                <a:lnTo>
                  <a:pt x="1451" y="361"/>
                </a:lnTo>
                <a:lnTo>
                  <a:pt x="1450" y="359"/>
                </a:lnTo>
                <a:lnTo>
                  <a:pt x="1445" y="358"/>
                </a:lnTo>
                <a:lnTo>
                  <a:pt x="1440" y="358"/>
                </a:lnTo>
                <a:lnTo>
                  <a:pt x="1426" y="358"/>
                </a:lnTo>
                <a:lnTo>
                  <a:pt x="1413" y="360"/>
                </a:lnTo>
                <a:lnTo>
                  <a:pt x="1400" y="361"/>
                </a:lnTo>
                <a:lnTo>
                  <a:pt x="1387" y="363"/>
                </a:lnTo>
                <a:lnTo>
                  <a:pt x="1380" y="364"/>
                </a:lnTo>
                <a:lnTo>
                  <a:pt x="1373" y="364"/>
                </a:lnTo>
                <a:lnTo>
                  <a:pt x="1366" y="363"/>
                </a:lnTo>
                <a:lnTo>
                  <a:pt x="1359" y="361"/>
                </a:lnTo>
                <a:lnTo>
                  <a:pt x="1355" y="360"/>
                </a:lnTo>
                <a:lnTo>
                  <a:pt x="1352" y="360"/>
                </a:lnTo>
                <a:lnTo>
                  <a:pt x="1349" y="363"/>
                </a:lnTo>
                <a:lnTo>
                  <a:pt x="1346" y="365"/>
                </a:lnTo>
                <a:lnTo>
                  <a:pt x="1357" y="365"/>
                </a:lnTo>
                <a:lnTo>
                  <a:pt x="1368" y="366"/>
                </a:lnTo>
                <a:lnTo>
                  <a:pt x="1373" y="369"/>
                </a:lnTo>
                <a:lnTo>
                  <a:pt x="1379" y="372"/>
                </a:lnTo>
                <a:lnTo>
                  <a:pt x="1385" y="373"/>
                </a:lnTo>
                <a:lnTo>
                  <a:pt x="1391" y="372"/>
                </a:lnTo>
                <a:lnTo>
                  <a:pt x="1405" y="372"/>
                </a:lnTo>
                <a:lnTo>
                  <a:pt x="1420" y="372"/>
                </a:lnTo>
                <a:lnTo>
                  <a:pt x="1424" y="372"/>
                </a:lnTo>
                <a:lnTo>
                  <a:pt x="1432" y="371"/>
                </a:lnTo>
                <a:lnTo>
                  <a:pt x="1435" y="371"/>
                </a:lnTo>
                <a:lnTo>
                  <a:pt x="1438" y="372"/>
                </a:lnTo>
                <a:lnTo>
                  <a:pt x="1440" y="373"/>
                </a:lnTo>
                <a:lnTo>
                  <a:pt x="1442" y="374"/>
                </a:lnTo>
                <a:lnTo>
                  <a:pt x="1438" y="376"/>
                </a:lnTo>
                <a:lnTo>
                  <a:pt x="1433" y="377"/>
                </a:lnTo>
                <a:lnTo>
                  <a:pt x="1429" y="379"/>
                </a:lnTo>
                <a:lnTo>
                  <a:pt x="1423" y="379"/>
                </a:lnTo>
                <a:lnTo>
                  <a:pt x="1413" y="379"/>
                </a:lnTo>
                <a:lnTo>
                  <a:pt x="1402" y="379"/>
                </a:lnTo>
                <a:lnTo>
                  <a:pt x="1391" y="379"/>
                </a:lnTo>
                <a:lnTo>
                  <a:pt x="1380" y="379"/>
                </a:lnTo>
                <a:lnTo>
                  <a:pt x="1369" y="379"/>
                </a:lnTo>
                <a:lnTo>
                  <a:pt x="1358" y="379"/>
                </a:lnTo>
                <a:lnTo>
                  <a:pt x="1354" y="379"/>
                </a:lnTo>
                <a:lnTo>
                  <a:pt x="1350" y="379"/>
                </a:lnTo>
                <a:lnTo>
                  <a:pt x="1348" y="381"/>
                </a:lnTo>
                <a:lnTo>
                  <a:pt x="1346" y="384"/>
                </a:lnTo>
                <a:lnTo>
                  <a:pt x="1341" y="386"/>
                </a:lnTo>
                <a:lnTo>
                  <a:pt x="1335" y="386"/>
                </a:lnTo>
                <a:lnTo>
                  <a:pt x="1325" y="386"/>
                </a:lnTo>
                <a:lnTo>
                  <a:pt x="1315" y="386"/>
                </a:lnTo>
                <a:lnTo>
                  <a:pt x="1310" y="386"/>
                </a:lnTo>
                <a:lnTo>
                  <a:pt x="1307" y="385"/>
                </a:lnTo>
                <a:lnTo>
                  <a:pt x="1303" y="384"/>
                </a:lnTo>
                <a:lnTo>
                  <a:pt x="1301" y="382"/>
                </a:lnTo>
                <a:lnTo>
                  <a:pt x="1316" y="381"/>
                </a:lnTo>
                <a:lnTo>
                  <a:pt x="1330" y="379"/>
                </a:lnTo>
                <a:lnTo>
                  <a:pt x="1323" y="376"/>
                </a:lnTo>
                <a:lnTo>
                  <a:pt x="1315" y="374"/>
                </a:lnTo>
                <a:lnTo>
                  <a:pt x="1307" y="373"/>
                </a:lnTo>
                <a:lnTo>
                  <a:pt x="1299" y="373"/>
                </a:lnTo>
                <a:lnTo>
                  <a:pt x="1290" y="373"/>
                </a:lnTo>
                <a:lnTo>
                  <a:pt x="1281" y="374"/>
                </a:lnTo>
                <a:lnTo>
                  <a:pt x="1272" y="374"/>
                </a:lnTo>
                <a:lnTo>
                  <a:pt x="1262" y="374"/>
                </a:lnTo>
                <a:lnTo>
                  <a:pt x="1255" y="374"/>
                </a:lnTo>
                <a:lnTo>
                  <a:pt x="1247" y="374"/>
                </a:lnTo>
                <a:lnTo>
                  <a:pt x="1243" y="375"/>
                </a:lnTo>
                <a:lnTo>
                  <a:pt x="1240" y="379"/>
                </a:lnTo>
                <a:lnTo>
                  <a:pt x="1235" y="380"/>
                </a:lnTo>
                <a:lnTo>
                  <a:pt x="1229" y="381"/>
                </a:lnTo>
                <a:lnTo>
                  <a:pt x="1225" y="381"/>
                </a:lnTo>
                <a:lnTo>
                  <a:pt x="1219" y="380"/>
                </a:lnTo>
                <a:lnTo>
                  <a:pt x="1212" y="375"/>
                </a:lnTo>
                <a:lnTo>
                  <a:pt x="1204" y="369"/>
                </a:lnTo>
                <a:lnTo>
                  <a:pt x="1189" y="367"/>
                </a:lnTo>
                <a:lnTo>
                  <a:pt x="1171" y="365"/>
                </a:lnTo>
                <a:lnTo>
                  <a:pt x="1156" y="363"/>
                </a:lnTo>
                <a:lnTo>
                  <a:pt x="1140" y="363"/>
                </a:lnTo>
                <a:lnTo>
                  <a:pt x="1132" y="363"/>
                </a:lnTo>
                <a:lnTo>
                  <a:pt x="1124" y="361"/>
                </a:lnTo>
                <a:lnTo>
                  <a:pt x="1117" y="358"/>
                </a:lnTo>
                <a:lnTo>
                  <a:pt x="1111" y="355"/>
                </a:lnTo>
                <a:lnTo>
                  <a:pt x="1118" y="355"/>
                </a:lnTo>
                <a:lnTo>
                  <a:pt x="1126" y="355"/>
                </a:lnTo>
                <a:lnTo>
                  <a:pt x="1130" y="356"/>
                </a:lnTo>
                <a:lnTo>
                  <a:pt x="1137" y="357"/>
                </a:lnTo>
                <a:lnTo>
                  <a:pt x="1152" y="357"/>
                </a:lnTo>
                <a:lnTo>
                  <a:pt x="1167" y="358"/>
                </a:lnTo>
                <a:lnTo>
                  <a:pt x="1184" y="359"/>
                </a:lnTo>
                <a:lnTo>
                  <a:pt x="1200" y="361"/>
                </a:lnTo>
                <a:lnTo>
                  <a:pt x="1217" y="363"/>
                </a:lnTo>
                <a:lnTo>
                  <a:pt x="1233" y="364"/>
                </a:lnTo>
                <a:lnTo>
                  <a:pt x="1249" y="366"/>
                </a:lnTo>
                <a:lnTo>
                  <a:pt x="1265" y="366"/>
                </a:lnTo>
                <a:lnTo>
                  <a:pt x="1277" y="364"/>
                </a:lnTo>
                <a:lnTo>
                  <a:pt x="1291" y="363"/>
                </a:lnTo>
                <a:lnTo>
                  <a:pt x="1305" y="364"/>
                </a:lnTo>
                <a:lnTo>
                  <a:pt x="1318" y="365"/>
                </a:lnTo>
                <a:lnTo>
                  <a:pt x="1323" y="363"/>
                </a:lnTo>
                <a:lnTo>
                  <a:pt x="1327" y="359"/>
                </a:lnTo>
                <a:lnTo>
                  <a:pt x="1331" y="355"/>
                </a:lnTo>
                <a:lnTo>
                  <a:pt x="1334" y="350"/>
                </a:lnTo>
                <a:lnTo>
                  <a:pt x="1330" y="349"/>
                </a:lnTo>
                <a:lnTo>
                  <a:pt x="1324" y="349"/>
                </a:lnTo>
                <a:lnTo>
                  <a:pt x="1321" y="352"/>
                </a:lnTo>
                <a:lnTo>
                  <a:pt x="1318" y="356"/>
                </a:lnTo>
                <a:lnTo>
                  <a:pt x="1315" y="358"/>
                </a:lnTo>
                <a:lnTo>
                  <a:pt x="1310" y="358"/>
                </a:lnTo>
                <a:lnTo>
                  <a:pt x="1306" y="358"/>
                </a:lnTo>
                <a:lnTo>
                  <a:pt x="1301" y="357"/>
                </a:lnTo>
                <a:lnTo>
                  <a:pt x="1290" y="355"/>
                </a:lnTo>
                <a:lnTo>
                  <a:pt x="1277" y="354"/>
                </a:lnTo>
                <a:lnTo>
                  <a:pt x="1265" y="351"/>
                </a:lnTo>
                <a:lnTo>
                  <a:pt x="1251" y="350"/>
                </a:lnTo>
                <a:lnTo>
                  <a:pt x="1245" y="351"/>
                </a:lnTo>
                <a:lnTo>
                  <a:pt x="1240" y="352"/>
                </a:lnTo>
                <a:lnTo>
                  <a:pt x="1235" y="355"/>
                </a:lnTo>
                <a:lnTo>
                  <a:pt x="1231" y="356"/>
                </a:lnTo>
                <a:lnTo>
                  <a:pt x="1225" y="352"/>
                </a:lnTo>
                <a:lnTo>
                  <a:pt x="1220" y="349"/>
                </a:lnTo>
                <a:lnTo>
                  <a:pt x="1215" y="347"/>
                </a:lnTo>
                <a:lnTo>
                  <a:pt x="1209" y="346"/>
                </a:lnTo>
                <a:lnTo>
                  <a:pt x="1200" y="346"/>
                </a:lnTo>
                <a:lnTo>
                  <a:pt x="1190" y="344"/>
                </a:lnTo>
                <a:lnTo>
                  <a:pt x="1178" y="342"/>
                </a:lnTo>
                <a:lnTo>
                  <a:pt x="1167" y="340"/>
                </a:lnTo>
                <a:lnTo>
                  <a:pt x="1163" y="338"/>
                </a:lnTo>
                <a:lnTo>
                  <a:pt x="1160" y="336"/>
                </a:lnTo>
                <a:lnTo>
                  <a:pt x="1154" y="334"/>
                </a:lnTo>
                <a:lnTo>
                  <a:pt x="1149" y="334"/>
                </a:lnTo>
                <a:lnTo>
                  <a:pt x="1144" y="334"/>
                </a:lnTo>
                <a:lnTo>
                  <a:pt x="1140" y="334"/>
                </a:lnTo>
                <a:lnTo>
                  <a:pt x="1134" y="332"/>
                </a:lnTo>
                <a:lnTo>
                  <a:pt x="1129" y="330"/>
                </a:lnTo>
                <a:lnTo>
                  <a:pt x="1125" y="328"/>
                </a:lnTo>
                <a:lnTo>
                  <a:pt x="1120" y="328"/>
                </a:lnTo>
                <a:lnTo>
                  <a:pt x="1116" y="331"/>
                </a:lnTo>
                <a:lnTo>
                  <a:pt x="1111" y="332"/>
                </a:lnTo>
                <a:lnTo>
                  <a:pt x="1099" y="332"/>
                </a:lnTo>
                <a:lnTo>
                  <a:pt x="1085" y="330"/>
                </a:lnTo>
                <a:lnTo>
                  <a:pt x="1071" y="327"/>
                </a:lnTo>
                <a:lnTo>
                  <a:pt x="1058" y="324"/>
                </a:lnTo>
                <a:lnTo>
                  <a:pt x="1045" y="321"/>
                </a:lnTo>
                <a:lnTo>
                  <a:pt x="1031" y="316"/>
                </a:lnTo>
                <a:lnTo>
                  <a:pt x="1027" y="314"/>
                </a:lnTo>
                <a:lnTo>
                  <a:pt x="1022" y="313"/>
                </a:lnTo>
                <a:lnTo>
                  <a:pt x="1018" y="310"/>
                </a:lnTo>
                <a:lnTo>
                  <a:pt x="1012" y="310"/>
                </a:lnTo>
                <a:lnTo>
                  <a:pt x="1004" y="313"/>
                </a:lnTo>
                <a:lnTo>
                  <a:pt x="996" y="313"/>
                </a:lnTo>
                <a:lnTo>
                  <a:pt x="994" y="311"/>
                </a:lnTo>
                <a:lnTo>
                  <a:pt x="990" y="308"/>
                </a:lnTo>
                <a:lnTo>
                  <a:pt x="989" y="307"/>
                </a:lnTo>
                <a:lnTo>
                  <a:pt x="988" y="306"/>
                </a:lnTo>
                <a:lnTo>
                  <a:pt x="987" y="306"/>
                </a:lnTo>
                <a:lnTo>
                  <a:pt x="985" y="306"/>
                </a:lnTo>
                <a:lnTo>
                  <a:pt x="975" y="306"/>
                </a:lnTo>
                <a:lnTo>
                  <a:pt x="964" y="306"/>
                </a:lnTo>
                <a:lnTo>
                  <a:pt x="960" y="307"/>
                </a:lnTo>
                <a:lnTo>
                  <a:pt x="955" y="307"/>
                </a:lnTo>
                <a:lnTo>
                  <a:pt x="951" y="307"/>
                </a:lnTo>
                <a:lnTo>
                  <a:pt x="946" y="306"/>
                </a:lnTo>
                <a:lnTo>
                  <a:pt x="932" y="303"/>
                </a:lnTo>
                <a:lnTo>
                  <a:pt x="920" y="300"/>
                </a:lnTo>
                <a:lnTo>
                  <a:pt x="907" y="296"/>
                </a:lnTo>
                <a:lnTo>
                  <a:pt x="895" y="293"/>
                </a:lnTo>
                <a:lnTo>
                  <a:pt x="882" y="291"/>
                </a:lnTo>
                <a:lnTo>
                  <a:pt x="870" y="288"/>
                </a:lnTo>
                <a:lnTo>
                  <a:pt x="858" y="284"/>
                </a:lnTo>
                <a:lnTo>
                  <a:pt x="848" y="281"/>
                </a:lnTo>
                <a:lnTo>
                  <a:pt x="839" y="275"/>
                </a:lnTo>
                <a:lnTo>
                  <a:pt x="829" y="271"/>
                </a:lnTo>
                <a:lnTo>
                  <a:pt x="817" y="268"/>
                </a:lnTo>
                <a:lnTo>
                  <a:pt x="807" y="265"/>
                </a:lnTo>
                <a:lnTo>
                  <a:pt x="803" y="261"/>
                </a:lnTo>
                <a:lnTo>
                  <a:pt x="798" y="258"/>
                </a:lnTo>
                <a:lnTo>
                  <a:pt x="794" y="256"/>
                </a:lnTo>
                <a:lnTo>
                  <a:pt x="788" y="255"/>
                </a:lnTo>
                <a:lnTo>
                  <a:pt x="775" y="255"/>
                </a:lnTo>
                <a:lnTo>
                  <a:pt x="764" y="255"/>
                </a:lnTo>
                <a:lnTo>
                  <a:pt x="749" y="250"/>
                </a:lnTo>
                <a:lnTo>
                  <a:pt x="736" y="245"/>
                </a:lnTo>
                <a:lnTo>
                  <a:pt x="732" y="244"/>
                </a:lnTo>
                <a:lnTo>
                  <a:pt x="729" y="243"/>
                </a:lnTo>
                <a:lnTo>
                  <a:pt x="726" y="242"/>
                </a:lnTo>
                <a:lnTo>
                  <a:pt x="724" y="239"/>
                </a:lnTo>
                <a:lnTo>
                  <a:pt x="721" y="232"/>
                </a:lnTo>
                <a:lnTo>
                  <a:pt x="720" y="225"/>
                </a:lnTo>
                <a:lnTo>
                  <a:pt x="722" y="222"/>
                </a:lnTo>
                <a:lnTo>
                  <a:pt x="725" y="218"/>
                </a:lnTo>
                <a:lnTo>
                  <a:pt x="726" y="217"/>
                </a:lnTo>
                <a:lnTo>
                  <a:pt x="729" y="216"/>
                </a:lnTo>
                <a:lnTo>
                  <a:pt x="731" y="216"/>
                </a:lnTo>
                <a:lnTo>
                  <a:pt x="732" y="217"/>
                </a:lnTo>
                <a:lnTo>
                  <a:pt x="733" y="220"/>
                </a:lnTo>
                <a:lnTo>
                  <a:pt x="733" y="224"/>
                </a:lnTo>
                <a:lnTo>
                  <a:pt x="738" y="225"/>
                </a:lnTo>
                <a:lnTo>
                  <a:pt x="742" y="225"/>
                </a:lnTo>
                <a:lnTo>
                  <a:pt x="748" y="227"/>
                </a:lnTo>
                <a:lnTo>
                  <a:pt x="754" y="228"/>
                </a:lnTo>
                <a:lnTo>
                  <a:pt x="759" y="230"/>
                </a:lnTo>
                <a:lnTo>
                  <a:pt x="765" y="230"/>
                </a:lnTo>
                <a:lnTo>
                  <a:pt x="771" y="227"/>
                </a:lnTo>
                <a:lnTo>
                  <a:pt x="777" y="227"/>
                </a:lnTo>
                <a:lnTo>
                  <a:pt x="781" y="231"/>
                </a:lnTo>
                <a:lnTo>
                  <a:pt x="783" y="235"/>
                </a:lnTo>
                <a:lnTo>
                  <a:pt x="787" y="238"/>
                </a:lnTo>
                <a:lnTo>
                  <a:pt x="791" y="236"/>
                </a:lnTo>
                <a:lnTo>
                  <a:pt x="796" y="236"/>
                </a:lnTo>
                <a:lnTo>
                  <a:pt x="800" y="239"/>
                </a:lnTo>
                <a:lnTo>
                  <a:pt x="804" y="240"/>
                </a:lnTo>
                <a:lnTo>
                  <a:pt x="808" y="241"/>
                </a:lnTo>
                <a:lnTo>
                  <a:pt x="811" y="241"/>
                </a:lnTo>
                <a:lnTo>
                  <a:pt x="812" y="240"/>
                </a:lnTo>
                <a:lnTo>
                  <a:pt x="813" y="238"/>
                </a:lnTo>
                <a:lnTo>
                  <a:pt x="812" y="235"/>
                </a:lnTo>
                <a:lnTo>
                  <a:pt x="810" y="232"/>
                </a:lnTo>
                <a:lnTo>
                  <a:pt x="807" y="228"/>
                </a:lnTo>
                <a:lnTo>
                  <a:pt x="803" y="226"/>
                </a:lnTo>
                <a:lnTo>
                  <a:pt x="798" y="225"/>
                </a:lnTo>
                <a:lnTo>
                  <a:pt x="795" y="225"/>
                </a:lnTo>
                <a:lnTo>
                  <a:pt x="791" y="225"/>
                </a:lnTo>
                <a:lnTo>
                  <a:pt x="789" y="225"/>
                </a:lnTo>
                <a:lnTo>
                  <a:pt x="788" y="224"/>
                </a:lnTo>
                <a:lnTo>
                  <a:pt x="787" y="223"/>
                </a:lnTo>
                <a:lnTo>
                  <a:pt x="786" y="220"/>
                </a:lnTo>
                <a:lnTo>
                  <a:pt x="786" y="216"/>
                </a:lnTo>
                <a:lnTo>
                  <a:pt x="786" y="213"/>
                </a:lnTo>
                <a:lnTo>
                  <a:pt x="786" y="210"/>
                </a:lnTo>
                <a:lnTo>
                  <a:pt x="784" y="208"/>
                </a:lnTo>
                <a:lnTo>
                  <a:pt x="784" y="207"/>
                </a:lnTo>
                <a:lnTo>
                  <a:pt x="786" y="206"/>
                </a:lnTo>
                <a:lnTo>
                  <a:pt x="791" y="206"/>
                </a:lnTo>
                <a:lnTo>
                  <a:pt x="796" y="207"/>
                </a:lnTo>
                <a:lnTo>
                  <a:pt x="804" y="207"/>
                </a:lnTo>
                <a:lnTo>
                  <a:pt x="811" y="206"/>
                </a:lnTo>
                <a:lnTo>
                  <a:pt x="804" y="200"/>
                </a:lnTo>
                <a:lnTo>
                  <a:pt x="796" y="193"/>
                </a:lnTo>
                <a:lnTo>
                  <a:pt x="791" y="191"/>
                </a:lnTo>
                <a:lnTo>
                  <a:pt x="787" y="189"/>
                </a:lnTo>
                <a:lnTo>
                  <a:pt x="782" y="188"/>
                </a:lnTo>
                <a:lnTo>
                  <a:pt x="778" y="186"/>
                </a:lnTo>
                <a:lnTo>
                  <a:pt x="769" y="186"/>
                </a:lnTo>
                <a:lnTo>
                  <a:pt x="759" y="190"/>
                </a:lnTo>
                <a:lnTo>
                  <a:pt x="758" y="191"/>
                </a:lnTo>
                <a:lnTo>
                  <a:pt x="757" y="192"/>
                </a:lnTo>
                <a:lnTo>
                  <a:pt x="757" y="193"/>
                </a:lnTo>
                <a:lnTo>
                  <a:pt x="758" y="194"/>
                </a:lnTo>
                <a:lnTo>
                  <a:pt x="761" y="195"/>
                </a:lnTo>
                <a:lnTo>
                  <a:pt x="764" y="197"/>
                </a:lnTo>
                <a:lnTo>
                  <a:pt x="766" y="199"/>
                </a:lnTo>
                <a:lnTo>
                  <a:pt x="767" y="200"/>
                </a:lnTo>
                <a:lnTo>
                  <a:pt x="766" y="202"/>
                </a:lnTo>
                <a:lnTo>
                  <a:pt x="765" y="205"/>
                </a:lnTo>
                <a:lnTo>
                  <a:pt x="764" y="208"/>
                </a:lnTo>
                <a:lnTo>
                  <a:pt x="765" y="210"/>
                </a:lnTo>
                <a:lnTo>
                  <a:pt x="765" y="211"/>
                </a:lnTo>
                <a:lnTo>
                  <a:pt x="765" y="213"/>
                </a:lnTo>
                <a:lnTo>
                  <a:pt x="764" y="214"/>
                </a:lnTo>
                <a:lnTo>
                  <a:pt x="762" y="215"/>
                </a:lnTo>
                <a:lnTo>
                  <a:pt x="757" y="216"/>
                </a:lnTo>
                <a:lnTo>
                  <a:pt x="753" y="217"/>
                </a:lnTo>
                <a:lnTo>
                  <a:pt x="748" y="216"/>
                </a:lnTo>
                <a:lnTo>
                  <a:pt x="742" y="215"/>
                </a:lnTo>
                <a:lnTo>
                  <a:pt x="733" y="213"/>
                </a:lnTo>
                <a:lnTo>
                  <a:pt x="725" y="208"/>
                </a:lnTo>
                <a:lnTo>
                  <a:pt x="715" y="203"/>
                </a:lnTo>
                <a:lnTo>
                  <a:pt x="706" y="201"/>
                </a:lnTo>
                <a:lnTo>
                  <a:pt x="701" y="200"/>
                </a:lnTo>
                <a:lnTo>
                  <a:pt x="696" y="200"/>
                </a:lnTo>
                <a:lnTo>
                  <a:pt x="691" y="198"/>
                </a:lnTo>
                <a:lnTo>
                  <a:pt x="687" y="197"/>
                </a:lnTo>
                <a:lnTo>
                  <a:pt x="685" y="193"/>
                </a:lnTo>
                <a:lnTo>
                  <a:pt x="685" y="190"/>
                </a:lnTo>
                <a:lnTo>
                  <a:pt x="688" y="186"/>
                </a:lnTo>
                <a:lnTo>
                  <a:pt x="690" y="184"/>
                </a:lnTo>
                <a:lnTo>
                  <a:pt x="695" y="184"/>
                </a:lnTo>
                <a:lnTo>
                  <a:pt x="700" y="185"/>
                </a:lnTo>
                <a:lnTo>
                  <a:pt x="705" y="186"/>
                </a:lnTo>
                <a:lnTo>
                  <a:pt x="709" y="188"/>
                </a:lnTo>
                <a:lnTo>
                  <a:pt x="713" y="189"/>
                </a:lnTo>
                <a:lnTo>
                  <a:pt x="717" y="189"/>
                </a:lnTo>
                <a:lnTo>
                  <a:pt x="722" y="189"/>
                </a:lnTo>
                <a:lnTo>
                  <a:pt x="725" y="185"/>
                </a:lnTo>
                <a:lnTo>
                  <a:pt x="726" y="182"/>
                </a:lnTo>
                <a:lnTo>
                  <a:pt x="726" y="180"/>
                </a:lnTo>
                <a:lnTo>
                  <a:pt x="725" y="177"/>
                </a:lnTo>
                <a:lnTo>
                  <a:pt x="722" y="175"/>
                </a:lnTo>
                <a:lnTo>
                  <a:pt x="711" y="173"/>
                </a:lnTo>
                <a:lnTo>
                  <a:pt x="698" y="172"/>
                </a:lnTo>
                <a:lnTo>
                  <a:pt x="685" y="169"/>
                </a:lnTo>
                <a:lnTo>
                  <a:pt x="673" y="168"/>
                </a:lnTo>
                <a:lnTo>
                  <a:pt x="663" y="167"/>
                </a:lnTo>
                <a:lnTo>
                  <a:pt x="654" y="165"/>
                </a:lnTo>
                <a:lnTo>
                  <a:pt x="649" y="164"/>
                </a:lnTo>
                <a:lnTo>
                  <a:pt x="648" y="161"/>
                </a:lnTo>
                <a:lnTo>
                  <a:pt x="647" y="158"/>
                </a:lnTo>
                <a:lnTo>
                  <a:pt x="644" y="155"/>
                </a:lnTo>
                <a:lnTo>
                  <a:pt x="641" y="153"/>
                </a:lnTo>
                <a:lnTo>
                  <a:pt x="639" y="150"/>
                </a:lnTo>
                <a:lnTo>
                  <a:pt x="639" y="149"/>
                </a:lnTo>
                <a:lnTo>
                  <a:pt x="641" y="149"/>
                </a:lnTo>
                <a:lnTo>
                  <a:pt x="643" y="149"/>
                </a:lnTo>
                <a:lnTo>
                  <a:pt x="644" y="149"/>
                </a:lnTo>
                <a:lnTo>
                  <a:pt x="651" y="150"/>
                </a:lnTo>
                <a:lnTo>
                  <a:pt x="657" y="152"/>
                </a:lnTo>
                <a:lnTo>
                  <a:pt x="664" y="153"/>
                </a:lnTo>
                <a:lnTo>
                  <a:pt x="671" y="152"/>
                </a:lnTo>
                <a:lnTo>
                  <a:pt x="652" y="148"/>
                </a:lnTo>
                <a:lnTo>
                  <a:pt x="635" y="142"/>
                </a:lnTo>
                <a:lnTo>
                  <a:pt x="626" y="140"/>
                </a:lnTo>
                <a:lnTo>
                  <a:pt x="617" y="137"/>
                </a:lnTo>
                <a:lnTo>
                  <a:pt x="608" y="136"/>
                </a:lnTo>
                <a:lnTo>
                  <a:pt x="599" y="137"/>
                </a:lnTo>
                <a:lnTo>
                  <a:pt x="604" y="140"/>
                </a:lnTo>
                <a:lnTo>
                  <a:pt x="609" y="143"/>
                </a:lnTo>
                <a:lnTo>
                  <a:pt x="611" y="144"/>
                </a:lnTo>
                <a:lnTo>
                  <a:pt x="613" y="147"/>
                </a:lnTo>
                <a:lnTo>
                  <a:pt x="613" y="149"/>
                </a:lnTo>
                <a:lnTo>
                  <a:pt x="610" y="150"/>
                </a:lnTo>
                <a:lnTo>
                  <a:pt x="607" y="150"/>
                </a:lnTo>
                <a:lnTo>
                  <a:pt x="604" y="148"/>
                </a:lnTo>
                <a:lnTo>
                  <a:pt x="601" y="147"/>
                </a:lnTo>
                <a:lnTo>
                  <a:pt x="599" y="144"/>
                </a:lnTo>
                <a:lnTo>
                  <a:pt x="591" y="141"/>
                </a:lnTo>
                <a:lnTo>
                  <a:pt x="584" y="139"/>
                </a:lnTo>
                <a:lnTo>
                  <a:pt x="571" y="139"/>
                </a:lnTo>
                <a:lnTo>
                  <a:pt x="558" y="137"/>
                </a:lnTo>
                <a:lnTo>
                  <a:pt x="547" y="132"/>
                </a:lnTo>
                <a:lnTo>
                  <a:pt x="535" y="125"/>
                </a:lnTo>
                <a:lnTo>
                  <a:pt x="523" y="122"/>
                </a:lnTo>
                <a:lnTo>
                  <a:pt x="509" y="119"/>
                </a:lnTo>
                <a:lnTo>
                  <a:pt x="505" y="118"/>
                </a:lnTo>
                <a:lnTo>
                  <a:pt x="501" y="115"/>
                </a:lnTo>
                <a:lnTo>
                  <a:pt x="500" y="110"/>
                </a:lnTo>
                <a:lnTo>
                  <a:pt x="500" y="106"/>
                </a:lnTo>
                <a:lnTo>
                  <a:pt x="497" y="105"/>
                </a:lnTo>
                <a:lnTo>
                  <a:pt x="493" y="103"/>
                </a:lnTo>
                <a:lnTo>
                  <a:pt x="486" y="101"/>
                </a:lnTo>
                <a:lnTo>
                  <a:pt x="478" y="99"/>
                </a:lnTo>
                <a:lnTo>
                  <a:pt x="471" y="98"/>
                </a:lnTo>
                <a:lnTo>
                  <a:pt x="465" y="97"/>
                </a:lnTo>
                <a:lnTo>
                  <a:pt x="461" y="97"/>
                </a:lnTo>
                <a:lnTo>
                  <a:pt x="459" y="97"/>
                </a:lnTo>
                <a:lnTo>
                  <a:pt x="457" y="97"/>
                </a:lnTo>
                <a:lnTo>
                  <a:pt x="453" y="94"/>
                </a:lnTo>
                <a:lnTo>
                  <a:pt x="450" y="92"/>
                </a:lnTo>
                <a:lnTo>
                  <a:pt x="444" y="91"/>
                </a:lnTo>
                <a:lnTo>
                  <a:pt x="440" y="91"/>
                </a:lnTo>
                <a:lnTo>
                  <a:pt x="434" y="91"/>
                </a:lnTo>
                <a:lnTo>
                  <a:pt x="423" y="87"/>
                </a:lnTo>
                <a:lnTo>
                  <a:pt x="411" y="81"/>
                </a:lnTo>
                <a:lnTo>
                  <a:pt x="399" y="76"/>
                </a:lnTo>
                <a:lnTo>
                  <a:pt x="387" y="72"/>
                </a:lnTo>
                <a:lnTo>
                  <a:pt x="375" y="67"/>
                </a:lnTo>
                <a:lnTo>
                  <a:pt x="363" y="59"/>
                </a:lnTo>
                <a:lnTo>
                  <a:pt x="358" y="56"/>
                </a:lnTo>
                <a:lnTo>
                  <a:pt x="351" y="52"/>
                </a:lnTo>
                <a:lnTo>
                  <a:pt x="344" y="49"/>
                </a:lnTo>
                <a:lnTo>
                  <a:pt x="336" y="47"/>
                </a:lnTo>
                <a:lnTo>
                  <a:pt x="322" y="42"/>
                </a:lnTo>
                <a:lnTo>
                  <a:pt x="308" y="36"/>
                </a:lnTo>
                <a:lnTo>
                  <a:pt x="295" y="32"/>
                </a:lnTo>
                <a:lnTo>
                  <a:pt x="283" y="27"/>
                </a:lnTo>
                <a:lnTo>
                  <a:pt x="268" y="23"/>
                </a:lnTo>
                <a:lnTo>
                  <a:pt x="254" y="19"/>
                </a:lnTo>
                <a:lnTo>
                  <a:pt x="239" y="12"/>
                </a:lnTo>
                <a:lnTo>
                  <a:pt x="225" y="6"/>
                </a:lnTo>
                <a:lnTo>
                  <a:pt x="217" y="2"/>
                </a:lnTo>
                <a:lnTo>
                  <a:pt x="209" y="0"/>
                </a:lnTo>
                <a:lnTo>
                  <a:pt x="203" y="1"/>
                </a:lnTo>
                <a:lnTo>
                  <a:pt x="197" y="3"/>
                </a:lnTo>
                <a:lnTo>
                  <a:pt x="180" y="4"/>
                </a:lnTo>
                <a:lnTo>
                  <a:pt x="163" y="4"/>
                </a:lnTo>
                <a:lnTo>
                  <a:pt x="161" y="4"/>
                </a:lnTo>
                <a:lnTo>
                  <a:pt x="160" y="6"/>
                </a:lnTo>
                <a:lnTo>
                  <a:pt x="157" y="7"/>
                </a:lnTo>
                <a:lnTo>
                  <a:pt x="156" y="9"/>
                </a:lnTo>
                <a:lnTo>
                  <a:pt x="155" y="16"/>
                </a:lnTo>
                <a:lnTo>
                  <a:pt x="154" y="20"/>
                </a:lnTo>
                <a:lnTo>
                  <a:pt x="145" y="25"/>
                </a:lnTo>
                <a:lnTo>
                  <a:pt x="138" y="29"/>
                </a:lnTo>
                <a:lnTo>
                  <a:pt x="136" y="34"/>
                </a:lnTo>
                <a:lnTo>
                  <a:pt x="133" y="39"/>
                </a:lnTo>
                <a:lnTo>
                  <a:pt x="132" y="41"/>
                </a:lnTo>
                <a:lnTo>
                  <a:pt x="131" y="43"/>
                </a:lnTo>
                <a:lnTo>
                  <a:pt x="129" y="44"/>
                </a:lnTo>
                <a:lnTo>
                  <a:pt x="127" y="45"/>
                </a:lnTo>
                <a:lnTo>
                  <a:pt x="122" y="44"/>
                </a:lnTo>
                <a:lnTo>
                  <a:pt x="118" y="42"/>
                </a:lnTo>
                <a:lnTo>
                  <a:pt x="115" y="41"/>
                </a:lnTo>
                <a:lnTo>
                  <a:pt x="113" y="41"/>
                </a:lnTo>
                <a:lnTo>
                  <a:pt x="111" y="42"/>
                </a:lnTo>
                <a:lnTo>
                  <a:pt x="108" y="43"/>
                </a:lnTo>
                <a:lnTo>
                  <a:pt x="105" y="44"/>
                </a:lnTo>
                <a:lnTo>
                  <a:pt x="102" y="44"/>
                </a:lnTo>
                <a:lnTo>
                  <a:pt x="98" y="42"/>
                </a:lnTo>
                <a:lnTo>
                  <a:pt x="94" y="39"/>
                </a:lnTo>
                <a:lnTo>
                  <a:pt x="85" y="39"/>
                </a:lnTo>
                <a:lnTo>
                  <a:pt x="75" y="41"/>
                </a:lnTo>
                <a:lnTo>
                  <a:pt x="71" y="43"/>
                </a:lnTo>
                <a:lnTo>
                  <a:pt x="69" y="45"/>
                </a:lnTo>
                <a:lnTo>
                  <a:pt x="66" y="48"/>
                </a:lnTo>
                <a:lnTo>
                  <a:pt x="65" y="52"/>
                </a:lnTo>
                <a:lnTo>
                  <a:pt x="64" y="54"/>
                </a:lnTo>
                <a:lnTo>
                  <a:pt x="63" y="56"/>
                </a:lnTo>
                <a:lnTo>
                  <a:pt x="62" y="58"/>
                </a:lnTo>
                <a:lnTo>
                  <a:pt x="61" y="59"/>
                </a:lnTo>
                <a:lnTo>
                  <a:pt x="58" y="62"/>
                </a:lnTo>
                <a:lnTo>
                  <a:pt x="57" y="66"/>
                </a:lnTo>
                <a:lnTo>
                  <a:pt x="56" y="70"/>
                </a:lnTo>
                <a:lnTo>
                  <a:pt x="56" y="75"/>
                </a:lnTo>
                <a:lnTo>
                  <a:pt x="54" y="78"/>
                </a:lnTo>
                <a:lnTo>
                  <a:pt x="52" y="82"/>
                </a:lnTo>
                <a:close/>
                <a:moveTo>
                  <a:pt x="564" y="639"/>
                </a:moveTo>
                <a:lnTo>
                  <a:pt x="563" y="640"/>
                </a:lnTo>
                <a:lnTo>
                  <a:pt x="561" y="641"/>
                </a:lnTo>
                <a:lnTo>
                  <a:pt x="561" y="643"/>
                </a:lnTo>
                <a:lnTo>
                  <a:pt x="563" y="645"/>
                </a:lnTo>
                <a:lnTo>
                  <a:pt x="565" y="648"/>
                </a:lnTo>
                <a:lnTo>
                  <a:pt x="568" y="649"/>
                </a:lnTo>
                <a:lnTo>
                  <a:pt x="569" y="649"/>
                </a:lnTo>
                <a:lnTo>
                  <a:pt x="571" y="648"/>
                </a:lnTo>
                <a:lnTo>
                  <a:pt x="572" y="647"/>
                </a:lnTo>
                <a:lnTo>
                  <a:pt x="572" y="646"/>
                </a:lnTo>
                <a:lnTo>
                  <a:pt x="571" y="642"/>
                </a:lnTo>
                <a:lnTo>
                  <a:pt x="568" y="641"/>
                </a:lnTo>
                <a:lnTo>
                  <a:pt x="566" y="640"/>
                </a:lnTo>
                <a:lnTo>
                  <a:pt x="564" y="639"/>
                </a:lnTo>
                <a:lnTo>
                  <a:pt x="564" y="640"/>
                </a:lnTo>
                <a:lnTo>
                  <a:pt x="564" y="639"/>
                </a:lnTo>
                <a:close/>
                <a:moveTo>
                  <a:pt x="1863" y="826"/>
                </a:moveTo>
                <a:lnTo>
                  <a:pt x="1863" y="826"/>
                </a:lnTo>
                <a:lnTo>
                  <a:pt x="1863" y="826"/>
                </a:lnTo>
                <a:lnTo>
                  <a:pt x="1863" y="828"/>
                </a:lnTo>
                <a:lnTo>
                  <a:pt x="1863" y="826"/>
                </a:lnTo>
                <a:close/>
                <a:moveTo>
                  <a:pt x="1758" y="809"/>
                </a:moveTo>
                <a:lnTo>
                  <a:pt x="1756" y="809"/>
                </a:lnTo>
                <a:lnTo>
                  <a:pt x="1758" y="811"/>
                </a:lnTo>
                <a:lnTo>
                  <a:pt x="1758" y="809"/>
                </a:lnTo>
                <a:lnTo>
                  <a:pt x="1758" y="809"/>
                </a:lnTo>
                <a:lnTo>
                  <a:pt x="1758" y="809"/>
                </a:lnTo>
                <a:lnTo>
                  <a:pt x="1758" y="809"/>
                </a:lnTo>
                <a:close/>
                <a:moveTo>
                  <a:pt x="1215" y="513"/>
                </a:moveTo>
                <a:lnTo>
                  <a:pt x="1218" y="513"/>
                </a:lnTo>
                <a:lnTo>
                  <a:pt x="1220" y="513"/>
                </a:lnTo>
                <a:lnTo>
                  <a:pt x="1218" y="512"/>
                </a:lnTo>
                <a:lnTo>
                  <a:pt x="1215" y="513"/>
                </a:lnTo>
                <a:close/>
                <a:moveTo>
                  <a:pt x="45" y="91"/>
                </a:moveTo>
                <a:lnTo>
                  <a:pt x="46" y="90"/>
                </a:lnTo>
                <a:lnTo>
                  <a:pt x="45" y="87"/>
                </a:lnTo>
                <a:lnTo>
                  <a:pt x="44" y="86"/>
                </a:lnTo>
                <a:lnTo>
                  <a:pt x="42" y="85"/>
                </a:lnTo>
                <a:lnTo>
                  <a:pt x="42" y="86"/>
                </a:lnTo>
                <a:lnTo>
                  <a:pt x="42" y="89"/>
                </a:lnTo>
                <a:lnTo>
                  <a:pt x="42" y="90"/>
                </a:lnTo>
                <a:lnTo>
                  <a:pt x="45" y="91"/>
                </a:lnTo>
                <a:lnTo>
                  <a:pt x="45" y="91"/>
                </a:lnTo>
                <a:lnTo>
                  <a:pt x="45" y="91"/>
                </a:lnTo>
                <a:close/>
                <a:moveTo>
                  <a:pt x="1688" y="302"/>
                </a:moveTo>
                <a:lnTo>
                  <a:pt x="1684" y="301"/>
                </a:lnTo>
                <a:lnTo>
                  <a:pt x="1679" y="302"/>
                </a:lnTo>
                <a:lnTo>
                  <a:pt x="1674" y="305"/>
                </a:lnTo>
                <a:lnTo>
                  <a:pt x="1670" y="307"/>
                </a:lnTo>
                <a:lnTo>
                  <a:pt x="1661" y="309"/>
                </a:lnTo>
                <a:lnTo>
                  <a:pt x="1653" y="313"/>
                </a:lnTo>
                <a:lnTo>
                  <a:pt x="1644" y="314"/>
                </a:lnTo>
                <a:lnTo>
                  <a:pt x="1635" y="313"/>
                </a:lnTo>
                <a:lnTo>
                  <a:pt x="1630" y="310"/>
                </a:lnTo>
                <a:lnTo>
                  <a:pt x="1627" y="309"/>
                </a:lnTo>
                <a:lnTo>
                  <a:pt x="1622" y="309"/>
                </a:lnTo>
                <a:lnTo>
                  <a:pt x="1618" y="310"/>
                </a:lnTo>
                <a:lnTo>
                  <a:pt x="1616" y="313"/>
                </a:lnTo>
                <a:lnTo>
                  <a:pt x="1616" y="315"/>
                </a:lnTo>
                <a:lnTo>
                  <a:pt x="1618" y="317"/>
                </a:lnTo>
                <a:lnTo>
                  <a:pt x="1619" y="319"/>
                </a:lnTo>
                <a:lnTo>
                  <a:pt x="1621" y="322"/>
                </a:lnTo>
                <a:lnTo>
                  <a:pt x="1623" y="324"/>
                </a:lnTo>
                <a:lnTo>
                  <a:pt x="1626" y="324"/>
                </a:lnTo>
                <a:lnTo>
                  <a:pt x="1630" y="324"/>
                </a:lnTo>
                <a:lnTo>
                  <a:pt x="1640" y="324"/>
                </a:lnTo>
                <a:lnTo>
                  <a:pt x="1649" y="323"/>
                </a:lnTo>
                <a:lnTo>
                  <a:pt x="1660" y="322"/>
                </a:lnTo>
                <a:lnTo>
                  <a:pt x="1670" y="319"/>
                </a:lnTo>
                <a:lnTo>
                  <a:pt x="1679" y="317"/>
                </a:lnTo>
                <a:lnTo>
                  <a:pt x="1689" y="314"/>
                </a:lnTo>
                <a:lnTo>
                  <a:pt x="1697" y="313"/>
                </a:lnTo>
                <a:lnTo>
                  <a:pt x="1704" y="310"/>
                </a:lnTo>
                <a:lnTo>
                  <a:pt x="1706" y="308"/>
                </a:lnTo>
                <a:lnTo>
                  <a:pt x="1709" y="308"/>
                </a:lnTo>
                <a:lnTo>
                  <a:pt x="1711" y="308"/>
                </a:lnTo>
                <a:lnTo>
                  <a:pt x="1713" y="308"/>
                </a:lnTo>
                <a:lnTo>
                  <a:pt x="1717" y="307"/>
                </a:lnTo>
                <a:lnTo>
                  <a:pt x="1719" y="307"/>
                </a:lnTo>
                <a:lnTo>
                  <a:pt x="1728" y="303"/>
                </a:lnTo>
                <a:lnTo>
                  <a:pt x="1737" y="300"/>
                </a:lnTo>
                <a:lnTo>
                  <a:pt x="1746" y="300"/>
                </a:lnTo>
                <a:lnTo>
                  <a:pt x="1756" y="300"/>
                </a:lnTo>
                <a:lnTo>
                  <a:pt x="1767" y="298"/>
                </a:lnTo>
                <a:lnTo>
                  <a:pt x="1776" y="296"/>
                </a:lnTo>
                <a:lnTo>
                  <a:pt x="1784" y="293"/>
                </a:lnTo>
                <a:lnTo>
                  <a:pt x="1793" y="290"/>
                </a:lnTo>
                <a:lnTo>
                  <a:pt x="1797" y="289"/>
                </a:lnTo>
                <a:lnTo>
                  <a:pt x="1801" y="286"/>
                </a:lnTo>
                <a:lnTo>
                  <a:pt x="1804" y="283"/>
                </a:lnTo>
                <a:lnTo>
                  <a:pt x="1808" y="281"/>
                </a:lnTo>
                <a:lnTo>
                  <a:pt x="1801" y="278"/>
                </a:lnTo>
                <a:lnTo>
                  <a:pt x="1794" y="277"/>
                </a:lnTo>
                <a:lnTo>
                  <a:pt x="1786" y="280"/>
                </a:lnTo>
                <a:lnTo>
                  <a:pt x="1778" y="282"/>
                </a:lnTo>
                <a:lnTo>
                  <a:pt x="1763" y="285"/>
                </a:lnTo>
                <a:lnTo>
                  <a:pt x="1747" y="290"/>
                </a:lnTo>
                <a:lnTo>
                  <a:pt x="1734" y="294"/>
                </a:lnTo>
                <a:lnTo>
                  <a:pt x="1719" y="298"/>
                </a:lnTo>
                <a:lnTo>
                  <a:pt x="1711" y="299"/>
                </a:lnTo>
                <a:lnTo>
                  <a:pt x="1704" y="302"/>
                </a:lnTo>
                <a:lnTo>
                  <a:pt x="1700" y="303"/>
                </a:lnTo>
                <a:lnTo>
                  <a:pt x="1696" y="303"/>
                </a:lnTo>
                <a:lnTo>
                  <a:pt x="1693" y="303"/>
                </a:lnTo>
                <a:lnTo>
                  <a:pt x="1688" y="302"/>
                </a:lnTo>
                <a:lnTo>
                  <a:pt x="1689" y="302"/>
                </a:lnTo>
                <a:lnTo>
                  <a:pt x="1688" y="302"/>
                </a:lnTo>
                <a:close/>
                <a:moveTo>
                  <a:pt x="737" y="234"/>
                </a:moveTo>
                <a:lnTo>
                  <a:pt x="738" y="236"/>
                </a:lnTo>
                <a:lnTo>
                  <a:pt x="741" y="238"/>
                </a:lnTo>
                <a:lnTo>
                  <a:pt x="742" y="238"/>
                </a:lnTo>
                <a:lnTo>
                  <a:pt x="745" y="236"/>
                </a:lnTo>
                <a:lnTo>
                  <a:pt x="745" y="235"/>
                </a:lnTo>
                <a:lnTo>
                  <a:pt x="745" y="234"/>
                </a:lnTo>
                <a:lnTo>
                  <a:pt x="744" y="232"/>
                </a:lnTo>
                <a:lnTo>
                  <a:pt x="740" y="232"/>
                </a:lnTo>
                <a:lnTo>
                  <a:pt x="738" y="232"/>
                </a:lnTo>
                <a:lnTo>
                  <a:pt x="737" y="234"/>
                </a:lnTo>
                <a:lnTo>
                  <a:pt x="737" y="234"/>
                </a:lnTo>
                <a:lnTo>
                  <a:pt x="737" y="234"/>
                </a:lnTo>
                <a:close/>
                <a:moveTo>
                  <a:pt x="1585" y="538"/>
                </a:moveTo>
                <a:lnTo>
                  <a:pt x="1580" y="535"/>
                </a:lnTo>
                <a:lnTo>
                  <a:pt x="1577" y="535"/>
                </a:lnTo>
                <a:lnTo>
                  <a:pt x="1572" y="538"/>
                </a:lnTo>
                <a:lnTo>
                  <a:pt x="1568" y="539"/>
                </a:lnTo>
                <a:lnTo>
                  <a:pt x="1572" y="540"/>
                </a:lnTo>
                <a:lnTo>
                  <a:pt x="1577" y="540"/>
                </a:lnTo>
                <a:lnTo>
                  <a:pt x="1581" y="540"/>
                </a:lnTo>
                <a:lnTo>
                  <a:pt x="1585" y="538"/>
                </a:lnTo>
                <a:close/>
                <a:moveTo>
                  <a:pt x="1546" y="322"/>
                </a:moveTo>
                <a:lnTo>
                  <a:pt x="1547" y="321"/>
                </a:lnTo>
                <a:lnTo>
                  <a:pt x="1547" y="319"/>
                </a:lnTo>
                <a:lnTo>
                  <a:pt x="1546" y="318"/>
                </a:lnTo>
                <a:lnTo>
                  <a:pt x="1545" y="317"/>
                </a:lnTo>
                <a:lnTo>
                  <a:pt x="1541" y="317"/>
                </a:lnTo>
                <a:lnTo>
                  <a:pt x="1538" y="317"/>
                </a:lnTo>
                <a:lnTo>
                  <a:pt x="1539" y="321"/>
                </a:lnTo>
                <a:lnTo>
                  <a:pt x="1540" y="322"/>
                </a:lnTo>
                <a:lnTo>
                  <a:pt x="1544" y="323"/>
                </a:lnTo>
                <a:lnTo>
                  <a:pt x="1546" y="322"/>
                </a:lnTo>
                <a:lnTo>
                  <a:pt x="1545" y="323"/>
                </a:lnTo>
                <a:lnTo>
                  <a:pt x="1546" y="322"/>
                </a:lnTo>
                <a:close/>
                <a:moveTo>
                  <a:pt x="1722" y="549"/>
                </a:moveTo>
                <a:lnTo>
                  <a:pt x="1720" y="551"/>
                </a:lnTo>
                <a:lnTo>
                  <a:pt x="1719" y="552"/>
                </a:lnTo>
                <a:lnTo>
                  <a:pt x="1720" y="555"/>
                </a:lnTo>
                <a:lnTo>
                  <a:pt x="1722" y="555"/>
                </a:lnTo>
                <a:lnTo>
                  <a:pt x="1726" y="554"/>
                </a:lnTo>
                <a:lnTo>
                  <a:pt x="1727" y="551"/>
                </a:lnTo>
                <a:lnTo>
                  <a:pt x="1726" y="550"/>
                </a:lnTo>
                <a:lnTo>
                  <a:pt x="1722" y="549"/>
                </a:lnTo>
                <a:lnTo>
                  <a:pt x="1722" y="550"/>
                </a:lnTo>
                <a:lnTo>
                  <a:pt x="1722" y="549"/>
                </a:lnTo>
                <a:close/>
                <a:moveTo>
                  <a:pt x="1903" y="757"/>
                </a:moveTo>
                <a:lnTo>
                  <a:pt x="1899" y="756"/>
                </a:lnTo>
                <a:lnTo>
                  <a:pt x="1894" y="757"/>
                </a:lnTo>
                <a:lnTo>
                  <a:pt x="1890" y="758"/>
                </a:lnTo>
                <a:lnTo>
                  <a:pt x="1886" y="761"/>
                </a:lnTo>
                <a:lnTo>
                  <a:pt x="1892" y="762"/>
                </a:lnTo>
                <a:lnTo>
                  <a:pt x="1899" y="762"/>
                </a:lnTo>
                <a:lnTo>
                  <a:pt x="1900" y="761"/>
                </a:lnTo>
                <a:lnTo>
                  <a:pt x="1902" y="759"/>
                </a:lnTo>
                <a:lnTo>
                  <a:pt x="1903" y="759"/>
                </a:lnTo>
                <a:lnTo>
                  <a:pt x="1904" y="758"/>
                </a:lnTo>
                <a:lnTo>
                  <a:pt x="1904" y="758"/>
                </a:lnTo>
                <a:lnTo>
                  <a:pt x="1903" y="757"/>
                </a:lnTo>
                <a:lnTo>
                  <a:pt x="1901" y="757"/>
                </a:lnTo>
                <a:lnTo>
                  <a:pt x="1903" y="757"/>
                </a:lnTo>
                <a:close/>
                <a:moveTo>
                  <a:pt x="788" y="966"/>
                </a:moveTo>
                <a:lnTo>
                  <a:pt x="792" y="967"/>
                </a:lnTo>
                <a:lnTo>
                  <a:pt x="798" y="970"/>
                </a:lnTo>
                <a:lnTo>
                  <a:pt x="800" y="970"/>
                </a:lnTo>
                <a:lnTo>
                  <a:pt x="803" y="970"/>
                </a:lnTo>
                <a:lnTo>
                  <a:pt x="806" y="969"/>
                </a:lnTo>
                <a:lnTo>
                  <a:pt x="810" y="967"/>
                </a:lnTo>
                <a:lnTo>
                  <a:pt x="803" y="965"/>
                </a:lnTo>
                <a:lnTo>
                  <a:pt x="798" y="965"/>
                </a:lnTo>
                <a:lnTo>
                  <a:pt x="794" y="965"/>
                </a:lnTo>
                <a:lnTo>
                  <a:pt x="788" y="966"/>
                </a:lnTo>
                <a:close/>
                <a:moveTo>
                  <a:pt x="723" y="198"/>
                </a:moveTo>
                <a:lnTo>
                  <a:pt x="723" y="199"/>
                </a:lnTo>
                <a:lnTo>
                  <a:pt x="724" y="200"/>
                </a:lnTo>
                <a:lnTo>
                  <a:pt x="726" y="201"/>
                </a:lnTo>
                <a:lnTo>
                  <a:pt x="728" y="201"/>
                </a:lnTo>
                <a:lnTo>
                  <a:pt x="730" y="201"/>
                </a:lnTo>
                <a:lnTo>
                  <a:pt x="732" y="200"/>
                </a:lnTo>
                <a:lnTo>
                  <a:pt x="733" y="199"/>
                </a:lnTo>
                <a:lnTo>
                  <a:pt x="733" y="198"/>
                </a:lnTo>
                <a:lnTo>
                  <a:pt x="733" y="197"/>
                </a:lnTo>
                <a:lnTo>
                  <a:pt x="732" y="195"/>
                </a:lnTo>
                <a:lnTo>
                  <a:pt x="730" y="194"/>
                </a:lnTo>
                <a:lnTo>
                  <a:pt x="729" y="194"/>
                </a:lnTo>
                <a:lnTo>
                  <a:pt x="726" y="194"/>
                </a:lnTo>
                <a:lnTo>
                  <a:pt x="724" y="195"/>
                </a:lnTo>
                <a:lnTo>
                  <a:pt x="723" y="197"/>
                </a:lnTo>
                <a:lnTo>
                  <a:pt x="723" y="198"/>
                </a:lnTo>
                <a:lnTo>
                  <a:pt x="723" y="198"/>
                </a:lnTo>
                <a:lnTo>
                  <a:pt x="723" y="198"/>
                </a:lnTo>
                <a:close/>
                <a:moveTo>
                  <a:pt x="1828" y="513"/>
                </a:moveTo>
                <a:lnTo>
                  <a:pt x="1832" y="514"/>
                </a:lnTo>
                <a:lnTo>
                  <a:pt x="1835" y="515"/>
                </a:lnTo>
                <a:lnTo>
                  <a:pt x="1837" y="515"/>
                </a:lnTo>
                <a:lnTo>
                  <a:pt x="1838" y="514"/>
                </a:lnTo>
                <a:lnTo>
                  <a:pt x="1840" y="513"/>
                </a:lnTo>
                <a:lnTo>
                  <a:pt x="1840" y="512"/>
                </a:lnTo>
                <a:lnTo>
                  <a:pt x="1838" y="509"/>
                </a:lnTo>
                <a:lnTo>
                  <a:pt x="1837" y="509"/>
                </a:lnTo>
                <a:lnTo>
                  <a:pt x="1836" y="509"/>
                </a:lnTo>
                <a:lnTo>
                  <a:pt x="1834" y="509"/>
                </a:lnTo>
                <a:lnTo>
                  <a:pt x="1830" y="512"/>
                </a:lnTo>
                <a:lnTo>
                  <a:pt x="1828" y="513"/>
                </a:lnTo>
                <a:lnTo>
                  <a:pt x="1832" y="513"/>
                </a:lnTo>
                <a:lnTo>
                  <a:pt x="1828" y="513"/>
                </a:lnTo>
                <a:close/>
                <a:moveTo>
                  <a:pt x="1183" y="605"/>
                </a:moveTo>
                <a:lnTo>
                  <a:pt x="1183" y="607"/>
                </a:lnTo>
                <a:lnTo>
                  <a:pt x="1184" y="608"/>
                </a:lnTo>
                <a:lnTo>
                  <a:pt x="1186" y="608"/>
                </a:lnTo>
                <a:lnTo>
                  <a:pt x="1190" y="608"/>
                </a:lnTo>
                <a:lnTo>
                  <a:pt x="1195" y="608"/>
                </a:lnTo>
                <a:lnTo>
                  <a:pt x="1200" y="607"/>
                </a:lnTo>
                <a:lnTo>
                  <a:pt x="1196" y="606"/>
                </a:lnTo>
                <a:lnTo>
                  <a:pt x="1191" y="604"/>
                </a:lnTo>
                <a:lnTo>
                  <a:pt x="1187" y="603"/>
                </a:lnTo>
                <a:lnTo>
                  <a:pt x="1185" y="603"/>
                </a:lnTo>
                <a:lnTo>
                  <a:pt x="1183" y="604"/>
                </a:lnTo>
                <a:lnTo>
                  <a:pt x="1183" y="605"/>
                </a:lnTo>
                <a:lnTo>
                  <a:pt x="1183" y="605"/>
                </a:lnTo>
                <a:lnTo>
                  <a:pt x="1183" y="605"/>
                </a:lnTo>
                <a:close/>
                <a:moveTo>
                  <a:pt x="1456" y="949"/>
                </a:moveTo>
                <a:lnTo>
                  <a:pt x="1453" y="948"/>
                </a:lnTo>
                <a:lnTo>
                  <a:pt x="1449" y="947"/>
                </a:lnTo>
                <a:lnTo>
                  <a:pt x="1447" y="947"/>
                </a:lnTo>
                <a:lnTo>
                  <a:pt x="1446" y="947"/>
                </a:lnTo>
                <a:lnTo>
                  <a:pt x="1445" y="948"/>
                </a:lnTo>
                <a:lnTo>
                  <a:pt x="1443" y="949"/>
                </a:lnTo>
                <a:lnTo>
                  <a:pt x="1445" y="952"/>
                </a:lnTo>
                <a:lnTo>
                  <a:pt x="1446" y="953"/>
                </a:lnTo>
                <a:lnTo>
                  <a:pt x="1447" y="953"/>
                </a:lnTo>
                <a:lnTo>
                  <a:pt x="1449" y="953"/>
                </a:lnTo>
                <a:lnTo>
                  <a:pt x="1454" y="950"/>
                </a:lnTo>
                <a:lnTo>
                  <a:pt x="1456" y="949"/>
                </a:lnTo>
                <a:lnTo>
                  <a:pt x="1453" y="949"/>
                </a:lnTo>
                <a:lnTo>
                  <a:pt x="1456" y="949"/>
                </a:lnTo>
                <a:close/>
                <a:moveTo>
                  <a:pt x="1482" y="328"/>
                </a:moveTo>
                <a:lnTo>
                  <a:pt x="1483" y="327"/>
                </a:lnTo>
                <a:lnTo>
                  <a:pt x="1484" y="327"/>
                </a:lnTo>
                <a:lnTo>
                  <a:pt x="1484" y="326"/>
                </a:lnTo>
                <a:lnTo>
                  <a:pt x="1484" y="325"/>
                </a:lnTo>
                <a:lnTo>
                  <a:pt x="1482" y="324"/>
                </a:lnTo>
                <a:lnTo>
                  <a:pt x="1480" y="323"/>
                </a:lnTo>
                <a:lnTo>
                  <a:pt x="1475" y="322"/>
                </a:lnTo>
                <a:lnTo>
                  <a:pt x="1470" y="323"/>
                </a:lnTo>
                <a:lnTo>
                  <a:pt x="1472" y="326"/>
                </a:lnTo>
                <a:lnTo>
                  <a:pt x="1474" y="328"/>
                </a:lnTo>
                <a:lnTo>
                  <a:pt x="1479" y="328"/>
                </a:lnTo>
                <a:lnTo>
                  <a:pt x="1482" y="328"/>
                </a:lnTo>
                <a:lnTo>
                  <a:pt x="1481" y="328"/>
                </a:lnTo>
                <a:lnTo>
                  <a:pt x="1482" y="328"/>
                </a:lnTo>
                <a:close/>
                <a:moveTo>
                  <a:pt x="1269" y="317"/>
                </a:moveTo>
                <a:lnTo>
                  <a:pt x="1273" y="317"/>
                </a:lnTo>
                <a:lnTo>
                  <a:pt x="1275" y="316"/>
                </a:lnTo>
                <a:lnTo>
                  <a:pt x="1275" y="314"/>
                </a:lnTo>
                <a:lnTo>
                  <a:pt x="1274" y="313"/>
                </a:lnTo>
                <a:lnTo>
                  <a:pt x="1272" y="311"/>
                </a:lnTo>
                <a:lnTo>
                  <a:pt x="1270" y="310"/>
                </a:lnTo>
                <a:lnTo>
                  <a:pt x="1267" y="310"/>
                </a:lnTo>
                <a:lnTo>
                  <a:pt x="1266" y="310"/>
                </a:lnTo>
                <a:lnTo>
                  <a:pt x="1265" y="311"/>
                </a:lnTo>
                <a:lnTo>
                  <a:pt x="1264" y="313"/>
                </a:lnTo>
                <a:lnTo>
                  <a:pt x="1265" y="314"/>
                </a:lnTo>
                <a:lnTo>
                  <a:pt x="1266" y="316"/>
                </a:lnTo>
                <a:lnTo>
                  <a:pt x="1267" y="316"/>
                </a:lnTo>
                <a:lnTo>
                  <a:pt x="1269" y="317"/>
                </a:lnTo>
                <a:lnTo>
                  <a:pt x="1269" y="317"/>
                </a:lnTo>
                <a:lnTo>
                  <a:pt x="1269" y="317"/>
                </a:lnTo>
                <a:close/>
                <a:moveTo>
                  <a:pt x="1645" y="558"/>
                </a:moveTo>
                <a:lnTo>
                  <a:pt x="1643" y="559"/>
                </a:lnTo>
                <a:lnTo>
                  <a:pt x="1641" y="562"/>
                </a:lnTo>
                <a:lnTo>
                  <a:pt x="1641" y="563"/>
                </a:lnTo>
                <a:lnTo>
                  <a:pt x="1644" y="565"/>
                </a:lnTo>
                <a:lnTo>
                  <a:pt x="1652" y="563"/>
                </a:lnTo>
                <a:lnTo>
                  <a:pt x="1659" y="560"/>
                </a:lnTo>
                <a:lnTo>
                  <a:pt x="1655" y="558"/>
                </a:lnTo>
                <a:lnTo>
                  <a:pt x="1652" y="558"/>
                </a:lnTo>
                <a:lnTo>
                  <a:pt x="1648" y="558"/>
                </a:lnTo>
                <a:lnTo>
                  <a:pt x="1645" y="558"/>
                </a:lnTo>
                <a:lnTo>
                  <a:pt x="1646" y="558"/>
                </a:lnTo>
                <a:lnTo>
                  <a:pt x="1645" y="558"/>
                </a:lnTo>
                <a:close/>
                <a:moveTo>
                  <a:pt x="1478" y="433"/>
                </a:moveTo>
                <a:lnTo>
                  <a:pt x="1480" y="435"/>
                </a:lnTo>
                <a:lnTo>
                  <a:pt x="1484" y="438"/>
                </a:lnTo>
                <a:lnTo>
                  <a:pt x="1488" y="439"/>
                </a:lnTo>
                <a:lnTo>
                  <a:pt x="1490" y="439"/>
                </a:lnTo>
                <a:lnTo>
                  <a:pt x="1492" y="439"/>
                </a:lnTo>
                <a:lnTo>
                  <a:pt x="1494" y="438"/>
                </a:lnTo>
                <a:lnTo>
                  <a:pt x="1495" y="435"/>
                </a:lnTo>
                <a:lnTo>
                  <a:pt x="1494" y="434"/>
                </a:lnTo>
                <a:lnTo>
                  <a:pt x="1491" y="433"/>
                </a:lnTo>
                <a:lnTo>
                  <a:pt x="1488" y="433"/>
                </a:lnTo>
                <a:lnTo>
                  <a:pt x="1482" y="433"/>
                </a:lnTo>
                <a:lnTo>
                  <a:pt x="1478" y="433"/>
                </a:lnTo>
                <a:lnTo>
                  <a:pt x="1479" y="433"/>
                </a:lnTo>
                <a:lnTo>
                  <a:pt x="1478" y="433"/>
                </a:lnTo>
                <a:close/>
                <a:moveTo>
                  <a:pt x="1182" y="577"/>
                </a:moveTo>
                <a:lnTo>
                  <a:pt x="1192" y="579"/>
                </a:lnTo>
                <a:lnTo>
                  <a:pt x="1202" y="577"/>
                </a:lnTo>
                <a:lnTo>
                  <a:pt x="1194" y="575"/>
                </a:lnTo>
                <a:lnTo>
                  <a:pt x="1190" y="574"/>
                </a:lnTo>
                <a:lnTo>
                  <a:pt x="1186" y="575"/>
                </a:lnTo>
                <a:lnTo>
                  <a:pt x="1182" y="577"/>
                </a:lnTo>
                <a:close/>
                <a:moveTo>
                  <a:pt x="754" y="235"/>
                </a:moveTo>
                <a:lnTo>
                  <a:pt x="759" y="239"/>
                </a:lnTo>
                <a:lnTo>
                  <a:pt x="764" y="240"/>
                </a:lnTo>
                <a:lnTo>
                  <a:pt x="770" y="241"/>
                </a:lnTo>
                <a:lnTo>
                  <a:pt x="775" y="240"/>
                </a:lnTo>
                <a:lnTo>
                  <a:pt x="771" y="238"/>
                </a:lnTo>
                <a:lnTo>
                  <a:pt x="765" y="235"/>
                </a:lnTo>
                <a:lnTo>
                  <a:pt x="759" y="235"/>
                </a:lnTo>
                <a:lnTo>
                  <a:pt x="754" y="235"/>
                </a:lnTo>
                <a:close/>
                <a:moveTo>
                  <a:pt x="734" y="326"/>
                </a:moveTo>
                <a:lnTo>
                  <a:pt x="738" y="330"/>
                </a:lnTo>
                <a:lnTo>
                  <a:pt x="744" y="333"/>
                </a:lnTo>
                <a:lnTo>
                  <a:pt x="746" y="335"/>
                </a:lnTo>
                <a:lnTo>
                  <a:pt x="748" y="335"/>
                </a:lnTo>
                <a:lnTo>
                  <a:pt x="750" y="334"/>
                </a:lnTo>
                <a:lnTo>
                  <a:pt x="751" y="331"/>
                </a:lnTo>
                <a:lnTo>
                  <a:pt x="751" y="328"/>
                </a:lnTo>
                <a:lnTo>
                  <a:pt x="750" y="327"/>
                </a:lnTo>
                <a:lnTo>
                  <a:pt x="748" y="326"/>
                </a:lnTo>
                <a:lnTo>
                  <a:pt x="745" y="326"/>
                </a:lnTo>
                <a:lnTo>
                  <a:pt x="739" y="326"/>
                </a:lnTo>
                <a:lnTo>
                  <a:pt x="734" y="326"/>
                </a:lnTo>
                <a:lnTo>
                  <a:pt x="739" y="328"/>
                </a:lnTo>
                <a:lnTo>
                  <a:pt x="734" y="326"/>
                </a:lnTo>
                <a:close/>
                <a:moveTo>
                  <a:pt x="1547" y="540"/>
                </a:moveTo>
                <a:lnTo>
                  <a:pt x="1545" y="538"/>
                </a:lnTo>
                <a:lnTo>
                  <a:pt x="1539" y="538"/>
                </a:lnTo>
                <a:lnTo>
                  <a:pt x="1536" y="538"/>
                </a:lnTo>
                <a:lnTo>
                  <a:pt x="1533" y="539"/>
                </a:lnTo>
                <a:lnTo>
                  <a:pt x="1532" y="540"/>
                </a:lnTo>
                <a:lnTo>
                  <a:pt x="1532" y="541"/>
                </a:lnTo>
                <a:lnTo>
                  <a:pt x="1532" y="542"/>
                </a:lnTo>
                <a:lnTo>
                  <a:pt x="1535" y="543"/>
                </a:lnTo>
                <a:lnTo>
                  <a:pt x="1537" y="545"/>
                </a:lnTo>
                <a:lnTo>
                  <a:pt x="1539" y="545"/>
                </a:lnTo>
                <a:lnTo>
                  <a:pt x="1542" y="543"/>
                </a:lnTo>
                <a:lnTo>
                  <a:pt x="1545" y="543"/>
                </a:lnTo>
                <a:lnTo>
                  <a:pt x="1546" y="542"/>
                </a:lnTo>
                <a:lnTo>
                  <a:pt x="1547" y="540"/>
                </a:lnTo>
                <a:lnTo>
                  <a:pt x="1547" y="541"/>
                </a:lnTo>
                <a:lnTo>
                  <a:pt x="1547" y="540"/>
                </a:lnTo>
                <a:close/>
                <a:moveTo>
                  <a:pt x="972" y="383"/>
                </a:moveTo>
                <a:lnTo>
                  <a:pt x="976" y="385"/>
                </a:lnTo>
                <a:lnTo>
                  <a:pt x="980" y="388"/>
                </a:lnTo>
                <a:lnTo>
                  <a:pt x="985" y="388"/>
                </a:lnTo>
                <a:lnTo>
                  <a:pt x="989" y="385"/>
                </a:lnTo>
                <a:lnTo>
                  <a:pt x="985" y="382"/>
                </a:lnTo>
                <a:lnTo>
                  <a:pt x="979" y="380"/>
                </a:lnTo>
                <a:lnTo>
                  <a:pt x="977" y="380"/>
                </a:lnTo>
                <a:lnTo>
                  <a:pt x="975" y="380"/>
                </a:lnTo>
                <a:lnTo>
                  <a:pt x="972" y="381"/>
                </a:lnTo>
                <a:lnTo>
                  <a:pt x="972" y="383"/>
                </a:lnTo>
                <a:lnTo>
                  <a:pt x="973" y="384"/>
                </a:lnTo>
                <a:lnTo>
                  <a:pt x="972" y="383"/>
                </a:lnTo>
                <a:close/>
                <a:moveTo>
                  <a:pt x="1618" y="334"/>
                </a:moveTo>
                <a:lnTo>
                  <a:pt x="1618" y="336"/>
                </a:lnTo>
                <a:lnTo>
                  <a:pt x="1620" y="338"/>
                </a:lnTo>
                <a:lnTo>
                  <a:pt x="1622" y="338"/>
                </a:lnTo>
                <a:lnTo>
                  <a:pt x="1626" y="336"/>
                </a:lnTo>
                <a:lnTo>
                  <a:pt x="1628" y="335"/>
                </a:lnTo>
                <a:lnTo>
                  <a:pt x="1630" y="334"/>
                </a:lnTo>
                <a:lnTo>
                  <a:pt x="1631" y="332"/>
                </a:lnTo>
                <a:lnTo>
                  <a:pt x="1630" y="330"/>
                </a:lnTo>
                <a:lnTo>
                  <a:pt x="1627" y="328"/>
                </a:lnTo>
                <a:lnTo>
                  <a:pt x="1623" y="328"/>
                </a:lnTo>
                <a:lnTo>
                  <a:pt x="1620" y="331"/>
                </a:lnTo>
                <a:lnTo>
                  <a:pt x="1618" y="334"/>
                </a:lnTo>
                <a:lnTo>
                  <a:pt x="1618" y="333"/>
                </a:lnTo>
                <a:lnTo>
                  <a:pt x="1618" y="334"/>
                </a:lnTo>
                <a:close/>
                <a:moveTo>
                  <a:pt x="1634" y="550"/>
                </a:moveTo>
                <a:lnTo>
                  <a:pt x="1624" y="551"/>
                </a:lnTo>
                <a:lnTo>
                  <a:pt x="1616" y="554"/>
                </a:lnTo>
                <a:lnTo>
                  <a:pt x="1622" y="556"/>
                </a:lnTo>
                <a:lnTo>
                  <a:pt x="1630" y="555"/>
                </a:lnTo>
                <a:lnTo>
                  <a:pt x="1632" y="556"/>
                </a:lnTo>
                <a:lnTo>
                  <a:pt x="1635" y="556"/>
                </a:lnTo>
                <a:lnTo>
                  <a:pt x="1638" y="555"/>
                </a:lnTo>
                <a:lnTo>
                  <a:pt x="1639" y="554"/>
                </a:lnTo>
                <a:lnTo>
                  <a:pt x="1639" y="551"/>
                </a:lnTo>
                <a:lnTo>
                  <a:pt x="1638" y="550"/>
                </a:lnTo>
                <a:lnTo>
                  <a:pt x="1636" y="550"/>
                </a:lnTo>
                <a:lnTo>
                  <a:pt x="1634" y="550"/>
                </a:lnTo>
                <a:lnTo>
                  <a:pt x="1632" y="550"/>
                </a:lnTo>
                <a:lnTo>
                  <a:pt x="1634" y="550"/>
                </a:lnTo>
                <a:close/>
                <a:moveTo>
                  <a:pt x="1983" y="549"/>
                </a:moveTo>
                <a:lnTo>
                  <a:pt x="1977" y="550"/>
                </a:lnTo>
                <a:lnTo>
                  <a:pt x="1974" y="555"/>
                </a:lnTo>
                <a:lnTo>
                  <a:pt x="1977" y="556"/>
                </a:lnTo>
                <a:lnTo>
                  <a:pt x="1982" y="557"/>
                </a:lnTo>
                <a:lnTo>
                  <a:pt x="1986" y="557"/>
                </a:lnTo>
                <a:lnTo>
                  <a:pt x="1990" y="555"/>
                </a:lnTo>
                <a:lnTo>
                  <a:pt x="1992" y="552"/>
                </a:lnTo>
                <a:lnTo>
                  <a:pt x="1992" y="551"/>
                </a:lnTo>
                <a:lnTo>
                  <a:pt x="1991" y="550"/>
                </a:lnTo>
                <a:lnTo>
                  <a:pt x="1990" y="550"/>
                </a:lnTo>
                <a:lnTo>
                  <a:pt x="1986" y="549"/>
                </a:lnTo>
                <a:lnTo>
                  <a:pt x="1983" y="549"/>
                </a:lnTo>
                <a:lnTo>
                  <a:pt x="1983" y="549"/>
                </a:lnTo>
                <a:lnTo>
                  <a:pt x="1983" y="549"/>
                </a:lnTo>
                <a:close/>
                <a:moveTo>
                  <a:pt x="822" y="1000"/>
                </a:moveTo>
                <a:lnTo>
                  <a:pt x="819" y="1000"/>
                </a:lnTo>
                <a:lnTo>
                  <a:pt x="816" y="1002"/>
                </a:lnTo>
                <a:lnTo>
                  <a:pt x="816" y="1003"/>
                </a:lnTo>
                <a:lnTo>
                  <a:pt x="817" y="1004"/>
                </a:lnTo>
                <a:lnTo>
                  <a:pt x="819" y="1005"/>
                </a:lnTo>
                <a:lnTo>
                  <a:pt x="820" y="1006"/>
                </a:lnTo>
                <a:lnTo>
                  <a:pt x="830" y="1006"/>
                </a:lnTo>
                <a:lnTo>
                  <a:pt x="839" y="1004"/>
                </a:lnTo>
                <a:lnTo>
                  <a:pt x="830" y="1002"/>
                </a:lnTo>
                <a:lnTo>
                  <a:pt x="822" y="1000"/>
                </a:lnTo>
                <a:lnTo>
                  <a:pt x="822" y="1000"/>
                </a:lnTo>
                <a:lnTo>
                  <a:pt x="822" y="1000"/>
                </a:lnTo>
                <a:close/>
                <a:moveTo>
                  <a:pt x="1195" y="313"/>
                </a:moveTo>
                <a:lnTo>
                  <a:pt x="1196" y="315"/>
                </a:lnTo>
                <a:lnTo>
                  <a:pt x="1198" y="316"/>
                </a:lnTo>
                <a:lnTo>
                  <a:pt x="1199" y="316"/>
                </a:lnTo>
                <a:lnTo>
                  <a:pt x="1201" y="317"/>
                </a:lnTo>
                <a:lnTo>
                  <a:pt x="1206" y="316"/>
                </a:lnTo>
                <a:lnTo>
                  <a:pt x="1208" y="314"/>
                </a:lnTo>
                <a:lnTo>
                  <a:pt x="1208" y="313"/>
                </a:lnTo>
                <a:lnTo>
                  <a:pt x="1207" y="310"/>
                </a:lnTo>
                <a:lnTo>
                  <a:pt x="1204" y="309"/>
                </a:lnTo>
                <a:lnTo>
                  <a:pt x="1202" y="309"/>
                </a:lnTo>
                <a:lnTo>
                  <a:pt x="1200" y="309"/>
                </a:lnTo>
                <a:lnTo>
                  <a:pt x="1198" y="309"/>
                </a:lnTo>
                <a:lnTo>
                  <a:pt x="1196" y="310"/>
                </a:lnTo>
                <a:lnTo>
                  <a:pt x="1195" y="313"/>
                </a:lnTo>
                <a:lnTo>
                  <a:pt x="1195" y="313"/>
                </a:lnTo>
                <a:lnTo>
                  <a:pt x="1195" y="313"/>
                </a:lnTo>
                <a:close/>
                <a:moveTo>
                  <a:pt x="2074" y="493"/>
                </a:moveTo>
                <a:lnTo>
                  <a:pt x="2077" y="493"/>
                </a:lnTo>
                <a:lnTo>
                  <a:pt x="2082" y="493"/>
                </a:lnTo>
                <a:lnTo>
                  <a:pt x="2085" y="491"/>
                </a:lnTo>
                <a:lnTo>
                  <a:pt x="2089" y="490"/>
                </a:lnTo>
                <a:lnTo>
                  <a:pt x="2091" y="489"/>
                </a:lnTo>
                <a:lnTo>
                  <a:pt x="2092" y="488"/>
                </a:lnTo>
                <a:lnTo>
                  <a:pt x="2091" y="487"/>
                </a:lnTo>
                <a:lnTo>
                  <a:pt x="2091" y="485"/>
                </a:lnTo>
                <a:lnTo>
                  <a:pt x="2088" y="484"/>
                </a:lnTo>
                <a:lnTo>
                  <a:pt x="2083" y="483"/>
                </a:lnTo>
                <a:lnTo>
                  <a:pt x="2084" y="481"/>
                </a:lnTo>
                <a:lnTo>
                  <a:pt x="2084" y="477"/>
                </a:lnTo>
                <a:lnTo>
                  <a:pt x="2085" y="476"/>
                </a:lnTo>
                <a:lnTo>
                  <a:pt x="2088" y="474"/>
                </a:lnTo>
                <a:lnTo>
                  <a:pt x="2096" y="471"/>
                </a:lnTo>
                <a:lnTo>
                  <a:pt x="2104" y="468"/>
                </a:lnTo>
                <a:lnTo>
                  <a:pt x="2112" y="466"/>
                </a:lnTo>
                <a:lnTo>
                  <a:pt x="2120" y="465"/>
                </a:lnTo>
                <a:lnTo>
                  <a:pt x="2127" y="462"/>
                </a:lnTo>
                <a:lnTo>
                  <a:pt x="2137" y="458"/>
                </a:lnTo>
                <a:lnTo>
                  <a:pt x="2143" y="456"/>
                </a:lnTo>
                <a:lnTo>
                  <a:pt x="2149" y="454"/>
                </a:lnTo>
                <a:lnTo>
                  <a:pt x="2149" y="451"/>
                </a:lnTo>
                <a:lnTo>
                  <a:pt x="2149" y="450"/>
                </a:lnTo>
                <a:lnTo>
                  <a:pt x="2148" y="449"/>
                </a:lnTo>
                <a:lnTo>
                  <a:pt x="2147" y="449"/>
                </a:lnTo>
                <a:lnTo>
                  <a:pt x="2143" y="449"/>
                </a:lnTo>
                <a:lnTo>
                  <a:pt x="2141" y="450"/>
                </a:lnTo>
                <a:lnTo>
                  <a:pt x="2131" y="454"/>
                </a:lnTo>
                <a:lnTo>
                  <a:pt x="2121" y="457"/>
                </a:lnTo>
                <a:lnTo>
                  <a:pt x="2110" y="460"/>
                </a:lnTo>
                <a:lnTo>
                  <a:pt x="2100" y="465"/>
                </a:lnTo>
                <a:lnTo>
                  <a:pt x="2091" y="468"/>
                </a:lnTo>
                <a:lnTo>
                  <a:pt x="2082" y="472"/>
                </a:lnTo>
                <a:lnTo>
                  <a:pt x="2073" y="475"/>
                </a:lnTo>
                <a:lnTo>
                  <a:pt x="2063" y="479"/>
                </a:lnTo>
                <a:lnTo>
                  <a:pt x="2047" y="487"/>
                </a:lnTo>
                <a:lnTo>
                  <a:pt x="2030" y="491"/>
                </a:lnTo>
                <a:lnTo>
                  <a:pt x="2020" y="493"/>
                </a:lnTo>
                <a:lnTo>
                  <a:pt x="2013" y="497"/>
                </a:lnTo>
                <a:lnTo>
                  <a:pt x="2006" y="499"/>
                </a:lnTo>
                <a:lnTo>
                  <a:pt x="1999" y="501"/>
                </a:lnTo>
                <a:lnTo>
                  <a:pt x="1998" y="504"/>
                </a:lnTo>
                <a:lnTo>
                  <a:pt x="1997" y="506"/>
                </a:lnTo>
                <a:lnTo>
                  <a:pt x="1997" y="507"/>
                </a:lnTo>
                <a:lnTo>
                  <a:pt x="1999" y="509"/>
                </a:lnTo>
                <a:lnTo>
                  <a:pt x="2003" y="509"/>
                </a:lnTo>
                <a:lnTo>
                  <a:pt x="2008" y="508"/>
                </a:lnTo>
                <a:lnTo>
                  <a:pt x="2013" y="506"/>
                </a:lnTo>
                <a:lnTo>
                  <a:pt x="2016" y="502"/>
                </a:lnTo>
                <a:lnTo>
                  <a:pt x="2018" y="500"/>
                </a:lnTo>
                <a:lnTo>
                  <a:pt x="2022" y="499"/>
                </a:lnTo>
                <a:lnTo>
                  <a:pt x="2025" y="498"/>
                </a:lnTo>
                <a:lnTo>
                  <a:pt x="2030" y="499"/>
                </a:lnTo>
                <a:lnTo>
                  <a:pt x="2035" y="499"/>
                </a:lnTo>
                <a:lnTo>
                  <a:pt x="2041" y="499"/>
                </a:lnTo>
                <a:lnTo>
                  <a:pt x="2044" y="497"/>
                </a:lnTo>
                <a:lnTo>
                  <a:pt x="2048" y="493"/>
                </a:lnTo>
                <a:lnTo>
                  <a:pt x="2056" y="489"/>
                </a:lnTo>
                <a:lnTo>
                  <a:pt x="2065" y="485"/>
                </a:lnTo>
                <a:lnTo>
                  <a:pt x="2074" y="484"/>
                </a:lnTo>
                <a:lnTo>
                  <a:pt x="2083" y="483"/>
                </a:lnTo>
                <a:lnTo>
                  <a:pt x="2083" y="485"/>
                </a:lnTo>
                <a:lnTo>
                  <a:pt x="2083" y="488"/>
                </a:lnTo>
                <a:lnTo>
                  <a:pt x="2082" y="489"/>
                </a:lnTo>
                <a:lnTo>
                  <a:pt x="2080" y="489"/>
                </a:lnTo>
                <a:lnTo>
                  <a:pt x="2076" y="491"/>
                </a:lnTo>
                <a:lnTo>
                  <a:pt x="2074" y="493"/>
                </a:lnTo>
                <a:lnTo>
                  <a:pt x="2077" y="492"/>
                </a:lnTo>
                <a:lnTo>
                  <a:pt x="2074" y="493"/>
                </a:lnTo>
                <a:close/>
                <a:moveTo>
                  <a:pt x="1326" y="314"/>
                </a:moveTo>
                <a:lnTo>
                  <a:pt x="1331" y="315"/>
                </a:lnTo>
                <a:lnTo>
                  <a:pt x="1338" y="315"/>
                </a:lnTo>
                <a:lnTo>
                  <a:pt x="1340" y="315"/>
                </a:lnTo>
                <a:lnTo>
                  <a:pt x="1342" y="314"/>
                </a:lnTo>
                <a:lnTo>
                  <a:pt x="1343" y="311"/>
                </a:lnTo>
                <a:lnTo>
                  <a:pt x="1342" y="310"/>
                </a:lnTo>
                <a:lnTo>
                  <a:pt x="1341" y="308"/>
                </a:lnTo>
                <a:lnTo>
                  <a:pt x="1339" y="308"/>
                </a:lnTo>
                <a:lnTo>
                  <a:pt x="1336" y="308"/>
                </a:lnTo>
                <a:lnTo>
                  <a:pt x="1334" y="308"/>
                </a:lnTo>
                <a:lnTo>
                  <a:pt x="1330" y="311"/>
                </a:lnTo>
                <a:lnTo>
                  <a:pt x="1326" y="314"/>
                </a:lnTo>
                <a:lnTo>
                  <a:pt x="1331" y="313"/>
                </a:lnTo>
                <a:lnTo>
                  <a:pt x="1326" y="314"/>
                </a:lnTo>
                <a:close/>
                <a:moveTo>
                  <a:pt x="2115" y="720"/>
                </a:moveTo>
                <a:lnTo>
                  <a:pt x="2123" y="720"/>
                </a:lnTo>
                <a:lnTo>
                  <a:pt x="2130" y="718"/>
                </a:lnTo>
                <a:lnTo>
                  <a:pt x="2135" y="716"/>
                </a:lnTo>
                <a:lnTo>
                  <a:pt x="2141" y="714"/>
                </a:lnTo>
                <a:lnTo>
                  <a:pt x="2138" y="713"/>
                </a:lnTo>
                <a:lnTo>
                  <a:pt x="2134" y="713"/>
                </a:lnTo>
                <a:lnTo>
                  <a:pt x="2132" y="713"/>
                </a:lnTo>
                <a:lnTo>
                  <a:pt x="2129" y="714"/>
                </a:lnTo>
                <a:lnTo>
                  <a:pt x="2122" y="716"/>
                </a:lnTo>
                <a:lnTo>
                  <a:pt x="2115" y="720"/>
                </a:lnTo>
                <a:close/>
                <a:moveTo>
                  <a:pt x="2096" y="285"/>
                </a:moveTo>
                <a:lnTo>
                  <a:pt x="2106" y="283"/>
                </a:lnTo>
                <a:lnTo>
                  <a:pt x="2116" y="281"/>
                </a:lnTo>
                <a:lnTo>
                  <a:pt x="2113" y="280"/>
                </a:lnTo>
                <a:lnTo>
                  <a:pt x="2110" y="278"/>
                </a:lnTo>
                <a:lnTo>
                  <a:pt x="2107" y="277"/>
                </a:lnTo>
                <a:lnTo>
                  <a:pt x="2105" y="277"/>
                </a:lnTo>
                <a:lnTo>
                  <a:pt x="2102" y="278"/>
                </a:lnTo>
                <a:lnTo>
                  <a:pt x="2100" y="280"/>
                </a:lnTo>
                <a:lnTo>
                  <a:pt x="2098" y="283"/>
                </a:lnTo>
                <a:lnTo>
                  <a:pt x="2096" y="285"/>
                </a:lnTo>
                <a:close/>
                <a:moveTo>
                  <a:pt x="1717" y="541"/>
                </a:moveTo>
                <a:lnTo>
                  <a:pt x="1715" y="539"/>
                </a:lnTo>
                <a:lnTo>
                  <a:pt x="1713" y="538"/>
                </a:lnTo>
                <a:lnTo>
                  <a:pt x="1710" y="538"/>
                </a:lnTo>
                <a:lnTo>
                  <a:pt x="1706" y="538"/>
                </a:lnTo>
                <a:lnTo>
                  <a:pt x="1703" y="539"/>
                </a:lnTo>
                <a:lnTo>
                  <a:pt x="1700" y="540"/>
                </a:lnTo>
                <a:lnTo>
                  <a:pt x="1698" y="542"/>
                </a:lnTo>
                <a:lnTo>
                  <a:pt x="1698" y="545"/>
                </a:lnTo>
                <a:lnTo>
                  <a:pt x="1700" y="546"/>
                </a:lnTo>
                <a:lnTo>
                  <a:pt x="1702" y="546"/>
                </a:lnTo>
                <a:lnTo>
                  <a:pt x="1704" y="547"/>
                </a:lnTo>
                <a:lnTo>
                  <a:pt x="1708" y="546"/>
                </a:lnTo>
                <a:lnTo>
                  <a:pt x="1711" y="546"/>
                </a:lnTo>
                <a:lnTo>
                  <a:pt x="1713" y="545"/>
                </a:lnTo>
                <a:lnTo>
                  <a:pt x="1715" y="542"/>
                </a:lnTo>
                <a:lnTo>
                  <a:pt x="1717" y="541"/>
                </a:lnTo>
                <a:lnTo>
                  <a:pt x="1717" y="541"/>
                </a:lnTo>
                <a:lnTo>
                  <a:pt x="1717" y="541"/>
                </a:lnTo>
                <a:close/>
                <a:moveTo>
                  <a:pt x="2025" y="392"/>
                </a:moveTo>
                <a:lnTo>
                  <a:pt x="2034" y="392"/>
                </a:lnTo>
                <a:lnTo>
                  <a:pt x="2043" y="393"/>
                </a:lnTo>
                <a:lnTo>
                  <a:pt x="2046" y="394"/>
                </a:lnTo>
                <a:lnTo>
                  <a:pt x="2047" y="397"/>
                </a:lnTo>
                <a:lnTo>
                  <a:pt x="2050" y="398"/>
                </a:lnTo>
                <a:lnTo>
                  <a:pt x="2053" y="398"/>
                </a:lnTo>
                <a:lnTo>
                  <a:pt x="2056" y="397"/>
                </a:lnTo>
                <a:lnTo>
                  <a:pt x="2058" y="396"/>
                </a:lnTo>
                <a:lnTo>
                  <a:pt x="2059" y="393"/>
                </a:lnTo>
                <a:lnTo>
                  <a:pt x="2059" y="390"/>
                </a:lnTo>
                <a:lnTo>
                  <a:pt x="2061" y="384"/>
                </a:lnTo>
                <a:lnTo>
                  <a:pt x="2065" y="380"/>
                </a:lnTo>
                <a:lnTo>
                  <a:pt x="2059" y="381"/>
                </a:lnTo>
                <a:lnTo>
                  <a:pt x="2053" y="382"/>
                </a:lnTo>
                <a:lnTo>
                  <a:pt x="2049" y="384"/>
                </a:lnTo>
                <a:lnTo>
                  <a:pt x="2044" y="386"/>
                </a:lnTo>
                <a:lnTo>
                  <a:pt x="2039" y="388"/>
                </a:lnTo>
                <a:lnTo>
                  <a:pt x="2034" y="388"/>
                </a:lnTo>
                <a:lnTo>
                  <a:pt x="2030" y="389"/>
                </a:lnTo>
                <a:lnTo>
                  <a:pt x="2025" y="392"/>
                </a:lnTo>
                <a:lnTo>
                  <a:pt x="2031" y="390"/>
                </a:lnTo>
                <a:lnTo>
                  <a:pt x="2025" y="392"/>
                </a:lnTo>
                <a:close/>
                <a:moveTo>
                  <a:pt x="2124" y="891"/>
                </a:moveTo>
                <a:lnTo>
                  <a:pt x="2132" y="888"/>
                </a:lnTo>
                <a:lnTo>
                  <a:pt x="2141" y="883"/>
                </a:lnTo>
                <a:lnTo>
                  <a:pt x="2135" y="883"/>
                </a:lnTo>
                <a:lnTo>
                  <a:pt x="2130" y="884"/>
                </a:lnTo>
                <a:lnTo>
                  <a:pt x="2126" y="887"/>
                </a:lnTo>
                <a:lnTo>
                  <a:pt x="2124" y="891"/>
                </a:lnTo>
                <a:close/>
                <a:moveTo>
                  <a:pt x="1473" y="350"/>
                </a:moveTo>
                <a:lnTo>
                  <a:pt x="1474" y="352"/>
                </a:lnTo>
                <a:lnTo>
                  <a:pt x="1476" y="352"/>
                </a:lnTo>
                <a:lnTo>
                  <a:pt x="1480" y="352"/>
                </a:lnTo>
                <a:lnTo>
                  <a:pt x="1484" y="352"/>
                </a:lnTo>
                <a:lnTo>
                  <a:pt x="1492" y="350"/>
                </a:lnTo>
                <a:lnTo>
                  <a:pt x="1497" y="348"/>
                </a:lnTo>
                <a:lnTo>
                  <a:pt x="1491" y="347"/>
                </a:lnTo>
                <a:lnTo>
                  <a:pt x="1483" y="346"/>
                </a:lnTo>
                <a:lnTo>
                  <a:pt x="1480" y="346"/>
                </a:lnTo>
                <a:lnTo>
                  <a:pt x="1476" y="347"/>
                </a:lnTo>
                <a:lnTo>
                  <a:pt x="1474" y="348"/>
                </a:lnTo>
                <a:lnTo>
                  <a:pt x="1473" y="350"/>
                </a:lnTo>
                <a:lnTo>
                  <a:pt x="1473" y="350"/>
                </a:lnTo>
                <a:lnTo>
                  <a:pt x="1473" y="350"/>
                </a:lnTo>
                <a:close/>
                <a:moveTo>
                  <a:pt x="887" y="1004"/>
                </a:moveTo>
                <a:lnTo>
                  <a:pt x="898" y="1007"/>
                </a:lnTo>
                <a:lnTo>
                  <a:pt x="904" y="1008"/>
                </a:lnTo>
                <a:lnTo>
                  <a:pt x="909" y="1008"/>
                </a:lnTo>
                <a:lnTo>
                  <a:pt x="911" y="1006"/>
                </a:lnTo>
                <a:lnTo>
                  <a:pt x="905" y="1004"/>
                </a:lnTo>
                <a:lnTo>
                  <a:pt x="899" y="1003"/>
                </a:lnTo>
                <a:lnTo>
                  <a:pt x="893" y="1003"/>
                </a:lnTo>
                <a:lnTo>
                  <a:pt x="887" y="1004"/>
                </a:lnTo>
                <a:close/>
                <a:moveTo>
                  <a:pt x="2116" y="372"/>
                </a:moveTo>
                <a:lnTo>
                  <a:pt x="2123" y="371"/>
                </a:lnTo>
                <a:lnTo>
                  <a:pt x="2129" y="368"/>
                </a:lnTo>
                <a:lnTo>
                  <a:pt x="2134" y="367"/>
                </a:lnTo>
                <a:lnTo>
                  <a:pt x="2140" y="364"/>
                </a:lnTo>
                <a:lnTo>
                  <a:pt x="2134" y="364"/>
                </a:lnTo>
                <a:lnTo>
                  <a:pt x="2127" y="365"/>
                </a:lnTo>
                <a:lnTo>
                  <a:pt x="2125" y="366"/>
                </a:lnTo>
                <a:lnTo>
                  <a:pt x="2122" y="367"/>
                </a:lnTo>
                <a:lnTo>
                  <a:pt x="2118" y="369"/>
                </a:lnTo>
                <a:lnTo>
                  <a:pt x="2116" y="372"/>
                </a:lnTo>
                <a:close/>
                <a:moveTo>
                  <a:pt x="2039" y="210"/>
                </a:moveTo>
                <a:lnTo>
                  <a:pt x="2041" y="209"/>
                </a:lnTo>
                <a:lnTo>
                  <a:pt x="2042" y="208"/>
                </a:lnTo>
                <a:lnTo>
                  <a:pt x="2042" y="207"/>
                </a:lnTo>
                <a:lnTo>
                  <a:pt x="2042" y="205"/>
                </a:lnTo>
                <a:lnTo>
                  <a:pt x="2040" y="203"/>
                </a:lnTo>
                <a:lnTo>
                  <a:pt x="2036" y="205"/>
                </a:lnTo>
                <a:lnTo>
                  <a:pt x="2032" y="206"/>
                </a:lnTo>
                <a:lnTo>
                  <a:pt x="2028" y="207"/>
                </a:lnTo>
                <a:lnTo>
                  <a:pt x="2025" y="209"/>
                </a:lnTo>
                <a:lnTo>
                  <a:pt x="2022" y="211"/>
                </a:lnTo>
                <a:lnTo>
                  <a:pt x="2026" y="213"/>
                </a:lnTo>
                <a:lnTo>
                  <a:pt x="2031" y="213"/>
                </a:lnTo>
                <a:lnTo>
                  <a:pt x="2035" y="213"/>
                </a:lnTo>
                <a:lnTo>
                  <a:pt x="2039" y="210"/>
                </a:lnTo>
                <a:lnTo>
                  <a:pt x="2038" y="211"/>
                </a:lnTo>
                <a:lnTo>
                  <a:pt x="2039" y="210"/>
                </a:lnTo>
                <a:close/>
                <a:moveTo>
                  <a:pt x="1550" y="582"/>
                </a:moveTo>
                <a:lnTo>
                  <a:pt x="1539" y="582"/>
                </a:lnTo>
                <a:lnTo>
                  <a:pt x="1527" y="582"/>
                </a:lnTo>
                <a:lnTo>
                  <a:pt x="1514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8" y="584"/>
                </a:lnTo>
                <a:lnTo>
                  <a:pt x="1514" y="584"/>
                </a:lnTo>
                <a:lnTo>
                  <a:pt x="1520" y="585"/>
                </a:lnTo>
                <a:lnTo>
                  <a:pt x="1527" y="584"/>
                </a:lnTo>
                <a:lnTo>
                  <a:pt x="1539" y="583"/>
                </a:lnTo>
                <a:lnTo>
                  <a:pt x="1550" y="582"/>
                </a:lnTo>
                <a:close/>
                <a:moveTo>
                  <a:pt x="1158" y="290"/>
                </a:moveTo>
                <a:lnTo>
                  <a:pt x="1154" y="290"/>
                </a:lnTo>
                <a:lnTo>
                  <a:pt x="1152" y="292"/>
                </a:lnTo>
                <a:lnTo>
                  <a:pt x="1151" y="294"/>
                </a:lnTo>
                <a:lnTo>
                  <a:pt x="1152" y="298"/>
                </a:lnTo>
                <a:lnTo>
                  <a:pt x="1156" y="299"/>
                </a:lnTo>
                <a:lnTo>
                  <a:pt x="1159" y="299"/>
                </a:lnTo>
                <a:lnTo>
                  <a:pt x="1162" y="299"/>
                </a:lnTo>
                <a:lnTo>
                  <a:pt x="1163" y="297"/>
                </a:lnTo>
                <a:lnTo>
                  <a:pt x="1165" y="296"/>
                </a:lnTo>
                <a:lnTo>
                  <a:pt x="1165" y="294"/>
                </a:lnTo>
                <a:lnTo>
                  <a:pt x="1163" y="292"/>
                </a:lnTo>
                <a:lnTo>
                  <a:pt x="1162" y="291"/>
                </a:lnTo>
                <a:lnTo>
                  <a:pt x="1160" y="290"/>
                </a:lnTo>
                <a:lnTo>
                  <a:pt x="1158" y="290"/>
                </a:lnTo>
                <a:lnTo>
                  <a:pt x="1157" y="290"/>
                </a:lnTo>
                <a:lnTo>
                  <a:pt x="1158" y="290"/>
                </a:lnTo>
                <a:close/>
                <a:moveTo>
                  <a:pt x="1953" y="520"/>
                </a:moveTo>
                <a:lnTo>
                  <a:pt x="1948" y="521"/>
                </a:lnTo>
                <a:lnTo>
                  <a:pt x="1943" y="521"/>
                </a:lnTo>
                <a:lnTo>
                  <a:pt x="1937" y="523"/>
                </a:lnTo>
                <a:lnTo>
                  <a:pt x="1934" y="525"/>
                </a:lnTo>
                <a:lnTo>
                  <a:pt x="1943" y="526"/>
                </a:lnTo>
                <a:lnTo>
                  <a:pt x="1953" y="525"/>
                </a:lnTo>
                <a:lnTo>
                  <a:pt x="1956" y="524"/>
                </a:lnTo>
                <a:lnTo>
                  <a:pt x="1956" y="522"/>
                </a:lnTo>
                <a:lnTo>
                  <a:pt x="1956" y="521"/>
                </a:lnTo>
                <a:lnTo>
                  <a:pt x="1956" y="520"/>
                </a:lnTo>
                <a:lnTo>
                  <a:pt x="1954" y="518"/>
                </a:lnTo>
                <a:lnTo>
                  <a:pt x="1953" y="520"/>
                </a:lnTo>
                <a:lnTo>
                  <a:pt x="1951" y="520"/>
                </a:lnTo>
                <a:lnTo>
                  <a:pt x="1953" y="520"/>
                </a:lnTo>
                <a:close/>
                <a:moveTo>
                  <a:pt x="1686" y="549"/>
                </a:moveTo>
                <a:lnTo>
                  <a:pt x="1688" y="548"/>
                </a:lnTo>
                <a:lnTo>
                  <a:pt x="1687" y="547"/>
                </a:lnTo>
                <a:lnTo>
                  <a:pt x="1687" y="545"/>
                </a:lnTo>
                <a:lnTo>
                  <a:pt x="1686" y="543"/>
                </a:lnTo>
                <a:lnTo>
                  <a:pt x="1681" y="543"/>
                </a:lnTo>
                <a:lnTo>
                  <a:pt x="1676" y="546"/>
                </a:lnTo>
                <a:lnTo>
                  <a:pt x="1664" y="548"/>
                </a:lnTo>
                <a:lnTo>
                  <a:pt x="1653" y="551"/>
                </a:lnTo>
                <a:lnTo>
                  <a:pt x="1657" y="552"/>
                </a:lnTo>
                <a:lnTo>
                  <a:pt x="1661" y="552"/>
                </a:lnTo>
                <a:lnTo>
                  <a:pt x="1665" y="552"/>
                </a:lnTo>
                <a:lnTo>
                  <a:pt x="1670" y="552"/>
                </a:lnTo>
                <a:lnTo>
                  <a:pt x="1678" y="550"/>
                </a:lnTo>
                <a:lnTo>
                  <a:pt x="1686" y="549"/>
                </a:lnTo>
                <a:lnTo>
                  <a:pt x="1682" y="549"/>
                </a:lnTo>
                <a:lnTo>
                  <a:pt x="1686" y="549"/>
                </a:lnTo>
                <a:close/>
                <a:moveTo>
                  <a:pt x="1407" y="497"/>
                </a:moveTo>
                <a:lnTo>
                  <a:pt x="1409" y="496"/>
                </a:lnTo>
                <a:lnTo>
                  <a:pt x="1412" y="496"/>
                </a:lnTo>
                <a:lnTo>
                  <a:pt x="1414" y="496"/>
                </a:lnTo>
                <a:lnTo>
                  <a:pt x="1415" y="496"/>
                </a:lnTo>
                <a:lnTo>
                  <a:pt x="1415" y="494"/>
                </a:lnTo>
                <a:lnTo>
                  <a:pt x="1415" y="493"/>
                </a:lnTo>
                <a:lnTo>
                  <a:pt x="1414" y="491"/>
                </a:lnTo>
                <a:lnTo>
                  <a:pt x="1412" y="490"/>
                </a:lnTo>
                <a:lnTo>
                  <a:pt x="1408" y="490"/>
                </a:lnTo>
                <a:lnTo>
                  <a:pt x="1406" y="490"/>
                </a:lnTo>
                <a:lnTo>
                  <a:pt x="1404" y="490"/>
                </a:lnTo>
                <a:lnTo>
                  <a:pt x="1400" y="490"/>
                </a:lnTo>
                <a:lnTo>
                  <a:pt x="1398" y="491"/>
                </a:lnTo>
                <a:lnTo>
                  <a:pt x="1397" y="493"/>
                </a:lnTo>
                <a:lnTo>
                  <a:pt x="1397" y="494"/>
                </a:lnTo>
                <a:lnTo>
                  <a:pt x="1398" y="496"/>
                </a:lnTo>
                <a:lnTo>
                  <a:pt x="1399" y="496"/>
                </a:lnTo>
                <a:lnTo>
                  <a:pt x="1400" y="496"/>
                </a:lnTo>
                <a:lnTo>
                  <a:pt x="1404" y="496"/>
                </a:lnTo>
                <a:lnTo>
                  <a:pt x="1407" y="497"/>
                </a:lnTo>
                <a:lnTo>
                  <a:pt x="1407" y="494"/>
                </a:lnTo>
                <a:lnTo>
                  <a:pt x="1407" y="497"/>
                </a:lnTo>
                <a:close/>
                <a:moveTo>
                  <a:pt x="1918" y="849"/>
                </a:moveTo>
                <a:lnTo>
                  <a:pt x="1910" y="850"/>
                </a:lnTo>
                <a:lnTo>
                  <a:pt x="1903" y="852"/>
                </a:lnTo>
                <a:lnTo>
                  <a:pt x="1896" y="853"/>
                </a:lnTo>
                <a:lnTo>
                  <a:pt x="1890" y="857"/>
                </a:lnTo>
                <a:lnTo>
                  <a:pt x="1898" y="857"/>
                </a:lnTo>
                <a:lnTo>
                  <a:pt x="1904" y="856"/>
                </a:lnTo>
                <a:lnTo>
                  <a:pt x="1911" y="854"/>
                </a:lnTo>
                <a:lnTo>
                  <a:pt x="1918" y="849"/>
                </a:lnTo>
                <a:close/>
                <a:moveTo>
                  <a:pt x="2063" y="897"/>
                </a:moveTo>
                <a:lnTo>
                  <a:pt x="2073" y="891"/>
                </a:lnTo>
                <a:lnTo>
                  <a:pt x="2083" y="886"/>
                </a:lnTo>
                <a:lnTo>
                  <a:pt x="2067" y="888"/>
                </a:lnTo>
                <a:lnTo>
                  <a:pt x="2052" y="891"/>
                </a:lnTo>
                <a:lnTo>
                  <a:pt x="2039" y="895"/>
                </a:lnTo>
                <a:lnTo>
                  <a:pt x="2024" y="900"/>
                </a:lnTo>
                <a:lnTo>
                  <a:pt x="2031" y="900"/>
                </a:lnTo>
                <a:lnTo>
                  <a:pt x="2038" y="899"/>
                </a:lnTo>
                <a:lnTo>
                  <a:pt x="2041" y="899"/>
                </a:lnTo>
                <a:lnTo>
                  <a:pt x="2043" y="900"/>
                </a:lnTo>
                <a:lnTo>
                  <a:pt x="2047" y="903"/>
                </a:lnTo>
                <a:lnTo>
                  <a:pt x="2049" y="905"/>
                </a:lnTo>
                <a:lnTo>
                  <a:pt x="2040" y="909"/>
                </a:lnTo>
                <a:lnTo>
                  <a:pt x="2030" y="914"/>
                </a:lnTo>
                <a:lnTo>
                  <a:pt x="2020" y="913"/>
                </a:lnTo>
                <a:lnTo>
                  <a:pt x="2011" y="911"/>
                </a:lnTo>
                <a:lnTo>
                  <a:pt x="2000" y="908"/>
                </a:lnTo>
                <a:lnTo>
                  <a:pt x="1987" y="908"/>
                </a:lnTo>
                <a:lnTo>
                  <a:pt x="1976" y="909"/>
                </a:lnTo>
                <a:lnTo>
                  <a:pt x="1964" y="911"/>
                </a:lnTo>
                <a:lnTo>
                  <a:pt x="1960" y="911"/>
                </a:lnTo>
                <a:lnTo>
                  <a:pt x="1954" y="911"/>
                </a:lnTo>
                <a:lnTo>
                  <a:pt x="1952" y="912"/>
                </a:lnTo>
                <a:lnTo>
                  <a:pt x="1950" y="913"/>
                </a:lnTo>
                <a:lnTo>
                  <a:pt x="1949" y="915"/>
                </a:lnTo>
                <a:lnTo>
                  <a:pt x="1950" y="917"/>
                </a:lnTo>
                <a:lnTo>
                  <a:pt x="1954" y="919"/>
                </a:lnTo>
                <a:lnTo>
                  <a:pt x="1959" y="917"/>
                </a:lnTo>
                <a:lnTo>
                  <a:pt x="1964" y="916"/>
                </a:lnTo>
                <a:lnTo>
                  <a:pt x="1968" y="915"/>
                </a:lnTo>
                <a:lnTo>
                  <a:pt x="1972" y="915"/>
                </a:lnTo>
                <a:lnTo>
                  <a:pt x="1974" y="917"/>
                </a:lnTo>
                <a:lnTo>
                  <a:pt x="1976" y="919"/>
                </a:lnTo>
                <a:lnTo>
                  <a:pt x="1978" y="921"/>
                </a:lnTo>
                <a:lnTo>
                  <a:pt x="1981" y="923"/>
                </a:lnTo>
                <a:lnTo>
                  <a:pt x="1982" y="925"/>
                </a:lnTo>
                <a:lnTo>
                  <a:pt x="1984" y="925"/>
                </a:lnTo>
                <a:lnTo>
                  <a:pt x="1989" y="925"/>
                </a:lnTo>
                <a:lnTo>
                  <a:pt x="2013" y="921"/>
                </a:lnTo>
                <a:lnTo>
                  <a:pt x="2035" y="915"/>
                </a:lnTo>
                <a:lnTo>
                  <a:pt x="2059" y="909"/>
                </a:lnTo>
                <a:lnTo>
                  <a:pt x="2083" y="904"/>
                </a:lnTo>
                <a:lnTo>
                  <a:pt x="2094" y="899"/>
                </a:lnTo>
                <a:lnTo>
                  <a:pt x="2106" y="896"/>
                </a:lnTo>
                <a:lnTo>
                  <a:pt x="2109" y="896"/>
                </a:lnTo>
                <a:lnTo>
                  <a:pt x="2112" y="895"/>
                </a:lnTo>
                <a:lnTo>
                  <a:pt x="2112" y="892"/>
                </a:lnTo>
                <a:lnTo>
                  <a:pt x="2109" y="891"/>
                </a:lnTo>
                <a:lnTo>
                  <a:pt x="2105" y="891"/>
                </a:lnTo>
                <a:lnTo>
                  <a:pt x="2100" y="891"/>
                </a:lnTo>
                <a:lnTo>
                  <a:pt x="2090" y="894"/>
                </a:lnTo>
                <a:lnTo>
                  <a:pt x="2081" y="897"/>
                </a:lnTo>
                <a:lnTo>
                  <a:pt x="2076" y="898"/>
                </a:lnTo>
                <a:lnTo>
                  <a:pt x="2072" y="898"/>
                </a:lnTo>
                <a:lnTo>
                  <a:pt x="2067" y="898"/>
                </a:lnTo>
                <a:lnTo>
                  <a:pt x="2063" y="897"/>
                </a:lnTo>
                <a:lnTo>
                  <a:pt x="2071" y="896"/>
                </a:lnTo>
                <a:lnTo>
                  <a:pt x="2063" y="897"/>
                </a:lnTo>
                <a:close/>
                <a:moveTo>
                  <a:pt x="1363" y="513"/>
                </a:moveTo>
                <a:lnTo>
                  <a:pt x="1362" y="510"/>
                </a:lnTo>
                <a:lnTo>
                  <a:pt x="1359" y="509"/>
                </a:lnTo>
                <a:lnTo>
                  <a:pt x="1356" y="509"/>
                </a:lnTo>
                <a:lnTo>
                  <a:pt x="1352" y="509"/>
                </a:lnTo>
                <a:lnTo>
                  <a:pt x="1349" y="509"/>
                </a:lnTo>
                <a:lnTo>
                  <a:pt x="1346" y="509"/>
                </a:lnTo>
                <a:lnTo>
                  <a:pt x="1343" y="510"/>
                </a:lnTo>
                <a:lnTo>
                  <a:pt x="1343" y="513"/>
                </a:lnTo>
                <a:lnTo>
                  <a:pt x="1344" y="515"/>
                </a:lnTo>
                <a:lnTo>
                  <a:pt x="1347" y="516"/>
                </a:lnTo>
                <a:lnTo>
                  <a:pt x="1349" y="516"/>
                </a:lnTo>
                <a:lnTo>
                  <a:pt x="1352" y="517"/>
                </a:lnTo>
                <a:lnTo>
                  <a:pt x="1356" y="517"/>
                </a:lnTo>
                <a:lnTo>
                  <a:pt x="1359" y="516"/>
                </a:lnTo>
                <a:lnTo>
                  <a:pt x="1362" y="514"/>
                </a:lnTo>
                <a:lnTo>
                  <a:pt x="1363" y="513"/>
                </a:lnTo>
                <a:lnTo>
                  <a:pt x="1363" y="513"/>
                </a:lnTo>
                <a:lnTo>
                  <a:pt x="1363" y="513"/>
                </a:lnTo>
                <a:close/>
                <a:moveTo>
                  <a:pt x="1730" y="541"/>
                </a:moveTo>
                <a:lnTo>
                  <a:pt x="1741" y="540"/>
                </a:lnTo>
                <a:lnTo>
                  <a:pt x="1752" y="538"/>
                </a:lnTo>
                <a:lnTo>
                  <a:pt x="1755" y="537"/>
                </a:lnTo>
                <a:lnTo>
                  <a:pt x="1755" y="535"/>
                </a:lnTo>
                <a:lnTo>
                  <a:pt x="1755" y="533"/>
                </a:lnTo>
                <a:lnTo>
                  <a:pt x="1752" y="532"/>
                </a:lnTo>
                <a:lnTo>
                  <a:pt x="1743" y="532"/>
                </a:lnTo>
                <a:lnTo>
                  <a:pt x="1734" y="535"/>
                </a:lnTo>
                <a:lnTo>
                  <a:pt x="1729" y="535"/>
                </a:lnTo>
                <a:lnTo>
                  <a:pt x="1726" y="537"/>
                </a:lnTo>
                <a:lnTo>
                  <a:pt x="1726" y="539"/>
                </a:lnTo>
                <a:lnTo>
                  <a:pt x="1727" y="540"/>
                </a:lnTo>
                <a:lnTo>
                  <a:pt x="1728" y="541"/>
                </a:lnTo>
                <a:lnTo>
                  <a:pt x="1730" y="541"/>
                </a:lnTo>
                <a:lnTo>
                  <a:pt x="1731" y="541"/>
                </a:lnTo>
                <a:lnTo>
                  <a:pt x="1730" y="541"/>
                </a:lnTo>
                <a:close/>
                <a:moveTo>
                  <a:pt x="2019" y="427"/>
                </a:moveTo>
                <a:lnTo>
                  <a:pt x="2011" y="432"/>
                </a:lnTo>
                <a:lnTo>
                  <a:pt x="2003" y="435"/>
                </a:lnTo>
                <a:lnTo>
                  <a:pt x="2002" y="437"/>
                </a:lnTo>
                <a:lnTo>
                  <a:pt x="2001" y="438"/>
                </a:lnTo>
                <a:lnTo>
                  <a:pt x="2001" y="440"/>
                </a:lnTo>
                <a:lnTo>
                  <a:pt x="2002" y="441"/>
                </a:lnTo>
                <a:lnTo>
                  <a:pt x="2005" y="442"/>
                </a:lnTo>
                <a:lnTo>
                  <a:pt x="2008" y="443"/>
                </a:lnTo>
                <a:lnTo>
                  <a:pt x="2011" y="442"/>
                </a:lnTo>
                <a:lnTo>
                  <a:pt x="2015" y="441"/>
                </a:lnTo>
                <a:lnTo>
                  <a:pt x="2018" y="438"/>
                </a:lnTo>
                <a:lnTo>
                  <a:pt x="2020" y="435"/>
                </a:lnTo>
                <a:lnTo>
                  <a:pt x="2023" y="432"/>
                </a:lnTo>
                <a:lnTo>
                  <a:pt x="2024" y="430"/>
                </a:lnTo>
                <a:lnTo>
                  <a:pt x="2024" y="429"/>
                </a:lnTo>
                <a:lnTo>
                  <a:pt x="2023" y="427"/>
                </a:lnTo>
                <a:lnTo>
                  <a:pt x="2020" y="427"/>
                </a:lnTo>
                <a:lnTo>
                  <a:pt x="2019" y="427"/>
                </a:lnTo>
                <a:lnTo>
                  <a:pt x="2018" y="429"/>
                </a:lnTo>
                <a:lnTo>
                  <a:pt x="2019" y="427"/>
                </a:lnTo>
                <a:close/>
                <a:moveTo>
                  <a:pt x="88" y="23"/>
                </a:moveTo>
                <a:lnTo>
                  <a:pt x="90" y="23"/>
                </a:lnTo>
                <a:lnTo>
                  <a:pt x="94" y="23"/>
                </a:lnTo>
                <a:lnTo>
                  <a:pt x="96" y="23"/>
                </a:lnTo>
                <a:lnTo>
                  <a:pt x="97" y="20"/>
                </a:lnTo>
                <a:lnTo>
                  <a:pt x="98" y="18"/>
                </a:lnTo>
                <a:lnTo>
                  <a:pt x="97" y="17"/>
                </a:lnTo>
                <a:lnTo>
                  <a:pt x="97" y="16"/>
                </a:lnTo>
                <a:lnTo>
                  <a:pt x="95" y="15"/>
                </a:lnTo>
                <a:lnTo>
                  <a:pt x="91" y="14"/>
                </a:lnTo>
                <a:lnTo>
                  <a:pt x="88" y="14"/>
                </a:lnTo>
                <a:lnTo>
                  <a:pt x="85" y="14"/>
                </a:lnTo>
                <a:lnTo>
                  <a:pt x="81" y="15"/>
                </a:lnTo>
                <a:lnTo>
                  <a:pt x="79" y="16"/>
                </a:lnTo>
                <a:lnTo>
                  <a:pt x="78" y="19"/>
                </a:lnTo>
                <a:lnTo>
                  <a:pt x="78" y="20"/>
                </a:lnTo>
                <a:lnTo>
                  <a:pt x="79" y="22"/>
                </a:lnTo>
                <a:lnTo>
                  <a:pt x="80" y="23"/>
                </a:lnTo>
                <a:lnTo>
                  <a:pt x="81" y="23"/>
                </a:lnTo>
                <a:lnTo>
                  <a:pt x="85" y="23"/>
                </a:lnTo>
                <a:lnTo>
                  <a:pt x="88" y="23"/>
                </a:lnTo>
                <a:lnTo>
                  <a:pt x="88" y="23"/>
                </a:lnTo>
                <a:lnTo>
                  <a:pt x="88" y="23"/>
                </a:lnTo>
                <a:close/>
                <a:moveTo>
                  <a:pt x="622" y="591"/>
                </a:moveTo>
                <a:lnTo>
                  <a:pt x="619" y="591"/>
                </a:lnTo>
                <a:lnTo>
                  <a:pt x="618" y="593"/>
                </a:lnTo>
                <a:lnTo>
                  <a:pt x="618" y="596"/>
                </a:lnTo>
                <a:lnTo>
                  <a:pt x="618" y="599"/>
                </a:lnTo>
                <a:lnTo>
                  <a:pt x="621" y="603"/>
                </a:lnTo>
                <a:lnTo>
                  <a:pt x="623" y="605"/>
                </a:lnTo>
                <a:lnTo>
                  <a:pt x="626" y="607"/>
                </a:lnTo>
                <a:lnTo>
                  <a:pt x="629" y="607"/>
                </a:lnTo>
                <a:lnTo>
                  <a:pt x="631" y="605"/>
                </a:lnTo>
                <a:lnTo>
                  <a:pt x="632" y="604"/>
                </a:lnTo>
                <a:lnTo>
                  <a:pt x="632" y="600"/>
                </a:lnTo>
                <a:lnTo>
                  <a:pt x="631" y="598"/>
                </a:lnTo>
                <a:lnTo>
                  <a:pt x="629" y="596"/>
                </a:lnTo>
                <a:lnTo>
                  <a:pt x="626" y="593"/>
                </a:lnTo>
                <a:lnTo>
                  <a:pt x="624" y="591"/>
                </a:lnTo>
                <a:lnTo>
                  <a:pt x="622" y="591"/>
                </a:lnTo>
                <a:lnTo>
                  <a:pt x="623" y="591"/>
                </a:lnTo>
                <a:lnTo>
                  <a:pt x="622" y="591"/>
                </a:lnTo>
                <a:close/>
                <a:moveTo>
                  <a:pt x="1705" y="555"/>
                </a:moveTo>
                <a:lnTo>
                  <a:pt x="1697" y="554"/>
                </a:lnTo>
                <a:lnTo>
                  <a:pt x="1688" y="554"/>
                </a:lnTo>
                <a:lnTo>
                  <a:pt x="1679" y="556"/>
                </a:lnTo>
                <a:lnTo>
                  <a:pt x="1671" y="559"/>
                </a:lnTo>
                <a:lnTo>
                  <a:pt x="1676" y="560"/>
                </a:lnTo>
                <a:lnTo>
                  <a:pt x="1680" y="560"/>
                </a:lnTo>
                <a:lnTo>
                  <a:pt x="1684" y="559"/>
                </a:lnTo>
                <a:lnTo>
                  <a:pt x="1688" y="559"/>
                </a:lnTo>
                <a:lnTo>
                  <a:pt x="1697" y="557"/>
                </a:lnTo>
                <a:lnTo>
                  <a:pt x="1705" y="555"/>
                </a:lnTo>
                <a:close/>
                <a:moveTo>
                  <a:pt x="1983" y="205"/>
                </a:moveTo>
                <a:lnTo>
                  <a:pt x="1990" y="201"/>
                </a:lnTo>
                <a:lnTo>
                  <a:pt x="1997" y="198"/>
                </a:lnTo>
                <a:lnTo>
                  <a:pt x="1999" y="197"/>
                </a:lnTo>
                <a:lnTo>
                  <a:pt x="2000" y="197"/>
                </a:lnTo>
                <a:lnTo>
                  <a:pt x="2001" y="197"/>
                </a:lnTo>
                <a:lnTo>
                  <a:pt x="2001" y="194"/>
                </a:lnTo>
                <a:lnTo>
                  <a:pt x="1999" y="192"/>
                </a:lnTo>
                <a:lnTo>
                  <a:pt x="1995" y="192"/>
                </a:lnTo>
                <a:lnTo>
                  <a:pt x="1993" y="193"/>
                </a:lnTo>
                <a:lnTo>
                  <a:pt x="1991" y="195"/>
                </a:lnTo>
                <a:lnTo>
                  <a:pt x="1987" y="197"/>
                </a:lnTo>
                <a:lnTo>
                  <a:pt x="1983" y="199"/>
                </a:lnTo>
                <a:lnTo>
                  <a:pt x="1981" y="199"/>
                </a:lnTo>
                <a:lnTo>
                  <a:pt x="1978" y="200"/>
                </a:lnTo>
                <a:lnTo>
                  <a:pt x="1978" y="202"/>
                </a:lnTo>
                <a:lnTo>
                  <a:pt x="1980" y="203"/>
                </a:lnTo>
                <a:lnTo>
                  <a:pt x="1981" y="205"/>
                </a:lnTo>
                <a:lnTo>
                  <a:pt x="1983" y="205"/>
                </a:lnTo>
                <a:lnTo>
                  <a:pt x="1984" y="203"/>
                </a:lnTo>
                <a:lnTo>
                  <a:pt x="1983" y="205"/>
                </a:lnTo>
                <a:close/>
                <a:moveTo>
                  <a:pt x="399" y="51"/>
                </a:moveTo>
                <a:lnTo>
                  <a:pt x="402" y="51"/>
                </a:lnTo>
                <a:lnTo>
                  <a:pt x="404" y="49"/>
                </a:lnTo>
                <a:lnTo>
                  <a:pt x="405" y="47"/>
                </a:lnTo>
                <a:lnTo>
                  <a:pt x="405" y="43"/>
                </a:lnTo>
                <a:lnTo>
                  <a:pt x="405" y="40"/>
                </a:lnTo>
                <a:lnTo>
                  <a:pt x="404" y="37"/>
                </a:lnTo>
                <a:lnTo>
                  <a:pt x="402" y="35"/>
                </a:lnTo>
                <a:lnTo>
                  <a:pt x="401" y="33"/>
                </a:lnTo>
                <a:lnTo>
                  <a:pt x="399" y="34"/>
                </a:lnTo>
                <a:lnTo>
                  <a:pt x="396" y="35"/>
                </a:lnTo>
                <a:lnTo>
                  <a:pt x="394" y="37"/>
                </a:lnTo>
                <a:lnTo>
                  <a:pt x="394" y="41"/>
                </a:lnTo>
                <a:lnTo>
                  <a:pt x="393" y="44"/>
                </a:lnTo>
                <a:lnTo>
                  <a:pt x="394" y="48"/>
                </a:lnTo>
                <a:lnTo>
                  <a:pt x="396" y="50"/>
                </a:lnTo>
                <a:lnTo>
                  <a:pt x="399" y="51"/>
                </a:lnTo>
                <a:lnTo>
                  <a:pt x="400" y="51"/>
                </a:lnTo>
                <a:lnTo>
                  <a:pt x="399" y="51"/>
                </a:lnTo>
                <a:close/>
                <a:moveTo>
                  <a:pt x="1926" y="423"/>
                </a:moveTo>
                <a:lnTo>
                  <a:pt x="1935" y="418"/>
                </a:lnTo>
                <a:lnTo>
                  <a:pt x="1944" y="415"/>
                </a:lnTo>
                <a:lnTo>
                  <a:pt x="1942" y="413"/>
                </a:lnTo>
                <a:lnTo>
                  <a:pt x="1940" y="411"/>
                </a:lnTo>
                <a:lnTo>
                  <a:pt x="1936" y="410"/>
                </a:lnTo>
                <a:lnTo>
                  <a:pt x="1934" y="410"/>
                </a:lnTo>
                <a:lnTo>
                  <a:pt x="1928" y="411"/>
                </a:lnTo>
                <a:lnTo>
                  <a:pt x="1923" y="414"/>
                </a:lnTo>
                <a:lnTo>
                  <a:pt x="1920" y="414"/>
                </a:lnTo>
                <a:lnTo>
                  <a:pt x="1918" y="415"/>
                </a:lnTo>
                <a:lnTo>
                  <a:pt x="1917" y="416"/>
                </a:lnTo>
                <a:lnTo>
                  <a:pt x="1917" y="418"/>
                </a:lnTo>
                <a:lnTo>
                  <a:pt x="1918" y="422"/>
                </a:lnTo>
                <a:lnTo>
                  <a:pt x="1920" y="424"/>
                </a:lnTo>
                <a:lnTo>
                  <a:pt x="1923" y="424"/>
                </a:lnTo>
                <a:lnTo>
                  <a:pt x="1926" y="423"/>
                </a:lnTo>
                <a:lnTo>
                  <a:pt x="1926" y="423"/>
                </a:lnTo>
                <a:lnTo>
                  <a:pt x="1926" y="423"/>
                </a:lnTo>
                <a:close/>
                <a:moveTo>
                  <a:pt x="1871" y="942"/>
                </a:moveTo>
                <a:lnTo>
                  <a:pt x="1861" y="945"/>
                </a:lnTo>
                <a:lnTo>
                  <a:pt x="1851" y="945"/>
                </a:lnTo>
                <a:lnTo>
                  <a:pt x="1840" y="946"/>
                </a:lnTo>
                <a:lnTo>
                  <a:pt x="1829" y="949"/>
                </a:lnTo>
                <a:lnTo>
                  <a:pt x="1841" y="950"/>
                </a:lnTo>
                <a:lnTo>
                  <a:pt x="1851" y="949"/>
                </a:lnTo>
                <a:lnTo>
                  <a:pt x="1861" y="947"/>
                </a:lnTo>
                <a:lnTo>
                  <a:pt x="1871" y="942"/>
                </a:lnTo>
                <a:close/>
                <a:moveTo>
                  <a:pt x="825" y="991"/>
                </a:moveTo>
                <a:lnTo>
                  <a:pt x="814" y="987"/>
                </a:lnTo>
                <a:lnTo>
                  <a:pt x="803" y="985"/>
                </a:lnTo>
                <a:lnTo>
                  <a:pt x="791" y="983"/>
                </a:lnTo>
                <a:lnTo>
                  <a:pt x="781" y="983"/>
                </a:lnTo>
                <a:lnTo>
                  <a:pt x="786" y="987"/>
                </a:lnTo>
                <a:lnTo>
                  <a:pt x="791" y="989"/>
                </a:lnTo>
                <a:lnTo>
                  <a:pt x="797" y="990"/>
                </a:lnTo>
                <a:lnTo>
                  <a:pt x="803" y="990"/>
                </a:lnTo>
                <a:lnTo>
                  <a:pt x="814" y="991"/>
                </a:lnTo>
                <a:lnTo>
                  <a:pt x="825" y="991"/>
                </a:lnTo>
                <a:close/>
                <a:moveTo>
                  <a:pt x="1533" y="438"/>
                </a:moveTo>
                <a:lnTo>
                  <a:pt x="1544" y="439"/>
                </a:lnTo>
                <a:lnTo>
                  <a:pt x="1554" y="438"/>
                </a:lnTo>
                <a:lnTo>
                  <a:pt x="1556" y="437"/>
                </a:lnTo>
                <a:lnTo>
                  <a:pt x="1558" y="434"/>
                </a:lnTo>
                <a:lnTo>
                  <a:pt x="1558" y="433"/>
                </a:lnTo>
                <a:lnTo>
                  <a:pt x="1556" y="431"/>
                </a:lnTo>
                <a:lnTo>
                  <a:pt x="1553" y="429"/>
                </a:lnTo>
                <a:lnTo>
                  <a:pt x="1549" y="427"/>
                </a:lnTo>
                <a:lnTo>
                  <a:pt x="1547" y="429"/>
                </a:lnTo>
                <a:lnTo>
                  <a:pt x="1544" y="429"/>
                </a:lnTo>
                <a:lnTo>
                  <a:pt x="1540" y="431"/>
                </a:lnTo>
                <a:lnTo>
                  <a:pt x="1538" y="433"/>
                </a:lnTo>
                <a:lnTo>
                  <a:pt x="1536" y="435"/>
                </a:lnTo>
                <a:lnTo>
                  <a:pt x="1533" y="438"/>
                </a:lnTo>
                <a:lnTo>
                  <a:pt x="1538" y="435"/>
                </a:lnTo>
                <a:lnTo>
                  <a:pt x="1533" y="438"/>
                </a:lnTo>
                <a:close/>
                <a:moveTo>
                  <a:pt x="2233" y="417"/>
                </a:moveTo>
                <a:lnTo>
                  <a:pt x="2224" y="419"/>
                </a:lnTo>
                <a:lnTo>
                  <a:pt x="2215" y="423"/>
                </a:lnTo>
                <a:lnTo>
                  <a:pt x="2206" y="426"/>
                </a:lnTo>
                <a:lnTo>
                  <a:pt x="2198" y="431"/>
                </a:lnTo>
                <a:lnTo>
                  <a:pt x="2207" y="429"/>
                </a:lnTo>
                <a:lnTo>
                  <a:pt x="2217" y="427"/>
                </a:lnTo>
                <a:lnTo>
                  <a:pt x="2222" y="425"/>
                </a:lnTo>
                <a:lnTo>
                  <a:pt x="2225" y="424"/>
                </a:lnTo>
                <a:lnTo>
                  <a:pt x="2230" y="421"/>
                </a:lnTo>
                <a:lnTo>
                  <a:pt x="2233" y="417"/>
                </a:lnTo>
                <a:close/>
                <a:moveTo>
                  <a:pt x="1643" y="398"/>
                </a:moveTo>
                <a:lnTo>
                  <a:pt x="1643" y="397"/>
                </a:lnTo>
                <a:lnTo>
                  <a:pt x="1641" y="396"/>
                </a:lnTo>
                <a:lnTo>
                  <a:pt x="1639" y="394"/>
                </a:lnTo>
                <a:lnTo>
                  <a:pt x="1638" y="394"/>
                </a:lnTo>
                <a:lnTo>
                  <a:pt x="1632" y="394"/>
                </a:lnTo>
                <a:lnTo>
                  <a:pt x="1627" y="396"/>
                </a:lnTo>
                <a:lnTo>
                  <a:pt x="1614" y="398"/>
                </a:lnTo>
                <a:lnTo>
                  <a:pt x="1606" y="400"/>
                </a:lnTo>
                <a:lnTo>
                  <a:pt x="1618" y="401"/>
                </a:lnTo>
                <a:lnTo>
                  <a:pt x="1629" y="401"/>
                </a:lnTo>
                <a:lnTo>
                  <a:pt x="1632" y="402"/>
                </a:lnTo>
                <a:lnTo>
                  <a:pt x="1637" y="402"/>
                </a:lnTo>
                <a:lnTo>
                  <a:pt x="1639" y="402"/>
                </a:lnTo>
                <a:lnTo>
                  <a:pt x="1640" y="402"/>
                </a:lnTo>
                <a:lnTo>
                  <a:pt x="1643" y="400"/>
                </a:lnTo>
                <a:lnTo>
                  <a:pt x="1643" y="398"/>
                </a:lnTo>
                <a:lnTo>
                  <a:pt x="1643" y="398"/>
                </a:lnTo>
                <a:lnTo>
                  <a:pt x="1643" y="398"/>
                </a:lnTo>
                <a:close/>
                <a:moveTo>
                  <a:pt x="1084" y="284"/>
                </a:moveTo>
                <a:lnTo>
                  <a:pt x="1080" y="284"/>
                </a:lnTo>
                <a:lnTo>
                  <a:pt x="1078" y="285"/>
                </a:lnTo>
                <a:lnTo>
                  <a:pt x="1077" y="289"/>
                </a:lnTo>
                <a:lnTo>
                  <a:pt x="1078" y="291"/>
                </a:lnTo>
                <a:lnTo>
                  <a:pt x="1080" y="293"/>
                </a:lnTo>
                <a:lnTo>
                  <a:pt x="1083" y="294"/>
                </a:lnTo>
                <a:lnTo>
                  <a:pt x="1086" y="296"/>
                </a:lnTo>
                <a:lnTo>
                  <a:pt x="1088" y="296"/>
                </a:lnTo>
                <a:lnTo>
                  <a:pt x="1092" y="296"/>
                </a:lnTo>
                <a:lnTo>
                  <a:pt x="1093" y="294"/>
                </a:lnTo>
                <a:lnTo>
                  <a:pt x="1094" y="293"/>
                </a:lnTo>
                <a:lnTo>
                  <a:pt x="1094" y="290"/>
                </a:lnTo>
                <a:lnTo>
                  <a:pt x="1092" y="288"/>
                </a:lnTo>
                <a:lnTo>
                  <a:pt x="1089" y="286"/>
                </a:lnTo>
                <a:lnTo>
                  <a:pt x="1087" y="285"/>
                </a:lnTo>
                <a:lnTo>
                  <a:pt x="1084" y="284"/>
                </a:lnTo>
                <a:lnTo>
                  <a:pt x="1084" y="284"/>
                </a:lnTo>
                <a:lnTo>
                  <a:pt x="1084" y="284"/>
                </a:lnTo>
                <a:close/>
                <a:moveTo>
                  <a:pt x="2164" y="443"/>
                </a:moveTo>
                <a:lnTo>
                  <a:pt x="2166" y="444"/>
                </a:lnTo>
                <a:lnTo>
                  <a:pt x="2170" y="446"/>
                </a:lnTo>
                <a:lnTo>
                  <a:pt x="2173" y="446"/>
                </a:lnTo>
                <a:lnTo>
                  <a:pt x="2176" y="444"/>
                </a:lnTo>
                <a:lnTo>
                  <a:pt x="2183" y="440"/>
                </a:lnTo>
                <a:lnTo>
                  <a:pt x="2189" y="434"/>
                </a:lnTo>
                <a:lnTo>
                  <a:pt x="2182" y="434"/>
                </a:lnTo>
                <a:lnTo>
                  <a:pt x="2173" y="435"/>
                </a:lnTo>
                <a:lnTo>
                  <a:pt x="2170" y="437"/>
                </a:lnTo>
                <a:lnTo>
                  <a:pt x="2166" y="438"/>
                </a:lnTo>
                <a:lnTo>
                  <a:pt x="2164" y="440"/>
                </a:lnTo>
                <a:lnTo>
                  <a:pt x="2164" y="443"/>
                </a:lnTo>
                <a:lnTo>
                  <a:pt x="2164" y="443"/>
                </a:lnTo>
                <a:lnTo>
                  <a:pt x="2164" y="443"/>
                </a:lnTo>
                <a:close/>
                <a:moveTo>
                  <a:pt x="357" y="821"/>
                </a:moveTo>
                <a:lnTo>
                  <a:pt x="351" y="819"/>
                </a:lnTo>
                <a:lnTo>
                  <a:pt x="342" y="813"/>
                </a:lnTo>
                <a:lnTo>
                  <a:pt x="337" y="812"/>
                </a:lnTo>
                <a:lnTo>
                  <a:pt x="334" y="811"/>
                </a:lnTo>
                <a:lnTo>
                  <a:pt x="330" y="811"/>
                </a:lnTo>
                <a:lnTo>
                  <a:pt x="328" y="812"/>
                </a:lnTo>
                <a:lnTo>
                  <a:pt x="327" y="813"/>
                </a:lnTo>
                <a:lnTo>
                  <a:pt x="328" y="814"/>
                </a:lnTo>
                <a:lnTo>
                  <a:pt x="328" y="815"/>
                </a:lnTo>
                <a:lnTo>
                  <a:pt x="330" y="816"/>
                </a:lnTo>
                <a:lnTo>
                  <a:pt x="334" y="819"/>
                </a:lnTo>
                <a:lnTo>
                  <a:pt x="339" y="820"/>
                </a:lnTo>
                <a:lnTo>
                  <a:pt x="350" y="821"/>
                </a:lnTo>
                <a:lnTo>
                  <a:pt x="357" y="821"/>
                </a:lnTo>
                <a:lnTo>
                  <a:pt x="350" y="822"/>
                </a:lnTo>
                <a:lnTo>
                  <a:pt x="357" y="821"/>
                </a:lnTo>
                <a:close/>
                <a:moveTo>
                  <a:pt x="1348" y="927"/>
                </a:moveTo>
                <a:lnTo>
                  <a:pt x="1343" y="924"/>
                </a:lnTo>
                <a:lnTo>
                  <a:pt x="1339" y="923"/>
                </a:lnTo>
                <a:lnTo>
                  <a:pt x="1334" y="922"/>
                </a:lnTo>
                <a:lnTo>
                  <a:pt x="1330" y="922"/>
                </a:lnTo>
                <a:lnTo>
                  <a:pt x="1321" y="923"/>
                </a:lnTo>
                <a:lnTo>
                  <a:pt x="1311" y="923"/>
                </a:lnTo>
                <a:lnTo>
                  <a:pt x="1321" y="925"/>
                </a:lnTo>
                <a:lnTo>
                  <a:pt x="1330" y="927"/>
                </a:lnTo>
                <a:lnTo>
                  <a:pt x="1339" y="927"/>
                </a:lnTo>
                <a:lnTo>
                  <a:pt x="1348" y="927"/>
                </a:lnTo>
                <a:close/>
                <a:moveTo>
                  <a:pt x="1670" y="463"/>
                </a:moveTo>
                <a:lnTo>
                  <a:pt x="1660" y="464"/>
                </a:lnTo>
                <a:lnTo>
                  <a:pt x="1648" y="467"/>
                </a:lnTo>
                <a:lnTo>
                  <a:pt x="1653" y="471"/>
                </a:lnTo>
                <a:lnTo>
                  <a:pt x="1660" y="473"/>
                </a:lnTo>
                <a:lnTo>
                  <a:pt x="1663" y="474"/>
                </a:lnTo>
                <a:lnTo>
                  <a:pt x="1667" y="474"/>
                </a:lnTo>
                <a:lnTo>
                  <a:pt x="1669" y="474"/>
                </a:lnTo>
                <a:lnTo>
                  <a:pt x="1672" y="473"/>
                </a:lnTo>
                <a:lnTo>
                  <a:pt x="1673" y="471"/>
                </a:lnTo>
                <a:lnTo>
                  <a:pt x="1674" y="469"/>
                </a:lnTo>
                <a:lnTo>
                  <a:pt x="1674" y="468"/>
                </a:lnTo>
                <a:lnTo>
                  <a:pt x="1674" y="466"/>
                </a:lnTo>
                <a:lnTo>
                  <a:pt x="1674" y="464"/>
                </a:lnTo>
                <a:lnTo>
                  <a:pt x="1674" y="463"/>
                </a:lnTo>
                <a:lnTo>
                  <a:pt x="1673" y="463"/>
                </a:lnTo>
                <a:lnTo>
                  <a:pt x="1670" y="463"/>
                </a:lnTo>
                <a:lnTo>
                  <a:pt x="1669" y="462"/>
                </a:lnTo>
                <a:lnTo>
                  <a:pt x="1670" y="463"/>
                </a:lnTo>
                <a:close/>
                <a:moveTo>
                  <a:pt x="1438" y="328"/>
                </a:moveTo>
                <a:lnTo>
                  <a:pt x="1440" y="327"/>
                </a:lnTo>
                <a:lnTo>
                  <a:pt x="1441" y="327"/>
                </a:lnTo>
                <a:lnTo>
                  <a:pt x="1442" y="325"/>
                </a:lnTo>
                <a:lnTo>
                  <a:pt x="1441" y="324"/>
                </a:lnTo>
                <a:lnTo>
                  <a:pt x="1439" y="322"/>
                </a:lnTo>
                <a:lnTo>
                  <a:pt x="1435" y="321"/>
                </a:lnTo>
                <a:lnTo>
                  <a:pt x="1430" y="319"/>
                </a:lnTo>
                <a:lnTo>
                  <a:pt x="1424" y="319"/>
                </a:lnTo>
                <a:lnTo>
                  <a:pt x="1418" y="322"/>
                </a:lnTo>
                <a:lnTo>
                  <a:pt x="1414" y="323"/>
                </a:lnTo>
                <a:lnTo>
                  <a:pt x="1420" y="327"/>
                </a:lnTo>
                <a:lnTo>
                  <a:pt x="1425" y="328"/>
                </a:lnTo>
                <a:lnTo>
                  <a:pt x="1431" y="328"/>
                </a:lnTo>
                <a:lnTo>
                  <a:pt x="1438" y="328"/>
                </a:lnTo>
                <a:lnTo>
                  <a:pt x="1435" y="328"/>
                </a:lnTo>
                <a:lnTo>
                  <a:pt x="1438" y="328"/>
                </a:lnTo>
                <a:close/>
                <a:moveTo>
                  <a:pt x="1336" y="290"/>
                </a:moveTo>
                <a:lnTo>
                  <a:pt x="1336" y="289"/>
                </a:lnTo>
                <a:lnTo>
                  <a:pt x="1335" y="288"/>
                </a:lnTo>
                <a:lnTo>
                  <a:pt x="1333" y="286"/>
                </a:lnTo>
                <a:lnTo>
                  <a:pt x="1331" y="285"/>
                </a:lnTo>
                <a:lnTo>
                  <a:pt x="1327" y="284"/>
                </a:lnTo>
                <a:lnTo>
                  <a:pt x="1324" y="283"/>
                </a:lnTo>
                <a:lnTo>
                  <a:pt x="1319" y="283"/>
                </a:lnTo>
                <a:lnTo>
                  <a:pt x="1316" y="283"/>
                </a:lnTo>
                <a:lnTo>
                  <a:pt x="1311" y="284"/>
                </a:lnTo>
                <a:lnTo>
                  <a:pt x="1308" y="288"/>
                </a:lnTo>
                <a:lnTo>
                  <a:pt x="1314" y="290"/>
                </a:lnTo>
                <a:lnTo>
                  <a:pt x="1323" y="292"/>
                </a:lnTo>
                <a:lnTo>
                  <a:pt x="1327" y="293"/>
                </a:lnTo>
                <a:lnTo>
                  <a:pt x="1331" y="293"/>
                </a:lnTo>
                <a:lnTo>
                  <a:pt x="1334" y="292"/>
                </a:lnTo>
                <a:lnTo>
                  <a:pt x="1336" y="290"/>
                </a:lnTo>
                <a:lnTo>
                  <a:pt x="1335" y="290"/>
                </a:lnTo>
                <a:lnTo>
                  <a:pt x="1336" y="290"/>
                </a:lnTo>
                <a:close/>
                <a:moveTo>
                  <a:pt x="1978" y="447"/>
                </a:moveTo>
                <a:lnTo>
                  <a:pt x="1976" y="443"/>
                </a:lnTo>
                <a:lnTo>
                  <a:pt x="1974" y="442"/>
                </a:lnTo>
                <a:lnTo>
                  <a:pt x="1970" y="442"/>
                </a:lnTo>
                <a:lnTo>
                  <a:pt x="1968" y="443"/>
                </a:lnTo>
                <a:lnTo>
                  <a:pt x="1961" y="447"/>
                </a:lnTo>
                <a:lnTo>
                  <a:pt x="1957" y="450"/>
                </a:lnTo>
                <a:lnTo>
                  <a:pt x="1950" y="454"/>
                </a:lnTo>
                <a:lnTo>
                  <a:pt x="1944" y="457"/>
                </a:lnTo>
                <a:lnTo>
                  <a:pt x="1941" y="457"/>
                </a:lnTo>
                <a:lnTo>
                  <a:pt x="1939" y="458"/>
                </a:lnTo>
                <a:lnTo>
                  <a:pt x="1937" y="460"/>
                </a:lnTo>
                <a:lnTo>
                  <a:pt x="1936" y="463"/>
                </a:lnTo>
                <a:lnTo>
                  <a:pt x="1950" y="459"/>
                </a:lnTo>
                <a:lnTo>
                  <a:pt x="1962" y="456"/>
                </a:lnTo>
                <a:lnTo>
                  <a:pt x="1967" y="455"/>
                </a:lnTo>
                <a:lnTo>
                  <a:pt x="1973" y="452"/>
                </a:lnTo>
                <a:lnTo>
                  <a:pt x="1975" y="451"/>
                </a:lnTo>
                <a:lnTo>
                  <a:pt x="1977" y="450"/>
                </a:lnTo>
                <a:lnTo>
                  <a:pt x="1978" y="448"/>
                </a:lnTo>
                <a:lnTo>
                  <a:pt x="1978" y="447"/>
                </a:lnTo>
                <a:lnTo>
                  <a:pt x="1978" y="446"/>
                </a:lnTo>
                <a:lnTo>
                  <a:pt x="1978" y="447"/>
                </a:lnTo>
                <a:close/>
                <a:moveTo>
                  <a:pt x="1842" y="252"/>
                </a:moveTo>
                <a:lnTo>
                  <a:pt x="1845" y="251"/>
                </a:lnTo>
                <a:lnTo>
                  <a:pt x="1849" y="249"/>
                </a:lnTo>
                <a:lnTo>
                  <a:pt x="1851" y="245"/>
                </a:lnTo>
                <a:lnTo>
                  <a:pt x="1851" y="241"/>
                </a:lnTo>
                <a:lnTo>
                  <a:pt x="1850" y="239"/>
                </a:lnTo>
                <a:lnTo>
                  <a:pt x="1847" y="239"/>
                </a:lnTo>
                <a:lnTo>
                  <a:pt x="1844" y="238"/>
                </a:lnTo>
                <a:lnTo>
                  <a:pt x="1842" y="239"/>
                </a:lnTo>
                <a:lnTo>
                  <a:pt x="1840" y="239"/>
                </a:lnTo>
                <a:lnTo>
                  <a:pt x="1837" y="239"/>
                </a:lnTo>
                <a:lnTo>
                  <a:pt x="1834" y="239"/>
                </a:lnTo>
                <a:lnTo>
                  <a:pt x="1833" y="241"/>
                </a:lnTo>
                <a:lnTo>
                  <a:pt x="1833" y="242"/>
                </a:lnTo>
                <a:lnTo>
                  <a:pt x="1833" y="244"/>
                </a:lnTo>
                <a:lnTo>
                  <a:pt x="1833" y="247"/>
                </a:lnTo>
                <a:lnTo>
                  <a:pt x="1834" y="249"/>
                </a:lnTo>
                <a:lnTo>
                  <a:pt x="1837" y="251"/>
                </a:lnTo>
                <a:lnTo>
                  <a:pt x="1842" y="252"/>
                </a:lnTo>
                <a:lnTo>
                  <a:pt x="1842" y="252"/>
                </a:lnTo>
                <a:lnTo>
                  <a:pt x="1842" y="252"/>
                </a:lnTo>
                <a:close/>
                <a:moveTo>
                  <a:pt x="2110" y="722"/>
                </a:moveTo>
                <a:lnTo>
                  <a:pt x="2099" y="724"/>
                </a:lnTo>
                <a:lnTo>
                  <a:pt x="2088" y="728"/>
                </a:lnTo>
                <a:lnTo>
                  <a:pt x="2077" y="731"/>
                </a:lnTo>
                <a:lnTo>
                  <a:pt x="2068" y="736"/>
                </a:lnTo>
                <a:lnTo>
                  <a:pt x="2074" y="736"/>
                </a:lnTo>
                <a:lnTo>
                  <a:pt x="2080" y="736"/>
                </a:lnTo>
                <a:lnTo>
                  <a:pt x="2086" y="734"/>
                </a:lnTo>
                <a:lnTo>
                  <a:pt x="2093" y="732"/>
                </a:lnTo>
                <a:lnTo>
                  <a:pt x="2099" y="730"/>
                </a:lnTo>
                <a:lnTo>
                  <a:pt x="2104" y="728"/>
                </a:lnTo>
                <a:lnTo>
                  <a:pt x="2107" y="725"/>
                </a:lnTo>
                <a:lnTo>
                  <a:pt x="2110" y="722"/>
                </a:lnTo>
                <a:close/>
                <a:moveTo>
                  <a:pt x="1299" y="688"/>
                </a:moveTo>
                <a:lnTo>
                  <a:pt x="1311" y="690"/>
                </a:lnTo>
                <a:lnTo>
                  <a:pt x="1323" y="692"/>
                </a:lnTo>
                <a:lnTo>
                  <a:pt x="1330" y="692"/>
                </a:lnTo>
                <a:lnTo>
                  <a:pt x="1335" y="692"/>
                </a:lnTo>
                <a:lnTo>
                  <a:pt x="1342" y="691"/>
                </a:lnTo>
                <a:lnTo>
                  <a:pt x="1349" y="689"/>
                </a:lnTo>
                <a:lnTo>
                  <a:pt x="1335" y="689"/>
                </a:lnTo>
                <a:lnTo>
                  <a:pt x="1323" y="688"/>
                </a:lnTo>
                <a:lnTo>
                  <a:pt x="1311" y="688"/>
                </a:lnTo>
                <a:lnTo>
                  <a:pt x="1299" y="688"/>
                </a:lnTo>
                <a:lnTo>
                  <a:pt x="1290" y="688"/>
                </a:lnTo>
                <a:lnTo>
                  <a:pt x="1282" y="688"/>
                </a:lnTo>
                <a:lnTo>
                  <a:pt x="1290" y="688"/>
                </a:lnTo>
                <a:lnTo>
                  <a:pt x="1299" y="688"/>
                </a:lnTo>
                <a:close/>
                <a:moveTo>
                  <a:pt x="844" y="249"/>
                </a:moveTo>
                <a:lnTo>
                  <a:pt x="850" y="249"/>
                </a:lnTo>
                <a:lnTo>
                  <a:pt x="857" y="249"/>
                </a:lnTo>
                <a:lnTo>
                  <a:pt x="856" y="242"/>
                </a:lnTo>
                <a:lnTo>
                  <a:pt x="855" y="236"/>
                </a:lnTo>
                <a:lnTo>
                  <a:pt x="854" y="234"/>
                </a:lnTo>
                <a:lnTo>
                  <a:pt x="852" y="233"/>
                </a:lnTo>
                <a:lnTo>
                  <a:pt x="848" y="233"/>
                </a:lnTo>
                <a:lnTo>
                  <a:pt x="844" y="234"/>
                </a:lnTo>
                <a:lnTo>
                  <a:pt x="841" y="235"/>
                </a:lnTo>
                <a:lnTo>
                  <a:pt x="839" y="238"/>
                </a:lnTo>
                <a:lnTo>
                  <a:pt x="838" y="241"/>
                </a:lnTo>
                <a:lnTo>
                  <a:pt x="837" y="243"/>
                </a:lnTo>
                <a:lnTo>
                  <a:pt x="838" y="247"/>
                </a:lnTo>
                <a:lnTo>
                  <a:pt x="839" y="248"/>
                </a:lnTo>
                <a:lnTo>
                  <a:pt x="841" y="249"/>
                </a:lnTo>
                <a:lnTo>
                  <a:pt x="844" y="249"/>
                </a:lnTo>
                <a:lnTo>
                  <a:pt x="845" y="249"/>
                </a:lnTo>
                <a:lnTo>
                  <a:pt x="844" y="249"/>
                </a:lnTo>
                <a:close/>
                <a:moveTo>
                  <a:pt x="1756" y="274"/>
                </a:moveTo>
                <a:lnTo>
                  <a:pt x="1762" y="273"/>
                </a:lnTo>
                <a:lnTo>
                  <a:pt x="1768" y="272"/>
                </a:lnTo>
                <a:lnTo>
                  <a:pt x="1770" y="269"/>
                </a:lnTo>
                <a:lnTo>
                  <a:pt x="1771" y="267"/>
                </a:lnTo>
                <a:lnTo>
                  <a:pt x="1770" y="265"/>
                </a:lnTo>
                <a:lnTo>
                  <a:pt x="1769" y="261"/>
                </a:lnTo>
                <a:lnTo>
                  <a:pt x="1767" y="259"/>
                </a:lnTo>
                <a:lnTo>
                  <a:pt x="1764" y="258"/>
                </a:lnTo>
                <a:lnTo>
                  <a:pt x="1761" y="257"/>
                </a:lnTo>
                <a:lnTo>
                  <a:pt x="1758" y="257"/>
                </a:lnTo>
                <a:lnTo>
                  <a:pt x="1754" y="258"/>
                </a:lnTo>
                <a:lnTo>
                  <a:pt x="1751" y="258"/>
                </a:lnTo>
                <a:lnTo>
                  <a:pt x="1748" y="260"/>
                </a:lnTo>
                <a:lnTo>
                  <a:pt x="1746" y="261"/>
                </a:lnTo>
                <a:lnTo>
                  <a:pt x="1751" y="268"/>
                </a:lnTo>
                <a:lnTo>
                  <a:pt x="1756" y="274"/>
                </a:lnTo>
                <a:lnTo>
                  <a:pt x="1755" y="274"/>
                </a:lnTo>
                <a:lnTo>
                  <a:pt x="1756" y="274"/>
                </a:lnTo>
                <a:close/>
                <a:moveTo>
                  <a:pt x="1075" y="884"/>
                </a:moveTo>
                <a:lnTo>
                  <a:pt x="1089" y="887"/>
                </a:lnTo>
                <a:lnTo>
                  <a:pt x="1105" y="890"/>
                </a:lnTo>
                <a:lnTo>
                  <a:pt x="1113" y="891"/>
                </a:lnTo>
                <a:lnTo>
                  <a:pt x="1121" y="891"/>
                </a:lnTo>
                <a:lnTo>
                  <a:pt x="1129" y="891"/>
                </a:lnTo>
                <a:lnTo>
                  <a:pt x="1137" y="891"/>
                </a:lnTo>
                <a:lnTo>
                  <a:pt x="1121" y="888"/>
                </a:lnTo>
                <a:lnTo>
                  <a:pt x="1105" y="886"/>
                </a:lnTo>
                <a:lnTo>
                  <a:pt x="1089" y="884"/>
                </a:lnTo>
                <a:lnTo>
                  <a:pt x="1075" y="884"/>
                </a:lnTo>
                <a:close/>
                <a:moveTo>
                  <a:pt x="1347" y="949"/>
                </a:moveTo>
                <a:lnTo>
                  <a:pt x="1350" y="949"/>
                </a:lnTo>
                <a:lnTo>
                  <a:pt x="1352" y="948"/>
                </a:lnTo>
                <a:lnTo>
                  <a:pt x="1354" y="948"/>
                </a:lnTo>
                <a:lnTo>
                  <a:pt x="1354" y="947"/>
                </a:lnTo>
                <a:lnTo>
                  <a:pt x="1354" y="946"/>
                </a:lnTo>
                <a:lnTo>
                  <a:pt x="1352" y="944"/>
                </a:lnTo>
                <a:lnTo>
                  <a:pt x="1344" y="941"/>
                </a:lnTo>
                <a:lnTo>
                  <a:pt x="1336" y="941"/>
                </a:lnTo>
                <a:lnTo>
                  <a:pt x="1330" y="939"/>
                </a:lnTo>
                <a:lnTo>
                  <a:pt x="1322" y="939"/>
                </a:lnTo>
                <a:lnTo>
                  <a:pt x="1318" y="939"/>
                </a:lnTo>
                <a:lnTo>
                  <a:pt x="1315" y="940"/>
                </a:lnTo>
                <a:lnTo>
                  <a:pt x="1313" y="941"/>
                </a:lnTo>
                <a:lnTo>
                  <a:pt x="1310" y="945"/>
                </a:lnTo>
                <a:lnTo>
                  <a:pt x="1321" y="945"/>
                </a:lnTo>
                <a:lnTo>
                  <a:pt x="1329" y="946"/>
                </a:lnTo>
                <a:lnTo>
                  <a:pt x="1338" y="948"/>
                </a:lnTo>
                <a:lnTo>
                  <a:pt x="1347" y="949"/>
                </a:lnTo>
                <a:lnTo>
                  <a:pt x="1342" y="949"/>
                </a:lnTo>
                <a:lnTo>
                  <a:pt x="1347" y="949"/>
                </a:lnTo>
                <a:close/>
                <a:moveTo>
                  <a:pt x="1898" y="502"/>
                </a:moveTo>
                <a:lnTo>
                  <a:pt x="1883" y="507"/>
                </a:lnTo>
                <a:lnTo>
                  <a:pt x="1868" y="510"/>
                </a:lnTo>
                <a:lnTo>
                  <a:pt x="1862" y="512"/>
                </a:lnTo>
                <a:lnTo>
                  <a:pt x="1858" y="513"/>
                </a:lnTo>
                <a:lnTo>
                  <a:pt x="1858" y="515"/>
                </a:lnTo>
                <a:lnTo>
                  <a:pt x="1859" y="516"/>
                </a:lnTo>
                <a:lnTo>
                  <a:pt x="1862" y="517"/>
                </a:lnTo>
                <a:lnTo>
                  <a:pt x="1865" y="517"/>
                </a:lnTo>
                <a:lnTo>
                  <a:pt x="1871" y="517"/>
                </a:lnTo>
                <a:lnTo>
                  <a:pt x="1878" y="516"/>
                </a:lnTo>
                <a:lnTo>
                  <a:pt x="1885" y="515"/>
                </a:lnTo>
                <a:lnTo>
                  <a:pt x="1892" y="513"/>
                </a:lnTo>
                <a:lnTo>
                  <a:pt x="1896" y="510"/>
                </a:lnTo>
                <a:lnTo>
                  <a:pt x="1901" y="507"/>
                </a:lnTo>
                <a:lnTo>
                  <a:pt x="1902" y="506"/>
                </a:lnTo>
                <a:lnTo>
                  <a:pt x="1902" y="505"/>
                </a:lnTo>
                <a:lnTo>
                  <a:pt x="1901" y="504"/>
                </a:lnTo>
                <a:lnTo>
                  <a:pt x="1898" y="502"/>
                </a:lnTo>
                <a:lnTo>
                  <a:pt x="1893" y="504"/>
                </a:lnTo>
                <a:lnTo>
                  <a:pt x="1898" y="502"/>
                </a:lnTo>
                <a:close/>
                <a:moveTo>
                  <a:pt x="980" y="1008"/>
                </a:moveTo>
                <a:lnTo>
                  <a:pt x="978" y="1010"/>
                </a:lnTo>
                <a:lnTo>
                  <a:pt x="975" y="1011"/>
                </a:lnTo>
                <a:lnTo>
                  <a:pt x="972" y="1013"/>
                </a:lnTo>
                <a:lnTo>
                  <a:pt x="972" y="1016"/>
                </a:lnTo>
                <a:lnTo>
                  <a:pt x="972" y="1019"/>
                </a:lnTo>
                <a:lnTo>
                  <a:pt x="973" y="1020"/>
                </a:lnTo>
                <a:lnTo>
                  <a:pt x="976" y="1020"/>
                </a:lnTo>
                <a:lnTo>
                  <a:pt x="978" y="1020"/>
                </a:lnTo>
                <a:lnTo>
                  <a:pt x="987" y="1021"/>
                </a:lnTo>
                <a:lnTo>
                  <a:pt x="995" y="1022"/>
                </a:lnTo>
                <a:lnTo>
                  <a:pt x="1000" y="1023"/>
                </a:lnTo>
                <a:lnTo>
                  <a:pt x="1004" y="1023"/>
                </a:lnTo>
                <a:lnTo>
                  <a:pt x="1009" y="1023"/>
                </a:lnTo>
                <a:lnTo>
                  <a:pt x="1012" y="1022"/>
                </a:lnTo>
                <a:lnTo>
                  <a:pt x="996" y="1015"/>
                </a:lnTo>
                <a:lnTo>
                  <a:pt x="980" y="1008"/>
                </a:lnTo>
                <a:close/>
                <a:moveTo>
                  <a:pt x="1374" y="323"/>
                </a:moveTo>
                <a:lnTo>
                  <a:pt x="1379" y="325"/>
                </a:lnTo>
                <a:lnTo>
                  <a:pt x="1383" y="327"/>
                </a:lnTo>
                <a:lnTo>
                  <a:pt x="1388" y="327"/>
                </a:lnTo>
                <a:lnTo>
                  <a:pt x="1392" y="327"/>
                </a:lnTo>
                <a:lnTo>
                  <a:pt x="1397" y="326"/>
                </a:lnTo>
                <a:lnTo>
                  <a:pt x="1401" y="324"/>
                </a:lnTo>
                <a:lnTo>
                  <a:pt x="1405" y="321"/>
                </a:lnTo>
                <a:lnTo>
                  <a:pt x="1408" y="317"/>
                </a:lnTo>
                <a:lnTo>
                  <a:pt x="1396" y="316"/>
                </a:lnTo>
                <a:lnTo>
                  <a:pt x="1383" y="317"/>
                </a:lnTo>
                <a:lnTo>
                  <a:pt x="1380" y="317"/>
                </a:lnTo>
                <a:lnTo>
                  <a:pt x="1375" y="318"/>
                </a:lnTo>
                <a:lnTo>
                  <a:pt x="1373" y="318"/>
                </a:lnTo>
                <a:lnTo>
                  <a:pt x="1372" y="319"/>
                </a:lnTo>
                <a:lnTo>
                  <a:pt x="1372" y="321"/>
                </a:lnTo>
                <a:lnTo>
                  <a:pt x="1374" y="323"/>
                </a:lnTo>
                <a:lnTo>
                  <a:pt x="1377" y="325"/>
                </a:lnTo>
                <a:lnTo>
                  <a:pt x="1374" y="323"/>
                </a:lnTo>
                <a:close/>
                <a:moveTo>
                  <a:pt x="1481" y="684"/>
                </a:moveTo>
                <a:lnTo>
                  <a:pt x="1487" y="687"/>
                </a:lnTo>
                <a:lnTo>
                  <a:pt x="1492" y="687"/>
                </a:lnTo>
                <a:lnTo>
                  <a:pt x="1499" y="688"/>
                </a:lnTo>
                <a:lnTo>
                  <a:pt x="1505" y="687"/>
                </a:lnTo>
                <a:lnTo>
                  <a:pt x="1517" y="684"/>
                </a:lnTo>
                <a:lnTo>
                  <a:pt x="1530" y="681"/>
                </a:lnTo>
                <a:lnTo>
                  <a:pt x="1516" y="681"/>
                </a:lnTo>
                <a:lnTo>
                  <a:pt x="1505" y="681"/>
                </a:lnTo>
                <a:lnTo>
                  <a:pt x="1492" y="681"/>
                </a:lnTo>
                <a:lnTo>
                  <a:pt x="1481" y="684"/>
                </a:lnTo>
                <a:close/>
                <a:moveTo>
                  <a:pt x="880" y="614"/>
                </a:moveTo>
                <a:lnTo>
                  <a:pt x="876" y="613"/>
                </a:lnTo>
                <a:lnTo>
                  <a:pt x="871" y="612"/>
                </a:lnTo>
                <a:lnTo>
                  <a:pt x="866" y="613"/>
                </a:lnTo>
                <a:lnTo>
                  <a:pt x="862" y="615"/>
                </a:lnTo>
                <a:lnTo>
                  <a:pt x="877" y="618"/>
                </a:lnTo>
                <a:lnTo>
                  <a:pt x="891" y="621"/>
                </a:lnTo>
                <a:lnTo>
                  <a:pt x="903" y="624"/>
                </a:lnTo>
                <a:lnTo>
                  <a:pt x="915" y="625"/>
                </a:lnTo>
                <a:lnTo>
                  <a:pt x="918" y="624"/>
                </a:lnTo>
                <a:lnTo>
                  <a:pt x="919" y="624"/>
                </a:lnTo>
                <a:lnTo>
                  <a:pt x="920" y="623"/>
                </a:lnTo>
                <a:lnTo>
                  <a:pt x="919" y="621"/>
                </a:lnTo>
                <a:lnTo>
                  <a:pt x="915" y="618"/>
                </a:lnTo>
                <a:lnTo>
                  <a:pt x="911" y="618"/>
                </a:lnTo>
                <a:lnTo>
                  <a:pt x="895" y="616"/>
                </a:lnTo>
                <a:lnTo>
                  <a:pt x="880" y="614"/>
                </a:lnTo>
                <a:lnTo>
                  <a:pt x="882" y="614"/>
                </a:lnTo>
                <a:lnTo>
                  <a:pt x="880" y="614"/>
                </a:lnTo>
                <a:close/>
                <a:moveTo>
                  <a:pt x="1915" y="225"/>
                </a:moveTo>
                <a:lnTo>
                  <a:pt x="1917" y="220"/>
                </a:lnTo>
                <a:lnTo>
                  <a:pt x="1916" y="217"/>
                </a:lnTo>
                <a:lnTo>
                  <a:pt x="1914" y="216"/>
                </a:lnTo>
                <a:lnTo>
                  <a:pt x="1909" y="216"/>
                </a:lnTo>
                <a:lnTo>
                  <a:pt x="1899" y="218"/>
                </a:lnTo>
                <a:lnTo>
                  <a:pt x="1888" y="223"/>
                </a:lnTo>
                <a:lnTo>
                  <a:pt x="1894" y="226"/>
                </a:lnTo>
                <a:lnTo>
                  <a:pt x="1900" y="230"/>
                </a:lnTo>
                <a:lnTo>
                  <a:pt x="1902" y="233"/>
                </a:lnTo>
                <a:lnTo>
                  <a:pt x="1906" y="235"/>
                </a:lnTo>
                <a:lnTo>
                  <a:pt x="1909" y="234"/>
                </a:lnTo>
                <a:lnTo>
                  <a:pt x="1912" y="232"/>
                </a:lnTo>
                <a:lnTo>
                  <a:pt x="1914" y="227"/>
                </a:lnTo>
                <a:lnTo>
                  <a:pt x="1915" y="225"/>
                </a:lnTo>
                <a:lnTo>
                  <a:pt x="1914" y="228"/>
                </a:lnTo>
                <a:lnTo>
                  <a:pt x="1915" y="225"/>
                </a:lnTo>
                <a:close/>
                <a:moveTo>
                  <a:pt x="1490" y="297"/>
                </a:moveTo>
                <a:lnTo>
                  <a:pt x="1504" y="294"/>
                </a:lnTo>
                <a:lnTo>
                  <a:pt x="1519" y="294"/>
                </a:lnTo>
                <a:lnTo>
                  <a:pt x="1522" y="298"/>
                </a:lnTo>
                <a:lnTo>
                  <a:pt x="1525" y="301"/>
                </a:lnTo>
                <a:lnTo>
                  <a:pt x="1528" y="302"/>
                </a:lnTo>
                <a:lnTo>
                  <a:pt x="1530" y="301"/>
                </a:lnTo>
                <a:lnTo>
                  <a:pt x="1532" y="300"/>
                </a:lnTo>
                <a:lnTo>
                  <a:pt x="1535" y="298"/>
                </a:lnTo>
                <a:lnTo>
                  <a:pt x="1536" y="296"/>
                </a:lnTo>
                <a:lnTo>
                  <a:pt x="1536" y="294"/>
                </a:lnTo>
                <a:lnTo>
                  <a:pt x="1535" y="293"/>
                </a:lnTo>
                <a:lnTo>
                  <a:pt x="1533" y="292"/>
                </a:lnTo>
                <a:lnTo>
                  <a:pt x="1530" y="291"/>
                </a:lnTo>
                <a:lnTo>
                  <a:pt x="1525" y="291"/>
                </a:lnTo>
                <a:lnTo>
                  <a:pt x="1516" y="291"/>
                </a:lnTo>
                <a:lnTo>
                  <a:pt x="1509" y="291"/>
                </a:lnTo>
                <a:lnTo>
                  <a:pt x="1500" y="291"/>
                </a:lnTo>
                <a:lnTo>
                  <a:pt x="1491" y="291"/>
                </a:lnTo>
                <a:lnTo>
                  <a:pt x="1489" y="291"/>
                </a:lnTo>
                <a:lnTo>
                  <a:pt x="1487" y="292"/>
                </a:lnTo>
                <a:lnTo>
                  <a:pt x="1487" y="294"/>
                </a:lnTo>
                <a:lnTo>
                  <a:pt x="1487" y="296"/>
                </a:lnTo>
                <a:lnTo>
                  <a:pt x="1488" y="296"/>
                </a:lnTo>
                <a:lnTo>
                  <a:pt x="1490" y="297"/>
                </a:lnTo>
                <a:lnTo>
                  <a:pt x="1490" y="297"/>
                </a:lnTo>
                <a:lnTo>
                  <a:pt x="1490" y="297"/>
                </a:lnTo>
                <a:close/>
                <a:moveTo>
                  <a:pt x="1133" y="288"/>
                </a:moveTo>
                <a:lnTo>
                  <a:pt x="1127" y="289"/>
                </a:lnTo>
                <a:lnTo>
                  <a:pt x="1121" y="291"/>
                </a:lnTo>
                <a:lnTo>
                  <a:pt x="1117" y="293"/>
                </a:lnTo>
                <a:lnTo>
                  <a:pt x="1112" y="294"/>
                </a:lnTo>
                <a:lnTo>
                  <a:pt x="1111" y="297"/>
                </a:lnTo>
                <a:lnTo>
                  <a:pt x="1112" y="298"/>
                </a:lnTo>
                <a:lnTo>
                  <a:pt x="1113" y="299"/>
                </a:lnTo>
                <a:lnTo>
                  <a:pt x="1115" y="299"/>
                </a:lnTo>
                <a:lnTo>
                  <a:pt x="1120" y="301"/>
                </a:lnTo>
                <a:lnTo>
                  <a:pt x="1125" y="303"/>
                </a:lnTo>
                <a:lnTo>
                  <a:pt x="1129" y="305"/>
                </a:lnTo>
                <a:lnTo>
                  <a:pt x="1134" y="307"/>
                </a:lnTo>
                <a:lnTo>
                  <a:pt x="1136" y="307"/>
                </a:lnTo>
                <a:lnTo>
                  <a:pt x="1138" y="306"/>
                </a:lnTo>
                <a:lnTo>
                  <a:pt x="1141" y="305"/>
                </a:lnTo>
                <a:lnTo>
                  <a:pt x="1142" y="302"/>
                </a:lnTo>
                <a:lnTo>
                  <a:pt x="1143" y="299"/>
                </a:lnTo>
                <a:lnTo>
                  <a:pt x="1143" y="297"/>
                </a:lnTo>
                <a:lnTo>
                  <a:pt x="1143" y="294"/>
                </a:lnTo>
                <a:lnTo>
                  <a:pt x="1142" y="292"/>
                </a:lnTo>
                <a:lnTo>
                  <a:pt x="1141" y="291"/>
                </a:lnTo>
                <a:lnTo>
                  <a:pt x="1138" y="289"/>
                </a:lnTo>
                <a:lnTo>
                  <a:pt x="1136" y="289"/>
                </a:lnTo>
                <a:lnTo>
                  <a:pt x="1133" y="288"/>
                </a:lnTo>
                <a:lnTo>
                  <a:pt x="1132" y="288"/>
                </a:lnTo>
                <a:lnTo>
                  <a:pt x="1133" y="288"/>
                </a:lnTo>
                <a:close/>
                <a:moveTo>
                  <a:pt x="828" y="1013"/>
                </a:moveTo>
                <a:lnTo>
                  <a:pt x="839" y="1018"/>
                </a:lnTo>
                <a:lnTo>
                  <a:pt x="849" y="1020"/>
                </a:lnTo>
                <a:lnTo>
                  <a:pt x="855" y="1021"/>
                </a:lnTo>
                <a:lnTo>
                  <a:pt x="860" y="1021"/>
                </a:lnTo>
                <a:lnTo>
                  <a:pt x="865" y="1021"/>
                </a:lnTo>
                <a:lnTo>
                  <a:pt x="871" y="1020"/>
                </a:lnTo>
                <a:lnTo>
                  <a:pt x="866" y="1018"/>
                </a:lnTo>
                <a:lnTo>
                  <a:pt x="862" y="1014"/>
                </a:lnTo>
                <a:lnTo>
                  <a:pt x="876" y="1014"/>
                </a:lnTo>
                <a:lnTo>
                  <a:pt x="889" y="1014"/>
                </a:lnTo>
                <a:lnTo>
                  <a:pt x="881" y="1012"/>
                </a:lnTo>
                <a:lnTo>
                  <a:pt x="874" y="1010"/>
                </a:lnTo>
                <a:lnTo>
                  <a:pt x="866" y="1008"/>
                </a:lnTo>
                <a:lnTo>
                  <a:pt x="858" y="1008"/>
                </a:lnTo>
                <a:lnTo>
                  <a:pt x="844" y="1010"/>
                </a:lnTo>
                <a:lnTo>
                  <a:pt x="828" y="1013"/>
                </a:lnTo>
                <a:lnTo>
                  <a:pt x="833" y="1015"/>
                </a:lnTo>
                <a:lnTo>
                  <a:pt x="837" y="1015"/>
                </a:lnTo>
                <a:lnTo>
                  <a:pt x="840" y="1014"/>
                </a:lnTo>
                <a:lnTo>
                  <a:pt x="841" y="1013"/>
                </a:lnTo>
                <a:lnTo>
                  <a:pt x="841" y="1012"/>
                </a:lnTo>
                <a:lnTo>
                  <a:pt x="839" y="1011"/>
                </a:lnTo>
                <a:lnTo>
                  <a:pt x="835" y="1012"/>
                </a:lnTo>
                <a:lnTo>
                  <a:pt x="828" y="1013"/>
                </a:lnTo>
                <a:close/>
                <a:moveTo>
                  <a:pt x="1934" y="812"/>
                </a:moveTo>
                <a:lnTo>
                  <a:pt x="1918" y="817"/>
                </a:lnTo>
                <a:lnTo>
                  <a:pt x="1903" y="821"/>
                </a:lnTo>
                <a:lnTo>
                  <a:pt x="1887" y="824"/>
                </a:lnTo>
                <a:lnTo>
                  <a:pt x="1873" y="829"/>
                </a:lnTo>
                <a:lnTo>
                  <a:pt x="1877" y="831"/>
                </a:lnTo>
                <a:lnTo>
                  <a:pt x="1883" y="831"/>
                </a:lnTo>
                <a:lnTo>
                  <a:pt x="1890" y="831"/>
                </a:lnTo>
                <a:lnTo>
                  <a:pt x="1895" y="831"/>
                </a:lnTo>
                <a:lnTo>
                  <a:pt x="1908" y="829"/>
                </a:lnTo>
                <a:lnTo>
                  <a:pt x="1920" y="826"/>
                </a:lnTo>
                <a:lnTo>
                  <a:pt x="1925" y="825"/>
                </a:lnTo>
                <a:lnTo>
                  <a:pt x="1932" y="824"/>
                </a:lnTo>
                <a:lnTo>
                  <a:pt x="1937" y="823"/>
                </a:lnTo>
                <a:lnTo>
                  <a:pt x="1941" y="821"/>
                </a:lnTo>
                <a:lnTo>
                  <a:pt x="1941" y="817"/>
                </a:lnTo>
                <a:lnTo>
                  <a:pt x="1940" y="814"/>
                </a:lnTo>
                <a:lnTo>
                  <a:pt x="1939" y="812"/>
                </a:lnTo>
                <a:lnTo>
                  <a:pt x="1937" y="812"/>
                </a:lnTo>
                <a:lnTo>
                  <a:pt x="1935" y="811"/>
                </a:lnTo>
                <a:lnTo>
                  <a:pt x="1934" y="812"/>
                </a:lnTo>
                <a:lnTo>
                  <a:pt x="1933" y="812"/>
                </a:lnTo>
                <a:lnTo>
                  <a:pt x="1934" y="812"/>
                </a:lnTo>
                <a:close/>
                <a:moveTo>
                  <a:pt x="1808" y="521"/>
                </a:moveTo>
                <a:lnTo>
                  <a:pt x="1804" y="524"/>
                </a:lnTo>
                <a:lnTo>
                  <a:pt x="1800" y="526"/>
                </a:lnTo>
                <a:lnTo>
                  <a:pt x="1796" y="526"/>
                </a:lnTo>
                <a:lnTo>
                  <a:pt x="1792" y="526"/>
                </a:lnTo>
                <a:lnTo>
                  <a:pt x="1784" y="525"/>
                </a:lnTo>
                <a:lnTo>
                  <a:pt x="1775" y="526"/>
                </a:lnTo>
                <a:lnTo>
                  <a:pt x="1771" y="529"/>
                </a:lnTo>
                <a:lnTo>
                  <a:pt x="1769" y="531"/>
                </a:lnTo>
                <a:lnTo>
                  <a:pt x="1769" y="532"/>
                </a:lnTo>
                <a:lnTo>
                  <a:pt x="1769" y="534"/>
                </a:lnTo>
                <a:lnTo>
                  <a:pt x="1770" y="535"/>
                </a:lnTo>
                <a:lnTo>
                  <a:pt x="1771" y="537"/>
                </a:lnTo>
                <a:lnTo>
                  <a:pt x="1776" y="538"/>
                </a:lnTo>
                <a:lnTo>
                  <a:pt x="1780" y="537"/>
                </a:lnTo>
                <a:lnTo>
                  <a:pt x="1785" y="535"/>
                </a:lnTo>
                <a:lnTo>
                  <a:pt x="1789" y="533"/>
                </a:lnTo>
                <a:lnTo>
                  <a:pt x="1800" y="532"/>
                </a:lnTo>
                <a:lnTo>
                  <a:pt x="1810" y="530"/>
                </a:lnTo>
                <a:lnTo>
                  <a:pt x="1813" y="529"/>
                </a:lnTo>
                <a:lnTo>
                  <a:pt x="1819" y="527"/>
                </a:lnTo>
                <a:lnTo>
                  <a:pt x="1824" y="526"/>
                </a:lnTo>
                <a:lnTo>
                  <a:pt x="1826" y="524"/>
                </a:lnTo>
                <a:lnTo>
                  <a:pt x="1827" y="522"/>
                </a:lnTo>
                <a:lnTo>
                  <a:pt x="1826" y="520"/>
                </a:lnTo>
                <a:lnTo>
                  <a:pt x="1824" y="517"/>
                </a:lnTo>
                <a:lnTo>
                  <a:pt x="1821" y="516"/>
                </a:lnTo>
                <a:lnTo>
                  <a:pt x="1818" y="515"/>
                </a:lnTo>
                <a:lnTo>
                  <a:pt x="1814" y="516"/>
                </a:lnTo>
                <a:lnTo>
                  <a:pt x="1810" y="517"/>
                </a:lnTo>
                <a:lnTo>
                  <a:pt x="1808" y="521"/>
                </a:lnTo>
                <a:lnTo>
                  <a:pt x="1808" y="521"/>
                </a:lnTo>
                <a:lnTo>
                  <a:pt x="1808" y="521"/>
                </a:lnTo>
                <a:close/>
                <a:moveTo>
                  <a:pt x="1467" y="614"/>
                </a:moveTo>
                <a:lnTo>
                  <a:pt x="1453" y="612"/>
                </a:lnTo>
                <a:lnTo>
                  <a:pt x="1438" y="609"/>
                </a:lnTo>
                <a:lnTo>
                  <a:pt x="1430" y="610"/>
                </a:lnTo>
                <a:lnTo>
                  <a:pt x="1423" y="612"/>
                </a:lnTo>
                <a:lnTo>
                  <a:pt x="1416" y="614"/>
                </a:lnTo>
                <a:lnTo>
                  <a:pt x="1409" y="617"/>
                </a:lnTo>
                <a:lnTo>
                  <a:pt x="1414" y="620"/>
                </a:lnTo>
                <a:lnTo>
                  <a:pt x="1418" y="622"/>
                </a:lnTo>
                <a:lnTo>
                  <a:pt x="1423" y="623"/>
                </a:lnTo>
                <a:lnTo>
                  <a:pt x="1428" y="623"/>
                </a:lnTo>
                <a:lnTo>
                  <a:pt x="1437" y="623"/>
                </a:lnTo>
                <a:lnTo>
                  <a:pt x="1447" y="623"/>
                </a:lnTo>
                <a:lnTo>
                  <a:pt x="1456" y="622"/>
                </a:lnTo>
                <a:lnTo>
                  <a:pt x="1465" y="621"/>
                </a:lnTo>
                <a:lnTo>
                  <a:pt x="1468" y="620"/>
                </a:lnTo>
                <a:lnTo>
                  <a:pt x="1471" y="617"/>
                </a:lnTo>
                <a:lnTo>
                  <a:pt x="1471" y="616"/>
                </a:lnTo>
                <a:lnTo>
                  <a:pt x="1471" y="615"/>
                </a:lnTo>
                <a:lnTo>
                  <a:pt x="1470" y="614"/>
                </a:lnTo>
                <a:lnTo>
                  <a:pt x="1467" y="614"/>
                </a:lnTo>
                <a:lnTo>
                  <a:pt x="1459" y="613"/>
                </a:lnTo>
                <a:lnTo>
                  <a:pt x="1461" y="613"/>
                </a:lnTo>
                <a:lnTo>
                  <a:pt x="1465" y="614"/>
                </a:lnTo>
                <a:lnTo>
                  <a:pt x="1467" y="614"/>
                </a:lnTo>
                <a:close/>
                <a:moveTo>
                  <a:pt x="1519" y="339"/>
                </a:moveTo>
                <a:lnTo>
                  <a:pt x="1517" y="341"/>
                </a:lnTo>
                <a:lnTo>
                  <a:pt x="1515" y="343"/>
                </a:lnTo>
                <a:lnTo>
                  <a:pt x="1512" y="346"/>
                </a:lnTo>
                <a:lnTo>
                  <a:pt x="1509" y="347"/>
                </a:lnTo>
                <a:lnTo>
                  <a:pt x="1505" y="347"/>
                </a:lnTo>
                <a:lnTo>
                  <a:pt x="1502" y="349"/>
                </a:lnTo>
                <a:lnTo>
                  <a:pt x="1502" y="351"/>
                </a:lnTo>
                <a:lnTo>
                  <a:pt x="1503" y="354"/>
                </a:lnTo>
                <a:lnTo>
                  <a:pt x="1505" y="356"/>
                </a:lnTo>
                <a:lnTo>
                  <a:pt x="1506" y="357"/>
                </a:lnTo>
                <a:lnTo>
                  <a:pt x="1514" y="357"/>
                </a:lnTo>
                <a:lnTo>
                  <a:pt x="1521" y="355"/>
                </a:lnTo>
                <a:lnTo>
                  <a:pt x="1525" y="354"/>
                </a:lnTo>
                <a:lnTo>
                  <a:pt x="1530" y="354"/>
                </a:lnTo>
                <a:lnTo>
                  <a:pt x="1531" y="354"/>
                </a:lnTo>
                <a:lnTo>
                  <a:pt x="1532" y="355"/>
                </a:lnTo>
                <a:lnTo>
                  <a:pt x="1535" y="352"/>
                </a:lnTo>
                <a:lnTo>
                  <a:pt x="1536" y="351"/>
                </a:lnTo>
                <a:lnTo>
                  <a:pt x="1542" y="349"/>
                </a:lnTo>
                <a:lnTo>
                  <a:pt x="1549" y="348"/>
                </a:lnTo>
                <a:lnTo>
                  <a:pt x="1555" y="349"/>
                </a:lnTo>
                <a:lnTo>
                  <a:pt x="1562" y="349"/>
                </a:lnTo>
                <a:lnTo>
                  <a:pt x="1565" y="348"/>
                </a:lnTo>
                <a:lnTo>
                  <a:pt x="1568" y="347"/>
                </a:lnTo>
                <a:lnTo>
                  <a:pt x="1570" y="344"/>
                </a:lnTo>
                <a:lnTo>
                  <a:pt x="1571" y="341"/>
                </a:lnTo>
                <a:lnTo>
                  <a:pt x="1565" y="341"/>
                </a:lnTo>
                <a:lnTo>
                  <a:pt x="1560" y="341"/>
                </a:lnTo>
                <a:lnTo>
                  <a:pt x="1555" y="341"/>
                </a:lnTo>
                <a:lnTo>
                  <a:pt x="1550" y="342"/>
                </a:lnTo>
                <a:lnTo>
                  <a:pt x="1548" y="342"/>
                </a:lnTo>
                <a:lnTo>
                  <a:pt x="1547" y="341"/>
                </a:lnTo>
                <a:lnTo>
                  <a:pt x="1547" y="340"/>
                </a:lnTo>
                <a:lnTo>
                  <a:pt x="1547" y="339"/>
                </a:lnTo>
                <a:lnTo>
                  <a:pt x="1548" y="336"/>
                </a:lnTo>
                <a:lnTo>
                  <a:pt x="1548" y="333"/>
                </a:lnTo>
                <a:lnTo>
                  <a:pt x="1547" y="332"/>
                </a:lnTo>
                <a:lnTo>
                  <a:pt x="1544" y="331"/>
                </a:lnTo>
                <a:lnTo>
                  <a:pt x="1540" y="331"/>
                </a:lnTo>
                <a:lnTo>
                  <a:pt x="1538" y="331"/>
                </a:lnTo>
                <a:lnTo>
                  <a:pt x="1532" y="331"/>
                </a:lnTo>
                <a:lnTo>
                  <a:pt x="1528" y="333"/>
                </a:lnTo>
                <a:lnTo>
                  <a:pt x="1523" y="335"/>
                </a:lnTo>
                <a:lnTo>
                  <a:pt x="1519" y="339"/>
                </a:lnTo>
                <a:lnTo>
                  <a:pt x="1521" y="336"/>
                </a:lnTo>
                <a:lnTo>
                  <a:pt x="1519" y="339"/>
                </a:lnTo>
                <a:close/>
                <a:moveTo>
                  <a:pt x="687" y="944"/>
                </a:moveTo>
                <a:lnTo>
                  <a:pt x="662" y="938"/>
                </a:lnTo>
                <a:lnTo>
                  <a:pt x="637" y="933"/>
                </a:lnTo>
                <a:lnTo>
                  <a:pt x="611" y="928"/>
                </a:lnTo>
                <a:lnTo>
                  <a:pt x="586" y="921"/>
                </a:lnTo>
                <a:lnTo>
                  <a:pt x="561" y="914"/>
                </a:lnTo>
                <a:lnTo>
                  <a:pt x="536" y="908"/>
                </a:lnTo>
                <a:lnTo>
                  <a:pt x="511" y="902"/>
                </a:lnTo>
                <a:lnTo>
                  <a:pt x="486" y="895"/>
                </a:lnTo>
                <a:lnTo>
                  <a:pt x="499" y="902"/>
                </a:lnTo>
                <a:lnTo>
                  <a:pt x="523" y="908"/>
                </a:lnTo>
                <a:lnTo>
                  <a:pt x="552" y="917"/>
                </a:lnTo>
                <a:lnTo>
                  <a:pt x="585" y="925"/>
                </a:lnTo>
                <a:lnTo>
                  <a:pt x="619" y="933"/>
                </a:lnTo>
                <a:lnTo>
                  <a:pt x="649" y="939"/>
                </a:lnTo>
                <a:lnTo>
                  <a:pt x="673" y="942"/>
                </a:lnTo>
                <a:lnTo>
                  <a:pt x="687" y="944"/>
                </a:lnTo>
                <a:close/>
                <a:moveTo>
                  <a:pt x="1134" y="524"/>
                </a:moveTo>
                <a:lnTo>
                  <a:pt x="1128" y="523"/>
                </a:lnTo>
                <a:lnTo>
                  <a:pt x="1124" y="522"/>
                </a:lnTo>
                <a:lnTo>
                  <a:pt x="1118" y="522"/>
                </a:lnTo>
                <a:lnTo>
                  <a:pt x="1113" y="524"/>
                </a:lnTo>
                <a:lnTo>
                  <a:pt x="1140" y="527"/>
                </a:lnTo>
                <a:lnTo>
                  <a:pt x="1166" y="533"/>
                </a:lnTo>
                <a:lnTo>
                  <a:pt x="1178" y="535"/>
                </a:lnTo>
                <a:lnTo>
                  <a:pt x="1192" y="537"/>
                </a:lnTo>
                <a:lnTo>
                  <a:pt x="1204" y="538"/>
                </a:lnTo>
                <a:lnTo>
                  <a:pt x="1218" y="535"/>
                </a:lnTo>
                <a:lnTo>
                  <a:pt x="1203" y="532"/>
                </a:lnTo>
                <a:lnTo>
                  <a:pt x="1190" y="527"/>
                </a:lnTo>
                <a:lnTo>
                  <a:pt x="1192" y="525"/>
                </a:lnTo>
                <a:lnTo>
                  <a:pt x="1195" y="524"/>
                </a:lnTo>
                <a:lnTo>
                  <a:pt x="1198" y="524"/>
                </a:lnTo>
                <a:lnTo>
                  <a:pt x="1201" y="524"/>
                </a:lnTo>
                <a:lnTo>
                  <a:pt x="1206" y="525"/>
                </a:lnTo>
                <a:lnTo>
                  <a:pt x="1210" y="525"/>
                </a:lnTo>
                <a:lnTo>
                  <a:pt x="1211" y="524"/>
                </a:lnTo>
                <a:lnTo>
                  <a:pt x="1211" y="523"/>
                </a:lnTo>
                <a:lnTo>
                  <a:pt x="1209" y="522"/>
                </a:lnTo>
                <a:lnTo>
                  <a:pt x="1206" y="521"/>
                </a:lnTo>
                <a:lnTo>
                  <a:pt x="1200" y="520"/>
                </a:lnTo>
                <a:lnTo>
                  <a:pt x="1195" y="520"/>
                </a:lnTo>
                <a:lnTo>
                  <a:pt x="1189" y="518"/>
                </a:lnTo>
                <a:lnTo>
                  <a:pt x="1182" y="517"/>
                </a:lnTo>
                <a:lnTo>
                  <a:pt x="1175" y="517"/>
                </a:lnTo>
                <a:lnTo>
                  <a:pt x="1168" y="517"/>
                </a:lnTo>
                <a:lnTo>
                  <a:pt x="1167" y="516"/>
                </a:lnTo>
                <a:lnTo>
                  <a:pt x="1165" y="516"/>
                </a:lnTo>
                <a:lnTo>
                  <a:pt x="1163" y="514"/>
                </a:lnTo>
                <a:lnTo>
                  <a:pt x="1165" y="513"/>
                </a:lnTo>
                <a:lnTo>
                  <a:pt x="1166" y="510"/>
                </a:lnTo>
                <a:lnTo>
                  <a:pt x="1169" y="512"/>
                </a:lnTo>
                <a:lnTo>
                  <a:pt x="1173" y="513"/>
                </a:lnTo>
                <a:lnTo>
                  <a:pt x="1175" y="514"/>
                </a:lnTo>
                <a:lnTo>
                  <a:pt x="1183" y="514"/>
                </a:lnTo>
                <a:lnTo>
                  <a:pt x="1191" y="514"/>
                </a:lnTo>
                <a:lnTo>
                  <a:pt x="1199" y="515"/>
                </a:lnTo>
                <a:lnTo>
                  <a:pt x="1207" y="515"/>
                </a:lnTo>
                <a:lnTo>
                  <a:pt x="1209" y="514"/>
                </a:lnTo>
                <a:lnTo>
                  <a:pt x="1210" y="512"/>
                </a:lnTo>
                <a:lnTo>
                  <a:pt x="1209" y="510"/>
                </a:lnTo>
                <a:lnTo>
                  <a:pt x="1206" y="509"/>
                </a:lnTo>
                <a:lnTo>
                  <a:pt x="1199" y="508"/>
                </a:lnTo>
                <a:lnTo>
                  <a:pt x="1191" y="508"/>
                </a:lnTo>
                <a:lnTo>
                  <a:pt x="1174" y="507"/>
                </a:lnTo>
                <a:lnTo>
                  <a:pt x="1157" y="507"/>
                </a:lnTo>
                <a:lnTo>
                  <a:pt x="1152" y="507"/>
                </a:lnTo>
                <a:lnTo>
                  <a:pt x="1149" y="505"/>
                </a:lnTo>
                <a:lnTo>
                  <a:pt x="1146" y="502"/>
                </a:lnTo>
                <a:lnTo>
                  <a:pt x="1146" y="497"/>
                </a:lnTo>
                <a:lnTo>
                  <a:pt x="1142" y="500"/>
                </a:lnTo>
                <a:lnTo>
                  <a:pt x="1137" y="502"/>
                </a:lnTo>
                <a:lnTo>
                  <a:pt x="1133" y="504"/>
                </a:lnTo>
                <a:lnTo>
                  <a:pt x="1128" y="505"/>
                </a:lnTo>
                <a:lnTo>
                  <a:pt x="1126" y="505"/>
                </a:lnTo>
                <a:lnTo>
                  <a:pt x="1124" y="506"/>
                </a:lnTo>
                <a:lnTo>
                  <a:pt x="1123" y="508"/>
                </a:lnTo>
                <a:lnTo>
                  <a:pt x="1123" y="509"/>
                </a:lnTo>
                <a:lnTo>
                  <a:pt x="1124" y="513"/>
                </a:lnTo>
                <a:lnTo>
                  <a:pt x="1127" y="516"/>
                </a:lnTo>
                <a:lnTo>
                  <a:pt x="1134" y="518"/>
                </a:lnTo>
                <a:lnTo>
                  <a:pt x="1141" y="520"/>
                </a:lnTo>
                <a:lnTo>
                  <a:pt x="1146" y="520"/>
                </a:lnTo>
                <a:lnTo>
                  <a:pt x="1151" y="521"/>
                </a:lnTo>
                <a:lnTo>
                  <a:pt x="1154" y="523"/>
                </a:lnTo>
                <a:lnTo>
                  <a:pt x="1156" y="526"/>
                </a:lnTo>
                <a:lnTo>
                  <a:pt x="1150" y="526"/>
                </a:lnTo>
                <a:lnTo>
                  <a:pt x="1145" y="526"/>
                </a:lnTo>
                <a:lnTo>
                  <a:pt x="1140" y="525"/>
                </a:lnTo>
                <a:lnTo>
                  <a:pt x="1134" y="524"/>
                </a:lnTo>
                <a:lnTo>
                  <a:pt x="1134" y="524"/>
                </a:lnTo>
                <a:lnTo>
                  <a:pt x="1134" y="524"/>
                </a:lnTo>
                <a:close/>
                <a:moveTo>
                  <a:pt x="2083" y="483"/>
                </a:moveTo>
                <a:lnTo>
                  <a:pt x="2077" y="482"/>
                </a:lnTo>
                <a:lnTo>
                  <a:pt x="2083" y="483"/>
                </a:lnTo>
                <a:close/>
                <a:moveTo>
                  <a:pt x="1201" y="879"/>
                </a:moveTo>
                <a:lnTo>
                  <a:pt x="1200" y="877"/>
                </a:lnTo>
                <a:lnTo>
                  <a:pt x="1196" y="874"/>
                </a:lnTo>
                <a:lnTo>
                  <a:pt x="1191" y="873"/>
                </a:lnTo>
                <a:lnTo>
                  <a:pt x="1184" y="872"/>
                </a:lnTo>
                <a:lnTo>
                  <a:pt x="1170" y="871"/>
                </a:lnTo>
                <a:lnTo>
                  <a:pt x="1161" y="870"/>
                </a:lnTo>
                <a:lnTo>
                  <a:pt x="1148" y="869"/>
                </a:lnTo>
                <a:lnTo>
                  <a:pt x="1135" y="867"/>
                </a:lnTo>
                <a:lnTo>
                  <a:pt x="1121" y="865"/>
                </a:lnTo>
                <a:lnTo>
                  <a:pt x="1109" y="863"/>
                </a:lnTo>
                <a:lnTo>
                  <a:pt x="1084" y="858"/>
                </a:lnTo>
                <a:lnTo>
                  <a:pt x="1058" y="855"/>
                </a:lnTo>
                <a:lnTo>
                  <a:pt x="1045" y="853"/>
                </a:lnTo>
                <a:lnTo>
                  <a:pt x="1033" y="852"/>
                </a:lnTo>
                <a:lnTo>
                  <a:pt x="1019" y="852"/>
                </a:lnTo>
                <a:lnTo>
                  <a:pt x="1006" y="852"/>
                </a:lnTo>
                <a:lnTo>
                  <a:pt x="1014" y="856"/>
                </a:lnTo>
                <a:lnTo>
                  <a:pt x="1022" y="859"/>
                </a:lnTo>
                <a:lnTo>
                  <a:pt x="1027" y="861"/>
                </a:lnTo>
                <a:lnTo>
                  <a:pt x="1033" y="861"/>
                </a:lnTo>
                <a:lnTo>
                  <a:pt x="1039" y="862"/>
                </a:lnTo>
                <a:lnTo>
                  <a:pt x="1045" y="862"/>
                </a:lnTo>
                <a:lnTo>
                  <a:pt x="1059" y="863"/>
                </a:lnTo>
                <a:lnTo>
                  <a:pt x="1072" y="863"/>
                </a:lnTo>
                <a:lnTo>
                  <a:pt x="1086" y="864"/>
                </a:lnTo>
                <a:lnTo>
                  <a:pt x="1100" y="866"/>
                </a:lnTo>
                <a:lnTo>
                  <a:pt x="1113" y="869"/>
                </a:lnTo>
                <a:lnTo>
                  <a:pt x="1127" y="871"/>
                </a:lnTo>
                <a:lnTo>
                  <a:pt x="1141" y="873"/>
                </a:lnTo>
                <a:lnTo>
                  <a:pt x="1153" y="874"/>
                </a:lnTo>
                <a:lnTo>
                  <a:pt x="1168" y="875"/>
                </a:lnTo>
                <a:lnTo>
                  <a:pt x="1182" y="878"/>
                </a:lnTo>
                <a:lnTo>
                  <a:pt x="1185" y="879"/>
                </a:lnTo>
                <a:lnTo>
                  <a:pt x="1192" y="880"/>
                </a:lnTo>
                <a:lnTo>
                  <a:pt x="1195" y="881"/>
                </a:lnTo>
                <a:lnTo>
                  <a:pt x="1198" y="881"/>
                </a:lnTo>
                <a:lnTo>
                  <a:pt x="1200" y="880"/>
                </a:lnTo>
                <a:lnTo>
                  <a:pt x="1201" y="879"/>
                </a:lnTo>
                <a:close/>
                <a:moveTo>
                  <a:pt x="1083" y="466"/>
                </a:moveTo>
                <a:lnTo>
                  <a:pt x="1069" y="465"/>
                </a:lnTo>
                <a:lnTo>
                  <a:pt x="1054" y="463"/>
                </a:lnTo>
                <a:lnTo>
                  <a:pt x="1049" y="463"/>
                </a:lnTo>
                <a:lnTo>
                  <a:pt x="1044" y="463"/>
                </a:lnTo>
                <a:lnTo>
                  <a:pt x="1039" y="464"/>
                </a:lnTo>
                <a:lnTo>
                  <a:pt x="1035" y="467"/>
                </a:lnTo>
                <a:lnTo>
                  <a:pt x="1031" y="469"/>
                </a:lnTo>
                <a:lnTo>
                  <a:pt x="1027" y="473"/>
                </a:lnTo>
                <a:lnTo>
                  <a:pt x="1026" y="474"/>
                </a:lnTo>
                <a:lnTo>
                  <a:pt x="1025" y="476"/>
                </a:lnTo>
                <a:lnTo>
                  <a:pt x="1023" y="479"/>
                </a:lnTo>
                <a:lnTo>
                  <a:pt x="1025" y="480"/>
                </a:lnTo>
                <a:lnTo>
                  <a:pt x="1028" y="481"/>
                </a:lnTo>
                <a:lnTo>
                  <a:pt x="1031" y="482"/>
                </a:lnTo>
                <a:lnTo>
                  <a:pt x="1036" y="485"/>
                </a:lnTo>
                <a:lnTo>
                  <a:pt x="1042" y="489"/>
                </a:lnTo>
                <a:lnTo>
                  <a:pt x="1052" y="491"/>
                </a:lnTo>
                <a:lnTo>
                  <a:pt x="1062" y="492"/>
                </a:lnTo>
                <a:lnTo>
                  <a:pt x="1072" y="493"/>
                </a:lnTo>
                <a:lnTo>
                  <a:pt x="1083" y="493"/>
                </a:lnTo>
                <a:lnTo>
                  <a:pt x="1086" y="492"/>
                </a:lnTo>
                <a:lnTo>
                  <a:pt x="1087" y="490"/>
                </a:lnTo>
                <a:lnTo>
                  <a:pt x="1087" y="489"/>
                </a:lnTo>
                <a:lnTo>
                  <a:pt x="1087" y="488"/>
                </a:lnTo>
                <a:lnTo>
                  <a:pt x="1084" y="484"/>
                </a:lnTo>
                <a:lnTo>
                  <a:pt x="1082" y="482"/>
                </a:lnTo>
                <a:lnTo>
                  <a:pt x="1079" y="480"/>
                </a:lnTo>
                <a:lnTo>
                  <a:pt x="1078" y="477"/>
                </a:lnTo>
                <a:lnTo>
                  <a:pt x="1077" y="475"/>
                </a:lnTo>
                <a:lnTo>
                  <a:pt x="1077" y="474"/>
                </a:lnTo>
                <a:lnTo>
                  <a:pt x="1079" y="469"/>
                </a:lnTo>
                <a:lnTo>
                  <a:pt x="1083" y="466"/>
                </a:lnTo>
                <a:lnTo>
                  <a:pt x="1076" y="468"/>
                </a:lnTo>
                <a:lnTo>
                  <a:pt x="1083" y="466"/>
                </a:lnTo>
                <a:close/>
                <a:moveTo>
                  <a:pt x="1068" y="258"/>
                </a:moveTo>
                <a:lnTo>
                  <a:pt x="1076" y="261"/>
                </a:lnTo>
                <a:lnTo>
                  <a:pt x="1084" y="265"/>
                </a:lnTo>
                <a:lnTo>
                  <a:pt x="1091" y="269"/>
                </a:lnTo>
                <a:lnTo>
                  <a:pt x="1099" y="273"/>
                </a:lnTo>
                <a:lnTo>
                  <a:pt x="1107" y="273"/>
                </a:lnTo>
                <a:lnTo>
                  <a:pt x="1115" y="272"/>
                </a:lnTo>
                <a:lnTo>
                  <a:pt x="1125" y="274"/>
                </a:lnTo>
                <a:lnTo>
                  <a:pt x="1135" y="277"/>
                </a:lnTo>
                <a:lnTo>
                  <a:pt x="1145" y="278"/>
                </a:lnTo>
                <a:lnTo>
                  <a:pt x="1154" y="280"/>
                </a:lnTo>
                <a:lnTo>
                  <a:pt x="1163" y="281"/>
                </a:lnTo>
                <a:lnTo>
                  <a:pt x="1174" y="281"/>
                </a:lnTo>
                <a:lnTo>
                  <a:pt x="1179" y="282"/>
                </a:lnTo>
                <a:lnTo>
                  <a:pt x="1190" y="282"/>
                </a:lnTo>
                <a:lnTo>
                  <a:pt x="1194" y="282"/>
                </a:lnTo>
                <a:lnTo>
                  <a:pt x="1198" y="281"/>
                </a:lnTo>
                <a:lnTo>
                  <a:pt x="1199" y="280"/>
                </a:lnTo>
                <a:lnTo>
                  <a:pt x="1199" y="278"/>
                </a:lnTo>
                <a:lnTo>
                  <a:pt x="1199" y="277"/>
                </a:lnTo>
                <a:lnTo>
                  <a:pt x="1199" y="276"/>
                </a:lnTo>
                <a:lnTo>
                  <a:pt x="1196" y="274"/>
                </a:lnTo>
                <a:lnTo>
                  <a:pt x="1193" y="274"/>
                </a:lnTo>
                <a:lnTo>
                  <a:pt x="1189" y="275"/>
                </a:lnTo>
                <a:lnTo>
                  <a:pt x="1185" y="275"/>
                </a:lnTo>
                <a:lnTo>
                  <a:pt x="1177" y="273"/>
                </a:lnTo>
                <a:lnTo>
                  <a:pt x="1170" y="268"/>
                </a:lnTo>
                <a:lnTo>
                  <a:pt x="1167" y="266"/>
                </a:lnTo>
                <a:lnTo>
                  <a:pt x="1162" y="266"/>
                </a:lnTo>
                <a:lnTo>
                  <a:pt x="1159" y="269"/>
                </a:lnTo>
                <a:lnTo>
                  <a:pt x="1157" y="274"/>
                </a:lnTo>
                <a:lnTo>
                  <a:pt x="1154" y="273"/>
                </a:lnTo>
                <a:lnTo>
                  <a:pt x="1152" y="271"/>
                </a:lnTo>
                <a:lnTo>
                  <a:pt x="1151" y="268"/>
                </a:lnTo>
                <a:lnTo>
                  <a:pt x="1150" y="266"/>
                </a:lnTo>
                <a:lnTo>
                  <a:pt x="1149" y="264"/>
                </a:lnTo>
                <a:lnTo>
                  <a:pt x="1146" y="264"/>
                </a:lnTo>
                <a:lnTo>
                  <a:pt x="1144" y="263"/>
                </a:lnTo>
                <a:lnTo>
                  <a:pt x="1142" y="264"/>
                </a:lnTo>
                <a:lnTo>
                  <a:pt x="1135" y="265"/>
                </a:lnTo>
                <a:lnTo>
                  <a:pt x="1129" y="267"/>
                </a:lnTo>
                <a:lnTo>
                  <a:pt x="1127" y="267"/>
                </a:lnTo>
                <a:lnTo>
                  <a:pt x="1124" y="267"/>
                </a:lnTo>
                <a:lnTo>
                  <a:pt x="1121" y="266"/>
                </a:lnTo>
                <a:lnTo>
                  <a:pt x="1118" y="265"/>
                </a:lnTo>
                <a:lnTo>
                  <a:pt x="1112" y="259"/>
                </a:lnTo>
                <a:lnTo>
                  <a:pt x="1104" y="255"/>
                </a:lnTo>
                <a:lnTo>
                  <a:pt x="1097" y="253"/>
                </a:lnTo>
                <a:lnTo>
                  <a:pt x="1091" y="253"/>
                </a:lnTo>
                <a:lnTo>
                  <a:pt x="1083" y="255"/>
                </a:lnTo>
                <a:lnTo>
                  <a:pt x="1075" y="255"/>
                </a:lnTo>
                <a:lnTo>
                  <a:pt x="1070" y="253"/>
                </a:lnTo>
                <a:lnTo>
                  <a:pt x="1067" y="253"/>
                </a:lnTo>
                <a:lnTo>
                  <a:pt x="1066" y="255"/>
                </a:lnTo>
                <a:lnTo>
                  <a:pt x="1066" y="256"/>
                </a:lnTo>
                <a:lnTo>
                  <a:pt x="1067" y="257"/>
                </a:lnTo>
                <a:lnTo>
                  <a:pt x="1068" y="258"/>
                </a:lnTo>
                <a:lnTo>
                  <a:pt x="1071" y="259"/>
                </a:lnTo>
                <a:lnTo>
                  <a:pt x="1068" y="258"/>
                </a:lnTo>
                <a:close/>
                <a:moveTo>
                  <a:pt x="1809" y="773"/>
                </a:moveTo>
                <a:lnTo>
                  <a:pt x="1796" y="774"/>
                </a:lnTo>
                <a:lnTo>
                  <a:pt x="1784" y="774"/>
                </a:lnTo>
                <a:lnTo>
                  <a:pt x="1771" y="775"/>
                </a:lnTo>
                <a:lnTo>
                  <a:pt x="1760" y="779"/>
                </a:lnTo>
                <a:lnTo>
                  <a:pt x="1746" y="782"/>
                </a:lnTo>
                <a:lnTo>
                  <a:pt x="1734" y="782"/>
                </a:lnTo>
                <a:lnTo>
                  <a:pt x="1720" y="782"/>
                </a:lnTo>
                <a:lnTo>
                  <a:pt x="1708" y="782"/>
                </a:lnTo>
                <a:lnTo>
                  <a:pt x="1694" y="782"/>
                </a:lnTo>
                <a:lnTo>
                  <a:pt x="1681" y="783"/>
                </a:lnTo>
                <a:lnTo>
                  <a:pt x="1668" y="787"/>
                </a:lnTo>
                <a:lnTo>
                  <a:pt x="1654" y="790"/>
                </a:lnTo>
                <a:lnTo>
                  <a:pt x="1641" y="791"/>
                </a:lnTo>
                <a:lnTo>
                  <a:pt x="1628" y="791"/>
                </a:lnTo>
                <a:lnTo>
                  <a:pt x="1622" y="791"/>
                </a:lnTo>
                <a:lnTo>
                  <a:pt x="1618" y="791"/>
                </a:lnTo>
                <a:lnTo>
                  <a:pt x="1615" y="791"/>
                </a:lnTo>
                <a:lnTo>
                  <a:pt x="1613" y="792"/>
                </a:lnTo>
                <a:lnTo>
                  <a:pt x="1611" y="795"/>
                </a:lnTo>
                <a:lnTo>
                  <a:pt x="1608" y="797"/>
                </a:lnTo>
                <a:lnTo>
                  <a:pt x="1623" y="797"/>
                </a:lnTo>
                <a:lnTo>
                  <a:pt x="1638" y="796"/>
                </a:lnTo>
                <a:lnTo>
                  <a:pt x="1653" y="795"/>
                </a:lnTo>
                <a:lnTo>
                  <a:pt x="1667" y="794"/>
                </a:lnTo>
                <a:lnTo>
                  <a:pt x="1681" y="794"/>
                </a:lnTo>
                <a:lnTo>
                  <a:pt x="1696" y="792"/>
                </a:lnTo>
                <a:lnTo>
                  <a:pt x="1711" y="790"/>
                </a:lnTo>
                <a:lnTo>
                  <a:pt x="1725" y="789"/>
                </a:lnTo>
                <a:lnTo>
                  <a:pt x="1739" y="787"/>
                </a:lnTo>
                <a:lnTo>
                  <a:pt x="1754" y="786"/>
                </a:lnTo>
                <a:lnTo>
                  <a:pt x="1769" y="784"/>
                </a:lnTo>
                <a:lnTo>
                  <a:pt x="1784" y="782"/>
                </a:lnTo>
                <a:lnTo>
                  <a:pt x="1796" y="780"/>
                </a:lnTo>
                <a:lnTo>
                  <a:pt x="1810" y="778"/>
                </a:lnTo>
                <a:lnTo>
                  <a:pt x="1812" y="778"/>
                </a:lnTo>
                <a:lnTo>
                  <a:pt x="1814" y="778"/>
                </a:lnTo>
                <a:lnTo>
                  <a:pt x="1816" y="776"/>
                </a:lnTo>
                <a:lnTo>
                  <a:pt x="1817" y="774"/>
                </a:lnTo>
                <a:lnTo>
                  <a:pt x="1816" y="773"/>
                </a:lnTo>
                <a:lnTo>
                  <a:pt x="1813" y="772"/>
                </a:lnTo>
                <a:lnTo>
                  <a:pt x="1811" y="772"/>
                </a:lnTo>
                <a:lnTo>
                  <a:pt x="1809" y="773"/>
                </a:lnTo>
                <a:lnTo>
                  <a:pt x="1808" y="773"/>
                </a:lnTo>
                <a:lnTo>
                  <a:pt x="1809" y="773"/>
                </a:lnTo>
                <a:close/>
                <a:moveTo>
                  <a:pt x="1390" y="963"/>
                </a:moveTo>
                <a:lnTo>
                  <a:pt x="1373" y="961"/>
                </a:lnTo>
                <a:lnTo>
                  <a:pt x="1355" y="960"/>
                </a:lnTo>
                <a:lnTo>
                  <a:pt x="1338" y="958"/>
                </a:lnTo>
                <a:lnTo>
                  <a:pt x="1321" y="957"/>
                </a:lnTo>
                <a:lnTo>
                  <a:pt x="1311" y="956"/>
                </a:lnTo>
                <a:lnTo>
                  <a:pt x="1303" y="956"/>
                </a:lnTo>
                <a:lnTo>
                  <a:pt x="1294" y="956"/>
                </a:lnTo>
                <a:lnTo>
                  <a:pt x="1286" y="956"/>
                </a:lnTo>
                <a:lnTo>
                  <a:pt x="1282" y="956"/>
                </a:lnTo>
                <a:lnTo>
                  <a:pt x="1276" y="956"/>
                </a:lnTo>
                <a:lnTo>
                  <a:pt x="1273" y="956"/>
                </a:lnTo>
                <a:lnTo>
                  <a:pt x="1270" y="956"/>
                </a:lnTo>
                <a:lnTo>
                  <a:pt x="1268" y="957"/>
                </a:lnTo>
                <a:lnTo>
                  <a:pt x="1267" y="960"/>
                </a:lnTo>
                <a:lnTo>
                  <a:pt x="1267" y="962"/>
                </a:lnTo>
                <a:lnTo>
                  <a:pt x="1269" y="964"/>
                </a:lnTo>
                <a:lnTo>
                  <a:pt x="1270" y="965"/>
                </a:lnTo>
                <a:lnTo>
                  <a:pt x="1274" y="966"/>
                </a:lnTo>
                <a:lnTo>
                  <a:pt x="1280" y="967"/>
                </a:lnTo>
                <a:lnTo>
                  <a:pt x="1284" y="967"/>
                </a:lnTo>
                <a:lnTo>
                  <a:pt x="1291" y="967"/>
                </a:lnTo>
                <a:lnTo>
                  <a:pt x="1298" y="967"/>
                </a:lnTo>
                <a:lnTo>
                  <a:pt x="1303" y="970"/>
                </a:lnTo>
                <a:lnTo>
                  <a:pt x="1309" y="973"/>
                </a:lnTo>
                <a:lnTo>
                  <a:pt x="1315" y="975"/>
                </a:lnTo>
                <a:lnTo>
                  <a:pt x="1323" y="977"/>
                </a:lnTo>
                <a:lnTo>
                  <a:pt x="1330" y="977"/>
                </a:lnTo>
                <a:lnTo>
                  <a:pt x="1338" y="975"/>
                </a:lnTo>
                <a:lnTo>
                  <a:pt x="1346" y="975"/>
                </a:lnTo>
                <a:lnTo>
                  <a:pt x="1355" y="975"/>
                </a:lnTo>
                <a:lnTo>
                  <a:pt x="1363" y="977"/>
                </a:lnTo>
                <a:lnTo>
                  <a:pt x="1372" y="979"/>
                </a:lnTo>
                <a:lnTo>
                  <a:pt x="1363" y="977"/>
                </a:lnTo>
                <a:lnTo>
                  <a:pt x="1354" y="974"/>
                </a:lnTo>
                <a:lnTo>
                  <a:pt x="1350" y="974"/>
                </a:lnTo>
                <a:lnTo>
                  <a:pt x="1346" y="974"/>
                </a:lnTo>
                <a:lnTo>
                  <a:pt x="1343" y="974"/>
                </a:lnTo>
                <a:lnTo>
                  <a:pt x="1342" y="974"/>
                </a:lnTo>
                <a:lnTo>
                  <a:pt x="1341" y="973"/>
                </a:lnTo>
                <a:lnTo>
                  <a:pt x="1340" y="971"/>
                </a:lnTo>
                <a:lnTo>
                  <a:pt x="1350" y="971"/>
                </a:lnTo>
                <a:lnTo>
                  <a:pt x="1360" y="972"/>
                </a:lnTo>
                <a:lnTo>
                  <a:pt x="1369" y="972"/>
                </a:lnTo>
                <a:lnTo>
                  <a:pt x="1380" y="973"/>
                </a:lnTo>
                <a:lnTo>
                  <a:pt x="1383" y="973"/>
                </a:lnTo>
                <a:lnTo>
                  <a:pt x="1388" y="972"/>
                </a:lnTo>
                <a:lnTo>
                  <a:pt x="1391" y="971"/>
                </a:lnTo>
                <a:lnTo>
                  <a:pt x="1395" y="969"/>
                </a:lnTo>
                <a:lnTo>
                  <a:pt x="1396" y="965"/>
                </a:lnTo>
                <a:lnTo>
                  <a:pt x="1395" y="964"/>
                </a:lnTo>
                <a:lnTo>
                  <a:pt x="1392" y="963"/>
                </a:lnTo>
                <a:lnTo>
                  <a:pt x="1390" y="963"/>
                </a:lnTo>
                <a:lnTo>
                  <a:pt x="1374" y="962"/>
                </a:lnTo>
                <a:lnTo>
                  <a:pt x="1376" y="962"/>
                </a:lnTo>
                <a:lnTo>
                  <a:pt x="1385" y="962"/>
                </a:lnTo>
                <a:lnTo>
                  <a:pt x="1390" y="963"/>
                </a:lnTo>
                <a:close/>
                <a:moveTo>
                  <a:pt x="1593" y="302"/>
                </a:moveTo>
                <a:lnTo>
                  <a:pt x="1595" y="300"/>
                </a:lnTo>
                <a:lnTo>
                  <a:pt x="1597" y="299"/>
                </a:lnTo>
                <a:lnTo>
                  <a:pt x="1601" y="298"/>
                </a:lnTo>
                <a:lnTo>
                  <a:pt x="1603" y="298"/>
                </a:lnTo>
                <a:lnTo>
                  <a:pt x="1608" y="299"/>
                </a:lnTo>
                <a:lnTo>
                  <a:pt x="1615" y="300"/>
                </a:lnTo>
                <a:lnTo>
                  <a:pt x="1620" y="299"/>
                </a:lnTo>
                <a:lnTo>
                  <a:pt x="1624" y="298"/>
                </a:lnTo>
                <a:lnTo>
                  <a:pt x="1629" y="296"/>
                </a:lnTo>
                <a:lnTo>
                  <a:pt x="1634" y="294"/>
                </a:lnTo>
                <a:lnTo>
                  <a:pt x="1636" y="292"/>
                </a:lnTo>
                <a:lnTo>
                  <a:pt x="1638" y="290"/>
                </a:lnTo>
                <a:lnTo>
                  <a:pt x="1639" y="286"/>
                </a:lnTo>
                <a:lnTo>
                  <a:pt x="1640" y="283"/>
                </a:lnTo>
                <a:lnTo>
                  <a:pt x="1643" y="281"/>
                </a:lnTo>
                <a:lnTo>
                  <a:pt x="1644" y="281"/>
                </a:lnTo>
                <a:lnTo>
                  <a:pt x="1646" y="282"/>
                </a:lnTo>
                <a:lnTo>
                  <a:pt x="1648" y="284"/>
                </a:lnTo>
                <a:lnTo>
                  <a:pt x="1652" y="290"/>
                </a:lnTo>
                <a:lnTo>
                  <a:pt x="1654" y="293"/>
                </a:lnTo>
                <a:lnTo>
                  <a:pt x="1657" y="294"/>
                </a:lnTo>
                <a:lnTo>
                  <a:pt x="1660" y="294"/>
                </a:lnTo>
                <a:lnTo>
                  <a:pt x="1662" y="293"/>
                </a:lnTo>
                <a:lnTo>
                  <a:pt x="1664" y="292"/>
                </a:lnTo>
                <a:lnTo>
                  <a:pt x="1670" y="290"/>
                </a:lnTo>
                <a:lnTo>
                  <a:pt x="1674" y="288"/>
                </a:lnTo>
                <a:lnTo>
                  <a:pt x="1679" y="286"/>
                </a:lnTo>
                <a:lnTo>
                  <a:pt x="1684" y="285"/>
                </a:lnTo>
                <a:lnTo>
                  <a:pt x="1687" y="281"/>
                </a:lnTo>
                <a:lnTo>
                  <a:pt x="1692" y="277"/>
                </a:lnTo>
                <a:lnTo>
                  <a:pt x="1700" y="282"/>
                </a:lnTo>
                <a:lnTo>
                  <a:pt x="1706" y="288"/>
                </a:lnTo>
                <a:lnTo>
                  <a:pt x="1712" y="285"/>
                </a:lnTo>
                <a:lnTo>
                  <a:pt x="1717" y="282"/>
                </a:lnTo>
                <a:lnTo>
                  <a:pt x="1723" y="278"/>
                </a:lnTo>
                <a:lnTo>
                  <a:pt x="1730" y="277"/>
                </a:lnTo>
                <a:lnTo>
                  <a:pt x="1726" y="275"/>
                </a:lnTo>
                <a:lnTo>
                  <a:pt x="1721" y="274"/>
                </a:lnTo>
                <a:lnTo>
                  <a:pt x="1719" y="272"/>
                </a:lnTo>
                <a:lnTo>
                  <a:pt x="1718" y="268"/>
                </a:lnTo>
                <a:lnTo>
                  <a:pt x="1714" y="267"/>
                </a:lnTo>
                <a:lnTo>
                  <a:pt x="1710" y="266"/>
                </a:lnTo>
                <a:lnTo>
                  <a:pt x="1706" y="267"/>
                </a:lnTo>
                <a:lnTo>
                  <a:pt x="1702" y="268"/>
                </a:lnTo>
                <a:lnTo>
                  <a:pt x="1688" y="271"/>
                </a:lnTo>
                <a:lnTo>
                  <a:pt x="1676" y="273"/>
                </a:lnTo>
                <a:lnTo>
                  <a:pt x="1662" y="275"/>
                </a:lnTo>
                <a:lnTo>
                  <a:pt x="1648" y="277"/>
                </a:lnTo>
                <a:lnTo>
                  <a:pt x="1635" y="278"/>
                </a:lnTo>
                <a:lnTo>
                  <a:pt x="1621" y="281"/>
                </a:lnTo>
                <a:lnTo>
                  <a:pt x="1615" y="282"/>
                </a:lnTo>
                <a:lnTo>
                  <a:pt x="1610" y="284"/>
                </a:lnTo>
                <a:lnTo>
                  <a:pt x="1607" y="285"/>
                </a:lnTo>
                <a:lnTo>
                  <a:pt x="1607" y="286"/>
                </a:lnTo>
                <a:lnTo>
                  <a:pt x="1607" y="288"/>
                </a:lnTo>
                <a:lnTo>
                  <a:pt x="1607" y="290"/>
                </a:lnTo>
                <a:lnTo>
                  <a:pt x="1606" y="292"/>
                </a:lnTo>
                <a:lnTo>
                  <a:pt x="1604" y="293"/>
                </a:lnTo>
                <a:lnTo>
                  <a:pt x="1601" y="293"/>
                </a:lnTo>
                <a:lnTo>
                  <a:pt x="1597" y="294"/>
                </a:lnTo>
                <a:lnTo>
                  <a:pt x="1594" y="294"/>
                </a:lnTo>
                <a:lnTo>
                  <a:pt x="1590" y="297"/>
                </a:lnTo>
                <a:lnTo>
                  <a:pt x="1589" y="299"/>
                </a:lnTo>
                <a:lnTo>
                  <a:pt x="1589" y="301"/>
                </a:lnTo>
                <a:lnTo>
                  <a:pt x="1589" y="302"/>
                </a:lnTo>
                <a:lnTo>
                  <a:pt x="1590" y="302"/>
                </a:lnTo>
                <a:lnTo>
                  <a:pt x="1591" y="302"/>
                </a:lnTo>
                <a:lnTo>
                  <a:pt x="1593" y="302"/>
                </a:lnTo>
                <a:lnTo>
                  <a:pt x="1594" y="300"/>
                </a:lnTo>
                <a:lnTo>
                  <a:pt x="1593" y="302"/>
                </a:lnTo>
                <a:close/>
                <a:moveTo>
                  <a:pt x="1503" y="494"/>
                </a:moveTo>
                <a:lnTo>
                  <a:pt x="1513" y="494"/>
                </a:lnTo>
                <a:lnTo>
                  <a:pt x="1524" y="494"/>
                </a:lnTo>
                <a:lnTo>
                  <a:pt x="1536" y="494"/>
                </a:lnTo>
                <a:lnTo>
                  <a:pt x="1547" y="494"/>
                </a:lnTo>
                <a:lnTo>
                  <a:pt x="1556" y="496"/>
                </a:lnTo>
                <a:lnTo>
                  <a:pt x="1565" y="496"/>
                </a:lnTo>
                <a:lnTo>
                  <a:pt x="1574" y="496"/>
                </a:lnTo>
                <a:lnTo>
                  <a:pt x="1585" y="494"/>
                </a:lnTo>
                <a:lnTo>
                  <a:pt x="1593" y="492"/>
                </a:lnTo>
                <a:lnTo>
                  <a:pt x="1602" y="490"/>
                </a:lnTo>
                <a:lnTo>
                  <a:pt x="1610" y="488"/>
                </a:lnTo>
                <a:lnTo>
                  <a:pt x="1619" y="488"/>
                </a:lnTo>
                <a:lnTo>
                  <a:pt x="1626" y="488"/>
                </a:lnTo>
                <a:lnTo>
                  <a:pt x="1631" y="487"/>
                </a:lnTo>
                <a:lnTo>
                  <a:pt x="1635" y="485"/>
                </a:lnTo>
                <a:lnTo>
                  <a:pt x="1637" y="483"/>
                </a:lnTo>
                <a:lnTo>
                  <a:pt x="1638" y="481"/>
                </a:lnTo>
                <a:lnTo>
                  <a:pt x="1640" y="477"/>
                </a:lnTo>
                <a:lnTo>
                  <a:pt x="1612" y="480"/>
                </a:lnTo>
                <a:lnTo>
                  <a:pt x="1583" y="482"/>
                </a:lnTo>
                <a:lnTo>
                  <a:pt x="1556" y="484"/>
                </a:lnTo>
                <a:lnTo>
                  <a:pt x="1528" y="485"/>
                </a:lnTo>
                <a:lnTo>
                  <a:pt x="1502" y="487"/>
                </a:lnTo>
                <a:lnTo>
                  <a:pt x="1475" y="490"/>
                </a:lnTo>
                <a:lnTo>
                  <a:pt x="1462" y="492"/>
                </a:lnTo>
                <a:lnTo>
                  <a:pt x="1449" y="492"/>
                </a:lnTo>
                <a:lnTo>
                  <a:pt x="1435" y="492"/>
                </a:lnTo>
                <a:lnTo>
                  <a:pt x="1423" y="490"/>
                </a:lnTo>
                <a:lnTo>
                  <a:pt x="1425" y="493"/>
                </a:lnTo>
                <a:lnTo>
                  <a:pt x="1429" y="496"/>
                </a:lnTo>
                <a:lnTo>
                  <a:pt x="1433" y="497"/>
                </a:lnTo>
                <a:lnTo>
                  <a:pt x="1438" y="498"/>
                </a:lnTo>
                <a:lnTo>
                  <a:pt x="1447" y="498"/>
                </a:lnTo>
                <a:lnTo>
                  <a:pt x="1456" y="497"/>
                </a:lnTo>
                <a:lnTo>
                  <a:pt x="1467" y="497"/>
                </a:lnTo>
                <a:lnTo>
                  <a:pt x="1479" y="497"/>
                </a:lnTo>
                <a:lnTo>
                  <a:pt x="1490" y="496"/>
                </a:lnTo>
                <a:lnTo>
                  <a:pt x="1503" y="494"/>
                </a:lnTo>
                <a:lnTo>
                  <a:pt x="1506" y="494"/>
                </a:lnTo>
                <a:lnTo>
                  <a:pt x="1499" y="496"/>
                </a:lnTo>
                <a:lnTo>
                  <a:pt x="1495" y="496"/>
                </a:lnTo>
                <a:lnTo>
                  <a:pt x="1503" y="494"/>
                </a:lnTo>
                <a:close/>
                <a:moveTo>
                  <a:pt x="1840" y="789"/>
                </a:moveTo>
                <a:lnTo>
                  <a:pt x="1852" y="790"/>
                </a:lnTo>
                <a:lnTo>
                  <a:pt x="1865" y="792"/>
                </a:lnTo>
                <a:lnTo>
                  <a:pt x="1876" y="794"/>
                </a:lnTo>
                <a:lnTo>
                  <a:pt x="1888" y="792"/>
                </a:lnTo>
                <a:lnTo>
                  <a:pt x="1900" y="790"/>
                </a:lnTo>
                <a:lnTo>
                  <a:pt x="1912" y="787"/>
                </a:lnTo>
                <a:lnTo>
                  <a:pt x="1924" y="783"/>
                </a:lnTo>
                <a:lnTo>
                  <a:pt x="1936" y="780"/>
                </a:lnTo>
                <a:lnTo>
                  <a:pt x="1948" y="776"/>
                </a:lnTo>
                <a:lnTo>
                  <a:pt x="1959" y="773"/>
                </a:lnTo>
                <a:lnTo>
                  <a:pt x="1970" y="770"/>
                </a:lnTo>
                <a:lnTo>
                  <a:pt x="1983" y="766"/>
                </a:lnTo>
                <a:lnTo>
                  <a:pt x="1994" y="763"/>
                </a:lnTo>
                <a:lnTo>
                  <a:pt x="2006" y="761"/>
                </a:lnTo>
                <a:lnTo>
                  <a:pt x="2009" y="759"/>
                </a:lnTo>
                <a:lnTo>
                  <a:pt x="2014" y="758"/>
                </a:lnTo>
                <a:lnTo>
                  <a:pt x="2016" y="757"/>
                </a:lnTo>
                <a:lnTo>
                  <a:pt x="2018" y="756"/>
                </a:lnTo>
                <a:lnTo>
                  <a:pt x="2018" y="755"/>
                </a:lnTo>
                <a:lnTo>
                  <a:pt x="2016" y="754"/>
                </a:lnTo>
                <a:lnTo>
                  <a:pt x="2007" y="754"/>
                </a:lnTo>
                <a:lnTo>
                  <a:pt x="1995" y="755"/>
                </a:lnTo>
                <a:lnTo>
                  <a:pt x="1984" y="757"/>
                </a:lnTo>
                <a:lnTo>
                  <a:pt x="1973" y="759"/>
                </a:lnTo>
                <a:lnTo>
                  <a:pt x="1961" y="763"/>
                </a:lnTo>
                <a:lnTo>
                  <a:pt x="1950" y="765"/>
                </a:lnTo>
                <a:lnTo>
                  <a:pt x="1939" y="767"/>
                </a:lnTo>
                <a:lnTo>
                  <a:pt x="1926" y="770"/>
                </a:lnTo>
                <a:lnTo>
                  <a:pt x="1915" y="771"/>
                </a:lnTo>
                <a:lnTo>
                  <a:pt x="1903" y="773"/>
                </a:lnTo>
                <a:lnTo>
                  <a:pt x="1892" y="774"/>
                </a:lnTo>
                <a:lnTo>
                  <a:pt x="1879" y="776"/>
                </a:lnTo>
                <a:lnTo>
                  <a:pt x="1869" y="779"/>
                </a:lnTo>
                <a:lnTo>
                  <a:pt x="1859" y="781"/>
                </a:lnTo>
                <a:lnTo>
                  <a:pt x="1849" y="783"/>
                </a:lnTo>
                <a:lnTo>
                  <a:pt x="1840" y="789"/>
                </a:lnTo>
                <a:lnTo>
                  <a:pt x="1849" y="786"/>
                </a:lnTo>
                <a:lnTo>
                  <a:pt x="1840" y="789"/>
                </a:lnTo>
                <a:close/>
                <a:moveTo>
                  <a:pt x="1588" y="789"/>
                </a:moveTo>
                <a:lnTo>
                  <a:pt x="1581" y="791"/>
                </a:lnTo>
                <a:lnTo>
                  <a:pt x="1574" y="791"/>
                </a:lnTo>
                <a:lnTo>
                  <a:pt x="1566" y="791"/>
                </a:lnTo>
                <a:lnTo>
                  <a:pt x="1560" y="791"/>
                </a:lnTo>
                <a:lnTo>
                  <a:pt x="1542" y="791"/>
                </a:lnTo>
                <a:lnTo>
                  <a:pt x="1525" y="791"/>
                </a:lnTo>
                <a:lnTo>
                  <a:pt x="1509" y="791"/>
                </a:lnTo>
                <a:lnTo>
                  <a:pt x="1494" y="792"/>
                </a:lnTo>
                <a:lnTo>
                  <a:pt x="1476" y="792"/>
                </a:lnTo>
                <a:lnTo>
                  <a:pt x="1461" y="792"/>
                </a:lnTo>
                <a:lnTo>
                  <a:pt x="1445" y="792"/>
                </a:lnTo>
                <a:lnTo>
                  <a:pt x="1429" y="791"/>
                </a:lnTo>
                <a:lnTo>
                  <a:pt x="1413" y="790"/>
                </a:lnTo>
                <a:lnTo>
                  <a:pt x="1397" y="789"/>
                </a:lnTo>
                <a:lnTo>
                  <a:pt x="1381" y="788"/>
                </a:lnTo>
                <a:lnTo>
                  <a:pt x="1364" y="788"/>
                </a:lnTo>
                <a:lnTo>
                  <a:pt x="1357" y="787"/>
                </a:lnTo>
                <a:lnTo>
                  <a:pt x="1350" y="787"/>
                </a:lnTo>
                <a:lnTo>
                  <a:pt x="1343" y="787"/>
                </a:lnTo>
                <a:lnTo>
                  <a:pt x="1336" y="789"/>
                </a:lnTo>
                <a:lnTo>
                  <a:pt x="1339" y="791"/>
                </a:lnTo>
                <a:lnTo>
                  <a:pt x="1341" y="794"/>
                </a:lnTo>
                <a:lnTo>
                  <a:pt x="1344" y="794"/>
                </a:lnTo>
                <a:lnTo>
                  <a:pt x="1349" y="795"/>
                </a:lnTo>
                <a:lnTo>
                  <a:pt x="1357" y="794"/>
                </a:lnTo>
                <a:lnTo>
                  <a:pt x="1364" y="794"/>
                </a:lnTo>
                <a:lnTo>
                  <a:pt x="1373" y="794"/>
                </a:lnTo>
                <a:lnTo>
                  <a:pt x="1382" y="795"/>
                </a:lnTo>
                <a:lnTo>
                  <a:pt x="1390" y="796"/>
                </a:lnTo>
                <a:lnTo>
                  <a:pt x="1399" y="797"/>
                </a:lnTo>
                <a:lnTo>
                  <a:pt x="1418" y="798"/>
                </a:lnTo>
                <a:lnTo>
                  <a:pt x="1437" y="798"/>
                </a:lnTo>
                <a:lnTo>
                  <a:pt x="1456" y="798"/>
                </a:lnTo>
                <a:lnTo>
                  <a:pt x="1474" y="798"/>
                </a:lnTo>
                <a:lnTo>
                  <a:pt x="1494" y="798"/>
                </a:lnTo>
                <a:lnTo>
                  <a:pt x="1513" y="798"/>
                </a:lnTo>
                <a:lnTo>
                  <a:pt x="1532" y="799"/>
                </a:lnTo>
                <a:lnTo>
                  <a:pt x="1552" y="799"/>
                </a:lnTo>
                <a:lnTo>
                  <a:pt x="1561" y="799"/>
                </a:lnTo>
                <a:lnTo>
                  <a:pt x="1570" y="799"/>
                </a:lnTo>
                <a:lnTo>
                  <a:pt x="1579" y="799"/>
                </a:lnTo>
                <a:lnTo>
                  <a:pt x="1588" y="799"/>
                </a:lnTo>
                <a:lnTo>
                  <a:pt x="1591" y="799"/>
                </a:lnTo>
                <a:lnTo>
                  <a:pt x="1595" y="798"/>
                </a:lnTo>
                <a:lnTo>
                  <a:pt x="1598" y="797"/>
                </a:lnTo>
                <a:lnTo>
                  <a:pt x="1599" y="794"/>
                </a:lnTo>
                <a:lnTo>
                  <a:pt x="1599" y="792"/>
                </a:lnTo>
                <a:lnTo>
                  <a:pt x="1599" y="790"/>
                </a:lnTo>
                <a:lnTo>
                  <a:pt x="1597" y="789"/>
                </a:lnTo>
                <a:lnTo>
                  <a:pt x="1596" y="789"/>
                </a:lnTo>
                <a:lnTo>
                  <a:pt x="1591" y="788"/>
                </a:lnTo>
                <a:lnTo>
                  <a:pt x="1588" y="789"/>
                </a:lnTo>
                <a:lnTo>
                  <a:pt x="1587" y="790"/>
                </a:lnTo>
                <a:lnTo>
                  <a:pt x="1588" y="789"/>
                </a:lnTo>
                <a:close/>
                <a:moveTo>
                  <a:pt x="1763" y="954"/>
                </a:moveTo>
                <a:lnTo>
                  <a:pt x="1744" y="955"/>
                </a:lnTo>
                <a:lnTo>
                  <a:pt x="1725" y="957"/>
                </a:lnTo>
                <a:lnTo>
                  <a:pt x="1705" y="960"/>
                </a:lnTo>
                <a:lnTo>
                  <a:pt x="1686" y="961"/>
                </a:lnTo>
                <a:lnTo>
                  <a:pt x="1667" y="962"/>
                </a:lnTo>
                <a:lnTo>
                  <a:pt x="1647" y="962"/>
                </a:lnTo>
                <a:lnTo>
                  <a:pt x="1628" y="963"/>
                </a:lnTo>
                <a:lnTo>
                  <a:pt x="1610" y="963"/>
                </a:lnTo>
                <a:lnTo>
                  <a:pt x="1590" y="964"/>
                </a:lnTo>
                <a:lnTo>
                  <a:pt x="1571" y="964"/>
                </a:lnTo>
                <a:lnTo>
                  <a:pt x="1552" y="964"/>
                </a:lnTo>
                <a:lnTo>
                  <a:pt x="1532" y="965"/>
                </a:lnTo>
                <a:lnTo>
                  <a:pt x="1514" y="965"/>
                </a:lnTo>
                <a:lnTo>
                  <a:pt x="1495" y="964"/>
                </a:lnTo>
                <a:lnTo>
                  <a:pt x="1476" y="963"/>
                </a:lnTo>
                <a:lnTo>
                  <a:pt x="1457" y="963"/>
                </a:lnTo>
                <a:lnTo>
                  <a:pt x="1448" y="963"/>
                </a:lnTo>
                <a:lnTo>
                  <a:pt x="1438" y="963"/>
                </a:lnTo>
                <a:lnTo>
                  <a:pt x="1429" y="963"/>
                </a:lnTo>
                <a:lnTo>
                  <a:pt x="1418" y="963"/>
                </a:lnTo>
                <a:lnTo>
                  <a:pt x="1414" y="963"/>
                </a:lnTo>
                <a:lnTo>
                  <a:pt x="1408" y="963"/>
                </a:lnTo>
                <a:lnTo>
                  <a:pt x="1405" y="964"/>
                </a:lnTo>
                <a:lnTo>
                  <a:pt x="1404" y="965"/>
                </a:lnTo>
                <a:lnTo>
                  <a:pt x="1404" y="967"/>
                </a:lnTo>
                <a:lnTo>
                  <a:pt x="1405" y="970"/>
                </a:lnTo>
                <a:lnTo>
                  <a:pt x="1408" y="971"/>
                </a:lnTo>
                <a:lnTo>
                  <a:pt x="1412" y="971"/>
                </a:lnTo>
                <a:lnTo>
                  <a:pt x="1416" y="971"/>
                </a:lnTo>
                <a:lnTo>
                  <a:pt x="1418" y="970"/>
                </a:lnTo>
                <a:lnTo>
                  <a:pt x="1428" y="969"/>
                </a:lnTo>
                <a:lnTo>
                  <a:pt x="1438" y="969"/>
                </a:lnTo>
                <a:lnTo>
                  <a:pt x="1445" y="967"/>
                </a:lnTo>
                <a:lnTo>
                  <a:pt x="1453" y="969"/>
                </a:lnTo>
                <a:lnTo>
                  <a:pt x="1462" y="971"/>
                </a:lnTo>
                <a:lnTo>
                  <a:pt x="1470" y="971"/>
                </a:lnTo>
                <a:lnTo>
                  <a:pt x="1479" y="970"/>
                </a:lnTo>
                <a:lnTo>
                  <a:pt x="1487" y="970"/>
                </a:lnTo>
                <a:lnTo>
                  <a:pt x="1495" y="971"/>
                </a:lnTo>
                <a:lnTo>
                  <a:pt x="1503" y="972"/>
                </a:lnTo>
                <a:lnTo>
                  <a:pt x="1511" y="974"/>
                </a:lnTo>
                <a:lnTo>
                  <a:pt x="1520" y="974"/>
                </a:lnTo>
                <a:lnTo>
                  <a:pt x="1528" y="974"/>
                </a:lnTo>
                <a:lnTo>
                  <a:pt x="1536" y="972"/>
                </a:lnTo>
                <a:lnTo>
                  <a:pt x="1544" y="969"/>
                </a:lnTo>
                <a:lnTo>
                  <a:pt x="1552" y="969"/>
                </a:lnTo>
                <a:lnTo>
                  <a:pt x="1560" y="969"/>
                </a:lnTo>
                <a:lnTo>
                  <a:pt x="1569" y="969"/>
                </a:lnTo>
                <a:lnTo>
                  <a:pt x="1578" y="969"/>
                </a:lnTo>
                <a:lnTo>
                  <a:pt x="1587" y="969"/>
                </a:lnTo>
                <a:lnTo>
                  <a:pt x="1597" y="969"/>
                </a:lnTo>
                <a:lnTo>
                  <a:pt x="1606" y="969"/>
                </a:lnTo>
                <a:lnTo>
                  <a:pt x="1628" y="967"/>
                </a:lnTo>
                <a:lnTo>
                  <a:pt x="1649" y="966"/>
                </a:lnTo>
                <a:lnTo>
                  <a:pt x="1671" y="965"/>
                </a:lnTo>
                <a:lnTo>
                  <a:pt x="1693" y="964"/>
                </a:lnTo>
                <a:lnTo>
                  <a:pt x="1704" y="963"/>
                </a:lnTo>
                <a:lnTo>
                  <a:pt x="1715" y="963"/>
                </a:lnTo>
                <a:lnTo>
                  <a:pt x="1727" y="962"/>
                </a:lnTo>
                <a:lnTo>
                  <a:pt x="1738" y="961"/>
                </a:lnTo>
                <a:lnTo>
                  <a:pt x="1747" y="961"/>
                </a:lnTo>
                <a:lnTo>
                  <a:pt x="1758" y="960"/>
                </a:lnTo>
                <a:lnTo>
                  <a:pt x="1767" y="958"/>
                </a:lnTo>
                <a:lnTo>
                  <a:pt x="1777" y="955"/>
                </a:lnTo>
                <a:lnTo>
                  <a:pt x="1770" y="954"/>
                </a:lnTo>
                <a:lnTo>
                  <a:pt x="1763" y="954"/>
                </a:lnTo>
                <a:lnTo>
                  <a:pt x="1752" y="955"/>
                </a:lnTo>
                <a:lnTo>
                  <a:pt x="1754" y="955"/>
                </a:lnTo>
                <a:lnTo>
                  <a:pt x="1761" y="954"/>
                </a:lnTo>
                <a:lnTo>
                  <a:pt x="1763" y="954"/>
                </a:lnTo>
                <a:close/>
                <a:moveTo>
                  <a:pt x="419" y="881"/>
                </a:moveTo>
                <a:lnTo>
                  <a:pt x="410" y="877"/>
                </a:lnTo>
                <a:lnTo>
                  <a:pt x="400" y="873"/>
                </a:lnTo>
                <a:lnTo>
                  <a:pt x="395" y="872"/>
                </a:lnTo>
                <a:lnTo>
                  <a:pt x="391" y="870"/>
                </a:lnTo>
                <a:lnTo>
                  <a:pt x="387" y="867"/>
                </a:lnTo>
                <a:lnTo>
                  <a:pt x="385" y="864"/>
                </a:lnTo>
                <a:lnTo>
                  <a:pt x="385" y="862"/>
                </a:lnTo>
                <a:lnTo>
                  <a:pt x="385" y="861"/>
                </a:lnTo>
                <a:lnTo>
                  <a:pt x="386" y="862"/>
                </a:lnTo>
                <a:lnTo>
                  <a:pt x="388" y="862"/>
                </a:lnTo>
                <a:lnTo>
                  <a:pt x="392" y="864"/>
                </a:lnTo>
                <a:lnTo>
                  <a:pt x="396" y="865"/>
                </a:lnTo>
                <a:lnTo>
                  <a:pt x="399" y="865"/>
                </a:lnTo>
                <a:lnTo>
                  <a:pt x="402" y="866"/>
                </a:lnTo>
                <a:lnTo>
                  <a:pt x="403" y="866"/>
                </a:lnTo>
                <a:lnTo>
                  <a:pt x="404" y="865"/>
                </a:lnTo>
                <a:lnTo>
                  <a:pt x="405" y="864"/>
                </a:lnTo>
                <a:lnTo>
                  <a:pt x="405" y="863"/>
                </a:lnTo>
                <a:lnTo>
                  <a:pt x="405" y="861"/>
                </a:lnTo>
                <a:lnTo>
                  <a:pt x="404" y="859"/>
                </a:lnTo>
                <a:lnTo>
                  <a:pt x="403" y="858"/>
                </a:lnTo>
                <a:lnTo>
                  <a:pt x="402" y="857"/>
                </a:lnTo>
                <a:lnTo>
                  <a:pt x="398" y="857"/>
                </a:lnTo>
                <a:lnTo>
                  <a:pt x="395" y="856"/>
                </a:lnTo>
                <a:lnTo>
                  <a:pt x="384" y="850"/>
                </a:lnTo>
                <a:lnTo>
                  <a:pt x="374" y="846"/>
                </a:lnTo>
                <a:lnTo>
                  <a:pt x="365" y="841"/>
                </a:lnTo>
                <a:lnTo>
                  <a:pt x="355" y="838"/>
                </a:lnTo>
                <a:lnTo>
                  <a:pt x="350" y="836"/>
                </a:lnTo>
                <a:lnTo>
                  <a:pt x="344" y="834"/>
                </a:lnTo>
                <a:lnTo>
                  <a:pt x="339" y="831"/>
                </a:lnTo>
                <a:lnTo>
                  <a:pt x="335" y="828"/>
                </a:lnTo>
                <a:lnTo>
                  <a:pt x="327" y="823"/>
                </a:lnTo>
                <a:lnTo>
                  <a:pt x="317" y="817"/>
                </a:lnTo>
                <a:lnTo>
                  <a:pt x="311" y="815"/>
                </a:lnTo>
                <a:lnTo>
                  <a:pt x="305" y="814"/>
                </a:lnTo>
                <a:lnTo>
                  <a:pt x="303" y="814"/>
                </a:lnTo>
                <a:lnTo>
                  <a:pt x="301" y="815"/>
                </a:lnTo>
                <a:lnTo>
                  <a:pt x="300" y="816"/>
                </a:lnTo>
                <a:lnTo>
                  <a:pt x="299" y="819"/>
                </a:lnTo>
                <a:lnTo>
                  <a:pt x="299" y="820"/>
                </a:lnTo>
                <a:lnTo>
                  <a:pt x="300" y="822"/>
                </a:lnTo>
                <a:lnTo>
                  <a:pt x="301" y="824"/>
                </a:lnTo>
                <a:lnTo>
                  <a:pt x="302" y="825"/>
                </a:lnTo>
                <a:lnTo>
                  <a:pt x="306" y="829"/>
                </a:lnTo>
                <a:lnTo>
                  <a:pt x="310" y="831"/>
                </a:lnTo>
                <a:lnTo>
                  <a:pt x="319" y="837"/>
                </a:lnTo>
                <a:lnTo>
                  <a:pt x="325" y="844"/>
                </a:lnTo>
                <a:lnTo>
                  <a:pt x="325" y="846"/>
                </a:lnTo>
                <a:lnTo>
                  <a:pt x="325" y="847"/>
                </a:lnTo>
                <a:lnTo>
                  <a:pt x="324" y="848"/>
                </a:lnTo>
                <a:lnTo>
                  <a:pt x="322" y="848"/>
                </a:lnTo>
                <a:lnTo>
                  <a:pt x="319" y="848"/>
                </a:lnTo>
                <a:lnTo>
                  <a:pt x="317" y="848"/>
                </a:lnTo>
                <a:lnTo>
                  <a:pt x="314" y="847"/>
                </a:lnTo>
                <a:lnTo>
                  <a:pt x="313" y="847"/>
                </a:lnTo>
                <a:lnTo>
                  <a:pt x="312" y="847"/>
                </a:lnTo>
                <a:lnTo>
                  <a:pt x="311" y="848"/>
                </a:lnTo>
                <a:lnTo>
                  <a:pt x="310" y="849"/>
                </a:lnTo>
                <a:lnTo>
                  <a:pt x="311" y="852"/>
                </a:lnTo>
                <a:lnTo>
                  <a:pt x="312" y="853"/>
                </a:lnTo>
                <a:lnTo>
                  <a:pt x="313" y="854"/>
                </a:lnTo>
                <a:lnTo>
                  <a:pt x="317" y="862"/>
                </a:lnTo>
                <a:lnTo>
                  <a:pt x="318" y="871"/>
                </a:lnTo>
                <a:lnTo>
                  <a:pt x="320" y="874"/>
                </a:lnTo>
                <a:lnTo>
                  <a:pt x="322" y="879"/>
                </a:lnTo>
                <a:lnTo>
                  <a:pt x="325" y="883"/>
                </a:lnTo>
                <a:lnTo>
                  <a:pt x="328" y="886"/>
                </a:lnTo>
                <a:lnTo>
                  <a:pt x="330" y="887"/>
                </a:lnTo>
                <a:lnTo>
                  <a:pt x="333" y="887"/>
                </a:lnTo>
                <a:lnTo>
                  <a:pt x="335" y="887"/>
                </a:lnTo>
                <a:lnTo>
                  <a:pt x="336" y="884"/>
                </a:lnTo>
                <a:lnTo>
                  <a:pt x="336" y="882"/>
                </a:lnTo>
                <a:lnTo>
                  <a:pt x="336" y="879"/>
                </a:lnTo>
                <a:lnTo>
                  <a:pt x="336" y="875"/>
                </a:lnTo>
                <a:lnTo>
                  <a:pt x="338" y="873"/>
                </a:lnTo>
                <a:lnTo>
                  <a:pt x="341" y="872"/>
                </a:lnTo>
                <a:lnTo>
                  <a:pt x="344" y="873"/>
                </a:lnTo>
                <a:lnTo>
                  <a:pt x="354" y="877"/>
                </a:lnTo>
                <a:lnTo>
                  <a:pt x="365" y="882"/>
                </a:lnTo>
                <a:lnTo>
                  <a:pt x="369" y="884"/>
                </a:lnTo>
                <a:lnTo>
                  <a:pt x="374" y="887"/>
                </a:lnTo>
                <a:lnTo>
                  <a:pt x="379" y="888"/>
                </a:lnTo>
                <a:lnTo>
                  <a:pt x="385" y="888"/>
                </a:lnTo>
                <a:lnTo>
                  <a:pt x="379" y="881"/>
                </a:lnTo>
                <a:lnTo>
                  <a:pt x="375" y="874"/>
                </a:lnTo>
                <a:lnTo>
                  <a:pt x="385" y="877"/>
                </a:lnTo>
                <a:lnTo>
                  <a:pt x="394" y="879"/>
                </a:lnTo>
                <a:lnTo>
                  <a:pt x="403" y="883"/>
                </a:lnTo>
                <a:lnTo>
                  <a:pt x="412" y="887"/>
                </a:lnTo>
                <a:lnTo>
                  <a:pt x="425" y="892"/>
                </a:lnTo>
                <a:lnTo>
                  <a:pt x="436" y="897"/>
                </a:lnTo>
                <a:lnTo>
                  <a:pt x="449" y="903"/>
                </a:lnTo>
                <a:lnTo>
                  <a:pt x="460" y="907"/>
                </a:lnTo>
                <a:lnTo>
                  <a:pt x="473" y="912"/>
                </a:lnTo>
                <a:lnTo>
                  <a:pt x="485" y="915"/>
                </a:lnTo>
                <a:lnTo>
                  <a:pt x="497" y="919"/>
                </a:lnTo>
                <a:lnTo>
                  <a:pt x="509" y="923"/>
                </a:lnTo>
                <a:lnTo>
                  <a:pt x="522" y="927"/>
                </a:lnTo>
                <a:lnTo>
                  <a:pt x="533" y="930"/>
                </a:lnTo>
                <a:lnTo>
                  <a:pt x="545" y="932"/>
                </a:lnTo>
                <a:lnTo>
                  <a:pt x="558" y="933"/>
                </a:lnTo>
                <a:lnTo>
                  <a:pt x="540" y="927"/>
                </a:lnTo>
                <a:lnTo>
                  <a:pt x="523" y="921"/>
                </a:lnTo>
                <a:lnTo>
                  <a:pt x="505" y="915"/>
                </a:lnTo>
                <a:lnTo>
                  <a:pt x="487" y="908"/>
                </a:lnTo>
                <a:lnTo>
                  <a:pt x="470" y="902"/>
                </a:lnTo>
                <a:lnTo>
                  <a:pt x="453" y="896"/>
                </a:lnTo>
                <a:lnTo>
                  <a:pt x="435" y="889"/>
                </a:lnTo>
                <a:lnTo>
                  <a:pt x="419" y="881"/>
                </a:lnTo>
                <a:lnTo>
                  <a:pt x="418" y="881"/>
                </a:lnTo>
                <a:lnTo>
                  <a:pt x="424" y="884"/>
                </a:lnTo>
                <a:lnTo>
                  <a:pt x="427" y="886"/>
                </a:lnTo>
                <a:lnTo>
                  <a:pt x="419" y="881"/>
                </a:lnTo>
                <a:close/>
                <a:moveTo>
                  <a:pt x="1863" y="823"/>
                </a:moveTo>
                <a:lnTo>
                  <a:pt x="1866" y="822"/>
                </a:lnTo>
                <a:lnTo>
                  <a:pt x="1867" y="820"/>
                </a:lnTo>
                <a:lnTo>
                  <a:pt x="1868" y="817"/>
                </a:lnTo>
                <a:lnTo>
                  <a:pt x="1867" y="815"/>
                </a:lnTo>
                <a:lnTo>
                  <a:pt x="1862" y="814"/>
                </a:lnTo>
                <a:lnTo>
                  <a:pt x="1858" y="813"/>
                </a:lnTo>
                <a:lnTo>
                  <a:pt x="1863" y="809"/>
                </a:lnTo>
                <a:lnTo>
                  <a:pt x="1870" y="808"/>
                </a:lnTo>
                <a:lnTo>
                  <a:pt x="1876" y="807"/>
                </a:lnTo>
                <a:lnTo>
                  <a:pt x="1883" y="809"/>
                </a:lnTo>
                <a:lnTo>
                  <a:pt x="1891" y="811"/>
                </a:lnTo>
                <a:lnTo>
                  <a:pt x="1898" y="812"/>
                </a:lnTo>
                <a:lnTo>
                  <a:pt x="1904" y="812"/>
                </a:lnTo>
                <a:lnTo>
                  <a:pt x="1912" y="809"/>
                </a:lnTo>
                <a:lnTo>
                  <a:pt x="1919" y="807"/>
                </a:lnTo>
                <a:lnTo>
                  <a:pt x="1926" y="806"/>
                </a:lnTo>
                <a:lnTo>
                  <a:pt x="1928" y="805"/>
                </a:lnTo>
                <a:lnTo>
                  <a:pt x="1929" y="805"/>
                </a:lnTo>
                <a:lnTo>
                  <a:pt x="1932" y="804"/>
                </a:lnTo>
                <a:lnTo>
                  <a:pt x="1932" y="801"/>
                </a:lnTo>
                <a:lnTo>
                  <a:pt x="1931" y="800"/>
                </a:lnTo>
                <a:lnTo>
                  <a:pt x="1928" y="798"/>
                </a:lnTo>
                <a:lnTo>
                  <a:pt x="1925" y="797"/>
                </a:lnTo>
                <a:lnTo>
                  <a:pt x="1921" y="797"/>
                </a:lnTo>
                <a:lnTo>
                  <a:pt x="1915" y="796"/>
                </a:lnTo>
                <a:lnTo>
                  <a:pt x="1909" y="795"/>
                </a:lnTo>
                <a:lnTo>
                  <a:pt x="1895" y="797"/>
                </a:lnTo>
                <a:lnTo>
                  <a:pt x="1882" y="799"/>
                </a:lnTo>
                <a:lnTo>
                  <a:pt x="1866" y="801"/>
                </a:lnTo>
                <a:lnTo>
                  <a:pt x="1851" y="805"/>
                </a:lnTo>
                <a:lnTo>
                  <a:pt x="1849" y="805"/>
                </a:lnTo>
                <a:lnTo>
                  <a:pt x="1845" y="806"/>
                </a:lnTo>
                <a:lnTo>
                  <a:pt x="1845" y="809"/>
                </a:lnTo>
                <a:lnTo>
                  <a:pt x="1845" y="813"/>
                </a:lnTo>
                <a:lnTo>
                  <a:pt x="1841" y="814"/>
                </a:lnTo>
                <a:lnTo>
                  <a:pt x="1835" y="815"/>
                </a:lnTo>
                <a:lnTo>
                  <a:pt x="1826" y="817"/>
                </a:lnTo>
                <a:lnTo>
                  <a:pt x="1818" y="820"/>
                </a:lnTo>
                <a:lnTo>
                  <a:pt x="1805" y="822"/>
                </a:lnTo>
                <a:lnTo>
                  <a:pt x="1793" y="826"/>
                </a:lnTo>
                <a:lnTo>
                  <a:pt x="1778" y="830"/>
                </a:lnTo>
                <a:lnTo>
                  <a:pt x="1763" y="832"/>
                </a:lnTo>
                <a:lnTo>
                  <a:pt x="1747" y="832"/>
                </a:lnTo>
                <a:lnTo>
                  <a:pt x="1733" y="833"/>
                </a:lnTo>
                <a:lnTo>
                  <a:pt x="1717" y="833"/>
                </a:lnTo>
                <a:lnTo>
                  <a:pt x="1702" y="836"/>
                </a:lnTo>
                <a:lnTo>
                  <a:pt x="1695" y="837"/>
                </a:lnTo>
                <a:lnTo>
                  <a:pt x="1687" y="839"/>
                </a:lnTo>
                <a:lnTo>
                  <a:pt x="1680" y="840"/>
                </a:lnTo>
                <a:lnTo>
                  <a:pt x="1674" y="842"/>
                </a:lnTo>
                <a:lnTo>
                  <a:pt x="1672" y="844"/>
                </a:lnTo>
                <a:lnTo>
                  <a:pt x="1673" y="846"/>
                </a:lnTo>
                <a:lnTo>
                  <a:pt x="1674" y="847"/>
                </a:lnTo>
                <a:lnTo>
                  <a:pt x="1676" y="848"/>
                </a:lnTo>
                <a:lnTo>
                  <a:pt x="1681" y="849"/>
                </a:lnTo>
                <a:lnTo>
                  <a:pt x="1686" y="849"/>
                </a:lnTo>
                <a:lnTo>
                  <a:pt x="1693" y="848"/>
                </a:lnTo>
                <a:lnTo>
                  <a:pt x="1700" y="846"/>
                </a:lnTo>
                <a:lnTo>
                  <a:pt x="1708" y="846"/>
                </a:lnTo>
                <a:lnTo>
                  <a:pt x="1715" y="846"/>
                </a:lnTo>
                <a:lnTo>
                  <a:pt x="1731" y="845"/>
                </a:lnTo>
                <a:lnTo>
                  <a:pt x="1748" y="842"/>
                </a:lnTo>
                <a:lnTo>
                  <a:pt x="1752" y="841"/>
                </a:lnTo>
                <a:lnTo>
                  <a:pt x="1754" y="841"/>
                </a:lnTo>
                <a:lnTo>
                  <a:pt x="1756" y="842"/>
                </a:lnTo>
                <a:lnTo>
                  <a:pt x="1760" y="845"/>
                </a:lnTo>
                <a:lnTo>
                  <a:pt x="1767" y="846"/>
                </a:lnTo>
                <a:lnTo>
                  <a:pt x="1772" y="846"/>
                </a:lnTo>
                <a:lnTo>
                  <a:pt x="1789" y="841"/>
                </a:lnTo>
                <a:lnTo>
                  <a:pt x="1807" y="838"/>
                </a:lnTo>
                <a:lnTo>
                  <a:pt x="1822" y="836"/>
                </a:lnTo>
                <a:lnTo>
                  <a:pt x="1840" y="833"/>
                </a:lnTo>
                <a:lnTo>
                  <a:pt x="1852" y="829"/>
                </a:lnTo>
                <a:lnTo>
                  <a:pt x="1863" y="823"/>
                </a:lnTo>
                <a:lnTo>
                  <a:pt x="1861" y="823"/>
                </a:lnTo>
                <a:lnTo>
                  <a:pt x="1863" y="823"/>
                </a:lnTo>
                <a:close/>
                <a:moveTo>
                  <a:pt x="886" y="251"/>
                </a:moveTo>
                <a:lnTo>
                  <a:pt x="894" y="255"/>
                </a:lnTo>
                <a:lnTo>
                  <a:pt x="902" y="260"/>
                </a:lnTo>
                <a:lnTo>
                  <a:pt x="907" y="261"/>
                </a:lnTo>
                <a:lnTo>
                  <a:pt x="912" y="263"/>
                </a:lnTo>
                <a:lnTo>
                  <a:pt x="918" y="263"/>
                </a:lnTo>
                <a:lnTo>
                  <a:pt x="923" y="261"/>
                </a:lnTo>
                <a:lnTo>
                  <a:pt x="932" y="263"/>
                </a:lnTo>
                <a:lnTo>
                  <a:pt x="943" y="267"/>
                </a:lnTo>
                <a:lnTo>
                  <a:pt x="954" y="271"/>
                </a:lnTo>
                <a:lnTo>
                  <a:pt x="965" y="274"/>
                </a:lnTo>
                <a:lnTo>
                  <a:pt x="976" y="276"/>
                </a:lnTo>
                <a:lnTo>
                  <a:pt x="986" y="277"/>
                </a:lnTo>
                <a:lnTo>
                  <a:pt x="989" y="277"/>
                </a:lnTo>
                <a:lnTo>
                  <a:pt x="993" y="277"/>
                </a:lnTo>
                <a:lnTo>
                  <a:pt x="995" y="277"/>
                </a:lnTo>
                <a:lnTo>
                  <a:pt x="995" y="276"/>
                </a:lnTo>
                <a:lnTo>
                  <a:pt x="995" y="274"/>
                </a:lnTo>
                <a:lnTo>
                  <a:pt x="995" y="272"/>
                </a:lnTo>
                <a:lnTo>
                  <a:pt x="989" y="267"/>
                </a:lnTo>
                <a:lnTo>
                  <a:pt x="985" y="264"/>
                </a:lnTo>
                <a:lnTo>
                  <a:pt x="984" y="261"/>
                </a:lnTo>
                <a:lnTo>
                  <a:pt x="983" y="259"/>
                </a:lnTo>
                <a:lnTo>
                  <a:pt x="983" y="258"/>
                </a:lnTo>
                <a:lnTo>
                  <a:pt x="984" y="256"/>
                </a:lnTo>
                <a:lnTo>
                  <a:pt x="986" y="253"/>
                </a:lnTo>
                <a:lnTo>
                  <a:pt x="989" y="251"/>
                </a:lnTo>
                <a:lnTo>
                  <a:pt x="995" y="249"/>
                </a:lnTo>
                <a:lnTo>
                  <a:pt x="1000" y="249"/>
                </a:lnTo>
                <a:lnTo>
                  <a:pt x="1005" y="250"/>
                </a:lnTo>
                <a:lnTo>
                  <a:pt x="1010" y="251"/>
                </a:lnTo>
                <a:lnTo>
                  <a:pt x="1014" y="255"/>
                </a:lnTo>
                <a:lnTo>
                  <a:pt x="1020" y="257"/>
                </a:lnTo>
                <a:lnTo>
                  <a:pt x="1025" y="258"/>
                </a:lnTo>
                <a:lnTo>
                  <a:pt x="1030" y="258"/>
                </a:lnTo>
                <a:lnTo>
                  <a:pt x="1039" y="259"/>
                </a:lnTo>
                <a:lnTo>
                  <a:pt x="1047" y="258"/>
                </a:lnTo>
                <a:lnTo>
                  <a:pt x="1050" y="257"/>
                </a:lnTo>
                <a:lnTo>
                  <a:pt x="1051" y="256"/>
                </a:lnTo>
                <a:lnTo>
                  <a:pt x="1052" y="255"/>
                </a:lnTo>
                <a:lnTo>
                  <a:pt x="1051" y="252"/>
                </a:lnTo>
                <a:lnTo>
                  <a:pt x="1047" y="250"/>
                </a:lnTo>
                <a:lnTo>
                  <a:pt x="1043" y="248"/>
                </a:lnTo>
                <a:lnTo>
                  <a:pt x="1031" y="248"/>
                </a:lnTo>
                <a:lnTo>
                  <a:pt x="1019" y="248"/>
                </a:lnTo>
                <a:lnTo>
                  <a:pt x="1013" y="248"/>
                </a:lnTo>
                <a:lnTo>
                  <a:pt x="1008" y="247"/>
                </a:lnTo>
                <a:lnTo>
                  <a:pt x="1004" y="244"/>
                </a:lnTo>
                <a:lnTo>
                  <a:pt x="1000" y="241"/>
                </a:lnTo>
                <a:lnTo>
                  <a:pt x="992" y="239"/>
                </a:lnTo>
                <a:lnTo>
                  <a:pt x="984" y="239"/>
                </a:lnTo>
                <a:lnTo>
                  <a:pt x="980" y="238"/>
                </a:lnTo>
                <a:lnTo>
                  <a:pt x="977" y="235"/>
                </a:lnTo>
                <a:lnTo>
                  <a:pt x="973" y="233"/>
                </a:lnTo>
                <a:lnTo>
                  <a:pt x="971" y="230"/>
                </a:lnTo>
                <a:lnTo>
                  <a:pt x="968" y="227"/>
                </a:lnTo>
                <a:lnTo>
                  <a:pt x="964" y="226"/>
                </a:lnTo>
                <a:lnTo>
                  <a:pt x="960" y="226"/>
                </a:lnTo>
                <a:lnTo>
                  <a:pt x="955" y="227"/>
                </a:lnTo>
                <a:lnTo>
                  <a:pt x="951" y="230"/>
                </a:lnTo>
                <a:lnTo>
                  <a:pt x="946" y="230"/>
                </a:lnTo>
                <a:lnTo>
                  <a:pt x="940" y="227"/>
                </a:lnTo>
                <a:lnTo>
                  <a:pt x="935" y="225"/>
                </a:lnTo>
                <a:lnTo>
                  <a:pt x="926" y="223"/>
                </a:lnTo>
                <a:lnTo>
                  <a:pt x="917" y="224"/>
                </a:lnTo>
                <a:lnTo>
                  <a:pt x="915" y="226"/>
                </a:lnTo>
                <a:lnTo>
                  <a:pt x="915" y="227"/>
                </a:lnTo>
                <a:lnTo>
                  <a:pt x="918" y="228"/>
                </a:lnTo>
                <a:lnTo>
                  <a:pt x="919" y="230"/>
                </a:lnTo>
                <a:lnTo>
                  <a:pt x="927" y="231"/>
                </a:lnTo>
                <a:lnTo>
                  <a:pt x="935" y="230"/>
                </a:lnTo>
                <a:lnTo>
                  <a:pt x="931" y="234"/>
                </a:lnTo>
                <a:lnTo>
                  <a:pt x="929" y="239"/>
                </a:lnTo>
                <a:lnTo>
                  <a:pt x="927" y="240"/>
                </a:lnTo>
                <a:lnTo>
                  <a:pt x="927" y="242"/>
                </a:lnTo>
                <a:lnTo>
                  <a:pt x="928" y="244"/>
                </a:lnTo>
                <a:lnTo>
                  <a:pt x="931" y="247"/>
                </a:lnTo>
                <a:lnTo>
                  <a:pt x="926" y="248"/>
                </a:lnTo>
                <a:lnTo>
                  <a:pt x="920" y="247"/>
                </a:lnTo>
                <a:lnTo>
                  <a:pt x="914" y="244"/>
                </a:lnTo>
                <a:lnTo>
                  <a:pt x="910" y="242"/>
                </a:lnTo>
                <a:lnTo>
                  <a:pt x="904" y="240"/>
                </a:lnTo>
                <a:lnTo>
                  <a:pt x="899" y="240"/>
                </a:lnTo>
                <a:lnTo>
                  <a:pt x="894" y="242"/>
                </a:lnTo>
                <a:lnTo>
                  <a:pt x="888" y="243"/>
                </a:lnTo>
                <a:lnTo>
                  <a:pt x="882" y="243"/>
                </a:lnTo>
                <a:lnTo>
                  <a:pt x="876" y="242"/>
                </a:lnTo>
                <a:lnTo>
                  <a:pt x="874" y="241"/>
                </a:lnTo>
                <a:lnTo>
                  <a:pt x="872" y="240"/>
                </a:lnTo>
                <a:lnTo>
                  <a:pt x="871" y="240"/>
                </a:lnTo>
                <a:lnTo>
                  <a:pt x="870" y="241"/>
                </a:lnTo>
                <a:lnTo>
                  <a:pt x="871" y="243"/>
                </a:lnTo>
                <a:lnTo>
                  <a:pt x="872" y="245"/>
                </a:lnTo>
                <a:lnTo>
                  <a:pt x="874" y="247"/>
                </a:lnTo>
                <a:lnTo>
                  <a:pt x="877" y="249"/>
                </a:lnTo>
                <a:lnTo>
                  <a:pt x="881" y="250"/>
                </a:lnTo>
                <a:lnTo>
                  <a:pt x="886" y="251"/>
                </a:lnTo>
                <a:lnTo>
                  <a:pt x="883" y="251"/>
                </a:lnTo>
                <a:lnTo>
                  <a:pt x="886" y="251"/>
                </a:lnTo>
                <a:close/>
                <a:moveTo>
                  <a:pt x="946" y="248"/>
                </a:moveTo>
                <a:lnTo>
                  <a:pt x="948" y="248"/>
                </a:lnTo>
                <a:lnTo>
                  <a:pt x="950" y="249"/>
                </a:lnTo>
                <a:lnTo>
                  <a:pt x="950" y="250"/>
                </a:lnTo>
                <a:lnTo>
                  <a:pt x="950" y="252"/>
                </a:lnTo>
                <a:lnTo>
                  <a:pt x="946" y="255"/>
                </a:lnTo>
                <a:lnTo>
                  <a:pt x="944" y="255"/>
                </a:lnTo>
                <a:lnTo>
                  <a:pt x="939" y="255"/>
                </a:lnTo>
                <a:lnTo>
                  <a:pt x="936" y="253"/>
                </a:lnTo>
                <a:lnTo>
                  <a:pt x="932" y="251"/>
                </a:lnTo>
                <a:lnTo>
                  <a:pt x="930" y="248"/>
                </a:lnTo>
                <a:lnTo>
                  <a:pt x="938" y="248"/>
                </a:lnTo>
                <a:lnTo>
                  <a:pt x="946" y="248"/>
                </a:lnTo>
                <a:lnTo>
                  <a:pt x="945" y="248"/>
                </a:lnTo>
                <a:lnTo>
                  <a:pt x="946" y="248"/>
                </a:lnTo>
                <a:close/>
                <a:moveTo>
                  <a:pt x="2166" y="730"/>
                </a:moveTo>
                <a:lnTo>
                  <a:pt x="2162" y="731"/>
                </a:lnTo>
                <a:lnTo>
                  <a:pt x="2156" y="732"/>
                </a:lnTo>
                <a:lnTo>
                  <a:pt x="2150" y="731"/>
                </a:lnTo>
                <a:lnTo>
                  <a:pt x="2145" y="731"/>
                </a:lnTo>
                <a:lnTo>
                  <a:pt x="2140" y="732"/>
                </a:lnTo>
                <a:lnTo>
                  <a:pt x="2137" y="733"/>
                </a:lnTo>
                <a:lnTo>
                  <a:pt x="2134" y="734"/>
                </a:lnTo>
                <a:lnTo>
                  <a:pt x="2133" y="736"/>
                </a:lnTo>
                <a:lnTo>
                  <a:pt x="2133" y="738"/>
                </a:lnTo>
                <a:lnTo>
                  <a:pt x="2134" y="740"/>
                </a:lnTo>
                <a:lnTo>
                  <a:pt x="2125" y="740"/>
                </a:lnTo>
                <a:lnTo>
                  <a:pt x="2115" y="739"/>
                </a:lnTo>
                <a:lnTo>
                  <a:pt x="2106" y="739"/>
                </a:lnTo>
                <a:lnTo>
                  <a:pt x="2096" y="741"/>
                </a:lnTo>
                <a:lnTo>
                  <a:pt x="2080" y="747"/>
                </a:lnTo>
                <a:lnTo>
                  <a:pt x="2063" y="753"/>
                </a:lnTo>
                <a:lnTo>
                  <a:pt x="2044" y="758"/>
                </a:lnTo>
                <a:lnTo>
                  <a:pt x="2026" y="764"/>
                </a:lnTo>
                <a:lnTo>
                  <a:pt x="2008" y="769"/>
                </a:lnTo>
                <a:lnTo>
                  <a:pt x="1990" y="774"/>
                </a:lnTo>
                <a:lnTo>
                  <a:pt x="1994" y="775"/>
                </a:lnTo>
                <a:lnTo>
                  <a:pt x="1999" y="776"/>
                </a:lnTo>
                <a:lnTo>
                  <a:pt x="2001" y="779"/>
                </a:lnTo>
                <a:lnTo>
                  <a:pt x="2001" y="780"/>
                </a:lnTo>
                <a:lnTo>
                  <a:pt x="2001" y="782"/>
                </a:lnTo>
                <a:lnTo>
                  <a:pt x="2001" y="784"/>
                </a:lnTo>
                <a:lnTo>
                  <a:pt x="2002" y="789"/>
                </a:lnTo>
                <a:lnTo>
                  <a:pt x="2005" y="791"/>
                </a:lnTo>
                <a:lnTo>
                  <a:pt x="2008" y="792"/>
                </a:lnTo>
                <a:lnTo>
                  <a:pt x="2013" y="791"/>
                </a:lnTo>
                <a:lnTo>
                  <a:pt x="2028" y="787"/>
                </a:lnTo>
                <a:lnTo>
                  <a:pt x="2044" y="782"/>
                </a:lnTo>
                <a:lnTo>
                  <a:pt x="2060" y="779"/>
                </a:lnTo>
                <a:lnTo>
                  <a:pt x="2076" y="774"/>
                </a:lnTo>
                <a:lnTo>
                  <a:pt x="2091" y="771"/>
                </a:lnTo>
                <a:lnTo>
                  <a:pt x="2105" y="766"/>
                </a:lnTo>
                <a:lnTo>
                  <a:pt x="2118" y="761"/>
                </a:lnTo>
                <a:lnTo>
                  <a:pt x="2132" y="754"/>
                </a:lnTo>
                <a:lnTo>
                  <a:pt x="2146" y="748"/>
                </a:lnTo>
                <a:lnTo>
                  <a:pt x="2159" y="741"/>
                </a:lnTo>
                <a:lnTo>
                  <a:pt x="2166" y="738"/>
                </a:lnTo>
                <a:lnTo>
                  <a:pt x="2172" y="734"/>
                </a:lnTo>
                <a:lnTo>
                  <a:pt x="2173" y="732"/>
                </a:lnTo>
                <a:lnTo>
                  <a:pt x="2172" y="730"/>
                </a:lnTo>
                <a:lnTo>
                  <a:pt x="2170" y="730"/>
                </a:lnTo>
                <a:lnTo>
                  <a:pt x="2166" y="730"/>
                </a:lnTo>
                <a:lnTo>
                  <a:pt x="2166" y="730"/>
                </a:lnTo>
                <a:lnTo>
                  <a:pt x="2166" y="730"/>
                </a:lnTo>
                <a:close/>
                <a:moveTo>
                  <a:pt x="1502" y="582"/>
                </a:moveTo>
                <a:lnTo>
                  <a:pt x="1502" y="582"/>
                </a:lnTo>
                <a:lnTo>
                  <a:pt x="1502" y="582"/>
                </a:lnTo>
                <a:close/>
                <a:moveTo>
                  <a:pt x="1995" y="415"/>
                </a:moveTo>
                <a:lnTo>
                  <a:pt x="1986" y="415"/>
                </a:lnTo>
                <a:lnTo>
                  <a:pt x="1977" y="415"/>
                </a:lnTo>
                <a:lnTo>
                  <a:pt x="1975" y="415"/>
                </a:lnTo>
                <a:lnTo>
                  <a:pt x="1974" y="415"/>
                </a:lnTo>
                <a:lnTo>
                  <a:pt x="1974" y="414"/>
                </a:lnTo>
                <a:lnTo>
                  <a:pt x="1974" y="413"/>
                </a:lnTo>
                <a:lnTo>
                  <a:pt x="1975" y="410"/>
                </a:lnTo>
                <a:lnTo>
                  <a:pt x="1974" y="408"/>
                </a:lnTo>
                <a:lnTo>
                  <a:pt x="1973" y="407"/>
                </a:lnTo>
                <a:lnTo>
                  <a:pt x="1970" y="407"/>
                </a:lnTo>
                <a:lnTo>
                  <a:pt x="1968" y="407"/>
                </a:lnTo>
                <a:lnTo>
                  <a:pt x="1965" y="408"/>
                </a:lnTo>
                <a:lnTo>
                  <a:pt x="1958" y="409"/>
                </a:lnTo>
                <a:lnTo>
                  <a:pt x="1954" y="411"/>
                </a:lnTo>
                <a:lnTo>
                  <a:pt x="1959" y="414"/>
                </a:lnTo>
                <a:lnTo>
                  <a:pt x="1960" y="416"/>
                </a:lnTo>
                <a:lnTo>
                  <a:pt x="1960" y="419"/>
                </a:lnTo>
                <a:lnTo>
                  <a:pt x="1957" y="423"/>
                </a:lnTo>
                <a:lnTo>
                  <a:pt x="1951" y="425"/>
                </a:lnTo>
                <a:lnTo>
                  <a:pt x="1945" y="427"/>
                </a:lnTo>
                <a:lnTo>
                  <a:pt x="1940" y="427"/>
                </a:lnTo>
                <a:lnTo>
                  <a:pt x="1934" y="427"/>
                </a:lnTo>
                <a:lnTo>
                  <a:pt x="1928" y="427"/>
                </a:lnTo>
                <a:lnTo>
                  <a:pt x="1924" y="429"/>
                </a:lnTo>
                <a:lnTo>
                  <a:pt x="1920" y="432"/>
                </a:lnTo>
                <a:lnTo>
                  <a:pt x="1917" y="435"/>
                </a:lnTo>
                <a:lnTo>
                  <a:pt x="1912" y="438"/>
                </a:lnTo>
                <a:lnTo>
                  <a:pt x="1908" y="440"/>
                </a:lnTo>
                <a:lnTo>
                  <a:pt x="1902" y="441"/>
                </a:lnTo>
                <a:lnTo>
                  <a:pt x="1898" y="442"/>
                </a:lnTo>
                <a:lnTo>
                  <a:pt x="1885" y="444"/>
                </a:lnTo>
                <a:lnTo>
                  <a:pt x="1873" y="449"/>
                </a:lnTo>
                <a:lnTo>
                  <a:pt x="1860" y="454"/>
                </a:lnTo>
                <a:lnTo>
                  <a:pt x="1847" y="457"/>
                </a:lnTo>
                <a:lnTo>
                  <a:pt x="1834" y="462"/>
                </a:lnTo>
                <a:lnTo>
                  <a:pt x="1820" y="465"/>
                </a:lnTo>
                <a:lnTo>
                  <a:pt x="1807" y="467"/>
                </a:lnTo>
                <a:lnTo>
                  <a:pt x="1793" y="471"/>
                </a:lnTo>
                <a:lnTo>
                  <a:pt x="1780" y="475"/>
                </a:lnTo>
                <a:lnTo>
                  <a:pt x="1769" y="479"/>
                </a:lnTo>
                <a:lnTo>
                  <a:pt x="1758" y="480"/>
                </a:lnTo>
                <a:lnTo>
                  <a:pt x="1745" y="480"/>
                </a:lnTo>
                <a:lnTo>
                  <a:pt x="1742" y="480"/>
                </a:lnTo>
                <a:lnTo>
                  <a:pt x="1739" y="481"/>
                </a:lnTo>
                <a:lnTo>
                  <a:pt x="1737" y="483"/>
                </a:lnTo>
                <a:lnTo>
                  <a:pt x="1736" y="487"/>
                </a:lnTo>
                <a:lnTo>
                  <a:pt x="1736" y="490"/>
                </a:lnTo>
                <a:lnTo>
                  <a:pt x="1735" y="496"/>
                </a:lnTo>
                <a:lnTo>
                  <a:pt x="1734" y="497"/>
                </a:lnTo>
                <a:lnTo>
                  <a:pt x="1733" y="498"/>
                </a:lnTo>
                <a:lnTo>
                  <a:pt x="1730" y="498"/>
                </a:lnTo>
                <a:lnTo>
                  <a:pt x="1728" y="497"/>
                </a:lnTo>
                <a:lnTo>
                  <a:pt x="1727" y="493"/>
                </a:lnTo>
                <a:lnTo>
                  <a:pt x="1725" y="490"/>
                </a:lnTo>
                <a:lnTo>
                  <a:pt x="1721" y="489"/>
                </a:lnTo>
                <a:lnTo>
                  <a:pt x="1718" y="489"/>
                </a:lnTo>
                <a:lnTo>
                  <a:pt x="1704" y="489"/>
                </a:lnTo>
                <a:lnTo>
                  <a:pt x="1692" y="491"/>
                </a:lnTo>
                <a:lnTo>
                  <a:pt x="1679" y="496"/>
                </a:lnTo>
                <a:lnTo>
                  <a:pt x="1668" y="499"/>
                </a:lnTo>
                <a:lnTo>
                  <a:pt x="1653" y="501"/>
                </a:lnTo>
                <a:lnTo>
                  <a:pt x="1639" y="502"/>
                </a:lnTo>
                <a:lnTo>
                  <a:pt x="1624" y="505"/>
                </a:lnTo>
                <a:lnTo>
                  <a:pt x="1610" y="509"/>
                </a:lnTo>
                <a:lnTo>
                  <a:pt x="1603" y="510"/>
                </a:lnTo>
                <a:lnTo>
                  <a:pt x="1596" y="513"/>
                </a:lnTo>
                <a:lnTo>
                  <a:pt x="1590" y="513"/>
                </a:lnTo>
                <a:lnTo>
                  <a:pt x="1582" y="513"/>
                </a:lnTo>
                <a:lnTo>
                  <a:pt x="1579" y="514"/>
                </a:lnTo>
                <a:lnTo>
                  <a:pt x="1573" y="514"/>
                </a:lnTo>
                <a:lnTo>
                  <a:pt x="1571" y="514"/>
                </a:lnTo>
                <a:lnTo>
                  <a:pt x="1569" y="513"/>
                </a:lnTo>
                <a:lnTo>
                  <a:pt x="1568" y="512"/>
                </a:lnTo>
                <a:lnTo>
                  <a:pt x="1566" y="509"/>
                </a:lnTo>
                <a:lnTo>
                  <a:pt x="1566" y="508"/>
                </a:lnTo>
                <a:lnTo>
                  <a:pt x="1568" y="506"/>
                </a:lnTo>
                <a:lnTo>
                  <a:pt x="1570" y="505"/>
                </a:lnTo>
                <a:lnTo>
                  <a:pt x="1572" y="505"/>
                </a:lnTo>
                <a:lnTo>
                  <a:pt x="1577" y="504"/>
                </a:lnTo>
                <a:lnTo>
                  <a:pt x="1581" y="504"/>
                </a:lnTo>
                <a:lnTo>
                  <a:pt x="1570" y="504"/>
                </a:lnTo>
                <a:lnTo>
                  <a:pt x="1558" y="501"/>
                </a:lnTo>
                <a:lnTo>
                  <a:pt x="1547" y="502"/>
                </a:lnTo>
                <a:lnTo>
                  <a:pt x="1536" y="505"/>
                </a:lnTo>
                <a:lnTo>
                  <a:pt x="1525" y="507"/>
                </a:lnTo>
                <a:lnTo>
                  <a:pt x="1514" y="508"/>
                </a:lnTo>
                <a:lnTo>
                  <a:pt x="1506" y="507"/>
                </a:lnTo>
                <a:lnTo>
                  <a:pt x="1497" y="506"/>
                </a:lnTo>
                <a:lnTo>
                  <a:pt x="1494" y="507"/>
                </a:lnTo>
                <a:lnTo>
                  <a:pt x="1492" y="508"/>
                </a:lnTo>
                <a:lnTo>
                  <a:pt x="1491" y="512"/>
                </a:lnTo>
                <a:lnTo>
                  <a:pt x="1490" y="514"/>
                </a:lnTo>
                <a:lnTo>
                  <a:pt x="1488" y="517"/>
                </a:lnTo>
                <a:lnTo>
                  <a:pt x="1483" y="520"/>
                </a:lnTo>
                <a:lnTo>
                  <a:pt x="1478" y="521"/>
                </a:lnTo>
                <a:lnTo>
                  <a:pt x="1473" y="521"/>
                </a:lnTo>
                <a:lnTo>
                  <a:pt x="1466" y="517"/>
                </a:lnTo>
                <a:lnTo>
                  <a:pt x="1458" y="514"/>
                </a:lnTo>
                <a:lnTo>
                  <a:pt x="1447" y="512"/>
                </a:lnTo>
                <a:lnTo>
                  <a:pt x="1435" y="512"/>
                </a:lnTo>
                <a:lnTo>
                  <a:pt x="1425" y="515"/>
                </a:lnTo>
                <a:lnTo>
                  <a:pt x="1415" y="520"/>
                </a:lnTo>
                <a:lnTo>
                  <a:pt x="1402" y="521"/>
                </a:lnTo>
                <a:lnTo>
                  <a:pt x="1389" y="521"/>
                </a:lnTo>
                <a:lnTo>
                  <a:pt x="1376" y="521"/>
                </a:lnTo>
                <a:lnTo>
                  <a:pt x="1363" y="521"/>
                </a:lnTo>
                <a:lnTo>
                  <a:pt x="1349" y="521"/>
                </a:lnTo>
                <a:lnTo>
                  <a:pt x="1336" y="520"/>
                </a:lnTo>
                <a:lnTo>
                  <a:pt x="1325" y="520"/>
                </a:lnTo>
                <a:lnTo>
                  <a:pt x="1314" y="517"/>
                </a:lnTo>
                <a:lnTo>
                  <a:pt x="1309" y="513"/>
                </a:lnTo>
                <a:lnTo>
                  <a:pt x="1303" y="509"/>
                </a:lnTo>
                <a:lnTo>
                  <a:pt x="1300" y="509"/>
                </a:lnTo>
                <a:lnTo>
                  <a:pt x="1295" y="509"/>
                </a:lnTo>
                <a:lnTo>
                  <a:pt x="1291" y="507"/>
                </a:lnTo>
                <a:lnTo>
                  <a:pt x="1288" y="505"/>
                </a:lnTo>
                <a:lnTo>
                  <a:pt x="1285" y="504"/>
                </a:lnTo>
                <a:lnTo>
                  <a:pt x="1283" y="505"/>
                </a:lnTo>
                <a:lnTo>
                  <a:pt x="1281" y="505"/>
                </a:lnTo>
                <a:lnTo>
                  <a:pt x="1278" y="507"/>
                </a:lnTo>
                <a:lnTo>
                  <a:pt x="1275" y="510"/>
                </a:lnTo>
                <a:lnTo>
                  <a:pt x="1272" y="514"/>
                </a:lnTo>
                <a:lnTo>
                  <a:pt x="1269" y="517"/>
                </a:lnTo>
                <a:lnTo>
                  <a:pt x="1268" y="522"/>
                </a:lnTo>
                <a:lnTo>
                  <a:pt x="1267" y="525"/>
                </a:lnTo>
                <a:lnTo>
                  <a:pt x="1268" y="530"/>
                </a:lnTo>
                <a:lnTo>
                  <a:pt x="1272" y="532"/>
                </a:lnTo>
                <a:lnTo>
                  <a:pt x="1277" y="534"/>
                </a:lnTo>
                <a:lnTo>
                  <a:pt x="1283" y="534"/>
                </a:lnTo>
                <a:lnTo>
                  <a:pt x="1288" y="533"/>
                </a:lnTo>
                <a:lnTo>
                  <a:pt x="1292" y="530"/>
                </a:lnTo>
                <a:lnTo>
                  <a:pt x="1295" y="525"/>
                </a:lnTo>
                <a:lnTo>
                  <a:pt x="1300" y="524"/>
                </a:lnTo>
                <a:lnTo>
                  <a:pt x="1306" y="523"/>
                </a:lnTo>
                <a:lnTo>
                  <a:pt x="1316" y="524"/>
                </a:lnTo>
                <a:lnTo>
                  <a:pt x="1326" y="525"/>
                </a:lnTo>
                <a:lnTo>
                  <a:pt x="1319" y="526"/>
                </a:lnTo>
                <a:lnTo>
                  <a:pt x="1313" y="526"/>
                </a:lnTo>
                <a:lnTo>
                  <a:pt x="1308" y="526"/>
                </a:lnTo>
                <a:lnTo>
                  <a:pt x="1303" y="526"/>
                </a:lnTo>
                <a:lnTo>
                  <a:pt x="1301" y="529"/>
                </a:lnTo>
                <a:lnTo>
                  <a:pt x="1301" y="531"/>
                </a:lnTo>
                <a:lnTo>
                  <a:pt x="1302" y="532"/>
                </a:lnTo>
                <a:lnTo>
                  <a:pt x="1305" y="533"/>
                </a:lnTo>
                <a:lnTo>
                  <a:pt x="1311" y="534"/>
                </a:lnTo>
                <a:lnTo>
                  <a:pt x="1316" y="534"/>
                </a:lnTo>
                <a:lnTo>
                  <a:pt x="1331" y="535"/>
                </a:lnTo>
                <a:lnTo>
                  <a:pt x="1347" y="535"/>
                </a:lnTo>
                <a:lnTo>
                  <a:pt x="1363" y="537"/>
                </a:lnTo>
                <a:lnTo>
                  <a:pt x="1377" y="537"/>
                </a:lnTo>
                <a:lnTo>
                  <a:pt x="1392" y="534"/>
                </a:lnTo>
                <a:lnTo>
                  <a:pt x="1408" y="534"/>
                </a:lnTo>
                <a:lnTo>
                  <a:pt x="1415" y="534"/>
                </a:lnTo>
                <a:lnTo>
                  <a:pt x="1423" y="534"/>
                </a:lnTo>
                <a:lnTo>
                  <a:pt x="1430" y="537"/>
                </a:lnTo>
                <a:lnTo>
                  <a:pt x="1437" y="539"/>
                </a:lnTo>
                <a:lnTo>
                  <a:pt x="1438" y="540"/>
                </a:lnTo>
                <a:lnTo>
                  <a:pt x="1440" y="542"/>
                </a:lnTo>
                <a:lnTo>
                  <a:pt x="1441" y="542"/>
                </a:lnTo>
                <a:lnTo>
                  <a:pt x="1443" y="542"/>
                </a:lnTo>
                <a:lnTo>
                  <a:pt x="1446" y="539"/>
                </a:lnTo>
                <a:lnTo>
                  <a:pt x="1449" y="535"/>
                </a:lnTo>
                <a:lnTo>
                  <a:pt x="1456" y="534"/>
                </a:lnTo>
                <a:lnTo>
                  <a:pt x="1463" y="534"/>
                </a:lnTo>
                <a:lnTo>
                  <a:pt x="1472" y="534"/>
                </a:lnTo>
                <a:lnTo>
                  <a:pt x="1482" y="535"/>
                </a:lnTo>
                <a:lnTo>
                  <a:pt x="1496" y="537"/>
                </a:lnTo>
                <a:lnTo>
                  <a:pt x="1509" y="538"/>
                </a:lnTo>
                <a:lnTo>
                  <a:pt x="1516" y="538"/>
                </a:lnTo>
                <a:lnTo>
                  <a:pt x="1522" y="535"/>
                </a:lnTo>
                <a:lnTo>
                  <a:pt x="1529" y="533"/>
                </a:lnTo>
                <a:lnTo>
                  <a:pt x="1536" y="530"/>
                </a:lnTo>
                <a:lnTo>
                  <a:pt x="1548" y="531"/>
                </a:lnTo>
                <a:lnTo>
                  <a:pt x="1562" y="533"/>
                </a:lnTo>
                <a:lnTo>
                  <a:pt x="1578" y="531"/>
                </a:lnTo>
                <a:lnTo>
                  <a:pt x="1594" y="527"/>
                </a:lnTo>
                <a:lnTo>
                  <a:pt x="1610" y="525"/>
                </a:lnTo>
                <a:lnTo>
                  <a:pt x="1626" y="524"/>
                </a:lnTo>
                <a:lnTo>
                  <a:pt x="1643" y="522"/>
                </a:lnTo>
                <a:lnTo>
                  <a:pt x="1659" y="521"/>
                </a:lnTo>
                <a:lnTo>
                  <a:pt x="1673" y="518"/>
                </a:lnTo>
                <a:lnTo>
                  <a:pt x="1688" y="516"/>
                </a:lnTo>
                <a:lnTo>
                  <a:pt x="1703" y="514"/>
                </a:lnTo>
                <a:lnTo>
                  <a:pt x="1718" y="512"/>
                </a:lnTo>
                <a:lnTo>
                  <a:pt x="1735" y="509"/>
                </a:lnTo>
                <a:lnTo>
                  <a:pt x="1751" y="506"/>
                </a:lnTo>
                <a:lnTo>
                  <a:pt x="1768" y="502"/>
                </a:lnTo>
                <a:lnTo>
                  <a:pt x="1784" y="498"/>
                </a:lnTo>
                <a:lnTo>
                  <a:pt x="1793" y="496"/>
                </a:lnTo>
                <a:lnTo>
                  <a:pt x="1802" y="493"/>
                </a:lnTo>
                <a:lnTo>
                  <a:pt x="1811" y="491"/>
                </a:lnTo>
                <a:lnTo>
                  <a:pt x="1820" y="489"/>
                </a:lnTo>
                <a:lnTo>
                  <a:pt x="1824" y="488"/>
                </a:lnTo>
                <a:lnTo>
                  <a:pt x="1828" y="487"/>
                </a:lnTo>
                <a:lnTo>
                  <a:pt x="1830" y="487"/>
                </a:lnTo>
                <a:lnTo>
                  <a:pt x="1833" y="485"/>
                </a:lnTo>
                <a:lnTo>
                  <a:pt x="1834" y="485"/>
                </a:lnTo>
                <a:lnTo>
                  <a:pt x="1836" y="487"/>
                </a:lnTo>
                <a:lnTo>
                  <a:pt x="1834" y="492"/>
                </a:lnTo>
                <a:lnTo>
                  <a:pt x="1833" y="497"/>
                </a:lnTo>
                <a:lnTo>
                  <a:pt x="1858" y="490"/>
                </a:lnTo>
                <a:lnTo>
                  <a:pt x="1884" y="482"/>
                </a:lnTo>
                <a:lnTo>
                  <a:pt x="1909" y="473"/>
                </a:lnTo>
                <a:lnTo>
                  <a:pt x="1934" y="464"/>
                </a:lnTo>
                <a:lnTo>
                  <a:pt x="1929" y="463"/>
                </a:lnTo>
                <a:lnTo>
                  <a:pt x="1926" y="463"/>
                </a:lnTo>
                <a:lnTo>
                  <a:pt x="1923" y="463"/>
                </a:lnTo>
                <a:lnTo>
                  <a:pt x="1918" y="465"/>
                </a:lnTo>
                <a:lnTo>
                  <a:pt x="1911" y="468"/>
                </a:lnTo>
                <a:lnTo>
                  <a:pt x="1903" y="471"/>
                </a:lnTo>
                <a:lnTo>
                  <a:pt x="1896" y="473"/>
                </a:lnTo>
                <a:lnTo>
                  <a:pt x="1888" y="476"/>
                </a:lnTo>
                <a:lnTo>
                  <a:pt x="1884" y="476"/>
                </a:lnTo>
                <a:lnTo>
                  <a:pt x="1880" y="476"/>
                </a:lnTo>
                <a:lnTo>
                  <a:pt x="1877" y="475"/>
                </a:lnTo>
                <a:lnTo>
                  <a:pt x="1874" y="474"/>
                </a:lnTo>
                <a:lnTo>
                  <a:pt x="1884" y="472"/>
                </a:lnTo>
                <a:lnTo>
                  <a:pt x="1894" y="467"/>
                </a:lnTo>
                <a:lnTo>
                  <a:pt x="1899" y="467"/>
                </a:lnTo>
                <a:lnTo>
                  <a:pt x="1903" y="465"/>
                </a:lnTo>
                <a:lnTo>
                  <a:pt x="1907" y="464"/>
                </a:lnTo>
                <a:lnTo>
                  <a:pt x="1910" y="460"/>
                </a:lnTo>
                <a:lnTo>
                  <a:pt x="1911" y="456"/>
                </a:lnTo>
                <a:lnTo>
                  <a:pt x="1915" y="452"/>
                </a:lnTo>
                <a:lnTo>
                  <a:pt x="1919" y="450"/>
                </a:lnTo>
                <a:lnTo>
                  <a:pt x="1925" y="448"/>
                </a:lnTo>
                <a:lnTo>
                  <a:pt x="1937" y="447"/>
                </a:lnTo>
                <a:lnTo>
                  <a:pt x="1950" y="444"/>
                </a:lnTo>
                <a:lnTo>
                  <a:pt x="1948" y="440"/>
                </a:lnTo>
                <a:lnTo>
                  <a:pt x="1947" y="437"/>
                </a:lnTo>
                <a:lnTo>
                  <a:pt x="1948" y="435"/>
                </a:lnTo>
                <a:lnTo>
                  <a:pt x="1948" y="434"/>
                </a:lnTo>
                <a:lnTo>
                  <a:pt x="1950" y="434"/>
                </a:lnTo>
                <a:lnTo>
                  <a:pt x="1952" y="433"/>
                </a:lnTo>
                <a:lnTo>
                  <a:pt x="1957" y="433"/>
                </a:lnTo>
                <a:lnTo>
                  <a:pt x="1962" y="432"/>
                </a:lnTo>
                <a:lnTo>
                  <a:pt x="1967" y="430"/>
                </a:lnTo>
                <a:lnTo>
                  <a:pt x="1973" y="430"/>
                </a:lnTo>
                <a:lnTo>
                  <a:pt x="1977" y="431"/>
                </a:lnTo>
                <a:lnTo>
                  <a:pt x="1981" y="431"/>
                </a:lnTo>
                <a:lnTo>
                  <a:pt x="1982" y="427"/>
                </a:lnTo>
                <a:lnTo>
                  <a:pt x="1982" y="424"/>
                </a:lnTo>
                <a:lnTo>
                  <a:pt x="1984" y="421"/>
                </a:lnTo>
                <a:lnTo>
                  <a:pt x="1987" y="417"/>
                </a:lnTo>
                <a:lnTo>
                  <a:pt x="1991" y="416"/>
                </a:lnTo>
                <a:lnTo>
                  <a:pt x="1995" y="415"/>
                </a:lnTo>
                <a:lnTo>
                  <a:pt x="1990" y="415"/>
                </a:lnTo>
                <a:lnTo>
                  <a:pt x="1995" y="415"/>
                </a:lnTo>
                <a:close/>
                <a:moveTo>
                  <a:pt x="1860" y="485"/>
                </a:moveTo>
                <a:lnTo>
                  <a:pt x="1858" y="485"/>
                </a:lnTo>
                <a:lnTo>
                  <a:pt x="1854" y="485"/>
                </a:lnTo>
                <a:lnTo>
                  <a:pt x="1853" y="483"/>
                </a:lnTo>
                <a:lnTo>
                  <a:pt x="1852" y="481"/>
                </a:lnTo>
                <a:lnTo>
                  <a:pt x="1858" y="479"/>
                </a:lnTo>
                <a:lnTo>
                  <a:pt x="1866" y="476"/>
                </a:lnTo>
                <a:lnTo>
                  <a:pt x="1868" y="476"/>
                </a:lnTo>
                <a:lnTo>
                  <a:pt x="1870" y="477"/>
                </a:lnTo>
                <a:lnTo>
                  <a:pt x="1871" y="479"/>
                </a:lnTo>
                <a:lnTo>
                  <a:pt x="1870" y="481"/>
                </a:lnTo>
                <a:lnTo>
                  <a:pt x="1866" y="484"/>
                </a:lnTo>
                <a:lnTo>
                  <a:pt x="1860" y="485"/>
                </a:lnTo>
                <a:lnTo>
                  <a:pt x="1860" y="485"/>
                </a:lnTo>
                <a:lnTo>
                  <a:pt x="1860" y="485"/>
                </a:lnTo>
                <a:close/>
                <a:moveTo>
                  <a:pt x="1967" y="580"/>
                </a:moveTo>
                <a:lnTo>
                  <a:pt x="1970" y="577"/>
                </a:lnTo>
                <a:lnTo>
                  <a:pt x="1974" y="576"/>
                </a:lnTo>
                <a:lnTo>
                  <a:pt x="1977" y="575"/>
                </a:lnTo>
                <a:lnTo>
                  <a:pt x="1981" y="575"/>
                </a:lnTo>
                <a:lnTo>
                  <a:pt x="1984" y="576"/>
                </a:lnTo>
                <a:lnTo>
                  <a:pt x="1986" y="579"/>
                </a:lnTo>
                <a:lnTo>
                  <a:pt x="1991" y="579"/>
                </a:lnTo>
                <a:lnTo>
                  <a:pt x="1997" y="577"/>
                </a:lnTo>
                <a:lnTo>
                  <a:pt x="1990" y="579"/>
                </a:lnTo>
                <a:lnTo>
                  <a:pt x="1984" y="581"/>
                </a:lnTo>
                <a:lnTo>
                  <a:pt x="1978" y="583"/>
                </a:lnTo>
                <a:lnTo>
                  <a:pt x="1973" y="584"/>
                </a:lnTo>
                <a:lnTo>
                  <a:pt x="1960" y="590"/>
                </a:lnTo>
                <a:lnTo>
                  <a:pt x="1948" y="595"/>
                </a:lnTo>
                <a:lnTo>
                  <a:pt x="1949" y="591"/>
                </a:lnTo>
                <a:lnTo>
                  <a:pt x="1950" y="588"/>
                </a:lnTo>
                <a:lnTo>
                  <a:pt x="1952" y="585"/>
                </a:lnTo>
                <a:lnTo>
                  <a:pt x="1954" y="584"/>
                </a:lnTo>
                <a:lnTo>
                  <a:pt x="1961" y="582"/>
                </a:lnTo>
                <a:lnTo>
                  <a:pt x="1967" y="580"/>
                </a:lnTo>
                <a:lnTo>
                  <a:pt x="1967" y="580"/>
                </a:lnTo>
                <a:lnTo>
                  <a:pt x="1967" y="580"/>
                </a:lnTo>
                <a:close/>
                <a:moveTo>
                  <a:pt x="2031" y="514"/>
                </a:moveTo>
                <a:lnTo>
                  <a:pt x="2033" y="514"/>
                </a:lnTo>
                <a:lnTo>
                  <a:pt x="2035" y="515"/>
                </a:lnTo>
                <a:lnTo>
                  <a:pt x="2035" y="516"/>
                </a:lnTo>
                <a:lnTo>
                  <a:pt x="2036" y="518"/>
                </a:lnTo>
                <a:lnTo>
                  <a:pt x="2035" y="520"/>
                </a:lnTo>
                <a:lnTo>
                  <a:pt x="2034" y="521"/>
                </a:lnTo>
                <a:lnTo>
                  <a:pt x="2033" y="522"/>
                </a:lnTo>
                <a:lnTo>
                  <a:pt x="2031" y="522"/>
                </a:lnTo>
                <a:lnTo>
                  <a:pt x="2028" y="522"/>
                </a:lnTo>
                <a:lnTo>
                  <a:pt x="2027" y="521"/>
                </a:lnTo>
                <a:lnTo>
                  <a:pt x="2026" y="520"/>
                </a:lnTo>
                <a:lnTo>
                  <a:pt x="2026" y="517"/>
                </a:lnTo>
                <a:lnTo>
                  <a:pt x="2027" y="515"/>
                </a:lnTo>
                <a:lnTo>
                  <a:pt x="2031" y="514"/>
                </a:lnTo>
                <a:lnTo>
                  <a:pt x="2031" y="514"/>
                </a:lnTo>
                <a:lnTo>
                  <a:pt x="2031" y="514"/>
                </a:lnTo>
                <a:close/>
                <a:moveTo>
                  <a:pt x="1686" y="597"/>
                </a:moveTo>
                <a:lnTo>
                  <a:pt x="1694" y="596"/>
                </a:lnTo>
                <a:lnTo>
                  <a:pt x="1702" y="597"/>
                </a:lnTo>
                <a:lnTo>
                  <a:pt x="1697" y="598"/>
                </a:lnTo>
                <a:lnTo>
                  <a:pt x="1694" y="599"/>
                </a:lnTo>
                <a:lnTo>
                  <a:pt x="1690" y="598"/>
                </a:lnTo>
                <a:lnTo>
                  <a:pt x="1686" y="597"/>
                </a:lnTo>
                <a:close/>
                <a:moveTo>
                  <a:pt x="1705" y="595"/>
                </a:moveTo>
                <a:lnTo>
                  <a:pt x="1711" y="593"/>
                </a:lnTo>
                <a:lnTo>
                  <a:pt x="1714" y="592"/>
                </a:lnTo>
                <a:lnTo>
                  <a:pt x="1718" y="593"/>
                </a:lnTo>
                <a:lnTo>
                  <a:pt x="1721" y="595"/>
                </a:lnTo>
                <a:lnTo>
                  <a:pt x="1714" y="595"/>
                </a:lnTo>
                <a:lnTo>
                  <a:pt x="1705" y="595"/>
                </a:lnTo>
                <a:close/>
                <a:moveTo>
                  <a:pt x="1882" y="599"/>
                </a:moveTo>
                <a:lnTo>
                  <a:pt x="1887" y="599"/>
                </a:lnTo>
                <a:lnTo>
                  <a:pt x="1892" y="600"/>
                </a:lnTo>
                <a:lnTo>
                  <a:pt x="1893" y="603"/>
                </a:lnTo>
                <a:lnTo>
                  <a:pt x="1895" y="604"/>
                </a:lnTo>
                <a:lnTo>
                  <a:pt x="1898" y="605"/>
                </a:lnTo>
                <a:lnTo>
                  <a:pt x="1899" y="607"/>
                </a:lnTo>
                <a:lnTo>
                  <a:pt x="1898" y="609"/>
                </a:lnTo>
                <a:lnTo>
                  <a:pt x="1894" y="612"/>
                </a:lnTo>
                <a:lnTo>
                  <a:pt x="1890" y="613"/>
                </a:lnTo>
                <a:lnTo>
                  <a:pt x="1885" y="614"/>
                </a:lnTo>
                <a:lnTo>
                  <a:pt x="1883" y="615"/>
                </a:lnTo>
                <a:lnTo>
                  <a:pt x="1882" y="616"/>
                </a:lnTo>
                <a:lnTo>
                  <a:pt x="1879" y="620"/>
                </a:lnTo>
                <a:lnTo>
                  <a:pt x="1879" y="623"/>
                </a:lnTo>
                <a:lnTo>
                  <a:pt x="1877" y="625"/>
                </a:lnTo>
                <a:lnTo>
                  <a:pt x="1875" y="625"/>
                </a:lnTo>
                <a:lnTo>
                  <a:pt x="1873" y="625"/>
                </a:lnTo>
                <a:lnTo>
                  <a:pt x="1871" y="624"/>
                </a:lnTo>
                <a:lnTo>
                  <a:pt x="1869" y="620"/>
                </a:lnTo>
                <a:lnTo>
                  <a:pt x="1868" y="614"/>
                </a:lnTo>
                <a:lnTo>
                  <a:pt x="1869" y="609"/>
                </a:lnTo>
                <a:lnTo>
                  <a:pt x="1873" y="605"/>
                </a:lnTo>
                <a:lnTo>
                  <a:pt x="1877" y="600"/>
                </a:lnTo>
                <a:lnTo>
                  <a:pt x="1882" y="599"/>
                </a:lnTo>
                <a:lnTo>
                  <a:pt x="1880" y="599"/>
                </a:lnTo>
                <a:lnTo>
                  <a:pt x="1882" y="599"/>
                </a:lnTo>
                <a:close/>
                <a:moveTo>
                  <a:pt x="1121" y="642"/>
                </a:moveTo>
                <a:lnTo>
                  <a:pt x="1138" y="643"/>
                </a:lnTo>
                <a:lnTo>
                  <a:pt x="1154" y="643"/>
                </a:lnTo>
                <a:lnTo>
                  <a:pt x="1160" y="643"/>
                </a:lnTo>
                <a:lnTo>
                  <a:pt x="1167" y="643"/>
                </a:lnTo>
                <a:lnTo>
                  <a:pt x="1170" y="643"/>
                </a:lnTo>
                <a:lnTo>
                  <a:pt x="1174" y="645"/>
                </a:lnTo>
                <a:lnTo>
                  <a:pt x="1176" y="646"/>
                </a:lnTo>
                <a:lnTo>
                  <a:pt x="1177" y="648"/>
                </a:lnTo>
                <a:lnTo>
                  <a:pt x="1167" y="649"/>
                </a:lnTo>
                <a:lnTo>
                  <a:pt x="1157" y="649"/>
                </a:lnTo>
                <a:lnTo>
                  <a:pt x="1146" y="649"/>
                </a:lnTo>
                <a:lnTo>
                  <a:pt x="1136" y="649"/>
                </a:lnTo>
                <a:lnTo>
                  <a:pt x="1128" y="648"/>
                </a:lnTo>
                <a:lnTo>
                  <a:pt x="1119" y="648"/>
                </a:lnTo>
                <a:lnTo>
                  <a:pt x="1110" y="646"/>
                </a:lnTo>
                <a:lnTo>
                  <a:pt x="1103" y="643"/>
                </a:lnTo>
                <a:lnTo>
                  <a:pt x="1112" y="642"/>
                </a:lnTo>
                <a:lnTo>
                  <a:pt x="1121" y="642"/>
                </a:lnTo>
                <a:lnTo>
                  <a:pt x="1127" y="642"/>
                </a:lnTo>
                <a:lnTo>
                  <a:pt x="1125" y="642"/>
                </a:lnTo>
                <a:lnTo>
                  <a:pt x="1121" y="642"/>
                </a:lnTo>
                <a:lnTo>
                  <a:pt x="1121" y="642"/>
                </a:lnTo>
                <a:close/>
                <a:moveTo>
                  <a:pt x="1068" y="555"/>
                </a:moveTo>
                <a:lnTo>
                  <a:pt x="1067" y="552"/>
                </a:lnTo>
                <a:lnTo>
                  <a:pt x="1066" y="551"/>
                </a:lnTo>
                <a:lnTo>
                  <a:pt x="1068" y="554"/>
                </a:lnTo>
                <a:lnTo>
                  <a:pt x="1070" y="555"/>
                </a:lnTo>
                <a:lnTo>
                  <a:pt x="1075" y="555"/>
                </a:lnTo>
                <a:lnTo>
                  <a:pt x="1079" y="555"/>
                </a:lnTo>
                <a:lnTo>
                  <a:pt x="1077" y="557"/>
                </a:lnTo>
                <a:lnTo>
                  <a:pt x="1075" y="559"/>
                </a:lnTo>
                <a:lnTo>
                  <a:pt x="1072" y="559"/>
                </a:lnTo>
                <a:lnTo>
                  <a:pt x="1070" y="559"/>
                </a:lnTo>
                <a:lnTo>
                  <a:pt x="1066" y="559"/>
                </a:lnTo>
                <a:lnTo>
                  <a:pt x="1060" y="558"/>
                </a:lnTo>
                <a:lnTo>
                  <a:pt x="1063" y="556"/>
                </a:lnTo>
                <a:lnTo>
                  <a:pt x="1068" y="555"/>
                </a:lnTo>
                <a:lnTo>
                  <a:pt x="1067" y="555"/>
                </a:lnTo>
                <a:lnTo>
                  <a:pt x="1068" y="555"/>
                </a:lnTo>
                <a:close/>
                <a:moveTo>
                  <a:pt x="718" y="577"/>
                </a:moveTo>
                <a:lnTo>
                  <a:pt x="731" y="579"/>
                </a:lnTo>
                <a:lnTo>
                  <a:pt x="744" y="581"/>
                </a:lnTo>
                <a:lnTo>
                  <a:pt x="756" y="584"/>
                </a:lnTo>
                <a:lnTo>
                  <a:pt x="769" y="587"/>
                </a:lnTo>
                <a:lnTo>
                  <a:pt x="766" y="589"/>
                </a:lnTo>
                <a:lnTo>
                  <a:pt x="763" y="590"/>
                </a:lnTo>
                <a:lnTo>
                  <a:pt x="759" y="590"/>
                </a:lnTo>
                <a:lnTo>
                  <a:pt x="755" y="590"/>
                </a:lnTo>
                <a:lnTo>
                  <a:pt x="747" y="588"/>
                </a:lnTo>
                <a:lnTo>
                  <a:pt x="740" y="585"/>
                </a:lnTo>
                <a:lnTo>
                  <a:pt x="731" y="584"/>
                </a:lnTo>
                <a:lnTo>
                  <a:pt x="723" y="583"/>
                </a:lnTo>
                <a:lnTo>
                  <a:pt x="718" y="579"/>
                </a:lnTo>
                <a:lnTo>
                  <a:pt x="713" y="574"/>
                </a:lnTo>
                <a:lnTo>
                  <a:pt x="716" y="575"/>
                </a:lnTo>
                <a:lnTo>
                  <a:pt x="718" y="577"/>
                </a:lnTo>
                <a:lnTo>
                  <a:pt x="725" y="577"/>
                </a:lnTo>
                <a:lnTo>
                  <a:pt x="724" y="577"/>
                </a:lnTo>
                <a:lnTo>
                  <a:pt x="721" y="577"/>
                </a:lnTo>
                <a:lnTo>
                  <a:pt x="718" y="577"/>
                </a:lnTo>
                <a:close/>
                <a:moveTo>
                  <a:pt x="1061" y="508"/>
                </a:moveTo>
                <a:lnTo>
                  <a:pt x="1063" y="509"/>
                </a:lnTo>
                <a:lnTo>
                  <a:pt x="1064" y="509"/>
                </a:lnTo>
                <a:lnTo>
                  <a:pt x="1066" y="510"/>
                </a:lnTo>
                <a:lnTo>
                  <a:pt x="1066" y="513"/>
                </a:lnTo>
                <a:lnTo>
                  <a:pt x="1064" y="514"/>
                </a:lnTo>
                <a:lnTo>
                  <a:pt x="1063" y="514"/>
                </a:lnTo>
                <a:lnTo>
                  <a:pt x="1062" y="515"/>
                </a:lnTo>
                <a:lnTo>
                  <a:pt x="1059" y="515"/>
                </a:lnTo>
                <a:lnTo>
                  <a:pt x="1058" y="514"/>
                </a:lnTo>
                <a:lnTo>
                  <a:pt x="1055" y="514"/>
                </a:lnTo>
                <a:lnTo>
                  <a:pt x="1054" y="512"/>
                </a:lnTo>
                <a:lnTo>
                  <a:pt x="1054" y="510"/>
                </a:lnTo>
                <a:lnTo>
                  <a:pt x="1055" y="508"/>
                </a:lnTo>
                <a:lnTo>
                  <a:pt x="1056" y="508"/>
                </a:lnTo>
                <a:lnTo>
                  <a:pt x="1059" y="508"/>
                </a:lnTo>
                <a:lnTo>
                  <a:pt x="1061" y="508"/>
                </a:lnTo>
                <a:lnTo>
                  <a:pt x="1061" y="508"/>
                </a:lnTo>
                <a:lnTo>
                  <a:pt x="1061" y="508"/>
                </a:lnTo>
                <a:close/>
                <a:moveTo>
                  <a:pt x="1044" y="506"/>
                </a:moveTo>
                <a:lnTo>
                  <a:pt x="1047" y="507"/>
                </a:lnTo>
                <a:lnTo>
                  <a:pt x="1049" y="509"/>
                </a:lnTo>
                <a:lnTo>
                  <a:pt x="1049" y="510"/>
                </a:lnTo>
                <a:lnTo>
                  <a:pt x="1047" y="510"/>
                </a:lnTo>
                <a:lnTo>
                  <a:pt x="1046" y="512"/>
                </a:lnTo>
                <a:lnTo>
                  <a:pt x="1044" y="512"/>
                </a:lnTo>
                <a:lnTo>
                  <a:pt x="1041" y="510"/>
                </a:lnTo>
                <a:lnTo>
                  <a:pt x="1039" y="508"/>
                </a:lnTo>
                <a:lnTo>
                  <a:pt x="1039" y="507"/>
                </a:lnTo>
                <a:lnTo>
                  <a:pt x="1041" y="506"/>
                </a:lnTo>
                <a:lnTo>
                  <a:pt x="1042" y="506"/>
                </a:lnTo>
                <a:lnTo>
                  <a:pt x="1044" y="506"/>
                </a:lnTo>
                <a:lnTo>
                  <a:pt x="1044" y="506"/>
                </a:lnTo>
                <a:lnTo>
                  <a:pt x="1044" y="506"/>
                </a:lnTo>
                <a:close/>
                <a:moveTo>
                  <a:pt x="1791" y="450"/>
                </a:moveTo>
                <a:lnTo>
                  <a:pt x="1791" y="448"/>
                </a:lnTo>
                <a:lnTo>
                  <a:pt x="1793" y="446"/>
                </a:lnTo>
                <a:lnTo>
                  <a:pt x="1795" y="444"/>
                </a:lnTo>
                <a:lnTo>
                  <a:pt x="1799" y="443"/>
                </a:lnTo>
                <a:lnTo>
                  <a:pt x="1805" y="442"/>
                </a:lnTo>
                <a:lnTo>
                  <a:pt x="1811" y="441"/>
                </a:lnTo>
                <a:lnTo>
                  <a:pt x="1825" y="437"/>
                </a:lnTo>
                <a:lnTo>
                  <a:pt x="1840" y="433"/>
                </a:lnTo>
                <a:lnTo>
                  <a:pt x="1838" y="438"/>
                </a:lnTo>
                <a:lnTo>
                  <a:pt x="1837" y="441"/>
                </a:lnTo>
                <a:lnTo>
                  <a:pt x="1835" y="444"/>
                </a:lnTo>
                <a:lnTo>
                  <a:pt x="1832" y="448"/>
                </a:lnTo>
                <a:lnTo>
                  <a:pt x="1827" y="448"/>
                </a:lnTo>
                <a:lnTo>
                  <a:pt x="1824" y="448"/>
                </a:lnTo>
                <a:lnTo>
                  <a:pt x="1820" y="447"/>
                </a:lnTo>
                <a:lnTo>
                  <a:pt x="1817" y="446"/>
                </a:lnTo>
                <a:lnTo>
                  <a:pt x="1809" y="446"/>
                </a:lnTo>
                <a:lnTo>
                  <a:pt x="1801" y="448"/>
                </a:lnTo>
                <a:lnTo>
                  <a:pt x="1795" y="449"/>
                </a:lnTo>
                <a:lnTo>
                  <a:pt x="1791" y="450"/>
                </a:lnTo>
                <a:lnTo>
                  <a:pt x="1785" y="454"/>
                </a:lnTo>
                <a:lnTo>
                  <a:pt x="1780" y="456"/>
                </a:lnTo>
                <a:lnTo>
                  <a:pt x="1785" y="454"/>
                </a:lnTo>
                <a:lnTo>
                  <a:pt x="1791" y="450"/>
                </a:lnTo>
                <a:lnTo>
                  <a:pt x="1789" y="450"/>
                </a:lnTo>
                <a:lnTo>
                  <a:pt x="1791" y="450"/>
                </a:lnTo>
                <a:close/>
                <a:moveTo>
                  <a:pt x="1767" y="455"/>
                </a:moveTo>
                <a:lnTo>
                  <a:pt x="1763" y="458"/>
                </a:lnTo>
                <a:lnTo>
                  <a:pt x="1760" y="459"/>
                </a:lnTo>
                <a:lnTo>
                  <a:pt x="1758" y="460"/>
                </a:lnTo>
                <a:lnTo>
                  <a:pt x="1756" y="459"/>
                </a:lnTo>
                <a:lnTo>
                  <a:pt x="1754" y="458"/>
                </a:lnTo>
                <a:lnTo>
                  <a:pt x="1752" y="457"/>
                </a:lnTo>
                <a:lnTo>
                  <a:pt x="1759" y="455"/>
                </a:lnTo>
                <a:lnTo>
                  <a:pt x="1767" y="455"/>
                </a:lnTo>
                <a:close/>
                <a:moveTo>
                  <a:pt x="802" y="419"/>
                </a:moveTo>
                <a:lnTo>
                  <a:pt x="805" y="418"/>
                </a:lnTo>
                <a:lnTo>
                  <a:pt x="807" y="418"/>
                </a:lnTo>
                <a:lnTo>
                  <a:pt x="811" y="419"/>
                </a:lnTo>
                <a:lnTo>
                  <a:pt x="814" y="419"/>
                </a:lnTo>
                <a:lnTo>
                  <a:pt x="811" y="423"/>
                </a:lnTo>
                <a:lnTo>
                  <a:pt x="806" y="425"/>
                </a:lnTo>
                <a:lnTo>
                  <a:pt x="804" y="424"/>
                </a:lnTo>
                <a:lnTo>
                  <a:pt x="802" y="423"/>
                </a:lnTo>
                <a:lnTo>
                  <a:pt x="800" y="422"/>
                </a:lnTo>
                <a:lnTo>
                  <a:pt x="802" y="419"/>
                </a:lnTo>
                <a:lnTo>
                  <a:pt x="803" y="418"/>
                </a:lnTo>
                <a:lnTo>
                  <a:pt x="802" y="419"/>
                </a:lnTo>
                <a:close/>
                <a:moveTo>
                  <a:pt x="755" y="407"/>
                </a:moveTo>
                <a:lnTo>
                  <a:pt x="756" y="405"/>
                </a:lnTo>
                <a:lnTo>
                  <a:pt x="757" y="404"/>
                </a:lnTo>
                <a:lnTo>
                  <a:pt x="761" y="405"/>
                </a:lnTo>
                <a:lnTo>
                  <a:pt x="763" y="405"/>
                </a:lnTo>
                <a:lnTo>
                  <a:pt x="769" y="408"/>
                </a:lnTo>
                <a:lnTo>
                  <a:pt x="772" y="409"/>
                </a:lnTo>
                <a:lnTo>
                  <a:pt x="777" y="410"/>
                </a:lnTo>
                <a:lnTo>
                  <a:pt x="781" y="410"/>
                </a:lnTo>
                <a:lnTo>
                  <a:pt x="786" y="410"/>
                </a:lnTo>
                <a:lnTo>
                  <a:pt x="790" y="413"/>
                </a:lnTo>
                <a:lnTo>
                  <a:pt x="791" y="415"/>
                </a:lnTo>
                <a:lnTo>
                  <a:pt x="791" y="417"/>
                </a:lnTo>
                <a:lnTo>
                  <a:pt x="789" y="417"/>
                </a:lnTo>
                <a:lnTo>
                  <a:pt x="786" y="417"/>
                </a:lnTo>
                <a:lnTo>
                  <a:pt x="779" y="417"/>
                </a:lnTo>
                <a:lnTo>
                  <a:pt x="774" y="416"/>
                </a:lnTo>
                <a:lnTo>
                  <a:pt x="769" y="415"/>
                </a:lnTo>
                <a:lnTo>
                  <a:pt x="762" y="414"/>
                </a:lnTo>
                <a:lnTo>
                  <a:pt x="759" y="413"/>
                </a:lnTo>
                <a:lnTo>
                  <a:pt x="756" y="410"/>
                </a:lnTo>
                <a:lnTo>
                  <a:pt x="755" y="409"/>
                </a:lnTo>
                <a:lnTo>
                  <a:pt x="755" y="407"/>
                </a:lnTo>
                <a:lnTo>
                  <a:pt x="755" y="407"/>
                </a:lnTo>
                <a:lnTo>
                  <a:pt x="755" y="407"/>
                </a:lnTo>
                <a:close/>
                <a:moveTo>
                  <a:pt x="720" y="447"/>
                </a:moveTo>
                <a:lnTo>
                  <a:pt x="716" y="447"/>
                </a:lnTo>
                <a:lnTo>
                  <a:pt x="712" y="447"/>
                </a:lnTo>
                <a:lnTo>
                  <a:pt x="716" y="447"/>
                </a:lnTo>
                <a:lnTo>
                  <a:pt x="720" y="447"/>
                </a:lnTo>
                <a:lnTo>
                  <a:pt x="718" y="447"/>
                </a:lnTo>
                <a:lnTo>
                  <a:pt x="720" y="447"/>
                </a:lnTo>
                <a:close/>
                <a:moveTo>
                  <a:pt x="697" y="393"/>
                </a:moveTo>
                <a:lnTo>
                  <a:pt x="708" y="397"/>
                </a:lnTo>
                <a:lnTo>
                  <a:pt x="720" y="398"/>
                </a:lnTo>
                <a:lnTo>
                  <a:pt x="723" y="399"/>
                </a:lnTo>
                <a:lnTo>
                  <a:pt x="728" y="399"/>
                </a:lnTo>
                <a:lnTo>
                  <a:pt x="732" y="400"/>
                </a:lnTo>
                <a:lnTo>
                  <a:pt x="736" y="402"/>
                </a:lnTo>
                <a:lnTo>
                  <a:pt x="737" y="404"/>
                </a:lnTo>
                <a:lnTo>
                  <a:pt x="737" y="406"/>
                </a:lnTo>
                <a:lnTo>
                  <a:pt x="737" y="406"/>
                </a:lnTo>
                <a:lnTo>
                  <a:pt x="736" y="407"/>
                </a:lnTo>
                <a:lnTo>
                  <a:pt x="733" y="408"/>
                </a:lnTo>
                <a:lnTo>
                  <a:pt x="730" y="408"/>
                </a:lnTo>
                <a:lnTo>
                  <a:pt x="721" y="405"/>
                </a:lnTo>
                <a:lnTo>
                  <a:pt x="711" y="402"/>
                </a:lnTo>
                <a:lnTo>
                  <a:pt x="700" y="400"/>
                </a:lnTo>
                <a:lnTo>
                  <a:pt x="689" y="398"/>
                </a:lnTo>
                <a:lnTo>
                  <a:pt x="677" y="397"/>
                </a:lnTo>
                <a:lnTo>
                  <a:pt x="667" y="393"/>
                </a:lnTo>
                <a:lnTo>
                  <a:pt x="665" y="391"/>
                </a:lnTo>
                <a:lnTo>
                  <a:pt x="664" y="390"/>
                </a:lnTo>
                <a:lnTo>
                  <a:pt x="665" y="388"/>
                </a:lnTo>
                <a:lnTo>
                  <a:pt x="666" y="386"/>
                </a:lnTo>
                <a:lnTo>
                  <a:pt x="672" y="386"/>
                </a:lnTo>
                <a:lnTo>
                  <a:pt x="677" y="388"/>
                </a:lnTo>
                <a:lnTo>
                  <a:pt x="687" y="390"/>
                </a:lnTo>
                <a:lnTo>
                  <a:pt x="697" y="393"/>
                </a:lnTo>
                <a:lnTo>
                  <a:pt x="699" y="394"/>
                </a:lnTo>
                <a:lnTo>
                  <a:pt x="699" y="394"/>
                </a:lnTo>
                <a:lnTo>
                  <a:pt x="698" y="393"/>
                </a:lnTo>
                <a:lnTo>
                  <a:pt x="697" y="393"/>
                </a:lnTo>
                <a:lnTo>
                  <a:pt x="695" y="393"/>
                </a:lnTo>
                <a:lnTo>
                  <a:pt x="693" y="392"/>
                </a:lnTo>
                <a:lnTo>
                  <a:pt x="693" y="392"/>
                </a:lnTo>
                <a:lnTo>
                  <a:pt x="697" y="393"/>
                </a:lnTo>
                <a:close/>
                <a:moveTo>
                  <a:pt x="1796" y="335"/>
                </a:moveTo>
                <a:lnTo>
                  <a:pt x="1802" y="333"/>
                </a:lnTo>
                <a:lnTo>
                  <a:pt x="1809" y="330"/>
                </a:lnTo>
                <a:lnTo>
                  <a:pt x="1812" y="328"/>
                </a:lnTo>
                <a:lnTo>
                  <a:pt x="1816" y="328"/>
                </a:lnTo>
                <a:lnTo>
                  <a:pt x="1819" y="328"/>
                </a:lnTo>
                <a:lnTo>
                  <a:pt x="1821" y="328"/>
                </a:lnTo>
                <a:lnTo>
                  <a:pt x="1825" y="331"/>
                </a:lnTo>
                <a:lnTo>
                  <a:pt x="1825" y="332"/>
                </a:lnTo>
                <a:lnTo>
                  <a:pt x="1824" y="333"/>
                </a:lnTo>
                <a:lnTo>
                  <a:pt x="1820" y="335"/>
                </a:lnTo>
                <a:lnTo>
                  <a:pt x="1813" y="336"/>
                </a:lnTo>
                <a:lnTo>
                  <a:pt x="1810" y="338"/>
                </a:lnTo>
                <a:lnTo>
                  <a:pt x="1794" y="343"/>
                </a:lnTo>
                <a:lnTo>
                  <a:pt x="1778" y="347"/>
                </a:lnTo>
                <a:lnTo>
                  <a:pt x="1770" y="349"/>
                </a:lnTo>
                <a:lnTo>
                  <a:pt x="1762" y="350"/>
                </a:lnTo>
                <a:lnTo>
                  <a:pt x="1758" y="351"/>
                </a:lnTo>
                <a:lnTo>
                  <a:pt x="1753" y="351"/>
                </a:lnTo>
                <a:lnTo>
                  <a:pt x="1750" y="354"/>
                </a:lnTo>
                <a:lnTo>
                  <a:pt x="1747" y="355"/>
                </a:lnTo>
                <a:lnTo>
                  <a:pt x="1748" y="354"/>
                </a:lnTo>
                <a:lnTo>
                  <a:pt x="1750" y="351"/>
                </a:lnTo>
                <a:lnTo>
                  <a:pt x="1748" y="349"/>
                </a:lnTo>
                <a:lnTo>
                  <a:pt x="1745" y="348"/>
                </a:lnTo>
                <a:lnTo>
                  <a:pt x="1758" y="344"/>
                </a:lnTo>
                <a:lnTo>
                  <a:pt x="1771" y="341"/>
                </a:lnTo>
                <a:lnTo>
                  <a:pt x="1784" y="338"/>
                </a:lnTo>
                <a:lnTo>
                  <a:pt x="1796" y="335"/>
                </a:lnTo>
                <a:lnTo>
                  <a:pt x="1797" y="335"/>
                </a:lnTo>
                <a:lnTo>
                  <a:pt x="1793" y="336"/>
                </a:lnTo>
                <a:lnTo>
                  <a:pt x="1791" y="336"/>
                </a:lnTo>
                <a:lnTo>
                  <a:pt x="1796" y="335"/>
                </a:lnTo>
                <a:close/>
                <a:moveTo>
                  <a:pt x="1619" y="366"/>
                </a:moveTo>
                <a:lnTo>
                  <a:pt x="1623" y="365"/>
                </a:lnTo>
                <a:lnTo>
                  <a:pt x="1629" y="363"/>
                </a:lnTo>
                <a:lnTo>
                  <a:pt x="1630" y="361"/>
                </a:lnTo>
                <a:lnTo>
                  <a:pt x="1630" y="360"/>
                </a:lnTo>
                <a:lnTo>
                  <a:pt x="1634" y="360"/>
                </a:lnTo>
                <a:lnTo>
                  <a:pt x="1638" y="360"/>
                </a:lnTo>
                <a:lnTo>
                  <a:pt x="1643" y="361"/>
                </a:lnTo>
                <a:lnTo>
                  <a:pt x="1648" y="363"/>
                </a:lnTo>
                <a:lnTo>
                  <a:pt x="1651" y="364"/>
                </a:lnTo>
                <a:lnTo>
                  <a:pt x="1653" y="365"/>
                </a:lnTo>
                <a:lnTo>
                  <a:pt x="1653" y="367"/>
                </a:lnTo>
                <a:lnTo>
                  <a:pt x="1651" y="371"/>
                </a:lnTo>
                <a:lnTo>
                  <a:pt x="1646" y="373"/>
                </a:lnTo>
                <a:lnTo>
                  <a:pt x="1640" y="374"/>
                </a:lnTo>
                <a:lnTo>
                  <a:pt x="1634" y="374"/>
                </a:lnTo>
                <a:lnTo>
                  <a:pt x="1628" y="375"/>
                </a:lnTo>
                <a:lnTo>
                  <a:pt x="1623" y="375"/>
                </a:lnTo>
                <a:lnTo>
                  <a:pt x="1620" y="375"/>
                </a:lnTo>
                <a:lnTo>
                  <a:pt x="1618" y="375"/>
                </a:lnTo>
                <a:lnTo>
                  <a:pt x="1614" y="375"/>
                </a:lnTo>
                <a:lnTo>
                  <a:pt x="1612" y="376"/>
                </a:lnTo>
                <a:lnTo>
                  <a:pt x="1610" y="377"/>
                </a:lnTo>
                <a:lnTo>
                  <a:pt x="1607" y="379"/>
                </a:lnTo>
                <a:lnTo>
                  <a:pt x="1604" y="377"/>
                </a:lnTo>
                <a:lnTo>
                  <a:pt x="1611" y="372"/>
                </a:lnTo>
                <a:lnTo>
                  <a:pt x="1619" y="366"/>
                </a:lnTo>
                <a:lnTo>
                  <a:pt x="1618" y="368"/>
                </a:lnTo>
                <a:lnTo>
                  <a:pt x="1619" y="366"/>
                </a:lnTo>
                <a:close/>
                <a:moveTo>
                  <a:pt x="1372" y="385"/>
                </a:moveTo>
                <a:lnTo>
                  <a:pt x="1366" y="386"/>
                </a:lnTo>
                <a:lnTo>
                  <a:pt x="1359" y="385"/>
                </a:lnTo>
                <a:lnTo>
                  <a:pt x="1366" y="384"/>
                </a:lnTo>
                <a:lnTo>
                  <a:pt x="1372" y="385"/>
                </a:lnTo>
                <a:close/>
                <a:moveTo>
                  <a:pt x="1267" y="381"/>
                </a:moveTo>
                <a:lnTo>
                  <a:pt x="1259" y="381"/>
                </a:lnTo>
                <a:lnTo>
                  <a:pt x="1253" y="380"/>
                </a:lnTo>
                <a:lnTo>
                  <a:pt x="1257" y="379"/>
                </a:lnTo>
                <a:lnTo>
                  <a:pt x="1260" y="377"/>
                </a:lnTo>
                <a:lnTo>
                  <a:pt x="1264" y="379"/>
                </a:lnTo>
                <a:lnTo>
                  <a:pt x="1267" y="381"/>
                </a:lnTo>
                <a:close/>
                <a:moveTo>
                  <a:pt x="970" y="322"/>
                </a:moveTo>
                <a:lnTo>
                  <a:pt x="973" y="325"/>
                </a:lnTo>
                <a:lnTo>
                  <a:pt x="978" y="327"/>
                </a:lnTo>
                <a:lnTo>
                  <a:pt x="981" y="328"/>
                </a:lnTo>
                <a:lnTo>
                  <a:pt x="986" y="330"/>
                </a:lnTo>
                <a:lnTo>
                  <a:pt x="996" y="330"/>
                </a:lnTo>
                <a:lnTo>
                  <a:pt x="1004" y="331"/>
                </a:lnTo>
                <a:lnTo>
                  <a:pt x="1013" y="333"/>
                </a:lnTo>
                <a:lnTo>
                  <a:pt x="1022" y="335"/>
                </a:lnTo>
                <a:lnTo>
                  <a:pt x="1033" y="338"/>
                </a:lnTo>
                <a:lnTo>
                  <a:pt x="1042" y="340"/>
                </a:lnTo>
                <a:lnTo>
                  <a:pt x="1051" y="342"/>
                </a:lnTo>
                <a:lnTo>
                  <a:pt x="1060" y="343"/>
                </a:lnTo>
                <a:lnTo>
                  <a:pt x="1069" y="344"/>
                </a:lnTo>
                <a:lnTo>
                  <a:pt x="1078" y="346"/>
                </a:lnTo>
                <a:lnTo>
                  <a:pt x="1085" y="347"/>
                </a:lnTo>
                <a:lnTo>
                  <a:pt x="1094" y="347"/>
                </a:lnTo>
                <a:lnTo>
                  <a:pt x="1097" y="348"/>
                </a:lnTo>
                <a:lnTo>
                  <a:pt x="1102" y="349"/>
                </a:lnTo>
                <a:lnTo>
                  <a:pt x="1104" y="351"/>
                </a:lnTo>
                <a:lnTo>
                  <a:pt x="1105" y="354"/>
                </a:lnTo>
                <a:lnTo>
                  <a:pt x="1101" y="355"/>
                </a:lnTo>
                <a:lnTo>
                  <a:pt x="1097" y="355"/>
                </a:lnTo>
                <a:lnTo>
                  <a:pt x="1093" y="354"/>
                </a:lnTo>
                <a:lnTo>
                  <a:pt x="1088" y="352"/>
                </a:lnTo>
                <a:lnTo>
                  <a:pt x="1078" y="351"/>
                </a:lnTo>
                <a:lnTo>
                  <a:pt x="1069" y="351"/>
                </a:lnTo>
                <a:lnTo>
                  <a:pt x="1059" y="351"/>
                </a:lnTo>
                <a:lnTo>
                  <a:pt x="1050" y="349"/>
                </a:lnTo>
                <a:lnTo>
                  <a:pt x="1039" y="347"/>
                </a:lnTo>
                <a:lnTo>
                  <a:pt x="1030" y="346"/>
                </a:lnTo>
                <a:lnTo>
                  <a:pt x="1020" y="343"/>
                </a:lnTo>
                <a:lnTo>
                  <a:pt x="1011" y="342"/>
                </a:lnTo>
                <a:lnTo>
                  <a:pt x="1002" y="340"/>
                </a:lnTo>
                <a:lnTo>
                  <a:pt x="993" y="338"/>
                </a:lnTo>
                <a:lnTo>
                  <a:pt x="986" y="335"/>
                </a:lnTo>
                <a:lnTo>
                  <a:pt x="977" y="332"/>
                </a:lnTo>
                <a:lnTo>
                  <a:pt x="972" y="330"/>
                </a:lnTo>
                <a:lnTo>
                  <a:pt x="969" y="327"/>
                </a:lnTo>
                <a:lnTo>
                  <a:pt x="969" y="326"/>
                </a:lnTo>
                <a:lnTo>
                  <a:pt x="969" y="325"/>
                </a:lnTo>
                <a:lnTo>
                  <a:pt x="969" y="324"/>
                </a:lnTo>
                <a:lnTo>
                  <a:pt x="970" y="322"/>
                </a:lnTo>
                <a:lnTo>
                  <a:pt x="970" y="325"/>
                </a:lnTo>
                <a:lnTo>
                  <a:pt x="970" y="322"/>
                </a:lnTo>
                <a:close/>
                <a:moveTo>
                  <a:pt x="624" y="297"/>
                </a:moveTo>
                <a:lnTo>
                  <a:pt x="626" y="297"/>
                </a:lnTo>
                <a:lnTo>
                  <a:pt x="629" y="298"/>
                </a:lnTo>
                <a:lnTo>
                  <a:pt x="626" y="297"/>
                </a:lnTo>
                <a:lnTo>
                  <a:pt x="623" y="297"/>
                </a:lnTo>
                <a:lnTo>
                  <a:pt x="619" y="298"/>
                </a:lnTo>
                <a:lnTo>
                  <a:pt x="618" y="300"/>
                </a:lnTo>
                <a:lnTo>
                  <a:pt x="621" y="298"/>
                </a:lnTo>
                <a:lnTo>
                  <a:pt x="624" y="297"/>
                </a:lnTo>
                <a:lnTo>
                  <a:pt x="624" y="297"/>
                </a:lnTo>
                <a:lnTo>
                  <a:pt x="624" y="297"/>
                </a:lnTo>
                <a:close/>
                <a:moveTo>
                  <a:pt x="584" y="288"/>
                </a:moveTo>
                <a:lnTo>
                  <a:pt x="590" y="286"/>
                </a:lnTo>
                <a:lnTo>
                  <a:pt x="597" y="289"/>
                </a:lnTo>
                <a:lnTo>
                  <a:pt x="594" y="290"/>
                </a:lnTo>
                <a:lnTo>
                  <a:pt x="592" y="291"/>
                </a:lnTo>
                <a:lnTo>
                  <a:pt x="590" y="292"/>
                </a:lnTo>
                <a:lnTo>
                  <a:pt x="588" y="292"/>
                </a:lnTo>
                <a:lnTo>
                  <a:pt x="586" y="291"/>
                </a:lnTo>
                <a:lnTo>
                  <a:pt x="585" y="290"/>
                </a:lnTo>
                <a:lnTo>
                  <a:pt x="584" y="289"/>
                </a:lnTo>
                <a:lnTo>
                  <a:pt x="584" y="288"/>
                </a:lnTo>
                <a:lnTo>
                  <a:pt x="585" y="286"/>
                </a:lnTo>
                <a:lnTo>
                  <a:pt x="584" y="288"/>
                </a:lnTo>
                <a:close/>
                <a:moveTo>
                  <a:pt x="173" y="27"/>
                </a:moveTo>
                <a:lnTo>
                  <a:pt x="177" y="28"/>
                </a:lnTo>
                <a:lnTo>
                  <a:pt x="178" y="31"/>
                </a:lnTo>
                <a:lnTo>
                  <a:pt x="179" y="32"/>
                </a:lnTo>
                <a:lnTo>
                  <a:pt x="179" y="34"/>
                </a:lnTo>
                <a:lnTo>
                  <a:pt x="178" y="35"/>
                </a:lnTo>
                <a:lnTo>
                  <a:pt x="177" y="36"/>
                </a:lnTo>
                <a:lnTo>
                  <a:pt x="174" y="37"/>
                </a:lnTo>
                <a:lnTo>
                  <a:pt x="171" y="36"/>
                </a:lnTo>
                <a:lnTo>
                  <a:pt x="168" y="34"/>
                </a:lnTo>
                <a:lnTo>
                  <a:pt x="165" y="31"/>
                </a:lnTo>
                <a:lnTo>
                  <a:pt x="164" y="29"/>
                </a:lnTo>
                <a:lnTo>
                  <a:pt x="164" y="28"/>
                </a:lnTo>
                <a:lnTo>
                  <a:pt x="165" y="27"/>
                </a:lnTo>
                <a:lnTo>
                  <a:pt x="166" y="26"/>
                </a:lnTo>
                <a:lnTo>
                  <a:pt x="170" y="26"/>
                </a:lnTo>
                <a:lnTo>
                  <a:pt x="173" y="27"/>
                </a:lnTo>
                <a:lnTo>
                  <a:pt x="174" y="27"/>
                </a:lnTo>
                <a:lnTo>
                  <a:pt x="173" y="27"/>
                </a:lnTo>
                <a:close/>
                <a:moveTo>
                  <a:pt x="174" y="58"/>
                </a:moveTo>
                <a:lnTo>
                  <a:pt x="170" y="56"/>
                </a:lnTo>
                <a:lnTo>
                  <a:pt x="165" y="52"/>
                </a:lnTo>
                <a:lnTo>
                  <a:pt x="165" y="50"/>
                </a:lnTo>
                <a:lnTo>
                  <a:pt x="165" y="49"/>
                </a:lnTo>
                <a:lnTo>
                  <a:pt x="168" y="48"/>
                </a:lnTo>
                <a:lnTo>
                  <a:pt x="170" y="48"/>
                </a:lnTo>
                <a:lnTo>
                  <a:pt x="173" y="47"/>
                </a:lnTo>
                <a:lnTo>
                  <a:pt x="176" y="48"/>
                </a:lnTo>
                <a:lnTo>
                  <a:pt x="180" y="50"/>
                </a:lnTo>
                <a:lnTo>
                  <a:pt x="184" y="53"/>
                </a:lnTo>
                <a:lnTo>
                  <a:pt x="184" y="56"/>
                </a:lnTo>
                <a:lnTo>
                  <a:pt x="184" y="57"/>
                </a:lnTo>
                <a:lnTo>
                  <a:pt x="182" y="58"/>
                </a:lnTo>
                <a:lnTo>
                  <a:pt x="180" y="59"/>
                </a:lnTo>
                <a:lnTo>
                  <a:pt x="177" y="59"/>
                </a:lnTo>
                <a:lnTo>
                  <a:pt x="174" y="58"/>
                </a:lnTo>
                <a:lnTo>
                  <a:pt x="174" y="58"/>
                </a:lnTo>
                <a:lnTo>
                  <a:pt x="174" y="58"/>
                </a:lnTo>
                <a:close/>
                <a:moveTo>
                  <a:pt x="225" y="180"/>
                </a:moveTo>
                <a:lnTo>
                  <a:pt x="219" y="177"/>
                </a:lnTo>
                <a:lnTo>
                  <a:pt x="212" y="176"/>
                </a:lnTo>
                <a:lnTo>
                  <a:pt x="205" y="175"/>
                </a:lnTo>
                <a:lnTo>
                  <a:pt x="199" y="173"/>
                </a:lnTo>
                <a:lnTo>
                  <a:pt x="193" y="169"/>
                </a:lnTo>
                <a:lnTo>
                  <a:pt x="187" y="166"/>
                </a:lnTo>
                <a:lnTo>
                  <a:pt x="181" y="161"/>
                </a:lnTo>
                <a:lnTo>
                  <a:pt x="176" y="157"/>
                </a:lnTo>
                <a:lnTo>
                  <a:pt x="185" y="159"/>
                </a:lnTo>
                <a:lnTo>
                  <a:pt x="194" y="162"/>
                </a:lnTo>
                <a:lnTo>
                  <a:pt x="203" y="165"/>
                </a:lnTo>
                <a:lnTo>
                  <a:pt x="212" y="168"/>
                </a:lnTo>
                <a:lnTo>
                  <a:pt x="221" y="172"/>
                </a:lnTo>
                <a:lnTo>
                  <a:pt x="229" y="176"/>
                </a:lnTo>
                <a:lnTo>
                  <a:pt x="230" y="177"/>
                </a:lnTo>
                <a:lnTo>
                  <a:pt x="231" y="178"/>
                </a:lnTo>
                <a:lnTo>
                  <a:pt x="231" y="180"/>
                </a:lnTo>
                <a:lnTo>
                  <a:pt x="230" y="181"/>
                </a:lnTo>
                <a:lnTo>
                  <a:pt x="227" y="182"/>
                </a:lnTo>
                <a:lnTo>
                  <a:pt x="225" y="180"/>
                </a:lnTo>
                <a:lnTo>
                  <a:pt x="225" y="181"/>
                </a:lnTo>
                <a:lnTo>
                  <a:pt x="225" y="180"/>
                </a:lnTo>
                <a:close/>
                <a:moveTo>
                  <a:pt x="280" y="205"/>
                </a:moveTo>
                <a:lnTo>
                  <a:pt x="276" y="199"/>
                </a:lnTo>
                <a:lnTo>
                  <a:pt x="273" y="193"/>
                </a:lnTo>
                <a:lnTo>
                  <a:pt x="271" y="192"/>
                </a:lnTo>
                <a:lnTo>
                  <a:pt x="271" y="190"/>
                </a:lnTo>
                <a:lnTo>
                  <a:pt x="272" y="188"/>
                </a:lnTo>
                <a:lnTo>
                  <a:pt x="275" y="188"/>
                </a:lnTo>
                <a:lnTo>
                  <a:pt x="277" y="188"/>
                </a:lnTo>
                <a:lnTo>
                  <a:pt x="279" y="189"/>
                </a:lnTo>
                <a:lnTo>
                  <a:pt x="289" y="192"/>
                </a:lnTo>
                <a:lnTo>
                  <a:pt x="297" y="197"/>
                </a:lnTo>
                <a:lnTo>
                  <a:pt x="297" y="200"/>
                </a:lnTo>
                <a:lnTo>
                  <a:pt x="297" y="203"/>
                </a:lnTo>
                <a:lnTo>
                  <a:pt x="299" y="207"/>
                </a:lnTo>
                <a:lnTo>
                  <a:pt x="302" y="209"/>
                </a:lnTo>
                <a:lnTo>
                  <a:pt x="296" y="209"/>
                </a:lnTo>
                <a:lnTo>
                  <a:pt x="291" y="208"/>
                </a:lnTo>
                <a:lnTo>
                  <a:pt x="285" y="207"/>
                </a:lnTo>
                <a:lnTo>
                  <a:pt x="280" y="205"/>
                </a:lnTo>
                <a:lnTo>
                  <a:pt x="280" y="205"/>
                </a:lnTo>
                <a:lnTo>
                  <a:pt x="280" y="205"/>
                </a:lnTo>
                <a:close/>
                <a:moveTo>
                  <a:pt x="590" y="651"/>
                </a:moveTo>
                <a:lnTo>
                  <a:pt x="588" y="653"/>
                </a:lnTo>
                <a:lnTo>
                  <a:pt x="585" y="653"/>
                </a:lnTo>
                <a:lnTo>
                  <a:pt x="583" y="651"/>
                </a:lnTo>
                <a:lnTo>
                  <a:pt x="581" y="650"/>
                </a:lnTo>
                <a:lnTo>
                  <a:pt x="577" y="650"/>
                </a:lnTo>
                <a:lnTo>
                  <a:pt x="575" y="650"/>
                </a:lnTo>
                <a:lnTo>
                  <a:pt x="574" y="651"/>
                </a:lnTo>
                <a:lnTo>
                  <a:pt x="572" y="654"/>
                </a:lnTo>
                <a:lnTo>
                  <a:pt x="573" y="660"/>
                </a:lnTo>
                <a:lnTo>
                  <a:pt x="574" y="666"/>
                </a:lnTo>
                <a:lnTo>
                  <a:pt x="573" y="667"/>
                </a:lnTo>
                <a:lnTo>
                  <a:pt x="572" y="667"/>
                </a:lnTo>
                <a:lnTo>
                  <a:pt x="569" y="667"/>
                </a:lnTo>
                <a:lnTo>
                  <a:pt x="568" y="665"/>
                </a:lnTo>
                <a:lnTo>
                  <a:pt x="566" y="660"/>
                </a:lnTo>
                <a:lnTo>
                  <a:pt x="564" y="657"/>
                </a:lnTo>
                <a:lnTo>
                  <a:pt x="560" y="651"/>
                </a:lnTo>
                <a:lnTo>
                  <a:pt x="555" y="641"/>
                </a:lnTo>
                <a:lnTo>
                  <a:pt x="553" y="637"/>
                </a:lnTo>
                <a:lnTo>
                  <a:pt x="552" y="632"/>
                </a:lnTo>
                <a:lnTo>
                  <a:pt x="552" y="631"/>
                </a:lnTo>
                <a:lnTo>
                  <a:pt x="553" y="630"/>
                </a:lnTo>
                <a:lnTo>
                  <a:pt x="555" y="630"/>
                </a:lnTo>
                <a:lnTo>
                  <a:pt x="557" y="630"/>
                </a:lnTo>
                <a:lnTo>
                  <a:pt x="567" y="634"/>
                </a:lnTo>
                <a:lnTo>
                  <a:pt x="576" y="640"/>
                </a:lnTo>
                <a:lnTo>
                  <a:pt x="580" y="642"/>
                </a:lnTo>
                <a:lnTo>
                  <a:pt x="585" y="645"/>
                </a:lnTo>
                <a:lnTo>
                  <a:pt x="588" y="647"/>
                </a:lnTo>
                <a:lnTo>
                  <a:pt x="589" y="648"/>
                </a:lnTo>
                <a:lnTo>
                  <a:pt x="590" y="649"/>
                </a:lnTo>
                <a:lnTo>
                  <a:pt x="590" y="651"/>
                </a:lnTo>
                <a:lnTo>
                  <a:pt x="590" y="650"/>
                </a:lnTo>
                <a:lnTo>
                  <a:pt x="590" y="651"/>
                </a:lnTo>
                <a:close/>
                <a:moveTo>
                  <a:pt x="605" y="637"/>
                </a:moveTo>
                <a:lnTo>
                  <a:pt x="602" y="640"/>
                </a:lnTo>
                <a:lnTo>
                  <a:pt x="599" y="642"/>
                </a:lnTo>
                <a:lnTo>
                  <a:pt x="596" y="642"/>
                </a:lnTo>
                <a:lnTo>
                  <a:pt x="592" y="642"/>
                </a:lnTo>
                <a:lnTo>
                  <a:pt x="589" y="640"/>
                </a:lnTo>
                <a:lnTo>
                  <a:pt x="585" y="639"/>
                </a:lnTo>
                <a:lnTo>
                  <a:pt x="582" y="635"/>
                </a:lnTo>
                <a:lnTo>
                  <a:pt x="580" y="633"/>
                </a:lnTo>
                <a:lnTo>
                  <a:pt x="577" y="630"/>
                </a:lnTo>
                <a:lnTo>
                  <a:pt x="577" y="626"/>
                </a:lnTo>
                <a:lnTo>
                  <a:pt x="577" y="623"/>
                </a:lnTo>
                <a:lnTo>
                  <a:pt x="578" y="621"/>
                </a:lnTo>
                <a:lnTo>
                  <a:pt x="581" y="617"/>
                </a:lnTo>
                <a:lnTo>
                  <a:pt x="584" y="616"/>
                </a:lnTo>
                <a:lnTo>
                  <a:pt x="589" y="615"/>
                </a:lnTo>
                <a:lnTo>
                  <a:pt x="591" y="616"/>
                </a:lnTo>
                <a:lnTo>
                  <a:pt x="593" y="617"/>
                </a:lnTo>
                <a:lnTo>
                  <a:pt x="593" y="618"/>
                </a:lnTo>
                <a:lnTo>
                  <a:pt x="593" y="620"/>
                </a:lnTo>
                <a:lnTo>
                  <a:pt x="593" y="620"/>
                </a:lnTo>
                <a:lnTo>
                  <a:pt x="591" y="621"/>
                </a:lnTo>
                <a:lnTo>
                  <a:pt x="588" y="622"/>
                </a:lnTo>
                <a:lnTo>
                  <a:pt x="585" y="622"/>
                </a:lnTo>
                <a:lnTo>
                  <a:pt x="584" y="623"/>
                </a:lnTo>
                <a:lnTo>
                  <a:pt x="584" y="624"/>
                </a:lnTo>
                <a:lnTo>
                  <a:pt x="584" y="626"/>
                </a:lnTo>
                <a:lnTo>
                  <a:pt x="585" y="630"/>
                </a:lnTo>
                <a:lnTo>
                  <a:pt x="588" y="633"/>
                </a:lnTo>
                <a:lnTo>
                  <a:pt x="591" y="635"/>
                </a:lnTo>
                <a:lnTo>
                  <a:pt x="594" y="637"/>
                </a:lnTo>
                <a:lnTo>
                  <a:pt x="597" y="637"/>
                </a:lnTo>
                <a:lnTo>
                  <a:pt x="598" y="634"/>
                </a:lnTo>
                <a:lnTo>
                  <a:pt x="598" y="633"/>
                </a:lnTo>
                <a:lnTo>
                  <a:pt x="599" y="631"/>
                </a:lnTo>
                <a:lnTo>
                  <a:pt x="600" y="629"/>
                </a:lnTo>
                <a:lnTo>
                  <a:pt x="601" y="629"/>
                </a:lnTo>
                <a:lnTo>
                  <a:pt x="602" y="629"/>
                </a:lnTo>
                <a:lnTo>
                  <a:pt x="604" y="630"/>
                </a:lnTo>
                <a:lnTo>
                  <a:pt x="605" y="632"/>
                </a:lnTo>
                <a:lnTo>
                  <a:pt x="605" y="637"/>
                </a:lnTo>
                <a:lnTo>
                  <a:pt x="605" y="637"/>
                </a:lnTo>
                <a:lnTo>
                  <a:pt x="605" y="637"/>
                </a:lnTo>
                <a:close/>
                <a:moveTo>
                  <a:pt x="613" y="624"/>
                </a:moveTo>
                <a:lnTo>
                  <a:pt x="608" y="621"/>
                </a:lnTo>
                <a:lnTo>
                  <a:pt x="602" y="617"/>
                </a:lnTo>
                <a:lnTo>
                  <a:pt x="597" y="614"/>
                </a:lnTo>
                <a:lnTo>
                  <a:pt x="593" y="608"/>
                </a:lnTo>
                <a:lnTo>
                  <a:pt x="592" y="606"/>
                </a:lnTo>
                <a:lnTo>
                  <a:pt x="591" y="604"/>
                </a:lnTo>
                <a:lnTo>
                  <a:pt x="591" y="601"/>
                </a:lnTo>
                <a:lnTo>
                  <a:pt x="593" y="599"/>
                </a:lnTo>
                <a:lnTo>
                  <a:pt x="597" y="600"/>
                </a:lnTo>
                <a:lnTo>
                  <a:pt x="601" y="601"/>
                </a:lnTo>
                <a:lnTo>
                  <a:pt x="606" y="608"/>
                </a:lnTo>
                <a:lnTo>
                  <a:pt x="610" y="616"/>
                </a:lnTo>
                <a:lnTo>
                  <a:pt x="616" y="617"/>
                </a:lnTo>
                <a:lnTo>
                  <a:pt x="621" y="620"/>
                </a:lnTo>
                <a:lnTo>
                  <a:pt x="621" y="622"/>
                </a:lnTo>
                <a:lnTo>
                  <a:pt x="619" y="624"/>
                </a:lnTo>
                <a:lnTo>
                  <a:pt x="616" y="625"/>
                </a:lnTo>
                <a:lnTo>
                  <a:pt x="613" y="624"/>
                </a:lnTo>
                <a:lnTo>
                  <a:pt x="611" y="623"/>
                </a:lnTo>
                <a:lnTo>
                  <a:pt x="613" y="624"/>
                </a:lnTo>
                <a:close/>
                <a:moveTo>
                  <a:pt x="287" y="736"/>
                </a:moveTo>
                <a:lnTo>
                  <a:pt x="275" y="732"/>
                </a:lnTo>
                <a:lnTo>
                  <a:pt x="263" y="728"/>
                </a:lnTo>
                <a:lnTo>
                  <a:pt x="258" y="724"/>
                </a:lnTo>
                <a:lnTo>
                  <a:pt x="253" y="721"/>
                </a:lnTo>
                <a:lnTo>
                  <a:pt x="250" y="716"/>
                </a:lnTo>
                <a:lnTo>
                  <a:pt x="246" y="712"/>
                </a:lnTo>
                <a:lnTo>
                  <a:pt x="250" y="709"/>
                </a:lnTo>
                <a:lnTo>
                  <a:pt x="254" y="708"/>
                </a:lnTo>
                <a:lnTo>
                  <a:pt x="258" y="708"/>
                </a:lnTo>
                <a:lnTo>
                  <a:pt x="262" y="709"/>
                </a:lnTo>
                <a:lnTo>
                  <a:pt x="270" y="712"/>
                </a:lnTo>
                <a:lnTo>
                  <a:pt x="277" y="716"/>
                </a:lnTo>
                <a:lnTo>
                  <a:pt x="281" y="720"/>
                </a:lnTo>
                <a:lnTo>
                  <a:pt x="285" y="724"/>
                </a:lnTo>
                <a:lnTo>
                  <a:pt x="286" y="730"/>
                </a:lnTo>
                <a:lnTo>
                  <a:pt x="287" y="736"/>
                </a:lnTo>
                <a:lnTo>
                  <a:pt x="281" y="734"/>
                </a:lnTo>
                <a:lnTo>
                  <a:pt x="279" y="732"/>
                </a:lnTo>
                <a:lnTo>
                  <a:pt x="279" y="731"/>
                </a:lnTo>
                <a:lnTo>
                  <a:pt x="280" y="730"/>
                </a:lnTo>
                <a:lnTo>
                  <a:pt x="283" y="729"/>
                </a:lnTo>
                <a:lnTo>
                  <a:pt x="285" y="730"/>
                </a:lnTo>
                <a:lnTo>
                  <a:pt x="286" y="732"/>
                </a:lnTo>
                <a:lnTo>
                  <a:pt x="287" y="736"/>
                </a:lnTo>
                <a:close/>
                <a:moveTo>
                  <a:pt x="591" y="897"/>
                </a:moveTo>
                <a:lnTo>
                  <a:pt x="578" y="895"/>
                </a:lnTo>
                <a:lnTo>
                  <a:pt x="565" y="891"/>
                </a:lnTo>
                <a:lnTo>
                  <a:pt x="560" y="890"/>
                </a:lnTo>
                <a:lnTo>
                  <a:pt x="555" y="888"/>
                </a:lnTo>
                <a:lnTo>
                  <a:pt x="551" y="887"/>
                </a:lnTo>
                <a:lnTo>
                  <a:pt x="549" y="886"/>
                </a:lnTo>
                <a:lnTo>
                  <a:pt x="549" y="883"/>
                </a:lnTo>
                <a:lnTo>
                  <a:pt x="550" y="881"/>
                </a:lnTo>
                <a:lnTo>
                  <a:pt x="552" y="880"/>
                </a:lnTo>
                <a:lnTo>
                  <a:pt x="555" y="879"/>
                </a:lnTo>
                <a:lnTo>
                  <a:pt x="558" y="879"/>
                </a:lnTo>
                <a:lnTo>
                  <a:pt x="561" y="880"/>
                </a:lnTo>
                <a:lnTo>
                  <a:pt x="568" y="882"/>
                </a:lnTo>
                <a:lnTo>
                  <a:pt x="573" y="884"/>
                </a:lnTo>
                <a:lnTo>
                  <a:pt x="585" y="889"/>
                </a:lnTo>
                <a:lnTo>
                  <a:pt x="599" y="894"/>
                </a:lnTo>
                <a:lnTo>
                  <a:pt x="598" y="896"/>
                </a:lnTo>
                <a:lnTo>
                  <a:pt x="596" y="897"/>
                </a:lnTo>
                <a:lnTo>
                  <a:pt x="593" y="897"/>
                </a:lnTo>
                <a:lnTo>
                  <a:pt x="591" y="897"/>
                </a:lnTo>
                <a:lnTo>
                  <a:pt x="585" y="896"/>
                </a:lnTo>
                <a:lnTo>
                  <a:pt x="586" y="897"/>
                </a:lnTo>
                <a:lnTo>
                  <a:pt x="591" y="897"/>
                </a:lnTo>
                <a:lnTo>
                  <a:pt x="591" y="897"/>
                </a:lnTo>
                <a:close/>
                <a:moveTo>
                  <a:pt x="720" y="927"/>
                </a:moveTo>
                <a:lnTo>
                  <a:pt x="711" y="924"/>
                </a:lnTo>
                <a:lnTo>
                  <a:pt x="700" y="922"/>
                </a:lnTo>
                <a:lnTo>
                  <a:pt x="690" y="920"/>
                </a:lnTo>
                <a:lnTo>
                  <a:pt x="681" y="917"/>
                </a:lnTo>
                <a:lnTo>
                  <a:pt x="672" y="916"/>
                </a:lnTo>
                <a:lnTo>
                  <a:pt x="664" y="913"/>
                </a:lnTo>
                <a:lnTo>
                  <a:pt x="664" y="911"/>
                </a:lnTo>
                <a:lnTo>
                  <a:pt x="666" y="909"/>
                </a:lnTo>
                <a:lnTo>
                  <a:pt x="670" y="909"/>
                </a:lnTo>
                <a:lnTo>
                  <a:pt x="672" y="909"/>
                </a:lnTo>
                <a:lnTo>
                  <a:pt x="681" y="911"/>
                </a:lnTo>
                <a:lnTo>
                  <a:pt x="691" y="912"/>
                </a:lnTo>
                <a:lnTo>
                  <a:pt x="701" y="914"/>
                </a:lnTo>
                <a:lnTo>
                  <a:pt x="711" y="915"/>
                </a:lnTo>
                <a:lnTo>
                  <a:pt x="714" y="916"/>
                </a:lnTo>
                <a:lnTo>
                  <a:pt x="718" y="916"/>
                </a:lnTo>
                <a:lnTo>
                  <a:pt x="723" y="917"/>
                </a:lnTo>
                <a:lnTo>
                  <a:pt x="725" y="920"/>
                </a:lnTo>
                <a:lnTo>
                  <a:pt x="726" y="921"/>
                </a:lnTo>
                <a:lnTo>
                  <a:pt x="728" y="923"/>
                </a:lnTo>
                <a:lnTo>
                  <a:pt x="728" y="924"/>
                </a:lnTo>
                <a:lnTo>
                  <a:pt x="726" y="925"/>
                </a:lnTo>
                <a:lnTo>
                  <a:pt x="724" y="927"/>
                </a:lnTo>
                <a:lnTo>
                  <a:pt x="720" y="927"/>
                </a:lnTo>
                <a:lnTo>
                  <a:pt x="713" y="924"/>
                </a:lnTo>
                <a:lnTo>
                  <a:pt x="714" y="924"/>
                </a:lnTo>
                <a:lnTo>
                  <a:pt x="718" y="927"/>
                </a:lnTo>
                <a:lnTo>
                  <a:pt x="720" y="927"/>
                </a:lnTo>
                <a:close/>
                <a:moveTo>
                  <a:pt x="762" y="921"/>
                </a:moveTo>
                <a:lnTo>
                  <a:pt x="764" y="920"/>
                </a:lnTo>
                <a:lnTo>
                  <a:pt x="766" y="921"/>
                </a:lnTo>
                <a:lnTo>
                  <a:pt x="764" y="921"/>
                </a:lnTo>
                <a:lnTo>
                  <a:pt x="762" y="921"/>
                </a:lnTo>
                <a:close/>
                <a:moveTo>
                  <a:pt x="767" y="921"/>
                </a:moveTo>
                <a:lnTo>
                  <a:pt x="769" y="921"/>
                </a:lnTo>
                <a:lnTo>
                  <a:pt x="769" y="921"/>
                </a:lnTo>
                <a:lnTo>
                  <a:pt x="770" y="921"/>
                </a:lnTo>
                <a:lnTo>
                  <a:pt x="770" y="922"/>
                </a:lnTo>
                <a:lnTo>
                  <a:pt x="769" y="922"/>
                </a:lnTo>
                <a:lnTo>
                  <a:pt x="767" y="921"/>
                </a:lnTo>
                <a:close/>
                <a:moveTo>
                  <a:pt x="1165" y="954"/>
                </a:moveTo>
                <a:lnTo>
                  <a:pt x="1166" y="954"/>
                </a:lnTo>
                <a:lnTo>
                  <a:pt x="1167" y="955"/>
                </a:lnTo>
                <a:lnTo>
                  <a:pt x="1165" y="956"/>
                </a:lnTo>
                <a:lnTo>
                  <a:pt x="1162" y="955"/>
                </a:lnTo>
                <a:lnTo>
                  <a:pt x="1163" y="955"/>
                </a:lnTo>
                <a:lnTo>
                  <a:pt x="1165" y="954"/>
                </a:lnTo>
                <a:lnTo>
                  <a:pt x="1165" y="954"/>
                </a:lnTo>
                <a:lnTo>
                  <a:pt x="1165" y="954"/>
                </a:lnTo>
                <a:close/>
                <a:moveTo>
                  <a:pt x="577" y="778"/>
                </a:moveTo>
                <a:lnTo>
                  <a:pt x="580" y="776"/>
                </a:lnTo>
                <a:lnTo>
                  <a:pt x="581" y="776"/>
                </a:lnTo>
                <a:lnTo>
                  <a:pt x="583" y="776"/>
                </a:lnTo>
                <a:lnTo>
                  <a:pt x="585" y="778"/>
                </a:lnTo>
                <a:lnTo>
                  <a:pt x="586" y="780"/>
                </a:lnTo>
                <a:lnTo>
                  <a:pt x="588" y="781"/>
                </a:lnTo>
                <a:lnTo>
                  <a:pt x="586" y="783"/>
                </a:lnTo>
                <a:lnTo>
                  <a:pt x="585" y="784"/>
                </a:lnTo>
                <a:lnTo>
                  <a:pt x="581" y="786"/>
                </a:lnTo>
                <a:lnTo>
                  <a:pt x="577" y="784"/>
                </a:lnTo>
                <a:lnTo>
                  <a:pt x="576" y="783"/>
                </a:lnTo>
                <a:lnTo>
                  <a:pt x="576" y="781"/>
                </a:lnTo>
                <a:lnTo>
                  <a:pt x="576" y="780"/>
                </a:lnTo>
                <a:lnTo>
                  <a:pt x="577" y="778"/>
                </a:lnTo>
                <a:lnTo>
                  <a:pt x="577" y="776"/>
                </a:lnTo>
                <a:lnTo>
                  <a:pt x="577" y="778"/>
                </a:lnTo>
                <a:close/>
                <a:moveTo>
                  <a:pt x="527" y="824"/>
                </a:moveTo>
                <a:lnTo>
                  <a:pt x="514" y="821"/>
                </a:lnTo>
                <a:lnTo>
                  <a:pt x="500" y="817"/>
                </a:lnTo>
                <a:lnTo>
                  <a:pt x="486" y="814"/>
                </a:lnTo>
                <a:lnTo>
                  <a:pt x="473" y="811"/>
                </a:lnTo>
                <a:lnTo>
                  <a:pt x="460" y="807"/>
                </a:lnTo>
                <a:lnTo>
                  <a:pt x="448" y="804"/>
                </a:lnTo>
                <a:lnTo>
                  <a:pt x="434" y="801"/>
                </a:lnTo>
                <a:lnTo>
                  <a:pt x="421" y="797"/>
                </a:lnTo>
                <a:lnTo>
                  <a:pt x="410" y="792"/>
                </a:lnTo>
                <a:lnTo>
                  <a:pt x="400" y="788"/>
                </a:lnTo>
                <a:lnTo>
                  <a:pt x="388" y="782"/>
                </a:lnTo>
                <a:lnTo>
                  <a:pt x="377" y="778"/>
                </a:lnTo>
                <a:lnTo>
                  <a:pt x="367" y="774"/>
                </a:lnTo>
                <a:lnTo>
                  <a:pt x="358" y="771"/>
                </a:lnTo>
                <a:lnTo>
                  <a:pt x="346" y="766"/>
                </a:lnTo>
                <a:lnTo>
                  <a:pt x="335" y="763"/>
                </a:lnTo>
                <a:lnTo>
                  <a:pt x="342" y="766"/>
                </a:lnTo>
                <a:lnTo>
                  <a:pt x="349" y="771"/>
                </a:lnTo>
                <a:lnTo>
                  <a:pt x="357" y="774"/>
                </a:lnTo>
                <a:lnTo>
                  <a:pt x="365" y="776"/>
                </a:lnTo>
                <a:lnTo>
                  <a:pt x="366" y="776"/>
                </a:lnTo>
                <a:lnTo>
                  <a:pt x="368" y="778"/>
                </a:lnTo>
                <a:lnTo>
                  <a:pt x="369" y="779"/>
                </a:lnTo>
                <a:lnTo>
                  <a:pt x="368" y="781"/>
                </a:lnTo>
                <a:lnTo>
                  <a:pt x="367" y="781"/>
                </a:lnTo>
                <a:lnTo>
                  <a:pt x="365" y="781"/>
                </a:lnTo>
                <a:lnTo>
                  <a:pt x="354" y="779"/>
                </a:lnTo>
                <a:lnTo>
                  <a:pt x="345" y="774"/>
                </a:lnTo>
                <a:lnTo>
                  <a:pt x="337" y="772"/>
                </a:lnTo>
                <a:lnTo>
                  <a:pt x="330" y="770"/>
                </a:lnTo>
                <a:lnTo>
                  <a:pt x="327" y="767"/>
                </a:lnTo>
                <a:lnTo>
                  <a:pt x="325" y="765"/>
                </a:lnTo>
                <a:lnTo>
                  <a:pt x="321" y="763"/>
                </a:lnTo>
                <a:lnTo>
                  <a:pt x="320" y="759"/>
                </a:lnTo>
                <a:lnTo>
                  <a:pt x="319" y="756"/>
                </a:lnTo>
                <a:lnTo>
                  <a:pt x="318" y="754"/>
                </a:lnTo>
                <a:lnTo>
                  <a:pt x="316" y="753"/>
                </a:lnTo>
                <a:lnTo>
                  <a:pt x="313" y="751"/>
                </a:lnTo>
                <a:lnTo>
                  <a:pt x="310" y="748"/>
                </a:lnTo>
                <a:lnTo>
                  <a:pt x="310" y="746"/>
                </a:lnTo>
                <a:lnTo>
                  <a:pt x="311" y="745"/>
                </a:lnTo>
                <a:lnTo>
                  <a:pt x="316" y="745"/>
                </a:lnTo>
                <a:lnTo>
                  <a:pt x="326" y="748"/>
                </a:lnTo>
                <a:lnTo>
                  <a:pt x="336" y="754"/>
                </a:lnTo>
                <a:lnTo>
                  <a:pt x="346" y="758"/>
                </a:lnTo>
                <a:lnTo>
                  <a:pt x="355" y="764"/>
                </a:lnTo>
                <a:lnTo>
                  <a:pt x="367" y="767"/>
                </a:lnTo>
                <a:lnTo>
                  <a:pt x="377" y="772"/>
                </a:lnTo>
                <a:lnTo>
                  <a:pt x="387" y="776"/>
                </a:lnTo>
                <a:lnTo>
                  <a:pt x="399" y="780"/>
                </a:lnTo>
                <a:lnTo>
                  <a:pt x="409" y="783"/>
                </a:lnTo>
                <a:lnTo>
                  <a:pt x="419" y="787"/>
                </a:lnTo>
                <a:lnTo>
                  <a:pt x="431" y="790"/>
                </a:lnTo>
                <a:lnTo>
                  <a:pt x="441" y="792"/>
                </a:lnTo>
                <a:lnTo>
                  <a:pt x="451" y="796"/>
                </a:lnTo>
                <a:lnTo>
                  <a:pt x="461" y="798"/>
                </a:lnTo>
                <a:lnTo>
                  <a:pt x="471" y="801"/>
                </a:lnTo>
                <a:lnTo>
                  <a:pt x="481" y="804"/>
                </a:lnTo>
                <a:lnTo>
                  <a:pt x="494" y="807"/>
                </a:lnTo>
                <a:lnTo>
                  <a:pt x="506" y="809"/>
                </a:lnTo>
                <a:lnTo>
                  <a:pt x="514" y="811"/>
                </a:lnTo>
                <a:lnTo>
                  <a:pt x="520" y="813"/>
                </a:lnTo>
                <a:lnTo>
                  <a:pt x="525" y="814"/>
                </a:lnTo>
                <a:lnTo>
                  <a:pt x="530" y="816"/>
                </a:lnTo>
                <a:lnTo>
                  <a:pt x="538" y="821"/>
                </a:lnTo>
                <a:lnTo>
                  <a:pt x="545" y="824"/>
                </a:lnTo>
                <a:lnTo>
                  <a:pt x="550" y="826"/>
                </a:lnTo>
                <a:lnTo>
                  <a:pt x="555" y="829"/>
                </a:lnTo>
                <a:lnTo>
                  <a:pt x="559" y="831"/>
                </a:lnTo>
                <a:lnTo>
                  <a:pt x="561" y="834"/>
                </a:lnTo>
                <a:lnTo>
                  <a:pt x="557" y="836"/>
                </a:lnTo>
                <a:lnTo>
                  <a:pt x="552" y="834"/>
                </a:lnTo>
                <a:lnTo>
                  <a:pt x="548" y="833"/>
                </a:lnTo>
                <a:lnTo>
                  <a:pt x="544" y="832"/>
                </a:lnTo>
                <a:lnTo>
                  <a:pt x="535" y="828"/>
                </a:lnTo>
                <a:lnTo>
                  <a:pt x="527" y="824"/>
                </a:lnTo>
                <a:lnTo>
                  <a:pt x="518" y="822"/>
                </a:lnTo>
                <a:lnTo>
                  <a:pt x="522" y="823"/>
                </a:lnTo>
                <a:lnTo>
                  <a:pt x="528" y="825"/>
                </a:lnTo>
                <a:lnTo>
                  <a:pt x="527" y="824"/>
                </a:lnTo>
                <a:close/>
                <a:moveTo>
                  <a:pt x="622" y="814"/>
                </a:moveTo>
                <a:lnTo>
                  <a:pt x="611" y="813"/>
                </a:lnTo>
                <a:lnTo>
                  <a:pt x="601" y="811"/>
                </a:lnTo>
                <a:lnTo>
                  <a:pt x="592" y="808"/>
                </a:lnTo>
                <a:lnTo>
                  <a:pt x="582" y="806"/>
                </a:lnTo>
                <a:lnTo>
                  <a:pt x="571" y="803"/>
                </a:lnTo>
                <a:lnTo>
                  <a:pt x="560" y="799"/>
                </a:lnTo>
                <a:lnTo>
                  <a:pt x="556" y="799"/>
                </a:lnTo>
                <a:lnTo>
                  <a:pt x="551" y="797"/>
                </a:lnTo>
                <a:lnTo>
                  <a:pt x="549" y="796"/>
                </a:lnTo>
                <a:lnTo>
                  <a:pt x="548" y="796"/>
                </a:lnTo>
                <a:lnTo>
                  <a:pt x="548" y="795"/>
                </a:lnTo>
                <a:lnTo>
                  <a:pt x="548" y="792"/>
                </a:lnTo>
                <a:lnTo>
                  <a:pt x="559" y="794"/>
                </a:lnTo>
                <a:lnTo>
                  <a:pt x="571" y="796"/>
                </a:lnTo>
                <a:lnTo>
                  <a:pt x="582" y="799"/>
                </a:lnTo>
                <a:lnTo>
                  <a:pt x="592" y="801"/>
                </a:lnTo>
                <a:lnTo>
                  <a:pt x="602" y="805"/>
                </a:lnTo>
                <a:lnTo>
                  <a:pt x="614" y="807"/>
                </a:lnTo>
                <a:lnTo>
                  <a:pt x="624" y="809"/>
                </a:lnTo>
                <a:lnTo>
                  <a:pt x="634" y="811"/>
                </a:lnTo>
                <a:lnTo>
                  <a:pt x="627" y="813"/>
                </a:lnTo>
                <a:lnTo>
                  <a:pt x="622" y="814"/>
                </a:lnTo>
                <a:close/>
                <a:moveTo>
                  <a:pt x="970" y="852"/>
                </a:moveTo>
                <a:lnTo>
                  <a:pt x="969" y="854"/>
                </a:lnTo>
                <a:lnTo>
                  <a:pt x="968" y="855"/>
                </a:lnTo>
                <a:lnTo>
                  <a:pt x="967" y="856"/>
                </a:lnTo>
                <a:lnTo>
                  <a:pt x="964" y="855"/>
                </a:lnTo>
                <a:lnTo>
                  <a:pt x="960" y="854"/>
                </a:lnTo>
                <a:lnTo>
                  <a:pt x="955" y="852"/>
                </a:lnTo>
                <a:lnTo>
                  <a:pt x="960" y="849"/>
                </a:lnTo>
                <a:lnTo>
                  <a:pt x="963" y="849"/>
                </a:lnTo>
                <a:lnTo>
                  <a:pt x="967" y="850"/>
                </a:lnTo>
                <a:lnTo>
                  <a:pt x="970" y="852"/>
                </a:lnTo>
                <a:close/>
                <a:moveTo>
                  <a:pt x="962" y="869"/>
                </a:moveTo>
                <a:lnTo>
                  <a:pt x="960" y="871"/>
                </a:lnTo>
                <a:lnTo>
                  <a:pt x="956" y="873"/>
                </a:lnTo>
                <a:lnTo>
                  <a:pt x="954" y="874"/>
                </a:lnTo>
                <a:lnTo>
                  <a:pt x="951" y="874"/>
                </a:lnTo>
                <a:lnTo>
                  <a:pt x="950" y="874"/>
                </a:lnTo>
                <a:lnTo>
                  <a:pt x="947" y="874"/>
                </a:lnTo>
                <a:lnTo>
                  <a:pt x="947" y="873"/>
                </a:lnTo>
                <a:lnTo>
                  <a:pt x="945" y="872"/>
                </a:lnTo>
                <a:lnTo>
                  <a:pt x="934" y="870"/>
                </a:lnTo>
                <a:lnTo>
                  <a:pt x="920" y="869"/>
                </a:lnTo>
                <a:lnTo>
                  <a:pt x="930" y="867"/>
                </a:lnTo>
                <a:lnTo>
                  <a:pt x="942" y="867"/>
                </a:lnTo>
                <a:lnTo>
                  <a:pt x="952" y="869"/>
                </a:lnTo>
                <a:lnTo>
                  <a:pt x="962" y="869"/>
                </a:lnTo>
                <a:lnTo>
                  <a:pt x="956" y="871"/>
                </a:lnTo>
                <a:lnTo>
                  <a:pt x="962" y="869"/>
                </a:lnTo>
                <a:close/>
                <a:moveTo>
                  <a:pt x="860" y="834"/>
                </a:moveTo>
                <a:lnTo>
                  <a:pt x="846" y="834"/>
                </a:lnTo>
                <a:lnTo>
                  <a:pt x="833" y="832"/>
                </a:lnTo>
                <a:lnTo>
                  <a:pt x="820" y="830"/>
                </a:lnTo>
                <a:lnTo>
                  <a:pt x="807" y="828"/>
                </a:lnTo>
                <a:lnTo>
                  <a:pt x="811" y="825"/>
                </a:lnTo>
                <a:lnTo>
                  <a:pt x="816" y="824"/>
                </a:lnTo>
                <a:lnTo>
                  <a:pt x="823" y="824"/>
                </a:lnTo>
                <a:lnTo>
                  <a:pt x="831" y="825"/>
                </a:lnTo>
                <a:lnTo>
                  <a:pt x="839" y="826"/>
                </a:lnTo>
                <a:lnTo>
                  <a:pt x="847" y="829"/>
                </a:lnTo>
                <a:lnTo>
                  <a:pt x="854" y="831"/>
                </a:lnTo>
                <a:lnTo>
                  <a:pt x="860" y="834"/>
                </a:lnTo>
                <a:close/>
                <a:moveTo>
                  <a:pt x="891" y="654"/>
                </a:moveTo>
                <a:lnTo>
                  <a:pt x="894" y="651"/>
                </a:lnTo>
                <a:lnTo>
                  <a:pt x="897" y="649"/>
                </a:lnTo>
                <a:lnTo>
                  <a:pt x="901" y="649"/>
                </a:lnTo>
                <a:lnTo>
                  <a:pt x="904" y="648"/>
                </a:lnTo>
                <a:lnTo>
                  <a:pt x="913" y="649"/>
                </a:lnTo>
                <a:lnTo>
                  <a:pt x="920" y="650"/>
                </a:lnTo>
                <a:lnTo>
                  <a:pt x="926" y="651"/>
                </a:lnTo>
                <a:lnTo>
                  <a:pt x="931" y="654"/>
                </a:lnTo>
                <a:lnTo>
                  <a:pt x="939" y="658"/>
                </a:lnTo>
                <a:lnTo>
                  <a:pt x="950" y="660"/>
                </a:lnTo>
                <a:lnTo>
                  <a:pt x="935" y="660"/>
                </a:lnTo>
                <a:lnTo>
                  <a:pt x="920" y="660"/>
                </a:lnTo>
                <a:lnTo>
                  <a:pt x="905" y="658"/>
                </a:lnTo>
                <a:lnTo>
                  <a:pt x="891" y="654"/>
                </a:lnTo>
                <a:lnTo>
                  <a:pt x="894" y="651"/>
                </a:lnTo>
                <a:lnTo>
                  <a:pt x="896" y="651"/>
                </a:lnTo>
                <a:lnTo>
                  <a:pt x="898" y="653"/>
                </a:lnTo>
                <a:lnTo>
                  <a:pt x="901" y="654"/>
                </a:lnTo>
                <a:lnTo>
                  <a:pt x="901" y="655"/>
                </a:lnTo>
                <a:lnTo>
                  <a:pt x="899" y="656"/>
                </a:lnTo>
                <a:lnTo>
                  <a:pt x="897" y="656"/>
                </a:lnTo>
                <a:lnTo>
                  <a:pt x="891" y="654"/>
                </a:lnTo>
                <a:close/>
                <a:moveTo>
                  <a:pt x="1163" y="775"/>
                </a:moveTo>
                <a:lnTo>
                  <a:pt x="1161" y="775"/>
                </a:lnTo>
                <a:lnTo>
                  <a:pt x="1160" y="774"/>
                </a:lnTo>
                <a:lnTo>
                  <a:pt x="1160" y="773"/>
                </a:lnTo>
                <a:lnTo>
                  <a:pt x="1160" y="772"/>
                </a:lnTo>
                <a:lnTo>
                  <a:pt x="1162" y="770"/>
                </a:lnTo>
                <a:lnTo>
                  <a:pt x="1166" y="769"/>
                </a:lnTo>
                <a:lnTo>
                  <a:pt x="1168" y="769"/>
                </a:lnTo>
                <a:lnTo>
                  <a:pt x="1169" y="770"/>
                </a:lnTo>
                <a:lnTo>
                  <a:pt x="1170" y="771"/>
                </a:lnTo>
                <a:lnTo>
                  <a:pt x="1170" y="772"/>
                </a:lnTo>
                <a:lnTo>
                  <a:pt x="1168" y="774"/>
                </a:lnTo>
                <a:lnTo>
                  <a:pt x="1163" y="775"/>
                </a:lnTo>
                <a:lnTo>
                  <a:pt x="1165" y="775"/>
                </a:lnTo>
                <a:lnTo>
                  <a:pt x="1163" y="77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89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8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41">
            <a:extLst>
              <a:ext uri="{FF2B5EF4-FFF2-40B4-BE49-F238E27FC236}">
                <a16:creationId xmlns:a16="http://schemas.microsoft.com/office/drawing/2014/main" id="{20DD44D1-0D2A-704E-8657-8C9EF393CB4F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246111" y="566984"/>
            <a:ext cx="11699777" cy="3455984"/>
          </a:xfrm>
          <a:custGeom>
            <a:avLst/>
            <a:gdLst>
              <a:gd name="T0" fmla="*/ 982 w 1098"/>
              <a:gd name="T1" fmla="*/ 360 h 615"/>
              <a:gd name="T2" fmla="*/ 958 w 1098"/>
              <a:gd name="T3" fmla="*/ 355 h 615"/>
              <a:gd name="T4" fmla="*/ 1009 w 1098"/>
              <a:gd name="T5" fmla="*/ 319 h 615"/>
              <a:gd name="T6" fmla="*/ 1001 w 1098"/>
              <a:gd name="T7" fmla="*/ 300 h 615"/>
              <a:gd name="T8" fmla="*/ 621 w 1098"/>
              <a:gd name="T9" fmla="*/ 485 h 615"/>
              <a:gd name="T10" fmla="*/ 596 w 1098"/>
              <a:gd name="T11" fmla="*/ 479 h 615"/>
              <a:gd name="T12" fmla="*/ 826 w 1098"/>
              <a:gd name="T13" fmla="*/ 338 h 615"/>
              <a:gd name="T14" fmla="*/ 977 w 1098"/>
              <a:gd name="T15" fmla="*/ 261 h 615"/>
              <a:gd name="T16" fmla="*/ 1039 w 1098"/>
              <a:gd name="T17" fmla="*/ 205 h 615"/>
              <a:gd name="T18" fmla="*/ 831 w 1098"/>
              <a:gd name="T19" fmla="*/ 285 h 615"/>
              <a:gd name="T20" fmla="*/ 926 w 1098"/>
              <a:gd name="T21" fmla="*/ 214 h 615"/>
              <a:gd name="T22" fmla="*/ 1093 w 1098"/>
              <a:gd name="T23" fmla="*/ 160 h 615"/>
              <a:gd name="T24" fmla="*/ 1039 w 1098"/>
              <a:gd name="T25" fmla="*/ 129 h 615"/>
              <a:gd name="T26" fmla="*/ 928 w 1098"/>
              <a:gd name="T27" fmla="*/ 114 h 615"/>
              <a:gd name="T28" fmla="*/ 907 w 1098"/>
              <a:gd name="T29" fmla="*/ 62 h 615"/>
              <a:gd name="T30" fmla="*/ 871 w 1098"/>
              <a:gd name="T31" fmla="*/ 37 h 615"/>
              <a:gd name="T32" fmla="*/ 769 w 1098"/>
              <a:gd name="T33" fmla="*/ 23 h 615"/>
              <a:gd name="T34" fmla="*/ 578 w 1098"/>
              <a:gd name="T35" fmla="*/ 1 h 615"/>
              <a:gd name="T36" fmla="*/ 421 w 1098"/>
              <a:gd name="T37" fmla="*/ 28 h 615"/>
              <a:gd name="T38" fmla="*/ 212 w 1098"/>
              <a:gd name="T39" fmla="*/ 57 h 615"/>
              <a:gd name="T40" fmla="*/ 42 w 1098"/>
              <a:gd name="T41" fmla="*/ 196 h 615"/>
              <a:gd name="T42" fmla="*/ 228 w 1098"/>
              <a:gd name="T43" fmla="*/ 88 h 615"/>
              <a:gd name="T44" fmla="*/ 277 w 1098"/>
              <a:gd name="T45" fmla="*/ 76 h 615"/>
              <a:gd name="T46" fmla="*/ 11 w 1098"/>
              <a:gd name="T47" fmla="*/ 327 h 615"/>
              <a:gd name="T48" fmla="*/ 51 w 1098"/>
              <a:gd name="T49" fmla="*/ 434 h 615"/>
              <a:gd name="T50" fmla="*/ 171 w 1098"/>
              <a:gd name="T51" fmla="*/ 379 h 615"/>
              <a:gd name="T52" fmla="*/ 116 w 1098"/>
              <a:gd name="T53" fmla="*/ 532 h 615"/>
              <a:gd name="T54" fmla="*/ 146 w 1098"/>
              <a:gd name="T55" fmla="*/ 593 h 615"/>
              <a:gd name="T56" fmla="*/ 262 w 1098"/>
              <a:gd name="T57" fmla="*/ 579 h 615"/>
              <a:gd name="T58" fmla="*/ 409 w 1098"/>
              <a:gd name="T59" fmla="*/ 451 h 615"/>
              <a:gd name="T60" fmla="*/ 407 w 1098"/>
              <a:gd name="T61" fmla="*/ 490 h 615"/>
              <a:gd name="T62" fmla="*/ 506 w 1098"/>
              <a:gd name="T63" fmla="*/ 490 h 615"/>
              <a:gd name="T64" fmla="*/ 541 w 1098"/>
              <a:gd name="T65" fmla="*/ 442 h 615"/>
              <a:gd name="T66" fmla="*/ 509 w 1098"/>
              <a:gd name="T67" fmla="*/ 485 h 615"/>
              <a:gd name="T68" fmla="*/ 721 w 1098"/>
              <a:gd name="T69" fmla="*/ 344 h 615"/>
              <a:gd name="T70" fmla="*/ 764 w 1098"/>
              <a:gd name="T71" fmla="*/ 325 h 615"/>
              <a:gd name="T72" fmla="*/ 495 w 1098"/>
              <a:gd name="T73" fmla="*/ 555 h 615"/>
              <a:gd name="T74" fmla="*/ 530 w 1098"/>
              <a:gd name="T75" fmla="*/ 573 h 615"/>
              <a:gd name="T76" fmla="*/ 588 w 1098"/>
              <a:gd name="T77" fmla="*/ 535 h 615"/>
              <a:gd name="T78" fmla="*/ 718 w 1098"/>
              <a:gd name="T79" fmla="*/ 463 h 615"/>
              <a:gd name="T80" fmla="*/ 752 w 1098"/>
              <a:gd name="T81" fmla="*/ 502 h 615"/>
              <a:gd name="T82" fmla="*/ 759 w 1098"/>
              <a:gd name="T83" fmla="*/ 520 h 615"/>
              <a:gd name="T84" fmla="*/ 768 w 1098"/>
              <a:gd name="T85" fmla="*/ 542 h 615"/>
              <a:gd name="T86" fmla="*/ 855 w 1098"/>
              <a:gd name="T87" fmla="*/ 493 h 615"/>
              <a:gd name="T88" fmla="*/ 966 w 1098"/>
              <a:gd name="T89" fmla="*/ 454 h 615"/>
              <a:gd name="T90" fmla="*/ 1070 w 1098"/>
              <a:gd name="T91" fmla="*/ 369 h 615"/>
              <a:gd name="T92" fmla="*/ 846 w 1098"/>
              <a:gd name="T93" fmla="*/ 69 h 615"/>
              <a:gd name="T94" fmla="*/ 938 w 1098"/>
              <a:gd name="T95" fmla="*/ 134 h 615"/>
              <a:gd name="T96" fmla="*/ 935 w 1098"/>
              <a:gd name="T97" fmla="*/ 152 h 615"/>
              <a:gd name="T98" fmla="*/ 281 w 1098"/>
              <a:gd name="T99" fmla="*/ 408 h 615"/>
              <a:gd name="T100" fmla="*/ 257 w 1098"/>
              <a:gd name="T101" fmla="*/ 412 h 615"/>
              <a:gd name="T102" fmla="*/ 331 w 1098"/>
              <a:gd name="T103" fmla="*/ 354 h 615"/>
              <a:gd name="T104" fmla="*/ 658 w 1098"/>
              <a:gd name="T105" fmla="*/ 131 h 615"/>
              <a:gd name="T106" fmla="*/ 603 w 1098"/>
              <a:gd name="T107" fmla="*/ 98 h 615"/>
              <a:gd name="T108" fmla="*/ 604 w 1098"/>
              <a:gd name="T109" fmla="*/ 352 h 615"/>
              <a:gd name="T110" fmla="*/ 631 w 1098"/>
              <a:gd name="T111" fmla="*/ 214 h 615"/>
              <a:gd name="T112" fmla="*/ 660 w 1098"/>
              <a:gd name="T113" fmla="*/ 222 h 615"/>
              <a:gd name="T114" fmla="*/ 690 w 1098"/>
              <a:gd name="T115" fmla="*/ 347 h 615"/>
              <a:gd name="T116" fmla="*/ 740 w 1098"/>
              <a:gd name="T117" fmla="*/ 320 h 615"/>
              <a:gd name="T118" fmla="*/ 744 w 1098"/>
              <a:gd name="T119" fmla="*/ 150 h 615"/>
              <a:gd name="T120" fmla="*/ 769 w 1098"/>
              <a:gd name="T121" fmla="*/ 430 h 615"/>
              <a:gd name="T122" fmla="*/ 795 w 1098"/>
              <a:gd name="T123" fmla="*/ 410 h 615"/>
              <a:gd name="T124" fmla="*/ 847 w 1098"/>
              <a:gd name="T125" fmla="*/ 424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98" h="615">
                <a:moveTo>
                  <a:pt x="1082" y="332"/>
                </a:moveTo>
                <a:lnTo>
                  <a:pt x="1066" y="336"/>
                </a:lnTo>
                <a:lnTo>
                  <a:pt x="1050" y="343"/>
                </a:lnTo>
                <a:lnTo>
                  <a:pt x="1034" y="349"/>
                </a:lnTo>
                <a:lnTo>
                  <a:pt x="1019" y="357"/>
                </a:lnTo>
                <a:lnTo>
                  <a:pt x="1003" y="362"/>
                </a:lnTo>
                <a:lnTo>
                  <a:pt x="987" y="368"/>
                </a:lnTo>
                <a:lnTo>
                  <a:pt x="982" y="369"/>
                </a:lnTo>
                <a:lnTo>
                  <a:pt x="975" y="371"/>
                </a:lnTo>
                <a:lnTo>
                  <a:pt x="974" y="372"/>
                </a:lnTo>
                <a:lnTo>
                  <a:pt x="971" y="375"/>
                </a:lnTo>
                <a:lnTo>
                  <a:pt x="967" y="375"/>
                </a:lnTo>
                <a:lnTo>
                  <a:pt x="962" y="376"/>
                </a:lnTo>
                <a:lnTo>
                  <a:pt x="962" y="372"/>
                </a:lnTo>
                <a:lnTo>
                  <a:pt x="962" y="371"/>
                </a:lnTo>
                <a:lnTo>
                  <a:pt x="963" y="370"/>
                </a:lnTo>
                <a:lnTo>
                  <a:pt x="965" y="368"/>
                </a:lnTo>
                <a:lnTo>
                  <a:pt x="969" y="366"/>
                </a:lnTo>
                <a:lnTo>
                  <a:pt x="974" y="364"/>
                </a:lnTo>
                <a:lnTo>
                  <a:pt x="982" y="360"/>
                </a:lnTo>
                <a:lnTo>
                  <a:pt x="989" y="355"/>
                </a:lnTo>
                <a:lnTo>
                  <a:pt x="977" y="359"/>
                </a:lnTo>
                <a:lnTo>
                  <a:pt x="967" y="362"/>
                </a:lnTo>
                <a:lnTo>
                  <a:pt x="956" y="367"/>
                </a:lnTo>
                <a:lnTo>
                  <a:pt x="945" y="372"/>
                </a:lnTo>
                <a:lnTo>
                  <a:pt x="935" y="376"/>
                </a:lnTo>
                <a:lnTo>
                  <a:pt x="926" y="380"/>
                </a:lnTo>
                <a:lnTo>
                  <a:pt x="923" y="383"/>
                </a:lnTo>
                <a:lnTo>
                  <a:pt x="919" y="384"/>
                </a:lnTo>
                <a:lnTo>
                  <a:pt x="917" y="383"/>
                </a:lnTo>
                <a:lnTo>
                  <a:pt x="916" y="383"/>
                </a:lnTo>
                <a:lnTo>
                  <a:pt x="916" y="382"/>
                </a:lnTo>
                <a:lnTo>
                  <a:pt x="916" y="379"/>
                </a:lnTo>
                <a:lnTo>
                  <a:pt x="921" y="377"/>
                </a:lnTo>
                <a:lnTo>
                  <a:pt x="927" y="376"/>
                </a:lnTo>
                <a:lnTo>
                  <a:pt x="932" y="369"/>
                </a:lnTo>
                <a:lnTo>
                  <a:pt x="938" y="363"/>
                </a:lnTo>
                <a:lnTo>
                  <a:pt x="944" y="362"/>
                </a:lnTo>
                <a:lnTo>
                  <a:pt x="951" y="360"/>
                </a:lnTo>
                <a:lnTo>
                  <a:pt x="958" y="355"/>
                </a:lnTo>
                <a:lnTo>
                  <a:pt x="965" y="352"/>
                </a:lnTo>
                <a:lnTo>
                  <a:pt x="968" y="352"/>
                </a:lnTo>
                <a:lnTo>
                  <a:pt x="970" y="351"/>
                </a:lnTo>
                <a:lnTo>
                  <a:pt x="970" y="350"/>
                </a:lnTo>
                <a:lnTo>
                  <a:pt x="969" y="346"/>
                </a:lnTo>
                <a:lnTo>
                  <a:pt x="968" y="343"/>
                </a:lnTo>
                <a:lnTo>
                  <a:pt x="969" y="341"/>
                </a:lnTo>
                <a:lnTo>
                  <a:pt x="970" y="338"/>
                </a:lnTo>
                <a:lnTo>
                  <a:pt x="973" y="337"/>
                </a:lnTo>
                <a:lnTo>
                  <a:pt x="978" y="335"/>
                </a:lnTo>
                <a:lnTo>
                  <a:pt x="984" y="333"/>
                </a:lnTo>
                <a:lnTo>
                  <a:pt x="987" y="330"/>
                </a:lnTo>
                <a:lnTo>
                  <a:pt x="990" y="327"/>
                </a:lnTo>
                <a:lnTo>
                  <a:pt x="992" y="324"/>
                </a:lnTo>
                <a:lnTo>
                  <a:pt x="994" y="320"/>
                </a:lnTo>
                <a:lnTo>
                  <a:pt x="995" y="317"/>
                </a:lnTo>
                <a:lnTo>
                  <a:pt x="998" y="314"/>
                </a:lnTo>
                <a:lnTo>
                  <a:pt x="1001" y="314"/>
                </a:lnTo>
                <a:lnTo>
                  <a:pt x="1004" y="317"/>
                </a:lnTo>
                <a:lnTo>
                  <a:pt x="1009" y="319"/>
                </a:lnTo>
                <a:lnTo>
                  <a:pt x="1011" y="318"/>
                </a:lnTo>
                <a:lnTo>
                  <a:pt x="1012" y="316"/>
                </a:lnTo>
                <a:lnTo>
                  <a:pt x="1015" y="312"/>
                </a:lnTo>
                <a:lnTo>
                  <a:pt x="1019" y="308"/>
                </a:lnTo>
                <a:lnTo>
                  <a:pt x="1026" y="305"/>
                </a:lnTo>
                <a:lnTo>
                  <a:pt x="1028" y="304"/>
                </a:lnTo>
                <a:lnTo>
                  <a:pt x="1032" y="304"/>
                </a:lnTo>
                <a:lnTo>
                  <a:pt x="1035" y="304"/>
                </a:lnTo>
                <a:lnTo>
                  <a:pt x="1037" y="303"/>
                </a:lnTo>
                <a:lnTo>
                  <a:pt x="1039" y="302"/>
                </a:lnTo>
                <a:lnTo>
                  <a:pt x="1040" y="301"/>
                </a:lnTo>
                <a:lnTo>
                  <a:pt x="1040" y="299"/>
                </a:lnTo>
                <a:lnTo>
                  <a:pt x="1039" y="297"/>
                </a:lnTo>
                <a:lnTo>
                  <a:pt x="1036" y="295"/>
                </a:lnTo>
                <a:lnTo>
                  <a:pt x="1033" y="293"/>
                </a:lnTo>
                <a:lnTo>
                  <a:pt x="1027" y="291"/>
                </a:lnTo>
                <a:lnTo>
                  <a:pt x="1023" y="291"/>
                </a:lnTo>
                <a:lnTo>
                  <a:pt x="1017" y="292"/>
                </a:lnTo>
                <a:lnTo>
                  <a:pt x="1011" y="294"/>
                </a:lnTo>
                <a:lnTo>
                  <a:pt x="1001" y="300"/>
                </a:lnTo>
                <a:lnTo>
                  <a:pt x="990" y="304"/>
                </a:lnTo>
                <a:lnTo>
                  <a:pt x="978" y="309"/>
                </a:lnTo>
                <a:lnTo>
                  <a:pt x="968" y="312"/>
                </a:lnTo>
                <a:lnTo>
                  <a:pt x="944" y="321"/>
                </a:lnTo>
                <a:lnTo>
                  <a:pt x="921" y="330"/>
                </a:lnTo>
                <a:lnTo>
                  <a:pt x="899" y="339"/>
                </a:lnTo>
                <a:lnTo>
                  <a:pt x="876" y="349"/>
                </a:lnTo>
                <a:lnTo>
                  <a:pt x="852" y="359"/>
                </a:lnTo>
                <a:lnTo>
                  <a:pt x="829" y="369"/>
                </a:lnTo>
                <a:lnTo>
                  <a:pt x="805" y="380"/>
                </a:lnTo>
                <a:lnTo>
                  <a:pt x="783" y="392"/>
                </a:lnTo>
                <a:lnTo>
                  <a:pt x="761" y="403"/>
                </a:lnTo>
                <a:lnTo>
                  <a:pt x="738" y="416"/>
                </a:lnTo>
                <a:lnTo>
                  <a:pt x="715" y="428"/>
                </a:lnTo>
                <a:lnTo>
                  <a:pt x="694" y="441"/>
                </a:lnTo>
                <a:lnTo>
                  <a:pt x="673" y="453"/>
                </a:lnTo>
                <a:lnTo>
                  <a:pt x="653" y="467"/>
                </a:lnTo>
                <a:lnTo>
                  <a:pt x="643" y="474"/>
                </a:lnTo>
                <a:lnTo>
                  <a:pt x="632" y="479"/>
                </a:lnTo>
                <a:lnTo>
                  <a:pt x="621" y="485"/>
                </a:lnTo>
                <a:lnTo>
                  <a:pt x="610" y="490"/>
                </a:lnTo>
                <a:lnTo>
                  <a:pt x="604" y="491"/>
                </a:lnTo>
                <a:lnTo>
                  <a:pt x="599" y="493"/>
                </a:lnTo>
                <a:lnTo>
                  <a:pt x="596" y="496"/>
                </a:lnTo>
                <a:lnTo>
                  <a:pt x="591" y="500"/>
                </a:lnTo>
                <a:lnTo>
                  <a:pt x="583" y="510"/>
                </a:lnTo>
                <a:lnTo>
                  <a:pt x="573" y="519"/>
                </a:lnTo>
                <a:lnTo>
                  <a:pt x="563" y="526"/>
                </a:lnTo>
                <a:lnTo>
                  <a:pt x="554" y="534"/>
                </a:lnTo>
                <a:lnTo>
                  <a:pt x="549" y="537"/>
                </a:lnTo>
                <a:lnTo>
                  <a:pt x="545" y="541"/>
                </a:lnTo>
                <a:lnTo>
                  <a:pt x="542" y="543"/>
                </a:lnTo>
                <a:lnTo>
                  <a:pt x="540" y="543"/>
                </a:lnTo>
                <a:lnTo>
                  <a:pt x="537" y="543"/>
                </a:lnTo>
                <a:lnTo>
                  <a:pt x="534" y="542"/>
                </a:lnTo>
                <a:lnTo>
                  <a:pt x="546" y="528"/>
                </a:lnTo>
                <a:lnTo>
                  <a:pt x="558" y="516"/>
                </a:lnTo>
                <a:lnTo>
                  <a:pt x="571" y="503"/>
                </a:lnTo>
                <a:lnTo>
                  <a:pt x="583" y="492"/>
                </a:lnTo>
                <a:lnTo>
                  <a:pt x="596" y="479"/>
                </a:lnTo>
                <a:lnTo>
                  <a:pt x="608" y="468"/>
                </a:lnTo>
                <a:lnTo>
                  <a:pt x="622" y="457"/>
                </a:lnTo>
                <a:lnTo>
                  <a:pt x="636" y="445"/>
                </a:lnTo>
                <a:lnTo>
                  <a:pt x="663" y="425"/>
                </a:lnTo>
                <a:lnTo>
                  <a:pt x="690" y="407"/>
                </a:lnTo>
                <a:lnTo>
                  <a:pt x="719" y="388"/>
                </a:lnTo>
                <a:lnTo>
                  <a:pt x="747" y="370"/>
                </a:lnTo>
                <a:lnTo>
                  <a:pt x="759" y="362"/>
                </a:lnTo>
                <a:lnTo>
                  <a:pt x="771" y="358"/>
                </a:lnTo>
                <a:lnTo>
                  <a:pt x="776" y="357"/>
                </a:lnTo>
                <a:lnTo>
                  <a:pt x="780" y="353"/>
                </a:lnTo>
                <a:lnTo>
                  <a:pt x="783" y="351"/>
                </a:lnTo>
                <a:lnTo>
                  <a:pt x="785" y="350"/>
                </a:lnTo>
                <a:lnTo>
                  <a:pt x="788" y="354"/>
                </a:lnTo>
                <a:lnTo>
                  <a:pt x="789" y="358"/>
                </a:lnTo>
                <a:lnTo>
                  <a:pt x="794" y="357"/>
                </a:lnTo>
                <a:lnTo>
                  <a:pt x="798" y="353"/>
                </a:lnTo>
                <a:lnTo>
                  <a:pt x="808" y="349"/>
                </a:lnTo>
                <a:lnTo>
                  <a:pt x="817" y="344"/>
                </a:lnTo>
                <a:lnTo>
                  <a:pt x="826" y="338"/>
                </a:lnTo>
                <a:lnTo>
                  <a:pt x="835" y="334"/>
                </a:lnTo>
                <a:lnTo>
                  <a:pt x="850" y="325"/>
                </a:lnTo>
                <a:lnTo>
                  <a:pt x="864" y="317"/>
                </a:lnTo>
                <a:lnTo>
                  <a:pt x="871" y="313"/>
                </a:lnTo>
                <a:lnTo>
                  <a:pt x="878" y="309"/>
                </a:lnTo>
                <a:lnTo>
                  <a:pt x="884" y="304"/>
                </a:lnTo>
                <a:lnTo>
                  <a:pt x="890" y="300"/>
                </a:lnTo>
                <a:lnTo>
                  <a:pt x="893" y="295"/>
                </a:lnTo>
                <a:lnTo>
                  <a:pt x="897" y="292"/>
                </a:lnTo>
                <a:lnTo>
                  <a:pt x="902" y="289"/>
                </a:lnTo>
                <a:lnTo>
                  <a:pt x="908" y="287"/>
                </a:lnTo>
                <a:lnTo>
                  <a:pt x="912" y="286"/>
                </a:lnTo>
                <a:lnTo>
                  <a:pt x="916" y="281"/>
                </a:lnTo>
                <a:lnTo>
                  <a:pt x="921" y="277"/>
                </a:lnTo>
                <a:lnTo>
                  <a:pt x="928" y="275"/>
                </a:lnTo>
                <a:lnTo>
                  <a:pt x="941" y="271"/>
                </a:lnTo>
                <a:lnTo>
                  <a:pt x="953" y="268"/>
                </a:lnTo>
                <a:lnTo>
                  <a:pt x="961" y="264"/>
                </a:lnTo>
                <a:lnTo>
                  <a:pt x="969" y="262"/>
                </a:lnTo>
                <a:lnTo>
                  <a:pt x="977" y="261"/>
                </a:lnTo>
                <a:lnTo>
                  <a:pt x="985" y="260"/>
                </a:lnTo>
                <a:lnTo>
                  <a:pt x="994" y="258"/>
                </a:lnTo>
                <a:lnTo>
                  <a:pt x="1002" y="255"/>
                </a:lnTo>
                <a:lnTo>
                  <a:pt x="1010" y="252"/>
                </a:lnTo>
                <a:lnTo>
                  <a:pt x="1018" y="247"/>
                </a:lnTo>
                <a:lnTo>
                  <a:pt x="1028" y="243"/>
                </a:lnTo>
                <a:lnTo>
                  <a:pt x="1037" y="239"/>
                </a:lnTo>
                <a:lnTo>
                  <a:pt x="1048" y="235"/>
                </a:lnTo>
                <a:lnTo>
                  <a:pt x="1057" y="231"/>
                </a:lnTo>
                <a:lnTo>
                  <a:pt x="1050" y="226"/>
                </a:lnTo>
                <a:lnTo>
                  <a:pt x="1042" y="220"/>
                </a:lnTo>
                <a:lnTo>
                  <a:pt x="1040" y="219"/>
                </a:lnTo>
                <a:lnTo>
                  <a:pt x="1039" y="219"/>
                </a:lnTo>
                <a:lnTo>
                  <a:pt x="1036" y="217"/>
                </a:lnTo>
                <a:lnTo>
                  <a:pt x="1036" y="214"/>
                </a:lnTo>
                <a:lnTo>
                  <a:pt x="1037" y="212"/>
                </a:lnTo>
                <a:lnTo>
                  <a:pt x="1040" y="209"/>
                </a:lnTo>
                <a:lnTo>
                  <a:pt x="1040" y="208"/>
                </a:lnTo>
                <a:lnTo>
                  <a:pt x="1040" y="206"/>
                </a:lnTo>
                <a:lnTo>
                  <a:pt x="1039" y="205"/>
                </a:lnTo>
                <a:lnTo>
                  <a:pt x="1036" y="204"/>
                </a:lnTo>
                <a:lnTo>
                  <a:pt x="1027" y="204"/>
                </a:lnTo>
                <a:lnTo>
                  <a:pt x="1018" y="206"/>
                </a:lnTo>
                <a:lnTo>
                  <a:pt x="1004" y="214"/>
                </a:lnTo>
                <a:lnTo>
                  <a:pt x="991" y="221"/>
                </a:lnTo>
                <a:lnTo>
                  <a:pt x="983" y="221"/>
                </a:lnTo>
                <a:lnTo>
                  <a:pt x="974" y="222"/>
                </a:lnTo>
                <a:lnTo>
                  <a:pt x="963" y="227"/>
                </a:lnTo>
                <a:lnTo>
                  <a:pt x="954" y="231"/>
                </a:lnTo>
                <a:lnTo>
                  <a:pt x="934" y="242"/>
                </a:lnTo>
                <a:lnTo>
                  <a:pt x="915" y="252"/>
                </a:lnTo>
                <a:lnTo>
                  <a:pt x="894" y="262"/>
                </a:lnTo>
                <a:lnTo>
                  <a:pt x="874" y="271"/>
                </a:lnTo>
                <a:lnTo>
                  <a:pt x="866" y="275"/>
                </a:lnTo>
                <a:lnTo>
                  <a:pt x="858" y="278"/>
                </a:lnTo>
                <a:lnTo>
                  <a:pt x="851" y="283"/>
                </a:lnTo>
                <a:lnTo>
                  <a:pt x="843" y="286"/>
                </a:lnTo>
                <a:lnTo>
                  <a:pt x="839" y="287"/>
                </a:lnTo>
                <a:lnTo>
                  <a:pt x="835" y="286"/>
                </a:lnTo>
                <a:lnTo>
                  <a:pt x="831" y="285"/>
                </a:lnTo>
                <a:lnTo>
                  <a:pt x="828" y="284"/>
                </a:lnTo>
                <a:lnTo>
                  <a:pt x="819" y="280"/>
                </a:lnTo>
                <a:lnTo>
                  <a:pt x="809" y="278"/>
                </a:lnTo>
                <a:lnTo>
                  <a:pt x="809" y="276"/>
                </a:lnTo>
                <a:lnTo>
                  <a:pt x="810" y="274"/>
                </a:lnTo>
                <a:lnTo>
                  <a:pt x="812" y="272"/>
                </a:lnTo>
                <a:lnTo>
                  <a:pt x="813" y="271"/>
                </a:lnTo>
                <a:lnTo>
                  <a:pt x="818" y="269"/>
                </a:lnTo>
                <a:lnTo>
                  <a:pt x="822" y="267"/>
                </a:lnTo>
                <a:lnTo>
                  <a:pt x="828" y="262"/>
                </a:lnTo>
                <a:lnTo>
                  <a:pt x="834" y="258"/>
                </a:lnTo>
                <a:lnTo>
                  <a:pt x="841" y="253"/>
                </a:lnTo>
                <a:lnTo>
                  <a:pt x="847" y="250"/>
                </a:lnTo>
                <a:lnTo>
                  <a:pt x="862" y="243"/>
                </a:lnTo>
                <a:lnTo>
                  <a:pt x="875" y="235"/>
                </a:lnTo>
                <a:lnTo>
                  <a:pt x="883" y="230"/>
                </a:lnTo>
                <a:lnTo>
                  <a:pt x="891" y="227"/>
                </a:lnTo>
                <a:lnTo>
                  <a:pt x="899" y="223"/>
                </a:lnTo>
                <a:lnTo>
                  <a:pt x="908" y="220"/>
                </a:lnTo>
                <a:lnTo>
                  <a:pt x="926" y="214"/>
                </a:lnTo>
                <a:lnTo>
                  <a:pt x="944" y="208"/>
                </a:lnTo>
                <a:lnTo>
                  <a:pt x="962" y="202"/>
                </a:lnTo>
                <a:lnTo>
                  <a:pt x="981" y="195"/>
                </a:lnTo>
                <a:lnTo>
                  <a:pt x="995" y="192"/>
                </a:lnTo>
                <a:lnTo>
                  <a:pt x="1010" y="187"/>
                </a:lnTo>
                <a:lnTo>
                  <a:pt x="1018" y="185"/>
                </a:lnTo>
                <a:lnTo>
                  <a:pt x="1025" y="181"/>
                </a:lnTo>
                <a:lnTo>
                  <a:pt x="1031" y="177"/>
                </a:lnTo>
                <a:lnTo>
                  <a:pt x="1036" y="172"/>
                </a:lnTo>
                <a:lnTo>
                  <a:pt x="1040" y="169"/>
                </a:lnTo>
                <a:lnTo>
                  <a:pt x="1043" y="167"/>
                </a:lnTo>
                <a:lnTo>
                  <a:pt x="1047" y="167"/>
                </a:lnTo>
                <a:lnTo>
                  <a:pt x="1052" y="168"/>
                </a:lnTo>
                <a:lnTo>
                  <a:pt x="1055" y="169"/>
                </a:lnTo>
                <a:lnTo>
                  <a:pt x="1057" y="170"/>
                </a:lnTo>
                <a:lnTo>
                  <a:pt x="1060" y="169"/>
                </a:lnTo>
                <a:lnTo>
                  <a:pt x="1064" y="166"/>
                </a:lnTo>
                <a:lnTo>
                  <a:pt x="1081" y="163"/>
                </a:lnTo>
                <a:lnTo>
                  <a:pt x="1098" y="162"/>
                </a:lnTo>
                <a:lnTo>
                  <a:pt x="1093" y="160"/>
                </a:lnTo>
                <a:lnTo>
                  <a:pt x="1089" y="159"/>
                </a:lnTo>
                <a:lnTo>
                  <a:pt x="1085" y="159"/>
                </a:lnTo>
                <a:lnTo>
                  <a:pt x="1081" y="159"/>
                </a:lnTo>
                <a:lnTo>
                  <a:pt x="1072" y="159"/>
                </a:lnTo>
                <a:lnTo>
                  <a:pt x="1063" y="160"/>
                </a:lnTo>
                <a:lnTo>
                  <a:pt x="1055" y="162"/>
                </a:lnTo>
                <a:lnTo>
                  <a:pt x="1045" y="162"/>
                </a:lnTo>
                <a:lnTo>
                  <a:pt x="1040" y="162"/>
                </a:lnTo>
                <a:lnTo>
                  <a:pt x="1035" y="162"/>
                </a:lnTo>
                <a:lnTo>
                  <a:pt x="1033" y="160"/>
                </a:lnTo>
                <a:lnTo>
                  <a:pt x="1032" y="155"/>
                </a:lnTo>
                <a:lnTo>
                  <a:pt x="1032" y="152"/>
                </a:lnTo>
                <a:lnTo>
                  <a:pt x="1032" y="148"/>
                </a:lnTo>
                <a:lnTo>
                  <a:pt x="1039" y="143"/>
                </a:lnTo>
                <a:lnTo>
                  <a:pt x="1047" y="137"/>
                </a:lnTo>
                <a:lnTo>
                  <a:pt x="1048" y="135"/>
                </a:lnTo>
                <a:lnTo>
                  <a:pt x="1048" y="133"/>
                </a:lnTo>
                <a:lnTo>
                  <a:pt x="1047" y="130"/>
                </a:lnTo>
                <a:lnTo>
                  <a:pt x="1044" y="130"/>
                </a:lnTo>
                <a:lnTo>
                  <a:pt x="1039" y="129"/>
                </a:lnTo>
                <a:lnTo>
                  <a:pt x="1033" y="128"/>
                </a:lnTo>
                <a:lnTo>
                  <a:pt x="1031" y="127"/>
                </a:lnTo>
                <a:lnTo>
                  <a:pt x="1030" y="126"/>
                </a:lnTo>
                <a:lnTo>
                  <a:pt x="1030" y="123"/>
                </a:lnTo>
                <a:lnTo>
                  <a:pt x="1031" y="122"/>
                </a:lnTo>
                <a:lnTo>
                  <a:pt x="1035" y="120"/>
                </a:lnTo>
                <a:lnTo>
                  <a:pt x="1040" y="118"/>
                </a:lnTo>
                <a:lnTo>
                  <a:pt x="1041" y="114"/>
                </a:lnTo>
                <a:lnTo>
                  <a:pt x="1041" y="112"/>
                </a:lnTo>
                <a:lnTo>
                  <a:pt x="1040" y="110"/>
                </a:lnTo>
                <a:lnTo>
                  <a:pt x="1039" y="108"/>
                </a:lnTo>
                <a:lnTo>
                  <a:pt x="1034" y="105"/>
                </a:lnTo>
                <a:lnTo>
                  <a:pt x="1028" y="103"/>
                </a:lnTo>
                <a:lnTo>
                  <a:pt x="1020" y="102"/>
                </a:lnTo>
                <a:lnTo>
                  <a:pt x="1011" y="102"/>
                </a:lnTo>
                <a:lnTo>
                  <a:pt x="1003" y="102"/>
                </a:lnTo>
                <a:lnTo>
                  <a:pt x="994" y="103"/>
                </a:lnTo>
                <a:lnTo>
                  <a:pt x="971" y="105"/>
                </a:lnTo>
                <a:lnTo>
                  <a:pt x="950" y="110"/>
                </a:lnTo>
                <a:lnTo>
                  <a:pt x="928" y="114"/>
                </a:lnTo>
                <a:lnTo>
                  <a:pt x="905" y="119"/>
                </a:lnTo>
                <a:lnTo>
                  <a:pt x="911" y="112"/>
                </a:lnTo>
                <a:lnTo>
                  <a:pt x="915" y="104"/>
                </a:lnTo>
                <a:lnTo>
                  <a:pt x="917" y="95"/>
                </a:lnTo>
                <a:lnTo>
                  <a:pt x="917" y="87"/>
                </a:lnTo>
                <a:lnTo>
                  <a:pt x="916" y="84"/>
                </a:lnTo>
                <a:lnTo>
                  <a:pt x="915" y="81"/>
                </a:lnTo>
                <a:lnTo>
                  <a:pt x="911" y="81"/>
                </a:lnTo>
                <a:lnTo>
                  <a:pt x="909" y="83"/>
                </a:lnTo>
                <a:lnTo>
                  <a:pt x="907" y="84"/>
                </a:lnTo>
                <a:lnTo>
                  <a:pt x="905" y="83"/>
                </a:lnTo>
                <a:lnTo>
                  <a:pt x="905" y="83"/>
                </a:lnTo>
                <a:lnTo>
                  <a:pt x="905" y="81"/>
                </a:lnTo>
                <a:lnTo>
                  <a:pt x="908" y="78"/>
                </a:lnTo>
                <a:lnTo>
                  <a:pt x="909" y="76"/>
                </a:lnTo>
                <a:lnTo>
                  <a:pt x="911" y="72"/>
                </a:lnTo>
                <a:lnTo>
                  <a:pt x="912" y="70"/>
                </a:lnTo>
                <a:lnTo>
                  <a:pt x="912" y="68"/>
                </a:lnTo>
                <a:lnTo>
                  <a:pt x="911" y="64"/>
                </a:lnTo>
                <a:lnTo>
                  <a:pt x="907" y="62"/>
                </a:lnTo>
                <a:lnTo>
                  <a:pt x="902" y="62"/>
                </a:lnTo>
                <a:lnTo>
                  <a:pt x="897" y="62"/>
                </a:lnTo>
                <a:lnTo>
                  <a:pt x="894" y="62"/>
                </a:lnTo>
                <a:lnTo>
                  <a:pt x="880" y="63"/>
                </a:lnTo>
                <a:lnTo>
                  <a:pt x="868" y="65"/>
                </a:lnTo>
                <a:lnTo>
                  <a:pt x="861" y="67"/>
                </a:lnTo>
                <a:lnTo>
                  <a:pt x="855" y="68"/>
                </a:lnTo>
                <a:lnTo>
                  <a:pt x="852" y="69"/>
                </a:lnTo>
                <a:lnTo>
                  <a:pt x="850" y="69"/>
                </a:lnTo>
                <a:lnTo>
                  <a:pt x="847" y="69"/>
                </a:lnTo>
                <a:lnTo>
                  <a:pt x="846" y="69"/>
                </a:lnTo>
                <a:lnTo>
                  <a:pt x="846" y="68"/>
                </a:lnTo>
                <a:lnTo>
                  <a:pt x="845" y="65"/>
                </a:lnTo>
                <a:lnTo>
                  <a:pt x="852" y="63"/>
                </a:lnTo>
                <a:lnTo>
                  <a:pt x="857" y="60"/>
                </a:lnTo>
                <a:lnTo>
                  <a:pt x="860" y="55"/>
                </a:lnTo>
                <a:lnTo>
                  <a:pt x="863" y="50"/>
                </a:lnTo>
                <a:lnTo>
                  <a:pt x="866" y="44"/>
                </a:lnTo>
                <a:lnTo>
                  <a:pt x="869" y="39"/>
                </a:lnTo>
                <a:lnTo>
                  <a:pt x="871" y="37"/>
                </a:lnTo>
                <a:lnTo>
                  <a:pt x="874" y="35"/>
                </a:lnTo>
                <a:lnTo>
                  <a:pt x="874" y="31"/>
                </a:lnTo>
                <a:lnTo>
                  <a:pt x="874" y="28"/>
                </a:lnTo>
                <a:lnTo>
                  <a:pt x="872" y="22"/>
                </a:lnTo>
                <a:lnTo>
                  <a:pt x="870" y="17"/>
                </a:lnTo>
                <a:lnTo>
                  <a:pt x="867" y="11"/>
                </a:lnTo>
                <a:lnTo>
                  <a:pt x="862" y="7"/>
                </a:lnTo>
                <a:lnTo>
                  <a:pt x="858" y="6"/>
                </a:lnTo>
                <a:lnTo>
                  <a:pt x="854" y="6"/>
                </a:lnTo>
                <a:lnTo>
                  <a:pt x="851" y="6"/>
                </a:lnTo>
                <a:lnTo>
                  <a:pt x="846" y="6"/>
                </a:lnTo>
                <a:lnTo>
                  <a:pt x="838" y="7"/>
                </a:lnTo>
                <a:lnTo>
                  <a:pt x="830" y="10"/>
                </a:lnTo>
                <a:lnTo>
                  <a:pt x="820" y="12"/>
                </a:lnTo>
                <a:lnTo>
                  <a:pt x="810" y="14"/>
                </a:lnTo>
                <a:lnTo>
                  <a:pt x="800" y="17"/>
                </a:lnTo>
                <a:lnTo>
                  <a:pt x="789" y="19"/>
                </a:lnTo>
                <a:lnTo>
                  <a:pt x="783" y="21"/>
                </a:lnTo>
                <a:lnTo>
                  <a:pt x="776" y="23"/>
                </a:lnTo>
                <a:lnTo>
                  <a:pt x="769" y="23"/>
                </a:lnTo>
                <a:lnTo>
                  <a:pt x="762" y="22"/>
                </a:lnTo>
                <a:lnTo>
                  <a:pt x="751" y="12"/>
                </a:lnTo>
                <a:lnTo>
                  <a:pt x="739" y="3"/>
                </a:lnTo>
                <a:lnTo>
                  <a:pt x="730" y="2"/>
                </a:lnTo>
                <a:lnTo>
                  <a:pt x="720" y="3"/>
                </a:lnTo>
                <a:lnTo>
                  <a:pt x="710" y="4"/>
                </a:lnTo>
                <a:lnTo>
                  <a:pt x="701" y="5"/>
                </a:lnTo>
                <a:lnTo>
                  <a:pt x="676" y="9"/>
                </a:lnTo>
                <a:lnTo>
                  <a:pt x="651" y="14"/>
                </a:lnTo>
                <a:lnTo>
                  <a:pt x="625" y="19"/>
                </a:lnTo>
                <a:lnTo>
                  <a:pt x="602" y="25"/>
                </a:lnTo>
                <a:lnTo>
                  <a:pt x="602" y="18"/>
                </a:lnTo>
                <a:lnTo>
                  <a:pt x="600" y="10"/>
                </a:lnTo>
                <a:lnTo>
                  <a:pt x="599" y="6"/>
                </a:lnTo>
                <a:lnTo>
                  <a:pt x="597" y="4"/>
                </a:lnTo>
                <a:lnTo>
                  <a:pt x="595" y="1"/>
                </a:lnTo>
                <a:lnTo>
                  <a:pt x="591" y="0"/>
                </a:lnTo>
                <a:lnTo>
                  <a:pt x="587" y="0"/>
                </a:lnTo>
                <a:lnTo>
                  <a:pt x="582" y="0"/>
                </a:lnTo>
                <a:lnTo>
                  <a:pt x="578" y="1"/>
                </a:lnTo>
                <a:lnTo>
                  <a:pt x="573" y="2"/>
                </a:lnTo>
                <a:lnTo>
                  <a:pt x="570" y="4"/>
                </a:lnTo>
                <a:lnTo>
                  <a:pt x="565" y="5"/>
                </a:lnTo>
                <a:lnTo>
                  <a:pt x="561" y="5"/>
                </a:lnTo>
                <a:lnTo>
                  <a:pt x="556" y="5"/>
                </a:lnTo>
                <a:lnTo>
                  <a:pt x="546" y="3"/>
                </a:lnTo>
                <a:lnTo>
                  <a:pt x="534" y="3"/>
                </a:lnTo>
                <a:lnTo>
                  <a:pt x="524" y="4"/>
                </a:lnTo>
                <a:lnTo>
                  <a:pt x="513" y="7"/>
                </a:lnTo>
                <a:lnTo>
                  <a:pt x="501" y="11"/>
                </a:lnTo>
                <a:lnTo>
                  <a:pt x="489" y="14"/>
                </a:lnTo>
                <a:lnTo>
                  <a:pt x="478" y="18"/>
                </a:lnTo>
                <a:lnTo>
                  <a:pt x="465" y="21"/>
                </a:lnTo>
                <a:lnTo>
                  <a:pt x="455" y="25"/>
                </a:lnTo>
                <a:lnTo>
                  <a:pt x="443" y="27"/>
                </a:lnTo>
                <a:lnTo>
                  <a:pt x="435" y="30"/>
                </a:lnTo>
                <a:lnTo>
                  <a:pt x="426" y="31"/>
                </a:lnTo>
                <a:lnTo>
                  <a:pt x="424" y="30"/>
                </a:lnTo>
                <a:lnTo>
                  <a:pt x="422" y="29"/>
                </a:lnTo>
                <a:lnTo>
                  <a:pt x="421" y="28"/>
                </a:lnTo>
                <a:lnTo>
                  <a:pt x="419" y="25"/>
                </a:lnTo>
                <a:lnTo>
                  <a:pt x="419" y="20"/>
                </a:lnTo>
                <a:lnTo>
                  <a:pt x="419" y="17"/>
                </a:lnTo>
                <a:lnTo>
                  <a:pt x="417" y="13"/>
                </a:lnTo>
                <a:lnTo>
                  <a:pt x="414" y="10"/>
                </a:lnTo>
                <a:lnTo>
                  <a:pt x="405" y="4"/>
                </a:lnTo>
                <a:lnTo>
                  <a:pt x="394" y="1"/>
                </a:lnTo>
                <a:lnTo>
                  <a:pt x="383" y="0"/>
                </a:lnTo>
                <a:lnTo>
                  <a:pt x="373" y="0"/>
                </a:lnTo>
                <a:lnTo>
                  <a:pt x="361" y="2"/>
                </a:lnTo>
                <a:lnTo>
                  <a:pt x="350" y="4"/>
                </a:lnTo>
                <a:lnTo>
                  <a:pt x="339" y="7"/>
                </a:lnTo>
                <a:lnTo>
                  <a:pt x="327" y="11"/>
                </a:lnTo>
                <a:lnTo>
                  <a:pt x="305" y="18"/>
                </a:lnTo>
                <a:lnTo>
                  <a:pt x="283" y="25"/>
                </a:lnTo>
                <a:lnTo>
                  <a:pt x="262" y="34"/>
                </a:lnTo>
                <a:lnTo>
                  <a:pt x="241" y="43"/>
                </a:lnTo>
                <a:lnTo>
                  <a:pt x="232" y="47"/>
                </a:lnTo>
                <a:lnTo>
                  <a:pt x="221" y="53"/>
                </a:lnTo>
                <a:lnTo>
                  <a:pt x="212" y="57"/>
                </a:lnTo>
                <a:lnTo>
                  <a:pt x="202" y="62"/>
                </a:lnTo>
                <a:lnTo>
                  <a:pt x="193" y="68"/>
                </a:lnTo>
                <a:lnTo>
                  <a:pt x="184" y="71"/>
                </a:lnTo>
                <a:lnTo>
                  <a:pt x="175" y="77"/>
                </a:lnTo>
                <a:lnTo>
                  <a:pt x="167" y="81"/>
                </a:lnTo>
                <a:lnTo>
                  <a:pt x="151" y="94"/>
                </a:lnTo>
                <a:lnTo>
                  <a:pt x="135" y="106"/>
                </a:lnTo>
                <a:lnTo>
                  <a:pt x="127" y="109"/>
                </a:lnTo>
                <a:lnTo>
                  <a:pt x="118" y="111"/>
                </a:lnTo>
                <a:lnTo>
                  <a:pt x="108" y="115"/>
                </a:lnTo>
                <a:lnTo>
                  <a:pt x="99" y="121"/>
                </a:lnTo>
                <a:lnTo>
                  <a:pt x="87" y="133"/>
                </a:lnTo>
                <a:lnTo>
                  <a:pt x="76" y="144"/>
                </a:lnTo>
                <a:lnTo>
                  <a:pt x="69" y="151"/>
                </a:lnTo>
                <a:lnTo>
                  <a:pt x="61" y="158"/>
                </a:lnTo>
                <a:lnTo>
                  <a:pt x="54" y="164"/>
                </a:lnTo>
                <a:lnTo>
                  <a:pt x="48" y="173"/>
                </a:lnTo>
                <a:lnTo>
                  <a:pt x="44" y="181"/>
                </a:lnTo>
                <a:lnTo>
                  <a:pt x="42" y="191"/>
                </a:lnTo>
                <a:lnTo>
                  <a:pt x="42" y="196"/>
                </a:lnTo>
                <a:lnTo>
                  <a:pt x="43" y="201"/>
                </a:lnTo>
                <a:lnTo>
                  <a:pt x="44" y="204"/>
                </a:lnTo>
                <a:lnTo>
                  <a:pt x="47" y="209"/>
                </a:lnTo>
                <a:lnTo>
                  <a:pt x="51" y="211"/>
                </a:lnTo>
                <a:lnTo>
                  <a:pt x="54" y="212"/>
                </a:lnTo>
                <a:lnTo>
                  <a:pt x="59" y="211"/>
                </a:lnTo>
                <a:lnTo>
                  <a:pt x="62" y="210"/>
                </a:lnTo>
                <a:lnTo>
                  <a:pt x="70" y="204"/>
                </a:lnTo>
                <a:lnTo>
                  <a:pt x="76" y="200"/>
                </a:lnTo>
                <a:lnTo>
                  <a:pt x="93" y="185"/>
                </a:lnTo>
                <a:lnTo>
                  <a:pt x="110" y="170"/>
                </a:lnTo>
                <a:lnTo>
                  <a:pt x="118" y="162"/>
                </a:lnTo>
                <a:lnTo>
                  <a:pt x="127" y="154"/>
                </a:lnTo>
                <a:lnTo>
                  <a:pt x="135" y="147"/>
                </a:lnTo>
                <a:lnTo>
                  <a:pt x="144" y="140"/>
                </a:lnTo>
                <a:lnTo>
                  <a:pt x="162" y="128"/>
                </a:lnTo>
                <a:lnTo>
                  <a:pt x="180" y="115"/>
                </a:lnTo>
                <a:lnTo>
                  <a:pt x="199" y="104"/>
                </a:lnTo>
                <a:lnTo>
                  <a:pt x="218" y="93"/>
                </a:lnTo>
                <a:lnTo>
                  <a:pt x="228" y="88"/>
                </a:lnTo>
                <a:lnTo>
                  <a:pt x="237" y="84"/>
                </a:lnTo>
                <a:lnTo>
                  <a:pt x="248" y="78"/>
                </a:lnTo>
                <a:lnTo>
                  <a:pt x="258" y="73"/>
                </a:lnTo>
                <a:lnTo>
                  <a:pt x="267" y="69"/>
                </a:lnTo>
                <a:lnTo>
                  <a:pt x="278" y="65"/>
                </a:lnTo>
                <a:lnTo>
                  <a:pt x="283" y="64"/>
                </a:lnTo>
                <a:lnTo>
                  <a:pt x="286" y="62"/>
                </a:lnTo>
                <a:lnTo>
                  <a:pt x="287" y="62"/>
                </a:lnTo>
                <a:lnTo>
                  <a:pt x="289" y="61"/>
                </a:lnTo>
                <a:lnTo>
                  <a:pt x="290" y="60"/>
                </a:lnTo>
                <a:lnTo>
                  <a:pt x="291" y="61"/>
                </a:lnTo>
                <a:lnTo>
                  <a:pt x="292" y="62"/>
                </a:lnTo>
                <a:lnTo>
                  <a:pt x="292" y="63"/>
                </a:lnTo>
                <a:lnTo>
                  <a:pt x="291" y="63"/>
                </a:lnTo>
                <a:lnTo>
                  <a:pt x="290" y="64"/>
                </a:lnTo>
                <a:lnTo>
                  <a:pt x="289" y="64"/>
                </a:lnTo>
                <a:lnTo>
                  <a:pt x="287" y="65"/>
                </a:lnTo>
                <a:lnTo>
                  <a:pt x="286" y="67"/>
                </a:lnTo>
                <a:lnTo>
                  <a:pt x="285" y="68"/>
                </a:lnTo>
                <a:lnTo>
                  <a:pt x="277" y="76"/>
                </a:lnTo>
                <a:lnTo>
                  <a:pt x="268" y="81"/>
                </a:lnTo>
                <a:lnTo>
                  <a:pt x="258" y="88"/>
                </a:lnTo>
                <a:lnTo>
                  <a:pt x="248" y="95"/>
                </a:lnTo>
                <a:lnTo>
                  <a:pt x="237" y="102"/>
                </a:lnTo>
                <a:lnTo>
                  <a:pt x="228" y="110"/>
                </a:lnTo>
                <a:lnTo>
                  <a:pt x="209" y="123"/>
                </a:lnTo>
                <a:lnTo>
                  <a:pt x="190" y="138"/>
                </a:lnTo>
                <a:lnTo>
                  <a:pt x="171" y="154"/>
                </a:lnTo>
                <a:lnTo>
                  <a:pt x="153" y="169"/>
                </a:lnTo>
                <a:lnTo>
                  <a:pt x="135" y="184"/>
                </a:lnTo>
                <a:lnTo>
                  <a:pt x="118" y="198"/>
                </a:lnTo>
                <a:lnTo>
                  <a:pt x="101" y="214"/>
                </a:lnTo>
                <a:lnTo>
                  <a:pt x="85" y="230"/>
                </a:lnTo>
                <a:lnTo>
                  <a:pt x="70" y="246"/>
                </a:lnTo>
                <a:lnTo>
                  <a:pt x="56" y="263"/>
                </a:lnTo>
                <a:lnTo>
                  <a:pt x="43" y="281"/>
                </a:lnTo>
                <a:lnTo>
                  <a:pt x="30" y="300"/>
                </a:lnTo>
                <a:lnTo>
                  <a:pt x="23" y="309"/>
                </a:lnTo>
                <a:lnTo>
                  <a:pt x="18" y="318"/>
                </a:lnTo>
                <a:lnTo>
                  <a:pt x="11" y="327"/>
                </a:lnTo>
                <a:lnTo>
                  <a:pt x="5" y="336"/>
                </a:lnTo>
                <a:lnTo>
                  <a:pt x="2" y="344"/>
                </a:lnTo>
                <a:lnTo>
                  <a:pt x="0" y="352"/>
                </a:lnTo>
                <a:lnTo>
                  <a:pt x="0" y="355"/>
                </a:lnTo>
                <a:lnTo>
                  <a:pt x="0" y="360"/>
                </a:lnTo>
                <a:lnTo>
                  <a:pt x="1" y="363"/>
                </a:lnTo>
                <a:lnTo>
                  <a:pt x="3" y="368"/>
                </a:lnTo>
                <a:lnTo>
                  <a:pt x="7" y="376"/>
                </a:lnTo>
                <a:lnTo>
                  <a:pt x="14" y="383"/>
                </a:lnTo>
                <a:lnTo>
                  <a:pt x="21" y="388"/>
                </a:lnTo>
                <a:lnTo>
                  <a:pt x="27" y="395"/>
                </a:lnTo>
                <a:lnTo>
                  <a:pt x="27" y="402"/>
                </a:lnTo>
                <a:lnTo>
                  <a:pt x="25" y="409"/>
                </a:lnTo>
                <a:lnTo>
                  <a:pt x="26" y="412"/>
                </a:lnTo>
                <a:lnTo>
                  <a:pt x="27" y="415"/>
                </a:lnTo>
                <a:lnTo>
                  <a:pt x="28" y="417"/>
                </a:lnTo>
                <a:lnTo>
                  <a:pt x="30" y="419"/>
                </a:lnTo>
                <a:lnTo>
                  <a:pt x="37" y="422"/>
                </a:lnTo>
                <a:lnTo>
                  <a:pt x="44" y="426"/>
                </a:lnTo>
                <a:lnTo>
                  <a:pt x="51" y="434"/>
                </a:lnTo>
                <a:lnTo>
                  <a:pt x="60" y="440"/>
                </a:lnTo>
                <a:lnTo>
                  <a:pt x="68" y="443"/>
                </a:lnTo>
                <a:lnTo>
                  <a:pt x="76" y="444"/>
                </a:lnTo>
                <a:lnTo>
                  <a:pt x="85" y="443"/>
                </a:lnTo>
                <a:lnTo>
                  <a:pt x="92" y="440"/>
                </a:lnTo>
                <a:lnTo>
                  <a:pt x="101" y="434"/>
                </a:lnTo>
                <a:lnTo>
                  <a:pt x="109" y="426"/>
                </a:lnTo>
                <a:lnTo>
                  <a:pt x="117" y="418"/>
                </a:lnTo>
                <a:lnTo>
                  <a:pt x="125" y="410"/>
                </a:lnTo>
                <a:lnTo>
                  <a:pt x="139" y="394"/>
                </a:lnTo>
                <a:lnTo>
                  <a:pt x="155" y="379"/>
                </a:lnTo>
                <a:lnTo>
                  <a:pt x="165" y="371"/>
                </a:lnTo>
                <a:lnTo>
                  <a:pt x="172" y="363"/>
                </a:lnTo>
                <a:lnTo>
                  <a:pt x="182" y="357"/>
                </a:lnTo>
                <a:lnTo>
                  <a:pt x="190" y="350"/>
                </a:lnTo>
                <a:lnTo>
                  <a:pt x="188" y="354"/>
                </a:lnTo>
                <a:lnTo>
                  <a:pt x="186" y="359"/>
                </a:lnTo>
                <a:lnTo>
                  <a:pt x="184" y="363"/>
                </a:lnTo>
                <a:lnTo>
                  <a:pt x="180" y="368"/>
                </a:lnTo>
                <a:lnTo>
                  <a:pt x="171" y="379"/>
                </a:lnTo>
                <a:lnTo>
                  <a:pt x="163" y="391"/>
                </a:lnTo>
                <a:lnTo>
                  <a:pt x="155" y="402"/>
                </a:lnTo>
                <a:lnTo>
                  <a:pt x="147" y="413"/>
                </a:lnTo>
                <a:lnTo>
                  <a:pt x="141" y="425"/>
                </a:lnTo>
                <a:lnTo>
                  <a:pt x="134" y="437"/>
                </a:lnTo>
                <a:lnTo>
                  <a:pt x="129" y="446"/>
                </a:lnTo>
                <a:lnTo>
                  <a:pt x="125" y="458"/>
                </a:lnTo>
                <a:lnTo>
                  <a:pt x="121" y="468"/>
                </a:lnTo>
                <a:lnTo>
                  <a:pt x="120" y="479"/>
                </a:lnTo>
                <a:lnTo>
                  <a:pt x="120" y="486"/>
                </a:lnTo>
                <a:lnTo>
                  <a:pt x="121" y="492"/>
                </a:lnTo>
                <a:lnTo>
                  <a:pt x="122" y="498"/>
                </a:lnTo>
                <a:lnTo>
                  <a:pt x="125" y="503"/>
                </a:lnTo>
                <a:lnTo>
                  <a:pt x="128" y="509"/>
                </a:lnTo>
                <a:lnTo>
                  <a:pt x="132" y="516"/>
                </a:lnTo>
                <a:lnTo>
                  <a:pt x="130" y="519"/>
                </a:lnTo>
                <a:lnTo>
                  <a:pt x="130" y="524"/>
                </a:lnTo>
                <a:lnTo>
                  <a:pt x="126" y="527"/>
                </a:lnTo>
                <a:lnTo>
                  <a:pt x="121" y="529"/>
                </a:lnTo>
                <a:lnTo>
                  <a:pt x="116" y="532"/>
                </a:lnTo>
                <a:lnTo>
                  <a:pt x="111" y="533"/>
                </a:lnTo>
                <a:lnTo>
                  <a:pt x="108" y="535"/>
                </a:lnTo>
                <a:lnTo>
                  <a:pt x="104" y="538"/>
                </a:lnTo>
                <a:lnTo>
                  <a:pt x="101" y="542"/>
                </a:lnTo>
                <a:lnTo>
                  <a:pt x="99" y="545"/>
                </a:lnTo>
                <a:lnTo>
                  <a:pt x="95" y="553"/>
                </a:lnTo>
                <a:lnTo>
                  <a:pt x="93" y="561"/>
                </a:lnTo>
                <a:lnTo>
                  <a:pt x="93" y="566"/>
                </a:lnTo>
                <a:lnTo>
                  <a:pt x="93" y="569"/>
                </a:lnTo>
                <a:lnTo>
                  <a:pt x="94" y="574"/>
                </a:lnTo>
                <a:lnTo>
                  <a:pt x="96" y="577"/>
                </a:lnTo>
                <a:lnTo>
                  <a:pt x="100" y="581"/>
                </a:lnTo>
                <a:lnTo>
                  <a:pt x="103" y="583"/>
                </a:lnTo>
                <a:lnTo>
                  <a:pt x="108" y="583"/>
                </a:lnTo>
                <a:lnTo>
                  <a:pt x="112" y="584"/>
                </a:lnTo>
                <a:lnTo>
                  <a:pt x="122" y="587"/>
                </a:lnTo>
                <a:lnTo>
                  <a:pt x="132" y="592"/>
                </a:lnTo>
                <a:lnTo>
                  <a:pt x="136" y="593"/>
                </a:lnTo>
                <a:lnTo>
                  <a:pt x="142" y="594"/>
                </a:lnTo>
                <a:lnTo>
                  <a:pt x="146" y="593"/>
                </a:lnTo>
                <a:lnTo>
                  <a:pt x="150" y="592"/>
                </a:lnTo>
                <a:lnTo>
                  <a:pt x="159" y="588"/>
                </a:lnTo>
                <a:lnTo>
                  <a:pt x="167" y="584"/>
                </a:lnTo>
                <a:lnTo>
                  <a:pt x="170" y="582"/>
                </a:lnTo>
                <a:lnTo>
                  <a:pt x="174" y="581"/>
                </a:lnTo>
                <a:lnTo>
                  <a:pt x="176" y="582"/>
                </a:lnTo>
                <a:lnTo>
                  <a:pt x="179" y="585"/>
                </a:lnTo>
                <a:lnTo>
                  <a:pt x="187" y="594"/>
                </a:lnTo>
                <a:lnTo>
                  <a:pt x="195" y="603"/>
                </a:lnTo>
                <a:lnTo>
                  <a:pt x="199" y="607"/>
                </a:lnTo>
                <a:lnTo>
                  <a:pt x="202" y="610"/>
                </a:lnTo>
                <a:lnTo>
                  <a:pt x="206" y="613"/>
                </a:lnTo>
                <a:lnTo>
                  <a:pt x="210" y="615"/>
                </a:lnTo>
                <a:lnTo>
                  <a:pt x="215" y="613"/>
                </a:lnTo>
                <a:lnTo>
                  <a:pt x="221" y="611"/>
                </a:lnTo>
                <a:lnTo>
                  <a:pt x="227" y="608"/>
                </a:lnTo>
                <a:lnTo>
                  <a:pt x="232" y="606"/>
                </a:lnTo>
                <a:lnTo>
                  <a:pt x="242" y="598"/>
                </a:lnTo>
                <a:lnTo>
                  <a:pt x="252" y="588"/>
                </a:lnTo>
                <a:lnTo>
                  <a:pt x="262" y="579"/>
                </a:lnTo>
                <a:lnTo>
                  <a:pt x="273" y="569"/>
                </a:lnTo>
                <a:lnTo>
                  <a:pt x="283" y="560"/>
                </a:lnTo>
                <a:lnTo>
                  <a:pt x="293" y="551"/>
                </a:lnTo>
                <a:lnTo>
                  <a:pt x="305" y="541"/>
                </a:lnTo>
                <a:lnTo>
                  <a:pt x="315" y="532"/>
                </a:lnTo>
                <a:lnTo>
                  <a:pt x="326" y="520"/>
                </a:lnTo>
                <a:lnTo>
                  <a:pt x="338" y="510"/>
                </a:lnTo>
                <a:lnTo>
                  <a:pt x="350" y="500"/>
                </a:lnTo>
                <a:lnTo>
                  <a:pt x="361" y="490"/>
                </a:lnTo>
                <a:lnTo>
                  <a:pt x="373" y="479"/>
                </a:lnTo>
                <a:lnTo>
                  <a:pt x="384" y="470"/>
                </a:lnTo>
                <a:lnTo>
                  <a:pt x="391" y="465"/>
                </a:lnTo>
                <a:lnTo>
                  <a:pt x="397" y="460"/>
                </a:lnTo>
                <a:lnTo>
                  <a:pt x="400" y="457"/>
                </a:lnTo>
                <a:lnTo>
                  <a:pt x="402" y="454"/>
                </a:lnTo>
                <a:lnTo>
                  <a:pt x="405" y="451"/>
                </a:lnTo>
                <a:lnTo>
                  <a:pt x="405" y="447"/>
                </a:lnTo>
                <a:lnTo>
                  <a:pt x="405" y="450"/>
                </a:lnTo>
                <a:lnTo>
                  <a:pt x="406" y="452"/>
                </a:lnTo>
                <a:lnTo>
                  <a:pt x="409" y="451"/>
                </a:lnTo>
                <a:lnTo>
                  <a:pt x="414" y="449"/>
                </a:lnTo>
                <a:lnTo>
                  <a:pt x="417" y="445"/>
                </a:lnTo>
                <a:lnTo>
                  <a:pt x="421" y="442"/>
                </a:lnTo>
                <a:lnTo>
                  <a:pt x="423" y="437"/>
                </a:lnTo>
                <a:lnTo>
                  <a:pt x="426" y="434"/>
                </a:lnTo>
                <a:lnTo>
                  <a:pt x="431" y="430"/>
                </a:lnTo>
                <a:lnTo>
                  <a:pt x="435" y="427"/>
                </a:lnTo>
                <a:lnTo>
                  <a:pt x="437" y="427"/>
                </a:lnTo>
                <a:lnTo>
                  <a:pt x="438" y="428"/>
                </a:lnTo>
                <a:lnTo>
                  <a:pt x="438" y="429"/>
                </a:lnTo>
                <a:lnTo>
                  <a:pt x="438" y="430"/>
                </a:lnTo>
                <a:lnTo>
                  <a:pt x="437" y="433"/>
                </a:lnTo>
                <a:lnTo>
                  <a:pt x="435" y="435"/>
                </a:lnTo>
                <a:lnTo>
                  <a:pt x="432" y="442"/>
                </a:lnTo>
                <a:lnTo>
                  <a:pt x="429" y="447"/>
                </a:lnTo>
                <a:lnTo>
                  <a:pt x="425" y="457"/>
                </a:lnTo>
                <a:lnTo>
                  <a:pt x="421" y="465"/>
                </a:lnTo>
                <a:lnTo>
                  <a:pt x="415" y="472"/>
                </a:lnTo>
                <a:lnTo>
                  <a:pt x="409" y="480"/>
                </a:lnTo>
                <a:lnTo>
                  <a:pt x="407" y="490"/>
                </a:lnTo>
                <a:lnTo>
                  <a:pt x="405" y="499"/>
                </a:lnTo>
                <a:lnTo>
                  <a:pt x="405" y="508"/>
                </a:lnTo>
                <a:lnTo>
                  <a:pt x="406" y="517"/>
                </a:lnTo>
                <a:lnTo>
                  <a:pt x="407" y="525"/>
                </a:lnTo>
                <a:lnTo>
                  <a:pt x="410" y="532"/>
                </a:lnTo>
                <a:lnTo>
                  <a:pt x="415" y="537"/>
                </a:lnTo>
                <a:lnTo>
                  <a:pt x="422" y="542"/>
                </a:lnTo>
                <a:lnTo>
                  <a:pt x="425" y="543"/>
                </a:lnTo>
                <a:lnTo>
                  <a:pt x="429" y="544"/>
                </a:lnTo>
                <a:lnTo>
                  <a:pt x="433" y="544"/>
                </a:lnTo>
                <a:lnTo>
                  <a:pt x="437" y="543"/>
                </a:lnTo>
                <a:lnTo>
                  <a:pt x="445" y="541"/>
                </a:lnTo>
                <a:lnTo>
                  <a:pt x="451" y="536"/>
                </a:lnTo>
                <a:lnTo>
                  <a:pt x="468" y="524"/>
                </a:lnTo>
                <a:lnTo>
                  <a:pt x="484" y="510"/>
                </a:lnTo>
                <a:lnTo>
                  <a:pt x="491" y="505"/>
                </a:lnTo>
                <a:lnTo>
                  <a:pt x="498" y="500"/>
                </a:lnTo>
                <a:lnTo>
                  <a:pt x="501" y="496"/>
                </a:lnTo>
                <a:lnTo>
                  <a:pt x="504" y="493"/>
                </a:lnTo>
                <a:lnTo>
                  <a:pt x="506" y="490"/>
                </a:lnTo>
                <a:lnTo>
                  <a:pt x="507" y="486"/>
                </a:lnTo>
                <a:lnTo>
                  <a:pt x="503" y="486"/>
                </a:lnTo>
                <a:lnTo>
                  <a:pt x="499" y="487"/>
                </a:lnTo>
                <a:lnTo>
                  <a:pt x="496" y="488"/>
                </a:lnTo>
                <a:lnTo>
                  <a:pt x="492" y="492"/>
                </a:lnTo>
                <a:lnTo>
                  <a:pt x="484" y="498"/>
                </a:lnTo>
                <a:lnTo>
                  <a:pt x="478" y="503"/>
                </a:lnTo>
                <a:lnTo>
                  <a:pt x="476" y="503"/>
                </a:lnTo>
                <a:lnTo>
                  <a:pt x="474" y="503"/>
                </a:lnTo>
                <a:lnTo>
                  <a:pt x="472" y="502"/>
                </a:lnTo>
                <a:lnTo>
                  <a:pt x="471" y="500"/>
                </a:lnTo>
                <a:lnTo>
                  <a:pt x="474" y="496"/>
                </a:lnTo>
                <a:lnTo>
                  <a:pt x="478" y="494"/>
                </a:lnTo>
                <a:lnTo>
                  <a:pt x="487" y="486"/>
                </a:lnTo>
                <a:lnTo>
                  <a:pt x="495" y="477"/>
                </a:lnTo>
                <a:lnTo>
                  <a:pt x="504" y="469"/>
                </a:lnTo>
                <a:lnTo>
                  <a:pt x="512" y="461"/>
                </a:lnTo>
                <a:lnTo>
                  <a:pt x="521" y="454"/>
                </a:lnTo>
                <a:lnTo>
                  <a:pt x="531" y="447"/>
                </a:lnTo>
                <a:lnTo>
                  <a:pt x="541" y="442"/>
                </a:lnTo>
                <a:lnTo>
                  <a:pt x="550" y="436"/>
                </a:lnTo>
                <a:lnTo>
                  <a:pt x="555" y="433"/>
                </a:lnTo>
                <a:lnTo>
                  <a:pt x="561" y="429"/>
                </a:lnTo>
                <a:lnTo>
                  <a:pt x="565" y="427"/>
                </a:lnTo>
                <a:lnTo>
                  <a:pt x="571" y="425"/>
                </a:lnTo>
                <a:lnTo>
                  <a:pt x="557" y="437"/>
                </a:lnTo>
                <a:lnTo>
                  <a:pt x="544" y="450"/>
                </a:lnTo>
                <a:lnTo>
                  <a:pt x="538" y="455"/>
                </a:lnTo>
                <a:lnTo>
                  <a:pt x="531" y="461"/>
                </a:lnTo>
                <a:lnTo>
                  <a:pt x="524" y="469"/>
                </a:lnTo>
                <a:lnTo>
                  <a:pt x="516" y="476"/>
                </a:lnTo>
                <a:lnTo>
                  <a:pt x="513" y="477"/>
                </a:lnTo>
                <a:lnTo>
                  <a:pt x="509" y="480"/>
                </a:lnTo>
                <a:lnTo>
                  <a:pt x="508" y="482"/>
                </a:lnTo>
                <a:lnTo>
                  <a:pt x="508" y="482"/>
                </a:lnTo>
                <a:lnTo>
                  <a:pt x="507" y="483"/>
                </a:lnTo>
                <a:lnTo>
                  <a:pt x="507" y="483"/>
                </a:lnTo>
                <a:lnTo>
                  <a:pt x="507" y="485"/>
                </a:lnTo>
                <a:lnTo>
                  <a:pt x="508" y="485"/>
                </a:lnTo>
                <a:lnTo>
                  <a:pt x="509" y="485"/>
                </a:lnTo>
                <a:lnTo>
                  <a:pt x="512" y="485"/>
                </a:lnTo>
                <a:lnTo>
                  <a:pt x="515" y="483"/>
                </a:lnTo>
                <a:lnTo>
                  <a:pt x="518" y="479"/>
                </a:lnTo>
                <a:lnTo>
                  <a:pt x="520" y="478"/>
                </a:lnTo>
                <a:lnTo>
                  <a:pt x="520" y="477"/>
                </a:lnTo>
                <a:lnTo>
                  <a:pt x="522" y="477"/>
                </a:lnTo>
                <a:lnTo>
                  <a:pt x="523" y="477"/>
                </a:lnTo>
                <a:lnTo>
                  <a:pt x="529" y="475"/>
                </a:lnTo>
                <a:lnTo>
                  <a:pt x="532" y="472"/>
                </a:lnTo>
                <a:lnTo>
                  <a:pt x="565" y="450"/>
                </a:lnTo>
                <a:lnTo>
                  <a:pt x="597" y="426"/>
                </a:lnTo>
                <a:lnTo>
                  <a:pt x="629" y="403"/>
                </a:lnTo>
                <a:lnTo>
                  <a:pt x="662" y="380"/>
                </a:lnTo>
                <a:lnTo>
                  <a:pt x="672" y="375"/>
                </a:lnTo>
                <a:lnTo>
                  <a:pt x="681" y="369"/>
                </a:lnTo>
                <a:lnTo>
                  <a:pt x="690" y="362"/>
                </a:lnTo>
                <a:lnTo>
                  <a:pt x="699" y="357"/>
                </a:lnTo>
                <a:lnTo>
                  <a:pt x="710" y="351"/>
                </a:lnTo>
                <a:lnTo>
                  <a:pt x="719" y="345"/>
                </a:lnTo>
                <a:lnTo>
                  <a:pt x="721" y="344"/>
                </a:lnTo>
                <a:lnTo>
                  <a:pt x="724" y="342"/>
                </a:lnTo>
                <a:lnTo>
                  <a:pt x="726" y="342"/>
                </a:lnTo>
                <a:lnTo>
                  <a:pt x="726" y="341"/>
                </a:lnTo>
                <a:lnTo>
                  <a:pt x="727" y="338"/>
                </a:lnTo>
                <a:lnTo>
                  <a:pt x="726" y="337"/>
                </a:lnTo>
                <a:lnTo>
                  <a:pt x="729" y="337"/>
                </a:lnTo>
                <a:lnTo>
                  <a:pt x="732" y="337"/>
                </a:lnTo>
                <a:lnTo>
                  <a:pt x="737" y="335"/>
                </a:lnTo>
                <a:lnTo>
                  <a:pt x="740" y="334"/>
                </a:lnTo>
                <a:lnTo>
                  <a:pt x="747" y="328"/>
                </a:lnTo>
                <a:lnTo>
                  <a:pt x="754" y="325"/>
                </a:lnTo>
                <a:lnTo>
                  <a:pt x="761" y="321"/>
                </a:lnTo>
                <a:lnTo>
                  <a:pt x="768" y="318"/>
                </a:lnTo>
                <a:lnTo>
                  <a:pt x="771" y="317"/>
                </a:lnTo>
                <a:lnTo>
                  <a:pt x="773" y="316"/>
                </a:lnTo>
                <a:lnTo>
                  <a:pt x="777" y="316"/>
                </a:lnTo>
                <a:lnTo>
                  <a:pt x="781" y="316"/>
                </a:lnTo>
                <a:lnTo>
                  <a:pt x="775" y="318"/>
                </a:lnTo>
                <a:lnTo>
                  <a:pt x="769" y="321"/>
                </a:lnTo>
                <a:lnTo>
                  <a:pt x="764" y="325"/>
                </a:lnTo>
                <a:lnTo>
                  <a:pt x="761" y="327"/>
                </a:lnTo>
                <a:lnTo>
                  <a:pt x="746" y="335"/>
                </a:lnTo>
                <a:lnTo>
                  <a:pt x="732" y="343"/>
                </a:lnTo>
                <a:lnTo>
                  <a:pt x="720" y="350"/>
                </a:lnTo>
                <a:lnTo>
                  <a:pt x="707" y="359"/>
                </a:lnTo>
                <a:lnTo>
                  <a:pt x="695" y="367"/>
                </a:lnTo>
                <a:lnTo>
                  <a:pt x="682" y="376"/>
                </a:lnTo>
                <a:lnTo>
                  <a:pt x="657" y="395"/>
                </a:lnTo>
                <a:lnTo>
                  <a:pt x="633" y="415"/>
                </a:lnTo>
                <a:lnTo>
                  <a:pt x="610" y="435"/>
                </a:lnTo>
                <a:lnTo>
                  <a:pt x="586" y="457"/>
                </a:lnTo>
                <a:lnTo>
                  <a:pt x="574" y="468"/>
                </a:lnTo>
                <a:lnTo>
                  <a:pt x="563" y="478"/>
                </a:lnTo>
                <a:lnTo>
                  <a:pt x="551" y="490"/>
                </a:lnTo>
                <a:lnTo>
                  <a:pt x="541" y="501"/>
                </a:lnTo>
                <a:lnTo>
                  <a:pt x="530" y="513"/>
                </a:lnTo>
                <a:lnTo>
                  <a:pt x="518" y="525"/>
                </a:lnTo>
                <a:lnTo>
                  <a:pt x="507" y="537"/>
                </a:lnTo>
                <a:lnTo>
                  <a:pt x="497" y="550"/>
                </a:lnTo>
                <a:lnTo>
                  <a:pt x="495" y="555"/>
                </a:lnTo>
                <a:lnTo>
                  <a:pt x="491" y="561"/>
                </a:lnTo>
                <a:lnTo>
                  <a:pt x="489" y="567"/>
                </a:lnTo>
                <a:lnTo>
                  <a:pt x="488" y="573"/>
                </a:lnTo>
                <a:lnTo>
                  <a:pt x="487" y="579"/>
                </a:lnTo>
                <a:lnTo>
                  <a:pt x="487" y="587"/>
                </a:lnTo>
                <a:lnTo>
                  <a:pt x="487" y="591"/>
                </a:lnTo>
                <a:lnTo>
                  <a:pt x="488" y="595"/>
                </a:lnTo>
                <a:lnTo>
                  <a:pt x="489" y="598"/>
                </a:lnTo>
                <a:lnTo>
                  <a:pt x="491" y="599"/>
                </a:lnTo>
                <a:lnTo>
                  <a:pt x="495" y="599"/>
                </a:lnTo>
                <a:lnTo>
                  <a:pt x="496" y="596"/>
                </a:lnTo>
                <a:lnTo>
                  <a:pt x="497" y="594"/>
                </a:lnTo>
                <a:lnTo>
                  <a:pt x="498" y="591"/>
                </a:lnTo>
                <a:lnTo>
                  <a:pt x="501" y="587"/>
                </a:lnTo>
                <a:lnTo>
                  <a:pt x="505" y="584"/>
                </a:lnTo>
                <a:lnTo>
                  <a:pt x="514" y="582"/>
                </a:lnTo>
                <a:lnTo>
                  <a:pt x="523" y="578"/>
                </a:lnTo>
                <a:lnTo>
                  <a:pt x="526" y="576"/>
                </a:lnTo>
                <a:lnTo>
                  <a:pt x="528" y="575"/>
                </a:lnTo>
                <a:lnTo>
                  <a:pt x="530" y="573"/>
                </a:lnTo>
                <a:lnTo>
                  <a:pt x="530" y="569"/>
                </a:lnTo>
                <a:lnTo>
                  <a:pt x="532" y="563"/>
                </a:lnTo>
                <a:lnTo>
                  <a:pt x="534" y="558"/>
                </a:lnTo>
                <a:lnTo>
                  <a:pt x="539" y="553"/>
                </a:lnTo>
                <a:lnTo>
                  <a:pt x="544" y="549"/>
                </a:lnTo>
                <a:lnTo>
                  <a:pt x="549" y="544"/>
                </a:lnTo>
                <a:lnTo>
                  <a:pt x="555" y="541"/>
                </a:lnTo>
                <a:lnTo>
                  <a:pt x="561" y="538"/>
                </a:lnTo>
                <a:lnTo>
                  <a:pt x="566" y="536"/>
                </a:lnTo>
                <a:lnTo>
                  <a:pt x="567" y="533"/>
                </a:lnTo>
                <a:lnTo>
                  <a:pt x="569" y="528"/>
                </a:lnTo>
                <a:lnTo>
                  <a:pt x="571" y="527"/>
                </a:lnTo>
                <a:lnTo>
                  <a:pt x="573" y="527"/>
                </a:lnTo>
                <a:lnTo>
                  <a:pt x="574" y="528"/>
                </a:lnTo>
                <a:lnTo>
                  <a:pt x="575" y="529"/>
                </a:lnTo>
                <a:lnTo>
                  <a:pt x="577" y="535"/>
                </a:lnTo>
                <a:lnTo>
                  <a:pt x="578" y="541"/>
                </a:lnTo>
                <a:lnTo>
                  <a:pt x="580" y="537"/>
                </a:lnTo>
                <a:lnTo>
                  <a:pt x="583" y="536"/>
                </a:lnTo>
                <a:lnTo>
                  <a:pt x="588" y="535"/>
                </a:lnTo>
                <a:lnTo>
                  <a:pt x="592" y="535"/>
                </a:lnTo>
                <a:lnTo>
                  <a:pt x="596" y="535"/>
                </a:lnTo>
                <a:lnTo>
                  <a:pt x="598" y="534"/>
                </a:lnTo>
                <a:lnTo>
                  <a:pt x="600" y="532"/>
                </a:lnTo>
                <a:lnTo>
                  <a:pt x="604" y="528"/>
                </a:lnTo>
                <a:lnTo>
                  <a:pt x="612" y="521"/>
                </a:lnTo>
                <a:lnTo>
                  <a:pt x="622" y="515"/>
                </a:lnTo>
                <a:lnTo>
                  <a:pt x="631" y="508"/>
                </a:lnTo>
                <a:lnTo>
                  <a:pt x="640" y="500"/>
                </a:lnTo>
                <a:lnTo>
                  <a:pt x="651" y="492"/>
                </a:lnTo>
                <a:lnTo>
                  <a:pt x="661" y="484"/>
                </a:lnTo>
                <a:lnTo>
                  <a:pt x="672" y="477"/>
                </a:lnTo>
                <a:lnTo>
                  <a:pt x="684" y="470"/>
                </a:lnTo>
                <a:lnTo>
                  <a:pt x="691" y="463"/>
                </a:lnTo>
                <a:lnTo>
                  <a:pt x="702" y="457"/>
                </a:lnTo>
                <a:lnTo>
                  <a:pt x="706" y="454"/>
                </a:lnTo>
                <a:lnTo>
                  <a:pt x="712" y="452"/>
                </a:lnTo>
                <a:lnTo>
                  <a:pt x="717" y="452"/>
                </a:lnTo>
                <a:lnTo>
                  <a:pt x="722" y="453"/>
                </a:lnTo>
                <a:lnTo>
                  <a:pt x="718" y="463"/>
                </a:lnTo>
                <a:lnTo>
                  <a:pt x="715" y="474"/>
                </a:lnTo>
                <a:lnTo>
                  <a:pt x="719" y="474"/>
                </a:lnTo>
                <a:lnTo>
                  <a:pt x="723" y="475"/>
                </a:lnTo>
                <a:lnTo>
                  <a:pt x="726" y="476"/>
                </a:lnTo>
                <a:lnTo>
                  <a:pt x="728" y="479"/>
                </a:lnTo>
                <a:lnTo>
                  <a:pt x="728" y="490"/>
                </a:lnTo>
                <a:lnTo>
                  <a:pt x="728" y="500"/>
                </a:lnTo>
                <a:lnTo>
                  <a:pt x="728" y="501"/>
                </a:lnTo>
                <a:lnTo>
                  <a:pt x="729" y="502"/>
                </a:lnTo>
                <a:lnTo>
                  <a:pt x="730" y="502"/>
                </a:lnTo>
                <a:lnTo>
                  <a:pt x="731" y="502"/>
                </a:lnTo>
                <a:lnTo>
                  <a:pt x="735" y="501"/>
                </a:lnTo>
                <a:lnTo>
                  <a:pt x="738" y="500"/>
                </a:lnTo>
                <a:lnTo>
                  <a:pt x="742" y="499"/>
                </a:lnTo>
                <a:lnTo>
                  <a:pt x="744" y="498"/>
                </a:lnTo>
                <a:lnTo>
                  <a:pt x="747" y="498"/>
                </a:lnTo>
                <a:lnTo>
                  <a:pt x="751" y="499"/>
                </a:lnTo>
                <a:lnTo>
                  <a:pt x="752" y="500"/>
                </a:lnTo>
                <a:lnTo>
                  <a:pt x="752" y="501"/>
                </a:lnTo>
                <a:lnTo>
                  <a:pt x="752" y="502"/>
                </a:lnTo>
                <a:lnTo>
                  <a:pt x="751" y="503"/>
                </a:lnTo>
                <a:lnTo>
                  <a:pt x="748" y="508"/>
                </a:lnTo>
                <a:lnTo>
                  <a:pt x="745" y="511"/>
                </a:lnTo>
                <a:lnTo>
                  <a:pt x="752" y="509"/>
                </a:lnTo>
                <a:lnTo>
                  <a:pt x="757" y="505"/>
                </a:lnTo>
                <a:lnTo>
                  <a:pt x="762" y="501"/>
                </a:lnTo>
                <a:lnTo>
                  <a:pt x="768" y="496"/>
                </a:lnTo>
                <a:lnTo>
                  <a:pt x="770" y="492"/>
                </a:lnTo>
                <a:lnTo>
                  <a:pt x="773" y="488"/>
                </a:lnTo>
                <a:lnTo>
                  <a:pt x="776" y="488"/>
                </a:lnTo>
                <a:lnTo>
                  <a:pt x="779" y="490"/>
                </a:lnTo>
                <a:lnTo>
                  <a:pt x="780" y="493"/>
                </a:lnTo>
                <a:lnTo>
                  <a:pt x="781" y="495"/>
                </a:lnTo>
                <a:lnTo>
                  <a:pt x="777" y="500"/>
                </a:lnTo>
                <a:lnTo>
                  <a:pt x="771" y="504"/>
                </a:lnTo>
                <a:lnTo>
                  <a:pt x="769" y="510"/>
                </a:lnTo>
                <a:lnTo>
                  <a:pt x="765" y="516"/>
                </a:lnTo>
                <a:lnTo>
                  <a:pt x="763" y="518"/>
                </a:lnTo>
                <a:lnTo>
                  <a:pt x="761" y="519"/>
                </a:lnTo>
                <a:lnTo>
                  <a:pt x="759" y="520"/>
                </a:lnTo>
                <a:lnTo>
                  <a:pt x="756" y="520"/>
                </a:lnTo>
                <a:lnTo>
                  <a:pt x="751" y="520"/>
                </a:lnTo>
                <a:lnTo>
                  <a:pt x="745" y="519"/>
                </a:lnTo>
                <a:lnTo>
                  <a:pt x="748" y="524"/>
                </a:lnTo>
                <a:lnTo>
                  <a:pt x="750" y="528"/>
                </a:lnTo>
                <a:lnTo>
                  <a:pt x="748" y="530"/>
                </a:lnTo>
                <a:lnTo>
                  <a:pt x="747" y="533"/>
                </a:lnTo>
                <a:lnTo>
                  <a:pt x="746" y="535"/>
                </a:lnTo>
                <a:lnTo>
                  <a:pt x="743" y="537"/>
                </a:lnTo>
                <a:lnTo>
                  <a:pt x="746" y="538"/>
                </a:lnTo>
                <a:lnTo>
                  <a:pt x="748" y="540"/>
                </a:lnTo>
                <a:lnTo>
                  <a:pt x="751" y="538"/>
                </a:lnTo>
                <a:lnTo>
                  <a:pt x="754" y="537"/>
                </a:lnTo>
                <a:lnTo>
                  <a:pt x="759" y="535"/>
                </a:lnTo>
                <a:lnTo>
                  <a:pt x="764" y="533"/>
                </a:lnTo>
                <a:lnTo>
                  <a:pt x="767" y="534"/>
                </a:lnTo>
                <a:lnTo>
                  <a:pt x="768" y="535"/>
                </a:lnTo>
                <a:lnTo>
                  <a:pt x="768" y="536"/>
                </a:lnTo>
                <a:lnTo>
                  <a:pt x="769" y="538"/>
                </a:lnTo>
                <a:lnTo>
                  <a:pt x="768" y="542"/>
                </a:lnTo>
                <a:lnTo>
                  <a:pt x="768" y="546"/>
                </a:lnTo>
                <a:lnTo>
                  <a:pt x="777" y="541"/>
                </a:lnTo>
                <a:lnTo>
                  <a:pt x="787" y="534"/>
                </a:lnTo>
                <a:lnTo>
                  <a:pt x="792" y="530"/>
                </a:lnTo>
                <a:lnTo>
                  <a:pt x="797" y="528"/>
                </a:lnTo>
                <a:lnTo>
                  <a:pt x="803" y="527"/>
                </a:lnTo>
                <a:lnTo>
                  <a:pt x="808" y="528"/>
                </a:lnTo>
                <a:lnTo>
                  <a:pt x="813" y="529"/>
                </a:lnTo>
                <a:lnTo>
                  <a:pt x="819" y="532"/>
                </a:lnTo>
                <a:lnTo>
                  <a:pt x="825" y="527"/>
                </a:lnTo>
                <a:lnTo>
                  <a:pt x="830" y="521"/>
                </a:lnTo>
                <a:lnTo>
                  <a:pt x="837" y="517"/>
                </a:lnTo>
                <a:lnTo>
                  <a:pt x="844" y="512"/>
                </a:lnTo>
                <a:lnTo>
                  <a:pt x="846" y="511"/>
                </a:lnTo>
                <a:lnTo>
                  <a:pt x="847" y="509"/>
                </a:lnTo>
                <a:lnTo>
                  <a:pt x="849" y="508"/>
                </a:lnTo>
                <a:lnTo>
                  <a:pt x="849" y="504"/>
                </a:lnTo>
                <a:lnTo>
                  <a:pt x="850" y="500"/>
                </a:lnTo>
                <a:lnTo>
                  <a:pt x="852" y="496"/>
                </a:lnTo>
                <a:lnTo>
                  <a:pt x="855" y="493"/>
                </a:lnTo>
                <a:lnTo>
                  <a:pt x="859" y="491"/>
                </a:lnTo>
                <a:lnTo>
                  <a:pt x="868" y="485"/>
                </a:lnTo>
                <a:lnTo>
                  <a:pt x="877" y="482"/>
                </a:lnTo>
                <a:lnTo>
                  <a:pt x="882" y="483"/>
                </a:lnTo>
                <a:lnTo>
                  <a:pt x="886" y="486"/>
                </a:lnTo>
                <a:lnTo>
                  <a:pt x="890" y="491"/>
                </a:lnTo>
                <a:lnTo>
                  <a:pt x="893" y="495"/>
                </a:lnTo>
                <a:lnTo>
                  <a:pt x="890" y="507"/>
                </a:lnTo>
                <a:lnTo>
                  <a:pt x="888" y="518"/>
                </a:lnTo>
                <a:lnTo>
                  <a:pt x="909" y="504"/>
                </a:lnTo>
                <a:lnTo>
                  <a:pt x="930" y="493"/>
                </a:lnTo>
                <a:lnTo>
                  <a:pt x="951" y="480"/>
                </a:lnTo>
                <a:lnTo>
                  <a:pt x="971" y="466"/>
                </a:lnTo>
                <a:lnTo>
                  <a:pt x="966" y="465"/>
                </a:lnTo>
                <a:lnTo>
                  <a:pt x="961" y="463"/>
                </a:lnTo>
                <a:lnTo>
                  <a:pt x="960" y="461"/>
                </a:lnTo>
                <a:lnTo>
                  <a:pt x="961" y="459"/>
                </a:lnTo>
                <a:lnTo>
                  <a:pt x="961" y="458"/>
                </a:lnTo>
                <a:lnTo>
                  <a:pt x="962" y="457"/>
                </a:lnTo>
                <a:lnTo>
                  <a:pt x="966" y="454"/>
                </a:lnTo>
                <a:lnTo>
                  <a:pt x="969" y="453"/>
                </a:lnTo>
                <a:lnTo>
                  <a:pt x="983" y="441"/>
                </a:lnTo>
                <a:lnTo>
                  <a:pt x="997" y="429"/>
                </a:lnTo>
                <a:lnTo>
                  <a:pt x="1012" y="421"/>
                </a:lnTo>
                <a:lnTo>
                  <a:pt x="1031" y="415"/>
                </a:lnTo>
                <a:lnTo>
                  <a:pt x="1039" y="411"/>
                </a:lnTo>
                <a:lnTo>
                  <a:pt x="1048" y="408"/>
                </a:lnTo>
                <a:lnTo>
                  <a:pt x="1055" y="402"/>
                </a:lnTo>
                <a:lnTo>
                  <a:pt x="1061" y="396"/>
                </a:lnTo>
                <a:lnTo>
                  <a:pt x="1067" y="389"/>
                </a:lnTo>
                <a:lnTo>
                  <a:pt x="1073" y="383"/>
                </a:lnTo>
                <a:lnTo>
                  <a:pt x="1075" y="382"/>
                </a:lnTo>
                <a:lnTo>
                  <a:pt x="1078" y="379"/>
                </a:lnTo>
                <a:lnTo>
                  <a:pt x="1082" y="376"/>
                </a:lnTo>
                <a:lnTo>
                  <a:pt x="1083" y="372"/>
                </a:lnTo>
                <a:lnTo>
                  <a:pt x="1082" y="370"/>
                </a:lnTo>
                <a:lnTo>
                  <a:pt x="1080" y="370"/>
                </a:lnTo>
                <a:lnTo>
                  <a:pt x="1077" y="370"/>
                </a:lnTo>
                <a:lnTo>
                  <a:pt x="1075" y="369"/>
                </a:lnTo>
                <a:lnTo>
                  <a:pt x="1070" y="369"/>
                </a:lnTo>
                <a:lnTo>
                  <a:pt x="1065" y="368"/>
                </a:lnTo>
                <a:lnTo>
                  <a:pt x="1059" y="367"/>
                </a:lnTo>
                <a:lnTo>
                  <a:pt x="1057" y="364"/>
                </a:lnTo>
                <a:lnTo>
                  <a:pt x="1060" y="357"/>
                </a:lnTo>
                <a:lnTo>
                  <a:pt x="1066" y="350"/>
                </a:lnTo>
                <a:lnTo>
                  <a:pt x="1072" y="345"/>
                </a:lnTo>
                <a:lnTo>
                  <a:pt x="1077" y="342"/>
                </a:lnTo>
                <a:lnTo>
                  <a:pt x="1085" y="341"/>
                </a:lnTo>
                <a:lnTo>
                  <a:pt x="1092" y="338"/>
                </a:lnTo>
                <a:lnTo>
                  <a:pt x="1092" y="337"/>
                </a:lnTo>
                <a:lnTo>
                  <a:pt x="1092" y="335"/>
                </a:lnTo>
                <a:lnTo>
                  <a:pt x="1091" y="334"/>
                </a:lnTo>
                <a:lnTo>
                  <a:pt x="1090" y="333"/>
                </a:lnTo>
                <a:lnTo>
                  <a:pt x="1086" y="332"/>
                </a:lnTo>
                <a:lnTo>
                  <a:pt x="1082" y="332"/>
                </a:lnTo>
                <a:lnTo>
                  <a:pt x="1081" y="332"/>
                </a:lnTo>
                <a:lnTo>
                  <a:pt x="1082" y="332"/>
                </a:lnTo>
                <a:close/>
                <a:moveTo>
                  <a:pt x="843" y="69"/>
                </a:moveTo>
                <a:lnTo>
                  <a:pt x="844" y="68"/>
                </a:lnTo>
                <a:lnTo>
                  <a:pt x="846" y="69"/>
                </a:lnTo>
                <a:lnTo>
                  <a:pt x="846" y="70"/>
                </a:lnTo>
                <a:lnTo>
                  <a:pt x="845" y="71"/>
                </a:lnTo>
                <a:lnTo>
                  <a:pt x="844" y="71"/>
                </a:lnTo>
                <a:lnTo>
                  <a:pt x="843" y="71"/>
                </a:lnTo>
                <a:lnTo>
                  <a:pt x="842" y="70"/>
                </a:lnTo>
                <a:lnTo>
                  <a:pt x="843" y="69"/>
                </a:lnTo>
                <a:lnTo>
                  <a:pt x="843" y="69"/>
                </a:lnTo>
                <a:lnTo>
                  <a:pt x="843" y="69"/>
                </a:lnTo>
                <a:close/>
                <a:moveTo>
                  <a:pt x="837" y="178"/>
                </a:moveTo>
                <a:lnTo>
                  <a:pt x="841" y="173"/>
                </a:lnTo>
                <a:lnTo>
                  <a:pt x="844" y="170"/>
                </a:lnTo>
                <a:lnTo>
                  <a:pt x="849" y="167"/>
                </a:lnTo>
                <a:lnTo>
                  <a:pt x="854" y="164"/>
                </a:lnTo>
                <a:lnTo>
                  <a:pt x="863" y="159"/>
                </a:lnTo>
                <a:lnTo>
                  <a:pt x="875" y="155"/>
                </a:lnTo>
                <a:lnTo>
                  <a:pt x="887" y="151"/>
                </a:lnTo>
                <a:lnTo>
                  <a:pt x="900" y="146"/>
                </a:lnTo>
                <a:lnTo>
                  <a:pt x="912" y="142"/>
                </a:lnTo>
                <a:lnTo>
                  <a:pt x="926" y="137"/>
                </a:lnTo>
                <a:lnTo>
                  <a:pt x="938" y="134"/>
                </a:lnTo>
                <a:lnTo>
                  <a:pt x="951" y="129"/>
                </a:lnTo>
                <a:lnTo>
                  <a:pt x="963" y="123"/>
                </a:lnTo>
                <a:lnTo>
                  <a:pt x="976" y="119"/>
                </a:lnTo>
                <a:lnTo>
                  <a:pt x="982" y="117"/>
                </a:lnTo>
                <a:lnTo>
                  <a:pt x="987" y="114"/>
                </a:lnTo>
                <a:lnTo>
                  <a:pt x="993" y="113"/>
                </a:lnTo>
                <a:lnTo>
                  <a:pt x="1000" y="113"/>
                </a:lnTo>
                <a:lnTo>
                  <a:pt x="1006" y="113"/>
                </a:lnTo>
                <a:lnTo>
                  <a:pt x="1011" y="114"/>
                </a:lnTo>
                <a:lnTo>
                  <a:pt x="1018" y="115"/>
                </a:lnTo>
                <a:lnTo>
                  <a:pt x="1024" y="119"/>
                </a:lnTo>
                <a:lnTo>
                  <a:pt x="1019" y="123"/>
                </a:lnTo>
                <a:lnTo>
                  <a:pt x="1014" y="127"/>
                </a:lnTo>
                <a:lnTo>
                  <a:pt x="1008" y="130"/>
                </a:lnTo>
                <a:lnTo>
                  <a:pt x="1002" y="133"/>
                </a:lnTo>
                <a:lnTo>
                  <a:pt x="991" y="137"/>
                </a:lnTo>
                <a:lnTo>
                  <a:pt x="978" y="140"/>
                </a:lnTo>
                <a:lnTo>
                  <a:pt x="963" y="144"/>
                </a:lnTo>
                <a:lnTo>
                  <a:pt x="950" y="148"/>
                </a:lnTo>
                <a:lnTo>
                  <a:pt x="935" y="152"/>
                </a:lnTo>
                <a:lnTo>
                  <a:pt x="921" y="156"/>
                </a:lnTo>
                <a:lnTo>
                  <a:pt x="907" y="160"/>
                </a:lnTo>
                <a:lnTo>
                  <a:pt x="893" y="164"/>
                </a:lnTo>
                <a:lnTo>
                  <a:pt x="879" y="169"/>
                </a:lnTo>
                <a:lnTo>
                  <a:pt x="866" y="172"/>
                </a:lnTo>
                <a:lnTo>
                  <a:pt x="859" y="173"/>
                </a:lnTo>
                <a:lnTo>
                  <a:pt x="853" y="176"/>
                </a:lnTo>
                <a:lnTo>
                  <a:pt x="847" y="178"/>
                </a:lnTo>
                <a:lnTo>
                  <a:pt x="843" y="181"/>
                </a:lnTo>
                <a:lnTo>
                  <a:pt x="841" y="183"/>
                </a:lnTo>
                <a:lnTo>
                  <a:pt x="839" y="184"/>
                </a:lnTo>
                <a:lnTo>
                  <a:pt x="837" y="184"/>
                </a:lnTo>
                <a:lnTo>
                  <a:pt x="835" y="183"/>
                </a:lnTo>
                <a:lnTo>
                  <a:pt x="834" y="181"/>
                </a:lnTo>
                <a:lnTo>
                  <a:pt x="834" y="180"/>
                </a:lnTo>
                <a:lnTo>
                  <a:pt x="835" y="179"/>
                </a:lnTo>
                <a:lnTo>
                  <a:pt x="837" y="178"/>
                </a:lnTo>
                <a:lnTo>
                  <a:pt x="839" y="173"/>
                </a:lnTo>
                <a:lnTo>
                  <a:pt x="837" y="178"/>
                </a:lnTo>
                <a:close/>
                <a:moveTo>
                  <a:pt x="281" y="408"/>
                </a:moveTo>
                <a:lnTo>
                  <a:pt x="274" y="416"/>
                </a:lnTo>
                <a:lnTo>
                  <a:pt x="266" y="422"/>
                </a:lnTo>
                <a:lnTo>
                  <a:pt x="260" y="427"/>
                </a:lnTo>
                <a:lnTo>
                  <a:pt x="254" y="433"/>
                </a:lnTo>
                <a:lnTo>
                  <a:pt x="251" y="435"/>
                </a:lnTo>
                <a:lnTo>
                  <a:pt x="248" y="437"/>
                </a:lnTo>
                <a:lnTo>
                  <a:pt x="246" y="440"/>
                </a:lnTo>
                <a:lnTo>
                  <a:pt x="245" y="443"/>
                </a:lnTo>
                <a:lnTo>
                  <a:pt x="242" y="446"/>
                </a:lnTo>
                <a:lnTo>
                  <a:pt x="237" y="449"/>
                </a:lnTo>
                <a:lnTo>
                  <a:pt x="235" y="449"/>
                </a:lnTo>
                <a:lnTo>
                  <a:pt x="234" y="447"/>
                </a:lnTo>
                <a:lnTo>
                  <a:pt x="233" y="446"/>
                </a:lnTo>
                <a:lnTo>
                  <a:pt x="233" y="445"/>
                </a:lnTo>
                <a:lnTo>
                  <a:pt x="234" y="442"/>
                </a:lnTo>
                <a:lnTo>
                  <a:pt x="235" y="440"/>
                </a:lnTo>
                <a:lnTo>
                  <a:pt x="242" y="433"/>
                </a:lnTo>
                <a:lnTo>
                  <a:pt x="249" y="427"/>
                </a:lnTo>
                <a:lnTo>
                  <a:pt x="253" y="420"/>
                </a:lnTo>
                <a:lnTo>
                  <a:pt x="257" y="412"/>
                </a:lnTo>
                <a:lnTo>
                  <a:pt x="259" y="411"/>
                </a:lnTo>
                <a:lnTo>
                  <a:pt x="261" y="409"/>
                </a:lnTo>
                <a:lnTo>
                  <a:pt x="261" y="404"/>
                </a:lnTo>
                <a:lnTo>
                  <a:pt x="260" y="400"/>
                </a:lnTo>
                <a:lnTo>
                  <a:pt x="260" y="402"/>
                </a:lnTo>
                <a:lnTo>
                  <a:pt x="261" y="405"/>
                </a:lnTo>
                <a:lnTo>
                  <a:pt x="267" y="402"/>
                </a:lnTo>
                <a:lnTo>
                  <a:pt x="272" y="399"/>
                </a:lnTo>
                <a:lnTo>
                  <a:pt x="276" y="394"/>
                </a:lnTo>
                <a:lnTo>
                  <a:pt x="281" y="388"/>
                </a:lnTo>
                <a:lnTo>
                  <a:pt x="291" y="383"/>
                </a:lnTo>
                <a:lnTo>
                  <a:pt x="302" y="377"/>
                </a:lnTo>
                <a:lnTo>
                  <a:pt x="307" y="372"/>
                </a:lnTo>
                <a:lnTo>
                  <a:pt x="311" y="369"/>
                </a:lnTo>
                <a:lnTo>
                  <a:pt x="315" y="366"/>
                </a:lnTo>
                <a:lnTo>
                  <a:pt x="319" y="362"/>
                </a:lnTo>
                <a:lnTo>
                  <a:pt x="323" y="360"/>
                </a:lnTo>
                <a:lnTo>
                  <a:pt x="326" y="357"/>
                </a:lnTo>
                <a:lnTo>
                  <a:pt x="328" y="355"/>
                </a:lnTo>
                <a:lnTo>
                  <a:pt x="331" y="354"/>
                </a:lnTo>
                <a:lnTo>
                  <a:pt x="333" y="353"/>
                </a:lnTo>
                <a:lnTo>
                  <a:pt x="335" y="353"/>
                </a:lnTo>
                <a:lnTo>
                  <a:pt x="335" y="357"/>
                </a:lnTo>
                <a:lnTo>
                  <a:pt x="334" y="359"/>
                </a:lnTo>
                <a:lnTo>
                  <a:pt x="333" y="360"/>
                </a:lnTo>
                <a:lnTo>
                  <a:pt x="331" y="361"/>
                </a:lnTo>
                <a:lnTo>
                  <a:pt x="328" y="363"/>
                </a:lnTo>
                <a:lnTo>
                  <a:pt x="326" y="364"/>
                </a:lnTo>
                <a:lnTo>
                  <a:pt x="319" y="371"/>
                </a:lnTo>
                <a:lnTo>
                  <a:pt x="311" y="376"/>
                </a:lnTo>
                <a:lnTo>
                  <a:pt x="303" y="384"/>
                </a:lnTo>
                <a:lnTo>
                  <a:pt x="295" y="391"/>
                </a:lnTo>
                <a:lnTo>
                  <a:pt x="287" y="400"/>
                </a:lnTo>
                <a:lnTo>
                  <a:pt x="281" y="408"/>
                </a:lnTo>
                <a:lnTo>
                  <a:pt x="281" y="408"/>
                </a:lnTo>
                <a:lnTo>
                  <a:pt x="284" y="404"/>
                </a:lnTo>
                <a:lnTo>
                  <a:pt x="285" y="402"/>
                </a:lnTo>
                <a:lnTo>
                  <a:pt x="281" y="408"/>
                </a:lnTo>
                <a:close/>
                <a:moveTo>
                  <a:pt x="660" y="134"/>
                </a:moveTo>
                <a:lnTo>
                  <a:pt x="658" y="131"/>
                </a:lnTo>
                <a:lnTo>
                  <a:pt x="658" y="129"/>
                </a:lnTo>
                <a:lnTo>
                  <a:pt x="658" y="137"/>
                </a:lnTo>
                <a:lnTo>
                  <a:pt x="657" y="145"/>
                </a:lnTo>
                <a:lnTo>
                  <a:pt x="655" y="148"/>
                </a:lnTo>
                <a:lnTo>
                  <a:pt x="653" y="151"/>
                </a:lnTo>
                <a:lnTo>
                  <a:pt x="648" y="153"/>
                </a:lnTo>
                <a:lnTo>
                  <a:pt x="644" y="154"/>
                </a:lnTo>
                <a:lnTo>
                  <a:pt x="648" y="153"/>
                </a:lnTo>
                <a:lnTo>
                  <a:pt x="651" y="152"/>
                </a:lnTo>
                <a:lnTo>
                  <a:pt x="654" y="150"/>
                </a:lnTo>
                <a:lnTo>
                  <a:pt x="655" y="147"/>
                </a:lnTo>
                <a:lnTo>
                  <a:pt x="658" y="142"/>
                </a:lnTo>
                <a:lnTo>
                  <a:pt x="660" y="134"/>
                </a:lnTo>
                <a:lnTo>
                  <a:pt x="660" y="138"/>
                </a:lnTo>
                <a:lnTo>
                  <a:pt x="660" y="134"/>
                </a:lnTo>
                <a:close/>
                <a:moveTo>
                  <a:pt x="611" y="88"/>
                </a:moveTo>
                <a:lnTo>
                  <a:pt x="607" y="90"/>
                </a:lnTo>
                <a:lnTo>
                  <a:pt x="605" y="93"/>
                </a:lnTo>
                <a:lnTo>
                  <a:pt x="604" y="96"/>
                </a:lnTo>
                <a:lnTo>
                  <a:pt x="603" y="98"/>
                </a:lnTo>
                <a:lnTo>
                  <a:pt x="602" y="105"/>
                </a:lnTo>
                <a:lnTo>
                  <a:pt x="602" y="112"/>
                </a:lnTo>
                <a:lnTo>
                  <a:pt x="602" y="105"/>
                </a:lnTo>
                <a:lnTo>
                  <a:pt x="603" y="98"/>
                </a:lnTo>
                <a:lnTo>
                  <a:pt x="604" y="96"/>
                </a:lnTo>
                <a:lnTo>
                  <a:pt x="605" y="93"/>
                </a:lnTo>
                <a:lnTo>
                  <a:pt x="607" y="90"/>
                </a:lnTo>
                <a:lnTo>
                  <a:pt x="611" y="88"/>
                </a:lnTo>
                <a:lnTo>
                  <a:pt x="606" y="90"/>
                </a:lnTo>
                <a:lnTo>
                  <a:pt x="611" y="88"/>
                </a:lnTo>
                <a:close/>
                <a:moveTo>
                  <a:pt x="495" y="435"/>
                </a:moveTo>
                <a:lnTo>
                  <a:pt x="508" y="422"/>
                </a:lnTo>
                <a:lnTo>
                  <a:pt x="523" y="409"/>
                </a:lnTo>
                <a:lnTo>
                  <a:pt x="538" y="397"/>
                </a:lnTo>
                <a:lnTo>
                  <a:pt x="554" y="385"/>
                </a:lnTo>
                <a:lnTo>
                  <a:pt x="569" y="375"/>
                </a:lnTo>
                <a:lnTo>
                  <a:pt x="584" y="364"/>
                </a:lnTo>
                <a:lnTo>
                  <a:pt x="590" y="360"/>
                </a:lnTo>
                <a:lnTo>
                  <a:pt x="599" y="354"/>
                </a:lnTo>
                <a:lnTo>
                  <a:pt x="604" y="352"/>
                </a:lnTo>
                <a:lnTo>
                  <a:pt x="608" y="351"/>
                </a:lnTo>
                <a:lnTo>
                  <a:pt x="612" y="351"/>
                </a:lnTo>
                <a:lnTo>
                  <a:pt x="614" y="353"/>
                </a:lnTo>
                <a:lnTo>
                  <a:pt x="584" y="374"/>
                </a:lnTo>
                <a:lnTo>
                  <a:pt x="555" y="395"/>
                </a:lnTo>
                <a:lnTo>
                  <a:pt x="525" y="416"/>
                </a:lnTo>
                <a:lnTo>
                  <a:pt x="495" y="435"/>
                </a:lnTo>
                <a:lnTo>
                  <a:pt x="506" y="425"/>
                </a:lnTo>
                <a:lnTo>
                  <a:pt x="515" y="418"/>
                </a:lnTo>
                <a:lnTo>
                  <a:pt x="521" y="415"/>
                </a:lnTo>
                <a:lnTo>
                  <a:pt x="523" y="413"/>
                </a:lnTo>
                <a:lnTo>
                  <a:pt x="522" y="416"/>
                </a:lnTo>
                <a:lnTo>
                  <a:pt x="517" y="420"/>
                </a:lnTo>
                <a:lnTo>
                  <a:pt x="508" y="427"/>
                </a:lnTo>
                <a:lnTo>
                  <a:pt x="495" y="435"/>
                </a:lnTo>
                <a:close/>
                <a:moveTo>
                  <a:pt x="668" y="194"/>
                </a:moveTo>
                <a:lnTo>
                  <a:pt x="660" y="200"/>
                </a:lnTo>
                <a:lnTo>
                  <a:pt x="651" y="204"/>
                </a:lnTo>
                <a:lnTo>
                  <a:pt x="641" y="209"/>
                </a:lnTo>
                <a:lnTo>
                  <a:pt x="631" y="214"/>
                </a:lnTo>
                <a:lnTo>
                  <a:pt x="635" y="209"/>
                </a:lnTo>
                <a:lnTo>
                  <a:pt x="638" y="205"/>
                </a:lnTo>
                <a:lnTo>
                  <a:pt x="643" y="201"/>
                </a:lnTo>
                <a:lnTo>
                  <a:pt x="647" y="198"/>
                </a:lnTo>
                <a:lnTo>
                  <a:pt x="652" y="196"/>
                </a:lnTo>
                <a:lnTo>
                  <a:pt x="656" y="194"/>
                </a:lnTo>
                <a:lnTo>
                  <a:pt x="662" y="194"/>
                </a:lnTo>
                <a:lnTo>
                  <a:pt x="668" y="194"/>
                </a:lnTo>
                <a:close/>
                <a:moveTo>
                  <a:pt x="651" y="225"/>
                </a:moveTo>
                <a:lnTo>
                  <a:pt x="648" y="223"/>
                </a:lnTo>
                <a:lnTo>
                  <a:pt x="646" y="221"/>
                </a:lnTo>
                <a:lnTo>
                  <a:pt x="655" y="218"/>
                </a:lnTo>
                <a:lnTo>
                  <a:pt x="663" y="214"/>
                </a:lnTo>
                <a:lnTo>
                  <a:pt x="668" y="212"/>
                </a:lnTo>
                <a:lnTo>
                  <a:pt x="672" y="210"/>
                </a:lnTo>
                <a:lnTo>
                  <a:pt x="677" y="210"/>
                </a:lnTo>
                <a:lnTo>
                  <a:pt x="681" y="209"/>
                </a:lnTo>
                <a:lnTo>
                  <a:pt x="674" y="213"/>
                </a:lnTo>
                <a:lnTo>
                  <a:pt x="666" y="218"/>
                </a:lnTo>
                <a:lnTo>
                  <a:pt x="660" y="222"/>
                </a:lnTo>
                <a:lnTo>
                  <a:pt x="651" y="225"/>
                </a:lnTo>
                <a:lnTo>
                  <a:pt x="655" y="223"/>
                </a:lnTo>
                <a:lnTo>
                  <a:pt x="651" y="225"/>
                </a:lnTo>
                <a:close/>
                <a:moveTo>
                  <a:pt x="740" y="320"/>
                </a:moveTo>
                <a:lnTo>
                  <a:pt x="736" y="324"/>
                </a:lnTo>
                <a:lnTo>
                  <a:pt x="730" y="326"/>
                </a:lnTo>
                <a:lnTo>
                  <a:pt x="728" y="328"/>
                </a:lnTo>
                <a:lnTo>
                  <a:pt x="727" y="330"/>
                </a:lnTo>
                <a:lnTo>
                  <a:pt x="726" y="333"/>
                </a:lnTo>
                <a:lnTo>
                  <a:pt x="726" y="336"/>
                </a:lnTo>
                <a:lnTo>
                  <a:pt x="720" y="335"/>
                </a:lnTo>
                <a:lnTo>
                  <a:pt x="715" y="335"/>
                </a:lnTo>
                <a:lnTo>
                  <a:pt x="711" y="335"/>
                </a:lnTo>
                <a:lnTo>
                  <a:pt x="706" y="337"/>
                </a:lnTo>
                <a:lnTo>
                  <a:pt x="703" y="339"/>
                </a:lnTo>
                <a:lnTo>
                  <a:pt x="698" y="342"/>
                </a:lnTo>
                <a:lnTo>
                  <a:pt x="696" y="345"/>
                </a:lnTo>
                <a:lnTo>
                  <a:pt x="694" y="347"/>
                </a:lnTo>
                <a:lnTo>
                  <a:pt x="691" y="347"/>
                </a:lnTo>
                <a:lnTo>
                  <a:pt x="690" y="347"/>
                </a:lnTo>
                <a:lnTo>
                  <a:pt x="689" y="347"/>
                </a:lnTo>
                <a:lnTo>
                  <a:pt x="689" y="346"/>
                </a:lnTo>
                <a:lnTo>
                  <a:pt x="689" y="343"/>
                </a:lnTo>
                <a:lnTo>
                  <a:pt x="691" y="341"/>
                </a:lnTo>
                <a:lnTo>
                  <a:pt x="697" y="334"/>
                </a:lnTo>
                <a:lnTo>
                  <a:pt x="704" y="329"/>
                </a:lnTo>
                <a:lnTo>
                  <a:pt x="719" y="321"/>
                </a:lnTo>
                <a:lnTo>
                  <a:pt x="735" y="313"/>
                </a:lnTo>
                <a:lnTo>
                  <a:pt x="737" y="312"/>
                </a:lnTo>
                <a:lnTo>
                  <a:pt x="740" y="310"/>
                </a:lnTo>
                <a:lnTo>
                  <a:pt x="743" y="309"/>
                </a:lnTo>
                <a:lnTo>
                  <a:pt x="746" y="310"/>
                </a:lnTo>
                <a:lnTo>
                  <a:pt x="747" y="312"/>
                </a:lnTo>
                <a:lnTo>
                  <a:pt x="747" y="313"/>
                </a:lnTo>
                <a:lnTo>
                  <a:pt x="747" y="314"/>
                </a:lnTo>
                <a:lnTo>
                  <a:pt x="746" y="317"/>
                </a:lnTo>
                <a:lnTo>
                  <a:pt x="744" y="318"/>
                </a:lnTo>
                <a:lnTo>
                  <a:pt x="740" y="320"/>
                </a:lnTo>
                <a:lnTo>
                  <a:pt x="739" y="321"/>
                </a:lnTo>
                <a:lnTo>
                  <a:pt x="740" y="320"/>
                </a:lnTo>
                <a:close/>
                <a:moveTo>
                  <a:pt x="781" y="145"/>
                </a:moveTo>
                <a:lnTo>
                  <a:pt x="767" y="152"/>
                </a:lnTo>
                <a:lnTo>
                  <a:pt x="752" y="158"/>
                </a:lnTo>
                <a:lnTo>
                  <a:pt x="738" y="163"/>
                </a:lnTo>
                <a:lnTo>
                  <a:pt x="723" y="170"/>
                </a:lnTo>
                <a:lnTo>
                  <a:pt x="711" y="175"/>
                </a:lnTo>
                <a:lnTo>
                  <a:pt x="698" y="180"/>
                </a:lnTo>
                <a:lnTo>
                  <a:pt x="693" y="183"/>
                </a:lnTo>
                <a:lnTo>
                  <a:pt x="687" y="185"/>
                </a:lnTo>
                <a:lnTo>
                  <a:pt x="681" y="187"/>
                </a:lnTo>
                <a:lnTo>
                  <a:pt x="674" y="188"/>
                </a:lnTo>
                <a:lnTo>
                  <a:pt x="679" y="181"/>
                </a:lnTo>
                <a:lnTo>
                  <a:pt x="686" y="177"/>
                </a:lnTo>
                <a:lnTo>
                  <a:pt x="693" y="172"/>
                </a:lnTo>
                <a:lnTo>
                  <a:pt x="699" y="169"/>
                </a:lnTo>
                <a:lnTo>
                  <a:pt x="709" y="166"/>
                </a:lnTo>
                <a:lnTo>
                  <a:pt x="717" y="161"/>
                </a:lnTo>
                <a:lnTo>
                  <a:pt x="726" y="158"/>
                </a:lnTo>
                <a:lnTo>
                  <a:pt x="735" y="154"/>
                </a:lnTo>
                <a:lnTo>
                  <a:pt x="744" y="150"/>
                </a:lnTo>
                <a:lnTo>
                  <a:pt x="754" y="145"/>
                </a:lnTo>
                <a:lnTo>
                  <a:pt x="763" y="142"/>
                </a:lnTo>
                <a:lnTo>
                  <a:pt x="773" y="138"/>
                </a:lnTo>
                <a:lnTo>
                  <a:pt x="777" y="137"/>
                </a:lnTo>
                <a:lnTo>
                  <a:pt x="780" y="136"/>
                </a:lnTo>
                <a:lnTo>
                  <a:pt x="784" y="136"/>
                </a:lnTo>
                <a:lnTo>
                  <a:pt x="786" y="137"/>
                </a:lnTo>
                <a:lnTo>
                  <a:pt x="787" y="138"/>
                </a:lnTo>
                <a:lnTo>
                  <a:pt x="787" y="139"/>
                </a:lnTo>
                <a:lnTo>
                  <a:pt x="787" y="140"/>
                </a:lnTo>
                <a:lnTo>
                  <a:pt x="786" y="142"/>
                </a:lnTo>
                <a:lnTo>
                  <a:pt x="784" y="144"/>
                </a:lnTo>
                <a:lnTo>
                  <a:pt x="781" y="145"/>
                </a:lnTo>
                <a:lnTo>
                  <a:pt x="770" y="150"/>
                </a:lnTo>
                <a:lnTo>
                  <a:pt x="772" y="148"/>
                </a:lnTo>
                <a:lnTo>
                  <a:pt x="778" y="146"/>
                </a:lnTo>
                <a:lnTo>
                  <a:pt x="781" y="145"/>
                </a:lnTo>
                <a:close/>
                <a:moveTo>
                  <a:pt x="802" y="405"/>
                </a:moveTo>
                <a:lnTo>
                  <a:pt x="785" y="418"/>
                </a:lnTo>
                <a:lnTo>
                  <a:pt x="769" y="430"/>
                </a:lnTo>
                <a:lnTo>
                  <a:pt x="760" y="435"/>
                </a:lnTo>
                <a:lnTo>
                  <a:pt x="752" y="441"/>
                </a:lnTo>
                <a:lnTo>
                  <a:pt x="748" y="442"/>
                </a:lnTo>
                <a:lnTo>
                  <a:pt x="745" y="442"/>
                </a:lnTo>
                <a:lnTo>
                  <a:pt x="747" y="438"/>
                </a:lnTo>
                <a:lnTo>
                  <a:pt x="751" y="434"/>
                </a:lnTo>
                <a:lnTo>
                  <a:pt x="757" y="428"/>
                </a:lnTo>
                <a:lnTo>
                  <a:pt x="764" y="422"/>
                </a:lnTo>
                <a:lnTo>
                  <a:pt x="772" y="417"/>
                </a:lnTo>
                <a:lnTo>
                  <a:pt x="779" y="412"/>
                </a:lnTo>
                <a:lnTo>
                  <a:pt x="787" y="408"/>
                </a:lnTo>
                <a:lnTo>
                  <a:pt x="794" y="403"/>
                </a:lnTo>
                <a:lnTo>
                  <a:pt x="797" y="401"/>
                </a:lnTo>
                <a:lnTo>
                  <a:pt x="802" y="401"/>
                </a:lnTo>
                <a:lnTo>
                  <a:pt x="803" y="402"/>
                </a:lnTo>
                <a:lnTo>
                  <a:pt x="803" y="403"/>
                </a:lnTo>
                <a:lnTo>
                  <a:pt x="803" y="404"/>
                </a:lnTo>
                <a:lnTo>
                  <a:pt x="802" y="405"/>
                </a:lnTo>
                <a:lnTo>
                  <a:pt x="794" y="410"/>
                </a:lnTo>
                <a:lnTo>
                  <a:pt x="795" y="410"/>
                </a:lnTo>
                <a:lnTo>
                  <a:pt x="800" y="407"/>
                </a:lnTo>
                <a:lnTo>
                  <a:pt x="802" y="405"/>
                </a:lnTo>
                <a:close/>
                <a:moveTo>
                  <a:pt x="849" y="422"/>
                </a:moveTo>
                <a:lnTo>
                  <a:pt x="843" y="426"/>
                </a:lnTo>
                <a:lnTo>
                  <a:pt x="838" y="429"/>
                </a:lnTo>
                <a:lnTo>
                  <a:pt x="831" y="432"/>
                </a:lnTo>
                <a:lnTo>
                  <a:pt x="826" y="432"/>
                </a:lnTo>
                <a:lnTo>
                  <a:pt x="828" y="426"/>
                </a:lnTo>
                <a:lnTo>
                  <a:pt x="831" y="421"/>
                </a:lnTo>
                <a:lnTo>
                  <a:pt x="836" y="418"/>
                </a:lnTo>
                <a:lnTo>
                  <a:pt x="841" y="415"/>
                </a:lnTo>
                <a:lnTo>
                  <a:pt x="843" y="412"/>
                </a:lnTo>
                <a:lnTo>
                  <a:pt x="844" y="411"/>
                </a:lnTo>
                <a:lnTo>
                  <a:pt x="846" y="411"/>
                </a:lnTo>
                <a:lnTo>
                  <a:pt x="849" y="412"/>
                </a:lnTo>
                <a:lnTo>
                  <a:pt x="850" y="415"/>
                </a:lnTo>
                <a:lnTo>
                  <a:pt x="851" y="417"/>
                </a:lnTo>
                <a:lnTo>
                  <a:pt x="850" y="420"/>
                </a:lnTo>
                <a:lnTo>
                  <a:pt x="849" y="422"/>
                </a:lnTo>
                <a:lnTo>
                  <a:pt x="847" y="424"/>
                </a:lnTo>
                <a:lnTo>
                  <a:pt x="849" y="42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91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36">
            <a:extLst>
              <a:ext uri="{FF2B5EF4-FFF2-40B4-BE49-F238E27FC236}">
                <a16:creationId xmlns:a16="http://schemas.microsoft.com/office/drawing/2014/main" id="{DF5EDBE4-F096-3D4E-8F53-A2A1E88C6378}"/>
              </a:ext>
            </a:extLst>
          </p:cNvPr>
          <p:cNvSpPr>
            <a:spLocks noGrp="1" noEditPoints="1"/>
          </p:cNvSpPr>
          <p:nvPr>
            <p:ph type="pic" sz="quarter" idx="21"/>
          </p:nvPr>
        </p:nvSpPr>
        <p:spPr bwMode="auto">
          <a:xfrm>
            <a:off x="190114" y="531014"/>
            <a:ext cx="11811771" cy="3563983"/>
          </a:xfrm>
          <a:custGeom>
            <a:avLst/>
            <a:gdLst>
              <a:gd name="T0" fmla="*/ 1346 w 1463"/>
              <a:gd name="T1" fmla="*/ 193 h 481"/>
              <a:gd name="T2" fmla="*/ 1304 w 1463"/>
              <a:gd name="T3" fmla="*/ 148 h 481"/>
              <a:gd name="T4" fmla="*/ 1284 w 1463"/>
              <a:gd name="T5" fmla="*/ 82 h 481"/>
              <a:gd name="T6" fmla="*/ 1045 w 1463"/>
              <a:gd name="T7" fmla="*/ 21 h 481"/>
              <a:gd name="T8" fmla="*/ 914 w 1463"/>
              <a:gd name="T9" fmla="*/ 7 h 481"/>
              <a:gd name="T10" fmla="*/ 901 w 1463"/>
              <a:gd name="T11" fmla="*/ 7 h 481"/>
              <a:gd name="T12" fmla="*/ 859 w 1463"/>
              <a:gd name="T13" fmla="*/ 12 h 481"/>
              <a:gd name="T14" fmla="*/ 753 w 1463"/>
              <a:gd name="T15" fmla="*/ 0 h 481"/>
              <a:gd name="T16" fmla="*/ 462 w 1463"/>
              <a:gd name="T17" fmla="*/ 20 h 481"/>
              <a:gd name="T18" fmla="*/ 295 w 1463"/>
              <a:gd name="T19" fmla="*/ 62 h 481"/>
              <a:gd name="T20" fmla="*/ 283 w 1463"/>
              <a:gd name="T21" fmla="*/ 131 h 481"/>
              <a:gd name="T22" fmla="*/ 221 w 1463"/>
              <a:gd name="T23" fmla="*/ 156 h 481"/>
              <a:gd name="T24" fmla="*/ 65 w 1463"/>
              <a:gd name="T25" fmla="*/ 219 h 481"/>
              <a:gd name="T26" fmla="*/ 3 w 1463"/>
              <a:gd name="T27" fmla="*/ 305 h 481"/>
              <a:gd name="T28" fmla="*/ 60 w 1463"/>
              <a:gd name="T29" fmla="*/ 333 h 481"/>
              <a:gd name="T30" fmla="*/ 87 w 1463"/>
              <a:gd name="T31" fmla="*/ 364 h 481"/>
              <a:gd name="T32" fmla="*/ 193 w 1463"/>
              <a:gd name="T33" fmla="*/ 352 h 481"/>
              <a:gd name="T34" fmla="*/ 72 w 1463"/>
              <a:gd name="T35" fmla="*/ 441 h 481"/>
              <a:gd name="T36" fmla="*/ 103 w 1463"/>
              <a:gd name="T37" fmla="*/ 468 h 481"/>
              <a:gd name="T38" fmla="*/ 241 w 1463"/>
              <a:gd name="T39" fmla="*/ 475 h 481"/>
              <a:gd name="T40" fmla="*/ 240 w 1463"/>
              <a:gd name="T41" fmla="*/ 469 h 481"/>
              <a:gd name="T42" fmla="*/ 300 w 1463"/>
              <a:gd name="T43" fmla="*/ 448 h 481"/>
              <a:gd name="T44" fmla="*/ 394 w 1463"/>
              <a:gd name="T45" fmla="*/ 434 h 481"/>
              <a:gd name="T46" fmla="*/ 441 w 1463"/>
              <a:gd name="T47" fmla="*/ 424 h 481"/>
              <a:gd name="T48" fmla="*/ 476 w 1463"/>
              <a:gd name="T49" fmla="*/ 419 h 481"/>
              <a:gd name="T50" fmla="*/ 535 w 1463"/>
              <a:gd name="T51" fmla="*/ 414 h 481"/>
              <a:gd name="T52" fmla="*/ 639 w 1463"/>
              <a:gd name="T53" fmla="*/ 392 h 481"/>
              <a:gd name="T54" fmla="*/ 736 w 1463"/>
              <a:gd name="T55" fmla="*/ 398 h 481"/>
              <a:gd name="T56" fmla="*/ 647 w 1463"/>
              <a:gd name="T57" fmla="*/ 411 h 481"/>
              <a:gd name="T58" fmla="*/ 1004 w 1463"/>
              <a:gd name="T59" fmla="*/ 407 h 481"/>
              <a:gd name="T60" fmla="*/ 1081 w 1463"/>
              <a:gd name="T61" fmla="*/ 406 h 481"/>
              <a:gd name="T62" fmla="*/ 1255 w 1463"/>
              <a:gd name="T63" fmla="*/ 422 h 481"/>
              <a:gd name="T64" fmla="*/ 1345 w 1463"/>
              <a:gd name="T65" fmla="*/ 418 h 481"/>
              <a:gd name="T66" fmla="*/ 1257 w 1463"/>
              <a:gd name="T67" fmla="*/ 360 h 481"/>
              <a:gd name="T68" fmla="*/ 1047 w 1463"/>
              <a:gd name="T69" fmla="*/ 325 h 481"/>
              <a:gd name="T70" fmla="*/ 815 w 1463"/>
              <a:gd name="T71" fmla="*/ 314 h 481"/>
              <a:gd name="T72" fmla="*/ 601 w 1463"/>
              <a:gd name="T73" fmla="*/ 332 h 481"/>
              <a:gd name="T74" fmla="*/ 455 w 1463"/>
              <a:gd name="T75" fmla="*/ 351 h 481"/>
              <a:gd name="T76" fmla="*/ 264 w 1463"/>
              <a:gd name="T77" fmla="*/ 384 h 481"/>
              <a:gd name="T78" fmla="*/ 272 w 1463"/>
              <a:gd name="T79" fmla="*/ 352 h 481"/>
              <a:gd name="T80" fmla="*/ 365 w 1463"/>
              <a:gd name="T81" fmla="*/ 327 h 481"/>
              <a:gd name="T82" fmla="*/ 456 w 1463"/>
              <a:gd name="T83" fmla="*/ 306 h 481"/>
              <a:gd name="T84" fmla="*/ 522 w 1463"/>
              <a:gd name="T85" fmla="*/ 305 h 481"/>
              <a:gd name="T86" fmla="*/ 593 w 1463"/>
              <a:gd name="T87" fmla="*/ 289 h 481"/>
              <a:gd name="T88" fmla="*/ 659 w 1463"/>
              <a:gd name="T89" fmla="*/ 290 h 481"/>
              <a:gd name="T90" fmla="*/ 732 w 1463"/>
              <a:gd name="T91" fmla="*/ 284 h 481"/>
              <a:gd name="T92" fmla="*/ 748 w 1463"/>
              <a:gd name="T93" fmla="*/ 289 h 481"/>
              <a:gd name="T94" fmla="*/ 785 w 1463"/>
              <a:gd name="T95" fmla="*/ 291 h 481"/>
              <a:gd name="T96" fmla="*/ 828 w 1463"/>
              <a:gd name="T97" fmla="*/ 285 h 481"/>
              <a:gd name="T98" fmla="*/ 864 w 1463"/>
              <a:gd name="T99" fmla="*/ 293 h 481"/>
              <a:gd name="T100" fmla="*/ 954 w 1463"/>
              <a:gd name="T101" fmla="*/ 301 h 481"/>
              <a:gd name="T102" fmla="*/ 1069 w 1463"/>
              <a:gd name="T103" fmla="*/ 291 h 481"/>
              <a:gd name="T104" fmla="*/ 1196 w 1463"/>
              <a:gd name="T105" fmla="*/ 299 h 481"/>
              <a:gd name="T106" fmla="*/ 1303 w 1463"/>
              <a:gd name="T107" fmla="*/ 305 h 481"/>
              <a:gd name="T108" fmla="*/ 1448 w 1463"/>
              <a:gd name="T109" fmla="*/ 300 h 481"/>
              <a:gd name="T110" fmla="*/ 1458 w 1463"/>
              <a:gd name="T111" fmla="*/ 259 h 481"/>
              <a:gd name="T112" fmla="*/ 404 w 1463"/>
              <a:gd name="T113" fmla="*/ 279 h 481"/>
              <a:gd name="T114" fmla="*/ 372 w 1463"/>
              <a:gd name="T115" fmla="*/ 276 h 481"/>
              <a:gd name="T116" fmla="*/ 433 w 1463"/>
              <a:gd name="T117" fmla="*/ 273 h 481"/>
              <a:gd name="T118" fmla="*/ 798 w 1463"/>
              <a:gd name="T119" fmla="*/ 283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63" h="481">
                <a:moveTo>
                  <a:pt x="1458" y="259"/>
                </a:moveTo>
                <a:lnTo>
                  <a:pt x="1449" y="251"/>
                </a:lnTo>
                <a:lnTo>
                  <a:pt x="1440" y="243"/>
                </a:lnTo>
                <a:lnTo>
                  <a:pt x="1430" y="234"/>
                </a:lnTo>
                <a:lnTo>
                  <a:pt x="1421" y="227"/>
                </a:lnTo>
                <a:lnTo>
                  <a:pt x="1410" y="219"/>
                </a:lnTo>
                <a:lnTo>
                  <a:pt x="1397" y="214"/>
                </a:lnTo>
                <a:lnTo>
                  <a:pt x="1385" y="208"/>
                </a:lnTo>
                <a:lnTo>
                  <a:pt x="1372" y="202"/>
                </a:lnTo>
                <a:lnTo>
                  <a:pt x="1360" y="198"/>
                </a:lnTo>
                <a:lnTo>
                  <a:pt x="1346" y="193"/>
                </a:lnTo>
                <a:lnTo>
                  <a:pt x="1334" y="189"/>
                </a:lnTo>
                <a:lnTo>
                  <a:pt x="1321" y="184"/>
                </a:lnTo>
                <a:lnTo>
                  <a:pt x="1309" y="181"/>
                </a:lnTo>
                <a:lnTo>
                  <a:pt x="1295" y="177"/>
                </a:lnTo>
                <a:lnTo>
                  <a:pt x="1283" y="173"/>
                </a:lnTo>
                <a:lnTo>
                  <a:pt x="1271" y="167"/>
                </a:lnTo>
                <a:lnTo>
                  <a:pt x="1281" y="160"/>
                </a:lnTo>
                <a:lnTo>
                  <a:pt x="1292" y="154"/>
                </a:lnTo>
                <a:lnTo>
                  <a:pt x="1296" y="152"/>
                </a:lnTo>
                <a:lnTo>
                  <a:pt x="1300" y="151"/>
                </a:lnTo>
                <a:lnTo>
                  <a:pt x="1304" y="148"/>
                </a:lnTo>
                <a:lnTo>
                  <a:pt x="1306" y="144"/>
                </a:lnTo>
                <a:lnTo>
                  <a:pt x="1309" y="141"/>
                </a:lnTo>
                <a:lnTo>
                  <a:pt x="1311" y="136"/>
                </a:lnTo>
                <a:lnTo>
                  <a:pt x="1312" y="132"/>
                </a:lnTo>
                <a:lnTo>
                  <a:pt x="1312" y="127"/>
                </a:lnTo>
                <a:lnTo>
                  <a:pt x="1312" y="118"/>
                </a:lnTo>
                <a:lnTo>
                  <a:pt x="1310" y="109"/>
                </a:lnTo>
                <a:lnTo>
                  <a:pt x="1305" y="100"/>
                </a:lnTo>
                <a:lnTo>
                  <a:pt x="1300" y="93"/>
                </a:lnTo>
                <a:lnTo>
                  <a:pt x="1293" y="86"/>
                </a:lnTo>
                <a:lnTo>
                  <a:pt x="1284" y="82"/>
                </a:lnTo>
                <a:lnTo>
                  <a:pt x="1272" y="76"/>
                </a:lnTo>
                <a:lnTo>
                  <a:pt x="1260" y="71"/>
                </a:lnTo>
                <a:lnTo>
                  <a:pt x="1246" y="67"/>
                </a:lnTo>
                <a:lnTo>
                  <a:pt x="1234" y="62"/>
                </a:lnTo>
                <a:lnTo>
                  <a:pt x="1207" y="54"/>
                </a:lnTo>
                <a:lnTo>
                  <a:pt x="1181" y="48"/>
                </a:lnTo>
                <a:lnTo>
                  <a:pt x="1155" y="42"/>
                </a:lnTo>
                <a:lnTo>
                  <a:pt x="1129" y="36"/>
                </a:lnTo>
                <a:lnTo>
                  <a:pt x="1100" y="30"/>
                </a:lnTo>
                <a:lnTo>
                  <a:pt x="1073" y="26"/>
                </a:lnTo>
                <a:lnTo>
                  <a:pt x="1045" y="21"/>
                </a:lnTo>
                <a:lnTo>
                  <a:pt x="1016" y="17"/>
                </a:lnTo>
                <a:lnTo>
                  <a:pt x="1001" y="16"/>
                </a:lnTo>
                <a:lnTo>
                  <a:pt x="987" y="13"/>
                </a:lnTo>
                <a:lnTo>
                  <a:pt x="973" y="12"/>
                </a:lnTo>
                <a:lnTo>
                  <a:pt x="958" y="11"/>
                </a:lnTo>
                <a:lnTo>
                  <a:pt x="944" y="10"/>
                </a:lnTo>
                <a:lnTo>
                  <a:pt x="932" y="9"/>
                </a:lnTo>
                <a:lnTo>
                  <a:pt x="919" y="5"/>
                </a:lnTo>
                <a:lnTo>
                  <a:pt x="907" y="1"/>
                </a:lnTo>
                <a:lnTo>
                  <a:pt x="910" y="3"/>
                </a:lnTo>
                <a:lnTo>
                  <a:pt x="914" y="7"/>
                </a:lnTo>
                <a:lnTo>
                  <a:pt x="915" y="8"/>
                </a:lnTo>
                <a:lnTo>
                  <a:pt x="915" y="10"/>
                </a:lnTo>
                <a:lnTo>
                  <a:pt x="915" y="11"/>
                </a:lnTo>
                <a:lnTo>
                  <a:pt x="914" y="12"/>
                </a:lnTo>
                <a:lnTo>
                  <a:pt x="910" y="13"/>
                </a:lnTo>
                <a:lnTo>
                  <a:pt x="907" y="13"/>
                </a:lnTo>
                <a:lnTo>
                  <a:pt x="905" y="13"/>
                </a:lnTo>
                <a:lnTo>
                  <a:pt x="904" y="12"/>
                </a:lnTo>
                <a:lnTo>
                  <a:pt x="902" y="10"/>
                </a:lnTo>
                <a:lnTo>
                  <a:pt x="902" y="9"/>
                </a:lnTo>
                <a:lnTo>
                  <a:pt x="901" y="7"/>
                </a:lnTo>
                <a:lnTo>
                  <a:pt x="899" y="5"/>
                </a:lnTo>
                <a:lnTo>
                  <a:pt x="892" y="4"/>
                </a:lnTo>
                <a:lnTo>
                  <a:pt x="885" y="4"/>
                </a:lnTo>
                <a:lnTo>
                  <a:pt x="882" y="4"/>
                </a:lnTo>
                <a:lnTo>
                  <a:pt x="878" y="4"/>
                </a:lnTo>
                <a:lnTo>
                  <a:pt x="875" y="5"/>
                </a:lnTo>
                <a:lnTo>
                  <a:pt x="872" y="7"/>
                </a:lnTo>
                <a:lnTo>
                  <a:pt x="869" y="9"/>
                </a:lnTo>
                <a:lnTo>
                  <a:pt x="866" y="11"/>
                </a:lnTo>
                <a:lnTo>
                  <a:pt x="864" y="12"/>
                </a:lnTo>
                <a:lnTo>
                  <a:pt x="859" y="12"/>
                </a:lnTo>
                <a:lnTo>
                  <a:pt x="855" y="11"/>
                </a:lnTo>
                <a:lnTo>
                  <a:pt x="850" y="9"/>
                </a:lnTo>
                <a:lnTo>
                  <a:pt x="847" y="5"/>
                </a:lnTo>
                <a:lnTo>
                  <a:pt x="842" y="2"/>
                </a:lnTo>
                <a:lnTo>
                  <a:pt x="835" y="1"/>
                </a:lnTo>
                <a:lnTo>
                  <a:pt x="828" y="0"/>
                </a:lnTo>
                <a:lnTo>
                  <a:pt x="820" y="1"/>
                </a:lnTo>
                <a:lnTo>
                  <a:pt x="814" y="1"/>
                </a:lnTo>
                <a:lnTo>
                  <a:pt x="793" y="0"/>
                </a:lnTo>
                <a:lnTo>
                  <a:pt x="774" y="0"/>
                </a:lnTo>
                <a:lnTo>
                  <a:pt x="753" y="0"/>
                </a:lnTo>
                <a:lnTo>
                  <a:pt x="734" y="0"/>
                </a:lnTo>
                <a:lnTo>
                  <a:pt x="694" y="0"/>
                </a:lnTo>
                <a:lnTo>
                  <a:pt x="655" y="1"/>
                </a:lnTo>
                <a:lnTo>
                  <a:pt x="616" y="2"/>
                </a:lnTo>
                <a:lnTo>
                  <a:pt x="577" y="5"/>
                </a:lnTo>
                <a:lnTo>
                  <a:pt x="558" y="8"/>
                </a:lnTo>
                <a:lnTo>
                  <a:pt x="539" y="10"/>
                </a:lnTo>
                <a:lnTo>
                  <a:pt x="520" y="12"/>
                </a:lnTo>
                <a:lnTo>
                  <a:pt x="501" y="15"/>
                </a:lnTo>
                <a:lnTo>
                  <a:pt x="481" y="17"/>
                </a:lnTo>
                <a:lnTo>
                  <a:pt x="462" y="20"/>
                </a:lnTo>
                <a:lnTo>
                  <a:pt x="443" y="23"/>
                </a:lnTo>
                <a:lnTo>
                  <a:pt x="423" y="26"/>
                </a:lnTo>
                <a:lnTo>
                  <a:pt x="404" y="30"/>
                </a:lnTo>
                <a:lnTo>
                  <a:pt x="385" y="35"/>
                </a:lnTo>
                <a:lnTo>
                  <a:pt x="365" y="38"/>
                </a:lnTo>
                <a:lnTo>
                  <a:pt x="346" y="43"/>
                </a:lnTo>
                <a:lnTo>
                  <a:pt x="331" y="48"/>
                </a:lnTo>
                <a:lnTo>
                  <a:pt x="315" y="52"/>
                </a:lnTo>
                <a:lnTo>
                  <a:pt x="308" y="54"/>
                </a:lnTo>
                <a:lnTo>
                  <a:pt x="301" y="58"/>
                </a:lnTo>
                <a:lnTo>
                  <a:pt x="295" y="62"/>
                </a:lnTo>
                <a:lnTo>
                  <a:pt x="288" y="67"/>
                </a:lnTo>
                <a:lnTo>
                  <a:pt x="278" y="78"/>
                </a:lnTo>
                <a:lnTo>
                  <a:pt x="268" y="91"/>
                </a:lnTo>
                <a:lnTo>
                  <a:pt x="265" y="98"/>
                </a:lnTo>
                <a:lnTo>
                  <a:pt x="263" y="103"/>
                </a:lnTo>
                <a:lnTo>
                  <a:pt x="262" y="107"/>
                </a:lnTo>
                <a:lnTo>
                  <a:pt x="263" y="110"/>
                </a:lnTo>
                <a:lnTo>
                  <a:pt x="265" y="113"/>
                </a:lnTo>
                <a:lnTo>
                  <a:pt x="267" y="117"/>
                </a:lnTo>
                <a:lnTo>
                  <a:pt x="276" y="123"/>
                </a:lnTo>
                <a:lnTo>
                  <a:pt x="283" y="131"/>
                </a:lnTo>
                <a:lnTo>
                  <a:pt x="283" y="132"/>
                </a:lnTo>
                <a:lnTo>
                  <a:pt x="282" y="133"/>
                </a:lnTo>
                <a:lnTo>
                  <a:pt x="281" y="134"/>
                </a:lnTo>
                <a:lnTo>
                  <a:pt x="280" y="135"/>
                </a:lnTo>
                <a:lnTo>
                  <a:pt x="272" y="139"/>
                </a:lnTo>
                <a:lnTo>
                  <a:pt x="265" y="141"/>
                </a:lnTo>
                <a:lnTo>
                  <a:pt x="256" y="144"/>
                </a:lnTo>
                <a:lnTo>
                  <a:pt x="247" y="146"/>
                </a:lnTo>
                <a:lnTo>
                  <a:pt x="239" y="150"/>
                </a:lnTo>
                <a:lnTo>
                  <a:pt x="230" y="152"/>
                </a:lnTo>
                <a:lnTo>
                  <a:pt x="221" y="156"/>
                </a:lnTo>
                <a:lnTo>
                  <a:pt x="210" y="159"/>
                </a:lnTo>
                <a:lnTo>
                  <a:pt x="201" y="161"/>
                </a:lnTo>
                <a:lnTo>
                  <a:pt x="192" y="165"/>
                </a:lnTo>
                <a:lnTo>
                  <a:pt x="175" y="171"/>
                </a:lnTo>
                <a:lnTo>
                  <a:pt x="157" y="177"/>
                </a:lnTo>
                <a:lnTo>
                  <a:pt x="140" y="184"/>
                </a:lnTo>
                <a:lnTo>
                  <a:pt x="123" y="192"/>
                </a:lnTo>
                <a:lnTo>
                  <a:pt x="108" y="198"/>
                </a:lnTo>
                <a:lnTo>
                  <a:pt x="93" y="204"/>
                </a:lnTo>
                <a:lnTo>
                  <a:pt x="78" y="212"/>
                </a:lnTo>
                <a:lnTo>
                  <a:pt x="65" y="219"/>
                </a:lnTo>
                <a:lnTo>
                  <a:pt x="51" y="228"/>
                </a:lnTo>
                <a:lnTo>
                  <a:pt x="39" y="239"/>
                </a:lnTo>
                <a:lnTo>
                  <a:pt x="27" y="249"/>
                </a:lnTo>
                <a:lnTo>
                  <a:pt x="16" y="261"/>
                </a:lnTo>
                <a:lnTo>
                  <a:pt x="11" y="268"/>
                </a:lnTo>
                <a:lnTo>
                  <a:pt x="6" y="276"/>
                </a:lnTo>
                <a:lnTo>
                  <a:pt x="1" y="284"/>
                </a:lnTo>
                <a:lnTo>
                  <a:pt x="0" y="292"/>
                </a:lnTo>
                <a:lnTo>
                  <a:pt x="0" y="297"/>
                </a:lnTo>
                <a:lnTo>
                  <a:pt x="1" y="300"/>
                </a:lnTo>
                <a:lnTo>
                  <a:pt x="3" y="305"/>
                </a:lnTo>
                <a:lnTo>
                  <a:pt x="6" y="308"/>
                </a:lnTo>
                <a:lnTo>
                  <a:pt x="12" y="315"/>
                </a:lnTo>
                <a:lnTo>
                  <a:pt x="18" y="320"/>
                </a:lnTo>
                <a:lnTo>
                  <a:pt x="25" y="324"/>
                </a:lnTo>
                <a:lnTo>
                  <a:pt x="33" y="327"/>
                </a:lnTo>
                <a:lnTo>
                  <a:pt x="41" y="330"/>
                </a:lnTo>
                <a:lnTo>
                  <a:pt x="49" y="331"/>
                </a:lnTo>
                <a:lnTo>
                  <a:pt x="51" y="331"/>
                </a:lnTo>
                <a:lnTo>
                  <a:pt x="54" y="331"/>
                </a:lnTo>
                <a:lnTo>
                  <a:pt x="58" y="332"/>
                </a:lnTo>
                <a:lnTo>
                  <a:pt x="60" y="333"/>
                </a:lnTo>
                <a:lnTo>
                  <a:pt x="61" y="335"/>
                </a:lnTo>
                <a:lnTo>
                  <a:pt x="60" y="337"/>
                </a:lnTo>
                <a:lnTo>
                  <a:pt x="59" y="340"/>
                </a:lnTo>
                <a:lnTo>
                  <a:pt x="58" y="342"/>
                </a:lnTo>
                <a:lnTo>
                  <a:pt x="56" y="345"/>
                </a:lnTo>
                <a:lnTo>
                  <a:pt x="56" y="348"/>
                </a:lnTo>
                <a:lnTo>
                  <a:pt x="57" y="350"/>
                </a:lnTo>
                <a:lnTo>
                  <a:pt x="60" y="352"/>
                </a:lnTo>
                <a:lnTo>
                  <a:pt x="69" y="357"/>
                </a:lnTo>
                <a:lnTo>
                  <a:pt x="78" y="361"/>
                </a:lnTo>
                <a:lnTo>
                  <a:pt x="87" y="364"/>
                </a:lnTo>
                <a:lnTo>
                  <a:pt x="97" y="365"/>
                </a:lnTo>
                <a:lnTo>
                  <a:pt x="106" y="365"/>
                </a:lnTo>
                <a:lnTo>
                  <a:pt x="115" y="364"/>
                </a:lnTo>
                <a:lnTo>
                  <a:pt x="124" y="362"/>
                </a:lnTo>
                <a:lnTo>
                  <a:pt x="134" y="360"/>
                </a:lnTo>
                <a:lnTo>
                  <a:pt x="143" y="358"/>
                </a:lnTo>
                <a:lnTo>
                  <a:pt x="152" y="356"/>
                </a:lnTo>
                <a:lnTo>
                  <a:pt x="163" y="353"/>
                </a:lnTo>
                <a:lnTo>
                  <a:pt x="173" y="353"/>
                </a:lnTo>
                <a:lnTo>
                  <a:pt x="183" y="353"/>
                </a:lnTo>
                <a:lnTo>
                  <a:pt x="193" y="352"/>
                </a:lnTo>
                <a:lnTo>
                  <a:pt x="174" y="364"/>
                </a:lnTo>
                <a:lnTo>
                  <a:pt x="153" y="373"/>
                </a:lnTo>
                <a:lnTo>
                  <a:pt x="133" y="382"/>
                </a:lnTo>
                <a:lnTo>
                  <a:pt x="114" y="392"/>
                </a:lnTo>
                <a:lnTo>
                  <a:pt x="105" y="399"/>
                </a:lnTo>
                <a:lnTo>
                  <a:pt x="97" y="406"/>
                </a:lnTo>
                <a:lnTo>
                  <a:pt x="89" y="413"/>
                </a:lnTo>
                <a:lnTo>
                  <a:pt x="81" y="420"/>
                </a:lnTo>
                <a:lnTo>
                  <a:pt x="75" y="428"/>
                </a:lnTo>
                <a:lnTo>
                  <a:pt x="72" y="436"/>
                </a:lnTo>
                <a:lnTo>
                  <a:pt x="72" y="441"/>
                </a:lnTo>
                <a:lnTo>
                  <a:pt x="72" y="444"/>
                </a:lnTo>
                <a:lnTo>
                  <a:pt x="74" y="449"/>
                </a:lnTo>
                <a:lnTo>
                  <a:pt x="77" y="453"/>
                </a:lnTo>
                <a:lnTo>
                  <a:pt x="80" y="457"/>
                </a:lnTo>
                <a:lnTo>
                  <a:pt x="83" y="459"/>
                </a:lnTo>
                <a:lnTo>
                  <a:pt x="86" y="461"/>
                </a:lnTo>
                <a:lnTo>
                  <a:pt x="91" y="464"/>
                </a:lnTo>
                <a:lnTo>
                  <a:pt x="94" y="464"/>
                </a:lnTo>
                <a:lnTo>
                  <a:pt x="99" y="465"/>
                </a:lnTo>
                <a:lnTo>
                  <a:pt x="102" y="466"/>
                </a:lnTo>
                <a:lnTo>
                  <a:pt x="103" y="468"/>
                </a:lnTo>
                <a:lnTo>
                  <a:pt x="105" y="471"/>
                </a:lnTo>
                <a:lnTo>
                  <a:pt x="103" y="474"/>
                </a:lnTo>
                <a:lnTo>
                  <a:pt x="105" y="476"/>
                </a:lnTo>
                <a:lnTo>
                  <a:pt x="107" y="478"/>
                </a:lnTo>
                <a:lnTo>
                  <a:pt x="117" y="481"/>
                </a:lnTo>
                <a:lnTo>
                  <a:pt x="127" y="480"/>
                </a:lnTo>
                <a:lnTo>
                  <a:pt x="152" y="481"/>
                </a:lnTo>
                <a:lnTo>
                  <a:pt x="177" y="481"/>
                </a:lnTo>
                <a:lnTo>
                  <a:pt x="202" y="478"/>
                </a:lnTo>
                <a:lnTo>
                  <a:pt x="227" y="476"/>
                </a:lnTo>
                <a:lnTo>
                  <a:pt x="241" y="475"/>
                </a:lnTo>
                <a:lnTo>
                  <a:pt x="255" y="473"/>
                </a:lnTo>
                <a:lnTo>
                  <a:pt x="258" y="472"/>
                </a:lnTo>
                <a:lnTo>
                  <a:pt x="262" y="471"/>
                </a:lnTo>
                <a:lnTo>
                  <a:pt x="264" y="469"/>
                </a:lnTo>
                <a:lnTo>
                  <a:pt x="264" y="467"/>
                </a:lnTo>
                <a:lnTo>
                  <a:pt x="264" y="466"/>
                </a:lnTo>
                <a:lnTo>
                  <a:pt x="262" y="465"/>
                </a:lnTo>
                <a:lnTo>
                  <a:pt x="256" y="464"/>
                </a:lnTo>
                <a:lnTo>
                  <a:pt x="250" y="466"/>
                </a:lnTo>
                <a:lnTo>
                  <a:pt x="245" y="468"/>
                </a:lnTo>
                <a:lnTo>
                  <a:pt x="240" y="469"/>
                </a:lnTo>
                <a:lnTo>
                  <a:pt x="235" y="471"/>
                </a:lnTo>
                <a:lnTo>
                  <a:pt x="231" y="469"/>
                </a:lnTo>
                <a:lnTo>
                  <a:pt x="227" y="467"/>
                </a:lnTo>
                <a:lnTo>
                  <a:pt x="224" y="463"/>
                </a:lnTo>
                <a:lnTo>
                  <a:pt x="233" y="463"/>
                </a:lnTo>
                <a:lnTo>
                  <a:pt x="241" y="461"/>
                </a:lnTo>
                <a:lnTo>
                  <a:pt x="249" y="459"/>
                </a:lnTo>
                <a:lnTo>
                  <a:pt x="257" y="457"/>
                </a:lnTo>
                <a:lnTo>
                  <a:pt x="273" y="452"/>
                </a:lnTo>
                <a:lnTo>
                  <a:pt x="290" y="450"/>
                </a:lnTo>
                <a:lnTo>
                  <a:pt x="300" y="448"/>
                </a:lnTo>
                <a:lnTo>
                  <a:pt x="311" y="445"/>
                </a:lnTo>
                <a:lnTo>
                  <a:pt x="320" y="443"/>
                </a:lnTo>
                <a:lnTo>
                  <a:pt x="330" y="441"/>
                </a:lnTo>
                <a:lnTo>
                  <a:pt x="339" y="439"/>
                </a:lnTo>
                <a:lnTo>
                  <a:pt x="349" y="438"/>
                </a:lnTo>
                <a:lnTo>
                  <a:pt x="358" y="436"/>
                </a:lnTo>
                <a:lnTo>
                  <a:pt x="367" y="435"/>
                </a:lnTo>
                <a:lnTo>
                  <a:pt x="377" y="433"/>
                </a:lnTo>
                <a:lnTo>
                  <a:pt x="387" y="432"/>
                </a:lnTo>
                <a:lnTo>
                  <a:pt x="390" y="433"/>
                </a:lnTo>
                <a:lnTo>
                  <a:pt x="394" y="434"/>
                </a:lnTo>
                <a:lnTo>
                  <a:pt x="397" y="436"/>
                </a:lnTo>
                <a:lnTo>
                  <a:pt x="400" y="439"/>
                </a:lnTo>
                <a:lnTo>
                  <a:pt x="404" y="441"/>
                </a:lnTo>
                <a:lnTo>
                  <a:pt x="407" y="442"/>
                </a:lnTo>
                <a:lnTo>
                  <a:pt x="411" y="441"/>
                </a:lnTo>
                <a:lnTo>
                  <a:pt x="413" y="440"/>
                </a:lnTo>
                <a:lnTo>
                  <a:pt x="419" y="435"/>
                </a:lnTo>
                <a:lnTo>
                  <a:pt x="423" y="431"/>
                </a:lnTo>
                <a:lnTo>
                  <a:pt x="430" y="426"/>
                </a:lnTo>
                <a:lnTo>
                  <a:pt x="437" y="423"/>
                </a:lnTo>
                <a:lnTo>
                  <a:pt x="441" y="424"/>
                </a:lnTo>
                <a:lnTo>
                  <a:pt x="445" y="425"/>
                </a:lnTo>
                <a:lnTo>
                  <a:pt x="448" y="427"/>
                </a:lnTo>
                <a:lnTo>
                  <a:pt x="453" y="431"/>
                </a:lnTo>
                <a:lnTo>
                  <a:pt x="455" y="432"/>
                </a:lnTo>
                <a:lnTo>
                  <a:pt x="457" y="432"/>
                </a:lnTo>
                <a:lnTo>
                  <a:pt x="460" y="432"/>
                </a:lnTo>
                <a:lnTo>
                  <a:pt x="461" y="431"/>
                </a:lnTo>
                <a:lnTo>
                  <a:pt x="465" y="428"/>
                </a:lnTo>
                <a:lnTo>
                  <a:pt x="469" y="425"/>
                </a:lnTo>
                <a:lnTo>
                  <a:pt x="473" y="423"/>
                </a:lnTo>
                <a:lnTo>
                  <a:pt x="476" y="419"/>
                </a:lnTo>
                <a:lnTo>
                  <a:pt x="478" y="417"/>
                </a:lnTo>
                <a:lnTo>
                  <a:pt x="480" y="417"/>
                </a:lnTo>
                <a:lnTo>
                  <a:pt x="482" y="417"/>
                </a:lnTo>
                <a:lnTo>
                  <a:pt x="486" y="417"/>
                </a:lnTo>
                <a:lnTo>
                  <a:pt x="498" y="414"/>
                </a:lnTo>
                <a:lnTo>
                  <a:pt x="512" y="409"/>
                </a:lnTo>
                <a:lnTo>
                  <a:pt x="519" y="409"/>
                </a:lnTo>
                <a:lnTo>
                  <a:pt x="525" y="410"/>
                </a:lnTo>
                <a:lnTo>
                  <a:pt x="528" y="411"/>
                </a:lnTo>
                <a:lnTo>
                  <a:pt x="531" y="413"/>
                </a:lnTo>
                <a:lnTo>
                  <a:pt x="535" y="414"/>
                </a:lnTo>
                <a:lnTo>
                  <a:pt x="538" y="414"/>
                </a:lnTo>
                <a:lnTo>
                  <a:pt x="544" y="409"/>
                </a:lnTo>
                <a:lnTo>
                  <a:pt x="551" y="406"/>
                </a:lnTo>
                <a:lnTo>
                  <a:pt x="559" y="406"/>
                </a:lnTo>
                <a:lnTo>
                  <a:pt x="568" y="406"/>
                </a:lnTo>
                <a:lnTo>
                  <a:pt x="585" y="402"/>
                </a:lnTo>
                <a:lnTo>
                  <a:pt x="601" y="398"/>
                </a:lnTo>
                <a:lnTo>
                  <a:pt x="611" y="395"/>
                </a:lnTo>
                <a:lnTo>
                  <a:pt x="620" y="394"/>
                </a:lnTo>
                <a:lnTo>
                  <a:pt x="630" y="393"/>
                </a:lnTo>
                <a:lnTo>
                  <a:pt x="639" y="392"/>
                </a:lnTo>
                <a:lnTo>
                  <a:pt x="661" y="390"/>
                </a:lnTo>
                <a:lnTo>
                  <a:pt x="682" y="389"/>
                </a:lnTo>
                <a:lnTo>
                  <a:pt x="703" y="388"/>
                </a:lnTo>
                <a:lnTo>
                  <a:pt x="724" y="386"/>
                </a:lnTo>
                <a:lnTo>
                  <a:pt x="729" y="386"/>
                </a:lnTo>
                <a:lnTo>
                  <a:pt x="737" y="388"/>
                </a:lnTo>
                <a:lnTo>
                  <a:pt x="741" y="389"/>
                </a:lnTo>
                <a:lnTo>
                  <a:pt x="743" y="390"/>
                </a:lnTo>
                <a:lnTo>
                  <a:pt x="743" y="392"/>
                </a:lnTo>
                <a:lnTo>
                  <a:pt x="741" y="395"/>
                </a:lnTo>
                <a:lnTo>
                  <a:pt x="736" y="398"/>
                </a:lnTo>
                <a:lnTo>
                  <a:pt x="731" y="398"/>
                </a:lnTo>
                <a:lnTo>
                  <a:pt x="720" y="400"/>
                </a:lnTo>
                <a:lnTo>
                  <a:pt x="710" y="402"/>
                </a:lnTo>
                <a:lnTo>
                  <a:pt x="699" y="405"/>
                </a:lnTo>
                <a:lnTo>
                  <a:pt x="687" y="406"/>
                </a:lnTo>
                <a:lnTo>
                  <a:pt x="676" y="407"/>
                </a:lnTo>
                <a:lnTo>
                  <a:pt x="665" y="408"/>
                </a:lnTo>
                <a:lnTo>
                  <a:pt x="658" y="408"/>
                </a:lnTo>
                <a:lnTo>
                  <a:pt x="652" y="409"/>
                </a:lnTo>
                <a:lnTo>
                  <a:pt x="650" y="410"/>
                </a:lnTo>
                <a:lnTo>
                  <a:pt x="647" y="411"/>
                </a:lnTo>
                <a:lnTo>
                  <a:pt x="646" y="415"/>
                </a:lnTo>
                <a:lnTo>
                  <a:pt x="645" y="418"/>
                </a:lnTo>
                <a:lnTo>
                  <a:pt x="691" y="415"/>
                </a:lnTo>
                <a:lnTo>
                  <a:pt x="735" y="411"/>
                </a:lnTo>
                <a:lnTo>
                  <a:pt x="781" y="409"/>
                </a:lnTo>
                <a:lnTo>
                  <a:pt x="826" y="407"/>
                </a:lnTo>
                <a:lnTo>
                  <a:pt x="871" y="407"/>
                </a:lnTo>
                <a:lnTo>
                  <a:pt x="916" y="407"/>
                </a:lnTo>
                <a:lnTo>
                  <a:pt x="960" y="409"/>
                </a:lnTo>
                <a:lnTo>
                  <a:pt x="1006" y="411"/>
                </a:lnTo>
                <a:lnTo>
                  <a:pt x="1004" y="407"/>
                </a:lnTo>
                <a:lnTo>
                  <a:pt x="1005" y="402"/>
                </a:lnTo>
                <a:lnTo>
                  <a:pt x="1006" y="401"/>
                </a:lnTo>
                <a:lnTo>
                  <a:pt x="1007" y="400"/>
                </a:lnTo>
                <a:lnTo>
                  <a:pt x="1009" y="400"/>
                </a:lnTo>
                <a:lnTo>
                  <a:pt x="1013" y="399"/>
                </a:lnTo>
                <a:lnTo>
                  <a:pt x="1028" y="400"/>
                </a:lnTo>
                <a:lnTo>
                  <a:pt x="1044" y="403"/>
                </a:lnTo>
                <a:lnTo>
                  <a:pt x="1053" y="405"/>
                </a:lnTo>
                <a:lnTo>
                  <a:pt x="1063" y="405"/>
                </a:lnTo>
                <a:lnTo>
                  <a:pt x="1072" y="405"/>
                </a:lnTo>
                <a:lnTo>
                  <a:pt x="1081" y="406"/>
                </a:lnTo>
                <a:lnTo>
                  <a:pt x="1091" y="407"/>
                </a:lnTo>
                <a:lnTo>
                  <a:pt x="1100" y="407"/>
                </a:lnTo>
                <a:lnTo>
                  <a:pt x="1111" y="408"/>
                </a:lnTo>
                <a:lnTo>
                  <a:pt x="1120" y="409"/>
                </a:lnTo>
                <a:lnTo>
                  <a:pt x="1139" y="411"/>
                </a:lnTo>
                <a:lnTo>
                  <a:pt x="1158" y="414"/>
                </a:lnTo>
                <a:lnTo>
                  <a:pt x="1178" y="416"/>
                </a:lnTo>
                <a:lnTo>
                  <a:pt x="1197" y="416"/>
                </a:lnTo>
                <a:lnTo>
                  <a:pt x="1216" y="417"/>
                </a:lnTo>
                <a:lnTo>
                  <a:pt x="1236" y="419"/>
                </a:lnTo>
                <a:lnTo>
                  <a:pt x="1255" y="422"/>
                </a:lnTo>
                <a:lnTo>
                  <a:pt x="1275" y="423"/>
                </a:lnTo>
                <a:lnTo>
                  <a:pt x="1284" y="423"/>
                </a:lnTo>
                <a:lnTo>
                  <a:pt x="1294" y="423"/>
                </a:lnTo>
                <a:lnTo>
                  <a:pt x="1304" y="423"/>
                </a:lnTo>
                <a:lnTo>
                  <a:pt x="1313" y="423"/>
                </a:lnTo>
                <a:lnTo>
                  <a:pt x="1321" y="423"/>
                </a:lnTo>
                <a:lnTo>
                  <a:pt x="1330" y="423"/>
                </a:lnTo>
                <a:lnTo>
                  <a:pt x="1334" y="423"/>
                </a:lnTo>
                <a:lnTo>
                  <a:pt x="1338" y="422"/>
                </a:lnTo>
                <a:lnTo>
                  <a:pt x="1342" y="420"/>
                </a:lnTo>
                <a:lnTo>
                  <a:pt x="1345" y="418"/>
                </a:lnTo>
                <a:lnTo>
                  <a:pt x="1347" y="415"/>
                </a:lnTo>
                <a:lnTo>
                  <a:pt x="1349" y="413"/>
                </a:lnTo>
                <a:lnTo>
                  <a:pt x="1349" y="410"/>
                </a:lnTo>
                <a:lnTo>
                  <a:pt x="1347" y="407"/>
                </a:lnTo>
                <a:lnTo>
                  <a:pt x="1343" y="402"/>
                </a:lnTo>
                <a:lnTo>
                  <a:pt x="1338" y="398"/>
                </a:lnTo>
                <a:lnTo>
                  <a:pt x="1325" y="388"/>
                </a:lnTo>
                <a:lnTo>
                  <a:pt x="1311" y="378"/>
                </a:lnTo>
                <a:lnTo>
                  <a:pt x="1294" y="372"/>
                </a:lnTo>
                <a:lnTo>
                  <a:pt x="1276" y="366"/>
                </a:lnTo>
                <a:lnTo>
                  <a:pt x="1257" y="360"/>
                </a:lnTo>
                <a:lnTo>
                  <a:pt x="1239" y="357"/>
                </a:lnTo>
                <a:lnTo>
                  <a:pt x="1220" y="352"/>
                </a:lnTo>
                <a:lnTo>
                  <a:pt x="1201" y="349"/>
                </a:lnTo>
                <a:lnTo>
                  <a:pt x="1181" y="347"/>
                </a:lnTo>
                <a:lnTo>
                  <a:pt x="1162" y="343"/>
                </a:lnTo>
                <a:lnTo>
                  <a:pt x="1143" y="340"/>
                </a:lnTo>
                <a:lnTo>
                  <a:pt x="1123" y="337"/>
                </a:lnTo>
                <a:lnTo>
                  <a:pt x="1104" y="335"/>
                </a:lnTo>
                <a:lnTo>
                  <a:pt x="1086" y="333"/>
                </a:lnTo>
                <a:lnTo>
                  <a:pt x="1066" y="330"/>
                </a:lnTo>
                <a:lnTo>
                  <a:pt x="1047" y="325"/>
                </a:lnTo>
                <a:lnTo>
                  <a:pt x="1029" y="322"/>
                </a:lnTo>
                <a:lnTo>
                  <a:pt x="1009" y="318"/>
                </a:lnTo>
                <a:lnTo>
                  <a:pt x="991" y="316"/>
                </a:lnTo>
                <a:lnTo>
                  <a:pt x="972" y="315"/>
                </a:lnTo>
                <a:lnTo>
                  <a:pt x="952" y="314"/>
                </a:lnTo>
                <a:lnTo>
                  <a:pt x="933" y="312"/>
                </a:lnTo>
                <a:lnTo>
                  <a:pt x="914" y="311"/>
                </a:lnTo>
                <a:lnTo>
                  <a:pt x="893" y="312"/>
                </a:lnTo>
                <a:lnTo>
                  <a:pt x="874" y="312"/>
                </a:lnTo>
                <a:lnTo>
                  <a:pt x="855" y="314"/>
                </a:lnTo>
                <a:lnTo>
                  <a:pt x="815" y="314"/>
                </a:lnTo>
                <a:lnTo>
                  <a:pt x="776" y="314"/>
                </a:lnTo>
                <a:lnTo>
                  <a:pt x="756" y="314"/>
                </a:lnTo>
                <a:lnTo>
                  <a:pt x="736" y="315"/>
                </a:lnTo>
                <a:lnTo>
                  <a:pt x="717" y="317"/>
                </a:lnTo>
                <a:lnTo>
                  <a:pt x="698" y="319"/>
                </a:lnTo>
                <a:lnTo>
                  <a:pt x="678" y="323"/>
                </a:lnTo>
                <a:lnTo>
                  <a:pt x="659" y="326"/>
                </a:lnTo>
                <a:lnTo>
                  <a:pt x="639" y="330"/>
                </a:lnTo>
                <a:lnTo>
                  <a:pt x="619" y="331"/>
                </a:lnTo>
                <a:lnTo>
                  <a:pt x="610" y="331"/>
                </a:lnTo>
                <a:lnTo>
                  <a:pt x="601" y="332"/>
                </a:lnTo>
                <a:lnTo>
                  <a:pt x="592" y="332"/>
                </a:lnTo>
                <a:lnTo>
                  <a:pt x="583" y="333"/>
                </a:lnTo>
                <a:lnTo>
                  <a:pt x="576" y="336"/>
                </a:lnTo>
                <a:lnTo>
                  <a:pt x="570" y="339"/>
                </a:lnTo>
                <a:lnTo>
                  <a:pt x="561" y="340"/>
                </a:lnTo>
                <a:lnTo>
                  <a:pt x="552" y="340"/>
                </a:lnTo>
                <a:lnTo>
                  <a:pt x="532" y="341"/>
                </a:lnTo>
                <a:lnTo>
                  <a:pt x="513" y="343"/>
                </a:lnTo>
                <a:lnTo>
                  <a:pt x="494" y="347"/>
                </a:lnTo>
                <a:lnTo>
                  <a:pt x="476" y="349"/>
                </a:lnTo>
                <a:lnTo>
                  <a:pt x="455" y="351"/>
                </a:lnTo>
                <a:lnTo>
                  <a:pt x="435" y="352"/>
                </a:lnTo>
                <a:lnTo>
                  <a:pt x="415" y="353"/>
                </a:lnTo>
                <a:lnTo>
                  <a:pt x="396" y="356"/>
                </a:lnTo>
                <a:lnTo>
                  <a:pt x="377" y="359"/>
                </a:lnTo>
                <a:lnTo>
                  <a:pt x="357" y="362"/>
                </a:lnTo>
                <a:lnTo>
                  <a:pt x="338" y="367"/>
                </a:lnTo>
                <a:lnTo>
                  <a:pt x="319" y="372"/>
                </a:lnTo>
                <a:lnTo>
                  <a:pt x="300" y="376"/>
                </a:lnTo>
                <a:lnTo>
                  <a:pt x="282" y="382"/>
                </a:lnTo>
                <a:lnTo>
                  <a:pt x="273" y="383"/>
                </a:lnTo>
                <a:lnTo>
                  <a:pt x="264" y="384"/>
                </a:lnTo>
                <a:lnTo>
                  <a:pt x="255" y="384"/>
                </a:lnTo>
                <a:lnTo>
                  <a:pt x="246" y="383"/>
                </a:lnTo>
                <a:lnTo>
                  <a:pt x="238" y="382"/>
                </a:lnTo>
                <a:lnTo>
                  <a:pt x="230" y="380"/>
                </a:lnTo>
                <a:lnTo>
                  <a:pt x="222" y="378"/>
                </a:lnTo>
                <a:lnTo>
                  <a:pt x="214" y="380"/>
                </a:lnTo>
                <a:lnTo>
                  <a:pt x="230" y="372"/>
                </a:lnTo>
                <a:lnTo>
                  <a:pt x="247" y="362"/>
                </a:lnTo>
                <a:lnTo>
                  <a:pt x="255" y="359"/>
                </a:lnTo>
                <a:lnTo>
                  <a:pt x="263" y="355"/>
                </a:lnTo>
                <a:lnTo>
                  <a:pt x="272" y="352"/>
                </a:lnTo>
                <a:lnTo>
                  <a:pt x="281" y="350"/>
                </a:lnTo>
                <a:lnTo>
                  <a:pt x="297" y="347"/>
                </a:lnTo>
                <a:lnTo>
                  <a:pt x="313" y="341"/>
                </a:lnTo>
                <a:lnTo>
                  <a:pt x="321" y="340"/>
                </a:lnTo>
                <a:lnTo>
                  <a:pt x="329" y="340"/>
                </a:lnTo>
                <a:lnTo>
                  <a:pt x="334" y="339"/>
                </a:lnTo>
                <a:lnTo>
                  <a:pt x="338" y="337"/>
                </a:lnTo>
                <a:lnTo>
                  <a:pt x="342" y="335"/>
                </a:lnTo>
                <a:lnTo>
                  <a:pt x="347" y="333"/>
                </a:lnTo>
                <a:lnTo>
                  <a:pt x="356" y="330"/>
                </a:lnTo>
                <a:lnTo>
                  <a:pt x="365" y="327"/>
                </a:lnTo>
                <a:lnTo>
                  <a:pt x="375" y="326"/>
                </a:lnTo>
                <a:lnTo>
                  <a:pt x="385" y="325"/>
                </a:lnTo>
                <a:lnTo>
                  <a:pt x="394" y="323"/>
                </a:lnTo>
                <a:lnTo>
                  <a:pt x="404" y="319"/>
                </a:lnTo>
                <a:lnTo>
                  <a:pt x="413" y="317"/>
                </a:lnTo>
                <a:lnTo>
                  <a:pt x="422" y="315"/>
                </a:lnTo>
                <a:lnTo>
                  <a:pt x="430" y="315"/>
                </a:lnTo>
                <a:lnTo>
                  <a:pt x="438" y="314"/>
                </a:lnTo>
                <a:lnTo>
                  <a:pt x="446" y="311"/>
                </a:lnTo>
                <a:lnTo>
                  <a:pt x="454" y="308"/>
                </a:lnTo>
                <a:lnTo>
                  <a:pt x="456" y="306"/>
                </a:lnTo>
                <a:lnTo>
                  <a:pt x="459" y="306"/>
                </a:lnTo>
                <a:lnTo>
                  <a:pt x="461" y="306"/>
                </a:lnTo>
                <a:lnTo>
                  <a:pt x="464" y="307"/>
                </a:lnTo>
                <a:lnTo>
                  <a:pt x="471" y="309"/>
                </a:lnTo>
                <a:lnTo>
                  <a:pt x="479" y="310"/>
                </a:lnTo>
                <a:lnTo>
                  <a:pt x="486" y="311"/>
                </a:lnTo>
                <a:lnTo>
                  <a:pt x="493" y="312"/>
                </a:lnTo>
                <a:lnTo>
                  <a:pt x="499" y="310"/>
                </a:lnTo>
                <a:lnTo>
                  <a:pt x="506" y="308"/>
                </a:lnTo>
                <a:lnTo>
                  <a:pt x="514" y="306"/>
                </a:lnTo>
                <a:lnTo>
                  <a:pt x="522" y="305"/>
                </a:lnTo>
                <a:lnTo>
                  <a:pt x="531" y="303"/>
                </a:lnTo>
                <a:lnTo>
                  <a:pt x="539" y="303"/>
                </a:lnTo>
                <a:lnTo>
                  <a:pt x="550" y="302"/>
                </a:lnTo>
                <a:lnTo>
                  <a:pt x="560" y="301"/>
                </a:lnTo>
                <a:lnTo>
                  <a:pt x="570" y="300"/>
                </a:lnTo>
                <a:lnTo>
                  <a:pt x="580" y="298"/>
                </a:lnTo>
                <a:lnTo>
                  <a:pt x="584" y="298"/>
                </a:lnTo>
                <a:lnTo>
                  <a:pt x="587" y="297"/>
                </a:lnTo>
                <a:lnTo>
                  <a:pt x="589" y="295"/>
                </a:lnTo>
                <a:lnTo>
                  <a:pt x="591" y="292"/>
                </a:lnTo>
                <a:lnTo>
                  <a:pt x="593" y="289"/>
                </a:lnTo>
                <a:lnTo>
                  <a:pt x="595" y="285"/>
                </a:lnTo>
                <a:lnTo>
                  <a:pt x="602" y="285"/>
                </a:lnTo>
                <a:lnTo>
                  <a:pt x="609" y="286"/>
                </a:lnTo>
                <a:lnTo>
                  <a:pt x="617" y="285"/>
                </a:lnTo>
                <a:lnTo>
                  <a:pt x="625" y="284"/>
                </a:lnTo>
                <a:lnTo>
                  <a:pt x="632" y="282"/>
                </a:lnTo>
                <a:lnTo>
                  <a:pt x="639" y="282"/>
                </a:lnTo>
                <a:lnTo>
                  <a:pt x="646" y="282"/>
                </a:lnTo>
                <a:lnTo>
                  <a:pt x="654" y="285"/>
                </a:lnTo>
                <a:lnTo>
                  <a:pt x="657" y="287"/>
                </a:lnTo>
                <a:lnTo>
                  <a:pt x="659" y="290"/>
                </a:lnTo>
                <a:lnTo>
                  <a:pt x="662" y="291"/>
                </a:lnTo>
                <a:lnTo>
                  <a:pt x="666" y="291"/>
                </a:lnTo>
                <a:lnTo>
                  <a:pt x="670" y="289"/>
                </a:lnTo>
                <a:lnTo>
                  <a:pt x="674" y="286"/>
                </a:lnTo>
                <a:lnTo>
                  <a:pt x="678" y="285"/>
                </a:lnTo>
                <a:lnTo>
                  <a:pt x="684" y="285"/>
                </a:lnTo>
                <a:lnTo>
                  <a:pt x="699" y="285"/>
                </a:lnTo>
                <a:lnTo>
                  <a:pt x="715" y="285"/>
                </a:lnTo>
                <a:lnTo>
                  <a:pt x="720" y="284"/>
                </a:lnTo>
                <a:lnTo>
                  <a:pt x="726" y="284"/>
                </a:lnTo>
                <a:lnTo>
                  <a:pt x="732" y="284"/>
                </a:lnTo>
                <a:lnTo>
                  <a:pt x="737" y="287"/>
                </a:lnTo>
                <a:lnTo>
                  <a:pt x="741" y="293"/>
                </a:lnTo>
                <a:lnTo>
                  <a:pt x="745" y="297"/>
                </a:lnTo>
                <a:lnTo>
                  <a:pt x="749" y="297"/>
                </a:lnTo>
                <a:lnTo>
                  <a:pt x="752" y="295"/>
                </a:lnTo>
                <a:lnTo>
                  <a:pt x="753" y="294"/>
                </a:lnTo>
                <a:lnTo>
                  <a:pt x="752" y="293"/>
                </a:lnTo>
                <a:lnTo>
                  <a:pt x="751" y="292"/>
                </a:lnTo>
                <a:lnTo>
                  <a:pt x="750" y="291"/>
                </a:lnTo>
                <a:lnTo>
                  <a:pt x="749" y="290"/>
                </a:lnTo>
                <a:lnTo>
                  <a:pt x="748" y="289"/>
                </a:lnTo>
                <a:lnTo>
                  <a:pt x="748" y="287"/>
                </a:lnTo>
                <a:lnTo>
                  <a:pt x="750" y="285"/>
                </a:lnTo>
                <a:lnTo>
                  <a:pt x="753" y="285"/>
                </a:lnTo>
                <a:lnTo>
                  <a:pt x="757" y="286"/>
                </a:lnTo>
                <a:lnTo>
                  <a:pt x="762" y="285"/>
                </a:lnTo>
                <a:lnTo>
                  <a:pt x="768" y="285"/>
                </a:lnTo>
                <a:lnTo>
                  <a:pt x="773" y="284"/>
                </a:lnTo>
                <a:lnTo>
                  <a:pt x="777" y="284"/>
                </a:lnTo>
                <a:lnTo>
                  <a:pt x="781" y="285"/>
                </a:lnTo>
                <a:lnTo>
                  <a:pt x="783" y="289"/>
                </a:lnTo>
                <a:lnTo>
                  <a:pt x="785" y="291"/>
                </a:lnTo>
                <a:lnTo>
                  <a:pt x="789" y="293"/>
                </a:lnTo>
                <a:lnTo>
                  <a:pt x="792" y="294"/>
                </a:lnTo>
                <a:lnTo>
                  <a:pt x="795" y="294"/>
                </a:lnTo>
                <a:lnTo>
                  <a:pt x="806" y="294"/>
                </a:lnTo>
                <a:lnTo>
                  <a:pt x="816" y="294"/>
                </a:lnTo>
                <a:lnTo>
                  <a:pt x="818" y="294"/>
                </a:lnTo>
                <a:lnTo>
                  <a:pt x="822" y="294"/>
                </a:lnTo>
                <a:lnTo>
                  <a:pt x="824" y="293"/>
                </a:lnTo>
                <a:lnTo>
                  <a:pt x="826" y="292"/>
                </a:lnTo>
                <a:lnTo>
                  <a:pt x="827" y="289"/>
                </a:lnTo>
                <a:lnTo>
                  <a:pt x="828" y="285"/>
                </a:lnTo>
                <a:lnTo>
                  <a:pt x="828" y="284"/>
                </a:lnTo>
                <a:lnTo>
                  <a:pt x="830" y="283"/>
                </a:lnTo>
                <a:lnTo>
                  <a:pt x="832" y="283"/>
                </a:lnTo>
                <a:lnTo>
                  <a:pt x="834" y="284"/>
                </a:lnTo>
                <a:lnTo>
                  <a:pt x="839" y="289"/>
                </a:lnTo>
                <a:lnTo>
                  <a:pt x="842" y="294"/>
                </a:lnTo>
                <a:lnTo>
                  <a:pt x="845" y="295"/>
                </a:lnTo>
                <a:lnTo>
                  <a:pt x="849" y="295"/>
                </a:lnTo>
                <a:lnTo>
                  <a:pt x="852" y="295"/>
                </a:lnTo>
                <a:lnTo>
                  <a:pt x="856" y="295"/>
                </a:lnTo>
                <a:lnTo>
                  <a:pt x="864" y="293"/>
                </a:lnTo>
                <a:lnTo>
                  <a:pt x="871" y="292"/>
                </a:lnTo>
                <a:lnTo>
                  <a:pt x="878" y="293"/>
                </a:lnTo>
                <a:lnTo>
                  <a:pt x="888" y="293"/>
                </a:lnTo>
                <a:lnTo>
                  <a:pt x="894" y="291"/>
                </a:lnTo>
                <a:lnTo>
                  <a:pt x="902" y="289"/>
                </a:lnTo>
                <a:lnTo>
                  <a:pt x="910" y="286"/>
                </a:lnTo>
                <a:lnTo>
                  <a:pt x="918" y="284"/>
                </a:lnTo>
                <a:lnTo>
                  <a:pt x="926" y="285"/>
                </a:lnTo>
                <a:lnTo>
                  <a:pt x="934" y="287"/>
                </a:lnTo>
                <a:lnTo>
                  <a:pt x="943" y="295"/>
                </a:lnTo>
                <a:lnTo>
                  <a:pt x="954" y="301"/>
                </a:lnTo>
                <a:lnTo>
                  <a:pt x="967" y="299"/>
                </a:lnTo>
                <a:lnTo>
                  <a:pt x="982" y="295"/>
                </a:lnTo>
                <a:lnTo>
                  <a:pt x="995" y="298"/>
                </a:lnTo>
                <a:lnTo>
                  <a:pt x="1007" y="301"/>
                </a:lnTo>
                <a:lnTo>
                  <a:pt x="1015" y="299"/>
                </a:lnTo>
                <a:lnTo>
                  <a:pt x="1023" y="295"/>
                </a:lnTo>
                <a:lnTo>
                  <a:pt x="1031" y="293"/>
                </a:lnTo>
                <a:lnTo>
                  <a:pt x="1040" y="292"/>
                </a:lnTo>
                <a:lnTo>
                  <a:pt x="1050" y="292"/>
                </a:lnTo>
                <a:lnTo>
                  <a:pt x="1059" y="291"/>
                </a:lnTo>
                <a:lnTo>
                  <a:pt x="1069" y="291"/>
                </a:lnTo>
                <a:lnTo>
                  <a:pt x="1079" y="291"/>
                </a:lnTo>
                <a:lnTo>
                  <a:pt x="1099" y="292"/>
                </a:lnTo>
                <a:lnTo>
                  <a:pt x="1121" y="294"/>
                </a:lnTo>
                <a:lnTo>
                  <a:pt x="1141" y="297"/>
                </a:lnTo>
                <a:lnTo>
                  <a:pt x="1162" y="297"/>
                </a:lnTo>
                <a:lnTo>
                  <a:pt x="1172" y="295"/>
                </a:lnTo>
                <a:lnTo>
                  <a:pt x="1181" y="294"/>
                </a:lnTo>
                <a:lnTo>
                  <a:pt x="1186" y="294"/>
                </a:lnTo>
                <a:lnTo>
                  <a:pt x="1189" y="295"/>
                </a:lnTo>
                <a:lnTo>
                  <a:pt x="1193" y="297"/>
                </a:lnTo>
                <a:lnTo>
                  <a:pt x="1196" y="299"/>
                </a:lnTo>
                <a:lnTo>
                  <a:pt x="1203" y="298"/>
                </a:lnTo>
                <a:lnTo>
                  <a:pt x="1210" y="295"/>
                </a:lnTo>
                <a:lnTo>
                  <a:pt x="1220" y="297"/>
                </a:lnTo>
                <a:lnTo>
                  <a:pt x="1229" y="299"/>
                </a:lnTo>
                <a:lnTo>
                  <a:pt x="1239" y="301"/>
                </a:lnTo>
                <a:lnTo>
                  <a:pt x="1251" y="303"/>
                </a:lnTo>
                <a:lnTo>
                  <a:pt x="1261" y="305"/>
                </a:lnTo>
                <a:lnTo>
                  <a:pt x="1272" y="305"/>
                </a:lnTo>
                <a:lnTo>
                  <a:pt x="1283" y="305"/>
                </a:lnTo>
                <a:lnTo>
                  <a:pt x="1293" y="305"/>
                </a:lnTo>
                <a:lnTo>
                  <a:pt x="1303" y="305"/>
                </a:lnTo>
                <a:lnTo>
                  <a:pt x="1312" y="307"/>
                </a:lnTo>
                <a:lnTo>
                  <a:pt x="1334" y="310"/>
                </a:lnTo>
                <a:lnTo>
                  <a:pt x="1354" y="312"/>
                </a:lnTo>
                <a:lnTo>
                  <a:pt x="1375" y="315"/>
                </a:lnTo>
                <a:lnTo>
                  <a:pt x="1396" y="315"/>
                </a:lnTo>
                <a:lnTo>
                  <a:pt x="1405" y="315"/>
                </a:lnTo>
                <a:lnTo>
                  <a:pt x="1416" y="315"/>
                </a:lnTo>
                <a:lnTo>
                  <a:pt x="1426" y="312"/>
                </a:lnTo>
                <a:lnTo>
                  <a:pt x="1435" y="310"/>
                </a:lnTo>
                <a:lnTo>
                  <a:pt x="1442" y="306"/>
                </a:lnTo>
                <a:lnTo>
                  <a:pt x="1448" y="300"/>
                </a:lnTo>
                <a:lnTo>
                  <a:pt x="1452" y="294"/>
                </a:lnTo>
                <a:lnTo>
                  <a:pt x="1457" y="287"/>
                </a:lnTo>
                <a:lnTo>
                  <a:pt x="1460" y="281"/>
                </a:lnTo>
                <a:lnTo>
                  <a:pt x="1462" y="274"/>
                </a:lnTo>
                <a:lnTo>
                  <a:pt x="1463" y="269"/>
                </a:lnTo>
                <a:lnTo>
                  <a:pt x="1462" y="266"/>
                </a:lnTo>
                <a:lnTo>
                  <a:pt x="1461" y="262"/>
                </a:lnTo>
                <a:lnTo>
                  <a:pt x="1458" y="259"/>
                </a:lnTo>
                <a:lnTo>
                  <a:pt x="1452" y="253"/>
                </a:lnTo>
                <a:lnTo>
                  <a:pt x="1453" y="256"/>
                </a:lnTo>
                <a:lnTo>
                  <a:pt x="1458" y="259"/>
                </a:lnTo>
                <a:lnTo>
                  <a:pt x="1458" y="259"/>
                </a:lnTo>
                <a:close/>
                <a:moveTo>
                  <a:pt x="197" y="352"/>
                </a:moveTo>
                <a:lnTo>
                  <a:pt x="196" y="350"/>
                </a:lnTo>
                <a:lnTo>
                  <a:pt x="197" y="349"/>
                </a:lnTo>
                <a:lnTo>
                  <a:pt x="198" y="350"/>
                </a:lnTo>
                <a:lnTo>
                  <a:pt x="197" y="352"/>
                </a:lnTo>
                <a:lnTo>
                  <a:pt x="197" y="351"/>
                </a:lnTo>
                <a:lnTo>
                  <a:pt x="197" y="352"/>
                </a:lnTo>
                <a:close/>
                <a:moveTo>
                  <a:pt x="433" y="273"/>
                </a:moveTo>
                <a:lnTo>
                  <a:pt x="419" y="276"/>
                </a:lnTo>
                <a:lnTo>
                  <a:pt x="404" y="279"/>
                </a:lnTo>
                <a:lnTo>
                  <a:pt x="389" y="282"/>
                </a:lnTo>
                <a:lnTo>
                  <a:pt x="374" y="285"/>
                </a:lnTo>
                <a:lnTo>
                  <a:pt x="359" y="289"/>
                </a:lnTo>
                <a:lnTo>
                  <a:pt x="345" y="293"/>
                </a:lnTo>
                <a:lnTo>
                  <a:pt x="339" y="293"/>
                </a:lnTo>
                <a:lnTo>
                  <a:pt x="334" y="293"/>
                </a:lnTo>
                <a:lnTo>
                  <a:pt x="330" y="291"/>
                </a:lnTo>
                <a:lnTo>
                  <a:pt x="326" y="286"/>
                </a:lnTo>
                <a:lnTo>
                  <a:pt x="341" y="284"/>
                </a:lnTo>
                <a:lnTo>
                  <a:pt x="357" y="281"/>
                </a:lnTo>
                <a:lnTo>
                  <a:pt x="372" y="276"/>
                </a:lnTo>
                <a:lnTo>
                  <a:pt x="387" y="273"/>
                </a:lnTo>
                <a:lnTo>
                  <a:pt x="402" y="269"/>
                </a:lnTo>
                <a:lnTo>
                  <a:pt x="416" y="267"/>
                </a:lnTo>
                <a:lnTo>
                  <a:pt x="423" y="267"/>
                </a:lnTo>
                <a:lnTo>
                  <a:pt x="430" y="267"/>
                </a:lnTo>
                <a:lnTo>
                  <a:pt x="432" y="267"/>
                </a:lnTo>
                <a:lnTo>
                  <a:pt x="435" y="267"/>
                </a:lnTo>
                <a:lnTo>
                  <a:pt x="436" y="267"/>
                </a:lnTo>
                <a:lnTo>
                  <a:pt x="437" y="269"/>
                </a:lnTo>
                <a:lnTo>
                  <a:pt x="436" y="272"/>
                </a:lnTo>
                <a:lnTo>
                  <a:pt x="433" y="273"/>
                </a:lnTo>
                <a:lnTo>
                  <a:pt x="421" y="275"/>
                </a:lnTo>
                <a:lnTo>
                  <a:pt x="423" y="275"/>
                </a:lnTo>
                <a:lnTo>
                  <a:pt x="431" y="273"/>
                </a:lnTo>
                <a:lnTo>
                  <a:pt x="433" y="273"/>
                </a:lnTo>
                <a:close/>
                <a:moveTo>
                  <a:pt x="791" y="286"/>
                </a:moveTo>
                <a:lnTo>
                  <a:pt x="794" y="284"/>
                </a:lnTo>
                <a:lnTo>
                  <a:pt x="798" y="283"/>
                </a:lnTo>
                <a:lnTo>
                  <a:pt x="802" y="282"/>
                </a:lnTo>
                <a:lnTo>
                  <a:pt x="806" y="281"/>
                </a:lnTo>
                <a:lnTo>
                  <a:pt x="802" y="282"/>
                </a:lnTo>
                <a:lnTo>
                  <a:pt x="798" y="283"/>
                </a:lnTo>
                <a:lnTo>
                  <a:pt x="794" y="284"/>
                </a:lnTo>
                <a:lnTo>
                  <a:pt x="791" y="28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680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72">
            <a:extLst>
              <a:ext uri="{FF2B5EF4-FFF2-40B4-BE49-F238E27FC236}">
                <a16:creationId xmlns:a16="http://schemas.microsoft.com/office/drawing/2014/main" id="{B9F44DF7-04B3-C048-BF66-A87601447F19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246111" y="369015"/>
            <a:ext cx="11699777" cy="3743983"/>
          </a:xfrm>
          <a:custGeom>
            <a:avLst/>
            <a:gdLst>
              <a:gd name="T0" fmla="*/ 1423 w 1484"/>
              <a:gd name="T1" fmla="*/ 238 h 711"/>
              <a:gd name="T2" fmla="*/ 1304 w 1484"/>
              <a:gd name="T3" fmla="*/ 138 h 711"/>
              <a:gd name="T4" fmla="*/ 1199 w 1484"/>
              <a:gd name="T5" fmla="*/ 103 h 711"/>
              <a:gd name="T6" fmla="*/ 1152 w 1484"/>
              <a:gd name="T7" fmla="*/ 157 h 711"/>
              <a:gd name="T8" fmla="*/ 626 w 1484"/>
              <a:gd name="T9" fmla="*/ 54 h 711"/>
              <a:gd name="T10" fmla="*/ 506 w 1484"/>
              <a:gd name="T11" fmla="*/ 47 h 711"/>
              <a:gd name="T12" fmla="*/ 162 w 1484"/>
              <a:gd name="T13" fmla="*/ 147 h 711"/>
              <a:gd name="T14" fmla="*/ 169 w 1484"/>
              <a:gd name="T15" fmla="*/ 155 h 711"/>
              <a:gd name="T16" fmla="*/ 85 w 1484"/>
              <a:gd name="T17" fmla="*/ 298 h 711"/>
              <a:gd name="T18" fmla="*/ 47 w 1484"/>
              <a:gd name="T19" fmla="*/ 584 h 711"/>
              <a:gd name="T20" fmla="*/ 401 w 1484"/>
              <a:gd name="T21" fmla="*/ 416 h 711"/>
              <a:gd name="T22" fmla="*/ 616 w 1484"/>
              <a:gd name="T23" fmla="*/ 497 h 711"/>
              <a:gd name="T24" fmla="*/ 742 w 1484"/>
              <a:gd name="T25" fmla="*/ 581 h 711"/>
              <a:gd name="T26" fmla="*/ 1026 w 1484"/>
              <a:gd name="T27" fmla="*/ 654 h 711"/>
              <a:gd name="T28" fmla="*/ 1398 w 1484"/>
              <a:gd name="T29" fmla="*/ 676 h 711"/>
              <a:gd name="T30" fmla="*/ 1173 w 1484"/>
              <a:gd name="T31" fmla="*/ 681 h 711"/>
              <a:gd name="T32" fmla="*/ 1357 w 1484"/>
              <a:gd name="T33" fmla="*/ 700 h 711"/>
              <a:gd name="T34" fmla="*/ 1205 w 1484"/>
              <a:gd name="T35" fmla="*/ 614 h 711"/>
              <a:gd name="T36" fmla="*/ 690 w 1484"/>
              <a:gd name="T37" fmla="*/ 378 h 711"/>
              <a:gd name="T38" fmla="*/ 751 w 1484"/>
              <a:gd name="T39" fmla="*/ 79 h 711"/>
              <a:gd name="T40" fmla="*/ 953 w 1484"/>
              <a:gd name="T41" fmla="*/ 665 h 711"/>
              <a:gd name="T42" fmla="*/ 360 w 1484"/>
              <a:gd name="T43" fmla="*/ 516 h 711"/>
              <a:gd name="T44" fmla="*/ 297 w 1484"/>
              <a:gd name="T45" fmla="*/ 424 h 711"/>
              <a:gd name="T46" fmla="*/ 63 w 1484"/>
              <a:gd name="T47" fmla="*/ 321 h 711"/>
              <a:gd name="T48" fmla="*/ 331 w 1484"/>
              <a:gd name="T49" fmla="*/ 454 h 711"/>
              <a:gd name="T50" fmla="*/ 982 w 1484"/>
              <a:gd name="T51" fmla="*/ 664 h 711"/>
              <a:gd name="T52" fmla="*/ 162 w 1484"/>
              <a:gd name="T53" fmla="*/ 491 h 711"/>
              <a:gd name="T54" fmla="*/ 261 w 1484"/>
              <a:gd name="T55" fmla="*/ 486 h 711"/>
              <a:gd name="T56" fmla="*/ 453 w 1484"/>
              <a:gd name="T57" fmla="*/ 464 h 711"/>
              <a:gd name="T58" fmla="*/ 567 w 1484"/>
              <a:gd name="T59" fmla="*/ 464 h 711"/>
              <a:gd name="T60" fmla="*/ 832 w 1484"/>
              <a:gd name="T61" fmla="*/ 615 h 711"/>
              <a:gd name="T62" fmla="*/ 194 w 1484"/>
              <a:gd name="T63" fmla="*/ 498 h 711"/>
              <a:gd name="T64" fmla="*/ 42 w 1484"/>
              <a:gd name="T65" fmla="*/ 618 h 711"/>
              <a:gd name="T66" fmla="*/ 48 w 1484"/>
              <a:gd name="T67" fmla="*/ 621 h 711"/>
              <a:gd name="T68" fmla="*/ 70 w 1484"/>
              <a:gd name="T69" fmla="*/ 586 h 711"/>
              <a:gd name="T70" fmla="*/ 1096 w 1484"/>
              <a:gd name="T71" fmla="*/ 115 h 711"/>
              <a:gd name="T72" fmla="*/ 69 w 1484"/>
              <a:gd name="T73" fmla="*/ 463 h 711"/>
              <a:gd name="T74" fmla="*/ 1321 w 1484"/>
              <a:gd name="T75" fmla="*/ 661 h 711"/>
              <a:gd name="T76" fmla="*/ 920 w 1484"/>
              <a:gd name="T77" fmla="*/ 460 h 711"/>
              <a:gd name="T78" fmla="*/ 1192 w 1484"/>
              <a:gd name="T79" fmla="*/ 115 h 711"/>
              <a:gd name="T80" fmla="*/ 599 w 1484"/>
              <a:gd name="T81" fmla="*/ 104 h 711"/>
              <a:gd name="T82" fmla="*/ 491 w 1484"/>
              <a:gd name="T83" fmla="*/ 257 h 711"/>
              <a:gd name="T84" fmla="*/ 389 w 1484"/>
              <a:gd name="T85" fmla="*/ 277 h 711"/>
              <a:gd name="T86" fmla="*/ 451 w 1484"/>
              <a:gd name="T87" fmla="*/ 274 h 711"/>
              <a:gd name="T88" fmla="*/ 422 w 1484"/>
              <a:gd name="T89" fmla="*/ 154 h 711"/>
              <a:gd name="T90" fmla="*/ 604 w 1484"/>
              <a:gd name="T91" fmla="*/ 275 h 711"/>
              <a:gd name="T92" fmla="*/ 424 w 1484"/>
              <a:gd name="T93" fmla="*/ 88 h 711"/>
              <a:gd name="T94" fmla="*/ 313 w 1484"/>
              <a:gd name="T95" fmla="*/ 147 h 711"/>
              <a:gd name="T96" fmla="*/ 276 w 1484"/>
              <a:gd name="T97" fmla="*/ 306 h 711"/>
              <a:gd name="T98" fmla="*/ 177 w 1484"/>
              <a:gd name="T99" fmla="*/ 171 h 711"/>
              <a:gd name="T100" fmla="*/ 127 w 1484"/>
              <a:gd name="T101" fmla="*/ 236 h 711"/>
              <a:gd name="T102" fmla="*/ 170 w 1484"/>
              <a:gd name="T103" fmla="*/ 321 h 711"/>
              <a:gd name="T104" fmla="*/ 291 w 1484"/>
              <a:gd name="T105" fmla="*/ 375 h 711"/>
              <a:gd name="T106" fmla="*/ 415 w 1484"/>
              <a:gd name="T107" fmla="*/ 397 h 711"/>
              <a:gd name="T108" fmla="*/ 558 w 1484"/>
              <a:gd name="T109" fmla="*/ 419 h 711"/>
              <a:gd name="T110" fmla="*/ 335 w 1484"/>
              <a:gd name="T111" fmla="*/ 329 h 711"/>
              <a:gd name="T112" fmla="*/ 433 w 1484"/>
              <a:gd name="T113" fmla="*/ 298 h 711"/>
              <a:gd name="T114" fmla="*/ 801 w 1484"/>
              <a:gd name="T115" fmla="*/ 410 h 711"/>
              <a:gd name="T116" fmla="*/ 697 w 1484"/>
              <a:gd name="T117" fmla="*/ 502 h 711"/>
              <a:gd name="T118" fmla="*/ 721 w 1484"/>
              <a:gd name="T119" fmla="*/ 506 h 711"/>
              <a:gd name="T120" fmla="*/ 872 w 1484"/>
              <a:gd name="T121" fmla="*/ 579 h 711"/>
              <a:gd name="T122" fmla="*/ 944 w 1484"/>
              <a:gd name="T123" fmla="*/ 479 h 711"/>
              <a:gd name="T124" fmla="*/ 1104 w 1484"/>
              <a:gd name="T125" fmla="*/ 639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84" h="711">
                <a:moveTo>
                  <a:pt x="1477" y="481"/>
                </a:moveTo>
                <a:lnTo>
                  <a:pt x="1473" y="479"/>
                </a:lnTo>
                <a:lnTo>
                  <a:pt x="1469" y="476"/>
                </a:lnTo>
                <a:lnTo>
                  <a:pt x="1471" y="472"/>
                </a:lnTo>
                <a:lnTo>
                  <a:pt x="1473" y="469"/>
                </a:lnTo>
                <a:lnTo>
                  <a:pt x="1473" y="464"/>
                </a:lnTo>
                <a:lnTo>
                  <a:pt x="1471" y="460"/>
                </a:lnTo>
                <a:lnTo>
                  <a:pt x="1468" y="457"/>
                </a:lnTo>
                <a:lnTo>
                  <a:pt x="1463" y="454"/>
                </a:lnTo>
                <a:lnTo>
                  <a:pt x="1461" y="453"/>
                </a:lnTo>
                <a:lnTo>
                  <a:pt x="1460" y="451"/>
                </a:lnTo>
                <a:lnTo>
                  <a:pt x="1459" y="449"/>
                </a:lnTo>
                <a:lnTo>
                  <a:pt x="1459" y="447"/>
                </a:lnTo>
                <a:lnTo>
                  <a:pt x="1460" y="444"/>
                </a:lnTo>
                <a:lnTo>
                  <a:pt x="1463" y="439"/>
                </a:lnTo>
                <a:lnTo>
                  <a:pt x="1467" y="435"/>
                </a:lnTo>
                <a:lnTo>
                  <a:pt x="1470" y="432"/>
                </a:lnTo>
                <a:lnTo>
                  <a:pt x="1473" y="429"/>
                </a:lnTo>
                <a:lnTo>
                  <a:pt x="1477" y="427"/>
                </a:lnTo>
                <a:lnTo>
                  <a:pt x="1479" y="424"/>
                </a:lnTo>
                <a:lnTo>
                  <a:pt x="1480" y="420"/>
                </a:lnTo>
                <a:lnTo>
                  <a:pt x="1479" y="416"/>
                </a:lnTo>
                <a:lnTo>
                  <a:pt x="1479" y="414"/>
                </a:lnTo>
                <a:lnTo>
                  <a:pt x="1478" y="413"/>
                </a:lnTo>
                <a:lnTo>
                  <a:pt x="1475" y="413"/>
                </a:lnTo>
                <a:lnTo>
                  <a:pt x="1471" y="412"/>
                </a:lnTo>
                <a:lnTo>
                  <a:pt x="1469" y="412"/>
                </a:lnTo>
                <a:lnTo>
                  <a:pt x="1468" y="410"/>
                </a:lnTo>
                <a:lnTo>
                  <a:pt x="1468" y="407"/>
                </a:lnTo>
                <a:lnTo>
                  <a:pt x="1469" y="404"/>
                </a:lnTo>
                <a:lnTo>
                  <a:pt x="1469" y="399"/>
                </a:lnTo>
                <a:lnTo>
                  <a:pt x="1468" y="397"/>
                </a:lnTo>
                <a:lnTo>
                  <a:pt x="1468" y="396"/>
                </a:lnTo>
                <a:lnTo>
                  <a:pt x="1468" y="395"/>
                </a:lnTo>
                <a:lnTo>
                  <a:pt x="1469" y="393"/>
                </a:lnTo>
                <a:lnTo>
                  <a:pt x="1476" y="383"/>
                </a:lnTo>
                <a:lnTo>
                  <a:pt x="1484" y="375"/>
                </a:lnTo>
                <a:lnTo>
                  <a:pt x="1479" y="375"/>
                </a:lnTo>
                <a:lnTo>
                  <a:pt x="1473" y="374"/>
                </a:lnTo>
                <a:lnTo>
                  <a:pt x="1471" y="374"/>
                </a:lnTo>
                <a:lnTo>
                  <a:pt x="1469" y="373"/>
                </a:lnTo>
                <a:lnTo>
                  <a:pt x="1468" y="371"/>
                </a:lnTo>
                <a:lnTo>
                  <a:pt x="1467" y="369"/>
                </a:lnTo>
                <a:lnTo>
                  <a:pt x="1471" y="363"/>
                </a:lnTo>
                <a:lnTo>
                  <a:pt x="1477" y="355"/>
                </a:lnTo>
                <a:lnTo>
                  <a:pt x="1475" y="352"/>
                </a:lnTo>
                <a:lnTo>
                  <a:pt x="1470" y="348"/>
                </a:lnTo>
                <a:lnTo>
                  <a:pt x="1468" y="347"/>
                </a:lnTo>
                <a:lnTo>
                  <a:pt x="1465" y="347"/>
                </a:lnTo>
                <a:lnTo>
                  <a:pt x="1464" y="348"/>
                </a:lnTo>
                <a:lnTo>
                  <a:pt x="1463" y="348"/>
                </a:lnTo>
                <a:lnTo>
                  <a:pt x="1461" y="347"/>
                </a:lnTo>
                <a:lnTo>
                  <a:pt x="1460" y="346"/>
                </a:lnTo>
                <a:lnTo>
                  <a:pt x="1455" y="344"/>
                </a:lnTo>
                <a:lnTo>
                  <a:pt x="1450" y="343"/>
                </a:lnTo>
                <a:lnTo>
                  <a:pt x="1447" y="343"/>
                </a:lnTo>
                <a:lnTo>
                  <a:pt x="1445" y="341"/>
                </a:lnTo>
                <a:lnTo>
                  <a:pt x="1444" y="339"/>
                </a:lnTo>
                <a:lnTo>
                  <a:pt x="1443" y="338"/>
                </a:lnTo>
                <a:lnTo>
                  <a:pt x="1446" y="332"/>
                </a:lnTo>
                <a:lnTo>
                  <a:pt x="1450" y="328"/>
                </a:lnTo>
                <a:lnTo>
                  <a:pt x="1454" y="322"/>
                </a:lnTo>
                <a:lnTo>
                  <a:pt x="1457" y="316"/>
                </a:lnTo>
                <a:lnTo>
                  <a:pt x="1461" y="312"/>
                </a:lnTo>
                <a:lnTo>
                  <a:pt x="1463" y="307"/>
                </a:lnTo>
                <a:lnTo>
                  <a:pt x="1464" y="305"/>
                </a:lnTo>
                <a:lnTo>
                  <a:pt x="1464" y="303"/>
                </a:lnTo>
                <a:lnTo>
                  <a:pt x="1464" y="299"/>
                </a:lnTo>
                <a:lnTo>
                  <a:pt x="1463" y="297"/>
                </a:lnTo>
                <a:lnTo>
                  <a:pt x="1460" y="295"/>
                </a:lnTo>
                <a:lnTo>
                  <a:pt x="1457" y="291"/>
                </a:lnTo>
                <a:lnTo>
                  <a:pt x="1455" y="288"/>
                </a:lnTo>
                <a:lnTo>
                  <a:pt x="1452" y="285"/>
                </a:lnTo>
                <a:lnTo>
                  <a:pt x="1455" y="281"/>
                </a:lnTo>
                <a:lnTo>
                  <a:pt x="1455" y="280"/>
                </a:lnTo>
                <a:lnTo>
                  <a:pt x="1453" y="280"/>
                </a:lnTo>
                <a:lnTo>
                  <a:pt x="1448" y="279"/>
                </a:lnTo>
                <a:lnTo>
                  <a:pt x="1439" y="279"/>
                </a:lnTo>
                <a:lnTo>
                  <a:pt x="1431" y="280"/>
                </a:lnTo>
                <a:lnTo>
                  <a:pt x="1429" y="281"/>
                </a:lnTo>
                <a:lnTo>
                  <a:pt x="1427" y="282"/>
                </a:lnTo>
                <a:lnTo>
                  <a:pt x="1427" y="285"/>
                </a:lnTo>
                <a:lnTo>
                  <a:pt x="1428" y="288"/>
                </a:lnTo>
                <a:lnTo>
                  <a:pt x="1430" y="289"/>
                </a:lnTo>
                <a:lnTo>
                  <a:pt x="1434" y="291"/>
                </a:lnTo>
                <a:lnTo>
                  <a:pt x="1430" y="291"/>
                </a:lnTo>
                <a:lnTo>
                  <a:pt x="1428" y="291"/>
                </a:lnTo>
                <a:lnTo>
                  <a:pt x="1426" y="294"/>
                </a:lnTo>
                <a:lnTo>
                  <a:pt x="1424" y="296"/>
                </a:lnTo>
                <a:lnTo>
                  <a:pt x="1420" y="300"/>
                </a:lnTo>
                <a:lnTo>
                  <a:pt x="1415" y="304"/>
                </a:lnTo>
                <a:lnTo>
                  <a:pt x="1419" y="294"/>
                </a:lnTo>
                <a:lnTo>
                  <a:pt x="1423" y="286"/>
                </a:lnTo>
                <a:lnTo>
                  <a:pt x="1428" y="275"/>
                </a:lnTo>
                <a:lnTo>
                  <a:pt x="1432" y="266"/>
                </a:lnTo>
                <a:lnTo>
                  <a:pt x="1438" y="258"/>
                </a:lnTo>
                <a:lnTo>
                  <a:pt x="1443" y="249"/>
                </a:lnTo>
                <a:lnTo>
                  <a:pt x="1444" y="247"/>
                </a:lnTo>
                <a:lnTo>
                  <a:pt x="1444" y="246"/>
                </a:lnTo>
                <a:lnTo>
                  <a:pt x="1444" y="246"/>
                </a:lnTo>
                <a:lnTo>
                  <a:pt x="1443" y="246"/>
                </a:lnTo>
                <a:lnTo>
                  <a:pt x="1440" y="246"/>
                </a:lnTo>
                <a:lnTo>
                  <a:pt x="1437" y="245"/>
                </a:lnTo>
                <a:lnTo>
                  <a:pt x="1440" y="244"/>
                </a:lnTo>
                <a:lnTo>
                  <a:pt x="1443" y="241"/>
                </a:lnTo>
                <a:lnTo>
                  <a:pt x="1443" y="239"/>
                </a:lnTo>
                <a:lnTo>
                  <a:pt x="1442" y="239"/>
                </a:lnTo>
                <a:lnTo>
                  <a:pt x="1440" y="239"/>
                </a:lnTo>
                <a:lnTo>
                  <a:pt x="1438" y="239"/>
                </a:lnTo>
                <a:lnTo>
                  <a:pt x="1434" y="240"/>
                </a:lnTo>
                <a:lnTo>
                  <a:pt x="1429" y="241"/>
                </a:lnTo>
                <a:lnTo>
                  <a:pt x="1424" y="241"/>
                </a:lnTo>
                <a:lnTo>
                  <a:pt x="1421" y="240"/>
                </a:lnTo>
                <a:lnTo>
                  <a:pt x="1423" y="238"/>
                </a:lnTo>
                <a:lnTo>
                  <a:pt x="1427" y="236"/>
                </a:lnTo>
                <a:lnTo>
                  <a:pt x="1429" y="233"/>
                </a:lnTo>
                <a:lnTo>
                  <a:pt x="1431" y="230"/>
                </a:lnTo>
                <a:lnTo>
                  <a:pt x="1434" y="225"/>
                </a:lnTo>
                <a:lnTo>
                  <a:pt x="1437" y="220"/>
                </a:lnTo>
                <a:lnTo>
                  <a:pt x="1439" y="215"/>
                </a:lnTo>
                <a:lnTo>
                  <a:pt x="1438" y="211"/>
                </a:lnTo>
                <a:lnTo>
                  <a:pt x="1437" y="209"/>
                </a:lnTo>
                <a:lnTo>
                  <a:pt x="1436" y="211"/>
                </a:lnTo>
                <a:lnTo>
                  <a:pt x="1435" y="213"/>
                </a:lnTo>
                <a:lnTo>
                  <a:pt x="1434" y="214"/>
                </a:lnTo>
                <a:lnTo>
                  <a:pt x="1432" y="216"/>
                </a:lnTo>
                <a:lnTo>
                  <a:pt x="1430" y="217"/>
                </a:lnTo>
                <a:lnTo>
                  <a:pt x="1424" y="217"/>
                </a:lnTo>
                <a:lnTo>
                  <a:pt x="1423" y="216"/>
                </a:lnTo>
                <a:lnTo>
                  <a:pt x="1423" y="215"/>
                </a:lnTo>
                <a:lnTo>
                  <a:pt x="1424" y="212"/>
                </a:lnTo>
                <a:lnTo>
                  <a:pt x="1427" y="209"/>
                </a:lnTo>
                <a:lnTo>
                  <a:pt x="1428" y="207"/>
                </a:lnTo>
                <a:lnTo>
                  <a:pt x="1428" y="206"/>
                </a:lnTo>
                <a:lnTo>
                  <a:pt x="1427" y="205"/>
                </a:lnTo>
                <a:lnTo>
                  <a:pt x="1426" y="205"/>
                </a:lnTo>
                <a:lnTo>
                  <a:pt x="1424" y="204"/>
                </a:lnTo>
                <a:lnTo>
                  <a:pt x="1421" y="205"/>
                </a:lnTo>
                <a:lnTo>
                  <a:pt x="1418" y="206"/>
                </a:lnTo>
                <a:lnTo>
                  <a:pt x="1414" y="208"/>
                </a:lnTo>
                <a:lnTo>
                  <a:pt x="1411" y="211"/>
                </a:lnTo>
                <a:lnTo>
                  <a:pt x="1404" y="215"/>
                </a:lnTo>
                <a:lnTo>
                  <a:pt x="1397" y="219"/>
                </a:lnTo>
                <a:lnTo>
                  <a:pt x="1402" y="211"/>
                </a:lnTo>
                <a:lnTo>
                  <a:pt x="1406" y="200"/>
                </a:lnTo>
                <a:lnTo>
                  <a:pt x="1410" y="191"/>
                </a:lnTo>
                <a:lnTo>
                  <a:pt x="1411" y="181"/>
                </a:lnTo>
                <a:lnTo>
                  <a:pt x="1411" y="179"/>
                </a:lnTo>
                <a:lnTo>
                  <a:pt x="1410" y="175"/>
                </a:lnTo>
                <a:lnTo>
                  <a:pt x="1409" y="173"/>
                </a:lnTo>
                <a:lnTo>
                  <a:pt x="1406" y="172"/>
                </a:lnTo>
                <a:lnTo>
                  <a:pt x="1404" y="174"/>
                </a:lnTo>
                <a:lnTo>
                  <a:pt x="1402" y="177"/>
                </a:lnTo>
                <a:lnTo>
                  <a:pt x="1398" y="178"/>
                </a:lnTo>
                <a:lnTo>
                  <a:pt x="1395" y="179"/>
                </a:lnTo>
                <a:lnTo>
                  <a:pt x="1395" y="174"/>
                </a:lnTo>
                <a:lnTo>
                  <a:pt x="1395" y="169"/>
                </a:lnTo>
                <a:lnTo>
                  <a:pt x="1394" y="165"/>
                </a:lnTo>
                <a:lnTo>
                  <a:pt x="1394" y="162"/>
                </a:lnTo>
                <a:lnTo>
                  <a:pt x="1395" y="159"/>
                </a:lnTo>
                <a:lnTo>
                  <a:pt x="1396" y="157"/>
                </a:lnTo>
                <a:lnTo>
                  <a:pt x="1396" y="156"/>
                </a:lnTo>
                <a:lnTo>
                  <a:pt x="1395" y="155"/>
                </a:lnTo>
                <a:lnTo>
                  <a:pt x="1393" y="154"/>
                </a:lnTo>
                <a:lnTo>
                  <a:pt x="1390" y="154"/>
                </a:lnTo>
                <a:lnTo>
                  <a:pt x="1387" y="154"/>
                </a:lnTo>
                <a:lnTo>
                  <a:pt x="1384" y="156"/>
                </a:lnTo>
                <a:lnTo>
                  <a:pt x="1380" y="159"/>
                </a:lnTo>
                <a:lnTo>
                  <a:pt x="1377" y="162"/>
                </a:lnTo>
                <a:lnTo>
                  <a:pt x="1373" y="165"/>
                </a:lnTo>
                <a:lnTo>
                  <a:pt x="1372" y="169"/>
                </a:lnTo>
                <a:lnTo>
                  <a:pt x="1369" y="174"/>
                </a:lnTo>
                <a:lnTo>
                  <a:pt x="1365" y="178"/>
                </a:lnTo>
                <a:lnTo>
                  <a:pt x="1368" y="167"/>
                </a:lnTo>
                <a:lnTo>
                  <a:pt x="1373" y="158"/>
                </a:lnTo>
                <a:lnTo>
                  <a:pt x="1378" y="149"/>
                </a:lnTo>
                <a:lnTo>
                  <a:pt x="1381" y="139"/>
                </a:lnTo>
                <a:lnTo>
                  <a:pt x="1381" y="136"/>
                </a:lnTo>
                <a:lnTo>
                  <a:pt x="1381" y="132"/>
                </a:lnTo>
                <a:lnTo>
                  <a:pt x="1380" y="131"/>
                </a:lnTo>
                <a:lnTo>
                  <a:pt x="1379" y="130"/>
                </a:lnTo>
                <a:lnTo>
                  <a:pt x="1378" y="130"/>
                </a:lnTo>
                <a:lnTo>
                  <a:pt x="1376" y="131"/>
                </a:lnTo>
                <a:lnTo>
                  <a:pt x="1370" y="138"/>
                </a:lnTo>
                <a:lnTo>
                  <a:pt x="1364" y="146"/>
                </a:lnTo>
                <a:lnTo>
                  <a:pt x="1366" y="138"/>
                </a:lnTo>
                <a:lnTo>
                  <a:pt x="1370" y="130"/>
                </a:lnTo>
                <a:lnTo>
                  <a:pt x="1372" y="126"/>
                </a:lnTo>
                <a:lnTo>
                  <a:pt x="1373" y="123"/>
                </a:lnTo>
                <a:lnTo>
                  <a:pt x="1372" y="120"/>
                </a:lnTo>
                <a:lnTo>
                  <a:pt x="1371" y="116"/>
                </a:lnTo>
                <a:lnTo>
                  <a:pt x="1369" y="112"/>
                </a:lnTo>
                <a:lnTo>
                  <a:pt x="1366" y="109"/>
                </a:lnTo>
                <a:lnTo>
                  <a:pt x="1361" y="114"/>
                </a:lnTo>
                <a:lnTo>
                  <a:pt x="1355" y="120"/>
                </a:lnTo>
                <a:lnTo>
                  <a:pt x="1349" y="125"/>
                </a:lnTo>
                <a:lnTo>
                  <a:pt x="1345" y="132"/>
                </a:lnTo>
                <a:lnTo>
                  <a:pt x="1340" y="141"/>
                </a:lnTo>
                <a:lnTo>
                  <a:pt x="1337" y="150"/>
                </a:lnTo>
                <a:lnTo>
                  <a:pt x="1335" y="153"/>
                </a:lnTo>
                <a:lnTo>
                  <a:pt x="1331" y="157"/>
                </a:lnTo>
                <a:lnTo>
                  <a:pt x="1328" y="159"/>
                </a:lnTo>
                <a:lnTo>
                  <a:pt x="1324" y="161"/>
                </a:lnTo>
                <a:lnTo>
                  <a:pt x="1323" y="159"/>
                </a:lnTo>
                <a:lnTo>
                  <a:pt x="1323" y="157"/>
                </a:lnTo>
                <a:lnTo>
                  <a:pt x="1323" y="155"/>
                </a:lnTo>
                <a:lnTo>
                  <a:pt x="1323" y="153"/>
                </a:lnTo>
                <a:lnTo>
                  <a:pt x="1325" y="147"/>
                </a:lnTo>
                <a:lnTo>
                  <a:pt x="1328" y="144"/>
                </a:lnTo>
                <a:lnTo>
                  <a:pt x="1331" y="133"/>
                </a:lnTo>
                <a:lnTo>
                  <a:pt x="1335" y="123"/>
                </a:lnTo>
                <a:lnTo>
                  <a:pt x="1338" y="113"/>
                </a:lnTo>
                <a:lnTo>
                  <a:pt x="1341" y="103"/>
                </a:lnTo>
                <a:lnTo>
                  <a:pt x="1343" y="92"/>
                </a:lnTo>
                <a:lnTo>
                  <a:pt x="1345" y="83"/>
                </a:lnTo>
                <a:lnTo>
                  <a:pt x="1346" y="80"/>
                </a:lnTo>
                <a:lnTo>
                  <a:pt x="1346" y="78"/>
                </a:lnTo>
                <a:lnTo>
                  <a:pt x="1345" y="76"/>
                </a:lnTo>
                <a:lnTo>
                  <a:pt x="1345" y="75"/>
                </a:lnTo>
                <a:lnTo>
                  <a:pt x="1344" y="75"/>
                </a:lnTo>
                <a:lnTo>
                  <a:pt x="1341" y="76"/>
                </a:lnTo>
                <a:lnTo>
                  <a:pt x="1336" y="83"/>
                </a:lnTo>
                <a:lnTo>
                  <a:pt x="1333" y="90"/>
                </a:lnTo>
                <a:lnTo>
                  <a:pt x="1328" y="100"/>
                </a:lnTo>
                <a:lnTo>
                  <a:pt x="1322" y="109"/>
                </a:lnTo>
                <a:lnTo>
                  <a:pt x="1316" y="120"/>
                </a:lnTo>
                <a:lnTo>
                  <a:pt x="1310" y="129"/>
                </a:lnTo>
                <a:lnTo>
                  <a:pt x="1304" y="138"/>
                </a:lnTo>
                <a:lnTo>
                  <a:pt x="1298" y="148"/>
                </a:lnTo>
                <a:lnTo>
                  <a:pt x="1292" y="157"/>
                </a:lnTo>
                <a:lnTo>
                  <a:pt x="1287" y="166"/>
                </a:lnTo>
                <a:lnTo>
                  <a:pt x="1281" y="175"/>
                </a:lnTo>
                <a:lnTo>
                  <a:pt x="1274" y="184"/>
                </a:lnTo>
                <a:lnTo>
                  <a:pt x="1271" y="188"/>
                </a:lnTo>
                <a:lnTo>
                  <a:pt x="1267" y="191"/>
                </a:lnTo>
                <a:lnTo>
                  <a:pt x="1266" y="195"/>
                </a:lnTo>
                <a:lnTo>
                  <a:pt x="1264" y="198"/>
                </a:lnTo>
                <a:lnTo>
                  <a:pt x="1262" y="203"/>
                </a:lnTo>
                <a:lnTo>
                  <a:pt x="1258" y="207"/>
                </a:lnTo>
                <a:lnTo>
                  <a:pt x="1255" y="212"/>
                </a:lnTo>
                <a:lnTo>
                  <a:pt x="1251" y="215"/>
                </a:lnTo>
                <a:lnTo>
                  <a:pt x="1262" y="197"/>
                </a:lnTo>
                <a:lnTo>
                  <a:pt x="1271" y="178"/>
                </a:lnTo>
                <a:lnTo>
                  <a:pt x="1274" y="167"/>
                </a:lnTo>
                <a:lnTo>
                  <a:pt x="1278" y="158"/>
                </a:lnTo>
                <a:lnTo>
                  <a:pt x="1281" y="148"/>
                </a:lnTo>
                <a:lnTo>
                  <a:pt x="1283" y="137"/>
                </a:lnTo>
                <a:lnTo>
                  <a:pt x="1288" y="116"/>
                </a:lnTo>
                <a:lnTo>
                  <a:pt x="1292" y="96"/>
                </a:lnTo>
                <a:lnTo>
                  <a:pt x="1299" y="75"/>
                </a:lnTo>
                <a:lnTo>
                  <a:pt x="1304" y="54"/>
                </a:lnTo>
                <a:lnTo>
                  <a:pt x="1305" y="50"/>
                </a:lnTo>
                <a:lnTo>
                  <a:pt x="1306" y="47"/>
                </a:lnTo>
                <a:lnTo>
                  <a:pt x="1306" y="45"/>
                </a:lnTo>
                <a:lnTo>
                  <a:pt x="1306" y="43"/>
                </a:lnTo>
                <a:lnTo>
                  <a:pt x="1305" y="42"/>
                </a:lnTo>
                <a:lnTo>
                  <a:pt x="1303" y="42"/>
                </a:lnTo>
                <a:lnTo>
                  <a:pt x="1299" y="43"/>
                </a:lnTo>
                <a:lnTo>
                  <a:pt x="1298" y="47"/>
                </a:lnTo>
                <a:lnTo>
                  <a:pt x="1297" y="50"/>
                </a:lnTo>
                <a:lnTo>
                  <a:pt x="1296" y="54"/>
                </a:lnTo>
                <a:lnTo>
                  <a:pt x="1291" y="62"/>
                </a:lnTo>
                <a:lnTo>
                  <a:pt x="1288" y="70"/>
                </a:lnTo>
                <a:lnTo>
                  <a:pt x="1284" y="79"/>
                </a:lnTo>
                <a:lnTo>
                  <a:pt x="1280" y="87"/>
                </a:lnTo>
                <a:lnTo>
                  <a:pt x="1278" y="88"/>
                </a:lnTo>
                <a:lnTo>
                  <a:pt x="1275" y="88"/>
                </a:lnTo>
                <a:lnTo>
                  <a:pt x="1274" y="86"/>
                </a:lnTo>
                <a:lnTo>
                  <a:pt x="1274" y="82"/>
                </a:lnTo>
                <a:lnTo>
                  <a:pt x="1277" y="73"/>
                </a:lnTo>
                <a:lnTo>
                  <a:pt x="1280" y="64"/>
                </a:lnTo>
                <a:lnTo>
                  <a:pt x="1282" y="54"/>
                </a:lnTo>
                <a:lnTo>
                  <a:pt x="1284" y="43"/>
                </a:lnTo>
                <a:lnTo>
                  <a:pt x="1287" y="39"/>
                </a:lnTo>
                <a:lnTo>
                  <a:pt x="1288" y="34"/>
                </a:lnTo>
                <a:lnTo>
                  <a:pt x="1290" y="29"/>
                </a:lnTo>
                <a:lnTo>
                  <a:pt x="1289" y="24"/>
                </a:lnTo>
                <a:lnTo>
                  <a:pt x="1284" y="31"/>
                </a:lnTo>
                <a:lnTo>
                  <a:pt x="1282" y="39"/>
                </a:lnTo>
                <a:lnTo>
                  <a:pt x="1279" y="48"/>
                </a:lnTo>
                <a:lnTo>
                  <a:pt x="1274" y="57"/>
                </a:lnTo>
                <a:lnTo>
                  <a:pt x="1271" y="66"/>
                </a:lnTo>
                <a:lnTo>
                  <a:pt x="1266" y="75"/>
                </a:lnTo>
                <a:lnTo>
                  <a:pt x="1265" y="78"/>
                </a:lnTo>
                <a:lnTo>
                  <a:pt x="1263" y="81"/>
                </a:lnTo>
                <a:lnTo>
                  <a:pt x="1262" y="82"/>
                </a:lnTo>
                <a:lnTo>
                  <a:pt x="1261" y="82"/>
                </a:lnTo>
                <a:lnTo>
                  <a:pt x="1261" y="82"/>
                </a:lnTo>
                <a:lnTo>
                  <a:pt x="1259" y="80"/>
                </a:lnTo>
                <a:lnTo>
                  <a:pt x="1258" y="76"/>
                </a:lnTo>
                <a:lnTo>
                  <a:pt x="1259" y="72"/>
                </a:lnTo>
                <a:lnTo>
                  <a:pt x="1261" y="67"/>
                </a:lnTo>
                <a:lnTo>
                  <a:pt x="1263" y="64"/>
                </a:lnTo>
                <a:lnTo>
                  <a:pt x="1265" y="54"/>
                </a:lnTo>
                <a:lnTo>
                  <a:pt x="1267" y="43"/>
                </a:lnTo>
                <a:lnTo>
                  <a:pt x="1271" y="34"/>
                </a:lnTo>
                <a:lnTo>
                  <a:pt x="1272" y="25"/>
                </a:lnTo>
                <a:lnTo>
                  <a:pt x="1271" y="24"/>
                </a:lnTo>
                <a:lnTo>
                  <a:pt x="1270" y="24"/>
                </a:lnTo>
                <a:lnTo>
                  <a:pt x="1269" y="25"/>
                </a:lnTo>
                <a:lnTo>
                  <a:pt x="1267" y="26"/>
                </a:lnTo>
                <a:lnTo>
                  <a:pt x="1266" y="30"/>
                </a:lnTo>
                <a:lnTo>
                  <a:pt x="1265" y="33"/>
                </a:lnTo>
                <a:lnTo>
                  <a:pt x="1262" y="42"/>
                </a:lnTo>
                <a:lnTo>
                  <a:pt x="1257" y="53"/>
                </a:lnTo>
                <a:lnTo>
                  <a:pt x="1253" y="62"/>
                </a:lnTo>
                <a:lnTo>
                  <a:pt x="1248" y="72"/>
                </a:lnTo>
                <a:lnTo>
                  <a:pt x="1244" y="81"/>
                </a:lnTo>
                <a:lnTo>
                  <a:pt x="1239" y="90"/>
                </a:lnTo>
                <a:lnTo>
                  <a:pt x="1234" y="100"/>
                </a:lnTo>
                <a:lnTo>
                  <a:pt x="1229" y="109"/>
                </a:lnTo>
                <a:lnTo>
                  <a:pt x="1224" y="119"/>
                </a:lnTo>
                <a:lnTo>
                  <a:pt x="1220" y="128"/>
                </a:lnTo>
                <a:lnTo>
                  <a:pt x="1215" y="137"/>
                </a:lnTo>
                <a:lnTo>
                  <a:pt x="1211" y="145"/>
                </a:lnTo>
                <a:lnTo>
                  <a:pt x="1208" y="147"/>
                </a:lnTo>
                <a:lnTo>
                  <a:pt x="1205" y="150"/>
                </a:lnTo>
                <a:lnTo>
                  <a:pt x="1201" y="153"/>
                </a:lnTo>
                <a:lnTo>
                  <a:pt x="1198" y="154"/>
                </a:lnTo>
                <a:lnTo>
                  <a:pt x="1197" y="153"/>
                </a:lnTo>
                <a:lnTo>
                  <a:pt x="1196" y="151"/>
                </a:lnTo>
                <a:lnTo>
                  <a:pt x="1196" y="150"/>
                </a:lnTo>
                <a:lnTo>
                  <a:pt x="1196" y="148"/>
                </a:lnTo>
                <a:lnTo>
                  <a:pt x="1198" y="145"/>
                </a:lnTo>
                <a:lnTo>
                  <a:pt x="1199" y="141"/>
                </a:lnTo>
                <a:lnTo>
                  <a:pt x="1203" y="130"/>
                </a:lnTo>
                <a:lnTo>
                  <a:pt x="1206" y="117"/>
                </a:lnTo>
                <a:lnTo>
                  <a:pt x="1209" y="105"/>
                </a:lnTo>
                <a:lnTo>
                  <a:pt x="1213" y="94"/>
                </a:lnTo>
                <a:lnTo>
                  <a:pt x="1215" y="82"/>
                </a:lnTo>
                <a:lnTo>
                  <a:pt x="1217" y="71"/>
                </a:lnTo>
                <a:lnTo>
                  <a:pt x="1218" y="65"/>
                </a:lnTo>
                <a:lnTo>
                  <a:pt x="1220" y="59"/>
                </a:lnTo>
                <a:lnTo>
                  <a:pt x="1220" y="54"/>
                </a:lnTo>
                <a:lnTo>
                  <a:pt x="1218" y="48"/>
                </a:lnTo>
                <a:lnTo>
                  <a:pt x="1215" y="55"/>
                </a:lnTo>
                <a:lnTo>
                  <a:pt x="1213" y="63"/>
                </a:lnTo>
                <a:lnTo>
                  <a:pt x="1209" y="72"/>
                </a:lnTo>
                <a:lnTo>
                  <a:pt x="1207" y="81"/>
                </a:lnTo>
                <a:lnTo>
                  <a:pt x="1205" y="90"/>
                </a:lnTo>
                <a:lnTo>
                  <a:pt x="1201" y="99"/>
                </a:lnTo>
                <a:lnTo>
                  <a:pt x="1199" y="103"/>
                </a:lnTo>
                <a:lnTo>
                  <a:pt x="1198" y="107"/>
                </a:lnTo>
                <a:lnTo>
                  <a:pt x="1196" y="112"/>
                </a:lnTo>
                <a:lnTo>
                  <a:pt x="1192" y="115"/>
                </a:lnTo>
                <a:lnTo>
                  <a:pt x="1196" y="101"/>
                </a:lnTo>
                <a:lnTo>
                  <a:pt x="1199" y="87"/>
                </a:lnTo>
                <a:lnTo>
                  <a:pt x="1204" y="75"/>
                </a:lnTo>
                <a:lnTo>
                  <a:pt x="1208" y="63"/>
                </a:lnTo>
                <a:lnTo>
                  <a:pt x="1212" y="49"/>
                </a:lnTo>
                <a:lnTo>
                  <a:pt x="1213" y="34"/>
                </a:lnTo>
                <a:lnTo>
                  <a:pt x="1214" y="17"/>
                </a:lnTo>
                <a:lnTo>
                  <a:pt x="1216" y="1"/>
                </a:lnTo>
                <a:lnTo>
                  <a:pt x="1213" y="3"/>
                </a:lnTo>
                <a:lnTo>
                  <a:pt x="1211" y="6"/>
                </a:lnTo>
                <a:lnTo>
                  <a:pt x="1208" y="11"/>
                </a:lnTo>
                <a:lnTo>
                  <a:pt x="1207" y="14"/>
                </a:lnTo>
                <a:lnTo>
                  <a:pt x="1203" y="25"/>
                </a:lnTo>
                <a:lnTo>
                  <a:pt x="1198" y="36"/>
                </a:lnTo>
                <a:lnTo>
                  <a:pt x="1195" y="48"/>
                </a:lnTo>
                <a:lnTo>
                  <a:pt x="1190" y="59"/>
                </a:lnTo>
                <a:lnTo>
                  <a:pt x="1188" y="64"/>
                </a:lnTo>
                <a:lnTo>
                  <a:pt x="1185" y="70"/>
                </a:lnTo>
                <a:lnTo>
                  <a:pt x="1184" y="72"/>
                </a:lnTo>
                <a:lnTo>
                  <a:pt x="1184" y="74"/>
                </a:lnTo>
                <a:lnTo>
                  <a:pt x="1185" y="74"/>
                </a:lnTo>
                <a:lnTo>
                  <a:pt x="1189" y="74"/>
                </a:lnTo>
                <a:lnTo>
                  <a:pt x="1191" y="72"/>
                </a:lnTo>
                <a:lnTo>
                  <a:pt x="1191" y="71"/>
                </a:lnTo>
                <a:lnTo>
                  <a:pt x="1191" y="68"/>
                </a:lnTo>
                <a:lnTo>
                  <a:pt x="1192" y="65"/>
                </a:lnTo>
                <a:lnTo>
                  <a:pt x="1193" y="64"/>
                </a:lnTo>
                <a:lnTo>
                  <a:pt x="1195" y="63"/>
                </a:lnTo>
                <a:lnTo>
                  <a:pt x="1195" y="64"/>
                </a:lnTo>
                <a:lnTo>
                  <a:pt x="1196" y="64"/>
                </a:lnTo>
                <a:lnTo>
                  <a:pt x="1197" y="67"/>
                </a:lnTo>
                <a:lnTo>
                  <a:pt x="1197" y="70"/>
                </a:lnTo>
                <a:lnTo>
                  <a:pt x="1196" y="74"/>
                </a:lnTo>
                <a:lnTo>
                  <a:pt x="1193" y="76"/>
                </a:lnTo>
                <a:lnTo>
                  <a:pt x="1191" y="79"/>
                </a:lnTo>
                <a:lnTo>
                  <a:pt x="1187" y="80"/>
                </a:lnTo>
                <a:lnTo>
                  <a:pt x="1184" y="79"/>
                </a:lnTo>
                <a:lnTo>
                  <a:pt x="1181" y="79"/>
                </a:lnTo>
                <a:lnTo>
                  <a:pt x="1179" y="82"/>
                </a:lnTo>
                <a:lnTo>
                  <a:pt x="1178" y="86"/>
                </a:lnTo>
                <a:lnTo>
                  <a:pt x="1175" y="90"/>
                </a:lnTo>
                <a:lnTo>
                  <a:pt x="1172" y="94"/>
                </a:lnTo>
                <a:lnTo>
                  <a:pt x="1167" y="97"/>
                </a:lnTo>
                <a:lnTo>
                  <a:pt x="1163" y="99"/>
                </a:lnTo>
                <a:lnTo>
                  <a:pt x="1151" y="101"/>
                </a:lnTo>
                <a:lnTo>
                  <a:pt x="1141" y="104"/>
                </a:lnTo>
                <a:lnTo>
                  <a:pt x="1127" y="105"/>
                </a:lnTo>
                <a:lnTo>
                  <a:pt x="1115" y="105"/>
                </a:lnTo>
                <a:lnTo>
                  <a:pt x="1101" y="104"/>
                </a:lnTo>
                <a:lnTo>
                  <a:pt x="1089" y="100"/>
                </a:lnTo>
                <a:lnTo>
                  <a:pt x="1081" y="97"/>
                </a:lnTo>
                <a:lnTo>
                  <a:pt x="1067" y="92"/>
                </a:lnTo>
                <a:lnTo>
                  <a:pt x="1060" y="89"/>
                </a:lnTo>
                <a:lnTo>
                  <a:pt x="1053" y="88"/>
                </a:lnTo>
                <a:lnTo>
                  <a:pt x="1049" y="87"/>
                </a:lnTo>
                <a:lnTo>
                  <a:pt x="1048" y="88"/>
                </a:lnTo>
                <a:lnTo>
                  <a:pt x="1048" y="89"/>
                </a:lnTo>
                <a:lnTo>
                  <a:pt x="1049" y="90"/>
                </a:lnTo>
                <a:lnTo>
                  <a:pt x="1050" y="91"/>
                </a:lnTo>
                <a:lnTo>
                  <a:pt x="1052" y="92"/>
                </a:lnTo>
                <a:lnTo>
                  <a:pt x="1056" y="94"/>
                </a:lnTo>
                <a:lnTo>
                  <a:pt x="1059" y="94"/>
                </a:lnTo>
                <a:lnTo>
                  <a:pt x="1069" y="98"/>
                </a:lnTo>
                <a:lnTo>
                  <a:pt x="1078" y="105"/>
                </a:lnTo>
                <a:lnTo>
                  <a:pt x="1083" y="107"/>
                </a:lnTo>
                <a:lnTo>
                  <a:pt x="1085" y="112"/>
                </a:lnTo>
                <a:lnTo>
                  <a:pt x="1085" y="114"/>
                </a:lnTo>
                <a:lnTo>
                  <a:pt x="1085" y="116"/>
                </a:lnTo>
                <a:lnTo>
                  <a:pt x="1086" y="117"/>
                </a:lnTo>
                <a:lnTo>
                  <a:pt x="1088" y="119"/>
                </a:lnTo>
                <a:lnTo>
                  <a:pt x="1094" y="121"/>
                </a:lnTo>
                <a:lnTo>
                  <a:pt x="1101" y="122"/>
                </a:lnTo>
                <a:lnTo>
                  <a:pt x="1109" y="122"/>
                </a:lnTo>
                <a:lnTo>
                  <a:pt x="1116" y="122"/>
                </a:lnTo>
                <a:lnTo>
                  <a:pt x="1129" y="121"/>
                </a:lnTo>
                <a:lnTo>
                  <a:pt x="1141" y="121"/>
                </a:lnTo>
                <a:lnTo>
                  <a:pt x="1147" y="121"/>
                </a:lnTo>
                <a:lnTo>
                  <a:pt x="1154" y="122"/>
                </a:lnTo>
                <a:lnTo>
                  <a:pt x="1159" y="124"/>
                </a:lnTo>
                <a:lnTo>
                  <a:pt x="1164" y="128"/>
                </a:lnTo>
                <a:lnTo>
                  <a:pt x="1159" y="131"/>
                </a:lnTo>
                <a:lnTo>
                  <a:pt x="1154" y="134"/>
                </a:lnTo>
                <a:lnTo>
                  <a:pt x="1148" y="136"/>
                </a:lnTo>
                <a:lnTo>
                  <a:pt x="1142" y="137"/>
                </a:lnTo>
                <a:lnTo>
                  <a:pt x="1130" y="138"/>
                </a:lnTo>
                <a:lnTo>
                  <a:pt x="1117" y="138"/>
                </a:lnTo>
                <a:lnTo>
                  <a:pt x="1106" y="139"/>
                </a:lnTo>
                <a:lnTo>
                  <a:pt x="1094" y="139"/>
                </a:lnTo>
                <a:lnTo>
                  <a:pt x="1089" y="137"/>
                </a:lnTo>
                <a:lnTo>
                  <a:pt x="1084" y="136"/>
                </a:lnTo>
                <a:lnTo>
                  <a:pt x="1080" y="136"/>
                </a:lnTo>
                <a:lnTo>
                  <a:pt x="1074" y="138"/>
                </a:lnTo>
                <a:lnTo>
                  <a:pt x="1078" y="139"/>
                </a:lnTo>
                <a:lnTo>
                  <a:pt x="1082" y="141"/>
                </a:lnTo>
                <a:lnTo>
                  <a:pt x="1084" y="144"/>
                </a:lnTo>
                <a:lnTo>
                  <a:pt x="1088" y="147"/>
                </a:lnTo>
                <a:lnTo>
                  <a:pt x="1092" y="149"/>
                </a:lnTo>
                <a:lnTo>
                  <a:pt x="1099" y="149"/>
                </a:lnTo>
                <a:lnTo>
                  <a:pt x="1105" y="149"/>
                </a:lnTo>
                <a:lnTo>
                  <a:pt x="1110" y="149"/>
                </a:lnTo>
                <a:lnTo>
                  <a:pt x="1118" y="150"/>
                </a:lnTo>
                <a:lnTo>
                  <a:pt x="1129" y="153"/>
                </a:lnTo>
                <a:lnTo>
                  <a:pt x="1133" y="153"/>
                </a:lnTo>
                <a:lnTo>
                  <a:pt x="1138" y="153"/>
                </a:lnTo>
                <a:lnTo>
                  <a:pt x="1139" y="151"/>
                </a:lnTo>
                <a:lnTo>
                  <a:pt x="1140" y="150"/>
                </a:lnTo>
                <a:lnTo>
                  <a:pt x="1140" y="148"/>
                </a:lnTo>
                <a:lnTo>
                  <a:pt x="1140" y="146"/>
                </a:lnTo>
                <a:lnTo>
                  <a:pt x="1146" y="150"/>
                </a:lnTo>
                <a:lnTo>
                  <a:pt x="1150" y="155"/>
                </a:lnTo>
                <a:lnTo>
                  <a:pt x="1152" y="157"/>
                </a:lnTo>
                <a:lnTo>
                  <a:pt x="1155" y="159"/>
                </a:lnTo>
                <a:lnTo>
                  <a:pt x="1158" y="159"/>
                </a:lnTo>
                <a:lnTo>
                  <a:pt x="1160" y="161"/>
                </a:lnTo>
                <a:lnTo>
                  <a:pt x="1160" y="162"/>
                </a:lnTo>
                <a:lnTo>
                  <a:pt x="1160" y="163"/>
                </a:lnTo>
                <a:lnTo>
                  <a:pt x="1159" y="164"/>
                </a:lnTo>
                <a:lnTo>
                  <a:pt x="1157" y="165"/>
                </a:lnTo>
                <a:lnTo>
                  <a:pt x="1152" y="167"/>
                </a:lnTo>
                <a:lnTo>
                  <a:pt x="1146" y="170"/>
                </a:lnTo>
                <a:lnTo>
                  <a:pt x="1132" y="172"/>
                </a:lnTo>
                <a:lnTo>
                  <a:pt x="1124" y="174"/>
                </a:lnTo>
                <a:lnTo>
                  <a:pt x="1113" y="175"/>
                </a:lnTo>
                <a:lnTo>
                  <a:pt x="1100" y="175"/>
                </a:lnTo>
                <a:lnTo>
                  <a:pt x="1088" y="175"/>
                </a:lnTo>
                <a:lnTo>
                  <a:pt x="1075" y="174"/>
                </a:lnTo>
                <a:lnTo>
                  <a:pt x="1051" y="171"/>
                </a:lnTo>
                <a:lnTo>
                  <a:pt x="1027" y="166"/>
                </a:lnTo>
                <a:lnTo>
                  <a:pt x="1019" y="164"/>
                </a:lnTo>
                <a:lnTo>
                  <a:pt x="1010" y="163"/>
                </a:lnTo>
                <a:lnTo>
                  <a:pt x="1008" y="163"/>
                </a:lnTo>
                <a:lnTo>
                  <a:pt x="1005" y="162"/>
                </a:lnTo>
                <a:lnTo>
                  <a:pt x="1002" y="159"/>
                </a:lnTo>
                <a:lnTo>
                  <a:pt x="1001" y="157"/>
                </a:lnTo>
                <a:lnTo>
                  <a:pt x="998" y="157"/>
                </a:lnTo>
                <a:lnTo>
                  <a:pt x="994" y="157"/>
                </a:lnTo>
                <a:lnTo>
                  <a:pt x="989" y="157"/>
                </a:lnTo>
                <a:lnTo>
                  <a:pt x="984" y="155"/>
                </a:lnTo>
                <a:lnTo>
                  <a:pt x="974" y="151"/>
                </a:lnTo>
                <a:lnTo>
                  <a:pt x="964" y="148"/>
                </a:lnTo>
                <a:lnTo>
                  <a:pt x="952" y="145"/>
                </a:lnTo>
                <a:lnTo>
                  <a:pt x="940" y="144"/>
                </a:lnTo>
                <a:lnTo>
                  <a:pt x="928" y="141"/>
                </a:lnTo>
                <a:lnTo>
                  <a:pt x="918" y="138"/>
                </a:lnTo>
                <a:lnTo>
                  <a:pt x="912" y="134"/>
                </a:lnTo>
                <a:lnTo>
                  <a:pt x="905" y="132"/>
                </a:lnTo>
                <a:lnTo>
                  <a:pt x="903" y="132"/>
                </a:lnTo>
                <a:lnTo>
                  <a:pt x="901" y="130"/>
                </a:lnTo>
                <a:lnTo>
                  <a:pt x="900" y="126"/>
                </a:lnTo>
                <a:lnTo>
                  <a:pt x="899" y="122"/>
                </a:lnTo>
                <a:lnTo>
                  <a:pt x="895" y="125"/>
                </a:lnTo>
                <a:lnTo>
                  <a:pt x="893" y="126"/>
                </a:lnTo>
                <a:lnTo>
                  <a:pt x="890" y="126"/>
                </a:lnTo>
                <a:lnTo>
                  <a:pt x="886" y="126"/>
                </a:lnTo>
                <a:lnTo>
                  <a:pt x="877" y="123"/>
                </a:lnTo>
                <a:lnTo>
                  <a:pt x="868" y="120"/>
                </a:lnTo>
                <a:lnTo>
                  <a:pt x="859" y="116"/>
                </a:lnTo>
                <a:lnTo>
                  <a:pt x="849" y="114"/>
                </a:lnTo>
                <a:lnTo>
                  <a:pt x="839" y="113"/>
                </a:lnTo>
                <a:lnTo>
                  <a:pt x="832" y="111"/>
                </a:lnTo>
                <a:lnTo>
                  <a:pt x="830" y="106"/>
                </a:lnTo>
                <a:lnTo>
                  <a:pt x="827" y="100"/>
                </a:lnTo>
                <a:lnTo>
                  <a:pt x="825" y="100"/>
                </a:lnTo>
                <a:lnTo>
                  <a:pt x="824" y="100"/>
                </a:lnTo>
                <a:lnTo>
                  <a:pt x="822" y="103"/>
                </a:lnTo>
                <a:lnTo>
                  <a:pt x="821" y="105"/>
                </a:lnTo>
                <a:lnTo>
                  <a:pt x="819" y="106"/>
                </a:lnTo>
                <a:lnTo>
                  <a:pt x="817" y="105"/>
                </a:lnTo>
                <a:lnTo>
                  <a:pt x="817" y="104"/>
                </a:lnTo>
                <a:lnTo>
                  <a:pt x="816" y="104"/>
                </a:lnTo>
                <a:lnTo>
                  <a:pt x="814" y="104"/>
                </a:lnTo>
                <a:lnTo>
                  <a:pt x="813" y="106"/>
                </a:lnTo>
                <a:lnTo>
                  <a:pt x="810" y="107"/>
                </a:lnTo>
                <a:lnTo>
                  <a:pt x="806" y="106"/>
                </a:lnTo>
                <a:lnTo>
                  <a:pt x="806" y="106"/>
                </a:lnTo>
                <a:lnTo>
                  <a:pt x="806" y="105"/>
                </a:lnTo>
                <a:lnTo>
                  <a:pt x="808" y="104"/>
                </a:lnTo>
                <a:lnTo>
                  <a:pt x="809" y="104"/>
                </a:lnTo>
                <a:lnTo>
                  <a:pt x="812" y="103"/>
                </a:lnTo>
                <a:lnTo>
                  <a:pt x="813" y="103"/>
                </a:lnTo>
                <a:lnTo>
                  <a:pt x="809" y="101"/>
                </a:lnTo>
                <a:lnTo>
                  <a:pt x="805" y="100"/>
                </a:lnTo>
                <a:lnTo>
                  <a:pt x="801" y="99"/>
                </a:lnTo>
                <a:lnTo>
                  <a:pt x="796" y="100"/>
                </a:lnTo>
                <a:lnTo>
                  <a:pt x="791" y="100"/>
                </a:lnTo>
                <a:lnTo>
                  <a:pt x="785" y="100"/>
                </a:lnTo>
                <a:lnTo>
                  <a:pt x="779" y="99"/>
                </a:lnTo>
                <a:lnTo>
                  <a:pt x="775" y="97"/>
                </a:lnTo>
                <a:lnTo>
                  <a:pt x="770" y="95"/>
                </a:lnTo>
                <a:lnTo>
                  <a:pt x="766" y="91"/>
                </a:lnTo>
                <a:lnTo>
                  <a:pt x="760" y="91"/>
                </a:lnTo>
                <a:lnTo>
                  <a:pt x="754" y="91"/>
                </a:lnTo>
                <a:lnTo>
                  <a:pt x="751" y="90"/>
                </a:lnTo>
                <a:lnTo>
                  <a:pt x="747" y="89"/>
                </a:lnTo>
                <a:lnTo>
                  <a:pt x="746" y="88"/>
                </a:lnTo>
                <a:lnTo>
                  <a:pt x="745" y="88"/>
                </a:lnTo>
                <a:lnTo>
                  <a:pt x="746" y="87"/>
                </a:lnTo>
                <a:lnTo>
                  <a:pt x="746" y="84"/>
                </a:lnTo>
                <a:lnTo>
                  <a:pt x="737" y="84"/>
                </a:lnTo>
                <a:lnTo>
                  <a:pt x="727" y="83"/>
                </a:lnTo>
                <a:lnTo>
                  <a:pt x="722" y="82"/>
                </a:lnTo>
                <a:lnTo>
                  <a:pt x="718" y="80"/>
                </a:lnTo>
                <a:lnTo>
                  <a:pt x="715" y="80"/>
                </a:lnTo>
                <a:lnTo>
                  <a:pt x="714" y="79"/>
                </a:lnTo>
                <a:lnTo>
                  <a:pt x="713" y="76"/>
                </a:lnTo>
                <a:lnTo>
                  <a:pt x="713" y="75"/>
                </a:lnTo>
                <a:lnTo>
                  <a:pt x="706" y="75"/>
                </a:lnTo>
                <a:lnTo>
                  <a:pt x="699" y="75"/>
                </a:lnTo>
                <a:lnTo>
                  <a:pt x="689" y="73"/>
                </a:lnTo>
                <a:lnTo>
                  <a:pt x="679" y="71"/>
                </a:lnTo>
                <a:lnTo>
                  <a:pt x="676" y="68"/>
                </a:lnTo>
                <a:lnTo>
                  <a:pt x="671" y="66"/>
                </a:lnTo>
                <a:lnTo>
                  <a:pt x="666" y="66"/>
                </a:lnTo>
                <a:lnTo>
                  <a:pt x="661" y="65"/>
                </a:lnTo>
                <a:lnTo>
                  <a:pt x="656" y="63"/>
                </a:lnTo>
                <a:lnTo>
                  <a:pt x="654" y="59"/>
                </a:lnTo>
                <a:lnTo>
                  <a:pt x="651" y="61"/>
                </a:lnTo>
                <a:lnTo>
                  <a:pt x="646" y="61"/>
                </a:lnTo>
                <a:lnTo>
                  <a:pt x="640" y="59"/>
                </a:lnTo>
                <a:lnTo>
                  <a:pt x="635" y="58"/>
                </a:lnTo>
                <a:lnTo>
                  <a:pt x="633" y="58"/>
                </a:lnTo>
                <a:lnTo>
                  <a:pt x="631" y="57"/>
                </a:lnTo>
                <a:lnTo>
                  <a:pt x="630" y="56"/>
                </a:lnTo>
                <a:lnTo>
                  <a:pt x="629" y="54"/>
                </a:lnTo>
                <a:lnTo>
                  <a:pt x="626" y="54"/>
                </a:lnTo>
                <a:lnTo>
                  <a:pt x="621" y="54"/>
                </a:lnTo>
                <a:lnTo>
                  <a:pt x="626" y="56"/>
                </a:lnTo>
                <a:lnTo>
                  <a:pt x="628" y="57"/>
                </a:lnTo>
                <a:lnTo>
                  <a:pt x="626" y="58"/>
                </a:lnTo>
                <a:lnTo>
                  <a:pt x="622" y="58"/>
                </a:lnTo>
                <a:lnTo>
                  <a:pt x="619" y="58"/>
                </a:lnTo>
                <a:lnTo>
                  <a:pt x="616" y="57"/>
                </a:lnTo>
                <a:lnTo>
                  <a:pt x="614" y="54"/>
                </a:lnTo>
                <a:lnTo>
                  <a:pt x="611" y="50"/>
                </a:lnTo>
                <a:lnTo>
                  <a:pt x="606" y="51"/>
                </a:lnTo>
                <a:lnTo>
                  <a:pt x="602" y="51"/>
                </a:lnTo>
                <a:lnTo>
                  <a:pt x="597" y="50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0"/>
                </a:lnTo>
                <a:lnTo>
                  <a:pt x="593" y="50"/>
                </a:lnTo>
                <a:lnTo>
                  <a:pt x="593" y="50"/>
                </a:lnTo>
                <a:lnTo>
                  <a:pt x="593" y="50"/>
                </a:lnTo>
                <a:lnTo>
                  <a:pt x="593" y="50"/>
                </a:lnTo>
                <a:lnTo>
                  <a:pt x="591" y="50"/>
                </a:lnTo>
                <a:lnTo>
                  <a:pt x="593" y="49"/>
                </a:lnTo>
                <a:lnTo>
                  <a:pt x="591" y="47"/>
                </a:lnTo>
                <a:lnTo>
                  <a:pt x="589" y="48"/>
                </a:lnTo>
                <a:lnTo>
                  <a:pt x="586" y="50"/>
                </a:lnTo>
                <a:lnTo>
                  <a:pt x="583" y="49"/>
                </a:lnTo>
                <a:lnTo>
                  <a:pt x="581" y="47"/>
                </a:lnTo>
                <a:lnTo>
                  <a:pt x="579" y="48"/>
                </a:lnTo>
                <a:lnTo>
                  <a:pt x="577" y="49"/>
                </a:lnTo>
                <a:lnTo>
                  <a:pt x="573" y="48"/>
                </a:lnTo>
                <a:lnTo>
                  <a:pt x="570" y="48"/>
                </a:lnTo>
                <a:lnTo>
                  <a:pt x="569" y="50"/>
                </a:lnTo>
                <a:lnTo>
                  <a:pt x="569" y="51"/>
                </a:lnTo>
                <a:lnTo>
                  <a:pt x="571" y="51"/>
                </a:lnTo>
                <a:lnTo>
                  <a:pt x="572" y="53"/>
                </a:lnTo>
                <a:lnTo>
                  <a:pt x="575" y="53"/>
                </a:lnTo>
                <a:lnTo>
                  <a:pt x="580" y="53"/>
                </a:lnTo>
                <a:lnTo>
                  <a:pt x="582" y="53"/>
                </a:lnTo>
                <a:lnTo>
                  <a:pt x="585" y="54"/>
                </a:lnTo>
                <a:lnTo>
                  <a:pt x="586" y="55"/>
                </a:lnTo>
                <a:lnTo>
                  <a:pt x="588" y="56"/>
                </a:lnTo>
                <a:lnTo>
                  <a:pt x="578" y="56"/>
                </a:lnTo>
                <a:lnTo>
                  <a:pt x="569" y="54"/>
                </a:lnTo>
                <a:lnTo>
                  <a:pt x="564" y="53"/>
                </a:lnTo>
                <a:lnTo>
                  <a:pt x="559" y="50"/>
                </a:lnTo>
                <a:lnTo>
                  <a:pt x="556" y="51"/>
                </a:lnTo>
                <a:lnTo>
                  <a:pt x="552" y="53"/>
                </a:lnTo>
                <a:lnTo>
                  <a:pt x="548" y="53"/>
                </a:lnTo>
                <a:lnTo>
                  <a:pt x="544" y="51"/>
                </a:lnTo>
                <a:lnTo>
                  <a:pt x="541" y="49"/>
                </a:lnTo>
                <a:lnTo>
                  <a:pt x="541" y="46"/>
                </a:lnTo>
                <a:lnTo>
                  <a:pt x="540" y="45"/>
                </a:lnTo>
                <a:lnTo>
                  <a:pt x="538" y="46"/>
                </a:lnTo>
                <a:lnTo>
                  <a:pt x="537" y="47"/>
                </a:lnTo>
                <a:lnTo>
                  <a:pt x="534" y="47"/>
                </a:lnTo>
                <a:lnTo>
                  <a:pt x="531" y="48"/>
                </a:lnTo>
                <a:lnTo>
                  <a:pt x="530" y="47"/>
                </a:lnTo>
                <a:lnTo>
                  <a:pt x="529" y="45"/>
                </a:lnTo>
                <a:lnTo>
                  <a:pt x="526" y="42"/>
                </a:lnTo>
                <a:lnTo>
                  <a:pt x="525" y="40"/>
                </a:lnTo>
                <a:lnTo>
                  <a:pt x="524" y="40"/>
                </a:lnTo>
                <a:lnTo>
                  <a:pt x="523" y="41"/>
                </a:lnTo>
                <a:lnTo>
                  <a:pt x="523" y="43"/>
                </a:lnTo>
                <a:lnTo>
                  <a:pt x="524" y="46"/>
                </a:lnTo>
                <a:lnTo>
                  <a:pt x="526" y="48"/>
                </a:lnTo>
                <a:lnTo>
                  <a:pt x="526" y="48"/>
                </a:lnTo>
                <a:lnTo>
                  <a:pt x="526" y="49"/>
                </a:lnTo>
                <a:lnTo>
                  <a:pt x="525" y="50"/>
                </a:lnTo>
                <a:lnTo>
                  <a:pt x="523" y="50"/>
                </a:lnTo>
                <a:lnTo>
                  <a:pt x="522" y="48"/>
                </a:lnTo>
                <a:lnTo>
                  <a:pt x="521" y="46"/>
                </a:lnTo>
                <a:lnTo>
                  <a:pt x="519" y="43"/>
                </a:lnTo>
                <a:lnTo>
                  <a:pt x="516" y="42"/>
                </a:lnTo>
                <a:lnTo>
                  <a:pt x="513" y="40"/>
                </a:lnTo>
                <a:lnTo>
                  <a:pt x="509" y="40"/>
                </a:lnTo>
                <a:lnTo>
                  <a:pt x="507" y="40"/>
                </a:lnTo>
                <a:lnTo>
                  <a:pt x="504" y="40"/>
                </a:lnTo>
                <a:lnTo>
                  <a:pt x="501" y="41"/>
                </a:lnTo>
                <a:lnTo>
                  <a:pt x="498" y="42"/>
                </a:lnTo>
                <a:lnTo>
                  <a:pt x="496" y="40"/>
                </a:lnTo>
                <a:lnTo>
                  <a:pt x="492" y="40"/>
                </a:lnTo>
                <a:lnTo>
                  <a:pt x="490" y="41"/>
                </a:lnTo>
                <a:lnTo>
                  <a:pt x="487" y="43"/>
                </a:lnTo>
                <a:lnTo>
                  <a:pt x="484" y="42"/>
                </a:lnTo>
                <a:lnTo>
                  <a:pt x="483" y="41"/>
                </a:lnTo>
                <a:lnTo>
                  <a:pt x="480" y="39"/>
                </a:lnTo>
                <a:lnTo>
                  <a:pt x="476" y="38"/>
                </a:lnTo>
                <a:lnTo>
                  <a:pt x="473" y="37"/>
                </a:lnTo>
                <a:lnTo>
                  <a:pt x="468" y="37"/>
                </a:lnTo>
                <a:lnTo>
                  <a:pt x="458" y="38"/>
                </a:lnTo>
                <a:lnTo>
                  <a:pt x="448" y="38"/>
                </a:lnTo>
                <a:lnTo>
                  <a:pt x="446" y="38"/>
                </a:lnTo>
                <a:lnTo>
                  <a:pt x="441" y="37"/>
                </a:lnTo>
                <a:lnTo>
                  <a:pt x="440" y="38"/>
                </a:lnTo>
                <a:lnTo>
                  <a:pt x="439" y="38"/>
                </a:lnTo>
                <a:lnTo>
                  <a:pt x="440" y="39"/>
                </a:lnTo>
                <a:lnTo>
                  <a:pt x="442" y="40"/>
                </a:lnTo>
                <a:lnTo>
                  <a:pt x="446" y="41"/>
                </a:lnTo>
                <a:lnTo>
                  <a:pt x="449" y="41"/>
                </a:lnTo>
                <a:lnTo>
                  <a:pt x="455" y="41"/>
                </a:lnTo>
                <a:lnTo>
                  <a:pt x="459" y="40"/>
                </a:lnTo>
                <a:lnTo>
                  <a:pt x="462" y="40"/>
                </a:lnTo>
                <a:lnTo>
                  <a:pt x="463" y="41"/>
                </a:lnTo>
                <a:lnTo>
                  <a:pt x="462" y="42"/>
                </a:lnTo>
                <a:lnTo>
                  <a:pt x="459" y="43"/>
                </a:lnTo>
                <a:lnTo>
                  <a:pt x="470" y="45"/>
                </a:lnTo>
                <a:lnTo>
                  <a:pt x="481" y="45"/>
                </a:lnTo>
                <a:lnTo>
                  <a:pt x="492" y="45"/>
                </a:lnTo>
                <a:lnTo>
                  <a:pt x="503" y="46"/>
                </a:lnTo>
                <a:lnTo>
                  <a:pt x="506" y="47"/>
                </a:lnTo>
                <a:lnTo>
                  <a:pt x="509" y="47"/>
                </a:lnTo>
                <a:lnTo>
                  <a:pt x="509" y="45"/>
                </a:lnTo>
                <a:lnTo>
                  <a:pt x="509" y="43"/>
                </a:lnTo>
                <a:lnTo>
                  <a:pt x="512" y="43"/>
                </a:lnTo>
                <a:lnTo>
                  <a:pt x="514" y="46"/>
                </a:lnTo>
                <a:lnTo>
                  <a:pt x="516" y="48"/>
                </a:lnTo>
                <a:lnTo>
                  <a:pt x="516" y="50"/>
                </a:lnTo>
                <a:lnTo>
                  <a:pt x="504" y="50"/>
                </a:lnTo>
                <a:lnTo>
                  <a:pt x="491" y="51"/>
                </a:lnTo>
                <a:lnTo>
                  <a:pt x="480" y="50"/>
                </a:lnTo>
                <a:lnTo>
                  <a:pt x="467" y="49"/>
                </a:lnTo>
                <a:lnTo>
                  <a:pt x="453" y="50"/>
                </a:lnTo>
                <a:lnTo>
                  <a:pt x="439" y="50"/>
                </a:lnTo>
                <a:lnTo>
                  <a:pt x="424" y="51"/>
                </a:lnTo>
                <a:lnTo>
                  <a:pt x="409" y="53"/>
                </a:lnTo>
                <a:lnTo>
                  <a:pt x="396" y="55"/>
                </a:lnTo>
                <a:lnTo>
                  <a:pt x="382" y="57"/>
                </a:lnTo>
                <a:lnTo>
                  <a:pt x="367" y="59"/>
                </a:lnTo>
                <a:lnTo>
                  <a:pt x="353" y="62"/>
                </a:lnTo>
                <a:lnTo>
                  <a:pt x="348" y="62"/>
                </a:lnTo>
                <a:lnTo>
                  <a:pt x="342" y="62"/>
                </a:lnTo>
                <a:lnTo>
                  <a:pt x="342" y="65"/>
                </a:lnTo>
                <a:lnTo>
                  <a:pt x="344" y="67"/>
                </a:lnTo>
                <a:lnTo>
                  <a:pt x="344" y="68"/>
                </a:lnTo>
                <a:lnTo>
                  <a:pt x="343" y="70"/>
                </a:lnTo>
                <a:lnTo>
                  <a:pt x="342" y="70"/>
                </a:lnTo>
                <a:lnTo>
                  <a:pt x="341" y="68"/>
                </a:lnTo>
                <a:lnTo>
                  <a:pt x="340" y="67"/>
                </a:lnTo>
                <a:lnTo>
                  <a:pt x="339" y="66"/>
                </a:lnTo>
                <a:lnTo>
                  <a:pt x="336" y="64"/>
                </a:lnTo>
                <a:lnTo>
                  <a:pt x="333" y="64"/>
                </a:lnTo>
                <a:lnTo>
                  <a:pt x="334" y="67"/>
                </a:lnTo>
                <a:lnTo>
                  <a:pt x="336" y="71"/>
                </a:lnTo>
                <a:lnTo>
                  <a:pt x="338" y="73"/>
                </a:lnTo>
                <a:lnTo>
                  <a:pt x="338" y="74"/>
                </a:lnTo>
                <a:lnTo>
                  <a:pt x="336" y="75"/>
                </a:lnTo>
                <a:lnTo>
                  <a:pt x="334" y="76"/>
                </a:lnTo>
                <a:lnTo>
                  <a:pt x="340" y="76"/>
                </a:lnTo>
                <a:lnTo>
                  <a:pt x="347" y="75"/>
                </a:lnTo>
                <a:lnTo>
                  <a:pt x="348" y="72"/>
                </a:lnTo>
                <a:lnTo>
                  <a:pt x="350" y="70"/>
                </a:lnTo>
                <a:lnTo>
                  <a:pt x="359" y="71"/>
                </a:lnTo>
                <a:lnTo>
                  <a:pt x="368" y="73"/>
                </a:lnTo>
                <a:lnTo>
                  <a:pt x="366" y="75"/>
                </a:lnTo>
                <a:lnTo>
                  <a:pt x="364" y="76"/>
                </a:lnTo>
                <a:lnTo>
                  <a:pt x="360" y="78"/>
                </a:lnTo>
                <a:lnTo>
                  <a:pt x="356" y="78"/>
                </a:lnTo>
                <a:lnTo>
                  <a:pt x="347" y="79"/>
                </a:lnTo>
                <a:lnTo>
                  <a:pt x="341" y="80"/>
                </a:lnTo>
                <a:lnTo>
                  <a:pt x="334" y="80"/>
                </a:lnTo>
                <a:lnTo>
                  <a:pt x="327" y="82"/>
                </a:lnTo>
                <a:lnTo>
                  <a:pt x="323" y="84"/>
                </a:lnTo>
                <a:lnTo>
                  <a:pt x="320" y="89"/>
                </a:lnTo>
                <a:lnTo>
                  <a:pt x="318" y="91"/>
                </a:lnTo>
                <a:lnTo>
                  <a:pt x="316" y="92"/>
                </a:lnTo>
                <a:lnTo>
                  <a:pt x="314" y="92"/>
                </a:lnTo>
                <a:lnTo>
                  <a:pt x="311" y="92"/>
                </a:lnTo>
                <a:lnTo>
                  <a:pt x="308" y="90"/>
                </a:lnTo>
                <a:lnTo>
                  <a:pt x="303" y="88"/>
                </a:lnTo>
                <a:lnTo>
                  <a:pt x="298" y="88"/>
                </a:lnTo>
                <a:lnTo>
                  <a:pt x="292" y="90"/>
                </a:lnTo>
                <a:lnTo>
                  <a:pt x="287" y="94"/>
                </a:lnTo>
                <a:lnTo>
                  <a:pt x="284" y="96"/>
                </a:lnTo>
                <a:lnTo>
                  <a:pt x="282" y="95"/>
                </a:lnTo>
                <a:lnTo>
                  <a:pt x="280" y="94"/>
                </a:lnTo>
                <a:lnTo>
                  <a:pt x="278" y="94"/>
                </a:lnTo>
                <a:lnTo>
                  <a:pt x="276" y="95"/>
                </a:lnTo>
                <a:lnTo>
                  <a:pt x="269" y="96"/>
                </a:lnTo>
                <a:lnTo>
                  <a:pt x="262" y="98"/>
                </a:lnTo>
                <a:lnTo>
                  <a:pt x="248" y="103"/>
                </a:lnTo>
                <a:lnTo>
                  <a:pt x="233" y="107"/>
                </a:lnTo>
                <a:lnTo>
                  <a:pt x="218" y="113"/>
                </a:lnTo>
                <a:lnTo>
                  <a:pt x="202" y="119"/>
                </a:lnTo>
                <a:lnTo>
                  <a:pt x="200" y="120"/>
                </a:lnTo>
                <a:lnTo>
                  <a:pt x="195" y="121"/>
                </a:lnTo>
                <a:lnTo>
                  <a:pt x="191" y="123"/>
                </a:lnTo>
                <a:lnTo>
                  <a:pt x="190" y="125"/>
                </a:lnTo>
                <a:lnTo>
                  <a:pt x="190" y="126"/>
                </a:lnTo>
                <a:lnTo>
                  <a:pt x="192" y="126"/>
                </a:lnTo>
                <a:lnTo>
                  <a:pt x="194" y="126"/>
                </a:lnTo>
                <a:lnTo>
                  <a:pt x="195" y="126"/>
                </a:lnTo>
                <a:lnTo>
                  <a:pt x="193" y="129"/>
                </a:lnTo>
                <a:lnTo>
                  <a:pt x="190" y="131"/>
                </a:lnTo>
                <a:lnTo>
                  <a:pt x="186" y="133"/>
                </a:lnTo>
                <a:lnTo>
                  <a:pt x="183" y="134"/>
                </a:lnTo>
                <a:lnTo>
                  <a:pt x="181" y="134"/>
                </a:lnTo>
                <a:lnTo>
                  <a:pt x="179" y="133"/>
                </a:lnTo>
                <a:lnTo>
                  <a:pt x="178" y="133"/>
                </a:lnTo>
                <a:lnTo>
                  <a:pt x="178" y="132"/>
                </a:lnTo>
                <a:lnTo>
                  <a:pt x="182" y="130"/>
                </a:lnTo>
                <a:lnTo>
                  <a:pt x="185" y="130"/>
                </a:lnTo>
                <a:lnTo>
                  <a:pt x="184" y="128"/>
                </a:lnTo>
                <a:lnTo>
                  <a:pt x="183" y="126"/>
                </a:lnTo>
                <a:lnTo>
                  <a:pt x="181" y="126"/>
                </a:lnTo>
                <a:lnTo>
                  <a:pt x="178" y="126"/>
                </a:lnTo>
                <a:lnTo>
                  <a:pt x="174" y="129"/>
                </a:lnTo>
                <a:lnTo>
                  <a:pt x="170" y="132"/>
                </a:lnTo>
                <a:lnTo>
                  <a:pt x="158" y="138"/>
                </a:lnTo>
                <a:lnTo>
                  <a:pt x="146" y="142"/>
                </a:lnTo>
                <a:lnTo>
                  <a:pt x="142" y="145"/>
                </a:lnTo>
                <a:lnTo>
                  <a:pt x="138" y="147"/>
                </a:lnTo>
                <a:lnTo>
                  <a:pt x="138" y="149"/>
                </a:lnTo>
                <a:lnTo>
                  <a:pt x="141" y="151"/>
                </a:lnTo>
                <a:lnTo>
                  <a:pt x="142" y="153"/>
                </a:lnTo>
                <a:lnTo>
                  <a:pt x="144" y="154"/>
                </a:lnTo>
                <a:lnTo>
                  <a:pt x="146" y="151"/>
                </a:lnTo>
                <a:lnTo>
                  <a:pt x="150" y="149"/>
                </a:lnTo>
                <a:lnTo>
                  <a:pt x="153" y="148"/>
                </a:lnTo>
                <a:lnTo>
                  <a:pt x="155" y="146"/>
                </a:lnTo>
                <a:lnTo>
                  <a:pt x="158" y="148"/>
                </a:lnTo>
                <a:lnTo>
                  <a:pt x="160" y="149"/>
                </a:lnTo>
                <a:lnTo>
                  <a:pt x="161" y="149"/>
                </a:lnTo>
                <a:lnTo>
                  <a:pt x="162" y="148"/>
                </a:lnTo>
                <a:lnTo>
                  <a:pt x="162" y="147"/>
                </a:lnTo>
                <a:lnTo>
                  <a:pt x="163" y="145"/>
                </a:lnTo>
                <a:lnTo>
                  <a:pt x="162" y="142"/>
                </a:lnTo>
                <a:lnTo>
                  <a:pt x="161" y="141"/>
                </a:lnTo>
                <a:lnTo>
                  <a:pt x="162" y="139"/>
                </a:lnTo>
                <a:lnTo>
                  <a:pt x="165" y="139"/>
                </a:lnTo>
                <a:lnTo>
                  <a:pt x="167" y="140"/>
                </a:lnTo>
                <a:lnTo>
                  <a:pt x="168" y="140"/>
                </a:lnTo>
                <a:lnTo>
                  <a:pt x="174" y="142"/>
                </a:lnTo>
                <a:lnTo>
                  <a:pt x="179" y="145"/>
                </a:lnTo>
                <a:lnTo>
                  <a:pt x="181" y="142"/>
                </a:lnTo>
                <a:lnTo>
                  <a:pt x="182" y="140"/>
                </a:lnTo>
                <a:lnTo>
                  <a:pt x="183" y="138"/>
                </a:lnTo>
                <a:lnTo>
                  <a:pt x="185" y="139"/>
                </a:lnTo>
                <a:lnTo>
                  <a:pt x="186" y="139"/>
                </a:lnTo>
                <a:lnTo>
                  <a:pt x="187" y="139"/>
                </a:lnTo>
                <a:lnTo>
                  <a:pt x="188" y="138"/>
                </a:lnTo>
                <a:lnTo>
                  <a:pt x="190" y="136"/>
                </a:lnTo>
                <a:lnTo>
                  <a:pt x="194" y="133"/>
                </a:lnTo>
                <a:lnTo>
                  <a:pt x="201" y="131"/>
                </a:lnTo>
                <a:lnTo>
                  <a:pt x="206" y="130"/>
                </a:lnTo>
                <a:lnTo>
                  <a:pt x="210" y="129"/>
                </a:lnTo>
                <a:lnTo>
                  <a:pt x="212" y="128"/>
                </a:lnTo>
                <a:lnTo>
                  <a:pt x="215" y="125"/>
                </a:lnTo>
                <a:lnTo>
                  <a:pt x="218" y="125"/>
                </a:lnTo>
                <a:lnTo>
                  <a:pt x="221" y="125"/>
                </a:lnTo>
                <a:lnTo>
                  <a:pt x="229" y="125"/>
                </a:lnTo>
                <a:lnTo>
                  <a:pt x="236" y="125"/>
                </a:lnTo>
                <a:lnTo>
                  <a:pt x="239" y="125"/>
                </a:lnTo>
                <a:lnTo>
                  <a:pt x="243" y="125"/>
                </a:lnTo>
                <a:lnTo>
                  <a:pt x="244" y="125"/>
                </a:lnTo>
                <a:lnTo>
                  <a:pt x="245" y="125"/>
                </a:lnTo>
                <a:lnTo>
                  <a:pt x="245" y="124"/>
                </a:lnTo>
                <a:lnTo>
                  <a:pt x="245" y="122"/>
                </a:lnTo>
                <a:lnTo>
                  <a:pt x="242" y="122"/>
                </a:lnTo>
                <a:lnTo>
                  <a:pt x="239" y="120"/>
                </a:lnTo>
                <a:lnTo>
                  <a:pt x="244" y="116"/>
                </a:lnTo>
                <a:lnTo>
                  <a:pt x="251" y="113"/>
                </a:lnTo>
                <a:lnTo>
                  <a:pt x="259" y="111"/>
                </a:lnTo>
                <a:lnTo>
                  <a:pt x="266" y="108"/>
                </a:lnTo>
                <a:lnTo>
                  <a:pt x="269" y="107"/>
                </a:lnTo>
                <a:lnTo>
                  <a:pt x="272" y="107"/>
                </a:lnTo>
                <a:lnTo>
                  <a:pt x="274" y="106"/>
                </a:lnTo>
                <a:lnTo>
                  <a:pt x="276" y="104"/>
                </a:lnTo>
                <a:lnTo>
                  <a:pt x="276" y="101"/>
                </a:lnTo>
                <a:lnTo>
                  <a:pt x="276" y="99"/>
                </a:lnTo>
                <a:lnTo>
                  <a:pt x="276" y="98"/>
                </a:lnTo>
                <a:lnTo>
                  <a:pt x="277" y="98"/>
                </a:lnTo>
                <a:lnTo>
                  <a:pt x="277" y="98"/>
                </a:lnTo>
                <a:lnTo>
                  <a:pt x="280" y="99"/>
                </a:lnTo>
                <a:lnTo>
                  <a:pt x="280" y="101"/>
                </a:lnTo>
                <a:lnTo>
                  <a:pt x="281" y="104"/>
                </a:lnTo>
                <a:lnTo>
                  <a:pt x="282" y="105"/>
                </a:lnTo>
                <a:lnTo>
                  <a:pt x="284" y="106"/>
                </a:lnTo>
                <a:lnTo>
                  <a:pt x="289" y="107"/>
                </a:lnTo>
                <a:lnTo>
                  <a:pt x="292" y="108"/>
                </a:lnTo>
                <a:lnTo>
                  <a:pt x="294" y="108"/>
                </a:lnTo>
                <a:lnTo>
                  <a:pt x="295" y="107"/>
                </a:lnTo>
                <a:lnTo>
                  <a:pt x="297" y="106"/>
                </a:lnTo>
                <a:lnTo>
                  <a:pt x="298" y="105"/>
                </a:lnTo>
                <a:lnTo>
                  <a:pt x="297" y="103"/>
                </a:lnTo>
                <a:lnTo>
                  <a:pt x="297" y="101"/>
                </a:lnTo>
                <a:lnTo>
                  <a:pt x="300" y="100"/>
                </a:lnTo>
                <a:lnTo>
                  <a:pt x="305" y="100"/>
                </a:lnTo>
                <a:lnTo>
                  <a:pt x="306" y="101"/>
                </a:lnTo>
                <a:lnTo>
                  <a:pt x="308" y="101"/>
                </a:lnTo>
                <a:lnTo>
                  <a:pt x="311" y="100"/>
                </a:lnTo>
                <a:lnTo>
                  <a:pt x="315" y="99"/>
                </a:lnTo>
                <a:lnTo>
                  <a:pt x="318" y="99"/>
                </a:lnTo>
                <a:lnTo>
                  <a:pt x="322" y="99"/>
                </a:lnTo>
                <a:lnTo>
                  <a:pt x="326" y="98"/>
                </a:lnTo>
                <a:lnTo>
                  <a:pt x="328" y="96"/>
                </a:lnTo>
                <a:lnTo>
                  <a:pt x="330" y="98"/>
                </a:lnTo>
                <a:lnTo>
                  <a:pt x="330" y="101"/>
                </a:lnTo>
                <a:lnTo>
                  <a:pt x="332" y="100"/>
                </a:lnTo>
                <a:lnTo>
                  <a:pt x="334" y="99"/>
                </a:lnTo>
                <a:lnTo>
                  <a:pt x="335" y="99"/>
                </a:lnTo>
                <a:lnTo>
                  <a:pt x="338" y="99"/>
                </a:lnTo>
                <a:lnTo>
                  <a:pt x="340" y="101"/>
                </a:lnTo>
                <a:lnTo>
                  <a:pt x="343" y="104"/>
                </a:lnTo>
                <a:lnTo>
                  <a:pt x="325" y="108"/>
                </a:lnTo>
                <a:lnTo>
                  <a:pt x="307" y="114"/>
                </a:lnTo>
                <a:lnTo>
                  <a:pt x="287" y="117"/>
                </a:lnTo>
                <a:lnTo>
                  <a:pt x="268" y="120"/>
                </a:lnTo>
                <a:lnTo>
                  <a:pt x="270" y="122"/>
                </a:lnTo>
                <a:lnTo>
                  <a:pt x="273" y="125"/>
                </a:lnTo>
                <a:lnTo>
                  <a:pt x="270" y="128"/>
                </a:lnTo>
                <a:lnTo>
                  <a:pt x="269" y="130"/>
                </a:lnTo>
                <a:lnTo>
                  <a:pt x="270" y="131"/>
                </a:lnTo>
                <a:lnTo>
                  <a:pt x="274" y="132"/>
                </a:lnTo>
                <a:lnTo>
                  <a:pt x="276" y="132"/>
                </a:lnTo>
                <a:lnTo>
                  <a:pt x="276" y="133"/>
                </a:lnTo>
                <a:lnTo>
                  <a:pt x="276" y="134"/>
                </a:lnTo>
                <a:lnTo>
                  <a:pt x="275" y="136"/>
                </a:lnTo>
                <a:lnTo>
                  <a:pt x="274" y="134"/>
                </a:lnTo>
                <a:lnTo>
                  <a:pt x="274" y="134"/>
                </a:lnTo>
                <a:lnTo>
                  <a:pt x="272" y="136"/>
                </a:lnTo>
                <a:lnTo>
                  <a:pt x="269" y="136"/>
                </a:lnTo>
                <a:lnTo>
                  <a:pt x="268" y="137"/>
                </a:lnTo>
                <a:lnTo>
                  <a:pt x="266" y="136"/>
                </a:lnTo>
                <a:lnTo>
                  <a:pt x="266" y="133"/>
                </a:lnTo>
                <a:lnTo>
                  <a:pt x="265" y="131"/>
                </a:lnTo>
                <a:lnTo>
                  <a:pt x="261" y="130"/>
                </a:lnTo>
                <a:lnTo>
                  <a:pt x="259" y="129"/>
                </a:lnTo>
                <a:lnTo>
                  <a:pt x="265" y="128"/>
                </a:lnTo>
                <a:lnTo>
                  <a:pt x="268" y="125"/>
                </a:lnTo>
                <a:lnTo>
                  <a:pt x="265" y="124"/>
                </a:lnTo>
                <a:lnTo>
                  <a:pt x="261" y="125"/>
                </a:lnTo>
                <a:lnTo>
                  <a:pt x="247" y="128"/>
                </a:lnTo>
                <a:lnTo>
                  <a:pt x="234" y="131"/>
                </a:lnTo>
                <a:lnTo>
                  <a:pt x="220" y="136"/>
                </a:lnTo>
                <a:lnTo>
                  <a:pt x="208" y="140"/>
                </a:lnTo>
                <a:lnTo>
                  <a:pt x="194" y="146"/>
                </a:lnTo>
                <a:lnTo>
                  <a:pt x="182" y="150"/>
                </a:lnTo>
                <a:lnTo>
                  <a:pt x="169" y="155"/>
                </a:lnTo>
                <a:lnTo>
                  <a:pt x="158" y="158"/>
                </a:lnTo>
                <a:lnTo>
                  <a:pt x="151" y="164"/>
                </a:lnTo>
                <a:lnTo>
                  <a:pt x="145" y="170"/>
                </a:lnTo>
                <a:lnTo>
                  <a:pt x="137" y="173"/>
                </a:lnTo>
                <a:lnTo>
                  <a:pt x="130" y="177"/>
                </a:lnTo>
                <a:lnTo>
                  <a:pt x="130" y="178"/>
                </a:lnTo>
                <a:lnTo>
                  <a:pt x="132" y="179"/>
                </a:lnTo>
                <a:lnTo>
                  <a:pt x="134" y="179"/>
                </a:lnTo>
                <a:lnTo>
                  <a:pt x="136" y="178"/>
                </a:lnTo>
                <a:lnTo>
                  <a:pt x="142" y="177"/>
                </a:lnTo>
                <a:lnTo>
                  <a:pt x="144" y="175"/>
                </a:lnTo>
                <a:lnTo>
                  <a:pt x="144" y="179"/>
                </a:lnTo>
                <a:lnTo>
                  <a:pt x="146" y="180"/>
                </a:lnTo>
                <a:lnTo>
                  <a:pt x="146" y="181"/>
                </a:lnTo>
                <a:lnTo>
                  <a:pt x="146" y="182"/>
                </a:lnTo>
                <a:lnTo>
                  <a:pt x="145" y="183"/>
                </a:lnTo>
                <a:lnTo>
                  <a:pt x="143" y="184"/>
                </a:lnTo>
                <a:lnTo>
                  <a:pt x="138" y="188"/>
                </a:lnTo>
                <a:lnTo>
                  <a:pt x="134" y="190"/>
                </a:lnTo>
                <a:lnTo>
                  <a:pt x="132" y="190"/>
                </a:lnTo>
                <a:lnTo>
                  <a:pt x="129" y="190"/>
                </a:lnTo>
                <a:lnTo>
                  <a:pt x="128" y="190"/>
                </a:lnTo>
                <a:lnTo>
                  <a:pt x="126" y="189"/>
                </a:lnTo>
                <a:lnTo>
                  <a:pt x="122" y="189"/>
                </a:lnTo>
                <a:lnTo>
                  <a:pt x="120" y="190"/>
                </a:lnTo>
                <a:lnTo>
                  <a:pt x="117" y="192"/>
                </a:lnTo>
                <a:lnTo>
                  <a:pt x="114" y="195"/>
                </a:lnTo>
                <a:lnTo>
                  <a:pt x="111" y="197"/>
                </a:lnTo>
                <a:lnTo>
                  <a:pt x="107" y="198"/>
                </a:lnTo>
                <a:lnTo>
                  <a:pt x="103" y="200"/>
                </a:lnTo>
                <a:lnTo>
                  <a:pt x="102" y="204"/>
                </a:lnTo>
                <a:lnTo>
                  <a:pt x="107" y="203"/>
                </a:lnTo>
                <a:lnTo>
                  <a:pt x="111" y="202"/>
                </a:lnTo>
                <a:lnTo>
                  <a:pt x="112" y="203"/>
                </a:lnTo>
                <a:lnTo>
                  <a:pt x="112" y="204"/>
                </a:lnTo>
                <a:lnTo>
                  <a:pt x="111" y="205"/>
                </a:lnTo>
                <a:lnTo>
                  <a:pt x="110" y="205"/>
                </a:lnTo>
                <a:lnTo>
                  <a:pt x="103" y="208"/>
                </a:lnTo>
                <a:lnTo>
                  <a:pt x="100" y="213"/>
                </a:lnTo>
                <a:lnTo>
                  <a:pt x="97" y="216"/>
                </a:lnTo>
                <a:lnTo>
                  <a:pt x="94" y="219"/>
                </a:lnTo>
                <a:lnTo>
                  <a:pt x="92" y="220"/>
                </a:lnTo>
                <a:lnTo>
                  <a:pt x="89" y="221"/>
                </a:lnTo>
                <a:lnTo>
                  <a:pt x="88" y="223"/>
                </a:lnTo>
                <a:lnTo>
                  <a:pt x="87" y="225"/>
                </a:lnTo>
                <a:lnTo>
                  <a:pt x="87" y="227"/>
                </a:lnTo>
                <a:lnTo>
                  <a:pt x="89" y="229"/>
                </a:lnTo>
                <a:lnTo>
                  <a:pt x="91" y="228"/>
                </a:lnTo>
                <a:lnTo>
                  <a:pt x="93" y="227"/>
                </a:lnTo>
                <a:lnTo>
                  <a:pt x="93" y="227"/>
                </a:lnTo>
                <a:lnTo>
                  <a:pt x="94" y="227"/>
                </a:lnTo>
                <a:lnTo>
                  <a:pt x="94" y="228"/>
                </a:lnTo>
                <a:lnTo>
                  <a:pt x="94" y="229"/>
                </a:lnTo>
                <a:lnTo>
                  <a:pt x="89" y="232"/>
                </a:lnTo>
                <a:lnTo>
                  <a:pt x="85" y="236"/>
                </a:lnTo>
                <a:lnTo>
                  <a:pt x="85" y="237"/>
                </a:lnTo>
                <a:lnTo>
                  <a:pt x="85" y="238"/>
                </a:lnTo>
                <a:lnTo>
                  <a:pt x="85" y="238"/>
                </a:lnTo>
                <a:lnTo>
                  <a:pt x="86" y="239"/>
                </a:lnTo>
                <a:lnTo>
                  <a:pt x="89" y="239"/>
                </a:lnTo>
                <a:lnTo>
                  <a:pt x="91" y="241"/>
                </a:lnTo>
                <a:lnTo>
                  <a:pt x="88" y="242"/>
                </a:lnTo>
                <a:lnTo>
                  <a:pt x="85" y="244"/>
                </a:lnTo>
                <a:lnTo>
                  <a:pt x="83" y="245"/>
                </a:lnTo>
                <a:lnTo>
                  <a:pt x="80" y="245"/>
                </a:lnTo>
                <a:lnTo>
                  <a:pt x="79" y="248"/>
                </a:lnTo>
                <a:lnTo>
                  <a:pt x="80" y="250"/>
                </a:lnTo>
                <a:lnTo>
                  <a:pt x="77" y="250"/>
                </a:lnTo>
                <a:lnTo>
                  <a:pt x="72" y="250"/>
                </a:lnTo>
                <a:lnTo>
                  <a:pt x="70" y="255"/>
                </a:lnTo>
                <a:lnTo>
                  <a:pt x="70" y="260"/>
                </a:lnTo>
                <a:lnTo>
                  <a:pt x="67" y="266"/>
                </a:lnTo>
                <a:lnTo>
                  <a:pt x="62" y="272"/>
                </a:lnTo>
                <a:lnTo>
                  <a:pt x="61" y="274"/>
                </a:lnTo>
                <a:lnTo>
                  <a:pt x="59" y="275"/>
                </a:lnTo>
                <a:lnTo>
                  <a:pt x="56" y="277"/>
                </a:lnTo>
                <a:lnTo>
                  <a:pt x="54" y="275"/>
                </a:lnTo>
                <a:lnTo>
                  <a:pt x="52" y="275"/>
                </a:lnTo>
                <a:lnTo>
                  <a:pt x="51" y="275"/>
                </a:lnTo>
                <a:lnTo>
                  <a:pt x="52" y="278"/>
                </a:lnTo>
                <a:lnTo>
                  <a:pt x="54" y="279"/>
                </a:lnTo>
                <a:lnTo>
                  <a:pt x="53" y="285"/>
                </a:lnTo>
                <a:lnTo>
                  <a:pt x="52" y="289"/>
                </a:lnTo>
                <a:lnTo>
                  <a:pt x="54" y="288"/>
                </a:lnTo>
                <a:lnTo>
                  <a:pt x="56" y="286"/>
                </a:lnTo>
                <a:lnTo>
                  <a:pt x="58" y="283"/>
                </a:lnTo>
                <a:lnTo>
                  <a:pt x="59" y="281"/>
                </a:lnTo>
                <a:lnTo>
                  <a:pt x="60" y="280"/>
                </a:lnTo>
                <a:lnTo>
                  <a:pt x="61" y="280"/>
                </a:lnTo>
                <a:lnTo>
                  <a:pt x="62" y="281"/>
                </a:lnTo>
                <a:lnTo>
                  <a:pt x="63" y="282"/>
                </a:lnTo>
                <a:lnTo>
                  <a:pt x="64" y="287"/>
                </a:lnTo>
                <a:lnTo>
                  <a:pt x="64" y="289"/>
                </a:lnTo>
                <a:lnTo>
                  <a:pt x="62" y="291"/>
                </a:lnTo>
                <a:lnTo>
                  <a:pt x="59" y="292"/>
                </a:lnTo>
                <a:lnTo>
                  <a:pt x="56" y="296"/>
                </a:lnTo>
                <a:lnTo>
                  <a:pt x="52" y="297"/>
                </a:lnTo>
                <a:lnTo>
                  <a:pt x="53" y="299"/>
                </a:lnTo>
                <a:lnTo>
                  <a:pt x="55" y="300"/>
                </a:lnTo>
                <a:lnTo>
                  <a:pt x="56" y="300"/>
                </a:lnTo>
                <a:lnTo>
                  <a:pt x="59" y="300"/>
                </a:lnTo>
                <a:lnTo>
                  <a:pt x="62" y="300"/>
                </a:lnTo>
                <a:lnTo>
                  <a:pt x="66" y="302"/>
                </a:lnTo>
                <a:lnTo>
                  <a:pt x="68" y="305"/>
                </a:lnTo>
                <a:lnTo>
                  <a:pt x="70" y="307"/>
                </a:lnTo>
                <a:lnTo>
                  <a:pt x="75" y="303"/>
                </a:lnTo>
                <a:lnTo>
                  <a:pt x="80" y="299"/>
                </a:lnTo>
                <a:lnTo>
                  <a:pt x="83" y="296"/>
                </a:lnTo>
                <a:lnTo>
                  <a:pt x="86" y="294"/>
                </a:lnTo>
                <a:lnTo>
                  <a:pt x="89" y="292"/>
                </a:lnTo>
                <a:lnTo>
                  <a:pt x="94" y="291"/>
                </a:lnTo>
                <a:lnTo>
                  <a:pt x="91" y="294"/>
                </a:lnTo>
                <a:lnTo>
                  <a:pt x="87" y="296"/>
                </a:lnTo>
                <a:lnTo>
                  <a:pt x="85" y="298"/>
                </a:lnTo>
                <a:lnTo>
                  <a:pt x="83" y="300"/>
                </a:lnTo>
                <a:lnTo>
                  <a:pt x="77" y="311"/>
                </a:lnTo>
                <a:lnTo>
                  <a:pt x="71" y="320"/>
                </a:lnTo>
                <a:lnTo>
                  <a:pt x="67" y="325"/>
                </a:lnTo>
                <a:lnTo>
                  <a:pt x="64" y="330"/>
                </a:lnTo>
                <a:lnTo>
                  <a:pt x="63" y="331"/>
                </a:lnTo>
                <a:lnTo>
                  <a:pt x="62" y="335"/>
                </a:lnTo>
                <a:lnTo>
                  <a:pt x="61" y="336"/>
                </a:lnTo>
                <a:lnTo>
                  <a:pt x="61" y="337"/>
                </a:lnTo>
                <a:lnTo>
                  <a:pt x="62" y="338"/>
                </a:lnTo>
                <a:lnTo>
                  <a:pt x="63" y="338"/>
                </a:lnTo>
                <a:lnTo>
                  <a:pt x="64" y="335"/>
                </a:lnTo>
                <a:lnTo>
                  <a:pt x="67" y="332"/>
                </a:lnTo>
                <a:lnTo>
                  <a:pt x="70" y="330"/>
                </a:lnTo>
                <a:lnTo>
                  <a:pt x="74" y="329"/>
                </a:lnTo>
                <a:lnTo>
                  <a:pt x="69" y="333"/>
                </a:lnTo>
                <a:lnTo>
                  <a:pt x="64" y="339"/>
                </a:lnTo>
                <a:lnTo>
                  <a:pt x="63" y="343"/>
                </a:lnTo>
                <a:lnTo>
                  <a:pt x="62" y="346"/>
                </a:lnTo>
                <a:lnTo>
                  <a:pt x="62" y="348"/>
                </a:lnTo>
                <a:lnTo>
                  <a:pt x="63" y="352"/>
                </a:lnTo>
                <a:lnTo>
                  <a:pt x="60" y="353"/>
                </a:lnTo>
                <a:lnTo>
                  <a:pt x="59" y="353"/>
                </a:lnTo>
                <a:lnTo>
                  <a:pt x="60" y="355"/>
                </a:lnTo>
                <a:lnTo>
                  <a:pt x="60" y="357"/>
                </a:lnTo>
                <a:lnTo>
                  <a:pt x="59" y="364"/>
                </a:lnTo>
                <a:lnTo>
                  <a:pt x="55" y="370"/>
                </a:lnTo>
                <a:lnTo>
                  <a:pt x="51" y="383"/>
                </a:lnTo>
                <a:lnTo>
                  <a:pt x="46" y="397"/>
                </a:lnTo>
                <a:lnTo>
                  <a:pt x="52" y="396"/>
                </a:lnTo>
                <a:lnTo>
                  <a:pt x="55" y="396"/>
                </a:lnTo>
                <a:lnTo>
                  <a:pt x="59" y="398"/>
                </a:lnTo>
                <a:lnTo>
                  <a:pt x="62" y="403"/>
                </a:lnTo>
                <a:lnTo>
                  <a:pt x="61" y="399"/>
                </a:lnTo>
                <a:lnTo>
                  <a:pt x="60" y="396"/>
                </a:lnTo>
                <a:lnTo>
                  <a:pt x="61" y="394"/>
                </a:lnTo>
                <a:lnTo>
                  <a:pt x="63" y="394"/>
                </a:lnTo>
                <a:lnTo>
                  <a:pt x="64" y="395"/>
                </a:lnTo>
                <a:lnTo>
                  <a:pt x="66" y="396"/>
                </a:lnTo>
                <a:lnTo>
                  <a:pt x="64" y="397"/>
                </a:lnTo>
                <a:lnTo>
                  <a:pt x="64" y="399"/>
                </a:lnTo>
                <a:lnTo>
                  <a:pt x="66" y="402"/>
                </a:lnTo>
                <a:lnTo>
                  <a:pt x="67" y="404"/>
                </a:lnTo>
                <a:lnTo>
                  <a:pt x="68" y="406"/>
                </a:lnTo>
                <a:lnTo>
                  <a:pt x="68" y="407"/>
                </a:lnTo>
                <a:lnTo>
                  <a:pt x="67" y="408"/>
                </a:lnTo>
                <a:lnTo>
                  <a:pt x="64" y="410"/>
                </a:lnTo>
                <a:lnTo>
                  <a:pt x="63" y="411"/>
                </a:lnTo>
                <a:lnTo>
                  <a:pt x="61" y="411"/>
                </a:lnTo>
                <a:lnTo>
                  <a:pt x="61" y="412"/>
                </a:lnTo>
                <a:lnTo>
                  <a:pt x="62" y="414"/>
                </a:lnTo>
                <a:lnTo>
                  <a:pt x="64" y="415"/>
                </a:lnTo>
                <a:lnTo>
                  <a:pt x="68" y="416"/>
                </a:lnTo>
                <a:lnTo>
                  <a:pt x="69" y="419"/>
                </a:lnTo>
                <a:lnTo>
                  <a:pt x="68" y="420"/>
                </a:lnTo>
                <a:lnTo>
                  <a:pt x="67" y="422"/>
                </a:lnTo>
                <a:lnTo>
                  <a:pt x="66" y="423"/>
                </a:lnTo>
                <a:lnTo>
                  <a:pt x="62" y="423"/>
                </a:lnTo>
                <a:lnTo>
                  <a:pt x="62" y="423"/>
                </a:lnTo>
                <a:lnTo>
                  <a:pt x="61" y="421"/>
                </a:lnTo>
                <a:lnTo>
                  <a:pt x="61" y="419"/>
                </a:lnTo>
                <a:lnTo>
                  <a:pt x="60" y="427"/>
                </a:lnTo>
                <a:lnTo>
                  <a:pt x="62" y="435"/>
                </a:lnTo>
                <a:lnTo>
                  <a:pt x="56" y="436"/>
                </a:lnTo>
                <a:lnTo>
                  <a:pt x="53" y="438"/>
                </a:lnTo>
                <a:lnTo>
                  <a:pt x="58" y="439"/>
                </a:lnTo>
                <a:lnTo>
                  <a:pt x="63" y="439"/>
                </a:lnTo>
                <a:lnTo>
                  <a:pt x="62" y="438"/>
                </a:lnTo>
                <a:lnTo>
                  <a:pt x="62" y="436"/>
                </a:lnTo>
                <a:lnTo>
                  <a:pt x="63" y="432"/>
                </a:lnTo>
                <a:lnTo>
                  <a:pt x="66" y="429"/>
                </a:lnTo>
                <a:lnTo>
                  <a:pt x="69" y="423"/>
                </a:lnTo>
                <a:lnTo>
                  <a:pt x="72" y="419"/>
                </a:lnTo>
                <a:lnTo>
                  <a:pt x="74" y="414"/>
                </a:lnTo>
                <a:lnTo>
                  <a:pt x="77" y="408"/>
                </a:lnTo>
                <a:lnTo>
                  <a:pt x="79" y="405"/>
                </a:lnTo>
                <a:lnTo>
                  <a:pt x="81" y="403"/>
                </a:lnTo>
                <a:lnTo>
                  <a:pt x="83" y="402"/>
                </a:lnTo>
                <a:lnTo>
                  <a:pt x="84" y="402"/>
                </a:lnTo>
                <a:lnTo>
                  <a:pt x="81" y="407"/>
                </a:lnTo>
                <a:lnTo>
                  <a:pt x="79" y="413"/>
                </a:lnTo>
                <a:lnTo>
                  <a:pt x="77" y="421"/>
                </a:lnTo>
                <a:lnTo>
                  <a:pt x="75" y="427"/>
                </a:lnTo>
                <a:lnTo>
                  <a:pt x="70" y="440"/>
                </a:lnTo>
                <a:lnTo>
                  <a:pt x="66" y="455"/>
                </a:lnTo>
                <a:lnTo>
                  <a:pt x="64" y="460"/>
                </a:lnTo>
                <a:lnTo>
                  <a:pt x="61" y="466"/>
                </a:lnTo>
                <a:lnTo>
                  <a:pt x="60" y="470"/>
                </a:lnTo>
                <a:lnTo>
                  <a:pt x="60" y="473"/>
                </a:lnTo>
                <a:lnTo>
                  <a:pt x="60" y="476"/>
                </a:lnTo>
                <a:lnTo>
                  <a:pt x="61" y="478"/>
                </a:lnTo>
                <a:lnTo>
                  <a:pt x="64" y="480"/>
                </a:lnTo>
                <a:lnTo>
                  <a:pt x="68" y="483"/>
                </a:lnTo>
                <a:lnTo>
                  <a:pt x="67" y="490"/>
                </a:lnTo>
                <a:lnTo>
                  <a:pt x="64" y="497"/>
                </a:lnTo>
                <a:lnTo>
                  <a:pt x="59" y="513"/>
                </a:lnTo>
                <a:lnTo>
                  <a:pt x="54" y="529"/>
                </a:lnTo>
                <a:lnTo>
                  <a:pt x="52" y="544"/>
                </a:lnTo>
                <a:lnTo>
                  <a:pt x="48" y="556"/>
                </a:lnTo>
                <a:lnTo>
                  <a:pt x="48" y="559"/>
                </a:lnTo>
                <a:lnTo>
                  <a:pt x="47" y="561"/>
                </a:lnTo>
                <a:lnTo>
                  <a:pt x="46" y="564"/>
                </a:lnTo>
                <a:lnTo>
                  <a:pt x="45" y="566"/>
                </a:lnTo>
                <a:lnTo>
                  <a:pt x="46" y="569"/>
                </a:lnTo>
                <a:lnTo>
                  <a:pt x="46" y="572"/>
                </a:lnTo>
                <a:lnTo>
                  <a:pt x="45" y="574"/>
                </a:lnTo>
                <a:lnTo>
                  <a:pt x="44" y="578"/>
                </a:lnTo>
                <a:lnTo>
                  <a:pt x="43" y="579"/>
                </a:lnTo>
                <a:lnTo>
                  <a:pt x="42" y="581"/>
                </a:lnTo>
                <a:lnTo>
                  <a:pt x="42" y="584"/>
                </a:lnTo>
                <a:lnTo>
                  <a:pt x="44" y="585"/>
                </a:lnTo>
                <a:lnTo>
                  <a:pt x="46" y="585"/>
                </a:lnTo>
                <a:lnTo>
                  <a:pt x="46" y="585"/>
                </a:lnTo>
                <a:lnTo>
                  <a:pt x="47" y="584"/>
                </a:lnTo>
                <a:lnTo>
                  <a:pt x="48" y="582"/>
                </a:lnTo>
                <a:lnTo>
                  <a:pt x="48" y="579"/>
                </a:lnTo>
                <a:lnTo>
                  <a:pt x="50" y="577"/>
                </a:lnTo>
                <a:lnTo>
                  <a:pt x="51" y="579"/>
                </a:lnTo>
                <a:lnTo>
                  <a:pt x="51" y="581"/>
                </a:lnTo>
                <a:lnTo>
                  <a:pt x="51" y="582"/>
                </a:lnTo>
                <a:lnTo>
                  <a:pt x="52" y="584"/>
                </a:lnTo>
                <a:lnTo>
                  <a:pt x="53" y="584"/>
                </a:lnTo>
                <a:lnTo>
                  <a:pt x="54" y="582"/>
                </a:lnTo>
                <a:lnTo>
                  <a:pt x="55" y="581"/>
                </a:lnTo>
                <a:lnTo>
                  <a:pt x="55" y="579"/>
                </a:lnTo>
                <a:lnTo>
                  <a:pt x="55" y="577"/>
                </a:lnTo>
                <a:lnTo>
                  <a:pt x="55" y="576"/>
                </a:lnTo>
                <a:lnTo>
                  <a:pt x="52" y="577"/>
                </a:lnTo>
                <a:lnTo>
                  <a:pt x="50" y="576"/>
                </a:lnTo>
                <a:lnTo>
                  <a:pt x="52" y="576"/>
                </a:lnTo>
                <a:lnTo>
                  <a:pt x="53" y="573"/>
                </a:lnTo>
                <a:lnTo>
                  <a:pt x="53" y="570"/>
                </a:lnTo>
                <a:lnTo>
                  <a:pt x="53" y="568"/>
                </a:lnTo>
                <a:lnTo>
                  <a:pt x="55" y="566"/>
                </a:lnTo>
                <a:lnTo>
                  <a:pt x="58" y="565"/>
                </a:lnTo>
                <a:lnTo>
                  <a:pt x="59" y="565"/>
                </a:lnTo>
                <a:lnTo>
                  <a:pt x="60" y="565"/>
                </a:lnTo>
                <a:lnTo>
                  <a:pt x="60" y="563"/>
                </a:lnTo>
                <a:lnTo>
                  <a:pt x="61" y="562"/>
                </a:lnTo>
                <a:lnTo>
                  <a:pt x="63" y="557"/>
                </a:lnTo>
                <a:lnTo>
                  <a:pt x="66" y="554"/>
                </a:lnTo>
                <a:lnTo>
                  <a:pt x="68" y="552"/>
                </a:lnTo>
                <a:lnTo>
                  <a:pt x="68" y="548"/>
                </a:lnTo>
                <a:lnTo>
                  <a:pt x="70" y="545"/>
                </a:lnTo>
                <a:lnTo>
                  <a:pt x="71" y="543"/>
                </a:lnTo>
                <a:lnTo>
                  <a:pt x="70" y="540"/>
                </a:lnTo>
                <a:lnTo>
                  <a:pt x="70" y="539"/>
                </a:lnTo>
                <a:lnTo>
                  <a:pt x="72" y="538"/>
                </a:lnTo>
                <a:lnTo>
                  <a:pt x="75" y="537"/>
                </a:lnTo>
                <a:lnTo>
                  <a:pt x="77" y="534"/>
                </a:lnTo>
                <a:lnTo>
                  <a:pt x="79" y="530"/>
                </a:lnTo>
                <a:lnTo>
                  <a:pt x="80" y="526"/>
                </a:lnTo>
                <a:lnTo>
                  <a:pt x="81" y="522"/>
                </a:lnTo>
                <a:lnTo>
                  <a:pt x="86" y="520"/>
                </a:lnTo>
                <a:lnTo>
                  <a:pt x="91" y="518"/>
                </a:lnTo>
                <a:lnTo>
                  <a:pt x="91" y="513"/>
                </a:lnTo>
                <a:lnTo>
                  <a:pt x="92" y="510"/>
                </a:lnTo>
                <a:lnTo>
                  <a:pt x="94" y="507"/>
                </a:lnTo>
                <a:lnTo>
                  <a:pt x="99" y="506"/>
                </a:lnTo>
                <a:lnTo>
                  <a:pt x="101" y="506"/>
                </a:lnTo>
                <a:lnTo>
                  <a:pt x="102" y="506"/>
                </a:lnTo>
                <a:lnTo>
                  <a:pt x="103" y="506"/>
                </a:lnTo>
                <a:lnTo>
                  <a:pt x="104" y="504"/>
                </a:lnTo>
                <a:lnTo>
                  <a:pt x="104" y="503"/>
                </a:lnTo>
                <a:lnTo>
                  <a:pt x="103" y="501"/>
                </a:lnTo>
                <a:lnTo>
                  <a:pt x="101" y="499"/>
                </a:lnTo>
                <a:lnTo>
                  <a:pt x="100" y="499"/>
                </a:lnTo>
                <a:lnTo>
                  <a:pt x="108" y="491"/>
                </a:lnTo>
                <a:lnTo>
                  <a:pt x="116" y="485"/>
                </a:lnTo>
                <a:lnTo>
                  <a:pt x="125" y="478"/>
                </a:lnTo>
                <a:lnTo>
                  <a:pt x="134" y="472"/>
                </a:lnTo>
                <a:lnTo>
                  <a:pt x="154" y="462"/>
                </a:lnTo>
                <a:lnTo>
                  <a:pt x="174" y="453"/>
                </a:lnTo>
                <a:lnTo>
                  <a:pt x="185" y="448"/>
                </a:lnTo>
                <a:lnTo>
                  <a:pt x="198" y="444"/>
                </a:lnTo>
                <a:lnTo>
                  <a:pt x="209" y="440"/>
                </a:lnTo>
                <a:lnTo>
                  <a:pt x="220" y="437"/>
                </a:lnTo>
                <a:lnTo>
                  <a:pt x="232" y="433"/>
                </a:lnTo>
                <a:lnTo>
                  <a:pt x="242" y="431"/>
                </a:lnTo>
                <a:lnTo>
                  <a:pt x="248" y="429"/>
                </a:lnTo>
                <a:lnTo>
                  <a:pt x="254" y="428"/>
                </a:lnTo>
                <a:lnTo>
                  <a:pt x="259" y="427"/>
                </a:lnTo>
                <a:lnTo>
                  <a:pt x="264" y="426"/>
                </a:lnTo>
                <a:lnTo>
                  <a:pt x="266" y="427"/>
                </a:lnTo>
                <a:lnTo>
                  <a:pt x="267" y="429"/>
                </a:lnTo>
                <a:lnTo>
                  <a:pt x="268" y="430"/>
                </a:lnTo>
                <a:lnTo>
                  <a:pt x="268" y="430"/>
                </a:lnTo>
                <a:lnTo>
                  <a:pt x="269" y="430"/>
                </a:lnTo>
                <a:lnTo>
                  <a:pt x="272" y="430"/>
                </a:lnTo>
                <a:lnTo>
                  <a:pt x="272" y="428"/>
                </a:lnTo>
                <a:lnTo>
                  <a:pt x="270" y="426"/>
                </a:lnTo>
                <a:lnTo>
                  <a:pt x="274" y="423"/>
                </a:lnTo>
                <a:lnTo>
                  <a:pt x="277" y="423"/>
                </a:lnTo>
                <a:lnTo>
                  <a:pt x="289" y="421"/>
                </a:lnTo>
                <a:lnTo>
                  <a:pt x="300" y="420"/>
                </a:lnTo>
                <a:lnTo>
                  <a:pt x="310" y="418"/>
                </a:lnTo>
                <a:lnTo>
                  <a:pt x="322" y="416"/>
                </a:lnTo>
                <a:lnTo>
                  <a:pt x="332" y="415"/>
                </a:lnTo>
                <a:lnTo>
                  <a:pt x="342" y="413"/>
                </a:lnTo>
                <a:lnTo>
                  <a:pt x="342" y="410"/>
                </a:lnTo>
                <a:lnTo>
                  <a:pt x="341" y="406"/>
                </a:lnTo>
                <a:lnTo>
                  <a:pt x="342" y="403"/>
                </a:lnTo>
                <a:lnTo>
                  <a:pt x="343" y="399"/>
                </a:lnTo>
                <a:lnTo>
                  <a:pt x="344" y="397"/>
                </a:lnTo>
                <a:lnTo>
                  <a:pt x="348" y="395"/>
                </a:lnTo>
                <a:lnTo>
                  <a:pt x="352" y="393"/>
                </a:lnTo>
                <a:lnTo>
                  <a:pt x="356" y="393"/>
                </a:lnTo>
                <a:lnTo>
                  <a:pt x="357" y="395"/>
                </a:lnTo>
                <a:lnTo>
                  <a:pt x="357" y="397"/>
                </a:lnTo>
                <a:lnTo>
                  <a:pt x="353" y="399"/>
                </a:lnTo>
                <a:lnTo>
                  <a:pt x="350" y="400"/>
                </a:lnTo>
                <a:lnTo>
                  <a:pt x="348" y="403"/>
                </a:lnTo>
                <a:lnTo>
                  <a:pt x="347" y="405"/>
                </a:lnTo>
                <a:lnTo>
                  <a:pt x="347" y="406"/>
                </a:lnTo>
                <a:lnTo>
                  <a:pt x="347" y="407"/>
                </a:lnTo>
                <a:lnTo>
                  <a:pt x="348" y="408"/>
                </a:lnTo>
                <a:lnTo>
                  <a:pt x="350" y="410"/>
                </a:lnTo>
                <a:lnTo>
                  <a:pt x="351" y="410"/>
                </a:lnTo>
                <a:lnTo>
                  <a:pt x="355" y="410"/>
                </a:lnTo>
                <a:lnTo>
                  <a:pt x="358" y="408"/>
                </a:lnTo>
                <a:lnTo>
                  <a:pt x="361" y="407"/>
                </a:lnTo>
                <a:lnTo>
                  <a:pt x="365" y="407"/>
                </a:lnTo>
                <a:lnTo>
                  <a:pt x="368" y="408"/>
                </a:lnTo>
                <a:lnTo>
                  <a:pt x="371" y="411"/>
                </a:lnTo>
                <a:lnTo>
                  <a:pt x="373" y="414"/>
                </a:lnTo>
                <a:lnTo>
                  <a:pt x="380" y="415"/>
                </a:lnTo>
                <a:lnTo>
                  <a:pt x="387" y="415"/>
                </a:lnTo>
                <a:lnTo>
                  <a:pt x="401" y="416"/>
                </a:lnTo>
                <a:lnTo>
                  <a:pt x="417" y="419"/>
                </a:lnTo>
                <a:lnTo>
                  <a:pt x="415" y="421"/>
                </a:lnTo>
                <a:lnTo>
                  <a:pt x="412" y="421"/>
                </a:lnTo>
                <a:lnTo>
                  <a:pt x="408" y="421"/>
                </a:lnTo>
                <a:lnTo>
                  <a:pt x="405" y="420"/>
                </a:lnTo>
                <a:lnTo>
                  <a:pt x="397" y="421"/>
                </a:lnTo>
                <a:lnTo>
                  <a:pt x="388" y="421"/>
                </a:lnTo>
                <a:lnTo>
                  <a:pt x="381" y="422"/>
                </a:lnTo>
                <a:lnTo>
                  <a:pt x="375" y="422"/>
                </a:lnTo>
                <a:lnTo>
                  <a:pt x="371" y="427"/>
                </a:lnTo>
                <a:lnTo>
                  <a:pt x="366" y="430"/>
                </a:lnTo>
                <a:lnTo>
                  <a:pt x="369" y="430"/>
                </a:lnTo>
                <a:lnTo>
                  <a:pt x="373" y="430"/>
                </a:lnTo>
                <a:lnTo>
                  <a:pt x="375" y="431"/>
                </a:lnTo>
                <a:lnTo>
                  <a:pt x="377" y="432"/>
                </a:lnTo>
                <a:lnTo>
                  <a:pt x="382" y="431"/>
                </a:lnTo>
                <a:lnTo>
                  <a:pt x="388" y="429"/>
                </a:lnTo>
                <a:lnTo>
                  <a:pt x="393" y="429"/>
                </a:lnTo>
                <a:lnTo>
                  <a:pt x="400" y="428"/>
                </a:lnTo>
                <a:lnTo>
                  <a:pt x="413" y="428"/>
                </a:lnTo>
                <a:lnTo>
                  <a:pt x="426" y="428"/>
                </a:lnTo>
                <a:lnTo>
                  <a:pt x="439" y="430"/>
                </a:lnTo>
                <a:lnTo>
                  <a:pt x="451" y="432"/>
                </a:lnTo>
                <a:lnTo>
                  <a:pt x="462" y="433"/>
                </a:lnTo>
                <a:lnTo>
                  <a:pt x="472" y="435"/>
                </a:lnTo>
                <a:lnTo>
                  <a:pt x="475" y="435"/>
                </a:lnTo>
                <a:lnTo>
                  <a:pt x="481" y="436"/>
                </a:lnTo>
                <a:lnTo>
                  <a:pt x="483" y="437"/>
                </a:lnTo>
                <a:lnTo>
                  <a:pt x="484" y="437"/>
                </a:lnTo>
                <a:lnTo>
                  <a:pt x="484" y="438"/>
                </a:lnTo>
                <a:lnTo>
                  <a:pt x="483" y="439"/>
                </a:lnTo>
                <a:lnTo>
                  <a:pt x="480" y="440"/>
                </a:lnTo>
                <a:lnTo>
                  <a:pt x="474" y="439"/>
                </a:lnTo>
                <a:lnTo>
                  <a:pt x="468" y="438"/>
                </a:lnTo>
                <a:lnTo>
                  <a:pt x="464" y="437"/>
                </a:lnTo>
                <a:lnTo>
                  <a:pt x="459" y="437"/>
                </a:lnTo>
                <a:lnTo>
                  <a:pt x="455" y="438"/>
                </a:lnTo>
                <a:lnTo>
                  <a:pt x="451" y="440"/>
                </a:lnTo>
                <a:lnTo>
                  <a:pt x="448" y="445"/>
                </a:lnTo>
                <a:lnTo>
                  <a:pt x="459" y="444"/>
                </a:lnTo>
                <a:lnTo>
                  <a:pt x="472" y="443"/>
                </a:lnTo>
                <a:lnTo>
                  <a:pt x="484" y="443"/>
                </a:lnTo>
                <a:lnTo>
                  <a:pt x="496" y="444"/>
                </a:lnTo>
                <a:lnTo>
                  <a:pt x="509" y="446"/>
                </a:lnTo>
                <a:lnTo>
                  <a:pt x="522" y="448"/>
                </a:lnTo>
                <a:lnTo>
                  <a:pt x="534" y="452"/>
                </a:lnTo>
                <a:lnTo>
                  <a:pt x="547" y="454"/>
                </a:lnTo>
                <a:lnTo>
                  <a:pt x="559" y="457"/>
                </a:lnTo>
                <a:lnTo>
                  <a:pt x="572" y="460"/>
                </a:lnTo>
                <a:lnTo>
                  <a:pt x="582" y="462"/>
                </a:lnTo>
                <a:lnTo>
                  <a:pt x="593" y="465"/>
                </a:lnTo>
                <a:lnTo>
                  <a:pt x="597" y="470"/>
                </a:lnTo>
                <a:lnTo>
                  <a:pt x="603" y="473"/>
                </a:lnTo>
                <a:lnTo>
                  <a:pt x="607" y="473"/>
                </a:lnTo>
                <a:lnTo>
                  <a:pt x="613" y="474"/>
                </a:lnTo>
                <a:lnTo>
                  <a:pt x="616" y="474"/>
                </a:lnTo>
                <a:lnTo>
                  <a:pt x="619" y="476"/>
                </a:lnTo>
                <a:lnTo>
                  <a:pt x="621" y="477"/>
                </a:lnTo>
                <a:lnTo>
                  <a:pt x="621" y="478"/>
                </a:lnTo>
                <a:lnTo>
                  <a:pt x="606" y="477"/>
                </a:lnTo>
                <a:lnTo>
                  <a:pt x="591" y="474"/>
                </a:lnTo>
                <a:lnTo>
                  <a:pt x="586" y="477"/>
                </a:lnTo>
                <a:lnTo>
                  <a:pt x="580" y="478"/>
                </a:lnTo>
                <a:lnTo>
                  <a:pt x="572" y="478"/>
                </a:lnTo>
                <a:lnTo>
                  <a:pt x="564" y="478"/>
                </a:lnTo>
                <a:lnTo>
                  <a:pt x="547" y="478"/>
                </a:lnTo>
                <a:lnTo>
                  <a:pt x="530" y="479"/>
                </a:lnTo>
                <a:lnTo>
                  <a:pt x="524" y="480"/>
                </a:lnTo>
                <a:lnTo>
                  <a:pt x="516" y="481"/>
                </a:lnTo>
                <a:lnTo>
                  <a:pt x="513" y="482"/>
                </a:lnTo>
                <a:lnTo>
                  <a:pt x="509" y="483"/>
                </a:lnTo>
                <a:lnTo>
                  <a:pt x="507" y="486"/>
                </a:lnTo>
                <a:lnTo>
                  <a:pt x="505" y="488"/>
                </a:lnTo>
                <a:lnTo>
                  <a:pt x="513" y="487"/>
                </a:lnTo>
                <a:lnTo>
                  <a:pt x="522" y="487"/>
                </a:lnTo>
                <a:lnTo>
                  <a:pt x="520" y="489"/>
                </a:lnTo>
                <a:lnTo>
                  <a:pt x="520" y="491"/>
                </a:lnTo>
                <a:lnTo>
                  <a:pt x="523" y="493"/>
                </a:lnTo>
                <a:lnTo>
                  <a:pt x="526" y="491"/>
                </a:lnTo>
                <a:lnTo>
                  <a:pt x="537" y="488"/>
                </a:lnTo>
                <a:lnTo>
                  <a:pt x="546" y="487"/>
                </a:lnTo>
                <a:lnTo>
                  <a:pt x="556" y="485"/>
                </a:lnTo>
                <a:lnTo>
                  <a:pt x="566" y="485"/>
                </a:lnTo>
                <a:lnTo>
                  <a:pt x="577" y="485"/>
                </a:lnTo>
                <a:lnTo>
                  <a:pt x="588" y="485"/>
                </a:lnTo>
                <a:lnTo>
                  <a:pt x="598" y="486"/>
                </a:lnTo>
                <a:lnTo>
                  <a:pt x="608" y="488"/>
                </a:lnTo>
                <a:lnTo>
                  <a:pt x="613" y="488"/>
                </a:lnTo>
                <a:lnTo>
                  <a:pt x="618" y="489"/>
                </a:lnTo>
                <a:lnTo>
                  <a:pt x="621" y="491"/>
                </a:lnTo>
                <a:lnTo>
                  <a:pt x="624" y="494"/>
                </a:lnTo>
                <a:lnTo>
                  <a:pt x="632" y="493"/>
                </a:lnTo>
                <a:lnTo>
                  <a:pt x="639" y="494"/>
                </a:lnTo>
                <a:lnTo>
                  <a:pt x="640" y="496"/>
                </a:lnTo>
                <a:lnTo>
                  <a:pt x="639" y="497"/>
                </a:lnTo>
                <a:lnTo>
                  <a:pt x="638" y="497"/>
                </a:lnTo>
                <a:lnTo>
                  <a:pt x="637" y="498"/>
                </a:lnTo>
                <a:lnTo>
                  <a:pt x="654" y="499"/>
                </a:lnTo>
                <a:lnTo>
                  <a:pt x="670" y="503"/>
                </a:lnTo>
                <a:lnTo>
                  <a:pt x="664" y="505"/>
                </a:lnTo>
                <a:lnTo>
                  <a:pt x="657" y="505"/>
                </a:lnTo>
                <a:lnTo>
                  <a:pt x="656" y="505"/>
                </a:lnTo>
                <a:lnTo>
                  <a:pt x="655" y="505"/>
                </a:lnTo>
                <a:lnTo>
                  <a:pt x="655" y="507"/>
                </a:lnTo>
                <a:lnTo>
                  <a:pt x="655" y="509"/>
                </a:lnTo>
                <a:lnTo>
                  <a:pt x="649" y="506"/>
                </a:lnTo>
                <a:lnTo>
                  <a:pt x="643" y="504"/>
                </a:lnTo>
                <a:lnTo>
                  <a:pt x="635" y="504"/>
                </a:lnTo>
                <a:lnTo>
                  <a:pt x="627" y="503"/>
                </a:lnTo>
                <a:lnTo>
                  <a:pt x="628" y="501"/>
                </a:lnTo>
                <a:lnTo>
                  <a:pt x="627" y="499"/>
                </a:lnTo>
                <a:lnTo>
                  <a:pt x="624" y="498"/>
                </a:lnTo>
                <a:lnTo>
                  <a:pt x="622" y="497"/>
                </a:lnTo>
                <a:lnTo>
                  <a:pt x="616" y="497"/>
                </a:lnTo>
                <a:lnTo>
                  <a:pt x="612" y="496"/>
                </a:lnTo>
                <a:lnTo>
                  <a:pt x="606" y="496"/>
                </a:lnTo>
                <a:lnTo>
                  <a:pt x="600" y="495"/>
                </a:lnTo>
                <a:lnTo>
                  <a:pt x="595" y="494"/>
                </a:lnTo>
                <a:lnTo>
                  <a:pt x="589" y="495"/>
                </a:lnTo>
                <a:lnTo>
                  <a:pt x="605" y="499"/>
                </a:lnTo>
                <a:lnTo>
                  <a:pt x="621" y="505"/>
                </a:lnTo>
                <a:lnTo>
                  <a:pt x="611" y="505"/>
                </a:lnTo>
                <a:lnTo>
                  <a:pt x="600" y="504"/>
                </a:lnTo>
                <a:lnTo>
                  <a:pt x="590" y="502"/>
                </a:lnTo>
                <a:lnTo>
                  <a:pt x="580" y="501"/>
                </a:lnTo>
                <a:lnTo>
                  <a:pt x="578" y="502"/>
                </a:lnTo>
                <a:lnTo>
                  <a:pt x="577" y="502"/>
                </a:lnTo>
                <a:lnTo>
                  <a:pt x="577" y="501"/>
                </a:lnTo>
                <a:lnTo>
                  <a:pt x="575" y="499"/>
                </a:lnTo>
                <a:lnTo>
                  <a:pt x="573" y="497"/>
                </a:lnTo>
                <a:lnTo>
                  <a:pt x="571" y="497"/>
                </a:lnTo>
                <a:lnTo>
                  <a:pt x="567" y="497"/>
                </a:lnTo>
                <a:lnTo>
                  <a:pt x="564" y="497"/>
                </a:lnTo>
                <a:lnTo>
                  <a:pt x="563" y="497"/>
                </a:lnTo>
                <a:lnTo>
                  <a:pt x="562" y="497"/>
                </a:lnTo>
                <a:lnTo>
                  <a:pt x="561" y="496"/>
                </a:lnTo>
                <a:lnTo>
                  <a:pt x="559" y="494"/>
                </a:lnTo>
                <a:lnTo>
                  <a:pt x="563" y="494"/>
                </a:lnTo>
                <a:lnTo>
                  <a:pt x="564" y="493"/>
                </a:lnTo>
                <a:lnTo>
                  <a:pt x="563" y="490"/>
                </a:lnTo>
                <a:lnTo>
                  <a:pt x="561" y="490"/>
                </a:lnTo>
                <a:lnTo>
                  <a:pt x="554" y="490"/>
                </a:lnTo>
                <a:lnTo>
                  <a:pt x="548" y="491"/>
                </a:lnTo>
                <a:lnTo>
                  <a:pt x="540" y="491"/>
                </a:lnTo>
                <a:lnTo>
                  <a:pt x="532" y="491"/>
                </a:lnTo>
                <a:lnTo>
                  <a:pt x="528" y="493"/>
                </a:lnTo>
                <a:lnTo>
                  <a:pt x="524" y="494"/>
                </a:lnTo>
                <a:lnTo>
                  <a:pt x="521" y="495"/>
                </a:lnTo>
                <a:lnTo>
                  <a:pt x="516" y="497"/>
                </a:lnTo>
                <a:lnTo>
                  <a:pt x="532" y="502"/>
                </a:lnTo>
                <a:lnTo>
                  <a:pt x="548" y="504"/>
                </a:lnTo>
                <a:lnTo>
                  <a:pt x="536" y="504"/>
                </a:lnTo>
                <a:lnTo>
                  <a:pt x="523" y="503"/>
                </a:lnTo>
                <a:lnTo>
                  <a:pt x="519" y="503"/>
                </a:lnTo>
                <a:lnTo>
                  <a:pt x="515" y="503"/>
                </a:lnTo>
                <a:lnTo>
                  <a:pt x="514" y="502"/>
                </a:lnTo>
                <a:lnTo>
                  <a:pt x="513" y="501"/>
                </a:lnTo>
                <a:lnTo>
                  <a:pt x="513" y="499"/>
                </a:lnTo>
                <a:lnTo>
                  <a:pt x="514" y="497"/>
                </a:lnTo>
                <a:lnTo>
                  <a:pt x="509" y="497"/>
                </a:lnTo>
                <a:lnTo>
                  <a:pt x="503" y="497"/>
                </a:lnTo>
                <a:lnTo>
                  <a:pt x="499" y="497"/>
                </a:lnTo>
                <a:lnTo>
                  <a:pt x="496" y="497"/>
                </a:lnTo>
                <a:lnTo>
                  <a:pt x="493" y="498"/>
                </a:lnTo>
                <a:lnTo>
                  <a:pt x="493" y="501"/>
                </a:lnTo>
                <a:lnTo>
                  <a:pt x="496" y="499"/>
                </a:lnTo>
                <a:lnTo>
                  <a:pt x="499" y="499"/>
                </a:lnTo>
                <a:lnTo>
                  <a:pt x="501" y="501"/>
                </a:lnTo>
                <a:lnTo>
                  <a:pt x="504" y="502"/>
                </a:lnTo>
                <a:lnTo>
                  <a:pt x="499" y="503"/>
                </a:lnTo>
                <a:lnTo>
                  <a:pt x="495" y="505"/>
                </a:lnTo>
                <a:lnTo>
                  <a:pt x="506" y="506"/>
                </a:lnTo>
                <a:lnTo>
                  <a:pt x="519" y="507"/>
                </a:lnTo>
                <a:lnTo>
                  <a:pt x="530" y="510"/>
                </a:lnTo>
                <a:lnTo>
                  <a:pt x="542" y="511"/>
                </a:lnTo>
                <a:lnTo>
                  <a:pt x="553" y="512"/>
                </a:lnTo>
                <a:lnTo>
                  <a:pt x="564" y="513"/>
                </a:lnTo>
                <a:lnTo>
                  <a:pt x="569" y="515"/>
                </a:lnTo>
                <a:lnTo>
                  <a:pt x="572" y="516"/>
                </a:lnTo>
                <a:lnTo>
                  <a:pt x="577" y="515"/>
                </a:lnTo>
                <a:lnTo>
                  <a:pt x="580" y="514"/>
                </a:lnTo>
                <a:lnTo>
                  <a:pt x="580" y="516"/>
                </a:lnTo>
                <a:lnTo>
                  <a:pt x="582" y="519"/>
                </a:lnTo>
                <a:lnTo>
                  <a:pt x="588" y="520"/>
                </a:lnTo>
                <a:lnTo>
                  <a:pt x="593" y="521"/>
                </a:lnTo>
                <a:lnTo>
                  <a:pt x="588" y="522"/>
                </a:lnTo>
                <a:lnTo>
                  <a:pt x="582" y="521"/>
                </a:lnTo>
                <a:lnTo>
                  <a:pt x="581" y="522"/>
                </a:lnTo>
                <a:lnTo>
                  <a:pt x="579" y="523"/>
                </a:lnTo>
                <a:lnTo>
                  <a:pt x="578" y="526"/>
                </a:lnTo>
                <a:lnTo>
                  <a:pt x="579" y="528"/>
                </a:lnTo>
                <a:lnTo>
                  <a:pt x="582" y="527"/>
                </a:lnTo>
                <a:lnTo>
                  <a:pt x="586" y="524"/>
                </a:lnTo>
                <a:lnTo>
                  <a:pt x="590" y="526"/>
                </a:lnTo>
                <a:lnTo>
                  <a:pt x="595" y="526"/>
                </a:lnTo>
                <a:lnTo>
                  <a:pt x="596" y="523"/>
                </a:lnTo>
                <a:lnTo>
                  <a:pt x="598" y="521"/>
                </a:lnTo>
                <a:lnTo>
                  <a:pt x="599" y="522"/>
                </a:lnTo>
                <a:lnTo>
                  <a:pt x="602" y="523"/>
                </a:lnTo>
                <a:lnTo>
                  <a:pt x="610" y="526"/>
                </a:lnTo>
                <a:lnTo>
                  <a:pt x="619" y="527"/>
                </a:lnTo>
                <a:lnTo>
                  <a:pt x="626" y="527"/>
                </a:lnTo>
                <a:lnTo>
                  <a:pt x="632" y="528"/>
                </a:lnTo>
                <a:lnTo>
                  <a:pt x="635" y="529"/>
                </a:lnTo>
                <a:lnTo>
                  <a:pt x="636" y="530"/>
                </a:lnTo>
                <a:lnTo>
                  <a:pt x="637" y="531"/>
                </a:lnTo>
                <a:lnTo>
                  <a:pt x="638" y="531"/>
                </a:lnTo>
                <a:lnTo>
                  <a:pt x="640" y="531"/>
                </a:lnTo>
                <a:lnTo>
                  <a:pt x="641" y="531"/>
                </a:lnTo>
                <a:lnTo>
                  <a:pt x="648" y="532"/>
                </a:lnTo>
                <a:lnTo>
                  <a:pt x="653" y="536"/>
                </a:lnTo>
                <a:lnTo>
                  <a:pt x="660" y="537"/>
                </a:lnTo>
                <a:lnTo>
                  <a:pt x="666" y="539"/>
                </a:lnTo>
                <a:lnTo>
                  <a:pt x="682" y="544"/>
                </a:lnTo>
                <a:lnTo>
                  <a:pt x="699" y="549"/>
                </a:lnTo>
                <a:lnTo>
                  <a:pt x="713" y="554"/>
                </a:lnTo>
                <a:lnTo>
                  <a:pt x="728" y="559"/>
                </a:lnTo>
                <a:lnTo>
                  <a:pt x="743" y="563"/>
                </a:lnTo>
                <a:lnTo>
                  <a:pt x="756" y="569"/>
                </a:lnTo>
                <a:lnTo>
                  <a:pt x="753" y="570"/>
                </a:lnTo>
                <a:lnTo>
                  <a:pt x="750" y="570"/>
                </a:lnTo>
                <a:lnTo>
                  <a:pt x="748" y="570"/>
                </a:lnTo>
                <a:lnTo>
                  <a:pt x="747" y="570"/>
                </a:lnTo>
                <a:lnTo>
                  <a:pt x="746" y="571"/>
                </a:lnTo>
                <a:lnTo>
                  <a:pt x="745" y="572"/>
                </a:lnTo>
                <a:lnTo>
                  <a:pt x="744" y="576"/>
                </a:lnTo>
                <a:lnTo>
                  <a:pt x="744" y="579"/>
                </a:lnTo>
                <a:lnTo>
                  <a:pt x="742" y="581"/>
                </a:lnTo>
                <a:lnTo>
                  <a:pt x="738" y="582"/>
                </a:lnTo>
                <a:lnTo>
                  <a:pt x="742" y="582"/>
                </a:lnTo>
                <a:lnTo>
                  <a:pt x="746" y="584"/>
                </a:lnTo>
                <a:lnTo>
                  <a:pt x="750" y="584"/>
                </a:lnTo>
                <a:lnTo>
                  <a:pt x="753" y="581"/>
                </a:lnTo>
                <a:lnTo>
                  <a:pt x="748" y="581"/>
                </a:lnTo>
                <a:lnTo>
                  <a:pt x="746" y="580"/>
                </a:lnTo>
                <a:lnTo>
                  <a:pt x="746" y="579"/>
                </a:lnTo>
                <a:lnTo>
                  <a:pt x="747" y="578"/>
                </a:lnTo>
                <a:lnTo>
                  <a:pt x="748" y="578"/>
                </a:lnTo>
                <a:lnTo>
                  <a:pt x="750" y="578"/>
                </a:lnTo>
                <a:lnTo>
                  <a:pt x="753" y="578"/>
                </a:lnTo>
                <a:lnTo>
                  <a:pt x="756" y="577"/>
                </a:lnTo>
                <a:lnTo>
                  <a:pt x="756" y="574"/>
                </a:lnTo>
                <a:lnTo>
                  <a:pt x="758" y="571"/>
                </a:lnTo>
                <a:lnTo>
                  <a:pt x="761" y="570"/>
                </a:lnTo>
                <a:lnTo>
                  <a:pt x="766" y="571"/>
                </a:lnTo>
                <a:lnTo>
                  <a:pt x="771" y="573"/>
                </a:lnTo>
                <a:lnTo>
                  <a:pt x="775" y="576"/>
                </a:lnTo>
                <a:lnTo>
                  <a:pt x="787" y="579"/>
                </a:lnTo>
                <a:lnTo>
                  <a:pt x="800" y="585"/>
                </a:lnTo>
                <a:lnTo>
                  <a:pt x="812" y="589"/>
                </a:lnTo>
                <a:lnTo>
                  <a:pt x="825" y="594"/>
                </a:lnTo>
                <a:lnTo>
                  <a:pt x="837" y="598"/>
                </a:lnTo>
                <a:lnTo>
                  <a:pt x="850" y="603"/>
                </a:lnTo>
                <a:lnTo>
                  <a:pt x="859" y="607"/>
                </a:lnTo>
                <a:lnTo>
                  <a:pt x="869" y="612"/>
                </a:lnTo>
                <a:lnTo>
                  <a:pt x="874" y="613"/>
                </a:lnTo>
                <a:lnTo>
                  <a:pt x="878" y="613"/>
                </a:lnTo>
                <a:lnTo>
                  <a:pt x="882" y="615"/>
                </a:lnTo>
                <a:lnTo>
                  <a:pt x="885" y="619"/>
                </a:lnTo>
                <a:lnTo>
                  <a:pt x="882" y="619"/>
                </a:lnTo>
                <a:lnTo>
                  <a:pt x="880" y="620"/>
                </a:lnTo>
                <a:lnTo>
                  <a:pt x="878" y="621"/>
                </a:lnTo>
                <a:lnTo>
                  <a:pt x="876" y="623"/>
                </a:lnTo>
                <a:lnTo>
                  <a:pt x="875" y="626"/>
                </a:lnTo>
                <a:lnTo>
                  <a:pt x="874" y="627"/>
                </a:lnTo>
                <a:lnTo>
                  <a:pt x="870" y="627"/>
                </a:lnTo>
                <a:lnTo>
                  <a:pt x="866" y="627"/>
                </a:lnTo>
                <a:lnTo>
                  <a:pt x="867" y="628"/>
                </a:lnTo>
                <a:lnTo>
                  <a:pt x="869" y="630"/>
                </a:lnTo>
                <a:lnTo>
                  <a:pt x="868" y="631"/>
                </a:lnTo>
                <a:lnTo>
                  <a:pt x="869" y="634"/>
                </a:lnTo>
                <a:lnTo>
                  <a:pt x="874" y="634"/>
                </a:lnTo>
                <a:lnTo>
                  <a:pt x="878" y="635"/>
                </a:lnTo>
                <a:lnTo>
                  <a:pt x="884" y="635"/>
                </a:lnTo>
                <a:lnTo>
                  <a:pt x="890" y="637"/>
                </a:lnTo>
                <a:lnTo>
                  <a:pt x="891" y="638"/>
                </a:lnTo>
                <a:lnTo>
                  <a:pt x="892" y="639"/>
                </a:lnTo>
                <a:lnTo>
                  <a:pt x="892" y="639"/>
                </a:lnTo>
                <a:lnTo>
                  <a:pt x="894" y="638"/>
                </a:lnTo>
                <a:lnTo>
                  <a:pt x="899" y="638"/>
                </a:lnTo>
                <a:lnTo>
                  <a:pt x="902" y="638"/>
                </a:lnTo>
                <a:lnTo>
                  <a:pt x="907" y="639"/>
                </a:lnTo>
                <a:lnTo>
                  <a:pt x="911" y="640"/>
                </a:lnTo>
                <a:lnTo>
                  <a:pt x="913" y="637"/>
                </a:lnTo>
                <a:lnTo>
                  <a:pt x="916" y="635"/>
                </a:lnTo>
                <a:lnTo>
                  <a:pt x="919" y="632"/>
                </a:lnTo>
                <a:lnTo>
                  <a:pt x="921" y="632"/>
                </a:lnTo>
                <a:lnTo>
                  <a:pt x="924" y="632"/>
                </a:lnTo>
                <a:lnTo>
                  <a:pt x="925" y="635"/>
                </a:lnTo>
                <a:lnTo>
                  <a:pt x="925" y="636"/>
                </a:lnTo>
                <a:lnTo>
                  <a:pt x="926" y="638"/>
                </a:lnTo>
                <a:lnTo>
                  <a:pt x="927" y="638"/>
                </a:lnTo>
                <a:lnTo>
                  <a:pt x="928" y="637"/>
                </a:lnTo>
                <a:lnTo>
                  <a:pt x="929" y="635"/>
                </a:lnTo>
                <a:lnTo>
                  <a:pt x="929" y="634"/>
                </a:lnTo>
                <a:lnTo>
                  <a:pt x="926" y="630"/>
                </a:lnTo>
                <a:lnTo>
                  <a:pt x="920" y="628"/>
                </a:lnTo>
                <a:lnTo>
                  <a:pt x="924" y="626"/>
                </a:lnTo>
                <a:lnTo>
                  <a:pt x="927" y="626"/>
                </a:lnTo>
                <a:lnTo>
                  <a:pt x="931" y="627"/>
                </a:lnTo>
                <a:lnTo>
                  <a:pt x="934" y="628"/>
                </a:lnTo>
                <a:lnTo>
                  <a:pt x="937" y="631"/>
                </a:lnTo>
                <a:lnTo>
                  <a:pt x="940" y="632"/>
                </a:lnTo>
                <a:lnTo>
                  <a:pt x="942" y="634"/>
                </a:lnTo>
                <a:lnTo>
                  <a:pt x="945" y="634"/>
                </a:lnTo>
                <a:lnTo>
                  <a:pt x="952" y="636"/>
                </a:lnTo>
                <a:lnTo>
                  <a:pt x="959" y="639"/>
                </a:lnTo>
                <a:lnTo>
                  <a:pt x="964" y="644"/>
                </a:lnTo>
                <a:lnTo>
                  <a:pt x="969" y="649"/>
                </a:lnTo>
                <a:lnTo>
                  <a:pt x="964" y="648"/>
                </a:lnTo>
                <a:lnTo>
                  <a:pt x="956" y="647"/>
                </a:lnTo>
                <a:lnTo>
                  <a:pt x="952" y="647"/>
                </a:lnTo>
                <a:lnTo>
                  <a:pt x="948" y="647"/>
                </a:lnTo>
                <a:lnTo>
                  <a:pt x="945" y="648"/>
                </a:lnTo>
                <a:lnTo>
                  <a:pt x="944" y="649"/>
                </a:lnTo>
                <a:lnTo>
                  <a:pt x="943" y="651"/>
                </a:lnTo>
                <a:lnTo>
                  <a:pt x="944" y="653"/>
                </a:lnTo>
                <a:lnTo>
                  <a:pt x="945" y="655"/>
                </a:lnTo>
                <a:lnTo>
                  <a:pt x="946" y="657"/>
                </a:lnTo>
                <a:lnTo>
                  <a:pt x="952" y="661"/>
                </a:lnTo>
                <a:lnTo>
                  <a:pt x="956" y="662"/>
                </a:lnTo>
                <a:lnTo>
                  <a:pt x="954" y="660"/>
                </a:lnTo>
                <a:lnTo>
                  <a:pt x="952" y="657"/>
                </a:lnTo>
                <a:lnTo>
                  <a:pt x="957" y="657"/>
                </a:lnTo>
                <a:lnTo>
                  <a:pt x="961" y="656"/>
                </a:lnTo>
                <a:lnTo>
                  <a:pt x="966" y="655"/>
                </a:lnTo>
                <a:lnTo>
                  <a:pt x="969" y="653"/>
                </a:lnTo>
                <a:lnTo>
                  <a:pt x="972" y="651"/>
                </a:lnTo>
                <a:lnTo>
                  <a:pt x="973" y="647"/>
                </a:lnTo>
                <a:lnTo>
                  <a:pt x="975" y="645"/>
                </a:lnTo>
                <a:lnTo>
                  <a:pt x="979" y="644"/>
                </a:lnTo>
                <a:lnTo>
                  <a:pt x="989" y="644"/>
                </a:lnTo>
                <a:lnTo>
                  <a:pt x="1003" y="644"/>
                </a:lnTo>
                <a:lnTo>
                  <a:pt x="1010" y="645"/>
                </a:lnTo>
                <a:lnTo>
                  <a:pt x="1016" y="647"/>
                </a:lnTo>
                <a:lnTo>
                  <a:pt x="1018" y="648"/>
                </a:lnTo>
                <a:lnTo>
                  <a:pt x="1019" y="649"/>
                </a:lnTo>
                <a:lnTo>
                  <a:pt x="1019" y="651"/>
                </a:lnTo>
                <a:lnTo>
                  <a:pt x="1018" y="653"/>
                </a:lnTo>
                <a:lnTo>
                  <a:pt x="1022" y="653"/>
                </a:lnTo>
                <a:lnTo>
                  <a:pt x="1024" y="653"/>
                </a:lnTo>
                <a:lnTo>
                  <a:pt x="1026" y="654"/>
                </a:lnTo>
                <a:lnTo>
                  <a:pt x="1028" y="657"/>
                </a:lnTo>
                <a:lnTo>
                  <a:pt x="1020" y="657"/>
                </a:lnTo>
                <a:lnTo>
                  <a:pt x="1012" y="659"/>
                </a:lnTo>
                <a:lnTo>
                  <a:pt x="1009" y="660"/>
                </a:lnTo>
                <a:lnTo>
                  <a:pt x="1007" y="660"/>
                </a:lnTo>
                <a:lnTo>
                  <a:pt x="1005" y="659"/>
                </a:lnTo>
                <a:lnTo>
                  <a:pt x="1002" y="657"/>
                </a:lnTo>
                <a:lnTo>
                  <a:pt x="1000" y="659"/>
                </a:lnTo>
                <a:lnTo>
                  <a:pt x="997" y="661"/>
                </a:lnTo>
                <a:lnTo>
                  <a:pt x="994" y="661"/>
                </a:lnTo>
                <a:lnTo>
                  <a:pt x="990" y="660"/>
                </a:lnTo>
                <a:lnTo>
                  <a:pt x="986" y="659"/>
                </a:lnTo>
                <a:lnTo>
                  <a:pt x="983" y="657"/>
                </a:lnTo>
                <a:lnTo>
                  <a:pt x="978" y="657"/>
                </a:lnTo>
                <a:lnTo>
                  <a:pt x="975" y="657"/>
                </a:lnTo>
                <a:lnTo>
                  <a:pt x="987" y="662"/>
                </a:lnTo>
                <a:lnTo>
                  <a:pt x="1000" y="664"/>
                </a:lnTo>
                <a:lnTo>
                  <a:pt x="1006" y="665"/>
                </a:lnTo>
                <a:lnTo>
                  <a:pt x="1010" y="667"/>
                </a:lnTo>
                <a:lnTo>
                  <a:pt x="1015" y="669"/>
                </a:lnTo>
                <a:lnTo>
                  <a:pt x="1018" y="670"/>
                </a:lnTo>
                <a:lnTo>
                  <a:pt x="1032" y="672"/>
                </a:lnTo>
                <a:lnTo>
                  <a:pt x="1044" y="671"/>
                </a:lnTo>
                <a:lnTo>
                  <a:pt x="1036" y="668"/>
                </a:lnTo>
                <a:lnTo>
                  <a:pt x="1026" y="664"/>
                </a:lnTo>
                <a:lnTo>
                  <a:pt x="1030" y="664"/>
                </a:lnTo>
                <a:lnTo>
                  <a:pt x="1033" y="663"/>
                </a:lnTo>
                <a:lnTo>
                  <a:pt x="1036" y="661"/>
                </a:lnTo>
                <a:lnTo>
                  <a:pt x="1040" y="659"/>
                </a:lnTo>
                <a:lnTo>
                  <a:pt x="1043" y="656"/>
                </a:lnTo>
                <a:lnTo>
                  <a:pt x="1047" y="656"/>
                </a:lnTo>
                <a:lnTo>
                  <a:pt x="1050" y="656"/>
                </a:lnTo>
                <a:lnTo>
                  <a:pt x="1052" y="660"/>
                </a:lnTo>
                <a:lnTo>
                  <a:pt x="1052" y="664"/>
                </a:lnTo>
                <a:lnTo>
                  <a:pt x="1050" y="669"/>
                </a:lnTo>
                <a:lnTo>
                  <a:pt x="1050" y="671"/>
                </a:lnTo>
                <a:lnTo>
                  <a:pt x="1050" y="673"/>
                </a:lnTo>
                <a:lnTo>
                  <a:pt x="1052" y="674"/>
                </a:lnTo>
                <a:lnTo>
                  <a:pt x="1056" y="674"/>
                </a:lnTo>
                <a:lnTo>
                  <a:pt x="1052" y="676"/>
                </a:lnTo>
                <a:lnTo>
                  <a:pt x="1045" y="677"/>
                </a:lnTo>
                <a:lnTo>
                  <a:pt x="1042" y="678"/>
                </a:lnTo>
                <a:lnTo>
                  <a:pt x="1041" y="679"/>
                </a:lnTo>
                <a:lnTo>
                  <a:pt x="1040" y="680"/>
                </a:lnTo>
                <a:lnTo>
                  <a:pt x="1041" y="682"/>
                </a:lnTo>
                <a:lnTo>
                  <a:pt x="1042" y="684"/>
                </a:lnTo>
                <a:lnTo>
                  <a:pt x="1044" y="684"/>
                </a:lnTo>
                <a:lnTo>
                  <a:pt x="1047" y="684"/>
                </a:lnTo>
                <a:lnTo>
                  <a:pt x="1049" y="684"/>
                </a:lnTo>
                <a:lnTo>
                  <a:pt x="1052" y="681"/>
                </a:lnTo>
                <a:lnTo>
                  <a:pt x="1056" y="680"/>
                </a:lnTo>
                <a:lnTo>
                  <a:pt x="1059" y="678"/>
                </a:lnTo>
                <a:lnTo>
                  <a:pt x="1061" y="677"/>
                </a:lnTo>
                <a:lnTo>
                  <a:pt x="1065" y="677"/>
                </a:lnTo>
                <a:lnTo>
                  <a:pt x="1068" y="677"/>
                </a:lnTo>
                <a:lnTo>
                  <a:pt x="1074" y="678"/>
                </a:lnTo>
                <a:lnTo>
                  <a:pt x="1081" y="679"/>
                </a:lnTo>
                <a:lnTo>
                  <a:pt x="1083" y="679"/>
                </a:lnTo>
                <a:lnTo>
                  <a:pt x="1084" y="679"/>
                </a:lnTo>
                <a:lnTo>
                  <a:pt x="1086" y="679"/>
                </a:lnTo>
                <a:lnTo>
                  <a:pt x="1088" y="677"/>
                </a:lnTo>
                <a:lnTo>
                  <a:pt x="1089" y="676"/>
                </a:lnTo>
                <a:lnTo>
                  <a:pt x="1090" y="673"/>
                </a:lnTo>
                <a:lnTo>
                  <a:pt x="1091" y="672"/>
                </a:lnTo>
                <a:lnTo>
                  <a:pt x="1092" y="671"/>
                </a:lnTo>
                <a:lnTo>
                  <a:pt x="1086" y="669"/>
                </a:lnTo>
                <a:lnTo>
                  <a:pt x="1082" y="669"/>
                </a:lnTo>
                <a:lnTo>
                  <a:pt x="1083" y="672"/>
                </a:lnTo>
                <a:lnTo>
                  <a:pt x="1082" y="676"/>
                </a:lnTo>
                <a:lnTo>
                  <a:pt x="1081" y="676"/>
                </a:lnTo>
                <a:lnTo>
                  <a:pt x="1080" y="676"/>
                </a:lnTo>
                <a:lnTo>
                  <a:pt x="1080" y="673"/>
                </a:lnTo>
                <a:lnTo>
                  <a:pt x="1078" y="672"/>
                </a:lnTo>
                <a:lnTo>
                  <a:pt x="1074" y="672"/>
                </a:lnTo>
                <a:lnTo>
                  <a:pt x="1068" y="671"/>
                </a:lnTo>
                <a:lnTo>
                  <a:pt x="1073" y="669"/>
                </a:lnTo>
                <a:lnTo>
                  <a:pt x="1077" y="667"/>
                </a:lnTo>
                <a:lnTo>
                  <a:pt x="1082" y="665"/>
                </a:lnTo>
                <a:lnTo>
                  <a:pt x="1086" y="664"/>
                </a:lnTo>
                <a:lnTo>
                  <a:pt x="1091" y="665"/>
                </a:lnTo>
                <a:lnTo>
                  <a:pt x="1094" y="668"/>
                </a:lnTo>
                <a:lnTo>
                  <a:pt x="1099" y="668"/>
                </a:lnTo>
                <a:lnTo>
                  <a:pt x="1104" y="665"/>
                </a:lnTo>
                <a:lnTo>
                  <a:pt x="1107" y="664"/>
                </a:lnTo>
                <a:lnTo>
                  <a:pt x="1110" y="664"/>
                </a:lnTo>
                <a:lnTo>
                  <a:pt x="1115" y="664"/>
                </a:lnTo>
                <a:lnTo>
                  <a:pt x="1118" y="665"/>
                </a:lnTo>
                <a:lnTo>
                  <a:pt x="1123" y="667"/>
                </a:lnTo>
                <a:lnTo>
                  <a:pt x="1126" y="669"/>
                </a:lnTo>
                <a:lnTo>
                  <a:pt x="1132" y="669"/>
                </a:lnTo>
                <a:lnTo>
                  <a:pt x="1138" y="669"/>
                </a:lnTo>
                <a:lnTo>
                  <a:pt x="1162" y="669"/>
                </a:lnTo>
                <a:lnTo>
                  <a:pt x="1185" y="671"/>
                </a:lnTo>
                <a:lnTo>
                  <a:pt x="1209" y="674"/>
                </a:lnTo>
                <a:lnTo>
                  <a:pt x="1232" y="677"/>
                </a:lnTo>
                <a:lnTo>
                  <a:pt x="1256" y="679"/>
                </a:lnTo>
                <a:lnTo>
                  <a:pt x="1281" y="680"/>
                </a:lnTo>
                <a:lnTo>
                  <a:pt x="1305" y="680"/>
                </a:lnTo>
                <a:lnTo>
                  <a:pt x="1329" y="680"/>
                </a:lnTo>
                <a:lnTo>
                  <a:pt x="1340" y="679"/>
                </a:lnTo>
                <a:lnTo>
                  <a:pt x="1352" y="678"/>
                </a:lnTo>
                <a:lnTo>
                  <a:pt x="1363" y="676"/>
                </a:lnTo>
                <a:lnTo>
                  <a:pt x="1374" y="673"/>
                </a:lnTo>
                <a:lnTo>
                  <a:pt x="1387" y="671"/>
                </a:lnTo>
                <a:lnTo>
                  <a:pt x="1398" y="668"/>
                </a:lnTo>
                <a:lnTo>
                  <a:pt x="1407" y="664"/>
                </a:lnTo>
                <a:lnTo>
                  <a:pt x="1417" y="661"/>
                </a:lnTo>
                <a:lnTo>
                  <a:pt x="1417" y="662"/>
                </a:lnTo>
                <a:lnTo>
                  <a:pt x="1414" y="664"/>
                </a:lnTo>
                <a:lnTo>
                  <a:pt x="1413" y="665"/>
                </a:lnTo>
                <a:lnTo>
                  <a:pt x="1410" y="667"/>
                </a:lnTo>
                <a:lnTo>
                  <a:pt x="1405" y="669"/>
                </a:lnTo>
                <a:lnTo>
                  <a:pt x="1402" y="672"/>
                </a:lnTo>
                <a:lnTo>
                  <a:pt x="1398" y="676"/>
                </a:lnTo>
                <a:lnTo>
                  <a:pt x="1394" y="677"/>
                </a:lnTo>
                <a:lnTo>
                  <a:pt x="1394" y="674"/>
                </a:lnTo>
                <a:lnTo>
                  <a:pt x="1391" y="672"/>
                </a:lnTo>
                <a:lnTo>
                  <a:pt x="1388" y="676"/>
                </a:lnTo>
                <a:lnTo>
                  <a:pt x="1384" y="680"/>
                </a:lnTo>
                <a:lnTo>
                  <a:pt x="1381" y="682"/>
                </a:lnTo>
                <a:lnTo>
                  <a:pt x="1380" y="684"/>
                </a:lnTo>
                <a:lnTo>
                  <a:pt x="1378" y="682"/>
                </a:lnTo>
                <a:lnTo>
                  <a:pt x="1376" y="681"/>
                </a:lnTo>
                <a:lnTo>
                  <a:pt x="1373" y="680"/>
                </a:lnTo>
                <a:lnTo>
                  <a:pt x="1373" y="680"/>
                </a:lnTo>
                <a:lnTo>
                  <a:pt x="1372" y="681"/>
                </a:lnTo>
                <a:lnTo>
                  <a:pt x="1371" y="682"/>
                </a:lnTo>
                <a:lnTo>
                  <a:pt x="1369" y="684"/>
                </a:lnTo>
                <a:lnTo>
                  <a:pt x="1368" y="685"/>
                </a:lnTo>
                <a:lnTo>
                  <a:pt x="1365" y="686"/>
                </a:lnTo>
                <a:lnTo>
                  <a:pt x="1363" y="685"/>
                </a:lnTo>
                <a:lnTo>
                  <a:pt x="1361" y="684"/>
                </a:lnTo>
                <a:lnTo>
                  <a:pt x="1360" y="684"/>
                </a:lnTo>
                <a:lnTo>
                  <a:pt x="1360" y="685"/>
                </a:lnTo>
                <a:lnTo>
                  <a:pt x="1358" y="687"/>
                </a:lnTo>
                <a:lnTo>
                  <a:pt x="1356" y="689"/>
                </a:lnTo>
                <a:lnTo>
                  <a:pt x="1355" y="688"/>
                </a:lnTo>
                <a:lnTo>
                  <a:pt x="1355" y="687"/>
                </a:lnTo>
                <a:lnTo>
                  <a:pt x="1353" y="686"/>
                </a:lnTo>
                <a:lnTo>
                  <a:pt x="1345" y="689"/>
                </a:lnTo>
                <a:lnTo>
                  <a:pt x="1338" y="693"/>
                </a:lnTo>
                <a:lnTo>
                  <a:pt x="1336" y="690"/>
                </a:lnTo>
                <a:lnTo>
                  <a:pt x="1333" y="687"/>
                </a:lnTo>
                <a:lnTo>
                  <a:pt x="1332" y="687"/>
                </a:lnTo>
                <a:lnTo>
                  <a:pt x="1331" y="687"/>
                </a:lnTo>
                <a:lnTo>
                  <a:pt x="1331" y="688"/>
                </a:lnTo>
                <a:lnTo>
                  <a:pt x="1330" y="689"/>
                </a:lnTo>
                <a:lnTo>
                  <a:pt x="1331" y="693"/>
                </a:lnTo>
                <a:lnTo>
                  <a:pt x="1331" y="695"/>
                </a:lnTo>
                <a:lnTo>
                  <a:pt x="1329" y="694"/>
                </a:lnTo>
                <a:lnTo>
                  <a:pt x="1327" y="693"/>
                </a:lnTo>
                <a:lnTo>
                  <a:pt x="1324" y="694"/>
                </a:lnTo>
                <a:lnTo>
                  <a:pt x="1323" y="695"/>
                </a:lnTo>
                <a:lnTo>
                  <a:pt x="1317" y="695"/>
                </a:lnTo>
                <a:lnTo>
                  <a:pt x="1312" y="693"/>
                </a:lnTo>
                <a:lnTo>
                  <a:pt x="1306" y="694"/>
                </a:lnTo>
                <a:lnTo>
                  <a:pt x="1300" y="695"/>
                </a:lnTo>
                <a:lnTo>
                  <a:pt x="1300" y="693"/>
                </a:lnTo>
                <a:lnTo>
                  <a:pt x="1299" y="690"/>
                </a:lnTo>
                <a:lnTo>
                  <a:pt x="1297" y="692"/>
                </a:lnTo>
                <a:lnTo>
                  <a:pt x="1294" y="693"/>
                </a:lnTo>
                <a:lnTo>
                  <a:pt x="1290" y="694"/>
                </a:lnTo>
                <a:lnTo>
                  <a:pt x="1287" y="693"/>
                </a:lnTo>
                <a:lnTo>
                  <a:pt x="1284" y="693"/>
                </a:lnTo>
                <a:lnTo>
                  <a:pt x="1281" y="693"/>
                </a:lnTo>
                <a:lnTo>
                  <a:pt x="1280" y="690"/>
                </a:lnTo>
                <a:lnTo>
                  <a:pt x="1278" y="689"/>
                </a:lnTo>
                <a:lnTo>
                  <a:pt x="1273" y="692"/>
                </a:lnTo>
                <a:lnTo>
                  <a:pt x="1270" y="693"/>
                </a:lnTo>
                <a:lnTo>
                  <a:pt x="1267" y="693"/>
                </a:lnTo>
                <a:lnTo>
                  <a:pt x="1267" y="693"/>
                </a:lnTo>
                <a:lnTo>
                  <a:pt x="1267" y="692"/>
                </a:lnTo>
                <a:lnTo>
                  <a:pt x="1269" y="690"/>
                </a:lnTo>
                <a:lnTo>
                  <a:pt x="1272" y="688"/>
                </a:lnTo>
                <a:lnTo>
                  <a:pt x="1274" y="687"/>
                </a:lnTo>
                <a:lnTo>
                  <a:pt x="1271" y="685"/>
                </a:lnTo>
                <a:lnTo>
                  <a:pt x="1269" y="685"/>
                </a:lnTo>
                <a:lnTo>
                  <a:pt x="1266" y="686"/>
                </a:lnTo>
                <a:lnTo>
                  <a:pt x="1264" y="689"/>
                </a:lnTo>
                <a:lnTo>
                  <a:pt x="1263" y="690"/>
                </a:lnTo>
                <a:lnTo>
                  <a:pt x="1263" y="692"/>
                </a:lnTo>
                <a:lnTo>
                  <a:pt x="1261" y="693"/>
                </a:lnTo>
                <a:lnTo>
                  <a:pt x="1258" y="693"/>
                </a:lnTo>
                <a:lnTo>
                  <a:pt x="1251" y="692"/>
                </a:lnTo>
                <a:lnTo>
                  <a:pt x="1245" y="690"/>
                </a:lnTo>
                <a:lnTo>
                  <a:pt x="1251" y="689"/>
                </a:lnTo>
                <a:lnTo>
                  <a:pt x="1257" y="687"/>
                </a:lnTo>
                <a:lnTo>
                  <a:pt x="1257" y="686"/>
                </a:lnTo>
                <a:lnTo>
                  <a:pt x="1256" y="685"/>
                </a:lnTo>
                <a:lnTo>
                  <a:pt x="1255" y="685"/>
                </a:lnTo>
                <a:lnTo>
                  <a:pt x="1253" y="685"/>
                </a:lnTo>
                <a:lnTo>
                  <a:pt x="1249" y="686"/>
                </a:lnTo>
                <a:lnTo>
                  <a:pt x="1246" y="686"/>
                </a:lnTo>
                <a:lnTo>
                  <a:pt x="1241" y="687"/>
                </a:lnTo>
                <a:lnTo>
                  <a:pt x="1238" y="687"/>
                </a:lnTo>
                <a:lnTo>
                  <a:pt x="1237" y="686"/>
                </a:lnTo>
                <a:lnTo>
                  <a:pt x="1237" y="684"/>
                </a:lnTo>
                <a:lnTo>
                  <a:pt x="1236" y="681"/>
                </a:lnTo>
                <a:lnTo>
                  <a:pt x="1232" y="680"/>
                </a:lnTo>
                <a:lnTo>
                  <a:pt x="1230" y="680"/>
                </a:lnTo>
                <a:lnTo>
                  <a:pt x="1228" y="681"/>
                </a:lnTo>
                <a:lnTo>
                  <a:pt x="1225" y="684"/>
                </a:lnTo>
                <a:lnTo>
                  <a:pt x="1222" y="686"/>
                </a:lnTo>
                <a:lnTo>
                  <a:pt x="1217" y="688"/>
                </a:lnTo>
                <a:lnTo>
                  <a:pt x="1214" y="687"/>
                </a:lnTo>
                <a:lnTo>
                  <a:pt x="1214" y="686"/>
                </a:lnTo>
                <a:lnTo>
                  <a:pt x="1213" y="684"/>
                </a:lnTo>
                <a:lnTo>
                  <a:pt x="1209" y="685"/>
                </a:lnTo>
                <a:lnTo>
                  <a:pt x="1206" y="687"/>
                </a:lnTo>
                <a:lnTo>
                  <a:pt x="1198" y="687"/>
                </a:lnTo>
                <a:lnTo>
                  <a:pt x="1190" y="686"/>
                </a:lnTo>
                <a:lnTo>
                  <a:pt x="1187" y="686"/>
                </a:lnTo>
                <a:lnTo>
                  <a:pt x="1183" y="687"/>
                </a:lnTo>
                <a:lnTo>
                  <a:pt x="1182" y="687"/>
                </a:lnTo>
                <a:lnTo>
                  <a:pt x="1181" y="687"/>
                </a:lnTo>
                <a:lnTo>
                  <a:pt x="1180" y="686"/>
                </a:lnTo>
                <a:lnTo>
                  <a:pt x="1179" y="684"/>
                </a:lnTo>
                <a:lnTo>
                  <a:pt x="1183" y="684"/>
                </a:lnTo>
                <a:lnTo>
                  <a:pt x="1187" y="681"/>
                </a:lnTo>
                <a:lnTo>
                  <a:pt x="1188" y="680"/>
                </a:lnTo>
                <a:lnTo>
                  <a:pt x="1189" y="678"/>
                </a:lnTo>
                <a:lnTo>
                  <a:pt x="1188" y="677"/>
                </a:lnTo>
                <a:lnTo>
                  <a:pt x="1187" y="676"/>
                </a:lnTo>
                <a:lnTo>
                  <a:pt x="1183" y="677"/>
                </a:lnTo>
                <a:lnTo>
                  <a:pt x="1180" y="679"/>
                </a:lnTo>
                <a:lnTo>
                  <a:pt x="1175" y="678"/>
                </a:lnTo>
                <a:lnTo>
                  <a:pt x="1171" y="678"/>
                </a:lnTo>
                <a:lnTo>
                  <a:pt x="1173" y="681"/>
                </a:lnTo>
                <a:lnTo>
                  <a:pt x="1175" y="685"/>
                </a:lnTo>
                <a:lnTo>
                  <a:pt x="1173" y="685"/>
                </a:lnTo>
                <a:lnTo>
                  <a:pt x="1171" y="685"/>
                </a:lnTo>
                <a:lnTo>
                  <a:pt x="1168" y="682"/>
                </a:lnTo>
                <a:lnTo>
                  <a:pt x="1167" y="681"/>
                </a:lnTo>
                <a:lnTo>
                  <a:pt x="1166" y="679"/>
                </a:lnTo>
                <a:lnTo>
                  <a:pt x="1166" y="677"/>
                </a:lnTo>
                <a:lnTo>
                  <a:pt x="1167" y="674"/>
                </a:lnTo>
                <a:lnTo>
                  <a:pt x="1167" y="672"/>
                </a:lnTo>
                <a:lnTo>
                  <a:pt x="1156" y="672"/>
                </a:lnTo>
                <a:lnTo>
                  <a:pt x="1144" y="672"/>
                </a:lnTo>
                <a:lnTo>
                  <a:pt x="1142" y="673"/>
                </a:lnTo>
                <a:lnTo>
                  <a:pt x="1140" y="677"/>
                </a:lnTo>
                <a:lnTo>
                  <a:pt x="1141" y="678"/>
                </a:lnTo>
                <a:lnTo>
                  <a:pt x="1143" y="680"/>
                </a:lnTo>
                <a:lnTo>
                  <a:pt x="1135" y="680"/>
                </a:lnTo>
                <a:lnTo>
                  <a:pt x="1127" y="680"/>
                </a:lnTo>
                <a:lnTo>
                  <a:pt x="1126" y="679"/>
                </a:lnTo>
                <a:lnTo>
                  <a:pt x="1125" y="677"/>
                </a:lnTo>
                <a:lnTo>
                  <a:pt x="1126" y="676"/>
                </a:lnTo>
                <a:lnTo>
                  <a:pt x="1127" y="676"/>
                </a:lnTo>
                <a:lnTo>
                  <a:pt x="1127" y="673"/>
                </a:lnTo>
                <a:lnTo>
                  <a:pt x="1126" y="672"/>
                </a:lnTo>
                <a:lnTo>
                  <a:pt x="1124" y="672"/>
                </a:lnTo>
                <a:lnTo>
                  <a:pt x="1122" y="672"/>
                </a:lnTo>
                <a:lnTo>
                  <a:pt x="1116" y="672"/>
                </a:lnTo>
                <a:lnTo>
                  <a:pt x="1111" y="672"/>
                </a:lnTo>
                <a:lnTo>
                  <a:pt x="1107" y="671"/>
                </a:lnTo>
                <a:lnTo>
                  <a:pt x="1104" y="669"/>
                </a:lnTo>
                <a:lnTo>
                  <a:pt x="1101" y="669"/>
                </a:lnTo>
                <a:lnTo>
                  <a:pt x="1100" y="670"/>
                </a:lnTo>
                <a:lnTo>
                  <a:pt x="1099" y="671"/>
                </a:lnTo>
                <a:lnTo>
                  <a:pt x="1099" y="674"/>
                </a:lnTo>
                <a:lnTo>
                  <a:pt x="1100" y="677"/>
                </a:lnTo>
                <a:lnTo>
                  <a:pt x="1100" y="677"/>
                </a:lnTo>
                <a:lnTo>
                  <a:pt x="1100" y="677"/>
                </a:lnTo>
                <a:lnTo>
                  <a:pt x="1102" y="678"/>
                </a:lnTo>
                <a:lnTo>
                  <a:pt x="1109" y="677"/>
                </a:lnTo>
                <a:lnTo>
                  <a:pt x="1116" y="677"/>
                </a:lnTo>
                <a:lnTo>
                  <a:pt x="1113" y="680"/>
                </a:lnTo>
                <a:lnTo>
                  <a:pt x="1108" y="684"/>
                </a:lnTo>
                <a:lnTo>
                  <a:pt x="1116" y="681"/>
                </a:lnTo>
                <a:lnTo>
                  <a:pt x="1124" y="682"/>
                </a:lnTo>
                <a:lnTo>
                  <a:pt x="1131" y="682"/>
                </a:lnTo>
                <a:lnTo>
                  <a:pt x="1138" y="684"/>
                </a:lnTo>
                <a:lnTo>
                  <a:pt x="1141" y="687"/>
                </a:lnTo>
                <a:lnTo>
                  <a:pt x="1143" y="690"/>
                </a:lnTo>
                <a:lnTo>
                  <a:pt x="1144" y="690"/>
                </a:lnTo>
                <a:lnTo>
                  <a:pt x="1146" y="692"/>
                </a:lnTo>
                <a:lnTo>
                  <a:pt x="1144" y="694"/>
                </a:lnTo>
                <a:lnTo>
                  <a:pt x="1143" y="696"/>
                </a:lnTo>
                <a:lnTo>
                  <a:pt x="1146" y="695"/>
                </a:lnTo>
                <a:lnTo>
                  <a:pt x="1148" y="694"/>
                </a:lnTo>
                <a:lnTo>
                  <a:pt x="1149" y="694"/>
                </a:lnTo>
                <a:lnTo>
                  <a:pt x="1151" y="695"/>
                </a:lnTo>
                <a:lnTo>
                  <a:pt x="1155" y="696"/>
                </a:lnTo>
                <a:lnTo>
                  <a:pt x="1158" y="696"/>
                </a:lnTo>
                <a:lnTo>
                  <a:pt x="1163" y="696"/>
                </a:lnTo>
                <a:lnTo>
                  <a:pt x="1166" y="694"/>
                </a:lnTo>
                <a:lnTo>
                  <a:pt x="1173" y="694"/>
                </a:lnTo>
                <a:lnTo>
                  <a:pt x="1180" y="692"/>
                </a:lnTo>
                <a:lnTo>
                  <a:pt x="1173" y="692"/>
                </a:lnTo>
                <a:lnTo>
                  <a:pt x="1167" y="690"/>
                </a:lnTo>
                <a:lnTo>
                  <a:pt x="1171" y="689"/>
                </a:lnTo>
                <a:lnTo>
                  <a:pt x="1175" y="688"/>
                </a:lnTo>
                <a:lnTo>
                  <a:pt x="1179" y="689"/>
                </a:lnTo>
                <a:lnTo>
                  <a:pt x="1183" y="690"/>
                </a:lnTo>
                <a:lnTo>
                  <a:pt x="1184" y="694"/>
                </a:lnTo>
                <a:lnTo>
                  <a:pt x="1188" y="696"/>
                </a:lnTo>
                <a:lnTo>
                  <a:pt x="1191" y="695"/>
                </a:lnTo>
                <a:lnTo>
                  <a:pt x="1196" y="694"/>
                </a:lnTo>
                <a:lnTo>
                  <a:pt x="1205" y="693"/>
                </a:lnTo>
                <a:lnTo>
                  <a:pt x="1215" y="694"/>
                </a:lnTo>
                <a:lnTo>
                  <a:pt x="1220" y="696"/>
                </a:lnTo>
                <a:lnTo>
                  <a:pt x="1225" y="697"/>
                </a:lnTo>
                <a:lnTo>
                  <a:pt x="1230" y="697"/>
                </a:lnTo>
                <a:lnTo>
                  <a:pt x="1234" y="696"/>
                </a:lnTo>
                <a:lnTo>
                  <a:pt x="1246" y="696"/>
                </a:lnTo>
                <a:lnTo>
                  <a:pt x="1257" y="696"/>
                </a:lnTo>
                <a:lnTo>
                  <a:pt x="1259" y="696"/>
                </a:lnTo>
                <a:lnTo>
                  <a:pt x="1262" y="697"/>
                </a:lnTo>
                <a:lnTo>
                  <a:pt x="1263" y="697"/>
                </a:lnTo>
                <a:lnTo>
                  <a:pt x="1263" y="698"/>
                </a:lnTo>
                <a:lnTo>
                  <a:pt x="1263" y="700"/>
                </a:lnTo>
                <a:lnTo>
                  <a:pt x="1262" y="702"/>
                </a:lnTo>
                <a:lnTo>
                  <a:pt x="1258" y="703"/>
                </a:lnTo>
                <a:lnTo>
                  <a:pt x="1254" y="703"/>
                </a:lnTo>
                <a:lnTo>
                  <a:pt x="1248" y="703"/>
                </a:lnTo>
                <a:lnTo>
                  <a:pt x="1244" y="703"/>
                </a:lnTo>
                <a:lnTo>
                  <a:pt x="1232" y="702"/>
                </a:lnTo>
                <a:lnTo>
                  <a:pt x="1220" y="703"/>
                </a:lnTo>
                <a:lnTo>
                  <a:pt x="1231" y="704"/>
                </a:lnTo>
                <a:lnTo>
                  <a:pt x="1241" y="705"/>
                </a:lnTo>
                <a:lnTo>
                  <a:pt x="1245" y="706"/>
                </a:lnTo>
                <a:lnTo>
                  <a:pt x="1247" y="709"/>
                </a:lnTo>
                <a:lnTo>
                  <a:pt x="1249" y="710"/>
                </a:lnTo>
                <a:lnTo>
                  <a:pt x="1251" y="709"/>
                </a:lnTo>
                <a:lnTo>
                  <a:pt x="1254" y="707"/>
                </a:lnTo>
                <a:lnTo>
                  <a:pt x="1257" y="706"/>
                </a:lnTo>
                <a:lnTo>
                  <a:pt x="1261" y="707"/>
                </a:lnTo>
                <a:lnTo>
                  <a:pt x="1264" y="709"/>
                </a:lnTo>
                <a:lnTo>
                  <a:pt x="1269" y="709"/>
                </a:lnTo>
                <a:lnTo>
                  <a:pt x="1271" y="709"/>
                </a:lnTo>
                <a:lnTo>
                  <a:pt x="1274" y="710"/>
                </a:lnTo>
                <a:lnTo>
                  <a:pt x="1277" y="711"/>
                </a:lnTo>
                <a:lnTo>
                  <a:pt x="1287" y="710"/>
                </a:lnTo>
                <a:lnTo>
                  <a:pt x="1297" y="707"/>
                </a:lnTo>
                <a:lnTo>
                  <a:pt x="1308" y="706"/>
                </a:lnTo>
                <a:lnTo>
                  <a:pt x="1321" y="706"/>
                </a:lnTo>
                <a:lnTo>
                  <a:pt x="1331" y="707"/>
                </a:lnTo>
                <a:lnTo>
                  <a:pt x="1343" y="707"/>
                </a:lnTo>
                <a:lnTo>
                  <a:pt x="1353" y="705"/>
                </a:lnTo>
                <a:lnTo>
                  <a:pt x="1363" y="702"/>
                </a:lnTo>
                <a:lnTo>
                  <a:pt x="1357" y="700"/>
                </a:lnTo>
                <a:lnTo>
                  <a:pt x="1353" y="695"/>
                </a:lnTo>
                <a:lnTo>
                  <a:pt x="1353" y="695"/>
                </a:lnTo>
                <a:lnTo>
                  <a:pt x="1353" y="695"/>
                </a:lnTo>
                <a:lnTo>
                  <a:pt x="1353" y="695"/>
                </a:lnTo>
                <a:lnTo>
                  <a:pt x="1357" y="694"/>
                </a:lnTo>
                <a:lnTo>
                  <a:pt x="1361" y="693"/>
                </a:lnTo>
                <a:lnTo>
                  <a:pt x="1363" y="694"/>
                </a:lnTo>
                <a:lnTo>
                  <a:pt x="1365" y="694"/>
                </a:lnTo>
                <a:lnTo>
                  <a:pt x="1368" y="695"/>
                </a:lnTo>
                <a:lnTo>
                  <a:pt x="1369" y="695"/>
                </a:lnTo>
                <a:lnTo>
                  <a:pt x="1369" y="694"/>
                </a:lnTo>
                <a:lnTo>
                  <a:pt x="1369" y="693"/>
                </a:lnTo>
                <a:lnTo>
                  <a:pt x="1373" y="690"/>
                </a:lnTo>
                <a:lnTo>
                  <a:pt x="1378" y="688"/>
                </a:lnTo>
                <a:lnTo>
                  <a:pt x="1388" y="685"/>
                </a:lnTo>
                <a:lnTo>
                  <a:pt x="1398" y="680"/>
                </a:lnTo>
                <a:lnTo>
                  <a:pt x="1407" y="676"/>
                </a:lnTo>
                <a:lnTo>
                  <a:pt x="1418" y="671"/>
                </a:lnTo>
                <a:lnTo>
                  <a:pt x="1420" y="671"/>
                </a:lnTo>
                <a:lnTo>
                  <a:pt x="1421" y="671"/>
                </a:lnTo>
                <a:lnTo>
                  <a:pt x="1420" y="672"/>
                </a:lnTo>
                <a:lnTo>
                  <a:pt x="1421" y="673"/>
                </a:lnTo>
                <a:lnTo>
                  <a:pt x="1421" y="674"/>
                </a:lnTo>
                <a:lnTo>
                  <a:pt x="1422" y="676"/>
                </a:lnTo>
                <a:lnTo>
                  <a:pt x="1422" y="677"/>
                </a:lnTo>
                <a:lnTo>
                  <a:pt x="1424" y="677"/>
                </a:lnTo>
                <a:lnTo>
                  <a:pt x="1427" y="674"/>
                </a:lnTo>
                <a:lnTo>
                  <a:pt x="1428" y="671"/>
                </a:lnTo>
                <a:lnTo>
                  <a:pt x="1428" y="667"/>
                </a:lnTo>
                <a:lnTo>
                  <a:pt x="1428" y="664"/>
                </a:lnTo>
                <a:lnTo>
                  <a:pt x="1428" y="660"/>
                </a:lnTo>
                <a:lnTo>
                  <a:pt x="1428" y="656"/>
                </a:lnTo>
                <a:lnTo>
                  <a:pt x="1429" y="654"/>
                </a:lnTo>
                <a:lnTo>
                  <a:pt x="1431" y="651"/>
                </a:lnTo>
                <a:lnTo>
                  <a:pt x="1434" y="646"/>
                </a:lnTo>
                <a:lnTo>
                  <a:pt x="1435" y="643"/>
                </a:lnTo>
                <a:lnTo>
                  <a:pt x="1435" y="638"/>
                </a:lnTo>
                <a:lnTo>
                  <a:pt x="1435" y="634"/>
                </a:lnTo>
                <a:lnTo>
                  <a:pt x="1431" y="627"/>
                </a:lnTo>
                <a:lnTo>
                  <a:pt x="1427" y="618"/>
                </a:lnTo>
                <a:lnTo>
                  <a:pt x="1424" y="613"/>
                </a:lnTo>
                <a:lnTo>
                  <a:pt x="1421" y="610"/>
                </a:lnTo>
                <a:lnTo>
                  <a:pt x="1419" y="609"/>
                </a:lnTo>
                <a:lnTo>
                  <a:pt x="1417" y="609"/>
                </a:lnTo>
                <a:lnTo>
                  <a:pt x="1414" y="611"/>
                </a:lnTo>
                <a:lnTo>
                  <a:pt x="1414" y="613"/>
                </a:lnTo>
                <a:lnTo>
                  <a:pt x="1415" y="615"/>
                </a:lnTo>
                <a:lnTo>
                  <a:pt x="1417" y="618"/>
                </a:lnTo>
                <a:lnTo>
                  <a:pt x="1418" y="620"/>
                </a:lnTo>
                <a:lnTo>
                  <a:pt x="1418" y="622"/>
                </a:lnTo>
                <a:lnTo>
                  <a:pt x="1417" y="624"/>
                </a:lnTo>
                <a:lnTo>
                  <a:pt x="1414" y="626"/>
                </a:lnTo>
                <a:lnTo>
                  <a:pt x="1406" y="626"/>
                </a:lnTo>
                <a:lnTo>
                  <a:pt x="1396" y="626"/>
                </a:lnTo>
                <a:lnTo>
                  <a:pt x="1391" y="627"/>
                </a:lnTo>
                <a:lnTo>
                  <a:pt x="1388" y="628"/>
                </a:lnTo>
                <a:lnTo>
                  <a:pt x="1387" y="629"/>
                </a:lnTo>
                <a:lnTo>
                  <a:pt x="1386" y="630"/>
                </a:lnTo>
                <a:lnTo>
                  <a:pt x="1386" y="632"/>
                </a:lnTo>
                <a:lnTo>
                  <a:pt x="1386" y="635"/>
                </a:lnTo>
                <a:lnTo>
                  <a:pt x="1388" y="631"/>
                </a:lnTo>
                <a:lnTo>
                  <a:pt x="1391" y="629"/>
                </a:lnTo>
                <a:lnTo>
                  <a:pt x="1394" y="630"/>
                </a:lnTo>
                <a:lnTo>
                  <a:pt x="1394" y="631"/>
                </a:lnTo>
                <a:lnTo>
                  <a:pt x="1391" y="634"/>
                </a:lnTo>
                <a:lnTo>
                  <a:pt x="1390" y="635"/>
                </a:lnTo>
                <a:lnTo>
                  <a:pt x="1387" y="637"/>
                </a:lnTo>
                <a:lnTo>
                  <a:pt x="1385" y="640"/>
                </a:lnTo>
                <a:lnTo>
                  <a:pt x="1386" y="643"/>
                </a:lnTo>
                <a:lnTo>
                  <a:pt x="1386" y="646"/>
                </a:lnTo>
                <a:lnTo>
                  <a:pt x="1380" y="648"/>
                </a:lnTo>
                <a:lnTo>
                  <a:pt x="1373" y="649"/>
                </a:lnTo>
                <a:lnTo>
                  <a:pt x="1366" y="649"/>
                </a:lnTo>
                <a:lnTo>
                  <a:pt x="1361" y="648"/>
                </a:lnTo>
                <a:lnTo>
                  <a:pt x="1356" y="646"/>
                </a:lnTo>
                <a:lnTo>
                  <a:pt x="1350" y="644"/>
                </a:lnTo>
                <a:lnTo>
                  <a:pt x="1349" y="643"/>
                </a:lnTo>
                <a:lnTo>
                  <a:pt x="1348" y="640"/>
                </a:lnTo>
                <a:lnTo>
                  <a:pt x="1347" y="638"/>
                </a:lnTo>
                <a:lnTo>
                  <a:pt x="1348" y="635"/>
                </a:lnTo>
                <a:lnTo>
                  <a:pt x="1345" y="638"/>
                </a:lnTo>
                <a:lnTo>
                  <a:pt x="1343" y="639"/>
                </a:lnTo>
                <a:lnTo>
                  <a:pt x="1339" y="639"/>
                </a:lnTo>
                <a:lnTo>
                  <a:pt x="1336" y="638"/>
                </a:lnTo>
                <a:lnTo>
                  <a:pt x="1330" y="636"/>
                </a:lnTo>
                <a:lnTo>
                  <a:pt x="1324" y="636"/>
                </a:lnTo>
                <a:lnTo>
                  <a:pt x="1319" y="637"/>
                </a:lnTo>
                <a:lnTo>
                  <a:pt x="1312" y="637"/>
                </a:lnTo>
                <a:lnTo>
                  <a:pt x="1311" y="634"/>
                </a:lnTo>
                <a:lnTo>
                  <a:pt x="1307" y="631"/>
                </a:lnTo>
                <a:lnTo>
                  <a:pt x="1302" y="630"/>
                </a:lnTo>
                <a:lnTo>
                  <a:pt x="1295" y="629"/>
                </a:lnTo>
                <a:lnTo>
                  <a:pt x="1288" y="628"/>
                </a:lnTo>
                <a:lnTo>
                  <a:pt x="1282" y="629"/>
                </a:lnTo>
                <a:lnTo>
                  <a:pt x="1281" y="631"/>
                </a:lnTo>
                <a:lnTo>
                  <a:pt x="1280" y="634"/>
                </a:lnTo>
                <a:lnTo>
                  <a:pt x="1278" y="635"/>
                </a:lnTo>
                <a:lnTo>
                  <a:pt x="1275" y="635"/>
                </a:lnTo>
                <a:lnTo>
                  <a:pt x="1274" y="631"/>
                </a:lnTo>
                <a:lnTo>
                  <a:pt x="1274" y="628"/>
                </a:lnTo>
                <a:lnTo>
                  <a:pt x="1271" y="626"/>
                </a:lnTo>
                <a:lnTo>
                  <a:pt x="1265" y="624"/>
                </a:lnTo>
                <a:lnTo>
                  <a:pt x="1261" y="623"/>
                </a:lnTo>
                <a:lnTo>
                  <a:pt x="1256" y="623"/>
                </a:lnTo>
                <a:lnTo>
                  <a:pt x="1241" y="622"/>
                </a:lnTo>
                <a:lnTo>
                  <a:pt x="1228" y="618"/>
                </a:lnTo>
                <a:lnTo>
                  <a:pt x="1223" y="619"/>
                </a:lnTo>
                <a:lnTo>
                  <a:pt x="1216" y="619"/>
                </a:lnTo>
                <a:lnTo>
                  <a:pt x="1213" y="619"/>
                </a:lnTo>
                <a:lnTo>
                  <a:pt x="1209" y="619"/>
                </a:lnTo>
                <a:lnTo>
                  <a:pt x="1207" y="619"/>
                </a:lnTo>
                <a:lnTo>
                  <a:pt x="1206" y="618"/>
                </a:lnTo>
                <a:lnTo>
                  <a:pt x="1205" y="615"/>
                </a:lnTo>
                <a:lnTo>
                  <a:pt x="1205" y="614"/>
                </a:lnTo>
                <a:lnTo>
                  <a:pt x="1207" y="613"/>
                </a:lnTo>
                <a:lnTo>
                  <a:pt x="1208" y="613"/>
                </a:lnTo>
                <a:lnTo>
                  <a:pt x="1218" y="613"/>
                </a:lnTo>
                <a:lnTo>
                  <a:pt x="1229" y="613"/>
                </a:lnTo>
                <a:lnTo>
                  <a:pt x="1238" y="612"/>
                </a:lnTo>
                <a:lnTo>
                  <a:pt x="1246" y="612"/>
                </a:lnTo>
                <a:lnTo>
                  <a:pt x="1253" y="613"/>
                </a:lnTo>
                <a:lnTo>
                  <a:pt x="1259" y="613"/>
                </a:lnTo>
                <a:lnTo>
                  <a:pt x="1266" y="612"/>
                </a:lnTo>
                <a:lnTo>
                  <a:pt x="1273" y="610"/>
                </a:lnTo>
                <a:lnTo>
                  <a:pt x="1281" y="609"/>
                </a:lnTo>
                <a:lnTo>
                  <a:pt x="1290" y="609"/>
                </a:lnTo>
                <a:lnTo>
                  <a:pt x="1307" y="606"/>
                </a:lnTo>
                <a:lnTo>
                  <a:pt x="1323" y="603"/>
                </a:lnTo>
                <a:lnTo>
                  <a:pt x="1339" y="598"/>
                </a:lnTo>
                <a:lnTo>
                  <a:pt x="1355" y="594"/>
                </a:lnTo>
                <a:lnTo>
                  <a:pt x="1371" y="589"/>
                </a:lnTo>
                <a:lnTo>
                  <a:pt x="1386" y="584"/>
                </a:lnTo>
                <a:lnTo>
                  <a:pt x="1402" y="578"/>
                </a:lnTo>
                <a:lnTo>
                  <a:pt x="1418" y="573"/>
                </a:lnTo>
                <a:lnTo>
                  <a:pt x="1432" y="570"/>
                </a:lnTo>
                <a:lnTo>
                  <a:pt x="1447" y="566"/>
                </a:lnTo>
                <a:lnTo>
                  <a:pt x="1454" y="562"/>
                </a:lnTo>
                <a:lnTo>
                  <a:pt x="1461" y="557"/>
                </a:lnTo>
                <a:lnTo>
                  <a:pt x="1467" y="552"/>
                </a:lnTo>
                <a:lnTo>
                  <a:pt x="1472" y="546"/>
                </a:lnTo>
                <a:lnTo>
                  <a:pt x="1475" y="544"/>
                </a:lnTo>
                <a:lnTo>
                  <a:pt x="1477" y="541"/>
                </a:lnTo>
                <a:lnTo>
                  <a:pt x="1476" y="540"/>
                </a:lnTo>
                <a:lnTo>
                  <a:pt x="1475" y="540"/>
                </a:lnTo>
                <a:lnTo>
                  <a:pt x="1473" y="539"/>
                </a:lnTo>
                <a:lnTo>
                  <a:pt x="1471" y="538"/>
                </a:lnTo>
                <a:lnTo>
                  <a:pt x="1472" y="537"/>
                </a:lnTo>
                <a:lnTo>
                  <a:pt x="1472" y="535"/>
                </a:lnTo>
                <a:lnTo>
                  <a:pt x="1472" y="532"/>
                </a:lnTo>
                <a:lnTo>
                  <a:pt x="1472" y="529"/>
                </a:lnTo>
                <a:lnTo>
                  <a:pt x="1471" y="527"/>
                </a:lnTo>
                <a:lnTo>
                  <a:pt x="1469" y="524"/>
                </a:lnTo>
                <a:lnTo>
                  <a:pt x="1464" y="522"/>
                </a:lnTo>
                <a:lnTo>
                  <a:pt x="1460" y="519"/>
                </a:lnTo>
                <a:lnTo>
                  <a:pt x="1459" y="516"/>
                </a:lnTo>
                <a:lnTo>
                  <a:pt x="1459" y="514"/>
                </a:lnTo>
                <a:lnTo>
                  <a:pt x="1461" y="511"/>
                </a:lnTo>
                <a:lnTo>
                  <a:pt x="1464" y="509"/>
                </a:lnTo>
                <a:lnTo>
                  <a:pt x="1471" y="504"/>
                </a:lnTo>
                <a:lnTo>
                  <a:pt x="1477" y="501"/>
                </a:lnTo>
                <a:lnTo>
                  <a:pt x="1479" y="498"/>
                </a:lnTo>
                <a:lnTo>
                  <a:pt x="1481" y="496"/>
                </a:lnTo>
                <a:lnTo>
                  <a:pt x="1483" y="494"/>
                </a:lnTo>
                <a:lnTo>
                  <a:pt x="1484" y="490"/>
                </a:lnTo>
                <a:lnTo>
                  <a:pt x="1484" y="487"/>
                </a:lnTo>
                <a:lnTo>
                  <a:pt x="1483" y="485"/>
                </a:lnTo>
                <a:lnTo>
                  <a:pt x="1480" y="483"/>
                </a:lnTo>
                <a:lnTo>
                  <a:pt x="1477" y="481"/>
                </a:lnTo>
                <a:lnTo>
                  <a:pt x="1477" y="481"/>
                </a:lnTo>
                <a:lnTo>
                  <a:pt x="1477" y="481"/>
                </a:lnTo>
                <a:close/>
                <a:moveTo>
                  <a:pt x="546" y="357"/>
                </a:moveTo>
                <a:lnTo>
                  <a:pt x="544" y="358"/>
                </a:lnTo>
                <a:lnTo>
                  <a:pt x="542" y="360"/>
                </a:lnTo>
                <a:lnTo>
                  <a:pt x="542" y="361"/>
                </a:lnTo>
                <a:lnTo>
                  <a:pt x="546" y="362"/>
                </a:lnTo>
                <a:lnTo>
                  <a:pt x="548" y="361"/>
                </a:lnTo>
                <a:lnTo>
                  <a:pt x="550" y="360"/>
                </a:lnTo>
                <a:lnTo>
                  <a:pt x="549" y="358"/>
                </a:lnTo>
                <a:lnTo>
                  <a:pt x="546" y="357"/>
                </a:lnTo>
                <a:lnTo>
                  <a:pt x="546" y="357"/>
                </a:lnTo>
                <a:lnTo>
                  <a:pt x="546" y="357"/>
                </a:lnTo>
                <a:close/>
                <a:moveTo>
                  <a:pt x="408" y="336"/>
                </a:moveTo>
                <a:lnTo>
                  <a:pt x="412" y="337"/>
                </a:lnTo>
                <a:lnTo>
                  <a:pt x="415" y="336"/>
                </a:lnTo>
                <a:lnTo>
                  <a:pt x="418" y="336"/>
                </a:lnTo>
                <a:lnTo>
                  <a:pt x="423" y="333"/>
                </a:lnTo>
                <a:lnTo>
                  <a:pt x="418" y="333"/>
                </a:lnTo>
                <a:lnTo>
                  <a:pt x="415" y="333"/>
                </a:lnTo>
                <a:lnTo>
                  <a:pt x="412" y="333"/>
                </a:lnTo>
                <a:lnTo>
                  <a:pt x="408" y="336"/>
                </a:lnTo>
                <a:close/>
                <a:moveTo>
                  <a:pt x="643" y="373"/>
                </a:moveTo>
                <a:lnTo>
                  <a:pt x="645" y="377"/>
                </a:lnTo>
                <a:lnTo>
                  <a:pt x="648" y="378"/>
                </a:lnTo>
                <a:lnTo>
                  <a:pt x="653" y="378"/>
                </a:lnTo>
                <a:lnTo>
                  <a:pt x="656" y="378"/>
                </a:lnTo>
                <a:lnTo>
                  <a:pt x="653" y="374"/>
                </a:lnTo>
                <a:lnTo>
                  <a:pt x="651" y="370"/>
                </a:lnTo>
                <a:lnTo>
                  <a:pt x="653" y="370"/>
                </a:lnTo>
                <a:lnTo>
                  <a:pt x="656" y="371"/>
                </a:lnTo>
                <a:lnTo>
                  <a:pt x="660" y="373"/>
                </a:lnTo>
                <a:lnTo>
                  <a:pt x="662" y="374"/>
                </a:lnTo>
                <a:lnTo>
                  <a:pt x="665" y="374"/>
                </a:lnTo>
                <a:lnTo>
                  <a:pt x="670" y="374"/>
                </a:lnTo>
                <a:lnTo>
                  <a:pt x="674" y="374"/>
                </a:lnTo>
                <a:lnTo>
                  <a:pt x="677" y="377"/>
                </a:lnTo>
                <a:lnTo>
                  <a:pt x="677" y="378"/>
                </a:lnTo>
                <a:lnTo>
                  <a:pt x="677" y="379"/>
                </a:lnTo>
                <a:lnTo>
                  <a:pt x="676" y="380"/>
                </a:lnTo>
                <a:lnTo>
                  <a:pt x="674" y="380"/>
                </a:lnTo>
                <a:lnTo>
                  <a:pt x="670" y="380"/>
                </a:lnTo>
                <a:lnTo>
                  <a:pt x="666" y="381"/>
                </a:lnTo>
                <a:lnTo>
                  <a:pt x="671" y="383"/>
                </a:lnTo>
                <a:lnTo>
                  <a:pt x="677" y="385"/>
                </a:lnTo>
                <a:lnTo>
                  <a:pt x="682" y="386"/>
                </a:lnTo>
                <a:lnTo>
                  <a:pt x="687" y="386"/>
                </a:lnTo>
                <a:lnTo>
                  <a:pt x="686" y="383"/>
                </a:lnTo>
                <a:lnTo>
                  <a:pt x="684" y="381"/>
                </a:lnTo>
                <a:lnTo>
                  <a:pt x="682" y="380"/>
                </a:lnTo>
                <a:lnTo>
                  <a:pt x="684" y="380"/>
                </a:lnTo>
                <a:lnTo>
                  <a:pt x="685" y="380"/>
                </a:lnTo>
                <a:lnTo>
                  <a:pt x="687" y="380"/>
                </a:lnTo>
                <a:lnTo>
                  <a:pt x="690" y="381"/>
                </a:lnTo>
                <a:lnTo>
                  <a:pt x="693" y="382"/>
                </a:lnTo>
                <a:lnTo>
                  <a:pt x="694" y="382"/>
                </a:lnTo>
                <a:lnTo>
                  <a:pt x="695" y="383"/>
                </a:lnTo>
                <a:lnTo>
                  <a:pt x="697" y="382"/>
                </a:lnTo>
                <a:lnTo>
                  <a:pt x="698" y="381"/>
                </a:lnTo>
                <a:lnTo>
                  <a:pt x="690" y="378"/>
                </a:lnTo>
                <a:lnTo>
                  <a:pt x="682" y="374"/>
                </a:lnTo>
                <a:lnTo>
                  <a:pt x="676" y="372"/>
                </a:lnTo>
                <a:lnTo>
                  <a:pt x="669" y="372"/>
                </a:lnTo>
                <a:lnTo>
                  <a:pt x="663" y="370"/>
                </a:lnTo>
                <a:lnTo>
                  <a:pt x="659" y="366"/>
                </a:lnTo>
                <a:lnTo>
                  <a:pt x="656" y="365"/>
                </a:lnTo>
                <a:lnTo>
                  <a:pt x="654" y="365"/>
                </a:lnTo>
                <a:lnTo>
                  <a:pt x="652" y="366"/>
                </a:lnTo>
                <a:lnTo>
                  <a:pt x="648" y="369"/>
                </a:lnTo>
                <a:lnTo>
                  <a:pt x="648" y="365"/>
                </a:lnTo>
                <a:lnTo>
                  <a:pt x="651" y="363"/>
                </a:lnTo>
                <a:lnTo>
                  <a:pt x="652" y="362"/>
                </a:lnTo>
                <a:lnTo>
                  <a:pt x="653" y="361"/>
                </a:lnTo>
                <a:lnTo>
                  <a:pt x="654" y="358"/>
                </a:lnTo>
                <a:lnTo>
                  <a:pt x="654" y="358"/>
                </a:lnTo>
                <a:lnTo>
                  <a:pt x="653" y="357"/>
                </a:lnTo>
                <a:lnTo>
                  <a:pt x="653" y="357"/>
                </a:lnTo>
                <a:lnTo>
                  <a:pt x="649" y="357"/>
                </a:lnTo>
                <a:lnTo>
                  <a:pt x="646" y="357"/>
                </a:lnTo>
                <a:lnTo>
                  <a:pt x="644" y="356"/>
                </a:lnTo>
                <a:lnTo>
                  <a:pt x="643" y="357"/>
                </a:lnTo>
                <a:lnTo>
                  <a:pt x="640" y="358"/>
                </a:lnTo>
                <a:lnTo>
                  <a:pt x="637" y="360"/>
                </a:lnTo>
                <a:lnTo>
                  <a:pt x="632" y="358"/>
                </a:lnTo>
                <a:lnTo>
                  <a:pt x="630" y="357"/>
                </a:lnTo>
                <a:lnTo>
                  <a:pt x="630" y="356"/>
                </a:lnTo>
                <a:lnTo>
                  <a:pt x="630" y="354"/>
                </a:lnTo>
                <a:lnTo>
                  <a:pt x="620" y="353"/>
                </a:lnTo>
                <a:lnTo>
                  <a:pt x="610" y="352"/>
                </a:lnTo>
                <a:lnTo>
                  <a:pt x="599" y="350"/>
                </a:lnTo>
                <a:lnTo>
                  <a:pt x="589" y="350"/>
                </a:lnTo>
                <a:lnTo>
                  <a:pt x="586" y="350"/>
                </a:lnTo>
                <a:lnTo>
                  <a:pt x="582" y="349"/>
                </a:lnTo>
                <a:lnTo>
                  <a:pt x="580" y="347"/>
                </a:lnTo>
                <a:lnTo>
                  <a:pt x="577" y="346"/>
                </a:lnTo>
                <a:lnTo>
                  <a:pt x="572" y="345"/>
                </a:lnTo>
                <a:lnTo>
                  <a:pt x="569" y="346"/>
                </a:lnTo>
                <a:lnTo>
                  <a:pt x="564" y="346"/>
                </a:lnTo>
                <a:lnTo>
                  <a:pt x="561" y="347"/>
                </a:lnTo>
                <a:lnTo>
                  <a:pt x="566" y="349"/>
                </a:lnTo>
                <a:lnTo>
                  <a:pt x="573" y="350"/>
                </a:lnTo>
                <a:lnTo>
                  <a:pt x="577" y="352"/>
                </a:lnTo>
                <a:lnTo>
                  <a:pt x="579" y="354"/>
                </a:lnTo>
                <a:lnTo>
                  <a:pt x="581" y="354"/>
                </a:lnTo>
                <a:lnTo>
                  <a:pt x="585" y="354"/>
                </a:lnTo>
                <a:lnTo>
                  <a:pt x="591" y="354"/>
                </a:lnTo>
                <a:lnTo>
                  <a:pt x="598" y="355"/>
                </a:lnTo>
                <a:lnTo>
                  <a:pt x="602" y="355"/>
                </a:lnTo>
                <a:lnTo>
                  <a:pt x="605" y="356"/>
                </a:lnTo>
                <a:lnTo>
                  <a:pt x="608" y="355"/>
                </a:lnTo>
                <a:lnTo>
                  <a:pt x="612" y="354"/>
                </a:lnTo>
                <a:lnTo>
                  <a:pt x="616" y="356"/>
                </a:lnTo>
                <a:lnTo>
                  <a:pt x="620" y="360"/>
                </a:lnTo>
                <a:lnTo>
                  <a:pt x="624" y="362"/>
                </a:lnTo>
                <a:lnTo>
                  <a:pt x="630" y="364"/>
                </a:lnTo>
                <a:lnTo>
                  <a:pt x="631" y="364"/>
                </a:lnTo>
                <a:lnTo>
                  <a:pt x="635" y="365"/>
                </a:lnTo>
                <a:lnTo>
                  <a:pt x="636" y="365"/>
                </a:lnTo>
                <a:lnTo>
                  <a:pt x="637" y="368"/>
                </a:lnTo>
                <a:lnTo>
                  <a:pt x="635" y="369"/>
                </a:lnTo>
                <a:lnTo>
                  <a:pt x="631" y="370"/>
                </a:lnTo>
                <a:lnTo>
                  <a:pt x="627" y="369"/>
                </a:lnTo>
                <a:lnTo>
                  <a:pt x="624" y="369"/>
                </a:lnTo>
                <a:lnTo>
                  <a:pt x="627" y="371"/>
                </a:lnTo>
                <a:lnTo>
                  <a:pt x="630" y="372"/>
                </a:lnTo>
                <a:lnTo>
                  <a:pt x="632" y="373"/>
                </a:lnTo>
                <a:lnTo>
                  <a:pt x="636" y="373"/>
                </a:lnTo>
                <a:lnTo>
                  <a:pt x="637" y="373"/>
                </a:lnTo>
                <a:lnTo>
                  <a:pt x="639" y="372"/>
                </a:lnTo>
                <a:lnTo>
                  <a:pt x="641" y="372"/>
                </a:lnTo>
                <a:lnTo>
                  <a:pt x="643" y="373"/>
                </a:lnTo>
                <a:lnTo>
                  <a:pt x="644" y="375"/>
                </a:lnTo>
                <a:lnTo>
                  <a:pt x="643" y="373"/>
                </a:lnTo>
                <a:close/>
                <a:moveTo>
                  <a:pt x="330" y="76"/>
                </a:moveTo>
                <a:lnTo>
                  <a:pt x="331" y="75"/>
                </a:lnTo>
                <a:lnTo>
                  <a:pt x="332" y="73"/>
                </a:lnTo>
                <a:lnTo>
                  <a:pt x="332" y="71"/>
                </a:lnTo>
                <a:lnTo>
                  <a:pt x="331" y="70"/>
                </a:lnTo>
                <a:lnTo>
                  <a:pt x="328" y="71"/>
                </a:lnTo>
                <a:lnTo>
                  <a:pt x="327" y="73"/>
                </a:lnTo>
                <a:lnTo>
                  <a:pt x="327" y="74"/>
                </a:lnTo>
                <a:lnTo>
                  <a:pt x="327" y="75"/>
                </a:lnTo>
                <a:lnTo>
                  <a:pt x="328" y="75"/>
                </a:lnTo>
                <a:lnTo>
                  <a:pt x="330" y="76"/>
                </a:lnTo>
                <a:lnTo>
                  <a:pt x="330" y="76"/>
                </a:lnTo>
                <a:lnTo>
                  <a:pt x="330" y="76"/>
                </a:lnTo>
                <a:close/>
                <a:moveTo>
                  <a:pt x="314" y="89"/>
                </a:moveTo>
                <a:lnTo>
                  <a:pt x="316" y="88"/>
                </a:lnTo>
                <a:lnTo>
                  <a:pt x="317" y="87"/>
                </a:lnTo>
                <a:lnTo>
                  <a:pt x="317" y="86"/>
                </a:lnTo>
                <a:lnTo>
                  <a:pt x="315" y="84"/>
                </a:lnTo>
                <a:lnTo>
                  <a:pt x="311" y="86"/>
                </a:lnTo>
                <a:lnTo>
                  <a:pt x="310" y="87"/>
                </a:lnTo>
                <a:lnTo>
                  <a:pt x="311" y="89"/>
                </a:lnTo>
                <a:lnTo>
                  <a:pt x="314" y="89"/>
                </a:lnTo>
                <a:lnTo>
                  <a:pt x="314" y="89"/>
                </a:lnTo>
                <a:lnTo>
                  <a:pt x="314" y="89"/>
                </a:lnTo>
                <a:close/>
                <a:moveTo>
                  <a:pt x="764" y="84"/>
                </a:moveTo>
                <a:lnTo>
                  <a:pt x="766" y="83"/>
                </a:lnTo>
                <a:lnTo>
                  <a:pt x="766" y="82"/>
                </a:lnTo>
                <a:lnTo>
                  <a:pt x="764" y="80"/>
                </a:lnTo>
                <a:lnTo>
                  <a:pt x="764" y="79"/>
                </a:lnTo>
                <a:lnTo>
                  <a:pt x="762" y="78"/>
                </a:lnTo>
                <a:lnTo>
                  <a:pt x="761" y="79"/>
                </a:lnTo>
                <a:lnTo>
                  <a:pt x="760" y="79"/>
                </a:lnTo>
                <a:lnTo>
                  <a:pt x="760" y="80"/>
                </a:lnTo>
                <a:lnTo>
                  <a:pt x="760" y="82"/>
                </a:lnTo>
                <a:lnTo>
                  <a:pt x="761" y="83"/>
                </a:lnTo>
                <a:lnTo>
                  <a:pt x="762" y="83"/>
                </a:lnTo>
                <a:lnTo>
                  <a:pt x="764" y="84"/>
                </a:lnTo>
                <a:lnTo>
                  <a:pt x="763" y="84"/>
                </a:lnTo>
                <a:lnTo>
                  <a:pt x="764" y="84"/>
                </a:lnTo>
                <a:close/>
                <a:moveTo>
                  <a:pt x="751" y="80"/>
                </a:moveTo>
                <a:lnTo>
                  <a:pt x="751" y="79"/>
                </a:lnTo>
                <a:lnTo>
                  <a:pt x="750" y="76"/>
                </a:lnTo>
                <a:lnTo>
                  <a:pt x="747" y="75"/>
                </a:lnTo>
                <a:lnTo>
                  <a:pt x="746" y="75"/>
                </a:lnTo>
                <a:lnTo>
                  <a:pt x="746" y="76"/>
                </a:lnTo>
                <a:lnTo>
                  <a:pt x="747" y="79"/>
                </a:lnTo>
                <a:lnTo>
                  <a:pt x="745" y="80"/>
                </a:lnTo>
                <a:lnTo>
                  <a:pt x="744" y="81"/>
                </a:lnTo>
                <a:lnTo>
                  <a:pt x="745" y="81"/>
                </a:lnTo>
                <a:lnTo>
                  <a:pt x="747" y="82"/>
                </a:lnTo>
                <a:lnTo>
                  <a:pt x="748" y="82"/>
                </a:lnTo>
                <a:lnTo>
                  <a:pt x="751" y="80"/>
                </a:lnTo>
                <a:lnTo>
                  <a:pt x="750" y="80"/>
                </a:lnTo>
                <a:lnTo>
                  <a:pt x="751" y="80"/>
                </a:lnTo>
                <a:close/>
                <a:moveTo>
                  <a:pt x="1216" y="0"/>
                </a:moveTo>
                <a:lnTo>
                  <a:pt x="1217" y="0"/>
                </a:lnTo>
                <a:lnTo>
                  <a:pt x="1216" y="0"/>
                </a:lnTo>
                <a:lnTo>
                  <a:pt x="1216" y="0"/>
                </a:lnTo>
                <a:lnTo>
                  <a:pt x="1216" y="0"/>
                </a:lnTo>
                <a:close/>
                <a:moveTo>
                  <a:pt x="1479" y="354"/>
                </a:moveTo>
                <a:lnTo>
                  <a:pt x="1479" y="353"/>
                </a:lnTo>
                <a:lnTo>
                  <a:pt x="1479" y="352"/>
                </a:lnTo>
                <a:lnTo>
                  <a:pt x="1478" y="353"/>
                </a:lnTo>
                <a:lnTo>
                  <a:pt x="1479" y="354"/>
                </a:lnTo>
                <a:lnTo>
                  <a:pt x="1479" y="354"/>
                </a:lnTo>
                <a:lnTo>
                  <a:pt x="1479" y="354"/>
                </a:lnTo>
                <a:close/>
                <a:moveTo>
                  <a:pt x="70" y="612"/>
                </a:moveTo>
                <a:lnTo>
                  <a:pt x="69" y="613"/>
                </a:lnTo>
                <a:lnTo>
                  <a:pt x="70" y="613"/>
                </a:lnTo>
                <a:lnTo>
                  <a:pt x="71" y="613"/>
                </a:lnTo>
                <a:lnTo>
                  <a:pt x="72" y="613"/>
                </a:lnTo>
                <a:lnTo>
                  <a:pt x="75" y="611"/>
                </a:lnTo>
                <a:lnTo>
                  <a:pt x="77" y="609"/>
                </a:lnTo>
                <a:lnTo>
                  <a:pt x="74" y="607"/>
                </a:lnTo>
                <a:lnTo>
                  <a:pt x="72" y="609"/>
                </a:lnTo>
                <a:lnTo>
                  <a:pt x="71" y="610"/>
                </a:lnTo>
                <a:lnTo>
                  <a:pt x="70" y="612"/>
                </a:lnTo>
                <a:lnTo>
                  <a:pt x="70" y="612"/>
                </a:lnTo>
                <a:lnTo>
                  <a:pt x="70" y="612"/>
                </a:lnTo>
                <a:close/>
                <a:moveTo>
                  <a:pt x="257" y="476"/>
                </a:moveTo>
                <a:lnTo>
                  <a:pt x="253" y="476"/>
                </a:lnTo>
                <a:lnTo>
                  <a:pt x="251" y="476"/>
                </a:lnTo>
                <a:lnTo>
                  <a:pt x="249" y="477"/>
                </a:lnTo>
                <a:lnTo>
                  <a:pt x="245" y="479"/>
                </a:lnTo>
                <a:lnTo>
                  <a:pt x="249" y="479"/>
                </a:lnTo>
                <a:lnTo>
                  <a:pt x="252" y="479"/>
                </a:lnTo>
                <a:lnTo>
                  <a:pt x="254" y="478"/>
                </a:lnTo>
                <a:lnTo>
                  <a:pt x="257" y="476"/>
                </a:lnTo>
                <a:close/>
                <a:moveTo>
                  <a:pt x="83" y="211"/>
                </a:moveTo>
                <a:lnTo>
                  <a:pt x="81" y="211"/>
                </a:lnTo>
                <a:lnTo>
                  <a:pt x="78" y="212"/>
                </a:lnTo>
                <a:lnTo>
                  <a:pt x="76" y="215"/>
                </a:lnTo>
                <a:lnTo>
                  <a:pt x="75" y="217"/>
                </a:lnTo>
                <a:lnTo>
                  <a:pt x="77" y="216"/>
                </a:lnTo>
                <a:lnTo>
                  <a:pt x="79" y="215"/>
                </a:lnTo>
                <a:lnTo>
                  <a:pt x="81" y="213"/>
                </a:lnTo>
                <a:lnTo>
                  <a:pt x="83" y="211"/>
                </a:lnTo>
                <a:lnTo>
                  <a:pt x="83" y="211"/>
                </a:lnTo>
                <a:lnTo>
                  <a:pt x="83" y="211"/>
                </a:lnTo>
                <a:close/>
                <a:moveTo>
                  <a:pt x="599" y="527"/>
                </a:moveTo>
                <a:lnTo>
                  <a:pt x="599" y="529"/>
                </a:lnTo>
                <a:lnTo>
                  <a:pt x="599" y="532"/>
                </a:lnTo>
                <a:lnTo>
                  <a:pt x="600" y="535"/>
                </a:lnTo>
                <a:lnTo>
                  <a:pt x="600" y="536"/>
                </a:lnTo>
                <a:lnTo>
                  <a:pt x="602" y="536"/>
                </a:lnTo>
                <a:lnTo>
                  <a:pt x="603" y="535"/>
                </a:lnTo>
                <a:lnTo>
                  <a:pt x="604" y="532"/>
                </a:lnTo>
                <a:lnTo>
                  <a:pt x="603" y="530"/>
                </a:lnTo>
                <a:lnTo>
                  <a:pt x="602" y="528"/>
                </a:lnTo>
                <a:lnTo>
                  <a:pt x="599" y="527"/>
                </a:lnTo>
                <a:lnTo>
                  <a:pt x="600" y="528"/>
                </a:lnTo>
                <a:lnTo>
                  <a:pt x="599" y="527"/>
                </a:lnTo>
                <a:close/>
                <a:moveTo>
                  <a:pt x="267" y="505"/>
                </a:moveTo>
                <a:lnTo>
                  <a:pt x="265" y="503"/>
                </a:lnTo>
                <a:lnTo>
                  <a:pt x="262" y="502"/>
                </a:lnTo>
                <a:lnTo>
                  <a:pt x="261" y="502"/>
                </a:lnTo>
                <a:lnTo>
                  <a:pt x="260" y="502"/>
                </a:lnTo>
                <a:lnTo>
                  <a:pt x="259" y="503"/>
                </a:lnTo>
                <a:lnTo>
                  <a:pt x="259" y="504"/>
                </a:lnTo>
                <a:lnTo>
                  <a:pt x="259" y="506"/>
                </a:lnTo>
                <a:lnTo>
                  <a:pt x="260" y="506"/>
                </a:lnTo>
                <a:lnTo>
                  <a:pt x="261" y="506"/>
                </a:lnTo>
                <a:lnTo>
                  <a:pt x="262" y="506"/>
                </a:lnTo>
                <a:lnTo>
                  <a:pt x="265" y="505"/>
                </a:lnTo>
                <a:lnTo>
                  <a:pt x="267" y="505"/>
                </a:lnTo>
                <a:lnTo>
                  <a:pt x="265" y="504"/>
                </a:lnTo>
                <a:lnTo>
                  <a:pt x="267" y="505"/>
                </a:lnTo>
                <a:close/>
                <a:moveTo>
                  <a:pt x="336" y="445"/>
                </a:moveTo>
                <a:lnTo>
                  <a:pt x="341" y="444"/>
                </a:lnTo>
                <a:lnTo>
                  <a:pt x="343" y="441"/>
                </a:lnTo>
                <a:lnTo>
                  <a:pt x="339" y="441"/>
                </a:lnTo>
                <a:lnTo>
                  <a:pt x="334" y="441"/>
                </a:lnTo>
                <a:lnTo>
                  <a:pt x="333" y="443"/>
                </a:lnTo>
                <a:lnTo>
                  <a:pt x="334" y="444"/>
                </a:lnTo>
                <a:lnTo>
                  <a:pt x="335" y="445"/>
                </a:lnTo>
                <a:lnTo>
                  <a:pt x="336" y="445"/>
                </a:lnTo>
                <a:lnTo>
                  <a:pt x="336" y="445"/>
                </a:lnTo>
                <a:lnTo>
                  <a:pt x="336" y="445"/>
                </a:lnTo>
                <a:close/>
                <a:moveTo>
                  <a:pt x="261" y="530"/>
                </a:moveTo>
                <a:lnTo>
                  <a:pt x="261" y="531"/>
                </a:lnTo>
                <a:lnTo>
                  <a:pt x="261" y="530"/>
                </a:lnTo>
                <a:lnTo>
                  <a:pt x="261" y="527"/>
                </a:lnTo>
                <a:lnTo>
                  <a:pt x="261" y="523"/>
                </a:lnTo>
                <a:lnTo>
                  <a:pt x="260" y="526"/>
                </a:lnTo>
                <a:lnTo>
                  <a:pt x="261" y="523"/>
                </a:lnTo>
                <a:lnTo>
                  <a:pt x="257" y="526"/>
                </a:lnTo>
                <a:lnTo>
                  <a:pt x="253" y="527"/>
                </a:lnTo>
                <a:lnTo>
                  <a:pt x="257" y="529"/>
                </a:lnTo>
                <a:lnTo>
                  <a:pt x="261" y="530"/>
                </a:lnTo>
                <a:close/>
                <a:moveTo>
                  <a:pt x="944" y="664"/>
                </a:moveTo>
                <a:lnTo>
                  <a:pt x="945" y="667"/>
                </a:lnTo>
                <a:lnTo>
                  <a:pt x="949" y="669"/>
                </a:lnTo>
                <a:lnTo>
                  <a:pt x="952" y="669"/>
                </a:lnTo>
                <a:lnTo>
                  <a:pt x="957" y="668"/>
                </a:lnTo>
                <a:lnTo>
                  <a:pt x="953" y="665"/>
                </a:lnTo>
                <a:lnTo>
                  <a:pt x="951" y="665"/>
                </a:lnTo>
                <a:lnTo>
                  <a:pt x="948" y="664"/>
                </a:lnTo>
                <a:lnTo>
                  <a:pt x="944" y="664"/>
                </a:lnTo>
                <a:lnTo>
                  <a:pt x="946" y="664"/>
                </a:lnTo>
                <a:lnTo>
                  <a:pt x="944" y="664"/>
                </a:lnTo>
                <a:close/>
                <a:moveTo>
                  <a:pt x="81" y="220"/>
                </a:moveTo>
                <a:lnTo>
                  <a:pt x="84" y="220"/>
                </a:lnTo>
                <a:lnTo>
                  <a:pt x="86" y="219"/>
                </a:lnTo>
                <a:lnTo>
                  <a:pt x="88" y="216"/>
                </a:lnTo>
                <a:lnTo>
                  <a:pt x="89" y="214"/>
                </a:lnTo>
                <a:lnTo>
                  <a:pt x="86" y="214"/>
                </a:lnTo>
                <a:lnTo>
                  <a:pt x="83" y="216"/>
                </a:lnTo>
                <a:lnTo>
                  <a:pt x="81" y="216"/>
                </a:lnTo>
                <a:lnTo>
                  <a:pt x="80" y="217"/>
                </a:lnTo>
                <a:lnTo>
                  <a:pt x="80" y="219"/>
                </a:lnTo>
                <a:lnTo>
                  <a:pt x="81" y="220"/>
                </a:lnTo>
                <a:lnTo>
                  <a:pt x="81" y="221"/>
                </a:lnTo>
                <a:lnTo>
                  <a:pt x="81" y="220"/>
                </a:lnTo>
                <a:close/>
                <a:moveTo>
                  <a:pt x="315" y="58"/>
                </a:moveTo>
                <a:lnTo>
                  <a:pt x="317" y="57"/>
                </a:lnTo>
                <a:lnTo>
                  <a:pt x="317" y="56"/>
                </a:lnTo>
                <a:lnTo>
                  <a:pt x="316" y="55"/>
                </a:lnTo>
                <a:lnTo>
                  <a:pt x="315" y="54"/>
                </a:lnTo>
                <a:lnTo>
                  <a:pt x="311" y="54"/>
                </a:lnTo>
                <a:lnTo>
                  <a:pt x="309" y="55"/>
                </a:lnTo>
                <a:lnTo>
                  <a:pt x="307" y="56"/>
                </a:lnTo>
                <a:lnTo>
                  <a:pt x="306" y="58"/>
                </a:lnTo>
                <a:lnTo>
                  <a:pt x="310" y="58"/>
                </a:lnTo>
                <a:lnTo>
                  <a:pt x="315" y="58"/>
                </a:lnTo>
                <a:lnTo>
                  <a:pt x="315" y="58"/>
                </a:lnTo>
                <a:lnTo>
                  <a:pt x="315" y="58"/>
                </a:lnTo>
                <a:close/>
                <a:moveTo>
                  <a:pt x="149" y="577"/>
                </a:moveTo>
                <a:lnTo>
                  <a:pt x="146" y="578"/>
                </a:lnTo>
                <a:lnTo>
                  <a:pt x="144" y="579"/>
                </a:lnTo>
                <a:lnTo>
                  <a:pt x="144" y="581"/>
                </a:lnTo>
                <a:lnTo>
                  <a:pt x="144" y="584"/>
                </a:lnTo>
                <a:lnTo>
                  <a:pt x="145" y="582"/>
                </a:lnTo>
                <a:lnTo>
                  <a:pt x="146" y="580"/>
                </a:lnTo>
                <a:lnTo>
                  <a:pt x="149" y="580"/>
                </a:lnTo>
                <a:lnTo>
                  <a:pt x="151" y="580"/>
                </a:lnTo>
                <a:lnTo>
                  <a:pt x="152" y="579"/>
                </a:lnTo>
                <a:lnTo>
                  <a:pt x="151" y="578"/>
                </a:lnTo>
                <a:lnTo>
                  <a:pt x="151" y="577"/>
                </a:lnTo>
                <a:lnTo>
                  <a:pt x="149" y="577"/>
                </a:lnTo>
                <a:lnTo>
                  <a:pt x="147" y="577"/>
                </a:lnTo>
                <a:lnTo>
                  <a:pt x="149" y="577"/>
                </a:lnTo>
                <a:close/>
                <a:moveTo>
                  <a:pt x="380" y="483"/>
                </a:moveTo>
                <a:lnTo>
                  <a:pt x="376" y="487"/>
                </a:lnTo>
                <a:lnTo>
                  <a:pt x="372" y="489"/>
                </a:lnTo>
                <a:lnTo>
                  <a:pt x="376" y="490"/>
                </a:lnTo>
                <a:lnTo>
                  <a:pt x="380" y="489"/>
                </a:lnTo>
                <a:lnTo>
                  <a:pt x="381" y="487"/>
                </a:lnTo>
                <a:lnTo>
                  <a:pt x="380" y="483"/>
                </a:lnTo>
                <a:close/>
                <a:moveTo>
                  <a:pt x="968" y="670"/>
                </a:moveTo>
                <a:lnTo>
                  <a:pt x="967" y="672"/>
                </a:lnTo>
                <a:lnTo>
                  <a:pt x="968" y="673"/>
                </a:lnTo>
                <a:lnTo>
                  <a:pt x="969" y="673"/>
                </a:lnTo>
                <a:lnTo>
                  <a:pt x="970" y="674"/>
                </a:lnTo>
                <a:lnTo>
                  <a:pt x="973" y="676"/>
                </a:lnTo>
                <a:lnTo>
                  <a:pt x="975" y="676"/>
                </a:lnTo>
                <a:lnTo>
                  <a:pt x="977" y="674"/>
                </a:lnTo>
                <a:lnTo>
                  <a:pt x="979" y="672"/>
                </a:lnTo>
                <a:lnTo>
                  <a:pt x="976" y="672"/>
                </a:lnTo>
                <a:lnTo>
                  <a:pt x="973" y="672"/>
                </a:lnTo>
                <a:lnTo>
                  <a:pt x="970" y="671"/>
                </a:lnTo>
                <a:lnTo>
                  <a:pt x="968" y="670"/>
                </a:lnTo>
                <a:lnTo>
                  <a:pt x="968" y="670"/>
                </a:lnTo>
                <a:lnTo>
                  <a:pt x="968" y="670"/>
                </a:lnTo>
                <a:close/>
                <a:moveTo>
                  <a:pt x="820" y="97"/>
                </a:moveTo>
                <a:lnTo>
                  <a:pt x="820" y="97"/>
                </a:lnTo>
                <a:lnTo>
                  <a:pt x="820" y="96"/>
                </a:lnTo>
                <a:lnTo>
                  <a:pt x="819" y="95"/>
                </a:lnTo>
                <a:lnTo>
                  <a:pt x="818" y="94"/>
                </a:lnTo>
                <a:lnTo>
                  <a:pt x="816" y="92"/>
                </a:lnTo>
                <a:lnTo>
                  <a:pt x="813" y="92"/>
                </a:lnTo>
                <a:lnTo>
                  <a:pt x="811" y="92"/>
                </a:lnTo>
                <a:lnTo>
                  <a:pt x="811" y="94"/>
                </a:lnTo>
                <a:lnTo>
                  <a:pt x="812" y="95"/>
                </a:lnTo>
                <a:lnTo>
                  <a:pt x="813" y="96"/>
                </a:lnTo>
                <a:lnTo>
                  <a:pt x="818" y="97"/>
                </a:lnTo>
                <a:lnTo>
                  <a:pt x="820" y="97"/>
                </a:lnTo>
                <a:lnTo>
                  <a:pt x="819" y="97"/>
                </a:lnTo>
                <a:lnTo>
                  <a:pt x="820" y="97"/>
                </a:lnTo>
                <a:close/>
                <a:moveTo>
                  <a:pt x="1026" y="120"/>
                </a:moveTo>
                <a:lnTo>
                  <a:pt x="1024" y="117"/>
                </a:lnTo>
                <a:lnTo>
                  <a:pt x="1022" y="115"/>
                </a:lnTo>
                <a:lnTo>
                  <a:pt x="1019" y="114"/>
                </a:lnTo>
                <a:lnTo>
                  <a:pt x="1016" y="115"/>
                </a:lnTo>
                <a:lnTo>
                  <a:pt x="1017" y="117"/>
                </a:lnTo>
                <a:lnTo>
                  <a:pt x="1019" y="120"/>
                </a:lnTo>
                <a:lnTo>
                  <a:pt x="1023" y="120"/>
                </a:lnTo>
                <a:lnTo>
                  <a:pt x="1026" y="120"/>
                </a:lnTo>
                <a:close/>
                <a:moveTo>
                  <a:pt x="289" y="454"/>
                </a:moveTo>
                <a:lnTo>
                  <a:pt x="291" y="455"/>
                </a:lnTo>
                <a:lnTo>
                  <a:pt x="294" y="455"/>
                </a:lnTo>
                <a:lnTo>
                  <a:pt x="297" y="454"/>
                </a:lnTo>
                <a:lnTo>
                  <a:pt x="300" y="452"/>
                </a:lnTo>
                <a:lnTo>
                  <a:pt x="293" y="452"/>
                </a:lnTo>
                <a:lnTo>
                  <a:pt x="289" y="454"/>
                </a:lnTo>
                <a:close/>
                <a:moveTo>
                  <a:pt x="86" y="612"/>
                </a:moveTo>
                <a:lnTo>
                  <a:pt x="81" y="614"/>
                </a:lnTo>
                <a:lnTo>
                  <a:pt x="77" y="617"/>
                </a:lnTo>
                <a:lnTo>
                  <a:pt x="79" y="617"/>
                </a:lnTo>
                <a:lnTo>
                  <a:pt x="83" y="617"/>
                </a:lnTo>
                <a:lnTo>
                  <a:pt x="86" y="615"/>
                </a:lnTo>
                <a:lnTo>
                  <a:pt x="88" y="614"/>
                </a:lnTo>
                <a:lnTo>
                  <a:pt x="88" y="612"/>
                </a:lnTo>
                <a:lnTo>
                  <a:pt x="88" y="611"/>
                </a:lnTo>
                <a:lnTo>
                  <a:pt x="88" y="611"/>
                </a:lnTo>
                <a:lnTo>
                  <a:pt x="86" y="612"/>
                </a:lnTo>
                <a:lnTo>
                  <a:pt x="85" y="612"/>
                </a:lnTo>
                <a:lnTo>
                  <a:pt x="86" y="612"/>
                </a:lnTo>
                <a:close/>
                <a:moveTo>
                  <a:pt x="363" y="515"/>
                </a:moveTo>
                <a:lnTo>
                  <a:pt x="360" y="516"/>
                </a:lnTo>
                <a:lnTo>
                  <a:pt x="359" y="518"/>
                </a:lnTo>
                <a:lnTo>
                  <a:pt x="359" y="520"/>
                </a:lnTo>
                <a:lnTo>
                  <a:pt x="360" y="521"/>
                </a:lnTo>
                <a:lnTo>
                  <a:pt x="364" y="521"/>
                </a:lnTo>
                <a:lnTo>
                  <a:pt x="365" y="519"/>
                </a:lnTo>
                <a:lnTo>
                  <a:pt x="365" y="518"/>
                </a:lnTo>
                <a:lnTo>
                  <a:pt x="365" y="516"/>
                </a:lnTo>
                <a:lnTo>
                  <a:pt x="364" y="516"/>
                </a:lnTo>
                <a:lnTo>
                  <a:pt x="363" y="515"/>
                </a:lnTo>
                <a:lnTo>
                  <a:pt x="361" y="515"/>
                </a:lnTo>
                <a:lnTo>
                  <a:pt x="363" y="515"/>
                </a:lnTo>
                <a:close/>
                <a:moveTo>
                  <a:pt x="46" y="319"/>
                </a:moveTo>
                <a:lnTo>
                  <a:pt x="50" y="316"/>
                </a:lnTo>
                <a:lnTo>
                  <a:pt x="52" y="313"/>
                </a:lnTo>
                <a:lnTo>
                  <a:pt x="52" y="311"/>
                </a:lnTo>
                <a:lnTo>
                  <a:pt x="52" y="310"/>
                </a:lnTo>
                <a:lnTo>
                  <a:pt x="51" y="308"/>
                </a:lnTo>
                <a:lnTo>
                  <a:pt x="50" y="308"/>
                </a:lnTo>
                <a:lnTo>
                  <a:pt x="47" y="311"/>
                </a:lnTo>
                <a:lnTo>
                  <a:pt x="48" y="313"/>
                </a:lnTo>
                <a:lnTo>
                  <a:pt x="47" y="314"/>
                </a:lnTo>
                <a:lnTo>
                  <a:pt x="46" y="316"/>
                </a:lnTo>
                <a:lnTo>
                  <a:pt x="45" y="317"/>
                </a:lnTo>
                <a:lnTo>
                  <a:pt x="46" y="319"/>
                </a:lnTo>
                <a:lnTo>
                  <a:pt x="47" y="319"/>
                </a:lnTo>
                <a:lnTo>
                  <a:pt x="46" y="319"/>
                </a:lnTo>
                <a:close/>
                <a:moveTo>
                  <a:pt x="1000" y="670"/>
                </a:moveTo>
                <a:lnTo>
                  <a:pt x="998" y="671"/>
                </a:lnTo>
                <a:lnTo>
                  <a:pt x="998" y="673"/>
                </a:lnTo>
                <a:lnTo>
                  <a:pt x="998" y="676"/>
                </a:lnTo>
                <a:lnTo>
                  <a:pt x="1001" y="677"/>
                </a:lnTo>
                <a:lnTo>
                  <a:pt x="1003" y="677"/>
                </a:lnTo>
                <a:lnTo>
                  <a:pt x="1005" y="676"/>
                </a:lnTo>
                <a:lnTo>
                  <a:pt x="1006" y="674"/>
                </a:lnTo>
                <a:lnTo>
                  <a:pt x="1006" y="674"/>
                </a:lnTo>
                <a:lnTo>
                  <a:pt x="1003" y="672"/>
                </a:lnTo>
                <a:lnTo>
                  <a:pt x="1000" y="670"/>
                </a:lnTo>
                <a:lnTo>
                  <a:pt x="1001" y="670"/>
                </a:lnTo>
                <a:lnTo>
                  <a:pt x="1000" y="670"/>
                </a:lnTo>
                <a:close/>
                <a:moveTo>
                  <a:pt x="984" y="654"/>
                </a:moveTo>
                <a:lnTo>
                  <a:pt x="987" y="654"/>
                </a:lnTo>
                <a:lnTo>
                  <a:pt x="990" y="652"/>
                </a:lnTo>
                <a:lnTo>
                  <a:pt x="990" y="651"/>
                </a:lnTo>
                <a:lnTo>
                  <a:pt x="986" y="651"/>
                </a:lnTo>
                <a:lnTo>
                  <a:pt x="984" y="649"/>
                </a:lnTo>
                <a:lnTo>
                  <a:pt x="982" y="651"/>
                </a:lnTo>
                <a:lnTo>
                  <a:pt x="981" y="652"/>
                </a:lnTo>
                <a:lnTo>
                  <a:pt x="982" y="653"/>
                </a:lnTo>
                <a:lnTo>
                  <a:pt x="983" y="654"/>
                </a:lnTo>
                <a:lnTo>
                  <a:pt x="984" y="654"/>
                </a:lnTo>
                <a:lnTo>
                  <a:pt x="985" y="654"/>
                </a:lnTo>
                <a:lnTo>
                  <a:pt x="984" y="654"/>
                </a:lnTo>
                <a:close/>
                <a:moveTo>
                  <a:pt x="1066" y="125"/>
                </a:moveTo>
                <a:lnTo>
                  <a:pt x="1063" y="123"/>
                </a:lnTo>
                <a:lnTo>
                  <a:pt x="1057" y="122"/>
                </a:lnTo>
                <a:lnTo>
                  <a:pt x="1059" y="124"/>
                </a:lnTo>
                <a:lnTo>
                  <a:pt x="1059" y="125"/>
                </a:lnTo>
                <a:lnTo>
                  <a:pt x="1059" y="126"/>
                </a:lnTo>
                <a:lnTo>
                  <a:pt x="1059" y="128"/>
                </a:lnTo>
                <a:lnTo>
                  <a:pt x="1058" y="131"/>
                </a:lnTo>
                <a:lnTo>
                  <a:pt x="1058" y="133"/>
                </a:lnTo>
                <a:lnTo>
                  <a:pt x="1063" y="131"/>
                </a:lnTo>
                <a:lnTo>
                  <a:pt x="1066" y="125"/>
                </a:lnTo>
                <a:lnTo>
                  <a:pt x="1064" y="125"/>
                </a:lnTo>
                <a:lnTo>
                  <a:pt x="1066" y="125"/>
                </a:lnTo>
                <a:close/>
                <a:moveTo>
                  <a:pt x="349" y="462"/>
                </a:moveTo>
                <a:lnTo>
                  <a:pt x="344" y="462"/>
                </a:lnTo>
                <a:lnTo>
                  <a:pt x="340" y="463"/>
                </a:lnTo>
                <a:lnTo>
                  <a:pt x="343" y="465"/>
                </a:lnTo>
                <a:lnTo>
                  <a:pt x="348" y="465"/>
                </a:lnTo>
                <a:lnTo>
                  <a:pt x="349" y="464"/>
                </a:lnTo>
                <a:lnTo>
                  <a:pt x="350" y="463"/>
                </a:lnTo>
                <a:lnTo>
                  <a:pt x="350" y="462"/>
                </a:lnTo>
                <a:lnTo>
                  <a:pt x="349" y="462"/>
                </a:lnTo>
                <a:lnTo>
                  <a:pt x="348" y="462"/>
                </a:lnTo>
                <a:lnTo>
                  <a:pt x="349" y="462"/>
                </a:lnTo>
                <a:close/>
                <a:moveTo>
                  <a:pt x="546" y="518"/>
                </a:moveTo>
                <a:lnTo>
                  <a:pt x="550" y="520"/>
                </a:lnTo>
                <a:lnTo>
                  <a:pt x="554" y="520"/>
                </a:lnTo>
                <a:lnTo>
                  <a:pt x="556" y="520"/>
                </a:lnTo>
                <a:lnTo>
                  <a:pt x="559" y="519"/>
                </a:lnTo>
                <a:lnTo>
                  <a:pt x="553" y="516"/>
                </a:lnTo>
                <a:lnTo>
                  <a:pt x="546" y="518"/>
                </a:lnTo>
                <a:close/>
                <a:moveTo>
                  <a:pt x="514" y="515"/>
                </a:moveTo>
                <a:lnTo>
                  <a:pt x="512" y="515"/>
                </a:lnTo>
                <a:lnTo>
                  <a:pt x="511" y="516"/>
                </a:lnTo>
                <a:lnTo>
                  <a:pt x="511" y="518"/>
                </a:lnTo>
                <a:lnTo>
                  <a:pt x="512" y="519"/>
                </a:lnTo>
                <a:lnTo>
                  <a:pt x="517" y="519"/>
                </a:lnTo>
                <a:lnTo>
                  <a:pt x="524" y="518"/>
                </a:lnTo>
                <a:lnTo>
                  <a:pt x="519" y="516"/>
                </a:lnTo>
                <a:lnTo>
                  <a:pt x="514" y="515"/>
                </a:lnTo>
                <a:lnTo>
                  <a:pt x="514" y="515"/>
                </a:lnTo>
                <a:lnTo>
                  <a:pt x="514" y="515"/>
                </a:lnTo>
                <a:close/>
                <a:moveTo>
                  <a:pt x="1135" y="125"/>
                </a:moveTo>
                <a:lnTo>
                  <a:pt x="1133" y="125"/>
                </a:lnTo>
                <a:lnTo>
                  <a:pt x="1130" y="125"/>
                </a:lnTo>
                <a:lnTo>
                  <a:pt x="1127" y="125"/>
                </a:lnTo>
                <a:lnTo>
                  <a:pt x="1126" y="126"/>
                </a:lnTo>
                <a:lnTo>
                  <a:pt x="1126" y="128"/>
                </a:lnTo>
                <a:lnTo>
                  <a:pt x="1126" y="129"/>
                </a:lnTo>
                <a:lnTo>
                  <a:pt x="1127" y="130"/>
                </a:lnTo>
                <a:lnTo>
                  <a:pt x="1129" y="131"/>
                </a:lnTo>
                <a:lnTo>
                  <a:pt x="1130" y="130"/>
                </a:lnTo>
                <a:lnTo>
                  <a:pt x="1132" y="130"/>
                </a:lnTo>
                <a:lnTo>
                  <a:pt x="1134" y="128"/>
                </a:lnTo>
                <a:lnTo>
                  <a:pt x="1135" y="125"/>
                </a:lnTo>
                <a:lnTo>
                  <a:pt x="1133" y="128"/>
                </a:lnTo>
                <a:lnTo>
                  <a:pt x="1135" y="125"/>
                </a:lnTo>
                <a:close/>
                <a:moveTo>
                  <a:pt x="281" y="427"/>
                </a:moveTo>
                <a:lnTo>
                  <a:pt x="285" y="428"/>
                </a:lnTo>
                <a:lnTo>
                  <a:pt x="289" y="428"/>
                </a:lnTo>
                <a:lnTo>
                  <a:pt x="292" y="427"/>
                </a:lnTo>
                <a:lnTo>
                  <a:pt x="297" y="424"/>
                </a:lnTo>
                <a:lnTo>
                  <a:pt x="289" y="424"/>
                </a:lnTo>
                <a:lnTo>
                  <a:pt x="281" y="427"/>
                </a:lnTo>
                <a:close/>
                <a:moveTo>
                  <a:pt x="228" y="544"/>
                </a:moveTo>
                <a:lnTo>
                  <a:pt x="226" y="544"/>
                </a:lnTo>
                <a:lnTo>
                  <a:pt x="223" y="546"/>
                </a:lnTo>
                <a:lnTo>
                  <a:pt x="220" y="548"/>
                </a:lnTo>
                <a:lnTo>
                  <a:pt x="219" y="549"/>
                </a:lnTo>
                <a:lnTo>
                  <a:pt x="223" y="551"/>
                </a:lnTo>
                <a:lnTo>
                  <a:pt x="227" y="549"/>
                </a:lnTo>
                <a:lnTo>
                  <a:pt x="228" y="546"/>
                </a:lnTo>
                <a:lnTo>
                  <a:pt x="228" y="544"/>
                </a:lnTo>
                <a:lnTo>
                  <a:pt x="227" y="544"/>
                </a:lnTo>
                <a:lnTo>
                  <a:pt x="228" y="544"/>
                </a:lnTo>
                <a:close/>
                <a:moveTo>
                  <a:pt x="273" y="439"/>
                </a:moveTo>
                <a:lnTo>
                  <a:pt x="277" y="438"/>
                </a:lnTo>
                <a:lnTo>
                  <a:pt x="282" y="438"/>
                </a:lnTo>
                <a:lnTo>
                  <a:pt x="285" y="436"/>
                </a:lnTo>
                <a:lnTo>
                  <a:pt x="290" y="433"/>
                </a:lnTo>
                <a:lnTo>
                  <a:pt x="284" y="433"/>
                </a:lnTo>
                <a:lnTo>
                  <a:pt x="281" y="433"/>
                </a:lnTo>
                <a:lnTo>
                  <a:pt x="276" y="436"/>
                </a:lnTo>
                <a:lnTo>
                  <a:pt x="273" y="439"/>
                </a:lnTo>
                <a:close/>
                <a:moveTo>
                  <a:pt x="277" y="519"/>
                </a:moveTo>
                <a:lnTo>
                  <a:pt x="270" y="521"/>
                </a:lnTo>
                <a:lnTo>
                  <a:pt x="266" y="526"/>
                </a:lnTo>
                <a:lnTo>
                  <a:pt x="270" y="527"/>
                </a:lnTo>
                <a:lnTo>
                  <a:pt x="273" y="526"/>
                </a:lnTo>
                <a:lnTo>
                  <a:pt x="275" y="523"/>
                </a:lnTo>
                <a:lnTo>
                  <a:pt x="277" y="519"/>
                </a:lnTo>
                <a:close/>
                <a:moveTo>
                  <a:pt x="162" y="129"/>
                </a:moveTo>
                <a:lnTo>
                  <a:pt x="158" y="125"/>
                </a:lnTo>
                <a:lnTo>
                  <a:pt x="154" y="124"/>
                </a:lnTo>
                <a:lnTo>
                  <a:pt x="151" y="125"/>
                </a:lnTo>
                <a:lnTo>
                  <a:pt x="147" y="129"/>
                </a:lnTo>
                <a:lnTo>
                  <a:pt x="155" y="128"/>
                </a:lnTo>
                <a:lnTo>
                  <a:pt x="162" y="129"/>
                </a:lnTo>
                <a:close/>
                <a:moveTo>
                  <a:pt x="1043" y="84"/>
                </a:moveTo>
                <a:lnTo>
                  <a:pt x="1039" y="84"/>
                </a:lnTo>
                <a:lnTo>
                  <a:pt x="1033" y="83"/>
                </a:lnTo>
                <a:lnTo>
                  <a:pt x="1031" y="82"/>
                </a:lnTo>
                <a:lnTo>
                  <a:pt x="1030" y="82"/>
                </a:lnTo>
                <a:lnTo>
                  <a:pt x="1028" y="82"/>
                </a:lnTo>
                <a:lnTo>
                  <a:pt x="1030" y="84"/>
                </a:lnTo>
                <a:lnTo>
                  <a:pt x="1032" y="87"/>
                </a:lnTo>
                <a:lnTo>
                  <a:pt x="1036" y="87"/>
                </a:lnTo>
                <a:lnTo>
                  <a:pt x="1041" y="87"/>
                </a:lnTo>
                <a:lnTo>
                  <a:pt x="1043" y="84"/>
                </a:lnTo>
                <a:lnTo>
                  <a:pt x="1040" y="86"/>
                </a:lnTo>
                <a:lnTo>
                  <a:pt x="1043" y="84"/>
                </a:lnTo>
                <a:close/>
                <a:moveTo>
                  <a:pt x="127" y="167"/>
                </a:moveTo>
                <a:lnTo>
                  <a:pt x="129" y="166"/>
                </a:lnTo>
                <a:lnTo>
                  <a:pt x="130" y="163"/>
                </a:lnTo>
                <a:lnTo>
                  <a:pt x="129" y="158"/>
                </a:lnTo>
                <a:lnTo>
                  <a:pt x="127" y="156"/>
                </a:lnTo>
                <a:lnTo>
                  <a:pt x="126" y="156"/>
                </a:lnTo>
                <a:lnTo>
                  <a:pt x="125" y="157"/>
                </a:lnTo>
                <a:lnTo>
                  <a:pt x="125" y="159"/>
                </a:lnTo>
                <a:lnTo>
                  <a:pt x="126" y="161"/>
                </a:lnTo>
                <a:lnTo>
                  <a:pt x="125" y="163"/>
                </a:lnTo>
                <a:lnTo>
                  <a:pt x="125" y="165"/>
                </a:lnTo>
                <a:lnTo>
                  <a:pt x="125" y="167"/>
                </a:lnTo>
                <a:lnTo>
                  <a:pt x="127" y="167"/>
                </a:lnTo>
                <a:lnTo>
                  <a:pt x="127" y="167"/>
                </a:lnTo>
                <a:lnTo>
                  <a:pt x="127" y="167"/>
                </a:lnTo>
                <a:close/>
                <a:moveTo>
                  <a:pt x="365" y="468"/>
                </a:moveTo>
                <a:lnTo>
                  <a:pt x="359" y="469"/>
                </a:lnTo>
                <a:lnTo>
                  <a:pt x="352" y="469"/>
                </a:lnTo>
                <a:lnTo>
                  <a:pt x="353" y="473"/>
                </a:lnTo>
                <a:lnTo>
                  <a:pt x="355" y="474"/>
                </a:lnTo>
                <a:lnTo>
                  <a:pt x="357" y="476"/>
                </a:lnTo>
                <a:lnTo>
                  <a:pt x="359" y="474"/>
                </a:lnTo>
                <a:lnTo>
                  <a:pt x="364" y="471"/>
                </a:lnTo>
                <a:lnTo>
                  <a:pt x="365" y="468"/>
                </a:lnTo>
                <a:lnTo>
                  <a:pt x="365" y="469"/>
                </a:lnTo>
                <a:lnTo>
                  <a:pt x="365" y="468"/>
                </a:lnTo>
                <a:close/>
                <a:moveTo>
                  <a:pt x="590" y="489"/>
                </a:moveTo>
                <a:lnTo>
                  <a:pt x="587" y="489"/>
                </a:lnTo>
                <a:lnTo>
                  <a:pt x="582" y="488"/>
                </a:lnTo>
                <a:lnTo>
                  <a:pt x="577" y="488"/>
                </a:lnTo>
                <a:lnTo>
                  <a:pt x="574" y="489"/>
                </a:lnTo>
                <a:lnTo>
                  <a:pt x="574" y="491"/>
                </a:lnTo>
                <a:lnTo>
                  <a:pt x="575" y="493"/>
                </a:lnTo>
                <a:lnTo>
                  <a:pt x="578" y="493"/>
                </a:lnTo>
                <a:lnTo>
                  <a:pt x="581" y="493"/>
                </a:lnTo>
                <a:lnTo>
                  <a:pt x="587" y="490"/>
                </a:lnTo>
                <a:lnTo>
                  <a:pt x="590" y="489"/>
                </a:lnTo>
                <a:lnTo>
                  <a:pt x="587" y="489"/>
                </a:lnTo>
                <a:lnTo>
                  <a:pt x="590" y="489"/>
                </a:lnTo>
                <a:close/>
                <a:moveTo>
                  <a:pt x="270" y="452"/>
                </a:moveTo>
                <a:lnTo>
                  <a:pt x="272" y="452"/>
                </a:lnTo>
                <a:lnTo>
                  <a:pt x="273" y="449"/>
                </a:lnTo>
                <a:lnTo>
                  <a:pt x="273" y="447"/>
                </a:lnTo>
                <a:lnTo>
                  <a:pt x="272" y="446"/>
                </a:lnTo>
                <a:lnTo>
                  <a:pt x="267" y="448"/>
                </a:lnTo>
                <a:lnTo>
                  <a:pt x="265" y="452"/>
                </a:lnTo>
                <a:lnTo>
                  <a:pt x="264" y="453"/>
                </a:lnTo>
                <a:lnTo>
                  <a:pt x="264" y="455"/>
                </a:lnTo>
                <a:lnTo>
                  <a:pt x="265" y="457"/>
                </a:lnTo>
                <a:lnTo>
                  <a:pt x="267" y="457"/>
                </a:lnTo>
                <a:lnTo>
                  <a:pt x="268" y="455"/>
                </a:lnTo>
                <a:lnTo>
                  <a:pt x="270" y="452"/>
                </a:lnTo>
                <a:lnTo>
                  <a:pt x="270" y="452"/>
                </a:lnTo>
                <a:lnTo>
                  <a:pt x="270" y="452"/>
                </a:lnTo>
                <a:close/>
                <a:moveTo>
                  <a:pt x="63" y="321"/>
                </a:moveTo>
                <a:lnTo>
                  <a:pt x="66" y="319"/>
                </a:lnTo>
                <a:lnTo>
                  <a:pt x="67" y="315"/>
                </a:lnTo>
                <a:lnTo>
                  <a:pt x="68" y="313"/>
                </a:lnTo>
                <a:lnTo>
                  <a:pt x="68" y="311"/>
                </a:lnTo>
                <a:lnTo>
                  <a:pt x="68" y="310"/>
                </a:lnTo>
                <a:lnTo>
                  <a:pt x="66" y="310"/>
                </a:lnTo>
                <a:lnTo>
                  <a:pt x="63" y="312"/>
                </a:lnTo>
                <a:lnTo>
                  <a:pt x="62" y="315"/>
                </a:lnTo>
                <a:lnTo>
                  <a:pt x="62" y="319"/>
                </a:lnTo>
                <a:lnTo>
                  <a:pt x="63" y="321"/>
                </a:lnTo>
                <a:lnTo>
                  <a:pt x="63" y="320"/>
                </a:lnTo>
                <a:lnTo>
                  <a:pt x="63" y="321"/>
                </a:lnTo>
                <a:close/>
                <a:moveTo>
                  <a:pt x="97" y="202"/>
                </a:moveTo>
                <a:lnTo>
                  <a:pt x="101" y="198"/>
                </a:lnTo>
                <a:lnTo>
                  <a:pt x="104" y="196"/>
                </a:lnTo>
                <a:lnTo>
                  <a:pt x="107" y="195"/>
                </a:lnTo>
                <a:lnTo>
                  <a:pt x="107" y="194"/>
                </a:lnTo>
                <a:lnTo>
                  <a:pt x="105" y="191"/>
                </a:lnTo>
                <a:lnTo>
                  <a:pt x="104" y="191"/>
                </a:lnTo>
                <a:lnTo>
                  <a:pt x="103" y="191"/>
                </a:lnTo>
                <a:lnTo>
                  <a:pt x="102" y="192"/>
                </a:lnTo>
                <a:lnTo>
                  <a:pt x="100" y="195"/>
                </a:lnTo>
                <a:lnTo>
                  <a:pt x="96" y="198"/>
                </a:lnTo>
                <a:lnTo>
                  <a:pt x="94" y="198"/>
                </a:lnTo>
                <a:lnTo>
                  <a:pt x="92" y="199"/>
                </a:lnTo>
                <a:lnTo>
                  <a:pt x="91" y="200"/>
                </a:lnTo>
                <a:lnTo>
                  <a:pt x="89" y="202"/>
                </a:lnTo>
                <a:lnTo>
                  <a:pt x="91" y="202"/>
                </a:lnTo>
                <a:lnTo>
                  <a:pt x="92" y="202"/>
                </a:lnTo>
                <a:lnTo>
                  <a:pt x="95" y="202"/>
                </a:lnTo>
                <a:lnTo>
                  <a:pt x="97" y="202"/>
                </a:lnTo>
                <a:lnTo>
                  <a:pt x="97" y="199"/>
                </a:lnTo>
                <a:lnTo>
                  <a:pt x="97" y="202"/>
                </a:lnTo>
                <a:close/>
                <a:moveTo>
                  <a:pt x="1396" y="693"/>
                </a:moveTo>
                <a:lnTo>
                  <a:pt x="1398" y="694"/>
                </a:lnTo>
                <a:lnTo>
                  <a:pt x="1399" y="693"/>
                </a:lnTo>
                <a:lnTo>
                  <a:pt x="1401" y="692"/>
                </a:lnTo>
                <a:lnTo>
                  <a:pt x="1403" y="689"/>
                </a:lnTo>
                <a:lnTo>
                  <a:pt x="1405" y="688"/>
                </a:lnTo>
                <a:lnTo>
                  <a:pt x="1407" y="688"/>
                </a:lnTo>
                <a:lnTo>
                  <a:pt x="1410" y="687"/>
                </a:lnTo>
                <a:lnTo>
                  <a:pt x="1411" y="684"/>
                </a:lnTo>
                <a:lnTo>
                  <a:pt x="1406" y="685"/>
                </a:lnTo>
                <a:lnTo>
                  <a:pt x="1401" y="687"/>
                </a:lnTo>
                <a:lnTo>
                  <a:pt x="1398" y="689"/>
                </a:lnTo>
                <a:lnTo>
                  <a:pt x="1396" y="690"/>
                </a:lnTo>
                <a:lnTo>
                  <a:pt x="1395" y="692"/>
                </a:lnTo>
                <a:lnTo>
                  <a:pt x="1396" y="693"/>
                </a:lnTo>
                <a:lnTo>
                  <a:pt x="1395" y="693"/>
                </a:lnTo>
                <a:lnTo>
                  <a:pt x="1396" y="693"/>
                </a:lnTo>
                <a:close/>
                <a:moveTo>
                  <a:pt x="284" y="469"/>
                </a:moveTo>
                <a:lnTo>
                  <a:pt x="283" y="469"/>
                </a:lnTo>
                <a:lnTo>
                  <a:pt x="282" y="469"/>
                </a:lnTo>
                <a:lnTo>
                  <a:pt x="282" y="470"/>
                </a:lnTo>
                <a:lnTo>
                  <a:pt x="281" y="471"/>
                </a:lnTo>
                <a:lnTo>
                  <a:pt x="282" y="473"/>
                </a:lnTo>
                <a:lnTo>
                  <a:pt x="282" y="476"/>
                </a:lnTo>
                <a:lnTo>
                  <a:pt x="283" y="477"/>
                </a:lnTo>
                <a:lnTo>
                  <a:pt x="284" y="476"/>
                </a:lnTo>
                <a:lnTo>
                  <a:pt x="284" y="476"/>
                </a:lnTo>
                <a:lnTo>
                  <a:pt x="285" y="473"/>
                </a:lnTo>
                <a:lnTo>
                  <a:pt x="285" y="470"/>
                </a:lnTo>
                <a:lnTo>
                  <a:pt x="284" y="469"/>
                </a:lnTo>
                <a:lnTo>
                  <a:pt x="284" y="469"/>
                </a:lnTo>
                <a:lnTo>
                  <a:pt x="284" y="469"/>
                </a:lnTo>
                <a:close/>
                <a:moveTo>
                  <a:pt x="284" y="477"/>
                </a:moveTo>
                <a:lnTo>
                  <a:pt x="284" y="477"/>
                </a:lnTo>
                <a:lnTo>
                  <a:pt x="285" y="478"/>
                </a:lnTo>
                <a:lnTo>
                  <a:pt x="286" y="479"/>
                </a:lnTo>
                <a:lnTo>
                  <a:pt x="289" y="479"/>
                </a:lnTo>
                <a:lnTo>
                  <a:pt x="291" y="479"/>
                </a:lnTo>
                <a:lnTo>
                  <a:pt x="292" y="478"/>
                </a:lnTo>
                <a:lnTo>
                  <a:pt x="294" y="477"/>
                </a:lnTo>
                <a:lnTo>
                  <a:pt x="295" y="476"/>
                </a:lnTo>
                <a:lnTo>
                  <a:pt x="294" y="476"/>
                </a:lnTo>
                <a:lnTo>
                  <a:pt x="293" y="474"/>
                </a:lnTo>
                <a:lnTo>
                  <a:pt x="292" y="474"/>
                </a:lnTo>
                <a:lnTo>
                  <a:pt x="293" y="474"/>
                </a:lnTo>
                <a:lnTo>
                  <a:pt x="289" y="477"/>
                </a:lnTo>
                <a:lnTo>
                  <a:pt x="285" y="478"/>
                </a:lnTo>
                <a:lnTo>
                  <a:pt x="285" y="477"/>
                </a:lnTo>
                <a:lnTo>
                  <a:pt x="284" y="477"/>
                </a:lnTo>
                <a:lnTo>
                  <a:pt x="284" y="477"/>
                </a:lnTo>
                <a:lnTo>
                  <a:pt x="284" y="477"/>
                </a:lnTo>
                <a:close/>
                <a:moveTo>
                  <a:pt x="58" y="460"/>
                </a:moveTo>
                <a:lnTo>
                  <a:pt x="58" y="458"/>
                </a:lnTo>
                <a:lnTo>
                  <a:pt x="59" y="455"/>
                </a:lnTo>
                <a:lnTo>
                  <a:pt x="59" y="454"/>
                </a:lnTo>
                <a:lnTo>
                  <a:pt x="58" y="454"/>
                </a:lnTo>
                <a:lnTo>
                  <a:pt x="56" y="453"/>
                </a:lnTo>
                <a:lnTo>
                  <a:pt x="54" y="454"/>
                </a:lnTo>
                <a:lnTo>
                  <a:pt x="52" y="455"/>
                </a:lnTo>
                <a:lnTo>
                  <a:pt x="51" y="456"/>
                </a:lnTo>
                <a:lnTo>
                  <a:pt x="52" y="458"/>
                </a:lnTo>
                <a:lnTo>
                  <a:pt x="52" y="462"/>
                </a:lnTo>
                <a:lnTo>
                  <a:pt x="52" y="463"/>
                </a:lnTo>
                <a:lnTo>
                  <a:pt x="52" y="466"/>
                </a:lnTo>
                <a:lnTo>
                  <a:pt x="52" y="468"/>
                </a:lnTo>
                <a:lnTo>
                  <a:pt x="52" y="468"/>
                </a:lnTo>
                <a:lnTo>
                  <a:pt x="53" y="468"/>
                </a:lnTo>
                <a:lnTo>
                  <a:pt x="54" y="465"/>
                </a:lnTo>
                <a:lnTo>
                  <a:pt x="54" y="463"/>
                </a:lnTo>
                <a:lnTo>
                  <a:pt x="54" y="461"/>
                </a:lnTo>
                <a:lnTo>
                  <a:pt x="54" y="461"/>
                </a:lnTo>
                <a:lnTo>
                  <a:pt x="55" y="460"/>
                </a:lnTo>
                <a:lnTo>
                  <a:pt x="56" y="460"/>
                </a:lnTo>
                <a:lnTo>
                  <a:pt x="58" y="460"/>
                </a:lnTo>
                <a:lnTo>
                  <a:pt x="56" y="460"/>
                </a:lnTo>
                <a:lnTo>
                  <a:pt x="58" y="460"/>
                </a:lnTo>
                <a:close/>
                <a:moveTo>
                  <a:pt x="75" y="239"/>
                </a:moveTo>
                <a:lnTo>
                  <a:pt x="69" y="241"/>
                </a:lnTo>
                <a:lnTo>
                  <a:pt x="66" y="244"/>
                </a:lnTo>
                <a:lnTo>
                  <a:pt x="63" y="247"/>
                </a:lnTo>
                <a:lnTo>
                  <a:pt x="63" y="250"/>
                </a:lnTo>
                <a:lnTo>
                  <a:pt x="70" y="246"/>
                </a:lnTo>
                <a:lnTo>
                  <a:pt x="74" y="244"/>
                </a:lnTo>
                <a:lnTo>
                  <a:pt x="75" y="241"/>
                </a:lnTo>
                <a:lnTo>
                  <a:pt x="75" y="239"/>
                </a:lnTo>
                <a:close/>
                <a:moveTo>
                  <a:pt x="75" y="239"/>
                </a:moveTo>
                <a:lnTo>
                  <a:pt x="76" y="239"/>
                </a:lnTo>
                <a:lnTo>
                  <a:pt x="75" y="239"/>
                </a:lnTo>
                <a:close/>
                <a:moveTo>
                  <a:pt x="319" y="457"/>
                </a:moveTo>
                <a:lnTo>
                  <a:pt x="325" y="455"/>
                </a:lnTo>
                <a:lnTo>
                  <a:pt x="331" y="454"/>
                </a:lnTo>
                <a:lnTo>
                  <a:pt x="336" y="453"/>
                </a:lnTo>
                <a:lnTo>
                  <a:pt x="340" y="448"/>
                </a:lnTo>
                <a:lnTo>
                  <a:pt x="330" y="452"/>
                </a:lnTo>
                <a:lnTo>
                  <a:pt x="319" y="457"/>
                </a:lnTo>
                <a:close/>
                <a:moveTo>
                  <a:pt x="274" y="530"/>
                </a:moveTo>
                <a:lnTo>
                  <a:pt x="270" y="529"/>
                </a:lnTo>
                <a:lnTo>
                  <a:pt x="266" y="530"/>
                </a:lnTo>
                <a:lnTo>
                  <a:pt x="261" y="531"/>
                </a:lnTo>
                <a:lnTo>
                  <a:pt x="259" y="534"/>
                </a:lnTo>
                <a:lnTo>
                  <a:pt x="260" y="536"/>
                </a:lnTo>
                <a:lnTo>
                  <a:pt x="264" y="536"/>
                </a:lnTo>
                <a:lnTo>
                  <a:pt x="267" y="536"/>
                </a:lnTo>
                <a:lnTo>
                  <a:pt x="269" y="536"/>
                </a:lnTo>
                <a:lnTo>
                  <a:pt x="270" y="535"/>
                </a:lnTo>
                <a:lnTo>
                  <a:pt x="273" y="534"/>
                </a:lnTo>
                <a:lnTo>
                  <a:pt x="275" y="531"/>
                </a:lnTo>
                <a:lnTo>
                  <a:pt x="274" y="530"/>
                </a:lnTo>
                <a:lnTo>
                  <a:pt x="274" y="530"/>
                </a:lnTo>
                <a:lnTo>
                  <a:pt x="274" y="530"/>
                </a:lnTo>
                <a:close/>
                <a:moveTo>
                  <a:pt x="773" y="584"/>
                </a:moveTo>
                <a:lnTo>
                  <a:pt x="777" y="586"/>
                </a:lnTo>
                <a:lnTo>
                  <a:pt x="781" y="587"/>
                </a:lnTo>
                <a:lnTo>
                  <a:pt x="787" y="586"/>
                </a:lnTo>
                <a:lnTo>
                  <a:pt x="793" y="584"/>
                </a:lnTo>
                <a:lnTo>
                  <a:pt x="787" y="584"/>
                </a:lnTo>
                <a:lnTo>
                  <a:pt x="783" y="582"/>
                </a:lnTo>
                <a:lnTo>
                  <a:pt x="778" y="582"/>
                </a:lnTo>
                <a:lnTo>
                  <a:pt x="773" y="584"/>
                </a:lnTo>
                <a:close/>
                <a:moveTo>
                  <a:pt x="390" y="486"/>
                </a:moveTo>
                <a:lnTo>
                  <a:pt x="389" y="487"/>
                </a:lnTo>
                <a:lnTo>
                  <a:pt x="389" y="488"/>
                </a:lnTo>
                <a:lnTo>
                  <a:pt x="389" y="488"/>
                </a:lnTo>
                <a:lnTo>
                  <a:pt x="390" y="489"/>
                </a:lnTo>
                <a:lnTo>
                  <a:pt x="392" y="489"/>
                </a:lnTo>
                <a:lnTo>
                  <a:pt x="394" y="488"/>
                </a:lnTo>
                <a:lnTo>
                  <a:pt x="401" y="488"/>
                </a:lnTo>
                <a:lnTo>
                  <a:pt x="408" y="488"/>
                </a:lnTo>
                <a:lnTo>
                  <a:pt x="404" y="485"/>
                </a:lnTo>
                <a:lnTo>
                  <a:pt x="399" y="483"/>
                </a:lnTo>
                <a:lnTo>
                  <a:pt x="397" y="482"/>
                </a:lnTo>
                <a:lnTo>
                  <a:pt x="394" y="483"/>
                </a:lnTo>
                <a:lnTo>
                  <a:pt x="392" y="485"/>
                </a:lnTo>
                <a:lnTo>
                  <a:pt x="390" y="486"/>
                </a:lnTo>
                <a:lnTo>
                  <a:pt x="391" y="485"/>
                </a:lnTo>
                <a:lnTo>
                  <a:pt x="390" y="486"/>
                </a:lnTo>
                <a:close/>
                <a:moveTo>
                  <a:pt x="437" y="453"/>
                </a:moveTo>
                <a:lnTo>
                  <a:pt x="421" y="453"/>
                </a:lnTo>
                <a:lnTo>
                  <a:pt x="405" y="453"/>
                </a:lnTo>
                <a:lnTo>
                  <a:pt x="413" y="454"/>
                </a:lnTo>
                <a:lnTo>
                  <a:pt x="421" y="455"/>
                </a:lnTo>
                <a:lnTo>
                  <a:pt x="429" y="455"/>
                </a:lnTo>
                <a:lnTo>
                  <a:pt x="437" y="453"/>
                </a:lnTo>
                <a:close/>
                <a:moveTo>
                  <a:pt x="637" y="532"/>
                </a:moveTo>
                <a:lnTo>
                  <a:pt x="637" y="531"/>
                </a:lnTo>
                <a:lnTo>
                  <a:pt x="637" y="532"/>
                </a:lnTo>
                <a:lnTo>
                  <a:pt x="628" y="532"/>
                </a:lnTo>
                <a:lnTo>
                  <a:pt x="619" y="532"/>
                </a:lnTo>
                <a:lnTo>
                  <a:pt x="622" y="534"/>
                </a:lnTo>
                <a:lnTo>
                  <a:pt x="619" y="532"/>
                </a:lnTo>
                <a:lnTo>
                  <a:pt x="621" y="534"/>
                </a:lnTo>
                <a:lnTo>
                  <a:pt x="623" y="536"/>
                </a:lnTo>
                <a:lnTo>
                  <a:pt x="627" y="537"/>
                </a:lnTo>
                <a:lnTo>
                  <a:pt x="630" y="537"/>
                </a:lnTo>
                <a:lnTo>
                  <a:pt x="632" y="537"/>
                </a:lnTo>
                <a:lnTo>
                  <a:pt x="636" y="536"/>
                </a:lnTo>
                <a:lnTo>
                  <a:pt x="637" y="535"/>
                </a:lnTo>
                <a:lnTo>
                  <a:pt x="637" y="532"/>
                </a:lnTo>
                <a:close/>
                <a:moveTo>
                  <a:pt x="224" y="494"/>
                </a:moveTo>
                <a:lnTo>
                  <a:pt x="226" y="494"/>
                </a:lnTo>
                <a:lnTo>
                  <a:pt x="228" y="493"/>
                </a:lnTo>
                <a:lnTo>
                  <a:pt x="229" y="490"/>
                </a:lnTo>
                <a:lnTo>
                  <a:pt x="228" y="488"/>
                </a:lnTo>
                <a:lnTo>
                  <a:pt x="229" y="486"/>
                </a:lnTo>
                <a:lnTo>
                  <a:pt x="232" y="483"/>
                </a:lnTo>
                <a:lnTo>
                  <a:pt x="227" y="482"/>
                </a:lnTo>
                <a:lnTo>
                  <a:pt x="224" y="483"/>
                </a:lnTo>
                <a:lnTo>
                  <a:pt x="220" y="486"/>
                </a:lnTo>
                <a:lnTo>
                  <a:pt x="218" y="490"/>
                </a:lnTo>
                <a:lnTo>
                  <a:pt x="219" y="490"/>
                </a:lnTo>
                <a:lnTo>
                  <a:pt x="221" y="490"/>
                </a:lnTo>
                <a:lnTo>
                  <a:pt x="223" y="490"/>
                </a:lnTo>
                <a:lnTo>
                  <a:pt x="223" y="490"/>
                </a:lnTo>
                <a:lnTo>
                  <a:pt x="224" y="491"/>
                </a:lnTo>
                <a:lnTo>
                  <a:pt x="224" y="494"/>
                </a:lnTo>
                <a:lnTo>
                  <a:pt x="224" y="491"/>
                </a:lnTo>
                <a:lnTo>
                  <a:pt x="224" y="494"/>
                </a:lnTo>
                <a:close/>
                <a:moveTo>
                  <a:pt x="1372" y="702"/>
                </a:moveTo>
                <a:lnTo>
                  <a:pt x="1374" y="703"/>
                </a:lnTo>
                <a:lnTo>
                  <a:pt x="1378" y="704"/>
                </a:lnTo>
                <a:lnTo>
                  <a:pt x="1381" y="704"/>
                </a:lnTo>
                <a:lnTo>
                  <a:pt x="1385" y="703"/>
                </a:lnTo>
                <a:lnTo>
                  <a:pt x="1382" y="702"/>
                </a:lnTo>
                <a:lnTo>
                  <a:pt x="1380" y="701"/>
                </a:lnTo>
                <a:lnTo>
                  <a:pt x="1380" y="698"/>
                </a:lnTo>
                <a:lnTo>
                  <a:pt x="1379" y="696"/>
                </a:lnTo>
                <a:lnTo>
                  <a:pt x="1377" y="697"/>
                </a:lnTo>
                <a:lnTo>
                  <a:pt x="1373" y="698"/>
                </a:lnTo>
                <a:lnTo>
                  <a:pt x="1371" y="697"/>
                </a:lnTo>
                <a:lnTo>
                  <a:pt x="1369" y="695"/>
                </a:lnTo>
                <a:lnTo>
                  <a:pt x="1366" y="697"/>
                </a:lnTo>
                <a:lnTo>
                  <a:pt x="1366" y="700"/>
                </a:lnTo>
                <a:lnTo>
                  <a:pt x="1369" y="701"/>
                </a:lnTo>
                <a:lnTo>
                  <a:pt x="1372" y="702"/>
                </a:lnTo>
                <a:lnTo>
                  <a:pt x="1370" y="702"/>
                </a:lnTo>
                <a:lnTo>
                  <a:pt x="1372" y="702"/>
                </a:lnTo>
                <a:close/>
                <a:moveTo>
                  <a:pt x="960" y="664"/>
                </a:moveTo>
                <a:lnTo>
                  <a:pt x="964" y="664"/>
                </a:lnTo>
                <a:lnTo>
                  <a:pt x="966" y="665"/>
                </a:lnTo>
                <a:lnTo>
                  <a:pt x="968" y="667"/>
                </a:lnTo>
                <a:lnTo>
                  <a:pt x="972" y="668"/>
                </a:lnTo>
                <a:lnTo>
                  <a:pt x="974" y="668"/>
                </a:lnTo>
                <a:lnTo>
                  <a:pt x="977" y="668"/>
                </a:lnTo>
                <a:lnTo>
                  <a:pt x="979" y="667"/>
                </a:lnTo>
                <a:lnTo>
                  <a:pt x="982" y="664"/>
                </a:lnTo>
                <a:lnTo>
                  <a:pt x="976" y="663"/>
                </a:lnTo>
                <a:lnTo>
                  <a:pt x="970" y="661"/>
                </a:lnTo>
                <a:lnTo>
                  <a:pt x="967" y="661"/>
                </a:lnTo>
                <a:lnTo>
                  <a:pt x="965" y="661"/>
                </a:lnTo>
                <a:lnTo>
                  <a:pt x="962" y="662"/>
                </a:lnTo>
                <a:lnTo>
                  <a:pt x="960" y="664"/>
                </a:lnTo>
                <a:lnTo>
                  <a:pt x="962" y="663"/>
                </a:lnTo>
                <a:lnTo>
                  <a:pt x="960" y="664"/>
                </a:lnTo>
                <a:close/>
                <a:moveTo>
                  <a:pt x="379" y="471"/>
                </a:moveTo>
                <a:lnTo>
                  <a:pt x="382" y="471"/>
                </a:lnTo>
                <a:lnTo>
                  <a:pt x="384" y="469"/>
                </a:lnTo>
                <a:lnTo>
                  <a:pt x="387" y="466"/>
                </a:lnTo>
                <a:lnTo>
                  <a:pt x="389" y="464"/>
                </a:lnTo>
                <a:lnTo>
                  <a:pt x="382" y="465"/>
                </a:lnTo>
                <a:lnTo>
                  <a:pt x="376" y="466"/>
                </a:lnTo>
                <a:lnTo>
                  <a:pt x="374" y="468"/>
                </a:lnTo>
                <a:lnTo>
                  <a:pt x="372" y="470"/>
                </a:lnTo>
                <a:lnTo>
                  <a:pt x="369" y="472"/>
                </a:lnTo>
                <a:lnTo>
                  <a:pt x="367" y="474"/>
                </a:lnTo>
                <a:lnTo>
                  <a:pt x="373" y="472"/>
                </a:lnTo>
                <a:lnTo>
                  <a:pt x="379" y="471"/>
                </a:lnTo>
                <a:lnTo>
                  <a:pt x="380" y="471"/>
                </a:lnTo>
                <a:lnTo>
                  <a:pt x="379" y="471"/>
                </a:lnTo>
                <a:close/>
                <a:moveTo>
                  <a:pt x="861" y="615"/>
                </a:moveTo>
                <a:lnTo>
                  <a:pt x="858" y="615"/>
                </a:lnTo>
                <a:lnTo>
                  <a:pt x="858" y="617"/>
                </a:lnTo>
                <a:lnTo>
                  <a:pt x="859" y="618"/>
                </a:lnTo>
                <a:lnTo>
                  <a:pt x="859" y="619"/>
                </a:lnTo>
                <a:lnTo>
                  <a:pt x="853" y="619"/>
                </a:lnTo>
                <a:lnTo>
                  <a:pt x="849" y="620"/>
                </a:lnTo>
                <a:lnTo>
                  <a:pt x="847" y="621"/>
                </a:lnTo>
                <a:lnTo>
                  <a:pt x="849" y="622"/>
                </a:lnTo>
                <a:lnTo>
                  <a:pt x="850" y="623"/>
                </a:lnTo>
                <a:lnTo>
                  <a:pt x="851" y="623"/>
                </a:lnTo>
                <a:lnTo>
                  <a:pt x="857" y="623"/>
                </a:lnTo>
                <a:lnTo>
                  <a:pt x="862" y="621"/>
                </a:lnTo>
                <a:lnTo>
                  <a:pt x="867" y="619"/>
                </a:lnTo>
                <a:lnTo>
                  <a:pt x="872" y="615"/>
                </a:lnTo>
                <a:lnTo>
                  <a:pt x="867" y="615"/>
                </a:lnTo>
                <a:lnTo>
                  <a:pt x="861" y="615"/>
                </a:lnTo>
                <a:lnTo>
                  <a:pt x="862" y="615"/>
                </a:lnTo>
                <a:lnTo>
                  <a:pt x="861" y="615"/>
                </a:lnTo>
                <a:close/>
                <a:moveTo>
                  <a:pt x="41" y="424"/>
                </a:moveTo>
                <a:lnTo>
                  <a:pt x="44" y="424"/>
                </a:lnTo>
                <a:lnTo>
                  <a:pt x="47" y="424"/>
                </a:lnTo>
                <a:lnTo>
                  <a:pt x="48" y="426"/>
                </a:lnTo>
                <a:lnTo>
                  <a:pt x="50" y="429"/>
                </a:lnTo>
                <a:lnTo>
                  <a:pt x="52" y="424"/>
                </a:lnTo>
                <a:lnTo>
                  <a:pt x="54" y="419"/>
                </a:lnTo>
                <a:lnTo>
                  <a:pt x="51" y="419"/>
                </a:lnTo>
                <a:lnTo>
                  <a:pt x="47" y="418"/>
                </a:lnTo>
                <a:lnTo>
                  <a:pt x="45" y="416"/>
                </a:lnTo>
                <a:lnTo>
                  <a:pt x="43" y="416"/>
                </a:lnTo>
                <a:lnTo>
                  <a:pt x="42" y="418"/>
                </a:lnTo>
                <a:lnTo>
                  <a:pt x="41" y="420"/>
                </a:lnTo>
                <a:lnTo>
                  <a:pt x="41" y="423"/>
                </a:lnTo>
                <a:lnTo>
                  <a:pt x="41" y="424"/>
                </a:lnTo>
                <a:lnTo>
                  <a:pt x="43" y="423"/>
                </a:lnTo>
                <a:lnTo>
                  <a:pt x="41" y="424"/>
                </a:lnTo>
                <a:close/>
                <a:moveTo>
                  <a:pt x="310" y="80"/>
                </a:moveTo>
                <a:lnTo>
                  <a:pt x="313" y="78"/>
                </a:lnTo>
                <a:lnTo>
                  <a:pt x="315" y="75"/>
                </a:lnTo>
                <a:lnTo>
                  <a:pt x="318" y="76"/>
                </a:lnTo>
                <a:lnTo>
                  <a:pt x="320" y="76"/>
                </a:lnTo>
                <a:lnTo>
                  <a:pt x="323" y="75"/>
                </a:lnTo>
                <a:lnTo>
                  <a:pt x="325" y="72"/>
                </a:lnTo>
                <a:lnTo>
                  <a:pt x="326" y="68"/>
                </a:lnTo>
                <a:lnTo>
                  <a:pt x="326" y="66"/>
                </a:lnTo>
                <a:lnTo>
                  <a:pt x="323" y="66"/>
                </a:lnTo>
                <a:lnTo>
                  <a:pt x="320" y="68"/>
                </a:lnTo>
                <a:lnTo>
                  <a:pt x="319" y="70"/>
                </a:lnTo>
                <a:lnTo>
                  <a:pt x="317" y="71"/>
                </a:lnTo>
                <a:lnTo>
                  <a:pt x="316" y="71"/>
                </a:lnTo>
                <a:lnTo>
                  <a:pt x="314" y="70"/>
                </a:lnTo>
                <a:lnTo>
                  <a:pt x="309" y="73"/>
                </a:lnTo>
                <a:lnTo>
                  <a:pt x="305" y="74"/>
                </a:lnTo>
                <a:lnTo>
                  <a:pt x="303" y="76"/>
                </a:lnTo>
                <a:lnTo>
                  <a:pt x="303" y="78"/>
                </a:lnTo>
                <a:lnTo>
                  <a:pt x="303" y="79"/>
                </a:lnTo>
                <a:lnTo>
                  <a:pt x="305" y="79"/>
                </a:lnTo>
                <a:lnTo>
                  <a:pt x="308" y="79"/>
                </a:lnTo>
                <a:lnTo>
                  <a:pt x="310" y="80"/>
                </a:lnTo>
                <a:lnTo>
                  <a:pt x="311" y="79"/>
                </a:lnTo>
                <a:lnTo>
                  <a:pt x="310" y="80"/>
                </a:lnTo>
                <a:close/>
                <a:moveTo>
                  <a:pt x="14" y="674"/>
                </a:moveTo>
                <a:lnTo>
                  <a:pt x="10" y="676"/>
                </a:lnTo>
                <a:lnTo>
                  <a:pt x="5" y="678"/>
                </a:lnTo>
                <a:lnTo>
                  <a:pt x="3" y="681"/>
                </a:lnTo>
                <a:lnTo>
                  <a:pt x="1" y="687"/>
                </a:lnTo>
                <a:lnTo>
                  <a:pt x="0" y="689"/>
                </a:lnTo>
                <a:lnTo>
                  <a:pt x="1" y="690"/>
                </a:lnTo>
                <a:lnTo>
                  <a:pt x="2" y="690"/>
                </a:lnTo>
                <a:lnTo>
                  <a:pt x="4" y="690"/>
                </a:lnTo>
                <a:lnTo>
                  <a:pt x="8" y="686"/>
                </a:lnTo>
                <a:lnTo>
                  <a:pt x="11" y="685"/>
                </a:lnTo>
                <a:lnTo>
                  <a:pt x="12" y="686"/>
                </a:lnTo>
                <a:lnTo>
                  <a:pt x="13" y="688"/>
                </a:lnTo>
                <a:lnTo>
                  <a:pt x="13" y="689"/>
                </a:lnTo>
                <a:lnTo>
                  <a:pt x="14" y="689"/>
                </a:lnTo>
                <a:lnTo>
                  <a:pt x="15" y="689"/>
                </a:lnTo>
                <a:lnTo>
                  <a:pt x="17" y="688"/>
                </a:lnTo>
                <a:lnTo>
                  <a:pt x="15" y="685"/>
                </a:lnTo>
                <a:lnTo>
                  <a:pt x="15" y="681"/>
                </a:lnTo>
                <a:lnTo>
                  <a:pt x="17" y="677"/>
                </a:lnTo>
                <a:lnTo>
                  <a:pt x="19" y="674"/>
                </a:lnTo>
                <a:lnTo>
                  <a:pt x="19" y="672"/>
                </a:lnTo>
                <a:lnTo>
                  <a:pt x="17" y="672"/>
                </a:lnTo>
                <a:lnTo>
                  <a:pt x="15" y="672"/>
                </a:lnTo>
                <a:lnTo>
                  <a:pt x="14" y="674"/>
                </a:lnTo>
                <a:lnTo>
                  <a:pt x="12" y="673"/>
                </a:lnTo>
                <a:lnTo>
                  <a:pt x="14" y="674"/>
                </a:lnTo>
                <a:close/>
                <a:moveTo>
                  <a:pt x="150" y="498"/>
                </a:moveTo>
                <a:lnTo>
                  <a:pt x="155" y="494"/>
                </a:lnTo>
                <a:lnTo>
                  <a:pt x="162" y="491"/>
                </a:lnTo>
                <a:lnTo>
                  <a:pt x="157" y="488"/>
                </a:lnTo>
                <a:lnTo>
                  <a:pt x="151" y="488"/>
                </a:lnTo>
                <a:lnTo>
                  <a:pt x="149" y="489"/>
                </a:lnTo>
                <a:lnTo>
                  <a:pt x="145" y="489"/>
                </a:lnTo>
                <a:lnTo>
                  <a:pt x="143" y="491"/>
                </a:lnTo>
                <a:lnTo>
                  <a:pt x="141" y="494"/>
                </a:lnTo>
                <a:lnTo>
                  <a:pt x="141" y="496"/>
                </a:lnTo>
                <a:lnTo>
                  <a:pt x="141" y="497"/>
                </a:lnTo>
                <a:lnTo>
                  <a:pt x="142" y="499"/>
                </a:lnTo>
                <a:lnTo>
                  <a:pt x="143" y="499"/>
                </a:lnTo>
                <a:lnTo>
                  <a:pt x="145" y="501"/>
                </a:lnTo>
                <a:lnTo>
                  <a:pt x="146" y="501"/>
                </a:lnTo>
                <a:lnTo>
                  <a:pt x="149" y="499"/>
                </a:lnTo>
                <a:lnTo>
                  <a:pt x="150" y="498"/>
                </a:lnTo>
                <a:close/>
                <a:moveTo>
                  <a:pt x="725" y="570"/>
                </a:moveTo>
                <a:lnTo>
                  <a:pt x="719" y="569"/>
                </a:lnTo>
                <a:lnTo>
                  <a:pt x="712" y="568"/>
                </a:lnTo>
                <a:lnTo>
                  <a:pt x="704" y="566"/>
                </a:lnTo>
                <a:lnTo>
                  <a:pt x="695" y="565"/>
                </a:lnTo>
                <a:lnTo>
                  <a:pt x="706" y="569"/>
                </a:lnTo>
                <a:lnTo>
                  <a:pt x="717" y="574"/>
                </a:lnTo>
                <a:lnTo>
                  <a:pt x="722" y="576"/>
                </a:lnTo>
                <a:lnTo>
                  <a:pt x="728" y="577"/>
                </a:lnTo>
                <a:lnTo>
                  <a:pt x="734" y="577"/>
                </a:lnTo>
                <a:lnTo>
                  <a:pt x="739" y="574"/>
                </a:lnTo>
                <a:lnTo>
                  <a:pt x="735" y="574"/>
                </a:lnTo>
                <a:lnTo>
                  <a:pt x="731" y="574"/>
                </a:lnTo>
                <a:lnTo>
                  <a:pt x="729" y="574"/>
                </a:lnTo>
                <a:lnTo>
                  <a:pt x="727" y="573"/>
                </a:lnTo>
                <a:lnTo>
                  <a:pt x="726" y="572"/>
                </a:lnTo>
                <a:lnTo>
                  <a:pt x="725" y="570"/>
                </a:lnTo>
                <a:lnTo>
                  <a:pt x="726" y="572"/>
                </a:lnTo>
                <a:lnTo>
                  <a:pt x="725" y="570"/>
                </a:lnTo>
                <a:close/>
                <a:moveTo>
                  <a:pt x="201" y="478"/>
                </a:moveTo>
                <a:lnTo>
                  <a:pt x="210" y="477"/>
                </a:lnTo>
                <a:lnTo>
                  <a:pt x="220" y="473"/>
                </a:lnTo>
                <a:lnTo>
                  <a:pt x="226" y="470"/>
                </a:lnTo>
                <a:lnTo>
                  <a:pt x="229" y="466"/>
                </a:lnTo>
                <a:lnTo>
                  <a:pt x="233" y="463"/>
                </a:lnTo>
                <a:lnTo>
                  <a:pt x="235" y="458"/>
                </a:lnTo>
                <a:lnTo>
                  <a:pt x="233" y="458"/>
                </a:lnTo>
                <a:lnTo>
                  <a:pt x="231" y="458"/>
                </a:lnTo>
                <a:lnTo>
                  <a:pt x="228" y="458"/>
                </a:lnTo>
                <a:lnTo>
                  <a:pt x="226" y="461"/>
                </a:lnTo>
                <a:lnTo>
                  <a:pt x="225" y="462"/>
                </a:lnTo>
                <a:lnTo>
                  <a:pt x="224" y="465"/>
                </a:lnTo>
                <a:lnTo>
                  <a:pt x="221" y="466"/>
                </a:lnTo>
                <a:lnTo>
                  <a:pt x="219" y="468"/>
                </a:lnTo>
                <a:lnTo>
                  <a:pt x="215" y="469"/>
                </a:lnTo>
                <a:lnTo>
                  <a:pt x="208" y="472"/>
                </a:lnTo>
                <a:lnTo>
                  <a:pt x="203" y="476"/>
                </a:lnTo>
                <a:lnTo>
                  <a:pt x="201" y="478"/>
                </a:lnTo>
                <a:lnTo>
                  <a:pt x="206" y="478"/>
                </a:lnTo>
                <a:lnTo>
                  <a:pt x="201" y="478"/>
                </a:lnTo>
                <a:close/>
                <a:moveTo>
                  <a:pt x="487" y="497"/>
                </a:moveTo>
                <a:lnTo>
                  <a:pt x="479" y="496"/>
                </a:lnTo>
                <a:lnTo>
                  <a:pt x="472" y="495"/>
                </a:lnTo>
                <a:lnTo>
                  <a:pt x="468" y="495"/>
                </a:lnTo>
                <a:lnTo>
                  <a:pt x="466" y="495"/>
                </a:lnTo>
                <a:lnTo>
                  <a:pt x="466" y="497"/>
                </a:lnTo>
                <a:lnTo>
                  <a:pt x="466" y="498"/>
                </a:lnTo>
                <a:lnTo>
                  <a:pt x="459" y="499"/>
                </a:lnTo>
                <a:lnTo>
                  <a:pt x="450" y="498"/>
                </a:lnTo>
                <a:lnTo>
                  <a:pt x="451" y="499"/>
                </a:lnTo>
                <a:lnTo>
                  <a:pt x="454" y="502"/>
                </a:lnTo>
                <a:lnTo>
                  <a:pt x="457" y="502"/>
                </a:lnTo>
                <a:lnTo>
                  <a:pt x="460" y="503"/>
                </a:lnTo>
                <a:lnTo>
                  <a:pt x="467" y="504"/>
                </a:lnTo>
                <a:lnTo>
                  <a:pt x="473" y="504"/>
                </a:lnTo>
                <a:lnTo>
                  <a:pt x="479" y="503"/>
                </a:lnTo>
                <a:lnTo>
                  <a:pt x="484" y="502"/>
                </a:lnTo>
                <a:lnTo>
                  <a:pt x="487" y="501"/>
                </a:lnTo>
                <a:lnTo>
                  <a:pt x="489" y="499"/>
                </a:lnTo>
                <a:lnTo>
                  <a:pt x="489" y="498"/>
                </a:lnTo>
                <a:lnTo>
                  <a:pt x="487" y="497"/>
                </a:lnTo>
                <a:lnTo>
                  <a:pt x="484" y="496"/>
                </a:lnTo>
                <a:lnTo>
                  <a:pt x="487" y="497"/>
                </a:lnTo>
                <a:close/>
                <a:moveTo>
                  <a:pt x="946" y="645"/>
                </a:moveTo>
                <a:lnTo>
                  <a:pt x="949" y="646"/>
                </a:lnTo>
                <a:lnTo>
                  <a:pt x="951" y="645"/>
                </a:lnTo>
                <a:lnTo>
                  <a:pt x="953" y="645"/>
                </a:lnTo>
                <a:lnTo>
                  <a:pt x="956" y="643"/>
                </a:lnTo>
                <a:lnTo>
                  <a:pt x="950" y="642"/>
                </a:lnTo>
                <a:lnTo>
                  <a:pt x="944" y="642"/>
                </a:lnTo>
                <a:lnTo>
                  <a:pt x="942" y="642"/>
                </a:lnTo>
                <a:lnTo>
                  <a:pt x="938" y="642"/>
                </a:lnTo>
                <a:lnTo>
                  <a:pt x="936" y="639"/>
                </a:lnTo>
                <a:lnTo>
                  <a:pt x="933" y="638"/>
                </a:lnTo>
                <a:lnTo>
                  <a:pt x="929" y="640"/>
                </a:lnTo>
                <a:lnTo>
                  <a:pt x="926" y="643"/>
                </a:lnTo>
                <a:lnTo>
                  <a:pt x="923" y="642"/>
                </a:lnTo>
                <a:lnTo>
                  <a:pt x="919" y="640"/>
                </a:lnTo>
                <a:lnTo>
                  <a:pt x="916" y="640"/>
                </a:lnTo>
                <a:lnTo>
                  <a:pt x="915" y="642"/>
                </a:lnTo>
                <a:lnTo>
                  <a:pt x="918" y="643"/>
                </a:lnTo>
                <a:lnTo>
                  <a:pt x="920" y="645"/>
                </a:lnTo>
                <a:lnTo>
                  <a:pt x="919" y="647"/>
                </a:lnTo>
                <a:lnTo>
                  <a:pt x="919" y="649"/>
                </a:lnTo>
                <a:lnTo>
                  <a:pt x="925" y="651"/>
                </a:lnTo>
                <a:lnTo>
                  <a:pt x="929" y="651"/>
                </a:lnTo>
                <a:lnTo>
                  <a:pt x="932" y="651"/>
                </a:lnTo>
                <a:lnTo>
                  <a:pt x="934" y="652"/>
                </a:lnTo>
                <a:lnTo>
                  <a:pt x="937" y="652"/>
                </a:lnTo>
                <a:lnTo>
                  <a:pt x="940" y="651"/>
                </a:lnTo>
                <a:lnTo>
                  <a:pt x="941" y="648"/>
                </a:lnTo>
                <a:lnTo>
                  <a:pt x="942" y="646"/>
                </a:lnTo>
                <a:lnTo>
                  <a:pt x="943" y="645"/>
                </a:lnTo>
                <a:lnTo>
                  <a:pt x="946" y="645"/>
                </a:lnTo>
                <a:lnTo>
                  <a:pt x="946" y="645"/>
                </a:lnTo>
                <a:lnTo>
                  <a:pt x="946" y="645"/>
                </a:lnTo>
                <a:close/>
                <a:moveTo>
                  <a:pt x="270" y="485"/>
                </a:moveTo>
                <a:lnTo>
                  <a:pt x="267" y="487"/>
                </a:lnTo>
                <a:lnTo>
                  <a:pt x="265" y="487"/>
                </a:lnTo>
                <a:lnTo>
                  <a:pt x="261" y="486"/>
                </a:lnTo>
                <a:lnTo>
                  <a:pt x="258" y="486"/>
                </a:lnTo>
                <a:lnTo>
                  <a:pt x="254" y="486"/>
                </a:lnTo>
                <a:lnTo>
                  <a:pt x="251" y="488"/>
                </a:lnTo>
                <a:lnTo>
                  <a:pt x="249" y="490"/>
                </a:lnTo>
                <a:lnTo>
                  <a:pt x="247" y="493"/>
                </a:lnTo>
                <a:lnTo>
                  <a:pt x="241" y="493"/>
                </a:lnTo>
                <a:lnTo>
                  <a:pt x="235" y="493"/>
                </a:lnTo>
                <a:lnTo>
                  <a:pt x="233" y="494"/>
                </a:lnTo>
                <a:lnTo>
                  <a:pt x="231" y="496"/>
                </a:lnTo>
                <a:lnTo>
                  <a:pt x="226" y="497"/>
                </a:lnTo>
                <a:lnTo>
                  <a:pt x="225" y="499"/>
                </a:lnTo>
                <a:lnTo>
                  <a:pt x="226" y="499"/>
                </a:lnTo>
                <a:lnTo>
                  <a:pt x="228" y="501"/>
                </a:lnTo>
                <a:lnTo>
                  <a:pt x="231" y="499"/>
                </a:lnTo>
                <a:lnTo>
                  <a:pt x="234" y="499"/>
                </a:lnTo>
                <a:lnTo>
                  <a:pt x="239" y="498"/>
                </a:lnTo>
                <a:lnTo>
                  <a:pt x="244" y="497"/>
                </a:lnTo>
                <a:lnTo>
                  <a:pt x="249" y="495"/>
                </a:lnTo>
                <a:lnTo>
                  <a:pt x="253" y="494"/>
                </a:lnTo>
                <a:lnTo>
                  <a:pt x="258" y="494"/>
                </a:lnTo>
                <a:lnTo>
                  <a:pt x="261" y="493"/>
                </a:lnTo>
                <a:lnTo>
                  <a:pt x="265" y="490"/>
                </a:lnTo>
                <a:lnTo>
                  <a:pt x="268" y="488"/>
                </a:lnTo>
                <a:lnTo>
                  <a:pt x="274" y="487"/>
                </a:lnTo>
                <a:lnTo>
                  <a:pt x="278" y="487"/>
                </a:lnTo>
                <a:lnTo>
                  <a:pt x="281" y="486"/>
                </a:lnTo>
                <a:lnTo>
                  <a:pt x="282" y="486"/>
                </a:lnTo>
                <a:lnTo>
                  <a:pt x="282" y="483"/>
                </a:lnTo>
                <a:lnTo>
                  <a:pt x="280" y="482"/>
                </a:lnTo>
                <a:lnTo>
                  <a:pt x="277" y="481"/>
                </a:lnTo>
                <a:lnTo>
                  <a:pt x="275" y="481"/>
                </a:lnTo>
                <a:lnTo>
                  <a:pt x="273" y="483"/>
                </a:lnTo>
                <a:lnTo>
                  <a:pt x="270" y="485"/>
                </a:lnTo>
                <a:lnTo>
                  <a:pt x="270" y="485"/>
                </a:lnTo>
                <a:lnTo>
                  <a:pt x="270" y="485"/>
                </a:lnTo>
                <a:close/>
                <a:moveTo>
                  <a:pt x="195" y="561"/>
                </a:moveTo>
                <a:lnTo>
                  <a:pt x="193" y="561"/>
                </a:lnTo>
                <a:lnTo>
                  <a:pt x="191" y="560"/>
                </a:lnTo>
                <a:lnTo>
                  <a:pt x="188" y="559"/>
                </a:lnTo>
                <a:lnTo>
                  <a:pt x="188" y="556"/>
                </a:lnTo>
                <a:lnTo>
                  <a:pt x="191" y="555"/>
                </a:lnTo>
                <a:lnTo>
                  <a:pt x="193" y="553"/>
                </a:lnTo>
                <a:lnTo>
                  <a:pt x="186" y="554"/>
                </a:lnTo>
                <a:lnTo>
                  <a:pt x="179" y="557"/>
                </a:lnTo>
                <a:lnTo>
                  <a:pt x="175" y="557"/>
                </a:lnTo>
                <a:lnTo>
                  <a:pt x="170" y="560"/>
                </a:lnTo>
                <a:lnTo>
                  <a:pt x="168" y="562"/>
                </a:lnTo>
                <a:lnTo>
                  <a:pt x="167" y="562"/>
                </a:lnTo>
                <a:lnTo>
                  <a:pt x="166" y="560"/>
                </a:lnTo>
                <a:lnTo>
                  <a:pt x="166" y="557"/>
                </a:lnTo>
                <a:lnTo>
                  <a:pt x="163" y="557"/>
                </a:lnTo>
                <a:lnTo>
                  <a:pt x="162" y="557"/>
                </a:lnTo>
                <a:lnTo>
                  <a:pt x="161" y="559"/>
                </a:lnTo>
                <a:lnTo>
                  <a:pt x="161" y="560"/>
                </a:lnTo>
                <a:lnTo>
                  <a:pt x="161" y="563"/>
                </a:lnTo>
                <a:lnTo>
                  <a:pt x="161" y="564"/>
                </a:lnTo>
                <a:lnTo>
                  <a:pt x="163" y="565"/>
                </a:lnTo>
                <a:lnTo>
                  <a:pt x="166" y="566"/>
                </a:lnTo>
                <a:lnTo>
                  <a:pt x="173" y="566"/>
                </a:lnTo>
                <a:lnTo>
                  <a:pt x="177" y="566"/>
                </a:lnTo>
                <a:lnTo>
                  <a:pt x="176" y="564"/>
                </a:lnTo>
                <a:lnTo>
                  <a:pt x="175" y="561"/>
                </a:lnTo>
                <a:lnTo>
                  <a:pt x="177" y="561"/>
                </a:lnTo>
                <a:lnTo>
                  <a:pt x="181" y="561"/>
                </a:lnTo>
                <a:lnTo>
                  <a:pt x="183" y="560"/>
                </a:lnTo>
                <a:lnTo>
                  <a:pt x="185" y="559"/>
                </a:lnTo>
                <a:lnTo>
                  <a:pt x="185" y="560"/>
                </a:lnTo>
                <a:lnTo>
                  <a:pt x="185" y="562"/>
                </a:lnTo>
                <a:lnTo>
                  <a:pt x="184" y="562"/>
                </a:lnTo>
                <a:lnTo>
                  <a:pt x="183" y="563"/>
                </a:lnTo>
                <a:lnTo>
                  <a:pt x="182" y="563"/>
                </a:lnTo>
                <a:lnTo>
                  <a:pt x="181" y="565"/>
                </a:lnTo>
                <a:lnTo>
                  <a:pt x="179" y="566"/>
                </a:lnTo>
                <a:lnTo>
                  <a:pt x="181" y="568"/>
                </a:lnTo>
                <a:lnTo>
                  <a:pt x="185" y="566"/>
                </a:lnTo>
                <a:lnTo>
                  <a:pt x="191" y="565"/>
                </a:lnTo>
                <a:lnTo>
                  <a:pt x="193" y="565"/>
                </a:lnTo>
                <a:lnTo>
                  <a:pt x="195" y="563"/>
                </a:lnTo>
                <a:lnTo>
                  <a:pt x="196" y="563"/>
                </a:lnTo>
                <a:lnTo>
                  <a:pt x="196" y="562"/>
                </a:lnTo>
                <a:lnTo>
                  <a:pt x="196" y="561"/>
                </a:lnTo>
                <a:lnTo>
                  <a:pt x="195" y="561"/>
                </a:lnTo>
                <a:lnTo>
                  <a:pt x="194" y="561"/>
                </a:lnTo>
                <a:lnTo>
                  <a:pt x="195" y="561"/>
                </a:lnTo>
                <a:close/>
                <a:moveTo>
                  <a:pt x="201" y="468"/>
                </a:moveTo>
                <a:lnTo>
                  <a:pt x="194" y="470"/>
                </a:lnTo>
                <a:lnTo>
                  <a:pt x="188" y="473"/>
                </a:lnTo>
                <a:lnTo>
                  <a:pt x="184" y="477"/>
                </a:lnTo>
                <a:lnTo>
                  <a:pt x="179" y="478"/>
                </a:lnTo>
                <a:lnTo>
                  <a:pt x="177" y="477"/>
                </a:lnTo>
                <a:lnTo>
                  <a:pt x="176" y="476"/>
                </a:lnTo>
                <a:lnTo>
                  <a:pt x="174" y="477"/>
                </a:lnTo>
                <a:lnTo>
                  <a:pt x="171" y="478"/>
                </a:lnTo>
                <a:lnTo>
                  <a:pt x="167" y="483"/>
                </a:lnTo>
                <a:lnTo>
                  <a:pt x="165" y="490"/>
                </a:lnTo>
                <a:lnTo>
                  <a:pt x="169" y="490"/>
                </a:lnTo>
                <a:lnTo>
                  <a:pt x="173" y="489"/>
                </a:lnTo>
                <a:lnTo>
                  <a:pt x="175" y="487"/>
                </a:lnTo>
                <a:lnTo>
                  <a:pt x="178" y="485"/>
                </a:lnTo>
                <a:lnTo>
                  <a:pt x="186" y="482"/>
                </a:lnTo>
                <a:lnTo>
                  <a:pt x="193" y="479"/>
                </a:lnTo>
                <a:lnTo>
                  <a:pt x="192" y="479"/>
                </a:lnTo>
                <a:lnTo>
                  <a:pt x="190" y="478"/>
                </a:lnTo>
                <a:lnTo>
                  <a:pt x="198" y="474"/>
                </a:lnTo>
                <a:lnTo>
                  <a:pt x="206" y="469"/>
                </a:lnTo>
                <a:lnTo>
                  <a:pt x="206" y="468"/>
                </a:lnTo>
                <a:lnTo>
                  <a:pt x="207" y="466"/>
                </a:lnTo>
                <a:lnTo>
                  <a:pt x="208" y="465"/>
                </a:lnTo>
                <a:lnTo>
                  <a:pt x="206" y="465"/>
                </a:lnTo>
                <a:lnTo>
                  <a:pt x="203" y="466"/>
                </a:lnTo>
                <a:lnTo>
                  <a:pt x="201" y="468"/>
                </a:lnTo>
                <a:lnTo>
                  <a:pt x="201" y="468"/>
                </a:lnTo>
                <a:lnTo>
                  <a:pt x="201" y="468"/>
                </a:lnTo>
                <a:close/>
                <a:moveTo>
                  <a:pt x="453" y="464"/>
                </a:moveTo>
                <a:lnTo>
                  <a:pt x="453" y="463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close/>
                <a:moveTo>
                  <a:pt x="453" y="460"/>
                </a:moveTo>
                <a:lnTo>
                  <a:pt x="443" y="461"/>
                </a:lnTo>
                <a:lnTo>
                  <a:pt x="434" y="461"/>
                </a:lnTo>
                <a:lnTo>
                  <a:pt x="427" y="460"/>
                </a:lnTo>
                <a:lnTo>
                  <a:pt x="420" y="460"/>
                </a:lnTo>
                <a:lnTo>
                  <a:pt x="417" y="461"/>
                </a:lnTo>
                <a:lnTo>
                  <a:pt x="417" y="463"/>
                </a:lnTo>
                <a:lnTo>
                  <a:pt x="417" y="464"/>
                </a:lnTo>
                <a:lnTo>
                  <a:pt x="416" y="468"/>
                </a:lnTo>
                <a:lnTo>
                  <a:pt x="413" y="471"/>
                </a:lnTo>
                <a:lnTo>
                  <a:pt x="409" y="474"/>
                </a:lnTo>
                <a:lnTo>
                  <a:pt x="418" y="474"/>
                </a:lnTo>
                <a:lnTo>
                  <a:pt x="427" y="471"/>
                </a:lnTo>
                <a:lnTo>
                  <a:pt x="431" y="468"/>
                </a:lnTo>
                <a:lnTo>
                  <a:pt x="434" y="465"/>
                </a:lnTo>
                <a:lnTo>
                  <a:pt x="443" y="464"/>
                </a:lnTo>
                <a:lnTo>
                  <a:pt x="453" y="464"/>
                </a:lnTo>
                <a:lnTo>
                  <a:pt x="453" y="462"/>
                </a:lnTo>
                <a:lnTo>
                  <a:pt x="453" y="460"/>
                </a:lnTo>
                <a:lnTo>
                  <a:pt x="449" y="462"/>
                </a:lnTo>
                <a:lnTo>
                  <a:pt x="453" y="460"/>
                </a:lnTo>
                <a:close/>
                <a:moveTo>
                  <a:pt x="453" y="464"/>
                </a:moveTo>
                <a:lnTo>
                  <a:pt x="453" y="464"/>
                </a:lnTo>
                <a:lnTo>
                  <a:pt x="453" y="464"/>
                </a:lnTo>
                <a:lnTo>
                  <a:pt x="453" y="465"/>
                </a:lnTo>
                <a:lnTo>
                  <a:pt x="451" y="465"/>
                </a:lnTo>
                <a:lnTo>
                  <a:pt x="445" y="469"/>
                </a:lnTo>
                <a:lnTo>
                  <a:pt x="438" y="472"/>
                </a:lnTo>
                <a:lnTo>
                  <a:pt x="448" y="472"/>
                </a:lnTo>
                <a:lnTo>
                  <a:pt x="457" y="472"/>
                </a:lnTo>
                <a:lnTo>
                  <a:pt x="466" y="471"/>
                </a:lnTo>
                <a:lnTo>
                  <a:pt x="476" y="471"/>
                </a:lnTo>
                <a:lnTo>
                  <a:pt x="475" y="473"/>
                </a:lnTo>
                <a:lnTo>
                  <a:pt x="474" y="474"/>
                </a:lnTo>
                <a:lnTo>
                  <a:pt x="475" y="474"/>
                </a:lnTo>
                <a:lnTo>
                  <a:pt x="476" y="474"/>
                </a:lnTo>
                <a:lnTo>
                  <a:pt x="479" y="476"/>
                </a:lnTo>
                <a:lnTo>
                  <a:pt x="481" y="477"/>
                </a:lnTo>
                <a:lnTo>
                  <a:pt x="482" y="479"/>
                </a:lnTo>
                <a:lnTo>
                  <a:pt x="481" y="481"/>
                </a:lnTo>
                <a:lnTo>
                  <a:pt x="480" y="482"/>
                </a:lnTo>
                <a:lnTo>
                  <a:pt x="476" y="482"/>
                </a:lnTo>
                <a:lnTo>
                  <a:pt x="468" y="482"/>
                </a:lnTo>
                <a:lnTo>
                  <a:pt x="459" y="483"/>
                </a:lnTo>
                <a:lnTo>
                  <a:pt x="453" y="486"/>
                </a:lnTo>
                <a:lnTo>
                  <a:pt x="447" y="489"/>
                </a:lnTo>
                <a:lnTo>
                  <a:pt x="438" y="491"/>
                </a:lnTo>
                <a:lnTo>
                  <a:pt x="427" y="493"/>
                </a:lnTo>
                <a:lnTo>
                  <a:pt x="418" y="494"/>
                </a:lnTo>
                <a:lnTo>
                  <a:pt x="408" y="495"/>
                </a:lnTo>
                <a:lnTo>
                  <a:pt x="401" y="496"/>
                </a:lnTo>
                <a:lnTo>
                  <a:pt x="392" y="498"/>
                </a:lnTo>
                <a:lnTo>
                  <a:pt x="389" y="499"/>
                </a:lnTo>
                <a:lnTo>
                  <a:pt x="384" y="501"/>
                </a:lnTo>
                <a:lnTo>
                  <a:pt x="381" y="503"/>
                </a:lnTo>
                <a:lnTo>
                  <a:pt x="379" y="506"/>
                </a:lnTo>
                <a:lnTo>
                  <a:pt x="384" y="506"/>
                </a:lnTo>
                <a:lnTo>
                  <a:pt x="390" y="505"/>
                </a:lnTo>
                <a:lnTo>
                  <a:pt x="391" y="504"/>
                </a:lnTo>
                <a:lnTo>
                  <a:pt x="393" y="503"/>
                </a:lnTo>
                <a:lnTo>
                  <a:pt x="400" y="503"/>
                </a:lnTo>
                <a:lnTo>
                  <a:pt x="408" y="503"/>
                </a:lnTo>
                <a:lnTo>
                  <a:pt x="410" y="502"/>
                </a:lnTo>
                <a:lnTo>
                  <a:pt x="414" y="499"/>
                </a:lnTo>
                <a:lnTo>
                  <a:pt x="416" y="499"/>
                </a:lnTo>
                <a:lnTo>
                  <a:pt x="421" y="499"/>
                </a:lnTo>
                <a:lnTo>
                  <a:pt x="429" y="502"/>
                </a:lnTo>
                <a:lnTo>
                  <a:pt x="438" y="503"/>
                </a:lnTo>
                <a:lnTo>
                  <a:pt x="434" y="501"/>
                </a:lnTo>
                <a:lnTo>
                  <a:pt x="432" y="497"/>
                </a:lnTo>
                <a:lnTo>
                  <a:pt x="443" y="497"/>
                </a:lnTo>
                <a:lnTo>
                  <a:pt x="454" y="494"/>
                </a:lnTo>
                <a:lnTo>
                  <a:pt x="457" y="494"/>
                </a:lnTo>
                <a:lnTo>
                  <a:pt x="460" y="493"/>
                </a:lnTo>
                <a:lnTo>
                  <a:pt x="464" y="491"/>
                </a:lnTo>
                <a:lnTo>
                  <a:pt x="467" y="489"/>
                </a:lnTo>
                <a:lnTo>
                  <a:pt x="473" y="487"/>
                </a:lnTo>
                <a:lnTo>
                  <a:pt x="479" y="486"/>
                </a:lnTo>
                <a:lnTo>
                  <a:pt x="481" y="485"/>
                </a:lnTo>
                <a:lnTo>
                  <a:pt x="487" y="482"/>
                </a:lnTo>
                <a:lnTo>
                  <a:pt x="488" y="481"/>
                </a:lnTo>
                <a:lnTo>
                  <a:pt x="490" y="480"/>
                </a:lnTo>
                <a:lnTo>
                  <a:pt x="490" y="479"/>
                </a:lnTo>
                <a:lnTo>
                  <a:pt x="489" y="478"/>
                </a:lnTo>
                <a:lnTo>
                  <a:pt x="489" y="478"/>
                </a:lnTo>
                <a:lnTo>
                  <a:pt x="489" y="478"/>
                </a:lnTo>
                <a:lnTo>
                  <a:pt x="484" y="474"/>
                </a:lnTo>
                <a:lnTo>
                  <a:pt x="479" y="471"/>
                </a:lnTo>
                <a:lnTo>
                  <a:pt x="487" y="469"/>
                </a:lnTo>
                <a:lnTo>
                  <a:pt x="495" y="470"/>
                </a:lnTo>
                <a:lnTo>
                  <a:pt x="503" y="472"/>
                </a:lnTo>
                <a:lnTo>
                  <a:pt x="509" y="473"/>
                </a:lnTo>
                <a:lnTo>
                  <a:pt x="519" y="473"/>
                </a:lnTo>
                <a:lnTo>
                  <a:pt x="526" y="472"/>
                </a:lnTo>
                <a:lnTo>
                  <a:pt x="536" y="472"/>
                </a:lnTo>
                <a:lnTo>
                  <a:pt x="545" y="472"/>
                </a:lnTo>
                <a:lnTo>
                  <a:pt x="554" y="472"/>
                </a:lnTo>
                <a:lnTo>
                  <a:pt x="562" y="470"/>
                </a:lnTo>
                <a:lnTo>
                  <a:pt x="564" y="470"/>
                </a:lnTo>
                <a:lnTo>
                  <a:pt x="567" y="469"/>
                </a:lnTo>
                <a:lnTo>
                  <a:pt x="569" y="469"/>
                </a:lnTo>
                <a:lnTo>
                  <a:pt x="570" y="468"/>
                </a:lnTo>
                <a:lnTo>
                  <a:pt x="570" y="466"/>
                </a:lnTo>
                <a:lnTo>
                  <a:pt x="570" y="465"/>
                </a:lnTo>
                <a:lnTo>
                  <a:pt x="569" y="464"/>
                </a:lnTo>
                <a:lnTo>
                  <a:pt x="567" y="464"/>
                </a:lnTo>
                <a:lnTo>
                  <a:pt x="566" y="464"/>
                </a:lnTo>
                <a:lnTo>
                  <a:pt x="565" y="465"/>
                </a:lnTo>
                <a:lnTo>
                  <a:pt x="563" y="466"/>
                </a:lnTo>
                <a:lnTo>
                  <a:pt x="561" y="468"/>
                </a:lnTo>
                <a:lnTo>
                  <a:pt x="557" y="470"/>
                </a:lnTo>
                <a:lnTo>
                  <a:pt x="555" y="469"/>
                </a:lnTo>
                <a:lnTo>
                  <a:pt x="553" y="468"/>
                </a:lnTo>
                <a:lnTo>
                  <a:pt x="552" y="465"/>
                </a:lnTo>
                <a:lnTo>
                  <a:pt x="549" y="468"/>
                </a:lnTo>
                <a:lnTo>
                  <a:pt x="548" y="469"/>
                </a:lnTo>
                <a:lnTo>
                  <a:pt x="545" y="470"/>
                </a:lnTo>
                <a:lnTo>
                  <a:pt x="542" y="470"/>
                </a:lnTo>
                <a:lnTo>
                  <a:pt x="536" y="468"/>
                </a:lnTo>
                <a:lnTo>
                  <a:pt x="530" y="468"/>
                </a:lnTo>
                <a:lnTo>
                  <a:pt x="523" y="468"/>
                </a:lnTo>
                <a:lnTo>
                  <a:pt x="515" y="468"/>
                </a:lnTo>
                <a:lnTo>
                  <a:pt x="507" y="465"/>
                </a:lnTo>
                <a:lnTo>
                  <a:pt x="499" y="462"/>
                </a:lnTo>
                <a:lnTo>
                  <a:pt x="490" y="461"/>
                </a:lnTo>
                <a:lnTo>
                  <a:pt x="482" y="462"/>
                </a:lnTo>
                <a:lnTo>
                  <a:pt x="473" y="463"/>
                </a:lnTo>
                <a:lnTo>
                  <a:pt x="464" y="463"/>
                </a:lnTo>
                <a:lnTo>
                  <a:pt x="459" y="463"/>
                </a:lnTo>
                <a:lnTo>
                  <a:pt x="455" y="463"/>
                </a:lnTo>
                <a:lnTo>
                  <a:pt x="454" y="463"/>
                </a:lnTo>
                <a:lnTo>
                  <a:pt x="453" y="464"/>
                </a:lnTo>
                <a:lnTo>
                  <a:pt x="453" y="464"/>
                </a:lnTo>
                <a:close/>
                <a:moveTo>
                  <a:pt x="344" y="470"/>
                </a:moveTo>
                <a:lnTo>
                  <a:pt x="339" y="472"/>
                </a:lnTo>
                <a:lnTo>
                  <a:pt x="331" y="473"/>
                </a:lnTo>
                <a:lnTo>
                  <a:pt x="326" y="474"/>
                </a:lnTo>
                <a:lnTo>
                  <a:pt x="323" y="474"/>
                </a:lnTo>
                <a:lnTo>
                  <a:pt x="320" y="473"/>
                </a:lnTo>
                <a:lnTo>
                  <a:pt x="318" y="472"/>
                </a:lnTo>
                <a:lnTo>
                  <a:pt x="323" y="471"/>
                </a:lnTo>
                <a:lnTo>
                  <a:pt x="326" y="470"/>
                </a:lnTo>
                <a:lnTo>
                  <a:pt x="331" y="469"/>
                </a:lnTo>
                <a:lnTo>
                  <a:pt x="333" y="465"/>
                </a:lnTo>
                <a:lnTo>
                  <a:pt x="326" y="466"/>
                </a:lnTo>
                <a:lnTo>
                  <a:pt x="320" y="468"/>
                </a:lnTo>
                <a:lnTo>
                  <a:pt x="315" y="470"/>
                </a:lnTo>
                <a:lnTo>
                  <a:pt x="309" y="474"/>
                </a:lnTo>
                <a:lnTo>
                  <a:pt x="305" y="478"/>
                </a:lnTo>
                <a:lnTo>
                  <a:pt x="300" y="479"/>
                </a:lnTo>
                <a:lnTo>
                  <a:pt x="299" y="480"/>
                </a:lnTo>
                <a:lnTo>
                  <a:pt x="298" y="480"/>
                </a:lnTo>
                <a:lnTo>
                  <a:pt x="298" y="480"/>
                </a:lnTo>
                <a:lnTo>
                  <a:pt x="298" y="482"/>
                </a:lnTo>
                <a:lnTo>
                  <a:pt x="299" y="483"/>
                </a:lnTo>
                <a:lnTo>
                  <a:pt x="301" y="485"/>
                </a:lnTo>
                <a:lnTo>
                  <a:pt x="308" y="483"/>
                </a:lnTo>
                <a:lnTo>
                  <a:pt x="315" y="481"/>
                </a:lnTo>
                <a:lnTo>
                  <a:pt x="323" y="478"/>
                </a:lnTo>
                <a:lnTo>
                  <a:pt x="331" y="477"/>
                </a:lnTo>
                <a:lnTo>
                  <a:pt x="339" y="476"/>
                </a:lnTo>
                <a:lnTo>
                  <a:pt x="346" y="474"/>
                </a:lnTo>
                <a:lnTo>
                  <a:pt x="348" y="473"/>
                </a:lnTo>
                <a:lnTo>
                  <a:pt x="349" y="471"/>
                </a:lnTo>
                <a:lnTo>
                  <a:pt x="348" y="470"/>
                </a:lnTo>
                <a:lnTo>
                  <a:pt x="347" y="470"/>
                </a:lnTo>
                <a:lnTo>
                  <a:pt x="346" y="470"/>
                </a:lnTo>
                <a:lnTo>
                  <a:pt x="344" y="470"/>
                </a:lnTo>
                <a:lnTo>
                  <a:pt x="342" y="471"/>
                </a:lnTo>
                <a:lnTo>
                  <a:pt x="344" y="470"/>
                </a:lnTo>
                <a:close/>
                <a:moveTo>
                  <a:pt x="843" y="607"/>
                </a:moveTo>
                <a:lnTo>
                  <a:pt x="835" y="605"/>
                </a:lnTo>
                <a:lnTo>
                  <a:pt x="826" y="604"/>
                </a:lnTo>
                <a:lnTo>
                  <a:pt x="817" y="603"/>
                </a:lnTo>
                <a:lnTo>
                  <a:pt x="809" y="601"/>
                </a:lnTo>
                <a:lnTo>
                  <a:pt x="802" y="599"/>
                </a:lnTo>
                <a:lnTo>
                  <a:pt x="795" y="596"/>
                </a:lnTo>
                <a:lnTo>
                  <a:pt x="793" y="594"/>
                </a:lnTo>
                <a:lnTo>
                  <a:pt x="791" y="593"/>
                </a:lnTo>
                <a:lnTo>
                  <a:pt x="786" y="593"/>
                </a:lnTo>
                <a:lnTo>
                  <a:pt x="783" y="593"/>
                </a:lnTo>
                <a:lnTo>
                  <a:pt x="776" y="591"/>
                </a:lnTo>
                <a:lnTo>
                  <a:pt x="770" y="591"/>
                </a:lnTo>
                <a:lnTo>
                  <a:pt x="769" y="593"/>
                </a:lnTo>
                <a:lnTo>
                  <a:pt x="769" y="594"/>
                </a:lnTo>
                <a:lnTo>
                  <a:pt x="771" y="595"/>
                </a:lnTo>
                <a:lnTo>
                  <a:pt x="772" y="596"/>
                </a:lnTo>
                <a:lnTo>
                  <a:pt x="775" y="596"/>
                </a:lnTo>
                <a:lnTo>
                  <a:pt x="777" y="596"/>
                </a:lnTo>
                <a:lnTo>
                  <a:pt x="778" y="598"/>
                </a:lnTo>
                <a:lnTo>
                  <a:pt x="780" y="601"/>
                </a:lnTo>
                <a:lnTo>
                  <a:pt x="786" y="602"/>
                </a:lnTo>
                <a:lnTo>
                  <a:pt x="792" y="602"/>
                </a:lnTo>
                <a:lnTo>
                  <a:pt x="799" y="602"/>
                </a:lnTo>
                <a:lnTo>
                  <a:pt x="804" y="604"/>
                </a:lnTo>
                <a:lnTo>
                  <a:pt x="804" y="606"/>
                </a:lnTo>
                <a:lnTo>
                  <a:pt x="803" y="609"/>
                </a:lnTo>
                <a:lnTo>
                  <a:pt x="804" y="610"/>
                </a:lnTo>
                <a:lnTo>
                  <a:pt x="805" y="611"/>
                </a:lnTo>
                <a:lnTo>
                  <a:pt x="806" y="612"/>
                </a:lnTo>
                <a:lnTo>
                  <a:pt x="809" y="613"/>
                </a:lnTo>
                <a:lnTo>
                  <a:pt x="808" y="615"/>
                </a:lnTo>
                <a:lnTo>
                  <a:pt x="809" y="618"/>
                </a:lnTo>
                <a:lnTo>
                  <a:pt x="812" y="619"/>
                </a:lnTo>
                <a:lnTo>
                  <a:pt x="816" y="618"/>
                </a:lnTo>
                <a:lnTo>
                  <a:pt x="822" y="621"/>
                </a:lnTo>
                <a:lnTo>
                  <a:pt x="829" y="623"/>
                </a:lnTo>
                <a:lnTo>
                  <a:pt x="832" y="624"/>
                </a:lnTo>
                <a:lnTo>
                  <a:pt x="835" y="624"/>
                </a:lnTo>
                <a:lnTo>
                  <a:pt x="836" y="624"/>
                </a:lnTo>
                <a:lnTo>
                  <a:pt x="838" y="624"/>
                </a:lnTo>
                <a:lnTo>
                  <a:pt x="838" y="623"/>
                </a:lnTo>
                <a:lnTo>
                  <a:pt x="838" y="622"/>
                </a:lnTo>
                <a:lnTo>
                  <a:pt x="834" y="621"/>
                </a:lnTo>
                <a:lnTo>
                  <a:pt x="829" y="620"/>
                </a:lnTo>
                <a:lnTo>
                  <a:pt x="824" y="617"/>
                </a:lnTo>
                <a:lnTo>
                  <a:pt x="818" y="612"/>
                </a:lnTo>
                <a:lnTo>
                  <a:pt x="822" y="612"/>
                </a:lnTo>
                <a:lnTo>
                  <a:pt x="827" y="613"/>
                </a:lnTo>
                <a:lnTo>
                  <a:pt x="832" y="615"/>
                </a:lnTo>
                <a:lnTo>
                  <a:pt x="835" y="618"/>
                </a:lnTo>
                <a:lnTo>
                  <a:pt x="837" y="618"/>
                </a:lnTo>
                <a:lnTo>
                  <a:pt x="838" y="618"/>
                </a:lnTo>
                <a:lnTo>
                  <a:pt x="838" y="617"/>
                </a:lnTo>
                <a:lnTo>
                  <a:pt x="837" y="615"/>
                </a:lnTo>
                <a:lnTo>
                  <a:pt x="834" y="612"/>
                </a:lnTo>
                <a:lnTo>
                  <a:pt x="832" y="611"/>
                </a:lnTo>
                <a:lnTo>
                  <a:pt x="837" y="611"/>
                </a:lnTo>
                <a:lnTo>
                  <a:pt x="843" y="613"/>
                </a:lnTo>
                <a:lnTo>
                  <a:pt x="845" y="612"/>
                </a:lnTo>
                <a:lnTo>
                  <a:pt x="845" y="610"/>
                </a:lnTo>
                <a:lnTo>
                  <a:pt x="845" y="609"/>
                </a:lnTo>
                <a:lnTo>
                  <a:pt x="843" y="607"/>
                </a:lnTo>
                <a:lnTo>
                  <a:pt x="841" y="606"/>
                </a:lnTo>
                <a:lnTo>
                  <a:pt x="843" y="607"/>
                </a:lnTo>
                <a:close/>
                <a:moveTo>
                  <a:pt x="193" y="117"/>
                </a:moveTo>
                <a:lnTo>
                  <a:pt x="195" y="115"/>
                </a:lnTo>
                <a:lnTo>
                  <a:pt x="198" y="113"/>
                </a:lnTo>
                <a:lnTo>
                  <a:pt x="202" y="111"/>
                </a:lnTo>
                <a:lnTo>
                  <a:pt x="207" y="109"/>
                </a:lnTo>
                <a:lnTo>
                  <a:pt x="217" y="105"/>
                </a:lnTo>
                <a:lnTo>
                  <a:pt x="228" y="103"/>
                </a:lnTo>
                <a:lnTo>
                  <a:pt x="232" y="104"/>
                </a:lnTo>
                <a:lnTo>
                  <a:pt x="235" y="103"/>
                </a:lnTo>
                <a:lnTo>
                  <a:pt x="235" y="100"/>
                </a:lnTo>
                <a:lnTo>
                  <a:pt x="236" y="99"/>
                </a:lnTo>
                <a:lnTo>
                  <a:pt x="237" y="100"/>
                </a:lnTo>
                <a:lnTo>
                  <a:pt x="239" y="100"/>
                </a:lnTo>
                <a:lnTo>
                  <a:pt x="242" y="99"/>
                </a:lnTo>
                <a:lnTo>
                  <a:pt x="244" y="97"/>
                </a:lnTo>
                <a:lnTo>
                  <a:pt x="249" y="96"/>
                </a:lnTo>
                <a:lnTo>
                  <a:pt x="253" y="96"/>
                </a:lnTo>
                <a:lnTo>
                  <a:pt x="251" y="94"/>
                </a:lnTo>
                <a:lnTo>
                  <a:pt x="250" y="90"/>
                </a:lnTo>
                <a:lnTo>
                  <a:pt x="258" y="92"/>
                </a:lnTo>
                <a:lnTo>
                  <a:pt x="266" y="94"/>
                </a:lnTo>
                <a:lnTo>
                  <a:pt x="268" y="91"/>
                </a:lnTo>
                <a:lnTo>
                  <a:pt x="270" y="90"/>
                </a:lnTo>
                <a:lnTo>
                  <a:pt x="275" y="88"/>
                </a:lnTo>
                <a:lnTo>
                  <a:pt x="280" y="87"/>
                </a:lnTo>
                <a:lnTo>
                  <a:pt x="284" y="86"/>
                </a:lnTo>
                <a:lnTo>
                  <a:pt x="289" y="84"/>
                </a:lnTo>
                <a:lnTo>
                  <a:pt x="293" y="84"/>
                </a:lnTo>
                <a:lnTo>
                  <a:pt x="297" y="84"/>
                </a:lnTo>
                <a:lnTo>
                  <a:pt x="299" y="86"/>
                </a:lnTo>
                <a:lnTo>
                  <a:pt x="301" y="84"/>
                </a:lnTo>
                <a:lnTo>
                  <a:pt x="301" y="83"/>
                </a:lnTo>
                <a:lnTo>
                  <a:pt x="300" y="81"/>
                </a:lnTo>
                <a:lnTo>
                  <a:pt x="300" y="78"/>
                </a:lnTo>
                <a:lnTo>
                  <a:pt x="300" y="73"/>
                </a:lnTo>
                <a:lnTo>
                  <a:pt x="294" y="74"/>
                </a:lnTo>
                <a:lnTo>
                  <a:pt x="287" y="75"/>
                </a:lnTo>
                <a:lnTo>
                  <a:pt x="281" y="78"/>
                </a:lnTo>
                <a:lnTo>
                  <a:pt x="274" y="80"/>
                </a:lnTo>
                <a:lnTo>
                  <a:pt x="268" y="81"/>
                </a:lnTo>
                <a:lnTo>
                  <a:pt x="262" y="82"/>
                </a:lnTo>
                <a:lnTo>
                  <a:pt x="260" y="83"/>
                </a:lnTo>
                <a:lnTo>
                  <a:pt x="259" y="84"/>
                </a:lnTo>
                <a:lnTo>
                  <a:pt x="257" y="84"/>
                </a:lnTo>
                <a:lnTo>
                  <a:pt x="254" y="86"/>
                </a:lnTo>
                <a:lnTo>
                  <a:pt x="250" y="88"/>
                </a:lnTo>
                <a:lnTo>
                  <a:pt x="245" y="91"/>
                </a:lnTo>
                <a:lnTo>
                  <a:pt x="243" y="91"/>
                </a:lnTo>
                <a:lnTo>
                  <a:pt x="240" y="90"/>
                </a:lnTo>
                <a:lnTo>
                  <a:pt x="235" y="91"/>
                </a:lnTo>
                <a:lnTo>
                  <a:pt x="232" y="92"/>
                </a:lnTo>
                <a:lnTo>
                  <a:pt x="229" y="94"/>
                </a:lnTo>
                <a:lnTo>
                  <a:pt x="228" y="95"/>
                </a:lnTo>
                <a:lnTo>
                  <a:pt x="227" y="96"/>
                </a:lnTo>
                <a:lnTo>
                  <a:pt x="225" y="98"/>
                </a:lnTo>
                <a:lnTo>
                  <a:pt x="217" y="100"/>
                </a:lnTo>
                <a:lnTo>
                  <a:pt x="209" y="101"/>
                </a:lnTo>
                <a:lnTo>
                  <a:pt x="207" y="104"/>
                </a:lnTo>
                <a:lnTo>
                  <a:pt x="204" y="107"/>
                </a:lnTo>
                <a:lnTo>
                  <a:pt x="202" y="108"/>
                </a:lnTo>
                <a:lnTo>
                  <a:pt x="202" y="107"/>
                </a:lnTo>
                <a:lnTo>
                  <a:pt x="202" y="106"/>
                </a:lnTo>
                <a:lnTo>
                  <a:pt x="201" y="105"/>
                </a:lnTo>
                <a:lnTo>
                  <a:pt x="200" y="104"/>
                </a:lnTo>
                <a:lnTo>
                  <a:pt x="200" y="104"/>
                </a:lnTo>
                <a:lnTo>
                  <a:pt x="199" y="104"/>
                </a:lnTo>
                <a:lnTo>
                  <a:pt x="198" y="105"/>
                </a:lnTo>
                <a:lnTo>
                  <a:pt x="196" y="106"/>
                </a:lnTo>
                <a:lnTo>
                  <a:pt x="194" y="107"/>
                </a:lnTo>
                <a:lnTo>
                  <a:pt x="192" y="107"/>
                </a:lnTo>
                <a:lnTo>
                  <a:pt x="191" y="107"/>
                </a:lnTo>
                <a:lnTo>
                  <a:pt x="187" y="109"/>
                </a:lnTo>
                <a:lnTo>
                  <a:pt x="184" y="113"/>
                </a:lnTo>
                <a:lnTo>
                  <a:pt x="179" y="115"/>
                </a:lnTo>
                <a:lnTo>
                  <a:pt x="175" y="115"/>
                </a:lnTo>
                <a:lnTo>
                  <a:pt x="179" y="115"/>
                </a:lnTo>
                <a:lnTo>
                  <a:pt x="184" y="115"/>
                </a:lnTo>
                <a:lnTo>
                  <a:pt x="188" y="115"/>
                </a:lnTo>
                <a:lnTo>
                  <a:pt x="193" y="117"/>
                </a:lnTo>
                <a:lnTo>
                  <a:pt x="191" y="116"/>
                </a:lnTo>
                <a:lnTo>
                  <a:pt x="193" y="117"/>
                </a:lnTo>
                <a:close/>
                <a:moveTo>
                  <a:pt x="260" y="84"/>
                </a:moveTo>
                <a:lnTo>
                  <a:pt x="265" y="86"/>
                </a:lnTo>
                <a:lnTo>
                  <a:pt x="268" y="84"/>
                </a:lnTo>
                <a:lnTo>
                  <a:pt x="267" y="87"/>
                </a:lnTo>
                <a:lnTo>
                  <a:pt x="266" y="88"/>
                </a:lnTo>
                <a:lnTo>
                  <a:pt x="264" y="89"/>
                </a:lnTo>
                <a:lnTo>
                  <a:pt x="261" y="89"/>
                </a:lnTo>
                <a:lnTo>
                  <a:pt x="260" y="88"/>
                </a:lnTo>
                <a:lnTo>
                  <a:pt x="260" y="88"/>
                </a:lnTo>
                <a:lnTo>
                  <a:pt x="260" y="87"/>
                </a:lnTo>
                <a:lnTo>
                  <a:pt x="260" y="84"/>
                </a:lnTo>
                <a:lnTo>
                  <a:pt x="261" y="86"/>
                </a:lnTo>
                <a:lnTo>
                  <a:pt x="260" y="84"/>
                </a:lnTo>
                <a:close/>
                <a:moveTo>
                  <a:pt x="195" y="501"/>
                </a:moveTo>
                <a:lnTo>
                  <a:pt x="202" y="498"/>
                </a:lnTo>
                <a:lnTo>
                  <a:pt x="208" y="494"/>
                </a:lnTo>
                <a:lnTo>
                  <a:pt x="201" y="495"/>
                </a:lnTo>
                <a:lnTo>
                  <a:pt x="194" y="498"/>
                </a:lnTo>
                <a:lnTo>
                  <a:pt x="188" y="502"/>
                </a:lnTo>
                <a:lnTo>
                  <a:pt x="183" y="505"/>
                </a:lnTo>
                <a:lnTo>
                  <a:pt x="184" y="506"/>
                </a:lnTo>
                <a:lnTo>
                  <a:pt x="186" y="505"/>
                </a:lnTo>
                <a:lnTo>
                  <a:pt x="188" y="506"/>
                </a:lnTo>
                <a:lnTo>
                  <a:pt x="188" y="507"/>
                </a:lnTo>
                <a:lnTo>
                  <a:pt x="184" y="510"/>
                </a:lnTo>
                <a:lnTo>
                  <a:pt x="178" y="511"/>
                </a:lnTo>
                <a:lnTo>
                  <a:pt x="173" y="513"/>
                </a:lnTo>
                <a:lnTo>
                  <a:pt x="166" y="518"/>
                </a:lnTo>
                <a:lnTo>
                  <a:pt x="162" y="519"/>
                </a:lnTo>
                <a:lnTo>
                  <a:pt x="159" y="520"/>
                </a:lnTo>
                <a:lnTo>
                  <a:pt x="155" y="520"/>
                </a:lnTo>
                <a:lnTo>
                  <a:pt x="152" y="520"/>
                </a:lnTo>
                <a:lnTo>
                  <a:pt x="157" y="516"/>
                </a:lnTo>
                <a:lnTo>
                  <a:pt x="161" y="513"/>
                </a:lnTo>
                <a:lnTo>
                  <a:pt x="155" y="514"/>
                </a:lnTo>
                <a:lnTo>
                  <a:pt x="151" y="514"/>
                </a:lnTo>
                <a:lnTo>
                  <a:pt x="153" y="513"/>
                </a:lnTo>
                <a:lnTo>
                  <a:pt x="154" y="512"/>
                </a:lnTo>
                <a:lnTo>
                  <a:pt x="155" y="510"/>
                </a:lnTo>
                <a:lnTo>
                  <a:pt x="157" y="507"/>
                </a:lnTo>
                <a:lnTo>
                  <a:pt x="152" y="509"/>
                </a:lnTo>
                <a:lnTo>
                  <a:pt x="149" y="511"/>
                </a:lnTo>
                <a:lnTo>
                  <a:pt x="147" y="513"/>
                </a:lnTo>
                <a:lnTo>
                  <a:pt x="149" y="514"/>
                </a:lnTo>
                <a:lnTo>
                  <a:pt x="151" y="514"/>
                </a:lnTo>
                <a:lnTo>
                  <a:pt x="152" y="515"/>
                </a:lnTo>
                <a:lnTo>
                  <a:pt x="151" y="518"/>
                </a:lnTo>
                <a:lnTo>
                  <a:pt x="147" y="521"/>
                </a:lnTo>
                <a:lnTo>
                  <a:pt x="144" y="523"/>
                </a:lnTo>
                <a:lnTo>
                  <a:pt x="142" y="526"/>
                </a:lnTo>
                <a:lnTo>
                  <a:pt x="140" y="528"/>
                </a:lnTo>
                <a:lnTo>
                  <a:pt x="136" y="530"/>
                </a:lnTo>
                <a:lnTo>
                  <a:pt x="132" y="531"/>
                </a:lnTo>
                <a:lnTo>
                  <a:pt x="127" y="532"/>
                </a:lnTo>
                <a:lnTo>
                  <a:pt x="124" y="535"/>
                </a:lnTo>
                <a:lnTo>
                  <a:pt x="122" y="537"/>
                </a:lnTo>
                <a:lnTo>
                  <a:pt x="119" y="539"/>
                </a:lnTo>
                <a:lnTo>
                  <a:pt x="114" y="540"/>
                </a:lnTo>
                <a:lnTo>
                  <a:pt x="117" y="543"/>
                </a:lnTo>
                <a:lnTo>
                  <a:pt x="118" y="546"/>
                </a:lnTo>
                <a:lnTo>
                  <a:pt x="117" y="547"/>
                </a:lnTo>
                <a:lnTo>
                  <a:pt x="114" y="547"/>
                </a:lnTo>
                <a:lnTo>
                  <a:pt x="112" y="546"/>
                </a:lnTo>
                <a:lnTo>
                  <a:pt x="111" y="545"/>
                </a:lnTo>
                <a:lnTo>
                  <a:pt x="109" y="546"/>
                </a:lnTo>
                <a:lnTo>
                  <a:pt x="108" y="547"/>
                </a:lnTo>
                <a:lnTo>
                  <a:pt x="107" y="547"/>
                </a:lnTo>
                <a:lnTo>
                  <a:pt x="105" y="547"/>
                </a:lnTo>
                <a:lnTo>
                  <a:pt x="105" y="546"/>
                </a:lnTo>
                <a:lnTo>
                  <a:pt x="105" y="545"/>
                </a:lnTo>
                <a:lnTo>
                  <a:pt x="108" y="544"/>
                </a:lnTo>
                <a:lnTo>
                  <a:pt x="109" y="543"/>
                </a:lnTo>
                <a:lnTo>
                  <a:pt x="104" y="543"/>
                </a:lnTo>
                <a:lnTo>
                  <a:pt x="103" y="545"/>
                </a:lnTo>
                <a:lnTo>
                  <a:pt x="102" y="547"/>
                </a:lnTo>
                <a:lnTo>
                  <a:pt x="101" y="551"/>
                </a:lnTo>
                <a:lnTo>
                  <a:pt x="97" y="555"/>
                </a:lnTo>
                <a:lnTo>
                  <a:pt x="93" y="559"/>
                </a:lnTo>
                <a:lnTo>
                  <a:pt x="87" y="562"/>
                </a:lnTo>
                <a:lnTo>
                  <a:pt x="83" y="563"/>
                </a:lnTo>
                <a:lnTo>
                  <a:pt x="78" y="563"/>
                </a:lnTo>
                <a:lnTo>
                  <a:pt x="76" y="565"/>
                </a:lnTo>
                <a:lnTo>
                  <a:pt x="77" y="566"/>
                </a:lnTo>
                <a:lnTo>
                  <a:pt x="78" y="566"/>
                </a:lnTo>
                <a:lnTo>
                  <a:pt x="80" y="566"/>
                </a:lnTo>
                <a:lnTo>
                  <a:pt x="83" y="566"/>
                </a:lnTo>
                <a:lnTo>
                  <a:pt x="85" y="566"/>
                </a:lnTo>
                <a:lnTo>
                  <a:pt x="86" y="568"/>
                </a:lnTo>
                <a:lnTo>
                  <a:pt x="86" y="569"/>
                </a:lnTo>
                <a:lnTo>
                  <a:pt x="85" y="570"/>
                </a:lnTo>
                <a:lnTo>
                  <a:pt x="83" y="571"/>
                </a:lnTo>
                <a:lnTo>
                  <a:pt x="80" y="571"/>
                </a:lnTo>
                <a:lnTo>
                  <a:pt x="78" y="571"/>
                </a:lnTo>
                <a:lnTo>
                  <a:pt x="76" y="569"/>
                </a:lnTo>
                <a:lnTo>
                  <a:pt x="75" y="572"/>
                </a:lnTo>
                <a:lnTo>
                  <a:pt x="74" y="574"/>
                </a:lnTo>
                <a:lnTo>
                  <a:pt x="72" y="577"/>
                </a:lnTo>
                <a:lnTo>
                  <a:pt x="70" y="577"/>
                </a:lnTo>
                <a:lnTo>
                  <a:pt x="66" y="577"/>
                </a:lnTo>
                <a:lnTo>
                  <a:pt x="62" y="577"/>
                </a:lnTo>
                <a:lnTo>
                  <a:pt x="61" y="579"/>
                </a:lnTo>
                <a:lnTo>
                  <a:pt x="60" y="581"/>
                </a:lnTo>
                <a:lnTo>
                  <a:pt x="59" y="584"/>
                </a:lnTo>
                <a:lnTo>
                  <a:pt x="56" y="586"/>
                </a:lnTo>
                <a:lnTo>
                  <a:pt x="55" y="588"/>
                </a:lnTo>
                <a:lnTo>
                  <a:pt x="55" y="590"/>
                </a:lnTo>
                <a:lnTo>
                  <a:pt x="53" y="591"/>
                </a:lnTo>
                <a:lnTo>
                  <a:pt x="51" y="593"/>
                </a:lnTo>
                <a:lnTo>
                  <a:pt x="50" y="593"/>
                </a:lnTo>
                <a:lnTo>
                  <a:pt x="47" y="591"/>
                </a:lnTo>
                <a:lnTo>
                  <a:pt x="44" y="589"/>
                </a:lnTo>
                <a:lnTo>
                  <a:pt x="42" y="586"/>
                </a:lnTo>
                <a:lnTo>
                  <a:pt x="42" y="590"/>
                </a:lnTo>
                <a:lnTo>
                  <a:pt x="42" y="594"/>
                </a:lnTo>
                <a:lnTo>
                  <a:pt x="43" y="595"/>
                </a:lnTo>
                <a:lnTo>
                  <a:pt x="45" y="596"/>
                </a:lnTo>
                <a:lnTo>
                  <a:pt x="44" y="597"/>
                </a:lnTo>
                <a:lnTo>
                  <a:pt x="43" y="598"/>
                </a:lnTo>
                <a:lnTo>
                  <a:pt x="43" y="602"/>
                </a:lnTo>
                <a:lnTo>
                  <a:pt x="42" y="605"/>
                </a:lnTo>
                <a:lnTo>
                  <a:pt x="39" y="607"/>
                </a:lnTo>
                <a:lnTo>
                  <a:pt x="38" y="609"/>
                </a:lnTo>
                <a:lnTo>
                  <a:pt x="37" y="612"/>
                </a:lnTo>
                <a:lnTo>
                  <a:pt x="39" y="614"/>
                </a:lnTo>
                <a:lnTo>
                  <a:pt x="41" y="615"/>
                </a:lnTo>
                <a:lnTo>
                  <a:pt x="41" y="614"/>
                </a:lnTo>
                <a:lnTo>
                  <a:pt x="41" y="613"/>
                </a:lnTo>
                <a:lnTo>
                  <a:pt x="42" y="612"/>
                </a:lnTo>
                <a:lnTo>
                  <a:pt x="43" y="611"/>
                </a:lnTo>
                <a:lnTo>
                  <a:pt x="45" y="612"/>
                </a:lnTo>
                <a:lnTo>
                  <a:pt x="44" y="615"/>
                </a:lnTo>
                <a:lnTo>
                  <a:pt x="42" y="618"/>
                </a:lnTo>
                <a:lnTo>
                  <a:pt x="39" y="618"/>
                </a:lnTo>
                <a:lnTo>
                  <a:pt x="37" y="618"/>
                </a:lnTo>
                <a:lnTo>
                  <a:pt x="35" y="621"/>
                </a:lnTo>
                <a:lnTo>
                  <a:pt x="33" y="624"/>
                </a:lnTo>
                <a:lnTo>
                  <a:pt x="29" y="629"/>
                </a:lnTo>
                <a:lnTo>
                  <a:pt x="28" y="632"/>
                </a:lnTo>
                <a:lnTo>
                  <a:pt x="27" y="636"/>
                </a:lnTo>
                <a:lnTo>
                  <a:pt x="27" y="640"/>
                </a:lnTo>
                <a:lnTo>
                  <a:pt x="27" y="645"/>
                </a:lnTo>
                <a:lnTo>
                  <a:pt x="25" y="647"/>
                </a:lnTo>
                <a:lnTo>
                  <a:pt x="22" y="649"/>
                </a:lnTo>
                <a:lnTo>
                  <a:pt x="19" y="653"/>
                </a:lnTo>
                <a:lnTo>
                  <a:pt x="18" y="656"/>
                </a:lnTo>
                <a:lnTo>
                  <a:pt x="18" y="661"/>
                </a:lnTo>
                <a:lnTo>
                  <a:pt x="14" y="664"/>
                </a:lnTo>
                <a:lnTo>
                  <a:pt x="12" y="668"/>
                </a:lnTo>
                <a:lnTo>
                  <a:pt x="15" y="670"/>
                </a:lnTo>
                <a:lnTo>
                  <a:pt x="19" y="672"/>
                </a:lnTo>
                <a:lnTo>
                  <a:pt x="21" y="671"/>
                </a:lnTo>
                <a:lnTo>
                  <a:pt x="23" y="671"/>
                </a:lnTo>
                <a:lnTo>
                  <a:pt x="25" y="671"/>
                </a:lnTo>
                <a:lnTo>
                  <a:pt x="25" y="671"/>
                </a:lnTo>
                <a:lnTo>
                  <a:pt x="25" y="672"/>
                </a:lnTo>
                <a:lnTo>
                  <a:pt x="25" y="674"/>
                </a:lnTo>
                <a:lnTo>
                  <a:pt x="23" y="676"/>
                </a:lnTo>
                <a:lnTo>
                  <a:pt x="22" y="678"/>
                </a:lnTo>
                <a:lnTo>
                  <a:pt x="23" y="679"/>
                </a:lnTo>
                <a:lnTo>
                  <a:pt x="26" y="680"/>
                </a:lnTo>
                <a:lnTo>
                  <a:pt x="27" y="680"/>
                </a:lnTo>
                <a:lnTo>
                  <a:pt x="28" y="679"/>
                </a:lnTo>
                <a:lnTo>
                  <a:pt x="29" y="678"/>
                </a:lnTo>
                <a:lnTo>
                  <a:pt x="29" y="676"/>
                </a:lnTo>
                <a:lnTo>
                  <a:pt x="31" y="673"/>
                </a:lnTo>
                <a:lnTo>
                  <a:pt x="35" y="672"/>
                </a:lnTo>
                <a:lnTo>
                  <a:pt x="36" y="671"/>
                </a:lnTo>
                <a:lnTo>
                  <a:pt x="37" y="670"/>
                </a:lnTo>
                <a:lnTo>
                  <a:pt x="37" y="669"/>
                </a:lnTo>
                <a:lnTo>
                  <a:pt x="36" y="668"/>
                </a:lnTo>
                <a:lnTo>
                  <a:pt x="34" y="668"/>
                </a:lnTo>
                <a:lnTo>
                  <a:pt x="29" y="669"/>
                </a:lnTo>
                <a:lnTo>
                  <a:pt x="27" y="669"/>
                </a:lnTo>
                <a:lnTo>
                  <a:pt x="26" y="668"/>
                </a:lnTo>
                <a:lnTo>
                  <a:pt x="25" y="667"/>
                </a:lnTo>
                <a:lnTo>
                  <a:pt x="26" y="664"/>
                </a:lnTo>
                <a:lnTo>
                  <a:pt x="30" y="660"/>
                </a:lnTo>
                <a:lnTo>
                  <a:pt x="35" y="656"/>
                </a:lnTo>
                <a:lnTo>
                  <a:pt x="35" y="655"/>
                </a:lnTo>
                <a:lnTo>
                  <a:pt x="35" y="654"/>
                </a:lnTo>
                <a:lnTo>
                  <a:pt x="36" y="653"/>
                </a:lnTo>
                <a:lnTo>
                  <a:pt x="38" y="652"/>
                </a:lnTo>
                <a:lnTo>
                  <a:pt x="41" y="652"/>
                </a:lnTo>
                <a:lnTo>
                  <a:pt x="43" y="651"/>
                </a:lnTo>
                <a:lnTo>
                  <a:pt x="44" y="651"/>
                </a:lnTo>
                <a:lnTo>
                  <a:pt x="45" y="649"/>
                </a:lnTo>
                <a:lnTo>
                  <a:pt x="46" y="647"/>
                </a:lnTo>
                <a:lnTo>
                  <a:pt x="50" y="644"/>
                </a:lnTo>
                <a:lnTo>
                  <a:pt x="51" y="643"/>
                </a:lnTo>
                <a:lnTo>
                  <a:pt x="53" y="642"/>
                </a:lnTo>
                <a:lnTo>
                  <a:pt x="54" y="643"/>
                </a:lnTo>
                <a:lnTo>
                  <a:pt x="54" y="644"/>
                </a:lnTo>
                <a:lnTo>
                  <a:pt x="53" y="646"/>
                </a:lnTo>
                <a:lnTo>
                  <a:pt x="50" y="647"/>
                </a:lnTo>
                <a:lnTo>
                  <a:pt x="47" y="649"/>
                </a:lnTo>
                <a:lnTo>
                  <a:pt x="46" y="652"/>
                </a:lnTo>
                <a:lnTo>
                  <a:pt x="45" y="654"/>
                </a:lnTo>
                <a:lnTo>
                  <a:pt x="45" y="657"/>
                </a:lnTo>
                <a:lnTo>
                  <a:pt x="61" y="647"/>
                </a:lnTo>
                <a:lnTo>
                  <a:pt x="78" y="638"/>
                </a:lnTo>
                <a:lnTo>
                  <a:pt x="72" y="636"/>
                </a:lnTo>
                <a:lnTo>
                  <a:pt x="67" y="635"/>
                </a:lnTo>
                <a:lnTo>
                  <a:pt x="66" y="634"/>
                </a:lnTo>
                <a:lnTo>
                  <a:pt x="64" y="632"/>
                </a:lnTo>
                <a:lnTo>
                  <a:pt x="64" y="631"/>
                </a:lnTo>
                <a:lnTo>
                  <a:pt x="66" y="629"/>
                </a:lnTo>
                <a:lnTo>
                  <a:pt x="70" y="624"/>
                </a:lnTo>
                <a:lnTo>
                  <a:pt x="75" y="620"/>
                </a:lnTo>
                <a:lnTo>
                  <a:pt x="70" y="620"/>
                </a:lnTo>
                <a:lnTo>
                  <a:pt x="67" y="622"/>
                </a:lnTo>
                <a:lnTo>
                  <a:pt x="63" y="624"/>
                </a:lnTo>
                <a:lnTo>
                  <a:pt x="61" y="627"/>
                </a:lnTo>
                <a:lnTo>
                  <a:pt x="59" y="629"/>
                </a:lnTo>
                <a:lnTo>
                  <a:pt x="55" y="631"/>
                </a:lnTo>
                <a:lnTo>
                  <a:pt x="52" y="634"/>
                </a:lnTo>
                <a:lnTo>
                  <a:pt x="48" y="634"/>
                </a:lnTo>
                <a:lnTo>
                  <a:pt x="46" y="634"/>
                </a:lnTo>
                <a:lnTo>
                  <a:pt x="45" y="634"/>
                </a:lnTo>
                <a:lnTo>
                  <a:pt x="44" y="635"/>
                </a:lnTo>
                <a:lnTo>
                  <a:pt x="43" y="637"/>
                </a:lnTo>
                <a:lnTo>
                  <a:pt x="42" y="640"/>
                </a:lnTo>
                <a:lnTo>
                  <a:pt x="39" y="643"/>
                </a:lnTo>
                <a:lnTo>
                  <a:pt x="37" y="644"/>
                </a:lnTo>
                <a:lnTo>
                  <a:pt x="36" y="643"/>
                </a:lnTo>
                <a:lnTo>
                  <a:pt x="36" y="642"/>
                </a:lnTo>
                <a:lnTo>
                  <a:pt x="36" y="640"/>
                </a:lnTo>
                <a:lnTo>
                  <a:pt x="36" y="638"/>
                </a:lnTo>
                <a:lnTo>
                  <a:pt x="36" y="635"/>
                </a:lnTo>
                <a:lnTo>
                  <a:pt x="39" y="635"/>
                </a:lnTo>
                <a:lnTo>
                  <a:pt x="43" y="635"/>
                </a:lnTo>
                <a:lnTo>
                  <a:pt x="44" y="632"/>
                </a:lnTo>
                <a:lnTo>
                  <a:pt x="46" y="631"/>
                </a:lnTo>
                <a:lnTo>
                  <a:pt x="50" y="629"/>
                </a:lnTo>
                <a:lnTo>
                  <a:pt x="53" y="627"/>
                </a:lnTo>
                <a:lnTo>
                  <a:pt x="59" y="624"/>
                </a:lnTo>
                <a:lnTo>
                  <a:pt x="63" y="621"/>
                </a:lnTo>
                <a:lnTo>
                  <a:pt x="64" y="617"/>
                </a:lnTo>
                <a:lnTo>
                  <a:pt x="64" y="611"/>
                </a:lnTo>
                <a:lnTo>
                  <a:pt x="62" y="612"/>
                </a:lnTo>
                <a:lnTo>
                  <a:pt x="60" y="614"/>
                </a:lnTo>
                <a:lnTo>
                  <a:pt x="59" y="617"/>
                </a:lnTo>
                <a:lnTo>
                  <a:pt x="58" y="620"/>
                </a:lnTo>
                <a:lnTo>
                  <a:pt x="56" y="621"/>
                </a:lnTo>
                <a:lnTo>
                  <a:pt x="55" y="623"/>
                </a:lnTo>
                <a:lnTo>
                  <a:pt x="53" y="623"/>
                </a:lnTo>
                <a:lnTo>
                  <a:pt x="48" y="621"/>
                </a:lnTo>
                <a:lnTo>
                  <a:pt x="48" y="623"/>
                </a:lnTo>
                <a:lnTo>
                  <a:pt x="48" y="626"/>
                </a:lnTo>
                <a:lnTo>
                  <a:pt x="47" y="626"/>
                </a:lnTo>
                <a:lnTo>
                  <a:pt x="46" y="627"/>
                </a:lnTo>
                <a:lnTo>
                  <a:pt x="43" y="628"/>
                </a:lnTo>
                <a:lnTo>
                  <a:pt x="39" y="630"/>
                </a:lnTo>
                <a:lnTo>
                  <a:pt x="39" y="627"/>
                </a:lnTo>
                <a:lnTo>
                  <a:pt x="39" y="624"/>
                </a:lnTo>
                <a:lnTo>
                  <a:pt x="42" y="621"/>
                </a:lnTo>
                <a:lnTo>
                  <a:pt x="45" y="618"/>
                </a:lnTo>
                <a:lnTo>
                  <a:pt x="51" y="610"/>
                </a:lnTo>
                <a:lnTo>
                  <a:pt x="58" y="602"/>
                </a:lnTo>
                <a:lnTo>
                  <a:pt x="66" y="597"/>
                </a:lnTo>
                <a:lnTo>
                  <a:pt x="72" y="591"/>
                </a:lnTo>
                <a:lnTo>
                  <a:pt x="75" y="589"/>
                </a:lnTo>
                <a:lnTo>
                  <a:pt x="76" y="586"/>
                </a:lnTo>
                <a:lnTo>
                  <a:pt x="79" y="584"/>
                </a:lnTo>
                <a:lnTo>
                  <a:pt x="83" y="584"/>
                </a:lnTo>
                <a:lnTo>
                  <a:pt x="89" y="578"/>
                </a:lnTo>
                <a:lnTo>
                  <a:pt x="97" y="571"/>
                </a:lnTo>
                <a:lnTo>
                  <a:pt x="101" y="568"/>
                </a:lnTo>
                <a:lnTo>
                  <a:pt x="105" y="564"/>
                </a:lnTo>
                <a:lnTo>
                  <a:pt x="109" y="562"/>
                </a:lnTo>
                <a:lnTo>
                  <a:pt x="113" y="561"/>
                </a:lnTo>
                <a:lnTo>
                  <a:pt x="114" y="562"/>
                </a:lnTo>
                <a:lnTo>
                  <a:pt x="116" y="562"/>
                </a:lnTo>
                <a:lnTo>
                  <a:pt x="117" y="561"/>
                </a:lnTo>
                <a:lnTo>
                  <a:pt x="117" y="560"/>
                </a:lnTo>
                <a:lnTo>
                  <a:pt x="119" y="555"/>
                </a:lnTo>
                <a:lnTo>
                  <a:pt x="124" y="553"/>
                </a:lnTo>
                <a:lnTo>
                  <a:pt x="128" y="551"/>
                </a:lnTo>
                <a:lnTo>
                  <a:pt x="134" y="548"/>
                </a:lnTo>
                <a:lnTo>
                  <a:pt x="137" y="545"/>
                </a:lnTo>
                <a:lnTo>
                  <a:pt x="141" y="543"/>
                </a:lnTo>
                <a:lnTo>
                  <a:pt x="141" y="545"/>
                </a:lnTo>
                <a:lnTo>
                  <a:pt x="141" y="547"/>
                </a:lnTo>
                <a:lnTo>
                  <a:pt x="144" y="547"/>
                </a:lnTo>
                <a:lnTo>
                  <a:pt x="147" y="545"/>
                </a:lnTo>
                <a:lnTo>
                  <a:pt x="150" y="543"/>
                </a:lnTo>
                <a:lnTo>
                  <a:pt x="151" y="540"/>
                </a:lnTo>
                <a:lnTo>
                  <a:pt x="151" y="537"/>
                </a:lnTo>
                <a:lnTo>
                  <a:pt x="152" y="535"/>
                </a:lnTo>
                <a:lnTo>
                  <a:pt x="158" y="536"/>
                </a:lnTo>
                <a:lnTo>
                  <a:pt x="163" y="535"/>
                </a:lnTo>
                <a:lnTo>
                  <a:pt x="166" y="535"/>
                </a:lnTo>
                <a:lnTo>
                  <a:pt x="168" y="536"/>
                </a:lnTo>
                <a:lnTo>
                  <a:pt x="169" y="536"/>
                </a:lnTo>
                <a:lnTo>
                  <a:pt x="169" y="534"/>
                </a:lnTo>
                <a:lnTo>
                  <a:pt x="169" y="531"/>
                </a:lnTo>
                <a:lnTo>
                  <a:pt x="168" y="530"/>
                </a:lnTo>
                <a:lnTo>
                  <a:pt x="167" y="530"/>
                </a:lnTo>
                <a:lnTo>
                  <a:pt x="166" y="530"/>
                </a:lnTo>
                <a:lnTo>
                  <a:pt x="163" y="531"/>
                </a:lnTo>
                <a:lnTo>
                  <a:pt x="160" y="532"/>
                </a:lnTo>
                <a:lnTo>
                  <a:pt x="157" y="532"/>
                </a:lnTo>
                <a:lnTo>
                  <a:pt x="155" y="531"/>
                </a:lnTo>
                <a:lnTo>
                  <a:pt x="157" y="530"/>
                </a:lnTo>
                <a:lnTo>
                  <a:pt x="159" y="528"/>
                </a:lnTo>
                <a:lnTo>
                  <a:pt x="166" y="524"/>
                </a:lnTo>
                <a:lnTo>
                  <a:pt x="173" y="522"/>
                </a:lnTo>
                <a:lnTo>
                  <a:pt x="182" y="519"/>
                </a:lnTo>
                <a:lnTo>
                  <a:pt x="190" y="515"/>
                </a:lnTo>
                <a:lnTo>
                  <a:pt x="196" y="512"/>
                </a:lnTo>
                <a:lnTo>
                  <a:pt x="202" y="509"/>
                </a:lnTo>
                <a:lnTo>
                  <a:pt x="206" y="506"/>
                </a:lnTo>
                <a:lnTo>
                  <a:pt x="209" y="504"/>
                </a:lnTo>
                <a:lnTo>
                  <a:pt x="208" y="502"/>
                </a:lnTo>
                <a:lnTo>
                  <a:pt x="206" y="499"/>
                </a:lnTo>
                <a:lnTo>
                  <a:pt x="203" y="502"/>
                </a:lnTo>
                <a:lnTo>
                  <a:pt x="201" y="502"/>
                </a:lnTo>
                <a:lnTo>
                  <a:pt x="199" y="502"/>
                </a:lnTo>
                <a:lnTo>
                  <a:pt x="195" y="501"/>
                </a:lnTo>
                <a:lnTo>
                  <a:pt x="199" y="501"/>
                </a:lnTo>
                <a:lnTo>
                  <a:pt x="195" y="501"/>
                </a:lnTo>
                <a:close/>
                <a:moveTo>
                  <a:pt x="61" y="637"/>
                </a:moveTo>
                <a:lnTo>
                  <a:pt x="63" y="636"/>
                </a:lnTo>
                <a:lnTo>
                  <a:pt x="64" y="636"/>
                </a:lnTo>
                <a:lnTo>
                  <a:pt x="67" y="638"/>
                </a:lnTo>
                <a:lnTo>
                  <a:pt x="68" y="639"/>
                </a:lnTo>
                <a:lnTo>
                  <a:pt x="66" y="642"/>
                </a:lnTo>
                <a:lnTo>
                  <a:pt x="62" y="644"/>
                </a:lnTo>
                <a:lnTo>
                  <a:pt x="60" y="643"/>
                </a:lnTo>
                <a:lnTo>
                  <a:pt x="60" y="640"/>
                </a:lnTo>
                <a:lnTo>
                  <a:pt x="60" y="638"/>
                </a:lnTo>
                <a:lnTo>
                  <a:pt x="61" y="637"/>
                </a:lnTo>
                <a:close/>
                <a:moveTo>
                  <a:pt x="50" y="603"/>
                </a:moveTo>
                <a:lnTo>
                  <a:pt x="48" y="605"/>
                </a:lnTo>
                <a:lnTo>
                  <a:pt x="47" y="606"/>
                </a:lnTo>
                <a:lnTo>
                  <a:pt x="46" y="606"/>
                </a:lnTo>
                <a:lnTo>
                  <a:pt x="45" y="604"/>
                </a:lnTo>
                <a:lnTo>
                  <a:pt x="45" y="602"/>
                </a:lnTo>
                <a:lnTo>
                  <a:pt x="47" y="599"/>
                </a:lnTo>
                <a:lnTo>
                  <a:pt x="48" y="599"/>
                </a:lnTo>
                <a:lnTo>
                  <a:pt x="50" y="601"/>
                </a:lnTo>
                <a:lnTo>
                  <a:pt x="50" y="602"/>
                </a:lnTo>
                <a:lnTo>
                  <a:pt x="50" y="603"/>
                </a:lnTo>
                <a:lnTo>
                  <a:pt x="50" y="603"/>
                </a:lnTo>
                <a:lnTo>
                  <a:pt x="50" y="603"/>
                </a:lnTo>
                <a:close/>
                <a:moveTo>
                  <a:pt x="61" y="585"/>
                </a:moveTo>
                <a:lnTo>
                  <a:pt x="60" y="585"/>
                </a:lnTo>
                <a:lnTo>
                  <a:pt x="61" y="584"/>
                </a:lnTo>
                <a:lnTo>
                  <a:pt x="61" y="585"/>
                </a:lnTo>
                <a:lnTo>
                  <a:pt x="61" y="585"/>
                </a:lnTo>
                <a:lnTo>
                  <a:pt x="61" y="585"/>
                </a:lnTo>
                <a:lnTo>
                  <a:pt x="61" y="585"/>
                </a:lnTo>
                <a:close/>
                <a:moveTo>
                  <a:pt x="68" y="589"/>
                </a:moveTo>
                <a:lnTo>
                  <a:pt x="66" y="589"/>
                </a:lnTo>
                <a:lnTo>
                  <a:pt x="66" y="588"/>
                </a:lnTo>
                <a:lnTo>
                  <a:pt x="66" y="587"/>
                </a:lnTo>
                <a:lnTo>
                  <a:pt x="67" y="586"/>
                </a:lnTo>
                <a:lnTo>
                  <a:pt x="69" y="584"/>
                </a:lnTo>
                <a:lnTo>
                  <a:pt x="71" y="581"/>
                </a:lnTo>
                <a:lnTo>
                  <a:pt x="71" y="584"/>
                </a:lnTo>
                <a:lnTo>
                  <a:pt x="70" y="586"/>
                </a:lnTo>
                <a:lnTo>
                  <a:pt x="69" y="588"/>
                </a:lnTo>
                <a:lnTo>
                  <a:pt x="68" y="589"/>
                </a:lnTo>
                <a:lnTo>
                  <a:pt x="69" y="589"/>
                </a:lnTo>
                <a:lnTo>
                  <a:pt x="68" y="589"/>
                </a:lnTo>
                <a:close/>
                <a:moveTo>
                  <a:pt x="144" y="543"/>
                </a:moveTo>
                <a:lnTo>
                  <a:pt x="143" y="543"/>
                </a:lnTo>
                <a:lnTo>
                  <a:pt x="143" y="543"/>
                </a:lnTo>
                <a:lnTo>
                  <a:pt x="144" y="541"/>
                </a:lnTo>
                <a:lnTo>
                  <a:pt x="145" y="543"/>
                </a:lnTo>
                <a:lnTo>
                  <a:pt x="144" y="543"/>
                </a:lnTo>
                <a:lnTo>
                  <a:pt x="144" y="543"/>
                </a:lnTo>
                <a:lnTo>
                  <a:pt x="143" y="543"/>
                </a:lnTo>
                <a:lnTo>
                  <a:pt x="144" y="543"/>
                </a:lnTo>
                <a:close/>
                <a:moveTo>
                  <a:pt x="45" y="651"/>
                </a:moveTo>
                <a:lnTo>
                  <a:pt x="45" y="652"/>
                </a:lnTo>
                <a:lnTo>
                  <a:pt x="45" y="652"/>
                </a:lnTo>
                <a:lnTo>
                  <a:pt x="45" y="651"/>
                </a:lnTo>
                <a:lnTo>
                  <a:pt x="45" y="651"/>
                </a:lnTo>
                <a:lnTo>
                  <a:pt x="45" y="651"/>
                </a:lnTo>
                <a:lnTo>
                  <a:pt x="45" y="651"/>
                </a:lnTo>
                <a:close/>
                <a:moveTo>
                  <a:pt x="1216" y="1"/>
                </a:moveTo>
                <a:lnTo>
                  <a:pt x="1216" y="1"/>
                </a:lnTo>
                <a:lnTo>
                  <a:pt x="1216" y="1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close/>
                <a:moveTo>
                  <a:pt x="1353" y="695"/>
                </a:moveTo>
                <a:lnTo>
                  <a:pt x="1353" y="697"/>
                </a:lnTo>
                <a:lnTo>
                  <a:pt x="1353" y="700"/>
                </a:lnTo>
                <a:lnTo>
                  <a:pt x="1352" y="701"/>
                </a:lnTo>
                <a:lnTo>
                  <a:pt x="1350" y="702"/>
                </a:lnTo>
                <a:lnTo>
                  <a:pt x="1349" y="703"/>
                </a:lnTo>
                <a:lnTo>
                  <a:pt x="1347" y="703"/>
                </a:lnTo>
                <a:lnTo>
                  <a:pt x="1345" y="702"/>
                </a:lnTo>
                <a:lnTo>
                  <a:pt x="1344" y="701"/>
                </a:lnTo>
                <a:lnTo>
                  <a:pt x="1344" y="698"/>
                </a:lnTo>
                <a:lnTo>
                  <a:pt x="1345" y="696"/>
                </a:lnTo>
                <a:lnTo>
                  <a:pt x="1349" y="695"/>
                </a:lnTo>
                <a:lnTo>
                  <a:pt x="1353" y="695"/>
                </a:lnTo>
                <a:lnTo>
                  <a:pt x="1353" y="695"/>
                </a:lnTo>
                <a:lnTo>
                  <a:pt x="1353" y="695"/>
                </a:lnTo>
                <a:close/>
                <a:moveTo>
                  <a:pt x="1353" y="695"/>
                </a:moveTo>
                <a:lnTo>
                  <a:pt x="1353" y="695"/>
                </a:lnTo>
                <a:lnTo>
                  <a:pt x="1353" y="695"/>
                </a:lnTo>
                <a:close/>
                <a:moveTo>
                  <a:pt x="1422" y="216"/>
                </a:moveTo>
                <a:lnTo>
                  <a:pt x="1422" y="217"/>
                </a:lnTo>
                <a:lnTo>
                  <a:pt x="1422" y="216"/>
                </a:lnTo>
                <a:lnTo>
                  <a:pt x="1422" y="217"/>
                </a:lnTo>
                <a:lnTo>
                  <a:pt x="1422" y="216"/>
                </a:lnTo>
                <a:close/>
                <a:moveTo>
                  <a:pt x="1091" y="117"/>
                </a:moveTo>
                <a:lnTo>
                  <a:pt x="1090" y="116"/>
                </a:lnTo>
                <a:lnTo>
                  <a:pt x="1089" y="115"/>
                </a:lnTo>
                <a:lnTo>
                  <a:pt x="1090" y="113"/>
                </a:lnTo>
                <a:lnTo>
                  <a:pt x="1093" y="113"/>
                </a:lnTo>
                <a:lnTo>
                  <a:pt x="1096" y="113"/>
                </a:lnTo>
                <a:lnTo>
                  <a:pt x="1096" y="115"/>
                </a:lnTo>
                <a:lnTo>
                  <a:pt x="1094" y="116"/>
                </a:lnTo>
                <a:lnTo>
                  <a:pt x="1091" y="117"/>
                </a:lnTo>
                <a:lnTo>
                  <a:pt x="1092" y="117"/>
                </a:lnTo>
                <a:lnTo>
                  <a:pt x="1091" y="117"/>
                </a:lnTo>
                <a:close/>
                <a:moveTo>
                  <a:pt x="1101" y="117"/>
                </a:moveTo>
                <a:lnTo>
                  <a:pt x="1099" y="116"/>
                </a:lnTo>
                <a:lnTo>
                  <a:pt x="1099" y="115"/>
                </a:lnTo>
                <a:lnTo>
                  <a:pt x="1098" y="114"/>
                </a:lnTo>
                <a:lnTo>
                  <a:pt x="1100" y="113"/>
                </a:lnTo>
                <a:lnTo>
                  <a:pt x="1105" y="114"/>
                </a:lnTo>
                <a:lnTo>
                  <a:pt x="1109" y="115"/>
                </a:lnTo>
                <a:lnTo>
                  <a:pt x="1107" y="116"/>
                </a:lnTo>
                <a:lnTo>
                  <a:pt x="1105" y="117"/>
                </a:lnTo>
                <a:lnTo>
                  <a:pt x="1104" y="117"/>
                </a:lnTo>
                <a:lnTo>
                  <a:pt x="1101" y="117"/>
                </a:lnTo>
                <a:lnTo>
                  <a:pt x="1101" y="117"/>
                </a:lnTo>
                <a:lnTo>
                  <a:pt x="1101" y="117"/>
                </a:lnTo>
                <a:close/>
                <a:moveTo>
                  <a:pt x="231" y="114"/>
                </a:moveTo>
                <a:lnTo>
                  <a:pt x="229" y="116"/>
                </a:lnTo>
                <a:lnTo>
                  <a:pt x="226" y="117"/>
                </a:lnTo>
                <a:lnTo>
                  <a:pt x="224" y="117"/>
                </a:lnTo>
                <a:lnTo>
                  <a:pt x="221" y="115"/>
                </a:lnTo>
                <a:lnTo>
                  <a:pt x="224" y="113"/>
                </a:lnTo>
                <a:lnTo>
                  <a:pt x="226" y="112"/>
                </a:lnTo>
                <a:lnTo>
                  <a:pt x="228" y="112"/>
                </a:lnTo>
                <a:lnTo>
                  <a:pt x="229" y="112"/>
                </a:lnTo>
                <a:lnTo>
                  <a:pt x="231" y="113"/>
                </a:lnTo>
                <a:lnTo>
                  <a:pt x="231" y="114"/>
                </a:lnTo>
                <a:lnTo>
                  <a:pt x="231" y="115"/>
                </a:lnTo>
                <a:lnTo>
                  <a:pt x="231" y="114"/>
                </a:lnTo>
                <a:close/>
                <a:moveTo>
                  <a:pt x="77" y="262"/>
                </a:moveTo>
                <a:lnTo>
                  <a:pt x="78" y="262"/>
                </a:lnTo>
                <a:lnTo>
                  <a:pt x="78" y="262"/>
                </a:lnTo>
                <a:lnTo>
                  <a:pt x="78" y="263"/>
                </a:lnTo>
                <a:lnTo>
                  <a:pt x="78" y="265"/>
                </a:lnTo>
                <a:lnTo>
                  <a:pt x="77" y="266"/>
                </a:lnTo>
                <a:lnTo>
                  <a:pt x="76" y="267"/>
                </a:lnTo>
                <a:lnTo>
                  <a:pt x="74" y="269"/>
                </a:lnTo>
                <a:lnTo>
                  <a:pt x="72" y="269"/>
                </a:lnTo>
                <a:lnTo>
                  <a:pt x="71" y="267"/>
                </a:lnTo>
                <a:lnTo>
                  <a:pt x="71" y="266"/>
                </a:lnTo>
                <a:lnTo>
                  <a:pt x="71" y="265"/>
                </a:lnTo>
                <a:lnTo>
                  <a:pt x="72" y="264"/>
                </a:lnTo>
                <a:lnTo>
                  <a:pt x="75" y="262"/>
                </a:lnTo>
                <a:lnTo>
                  <a:pt x="77" y="262"/>
                </a:lnTo>
                <a:lnTo>
                  <a:pt x="76" y="262"/>
                </a:lnTo>
                <a:lnTo>
                  <a:pt x="77" y="262"/>
                </a:lnTo>
                <a:close/>
                <a:moveTo>
                  <a:pt x="70" y="278"/>
                </a:moveTo>
                <a:lnTo>
                  <a:pt x="67" y="278"/>
                </a:lnTo>
                <a:lnTo>
                  <a:pt x="64" y="275"/>
                </a:lnTo>
                <a:lnTo>
                  <a:pt x="64" y="274"/>
                </a:lnTo>
                <a:lnTo>
                  <a:pt x="66" y="272"/>
                </a:lnTo>
                <a:lnTo>
                  <a:pt x="67" y="271"/>
                </a:lnTo>
                <a:lnTo>
                  <a:pt x="68" y="271"/>
                </a:lnTo>
                <a:lnTo>
                  <a:pt x="70" y="271"/>
                </a:lnTo>
                <a:lnTo>
                  <a:pt x="71" y="272"/>
                </a:lnTo>
                <a:lnTo>
                  <a:pt x="72" y="273"/>
                </a:lnTo>
                <a:lnTo>
                  <a:pt x="72" y="274"/>
                </a:lnTo>
                <a:lnTo>
                  <a:pt x="72" y="275"/>
                </a:lnTo>
                <a:lnTo>
                  <a:pt x="72" y="278"/>
                </a:lnTo>
                <a:lnTo>
                  <a:pt x="71" y="278"/>
                </a:lnTo>
                <a:lnTo>
                  <a:pt x="70" y="278"/>
                </a:lnTo>
                <a:lnTo>
                  <a:pt x="70" y="278"/>
                </a:lnTo>
                <a:lnTo>
                  <a:pt x="70" y="278"/>
                </a:lnTo>
                <a:close/>
                <a:moveTo>
                  <a:pt x="80" y="292"/>
                </a:moveTo>
                <a:lnTo>
                  <a:pt x="78" y="295"/>
                </a:lnTo>
                <a:lnTo>
                  <a:pt x="77" y="296"/>
                </a:lnTo>
                <a:lnTo>
                  <a:pt x="75" y="297"/>
                </a:lnTo>
                <a:lnTo>
                  <a:pt x="72" y="297"/>
                </a:lnTo>
                <a:lnTo>
                  <a:pt x="74" y="294"/>
                </a:lnTo>
                <a:lnTo>
                  <a:pt x="76" y="291"/>
                </a:lnTo>
                <a:lnTo>
                  <a:pt x="78" y="291"/>
                </a:lnTo>
                <a:lnTo>
                  <a:pt x="79" y="291"/>
                </a:lnTo>
                <a:lnTo>
                  <a:pt x="80" y="291"/>
                </a:lnTo>
                <a:lnTo>
                  <a:pt x="80" y="292"/>
                </a:lnTo>
                <a:lnTo>
                  <a:pt x="80" y="294"/>
                </a:lnTo>
                <a:lnTo>
                  <a:pt x="80" y="292"/>
                </a:lnTo>
                <a:close/>
                <a:moveTo>
                  <a:pt x="60" y="381"/>
                </a:moveTo>
                <a:lnTo>
                  <a:pt x="58" y="381"/>
                </a:lnTo>
                <a:lnTo>
                  <a:pt x="58" y="380"/>
                </a:lnTo>
                <a:lnTo>
                  <a:pt x="56" y="379"/>
                </a:lnTo>
                <a:lnTo>
                  <a:pt x="56" y="378"/>
                </a:lnTo>
                <a:lnTo>
                  <a:pt x="58" y="375"/>
                </a:lnTo>
                <a:lnTo>
                  <a:pt x="60" y="374"/>
                </a:lnTo>
                <a:lnTo>
                  <a:pt x="61" y="375"/>
                </a:lnTo>
                <a:lnTo>
                  <a:pt x="62" y="379"/>
                </a:lnTo>
                <a:lnTo>
                  <a:pt x="61" y="381"/>
                </a:lnTo>
                <a:lnTo>
                  <a:pt x="60" y="381"/>
                </a:lnTo>
                <a:lnTo>
                  <a:pt x="60" y="381"/>
                </a:lnTo>
                <a:lnTo>
                  <a:pt x="60" y="381"/>
                </a:lnTo>
                <a:close/>
                <a:moveTo>
                  <a:pt x="71" y="358"/>
                </a:moveTo>
                <a:lnTo>
                  <a:pt x="71" y="362"/>
                </a:lnTo>
                <a:lnTo>
                  <a:pt x="70" y="364"/>
                </a:lnTo>
                <a:lnTo>
                  <a:pt x="68" y="365"/>
                </a:lnTo>
                <a:lnTo>
                  <a:pt x="66" y="364"/>
                </a:lnTo>
                <a:lnTo>
                  <a:pt x="67" y="360"/>
                </a:lnTo>
                <a:lnTo>
                  <a:pt x="70" y="356"/>
                </a:lnTo>
                <a:lnTo>
                  <a:pt x="71" y="355"/>
                </a:lnTo>
                <a:lnTo>
                  <a:pt x="72" y="356"/>
                </a:lnTo>
                <a:lnTo>
                  <a:pt x="72" y="357"/>
                </a:lnTo>
                <a:lnTo>
                  <a:pt x="71" y="358"/>
                </a:lnTo>
                <a:lnTo>
                  <a:pt x="71" y="360"/>
                </a:lnTo>
                <a:lnTo>
                  <a:pt x="71" y="358"/>
                </a:lnTo>
                <a:close/>
                <a:moveTo>
                  <a:pt x="69" y="463"/>
                </a:moveTo>
                <a:lnTo>
                  <a:pt x="67" y="463"/>
                </a:lnTo>
                <a:lnTo>
                  <a:pt x="67" y="462"/>
                </a:lnTo>
                <a:lnTo>
                  <a:pt x="66" y="460"/>
                </a:lnTo>
                <a:lnTo>
                  <a:pt x="66" y="458"/>
                </a:lnTo>
                <a:lnTo>
                  <a:pt x="68" y="458"/>
                </a:lnTo>
                <a:lnTo>
                  <a:pt x="71" y="460"/>
                </a:lnTo>
                <a:lnTo>
                  <a:pt x="71" y="461"/>
                </a:lnTo>
                <a:lnTo>
                  <a:pt x="71" y="462"/>
                </a:lnTo>
                <a:lnTo>
                  <a:pt x="70" y="463"/>
                </a:lnTo>
                <a:lnTo>
                  <a:pt x="69" y="463"/>
                </a:lnTo>
                <a:lnTo>
                  <a:pt x="68" y="463"/>
                </a:lnTo>
                <a:lnTo>
                  <a:pt x="69" y="463"/>
                </a:lnTo>
                <a:close/>
                <a:moveTo>
                  <a:pt x="99" y="501"/>
                </a:moveTo>
                <a:lnTo>
                  <a:pt x="99" y="502"/>
                </a:lnTo>
                <a:lnTo>
                  <a:pt x="99" y="501"/>
                </a:lnTo>
                <a:lnTo>
                  <a:pt x="99" y="501"/>
                </a:lnTo>
                <a:lnTo>
                  <a:pt x="99" y="501"/>
                </a:lnTo>
                <a:close/>
                <a:moveTo>
                  <a:pt x="548" y="497"/>
                </a:moveTo>
                <a:lnTo>
                  <a:pt x="550" y="495"/>
                </a:lnTo>
                <a:lnTo>
                  <a:pt x="554" y="494"/>
                </a:lnTo>
                <a:lnTo>
                  <a:pt x="556" y="494"/>
                </a:lnTo>
                <a:lnTo>
                  <a:pt x="559" y="494"/>
                </a:lnTo>
                <a:lnTo>
                  <a:pt x="555" y="497"/>
                </a:lnTo>
                <a:lnTo>
                  <a:pt x="548" y="497"/>
                </a:lnTo>
                <a:close/>
                <a:moveTo>
                  <a:pt x="570" y="510"/>
                </a:moveTo>
                <a:lnTo>
                  <a:pt x="573" y="510"/>
                </a:lnTo>
                <a:lnTo>
                  <a:pt x="578" y="510"/>
                </a:lnTo>
                <a:lnTo>
                  <a:pt x="575" y="512"/>
                </a:lnTo>
                <a:lnTo>
                  <a:pt x="573" y="512"/>
                </a:lnTo>
                <a:lnTo>
                  <a:pt x="572" y="512"/>
                </a:lnTo>
                <a:lnTo>
                  <a:pt x="570" y="510"/>
                </a:lnTo>
                <a:close/>
                <a:moveTo>
                  <a:pt x="1213" y="688"/>
                </a:moveTo>
                <a:lnTo>
                  <a:pt x="1214" y="687"/>
                </a:lnTo>
                <a:lnTo>
                  <a:pt x="1213" y="688"/>
                </a:lnTo>
                <a:lnTo>
                  <a:pt x="1213" y="688"/>
                </a:lnTo>
                <a:lnTo>
                  <a:pt x="1213" y="688"/>
                </a:lnTo>
                <a:close/>
                <a:moveTo>
                  <a:pt x="1234" y="688"/>
                </a:moveTo>
                <a:lnTo>
                  <a:pt x="1233" y="689"/>
                </a:lnTo>
                <a:lnTo>
                  <a:pt x="1232" y="688"/>
                </a:lnTo>
                <a:lnTo>
                  <a:pt x="1234" y="687"/>
                </a:lnTo>
                <a:lnTo>
                  <a:pt x="1234" y="688"/>
                </a:lnTo>
                <a:lnTo>
                  <a:pt x="1236" y="688"/>
                </a:lnTo>
                <a:lnTo>
                  <a:pt x="1234" y="688"/>
                </a:lnTo>
                <a:close/>
                <a:moveTo>
                  <a:pt x="1287" y="704"/>
                </a:moveTo>
                <a:lnTo>
                  <a:pt x="1280" y="706"/>
                </a:lnTo>
                <a:lnTo>
                  <a:pt x="1274" y="709"/>
                </a:lnTo>
                <a:lnTo>
                  <a:pt x="1273" y="705"/>
                </a:lnTo>
                <a:lnTo>
                  <a:pt x="1273" y="702"/>
                </a:lnTo>
                <a:lnTo>
                  <a:pt x="1275" y="700"/>
                </a:lnTo>
                <a:lnTo>
                  <a:pt x="1278" y="698"/>
                </a:lnTo>
                <a:lnTo>
                  <a:pt x="1281" y="697"/>
                </a:lnTo>
                <a:lnTo>
                  <a:pt x="1284" y="697"/>
                </a:lnTo>
                <a:lnTo>
                  <a:pt x="1288" y="698"/>
                </a:lnTo>
                <a:lnTo>
                  <a:pt x="1290" y="700"/>
                </a:lnTo>
                <a:lnTo>
                  <a:pt x="1286" y="701"/>
                </a:lnTo>
                <a:lnTo>
                  <a:pt x="1281" y="702"/>
                </a:lnTo>
                <a:lnTo>
                  <a:pt x="1286" y="703"/>
                </a:lnTo>
                <a:lnTo>
                  <a:pt x="1290" y="703"/>
                </a:lnTo>
                <a:lnTo>
                  <a:pt x="1289" y="705"/>
                </a:lnTo>
                <a:lnTo>
                  <a:pt x="1287" y="704"/>
                </a:lnTo>
                <a:lnTo>
                  <a:pt x="1286" y="706"/>
                </a:lnTo>
                <a:lnTo>
                  <a:pt x="1287" y="704"/>
                </a:lnTo>
                <a:close/>
                <a:moveTo>
                  <a:pt x="1327" y="701"/>
                </a:moveTo>
                <a:lnTo>
                  <a:pt x="1324" y="702"/>
                </a:lnTo>
                <a:lnTo>
                  <a:pt x="1323" y="704"/>
                </a:lnTo>
                <a:lnTo>
                  <a:pt x="1320" y="705"/>
                </a:lnTo>
                <a:lnTo>
                  <a:pt x="1316" y="704"/>
                </a:lnTo>
                <a:lnTo>
                  <a:pt x="1312" y="704"/>
                </a:lnTo>
                <a:lnTo>
                  <a:pt x="1306" y="704"/>
                </a:lnTo>
                <a:lnTo>
                  <a:pt x="1304" y="704"/>
                </a:lnTo>
                <a:lnTo>
                  <a:pt x="1302" y="704"/>
                </a:lnTo>
                <a:lnTo>
                  <a:pt x="1299" y="704"/>
                </a:lnTo>
                <a:lnTo>
                  <a:pt x="1297" y="702"/>
                </a:lnTo>
                <a:lnTo>
                  <a:pt x="1298" y="701"/>
                </a:lnTo>
                <a:lnTo>
                  <a:pt x="1299" y="700"/>
                </a:lnTo>
                <a:lnTo>
                  <a:pt x="1302" y="698"/>
                </a:lnTo>
                <a:lnTo>
                  <a:pt x="1305" y="698"/>
                </a:lnTo>
                <a:lnTo>
                  <a:pt x="1311" y="698"/>
                </a:lnTo>
                <a:lnTo>
                  <a:pt x="1315" y="698"/>
                </a:lnTo>
                <a:lnTo>
                  <a:pt x="1321" y="698"/>
                </a:lnTo>
                <a:lnTo>
                  <a:pt x="1328" y="697"/>
                </a:lnTo>
                <a:lnTo>
                  <a:pt x="1336" y="696"/>
                </a:lnTo>
                <a:lnTo>
                  <a:pt x="1339" y="697"/>
                </a:lnTo>
                <a:lnTo>
                  <a:pt x="1336" y="700"/>
                </a:lnTo>
                <a:lnTo>
                  <a:pt x="1333" y="702"/>
                </a:lnTo>
                <a:lnTo>
                  <a:pt x="1331" y="702"/>
                </a:lnTo>
                <a:lnTo>
                  <a:pt x="1330" y="703"/>
                </a:lnTo>
                <a:lnTo>
                  <a:pt x="1329" y="702"/>
                </a:lnTo>
                <a:lnTo>
                  <a:pt x="1327" y="701"/>
                </a:lnTo>
                <a:lnTo>
                  <a:pt x="1329" y="703"/>
                </a:lnTo>
                <a:lnTo>
                  <a:pt x="1327" y="701"/>
                </a:lnTo>
                <a:close/>
                <a:moveTo>
                  <a:pt x="1393" y="642"/>
                </a:moveTo>
                <a:lnTo>
                  <a:pt x="1395" y="644"/>
                </a:lnTo>
                <a:lnTo>
                  <a:pt x="1397" y="646"/>
                </a:lnTo>
                <a:lnTo>
                  <a:pt x="1397" y="647"/>
                </a:lnTo>
                <a:lnTo>
                  <a:pt x="1397" y="648"/>
                </a:lnTo>
                <a:lnTo>
                  <a:pt x="1396" y="648"/>
                </a:lnTo>
                <a:lnTo>
                  <a:pt x="1394" y="648"/>
                </a:lnTo>
                <a:lnTo>
                  <a:pt x="1390" y="647"/>
                </a:lnTo>
                <a:lnTo>
                  <a:pt x="1389" y="646"/>
                </a:lnTo>
                <a:lnTo>
                  <a:pt x="1390" y="644"/>
                </a:lnTo>
                <a:lnTo>
                  <a:pt x="1393" y="642"/>
                </a:lnTo>
                <a:lnTo>
                  <a:pt x="1393" y="643"/>
                </a:lnTo>
                <a:lnTo>
                  <a:pt x="1393" y="642"/>
                </a:lnTo>
                <a:close/>
                <a:moveTo>
                  <a:pt x="1312" y="649"/>
                </a:moveTo>
                <a:lnTo>
                  <a:pt x="1320" y="649"/>
                </a:lnTo>
                <a:lnTo>
                  <a:pt x="1328" y="648"/>
                </a:lnTo>
                <a:lnTo>
                  <a:pt x="1336" y="647"/>
                </a:lnTo>
                <a:lnTo>
                  <a:pt x="1344" y="649"/>
                </a:lnTo>
                <a:lnTo>
                  <a:pt x="1348" y="651"/>
                </a:lnTo>
                <a:lnTo>
                  <a:pt x="1352" y="653"/>
                </a:lnTo>
                <a:lnTo>
                  <a:pt x="1352" y="655"/>
                </a:lnTo>
                <a:lnTo>
                  <a:pt x="1350" y="656"/>
                </a:lnTo>
                <a:lnTo>
                  <a:pt x="1348" y="656"/>
                </a:lnTo>
                <a:lnTo>
                  <a:pt x="1347" y="656"/>
                </a:lnTo>
                <a:lnTo>
                  <a:pt x="1346" y="655"/>
                </a:lnTo>
                <a:lnTo>
                  <a:pt x="1345" y="654"/>
                </a:lnTo>
                <a:lnTo>
                  <a:pt x="1343" y="654"/>
                </a:lnTo>
                <a:lnTo>
                  <a:pt x="1341" y="654"/>
                </a:lnTo>
                <a:lnTo>
                  <a:pt x="1335" y="657"/>
                </a:lnTo>
                <a:lnTo>
                  <a:pt x="1327" y="659"/>
                </a:lnTo>
                <a:lnTo>
                  <a:pt x="1325" y="660"/>
                </a:lnTo>
                <a:lnTo>
                  <a:pt x="1323" y="661"/>
                </a:lnTo>
                <a:lnTo>
                  <a:pt x="1321" y="661"/>
                </a:lnTo>
                <a:lnTo>
                  <a:pt x="1320" y="659"/>
                </a:lnTo>
                <a:lnTo>
                  <a:pt x="1324" y="656"/>
                </a:lnTo>
                <a:lnTo>
                  <a:pt x="1328" y="653"/>
                </a:lnTo>
                <a:lnTo>
                  <a:pt x="1322" y="654"/>
                </a:lnTo>
                <a:lnTo>
                  <a:pt x="1317" y="657"/>
                </a:lnTo>
                <a:lnTo>
                  <a:pt x="1315" y="657"/>
                </a:lnTo>
                <a:lnTo>
                  <a:pt x="1313" y="657"/>
                </a:lnTo>
                <a:lnTo>
                  <a:pt x="1312" y="655"/>
                </a:lnTo>
                <a:lnTo>
                  <a:pt x="1312" y="653"/>
                </a:lnTo>
                <a:lnTo>
                  <a:pt x="1308" y="653"/>
                </a:lnTo>
                <a:lnTo>
                  <a:pt x="1306" y="652"/>
                </a:lnTo>
                <a:lnTo>
                  <a:pt x="1306" y="651"/>
                </a:lnTo>
                <a:lnTo>
                  <a:pt x="1307" y="649"/>
                </a:lnTo>
                <a:lnTo>
                  <a:pt x="1310" y="649"/>
                </a:lnTo>
                <a:lnTo>
                  <a:pt x="1312" y="649"/>
                </a:lnTo>
                <a:lnTo>
                  <a:pt x="1314" y="649"/>
                </a:lnTo>
                <a:lnTo>
                  <a:pt x="1312" y="649"/>
                </a:lnTo>
                <a:close/>
                <a:moveTo>
                  <a:pt x="1237" y="631"/>
                </a:moveTo>
                <a:lnTo>
                  <a:pt x="1238" y="629"/>
                </a:lnTo>
                <a:lnTo>
                  <a:pt x="1241" y="627"/>
                </a:lnTo>
                <a:lnTo>
                  <a:pt x="1242" y="627"/>
                </a:lnTo>
                <a:lnTo>
                  <a:pt x="1244" y="627"/>
                </a:lnTo>
                <a:lnTo>
                  <a:pt x="1245" y="628"/>
                </a:lnTo>
                <a:lnTo>
                  <a:pt x="1245" y="630"/>
                </a:lnTo>
                <a:lnTo>
                  <a:pt x="1242" y="632"/>
                </a:lnTo>
                <a:lnTo>
                  <a:pt x="1239" y="634"/>
                </a:lnTo>
                <a:lnTo>
                  <a:pt x="1238" y="634"/>
                </a:lnTo>
                <a:lnTo>
                  <a:pt x="1237" y="634"/>
                </a:lnTo>
                <a:lnTo>
                  <a:pt x="1237" y="632"/>
                </a:lnTo>
                <a:lnTo>
                  <a:pt x="1237" y="631"/>
                </a:lnTo>
                <a:close/>
                <a:moveTo>
                  <a:pt x="1207" y="656"/>
                </a:moveTo>
                <a:lnTo>
                  <a:pt x="1208" y="654"/>
                </a:lnTo>
                <a:lnTo>
                  <a:pt x="1211" y="653"/>
                </a:lnTo>
                <a:lnTo>
                  <a:pt x="1213" y="653"/>
                </a:lnTo>
                <a:lnTo>
                  <a:pt x="1215" y="653"/>
                </a:lnTo>
                <a:lnTo>
                  <a:pt x="1220" y="653"/>
                </a:lnTo>
                <a:lnTo>
                  <a:pt x="1225" y="653"/>
                </a:lnTo>
                <a:lnTo>
                  <a:pt x="1228" y="652"/>
                </a:lnTo>
                <a:lnTo>
                  <a:pt x="1231" y="651"/>
                </a:lnTo>
                <a:lnTo>
                  <a:pt x="1236" y="652"/>
                </a:lnTo>
                <a:lnTo>
                  <a:pt x="1240" y="653"/>
                </a:lnTo>
                <a:lnTo>
                  <a:pt x="1246" y="649"/>
                </a:lnTo>
                <a:lnTo>
                  <a:pt x="1253" y="647"/>
                </a:lnTo>
                <a:lnTo>
                  <a:pt x="1258" y="646"/>
                </a:lnTo>
                <a:lnTo>
                  <a:pt x="1263" y="645"/>
                </a:lnTo>
                <a:lnTo>
                  <a:pt x="1263" y="648"/>
                </a:lnTo>
                <a:lnTo>
                  <a:pt x="1263" y="653"/>
                </a:lnTo>
                <a:lnTo>
                  <a:pt x="1262" y="653"/>
                </a:lnTo>
                <a:lnTo>
                  <a:pt x="1261" y="653"/>
                </a:lnTo>
                <a:lnTo>
                  <a:pt x="1259" y="652"/>
                </a:lnTo>
                <a:lnTo>
                  <a:pt x="1259" y="649"/>
                </a:lnTo>
                <a:lnTo>
                  <a:pt x="1256" y="649"/>
                </a:lnTo>
                <a:lnTo>
                  <a:pt x="1254" y="652"/>
                </a:lnTo>
                <a:lnTo>
                  <a:pt x="1254" y="653"/>
                </a:lnTo>
                <a:lnTo>
                  <a:pt x="1255" y="654"/>
                </a:lnTo>
                <a:lnTo>
                  <a:pt x="1256" y="655"/>
                </a:lnTo>
                <a:lnTo>
                  <a:pt x="1258" y="655"/>
                </a:lnTo>
                <a:lnTo>
                  <a:pt x="1263" y="654"/>
                </a:lnTo>
                <a:lnTo>
                  <a:pt x="1269" y="654"/>
                </a:lnTo>
                <a:lnTo>
                  <a:pt x="1275" y="656"/>
                </a:lnTo>
                <a:lnTo>
                  <a:pt x="1282" y="660"/>
                </a:lnTo>
                <a:lnTo>
                  <a:pt x="1272" y="661"/>
                </a:lnTo>
                <a:lnTo>
                  <a:pt x="1261" y="662"/>
                </a:lnTo>
                <a:lnTo>
                  <a:pt x="1250" y="661"/>
                </a:lnTo>
                <a:lnTo>
                  <a:pt x="1240" y="659"/>
                </a:lnTo>
                <a:lnTo>
                  <a:pt x="1229" y="657"/>
                </a:lnTo>
                <a:lnTo>
                  <a:pt x="1218" y="659"/>
                </a:lnTo>
                <a:lnTo>
                  <a:pt x="1215" y="660"/>
                </a:lnTo>
                <a:lnTo>
                  <a:pt x="1211" y="660"/>
                </a:lnTo>
                <a:lnTo>
                  <a:pt x="1208" y="660"/>
                </a:lnTo>
                <a:lnTo>
                  <a:pt x="1206" y="660"/>
                </a:lnTo>
                <a:lnTo>
                  <a:pt x="1206" y="659"/>
                </a:lnTo>
                <a:lnTo>
                  <a:pt x="1207" y="656"/>
                </a:lnTo>
                <a:lnTo>
                  <a:pt x="1207" y="655"/>
                </a:lnTo>
                <a:lnTo>
                  <a:pt x="1207" y="656"/>
                </a:lnTo>
                <a:close/>
                <a:moveTo>
                  <a:pt x="1162" y="636"/>
                </a:moveTo>
                <a:lnTo>
                  <a:pt x="1159" y="637"/>
                </a:lnTo>
                <a:lnTo>
                  <a:pt x="1157" y="637"/>
                </a:lnTo>
                <a:lnTo>
                  <a:pt x="1158" y="632"/>
                </a:lnTo>
                <a:lnTo>
                  <a:pt x="1160" y="629"/>
                </a:lnTo>
                <a:lnTo>
                  <a:pt x="1163" y="629"/>
                </a:lnTo>
                <a:lnTo>
                  <a:pt x="1163" y="631"/>
                </a:lnTo>
                <a:lnTo>
                  <a:pt x="1163" y="634"/>
                </a:lnTo>
                <a:lnTo>
                  <a:pt x="1162" y="636"/>
                </a:lnTo>
                <a:lnTo>
                  <a:pt x="1162" y="636"/>
                </a:lnTo>
                <a:lnTo>
                  <a:pt x="1162" y="636"/>
                </a:lnTo>
                <a:close/>
                <a:moveTo>
                  <a:pt x="1082" y="619"/>
                </a:moveTo>
                <a:lnTo>
                  <a:pt x="1074" y="620"/>
                </a:lnTo>
                <a:lnTo>
                  <a:pt x="1066" y="619"/>
                </a:lnTo>
                <a:lnTo>
                  <a:pt x="1069" y="617"/>
                </a:lnTo>
                <a:lnTo>
                  <a:pt x="1074" y="615"/>
                </a:lnTo>
                <a:lnTo>
                  <a:pt x="1077" y="617"/>
                </a:lnTo>
                <a:lnTo>
                  <a:pt x="1082" y="619"/>
                </a:lnTo>
                <a:close/>
                <a:moveTo>
                  <a:pt x="1058" y="614"/>
                </a:moveTo>
                <a:lnTo>
                  <a:pt x="1056" y="617"/>
                </a:lnTo>
                <a:lnTo>
                  <a:pt x="1053" y="619"/>
                </a:lnTo>
                <a:lnTo>
                  <a:pt x="1050" y="620"/>
                </a:lnTo>
                <a:lnTo>
                  <a:pt x="1045" y="620"/>
                </a:lnTo>
                <a:lnTo>
                  <a:pt x="1049" y="618"/>
                </a:lnTo>
                <a:lnTo>
                  <a:pt x="1051" y="614"/>
                </a:lnTo>
                <a:lnTo>
                  <a:pt x="1052" y="613"/>
                </a:lnTo>
                <a:lnTo>
                  <a:pt x="1053" y="613"/>
                </a:lnTo>
                <a:lnTo>
                  <a:pt x="1056" y="613"/>
                </a:lnTo>
                <a:lnTo>
                  <a:pt x="1058" y="614"/>
                </a:lnTo>
                <a:close/>
                <a:moveTo>
                  <a:pt x="941" y="462"/>
                </a:moveTo>
                <a:lnTo>
                  <a:pt x="938" y="463"/>
                </a:lnTo>
                <a:lnTo>
                  <a:pt x="937" y="464"/>
                </a:lnTo>
                <a:lnTo>
                  <a:pt x="935" y="464"/>
                </a:lnTo>
                <a:lnTo>
                  <a:pt x="934" y="464"/>
                </a:lnTo>
                <a:lnTo>
                  <a:pt x="932" y="463"/>
                </a:lnTo>
                <a:lnTo>
                  <a:pt x="929" y="461"/>
                </a:lnTo>
                <a:lnTo>
                  <a:pt x="926" y="460"/>
                </a:lnTo>
                <a:lnTo>
                  <a:pt x="923" y="458"/>
                </a:lnTo>
                <a:lnTo>
                  <a:pt x="920" y="460"/>
                </a:lnTo>
                <a:lnTo>
                  <a:pt x="919" y="461"/>
                </a:lnTo>
                <a:lnTo>
                  <a:pt x="918" y="460"/>
                </a:lnTo>
                <a:lnTo>
                  <a:pt x="917" y="458"/>
                </a:lnTo>
                <a:lnTo>
                  <a:pt x="916" y="457"/>
                </a:lnTo>
                <a:lnTo>
                  <a:pt x="917" y="455"/>
                </a:lnTo>
                <a:lnTo>
                  <a:pt x="920" y="454"/>
                </a:lnTo>
                <a:lnTo>
                  <a:pt x="925" y="454"/>
                </a:lnTo>
                <a:lnTo>
                  <a:pt x="934" y="457"/>
                </a:lnTo>
                <a:lnTo>
                  <a:pt x="941" y="462"/>
                </a:lnTo>
                <a:lnTo>
                  <a:pt x="940" y="462"/>
                </a:lnTo>
                <a:lnTo>
                  <a:pt x="941" y="462"/>
                </a:lnTo>
                <a:close/>
                <a:moveTo>
                  <a:pt x="875" y="569"/>
                </a:moveTo>
                <a:lnTo>
                  <a:pt x="877" y="566"/>
                </a:lnTo>
                <a:lnTo>
                  <a:pt x="882" y="565"/>
                </a:lnTo>
                <a:lnTo>
                  <a:pt x="884" y="566"/>
                </a:lnTo>
                <a:lnTo>
                  <a:pt x="886" y="566"/>
                </a:lnTo>
                <a:lnTo>
                  <a:pt x="888" y="568"/>
                </a:lnTo>
                <a:lnTo>
                  <a:pt x="888" y="570"/>
                </a:lnTo>
                <a:lnTo>
                  <a:pt x="887" y="572"/>
                </a:lnTo>
                <a:lnTo>
                  <a:pt x="886" y="574"/>
                </a:lnTo>
                <a:lnTo>
                  <a:pt x="884" y="574"/>
                </a:lnTo>
                <a:lnTo>
                  <a:pt x="882" y="573"/>
                </a:lnTo>
                <a:lnTo>
                  <a:pt x="876" y="571"/>
                </a:lnTo>
                <a:lnTo>
                  <a:pt x="875" y="569"/>
                </a:lnTo>
                <a:lnTo>
                  <a:pt x="875" y="569"/>
                </a:lnTo>
                <a:lnTo>
                  <a:pt x="875" y="569"/>
                </a:lnTo>
                <a:close/>
                <a:moveTo>
                  <a:pt x="858" y="560"/>
                </a:moveTo>
                <a:lnTo>
                  <a:pt x="857" y="560"/>
                </a:lnTo>
                <a:lnTo>
                  <a:pt x="855" y="559"/>
                </a:lnTo>
                <a:lnTo>
                  <a:pt x="855" y="557"/>
                </a:lnTo>
                <a:lnTo>
                  <a:pt x="857" y="556"/>
                </a:lnTo>
                <a:lnTo>
                  <a:pt x="860" y="556"/>
                </a:lnTo>
                <a:lnTo>
                  <a:pt x="863" y="557"/>
                </a:lnTo>
                <a:lnTo>
                  <a:pt x="867" y="559"/>
                </a:lnTo>
                <a:lnTo>
                  <a:pt x="871" y="560"/>
                </a:lnTo>
                <a:lnTo>
                  <a:pt x="875" y="561"/>
                </a:lnTo>
                <a:lnTo>
                  <a:pt x="878" y="563"/>
                </a:lnTo>
                <a:lnTo>
                  <a:pt x="872" y="564"/>
                </a:lnTo>
                <a:lnTo>
                  <a:pt x="868" y="563"/>
                </a:lnTo>
                <a:lnTo>
                  <a:pt x="862" y="562"/>
                </a:lnTo>
                <a:lnTo>
                  <a:pt x="858" y="560"/>
                </a:lnTo>
                <a:lnTo>
                  <a:pt x="860" y="561"/>
                </a:lnTo>
                <a:lnTo>
                  <a:pt x="858" y="560"/>
                </a:lnTo>
                <a:close/>
                <a:moveTo>
                  <a:pt x="869" y="458"/>
                </a:moveTo>
                <a:lnTo>
                  <a:pt x="855" y="453"/>
                </a:lnTo>
                <a:lnTo>
                  <a:pt x="842" y="448"/>
                </a:lnTo>
                <a:lnTo>
                  <a:pt x="827" y="444"/>
                </a:lnTo>
                <a:lnTo>
                  <a:pt x="813" y="440"/>
                </a:lnTo>
                <a:lnTo>
                  <a:pt x="814" y="438"/>
                </a:lnTo>
                <a:lnTo>
                  <a:pt x="814" y="437"/>
                </a:lnTo>
                <a:lnTo>
                  <a:pt x="813" y="436"/>
                </a:lnTo>
                <a:lnTo>
                  <a:pt x="812" y="436"/>
                </a:lnTo>
                <a:lnTo>
                  <a:pt x="804" y="435"/>
                </a:lnTo>
                <a:lnTo>
                  <a:pt x="796" y="433"/>
                </a:lnTo>
                <a:lnTo>
                  <a:pt x="793" y="433"/>
                </a:lnTo>
                <a:lnTo>
                  <a:pt x="791" y="432"/>
                </a:lnTo>
                <a:lnTo>
                  <a:pt x="789" y="431"/>
                </a:lnTo>
                <a:lnTo>
                  <a:pt x="791" y="430"/>
                </a:lnTo>
                <a:lnTo>
                  <a:pt x="791" y="429"/>
                </a:lnTo>
                <a:lnTo>
                  <a:pt x="791" y="428"/>
                </a:lnTo>
                <a:lnTo>
                  <a:pt x="791" y="427"/>
                </a:lnTo>
                <a:lnTo>
                  <a:pt x="789" y="427"/>
                </a:lnTo>
                <a:lnTo>
                  <a:pt x="791" y="424"/>
                </a:lnTo>
                <a:lnTo>
                  <a:pt x="793" y="424"/>
                </a:lnTo>
                <a:lnTo>
                  <a:pt x="795" y="424"/>
                </a:lnTo>
                <a:lnTo>
                  <a:pt x="799" y="426"/>
                </a:lnTo>
                <a:lnTo>
                  <a:pt x="804" y="429"/>
                </a:lnTo>
                <a:lnTo>
                  <a:pt x="809" y="431"/>
                </a:lnTo>
                <a:lnTo>
                  <a:pt x="813" y="431"/>
                </a:lnTo>
                <a:lnTo>
                  <a:pt x="817" y="432"/>
                </a:lnTo>
                <a:lnTo>
                  <a:pt x="819" y="435"/>
                </a:lnTo>
                <a:lnTo>
                  <a:pt x="820" y="436"/>
                </a:lnTo>
                <a:lnTo>
                  <a:pt x="821" y="437"/>
                </a:lnTo>
                <a:lnTo>
                  <a:pt x="825" y="437"/>
                </a:lnTo>
                <a:lnTo>
                  <a:pt x="832" y="438"/>
                </a:lnTo>
                <a:lnTo>
                  <a:pt x="838" y="439"/>
                </a:lnTo>
                <a:lnTo>
                  <a:pt x="844" y="441"/>
                </a:lnTo>
                <a:lnTo>
                  <a:pt x="851" y="445"/>
                </a:lnTo>
                <a:lnTo>
                  <a:pt x="858" y="448"/>
                </a:lnTo>
                <a:lnTo>
                  <a:pt x="865" y="451"/>
                </a:lnTo>
                <a:lnTo>
                  <a:pt x="871" y="452"/>
                </a:lnTo>
                <a:lnTo>
                  <a:pt x="878" y="454"/>
                </a:lnTo>
                <a:lnTo>
                  <a:pt x="879" y="456"/>
                </a:lnTo>
                <a:lnTo>
                  <a:pt x="880" y="458"/>
                </a:lnTo>
                <a:lnTo>
                  <a:pt x="884" y="460"/>
                </a:lnTo>
                <a:lnTo>
                  <a:pt x="886" y="461"/>
                </a:lnTo>
                <a:lnTo>
                  <a:pt x="888" y="461"/>
                </a:lnTo>
                <a:lnTo>
                  <a:pt x="892" y="462"/>
                </a:lnTo>
                <a:lnTo>
                  <a:pt x="894" y="463"/>
                </a:lnTo>
                <a:lnTo>
                  <a:pt x="895" y="465"/>
                </a:lnTo>
                <a:lnTo>
                  <a:pt x="895" y="466"/>
                </a:lnTo>
                <a:lnTo>
                  <a:pt x="894" y="468"/>
                </a:lnTo>
                <a:lnTo>
                  <a:pt x="893" y="468"/>
                </a:lnTo>
                <a:lnTo>
                  <a:pt x="891" y="468"/>
                </a:lnTo>
                <a:lnTo>
                  <a:pt x="887" y="466"/>
                </a:lnTo>
                <a:lnTo>
                  <a:pt x="885" y="465"/>
                </a:lnTo>
                <a:lnTo>
                  <a:pt x="877" y="461"/>
                </a:lnTo>
                <a:lnTo>
                  <a:pt x="869" y="458"/>
                </a:lnTo>
                <a:lnTo>
                  <a:pt x="869" y="457"/>
                </a:lnTo>
                <a:lnTo>
                  <a:pt x="869" y="458"/>
                </a:lnTo>
                <a:close/>
                <a:moveTo>
                  <a:pt x="846" y="426"/>
                </a:moveTo>
                <a:lnTo>
                  <a:pt x="849" y="426"/>
                </a:lnTo>
                <a:lnTo>
                  <a:pt x="850" y="428"/>
                </a:lnTo>
                <a:lnTo>
                  <a:pt x="849" y="429"/>
                </a:lnTo>
                <a:lnTo>
                  <a:pt x="847" y="429"/>
                </a:lnTo>
                <a:lnTo>
                  <a:pt x="845" y="429"/>
                </a:lnTo>
                <a:lnTo>
                  <a:pt x="843" y="428"/>
                </a:lnTo>
                <a:lnTo>
                  <a:pt x="842" y="427"/>
                </a:lnTo>
                <a:lnTo>
                  <a:pt x="843" y="426"/>
                </a:lnTo>
                <a:lnTo>
                  <a:pt x="844" y="426"/>
                </a:lnTo>
                <a:lnTo>
                  <a:pt x="846" y="426"/>
                </a:lnTo>
                <a:lnTo>
                  <a:pt x="846" y="426"/>
                </a:lnTo>
                <a:lnTo>
                  <a:pt x="846" y="426"/>
                </a:lnTo>
                <a:close/>
                <a:moveTo>
                  <a:pt x="1192" y="115"/>
                </a:moveTo>
                <a:lnTo>
                  <a:pt x="1192" y="115"/>
                </a:lnTo>
                <a:lnTo>
                  <a:pt x="1192" y="116"/>
                </a:lnTo>
                <a:lnTo>
                  <a:pt x="1191" y="115"/>
                </a:lnTo>
                <a:lnTo>
                  <a:pt x="1192" y="115"/>
                </a:lnTo>
                <a:lnTo>
                  <a:pt x="1192" y="115"/>
                </a:lnTo>
                <a:lnTo>
                  <a:pt x="1192" y="115"/>
                </a:lnTo>
                <a:close/>
                <a:moveTo>
                  <a:pt x="682" y="324"/>
                </a:moveTo>
                <a:lnTo>
                  <a:pt x="686" y="324"/>
                </a:lnTo>
                <a:lnTo>
                  <a:pt x="690" y="324"/>
                </a:lnTo>
                <a:lnTo>
                  <a:pt x="693" y="325"/>
                </a:lnTo>
                <a:lnTo>
                  <a:pt x="694" y="327"/>
                </a:lnTo>
                <a:lnTo>
                  <a:pt x="695" y="328"/>
                </a:lnTo>
                <a:lnTo>
                  <a:pt x="695" y="329"/>
                </a:lnTo>
                <a:lnTo>
                  <a:pt x="694" y="330"/>
                </a:lnTo>
                <a:lnTo>
                  <a:pt x="693" y="331"/>
                </a:lnTo>
                <a:lnTo>
                  <a:pt x="690" y="330"/>
                </a:lnTo>
                <a:lnTo>
                  <a:pt x="688" y="329"/>
                </a:lnTo>
                <a:lnTo>
                  <a:pt x="684" y="327"/>
                </a:lnTo>
                <a:lnTo>
                  <a:pt x="682" y="324"/>
                </a:lnTo>
                <a:lnTo>
                  <a:pt x="684" y="324"/>
                </a:lnTo>
                <a:lnTo>
                  <a:pt x="682" y="324"/>
                </a:lnTo>
                <a:close/>
                <a:moveTo>
                  <a:pt x="692" y="345"/>
                </a:moveTo>
                <a:lnTo>
                  <a:pt x="689" y="347"/>
                </a:lnTo>
                <a:lnTo>
                  <a:pt x="687" y="348"/>
                </a:lnTo>
                <a:lnTo>
                  <a:pt x="686" y="347"/>
                </a:lnTo>
                <a:lnTo>
                  <a:pt x="685" y="347"/>
                </a:lnTo>
                <a:lnTo>
                  <a:pt x="685" y="346"/>
                </a:lnTo>
                <a:lnTo>
                  <a:pt x="685" y="344"/>
                </a:lnTo>
                <a:lnTo>
                  <a:pt x="687" y="343"/>
                </a:lnTo>
                <a:lnTo>
                  <a:pt x="689" y="343"/>
                </a:lnTo>
                <a:lnTo>
                  <a:pt x="690" y="343"/>
                </a:lnTo>
                <a:lnTo>
                  <a:pt x="692" y="345"/>
                </a:lnTo>
                <a:lnTo>
                  <a:pt x="692" y="345"/>
                </a:lnTo>
                <a:lnTo>
                  <a:pt x="692" y="345"/>
                </a:lnTo>
                <a:close/>
                <a:moveTo>
                  <a:pt x="659" y="311"/>
                </a:moveTo>
                <a:lnTo>
                  <a:pt x="660" y="313"/>
                </a:lnTo>
                <a:lnTo>
                  <a:pt x="662" y="315"/>
                </a:lnTo>
                <a:lnTo>
                  <a:pt x="664" y="316"/>
                </a:lnTo>
                <a:lnTo>
                  <a:pt x="666" y="316"/>
                </a:lnTo>
                <a:lnTo>
                  <a:pt x="669" y="316"/>
                </a:lnTo>
                <a:lnTo>
                  <a:pt x="669" y="319"/>
                </a:lnTo>
                <a:lnTo>
                  <a:pt x="665" y="320"/>
                </a:lnTo>
                <a:lnTo>
                  <a:pt x="662" y="320"/>
                </a:lnTo>
                <a:lnTo>
                  <a:pt x="660" y="321"/>
                </a:lnTo>
                <a:lnTo>
                  <a:pt x="661" y="322"/>
                </a:lnTo>
                <a:lnTo>
                  <a:pt x="662" y="323"/>
                </a:lnTo>
                <a:lnTo>
                  <a:pt x="663" y="324"/>
                </a:lnTo>
                <a:lnTo>
                  <a:pt x="660" y="323"/>
                </a:lnTo>
                <a:lnTo>
                  <a:pt x="656" y="322"/>
                </a:lnTo>
                <a:lnTo>
                  <a:pt x="654" y="323"/>
                </a:lnTo>
                <a:lnTo>
                  <a:pt x="651" y="323"/>
                </a:lnTo>
                <a:lnTo>
                  <a:pt x="644" y="322"/>
                </a:lnTo>
                <a:lnTo>
                  <a:pt x="637" y="320"/>
                </a:lnTo>
                <a:lnTo>
                  <a:pt x="636" y="319"/>
                </a:lnTo>
                <a:lnTo>
                  <a:pt x="633" y="317"/>
                </a:lnTo>
                <a:lnTo>
                  <a:pt x="632" y="317"/>
                </a:lnTo>
                <a:lnTo>
                  <a:pt x="631" y="316"/>
                </a:lnTo>
                <a:lnTo>
                  <a:pt x="631" y="315"/>
                </a:lnTo>
                <a:lnTo>
                  <a:pt x="632" y="314"/>
                </a:lnTo>
                <a:lnTo>
                  <a:pt x="637" y="313"/>
                </a:lnTo>
                <a:lnTo>
                  <a:pt x="643" y="315"/>
                </a:lnTo>
                <a:lnTo>
                  <a:pt x="645" y="315"/>
                </a:lnTo>
                <a:lnTo>
                  <a:pt x="647" y="316"/>
                </a:lnTo>
                <a:lnTo>
                  <a:pt x="649" y="316"/>
                </a:lnTo>
                <a:lnTo>
                  <a:pt x="651" y="314"/>
                </a:lnTo>
                <a:lnTo>
                  <a:pt x="649" y="313"/>
                </a:lnTo>
                <a:lnTo>
                  <a:pt x="648" y="313"/>
                </a:lnTo>
                <a:lnTo>
                  <a:pt x="646" y="314"/>
                </a:lnTo>
                <a:lnTo>
                  <a:pt x="644" y="315"/>
                </a:lnTo>
                <a:lnTo>
                  <a:pt x="643" y="313"/>
                </a:lnTo>
                <a:lnTo>
                  <a:pt x="643" y="312"/>
                </a:lnTo>
                <a:lnTo>
                  <a:pt x="644" y="310"/>
                </a:lnTo>
                <a:lnTo>
                  <a:pt x="646" y="308"/>
                </a:lnTo>
                <a:lnTo>
                  <a:pt x="652" y="311"/>
                </a:lnTo>
                <a:lnTo>
                  <a:pt x="659" y="311"/>
                </a:lnTo>
                <a:lnTo>
                  <a:pt x="656" y="312"/>
                </a:lnTo>
                <a:lnTo>
                  <a:pt x="659" y="311"/>
                </a:lnTo>
                <a:close/>
                <a:moveTo>
                  <a:pt x="652" y="286"/>
                </a:moveTo>
                <a:lnTo>
                  <a:pt x="652" y="287"/>
                </a:lnTo>
                <a:lnTo>
                  <a:pt x="651" y="289"/>
                </a:lnTo>
                <a:lnTo>
                  <a:pt x="646" y="288"/>
                </a:lnTo>
                <a:lnTo>
                  <a:pt x="643" y="286"/>
                </a:lnTo>
                <a:lnTo>
                  <a:pt x="641" y="285"/>
                </a:lnTo>
                <a:lnTo>
                  <a:pt x="641" y="283"/>
                </a:lnTo>
                <a:lnTo>
                  <a:pt x="641" y="283"/>
                </a:lnTo>
                <a:lnTo>
                  <a:pt x="644" y="282"/>
                </a:lnTo>
                <a:lnTo>
                  <a:pt x="647" y="283"/>
                </a:lnTo>
                <a:lnTo>
                  <a:pt x="652" y="286"/>
                </a:lnTo>
                <a:lnTo>
                  <a:pt x="651" y="286"/>
                </a:lnTo>
                <a:lnTo>
                  <a:pt x="652" y="286"/>
                </a:lnTo>
                <a:close/>
                <a:moveTo>
                  <a:pt x="599" y="104"/>
                </a:moveTo>
                <a:lnTo>
                  <a:pt x="605" y="104"/>
                </a:lnTo>
                <a:lnTo>
                  <a:pt x="611" y="106"/>
                </a:lnTo>
                <a:lnTo>
                  <a:pt x="618" y="107"/>
                </a:lnTo>
                <a:lnTo>
                  <a:pt x="623" y="108"/>
                </a:lnTo>
                <a:lnTo>
                  <a:pt x="629" y="108"/>
                </a:lnTo>
                <a:lnTo>
                  <a:pt x="637" y="109"/>
                </a:lnTo>
                <a:lnTo>
                  <a:pt x="640" y="111"/>
                </a:lnTo>
                <a:lnTo>
                  <a:pt x="641" y="112"/>
                </a:lnTo>
                <a:lnTo>
                  <a:pt x="641" y="114"/>
                </a:lnTo>
                <a:lnTo>
                  <a:pt x="639" y="117"/>
                </a:lnTo>
                <a:lnTo>
                  <a:pt x="638" y="119"/>
                </a:lnTo>
                <a:lnTo>
                  <a:pt x="637" y="117"/>
                </a:lnTo>
                <a:lnTo>
                  <a:pt x="637" y="116"/>
                </a:lnTo>
                <a:lnTo>
                  <a:pt x="636" y="115"/>
                </a:lnTo>
                <a:lnTo>
                  <a:pt x="629" y="113"/>
                </a:lnTo>
                <a:lnTo>
                  <a:pt x="621" y="112"/>
                </a:lnTo>
                <a:lnTo>
                  <a:pt x="613" y="112"/>
                </a:lnTo>
                <a:lnTo>
                  <a:pt x="605" y="113"/>
                </a:lnTo>
                <a:lnTo>
                  <a:pt x="603" y="112"/>
                </a:lnTo>
                <a:lnTo>
                  <a:pt x="600" y="109"/>
                </a:lnTo>
                <a:lnTo>
                  <a:pt x="599" y="107"/>
                </a:lnTo>
                <a:lnTo>
                  <a:pt x="599" y="104"/>
                </a:lnTo>
                <a:lnTo>
                  <a:pt x="599" y="104"/>
                </a:lnTo>
                <a:lnTo>
                  <a:pt x="599" y="104"/>
                </a:lnTo>
                <a:close/>
                <a:moveTo>
                  <a:pt x="616" y="305"/>
                </a:moveTo>
                <a:lnTo>
                  <a:pt x="622" y="305"/>
                </a:lnTo>
                <a:lnTo>
                  <a:pt x="627" y="307"/>
                </a:lnTo>
                <a:lnTo>
                  <a:pt x="623" y="308"/>
                </a:lnTo>
                <a:lnTo>
                  <a:pt x="620" y="308"/>
                </a:lnTo>
                <a:lnTo>
                  <a:pt x="618" y="308"/>
                </a:lnTo>
                <a:lnTo>
                  <a:pt x="616" y="307"/>
                </a:lnTo>
                <a:lnTo>
                  <a:pt x="615" y="305"/>
                </a:lnTo>
                <a:lnTo>
                  <a:pt x="616" y="305"/>
                </a:lnTo>
                <a:lnTo>
                  <a:pt x="618" y="304"/>
                </a:lnTo>
                <a:lnTo>
                  <a:pt x="616" y="305"/>
                </a:lnTo>
                <a:close/>
                <a:moveTo>
                  <a:pt x="614" y="279"/>
                </a:moveTo>
                <a:lnTo>
                  <a:pt x="618" y="278"/>
                </a:lnTo>
                <a:lnTo>
                  <a:pt x="622" y="279"/>
                </a:lnTo>
                <a:lnTo>
                  <a:pt x="624" y="280"/>
                </a:lnTo>
                <a:lnTo>
                  <a:pt x="626" y="281"/>
                </a:lnTo>
                <a:lnTo>
                  <a:pt x="627" y="282"/>
                </a:lnTo>
                <a:lnTo>
                  <a:pt x="626" y="285"/>
                </a:lnTo>
                <a:lnTo>
                  <a:pt x="623" y="285"/>
                </a:lnTo>
                <a:lnTo>
                  <a:pt x="620" y="283"/>
                </a:lnTo>
                <a:lnTo>
                  <a:pt x="616" y="281"/>
                </a:lnTo>
                <a:lnTo>
                  <a:pt x="614" y="279"/>
                </a:lnTo>
                <a:lnTo>
                  <a:pt x="616" y="279"/>
                </a:lnTo>
                <a:lnTo>
                  <a:pt x="614" y="279"/>
                </a:lnTo>
                <a:close/>
                <a:moveTo>
                  <a:pt x="627" y="320"/>
                </a:moveTo>
                <a:lnTo>
                  <a:pt x="629" y="321"/>
                </a:lnTo>
                <a:lnTo>
                  <a:pt x="630" y="323"/>
                </a:lnTo>
                <a:lnTo>
                  <a:pt x="629" y="325"/>
                </a:lnTo>
                <a:lnTo>
                  <a:pt x="627" y="327"/>
                </a:lnTo>
                <a:lnTo>
                  <a:pt x="626" y="327"/>
                </a:lnTo>
                <a:lnTo>
                  <a:pt x="624" y="325"/>
                </a:lnTo>
                <a:lnTo>
                  <a:pt x="622" y="324"/>
                </a:lnTo>
                <a:lnTo>
                  <a:pt x="622" y="322"/>
                </a:lnTo>
                <a:lnTo>
                  <a:pt x="623" y="321"/>
                </a:lnTo>
                <a:lnTo>
                  <a:pt x="623" y="320"/>
                </a:lnTo>
                <a:lnTo>
                  <a:pt x="626" y="320"/>
                </a:lnTo>
                <a:lnTo>
                  <a:pt x="627" y="320"/>
                </a:lnTo>
                <a:lnTo>
                  <a:pt x="627" y="320"/>
                </a:lnTo>
                <a:lnTo>
                  <a:pt x="627" y="320"/>
                </a:lnTo>
                <a:close/>
                <a:moveTo>
                  <a:pt x="566" y="298"/>
                </a:moveTo>
                <a:lnTo>
                  <a:pt x="571" y="295"/>
                </a:lnTo>
                <a:lnTo>
                  <a:pt x="575" y="292"/>
                </a:lnTo>
                <a:lnTo>
                  <a:pt x="580" y="292"/>
                </a:lnTo>
                <a:lnTo>
                  <a:pt x="585" y="294"/>
                </a:lnTo>
                <a:lnTo>
                  <a:pt x="591" y="295"/>
                </a:lnTo>
                <a:lnTo>
                  <a:pt x="598" y="297"/>
                </a:lnTo>
                <a:lnTo>
                  <a:pt x="605" y="298"/>
                </a:lnTo>
                <a:lnTo>
                  <a:pt x="611" y="300"/>
                </a:lnTo>
                <a:lnTo>
                  <a:pt x="612" y="303"/>
                </a:lnTo>
                <a:lnTo>
                  <a:pt x="612" y="304"/>
                </a:lnTo>
                <a:lnTo>
                  <a:pt x="610" y="304"/>
                </a:lnTo>
                <a:lnTo>
                  <a:pt x="607" y="304"/>
                </a:lnTo>
                <a:lnTo>
                  <a:pt x="600" y="304"/>
                </a:lnTo>
                <a:lnTo>
                  <a:pt x="596" y="303"/>
                </a:lnTo>
                <a:lnTo>
                  <a:pt x="581" y="300"/>
                </a:lnTo>
                <a:lnTo>
                  <a:pt x="566" y="298"/>
                </a:lnTo>
                <a:lnTo>
                  <a:pt x="574" y="296"/>
                </a:lnTo>
                <a:lnTo>
                  <a:pt x="566" y="298"/>
                </a:lnTo>
                <a:close/>
                <a:moveTo>
                  <a:pt x="591" y="316"/>
                </a:moveTo>
                <a:lnTo>
                  <a:pt x="588" y="317"/>
                </a:lnTo>
                <a:lnTo>
                  <a:pt x="587" y="320"/>
                </a:lnTo>
                <a:lnTo>
                  <a:pt x="582" y="317"/>
                </a:lnTo>
                <a:lnTo>
                  <a:pt x="578" y="315"/>
                </a:lnTo>
                <a:lnTo>
                  <a:pt x="581" y="313"/>
                </a:lnTo>
                <a:lnTo>
                  <a:pt x="586" y="312"/>
                </a:lnTo>
                <a:lnTo>
                  <a:pt x="588" y="312"/>
                </a:lnTo>
                <a:lnTo>
                  <a:pt x="589" y="313"/>
                </a:lnTo>
                <a:lnTo>
                  <a:pt x="590" y="314"/>
                </a:lnTo>
                <a:lnTo>
                  <a:pt x="591" y="316"/>
                </a:lnTo>
                <a:lnTo>
                  <a:pt x="589" y="315"/>
                </a:lnTo>
                <a:lnTo>
                  <a:pt x="591" y="316"/>
                </a:lnTo>
                <a:close/>
                <a:moveTo>
                  <a:pt x="523" y="278"/>
                </a:moveTo>
                <a:lnTo>
                  <a:pt x="529" y="279"/>
                </a:lnTo>
                <a:lnTo>
                  <a:pt x="536" y="280"/>
                </a:lnTo>
                <a:lnTo>
                  <a:pt x="533" y="283"/>
                </a:lnTo>
                <a:lnTo>
                  <a:pt x="529" y="285"/>
                </a:lnTo>
                <a:lnTo>
                  <a:pt x="529" y="286"/>
                </a:lnTo>
                <a:lnTo>
                  <a:pt x="529" y="288"/>
                </a:lnTo>
                <a:lnTo>
                  <a:pt x="526" y="288"/>
                </a:lnTo>
                <a:lnTo>
                  <a:pt x="524" y="288"/>
                </a:lnTo>
                <a:lnTo>
                  <a:pt x="522" y="288"/>
                </a:lnTo>
                <a:lnTo>
                  <a:pt x="520" y="289"/>
                </a:lnTo>
                <a:lnTo>
                  <a:pt x="517" y="288"/>
                </a:lnTo>
                <a:lnTo>
                  <a:pt x="515" y="286"/>
                </a:lnTo>
                <a:lnTo>
                  <a:pt x="516" y="285"/>
                </a:lnTo>
                <a:lnTo>
                  <a:pt x="519" y="283"/>
                </a:lnTo>
                <a:lnTo>
                  <a:pt x="522" y="283"/>
                </a:lnTo>
                <a:lnTo>
                  <a:pt x="524" y="283"/>
                </a:lnTo>
                <a:lnTo>
                  <a:pt x="523" y="281"/>
                </a:lnTo>
                <a:lnTo>
                  <a:pt x="523" y="278"/>
                </a:lnTo>
                <a:lnTo>
                  <a:pt x="523" y="278"/>
                </a:lnTo>
                <a:lnTo>
                  <a:pt x="523" y="278"/>
                </a:lnTo>
                <a:close/>
                <a:moveTo>
                  <a:pt x="531" y="291"/>
                </a:moveTo>
                <a:lnTo>
                  <a:pt x="532" y="291"/>
                </a:lnTo>
                <a:lnTo>
                  <a:pt x="534" y="292"/>
                </a:lnTo>
                <a:lnTo>
                  <a:pt x="537" y="292"/>
                </a:lnTo>
                <a:lnTo>
                  <a:pt x="538" y="295"/>
                </a:lnTo>
                <a:lnTo>
                  <a:pt x="538" y="296"/>
                </a:lnTo>
                <a:lnTo>
                  <a:pt x="537" y="297"/>
                </a:lnTo>
                <a:lnTo>
                  <a:pt x="536" y="297"/>
                </a:lnTo>
                <a:lnTo>
                  <a:pt x="534" y="297"/>
                </a:lnTo>
                <a:lnTo>
                  <a:pt x="531" y="297"/>
                </a:lnTo>
                <a:lnTo>
                  <a:pt x="528" y="295"/>
                </a:lnTo>
                <a:lnTo>
                  <a:pt x="526" y="294"/>
                </a:lnTo>
                <a:lnTo>
                  <a:pt x="528" y="292"/>
                </a:lnTo>
                <a:lnTo>
                  <a:pt x="529" y="291"/>
                </a:lnTo>
                <a:lnTo>
                  <a:pt x="531" y="291"/>
                </a:lnTo>
                <a:lnTo>
                  <a:pt x="531" y="291"/>
                </a:lnTo>
                <a:lnTo>
                  <a:pt x="531" y="291"/>
                </a:lnTo>
                <a:close/>
                <a:moveTo>
                  <a:pt x="519" y="263"/>
                </a:moveTo>
                <a:lnTo>
                  <a:pt x="507" y="260"/>
                </a:lnTo>
                <a:lnTo>
                  <a:pt x="495" y="257"/>
                </a:lnTo>
                <a:lnTo>
                  <a:pt x="491" y="257"/>
                </a:lnTo>
                <a:lnTo>
                  <a:pt x="487" y="258"/>
                </a:lnTo>
                <a:lnTo>
                  <a:pt x="482" y="257"/>
                </a:lnTo>
                <a:lnTo>
                  <a:pt x="480" y="256"/>
                </a:lnTo>
                <a:lnTo>
                  <a:pt x="479" y="254"/>
                </a:lnTo>
                <a:lnTo>
                  <a:pt x="479" y="252"/>
                </a:lnTo>
                <a:lnTo>
                  <a:pt x="479" y="250"/>
                </a:lnTo>
                <a:lnTo>
                  <a:pt x="480" y="249"/>
                </a:lnTo>
                <a:lnTo>
                  <a:pt x="483" y="247"/>
                </a:lnTo>
                <a:lnTo>
                  <a:pt x="488" y="247"/>
                </a:lnTo>
                <a:lnTo>
                  <a:pt x="498" y="248"/>
                </a:lnTo>
                <a:lnTo>
                  <a:pt x="505" y="249"/>
                </a:lnTo>
                <a:lnTo>
                  <a:pt x="528" y="253"/>
                </a:lnTo>
                <a:lnTo>
                  <a:pt x="550" y="258"/>
                </a:lnTo>
                <a:lnTo>
                  <a:pt x="573" y="264"/>
                </a:lnTo>
                <a:lnTo>
                  <a:pt x="595" y="271"/>
                </a:lnTo>
                <a:lnTo>
                  <a:pt x="593" y="273"/>
                </a:lnTo>
                <a:lnTo>
                  <a:pt x="589" y="274"/>
                </a:lnTo>
                <a:lnTo>
                  <a:pt x="586" y="274"/>
                </a:lnTo>
                <a:lnTo>
                  <a:pt x="581" y="273"/>
                </a:lnTo>
                <a:lnTo>
                  <a:pt x="571" y="271"/>
                </a:lnTo>
                <a:lnTo>
                  <a:pt x="561" y="271"/>
                </a:lnTo>
                <a:lnTo>
                  <a:pt x="553" y="269"/>
                </a:lnTo>
                <a:lnTo>
                  <a:pt x="546" y="265"/>
                </a:lnTo>
                <a:lnTo>
                  <a:pt x="532" y="264"/>
                </a:lnTo>
                <a:lnTo>
                  <a:pt x="519" y="263"/>
                </a:lnTo>
                <a:lnTo>
                  <a:pt x="515" y="262"/>
                </a:lnTo>
                <a:lnTo>
                  <a:pt x="517" y="263"/>
                </a:lnTo>
                <a:lnTo>
                  <a:pt x="521" y="264"/>
                </a:lnTo>
                <a:lnTo>
                  <a:pt x="519" y="263"/>
                </a:lnTo>
                <a:close/>
                <a:moveTo>
                  <a:pt x="328" y="132"/>
                </a:moveTo>
                <a:lnTo>
                  <a:pt x="330" y="129"/>
                </a:lnTo>
                <a:lnTo>
                  <a:pt x="332" y="128"/>
                </a:lnTo>
                <a:lnTo>
                  <a:pt x="336" y="126"/>
                </a:lnTo>
                <a:lnTo>
                  <a:pt x="340" y="126"/>
                </a:lnTo>
                <a:lnTo>
                  <a:pt x="347" y="124"/>
                </a:lnTo>
                <a:lnTo>
                  <a:pt x="353" y="123"/>
                </a:lnTo>
                <a:lnTo>
                  <a:pt x="359" y="123"/>
                </a:lnTo>
                <a:lnTo>
                  <a:pt x="366" y="122"/>
                </a:lnTo>
                <a:lnTo>
                  <a:pt x="373" y="122"/>
                </a:lnTo>
                <a:lnTo>
                  <a:pt x="376" y="124"/>
                </a:lnTo>
                <a:lnTo>
                  <a:pt x="375" y="125"/>
                </a:lnTo>
                <a:lnTo>
                  <a:pt x="371" y="128"/>
                </a:lnTo>
                <a:lnTo>
                  <a:pt x="364" y="129"/>
                </a:lnTo>
                <a:lnTo>
                  <a:pt x="355" y="130"/>
                </a:lnTo>
                <a:lnTo>
                  <a:pt x="339" y="131"/>
                </a:lnTo>
                <a:lnTo>
                  <a:pt x="328" y="132"/>
                </a:lnTo>
                <a:lnTo>
                  <a:pt x="332" y="131"/>
                </a:lnTo>
                <a:lnTo>
                  <a:pt x="328" y="132"/>
                </a:lnTo>
                <a:close/>
                <a:moveTo>
                  <a:pt x="352" y="250"/>
                </a:moveTo>
                <a:lnTo>
                  <a:pt x="351" y="254"/>
                </a:lnTo>
                <a:lnTo>
                  <a:pt x="348" y="256"/>
                </a:lnTo>
                <a:lnTo>
                  <a:pt x="343" y="256"/>
                </a:lnTo>
                <a:lnTo>
                  <a:pt x="341" y="255"/>
                </a:lnTo>
                <a:lnTo>
                  <a:pt x="342" y="252"/>
                </a:lnTo>
                <a:lnTo>
                  <a:pt x="347" y="249"/>
                </a:lnTo>
                <a:lnTo>
                  <a:pt x="349" y="248"/>
                </a:lnTo>
                <a:lnTo>
                  <a:pt x="350" y="248"/>
                </a:lnTo>
                <a:lnTo>
                  <a:pt x="352" y="249"/>
                </a:lnTo>
                <a:lnTo>
                  <a:pt x="352" y="250"/>
                </a:lnTo>
                <a:lnTo>
                  <a:pt x="352" y="253"/>
                </a:lnTo>
                <a:lnTo>
                  <a:pt x="352" y="250"/>
                </a:lnTo>
                <a:close/>
                <a:moveTo>
                  <a:pt x="361" y="114"/>
                </a:moveTo>
                <a:lnTo>
                  <a:pt x="365" y="112"/>
                </a:lnTo>
                <a:lnTo>
                  <a:pt x="368" y="112"/>
                </a:lnTo>
                <a:lnTo>
                  <a:pt x="372" y="112"/>
                </a:lnTo>
                <a:lnTo>
                  <a:pt x="375" y="114"/>
                </a:lnTo>
                <a:lnTo>
                  <a:pt x="371" y="117"/>
                </a:lnTo>
                <a:lnTo>
                  <a:pt x="365" y="119"/>
                </a:lnTo>
                <a:lnTo>
                  <a:pt x="363" y="119"/>
                </a:lnTo>
                <a:lnTo>
                  <a:pt x="361" y="117"/>
                </a:lnTo>
                <a:lnTo>
                  <a:pt x="360" y="116"/>
                </a:lnTo>
                <a:lnTo>
                  <a:pt x="361" y="114"/>
                </a:lnTo>
                <a:lnTo>
                  <a:pt x="363" y="113"/>
                </a:lnTo>
                <a:lnTo>
                  <a:pt x="361" y="114"/>
                </a:lnTo>
                <a:close/>
                <a:moveTo>
                  <a:pt x="408" y="247"/>
                </a:moveTo>
                <a:lnTo>
                  <a:pt x="402" y="247"/>
                </a:lnTo>
                <a:lnTo>
                  <a:pt x="398" y="247"/>
                </a:lnTo>
                <a:lnTo>
                  <a:pt x="396" y="247"/>
                </a:lnTo>
                <a:lnTo>
                  <a:pt x="393" y="247"/>
                </a:lnTo>
                <a:lnTo>
                  <a:pt x="391" y="246"/>
                </a:lnTo>
                <a:lnTo>
                  <a:pt x="389" y="244"/>
                </a:lnTo>
                <a:lnTo>
                  <a:pt x="393" y="244"/>
                </a:lnTo>
                <a:lnTo>
                  <a:pt x="399" y="244"/>
                </a:lnTo>
                <a:lnTo>
                  <a:pt x="401" y="244"/>
                </a:lnTo>
                <a:lnTo>
                  <a:pt x="404" y="244"/>
                </a:lnTo>
                <a:lnTo>
                  <a:pt x="406" y="245"/>
                </a:lnTo>
                <a:lnTo>
                  <a:pt x="408" y="247"/>
                </a:lnTo>
                <a:close/>
                <a:moveTo>
                  <a:pt x="392" y="122"/>
                </a:moveTo>
                <a:lnTo>
                  <a:pt x="393" y="121"/>
                </a:lnTo>
                <a:lnTo>
                  <a:pt x="396" y="120"/>
                </a:lnTo>
                <a:lnTo>
                  <a:pt x="399" y="120"/>
                </a:lnTo>
                <a:lnTo>
                  <a:pt x="400" y="121"/>
                </a:lnTo>
                <a:lnTo>
                  <a:pt x="400" y="123"/>
                </a:lnTo>
                <a:lnTo>
                  <a:pt x="399" y="124"/>
                </a:lnTo>
                <a:lnTo>
                  <a:pt x="398" y="124"/>
                </a:lnTo>
                <a:lnTo>
                  <a:pt x="397" y="125"/>
                </a:lnTo>
                <a:lnTo>
                  <a:pt x="394" y="125"/>
                </a:lnTo>
                <a:lnTo>
                  <a:pt x="393" y="124"/>
                </a:lnTo>
                <a:lnTo>
                  <a:pt x="392" y="123"/>
                </a:lnTo>
                <a:lnTo>
                  <a:pt x="392" y="122"/>
                </a:lnTo>
                <a:lnTo>
                  <a:pt x="392" y="122"/>
                </a:lnTo>
                <a:lnTo>
                  <a:pt x="392" y="122"/>
                </a:lnTo>
                <a:close/>
                <a:moveTo>
                  <a:pt x="409" y="107"/>
                </a:moveTo>
                <a:lnTo>
                  <a:pt x="413" y="108"/>
                </a:lnTo>
                <a:lnTo>
                  <a:pt x="413" y="111"/>
                </a:lnTo>
                <a:lnTo>
                  <a:pt x="413" y="113"/>
                </a:lnTo>
                <a:lnTo>
                  <a:pt x="410" y="113"/>
                </a:lnTo>
                <a:lnTo>
                  <a:pt x="408" y="113"/>
                </a:lnTo>
                <a:lnTo>
                  <a:pt x="407" y="111"/>
                </a:lnTo>
                <a:lnTo>
                  <a:pt x="408" y="108"/>
                </a:lnTo>
                <a:lnTo>
                  <a:pt x="409" y="107"/>
                </a:lnTo>
                <a:lnTo>
                  <a:pt x="409" y="107"/>
                </a:lnTo>
                <a:lnTo>
                  <a:pt x="409" y="107"/>
                </a:lnTo>
                <a:close/>
                <a:moveTo>
                  <a:pt x="389" y="277"/>
                </a:moveTo>
                <a:lnTo>
                  <a:pt x="391" y="275"/>
                </a:lnTo>
                <a:lnTo>
                  <a:pt x="394" y="277"/>
                </a:lnTo>
                <a:lnTo>
                  <a:pt x="398" y="278"/>
                </a:lnTo>
                <a:lnTo>
                  <a:pt x="399" y="280"/>
                </a:lnTo>
                <a:lnTo>
                  <a:pt x="398" y="282"/>
                </a:lnTo>
                <a:lnTo>
                  <a:pt x="397" y="282"/>
                </a:lnTo>
                <a:lnTo>
                  <a:pt x="393" y="283"/>
                </a:lnTo>
                <a:lnTo>
                  <a:pt x="391" y="283"/>
                </a:lnTo>
                <a:lnTo>
                  <a:pt x="384" y="283"/>
                </a:lnTo>
                <a:lnTo>
                  <a:pt x="380" y="283"/>
                </a:lnTo>
                <a:lnTo>
                  <a:pt x="384" y="280"/>
                </a:lnTo>
                <a:lnTo>
                  <a:pt x="389" y="277"/>
                </a:lnTo>
                <a:lnTo>
                  <a:pt x="389" y="277"/>
                </a:lnTo>
                <a:lnTo>
                  <a:pt x="389" y="277"/>
                </a:lnTo>
                <a:close/>
                <a:moveTo>
                  <a:pt x="376" y="254"/>
                </a:moveTo>
                <a:lnTo>
                  <a:pt x="373" y="250"/>
                </a:lnTo>
                <a:lnTo>
                  <a:pt x="369" y="247"/>
                </a:lnTo>
                <a:lnTo>
                  <a:pt x="376" y="247"/>
                </a:lnTo>
                <a:lnTo>
                  <a:pt x="384" y="246"/>
                </a:lnTo>
                <a:lnTo>
                  <a:pt x="383" y="249"/>
                </a:lnTo>
                <a:lnTo>
                  <a:pt x="382" y="252"/>
                </a:lnTo>
                <a:lnTo>
                  <a:pt x="380" y="253"/>
                </a:lnTo>
                <a:lnTo>
                  <a:pt x="376" y="254"/>
                </a:lnTo>
                <a:lnTo>
                  <a:pt x="376" y="254"/>
                </a:lnTo>
                <a:lnTo>
                  <a:pt x="376" y="254"/>
                </a:lnTo>
                <a:close/>
                <a:moveTo>
                  <a:pt x="359" y="191"/>
                </a:moveTo>
                <a:lnTo>
                  <a:pt x="361" y="190"/>
                </a:lnTo>
                <a:lnTo>
                  <a:pt x="365" y="190"/>
                </a:lnTo>
                <a:lnTo>
                  <a:pt x="369" y="190"/>
                </a:lnTo>
                <a:lnTo>
                  <a:pt x="373" y="191"/>
                </a:lnTo>
                <a:lnTo>
                  <a:pt x="369" y="192"/>
                </a:lnTo>
                <a:lnTo>
                  <a:pt x="364" y="194"/>
                </a:lnTo>
                <a:lnTo>
                  <a:pt x="359" y="192"/>
                </a:lnTo>
                <a:lnTo>
                  <a:pt x="359" y="191"/>
                </a:lnTo>
                <a:lnTo>
                  <a:pt x="359" y="191"/>
                </a:lnTo>
                <a:lnTo>
                  <a:pt x="359" y="191"/>
                </a:lnTo>
                <a:close/>
                <a:moveTo>
                  <a:pt x="368" y="252"/>
                </a:moveTo>
                <a:lnTo>
                  <a:pt x="369" y="253"/>
                </a:lnTo>
                <a:lnTo>
                  <a:pt x="371" y="255"/>
                </a:lnTo>
                <a:lnTo>
                  <a:pt x="371" y="257"/>
                </a:lnTo>
                <a:lnTo>
                  <a:pt x="369" y="258"/>
                </a:lnTo>
                <a:lnTo>
                  <a:pt x="366" y="258"/>
                </a:lnTo>
                <a:lnTo>
                  <a:pt x="365" y="256"/>
                </a:lnTo>
                <a:lnTo>
                  <a:pt x="364" y="254"/>
                </a:lnTo>
                <a:lnTo>
                  <a:pt x="365" y="253"/>
                </a:lnTo>
                <a:lnTo>
                  <a:pt x="366" y="252"/>
                </a:lnTo>
                <a:lnTo>
                  <a:pt x="368" y="252"/>
                </a:lnTo>
                <a:lnTo>
                  <a:pt x="368" y="252"/>
                </a:lnTo>
                <a:lnTo>
                  <a:pt x="368" y="252"/>
                </a:lnTo>
                <a:close/>
                <a:moveTo>
                  <a:pt x="369" y="279"/>
                </a:moveTo>
                <a:lnTo>
                  <a:pt x="372" y="280"/>
                </a:lnTo>
                <a:lnTo>
                  <a:pt x="373" y="280"/>
                </a:lnTo>
                <a:lnTo>
                  <a:pt x="373" y="281"/>
                </a:lnTo>
                <a:lnTo>
                  <a:pt x="373" y="282"/>
                </a:lnTo>
                <a:lnTo>
                  <a:pt x="373" y="283"/>
                </a:lnTo>
                <a:lnTo>
                  <a:pt x="372" y="285"/>
                </a:lnTo>
                <a:lnTo>
                  <a:pt x="369" y="285"/>
                </a:lnTo>
                <a:lnTo>
                  <a:pt x="368" y="285"/>
                </a:lnTo>
                <a:lnTo>
                  <a:pt x="365" y="283"/>
                </a:lnTo>
                <a:lnTo>
                  <a:pt x="365" y="281"/>
                </a:lnTo>
                <a:lnTo>
                  <a:pt x="366" y="280"/>
                </a:lnTo>
                <a:lnTo>
                  <a:pt x="369" y="279"/>
                </a:lnTo>
                <a:lnTo>
                  <a:pt x="369" y="279"/>
                </a:lnTo>
                <a:lnTo>
                  <a:pt x="369" y="279"/>
                </a:lnTo>
                <a:close/>
                <a:moveTo>
                  <a:pt x="366" y="289"/>
                </a:moveTo>
                <a:lnTo>
                  <a:pt x="380" y="287"/>
                </a:lnTo>
                <a:lnTo>
                  <a:pt x="393" y="286"/>
                </a:lnTo>
                <a:lnTo>
                  <a:pt x="398" y="286"/>
                </a:lnTo>
                <a:lnTo>
                  <a:pt x="404" y="287"/>
                </a:lnTo>
                <a:lnTo>
                  <a:pt x="406" y="287"/>
                </a:lnTo>
                <a:lnTo>
                  <a:pt x="407" y="288"/>
                </a:lnTo>
                <a:lnTo>
                  <a:pt x="407" y="290"/>
                </a:lnTo>
                <a:lnTo>
                  <a:pt x="405" y="291"/>
                </a:lnTo>
                <a:lnTo>
                  <a:pt x="399" y="292"/>
                </a:lnTo>
                <a:lnTo>
                  <a:pt x="393" y="291"/>
                </a:lnTo>
                <a:lnTo>
                  <a:pt x="388" y="291"/>
                </a:lnTo>
                <a:lnTo>
                  <a:pt x="382" y="291"/>
                </a:lnTo>
                <a:lnTo>
                  <a:pt x="374" y="292"/>
                </a:lnTo>
                <a:lnTo>
                  <a:pt x="367" y="292"/>
                </a:lnTo>
                <a:lnTo>
                  <a:pt x="366" y="292"/>
                </a:lnTo>
                <a:lnTo>
                  <a:pt x="365" y="292"/>
                </a:lnTo>
                <a:lnTo>
                  <a:pt x="365" y="290"/>
                </a:lnTo>
                <a:lnTo>
                  <a:pt x="366" y="289"/>
                </a:lnTo>
                <a:lnTo>
                  <a:pt x="371" y="288"/>
                </a:lnTo>
                <a:lnTo>
                  <a:pt x="366" y="289"/>
                </a:lnTo>
                <a:close/>
                <a:moveTo>
                  <a:pt x="404" y="282"/>
                </a:moveTo>
                <a:lnTo>
                  <a:pt x="407" y="279"/>
                </a:lnTo>
                <a:lnTo>
                  <a:pt x="412" y="274"/>
                </a:lnTo>
                <a:lnTo>
                  <a:pt x="416" y="277"/>
                </a:lnTo>
                <a:lnTo>
                  <a:pt x="422" y="279"/>
                </a:lnTo>
                <a:lnTo>
                  <a:pt x="423" y="278"/>
                </a:lnTo>
                <a:lnTo>
                  <a:pt x="424" y="275"/>
                </a:lnTo>
                <a:lnTo>
                  <a:pt x="426" y="274"/>
                </a:lnTo>
                <a:lnTo>
                  <a:pt x="427" y="275"/>
                </a:lnTo>
                <a:lnTo>
                  <a:pt x="427" y="278"/>
                </a:lnTo>
                <a:lnTo>
                  <a:pt x="427" y="280"/>
                </a:lnTo>
                <a:lnTo>
                  <a:pt x="430" y="279"/>
                </a:lnTo>
                <a:lnTo>
                  <a:pt x="432" y="279"/>
                </a:lnTo>
                <a:lnTo>
                  <a:pt x="438" y="280"/>
                </a:lnTo>
                <a:lnTo>
                  <a:pt x="443" y="282"/>
                </a:lnTo>
                <a:lnTo>
                  <a:pt x="449" y="283"/>
                </a:lnTo>
                <a:lnTo>
                  <a:pt x="454" y="285"/>
                </a:lnTo>
                <a:lnTo>
                  <a:pt x="456" y="283"/>
                </a:lnTo>
                <a:lnTo>
                  <a:pt x="457" y="282"/>
                </a:lnTo>
                <a:lnTo>
                  <a:pt x="456" y="282"/>
                </a:lnTo>
                <a:lnTo>
                  <a:pt x="456" y="281"/>
                </a:lnTo>
                <a:lnTo>
                  <a:pt x="454" y="281"/>
                </a:lnTo>
                <a:lnTo>
                  <a:pt x="451" y="280"/>
                </a:lnTo>
                <a:lnTo>
                  <a:pt x="449" y="280"/>
                </a:lnTo>
                <a:lnTo>
                  <a:pt x="446" y="279"/>
                </a:lnTo>
                <a:lnTo>
                  <a:pt x="443" y="277"/>
                </a:lnTo>
                <a:lnTo>
                  <a:pt x="441" y="274"/>
                </a:lnTo>
                <a:lnTo>
                  <a:pt x="446" y="274"/>
                </a:lnTo>
                <a:lnTo>
                  <a:pt x="451" y="274"/>
                </a:lnTo>
                <a:lnTo>
                  <a:pt x="457" y="277"/>
                </a:lnTo>
                <a:lnTo>
                  <a:pt x="460" y="279"/>
                </a:lnTo>
                <a:lnTo>
                  <a:pt x="462" y="281"/>
                </a:lnTo>
                <a:lnTo>
                  <a:pt x="462" y="282"/>
                </a:lnTo>
                <a:lnTo>
                  <a:pt x="462" y="283"/>
                </a:lnTo>
                <a:lnTo>
                  <a:pt x="459" y="285"/>
                </a:lnTo>
                <a:lnTo>
                  <a:pt x="455" y="287"/>
                </a:lnTo>
                <a:lnTo>
                  <a:pt x="450" y="289"/>
                </a:lnTo>
                <a:lnTo>
                  <a:pt x="448" y="287"/>
                </a:lnTo>
                <a:lnTo>
                  <a:pt x="446" y="286"/>
                </a:lnTo>
                <a:lnTo>
                  <a:pt x="442" y="286"/>
                </a:lnTo>
                <a:lnTo>
                  <a:pt x="440" y="286"/>
                </a:lnTo>
                <a:lnTo>
                  <a:pt x="433" y="285"/>
                </a:lnTo>
                <a:lnTo>
                  <a:pt x="426" y="283"/>
                </a:lnTo>
                <a:lnTo>
                  <a:pt x="420" y="285"/>
                </a:lnTo>
                <a:lnTo>
                  <a:pt x="413" y="286"/>
                </a:lnTo>
                <a:lnTo>
                  <a:pt x="410" y="286"/>
                </a:lnTo>
                <a:lnTo>
                  <a:pt x="408" y="286"/>
                </a:lnTo>
                <a:lnTo>
                  <a:pt x="406" y="285"/>
                </a:lnTo>
                <a:lnTo>
                  <a:pt x="404" y="282"/>
                </a:lnTo>
                <a:lnTo>
                  <a:pt x="404" y="283"/>
                </a:lnTo>
                <a:lnTo>
                  <a:pt x="404" y="282"/>
                </a:lnTo>
                <a:close/>
                <a:moveTo>
                  <a:pt x="460" y="253"/>
                </a:moveTo>
                <a:lnTo>
                  <a:pt x="459" y="254"/>
                </a:lnTo>
                <a:lnTo>
                  <a:pt x="457" y="254"/>
                </a:lnTo>
                <a:lnTo>
                  <a:pt x="456" y="253"/>
                </a:lnTo>
                <a:lnTo>
                  <a:pt x="454" y="252"/>
                </a:lnTo>
                <a:lnTo>
                  <a:pt x="453" y="253"/>
                </a:lnTo>
                <a:lnTo>
                  <a:pt x="450" y="254"/>
                </a:lnTo>
                <a:lnTo>
                  <a:pt x="449" y="255"/>
                </a:lnTo>
                <a:lnTo>
                  <a:pt x="447" y="255"/>
                </a:lnTo>
                <a:lnTo>
                  <a:pt x="442" y="263"/>
                </a:lnTo>
                <a:lnTo>
                  <a:pt x="440" y="270"/>
                </a:lnTo>
                <a:lnTo>
                  <a:pt x="439" y="270"/>
                </a:lnTo>
                <a:lnTo>
                  <a:pt x="438" y="269"/>
                </a:lnTo>
                <a:lnTo>
                  <a:pt x="439" y="266"/>
                </a:lnTo>
                <a:lnTo>
                  <a:pt x="439" y="263"/>
                </a:lnTo>
                <a:lnTo>
                  <a:pt x="440" y="257"/>
                </a:lnTo>
                <a:lnTo>
                  <a:pt x="440" y="254"/>
                </a:lnTo>
                <a:lnTo>
                  <a:pt x="438" y="252"/>
                </a:lnTo>
                <a:lnTo>
                  <a:pt x="434" y="250"/>
                </a:lnTo>
                <a:lnTo>
                  <a:pt x="431" y="249"/>
                </a:lnTo>
                <a:lnTo>
                  <a:pt x="426" y="249"/>
                </a:lnTo>
                <a:lnTo>
                  <a:pt x="417" y="250"/>
                </a:lnTo>
                <a:lnTo>
                  <a:pt x="412" y="250"/>
                </a:lnTo>
                <a:lnTo>
                  <a:pt x="415" y="247"/>
                </a:lnTo>
                <a:lnTo>
                  <a:pt x="421" y="245"/>
                </a:lnTo>
                <a:lnTo>
                  <a:pt x="426" y="244"/>
                </a:lnTo>
                <a:lnTo>
                  <a:pt x="432" y="244"/>
                </a:lnTo>
                <a:lnTo>
                  <a:pt x="445" y="246"/>
                </a:lnTo>
                <a:lnTo>
                  <a:pt x="456" y="247"/>
                </a:lnTo>
                <a:lnTo>
                  <a:pt x="460" y="247"/>
                </a:lnTo>
                <a:lnTo>
                  <a:pt x="466" y="247"/>
                </a:lnTo>
                <a:lnTo>
                  <a:pt x="472" y="247"/>
                </a:lnTo>
                <a:lnTo>
                  <a:pt x="475" y="249"/>
                </a:lnTo>
                <a:lnTo>
                  <a:pt x="475" y="252"/>
                </a:lnTo>
                <a:lnTo>
                  <a:pt x="474" y="252"/>
                </a:lnTo>
                <a:lnTo>
                  <a:pt x="473" y="252"/>
                </a:lnTo>
                <a:lnTo>
                  <a:pt x="471" y="252"/>
                </a:lnTo>
                <a:lnTo>
                  <a:pt x="466" y="252"/>
                </a:lnTo>
                <a:lnTo>
                  <a:pt x="460" y="253"/>
                </a:lnTo>
                <a:lnTo>
                  <a:pt x="462" y="253"/>
                </a:lnTo>
                <a:lnTo>
                  <a:pt x="460" y="253"/>
                </a:lnTo>
                <a:close/>
                <a:moveTo>
                  <a:pt x="418" y="117"/>
                </a:moveTo>
                <a:lnTo>
                  <a:pt x="427" y="116"/>
                </a:lnTo>
                <a:lnTo>
                  <a:pt x="437" y="117"/>
                </a:lnTo>
                <a:lnTo>
                  <a:pt x="446" y="119"/>
                </a:lnTo>
                <a:lnTo>
                  <a:pt x="455" y="119"/>
                </a:lnTo>
                <a:lnTo>
                  <a:pt x="460" y="120"/>
                </a:lnTo>
                <a:lnTo>
                  <a:pt x="465" y="119"/>
                </a:lnTo>
                <a:lnTo>
                  <a:pt x="467" y="117"/>
                </a:lnTo>
                <a:lnTo>
                  <a:pt x="470" y="116"/>
                </a:lnTo>
                <a:lnTo>
                  <a:pt x="472" y="117"/>
                </a:lnTo>
                <a:lnTo>
                  <a:pt x="473" y="120"/>
                </a:lnTo>
                <a:lnTo>
                  <a:pt x="470" y="122"/>
                </a:lnTo>
                <a:lnTo>
                  <a:pt x="466" y="123"/>
                </a:lnTo>
                <a:lnTo>
                  <a:pt x="457" y="124"/>
                </a:lnTo>
                <a:lnTo>
                  <a:pt x="448" y="123"/>
                </a:lnTo>
                <a:lnTo>
                  <a:pt x="445" y="123"/>
                </a:lnTo>
                <a:lnTo>
                  <a:pt x="441" y="122"/>
                </a:lnTo>
                <a:lnTo>
                  <a:pt x="438" y="120"/>
                </a:lnTo>
                <a:lnTo>
                  <a:pt x="434" y="121"/>
                </a:lnTo>
                <a:lnTo>
                  <a:pt x="426" y="123"/>
                </a:lnTo>
                <a:lnTo>
                  <a:pt x="418" y="122"/>
                </a:lnTo>
                <a:lnTo>
                  <a:pt x="415" y="121"/>
                </a:lnTo>
                <a:lnTo>
                  <a:pt x="414" y="120"/>
                </a:lnTo>
                <a:lnTo>
                  <a:pt x="416" y="119"/>
                </a:lnTo>
                <a:lnTo>
                  <a:pt x="418" y="117"/>
                </a:lnTo>
                <a:lnTo>
                  <a:pt x="418" y="117"/>
                </a:lnTo>
                <a:lnTo>
                  <a:pt x="418" y="117"/>
                </a:lnTo>
                <a:close/>
                <a:moveTo>
                  <a:pt x="417" y="108"/>
                </a:moveTo>
                <a:lnTo>
                  <a:pt x="420" y="106"/>
                </a:lnTo>
                <a:lnTo>
                  <a:pt x="422" y="104"/>
                </a:lnTo>
                <a:lnTo>
                  <a:pt x="425" y="105"/>
                </a:lnTo>
                <a:lnTo>
                  <a:pt x="427" y="107"/>
                </a:lnTo>
                <a:lnTo>
                  <a:pt x="427" y="108"/>
                </a:lnTo>
                <a:lnTo>
                  <a:pt x="426" y="109"/>
                </a:lnTo>
                <a:lnTo>
                  <a:pt x="424" y="109"/>
                </a:lnTo>
                <a:lnTo>
                  <a:pt x="422" y="109"/>
                </a:lnTo>
                <a:lnTo>
                  <a:pt x="421" y="111"/>
                </a:lnTo>
                <a:lnTo>
                  <a:pt x="418" y="111"/>
                </a:lnTo>
                <a:lnTo>
                  <a:pt x="417" y="109"/>
                </a:lnTo>
                <a:lnTo>
                  <a:pt x="417" y="108"/>
                </a:lnTo>
                <a:lnTo>
                  <a:pt x="418" y="108"/>
                </a:lnTo>
                <a:lnTo>
                  <a:pt x="417" y="108"/>
                </a:lnTo>
                <a:close/>
                <a:moveTo>
                  <a:pt x="425" y="156"/>
                </a:moveTo>
                <a:lnTo>
                  <a:pt x="424" y="158"/>
                </a:lnTo>
                <a:lnTo>
                  <a:pt x="422" y="159"/>
                </a:lnTo>
                <a:lnTo>
                  <a:pt x="420" y="159"/>
                </a:lnTo>
                <a:lnTo>
                  <a:pt x="418" y="156"/>
                </a:lnTo>
                <a:lnTo>
                  <a:pt x="418" y="155"/>
                </a:lnTo>
                <a:lnTo>
                  <a:pt x="420" y="155"/>
                </a:lnTo>
                <a:lnTo>
                  <a:pt x="421" y="154"/>
                </a:lnTo>
                <a:lnTo>
                  <a:pt x="422" y="154"/>
                </a:lnTo>
                <a:lnTo>
                  <a:pt x="424" y="155"/>
                </a:lnTo>
                <a:lnTo>
                  <a:pt x="425" y="156"/>
                </a:lnTo>
                <a:lnTo>
                  <a:pt x="425" y="156"/>
                </a:lnTo>
                <a:lnTo>
                  <a:pt x="425" y="156"/>
                </a:lnTo>
                <a:close/>
                <a:moveTo>
                  <a:pt x="491" y="280"/>
                </a:moveTo>
                <a:lnTo>
                  <a:pt x="492" y="280"/>
                </a:lnTo>
                <a:lnTo>
                  <a:pt x="493" y="281"/>
                </a:lnTo>
                <a:lnTo>
                  <a:pt x="492" y="282"/>
                </a:lnTo>
                <a:lnTo>
                  <a:pt x="492" y="283"/>
                </a:lnTo>
                <a:lnTo>
                  <a:pt x="488" y="286"/>
                </a:lnTo>
                <a:lnTo>
                  <a:pt x="483" y="286"/>
                </a:lnTo>
                <a:lnTo>
                  <a:pt x="478" y="285"/>
                </a:lnTo>
                <a:lnTo>
                  <a:pt x="473" y="283"/>
                </a:lnTo>
                <a:lnTo>
                  <a:pt x="471" y="283"/>
                </a:lnTo>
                <a:lnTo>
                  <a:pt x="470" y="282"/>
                </a:lnTo>
                <a:lnTo>
                  <a:pt x="467" y="280"/>
                </a:lnTo>
                <a:lnTo>
                  <a:pt x="467" y="279"/>
                </a:lnTo>
                <a:lnTo>
                  <a:pt x="479" y="279"/>
                </a:lnTo>
                <a:lnTo>
                  <a:pt x="491" y="280"/>
                </a:lnTo>
                <a:lnTo>
                  <a:pt x="488" y="280"/>
                </a:lnTo>
                <a:lnTo>
                  <a:pt x="491" y="280"/>
                </a:lnTo>
                <a:close/>
                <a:moveTo>
                  <a:pt x="479" y="297"/>
                </a:moveTo>
                <a:lnTo>
                  <a:pt x="491" y="297"/>
                </a:lnTo>
                <a:lnTo>
                  <a:pt x="503" y="298"/>
                </a:lnTo>
                <a:lnTo>
                  <a:pt x="505" y="299"/>
                </a:lnTo>
                <a:lnTo>
                  <a:pt x="506" y="300"/>
                </a:lnTo>
                <a:lnTo>
                  <a:pt x="506" y="302"/>
                </a:lnTo>
                <a:lnTo>
                  <a:pt x="505" y="303"/>
                </a:lnTo>
                <a:lnTo>
                  <a:pt x="503" y="305"/>
                </a:lnTo>
                <a:lnTo>
                  <a:pt x="498" y="305"/>
                </a:lnTo>
                <a:lnTo>
                  <a:pt x="495" y="303"/>
                </a:lnTo>
                <a:lnTo>
                  <a:pt x="491" y="300"/>
                </a:lnTo>
                <a:lnTo>
                  <a:pt x="487" y="299"/>
                </a:lnTo>
                <a:lnTo>
                  <a:pt x="482" y="300"/>
                </a:lnTo>
                <a:lnTo>
                  <a:pt x="480" y="300"/>
                </a:lnTo>
                <a:lnTo>
                  <a:pt x="478" y="300"/>
                </a:lnTo>
                <a:lnTo>
                  <a:pt x="476" y="300"/>
                </a:lnTo>
                <a:lnTo>
                  <a:pt x="475" y="299"/>
                </a:lnTo>
                <a:lnTo>
                  <a:pt x="475" y="297"/>
                </a:lnTo>
                <a:lnTo>
                  <a:pt x="476" y="297"/>
                </a:lnTo>
                <a:lnTo>
                  <a:pt x="478" y="297"/>
                </a:lnTo>
                <a:lnTo>
                  <a:pt x="479" y="297"/>
                </a:lnTo>
                <a:lnTo>
                  <a:pt x="481" y="297"/>
                </a:lnTo>
                <a:lnTo>
                  <a:pt x="479" y="297"/>
                </a:lnTo>
                <a:close/>
                <a:moveTo>
                  <a:pt x="497" y="285"/>
                </a:moveTo>
                <a:lnTo>
                  <a:pt x="497" y="282"/>
                </a:lnTo>
                <a:lnTo>
                  <a:pt x="499" y="281"/>
                </a:lnTo>
                <a:lnTo>
                  <a:pt x="501" y="281"/>
                </a:lnTo>
                <a:lnTo>
                  <a:pt x="503" y="283"/>
                </a:lnTo>
                <a:lnTo>
                  <a:pt x="501" y="286"/>
                </a:lnTo>
                <a:lnTo>
                  <a:pt x="499" y="287"/>
                </a:lnTo>
                <a:lnTo>
                  <a:pt x="498" y="287"/>
                </a:lnTo>
                <a:lnTo>
                  <a:pt x="497" y="287"/>
                </a:lnTo>
                <a:lnTo>
                  <a:pt x="497" y="286"/>
                </a:lnTo>
                <a:lnTo>
                  <a:pt x="497" y="285"/>
                </a:lnTo>
                <a:lnTo>
                  <a:pt x="497" y="285"/>
                </a:lnTo>
                <a:lnTo>
                  <a:pt x="497" y="285"/>
                </a:lnTo>
                <a:close/>
                <a:moveTo>
                  <a:pt x="503" y="244"/>
                </a:moveTo>
                <a:lnTo>
                  <a:pt x="499" y="244"/>
                </a:lnTo>
                <a:lnTo>
                  <a:pt x="493" y="244"/>
                </a:lnTo>
                <a:lnTo>
                  <a:pt x="490" y="244"/>
                </a:lnTo>
                <a:lnTo>
                  <a:pt x="488" y="242"/>
                </a:lnTo>
                <a:lnTo>
                  <a:pt x="486" y="242"/>
                </a:lnTo>
                <a:lnTo>
                  <a:pt x="486" y="240"/>
                </a:lnTo>
                <a:lnTo>
                  <a:pt x="489" y="239"/>
                </a:lnTo>
                <a:lnTo>
                  <a:pt x="493" y="240"/>
                </a:lnTo>
                <a:lnTo>
                  <a:pt x="499" y="241"/>
                </a:lnTo>
                <a:lnTo>
                  <a:pt x="503" y="244"/>
                </a:lnTo>
                <a:lnTo>
                  <a:pt x="499" y="241"/>
                </a:lnTo>
                <a:lnTo>
                  <a:pt x="503" y="244"/>
                </a:lnTo>
                <a:close/>
                <a:moveTo>
                  <a:pt x="498" y="192"/>
                </a:moveTo>
                <a:lnTo>
                  <a:pt x="500" y="190"/>
                </a:lnTo>
                <a:lnTo>
                  <a:pt x="504" y="189"/>
                </a:lnTo>
                <a:lnTo>
                  <a:pt x="506" y="189"/>
                </a:lnTo>
                <a:lnTo>
                  <a:pt x="507" y="189"/>
                </a:lnTo>
                <a:lnTo>
                  <a:pt x="508" y="190"/>
                </a:lnTo>
                <a:lnTo>
                  <a:pt x="508" y="191"/>
                </a:lnTo>
                <a:lnTo>
                  <a:pt x="506" y="192"/>
                </a:lnTo>
                <a:lnTo>
                  <a:pt x="503" y="194"/>
                </a:lnTo>
                <a:lnTo>
                  <a:pt x="499" y="194"/>
                </a:lnTo>
                <a:lnTo>
                  <a:pt x="498" y="192"/>
                </a:lnTo>
                <a:close/>
                <a:moveTo>
                  <a:pt x="526" y="195"/>
                </a:moveTo>
                <a:lnTo>
                  <a:pt x="530" y="194"/>
                </a:lnTo>
                <a:lnTo>
                  <a:pt x="536" y="194"/>
                </a:lnTo>
                <a:lnTo>
                  <a:pt x="538" y="194"/>
                </a:lnTo>
                <a:lnTo>
                  <a:pt x="540" y="194"/>
                </a:lnTo>
                <a:lnTo>
                  <a:pt x="541" y="194"/>
                </a:lnTo>
                <a:lnTo>
                  <a:pt x="542" y="196"/>
                </a:lnTo>
                <a:lnTo>
                  <a:pt x="541" y="198"/>
                </a:lnTo>
                <a:lnTo>
                  <a:pt x="540" y="198"/>
                </a:lnTo>
                <a:lnTo>
                  <a:pt x="538" y="199"/>
                </a:lnTo>
                <a:lnTo>
                  <a:pt x="534" y="198"/>
                </a:lnTo>
                <a:lnTo>
                  <a:pt x="530" y="197"/>
                </a:lnTo>
                <a:lnTo>
                  <a:pt x="526" y="195"/>
                </a:lnTo>
                <a:lnTo>
                  <a:pt x="530" y="195"/>
                </a:lnTo>
                <a:lnTo>
                  <a:pt x="526" y="195"/>
                </a:lnTo>
                <a:close/>
                <a:moveTo>
                  <a:pt x="532" y="233"/>
                </a:moveTo>
                <a:lnTo>
                  <a:pt x="530" y="231"/>
                </a:lnTo>
                <a:lnTo>
                  <a:pt x="528" y="228"/>
                </a:lnTo>
                <a:lnTo>
                  <a:pt x="526" y="227"/>
                </a:lnTo>
                <a:lnTo>
                  <a:pt x="526" y="225"/>
                </a:lnTo>
                <a:lnTo>
                  <a:pt x="528" y="224"/>
                </a:lnTo>
                <a:lnTo>
                  <a:pt x="530" y="224"/>
                </a:lnTo>
                <a:lnTo>
                  <a:pt x="532" y="224"/>
                </a:lnTo>
                <a:lnTo>
                  <a:pt x="532" y="224"/>
                </a:lnTo>
                <a:lnTo>
                  <a:pt x="533" y="225"/>
                </a:lnTo>
                <a:lnTo>
                  <a:pt x="533" y="228"/>
                </a:lnTo>
                <a:lnTo>
                  <a:pt x="532" y="230"/>
                </a:lnTo>
                <a:lnTo>
                  <a:pt x="532" y="233"/>
                </a:lnTo>
                <a:lnTo>
                  <a:pt x="531" y="230"/>
                </a:lnTo>
                <a:lnTo>
                  <a:pt x="532" y="233"/>
                </a:lnTo>
                <a:close/>
                <a:moveTo>
                  <a:pt x="600" y="273"/>
                </a:moveTo>
                <a:lnTo>
                  <a:pt x="603" y="274"/>
                </a:lnTo>
                <a:lnTo>
                  <a:pt x="604" y="275"/>
                </a:lnTo>
                <a:lnTo>
                  <a:pt x="604" y="277"/>
                </a:lnTo>
                <a:lnTo>
                  <a:pt x="603" y="278"/>
                </a:lnTo>
                <a:lnTo>
                  <a:pt x="600" y="278"/>
                </a:lnTo>
                <a:lnTo>
                  <a:pt x="599" y="278"/>
                </a:lnTo>
                <a:lnTo>
                  <a:pt x="598" y="278"/>
                </a:lnTo>
                <a:lnTo>
                  <a:pt x="597" y="277"/>
                </a:lnTo>
                <a:lnTo>
                  <a:pt x="596" y="275"/>
                </a:lnTo>
                <a:lnTo>
                  <a:pt x="596" y="274"/>
                </a:lnTo>
                <a:lnTo>
                  <a:pt x="598" y="273"/>
                </a:lnTo>
                <a:lnTo>
                  <a:pt x="600" y="273"/>
                </a:lnTo>
                <a:lnTo>
                  <a:pt x="600" y="274"/>
                </a:lnTo>
                <a:lnTo>
                  <a:pt x="600" y="273"/>
                </a:lnTo>
                <a:close/>
                <a:moveTo>
                  <a:pt x="586" y="101"/>
                </a:moveTo>
                <a:lnTo>
                  <a:pt x="590" y="101"/>
                </a:lnTo>
                <a:lnTo>
                  <a:pt x="595" y="103"/>
                </a:lnTo>
                <a:lnTo>
                  <a:pt x="596" y="104"/>
                </a:lnTo>
                <a:lnTo>
                  <a:pt x="596" y="105"/>
                </a:lnTo>
                <a:lnTo>
                  <a:pt x="596" y="105"/>
                </a:lnTo>
                <a:lnTo>
                  <a:pt x="594" y="106"/>
                </a:lnTo>
                <a:lnTo>
                  <a:pt x="593" y="106"/>
                </a:lnTo>
                <a:lnTo>
                  <a:pt x="590" y="105"/>
                </a:lnTo>
                <a:lnTo>
                  <a:pt x="588" y="106"/>
                </a:lnTo>
                <a:lnTo>
                  <a:pt x="586" y="106"/>
                </a:lnTo>
                <a:lnTo>
                  <a:pt x="583" y="106"/>
                </a:lnTo>
                <a:lnTo>
                  <a:pt x="583" y="104"/>
                </a:lnTo>
                <a:lnTo>
                  <a:pt x="583" y="103"/>
                </a:lnTo>
                <a:lnTo>
                  <a:pt x="586" y="101"/>
                </a:lnTo>
                <a:lnTo>
                  <a:pt x="586" y="101"/>
                </a:lnTo>
                <a:lnTo>
                  <a:pt x="586" y="101"/>
                </a:lnTo>
                <a:close/>
                <a:moveTo>
                  <a:pt x="552" y="97"/>
                </a:moveTo>
                <a:lnTo>
                  <a:pt x="558" y="97"/>
                </a:lnTo>
                <a:lnTo>
                  <a:pt x="565" y="98"/>
                </a:lnTo>
                <a:lnTo>
                  <a:pt x="573" y="101"/>
                </a:lnTo>
                <a:lnTo>
                  <a:pt x="579" y="105"/>
                </a:lnTo>
                <a:lnTo>
                  <a:pt x="573" y="105"/>
                </a:lnTo>
                <a:lnTo>
                  <a:pt x="567" y="105"/>
                </a:lnTo>
                <a:lnTo>
                  <a:pt x="562" y="104"/>
                </a:lnTo>
                <a:lnTo>
                  <a:pt x="556" y="103"/>
                </a:lnTo>
                <a:lnTo>
                  <a:pt x="555" y="101"/>
                </a:lnTo>
                <a:lnTo>
                  <a:pt x="553" y="100"/>
                </a:lnTo>
                <a:lnTo>
                  <a:pt x="552" y="100"/>
                </a:lnTo>
                <a:lnTo>
                  <a:pt x="549" y="101"/>
                </a:lnTo>
                <a:lnTo>
                  <a:pt x="548" y="100"/>
                </a:lnTo>
                <a:lnTo>
                  <a:pt x="548" y="99"/>
                </a:lnTo>
                <a:lnTo>
                  <a:pt x="549" y="98"/>
                </a:lnTo>
                <a:lnTo>
                  <a:pt x="552" y="97"/>
                </a:lnTo>
                <a:lnTo>
                  <a:pt x="553" y="97"/>
                </a:lnTo>
                <a:lnTo>
                  <a:pt x="552" y="97"/>
                </a:lnTo>
                <a:close/>
                <a:moveTo>
                  <a:pt x="406" y="61"/>
                </a:moveTo>
                <a:lnTo>
                  <a:pt x="408" y="61"/>
                </a:lnTo>
                <a:lnTo>
                  <a:pt x="412" y="62"/>
                </a:lnTo>
                <a:lnTo>
                  <a:pt x="413" y="62"/>
                </a:lnTo>
                <a:lnTo>
                  <a:pt x="414" y="63"/>
                </a:lnTo>
                <a:lnTo>
                  <a:pt x="414" y="64"/>
                </a:lnTo>
                <a:lnTo>
                  <a:pt x="414" y="65"/>
                </a:lnTo>
                <a:lnTo>
                  <a:pt x="413" y="66"/>
                </a:lnTo>
                <a:lnTo>
                  <a:pt x="412" y="66"/>
                </a:lnTo>
                <a:lnTo>
                  <a:pt x="410" y="66"/>
                </a:lnTo>
                <a:lnTo>
                  <a:pt x="408" y="65"/>
                </a:lnTo>
                <a:lnTo>
                  <a:pt x="406" y="63"/>
                </a:lnTo>
                <a:lnTo>
                  <a:pt x="405" y="62"/>
                </a:lnTo>
                <a:lnTo>
                  <a:pt x="405" y="61"/>
                </a:lnTo>
                <a:lnTo>
                  <a:pt x="406" y="61"/>
                </a:lnTo>
                <a:lnTo>
                  <a:pt x="407" y="61"/>
                </a:lnTo>
                <a:lnTo>
                  <a:pt x="406" y="61"/>
                </a:lnTo>
                <a:close/>
                <a:moveTo>
                  <a:pt x="374" y="67"/>
                </a:moveTo>
                <a:lnTo>
                  <a:pt x="376" y="65"/>
                </a:lnTo>
                <a:lnTo>
                  <a:pt x="379" y="64"/>
                </a:lnTo>
                <a:lnTo>
                  <a:pt x="381" y="64"/>
                </a:lnTo>
                <a:lnTo>
                  <a:pt x="383" y="64"/>
                </a:lnTo>
                <a:lnTo>
                  <a:pt x="388" y="66"/>
                </a:lnTo>
                <a:lnTo>
                  <a:pt x="392" y="66"/>
                </a:lnTo>
                <a:lnTo>
                  <a:pt x="390" y="68"/>
                </a:lnTo>
                <a:lnTo>
                  <a:pt x="387" y="70"/>
                </a:lnTo>
                <a:lnTo>
                  <a:pt x="383" y="70"/>
                </a:lnTo>
                <a:lnTo>
                  <a:pt x="380" y="71"/>
                </a:lnTo>
                <a:lnTo>
                  <a:pt x="379" y="72"/>
                </a:lnTo>
                <a:lnTo>
                  <a:pt x="377" y="73"/>
                </a:lnTo>
                <a:lnTo>
                  <a:pt x="375" y="74"/>
                </a:lnTo>
                <a:lnTo>
                  <a:pt x="373" y="73"/>
                </a:lnTo>
                <a:lnTo>
                  <a:pt x="372" y="72"/>
                </a:lnTo>
                <a:lnTo>
                  <a:pt x="372" y="70"/>
                </a:lnTo>
                <a:lnTo>
                  <a:pt x="373" y="68"/>
                </a:lnTo>
                <a:lnTo>
                  <a:pt x="374" y="67"/>
                </a:lnTo>
                <a:lnTo>
                  <a:pt x="375" y="64"/>
                </a:lnTo>
                <a:lnTo>
                  <a:pt x="374" y="67"/>
                </a:lnTo>
                <a:close/>
                <a:moveTo>
                  <a:pt x="343" y="99"/>
                </a:moveTo>
                <a:lnTo>
                  <a:pt x="340" y="97"/>
                </a:lnTo>
                <a:lnTo>
                  <a:pt x="336" y="95"/>
                </a:lnTo>
                <a:lnTo>
                  <a:pt x="344" y="92"/>
                </a:lnTo>
                <a:lnTo>
                  <a:pt x="351" y="92"/>
                </a:lnTo>
                <a:lnTo>
                  <a:pt x="353" y="95"/>
                </a:lnTo>
                <a:lnTo>
                  <a:pt x="356" y="96"/>
                </a:lnTo>
                <a:lnTo>
                  <a:pt x="358" y="97"/>
                </a:lnTo>
                <a:lnTo>
                  <a:pt x="361" y="96"/>
                </a:lnTo>
                <a:lnTo>
                  <a:pt x="358" y="94"/>
                </a:lnTo>
                <a:lnTo>
                  <a:pt x="356" y="91"/>
                </a:lnTo>
                <a:lnTo>
                  <a:pt x="359" y="91"/>
                </a:lnTo>
                <a:lnTo>
                  <a:pt x="364" y="92"/>
                </a:lnTo>
                <a:lnTo>
                  <a:pt x="367" y="91"/>
                </a:lnTo>
                <a:lnTo>
                  <a:pt x="369" y="91"/>
                </a:lnTo>
                <a:lnTo>
                  <a:pt x="374" y="91"/>
                </a:lnTo>
                <a:lnTo>
                  <a:pt x="379" y="92"/>
                </a:lnTo>
                <a:lnTo>
                  <a:pt x="387" y="91"/>
                </a:lnTo>
                <a:lnTo>
                  <a:pt x="394" y="90"/>
                </a:lnTo>
                <a:lnTo>
                  <a:pt x="398" y="89"/>
                </a:lnTo>
                <a:lnTo>
                  <a:pt x="402" y="88"/>
                </a:lnTo>
                <a:lnTo>
                  <a:pt x="405" y="88"/>
                </a:lnTo>
                <a:lnTo>
                  <a:pt x="407" y="89"/>
                </a:lnTo>
                <a:lnTo>
                  <a:pt x="413" y="89"/>
                </a:lnTo>
                <a:lnTo>
                  <a:pt x="418" y="88"/>
                </a:lnTo>
                <a:lnTo>
                  <a:pt x="421" y="89"/>
                </a:lnTo>
                <a:lnTo>
                  <a:pt x="422" y="90"/>
                </a:lnTo>
                <a:lnTo>
                  <a:pt x="424" y="88"/>
                </a:lnTo>
                <a:lnTo>
                  <a:pt x="425" y="87"/>
                </a:lnTo>
                <a:lnTo>
                  <a:pt x="427" y="90"/>
                </a:lnTo>
                <a:lnTo>
                  <a:pt x="430" y="92"/>
                </a:lnTo>
                <a:lnTo>
                  <a:pt x="432" y="89"/>
                </a:lnTo>
                <a:lnTo>
                  <a:pt x="434" y="86"/>
                </a:lnTo>
                <a:lnTo>
                  <a:pt x="438" y="86"/>
                </a:lnTo>
                <a:lnTo>
                  <a:pt x="441" y="86"/>
                </a:lnTo>
                <a:lnTo>
                  <a:pt x="445" y="88"/>
                </a:lnTo>
                <a:lnTo>
                  <a:pt x="447" y="89"/>
                </a:lnTo>
                <a:lnTo>
                  <a:pt x="450" y="90"/>
                </a:lnTo>
                <a:lnTo>
                  <a:pt x="454" y="90"/>
                </a:lnTo>
                <a:lnTo>
                  <a:pt x="458" y="89"/>
                </a:lnTo>
                <a:lnTo>
                  <a:pt x="462" y="88"/>
                </a:lnTo>
                <a:lnTo>
                  <a:pt x="466" y="91"/>
                </a:lnTo>
                <a:lnTo>
                  <a:pt x="471" y="94"/>
                </a:lnTo>
                <a:lnTo>
                  <a:pt x="472" y="91"/>
                </a:lnTo>
                <a:lnTo>
                  <a:pt x="472" y="90"/>
                </a:lnTo>
                <a:lnTo>
                  <a:pt x="474" y="89"/>
                </a:lnTo>
                <a:lnTo>
                  <a:pt x="475" y="89"/>
                </a:lnTo>
                <a:lnTo>
                  <a:pt x="482" y="90"/>
                </a:lnTo>
                <a:lnTo>
                  <a:pt x="489" y="91"/>
                </a:lnTo>
                <a:lnTo>
                  <a:pt x="495" y="90"/>
                </a:lnTo>
                <a:lnTo>
                  <a:pt x="500" y="88"/>
                </a:lnTo>
                <a:lnTo>
                  <a:pt x="508" y="90"/>
                </a:lnTo>
                <a:lnTo>
                  <a:pt x="515" y="92"/>
                </a:lnTo>
                <a:lnTo>
                  <a:pt x="519" y="91"/>
                </a:lnTo>
                <a:lnTo>
                  <a:pt x="521" y="92"/>
                </a:lnTo>
                <a:lnTo>
                  <a:pt x="519" y="94"/>
                </a:lnTo>
                <a:lnTo>
                  <a:pt x="517" y="96"/>
                </a:lnTo>
                <a:lnTo>
                  <a:pt x="521" y="96"/>
                </a:lnTo>
                <a:lnTo>
                  <a:pt x="523" y="96"/>
                </a:lnTo>
                <a:lnTo>
                  <a:pt x="526" y="97"/>
                </a:lnTo>
                <a:lnTo>
                  <a:pt x="529" y="98"/>
                </a:lnTo>
                <a:lnTo>
                  <a:pt x="531" y="98"/>
                </a:lnTo>
                <a:lnTo>
                  <a:pt x="532" y="97"/>
                </a:lnTo>
                <a:lnTo>
                  <a:pt x="532" y="97"/>
                </a:lnTo>
                <a:lnTo>
                  <a:pt x="532" y="96"/>
                </a:lnTo>
                <a:lnTo>
                  <a:pt x="532" y="96"/>
                </a:lnTo>
                <a:lnTo>
                  <a:pt x="531" y="95"/>
                </a:lnTo>
                <a:lnTo>
                  <a:pt x="532" y="94"/>
                </a:lnTo>
                <a:lnTo>
                  <a:pt x="534" y="95"/>
                </a:lnTo>
                <a:lnTo>
                  <a:pt x="540" y="94"/>
                </a:lnTo>
                <a:lnTo>
                  <a:pt x="545" y="95"/>
                </a:lnTo>
                <a:lnTo>
                  <a:pt x="546" y="97"/>
                </a:lnTo>
                <a:lnTo>
                  <a:pt x="546" y="99"/>
                </a:lnTo>
                <a:lnTo>
                  <a:pt x="545" y="100"/>
                </a:lnTo>
                <a:lnTo>
                  <a:pt x="542" y="101"/>
                </a:lnTo>
                <a:lnTo>
                  <a:pt x="538" y="100"/>
                </a:lnTo>
                <a:lnTo>
                  <a:pt x="533" y="99"/>
                </a:lnTo>
                <a:lnTo>
                  <a:pt x="528" y="100"/>
                </a:lnTo>
                <a:lnTo>
                  <a:pt x="521" y="101"/>
                </a:lnTo>
                <a:lnTo>
                  <a:pt x="513" y="100"/>
                </a:lnTo>
                <a:lnTo>
                  <a:pt x="506" y="99"/>
                </a:lnTo>
                <a:lnTo>
                  <a:pt x="492" y="99"/>
                </a:lnTo>
                <a:lnTo>
                  <a:pt x="480" y="98"/>
                </a:lnTo>
                <a:lnTo>
                  <a:pt x="467" y="98"/>
                </a:lnTo>
                <a:lnTo>
                  <a:pt x="454" y="97"/>
                </a:lnTo>
                <a:lnTo>
                  <a:pt x="441" y="98"/>
                </a:lnTo>
                <a:lnTo>
                  <a:pt x="429" y="97"/>
                </a:lnTo>
                <a:lnTo>
                  <a:pt x="414" y="98"/>
                </a:lnTo>
                <a:lnTo>
                  <a:pt x="399" y="99"/>
                </a:lnTo>
                <a:lnTo>
                  <a:pt x="401" y="101"/>
                </a:lnTo>
                <a:lnTo>
                  <a:pt x="405" y="103"/>
                </a:lnTo>
                <a:lnTo>
                  <a:pt x="399" y="105"/>
                </a:lnTo>
                <a:lnTo>
                  <a:pt x="393" y="106"/>
                </a:lnTo>
                <a:lnTo>
                  <a:pt x="394" y="105"/>
                </a:lnTo>
                <a:lnTo>
                  <a:pt x="397" y="101"/>
                </a:lnTo>
                <a:lnTo>
                  <a:pt x="398" y="100"/>
                </a:lnTo>
                <a:lnTo>
                  <a:pt x="399" y="99"/>
                </a:lnTo>
                <a:lnTo>
                  <a:pt x="399" y="97"/>
                </a:lnTo>
                <a:lnTo>
                  <a:pt x="398" y="96"/>
                </a:lnTo>
                <a:lnTo>
                  <a:pt x="394" y="97"/>
                </a:lnTo>
                <a:lnTo>
                  <a:pt x="391" y="99"/>
                </a:lnTo>
                <a:lnTo>
                  <a:pt x="385" y="101"/>
                </a:lnTo>
                <a:lnTo>
                  <a:pt x="380" y="101"/>
                </a:lnTo>
                <a:lnTo>
                  <a:pt x="374" y="101"/>
                </a:lnTo>
                <a:lnTo>
                  <a:pt x="367" y="103"/>
                </a:lnTo>
                <a:lnTo>
                  <a:pt x="365" y="104"/>
                </a:lnTo>
                <a:lnTo>
                  <a:pt x="361" y="105"/>
                </a:lnTo>
                <a:lnTo>
                  <a:pt x="360" y="105"/>
                </a:lnTo>
                <a:lnTo>
                  <a:pt x="359" y="104"/>
                </a:lnTo>
                <a:lnTo>
                  <a:pt x="358" y="103"/>
                </a:lnTo>
                <a:lnTo>
                  <a:pt x="356" y="101"/>
                </a:lnTo>
                <a:lnTo>
                  <a:pt x="353" y="103"/>
                </a:lnTo>
                <a:lnTo>
                  <a:pt x="351" y="103"/>
                </a:lnTo>
                <a:lnTo>
                  <a:pt x="348" y="101"/>
                </a:lnTo>
                <a:lnTo>
                  <a:pt x="343" y="99"/>
                </a:lnTo>
                <a:lnTo>
                  <a:pt x="343" y="99"/>
                </a:lnTo>
                <a:lnTo>
                  <a:pt x="343" y="99"/>
                </a:lnTo>
                <a:close/>
                <a:moveTo>
                  <a:pt x="346" y="112"/>
                </a:moveTo>
                <a:lnTo>
                  <a:pt x="342" y="114"/>
                </a:lnTo>
                <a:lnTo>
                  <a:pt x="339" y="115"/>
                </a:lnTo>
                <a:lnTo>
                  <a:pt x="335" y="116"/>
                </a:lnTo>
                <a:lnTo>
                  <a:pt x="332" y="117"/>
                </a:lnTo>
                <a:lnTo>
                  <a:pt x="325" y="116"/>
                </a:lnTo>
                <a:lnTo>
                  <a:pt x="318" y="116"/>
                </a:lnTo>
                <a:lnTo>
                  <a:pt x="325" y="113"/>
                </a:lnTo>
                <a:lnTo>
                  <a:pt x="331" y="112"/>
                </a:lnTo>
                <a:lnTo>
                  <a:pt x="338" y="111"/>
                </a:lnTo>
                <a:lnTo>
                  <a:pt x="346" y="112"/>
                </a:lnTo>
                <a:close/>
                <a:moveTo>
                  <a:pt x="324" y="261"/>
                </a:moveTo>
                <a:lnTo>
                  <a:pt x="322" y="261"/>
                </a:lnTo>
                <a:lnTo>
                  <a:pt x="320" y="261"/>
                </a:lnTo>
                <a:lnTo>
                  <a:pt x="318" y="260"/>
                </a:lnTo>
                <a:lnTo>
                  <a:pt x="318" y="257"/>
                </a:lnTo>
                <a:lnTo>
                  <a:pt x="320" y="257"/>
                </a:lnTo>
                <a:lnTo>
                  <a:pt x="324" y="257"/>
                </a:lnTo>
                <a:lnTo>
                  <a:pt x="325" y="258"/>
                </a:lnTo>
                <a:lnTo>
                  <a:pt x="326" y="260"/>
                </a:lnTo>
                <a:lnTo>
                  <a:pt x="326" y="261"/>
                </a:lnTo>
                <a:lnTo>
                  <a:pt x="324" y="261"/>
                </a:lnTo>
                <a:lnTo>
                  <a:pt x="324" y="261"/>
                </a:lnTo>
                <a:lnTo>
                  <a:pt x="324" y="261"/>
                </a:lnTo>
                <a:close/>
                <a:moveTo>
                  <a:pt x="313" y="147"/>
                </a:moveTo>
                <a:lnTo>
                  <a:pt x="315" y="146"/>
                </a:lnTo>
                <a:lnTo>
                  <a:pt x="317" y="145"/>
                </a:lnTo>
                <a:lnTo>
                  <a:pt x="319" y="145"/>
                </a:lnTo>
                <a:lnTo>
                  <a:pt x="322" y="145"/>
                </a:lnTo>
                <a:lnTo>
                  <a:pt x="319" y="147"/>
                </a:lnTo>
                <a:lnTo>
                  <a:pt x="317" y="148"/>
                </a:lnTo>
                <a:lnTo>
                  <a:pt x="314" y="149"/>
                </a:lnTo>
                <a:lnTo>
                  <a:pt x="313" y="147"/>
                </a:lnTo>
                <a:lnTo>
                  <a:pt x="314" y="146"/>
                </a:lnTo>
                <a:lnTo>
                  <a:pt x="313" y="147"/>
                </a:lnTo>
                <a:close/>
                <a:moveTo>
                  <a:pt x="310" y="288"/>
                </a:moveTo>
                <a:lnTo>
                  <a:pt x="308" y="289"/>
                </a:lnTo>
                <a:lnTo>
                  <a:pt x="306" y="290"/>
                </a:lnTo>
                <a:lnTo>
                  <a:pt x="302" y="290"/>
                </a:lnTo>
                <a:lnTo>
                  <a:pt x="301" y="288"/>
                </a:lnTo>
                <a:lnTo>
                  <a:pt x="303" y="286"/>
                </a:lnTo>
                <a:lnTo>
                  <a:pt x="307" y="286"/>
                </a:lnTo>
                <a:lnTo>
                  <a:pt x="309" y="287"/>
                </a:lnTo>
                <a:lnTo>
                  <a:pt x="310" y="288"/>
                </a:lnTo>
                <a:lnTo>
                  <a:pt x="310" y="288"/>
                </a:lnTo>
                <a:lnTo>
                  <a:pt x="310" y="288"/>
                </a:lnTo>
                <a:close/>
                <a:moveTo>
                  <a:pt x="300" y="179"/>
                </a:moveTo>
                <a:lnTo>
                  <a:pt x="302" y="178"/>
                </a:lnTo>
                <a:lnTo>
                  <a:pt x="305" y="179"/>
                </a:lnTo>
                <a:lnTo>
                  <a:pt x="307" y="180"/>
                </a:lnTo>
                <a:lnTo>
                  <a:pt x="307" y="182"/>
                </a:lnTo>
                <a:lnTo>
                  <a:pt x="301" y="183"/>
                </a:lnTo>
                <a:lnTo>
                  <a:pt x="295" y="183"/>
                </a:lnTo>
                <a:lnTo>
                  <a:pt x="297" y="180"/>
                </a:lnTo>
                <a:lnTo>
                  <a:pt x="300" y="179"/>
                </a:lnTo>
                <a:lnTo>
                  <a:pt x="300" y="179"/>
                </a:lnTo>
                <a:lnTo>
                  <a:pt x="300" y="179"/>
                </a:lnTo>
                <a:close/>
                <a:moveTo>
                  <a:pt x="284" y="138"/>
                </a:moveTo>
                <a:lnTo>
                  <a:pt x="286" y="137"/>
                </a:lnTo>
                <a:lnTo>
                  <a:pt x="290" y="137"/>
                </a:lnTo>
                <a:lnTo>
                  <a:pt x="291" y="138"/>
                </a:lnTo>
                <a:lnTo>
                  <a:pt x="290" y="139"/>
                </a:lnTo>
                <a:lnTo>
                  <a:pt x="289" y="140"/>
                </a:lnTo>
                <a:lnTo>
                  <a:pt x="287" y="141"/>
                </a:lnTo>
                <a:lnTo>
                  <a:pt x="283" y="142"/>
                </a:lnTo>
                <a:lnTo>
                  <a:pt x="280" y="141"/>
                </a:lnTo>
                <a:lnTo>
                  <a:pt x="278" y="139"/>
                </a:lnTo>
                <a:lnTo>
                  <a:pt x="280" y="138"/>
                </a:lnTo>
                <a:lnTo>
                  <a:pt x="282" y="138"/>
                </a:lnTo>
                <a:lnTo>
                  <a:pt x="284" y="138"/>
                </a:lnTo>
                <a:lnTo>
                  <a:pt x="284" y="138"/>
                </a:lnTo>
                <a:lnTo>
                  <a:pt x="284" y="138"/>
                </a:lnTo>
                <a:close/>
                <a:moveTo>
                  <a:pt x="268" y="208"/>
                </a:moveTo>
                <a:lnTo>
                  <a:pt x="273" y="205"/>
                </a:lnTo>
                <a:lnTo>
                  <a:pt x="277" y="204"/>
                </a:lnTo>
                <a:lnTo>
                  <a:pt x="283" y="203"/>
                </a:lnTo>
                <a:lnTo>
                  <a:pt x="287" y="203"/>
                </a:lnTo>
                <a:lnTo>
                  <a:pt x="293" y="199"/>
                </a:lnTo>
                <a:lnTo>
                  <a:pt x="298" y="196"/>
                </a:lnTo>
                <a:lnTo>
                  <a:pt x="300" y="195"/>
                </a:lnTo>
                <a:lnTo>
                  <a:pt x="303" y="195"/>
                </a:lnTo>
                <a:lnTo>
                  <a:pt x="306" y="195"/>
                </a:lnTo>
                <a:lnTo>
                  <a:pt x="309" y="196"/>
                </a:lnTo>
                <a:lnTo>
                  <a:pt x="306" y="196"/>
                </a:lnTo>
                <a:lnTo>
                  <a:pt x="305" y="197"/>
                </a:lnTo>
                <a:lnTo>
                  <a:pt x="303" y="199"/>
                </a:lnTo>
                <a:lnTo>
                  <a:pt x="302" y="202"/>
                </a:lnTo>
                <a:lnTo>
                  <a:pt x="301" y="205"/>
                </a:lnTo>
                <a:lnTo>
                  <a:pt x="299" y="206"/>
                </a:lnTo>
                <a:lnTo>
                  <a:pt x="295" y="207"/>
                </a:lnTo>
                <a:lnTo>
                  <a:pt x="292" y="207"/>
                </a:lnTo>
                <a:lnTo>
                  <a:pt x="284" y="207"/>
                </a:lnTo>
                <a:lnTo>
                  <a:pt x="275" y="209"/>
                </a:lnTo>
                <a:lnTo>
                  <a:pt x="272" y="211"/>
                </a:lnTo>
                <a:lnTo>
                  <a:pt x="269" y="211"/>
                </a:lnTo>
                <a:lnTo>
                  <a:pt x="268" y="212"/>
                </a:lnTo>
                <a:lnTo>
                  <a:pt x="267" y="211"/>
                </a:lnTo>
                <a:lnTo>
                  <a:pt x="268" y="209"/>
                </a:lnTo>
                <a:lnTo>
                  <a:pt x="268" y="208"/>
                </a:lnTo>
                <a:lnTo>
                  <a:pt x="269" y="207"/>
                </a:lnTo>
                <a:lnTo>
                  <a:pt x="268" y="208"/>
                </a:lnTo>
                <a:close/>
                <a:moveTo>
                  <a:pt x="300" y="261"/>
                </a:moveTo>
                <a:lnTo>
                  <a:pt x="298" y="263"/>
                </a:lnTo>
                <a:lnTo>
                  <a:pt x="294" y="263"/>
                </a:lnTo>
                <a:lnTo>
                  <a:pt x="292" y="263"/>
                </a:lnTo>
                <a:lnTo>
                  <a:pt x="291" y="263"/>
                </a:lnTo>
                <a:lnTo>
                  <a:pt x="290" y="262"/>
                </a:lnTo>
                <a:lnTo>
                  <a:pt x="291" y="260"/>
                </a:lnTo>
                <a:lnTo>
                  <a:pt x="292" y="257"/>
                </a:lnTo>
                <a:lnTo>
                  <a:pt x="295" y="257"/>
                </a:lnTo>
                <a:lnTo>
                  <a:pt x="298" y="257"/>
                </a:lnTo>
                <a:lnTo>
                  <a:pt x="299" y="258"/>
                </a:lnTo>
                <a:lnTo>
                  <a:pt x="300" y="260"/>
                </a:lnTo>
                <a:lnTo>
                  <a:pt x="300" y="261"/>
                </a:lnTo>
                <a:lnTo>
                  <a:pt x="300" y="261"/>
                </a:lnTo>
                <a:lnTo>
                  <a:pt x="300" y="261"/>
                </a:lnTo>
                <a:close/>
                <a:moveTo>
                  <a:pt x="290" y="305"/>
                </a:moveTo>
                <a:lnTo>
                  <a:pt x="286" y="306"/>
                </a:lnTo>
                <a:lnTo>
                  <a:pt x="283" y="307"/>
                </a:lnTo>
                <a:lnTo>
                  <a:pt x="281" y="307"/>
                </a:lnTo>
                <a:lnTo>
                  <a:pt x="280" y="307"/>
                </a:lnTo>
                <a:lnTo>
                  <a:pt x="278" y="306"/>
                </a:lnTo>
                <a:lnTo>
                  <a:pt x="277" y="305"/>
                </a:lnTo>
                <a:lnTo>
                  <a:pt x="280" y="303"/>
                </a:lnTo>
                <a:lnTo>
                  <a:pt x="283" y="304"/>
                </a:lnTo>
                <a:lnTo>
                  <a:pt x="286" y="304"/>
                </a:lnTo>
                <a:lnTo>
                  <a:pt x="290" y="305"/>
                </a:lnTo>
                <a:lnTo>
                  <a:pt x="286" y="306"/>
                </a:lnTo>
                <a:lnTo>
                  <a:pt x="290" y="305"/>
                </a:lnTo>
                <a:close/>
                <a:moveTo>
                  <a:pt x="276" y="307"/>
                </a:moveTo>
                <a:lnTo>
                  <a:pt x="275" y="310"/>
                </a:lnTo>
                <a:lnTo>
                  <a:pt x="273" y="311"/>
                </a:lnTo>
                <a:lnTo>
                  <a:pt x="270" y="311"/>
                </a:lnTo>
                <a:lnTo>
                  <a:pt x="269" y="310"/>
                </a:lnTo>
                <a:lnTo>
                  <a:pt x="270" y="307"/>
                </a:lnTo>
                <a:lnTo>
                  <a:pt x="273" y="306"/>
                </a:lnTo>
                <a:lnTo>
                  <a:pt x="274" y="306"/>
                </a:lnTo>
                <a:lnTo>
                  <a:pt x="275" y="306"/>
                </a:lnTo>
                <a:lnTo>
                  <a:pt x="276" y="306"/>
                </a:lnTo>
                <a:lnTo>
                  <a:pt x="276" y="307"/>
                </a:lnTo>
                <a:lnTo>
                  <a:pt x="276" y="307"/>
                </a:lnTo>
                <a:lnTo>
                  <a:pt x="276" y="307"/>
                </a:lnTo>
                <a:close/>
                <a:moveTo>
                  <a:pt x="261" y="304"/>
                </a:moveTo>
                <a:lnTo>
                  <a:pt x="264" y="302"/>
                </a:lnTo>
                <a:lnTo>
                  <a:pt x="267" y="302"/>
                </a:lnTo>
                <a:lnTo>
                  <a:pt x="270" y="303"/>
                </a:lnTo>
                <a:lnTo>
                  <a:pt x="273" y="304"/>
                </a:lnTo>
                <a:lnTo>
                  <a:pt x="270" y="305"/>
                </a:lnTo>
                <a:lnTo>
                  <a:pt x="266" y="306"/>
                </a:lnTo>
                <a:lnTo>
                  <a:pt x="264" y="306"/>
                </a:lnTo>
                <a:lnTo>
                  <a:pt x="262" y="306"/>
                </a:lnTo>
                <a:lnTo>
                  <a:pt x="261" y="305"/>
                </a:lnTo>
                <a:lnTo>
                  <a:pt x="261" y="304"/>
                </a:lnTo>
                <a:close/>
                <a:moveTo>
                  <a:pt x="261" y="310"/>
                </a:moveTo>
                <a:lnTo>
                  <a:pt x="264" y="308"/>
                </a:lnTo>
                <a:lnTo>
                  <a:pt x="265" y="310"/>
                </a:lnTo>
                <a:lnTo>
                  <a:pt x="265" y="311"/>
                </a:lnTo>
                <a:lnTo>
                  <a:pt x="264" y="312"/>
                </a:lnTo>
                <a:lnTo>
                  <a:pt x="261" y="314"/>
                </a:lnTo>
                <a:lnTo>
                  <a:pt x="258" y="314"/>
                </a:lnTo>
                <a:lnTo>
                  <a:pt x="256" y="313"/>
                </a:lnTo>
                <a:lnTo>
                  <a:pt x="254" y="312"/>
                </a:lnTo>
                <a:lnTo>
                  <a:pt x="258" y="311"/>
                </a:lnTo>
                <a:lnTo>
                  <a:pt x="261" y="310"/>
                </a:lnTo>
                <a:lnTo>
                  <a:pt x="261" y="310"/>
                </a:lnTo>
                <a:lnTo>
                  <a:pt x="261" y="310"/>
                </a:lnTo>
                <a:close/>
                <a:moveTo>
                  <a:pt x="258" y="214"/>
                </a:moveTo>
                <a:lnTo>
                  <a:pt x="257" y="215"/>
                </a:lnTo>
                <a:lnTo>
                  <a:pt x="254" y="215"/>
                </a:lnTo>
                <a:lnTo>
                  <a:pt x="252" y="214"/>
                </a:lnTo>
                <a:lnTo>
                  <a:pt x="250" y="213"/>
                </a:lnTo>
                <a:lnTo>
                  <a:pt x="253" y="212"/>
                </a:lnTo>
                <a:lnTo>
                  <a:pt x="256" y="211"/>
                </a:lnTo>
                <a:lnTo>
                  <a:pt x="257" y="211"/>
                </a:lnTo>
                <a:lnTo>
                  <a:pt x="258" y="212"/>
                </a:lnTo>
                <a:lnTo>
                  <a:pt x="259" y="213"/>
                </a:lnTo>
                <a:lnTo>
                  <a:pt x="258" y="214"/>
                </a:lnTo>
                <a:lnTo>
                  <a:pt x="258" y="214"/>
                </a:lnTo>
                <a:lnTo>
                  <a:pt x="258" y="214"/>
                </a:lnTo>
                <a:close/>
                <a:moveTo>
                  <a:pt x="251" y="130"/>
                </a:moveTo>
                <a:lnTo>
                  <a:pt x="252" y="130"/>
                </a:lnTo>
                <a:lnTo>
                  <a:pt x="253" y="131"/>
                </a:lnTo>
                <a:lnTo>
                  <a:pt x="252" y="132"/>
                </a:lnTo>
                <a:lnTo>
                  <a:pt x="252" y="134"/>
                </a:lnTo>
                <a:lnTo>
                  <a:pt x="252" y="137"/>
                </a:lnTo>
                <a:lnTo>
                  <a:pt x="252" y="139"/>
                </a:lnTo>
                <a:lnTo>
                  <a:pt x="251" y="140"/>
                </a:lnTo>
                <a:lnTo>
                  <a:pt x="250" y="140"/>
                </a:lnTo>
                <a:lnTo>
                  <a:pt x="250" y="139"/>
                </a:lnTo>
                <a:lnTo>
                  <a:pt x="249" y="137"/>
                </a:lnTo>
                <a:lnTo>
                  <a:pt x="249" y="136"/>
                </a:lnTo>
                <a:lnTo>
                  <a:pt x="249" y="133"/>
                </a:lnTo>
                <a:lnTo>
                  <a:pt x="249" y="131"/>
                </a:lnTo>
                <a:lnTo>
                  <a:pt x="251" y="130"/>
                </a:lnTo>
                <a:lnTo>
                  <a:pt x="250" y="130"/>
                </a:lnTo>
                <a:lnTo>
                  <a:pt x="251" y="130"/>
                </a:lnTo>
                <a:close/>
                <a:moveTo>
                  <a:pt x="242" y="179"/>
                </a:moveTo>
                <a:lnTo>
                  <a:pt x="245" y="178"/>
                </a:lnTo>
                <a:lnTo>
                  <a:pt x="250" y="177"/>
                </a:lnTo>
                <a:lnTo>
                  <a:pt x="252" y="175"/>
                </a:lnTo>
                <a:lnTo>
                  <a:pt x="254" y="175"/>
                </a:lnTo>
                <a:lnTo>
                  <a:pt x="256" y="177"/>
                </a:lnTo>
                <a:lnTo>
                  <a:pt x="256" y="178"/>
                </a:lnTo>
                <a:lnTo>
                  <a:pt x="256" y="179"/>
                </a:lnTo>
                <a:lnTo>
                  <a:pt x="254" y="181"/>
                </a:lnTo>
                <a:lnTo>
                  <a:pt x="252" y="181"/>
                </a:lnTo>
                <a:lnTo>
                  <a:pt x="250" y="182"/>
                </a:lnTo>
                <a:lnTo>
                  <a:pt x="245" y="183"/>
                </a:lnTo>
                <a:lnTo>
                  <a:pt x="242" y="183"/>
                </a:lnTo>
                <a:lnTo>
                  <a:pt x="244" y="186"/>
                </a:lnTo>
                <a:lnTo>
                  <a:pt x="248" y="188"/>
                </a:lnTo>
                <a:lnTo>
                  <a:pt x="244" y="189"/>
                </a:lnTo>
                <a:lnTo>
                  <a:pt x="242" y="188"/>
                </a:lnTo>
                <a:lnTo>
                  <a:pt x="240" y="187"/>
                </a:lnTo>
                <a:lnTo>
                  <a:pt x="237" y="186"/>
                </a:lnTo>
                <a:lnTo>
                  <a:pt x="236" y="183"/>
                </a:lnTo>
                <a:lnTo>
                  <a:pt x="236" y="182"/>
                </a:lnTo>
                <a:lnTo>
                  <a:pt x="239" y="180"/>
                </a:lnTo>
                <a:lnTo>
                  <a:pt x="242" y="179"/>
                </a:lnTo>
                <a:lnTo>
                  <a:pt x="242" y="179"/>
                </a:lnTo>
                <a:lnTo>
                  <a:pt x="242" y="179"/>
                </a:lnTo>
                <a:close/>
                <a:moveTo>
                  <a:pt x="236" y="273"/>
                </a:moveTo>
                <a:lnTo>
                  <a:pt x="241" y="275"/>
                </a:lnTo>
                <a:lnTo>
                  <a:pt x="247" y="277"/>
                </a:lnTo>
                <a:lnTo>
                  <a:pt x="243" y="278"/>
                </a:lnTo>
                <a:lnTo>
                  <a:pt x="240" y="278"/>
                </a:lnTo>
                <a:lnTo>
                  <a:pt x="236" y="279"/>
                </a:lnTo>
                <a:lnTo>
                  <a:pt x="234" y="279"/>
                </a:lnTo>
                <a:lnTo>
                  <a:pt x="233" y="278"/>
                </a:lnTo>
                <a:lnTo>
                  <a:pt x="233" y="277"/>
                </a:lnTo>
                <a:lnTo>
                  <a:pt x="234" y="274"/>
                </a:lnTo>
                <a:lnTo>
                  <a:pt x="236" y="273"/>
                </a:lnTo>
                <a:lnTo>
                  <a:pt x="236" y="273"/>
                </a:lnTo>
                <a:lnTo>
                  <a:pt x="236" y="273"/>
                </a:lnTo>
                <a:close/>
                <a:moveTo>
                  <a:pt x="153" y="169"/>
                </a:moveTo>
                <a:lnTo>
                  <a:pt x="155" y="166"/>
                </a:lnTo>
                <a:lnTo>
                  <a:pt x="159" y="164"/>
                </a:lnTo>
                <a:lnTo>
                  <a:pt x="163" y="163"/>
                </a:lnTo>
                <a:lnTo>
                  <a:pt x="167" y="162"/>
                </a:lnTo>
                <a:lnTo>
                  <a:pt x="168" y="161"/>
                </a:lnTo>
                <a:lnTo>
                  <a:pt x="170" y="161"/>
                </a:lnTo>
                <a:lnTo>
                  <a:pt x="170" y="162"/>
                </a:lnTo>
                <a:lnTo>
                  <a:pt x="170" y="164"/>
                </a:lnTo>
                <a:lnTo>
                  <a:pt x="173" y="164"/>
                </a:lnTo>
                <a:lnTo>
                  <a:pt x="174" y="164"/>
                </a:lnTo>
                <a:lnTo>
                  <a:pt x="177" y="164"/>
                </a:lnTo>
                <a:lnTo>
                  <a:pt x="181" y="164"/>
                </a:lnTo>
                <a:lnTo>
                  <a:pt x="182" y="165"/>
                </a:lnTo>
                <a:lnTo>
                  <a:pt x="182" y="166"/>
                </a:lnTo>
                <a:lnTo>
                  <a:pt x="181" y="167"/>
                </a:lnTo>
                <a:lnTo>
                  <a:pt x="179" y="169"/>
                </a:lnTo>
                <a:lnTo>
                  <a:pt x="178" y="170"/>
                </a:lnTo>
                <a:lnTo>
                  <a:pt x="177" y="171"/>
                </a:lnTo>
                <a:lnTo>
                  <a:pt x="177" y="172"/>
                </a:lnTo>
                <a:lnTo>
                  <a:pt x="178" y="172"/>
                </a:lnTo>
                <a:lnTo>
                  <a:pt x="184" y="171"/>
                </a:lnTo>
                <a:lnTo>
                  <a:pt x="190" y="171"/>
                </a:lnTo>
                <a:lnTo>
                  <a:pt x="186" y="173"/>
                </a:lnTo>
                <a:lnTo>
                  <a:pt x="184" y="174"/>
                </a:lnTo>
                <a:lnTo>
                  <a:pt x="181" y="175"/>
                </a:lnTo>
                <a:lnTo>
                  <a:pt x="177" y="178"/>
                </a:lnTo>
                <a:lnTo>
                  <a:pt x="175" y="178"/>
                </a:lnTo>
                <a:lnTo>
                  <a:pt x="174" y="180"/>
                </a:lnTo>
                <a:lnTo>
                  <a:pt x="176" y="180"/>
                </a:lnTo>
                <a:lnTo>
                  <a:pt x="178" y="180"/>
                </a:lnTo>
                <a:lnTo>
                  <a:pt x="181" y="180"/>
                </a:lnTo>
                <a:lnTo>
                  <a:pt x="181" y="181"/>
                </a:lnTo>
                <a:lnTo>
                  <a:pt x="181" y="182"/>
                </a:lnTo>
                <a:lnTo>
                  <a:pt x="178" y="183"/>
                </a:lnTo>
                <a:lnTo>
                  <a:pt x="171" y="182"/>
                </a:lnTo>
                <a:lnTo>
                  <a:pt x="167" y="179"/>
                </a:lnTo>
                <a:lnTo>
                  <a:pt x="171" y="175"/>
                </a:lnTo>
                <a:lnTo>
                  <a:pt x="176" y="172"/>
                </a:lnTo>
                <a:lnTo>
                  <a:pt x="167" y="173"/>
                </a:lnTo>
                <a:lnTo>
                  <a:pt x="157" y="177"/>
                </a:lnTo>
                <a:lnTo>
                  <a:pt x="154" y="177"/>
                </a:lnTo>
                <a:lnTo>
                  <a:pt x="152" y="175"/>
                </a:lnTo>
                <a:lnTo>
                  <a:pt x="151" y="172"/>
                </a:lnTo>
                <a:lnTo>
                  <a:pt x="153" y="169"/>
                </a:lnTo>
                <a:lnTo>
                  <a:pt x="153" y="169"/>
                </a:lnTo>
                <a:lnTo>
                  <a:pt x="153" y="169"/>
                </a:lnTo>
                <a:close/>
                <a:moveTo>
                  <a:pt x="193" y="180"/>
                </a:moveTo>
                <a:lnTo>
                  <a:pt x="193" y="182"/>
                </a:lnTo>
                <a:lnTo>
                  <a:pt x="193" y="184"/>
                </a:lnTo>
                <a:lnTo>
                  <a:pt x="192" y="186"/>
                </a:lnTo>
                <a:lnTo>
                  <a:pt x="191" y="187"/>
                </a:lnTo>
                <a:lnTo>
                  <a:pt x="188" y="188"/>
                </a:lnTo>
                <a:lnTo>
                  <a:pt x="186" y="191"/>
                </a:lnTo>
                <a:lnTo>
                  <a:pt x="185" y="187"/>
                </a:lnTo>
                <a:lnTo>
                  <a:pt x="184" y="184"/>
                </a:lnTo>
                <a:lnTo>
                  <a:pt x="187" y="182"/>
                </a:lnTo>
                <a:lnTo>
                  <a:pt x="193" y="180"/>
                </a:lnTo>
                <a:close/>
                <a:moveTo>
                  <a:pt x="181" y="247"/>
                </a:moveTo>
                <a:lnTo>
                  <a:pt x="182" y="249"/>
                </a:lnTo>
                <a:lnTo>
                  <a:pt x="182" y="250"/>
                </a:lnTo>
                <a:lnTo>
                  <a:pt x="179" y="252"/>
                </a:lnTo>
                <a:lnTo>
                  <a:pt x="177" y="252"/>
                </a:lnTo>
                <a:lnTo>
                  <a:pt x="171" y="252"/>
                </a:lnTo>
                <a:lnTo>
                  <a:pt x="168" y="253"/>
                </a:lnTo>
                <a:lnTo>
                  <a:pt x="170" y="249"/>
                </a:lnTo>
                <a:lnTo>
                  <a:pt x="174" y="247"/>
                </a:lnTo>
                <a:lnTo>
                  <a:pt x="175" y="246"/>
                </a:lnTo>
                <a:lnTo>
                  <a:pt x="177" y="246"/>
                </a:lnTo>
                <a:lnTo>
                  <a:pt x="178" y="246"/>
                </a:lnTo>
                <a:lnTo>
                  <a:pt x="181" y="247"/>
                </a:lnTo>
                <a:lnTo>
                  <a:pt x="179" y="247"/>
                </a:lnTo>
                <a:lnTo>
                  <a:pt x="181" y="247"/>
                </a:lnTo>
                <a:close/>
                <a:moveTo>
                  <a:pt x="157" y="189"/>
                </a:moveTo>
                <a:lnTo>
                  <a:pt x="153" y="192"/>
                </a:lnTo>
                <a:lnTo>
                  <a:pt x="150" y="195"/>
                </a:lnTo>
                <a:lnTo>
                  <a:pt x="145" y="198"/>
                </a:lnTo>
                <a:lnTo>
                  <a:pt x="142" y="198"/>
                </a:lnTo>
                <a:lnTo>
                  <a:pt x="141" y="196"/>
                </a:lnTo>
                <a:lnTo>
                  <a:pt x="138" y="194"/>
                </a:lnTo>
                <a:lnTo>
                  <a:pt x="135" y="195"/>
                </a:lnTo>
                <a:lnTo>
                  <a:pt x="133" y="194"/>
                </a:lnTo>
                <a:lnTo>
                  <a:pt x="138" y="190"/>
                </a:lnTo>
                <a:lnTo>
                  <a:pt x="144" y="188"/>
                </a:lnTo>
                <a:lnTo>
                  <a:pt x="147" y="187"/>
                </a:lnTo>
                <a:lnTo>
                  <a:pt x="150" y="187"/>
                </a:lnTo>
                <a:lnTo>
                  <a:pt x="153" y="187"/>
                </a:lnTo>
                <a:lnTo>
                  <a:pt x="157" y="189"/>
                </a:lnTo>
                <a:lnTo>
                  <a:pt x="152" y="187"/>
                </a:lnTo>
                <a:lnTo>
                  <a:pt x="157" y="189"/>
                </a:lnTo>
                <a:close/>
                <a:moveTo>
                  <a:pt x="129" y="200"/>
                </a:moveTo>
                <a:lnTo>
                  <a:pt x="132" y="202"/>
                </a:lnTo>
                <a:lnTo>
                  <a:pt x="133" y="204"/>
                </a:lnTo>
                <a:lnTo>
                  <a:pt x="132" y="206"/>
                </a:lnTo>
                <a:lnTo>
                  <a:pt x="129" y="207"/>
                </a:lnTo>
                <a:lnTo>
                  <a:pt x="128" y="206"/>
                </a:lnTo>
                <a:lnTo>
                  <a:pt x="127" y="206"/>
                </a:lnTo>
                <a:lnTo>
                  <a:pt x="126" y="205"/>
                </a:lnTo>
                <a:lnTo>
                  <a:pt x="126" y="204"/>
                </a:lnTo>
                <a:lnTo>
                  <a:pt x="128" y="202"/>
                </a:lnTo>
                <a:lnTo>
                  <a:pt x="129" y="200"/>
                </a:lnTo>
                <a:lnTo>
                  <a:pt x="129" y="200"/>
                </a:lnTo>
                <a:lnTo>
                  <a:pt x="129" y="200"/>
                </a:lnTo>
                <a:close/>
                <a:moveTo>
                  <a:pt x="110" y="217"/>
                </a:moveTo>
                <a:lnTo>
                  <a:pt x="107" y="217"/>
                </a:lnTo>
                <a:lnTo>
                  <a:pt x="104" y="216"/>
                </a:lnTo>
                <a:lnTo>
                  <a:pt x="107" y="214"/>
                </a:lnTo>
                <a:lnTo>
                  <a:pt x="109" y="212"/>
                </a:lnTo>
                <a:lnTo>
                  <a:pt x="111" y="211"/>
                </a:lnTo>
                <a:lnTo>
                  <a:pt x="112" y="209"/>
                </a:lnTo>
                <a:lnTo>
                  <a:pt x="114" y="211"/>
                </a:lnTo>
                <a:lnTo>
                  <a:pt x="114" y="211"/>
                </a:lnTo>
                <a:lnTo>
                  <a:pt x="114" y="213"/>
                </a:lnTo>
                <a:lnTo>
                  <a:pt x="113" y="216"/>
                </a:lnTo>
                <a:lnTo>
                  <a:pt x="112" y="217"/>
                </a:lnTo>
                <a:lnTo>
                  <a:pt x="110" y="217"/>
                </a:lnTo>
                <a:lnTo>
                  <a:pt x="110" y="219"/>
                </a:lnTo>
                <a:lnTo>
                  <a:pt x="110" y="217"/>
                </a:lnTo>
                <a:close/>
                <a:moveTo>
                  <a:pt x="118" y="245"/>
                </a:moveTo>
                <a:lnTo>
                  <a:pt x="118" y="246"/>
                </a:lnTo>
                <a:lnTo>
                  <a:pt x="118" y="247"/>
                </a:lnTo>
                <a:lnTo>
                  <a:pt x="117" y="247"/>
                </a:lnTo>
                <a:lnTo>
                  <a:pt x="116" y="247"/>
                </a:lnTo>
                <a:lnTo>
                  <a:pt x="113" y="245"/>
                </a:lnTo>
                <a:lnTo>
                  <a:pt x="112" y="242"/>
                </a:lnTo>
                <a:lnTo>
                  <a:pt x="113" y="239"/>
                </a:lnTo>
                <a:lnTo>
                  <a:pt x="114" y="237"/>
                </a:lnTo>
                <a:lnTo>
                  <a:pt x="117" y="234"/>
                </a:lnTo>
                <a:lnTo>
                  <a:pt x="120" y="233"/>
                </a:lnTo>
                <a:lnTo>
                  <a:pt x="122" y="233"/>
                </a:lnTo>
                <a:lnTo>
                  <a:pt x="125" y="234"/>
                </a:lnTo>
                <a:lnTo>
                  <a:pt x="126" y="234"/>
                </a:lnTo>
                <a:lnTo>
                  <a:pt x="127" y="236"/>
                </a:lnTo>
                <a:lnTo>
                  <a:pt x="127" y="237"/>
                </a:lnTo>
                <a:lnTo>
                  <a:pt x="126" y="238"/>
                </a:lnTo>
                <a:lnTo>
                  <a:pt x="122" y="239"/>
                </a:lnTo>
                <a:lnTo>
                  <a:pt x="120" y="239"/>
                </a:lnTo>
                <a:lnTo>
                  <a:pt x="119" y="240"/>
                </a:lnTo>
                <a:lnTo>
                  <a:pt x="118" y="241"/>
                </a:lnTo>
                <a:lnTo>
                  <a:pt x="118" y="242"/>
                </a:lnTo>
                <a:lnTo>
                  <a:pt x="118" y="245"/>
                </a:lnTo>
                <a:lnTo>
                  <a:pt x="118" y="244"/>
                </a:lnTo>
                <a:lnTo>
                  <a:pt x="118" y="245"/>
                </a:lnTo>
                <a:close/>
                <a:moveTo>
                  <a:pt x="127" y="263"/>
                </a:moveTo>
                <a:lnTo>
                  <a:pt x="126" y="263"/>
                </a:lnTo>
                <a:lnTo>
                  <a:pt x="125" y="263"/>
                </a:lnTo>
                <a:lnTo>
                  <a:pt x="124" y="262"/>
                </a:lnTo>
                <a:lnTo>
                  <a:pt x="124" y="261"/>
                </a:lnTo>
                <a:lnTo>
                  <a:pt x="124" y="258"/>
                </a:lnTo>
                <a:lnTo>
                  <a:pt x="126" y="258"/>
                </a:lnTo>
                <a:lnTo>
                  <a:pt x="127" y="258"/>
                </a:lnTo>
                <a:lnTo>
                  <a:pt x="129" y="258"/>
                </a:lnTo>
                <a:lnTo>
                  <a:pt x="132" y="254"/>
                </a:lnTo>
                <a:lnTo>
                  <a:pt x="133" y="249"/>
                </a:lnTo>
                <a:lnTo>
                  <a:pt x="134" y="248"/>
                </a:lnTo>
                <a:lnTo>
                  <a:pt x="135" y="249"/>
                </a:lnTo>
                <a:lnTo>
                  <a:pt x="136" y="249"/>
                </a:lnTo>
                <a:lnTo>
                  <a:pt x="136" y="250"/>
                </a:lnTo>
                <a:lnTo>
                  <a:pt x="137" y="254"/>
                </a:lnTo>
                <a:lnTo>
                  <a:pt x="137" y="256"/>
                </a:lnTo>
                <a:lnTo>
                  <a:pt x="136" y="260"/>
                </a:lnTo>
                <a:lnTo>
                  <a:pt x="134" y="262"/>
                </a:lnTo>
                <a:lnTo>
                  <a:pt x="132" y="263"/>
                </a:lnTo>
                <a:lnTo>
                  <a:pt x="127" y="263"/>
                </a:lnTo>
                <a:lnTo>
                  <a:pt x="129" y="264"/>
                </a:lnTo>
                <a:lnTo>
                  <a:pt x="127" y="263"/>
                </a:lnTo>
                <a:close/>
                <a:moveTo>
                  <a:pt x="142" y="445"/>
                </a:moveTo>
                <a:lnTo>
                  <a:pt x="141" y="446"/>
                </a:lnTo>
                <a:lnTo>
                  <a:pt x="138" y="447"/>
                </a:lnTo>
                <a:lnTo>
                  <a:pt x="136" y="447"/>
                </a:lnTo>
                <a:lnTo>
                  <a:pt x="135" y="445"/>
                </a:lnTo>
                <a:lnTo>
                  <a:pt x="135" y="444"/>
                </a:lnTo>
                <a:lnTo>
                  <a:pt x="136" y="443"/>
                </a:lnTo>
                <a:lnTo>
                  <a:pt x="137" y="441"/>
                </a:lnTo>
                <a:lnTo>
                  <a:pt x="138" y="441"/>
                </a:lnTo>
                <a:lnTo>
                  <a:pt x="141" y="443"/>
                </a:lnTo>
                <a:lnTo>
                  <a:pt x="142" y="445"/>
                </a:lnTo>
                <a:close/>
                <a:moveTo>
                  <a:pt x="144" y="219"/>
                </a:moveTo>
                <a:lnTo>
                  <a:pt x="142" y="220"/>
                </a:lnTo>
                <a:lnTo>
                  <a:pt x="140" y="220"/>
                </a:lnTo>
                <a:lnTo>
                  <a:pt x="138" y="221"/>
                </a:lnTo>
                <a:lnTo>
                  <a:pt x="137" y="221"/>
                </a:lnTo>
                <a:lnTo>
                  <a:pt x="136" y="221"/>
                </a:lnTo>
                <a:lnTo>
                  <a:pt x="135" y="219"/>
                </a:lnTo>
                <a:lnTo>
                  <a:pt x="136" y="217"/>
                </a:lnTo>
                <a:lnTo>
                  <a:pt x="137" y="216"/>
                </a:lnTo>
                <a:lnTo>
                  <a:pt x="142" y="214"/>
                </a:lnTo>
                <a:lnTo>
                  <a:pt x="146" y="215"/>
                </a:lnTo>
                <a:lnTo>
                  <a:pt x="147" y="216"/>
                </a:lnTo>
                <a:lnTo>
                  <a:pt x="146" y="217"/>
                </a:lnTo>
                <a:lnTo>
                  <a:pt x="146" y="219"/>
                </a:lnTo>
                <a:lnTo>
                  <a:pt x="144" y="219"/>
                </a:lnTo>
                <a:lnTo>
                  <a:pt x="144" y="219"/>
                </a:lnTo>
                <a:lnTo>
                  <a:pt x="144" y="219"/>
                </a:lnTo>
                <a:close/>
                <a:moveTo>
                  <a:pt x="150" y="208"/>
                </a:moveTo>
                <a:lnTo>
                  <a:pt x="154" y="206"/>
                </a:lnTo>
                <a:lnTo>
                  <a:pt x="160" y="203"/>
                </a:lnTo>
                <a:lnTo>
                  <a:pt x="162" y="202"/>
                </a:lnTo>
                <a:lnTo>
                  <a:pt x="165" y="202"/>
                </a:lnTo>
                <a:lnTo>
                  <a:pt x="167" y="203"/>
                </a:lnTo>
                <a:lnTo>
                  <a:pt x="167" y="205"/>
                </a:lnTo>
                <a:lnTo>
                  <a:pt x="165" y="207"/>
                </a:lnTo>
                <a:lnTo>
                  <a:pt x="163" y="208"/>
                </a:lnTo>
                <a:lnTo>
                  <a:pt x="161" y="208"/>
                </a:lnTo>
                <a:lnTo>
                  <a:pt x="159" y="209"/>
                </a:lnTo>
                <a:lnTo>
                  <a:pt x="154" y="208"/>
                </a:lnTo>
                <a:lnTo>
                  <a:pt x="150" y="208"/>
                </a:lnTo>
                <a:lnTo>
                  <a:pt x="154" y="206"/>
                </a:lnTo>
                <a:lnTo>
                  <a:pt x="150" y="208"/>
                </a:lnTo>
                <a:close/>
                <a:moveTo>
                  <a:pt x="160" y="258"/>
                </a:moveTo>
                <a:lnTo>
                  <a:pt x="158" y="257"/>
                </a:lnTo>
                <a:lnTo>
                  <a:pt x="158" y="256"/>
                </a:lnTo>
                <a:lnTo>
                  <a:pt x="159" y="255"/>
                </a:lnTo>
                <a:lnTo>
                  <a:pt x="161" y="255"/>
                </a:lnTo>
                <a:lnTo>
                  <a:pt x="167" y="255"/>
                </a:lnTo>
                <a:lnTo>
                  <a:pt x="173" y="255"/>
                </a:lnTo>
                <a:lnTo>
                  <a:pt x="169" y="257"/>
                </a:lnTo>
                <a:lnTo>
                  <a:pt x="167" y="258"/>
                </a:lnTo>
                <a:lnTo>
                  <a:pt x="163" y="258"/>
                </a:lnTo>
                <a:lnTo>
                  <a:pt x="160" y="258"/>
                </a:lnTo>
                <a:lnTo>
                  <a:pt x="160" y="258"/>
                </a:lnTo>
                <a:lnTo>
                  <a:pt x="160" y="258"/>
                </a:lnTo>
                <a:close/>
                <a:moveTo>
                  <a:pt x="177" y="429"/>
                </a:moveTo>
                <a:lnTo>
                  <a:pt x="175" y="429"/>
                </a:lnTo>
                <a:lnTo>
                  <a:pt x="173" y="429"/>
                </a:lnTo>
                <a:lnTo>
                  <a:pt x="173" y="431"/>
                </a:lnTo>
                <a:lnTo>
                  <a:pt x="173" y="433"/>
                </a:lnTo>
                <a:lnTo>
                  <a:pt x="169" y="432"/>
                </a:lnTo>
                <a:lnTo>
                  <a:pt x="169" y="430"/>
                </a:lnTo>
                <a:lnTo>
                  <a:pt x="169" y="428"/>
                </a:lnTo>
                <a:lnTo>
                  <a:pt x="170" y="426"/>
                </a:lnTo>
                <a:lnTo>
                  <a:pt x="173" y="423"/>
                </a:lnTo>
                <a:lnTo>
                  <a:pt x="175" y="422"/>
                </a:lnTo>
                <a:lnTo>
                  <a:pt x="178" y="422"/>
                </a:lnTo>
                <a:lnTo>
                  <a:pt x="181" y="422"/>
                </a:lnTo>
                <a:lnTo>
                  <a:pt x="181" y="424"/>
                </a:lnTo>
                <a:lnTo>
                  <a:pt x="183" y="427"/>
                </a:lnTo>
                <a:lnTo>
                  <a:pt x="183" y="429"/>
                </a:lnTo>
                <a:lnTo>
                  <a:pt x="182" y="430"/>
                </a:lnTo>
                <a:lnTo>
                  <a:pt x="179" y="429"/>
                </a:lnTo>
                <a:lnTo>
                  <a:pt x="177" y="429"/>
                </a:lnTo>
                <a:lnTo>
                  <a:pt x="176" y="429"/>
                </a:lnTo>
                <a:lnTo>
                  <a:pt x="177" y="429"/>
                </a:lnTo>
                <a:close/>
                <a:moveTo>
                  <a:pt x="176" y="320"/>
                </a:moveTo>
                <a:lnTo>
                  <a:pt x="174" y="321"/>
                </a:lnTo>
                <a:lnTo>
                  <a:pt x="173" y="321"/>
                </a:lnTo>
                <a:lnTo>
                  <a:pt x="170" y="321"/>
                </a:lnTo>
                <a:lnTo>
                  <a:pt x="169" y="319"/>
                </a:lnTo>
                <a:lnTo>
                  <a:pt x="170" y="315"/>
                </a:lnTo>
                <a:lnTo>
                  <a:pt x="173" y="313"/>
                </a:lnTo>
                <a:lnTo>
                  <a:pt x="178" y="312"/>
                </a:lnTo>
                <a:lnTo>
                  <a:pt x="184" y="313"/>
                </a:lnTo>
                <a:lnTo>
                  <a:pt x="181" y="317"/>
                </a:lnTo>
                <a:lnTo>
                  <a:pt x="176" y="320"/>
                </a:lnTo>
                <a:lnTo>
                  <a:pt x="177" y="320"/>
                </a:lnTo>
                <a:lnTo>
                  <a:pt x="176" y="320"/>
                </a:lnTo>
                <a:close/>
                <a:moveTo>
                  <a:pt x="181" y="239"/>
                </a:moveTo>
                <a:lnTo>
                  <a:pt x="181" y="237"/>
                </a:lnTo>
                <a:lnTo>
                  <a:pt x="182" y="232"/>
                </a:lnTo>
                <a:lnTo>
                  <a:pt x="187" y="233"/>
                </a:lnTo>
                <a:lnTo>
                  <a:pt x="194" y="237"/>
                </a:lnTo>
                <a:lnTo>
                  <a:pt x="187" y="237"/>
                </a:lnTo>
                <a:lnTo>
                  <a:pt x="181" y="239"/>
                </a:lnTo>
                <a:lnTo>
                  <a:pt x="182" y="238"/>
                </a:lnTo>
                <a:lnTo>
                  <a:pt x="181" y="239"/>
                </a:lnTo>
                <a:close/>
                <a:moveTo>
                  <a:pt x="193" y="154"/>
                </a:moveTo>
                <a:lnTo>
                  <a:pt x="194" y="151"/>
                </a:lnTo>
                <a:lnTo>
                  <a:pt x="198" y="149"/>
                </a:lnTo>
                <a:lnTo>
                  <a:pt x="202" y="148"/>
                </a:lnTo>
                <a:lnTo>
                  <a:pt x="204" y="148"/>
                </a:lnTo>
                <a:lnTo>
                  <a:pt x="209" y="150"/>
                </a:lnTo>
                <a:lnTo>
                  <a:pt x="214" y="153"/>
                </a:lnTo>
                <a:lnTo>
                  <a:pt x="214" y="155"/>
                </a:lnTo>
                <a:lnTo>
                  <a:pt x="214" y="158"/>
                </a:lnTo>
                <a:lnTo>
                  <a:pt x="215" y="159"/>
                </a:lnTo>
                <a:lnTo>
                  <a:pt x="216" y="161"/>
                </a:lnTo>
                <a:lnTo>
                  <a:pt x="217" y="162"/>
                </a:lnTo>
                <a:lnTo>
                  <a:pt x="216" y="163"/>
                </a:lnTo>
                <a:lnTo>
                  <a:pt x="211" y="165"/>
                </a:lnTo>
                <a:lnTo>
                  <a:pt x="208" y="165"/>
                </a:lnTo>
                <a:lnTo>
                  <a:pt x="206" y="165"/>
                </a:lnTo>
                <a:lnTo>
                  <a:pt x="204" y="165"/>
                </a:lnTo>
                <a:lnTo>
                  <a:pt x="206" y="164"/>
                </a:lnTo>
                <a:lnTo>
                  <a:pt x="206" y="163"/>
                </a:lnTo>
                <a:lnTo>
                  <a:pt x="209" y="159"/>
                </a:lnTo>
                <a:lnTo>
                  <a:pt x="211" y="156"/>
                </a:lnTo>
                <a:lnTo>
                  <a:pt x="207" y="157"/>
                </a:lnTo>
                <a:lnTo>
                  <a:pt x="201" y="157"/>
                </a:lnTo>
                <a:lnTo>
                  <a:pt x="195" y="156"/>
                </a:lnTo>
                <a:lnTo>
                  <a:pt x="193" y="154"/>
                </a:lnTo>
                <a:lnTo>
                  <a:pt x="193" y="154"/>
                </a:lnTo>
                <a:lnTo>
                  <a:pt x="193" y="154"/>
                </a:lnTo>
                <a:close/>
                <a:moveTo>
                  <a:pt x="198" y="232"/>
                </a:moveTo>
                <a:lnTo>
                  <a:pt x="199" y="230"/>
                </a:lnTo>
                <a:lnTo>
                  <a:pt x="203" y="225"/>
                </a:lnTo>
                <a:lnTo>
                  <a:pt x="206" y="224"/>
                </a:lnTo>
                <a:lnTo>
                  <a:pt x="207" y="223"/>
                </a:lnTo>
                <a:lnTo>
                  <a:pt x="209" y="223"/>
                </a:lnTo>
                <a:lnTo>
                  <a:pt x="209" y="223"/>
                </a:lnTo>
                <a:lnTo>
                  <a:pt x="209" y="225"/>
                </a:lnTo>
                <a:lnTo>
                  <a:pt x="207" y="227"/>
                </a:lnTo>
                <a:lnTo>
                  <a:pt x="207" y="230"/>
                </a:lnTo>
                <a:lnTo>
                  <a:pt x="206" y="232"/>
                </a:lnTo>
                <a:lnTo>
                  <a:pt x="204" y="233"/>
                </a:lnTo>
                <a:lnTo>
                  <a:pt x="202" y="234"/>
                </a:lnTo>
                <a:lnTo>
                  <a:pt x="200" y="234"/>
                </a:lnTo>
                <a:lnTo>
                  <a:pt x="198" y="232"/>
                </a:lnTo>
                <a:lnTo>
                  <a:pt x="198" y="232"/>
                </a:lnTo>
                <a:lnTo>
                  <a:pt x="198" y="232"/>
                </a:lnTo>
                <a:close/>
                <a:moveTo>
                  <a:pt x="202" y="416"/>
                </a:moveTo>
                <a:lnTo>
                  <a:pt x="201" y="416"/>
                </a:lnTo>
                <a:lnTo>
                  <a:pt x="199" y="416"/>
                </a:lnTo>
                <a:lnTo>
                  <a:pt x="199" y="414"/>
                </a:lnTo>
                <a:lnTo>
                  <a:pt x="200" y="413"/>
                </a:lnTo>
                <a:lnTo>
                  <a:pt x="204" y="410"/>
                </a:lnTo>
                <a:lnTo>
                  <a:pt x="209" y="407"/>
                </a:lnTo>
                <a:lnTo>
                  <a:pt x="209" y="411"/>
                </a:lnTo>
                <a:lnTo>
                  <a:pt x="207" y="413"/>
                </a:lnTo>
                <a:lnTo>
                  <a:pt x="206" y="414"/>
                </a:lnTo>
                <a:lnTo>
                  <a:pt x="202" y="416"/>
                </a:lnTo>
                <a:lnTo>
                  <a:pt x="203" y="415"/>
                </a:lnTo>
                <a:lnTo>
                  <a:pt x="202" y="416"/>
                </a:lnTo>
                <a:close/>
                <a:moveTo>
                  <a:pt x="219" y="174"/>
                </a:moveTo>
                <a:lnTo>
                  <a:pt x="216" y="175"/>
                </a:lnTo>
                <a:lnTo>
                  <a:pt x="211" y="177"/>
                </a:lnTo>
                <a:lnTo>
                  <a:pt x="210" y="177"/>
                </a:lnTo>
                <a:lnTo>
                  <a:pt x="209" y="177"/>
                </a:lnTo>
                <a:lnTo>
                  <a:pt x="208" y="175"/>
                </a:lnTo>
                <a:lnTo>
                  <a:pt x="209" y="174"/>
                </a:lnTo>
                <a:lnTo>
                  <a:pt x="212" y="172"/>
                </a:lnTo>
                <a:lnTo>
                  <a:pt x="217" y="171"/>
                </a:lnTo>
                <a:lnTo>
                  <a:pt x="219" y="171"/>
                </a:lnTo>
                <a:lnTo>
                  <a:pt x="220" y="171"/>
                </a:lnTo>
                <a:lnTo>
                  <a:pt x="220" y="172"/>
                </a:lnTo>
                <a:lnTo>
                  <a:pt x="219" y="174"/>
                </a:lnTo>
                <a:lnTo>
                  <a:pt x="218" y="175"/>
                </a:lnTo>
                <a:lnTo>
                  <a:pt x="219" y="174"/>
                </a:lnTo>
                <a:close/>
                <a:moveTo>
                  <a:pt x="240" y="338"/>
                </a:moveTo>
                <a:lnTo>
                  <a:pt x="231" y="340"/>
                </a:lnTo>
                <a:lnTo>
                  <a:pt x="221" y="341"/>
                </a:lnTo>
                <a:lnTo>
                  <a:pt x="228" y="337"/>
                </a:lnTo>
                <a:lnTo>
                  <a:pt x="236" y="335"/>
                </a:lnTo>
                <a:lnTo>
                  <a:pt x="237" y="333"/>
                </a:lnTo>
                <a:lnTo>
                  <a:pt x="239" y="332"/>
                </a:lnTo>
                <a:lnTo>
                  <a:pt x="240" y="333"/>
                </a:lnTo>
                <a:lnTo>
                  <a:pt x="242" y="335"/>
                </a:lnTo>
                <a:lnTo>
                  <a:pt x="242" y="336"/>
                </a:lnTo>
                <a:lnTo>
                  <a:pt x="242" y="337"/>
                </a:lnTo>
                <a:lnTo>
                  <a:pt x="241" y="338"/>
                </a:lnTo>
                <a:lnTo>
                  <a:pt x="240" y="338"/>
                </a:lnTo>
                <a:lnTo>
                  <a:pt x="239" y="338"/>
                </a:lnTo>
                <a:lnTo>
                  <a:pt x="240" y="338"/>
                </a:lnTo>
                <a:close/>
                <a:moveTo>
                  <a:pt x="268" y="335"/>
                </a:moveTo>
                <a:lnTo>
                  <a:pt x="269" y="335"/>
                </a:lnTo>
                <a:lnTo>
                  <a:pt x="268" y="335"/>
                </a:lnTo>
                <a:close/>
                <a:moveTo>
                  <a:pt x="276" y="378"/>
                </a:moveTo>
                <a:lnTo>
                  <a:pt x="281" y="374"/>
                </a:lnTo>
                <a:lnTo>
                  <a:pt x="285" y="373"/>
                </a:lnTo>
                <a:lnTo>
                  <a:pt x="291" y="373"/>
                </a:lnTo>
                <a:lnTo>
                  <a:pt x="297" y="373"/>
                </a:lnTo>
                <a:lnTo>
                  <a:pt x="291" y="375"/>
                </a:lnTo>
                <a:lnTo>
                  <a:pt x="285" y="377"/>
                </a:lnTo>
                <a:lnTo>
                  <a:pt x="281" y="378"/>
                </a:lnTo>
                <a:lnTo>
                  <a:pt x="276" y="378"/>
                </a:lnTo>
                <a:close/>
                <a:moveTo>
                  <a:pt x="314" y="377"/>
                </a:moveTo>
                <a:lnTo>
                  <a:pt x="310" y="378"/>
                </a:lnTo>
                <a:lnTo>
                  <a:pt x="308" y="378"/>
                </a:lnTo>
                <a:lnTo>
                  <a:pt x="306" y="378"/>
                </a:lnTo>
                <a:lnTo>
                  <a:pt x="303" y="377"/>
                </a:lnTo>
                <a:lnTo>
                  <a:pt x="307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4"/>
                </a:lnTo>
                <a:lnTo>
                  <a:pt x="315" y="375"/>
                </a:lnTo>
                <a:lnTo>
                  <a:pt x="314" y="377"/>
                </a:lnTo>
                <a:lnTo>
                  <a:pt x="313" y="377"/>
                </a:lnTo>
                <a:lnTo>
                  <a:pt x="314" y="377"/>
                </a:lnTo>
                <a:close/>
                <a:moveTo>
                  <a:pt x="273" y="356"/>
                </a:moveTo>
                <a:lnTo>
                  <a:pt x="274" y="354"/>
                </a:lnTo>
                <a:lnTo>
                  <a:pt x="276" y="353"/>
                </a:lnTo>
                <a:lnTo>
                  <a:pt x="278" y="352"/>
                </a:lnTo>
                <a:lnTo>
                  <a:pt x="282" y="350"/>
                </a:lnTo>
                <a:lnTo>
                  <a:pt x="289" y="350"/>
                </a:lnTo>
                <a:lnTo>
                  <a:pt x="294" y="349"/>
                </a:lnTo>
                <a:lnTo>
                  <a:pt x="300" y="348"/>
                </a:lnTo>
                <a:lnTo>
                  <a:pt x="307" y="347"/>
                </a:lnTo>
                <a:lnTo>
                  <a:pt x="309" y="346"/>
                </a:lnTo>
                <a:lnTo>
                  <a:pt x="310" y="345"/>
                </a:lnTo>
                <a:lnTo>
                  <a:pt x="311" y="344"/>
                </a:lnTo>
                <a:lnTo>
                  <a:pt x="310" y="341"/>
                </a:lnTo>
                <a:lnTo>
                  <a:pt x="310" y="340"/>
                </a:lnTo>
                <a:lnTo>
                  <a:pt x="309" y="339"/>
                </a:lnTo>
                <a:lnTo>
                  <a:pt x="310" y="338"/>
                </a:lnTo>
                <a:lnTo>
                  <a:pt x="311" y="338"/>
                </a:lnTo>
                <a:lnTo>
                  <a:pt x="314" y="335"/>
                </a:lnTo>
                <a:lnTo>
                  <a:pt x="317" y="332"/>
                </a:lnTo>
                <a:lnTo>
                  <a:pt x="323" y="332"/>
                </a:lnTo>
                <a:lnTo>
                  <a:pt x="328" y="333"/>
                </a:lnTo>
                <a:lnTo>
                  <a:pt x="333" y="336"/>
                </a:lnTo>
                <a:lnTo>
                  <a:pt x="338" y="339"/>
                </a:lnTo>
                <a:lnTo>
                  <a:pt x="331" y="344"/>
                </a:lnTo>
                <a:lnTo>
                  <a:pt x="323" y="346"/>
                </a:lnTo>
                <a:lnTo>
                  <a:pt x="315" y="349"/>
                </a:lnTo>
                <a:lnTo>
                  <a:pt x="307" y="350"/>
                </a:lnTo>
                <a:lnTo>
                  <a:pt x="290" y="354"/>
                </a:lnTo>
                <a:lnTo>
                  <a:pt x="273" y="356"/>
                </a:lnTo>
                <a:lnTo>
                  <a:pt x="276" y="355"/>
                </a:lnTo>
                <a:lnTo>
                  <a:pt x="282" y="354"/>
                </a:lnTo>
                <a:lnTo>
                  <a:pt x="283" y="354"/>
                </a:lnTo>
                <a:lnTo>
                  <a:pt x="273" y="356"/>
                </a:lnTo>
                <a:close/>
                <a:moveTo>
                  <a:pt x="277" y="343"/>
                </a:moveTo>
                <a:lnTo>
                  <a:pt x="281" y="341"/>
                </a:lnTo>
                <a:lnTo>
                  <a:pt x="285" y="340"/>
                </a:lnTo>
                <a:lnTo>
                  <a:pt x="286" y="340"/>
                </a:lnTo>
                <a:lnTo>
                  <a:pt x="287" y="340"/>
                </a:lnTo>
                <a:lnTo>
                  <a:pt x="287" y="341"/>
                </a:lnTo>
                <a:lnTo>
                  <a:pt x="286" y="344"/>
                </a:lnTo>
                <a:lnTo>
                  <a:pt x="282" y="346"/>
                </a:lnTo>
                <a:lnTo>
                  <a:pt x="277" y="346"/>
                </a:lnTo>
                <a:lnTo>
                  <a:pt x="276" y="346"/>
                </a:lnTo>
                <a:lnTo>
                  <a:pt x="275" y="344"/>
                </a:lnTo>
                <a:lnTo>
                  <a:pt x="275" y="343"/>
                </a:lnTo>
                <a:lnTo>
                  <a:pt x="277" y="343"/>
                </a:lnTo>
                <a:lnTo>
                  <a:pt x="277" y="343"/>
                </a:lnTo>
                <a:lnTo>
                  <a:pt x="277" y="343"/>
                </a:lnTo>
                <a:close/>
                <a:moveTo>
                  <a:pt x="392" y="410"/>
                </a:moveTo>
                <a:lnTo>
                  <a:pt x="389" y="411"/>
                </a:lnTo>
                <a:lnTo>
                  <a:pt x="387" y="411"/>
                </a:lnTo>
                <a:lnTo>
                  <a:pt x="384" y="411"/>
                </a:lnTo>
                <a:lnTo>
                  <a:pt x="382" y="410"/>
                </a:lnTo>
                <a:lnTo>
                  <a:pt x="377" y="406"/>
                </a:lnTo>
                <a:lnTo>
                  <a:pt x="374" y="403"/>
                </a:lnTo>
                <a:lnTo>
                  <a:pt x="372" y="403"/>
                </a:lnTo>
                <a:lnTo>
                  <a:pt x="371" y="402"/>
                </a:lnTo>
                <a:lnTo>
                  <a:pt x="371" y="402"/>
                </a:lnTo>
                <a:lnTo>
                  <a:pt x="371" y="399"/>
                </a:lnTo>
                <a:lnTo>
                  <a:pt x="371" y="396"/>
                </a:lnTo>
                <a:lnTo>
                  <a:pt x="372" y="394"/>
                </a:lnTo>
                <a:lnTo>
                  <a:pt x="374" y="394"/>
                </a:lnTo>
                <a:lnTo>
                  <a:pt x="376" y="394"/>
                </a:lnTo>
                <a:lnTo>
                  <a:pt x="379" y="395"/>
                </a:lnTo>
                <a:lnTo>
                  <a:pt x="381" y="396"/>
                </a:lnTo>
                <a:lnTo>
                  <a:pt x="382" y="400"/>
                </a:lnTo>
                <a:lnTo>
                  <a:pt x="384" y="403"/>
                </a:lnTo>
                <a:lnTo>
                  <a:pt x="389" y="404"/>
                </a:lnTo>
                <a:lnTo>
                  <a:pt x="392" y="404"/>
                </a:lnTo>
                <a:lnTo>
                  <a:pt x="394" y="405"/>
                </a:lnTo>
                <a:lnTo>
                  <a:pt x="394" y="406"/>
                </a:lnTo>
                <a:lnTo>
                  <a:pt x="393" y="408"/>
                </a:lnTo>
                <a:lnTo>
                  <a:pt x="392" y="410"/>
                </a:lnTo>
                <a:lnTo>
                  <a:pt x="391" y="411"/>
                </a:lnTo>
                <a:lnTo>
                  <a:pt x="392" y="410"/>
                </a:lnTo>
                <a:close/>
                <a:moveTo>
                  <a:pt x="391" y="354"/>
                </a:moveTo>
                <a:lnTo>
                  <a:pt x="387" y="353"/>
                </a:lnTo>
                <a:lnTo>
                  <a:pt x="383" y="350"/>
                </a:lnTo>
                <a:lnTo>
                  <a:pt x="385" y="349"/>
                </a:lnTo>
                <a:lnTo>
                  <a:pt x="389" y="349"/>
                </a:lnTo>
                <a:lnTo>
                  <a:pt x="392" y="349"/>
                </a:lnTo>
                <a:lnTo>
                  <a:pt x="394" y="350"/>
                </a:lnTo>
                <a:lnTo>
                  <a:pt x="396" y="352"/>
                </a:lnTo>
                <a:lnTo>
                  <a:pt x="394" y="353"/>
                </a:lnTo>
                <a:lnTo>
                  <a:pt x="393" y="354"/>
                </a:lnTo>
                <a:lnTo>
                  <a:pt x="391" y="354"/>
                </a:lnTo>
                <a:lnTo>
                  <a:pt x="391" y="354"/>
                </a:lnTo>
                <a:lnTo>
                  <a:pt x="391" y="354"/>
                </a:lnTo>
                <a:close/>
                <a:moveTo>
                  <a:pt x="401" y="398"/>
                </a:moveTo>
                <a:lnTo>
                  <a:pt x="400" y="398"/>
                </a:lnTo>
                <a:lnTo>
                  <a:pt x="399" y="397"/>
                </a:lnTo>
                <a:lnTo>
                  <a:pt x="400" y="395"/>
                </a:lnTo>
                <a:lnTo>
                  <a:pt x="400" y="394"/>
                </a:lnTo>
                <a:lnTo>
                  <a:pt x="405" y="393"/>
                </a:lnTo>
                <a:lnTo>
                  <a:pt x="410" y="391"/>
                </a:lnTo>
                <a:lnTo>
                  <a:pt x="420" y="394"/>
                </a:lnTo>
                <a:lnTo>
                  <a:pt x="430" y="396"/>
                </a:lnTo>
                <a:lnTo>
                  <a:pt x="415" y="397"/>
                </a:lnTo>
                <a:lnTo>
                  <a:pt x="401" y="398"/>
                </a:lnTo>
                <a:lnTo>
                  <a:pt x="404" y="398"/>
                </a:lnTo>
                <a:lnTo>
                  <a:pt x="401" y="398"/>
                </a:lnTo>
                <a:close/>
                <a:moveTo>
                  <a:pt x="442" y="422"/>
                </a:moveTo>
                <a:lnTo>
                  <a:pt x="441" y="423"/>
                </a:lnTo>
                <a:lnTo>
                  <a:pt x="440" y="424"/>
                </a:lnTo>
                <a:lnTo>
                  <a:pt x="439" y="424"/>
                </a:lnTo>
                <a:lnTo>
                  <a:pt x="437" y="423"/>
                </a:lnTo>
                <a:lnTo>
                  <a:pt x="433" y="422"/>
                </a:lnTo>
                <a:lnTo>
                  <a:pt x="431" y="422"/>
                </a:lnTo>
                <a:lnTo>
                  <a:pt x="433" y="421"/>
                </a:lnTo>
                <a:lnTo>
                  <a:pt x="437" y="420"/>
                </a:lnTo>
                <a:lnTo>
                  <a:pt x="441" y="421"/>
                </a:lnTo>
                <a:lnTo>
                  <a:pt x="442" y="422"/>
                </a:lnTo>
                <a:lnTo>
                  <a:pt x="442" y="422"/>
                </a:lnTo>
                <a:lnTo>
                  <a:pt x="442" y="422"/>
                </a:lnTo>
                <a:close/>
                <a:moveTo>
                  <a:pt x="439" y="406"/>
                </a:moveTo>
                <a:lnTo>
                  <a:pt x="447" y="404"/>
                </a:lnTo>
                <a:lnTo>
                  <a:pt x="456" y="403"/>
                </a:lnTo>
                <a:lnTo>
                  <a:pt x="454" y="405"/>
                </a:lnTo>
                <a:lnTo>
                  <a:pt x="451" y="406"/>
                </a:lnTo>
                <a:lnTo>
                  <a:pt x="449" y="407"/>
                </a:lnTo>
                <a:lnTo>
                  <a:pt x="448" y="406"/>
                </a:lnTo>
                <a:lnTo>
                  <a:pt x="443" y="406"/>
                </a:lnTo>
                <a:lnTo>
                  <a:pt x="439" y="406"/>
                </a:lnTo>
                <a:close/>
                <a:moveTo>
                  <a:pt x="440" y="398"/>
                </a:moveTo>
                <a:lnTo>
                  <a:pt x="443" y="397"/>
                </a:lnTo>
                <a:lnTo>
                  <a:pt x="447" y="397"/>
                </a:lnTo>
                <a:lnTo>
                  <a:pt x="451" y="399"/>
                </a:lnTo>
                <a:lnTo>
                  <a:pt x="455" y="399"/>
                </a:lnTo>
                <a:lnTo>
                  <a:pt x="450" y="400"/>
                </a:lnTo>
                <a:lnTo>
                  <a:pt x="447" y="402"/>
                </a:lnTo>
                <a:lnTo>
                  <a:pt x="443" y="400"/>
                </a:lnTo>
                <a:lnTo>
                  <a:pt x="440" y="398"/>
                </a:lnTo>
                <a:close/>
                <a:moveTo>
                  <a:pt x="468" y="427"/>
                </a:moveTo>
                <a:lnTo>
                  <a:pt x="474" y="426"/>
                </a:lnTo>
                <a:lnTo>
                  <a:pt x="479" y="427"/>
                </a:lnTo>
                <a:lnTo>
                  <a:pt x="484" y="428"/>
                </a:lnTo>
                <a:lnTo>
                  <a:pt x="489" y="429"/>
                </a:lnTo>
                <a:lnTo>
                  <a:pt x="483" y="429"/>
                </a:lnTo>
                <a:lnTo>
                  <a:pt x="479" y="430"/>
                </a:lnTo>
                <a:lnTo>
                  <a:pt x="474" y="429"/>
                </a:lnTo>
                <a:lnTo>
                  <a:pt x="468" y="427"/>
                </a:lnTo>
                <a:close/>
                <a:moveTo>
                  <a:pt x="493" y="410"/>
                </a:moveTo>
                <a:lnTo>
                  <a:pt x="490" y="411"/>
                </a:lnTo>
                <a:lnTo>
                  <a:pt x="487" y="411"/>
                </a:lnTo>
                <a:lnTo>
                  <a:pt x="482" y="411"/>
                </a:lnTo>
                <a:lnTo>
                  <a:pt x="479" y="410"/>
                </a:lnTo>
                <a:lnTo>
                  <a:pt x="478" y="406"/>
                </a:lnTo>
                <a:lnTo>
                  <a:pt x="475" y="405"/>
                </a:lnTo>
                <a:lnTo>
                  <a:pt x="470" y="406"/>
                </a:lnTo>
                <a:lnTo>
                  <a:pt x="466" y="408"/>
                </a:lnTo>
                <a:lnTo>
                  <a:pt x="464" y="407"/>
                </a:lnTo>
                <a:lnTo>
                  <a:pt x="462" y="406"/>
                </a:lnTo>
                <a:lnTo>
                  <a:pt x="460" y="404"/>
                </a:lnTo>
                <a:lnTo>
                  <a:pt x="460" y="402"/>
                </a:lnTo>
                <a:lnTo>
                  <a:pt x="462" y="400"/>
                </a:lnTo>
                <a:lnTo>
                  <a:pt x="464" y="399"/>
                </a:lnTo>
                <a:lnTo>
                  <a:pt x="466" y="399"/>
                </a:lnTo>
                <a:lnTo>
                  <a:pt x="468" y="399"/>
                </a:lnTo>
                <a:lnTo>
                  <a:pt x="474" y="400"/>
                </a:lnTo>
                <a:lnTo>
                  <a:pt x="482" y="403"/>
                </a:lnTo>
                <a:lnTo>
                  <a:pt x="487" y="405"/>
                </a:lnTo>
                <a:lnTo>
                  <a:pt x="490" y="406"/>
                </a:lnTo>
                <a:lnTo>
                  <a:pt x="492" y="408"/>
                </a:lnTo>
                <a:lnTo>
                  <a:pt x="493" y="410"/>
                </a:lnTo>
                <a:lnTo>
                  <a:pt x="492" y="410"/>
                </a:lnTo>
                <a:lnTo>
                  <a:pt x="493" y="410"/>
                </a:lnTo>
                <a:close/>
                <a:moveTo>
                  <a:pt x="504" y="413"/>
                </a:moveTo>
                <a:lnTo>
                  <a:pt x="501" y="411"/>
                </a:lnTo>
                <a:lnTo>
                  <a:pt x="499" y="408"/>
                </a:lnTo>
                <a:lnTo>
                  <a:pt x="498" y="407"/>
                </a:lnTo>
                <a:lnTo>
                  <a:pt x="498" y="407"/>
                </a:lnTo>
                <a:lnTo>
                  <a:pt x="499" y="406"/>
                </a:lnTo>
                <a:lnTo>
                  <a:pt x="501" y="406"/>
                </a:lnTo>
                <a:lnTo>
                  <a:pt x="504" y="407"/>
                </a:lnTo>
                <a:lnTo>
                  <a:pt x="506" y="410"/>
                </a:lnTo>
                <a:lnTo>
                  <a:pt x="506" y="411"/>
                </a:lnTo>
                <a:lnTo>
                  <a:pt x="506" y="412"/>
                </a:lnTo>
                <a:lnTo>
                  <a:pt x="506" y="413"/>
                </a:lnTo>
                <a:lnTo>
                  <a:pt x="504" y="413"/>
                </a:lnTo>
                <a:lnTo>
                  <a:pt x="504" y="412"/>
                </a:lnTo>
                <a:lnTo>
                  <a:pt x="504" y="413"/>
                </a:lnTo>
                <a:close/>
                <a:moveTo>
                  <a:pt x="515" y="410"/>
                </a:moveTo>
                <a:lnTo>
                  <a:pt x="521" y="410"/>
                </a:lnTo>
                <a:lnTo>
                  <a:pt x="526" y="411"/>
                </a:lnTo>
                <a:lnTo>
                  <a:pt x="523" y="412"/>
                </a:lnTo>
                <a:lnTo>
                  <a:pt x="521" y="412"/>
                </a:lnTo>
                <a:lnTo>
                  <a:pt x="519" y="411"/>
                </a:lnTo>
                <a:lnTo>
                  <a:pt x="515" y="410"/>
                </a:lnTo>
                <a:close/>
                <a:moveTo>
                  <a:pt x="570" y="455"/>
                </a:moveTo>
                <a:lnTo>
                  <a:pt x="569" y="454"/>
                </a:lnTo>
                <a:lnTo>
                  <a:pt x="569" y="453"/>
                </a:lnTo>
                <a:lnTo>
                  <a:pt x="570" y="453"/>
                </a:lnTo>
                <a:lnTo>
                  <a:pt x="572" y="452"/>
                </a:lnTo>
                <a:lnTo>
                  <a:pt x="575" y="451"/>
                </a:lnTo>
                <a:lnTo>
                  <a:pt x="579" y="452"/>
                </a:lnTo>
                <a:lnTo>
                  <a:pt x="578" y="453"/>
                </a:lnTo>
                <a:lnTo>
                  <a:pt x="575" y="455"/>
                </a:lnTo>
                <a:lnTo>
                  <a:pt x="573" y="455"/>
                </a:lnTo>
                <a:lnTo>
                  <a:pt x="570" y="455"/>
                </a:lnTo>
                <a:lnTo>
                  <a:pt x="571" y="455"/>
                </a:lnTo>
                <a:lnTo>
                  <a:pt x="570" y="455"/>
                </a:lnTo>
                <a:close/>
                <a:moveTo>
                  <a:pt x="585" y="428"/>
                </a:moveTo>
                <a:lnTo>
                  <a:pt x="579" y="428"/>
                </a:lnTo>
                <a:lnTo>
                  <a:pt x="573" y="429"/>
                </a:lnTo>
                <a:lnTo>
                  <a:pt x="569" y="428"/>
                </a:lnTo>
                <a:lnTo>
                  <a:pt x="563" y="427"/>
                </a:lnTo>
                <a:lnTo>
                  <a:pt x="559" y="424"/>
                </a:lnTo>
                <a:lnTo>
                  <a:pt x="555" y="422"/>
                </a:lnTo>
                <a:lnTo>
                  <a:pt x="554" y="421"/>
                </a:lnTo>
                <a:lnTo>
                  <a:pt x="554" y="420"/>
                </a:lnTo>
                <a:lnTo>
                  <a:pt x="555" y="419"/>
                </a:lnTo>
                <a:lnTo>
                  <a:pt x="558" y="419"/>
                </a:lnTo>
                <a:lnTo>
                  <a:pt x="569" y="420"/>
                </a:lnTo>
                <a:lnTo>
                  <a:pt x="580" y="422"/>
                </a:lnTo>
                <a:lnTo>
                  <a:pt x="582" y="422"/>
                </a:lnTo>
                <a:lnTo>
                  <a:pt x="585" y="422"/>
                </a:lnTo>
                <a:lnTo>
                  <a:pt x="588" y="423"/>
                </a:lnTo>
                <a:lnTo>
                  <a:pt x="589" y="426"/>
                </a:lnTo>
                <a:lnTo>
                  <a:pt x="589" y="427"/>
                </a:lnTo>
                <a:lnTo>
                  <a:pt x="588" y="428"/>
                </a:lnTo>
                <a:lnTo>
                  <a:pt x="586" y="428"/>
                </a:lnTo>
                <a:lnTo>
                  <a:pt x="585" y="428"/>
                </a:lnTo>
                <a:lnTo>
                  <a:pt x="583" y="428"/>
                </a:lnTo>
                <a:lnTo>
                  <a:pt x="585" y="428"/>
                </a:lnTo>
                <a:close/>
                <a:moveTo>
                  <a:pt x="614" y="435"/>
                </a:moveTo>
                <a:lnTo>
                  <a:pt x="614" y="436"/>
                </a:lnTo>
                <a:lnTo>
                  <a:pt x="613" y="437"/>
                </a:lnTo>
                <a:lnTo>
                  <a:pt x="611" y="437"/>
                </a:lnTo>
                <a:lnTo>
                  <a:pt x="610" y="437"/>
                </a:lnTo>
                <a:lnTo>
                  <a:pt x="606" y="436"/>
                </a:lnTo>
                <a:lnTo>
                  <a:pt x="603" y="435"/>
                </a:lnTo>
                <a:lnTo>
                  <a:pt x="600" y="435"/>
                </a:lnTo>
                <a:lnTo>
                  <a:pt x="598" y="433"/>
                </a:lnTo>
                <a:lnTo>
                  <a:pt x="598" y="432"/>
                </a:lnTo>
                <a:lnTo>
                  <a:pt x="597" y="431"/>
                </a:lnTo>
                <a:lnTo>
                  <a:pt x="598" y="430"/>
                </a:lnTo>
                <a:lnTo>
                  <a:pt x="599" y="429"/>
                </a:lnTo>
                <a:lnTo>
                  <a:pt x="600" y="430"/>
                </a:lnTo>
                <a:lnTo>
                  <a:pt x="600" y="430"/>
                </a:lnTo>
                <a:lnTo>
                  <a:pt x="603" y="430"/>
                </a:lnTo>
                <a:lnTo>
                  <a:pt x="605" y="429"/>
                </a:lnTo>
                <a:lnTo>
                  <a:pt x="607" y="430"/>
                </a:lnTo>
                <a:lnTo>
                  <a:pt x="611" y="430"/>
                </a:lnTo>
                <a:lnTo>
                  <a:pt x="614" y="431"/>
                </a:lnTo>
                <a:lnTo>
                  <a:pt x="614" y="435"/>
                </a:lnTo>
                <a:lnTo>
                  <a:pt x="614" y="435"/>
                </a:lnTo>
                <a:lnTo>
                  <a:pt x="614" y="435"/>
                </a:lnTo>
                <a:close/>
                <a:moveTo>
                  <a:pt x="593" y="369"/>
                </a:moveTo>
                <a:lnTo>
                  <a:pt x="588" y="366"/>
                </a:lnTo>
                <a:lnTo>
                  <a:pt x="585" y="365"/>
                </a:lnTo>
                <a:lnTo>
                  <a:pt x="583" y="368"/>
                </a:lnTo>
                <a:lnTo>
                  <a:pt x="583" y="369"/>
                </a:lnTo>
                <a:lnTo>
                  <a:pt x="581" y="369"/>
                </a:lnTo>
                <a:lnTo>
                  <a:pt x="580" y="368"/>
                </a:lnTo>
                <a:lnTo>
                  <a:pt x="578" y="364"/>
                </a:lnTo>
                <a:lnTo>
                  <a:pt x="577" y="363"/>
                </a:lnTo>
                <a:lnTo>
                  <a:pt x="573" y="361"/>
                </a:lnTo>
                <a:lnTo>
                  <a:pt x="569" y="360"/>
                </a:lnTo>
                <a:lnTo>
                  <a:pt x="563" y="358"/>
                </a:lnTo>
                <a:lnTo>
                  <a:pt x="559" y="358"/>
                </a:lnTo>
                <a:lnTo>
                  <a:pt x="556" y="360"/>
                </a:lnTo>
                <a:lnTo>
                  <a:pt x="554" y="361"/>
                </a:lnTo>
                <a:lnTo>
                  <a:pt x="555" y="364"/>
                </a:lnTo>
                <a:lnTo>
                  <a:pt x="556" y="366"/>
                </a:lnTo>
                <a:lnTo>
                  <a:pt x="556" y="369"/>
                </a:lnTo>
                <a:lnTo>
                  <a:pt x="554" y="370"/>
                </a:lnTo>
                <a:lnTo>
                  <a:pt x="552" y="370"/>
                </a:lnTo>
                <a:lnTo>
                  <a:pt x="549" y="369"/>
                </a:lnTo>
                <a:lnTo>
                  <a:pt x="549" y="366"/>
                </a:lnTo>
                <a:lnTo>
                  <a:pt x="549" y="365"/>
                </a:lnTo>
                <a:lnTo>
                  <a:pt x="545" y="364"/>
                </a:lnTo>
                <a:lnTo>
                  <a:pt x="540" y="365"/>
                </a:lnTo>
                <a:lnTo>
                  <a:pt x="536" y="365"/>
                </a:lnTo>
                <a:lnTo>
                  <a:pt x="531" y="366"/>
                </a:lnTo>
                <a:lnTo>
                  <a:pt x="526" y="366"/>
                </a:lnTo>
                <a:lnTo>
                  <a:pt x="522" y="365"/>
                </a:lnTo>
                <a:lnTo>
                  <a:pt x="517" y="364"/>
                </a:lnTo>
                <a:lnTo>
                  <a:pt x="513" y="364"/>
                </a:lnTo>
                <a:lnTo>
                  <a:pt x="509" y="365"/>
                </a:lnTo>
                <a:lnTo>
                  <a:pt x="506" y="364"/>
                </a:lnTo>
                <a:lnTo>
                  <a:pt x="507" y="362"/>
                </a:lnTo>
                <a:lnTo>
                  <a:pt x="507" y="360"/>
                </a:lnTo>
                <a:lnTo>
                  <a:pt x="505" y="358"/>
                </a:lnTo>
                <a:lnTo>
                  <a:pt x="501" y="358"/>
                </a:lnTo>
                <a:lnTo>
                  <a:pt x="493" y="357"/>
                </a:lnTo>
                <a:lnTo>
                  <a:pt x="488" y="357"/>
                </a:lnTo>
                <a:lnTo>
                  <a:pt x="472" y="358"/>
                </a:lnTo>
                <a:lnTo>
                  <a:pt x="457" y="358"/>
                </a:lnTo>
                <a:lnTo>
                  <a:pt x="441" y="356"/>
                </a:lnTo>
                <a:lnTo>
                  <a:pt x="426" y="354"/>
                </a:lnTo>
                <a:lnTo>
                  <a:pt x="418" y="354"/>
                </a:lnTo>
                <a:lnTo>
                  <a:pt x="412" y="353"/>
                </a:lnTo>
                <a:lnTo>
                  <a:pt x="402" y="353"/>
                </a:lnTo>
                <a:lnTo>
                  <a:pt x="396" y="350"/>
                </a:lnTo>
                <a:lnTo>
                  <a:pt x="399" y="348"/>
                </a:lnTo>
                <a:lnTo>
                  <a:pt x="404" y="345"/>
                </a:lnTo>
                <a:lnTo>
                  <a:pt x="399" y="344"/>
                </a:lnTo>
                <a:lnTo>
                  <a:pt x="394" y="340"/>
                </a:lnTo>
                <a:lnTo>
                  <a:pt x="390" y="338"/>
                </a:lnTo>
                <a:lnTo>
                  <a:pt x="385" y="338"/>
                </a:lnTo>
                <a:lnTo>
                  <a:pt x="381" y="341"/>
                </a:lnTo>
                <a:lnTo>
                  <a:pt x="379" y="345"/>
                </a:lnTo>
                <a:lnTo>
                  <a:pt x="373" y="347"/>
                </a:lnTo>
                <a:lnTo>
                  <a:pt x="366" y="349"/>
                </a:lnTo>
                <a:lnTo>
                  <a:pt x="363" y="349"/>
                </a:lnTo>
                <a:lnTo>
                  <a:pt x="360" y="349"/>
                </a:lnTo>
                <a:lnTo>
                  <a:pt x="359" y="348"/>
                </a:lnTo>
                <a:lnTo>
                  <a:pt x="357" y="346"/>
                </a:lnTo>
                <a:lnTo>
                  <a:pt x="355" y="347"/>
                </a:lnTo>
                <a:lnTo>
                  <a:pt x="353" y="349"/>
                </a:lnTo>
                <a:lnTo>
                  <a:pt x="352" y="349"/>
                </a:lnTo>
                <a:lnTo>
                  <a:pt x="352" y="349"/>
                </a:lnTo>
                <a:lnTo>
                  <a:pt x="351" y="349"/>
                </a:lnTo>
                <a:lnTo>
                  <a:pt x="350" y="347"/>
                </a:lnTo>
                <a:lnTo>
                  <a:pt x="349" y="344"/>
                </a:lnTo>
                <a:lnTo>
                  <a:pt x="348" y="340"/>
                </a:lnTo>
                <a:lnTo>
                  <a:pt x="344" y="339"/>
                </a:lnTo>
                <a:lnTo>
                  <a:pt x="342" y="337"/>
                </a:lnTo>
                <a:lnTo>
                  <a:pt x="343" y="335"/>
                </a:lnTo>
                <a:lnTo>
                  <a:pt x="344" y="333"/>
                </a:lnTo>
                <a:lnTo>
                  <a:pt x="346" y="331"/>
                </a:lnTo>
                <a:lnTo>
                  <a:pt x="344" y="328"/>
                </a:lnTo>
                <a:lnTo>
                  <a:pt x="342" y="327"/>
                </a:lnTo>
                <a:lnTo>
                  <a:pt x="340" y="327"/>
                </a:lnTo>
                <a:lnTo>
                  <a:pt x="338" y="328"/>
                </a:lnTo>
                <a:lnTo>
                  <a:pt x="335" y="329"/>
                </a:lnTo>
                <a:lnTo>
                  <a:pt x="333" y="330"/>
                </a:lnTo>
                <a:lnTo>
                  <a:pt x="330" y="331"/>
                </a:lnTo>
                <a:lnTo>
                  <a:pt x="326" y="331"/>
                </a:lnTo>
                <a:lnTo>
                  <a:pt x="323" y="330"/>
                </a:lnTo>
                <a:lnTo>
                  <a:pt x="320" y="329"/>
                </a:lnTo>
                <a:lnTo>
                  <a:pt x="318" y="328"/>
                </a:lnTo>
                <a:lnTo>
                  <a:pt x="316" y="329"/>
                </a:lnTo>
                <a:lnTo>
                  <a:pt x="314" y="330"/>
                </a:lnTo>
                <a:lnTo>
                  <a:pt x="313" y="331"/>
                </a:lnTo>
                <a:lnTo>
                  <a:pt x="310" y="330"/>
                </a:lnTo>
                <a:lnTo>
                  <a:pt x="309" y="328"/>
                </a:lnTo>
                <a:lnTo>
                  <a:pt x="308" y="327"/>
                </a:lnTo>
                <a:lnTo>
                  <a:pt x="305" y="328"/>
                </a:lnTo>
                <a:lnTo>
                  <a:pt x="300" y="330"/>
                </a:lnTo>
                <a:lnTo>
                  <a:pt x="293" y="332"/>
                </a:lnTo>
                <a:lnTo>
                  <a:pt x="285" y="335"/>
                </a:lnTo>
                <a:lnTo>
                  <a:pt x="276" y="336"/>
                </a:lnTo>
                <a:lnTo>
                  <a:pt x="268" y="335"/>
                </a:lnTo>
                <a:lnTo>
                  <a:pt x="272" y="332"/>
                </a:lnTo>
                <a:lnTo>
                  <a:pt x="276" y="331"/>
                </a:lnTo>
                <a:lnTo>
                  <a:pt x="260" y="331"/>
                </a:lnTo>
                <a:lnTo>
                  <a:pt x="243" y="335"/>
                </a:lnTo>
                <a:lnTo>
                  <a:pt x="248" y="331"/>
                </a:lnTo>
                <a:lnTo>
                  <a:pt x="253" y="329"/>
                </a:lnTo>
                <a:lnTo>
                  <a:pt x="259" y="327"/>
                </a:lnTo>
                <a:lnTo>
                  <a:pt x="265" y="325"/>
                </a:lnTo>
                <a:lnTo>
                  <a:pt x="277" y="323"/>
                </a:lnTo>
                <a:lnTo>
                  <a:pt x="290" y="322"/>
                </a:lnTo>
                <a:lnTo>
                  <a:pt x="302" y="319"/>
                </a:lnTo>
                <a:lnTo>
                  <a:pt x="314" y="316"/>
                </a:lnTo>
                <a:lnTo>
                  <a:pt x="320" y="315"/>
                </a:lnTo>
                <a:lnTo>
                  <a:pt x="327" y="314"/>
                </a:lnTo>
                <a:lnTo>
                  <a:pt x="334" y="314"/>
                </a:lnTo>
                <a:lnTo>
                  <a:pt x="340" y="314"/>
                </a:lnTo>
                <a:lnTo>
                  <a:pt x="341" y="311"/>
                </a:lnTo>
                <a:lnTo>
                  <a:pt x="340" y="308"/>
                </a:lnTo>
                <a:lnTo>
                  <a:pt x="338" y="306"/>
                </a:lnTo>
                <a:lnTo>
                  <a:pt x="334" y="305"/>
                </a:lnTo>
                <a:lnTo>
                  <a:pt x="328" y="305"/>
                </a:lnTo>
                <a:lnTo>
                  <a:pt x="323" y="306"/>
                </a:lnTo>
                <a:lnTo>
                  <a:pt x="316" y="307"/>
                </a:lnTo>
                <a:lnTo>
                  <a:pt x="310" y="307"/>
                </a:lnTo>
                <a:lnTo>
                  <a:pt x="303" y="308"/>
                </a:lnTo>
                <a:lnTo>
                  <a:pt x="298" y="308"/>
                </a:lnTo>
                <a:lnTo>
                  <a:pt x="295" y="307"/>
                </a:lnTo>
                <a:lnTo>
                  <a:pt x="295" y="306"/>
                </a:lnTo>
                <a:lnTo>
                  <a:pt x="297" y="305"/>
                </a:lnTo>
                <a:lnTo>
                  <a:pt x="297" y="303"/>
                </a:lnTo>
                <a:lnTo>
                  <a:pt x="292" y="302"/>
                </a:lnTo>
                <a:lnTo>
                  <a:pt x="285" y="299"/>
                </a:lnTo>
                <a:lnTo>
                  <a:pt x="299" y="296"/>
                </a:lnTo>
                <a:lnTo>
                  <a:pt x="311" y="294"/>
                </a:lnTo>
                <a:lnTo>
                  <a:pt x="324" y="292"/>
                </a:lnTo>
                <a:lnTo>
                  <a:pt x="338" y="291"/>
                </a:lnTo>
                <a:lnTo>
                  <a:pt x="334" y="289"/>
                </a:lnTo>
                <a:lnTo>
                  <a:pt x="327" y="289"/>
                </a:lnTo>
                <a:lnTo>
                  <a:pt x="319" y="289"/>
                </a:lnTo>
                <a:lnTo>
                  <a:pt x="315" y="289"/>
                </a:lnTo>
                <a:lnTo>
                  <a:pt x="315" y="287"/>
                </a:lnTo>
                <a:lnTo>
                  <a:pt x="316" y="285"/>
                </a:lnTo>
                <a:lnTo>
                  <a:pt x="315" y="283"/>
                </a:lnTo>
                <a:lnTo>
                  <a:pt x="311" y="282"/>
                </a:lnTo>
                <a:lnTo>
                  <a:pt x="319" y="281"/>
                </a:lnTo>
                <a:lnTo>
                  <a:pt x="326" y="279"/>
                </a:lnTo>
                <a:lnTo>
                  <a:pt x="333" y="278"/>
                </a:lnTo>
                <a:lnTo>
                  <a:pt x="339" y="278"/>
                </a:lnTo>
                <a:lnTo>
                  <a:pt x="340" y="279"/>
                </a:lnTo>
                <a:lnTo>
                  <a:pt x="341" y="279"/>
                </a:lnTo>
                <a:lnTo>
                  <a:pt x="341" y="280"/>
                </a:lnTo>
                <a:lnTo>
                  <a:pt x="340" y="281"/>
                </a:lnTo>
                <a:lnTo>
                  <a:pt x="333" y="282"/>
                </a:lnTo>
                <a:lnTo>
                  <a:pt x="326" y="283"/>
                </a:lnTo>
                <a:lnTo>
                  <a:pt x="332" y="285"/>
                </a:lnTo>
                <a:lnTo>
                  <a:pt x="338" y="283"/>
                </a:lnTo>
                <a:lnTo>
                  <a:pt x="340" y="283"/>
                </a:lnTo>
                <a:lnTo>
                  <a:pt x="343" y="283"/>
                </a:lnTo>
                <a:lnTo>
                  <a:pt x="344" y="285"/>
                </a:lnTo>
                <a:lnTo>
                  <a:pt x="344" y="285"/>
                </a:lnTo>
                <a:lnTo>
                  <a:pt x="344" y="286"/>
                </a:lnTo>
                <a:lnTo>
                  <a:pt x="343" y="287"/>
                </a:lnTo>
                <a:lnTo>
                  <a:pt x="341" y="288"/>
                </a:lnTo>
                <a:lnTo>
                  <a:pt x="339" y="289"/>
                </a:lnTo>
                <a:lnTo>
                  <a:pt x="348" y="290"/>
                </a:lnTo>
                <a:lnTo>
                  <a:pt x="356" y="289"/>
                </a:lnTo>
                <a:lnTo>
                  <a:pt x="343" y="292"/>
                </a:lnTo>
                <a:lnTo>
                  <a:pt x="331" y="295"/>
                </a:lnTo>
                <a:lnTo>
                  <a:pt x="318" y="297"/>
                </a:lnTo>
                <a:lnTo>
                  <a:pt x="307" y="299"/>
                </a:lnTo>
                <a:lnTo>
                  <a:pt x="315" y="300"/>
                </a:lnTo>
                <a:lnTo>
                  <a:pt x="323" y="299"/>
                </a:lnTo>
                <a:lnTo>
                  <a:pt x="331" y="298"/>
                </a:lnTo>
                <a:lnTo>
                  <a:pt x="340" y="297"/>
                </a:lnTo>
                <a:lnTo>
                  <a:pt x="347" y="296"/>
                </a:lnTo>
                <a:lnTo>
                  <a:pt x="352" y="296"/>
                </a:lnTo>
                <a:lnTo>
                  <a:pt x="356" y="297"/>
                </a:lnTo>
                <a:lnTo>
                  <a:pt x="357" y="298"/>
                </a:lnTo>
                <a:lnTo>
                  <a:pt x="359" y="298"/>
                </a:lnTo>
                <a:lnTo>
                  <a:pt x="363" y="298"/>
                </a:lnTo>
                <a:lnTo>
                  <a:pt x="364" y="296"/>
                </a:lnTo>
                <a:lnTo>
                  <a:pt x="366" y="295"/>
                </a:lnTo>
                <a:lnTo>
                  <a:pt x="369" y="296"/>
                </a:lnTo>
                <a:lnTo>
                  <a:pt x="372" y="296"/>
                </a:lnTo>
                <a:lnTo>
                  <a:pt x="381" y="297"/>
                </a:lnTo>
                <a:lnTo>
                  <a:pt x="389" y="296"/>
                </a:lnTo>
                <a:lnTo>
                  <a:pt x="394" y="297"/>
                </a:lnTo>
                <a:lnTo>
                  <a:pt x="400" y="297"/>
                </a:lnTo>
                <a:lnTo>
                  <a:pt x="406" y="295"/>
                </a:lnTo>
                <a:lnTo>
                  <a:pt x="412" y="294"/>
                </a:lnTo>
                <a:lnTo>
                  <a:pt x="410" y="296"/>
                </a:lnTo>
                <a:lnTo>
                  <a:pt x="407" y="298"/>
                </a:lnTo>
                <a:lnTo>
                  <a:pt x="417" y="298"/>
                </a:lnTo>
                <a:lnTo>
                  <a:pt x="427" y="298"/>
                </a:lnTo>
                <a:lnTo>
                  <a:pt x="430" y="298"/>
                </a:lnTo>
                <a:lnTo>
                  <a:pt x="433" y="298"/>
                </a:lnTo>
                <a:lnTo>
                  <a:pt x="434" y="298"/>
                </a:lnTo>
                <a:lnTo>
                  <a:pt x="435" y="297"/>
                </a:lnTo>
                <a:lnTo>
                  <a:pt x="437" y="296"/>
                </a:lnTo>
                <a:lnTo>
                  <a:pt x="435" y="294"/>
                </a:lnTo>
                <a:lnTo>
                  <a:pt x="432" y="294"/>
                </a:lnTo>
                <a:lnTo>
                  <a:pt x="427" y="295"/>
                </a:lnTo>
                <a:lnTo>
                  <a:pt x="425" y="291"/>
                </a:lnTo>
                <a:lnTo>
                  <a:pt x="423" y="290"/>
                </a:lnTo>
                <a:lnTo>
                  <a:pt x="417" y="290"/>
                </a:lnTo>
                <a:lnTo>
                  <a:pt x="412" y="290"/>
                </a:lnTo>
                <a:lnTo>
                  <a:pt x="416" y="288"/>
                </a:lnTo>
                <a:lnTo>
                  <a:pt x="421" y="287"/>
                </a:lnTo>
                <a:lnTo>
                  <a:pt x="426" y="287"/>
                </a:lnTo>
                <a:lnTo>
                  <a:pt x="432" y="287"/>
                </a:lnTo>
                <a:lnTo>
                  <a:pt x="438" y="288"/>
                </a:lnTo>
                <a:lnTo>
                  <a:pt x="442" y="290"/>
                </a:lnTo>
                <a:lnTo>
                  <a:pt x="446" y="294"/>
                </a:lnTo>
                <a:lnTo>
                  <a:pt x="448" y="297"/>
                </a:lnTo>
                <a:lnTo>
                  <a:pt x="446" y="297"/>
                </a:lnTo>
                <a:lnTo>
                  <a:pt x="442" y="296"/>
                </a:lnTo>
                <a:lnTo>
                  <a:pt x="440" y="296"/>
                </a:lnTo>
                <a:lnTo>
                  <a:pt x="439" y="296"/>
                </a:lnTo>
                <a:lnTo>
                  <a:pt x="439" y="297"/>
                </a:lnTo>
                <a:lnTo>
                  <a:pt x="439" y="299"/>
                </a:lnTo>
                <a:lnTo>
                  <a:pt x="441" y="300"/>
                </a:lnTo>
                <a:lnTo>
                  <a:pt x="443" y="299"/>
                </a:lnTo>
                <a:lnTo>
                  <a:pt x="446" y="300"/>
                </a:lnTo>
                <a:lnTo>
                  <a:pt x="448" y="300"/>
                </a:lnTo>
                <a:lnTo>
                  <a:pt x="450" y="300"/>
                </a:lnTo>
                <a:lnTo>
                  <a:pt x="454" y="302"/>
                </a:lnTo>
                <a:lnTo>
                  <a:pt x="455" y="302"/>
                </a:lnTo>
                <a:lnTo>
                  <a:pt x="456" y="302"/>
                </a:lnTo>
                <a:lnTo>
                  <a:pt x="456" y="303"/>
                </a:lnTo>
                <a:lnTo>
                  <a:pt x="455" y="304"/>
                </a:lnTo>
                <a:lnTo>
                  <a:pt x="450" y="304"/>
                </a:lnTo>
                <a:lnTo>
                  <a:pt x="445" y="304"/>
                </a:lnTo>
                <a:lnTo>
                  <a:pt x="438" y="304"/>
                </a:lnTo>
                <a:lnTo>
                  <a:pt x="432" y="303"/>
                </a:lnTo>
                <a:lnTo>
                  <a:pt x="427" y="302"/>
                </a:lnTo>
                <a:lnTo>
                  <a:pt x="423" y="303"/>
                </a:lnTo>
                <a:lnTo>
                  <a:pt x="418" y="304"/>
                </a:lnTo>
                <a:lnTo>
                  <a:pt x="415" y="304"/>
                </a:lnTo>
                <a:lnTo>
                  <a:pt x="402" y="303"/>
                </a:lnTo>
                <a:lnTo>
                  <a:pt x="391" y="303"/>
                </a:lnTo>
                <a:lnTo>
                  <a:pt x="379" y="304"/>
                </a:lnTo>
                <a:lnTo>
                  <a:pt x="367" y="305"/>
                </a:lnTo>
                <a:lnTo>
                  <a:pt x="356" y="308"/>
                </a:lnTo>
                <a:lnTo>
                  <a:pt x="343" y="311"/>
                </a:lnTo>
                <a:lnTo>
                  <a:pt x="346" y="313"/>
                </a:lnTo>
                <a:lnTo>
                  <a:pt x="349" y="314"/>
                </a:lnTo>
                <a:lnTo>
                  <a:pt x="351" y="314"/>
                </a:lnTo>
                <a:lnTo>
                  <a:pt x="353" y="313"/>
                </a:lnTo>
                <a:lnTo>
                  <a:pt x="359" y="312"/>
                </a:lnTo>
                <a:lnTo>
                  <a:pt x="365" y="311"/>
                </a:lnTo>
                <a:lnTo>
                  <a:pt x="380" y="308"/>
                </a:lnTo>
                <a:lnTo>
                  <a:pt x="394" y="308"/>
                </a:lnTo>
                <a:lnTo>
                  <a:pt x="408" y="308"/>
                </a:lnTo>
                <a:lnTo>
                  <a:pt x="423" y="310"/>
                </a:lnTo>
                <a:lnTo>
                  <a:pt x="438" y="311"/>
                </a:lnTo>
                <a:lnTo>
                  <a:pt x="451" y="313"/>
                </a:lnTo>
                <a:lnTo>
                  <a:pt x="465" y="314"/>
                </a:lnTo>
                <a:lnTo>
                  <a:pt x="479" y="315"/>
                </a:lnTo>
                <a:lnTo>
                  <a:pt x="493" y="317"/>
                </a:lnTo>
                <a:lnTo>
                  <a:pt x="508" y="321"/>
                </a:lnTo>
                <a:lnTo>
                  <a:pt x="523" y="323"/>
                </a:lnTo>
                <a:lnTo>
                  <a:pt x="538" y="325"/>
                </a:lnTo>
                <a:lnTo>
                  <a:pt x="552" y="328"/>
                </a:lnTo>
                <a:lnTo>
                  <a:pt x="566" y="331"/>
                </a:lnTo>
                <a:lnTo>
                  <a:pt x="581" y="335"/>
                </a:lnTo>
                <a:lnTo>
                  <a:pt x="595" y="338"/>
                </a:lnTo>
                <a:lnTo>
                  <a:pt x="610" y="341"/>
                </a:lnTo>
                <a:lnTo>
                  <a:pt x="624" y="345"/>
                </a:lnTo>
                <a:lnTo>
                  <a:pt x="635" y="348"/>
                </a:lnTo>
                <a:lnTo>
                  <a:pt x="646" y="350"/>
                </a:lnTo>
                <a:lnTo>
                  <a:pt x="652" y="353"/>
                </a:lnTo>
                <a:lnTo>
                  <a:pt x="656" y="354"/>
                </a:lnTo>
                <a:lnTo>
                  <a:pt x="657" y="354"/>
                </a:lnTo>
                <a:lnTo>
                  <a:pt x="660" y="355"/>
                </a:lnTo>
                <a:lnTo>
                  <a:pt x="661" y="357"/>
                </a:lnTo>
                <a:lnTo>
                  <a:pt x="661" y="358"/>
                </a:lnTo>
                <a:lnTo>
                  <a:pt x="669" y="361"/>
                </a:lnTo>
                <a:lnTo>
                  <a:pt x="679" y="362"/>
                </a:lnTo>
                <a:lnTo>
                  <a:pt x="692" y="365"/>
                </a:lnTo>
                <a:lnTo>
                  <a:pt x="704" y="370"/>
                </a:lnTo>
                <a:lnTo>
                  <a:pt x="707" y="372"/>
                </a:lnTo>
                <a:lnTo>
                  <a:pt x="710" y="373"/>
                </a:lnTo>
                <a:lnTo>
                  <a:pt x="714" y="374"/>
                </a:lnTo>
                <a:lnTo>
                  <a:pt x="718" y="377"/>
                </a:lnTo>
                <a:lnTo>
                  <a:pt x="720" y="378"/>
                </a:lnTo>
                <a:lnTo>
                  <a:pt x="722" y="380"/>
                </a:lnTo>
                <a:lnTo>
                  <a:pt x="725" y="379"/>
                </a:lnTo>
                <a:lnTo>
                  <a:pt x="727" y="379"/>
                </a:lnTo>
                <a:lnTo>
                  <a:pt x="729" y="380"/>
                </a:lnTo>
                <a:lnTo>
                  <a:pt x="732" y="382"/>
                </a:lnTo>
                <a:lnTo>
                  <a:pt x="738" y="383"/>
                </a:lnTo>
                <a:lnTo>
                  <a:pt x="745" y="385"/>
                </a:lnTo>
                <a:lnTo>
                  <a:pt x="751" y="387"/>
                </a:lnTo>
                <a:lnTo>
                  <a:pt x="756" y="389"/>
                </a:lnTo>
                <a:lnTo>
                  <a:pt x="770" y="395"/>
                </a:lnTo>
                <a:lnTo>
                  <a:pt x="784" y="399"/>
                </a:lnTo>
                <a:lnTo>
                  <a:pt x="799" y="405"/>
                </a:lnTo>
                <a:lnTo>
                  <a:pt x="811" y="411"/>
                </a:lnTo>
                <a:lnTo>
                  <a:pt x="818" y="413"/>
                </a:lnTo>
                <a:lnTo>
                  <a:pt x="825" y="415"/>
                </a:lnTo>
                <a:lnTo>
                  <a:pt x="830" y="419"/>
                </a:lnTo>
                <a:lnTo>
                  <a:pt x="836" y="423"/>
                </a:lnTo>
                <a:lnTo>
                  <a:pt x="821" y="422"/>
                </a:lnTo>
                <a:lnTo>
                  <a:pt x="806" y="419"/>
                </a:lnTo>
                <a:lnTo>
                  <a:pt x="802" y="416"/>
                </a:lnTo>
                <a:lnTo>
                  <a:pt x="797" y="414"/>
                </a:lnTo>
                <a:lnTo>
                  <a:pt x="796" y="412"/>
                </a:lnTo>
                <a:lnTo>
                  <a:pt x="797" y="412"/>
                </a:lnTo>
                <a:lnTo>
                  <a:pt x="799" y="411"/>
                </a:lnTo>
                <a:lnTo>
                  <a:pt x="801" y="410"/>
                </a:lnTo>
                <a:lnTo>
                  <a:pt x="794" y="406"/>
                </a:lnTo>
                <a:lnTo>
                  <a:pt x="787" y="405"/>
                </a:lnTo>
                <a:lnTo>
                  <a:pt x="781" y="402"/>
                </a:lnTo>
                <a:lnTo>
                  <a:pt x="775" y="398"/>
                </a:lnTo>
                <a:lnTo>
                  <a:pt x="767" y="396"/>
                </a:lnTo>
                <a:lnTo>
                  <a:pt x="759" y="394"/>
                </a:lnTo>
                <a:lnTo>
                  <a:pt x="751" y="393"/>
                </a:lnTo>
                <a:lnTo>
                  <a:pt x="743" y="391"/>
                </a:lnTo>
                <a:lnTo>
                  <a:pt x="740" y="391"/>
                </a:lnTo>
                <a:lnTo>
                  <a:pt x="738" y="390"/>
                </a:lnTo>
                <a:lnTo>
                  <a:pt x="737" y="389"/>
                </a:lnTo>
                <a:lnTo>
                  <a:pt x="735" y="387"/>
                </a:lnTo>
                <a:lnTo>
                  <a:pt x="728" y="388"/>
                </a:lnTo>
                <a:lnTo>
                  <a:pt x="722" y="390"/>
                </a:lnTo>
                <a:lnTo>
                  <a:pt x="719" y="388"/>
                </a:lnTo>
                <a:lnTo>
                  <a:pt x="715" y="387"/>
                </a:lnTo>
                <a:lnTo>
                  <a:pt x="712" y="388"/>
                </a:lnTo>
                <a:lnTo>
                  <a:pt x="709" y="389"/>
                </a:lnTo>
                <a:lnTo>
                  <a:pt x="707" y="389"/>
                </a:lnTo>
                <a:lnTo>
                  <a:pt x="706" y="388"/>
                </a:lnTo>
                <a:lnTo>
                  <a:pt x="705" y="387"/>
                </a:lnTo>
                <a:lnTo>
                  <a:pt x="706" y="386"/>
                </a:lnTo>
                <a:lnTo>
                  <a:pt x="707" y="383"/>
                </a:lnTo>
                <a:lnTo>
                  <a:pt x="709" y="380"/>
                </a:lnTo>
                <a:lnTo>
                  <a:pt x="705" y="380"/>
                </a:lnTo>
                <a:lnTo>
                  <a:pt x="702" y="382"/>
                </a:lnTo>
                <a:lnTo>
                  <a:pt x="701" y="385"/>
                </a:lnTo>
                <a:lnTo>
                  <a:pt x="701" y="389"/>
                </a:lnTo>
                <a:lnTo>
                  <a:pt x="702" y="390"/>
                </a:lnTo>
                <a:lnTo>
                  <a:pt x="703" y="391"/>
                </a:lnTo>
                <a:lnTo>
                  <a:pt x="706" y="393"/>
                </a:lnTo>
                <a:lnTo>
                  <a:pt x="709" y="394"/>
                </a:lnTo>
                <a:lnTo>
                  <a:pt x="714" y="394"/>
                </a:lnTo>
                <a:lnTo>
                  <a:pt x="719" y="395"/>
                </a:lnTo>
                <a:lnTo>
                  <a:pt x="723" y="397"/>
                </a:lnTo>
                <a:lnTo>
                  <a:pt x="728" y="399"/>
                </a:lnTo>
                <a:lnTo>
                  <a:pt x="727" y="402"/>
                </a:lnTo>
                <a:lnTo>
                  <a:pt x="728" y="403"/>
                </a:lnTo>
                <a:lnTo>
                  <a:pt x="731" y="404"/>
                </a:lnTo>
                <a:lnTo>
                  <a:pt x="735" y="403"/>
                </a:lnTo>
                <a:lnTo>
                  <a:pt x="740" y="405"/>
                </a:lnTo>
                <a:lnTo>
                  <a:pt x="746" y="408"/>
                </a:lnTo>
                <a:lnTo>
                  <a:pt x="740" y="408"/>
                </a:lnTo>
                <a:lnTo>
                  <a:pt x="735" y="410"/>
                </a:lnTo>
                <a:lnTo>
                  <a:pt x="729" y="410"/>
                </a:lnTo>
                <a:lnTo>
                  <a:pt x="723" y="408"/>
                </a:lnTo>
                <a:lnTo>
                  <a:pt x="714" y="405"/>
                </a:lnTo>
                <a:lnTo>
                  <a:pt x="704" y="403"/>
                </a:lnTo>
                <a:lnTo>
                  <a:pt x="694" y="399"/>
                </a:lnTo>
                <a:lnTo>
                  <a:pt x="685" y="396"/>
                </a:lnTo>
                <a:lnTo>
                  <a:pt x="674" y="393"/>
                </a:lnTo>
                <a:lnTo>
                  <a:pt x="664" y="391"/>
                </a:lnTo>
                <a:lnTo>
                  <a:pt x="661" y="390"/>
                </a:lnTo>
                <a:lnTo>
                  <a:pt x="659" y="389"/>
                </a:lnTo>
                <a:lnTo>
                  <a:pt x="656" y="387"/>
                </a:lnTo>
                <a:lnTo>
                  <a:pt x="654" y="385"/>
                </a:lnTo>
                <a:lnTo>
                  <a:pt x="645" y="381"/>
                </a:lnTo>
                <a:lnTo>
                  <a:pt x="637" y="380"/>
                </a:lnTo>
                <a:lnTo>
                  <a:pt x="626" y="378"/>
                </a:lnTo>
                <a:lnTo>
                  <a:pt x="614" y="375"/>
                </a:lnTo>
                <a:lnTo>
                  <a:pt x="603" y="372"/>
                </a:lnTo>
                <a:lnTo>
                  <a:pt x="593" y="369"/>
                </a:lnTo>
                <a:lnTo>
                  <a:pt x="594" y="370"/>
                </a:lnTo>
                <a:lnTo>
                  <a:pt x="597" y="371"/>
                </a:lnTo>
                <a:lnTo>
                  <a:pt x="598" y="371"/>
                </a:lnTo>
                <a:lnTo>
                  <a:pt x="593" y="369"/>
                </a:lnTo>
                <a:close/>
                <a:moveTo>
                  <a:pt x="771" y="423"/>
                </a:moveTo>
                <a:lnTo>
                  <a:pt x="764" y="421"/>
                </a:lnTo>
                <a:lnTo>
                  <a:pt x="759" y="419"/>
                </a:lnTo>
                <a:lnTo>
                  <a:pt x="752" y="419"/>
                </a:lnTo>
                <a:lnTo>
                  <a:pt x="745" y="419"/>
                </a:lnTo>
                <a:lnTo>
                  <a:pt x="744" y="419"/>
                </a:lnTo>
                <a:lnTo>
                  <a:pt x="742" y="418"/>
                </a:lnTo>
                <a:lnTo>
                  <a:pt x="740" y="416"/>
                </a:lnTo>
                <a:lnTo>
                  <a:pt x="740" y="415"/>
                </a:lnTo>
                <a:lnTo>
                  <a:pt x="740" y="413"/>
                </a:lnTo>
                <a:lnTo>
                  <a:pt x="742" y="413"/>
                </a:lnTo>
                <a:lnTo>
                  <a:pt x="742" y="413"/>
                </a:lnTo>
                <a:lnTo>
                  <a:pt x="744" y="413"/>
                </a:lnTo>
                <a:lnTo>
                  <a:pt x="753" y="413"/>
                </a:lnTo>
                <a:lnTo>
                  <a:pt x="763" y="414"/>
                </a:lnTo>
                <a:lnTo>
                  <a:pt x="767" y="416"/>
                </a:lnTo>
                <a:lnTo>
                  <a:pt x="770" y="419"/>
                </a:lnTo>
                <a:lnTo>
                  <a:pt x="775" y="421"/>
                </a:lnTo>
                <a:lnTo>
                  <a:pt x="780" y="423"/>
                </a:lnTo>
                <a:lnTo>
                  <a:pt x="776" y="424"/>
                </a:lnTo>
                <a:lnTo>
                  <a:pt x="771" y="423"/>
                </a:lnTo>
                <a:lnTo>
                  <a:pt x="769" y="423"/>
                </a:lnTo>
                <a:lnTo>
                  <a:pt x="771" y="423"/>
                </a:lnTo>
                <a:close/>
                <a:moveTo>
                  <a:pt x="776" y="523"/>
                </a:moveTo>
                <a:lnTo>
                  <a:pt x="772" y="526"/>
                </a:lnTo>
                <a:lnTo>
                  <a:pt x="768" y="527"/>
                </a:lnTo>
                <a:lnTo>
                  <a:pt x="764" y="527"/>
                </a:lnTo>
                <a:lnTo>
                  <a:pt x="761" y="524"/>
                </a:lnTo>
                <a:lnTo>
                  <a:pt x="754" y="526"/>
                </a:lnTo>
                <a:lnTo>
                  <a:pt x="748" y="528"/>
                </a:lnTo>
                <a:lnTo>
                  <a:pt x="746" y="528"/>
                </a:lnTo>
                <a:lnTo>
                  <a:pt x="745" y="527"/>
                </a:lnTo>
                <a:lnTo>
                  <a:pt x="744" y="526"/>
                </a:lnTo>
                <a:lnTo>
                  <a:pt x="745" y="524"/>
                </a:lnTo>
                <a:lnTo>
                  <a:pt x="747" y="523"/>
                </a:lnTo>
                <a:lnTo>
                  <a:pt x="751" y="522"/>
                </a:lnTo>
                <a:lnTo>
                  <a:pt x="756" y="521"/>
                </a:lnTo>
                <a:lnTo>
                  <a:pt x="763" y="520"/>
                </a:lnTo>
                <a:lnTo>
                  <a:pt x="769" y="521"/>
                </a:lnTo>
                <a:lnTo>
                  <a:pt x="776" y="523"/>
                </a:lnTo>
                <a:lnTo>
                  <a:pt x="771" y="523"/>
                </a:lnTo>
                <a:lnTo>
                  <a:pt x="776" y="523"/>
                </a:lnTo>
                <a:close/>
                <a:moveTo>
                  <a:pt x="709" y="501"/>
                </a:moveTo>
                <a:lnTo>
                  <a:pt x="705" y="502"/>
                </a:lnTo>
                <a:lnTo>
                  <a:pt x="702" y="503"/>
                </a:lnTo>
                <a:lnTo>
                  <a:pt x="699" y="503"/>
                </a:lnTo>
                <a:lnTo>
                  <a:pt x="698" y="503"/>
                </a:lnTo>
                <a:lnTo>
                  <a:pt x="697" y="502"/>
                </a:lnTo>
                <a:lnTo>
                  <a:pt x="697" y="501"/>
                </a:lnTo>
                <a:lnTo>
                  <a:pt x="699" y="499"/>
                </a:lnTo>
                <a:lnTo>
                  <a:pt x="703" y="499"/>
                </a:lnTo>
                <a:lnTo>
                  <a:pt x="706" y="499"/>
                </a:lnTo>
                <a:lnTo>
                  <a:pt x="709" y="501"/>
                </a:lnTo>
                <a:lnTo>
                  <a:pt x="705" y="501"/>
                </a:lnTo>
                <a:lnTo>
                  <a:pt x="709" y="501"/>
                </a:lnTo>
                <a:close/>
                <a:moveTo>
                  <a:pt x="693" y="410"/>
                </a:moveTo>
                <a:lnTo>
                  <a:pt x="689" y="412"/>
                </a:lnTo>
                <a:lnTo>
                  <a:pt x="684" y="412"/>
                </a:lnTo>
                <a:lnTo>
                  <a:pt x="681" y="412"/>
                </a:lnTo>
                <a:lnTo>
                  <a:pt x="679" y="411"/>
                </a:lnTo>
                <a:lnTo>
                  <a:pt x="677" y="410"/>
                </a:lnTo>
                <a:lnTo>
                  <a:pt x="677" y="406"/>
                </a:lnTo>
                <a:lnTo>
                  <a:pt x="677" y="405"/>
                </a:lnTo>
                <a:lnTo>
                  <a:pt x="678" y="404"/>
                </a:lnTo>
                <a:lnTo>
                  <a:pt x="679" y="405"/>
                </a:lnTo>
                <a:lnTo>
                  <a:pt x="681" y="405"/>
                </a:lnTo>
                <a:lnTo>
                  <a:pt x="687" y="407"/>
                </a:lnTo>
                <a:lnTo>
                  <a:pt x="693" y="410"/>
                </a:lnTo>
                <a:lnTo>
                  <a:pt x="690" y="411"/>
                </a:lnTo>
                <a:lnTo>
                  <a:pt x="693" y="410"/>
                </a:lnTo>
                <a:close/>
                <a:moveTo>
                  <a:pt x="679" y="520"/>
                </a:moveTo>
                <a:lnTo>
                  <a:pt x="673" y="520"/>
                </a:lnTo>
                <a:lnTo>
                  <a:pt x="666" y="520"/>
                </a:lnTo>
                <a:lnTo>
                  <a:pt x="666" y="518"/>
                </a:lnTo>
                <a:lnTo>
                  <a:pt x="666" y="515"/>
                </a:lnTo>
                <a:lnTo>
                  <a:pt x="663" y="514"/>
                </a:lnTo>
                <a:lnTo>
                  <a:pt x="659" y="512"/>
                </a:lnTo>
                <a:lnTo>
                  <a:pt x="665" y="512"/>
                </a:lnTo>
                <a:lnTo>
                  <a:pt x="674" y="512"/>
                </a:lnTo>
                <a:lnTo>
                  <a:pt x="684" y="513"/>
                </a:lnTo>
                <a:lnTo>
                  <a:pt x="690" y="516"/>
                </a:lnTo>
                <a:lnTo>
                  <a:pt x="688" y="516"/>
                </a:lnTo>
                <a:lnTo>
                  <a:pt x="687" y="518"/>
                </a:lnTo>
                <a:lnTo>
                  <a:pt x="692" y="520"/>
                </a:lnTo>
                <a:lnTo>
                  <a:pt x="697" y="521"/>
                </a:lnTo>
                <a:lnTo>
                  <a:pt x="693" y="522"/>
                </a:lnTo>
                <a:lnTo>
                  <a:pt x="688" y="523"/>
                </a:lnTo>
                <a:lnTo>
                  <a:pt x="686" y="524"/>
                </a:lnTo>
                <a:lnTo>
                  <a:pt x="684" y="523"/>
                </a:lnTo>
                <a:lnTo>
                  <a:pt x="681" y="522"/>
                </a:lnTo>
                <a:lnTo>
                  <a:pt x="679" y="520"/>
                </a:lnTo>
                <a:close/>
                <a:moveTo>
                  <a:pt x="682" y="506"/>
                </a:moveTo>
                <a:lnTo>
                  <a:pt x="679" y="505"/>
                </a:lnTo>
                <a:lnTo>
                  <a:pt x="677" y="505"/>
                </a:lnTo>
                <a:lnTo>
                  <a:pt x="674" y="502"/>
                </a:lnTo>
                <a:lnTo>
                  <a:pt x="672" y="498"/>
                </a:lnTo>
                <a:lnTo>
                  <a:pt x="670" y="496"/>
                </a:lnTo>
                <a:lnTo>
                  <a:pt x="666" y="496"/>
                </a:lnTo>
                <a:lnTo>
                  <a:pt x="663" y="496"/>
                </a:lnTo>
                <a:lnTo>
                  <a:pt x="660" y="497"/>
                </a:lnTo>
                <a:lnTo>
                  <a:pt x="652" y="495"/>
                </a:lnTo>
                <a:lnTo>
                  <a:pt x="644" y="493"/>
                </a:lnTo>
                <a:lnTo>
                  <a:pt x="640" y="491"/>
                </a:lnTo>
                <a:lnTo>
                  <a:pt x="635" y="491"/>
                </a:lnTo>
                <a:lnTo>
                  <a:pt x="633" y="490"/>
                </a:lnTo>
                <a:lnTo>
                  <a:pt x="631" y="489"/>
                </a:lnTo>
                <a:lnTo>
                  <a:pt x="630" y="488"/>
                </a:lnTo>
                <a:lnTo>
                  <a:pt x="629" y="487"/>
                </a:lnTo>
                <a:lnTo>
                  <a:pt x="644" y="488"/>
                </a:lnTo>
                <a:lnTo>
                  <a:pt x="659" y="490"/>
                </a:lnTo>
                <a:lnTo>
                  <a:pt x="665" y="490"/>
                </a:lnTo>
                <a:lnTo>
                  <a:pt x="672" y="490"/>
                </a:lnTo>
                <a:lnTo>
                  <a:pt x="676" y="490"/>
                </a:lnTo>
                <a:lnTo>
                  <a:pt x="678" y="490"/>
                </a:lnTo>
                <a:lnTo>
                  <a:pt x="679" y="490"/>
                </a:lnTo>
                <a:lnTo>
                  <a:pt x="680" y="490"/>
                </a:lnTo>
                <a:lnTo>
                  <a:pt x="681" y="491"/>
                </a:lnTo>
                <a:lnTo>
                  <a:pt x="681" y="494"/>
                </a:lnTo>
                <a:lnTo>
                  <a:pt x="680" y="494"/>
                </a:lnTo>
                <a:lnTo>
                  <a:pt x="678" y="495"/>
                </a:lnTo>
                <a:lnTo>
                  <a:pt x="677" y="496"/>
                </a:lnTo>
                <a:lnTo>
                  <a:pt x="677" y="496"/>
                </a:lnTo>
                <a:lnTo>
                  <a:pt x="678" y="497"/>
                </a:lnTo>
                <a:lnTo>
                  <a:pt x="679" y="497"/>
                </a:lnTo>
                <a:lnTo>
                  <a:pt x="681" y="497"/>
                </a:lnTo>
                <a:lnTo>
                  <a:pt x="682" y="497"/>
                </a:lnTo>
                <a:lnTo>
                  <a:pt x="685" y="497"/>
                </a:lnTo>
                <a:lnTo>
                  <a:pt x="687" y="497"/>
                </a:lnTo>
                <a:lnTo>
                  <a:pt x="689" y="498"/>
                </a:lnTo>
                <a:lnTo>
                  <a:pt x="692" y="498"/>
                </a:lnTo>
                <a:lnTo>
                  <a:pt x="693" y="498"/>
                </a:lnTo>
                <a:lnTo>
                  <a:pt x="694" y="499"/>
                </a:lnTo>
                <a:lnTo>
                  <a:pt x="694" y="499"/>
                </a:lnTo>
                <a:lnTo>
                  <a:pt x="693" y="501"/>
                </a:lnTo>
                <a:lnTo>
                  <a:pt x="690" y="502"/>
                </a:lnTo>
                <a:lnTo>
                  <a:pt x="687" y="502"/>
                </a:lnTo>
                <a:lnTo>
                  <a:pt x="688" y="504"/>
                </a:lnTo>
                <a:lnTo>
                  <a:pt x="690" y="505"/>
                </a:lnTo>
                <a:lnTo>
                  <a:pt x="693" y="506"/>
                </a:lnTo>
                <a:lnTo>
                  <a:pt x="696" y="506"/>
                </a:lnTo>
                <a:lnTo>
                  <a:pt x="703" y="509"/>
                </a:lnTo>
                <a:lnTo>
                  <a:pt x="709" y="512"/>
                </a:lnTo>
                <a:lnTo>
                  <a:pt x="702" y="512"/>
                </a:lnTo>
                <a:lnTo>
                  <a:pt x="695" y="512"/>
                </a:lnTo>
                <a:lnTo>
                  <a:pt x="688" y="510"/>
                </a:lnTo>
                <a:lnTo>
                  <a:pt x="682" y="506"/>
                </a:lnTo>
                <a:lnTo>
                  <a:pt x="685" y="509"/>
                </a:lnTo>
                <a:lnTo>
                  <a:pt x="682" y="506"/>
                </a:lnTo>
                <a:close/>
                <a:moveTo>
                  <a:pt x="734" y="515"/>
                </a:moveTo>
                <a:lnTo>
                  <a:pt x="731" y="515"/>
                </a:lnTo>
                <a:lnTo>
                  <a:pt x="730" y="515"/>
                </a:lnTo>
                <a:lnTo>
                  <a:pt x="729" y="515"/>
                </a:lnTo>
                <a:lnTo>
                  <a:pt x="728" y="514"/>
                </a:lnTo>
                <a:lnTo>
                  <a:pt x="725" y="512"/>
                </a:lnTo>
                <a:lnTo>
                  <a:pt x="721" y="511"/>
                </a:lnTo>
                <a:lnTo>
                  <a:pt x="718" y="510"/>
                </a:lnTo>
                <a:lnTo>
                  <a:pt x="714" y="510"/>
                </a:lnTo>
                <a:lnTo>
                  <a:pt x="711" y="507"/>
                </a:lnTo>
                <a:lnTo>
                  <a:pt x="709" y="504"/>
                </a:lnTo>
                <a:lnTo>
                  <a:pt x="712" y="505"/>
                </a:lnTo>
                <a:lnTo>
                  <a:pt x="717" y="506"/>
                </a:lnTo>
                <a:lnTo>
                  <a:pt x="721" y="506"/>
                </a:lnTo>
                <a:lnTo>
                  <a:pt x="726" y="509"/>
                </a:lnTo>
                <a:lnTo>
                  <a:pt x="729" y="509"/>
                </a:lnTo>
                <a:lnTo>
                  <a:pt x="734" y="510"/>
                </a:lnTo>
                <a:lnTo>
                  <a:pt x="735" y="511"/>
                </a:lnTo>
                <a:lnTo>
                  <a:pt x="736" y="512"/>
                </a:lnTo>
                <a:lnTo>
                  <a:pt x="735" y="514"/>
                </a:lnTo>
                <a:lnTo>
                  <a:pt x="734" y="515"/>
                </a:lnTo>
                <a:lnTo>
                  <a:pt x="734" y="515"/>
                </a:lnTo>
                <a:lnTo>
                  <a:pt x="734" y="515"/>
                </a:lnTo>
                <a:close/>
                <a:moveTo>
                  <a:pt x="739" y="535"/>
                </a:moveTo>
                <a:lnTo>
                  <a:pt x="747" y="534"/>
                </a:lnTo>
                <a:lnTo>
                  <a:pt x="754" y="532"/>
                </a:lnTo>
                <a:lnTo>
                  <a:pt x="759" y="530"/>
                </a:lnTo>
                <a:lnTo>
                  <a:pt x="764" y="531"/>
                </a:lnTo>
                <a:lnTo>
                  <a:pt x="767" y="532"/>
                </a:lnTo>
                <a:lnTo>
                  <a:pt x="768" y="534"/>
                </a:lnTo>
                <a:lnTo>
                  <a:pt x="767" y="535"/>
                </a:lnTo>
                <a:lnTo>
                  <a:pt x="763" y="536"/>
                </a:lnTo>
                <a:lnTo>
                  <a:pt x="758" y="537"/>
                </a:lnTo>
                <a:lnTo>
                  <a:pt x="752" y="537"/>
                </a:lnTo>
                <a:lnTo>
                  <a:pt x="745" y="536"/>
                </a:lnTo>
                <a:lnTo>
                  <a:pt x="739" y="535"/>
                </a:lnTo>
                <a:lnTo>
                  <a:pt x="744" y="535"/>
                </a:lnTo>
                <a:lnTo>
                  <a:pt x="739" y="535"/>
                </a:lnTo>
                <a:close/>
                <a:moveTo>
                  <a:pt x="770" y="539"/>
                </a:moveTo>
                <a:lnTo>
                  <a:pt x="768" y="539"/>
                </a:lnTo>
                <a:lnTo>
                  <a:pt x="767" y="537"/>
                </a:lnTo>
                <a:lnTo>
                  <a:pt x="767" y="536"/>
                </a:lnTo>
                <a:lnTo>
                  <a:pt x="768" y="535"/>
                </a:lnTo>
                <a:lnTo>
                  <a:pt x="770" y="535"/>
                </a:lnTo>
                <a:lnTo>
                  <a:pt x="771" y="534"/>
                </a:lnTo>
                <a:lnTo>
                  <a:pt x="779" y="531"/>
                </a:lnTo>
                <a:lnTo>
                  <a:pt x="787" y="530"/>
                </a:lnTo>
                <a:lnTo>
                  <a:pt x="791" y="530"/>
                </a:lnTo>
                <a:lnTo>
                  <a:pt x="794" y="531"/>
                </a:lnTo>
                <a:lnTo>
                  <a:pt x="795" y="532"/>
                </a:lnTo>
                <a:lnTo>
                  <a:pt x="797" y="534"/>
                </a:lnTo>
                <a:lnTo>
                  <a:pt x="801" y="535"/>
                </a:lnTo>
                <a:lnTo>
                  <a:pt x="803" y="534"/>
                </a:lnTo>
                <a:lnTo>
                  <a:pt x="805" y="535"/>
                </a:lnTo>
                <a:lnTo>
                  <a:pt x="808" y="535"/>
                </a:lnTo>
                <a:lnTo>
                  <a:pt x="810" y="536"/>
                </a:lnTo>
                <a:lnTo>
                  <a:pt x="811" y="537"/>
                </a:lnTo>
                <a:lnTo>
                  <a:pt x="810" y="539"/>
                </a:lnTo>
                <a:lnTo>
                  <a:pt x="809" y="539"/>
                </a:lnTo>
                <a:lnTo>
                  <a:pt x="806" y="539"/>
                </a:lnTo>
                <a:lnTo>
                  <a:pt x="804" y="539"/>
                </a:lnTo>
                <a:lnTo>
                  <a:pt x="795" y="538"/>
                </a:lnTo>
                <a:lnTo>
                  <a:pt x="787" y="538"/>
                </a:lnTo>
                <a:lnTo>
                  <a:pt x="778" y="538"/>
                </a:lnTo>
                <a:lnTo>
                  <a:pt x="770" y="539"/>
                </a:lnTo>
                <a:lnTo>
                  <a:pt x="772" y="539"/>
                </a:lnTo>
                <a:lnTo>
                  <a:pt x="770" y="539"/>
                </a:lnTo>
                <a:close/>
                <a:moveTo>
                  <a:pt x="801" y="564"/>
                </a:moveTo>
                <a:lnTo>
                  <a:pt x="800" y="562"/>
                </a:lnTo>
                <a:lnTo>
                  <a:pt x="801" y="561"/>
                </a:lnTo>
                <a:lnTo>
                  <a:pt x="803" y="561"/>
                </a:lnTo>
                <a:lnTo>
                  <a:pt x="804" y="561"/>
                </a:lnTo>
                <a:lnTo>
                  <a:pt x="810" y="562"/>
                </a:lnTo>
                <a:lnTo>
                  <a:pt x="816" y="563"/>
                </a:lnTo>
                <a:lnTo>
                  <a:pt x="812" y="564"/>
                </a:lnTo>
                <a:lnTo>
                  <a:pt x="808" y="566"/>
                </a:lnTo>
                <a:lnTo>
                  <a:pt x="804" y="565"/>
                </a:lnTo>
                <a:lnTo>
                  <a:pt x="801" y="564"/>
                </a:lnTo>
                <a:lnTo>
                  <a:pt x="801" y="564"/>
                </a:lnTo>
                <a:lnTo>
                  <a:pt x="801" y="564"/>
                </a:lnTo>
                <a:close/>
                <a:moveTo>
                  <a:pt x="843" y="574"/>
                </a:moveTo>
                <a:lnTo>
                  <a:pt x="837" y="576"/>
                </a:lnTo>
                <a:lnTo>
                  <a:pt x="833" y="573"/>
                </a:lnTo>
                <a:lnTo>
                  <a:pt x="830" y="572"/>
                </a:lnTo>
                <a:lnTo>
                  <a:pt x="830" y="572"/>
                </a:lnTo>
                <a:lnTo>
                  <a:pt x="832" y="571"/>
                </a:lnTo>
                <a:lnTo>
                  <a:pt x="833" y="571"/>
                </a:lnTo>
                <a:lnTo>
                  <a:pt x="835" y="571"/>
                </a:lnTo>
                <a:lnTo>
                  <a:pt x="838" y="571"/>
                </a:lnTo>
                <a:lnTo>
                  <a:pt x="839" y="571"/>
                </a:lnTo>
                <a:lnTo>
                  <a:pt x="842" y="572"/>
                </a:lnTo>
                <a:lnTo>
                  <a:pt x="844" y="573"/>
                </a:lnTo>
                <a:lnTo>
                  <a:pt x="843" y="574"/>
                </a:lnTo>
                <a:lnTo>
                  <a:pt x="842" y="574"/>
                </a:lnTo>
                <a:lnTo>
                  <a:pt x="843" y="574"/>
                </a:lnTo>
                <a:close/>
                <a:moveTo>
                  <a:pt x="833" y="560"/>
                </a:moveTo>
                <a:lnTo>
                  <a:pt x="835" y="556"/>
                </a:lnTo>
                <a:lnTo>
                  <a:pt x="836" y="554"/>
                </a:lnTo>
                <a:lnTo>
                  <a:pt x="837" y="552"/>
                </a:lnTo>
                <a:lnTo>
                  <a:pt x="839" y="552"/>
                </a:lnTo>
                <a:lnTo>
                  <a:pt x="843" y="553"/>
                </a:lnTo>
                <a:lnTo>
                  <a:pt x="849" y="557"/>
                </a:lnTo>
                <a:lnTo>
                  <a:pt x="842" y="560"/>
                </a:lnTo>
                <a:lnTo>
                  <a:pt x="833" y="560"/>
                </a:lnTo>
                <a:close/>
                <a:moveTo>
                  <a:pt x="869" y="586"/>
                </a:moveTo>
                <a:lnTo>
                  <a:pt x="869" y="587"/>
                </a:lnTo>
                <a:lnTo>
                  <a:pt x="868" y="588"/>
                </a:lnTo>
                <a:lnTo>
                  <a:pt x="867" y="589"/>
                </a:lnTo>
                <a:lnTo>
                  <a:pt x="866" y="589"/>
                </a:lnTo>
                <a:lnTo>
                  <a:pt x="863" y="588"/>
                </a:lnTo>
                <a:lnTo>
                  <a:pt x="861" y="586"/>
                </a:lnTo>
                <a:lnTo>
                  <a:pt x="862" y="584"/>
                </a:lnTo>
                <a:lnTo>
                  <a:pt x="866" y="581"/>
                </a:lnTo>
                <a:lnTo>
                  <a:pt x="862" y="581"/>
                </a:lnTo>
                <a:lnTo>
                  <a:pt x="858" y="582"/>
                </a:lnTo>
                <a:lnTo>
                  <a:pt x="857" y="584"/>
                </a:lnTo>
                <a:lnTo>
                  <a:pt x="854" y="586"/>
                </a:lnTo>
                <a:lnTo>
                  <a:pt x="853" y="585"/>
                </a:lnTo>
                <a:lnTo>
                  <a:pt x="851" y="585"/>
                </a:lnTo>
                <a:lnTo>
                  <a:pt x="850" y="584"/>
                </a:lnTo>
                <a:lnTo>
                  <a:pt x="850" y="582"/>
                </a:lnTo>
                <a:lnTo>
                  <a:pt x="851" y="579"/>
                </a:lnTo>
                <a:lnTo>
                  <a:pt x="853" y="578"/>
                </a:lnTo>
                <a:lnTo>
                  <a:pt x="857" y="577"/>
                </a:lnTo>
                <a:lnTo>
                  <a:pt x="861" y="576"/>
                </a:lnTo>
                <a:lnTo>
                  <a:pt x="869" y="574"/>
                </a:lnTo>
                <a:lnTo>
                  <a:pt x="876" y="574"/>
                </a:lnTo>
                <a:lnTo>
                  <a:pt x="872" y="579"/>
                </a:lnTo>
                <a:lnTo>
                  <a:pt x="869" y="586"/>
                </a:lnTo>
                <a:lnTo>
                  <a:pt x="868" y="585"/>
                </a:lnTo>
                <a:lnTo>
                  <a:pt x="869" y="586"/>
                </a:lnTo>
                <a:close/>
                <a:moveTo>
                  <a:pt x="872" y="589"/>
                </a:moveTo>
                <a:lnTo>
                  <a:pt x="876" y="587"/>
                </a:lnTo>
                <a:lnTo>
                  <a:pt x="882" y="587"/>
                </a:lnTo>
                <a:lnTo>
                  <a:pt x="885" y="587"/>
                </a:lnTo>
                <a:lnTo>
                  <a:pt x="887" y="587"/>
                </a:lnTo>
                <a:lnTo>
                  <a:pt x="890" y="588"/>
                </a:lnTo>
                <a:lnTo>
                  <a:pt x="890" y="590"/>
                </a:lnTo>
                <a:lnTo>
                  <a:pt x="890" y="593"/>
                </a:lnTo>
                <a:lnTo>
                  <a:pt x="887" y="593"/>
                </a:lnTo>
                <a:lnTo>
                  <a:pt x="885" y="593"/>
                </a:lnTo>
                <a:lnTo>
                  <a:pt x="882" y="593"/>
                </a:lnTo>
                <a:lnTo>
                  <a:pt x="876" y="590"/>
                </a:lnTo>
                <a:lnTo>
                  <a:pt x="872" y="589"/>
                </a:lnTo>
                <a:lnTo>
                  <a:pt x="877" y="588"/>
                </a:lnTo>
                <a:lnTo>
                  <a:pt x="872" y="589"/>
                </a:lnTo>
                <a:close/>
                <a:moveTo>
                  <a:pt x="913" y="631"/>
                </a:moveTo>
                <a:lnTo>
                  <a:pt x="910" y="632"/>
                </a:lnTo>
                <a:lnTo>
                  <a:pt x="905" y="635"/>
                </a:lnTo>
                <a:lnTo>
                  <a:pt x="902" y="635"/>
                </a:lnTo>
                <a:lnTo>
                  <a:pt x="901" y="635"/>
                </a:lnTo>
                <a:lnTo>
                  <a:pt x="900" y="634"/>
                </a:lnTo>
                <a:lnTo>
                  <a:pt x="900" y="632"/>
                </a:lnTo>
                <a:lnTo>
                  <a:pt x="903" y="631"/>
                </a:lnTo>
                <a:lnTo>
                  <a:pt x="907" y="628"/>
                </a:lnTo>
                <a:lnTo>
                  <a:pt x="903" y="629"/>
                </a:lnTo>
                <a:lnTo>
                  <a:pt x="902" y="630"/>
                </a:lnTo>
                <a:lnTo>
                  <a:pt x="896" y="630"/>
                </a:lnTo>
                <a:lnTo>
                  <a:pt x="890" y="631"/>
                </a:lnTo>
                <a:lnTo>
                  <a:pt x="885" y="631"/>
                </a:lnTo>
                <a:lnTo>
                  <a:pt x="882" y="630"/>
                </a:lnTo>
                <a:lnTo>
                  <a:pt x="880" y="629"/>
                </a:lnTo>
                <a:lnTo>
                  <a:pt x="879" y="626"/>
                </a:lnTo>
                <a:lnTo>
                  <a:pt x="880" y="624"/>
                </a:lnTo>
                <a:lnTo>
                  <a:pt x="882" y="623"/>
                </a:lnTo>
                <a:lnTo>
                  <a:pt x="884" y="622"/>
                </a:lnTo>
                <a:lnTo>
                  <a:pt x="886" y="621"/>
                </a:lnTo>
                <a:lnTo>
                  <a:pt x="892" y="621"/>
                </a:lnTo>
                <a:lnTo>
                  <a:pt x="895" y="621"/>
                </a:lnTo>
                <a:lnTo>
                  <a:pt x="896" y="623"/>
                </a:lnTo>
                <a:lnTo>
                  <a:pt x="899" y="624"/>
                </a:lnTo>
                <a:lnTo>
                  <a:pt x="900" y="624"/>
                </a:lnTo>
                <a:lnTo>
                  <a:pt x="902" y="623"/>
                </a:lnTo>
                <a:lnTo>
                  <a:pt x="903" y="623"/>
                </a:lnTo>
                <a:lnTo>
                  <a:pt x="905" y="623"/>
                </a:lnTo>
                <a:lnTo>
                  <a:pt x="907" y="626"/>
                </a:lnTo>
                <a:lnTo>
                  <a:pt x="909" y="627"/>
                </a:lnTo>
                <a:lnTo>
                  <a:pt x="913" y="627"/>
                </a:lnTo>
                <a:lnTo>
                  <a:pt x="917" y="627"/>
                </a:lnTo>
                <a:lnTo>
                  <a:pt x="918" y="628"/>
                </a:lnTo>
                <a:lnTo>
                  <a:pt x="917" y="629"/>
                </a:lnTo>
                <a:lnTo>
                  <a:pt x="916" y="630"/>
                </a:lnTo>
                <a:lnTo>
                  <a:pt x="913" y="631"/>
                </a:lnTo>
                <a:lnTo>
                  <a:pt x="913" y="631"/>
                </a:lnTo>
                <a:lnTo>
                  <a:pt x="913" y="631"/>
                </a:lnTo>
                <a:close/>
                <a:moveTo>
                  <a:pt x="898" y="593"/>
                </a:moveTo>
                <a:lnTo>
                  <a:pt x="903" y="593"/>
                </a:lnTo>
                <a:lnTo>
                  <a:pt x="909" y="595"/>
                </a:lnTo>
                <a:lnTo>
                  <a:pt x="912" y="595"/>
                </a:lnTo>
                <a:lnTo>
                  <a:pt x="916" y="596"/>
                </a:lnTo>
                <a:lnTo>
                  <a:pt x="916" y="597"/>
                </a:lnTo>
                <a:lnTo>
                  <a:pt x="916" y="598"/>
                </a:lnTo>
                <a:lnTo>
                  <a:pt x="915" y="598"/>
                </a:lnTo>
                <a:lnTo>
                  <a:pt x="915" y="598"/>
                </a:lnTo>
                <a:lnTo>
                  <a:pt x="911" y="599"/>
                </a:lnTo>
                <a:lnTo>
                  <a:pt x="909" y="598"/>
                </a:lnTo>
                <a:lnTo>
                  <a:pt x="903" y="596"/>
                </a:lnTo>
                <a:lnTo>
                  <a:pt x="898" y="593"/>
                </a:lnTo>
                <a:lnTo>
                  <a:pt x="901" y="594"/>
                </a:lnTo>
                <a:lnTo>
                  <a:pt x="898" y="593"/>
                </a:lnTo>
                <a:close/>
                <a:moveTo>
                  <a:pt x="902" y="578"/>
                </a:moveTo>
                <a:lnTo>
                  <a:pt x="918" y="579"/>
                </a:lnTo>
                <a:lnTo>
                  <a:pt x="934" y="581"/>
                </a:lnTo>
                <a:lnTo>
                  <a:pt x="933" y="582"/>
                </a:lnTo>
                <a:lnTo>
                  <a:pt x="929" y="584"/>
                </a:lnTo>
                <a:lnTo>
                  <a:pt x="925" y="584"/>
                </a:lnTo>
                <a:lnTo>
                  <a:pt x="919" y="582"/>
                </a:lnTo>
                <a:lnTo>
                  <a:pt x="909" y="581"/>
                </a:lnTo>
                <a:lnTo>
                  <a:pt x="902" y="578"/>
                </a:lnTo>
                <a:close/>
                <a:moveTo>
                  <a:pt x="944" y="607"/>
                </a:moveTo>
                <a:lnTo>
                  <a:pt x="941" y="607"/>
                </a:lnTo>
                <a:lnTo>
                  <a:pt x="938" y="609"/>
                </a:lnTo>
                <a:lnTo>
                  <a:pt x="936" y="609"/>
                </a:lnTo>
                <a:lnTo>
                  <a:pt x="934" y="610"/>
                </a:lnTo>
                <a:lnTo>
                  <a:pt x="933" y="609"/>
                </a:lnTo>
                <a:lnTo>
                  <a:pt x="933" y="609"/>
                </a:lnTo>
                <a:lnTo>
                  <a:pt x="934" y="607"/>
                </a:lnTo>
                <a:lnTo>
                  <a:pt x="935" y="606"/>
                </a:lnTo>
                <a:lnTo>
                  <a:pt x="937" y="605"/>
                </a:lnTo>
                <a:lnTo>
                  <a:pt x="938" y="605"/>
                </a:lnTo>
                <a:lnTo>
                  <a:pt x="943" y="604"/>
                </a:lnTo>
                <a:lnTo>
                  <a:pt x="948" y="604"/>
                </a:lnTo>
                <a:lnTo>
                  <a:pt x="949" y="606"/>
                </a:lnTo>
                <a:lnTo>
                  <a:pt x="948" y="607"/>
                </a:lnTo>
                <a:lnTo>
                  <a:pt x="945" y="607"/>
                </a:lnTo>
                <a:lnTo>
                  <a:pt x="944" y="607"/>
                </a:lnTo>
                <a:lnTo>
                  <a:pt x="944" y="607"/>
                </a:lnTo>
                <a:lnTo>
                  <a:pt x="944" y="607"/>
                </a:lnTo>
                <a:close/>
                <a:moveTo>
                  <a:pt x="901" y="471"/>
                </a:moveTo>
                <a:lnTo>
                  <a:pt x="900" y="471"/>
                </a:lnTo>
                <a:lnTo>
                  <a:pt x="899" y="470"/>
                </a:lnTo>
                <a:lnTo>
                  <a:pt x="900" y="469"/>
                </a:lnTo>
                <a:lnTo>
                  <a:pt x="901" y="469"/>
                </a:lnTo>
                <a:lnTo>
                  <a:pt x="903" y="468"/>
                </a:lnTo>
                <a:lnTo>
                  <a:pt x="907" y="468"/>
                </a:lnTo>
                <a:lnTo>
                  <a:pt x="911" y="468"/>
                </a:lnTo>
                <a:lnTo>
                  <a:pt x="915" y="469"/>
                </a:lnTo>
                <a:lnTo>
                  <a:pt x="919" y="470"/>
                </a:lnTo>
                <a:lnTo>
                  <a:pt x="924" y="472"/>
                </a:lnTo>
                <a:lnTo>
                  <a:pt x="932" y="476"/>
                </a:lnTo>
                <a:lnTo>
                  <a:pt x="940" y="478"/>
                </a:lnTo>
                <a:lnTo>
                  <a:pt x="944" y="479"/>
                </a:lnTo>
                <a:lnTo>
                  <a:pt x="949" y="481"/>
                </a:lnTo>
                <a:lnTo>
                  <a:pt x="952" y="483"/>
                </a:lnTo>
                <a:lnTo>
                  <a:pt x="954" y="486"/>
                </a:lnTo>
                <a:lnTo>
                  <a:pt x="941" y="483"/>
                </a:lnTo>
                <a:lnTo>
                  <a:pt x="927" y="480"/>
                </a:lnTo>
                <a:lnTo>
                  <a:pt x="915" y="477"/>
                </a:lnTo>
                <a:lnTo>
                  <a:pt x="901" y="471"/>
                </a:lnTo>
                <a:lnTo>
                  <a:pt x="903" y="472"/>
                </a:lnTo>
                <a:lnTo>
                  <a:pt x="907" y="474"/>
                </a:lnTo>
                <a:lnTo>
                  <a:pt x="908" y="474"/>
                </a:lnTo>
                <a:lnTo>
                  <a:pt x="901" y="471"/>
                </a:lnTo>
                <a:close/>
                <a:moveTo>
                  <a:pt x="982" y="605"/>
                </a:moveTo>
                <a:lnTo>
                  <a:pt x="978" y="603"/>
                </a:lnTo>
                <a:lnTo>
                  <a:pt x="976" y="601"/>
                </a:lnTo>
                <a:lnTo>
                  <a:pt x="976" y="599"/>
                </a:lnTo>
                <a:lnTo>
                  <a:pt x="976" y="598"/>
                </a:lnTo>
                <a:lnTo>
                  <a:pt x="978" y="597"/>
                </a:lnTo>
                <a:lnTo>
                  <a:pt x="981" y="597"/>
                </a:lnTo>
                <a:lnTo>
                  <a:pt x="983" y="597"/>
                </a:lnTo>
                <a:lnTo>
                  <a:pt x="984" y="598"/>
                </a:lnTo>
                <a:lnTo>
                  <a:pt x="985" y="599"/>
                </a:lnTo>
                <a:lnTo>
                  <a:pt x="986" y="601"/>
                </a:lnTo>
                <a:lnTo>
                  <a:pt x="984" y="604"/>
                </a:lnTo>
                <a:lnTo>
                  <a:pt x="982" y="605"/>
                </a:lnTo>
                <a:lnTo>
                  <a:pt x="981" y="604"/>
                </a:lnTo>
                <a:lnTo>
                  <a:pt x="982" y="605"/>
                </a:lnTo>
                <a:close/>
                <a:moveTo>
                  <a:pt x="1000" y="627"/>
                </a:moveTo>
                <a:lnTo>
                  <a:pt x="998" y="626"/>
                </a:lnTo>
                <a:lnTo>
                  <a:pt x="998" y="624"/>
                </a:lnTo>
                <a:lnTo>
                  <a:pt x="998" y="623"/>
                </a:lnTo>
                <a:lnTo>
                  <a:pt x="999" y="622"/>
                </a:lnTo>
                <a:lnTo>
                  <a:pt x="1001" y="620"/>
                </a:lnTo>
                <a:lnTo>
                  <a:pt x="1003" y="618"/>
                </a:lnTo>
                <a:lnTo>
                  <a:pt x="1007" y="617"/>
                </a:lnTo>
                <a:lnTo>
                  <a:pt x="1011" y="615"/>
                </a:lnTo>
                <a:lnTo>
                  <a:pt x="1015" y="617"/>
                </a:lnTo>
                <a:lnTo>
                  <a:pt x="1018" y="618"/>
                </a:lnTo>
                <a:lnTo>
                  <a:pt x="1015" y="621"/>
                </a:lnTo>
                <a:lnTo>
                  <a:pt x="1010" y="624"/>
                </a:lnTo>
                <a:lnTo>
                  <a:pt x="1005" y="627"/>
                </a:lnTo>
                <a:lnTo>
                  <a:pt x="1000" y="627"/>
                </a:lnTo>
                <a:lnTo>
                  <a:pt x="1000" y="627"/>
                </a:lnTo>
                <a:lnTo>
                  <a:pt x="1000" y="627"/>
                </a:lnTo>
                <a:close/>
                <a:moveTo>
                  <a:pt x="1018" y="630"/>
                </a:moveTo>
                <a:lnTo>
                  <a:pt x="1016" y="630"/>
                </a:lnTo>
                <a:lnTo>
                  <a:pt x="1012" y="630"/>
                </a:lnTo>
                <a:lnTo>
                  <a:pt x="1012" y="628"/>
                </a:lnTo>
                <a:lnTo>
                  <a:pt x="1012" y="626"/>
                </a:lnTo>
                <a:lnTo>
                  <a:pt x="1015" y="627"/>
                </a:lnTo>
                <a:lnTo>
                  <a:pt x="1017" y="627"/>
                </a:lnTo>
                <a:lnTo>
                  <a:pt x="1018" y="627"/>
                </a:lnTo>
                <a:lnTo>
                  <a:pt x="1019" y="627"/>
                </a:lnTo>
                <a:lnTo>
                  <a:pt x="1020" y="628"/>
                </a:lnTo>
                <a:lnTo>
                  <a:pt x="1020" y="629"/>
                </a:lnTo>
                <a:lnTo>
                  <a:pt x="1019" y="630"/>
                </a:lnTo>
                <a:lnTo>
                  <a:pt x="1018" y="630"/>
                </a:lnTo>
                <a:lnTo>
                  <a:pt x="1018" y="630"/>
                </a:lnTo>
                <a:lnTo>
                  <a:pt x="1018" y="630"/>
                </a:lnTo>
                <a:close/>
                <a:moveTo>
                  <a:pt x="1072" y="664"/>
                </a:moveTo>
                <a:lnTo>
                  <a:pt x="1065" y="665"/>
                </a:lnTo>
                <a:lnTo>
                  <a:pt x="1058" y="669"/>
                </a:lnTo>
                <a:lnTo>
                  <a:pt x="1056" y="670"/>
                </a:lnTo>
                <a:lnTo>
                  <a:pt x="1055" y="669"/>
                </a:lnTo>
                <a:lnTo>
                  <a:pt x="1055" y="668"/>
                </a:lnTo>
                <a:lnTo>
                  <a:pt x="1056" y="665"/>
                </a:lnTo>
                <a:lnTo>
                  <a:pt x="1058" y="663"/>
                </a:lnTo>
                <a:lnTo>
                  <a:pt x="1060" y="661"/>
                </a:lnTo>
                <a:lnTo>
                  <a:pt x="1064" y="660"/>
                </a:lnTo>
                <a:lnTo>
                  <a:pt x="1066" y="659"/>
                </a:lnTo>
                <a:lnTo>
                  <a:pt x="1069" y="659"/>
                </a:lnTo>
                <a:lnTo>
                  <a:pt x="1072" y="660"/>
                </a:lnTo>
                <a:lnTo>
                  <a:pt x="1073" y="661"/>
                </a:lnTo>
                <a:lnTo>
                  <a:pt x="1074" y="663"/>
                </a:lnTo>
                <a:lnTo>
                  <a:pt x="1074" y="664"/>
                </a:lnTo>
                <a:lnTo>
                  <a:pt x="1072" y="664"/>
                </a:lnTo>
                <a:lnTo>
                  <a:pt x="1071" y="664"/>
                </a:lnTo>
                <a:lnTo>
                  <a:pt x="1072" y="664"/>
                </a:lnTo>
                <a:close/>
                <a:moveTo>
                  <a:pt x="1068" y="637"/>
                </a:moveTo>
                <a:lnTo>
                  <a:pt x="1057" y="636"/>
                </a:lnTo>
                <a:lnTo>
                  <a:pt x="1045" y="635"/>
                </a:lnTo>
                <a:lnTo>
                  <a:pt x="1041" y="635"/>
                </a:lnTo>
                <a:lnTo>
                  <a:pt x="1035" y="635"/>
                </a:lnTo>
                <a:lnTo>
                  <a:pt x="1036" y="631"/>
                </a:lnTo>
                <a:lnTo>
                  <a:pt x="1036" y="629"/>
                </a:lnTo>
                <a:lnTo>
                  <a:pt x="1032" y="630"/>
                </a:lnTo>
                <a:lnTo>
                  <a:pt x="1026" y="630"/>
                </a:lnTo>
                <a:lnTo>
                  <a:pt x="1026" y="626"/>
                </a:lnTo>
                <a:lnTo>
                  <a:pt x="1024" y="623"/>
                </a:lnTo>
                <a:lnTo>
                  <a:pt x="1026" y="621"/>
                </a:lnTo>
                <a:lnTo>
                  <a:pt x="1028" y="621"/>
                </a:lnTo>
                <a:lnTo>
                  <a:pt x="1031" y="622"/>
                </a:lnTo>
                <a:lnTo>
                  <a:pt x="1033" y="623"/>
                </a:lnTo>
                <a:lnTo>
                  <a:pt x="1036" y="623"/>
                </a:lnTo>
                <a:lnTo>
                  <a:pt x="1039" y="624"/>
                </a:lnTo>
                <a:lnTo>
                  <a:pt x="1039" y="627"/>
                </a:lnTo>
                <a:lnTo>
                  <a:pt x="1039" y="628"/>
                </a:lnTo>
                <a:lnTo>
                  <a:pt x="1040" y="629"/>
                </a:lnTo>
                <a:lnTo>
                  <a:pt x="1042" y="628"/>
                </a:lnTo>
                <a:lnTo>
                  <a:pt x="1048" y="630"/>
                </a:lnTo>
                <a:lnTo>
                  <a:pt x="1053" y="631"/>
                </a:lnTo>
                <a:lnTo>
                  <a:pt x="1059" y="631"/>
                </a:lnTo>
                <a:lnTo>
                  <a:pt x="1065" y="631"/>
                </a:lnTo>
                <a:lnTo>
                  <a:pt x="1075" y="635"/>
                </a:lnTo>
                <a:lnTo>
                  <a:pt x="1084" y="638"/>
                </a:lnTo>
                <a:lnTo>
                  <a:pt x="1081" y="639"/>
                </a:lnTo>
                <a:lnTo>
                  <a:pt x="1076" y="639"/>
                </a:lnTo>
                <a:lnTo>
                  <a:pt x="1073" y="638"/>
                </a:lnTo>
                <a:lnTo>
                  <a:pt x="1068" y="637"/>
                </a:lnTo>
                <a:lnTo>
                  <a:pt x="1068" y="637"/>
                </a:lnTo>
                <a:lnTo>
                  <a:pt x="1068" y="637"/>
                </a:lnTo>
                <a:close/>
                <a:moveTo>
                  <a:pt x="1093" y="638"/>
                </a:moveTo>
                <a:lnTo>
                  <a:pt x="1097" y="638"/>
                </a:lnTo>
                <a:lnTo>
                  <a:pt x="1100" y="638"/>
                </a:lnTo>
                <a:lnTo>
                  <a:pt x="1104" y="639"/>
                </a:lnTo>
                <a:lnTo>
                  <a:pt x="1107" y="642"/>
                </a:lnTo>
                <a:lnTo>
                  <a:pt x="1102" y="642"/>
                </a:lnTo>
                <a:lnTo>
                  <a:pt x="1099" y="642"/>
                </a:lnTo>
                <a:lnTo>
                  <a:pt x="1096" y="640"/>
                </a:lnTo>
                <a:lnTo>
                  <a:pt x="1093" y="638"/>
                </a:lnTo>
                <a:close/>
                <a:moveTo>
                  <a:pt x="1116" y="638"/>
                </a:moveTo>
                <a:lnTo>
                  <a:pt x="1113" y="637"/>
                </a:lnTo>
                <a:lnTo>
                  <a:pt x="1109" y="635"/>
                </a:lnTo>
                <a:lnTo>
                  <a:pt x="1107" y="635"/>
                </a:lnTo>
                <a:lnTo>
                  <a:pt x="1105" y="635"/>
                </a:lnTo>
                <a:lnTo>
                  <a:pt x="1104" y="635"/>
                </a:lnTo>
                <a:lnTo>
                  <a:pt x="1102" y="634"/>
                </a:lnTo>
                <a:lnTo>
                  <a:pt x="1102" y="632"/>
                </a:lnTo>
                <a:lnTo>
                  <a:pt x="1102" y="631"/>
                </a:lnTo>
                <a:lnTo>
                  <a:pt x="1105" y="630"/>
                </a:lnTo>
                <a:lnTo>
                  <a:pt x="1107" y="630"/>
                </a:lnTo>
                <a:lnTo>
                  <a:pt x="1109" y="630"/>
                </a:lnTo>
                <a:lnTo>
                  <a:pt x="1113" y="631"/>
                </a:lnTo>
                <a:lnTo>
                  <a:pt x="1114" y="634"/>
                </a:lnTo>
                <a:lnTo>
                  <a:pt x="1116" y="636"/>
                </a:lnTo>
                <a:lnTo>
                  <a:pt x="1116" y="637"/>
                </a:lnTo>
                <a:lnTo>
                  <a:pt x="1116" y="638"/>
                </a:lnTo>
                <a:lnTo>
                  <a:pt x="1116" y="638"/>
                </a:lnTo>
                <a:lnTo>
                  <a:pt x="1116" y="638"/>
                </a:lnTo>
                <a:close/>
                <a:moveTo>
                  <a:pt x="1147" y="651"/>
                </a:moveTo>
                <a:lnTo>
                  <a:pt x="1150" y="648"/>
                </a:lnTo>
                <a:lnTo>
                  <a:pt x="1154" y="647"/>
                </a:lnTo>
                <a:lnTo>
                  <a:pt x="1158" y="646"/>
                </a:lnTo>
                <a:lnTo>
                  <a:pt x="1163" y="646"/>
                </a:lnTo>
                <a:lnTo>
                  <a:pt x="1159" y="648"/>
                </a:lnTo>
                <a:lnTo>
                  <a:pt x="1155" y="651"/>
                </a:lnTo>
                <a:lnTo>
                  <a:pt x="1151" y="651"/>
                </a:lnTo>
                <a:lnTo>
                  <a:pt x="1147" y="651"/>
                </a:lnTo>
                <a:close/>
                <a:moveTo>
                  <a:pt x="1180" y="642"/>
                </a:moveTo>
                <a:lnTo>
                  <a:pt x="1179" y="642"/>
                </a:lnTo>
                <a:lnTo>
                  <a:pt x="1179" y="642"/>
                </a:lnTo>
                <a:lnTo>
                  <a:pt x="1180" y="639"/>
                </a:lnTo>
                <a:lnTo>
                  <a:pt x="1180" y="638"/>
                </a:lnTo>
                <a:lnTo>
                  <a:pt x="1179" y="638"/>
                </a:lnTo>
                <a:lnTo>
                  <a:pt x="1178" y="637"/>
                </a:lnTo>
                <a:lnTo>
                  <a:pt x="1176" y="636"/>
                </a:lnTo>
                <a:lnTo>
                  <a:pt x="1175" y="635"/>
                </a:lnTo>
                <a:lnTo>
                  <a:pt x="1174" y="634"/>
                </a:lnTo>
                <a:lnTo>
                  <a:pt x="1175" y="631"/>
                </a:lnTo>
                <a:lnTo>
                  <a:pt x="1176" y="630"/>
                </a:lnTo>
                <a:lnTo>
                  <a:pt x="1178" y="629"/>
                </a:lnTo>
                <a:lnTo>
                  <a:pt x="1180" y="629"/>
                </a:lnTo>
                <a:lnTo>
                  <a:pt x="1181" y="629"/>
                </a:lnTo>
                <a:lnTo>
                  <a:pt x="1182" y="634"/>
                </a:lnTo>
                <a:lnTo>
                  <a:pt x="1181" y="638"/>
                </a:lnTo>
                <a:lnTo>
                  <a:pt x="1184" y="638"/>
                </a:lnTo>
                <a:lnTo>
                  <a:pt x="1189" y="638"/>
                </a:lnTo>
                <a:lnTo>
                  <a:pt x="1188" y="640"/>
                </a:lnTo>
                <a:lnTo>
                  <a:pt x="1185" y="642"/>
                </a:lnTo>
                <a:lnTo>
                  <a:pt x="1182" y="642"/>
                </a:lnTo>
                <a:lnTo>
                  <a:pt x="1180" y="642"/>
                </a:lnTo>
                <a:close/>
                <a:moveTo>
                  <a:pt x="1402" y="227"/>
                </a:moveTo>
                <a:lnTo>
                  <a:pt x="1396" y="233"/>
                </a:lnTo>
                <a:lnTo>
                  <a:pt x="1388" y="240"/>
                </a:lnTo>
                <a:lnTo>
                  <a:pt x="1388" y="237"/>
                </a:lnTo>
                <a:lnTo>
                  <a:pt x="1389" y="232"/>
                </a:lnTo>
                <a:lnTo>
                  <a:pt x="1390" y="229"/>
                </a:lnTo>
                <a:lnTo>
                  <a:pt x="1393" y="227"/>
                </a:lnTo>
                <a:lnTo>
                  <a:pt x="1396" y="225"/>
                </a:lnTo>
                <a:lnTo>
                  <a:pt x="1399" y="224"/>
                </a:lnTo>
                <a:lnTo>
                  <a:pt x="1401" y="224"/>
                </a:lnTo>
                <a:lnTo>
                  <a:pt x="1402" y="224"/>
                </a:lnTo>
                <a:lnTo>
                  <a:pt x="1402" y="225"/>
                </a:lnTo>
                <a:lnTo>
                  <a:pt x="1402" y="227"/>
                </a:lnTo>
                <a:lnTo>
                  <a:pt x="1399" y="228"/>
                </a:lnTo>
                <a:lnTo>
                  <a:pt x="1402" y="227"/>
                </a:lnTo>
                <a:close/>
                <a:moveTo>
                  <a:pt x="1444" y="358"/>
                </a:moveTo>
                <a:lnTo>
                  <a:pt x="1442" y="360"/>
                </a:lnTo>
                <a:lnTo>
                  <a:pt x="1439" y="361"/>
                </a:lnTo>
                <a:lnTo>
                  <a:pt x="1436" y="362"/>
                </a:lnTo>
                <a:lnTo>
                  <a:pt x="1434" y="361"/>
                </a:lnTo>
                <a:lnTo>
                  <a:pt x="1432" y="358"/>
                </a:lnTo>
                <a:lnTo>
                  <a:pt x="1432" y="356"/>
                </a:lnTo>
                <a:lnTo>
                  <a:pt x="1435" y="354"/>
                </a:lnTo>
                <a:lnTo>
                  <a:pt x="1436" y="352"/>
                </a:lnTo>
                <a:lnTo>
                  <a:pt x="1438" y="350"/>
                </a:lnTo>
                <a:lnTo>
                  <a:pt x="1440" y="350"/>
                </a:lnTo>
                <a:lnTo>
                  <a:pt x="1443" y="350"/>
                </a:lnTo>
                <a:lnTo>
                  <a:pt x="1445" y="352"/>
                </a:lnTo>
                <a:lnTo>
                  <a:pt x="1446" y="354"/>
                </a:lnTo>
                <a:lnTo>
                  <a:pt x="1446" y="355"/>
                </a:lnTo>
                <a:lnTo>
                  <a:pt x="1446" y="357"/>
                </a:lnTo>
                <a:lnTo>
                  <a:pt x="1444" y="358"/>
                </a:lnTo>
                <a:lnTo>
                  <a:pt x="1445" y="358"/>
                </a:lnTo>
                <a:lnTo>
                  <a:pt x="1444" y="35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189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8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42">
            <a:extLst>
              <a:ext uri="{FF2B5EF4-FFF2-40B4-BE49-F238E27FC236}">
                <a16:creationId xmlns:a16="http://schemas.microsoft.com/office/drawing/2014/main" id="{9F9D3398-7B64-D043-B3C5-C6F5412530E4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>
            <a:off x="299714" y="261015"/>
            <a:ext cx="11555779" cy="4046837"/>
          </a:xfrm>
          <a:custGeom>
            <a:avLst/>
            <a:gdLst>
              <a:gd name="T0" fmla="*/ 804 w 1291"/>
              <a:gd name="T1" fmla="*/ 300 h 642"/>
              <a:gd name="T2" fmla="*/ 834 w 1291"/>
              <a:gd name="T3" fmla="*/ 269 h 642"/>
              <a:gd name="T4" fmla="*/ 666 w 1291"/>
              <a:gd name="T5" fmla="*/ 248 h 642"/>
              <a:gd name="T6" fmla="*/ 811 w 1291"/>
              <a:gd name="T7" fmla="*/ 230 h 642"/>
              <a:gd name="T8" fmla="*/ 946 w 1291"/>
              <a:gd name="T9" fmla="*/ 240 h 642"/>
              <a:gd name="T10" fmla="*/ 1057 w 1291"/>
              <a:gd name="T11" fmla="*/ 273 h 642"/>
              <a:gd name="T12" fmla="*/ 1066 w 1291"/>
              <a:gd name="T13" fmla="*/ 232 h 642"/>
              <a:gd name="T14" fmla="*/ 969 w 1291"/>
              <a:gd name="T15" fmla="*/ 179 h 642"/>
              <a:gd name="T16" fmla="*/ 745 w 1291"/>
              <a:gd name="T17" fmla="*/ 46 h 642"/>
              <a:gd name="T18" fmla="*/ 223 w 1291"/>
              <a:gd name="T19" fmla="*/ 76 h 642"/>
              <a:gd name="T20" fmla="*/ 188 w 1291"/>
              <a:gd name="T21" fmla="*/ 114 h 642"/>
              <a:gd name="T22" fmla="*/ 56 w 1291"/>
              <a:gd name="T23" fmla="*/ 298 h 642"/>
              <a:gd name="T24" fmla="*/ 209 w 1291"/>
              <a:gd name="T25" fmla="*/ 385 h 642"/>
              <a:gd name="T26" fmla="*/ 158 w 1291"/>
              <a:gd name="T27" fmla="*/ 535 h 642"/>
              <a:gd name="T28" fmla="*/ 204 w 1291"/>
              <a:gd name="T29" fmla="*/ 633 h 642"/>
              <a:gd name="T30" fmla="*/ 273 w 1291"/>
              <a:gd name="T31" fmla="*/ 599 h 642"/>
              <a:gd name="T32" fmla="*/ 299 w 1291"/>
              <a:gd name="T33" fmla="*/ 609 h 642"/>
              <a:gd name="T34" fmla="*/ 470 w 1291"/>
              <a:gd name="T35" fmla="*/ 550 h 642"/>
              <a:gd name="T36" fmla="*/ 544 w 1291"/>
              <a:gd name="T37" fmla="*/ 521 h 642"/>
              <a:gd name="T38" fmla="*/ 619 w 1291"/>
              <a:gd name="T39" fmla="*/ 513 h 642"/>
              <a:gd name="T40" fmla="*/ 835 w 1291"/>
              <a:gd name="T41" fmla="*/ 480 h 642"/>
              <a:gd name="T42" fmla="*/ 952 w 1291"/>
              <a:gd name="T43" fmla="*/ 473 h 642"/>
              <a:gd name="T44" fmla="*/ 1071 w 1291"/>
              <a:gd name="T45" fmla="*/ 500 h 642"/>
              <a:gd name="T46" fmla="*/ 1189 w 1291"/>
              <a:gd name="T47" fmla="*/ 545 h 642"/>
              <a:gd name="T48" fmla="*/ 1131 w 1291"/>
              <a:gd name="T49" fmla="*/ 452 h 642"/>
              <a:gd name="T50" fmla="*/ 960 w 1291"/>
              <a:gd name="T51" fmla="*/ 427 h 642"/>
              <a:gd name="T52" fmla="*/ 689 w 1291"/>
              <a:gd name="T53" fmla="*/ 459 h 642"/>
              <a:gd name="T54" fmla="*/ 446 w 1291"/>
              <a:gd name="T55" fmla="*/ 508 h 642"/>
              <a:gd name="T56" fmla="*/ 185 w 1291"/>
              <a:gd name="T57" fmla="*/ 564 h 642"/>
              <a:gd name="T58" fmla="*/ 327 w 1291"/>
              <a:gd name="T59" fmla="*/ 497 h 642"/>
              <a:gd name="T60" fmla="*/ 492 w 1291"/>
              <a:gd name="T61" fmla="*/ 456 h 642"/>
              <a:gd name="T62" fmla="*/ 640 w 1291"/>
              <a:gd name="T63" fmla="*/ 460 h 642"/>
              <a:gd name="T64" fmla="*/ 670 w 1291"/>
              <a:gd name="T65" fmla="*/ 401 h 642"/>
              <a:gd name="T66" fmla="*/ 1114 w 1291"/>
              <a:gd name="T67" fmla="*/ 386 h 642"/>
              <a:gd name="T68" fmla="*/ 1048 w 1291"/>
              <a:gd name="T69" fmla="*/ 427 h 642"/>
              <a:gd name="T70" fmla="*/ 1284 w 1291"/>
              <a:gd name="T71" fmla="*/ 376 h 642"/>
              <a:gd name="T72" fmla="*/ 165 w 1291"/>
              <a:gd name="T73" fmla="*/ 428 h 642"/>
              <a:gd name="T74" fmla="*/ 462 w 1291"/>
              <a:gd name="T75" fmla="*/ 336 h 642"/>
              <a:gd name="T76" fmla="*/ 665 w 1291"/>
              <a:gd name="T77" fmla="*/ 320 h 642"/>
              <a:gd name="T78" fmla="*/ 590 w 1291"/>
              <a:gd name="T79" fmla="*/ 344 h 642"/>
              <a:gd name="T80" fmla="*/ 145 w 1291"/>
              <a:gd name="T81" fmla="*/ 436 h 642"/>
              <a:gd name="T82" fmla="*/ 954 w 1291"/>
              <a:gd name="T83" fmla="*/ 392 h 642"/>
              <a:gd name="T84" fmla="*/ 532 w 1291"/>
              <a:gd name="T85" fmla="*/ 496 h 642"/>
              <a:gd name="T86" fmla="*/ 853 w 1291"/>
              <a:gd name="T87" fmla="*/ 284 h 642"/>
              <a:gd name="T88" fmla="*/ 1007 w 1291"/>
              <a:gd name="T89" fmla="*/ 237 h 642"/>
              <a:gd name="T90" fmla="*/ 1077 w 1291"/>
              <a:gd name="T91" fmla="*/ 243 h 642"/>
              <a:gd name="T92" fmla="*/ 1121 w 1291"/>
              <a:gd name="T93" fmla="*/ 485 h 642"/>
              <a:gd name="T94" fmla="*/ 1035 w 1291"/>
              <a:gd name="T95" fmla="*/ 441 h 642"/>
              <a:gd name="T96" fmla="*/ 814 w 1291"/>
              <a:gd name="T97" fmla="*/ 448 h 642"/>
              <a:gd name="T98" fmla="*/ 679 w 1291"/>
              <a:gd name="T99" fmla="*/ 500 h 642"/>
              <a:gd name="T100" fmla="*/ 298 w 1291"/>
              <a:gd name="T101" fmla="*/ 579 h 642"/>
              <a:gd name="T102" fmla="*/ 310 w 1291"/>
              <a:gd name="T103" fmla="*/ 288 h 642"/>
              <a:gd name="T104" fmla="*/ 372 w 1291"/>
              <a:gd name="T105" fmla="*/ 450 h 642"/>
              <a:gd name="T106" fmla="*/ 574 w 1291"/>
              <a:gd name="T107" fmla="*/ 365 h 642"/>
              <a:gd name="T108" fmla="*/ 640 w 1291"/>
              <a:gd name="T109" fmla="*/ 351 h 642"/>
              <a:gd name="T110" fmla="*/ 1139 w 1291"/>
              <a:gd name="T111" fmla="*/ 365 h 642"/>
              <a:gd name="T112" fmla="*/ 615 w 1291"/>
              <a:gd name="T113" fmla="*/ 386 h 642"/>
              <a:gd name="T114" fmla="*/ 796 w 1291"/>
              <a:gd name="T115" fmla="*/ 353 h 642"/>
              <a:gd name="T116" fmla="*/ 778 w 1291"/>
              <a:gd name="T117" fmla="*/ 330 h 642"/>
              <a:gd name="T118" fmla="*/ 1039 w 1291"/>
              <a:gd name="T119" fmla="*/ 339 h 642"/>
              <a:gd name="T120" fmla="*/ 912 w 1291"/>
              <a:gd name="T121" fmla="*/ 346 h 642"/>
              <a:gd name="T122" fmla="*/ 1068 w 1291"/>
              <a:gd name="T123" fmla="*/ 336 h 642"/>
              <a:gd name="T124" fmla="*/ 1146 w 1291"/>
              <a:gd name="T125" fmla="*/ 365 h 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91" h="642">
                <a:moveTo>
                  <a:pt x="1266" y="363"/>
                </a:moveTo>
                <a:lnTo>
                  <a:pt x="1240" y="353"/>
                </a:lnTo>
                <a:lnTo>
                  <a:pt x="1212" y="344"/>
                </a:lnTo>
                <a:lnTo>
                  <a:pt x="1184" y="336"/>
                </a:lnTo>
                <a:lnTo>
                  <a:pt x="1156" y="330"/>
                </a:lnTo>
                <a:lnTo>
                  <a:pt x="1142" y="328"/>
                </a:lnTo>
                <a:lnTo>
                  <a:pt x="1130" y="325"/>
                </a:lnTo>
                <a:lnTo>
                  <a:pt x="1117" y="322"/>
                </a:lnTo>
                <a:lnTo>
                  <a:pt x="1105" y="321"/>
                </a:lnTo>
                <a:lnTo>
                  <a:pt x="1093" y="321"/>
                </a:lnTo>
                <a:lnTo>
                  <a:pt x="1082" y="320"/>
                </a:lnTo>
                <a:lnTo>
                  <a:pt x="1066" y="318"/>
                </a:lnTo>
                <a:lnTo>
                  <a:pt x="1051" y="317"/>
                </a:lnTo>
                <a:lnTo>
                  <a:pt x="1020" y="314"/>
                </a:lnTo>
                <a:lnTo>
                  <a:pt x="990" y="312"/>
                </a:lnTo>
                <a:lnTo>
                  <a:pt x="959" y="312"/>
                </a:lnTo>
                <a:lnTo>
                  <a:pt x="928" y="312"/>
                </a:lnTo>
                <a:lnTo>
                  <a:pt x="912" y="312"/>
                </a:lnTo>
                <a:lnTo>
                  <a:pt x="898" y="312"/>
                </a:lnTo>
                <a:lnTo>
                  <a:pt x="882" y="313"/>
                </a:lnTo>
                <a:lnTo>
                  <a:pt x="866" y="312"/>
                </a:lnTo>
                <a:lnTo>
                  <a:pt x="861" y="311"/>
                </a:lnTo>
                <a:lnTo>
                  <a:pt x="855" y="309"/>
                </a:lnTo>
                <a:lnTo>
                  <a:pt x="850" y="310"/>
                </a:lnTo>
                <a:lnTo>
                  <a:pt x="845" y="311"/>
                </a:lnTo>
                <a:lnTo>
                  <a:pt x="837" y="313"/>
                </a:lnTo>
                <a:lnTo>
                  <a:pt x="830" y="313"/>
                </a:lnTo>
                <a:lnTo>
                  <a:pt x="822" y="313"/>
                </a:lnTo>
                <a:lnTo>
                  <a:pt x="816" y="313"/>
                </a:lnTo>
                <a:lnTo>
                  <a:pt x="812" y="313"/>
                </a:lnTo>
                <a:lnTo>
                  <a:pt x="809" y="313"/>
                </a:lnTo>
                <a:lnTo>
                  <a:pt x="805" y="312"/>
                </a:lnTo>
                <a:lnTo>
                  <a:pt x="804" y="312"/>
                </a:lnTo>
                <a:lnTo>
                  <a:pt x="803" y="312"/>
                </a:lnTo>
                <a:lnTo>
                  <a:pt x="802" y="310"/>
                </a:lnTo>
                <a:lnTo>
                  <a:pt x="802" y="307"/>
                </a:lnTo>
                <a:lnTo>
                  <a:pt x="801" y="304"/>
                </a:lnTo>
                <a:lnTo>
                  <a:pt x="801" y="302"/>
                </a:lnTo>
                <a:lnTo>
                  <a:pt x="802" y="301"/>
                </a:lnTo>
                <a:lnTo>
                  <a:pt x="802" y="300"/>
                </a:lnTo>
                <a:lnTo>
                  <a:pt x="804" y="300"/>
                </a:lnTo>
                <a:lnTo>
                  <a:pt x="808" y="301"/>
                </a:lnTo>
                <a:lnTo>
                  <a:pt x="811" y="301"/>
                </a:lnTo>
                <a:lnTo>
                  <a:pt x="816" y="301"/>
                </a:lnTo>
                <a:lnTo>
                  <a:pt x="821" y="300"/>
                </a:lnTo>
                <a:lnTo>
                  <a:pt x="829" y="298"/>
                </a:lnTo>
                <a:lnTo>
                  <a:pt x="836" y="298"/>
                </a:lnTo>
                <a:lnTo>
                  <a:pt x="845" y="297"/>
                </a:lnTo>
                <a:lnTo>
                  <a:pt x="854" y="297"/>
                </a:lnTo>
                <a:lnTo>
                  <a:pt x="862" y="297"/>
                </a:lnTo>
                <a:lnTo>
                  <a:pt x="871" y="297"/>
                </a:lnTo>
                <a:lnTo>
                  <a:pt x="879" y="297"/>
                </a:lnTo>
                <a:lnTo>
                  <a:pt x="887" y="297"/>
                </a:lnTo>
                <a:lnTo>
                  <a:pt x="895" y="296"/>
                </a:lnTo>
                <a:lnTo>
                  <a:pt x="903" y="294"/>
                </a:lnTo>
                <a:lnTo>
                  <a:pt x="901" y="293"/>
                </a:lnTo>
                <a:lnTo>
                  <a:pt x="898" y="292"/>
                </a:lnTo>
                <a:lnTo>
                  <a:pt x="894" y="290"/>
                </a:lnTo>
                <a:lnTo>
                  <a:pt x="891" y="289"/>
                </a:lnTo>
                <a:lnTo>
                  <a:pt x="884" y="289"/>
                </a:lnTo>
                <a:lnTo>
                  <a:pt x="878" y="290"/>
                </a:lnTo>
                <a:lnTo>
                  <a:pt x="861" y="290"/>
                </a:lnTo>
                <a:lnTo>
                  <a:pt x="845" y="290"/>
                </a:lnTo>
                <a:lnTo>
                  <a:pt x="829" y="290"/>
                </a:lnTo>
                <a:lnTo>
                  <a:pt x="813" y="290"/>
                </a:lnTo>
                <a:lnTo>
                  <a:pt x="808" y="292"/>
                </a:lnTo>
                <a:lnTo>
                  <a:pt x="801" y="290"/>
                </a:lnTo>
                <a:lnTo>
                  <a:pt x="797" y="290"/>
                </a:lnTo>
                <a:lnTo>
                  <a:pt x="795" y="289"/>
                </a:lnTo>
                <a:lnTo>
                  <a:pt x="792" y="287"/>
                </a:lnTo>
                <a:lnTo>
                  <a:pt x="789" y="285"/>
                </a:lnTo>
                <a:lnTo>
                  <a:pt x="805" y="282"/>
                </a:lnTo>
                <a:lnTo>
                  <a:pt x="821" y="281"/>
                </a:lnTo>
                <a:lnTo>
                  <a:pt x="822" y="280"/>
                </a:lnTo>
                <a:lnTo>
                  <a:pt x="825" y="280"/>
                </a:lnTo>
                <a:lnTo>
                  <a:pt x="826" y="279"/>
                </a:lnTo>
                <a:lnTo>
                  <a:pt x="826" y="278"/>
                </a:lnTo>
                <a:lnTo>
                  <a:pt x="826" y="273"/>
                </a:lnTo>
                <a:lnTo>
                  <a:pt x="826" y="269"/>
                </a:lnTo>
                <a:lnTo>
                  <a:pt x="828" y="268"/>
                </a:lnTo>
                <a:lnTo>
                  <a:pt x="830" y="268"/>
                </a:lnTo>
                <a:lnTo>
                  <a:pt x="834" y="269"/>
                </a:lnTo>
                <a:lnTo>
                  <a:pt x="836" y="269"/>
                </a:lnTo>
                <a:lnTo>
                  <a:pt x="853" y="270"/>
                </a:lnTo>
                <a:lnTo>
                  <a:pt x="870" y="270"/>
                </a:lnTo>
                <a:lnTo>
                  <a:pt x="887" y="269"/>
                </a:lnTo>
                <a:lnTo>
                  <a:pt x="904" y="268"/>
                </a:lnTo>
                <a:lnTo>
                  <a:pt x="920" y="267"/>
                </a:lnTo>
                <a:lnTo>
                  <a:pt x="936" y="265"/>
                </a:lnTo>
                <a:lnTo>
                  <a:pt x="952" y="267"/>
                </a:lnTo>
                <a:lnTo>
                  <a:pt x="968" y="268"/>
                </a:lnTo>
                <a:lnTo>
                  <a:pt x="976" y="268"/>
                </a:lnTo>
                <a:lnTo>
                  <a:pt x="985" y="268"/>
                </a:lnTo>
                <a:lnTo>
                  <a:pt x="994" y="267"/>
                </a:lnTo>
                <a:lnTo>
                  <a:pt x="1003" y="267"/>
                </a:lnTo>
                <a:lnTo>
                  <a:pt x="956" y="262"/>
                </a:lnTo>
                <a:lnTo>
                  <a:pt x="909" y="260"/>
                </a:lnTo>
                <a:lnTo>
                  <a:pt x="861" y="259"/>
                </a:lnTo>
                <a:lnTo>
                  <a:pt x="813" y="259"/>
                </a:lnTo>
                <a:lnTo>
                  <a:pt x="767" y="260"/>
                </a:lnTo>
                <a:lnTo>
                  <a:pt x="719" y="262"/>
                </a:lnTo>
                <a:lnTo>
                  <a:pt x="671" y="265"/>
                </a:lnTo>
                <a:lnTo>
                  <a:pt x="624" y="269"/>
                </a:lnTo>
                <a:lnTo>
                  <a:pt x="624" y="267"/>
                </a:lnTo>
                <a:lnTo>
                  <a:pt x="624" y="265"/>
                </a:lnTo>
                <a:lnTo>
                  <a:pt x="627" y="265"/>
                </a:lnTo>
                <a:lnTo>
                  <a:pt x="629" y="264"/>
                </a:lnTo>
                <a:lnTo>
                  <a:pt x="632" y="264"/>
                </a:lnTo>
                <a:lnTo>
                  <a:pt x="637" y="264"/>
                </a:lnTo>
                <a:lnTo>
                  <a:pt x="633" y="261"/>
                </a:lnTo>
                <a:lnTo>
                  <a:pt x="632" y="257"/>
                </a:lnTo>
                <a:lnTo>
                  <a:pt x="633" y="255"/>
                </a:lnTo>
                <a:lnTo>
                  <a:pt x="636" y="252"/>
                </a:lnTo>
                <a:lnTo>
                  <a:pt x="638" y="249"/>
                </a:lnTo>
                <a:lnTo>
                  <a:pt x="639" y="246"/>
                </a:lnTo>
                <a:lnTo>
                  <a:pt x="641" y="245"/>
                </a:lnTo>
                <a:lnTo>
                  <a:pt x="644" y="245"/>
                </a:lnTo>
                <a:lnTo>
                  <a:pt x="646" y="247"/>
                </a:lnTo>
                <a:lnTo>
                  <a:pt x="647" y="248"/>
                </a:lnTo>
                <a:lnTo>
                  <a:pt x="653" y="249"/>
                </a:lnTo>
                <a:lnTo>
                  <a:pt x="657" y="249"/>
                </a:lnTo>
                <a:lnTo>
                  <a:pt x="662" y="249"/>
                </a:lnTo>
                <a:lnTo>
                  <a:pt x="666" y="248"/>
                </a:lnTo>
                <a:lnTo>
                  <a:pt x="670" y="245"/>
                </a:lnTo>
                <a:lnTo>
                  <a:pt x="674" y="242"/>
                </a:lnTo>
                <a:lnTo>
                  <a:pt x="679" y="239"/>
                </a:lnTo>
                <a:lnTo>
                  <a:pt x="682" y="238"/>
                </a:lnTo>
                <a:lnTo>
                  <a:pt x="687" y="237"/>
                </a:lnTo>
                <a:lnTo>
                  <a:pt x="692" y="236"/>
                </a:lnTo>
                <a:lnTo>
                  <a:pt x="704" y="236"/>
                </a:lnTo>
                <a:lnTo>
                  <a:pt x="715" y="234"/>
                </a:lnTo>
                <a:lnTo>
                  <a:pt x="728" y="231"/>
                </a:lnTo>
                <a:lnTo>
                  <a:pt x="739" y="230"/>
                </a:lnTo>
                <a:lnTo>
                  <a:pt x="751" y="231"/>
                </a:lnTo>
                <a:lnTo>
                  <a:pt x="762" y="231"/>
                </a:lnTo>
                <a:lnTo>
                  <a:pt x="762" y="236"/>
                </a:lnTo>
                <a:lnTo>
                  <a:pt x="763" y="239"/>
                </a:lnTo>
                <a:lnTo>
                  <a:pt x="766" y="240"/>
                </a:lnTo>
                <a:lnTo>
                  <a:pt x="767" y="240"/>
                </a:lnTo>
                <a:lnTo>
                  <a:pt x="768" y="239"/>
                </a:lnTo>
                <a:lnTo>
                  <a:pt x="769" y="238"/>
                </a:lnTo>
                <a:lnTo>
                  <a:pt x="771" y="235"/>
                </a:lnTo>
                <a:lnTo>
                  <a:pt x="773" y="232"/>
                </a:lnTo>
                <a:lnTo>
                  <a:pt x="778" y="232"/>
                </a:lnTo>
                <a:lnTo>
                  <a:pt x="784" y="234"/>
                </a:lnTo>
                <a:lnTo>
                  <a:pt x="785" y="235"/>
                </a:lnTo>
                <a:lnTo>
                  <a:pt x="785" y="237"/>
                </a:lnTo>
                <a:lnTo>
                  <a:pt x="785" y="238"/>
                </a:lnTo>
                <a:lnTo>
                  <a:pt x="784" y="242"/>
                </a:lnTo>
                <a:lnTo>
                  <a:pt x="784" y="244"/>
                </a:lnTo>
                <a:lnTo>
                  <a:pt x="785" y="246"/>
                </a:lnTo>
                <a:lnTo>
                  <a:pt x="786" y="247"/>
                </a:lnTo>
                <a:lnTo>
                  <a:pt x="789" y="247"/>
                </a:lnTo>
                <a:lnTo>
                  <a:pt x="793" y="246"/>
                </a:lnTo>
                <a:lnTo>
                  <a:pt x="794" y="244"/>
                </a:lnTo>
                <a:lnTo>
                  <a:pt x="793" y="242"/>
                </a:lnTo>
                <a:lnTo>
                  <a:pt x="793" y="238"/>
                </a:lnTo>
                <a:lnTo>
                  <a:pt x="792" y="237"/>
                </a:lnTo>
                <a:lnTo>
                  <a:pt x="792" y="236"/>
                </a:lnTo>
                <a:lnTo>
                  <a:pt x="793" y="236"/>
                </a:lnTo>
                <a:lnTo>
                  <a:pt x="794" y="235"/>
                </a:lnTo>
                <a:lnTo>
                  <a:pt x="799" y="234"/>
                </a:lnTo>
                <a:lnTo>
                  <a:pt x="803" y="232"/>
                </a:lnTo>
                <a:lnTo>
                  <a:pt x="811" y="230"/>
                </a:lnTo>
                <a:lnTo>
                  <a:pt x="819" y="229"/>
                </a:lnTo>
                <a:lnTo>
                  <a:pt x="822" y="228"/>
                </a:lnTo>
                <a:lnTo>
                  <a:pt x="825" y="228"/>
                </a:lnTo>
                <a:lnTo>
                  <a:pt x="824" y="234"/>
                </a:lnTo>
                <a:lnTo>
                  <a:pt x="821" y="238"/>
                </a:lnTo>
                <a:lnTo>
                  <a:pt x="822" y="240"/>
                </a:lnTo>
                <a:lnTo>
                  <a:pt x="826" y="240"/>
                </a:lnTo>
                <a:lnTo>
                  <a:pt x="826" y="238"/>
                </a:lnTo>
                <a:lnTo>
                  <a:pt x="826" y="237"/>
                </a:lnTo>
                <a:lnTo>
                  <a:pt x="833" y="234"/>
                </a:lnTo>
                <a:lnTo>
                  <a:pt x="842" y="231"/>
                </a:lnTo>
                <a:lnTo>
                  <a:pt x="849" y="229"/>
                </a:lnTo>
                <a:lnTo>
                  <a:pt x="857" y="227"/>
                </a:lnTo>
                <a:lnTo>
                  <a:pt x="865" y="226"/>
                </a:lnTo>
                <a:lnTo>
                  <a:pt x="874" y="226"/>
                </a:lnTo>
                <a:lnTo>
                  <a:pt x="876" y="227"/>
                </a:lnTo>
                <a:lnTo>
                  <a:pt x="878" y="227"/>
                </a:lnTo>
                <a:lnTo>
                  <a:pt x="879" y="227"/>
                </a:lnTo>
                <a:lnTo>
                  <a:pt x="883" y="226"/>
                </a:lnTo>
                <a:lnTo>
                  <a:pt x="885" y="224"/>
                </a:lnTo>
                <a:lnTo>
                  <a:pt x="886" y="224"/>
                </a:lnTo>
                <a:lnTo>
                  <a:pt x="887" y="227"/>
                </a:lnTo>
                <a:lnTo>
                  <a:pt x="888" y="229"/>
                </a:lnTo>
                <a:lnTo>
                  <a:pt x="892" y="234"/>
                </a:lnTo>
                <a:lnTo>
                  <a:pt x="894" y="235"/>
                </a:lnTo>
                <a:lnTo>
                  <a:pt x="898" y="234"/>
                </a:lnTo>
                <a:lnTo>
                  <a:pt x="902" y="232"/>
                </a:lnTo>
                <a:lnTo>
                  <a:pt x="905" y="230"/>
                </a:lnTo>
                <a:lnTo>
                  <a:pt x="909" y="229"/>
                </a:lnTo>
                <a:lnTo>
                  <a:pt x="913" y="228"/>
                </a:lnTo>
                <a:lnTo>
                  <a:pt x="917" y="229"/>
                </a:lnTo>
                <a:lnTo>
                  <a:pt x="920" y="231"/>
                </a:lnTo>
                <a:lnTo>
                  <a:pt x="924" y="234"/>
                </a:lnTo>
                <a:lnTo>
                  <a:pt x="927" y="236"/>
                </a:lnTo>
                <a:lnTo>
                  <a:pt x="931" y="236"/>
                </a:lnTo>
                <a:lnTo>
                  <a:pt x="933" y="237"/>
                </a:lnTo>
                <a:lnTo>
                  <a:pt x="934" y="240"/>
                </a:lnTo>
                <a:lnTo>
                  <a:pt x="936" y="243"/>
                </a:lnTo>
                <a:lnTo>
                  <a:pt x="939" y="244"/>
                </a:lnTo>
                <a:lnTo>
                  <a:pt x="943" y="243"/>
                </a:lnTo>
                <a:lnTo>
                  <a:pt x="946" y="240"/>
                </a:lnTo>
                <a:lnTo>
                  <a:pt x="951" y="237"/>
                </a:lnTo>
                <a:lnTo>
                  <a:pt x="956" y="234"/>
                </a:lnTo>
                <a:lnTo>
                  <a:pt x="959" y="235"/>
                </a:lnTo>
                <a:lnTo>
                  <a:pt x="964" y="236"/>
                </a:lnTo>
                <a:lnTo>
                  <a:pt x="966" y="234"/>
                </a:lnTo>
                <a:lnTo>
                  <a:pt x="968" y="232"/>
                </a:lnTo>
                <a:lnTo>
                  <a:pt x="969" y="236"/>
                </a:lnTo>
                <a:lnTo>
                  <a:pt x="969" y="239"/>
                </a:lnTo>
                <a:lnTo>
                  <a:pt x="973" y="242"/>
                </a:lnTo>
                <a:lnTo>
                  <a:pt x="978" y="242"/>
                </a:lnTo>
                <a:lnTo>
                  <a:pt x="984" y="240"/>
                </a:lnTo>
                <a:lnTo>
                  <a:pt x="989" y="239"/>
                </a:lnTo>
                <a:lnTo>
                  <a:pt x="993" y="238"/>
                </a:lnTo>
                <a:lnTo>
                  <a:pt x="998" y="236"/>
                </a:lnTo>
                <a:lnTo>
                  <a:pt x="1000" y="230"/>
                </a:lnTo>
                <a:lnTo>
                  <a:pt x="1003" y="228"/>
                </a:lnTo>
                <a:lnTo>
                  <a:pt x="1007" y="229"/>
                </a:lnTo>
                <a:lnTo>
                  <a:pt x="1011" y="231"/>
                </a:lnTo>
                <a:lnTo>
                  <a:pt x="1015" y="232"/>
                </a:lnTo>
                <a:lnTo>
                  <a:pt x="1019" y="232"/>
                </a:lnTo>
                <a:lnTo>
                  <a:pt x="1028" y="234"/>
                </a:lnTo>
                <a:lnTo>
                  <a:pt x="1038" y="235"/>
                </a:lnTo>
                <a:lnTo>
                  <a:pt x="1043" y="235"/>
                </a:lnTo>
                <a:lnTo>
                  <a:pt x="1049" y="237"/>
                </a:lnTo>
                <a:lnTo>
                  <a:pt x="1050" y="239"/>
                </a:lnTo>
                <a:lnTo>
                  <a:pt x="1051" y="243"/>
                </a:lnTo>
                <a:lnTo>
                  <a:pt x="1050" y="245"/>
                </a:lnTo>
                <a:lnTo>
                  <a:pt x="1049" y="247"/>
                </a:lnTo>
                <a:lnTo>
                  <a:pt x="1045" y="248"/>
                </a:lnTo>
                <a:lnTo>
                  <a:pt x="1042" y="249"/>
                </a:lnTo>
                <a:lnTo>
                  <a:pt x="1041" y="251"/>
                </a:lnTo>
                <a:lnTo>
                  <a:pt x="1040" y="252"/>
                </a:lnTo>
                <a:lnTo>
                  <a:pt x="1040" y="254"/>
                </a:lnTo>
                <a:lnTo>
                  <a:pt x="1041" y="255"/>
                </a:lnTo>
                <a:lnTo>
                  <a:pt x="1047" y="256"/>
                </a:lnTo>
                <a:lnTo>
                  <a:pt x="1052" y="255"/>
                </a:lnTo>
                <a:lnTo>
                  <a:pt x="1056" y="256"/>
                </a:lnTo>
                <a:lnTo>
                  <a:pt x="1058" y="259"/>
                </a:lnTo>
                <a:lnTo>
                  <a:pt x="1059" y="261"/>
                </a:lnTo>
                <a:lnTo>
                  <a:pt x="1058" y="265"/>
                </a:lnTo>
                <a:lnTo>
                  <a:pt x="1057" y="273"/>
                </a:lnTo>
                <a:lnTo>
                  <a:pt x="1056" y="281"/>
                </a:lnTo>
                <a:lnTo>
                  <a:pt x="1058" y="278"/>
                </a:lnTo>
                <a:lnTo>
                  <a:pt x="1061" y="276"/>
                </a:lnTo>
                <a:lnTo>
                  <a:pt x="1065" y="273"/>
                </a:lnTo>
                <a:lnTo>
                  <a:pt x="1069" y="272"/>
                </a:lnTo>
                <a:lnTo>
                  <a:pt x="1073" y="272"/>
                </a:lnTo>
                <a:lnTo>
                  <a:pt x="1077" y="272"/>
                </a:lnTo>
                <a:lnTo>
                  <a:pt x="1081" y="273"/>
                </a:lnTo>
                <a:lnTo>
                  <a:pt x="1084" y="276"/>
                </a:lnTo>
                <a:lnTo>
                  <a:pt x="1091" y="280"/>
                </a:lnTo>
                <a:lnTo>
                  <a:pt x="1098" y="284"/>
                </a:lnTo>
                <a:lnTo>
                  <a:pt x="1110" y="289"/>
                </a:lnTo>
                <a:lnTo>
                  <a:pt x="1122" y="294"/>
                </a:lnTo>
                <a:lnTo>
                  <a:pt x="1126" y="296"/>
                </a:lnTo>
                <a:lnTo>
                  <a:pt x="1132" y="300"/>
                </a:lnTo>
                <a:lnTo>
                  <a:pt x="1138" y="301"/>
                </a:lnTo>
                <a:lnTo>
                  <a:pt x="1142" y="301"/>
                </a:lnTo>
                <a:lnTo>
                  <a:pt x="1149" y="296"/>
                </a:lnTo>
                <a:lnTo>
                  <a:pt x="1155" y="288"/>
                </a:lnTo>
                <a:lnTo>
                  <a:pt x="1158" y="286"/>
                </a:lnTo>
                <a:lnTo>
                  <a:pt x="1162" y="282"/>
                </a:lnTo>
                <a:lnTo>
                  <a:pt x="1166" y="281"/>
                </a:lnTo>
                <a:lnTo>
                  <a:pt x="1172" y="280"/>
                </a:lnTo>
                <a:lnTo>
                  <a:pt x="1176" y="280"/>
                </a:lnTo>
                <a:lnTo>
                  <a:pt x="1181" y="280"/>
                </a:lnTo>
                <a:lnTo>
                  <a:pt x="1187" y="280"/>
                </a:lnTo>
                <a:lnTo>
                  <a:pt x="1191" y="277"/>
                </a:lnTo>
                <a:lnTo>
                  <a:pt x="1183" y="271"/>
                </a:lnTo>
                <a:lnTo>
                  <a:pt x="1175" y="265"/>
                </a:lnTo>
                <a:lnTo>
                  <a:pt x="1166" y="261"/>
                </a:lnTo>
                <a:lnTo>
                  <a:pt x="1157" y="257"/>
                </a:lnTo>
                <a:lnTo>
                  <a:pt x="1139" y="249"/>
                </a:lnTo>
                <a:lnTo>
                  <a:pt x="1119" y="245"/>
                </a:lnTo>
                <a:lnTo>
                  <a:pt x="1110" y="243"/>
                </a:lnTo>
                <a:lnTo>
                  <a:pt x="1101" y="240"/>
                </a:lnTo>
                <a:lnTo>
                  <a:pt x="1098" y="238"/>
                </a:lnTo>
                <a:lnTo>
                  <a:pt x="1096" y="236"/>
                </a:lnTo>
                <a:lnTo>
                  <a:pt x="1091" y="236"/>
                </a:lnTo>
                <a:lnTo>
                  <a:pt x="1088" y="236"/>
                </a:lnTo>
                <a:lnTo>
                  <a:pt x="1076" y="235"/>
                </a:lnTo>
                <a:lnTo>
                  <a:pt x="1066" y="232"/>
                </a:lnTo>
                <a:lnTo>
                  <a:pt x="1056" y="230"/>
                </a:lnTo>
                <a:lnTo>
                  <a:pt x="1044" y="229"/>
                </a:lnTo>
                <a:lnTo>
                  <a:pt x="1022" y="226"/>
                </a:lnTo>
                <a:lnTo>
                  <a:pt x="999" y="222"/>
                </a:lnTo>
                <a:lnTo>
                  <a:pt x="976" y="220"/>
                </a:lnTo>
                <a:lnTo>
                  <a:pt x="953" y="219"/>
                </a:lnTo>
                <a:lnTo>
                  <a:pt x="942" y="218"/>
                </a:lnTo>
                <a:lnTo>
                  <a:pt x="931" y="217"/>
                </a:lnTo>
                <a:lnTo>
                  <a:pt x="919" y="217"/>
                </a:lnTo>
                <a:lnTo>
                  <a:pt x="907" y="215"/>
                </a:lnTo>
                <a:lnTo>
                  <a:pt x="898" y="217"/>
                </a:lnTo>
                <a:lnTo>
                  <a:pt x="888" y="217"/>
                </a:lnTo>
                <a:lnTo>
                  <a:pt x="887" y="215"/>
                </a:lnTo>
                <a:lnTo>
                  <a:pt x="886" y="215"/>
                </a:lnTo>
                <a:lnTo>
                  <a:pt x="885" y="214"/>
                </a:lnTo>
                <a:lnTo>
                  <a:pt x="885" y="212"/>
                </a:lnTo>
                <a:lnTo>
                  <a:pt x="891" y="211"/>
                </a:lnTo>
                <a:lnTo>
                  <a:pt x="896" y="211"/>
                </a:lnTo>
                <a:lnTo>
                  <a:pt x="909" y="210"/>
                </a:lnTo>
                <a:lnTo>
                  <a:pt x="920" y="211"/>
                </a:lnTo>
                <a:lnTo>
                  <a:pt x="925" y="212"/>
                </a:lnTo>
                <a:lnTo>
                  <a:pt x="929" y="212"/>
                </a:lnTo>
                <a:lnTo>
                  <a:pt x="934" y="212"/>
                </a:lnTo>
                <a:lnTo>
                  <a:pt x="939" y="211"/>
                </a:lnTo>
                <a:lnTo>
                  <a:pt x="953" y="199"/>
                </a:lnTo>
                <a:lnTo>
                  <a:pt x="969" y="190"/>
                </a:lnTo>
                <a:lnTo>
                  <a:pt x="967" y="187"/>
                </a:lnTo>
                <a:lnTo>
                  <a:pt x="964" y="186"/>
                </a:lnTo>
                <a:lnTo>
                  <a:pt x="960" y="187"/>
                </a:lnTo>
                <a:lnTo>
                  <a:pt x="956" y="187"/>
                </a:lnTo>
                <a:lnTo>
                  <a:pt x="952" y="188"/>
                </a:lnTo>
                <a:lnTo>
                  <a:pt x="949" y="187"/>
                </a:lnTo>
                <a:lnTo>
                  <a:pt x="948" y="186"/>
                </a:lnTo>
                <a:lnTo>
                  <a:pt x="946" y="185"/>
                </a:lnTo>
                <a:lnTo>
                  <a:pt x="946" y="182"/>
                </a:lnTo>
                <a:lnTo>
                  <a:pt x="949" y="180"/>
                </a:lnTo>
                <a:lnTo>
                  <a:pt x="954" y="179"/>
                </a:lnTo>
                <a:lnTo>
                  <a:pt x="961" y="178"/>
                </a:lnTo>
                <a:lnTo>
                  <a:pt x="965" y="179"/>
                </a:lnTo>
                <a:lnTo>
                  <a:pt x="968" y="180"/>
                </a:lnTo>
                <a:lnTo>
                  <a:pt x="969" y="179"/>
                </a:lnTo>
                <a:lnTo>
                  <a:pt x="970" y="179"/>
                </a:lnTo>
                <a:lnTo>
                  <a:pt x="969" y="178"/>
                </a:lnTo>
                <a:lnTo>
                  <a:pt x="969" y="178"/>
                </a:lnTo>
                <a:lnTo>
                  <a:pt x="967" y="177"/>
                </a:lnTo>
                <a:lnTo>
                  <a:pt x="966" y="177"/>
                </a:lnTo>
                <a:lnTo>
                  <a:pt x="967" y="173"/>
                </a:lnTo>
                <a:lnTo>
                  <a:pt x="968" y="170"/>
                </a:lnTo>
                <a:lnTo>
                  <a:pt x="969" y="165"/>
                </a:lnTo>
                <a:lnTo>
                  <a:pt x="968" y="162"/>
                </a:lnTo>
                <a:lnTo>
                  <a:pt x="965" y="159"/>
                </a:lnTo>
                <a:lnTo>
                  <a:pt x="959" y="156"/>
                </a:lnTo>
                <a:lnTo>
                  <a:pt x="953" y="154"/>
                </a:lnTo>
                <a:lnTo>
                  <a:pt x="949" y="152"/>
                </a:lnTo>
                <a:lnTo>
                  <a:pt x="933" y="147"/>
                </a:lnTo>
                <a:lnTo>
                  <a:pt x="918" y="143"/>
                </a:lnTo>
                <a:lnTo>
                  <a:pt x="902" y="138"/>
                </a:lnTo>
                <a:lnTo>
                  <a:pt x="887" y="135"/>
                </a:lnTo>
                <a:lnTo>
                  <a:pt x="854" y="128"/>
                </a:lnTo>
                <a:lnTo>
                  <a:pt x="822" y="123"/>
                </a:lnTo>
                <a:lnTo>
                  <a:pt x="789" y="119"/>
                </a:lnTo>
                <a:lnTo>
                  <a:pt x="758" y="115"/>
                </a:lnTo>
                <a:lnTo>
                  <a:pt x="752" y="114"/>
                </a:lnTo>
                <a:lnTo>
                  <a:pt x="748" y="113"/>
                </a:lnTo>
                <a:lnTo>
                  <a:pt x="748" y="112"/>
                </a:lnTo>
                <a:lnTo>
                  <a:pt x="748" y="110"/>
                </a:lnTo>
                <a:lnTo>
                  <a:pt x="750" y="107"/>
                </a:lnTo>
                <a:lnTo>
                  <a:pt x="751" y="105"/>
                </a:lnTo>
                <a:lnTo>
                  <a:pt x="759" y="96"/>
                </a:lnTo>
                <a:lnTo>
                  <a:pt x="769" y="88"/>
                </a:lnTo>
                <a:lnTo>
                  <a:pt x="772" y="85"/>
                </a:lnTo>
                <a:lnTo>
                  <a:pt x="776" y="80"/>
                </a:lnTo>
                <a:lnTo>
                  <a:pt x="779" y="74"/>
                </a:lnTo>
                <a:lnTo>
                  <a:pt x="781" y="70"/>
                </a:lnTo>
                <a:lnTo>
                  <a:pt x="783" y="64"/>
                </a:lnTo>
                <a:lnTo>
                  <a:pt x="781" y="60"/>
                </a:lnTo>
                <a:lnTo>
                  <a:pt x="780" y="57"/>
                </a:lnTo>
                <a:lnTo>
                  <a:pt x="779" y="55"/>
                </a:lnTo>
                <a:lnTo>
                  <a:pt x="777" y="53"/>
                </a:lnTo>
                <a:lnTo>
                  <a:pt x="773" y="52"/>
                </a:lnTo>
                <a:lnTo>
                  <a:pt x="760" y="48"/>
                </a:lnTo>
                <a:lnTo>
                  <a:pt x="745" y="46"/>
                </a:lnTo>
                <a:lnTo>
                  <a:pt x="729" y="43"/>
                </a:lnTo>
                <a:lnTo>
                  <a:pt x="713" y="41"/>
                </a:lnTo>
                <a:lnTo>
                  <a:pt x="697" y="40"/>
                </a:lnTo>
                <a:lnTo>
                  <a:pt x="680" y="39"/>
                </a:lnTo>
                <a:lnTo>
                  <a:pt x="674" y="38"/>
                </a:lnTo>
                <a:lnTo>
                  <a:pt x="669" y="38"/>
                </a:lnTo>
                <a:lnTo>
                  <a:pt x="662" y="37"/>
                </a:lnTo>
                <a:lnTo>
                  <a:pt x="657" y="35"/>
                </a:lnTo>
                <a:lnTo>
                  <a:pt x="654" y="31"/>
                </a:lnTo>
                <a:lnTo>
                  <a:pt x="652" y="27"/>
                </a:lnTo>
                <a:lnTo>
                  <a:pt x="651" y="23"/>
                </a:lnTo>
                <a:lnTo>
                  <a:pt x="648" y="19"/>
                </a:lnTo>
                <a:lnTo>
                  <a:pt x="645" y="15"/>
                </a:lnTo>
                <a:lnTo>
                  <a:pt x="640" y="13"/>
                </a:lnTo>
                <a:lnTo>
                  <a:pt x="635" y="12"/>
                </a:lnTo>
                <a:lnTo>
                  <a:pt x="630" y="11"/>
                </a:lnTo>
                <a:lnTo>
                  <a:pt x="615" y="6"/>
                </a:lnTo>
                <a:lnTo>
                  <a:pt x="599" y="4"/>
                </a:lnTo>
                <a:lnTo>
                  <a:pt x="583" y="3"/>
                </a:lnTo>
                <a:lnTo>
                  <a:pt x="567" y="2"/>
                </a:lnTo>
                <a:lnTo>
                  <a:pt x="534" y="0"/>
                </a:lnTo>
                <a:lnTo>
                  <a:pt x="500" y="0"/>
                </a:lnTo>
                <a:lnTo>
                  <a:pt x="467" y="2"/>
                </a:lnTo>
                <a:lnTo>
                  <a:pt x="434" y="4"/>
                </a:lnTo>
                <a:lnTo>
                  <a:pt x="401" y="6"/>
                </a:lnTo>
                <a:lnTo>
                  <a:pt x="369" y="12"/>
                </a:lnTo>
                <a:lnTo>
                  <a:pt x="338" y="18"/>
                </a:lnTo>
                <a:lnTo>
                  <a:pt x="306" y="27"/>
                </a:lnTo>
                <a:lnTo>
                  <a:pt x="290" y="30"/>
                </a:lnTo>
                <a:lnTo>
                  <a:pt x="275" y="35"/>
                </a:lnTo>
                <a:lnTo>
                  <a:pt x="260" y="38"/>
                </a:lnTo>
                <a:lnTo>
                  <a:pt x="245" y="44"/>
                </a:lnTo>
                <a:lnTo>
                  <a:pt x="240" y="46"/>
                </a:lnTo>
                <a:lnTo>
                  <a:pt x="235" y="49"/>
                </a:lnTo>
                <a:lnTo>
                  <a:pt x="229" y="53"/>
                </a:lnTo>
                <a:lnTo>
                  <a:pt x="225" y="57"/>
                </a:lnTo>
                <a:lnTo>
                  <a:pt x="223" y="62"/>
                </a:lnTo>
                <a:lnTo>
                  <a:pt x="220" y="68"/>
                </a:lnTo>
                <a:lnTo>
                  <a:pt x="220" y="70"/>
                </a:lnTo>
                <a:lnTo>
                  <a:pt x="221" y="73"/>
                </a:lnTo>
                <a:lnTo>
                  <a:pt x="223" y="76"/>
                </a:lnTo>
                <a:lnTo>
                  <a:pt x="225" y="79"/>
                </a:lnTo>
                <a:lnTo>
                  <a:pt x="227" y="81"/>
                </a:lnTo>
                <a:lnTo>
                  <a:pt x="229" y="82"/>
                </a:lnTo>
                <a:lnTo>
                  <a:pt x="233" y="83"/>
                </a:lnTo>
                <a:lnTo>
                  <a:pt x="236" y="83"/>
                </a:lnTo>
                <a:lnTo>
                  <a:pt x="243" y="83"/>
                </a:lnTo>
                <a:lnTo>
                  <a:pt x="249" y="82"/>
                </a:lnTo>
                <a:lnTo>
                  <a:pt x="265" y="76"/>
                </a:lnTo>
                <a:lnTo>
                  <a:pt x="280" y="69"/>
                </a:lnTo>
                <a:lnTo>
                  <a:pt x="294" y="64"/>
                </a:lnTo>
                <a:lnTo>
                  <a:pt x="310" y="61"/>
                </a:lnTo>
                <a:lnTo>
                  <a:pt x="326" y="57"/>
                </a:lnTo>
                <a:lnTo>
                  <a:pt x="342" y="54"/>
                </a:lnTo>
                <a:lnTo>
                  <a:pt x="359" y="51"/>
                </a:lnTo>
                <a:lnTo>
                  <a:pt x="376" y="47"/>
                </a:lnTo>
                <a:lnTo>
                  <a:pt x="393" y="44"/>
                </a:lnTo>
                <a:lnTo>
                  <a:pt x="410" y="41"/>
                </a:lnTo>
                <a:lnTo>
                  <a:pt x="429" y="38"/>
                </a:lnTo>
                <a:lnTo>
                  <a:pt x="447" y="36"/>
                </a:lnTo>
                <a:lnTo>
                  <a:pt x="465" y="33"/>
                </a:lnTo>
                <a:lnTo>
                  <a:pt x="483" y="33"/>
                </a:lnTo>
                <a:lnTo>
                  <a:pt x="480" y="35"/>
                </a:lnTo>
                <a:lnTo>
                  <a:pt x="475" y="36"/>
                </a:lnTo>
                <a:lnTo>
                  <a:pt x="474" y="38"/>
                </a:lnTo>
                <a:lnTo>
                  <a:pt x="473" y="39"/>
                </a:lnTo>
                <a:lnTo>
                  <a:pt x="470" y="40"/>
                </a:lnTo>
                <a:lnTo>
                  <a:pt x="465" y="40"/>
                </a:lnTo>
                <a:lnTo>
                  <a:pt x="456" y="41"/>
                </a:lnTo>
                <a:lnTo>
                  <a:pt x="447" y="41"/>
                </a:lnTo>
                <a:lnTo>
                  <a:pt x="437" y="43"/>
                </a:lnTo>
                <a:lnTo>
                  <a:pt x="427" y="44"/>
                </a:lnTo>
                <a:lnTo>
                  <a:pt x="410" y="47"/>
                </a:lnTo>
                <a:lnTo>
                  <a:pt x="392" y="49"/>
                </a:lnTo>
                <a:lnTo>
                  <a:pt x="375" y="53"/>
                </a:lnTo>
                <a:lnTo>
                  <a:pt x="357" y="56"/>
                </a:lnTo>
                <a:lnTo>
                  <a:pt x="323" y="65"/>
                </a:lnTo>
                <a:lnTo>
                  <a:pt x="289" y="77"/>
                </a:lnTo>
                <a:lnTo>
                  <a:pt x="256" y="89"/>
                </a:lnTo>
                <a:lnTo>
                  <a:pt x="221" y="102"/>
                </a:lnTo>
                <a:lnTo>
                  <a:pt x="206" y="107"/>
                </a:lnTo>
                <a:lnTo>
                  <a:pt x="188" y="114"/>
                </a:lnTo>
                <a:lnTo>
                  <a:pt x="173" y="121"/>
                </a:lnTo>
                <a:lnTo>
                  <a:pt x="155" y="128"/>
                </a:lnTo>
                <a:lnTo>
                  <a:pt x="140" y="135"/>
                </a:lnTo>
                <a:lnTo>
                  <a:pt x="124" y="141"/>
                </a:lnTo>
                <a:lnTo>
                  <a:pt x="118" y="144"/>
                </a:lnTo>
                <a:lnTo>
                  <a:pt x="110" y="147"/>
                </a:lnTo>
                <a:lnTo>
                  <a:pt x="107" y="148"/>
                </a:lnTo>
                <a:lnTo>
                  <a:pt x="104" y="151"/>
                </a:lnTo>
                <a:lnTo>
                  <a:pt x="103" y="154"/>
                </a:lnTo>
                <a:lnTo>
                  <a:pt x="103" y="157"/>
                </a:lnTo>
                <a:lnTo>
                  <a:pt x="105" y="161"/>
                </a:lnTo>
                <a:lnTo>
                  <a:pt x="109" y="163"/>
                </a:lnTo>
                <a:lnTo>
                  <a:pt x="116" y="168"/>
                </a:lnTo>
                <a:lnTo>
                  <a:pt x="121" y="172"/>
                </a:lnTo>
                <a:lnTo>
                  <a:pt x="126" y="176"/>
                </a:lnTo>
                <a:lnTo>
                  <a:pt x="130" y="180"/>
                </a:lnTo>
                <a:lnTo>
                  <a:pt x="132" y="182"/>
                </a:lnTo>
                <a:lnTo>
                  <a:pt x="132" y="185"/>
                </a:lnTo>
                <a:lnTo>
                  <a:pt x="130" y="186"/>
                </a:lnTo>
                <a:lnTo>
                  <a:pt x="129" y="187"/>
                </a:lnTo>
                <a:lnTo>
                  <a:pt x="126" y="189"/>
                </a:lnTo>
                <a:lnTo>
                  <a:pt x="122" y="190"/>
                </a:lnTo>
                <a:lnTo>
                  <a:pt x="107" y="199"/>
                </a:lnTo>
                <a:lnTo>
                  <a:pt x="92" y="207"/>
                </a:lnTo>
                <a:lnTo>
                  <a:pt x="77" y="217"/>
                </a:lnTo>
                <a:lnTo>
                  <a:pt x="63" y="227"/>
                </a:lnTo>
                <a:lnTo>
                  <a:pt x="55" y="232"/>
                </a:lnTo>
                <a:lnTo>
                  <a:pt x="48" y="238"/>
                </a:lnTo>
                <a:lnTo>
                  <a:pt x="42" y="244"/>
                </a:lnTo>
                <a:lnTo>
                  <a:pt x="35" y="251"/>
                </a:lnTo>
                <a:lnTo>
                  <a:pt x="34" y="254"/>
                </a:lnTo>
                <a:lnTo>
                  <a:pt x="33" y="257"/>
                </a:lnTo>
                <a:lnTo>
                  <a:pt x="33" y="260"/>
                </a:lnTo>
                <a:lnTo>
                  <a:pt x="34" y="263"/>
                </a:lnTo>
                <a:lnTo>
                  <a:pt x="38" y="267"/>
                </a:lnTo>
                <a:lnTo>
                  <a:pt x="44" y="271"/>
                </a:lnTo>
                <a:lnTo>
                  <a:pt x="47" y="275"/>
                </a:lnTo>
                <a:lnTo>
                  <a:pt x="51" y="280"/>
                </a:lnTo>
                <a:lnTo>
                  <a:pt x="51" y="287"/>
                </a:lnTo>
                <a:lnTo>
                  <a:pt x="53" y="294"/>
                </a:lnTo>
                <a:lnTo>
                  <a:pt x="56" y="298"/>
                </a:lnTo>
                <a:lnTo>
                  <a:pt x="61" y="301"/>
                </a:lnTo>
                <a:lnTo>
                  <a:pt x="67" y="303"/>
                </a:lnTo>
                <a:lnTo>
                  <a:pt x="72" y="305"/>
                </a:lnTo>
                <a:lnTo>
                  <a:pt x="60" y="312"/>
                </a:lnTo>
                <a:lnTo>
                  <a:pt x="48" y="319"/>
                </a:lnTo>
                <a:lnTo>
                  <a:pt x="36" y="327"/>
                </a:lnTo>
                <a:lnTo>
                  <a:pt x="25" y="334"/>
                </a:lnTo>
                <a:lnTo>
                  <a:pt x="15" y="340"/>
                </a:lnTo>
                <a:lnTo>
                  <a:pt x="9" y="347"/>
                </a:lnTo>
                <a:lnTo>
                  <a:pt x="5" y="351"/>
                </a:lnTo>
                <a:lnTo>
                  <a:pt x="3" y="354"/>
                </a:lnTo>
                <a:lnTo>
                  <a:pt x="1" y="359"/>
                </a:lnTo>
                <a:lnTo>
                  <a:pt x="0" y="364"/>
                </a:lnTo>
                <a:lnTo>
                  <a:pt x="0" y="369"/>
                </a:lnTo>
                <a:lnTo>
                  <a:pt x="1" y="372"/>
                </a:lnTo>
                <a:lnTo>
                  <a:pt x="3" y="375"/>
                </a:lnTo>
                <a:lnTo>
                  <a:pt x="6" y="377"/>
                </a:lnTo>
                <a:lnTo>
                  <a:pt x="14" y="379"/>
                </a:lnTo>
                <a:lnTo>
                  <a:pt x="22" y="383"/>
                </a:lnTo>
                <a:lnTo>
                  <a:pt x="29" y="392"/>
                </a:lnTo>
                <a:lnTo>
                  <a:pt x="34" y="401"/>
                </a:lnTo>
                <a:lnTo>
                  <a:pt x="38" y="404"/>
                </a:lnTo>
                <a:lnTo>
                  <a:pt x="44" y="406"/>
                </a:lnTo>
                <a:lnTo>
                  <a:pt x="50" y="408"/>
                </a:lnTo>
                <a:lnTo>
                  <a:pt x="55" y="408"/>
                </a:lnTo>
                <a:lnTo>
                  <a:pt x="70" y="408"/>
                </a:lnTo>
                <a:lnTo>
                  <a:pt x="84" y="405"/>
                </a:lnTo>
                <a:lnTo>
                  <a:pt x="97" y="404"/>
                </a:lnTo>
                <a:lnTo>
                  <a:pt x="111" y="401"/>
                </a:lnTo>
                <a:lnTo>
                  <a:pt x="138" y="395"/>
                </a:lnTo>
                <a:lnTo>
                  <a:pt x="167" y="390"/>
                </a:lnTo>
                <a:lnTo>
                  <a:pt x="181" y="388"/>
                </a:lnTo>
                <a:lnTo>
                  <a:pt x="193" y="385"/>
                </a:lnTo>
                <a:lnTo>
                  <a:pt x="198" y="383"/>
                </a:lnTo>
                <a:lnTo>
                  <a:pt x="202" y="381"/>
                </a:lnTo>
                <a:lnTo>
                  <a:pt x="204" y="380"/>
                </a:lnTo>
                <a:lnTo>
                  <a:pt x="207" y="381"/>
                </a:lnTo>
                <a:lnTo>
                  <a:pt x="208" y="381"/>
                </a:lnTo>
                <a:lnTo>
                  <a:pt x="209" y="383"/>
                </a:lnTo>
                <a:lnTo>
                  <a:pt x="209" y="383"/>
                </a:lnTo>
                <a:lnTo>
                  <a:pt x="209" y="385"/>
                </a:lnTo>
                <a:lnTo>
                  <a:pt x="204" y="386"/>
                </a:lnTo>
                <a:lnTo>
                  <a:pt x="200" y="388"/>
                </a:lnTo>
                <a:lnTo>
                  <a:pt x="193" y="390"/>
                </a:lnTo>
                <a:lnTo>
                  <a:pt x="186" y="394"/>
                </a:lnTo>
                <a:lnTo>
                  <a:pt x="171" y="400"/>
                </a:lnTo>
                <a:lnTo>
                  <a:pt x="158" y="406"/>
                </a:lnTo>
                <a:lnTo>
                  <a:pt x="144" y="413"/>
                </a:lnTo>
                <a:lnTo>
                  <a:pt x="120" y="425"/>
                </a:lnTo>
                <a:lnTo>
                  <a:pt x="92" y="439"/>
                </a:lnTo>
                <a:lnTo>
                  <a:pt x="62" y="456"/>
                </a:lnTo>
                <a:lnTo>
                  <a:pt x="48" y="466"/>
                </a:lnTo>
                <a:lnTo>
                  <a:pt x="37" y="476"/>
                </a:lnTo>
                <a:lnTo>
                  <a:pt x="26" y="485"/>
                </a:lnTo>
                <a:lnTo>
                  <a:pt x="19" y="494"/>
                </a:lnTo>
                <a:lnTo>
                  <a:pt x="15" y="498"/>
                </a:lnTo>
                <a:lnTo>
                  <a:pt x="13" y="503"/>
                </a:lnTo>
                <a:lnTo>
                  <a:pt x="12" y="508"/>
                </a:lnTo>
                <a:lnTo>
                  <a:pt x="12" y="512"/>
                </a:lnTo>
                <a:lnTo>
                  <a:pt x="13" y="516"/>
                </a:lnTo>
                <a:lnTo>
                  <a:pt x="14" y="520"/>
                </a:lnTo>
                <a:lnTo>
                  <a:pt x="18" y="523"/>
                </a:lnTo>
                <a:lnTo>
                  <a:pt x="21" y="527"/>
                </a:lnTo>
                <a:lnTo>
                  <a:pt x="31" y="531"/>
                </a:lnTo>
                <a:lnTo>
                  <a:pt x="39" y="537"/>
                </a:lnTo>
                <a:lnTo>
                  <a:pt x="43" y="541"/>
                </a:lnTo>
                <a:lnTo>
                  <a:pt x="45" y="545"/>
                </a:lnTo>
                <a:lnTo>
                  <a:pt x="48" y="547"/>
                </a:lnTo>
                <a:lnTo>
                  <a:pt x="54" y="549"/>
                </a:lnTo>
                <a:lnTo>
                  <a:pt x="64" y="549"/>
                </a:lnTo>
                <a:lnTo>
                  <a:pt x="75" y="546"/>
                </a:lnTo>
                <a:lnTo>
                  <a:pt x="89" y="545"/>
                </a:lnTo>
                <a:lnTo>
                  <a:pt x="103" y="544"/>
                </a:lnTo>
                <a:lnTo>
                  <a:pt x="118" y="542"/>
                </a:lnTo>
                <a:lnTo>
                  <a:pt x="130" y="538"/>
                </a:lnTo>
                <a:lnTo>
                  <a:pt x="136" y="536"/>
                </a:lnTo>
                <a:lnTo>
                  <a:pt x="143" y="534"/>
                </a:lnTo>
                <a:lnTo>
                  <a:pt x="146" y="533"/>
                </a:lnTo>
                <a:lnTo>
                  <a:pt x="150" y="531"/>
                </a:lnTo>
                <a:lnTo>
                  <a:pt x="153" y="531"/>
                </a:lnTo>
                <a:lnTo>
                  <a:pt x="155" y="533"/>
                </a:lnTo>
                <a:lnTo>
                  <a:pt x="158" y="535"/>
                </a:lnTo>
                <a:lnTo>
                  <a:pt x="159" y="536"/>
                </a:lnTo>
                <a:lnTo>
                  <a:pt x="160" y="537"/>
                </a:lnTo>
                <a:lnTo>
                  <a:pt x="160" y="539"/>
                </a:lnTo>
                <a:lnTo>
                  <a:pt x="158" y="542"/>
                </a:lnTo>
                <a:lnTo>
                  <a:pt x="154" y="544"/>
                </a:lnTo>
                <a:lnTo>
                  <a:pt x="149" y="547"/>
                </a:lnTo>
                <a:lnTo>
                  <a:pt x="144" y="551"/>
                </a:lnTo>
                <a:lnTo>
                  <a:pt x="140" y="555"/>
                </a:lnTo>
                <a:lnTo>
                  <a:pt x="136" y="560"/>
                </a:lnTo>
                <a:lnTo>
                  <a:pt x="133" y="564"/>
                </a:lnTo>
                <a:lnTo>
                  <a:pt x="130" y="570"/>
                </a:lnTo>
                <a:lnTo>
                  <a:pt x="128" y="577"/>
                </a:lnTo>
                <a:lnTo>
                  <a:pt x="127" y="584"/>
                </a:lnTo>
                <a:lnTo>
                  <a:pt x="128" y="589"/>
                </a:lnTo>
                <a:lnTo>
                  <a:pt x="129" y="595"/>
                </a:lnTo>
                <a:lnTo>
                  <a:pt x="132" y="597"/>
                </a:lnTo>
                <a:lnTo>
                  <a:pt x="133" y="600"/>
                </a:lnTo>
                <a:lnTo>
                  <a:pt x="136" y="601"/>
                </a:lnTo>
                <a:lnTo>
                  <a:pt x="140" y="602"/>
                </a:lnTo>
                <a:lnTo>
                  <a:pt x="149" y="602"/>
                </a:lnTo>
                <a:lnTo>
                  <a:pt x="158" y="603"/>
                </a:lnTo>
                <a:lnTo>
                  <a:pt x="159" y="608"/>
                </a:lnTo>
                <a:lnTo>
                  <a:pt x="161" y="613"/>
                </a:lnTo>
                <a:lnTo>
                  <a:pt x="160" y="617"/>
                </a:lnTo>
                <a:lnTo>
                  <a:pt x="159" y="619"/>
                </a:lnTo>
                <a:lnTo>
                  <a:pt x="157" y="624"/>
                </a:lnTo>
                <a:lnTo>
                  <a:pt x="157" y="628"/>
                </a:lnTo>
                <a:lnTo>
                  <a:pt x="158" y="633"/>
                </a:lnTo>
                <a:lnTo>
                  <a:pt x="161" y="637"/>
                </a:lnTo>
                <a:lnTo>
                  <a:pt x="165" y="639"/>
                </a:lnTo>
                <a:lnTo>
                  <a:pt x="169" y="641"/>
                </a:lnTo>
                <a:lnTo>
                  <a:pt x="174" y="641"/>
                </a:lnTo>
                <a:lnTo>
                  <a:pt x="179" y="639"/>
                </a:lnTo>
                <a:lnTo>
                  <a:pt x="184" y="641"/>
                </a:lnTo>
                <a:lnTo>
                  <a:pt x="190" y="642"/>
                </a:lnTo>
                <a:lnTo>
                  <a:pt x="193" y="641"/>
                </a:lnTo>
                <a:lnTo>
                  <a:pt x="195" y="639"/>
                </a:lnTo>
                <a:lnTo>
                  <a:pt x="198" y="637"/>
                </a:lnTo>
                <a:lnTo>
                  <a:pt x="200" y="635"/>
                </a:lnTo>
                <a:lnTo>
                  <a:pt x="202" y="633"/>
                </a:lnTo>
                <a:lnTo>
                  <a:pt x="204" y="633"/>
                </a:lnTo>
                <a:lnTo>
                  <a:pt x="207" y="633"/>
                </a:lnTo>
                <a:lnTo>
                  <a:pt x="209" y="634"/>
                </a:lnTo>
                <a:lnTo>
                  <a:pt x="212" y="636"/>
                </a:lnTo>
                <a:lnTo>
                  <a:pt x="215" y="641"/>
                </a:lnTo>
                <a:lnTo>
                  <a:pt x="220" y="635"/>
                </a:lnTo>
                <a:lnTo>
                  <a:pt x="226" y="629"/>
                </a:lnTo>
                <a:lnTo>
                  <a:pt x="229" y="627"/>
                </a:lnTo>
                <a:lnTo>
                  <a:pt x="233" y="625"/>
                </a:lnTo>
                <a:lnTo>
                  <a:pt x="236" y="624"/>
                </a:lnTo>
                <a:lnTo>
                  <a:pt x="241" y="622"/>
                </a:lnTo>
                <a:lnTo>
                  <a:pt x="243" y="622"/>
                </a:lnTo>
                <a:lnTo>
                  <a:pt x="245" y="622"/>
                </a:lnTo>
                <a:lnTo>
                  <a:pt x="248" y="622"/>
                </a:lnTo>
                <a:lnTo>
                  <a:pt x="250" y="620"/>
                </a:lnTo>
                <a:lnTo>
                  <a:pt x="251" y="617"/>
                </a:lnTo>
                <a:lnTo>
                  <a:pt x="251" y="613"/>
                </a:lnTo>
                <a:lnTo>
                  <a:pt x="236" y="617"/>
                </a:lnTo>
                <a:lnTo>
                  <a:pt x="221" y="620"/>
                </a:lnTo>
                <a:lnTo>
                  <a:pt x="216" y="622"/>
                </a:lnTo>
                <a:lnTo>
                  <a:pt x="209" y="626"/>
                </a:lnTo>
                <a:lnTo>
                  <a:pt x="207" y="627"/>
                </a:lnTo>
                <a:lnTo>
                  <a:pt x="203" y="627"/>
                </a:lnTo>
                <a:lnTo>
                  <a:pt x="201" y="627"/>
                </a:lnTo>
                <a:lnTo>
                  <a:pt x="198" y="625"/>
                </a:lnTo>
                <a:lnTo>
                  <a:pt x="204" y="620"/>
                </a:lnTo>
                <a:lnTo>
                  <a:pt x="211" y="618"/>
                </a:lnTo>
                <a:lnTo>
                  <a:pt x="219" y="617"/>
                </a:lnTo>
                <a:lnTo>
                  <a:pt x="226" y="614"/>
                </a:lnTo>
                <a:lnTo>
                  <a:pt x="229" y="613"/>
                </a:lnTo>
                <a:lnTo>
                  <a:pt x="231" y="612"/>
                </a:lnTo>
                <a:lnTo>
                  <a:pt x="232" y="610"/>
                </a:lnTo>
                <a:lnTo>
                  <a:pt x="233" y="606"/>
                </a:lnTo>
                <a:lnTo>
                  <a:pt x="236" y="603"/>
                </a:lnTo>
                <a:lnTo>
                  <a:pt x="241" y="601"/>
                </a:lnTo>
                <a:lnTo>
                  <a:pt x="245" y="600"/>
                </a:lnTo>
                <a:lnTo>
                  <a:pt x="251" y="601"/>
                </a:lnTo>
                <a:lnTo>
                  <a:pt x="257" y="602"/>
                </a:lnTo>
                <a:lnTo>
                  <a:pt x="264" y="601"/>
                </a:lnTo>
                <a:lnTo>
                  <a:pt x="267" y="601"/>
                </a:lnTo>
                <a:lnTo>
                  <a:pt x="272" y="600"/>
                </a:lnTo>
                <a:lnTo>
                  <a:pt x="273" y="599"/>
                </a:lnTo>
                <a:lnTo>
                  <a:pt x="273" y="597"/>
                </a:lnTo>
                <a:lnTo>
                  <a:pt x="273" y="596"/>
                </a:lnTo>
                <a:lnTo>
                  <a:pt x="270" y="593"/>
                </a:lnTo>
                <a:lnTo>
                  <a:pt x="275" y="592"/>
                </a:lnTo>
                <a:lnTo>
                  <a:pt x="280" y="591"/>
                </a:lnTo>
                <a:lnTo>
                  <a:pt x="284" y="587"/>
                </a:lnTo>
                <a:lnTo>
                  <a:pt x="289" y="585"/>
                </a:lnTo>
                <a:lnTo>
                  <a:pt x="291" y="584"/>
                </a:lnTo>
                <a:lnTo>
                  <a:pt x="294" y="584"/>
                </a:lnTo>
                <a:lnTo>
                  <a:pt x="297" y="585"/>
                </a:lnTo>
                <a:lnTo>
                  <a:pt x="299" y="587"/>
                </a:lnTo>
                <a:lnTo>
                  <a:pt x="299" y="592"/>
                </a:lnTo>
                <a:lnTo>
                  <a:pt x="299" y="595"/>
                </a:lnTo>
                <a:lnTo>
                  <a:pt x="295" y="599"/>
                </a:lnTo>
                <a:lnTo>
                  <a:pt x="292" y="600"/>
                </a:lnTo>
                <a:lnTo>
                  <a:pt x="287" y="601"/>
                </a:lnTo>
                <a:lnTo>
                  <a:pt x="283" y="601"/>
                </a:lnTo>
                <a:lnTo>
                  <a:pt x="281" y="602"/>
                </a:lnTo>
                <a:lnTo>
                  <a:pt x="278" y="604"/>
                </a:lnTo>
                <a:lnTo>
                  <a:pt x="276" y="604"/>
                </a:lnTo>
                <a:lnTo>
                  <a:pt x="274" y="605"/>
                </a:lnTo>
                <a:lnTo>
                  <a:pt x="268" y="609"/>
                </a:lnTo>
                <a:lnTo>
                  <a:pt x="264" y="613"/>
                </a:lnTo>
                <a:lnTo>
                  <a:pt x="268" y="612"/>
                </a:lnTo>
                <a:lnTo>
                  <a:pt x="275" y="611"/>
                </a:lnTo>
                <a:lnTo>
                  <a:pt x="276" y="613"/>
                </a:lnTo>
                <a:lnTo>
                  <a:pt x="277" y="616"/>
                </a:lnTo>
                <a:lnTo>
                  <a:pt x="276" y="618"/>
                </a:lnTo>
                <a:lnTo>
                  <a:pt x="276" y="621"/>
                </a:lnTo>
                <a:lnTo>
                  <a:pt x="276" y="624"/>
                </a:lnTo>
                <a:lnTo>
                  <a:pt x="276" y="625"/>
                </a:lnTo>
                <a:lnTo>
                  <a:pt x="277" y="626"/>
                </a:lnTo>
                <a:lnTo>
                  <a:pt x="280" y="627"/>
                </a:lnTo>
                <a:lnTo>
                  <a:pt x="284" y="625"/>
                </a:lnTo>
                <a:lnTo>
                  <a:pt x="287" y="620"/>
                </a:lnTo>
                <a:lnTo>
                  <a:pt x="289" y="619"/>
                </a:lnTo>
                <a:lnTo>
                  <a:pt x="290" y="617"/>
                </a:lnTo>
                <a:lnTo>
                  <a:pt x="291" y="616"/>
                </a:lnTo>
                <a:lnTo>
                  <a:pt x="293" y="614"/>
                </a:lnTo>
                <a:lnTo>
                  <a:pt x="295" y="611"/>
                </a:lnTo>
                <a:lnTo>
                  <a:pt x="299" y="609"/>
                </a:lnTo>
                <a:lnTo>
                  <a:pt x="305" y="609"/>
                </a:lnTo>
                <a:lnTo>
                  <a:pt x="308" y="609"/>
                </a:lnTo>
                <a:lnTo>
                  <a:pt x="313" y="608"/>
                </a:lnTo>
                <a:lnTo>
                  <a:pt x="317" y="605"/>
                </a:lnTo>
                <a:lnTo>
                  <a:pt x="321" y="603"/>
                </a:lnTo>
                <a:lnTo>
                  <a:pt x="325" y="601"/>
                </a:lnTo>
                <a:lnTo>
                  <a:pt x="328" y="601"/>
                </a:lnTo>
                <a:lnTo>
                  <a:pt x="333" y="601"/>
                </a:lnTo>
                <a:lnTo>
                  <a:pt x="339" y="601"/>
                </a:lnTo>
                <a:lnTo>
                  <a:pt x="344" y="601"/>
                </a:lnTo>
                <a:lnTo>
                  <a:pt x="350" y="600"/>
                </a:lnTo>
                <a:lnTo>
                  <a:pt x="355" y="597"/>
                </a:lnTo>
                <a:lnTo>
                  <a:pt x="364" y="593"/>
                </a:lnTo>
                <a:lnTo>
                  <a:pt x="372" y="587"/>
                </a:lnTo>
                <a:lnTo>
                  <a:pt x="376" y="586"/>
                </a:lnTo>
                <a:lnTo>
                  <a:pt x="381" y="585"/>
                </a:lnTo>
                <a:lnTo>
                  <a:pt x="385" y="584"/>
                </a:lnTo>
                <a:lnTo>
                  <a:pt x="391" y="585"/>
                </a:lnTo>
                <a:lnTo>
                  <a:pt x="383" y="589"/>
                </a:lnTo>
                <a:lnTo>
                  <a:pt x="376" y="594"/>
                </a:lnTo>
                <a:lnTo>
                  <a:pt x="383" y="592"/>
                </a:lnTo>
                <a:lnTo>
                  <a:pt x="391" y="591"/>
                </a:lnTo>
                <a:lnTo>
                  <a:pt x="394" y="589"/>
                </a:lnTo>
                <a:lnTo>
                  <a:pt x="398" y="588"/>
                </a:lnTo>
                <a:lnTo>
                  <a:pt x="400" y="585"/>
                </a:lnTo>
                <a:lnTo>
                  <a:pt x="402" y="581"/>
                </a:lnTo>
                <a:lnTo>
                  <a:pt x="405" y="575"/>
                </a:lnTo>
                <a:lnTo>
                  <a:pt x="407" y="569"/>
                </a:lnTo>
                <a:lnTo>
                  <a:pt x="410" y="569"/>
                </a:lnTo>
                <a:lnTo>
                  <a:pt x="414" y="568"/>
                </a:lnTo>
                <a:lnTo>
                  <a:pt x="418" y="568"/>
                </a:lnTo>
                <a:lnTo>
                  <a:pt x="423" y="566"/>
                </a:lnTo>
                <a:lnTo>
                  <a:pt x="431" y="563"/>
                </a:lnTo>
                <a:lnTo>
                  <a:pt x="438" y="560"/>
                </a:lnTo>
                <a:lnTo>
                  <a:pt x="447" y="558"/>
                </a:lnTo>
                <a:lnTo>
                  <a:pt x="455" y="558"/>
                </a:lnTo>
                <a:lnTo>
                  <a:pt x="458" y="556"/>
                </a:lnTo>
                <a:lnTo>
                  <a:pt x="463" y="555"/>
                </a:lnTo>
                <a:lnTo>
                  <a:pt x="466" y="554"/>
                </a:lnTo>
                <a:lnTo>
                  <a:pt x="468" y="552"/>
                </a:lnTo>
                <a:lnTo>
                  <a:pt x="470" y="550"/>
                </a:lnTo>
                <a:lnTo>
                  <a:pt x="468" y="549"/>
                </a:lnTo>
                <a:lnTo>
                  <a:pt x="467" y="549"/>
                </a:lnTo>
                <a:lnTo>
                  <a:pt x="465" y="547"/>
                </a:lnTo>
                <a:lnTo>
                  <a:pt x="462" y="547"/>
                </a:lnTo>
                <a:lnTo>
                  <a:pt x="458" y="545"/>
                </a:lnTo>
                <a:lnTo>
                  <a:pt x="466" y="544"/>
                </a:lnTo>
                <a:lnTo>
                  <a:pt x="475" y="542"/>
                </a:lnTo>
                <a:lnTo>
                  <a:pt x="480" y="541"/>
                </a:lnTo>
                <a:lnTo>
                  <a:pt x="483" y="539"/>
                </a:lnTo>
                <a:lnTo>
                  <a:pt x="486" y="537"/>
                </a:lnTo>
                <a:lnTo>
                  <a:pt x="487" y="536"/>
                </a:lnTo>
                <a:lnTo>
                  <a:pt x="496" y="536"/>
                </a:lnTo>
                <a:lnTo>
                  <a:pt x="504" y="536"/>
                </a:lnTo>
                <a:lnTo>
                  <a:pt x="512" y="534"/>
                </a:lnTo>
                <a:lnTo>
                  <a:pt x="521" y="530"/>
                </a:lnTo>
                <a:lnTo>
                  <a:pt x="528" y="528"/>
                </a:lnTo>
                <a:lnTo>
                  <a:pt x="534" y="528"/>
                </a:lnTo>
                <a:lnTo>
                  <a:pt x="540" y="530"/>
                </a:lnTo>
                <a:lnTo>
                  <a:pt x="547" y="533"/>
                </a:lnTo>
                <a:lnTo>
                  <a:pt x="553" y="533"/>
                </a:lnTo>
                <a:lnTo>
                  <a:pt x="560" y="531"/>
                </a:lnTo>
                <a:lnTo>
                  <a:pt x="570" y="529"/>
                </a:lnTo>
                <a:lnTo>
                  <a:pt x="580" y="528"/>
                </a:lnTo>
                <a:lnTo>
                  <a:pt x="580" y="533"/>
                </a:lnTo>
                <a:lnTo>
                  <a:pt x="581" y="535"/>
                </a:lnTo>
                <a:lnTo>
                  <a:pt x="582" y="536"/>
                </a:lnTo>
                <a:lnTo>
                  <a:pt x="585" y="537"/>
                </a:lnTo>
                <a:lnTo>
                  <a:pt x="590" y="536"/>
                </a:lnTo>
                <a:lnTo>
                  <a:pt x="597" y="534"/>
                </a:lnTo>
                <a:lnTo>
                  <a:pt x="591" y="531"/>
                </a:lnTo>
                <a:lnTo>
                  <a:pt x="589" y="528"/>
                </a:lnTo>
                <a:lnTo>
                  <a:pt x="589" y="527"/>
                </a:lnTo>
                <a:lnTo>
                  <a:pt x="589" y="526"/>
                </a:lnTo>
                <a:lnTo>
                  <a:pt x="591" y="523"/>
                </a:lnTo>
                <a:lnTo>
                  <a:pt x="594" y="521"/>
                </a:lnTo>
                <a:lnTo>
                  <a:pt x="590" y="521"/>
                </a:lnTo>
                <a:lnTo>
                  <a:pt x="585" y="522"/>
                </a:lnTo>
                <a:lnTo>
                  <a:pt x="578" y="523"/>
                </a:lnTo>
                <a:lnTo>
                  <a:pt x="571" y="525"/>
                </a:lnTo>
                <a:lnTo>
                  <a:pt x="557" y="522"/>
                </a:lnTo>
                <a:lnTo>
                  <a:pt x="544" y="521"/>
                </a:lnTo>
                <a:lnTo>
                  <a:pt x="537" y="521"/>
                </a:lnTo>
                <a:lnTo>
                  <a:pt x="530" y="522"/>
                </a:lnTo>
                <a:lnTo>
                  <a:pt x="524" y="525"/>
                </a:lnTo>
                <a:lnTo>
                  <a:pt x="517" y="526"/>
                </a:lnTo>
                <a:lnTo>
                  <a:pt x="504" y="530"/>
                </a:lnTo>
                <a:lnTo>
                  <a:pt x="489" y="531"/>
                </a:lnTo>
                <a:lnTo>
                  <a:pt x="489" y="529"/>
                </a:lnTo>
                <a:lnTo>
                  <a:pt x="489" y="529"/>
                </a:lnTo>
                <a:lnTo>
                  <a:pt x="488" y="528"/>
                </a:lnTo>
                <a:lnTo>
                  <a:pt x="486" y="528"/>
                </a:lnTo>
                <a:lnTo>
                  <a:pt x="488" y="529"/>
                </a:lnTo>
                <a:lnTo>
                  <a:pt x="491" y="528"/>
                </a:lnTo>
                <a:lnTo>
                  <a:pt x="493" y="527"/>
                </a:lnTo>
                <a:lnTo>
                  <a:pt x="496" y="526"/>
                </a:lnTo>
                <a:lnTo>
                  <a:pt x="500" y="523"/>
                </a:lnTo>
                <a:lnTo>
                  <a:pt x="506" y="522"/>
                </a:lnTo>
                <a:lnTo>
                  <a:pt x="517" y="519"/>
                </a:lnTo>
                <a:lnTo>
                  <a:pt x="529" y="517"/>
                </a:lnTo>
                <a:lnTo>
                  <a:pt x="542" y="513"/>
                </a:lnTo>
                <a:lnTo>
                  <a:pt x="555" y="510"/>
                </a:lnTo>
                <a:lnTo>
                  <a:pt x="569" y="508"/>
                </a:lnTo>
                <a:lnTo>
                  <a:pt x="581" y="505"/>
                </a:lnTo>
                <a:lnTo>
                  <a:pt x="594" y="503"/>
                </a:lnTo>
                <a:lnTo>
                  <a:pt x="606" y="502"/>
                </a:lnTo>
                <a:lnTo>
                  <a:pt x="619" y="498"/>
                </a:lnTo>
                <a:lnTo>
                  <a:pt x="631" y="496"/>
                </a:lnTo>
                <a:lnTo>
                  <a:pt x="636" y="495"/>
                </a:lnTo>
                <a:lnTo>
                  <a:pt x="639" y="495"/>
                </a:lnTo>
                <a:lnTo>
                  <a:pt x="643" y="496"/>
                </a:lnTo>
                <a:lnTo>
                  <a:pt x="646" y="498"/>
                </a:lnTo>
                <a:lnTo>
                  <a:pt x="649" y="500"/>
                </a:lnTo>
                <a:lnTo>
                  <a:pt x="652" y="501"/>
                </a:lnTo>
                <a:lnTo>
                  <a:pt x="653" y="502"/>
                </a:lnTo>
                <a:lnTo>
                  <a:pt x="653" y="502"/>
                </a:lnTo>
                <a:lnTo>
                  <a:pt x="654" y="503"/>
                </a:lnTo>
                <a:lnTo>
                  <a:pt x="653" y="505"/>
                </a:lnTo>
                <a:lnTo>
                  <a:pt x="649" y="508"/>
                </a:lnTo>
                <a:lnTo>
                  <a:pt x="643" y="509"/>
                </a:lnTo>
                <a:lnTo>
                  <a:pt x="637" y="510"/>
                </a:lnTo>
                <a:lnTo>
                  <a:pt x="632" y="510"/>
                </a:lnTo>
                <a:lnTo>
                  <a:pt x="619" y="513"/>
                </a:lnTo>
                <a:lnTo>
                  <a:pt x="604" y="516"/>
                </a:lnTo>
                <a:lnTo>
                  <a:pt x="602" y="516"/>
                </a:lnTo>
                <a:lnTo>
                  <a:pt x="597" y="517"/>
                </a:lnTo>
                <a:lnTo>
                  <a:pt x="595" y="518"/>
                </a:lnTo>
                <a:lnTo>
                  <a:pt x="594" y="518"/>
                </a:lnTo>
                <a:lnTo>
                  <a:pt x="594" y="520"/>
                </a:lnTo>
                <a:lnTo>
                  <a:pt x="594" y="521"/>
                </a:lnTo>
                <a:lnTo>
                  <a:pt x="600" y="521"/>
                </a:lnTo>
                <a:lnTo>
                  <a:pt x="607" y="521"/>
                </a:lnTo>
                <a:lnTo>
                  <a:pt x="615" y="520"/>
                </a:lnTo>
                <a:lnTo>
                  <a:pt x="622" y="519"/>
                </a:lnTo>
                <a:lnTo>
                  <a:pt x="635" y="514"/>
                </a:lnTo>
                <a:lnTo>
                  <a:pt x="646" y="510"/>
                </a:lnTo>
                <a:lnTo>
                  <a:pt x="660" y="508"/>
                </a:lnTo>
                <a:lnTo>
                  <a:pt x="673" y="506"/>
                </a:lnTo>
                <a:lnTo>
                  <a:pt x="687" y="505"/>
                </a:lnTo>
                <a:lnTo>
                  <a:pt x="701" y="504"/>
                </a:lnTo>
                <a:lnTo>
                  <a:pt x="714" y="502"/>
                </a:lnTo>
                <a:lnTo>
                  <a:pt x="728" y="500"/>
                </a:lnTo>
                <a:lnTo>
                  <a:pt x="742" y="496"/>
                </a:lnTo>
                <a:lnTo>
                  <a:pt x="756" y="493"/>
                </a:lnTo>
                <a:lnTo>
                  <a:pt x="763" y="489"/>
                </a:lnTo>
                <a:lnTo>
                  <a:pt x="771" y="488"/>
                </a:lnTo>
                <a:lnTo>
                  <a:pt x="778" y="488"/>
                </a:lnTo>
                <a:lnTo>
                  <a:pt x="786" y="488"/>
                </a:lnTo>
                <a:lnTo>
                  <a:pt x="793" y="488"/>
                </a:lnTo>
                <a:lnTo>
                  <a:pt x="800" y="489"/>
                </a:lnTo>
                <a:lnTo>
                  <a:pt x="805" y="491"/>
                </a:lnTo>
                <a:lnTo>
                  <a:pt x="810" y="491"/>
                </a:lnTo>
                <a:lnTo>
                  <a:pt x="814" y="491"/>
                </a:lnTo>
                <a:lnTo>
                  <a:pt x="820" y="492"/>
                </a:lnTo>
                <a:lnTo>
                  <a:pt x="825" y="494"/>
                </a:lnTo>
                <a:lnTo>
                  <a:pt x="829" y="494"/>
                </a:lnTo>
                <a:lnTo>
                  <a:pt x="827" y="492"/>
                </a:lnTo>
                <a:lnTo>
                  <a:pt x="827" y="489"/>
                </a:lnTo>
                <a:lnTo>
                  <a:pt x="828" y="488"/>
                </a:lnTo>
                <a:lnTo>
                  <a:pt x="829" y="487"/>
                </a:lnTo>
                <a:lnTo>
                  <a:pt x="832" y="486"/>
                </a:lnTo>
                <a:lnTo>
                  <a:pt x="834" y="485"/>
                </a:lnTo>
                <a:lnTo>
                  <a:pt x="835" y="483"/>
                </a:lnTo>
                <a:lnTo>
                  <a:pt x="835" y="480"/>
                </a:lnTo>
                <a:lnTo>
                  <a:pt x="847" y="480"/>
                </a:lnTo>
                <a:lnTo>
                  <a:pt x="861" y="478"/>
                </a:lnTo>
                <a:lnTo>
                  <a:pt x="867" y="477"/>
                </a:lnTo>
                <a:lnTo>
                  <a:pt x="874" y="477"/>
                </a:lnTo>
                <a:lnTo>
                  <a:pt x="880" y="479"/>
                </a:lnTo>
                <a:lnTo>
                  <a:pt x="886" y="481"/>
                </a:lnTo>
                <a:lnTo>
                  <a:pt x="882" y="478"/>
                </a:lnTo>
                <a:lnTo>
                  <a:pt x="876" y="475"/>
                </a:lnTo>
                <a:lnTo>
                  <a:pt x="872" y="470"/>
                </a:lnTo>
                <a:lnTo>
                  <a:pt x="869" y="466"/>
                </a:lnTo>
                <a:lnTo>
                  <a:pt x="882" y="466"/>
                </a:lnTo>
                <a:lnTo>
                  <a:pt x="895" y="466"/>
                </a:lnTo>
                <a:lnTo>
                  <a:pt x="908" y="466"/>
                </a:lnTo>
                <a:lnTo>
                  <a:pt x="920" y="466"/>
                </a:lnTo>
                <a:lnTo>
                  <a:pt x="927" y="466"/>
                </a:lnTo>
                <a:lnTo>
                  <a:pt x="933" y="467"/>
                </a:lnTo>
                <a:lnTo>
                  <a:pt x="935" y="468"/>
                </a:lnTo>
                <a:lnTo>
                  <a:pt x="936" y="469"/>
                </a:lnTo>
                <a:lnTo>
                  <a:pt x="937" y="472"/>
                </a:lnTo>
                <a:lnTo>
                  <a:pt x="939" y="476"/>
                </a:lnTo>
                <a:lnTo>
                  <a:pt x="929" y="473"/>
                </a:lnTo>
                <a:lnTo>
                  <a:pt x="917" y="472"/>
                </a:lnTo>
                <a:lnTo>
                  <a:pt x="911" y="472"/>
                </a:lnTo>
                <a:lnTo>
                  <a:pt x="907" y="473"/>
                </a:lnTo>
                <a:lnTo>
                  <a:pt x="904" y="475"/>
                </a:lnTo>
                <a:lnTo>
                  <a:pt x="904" y="477"/>
                </a:lnTo>
                <a:lnTo>
                  <a:pt x="904" y="479"/>
                </a:lnTo>
                <a:lnTo>
                  <a:pt x="904" y="483"/>
                </a:lnTo>
                <a:lnTo>
                  <a:pt x="907" y="480"/>
                </a:lnTo>
                <a:lnTo>
                  <a:pt x="909" y="478"/>
                </a:lnTo>
                <a:lnTo>
                  <a:pt x="911" y="478"/>
                </a:lnTo>
                <a:lnTo>
                  <a:pt x="915" y="478"/>
                </a:lnTo>
                <a:lnTo>
                  <a:pt x="920" y="479"/>
                </a:lnTo>
                <a:lnTo>
                  <a:pt x="926" y="480"/>
                </a:lnTo>
                <a:lnTo>
                  <a:pt x="932" y="481"/>
                </a:lnTo>
                <a:lnTo>
                  <a:pt x="936" y="481"/>
                </a:lnTo>
                <a:lnTo>
                  <a:pt x="941" y="480"/>
                </a:lnTo>
                <a:lnTo>
                  <a:pt x="945" y="477"/>
                </a:lnTo>
                <a:lnTo>
                  <a:pt x="948" y="475"/>
                </a:lnTo>
                <a:lnTo>
                  <a:pt x="950" y="473"/>
                </a:lnTo>
                <a:lnTo>
                  <a:pt x="952" y="473"/>
                </a:lnTo>
                <a:lnTo>
                  <a:pt x="953" y="475"/>
                </a:lnTo>
                <a:lnTo>
                  <a:pt x="957" y="478"/>
                </a:lnTo>
                <a:lnTo>
                  <a:pt x="962" y="480"/>
                </a:lnTo>
                <a:lnTo>
                  <a:pt x="974" y="481"/>
                </a:lnTo>
                <a:lnTo>
                  <a:pt x="986" y="480"/>
                </a:lnTo>
                <a:lnTo>
                  <a:pt x="1002" y="478"/>
                </a:lnTo>
                <a:lnTo>
                  <a:pt x="1017" y="476"/>
                </a:lnTo>
                <a:lnTo>
                  <a:pt x="1020" y="475"/>
                </a:lnTo>
                <a:lnTo>
                  <a:pt x="1025" y="476"/>
                </a:lnTo>
                <a:lnTo>
                  <a:pt x="1026" y="478"/>
                </a:lnTo>
                <a:lnTo>
                  <a:pt x="1026" y="481"/>
                </a:lnTo>
                <a:lnTo>
                  <a:pt x="1023" y="483"/>
                </a:lnTo>
                <a:lnTo>
                  <a:pt x="1018" y="483"/>
                </a:lnTo>
                <a:lnTo>
                  <a:pt x="1016" y="484"/>
                </a:lnTo>
                <a:lnTo>
                  <a:pt x="1015" y="483"/>
                </a:lnTo>
                <a:lnTo>
                  <a:pt x="1014" y="481"/>
                </a:lnTo>
                <a:lnTo>
                  <a:pt x="1012" y="481"/>
                </a:lnTo>
                <a:lnTo>
                  <a:pt x="1011" y="483"/>
                </a:lnTo>
                <a:lnTo>
                  <a:pt x="1010" y="485"/>
                </a:lnTo>
                <a:lnTo>
                  <a:pt x="1010" y="487"/>
                </a:lnTo>
                <a:lnTo>
                  <a:pt x="1011" y="488"/>
                </a:lnTo>
                <a:lnTo>
                  <a:pt x="1018" y="489"/>
                </a:lnTo>
                <a:lnTo>
                  <a:pt x="1025" y="488"/>
                </a:lnTo>
                <a:lnTo>
                  <a:pt x="1031" y="489"/>
                </a:lnTo>
                <a:lnTo>
                  <a:pt x="1039" y="489"/>
                </a:lnTo>
                <a:lnTo>
                  <a:pt x="1042" y="488"/>
                </a:lnTo>
                <a:lnTo>
                  <a:pt x="1045" y="488"/>
                </a:lnTo>
                <a:lnTo>
                  <a:pt x="1048" y="486"/>
                </a:lnTo>
                <a:lnTo>
                  <a:pt x="1050" y="484"/>
                </a:lnTo>
                <a:lnTo>
                  <a:pt x="1044" y="484"/>
                </a:lnTo>
                <a:lnTo>
                  <a:pt x="1040" y="484"/>
                </a:lnTo>
                <a:lnTo>
                  <a:pt x="1042" y="481"/>
                </a:lnTo>
                <a:lnTo>
                  <a:pt x="1045" y="481"/>
                </a:lnTo>
                <a:lnTo>
                  <a:pt x="1048" y="481"/>
                </a:lnTo>
                <a:lnTo>
                  <a:pt x="1051" y="484"/>
                </a:lnTo>
                <a:lnTo>
                  <a:pt x="1053" y="486"/>
                </a:lnTo>
                <a:lnTo>
                  <a:pt x="1056" y="488"/>
                </a:lnTo>
                <a:lnTo>
                  <a:pt x="1059" y="489"/>
                </a:lnTo>
                <a:lnTo>
                  <a:pt x="1061" y="492"/>
                </a:lnTo>
                <a:lnTo>
                  <a:pt x="1066" y="496"/>
                </a:lnTo>
                <a:lnTo>
                  <a:pt x="1071" y="500"/>
                </a:lnTo>
                <a:lnTo>
                  <a:pt x="1075" y="503"/>
                </a:lnTo>
                <a:lnTo>
                  <a:pt x="1081" y="506"/>
                </a:lnTo>
                <a:lnTo>
                  <a:pt x="1071" y="508"/>
                </a:lnTo>
                <a:lnTo>
                  <a:pt x="1060" y="510"/>
                </a:lnTo>
                <a:lnTo>
                  <a:pt x="1066" y="514"/>
                </a:lnTo>
                <a:lnTo>
                  <a:pt x="1073" y="518"/>
                </a:lnTo>
                <a:lnTo>
                  <a:pt x="1080" y="519"/>
                </a:lnTo>
                <a:lnTo>
                  <a:pt x="1086" y="520"/>
                </a:lnTo>
                <a:lnTo>
                  <a:pt x="1094" y="521"/>
                </a:lnTo>
                <a:lnTo>
                  <a:pt x="1101" y="522"/>
                </a:lnTo>
                <a:lnTo>
                  <a:pt x="1108" y="525"/>
                </a:lnTo>
                <a:lnTo>
                  <a:pt x="1114" y="529"/>
                </a:lnTo>
                <a:lnTo>
                  <a:pt x="1100" y="529"/>
                </a:lnTo>
                <a:lnTo>
                  <a:pt x="1085" y="529"/>
                </a:lnTo>
                <a:lnTo>
                  <a:pt x="1080" y="529"/>
                </a:lnTo>
                <a:lnTo>
                  <a:pt x="1074" y="529"/>
                </a:lnTo>
                <a:lnTo>
                  <a:pt x="1071" y="530"/>
                </a:lnTo>
                <a:lnTo>
                  <a:pt x="1068" y="531"/>
                </a:lnTo>
                <a:lnTo>
                  <a:pt x="1067" y="534"/>
                </a:lnTo>
                <a:lnTo>
                  <a:pt x="1067" y="536"/>
                </a:lnTo>
                <a:lnTo>
                  <a:pt x="1067" y="538"/>
                </a:lnTo>
                <a:lnTo>
                  <a:pt x="1068" y="541"/>
                </a:lnTo>
                <a:lnTo>
                  <a:pt x="1069" y="542"/>
                </a:lnTo>
                <a:lnTo>
                  <a:pt x="1071" y="542"/>
                </a:lnTo>
                <a:lnTo>
                  <a:pt x="1075" y="542"/>
                </a:lnTo>
                <a:lnTo>
                  <a:pt x="1078" y="541"/>
                </a:lnTo>
                <a:lnTo>
                  <a:pt x="1084" y="539"/>
                </a:lnTo>
                <a:lnTo>
                  <a:pt x="1089" y="539"/>
                </a:lnTo>
                <a:lnTo>
                  <a:pt x="1096" y="542"/>
                </a:lnTo>
                <a:lnTo>
                  <a:pt x="1101" y="545"/>
                </a:lnTo>
                <a:lnTo>
                  <a:pt x="1107" y="546"/>
                </a:lnTo>
                <a:lnTo>
                  <a:pt x="1113" y="546"/>
                </a:lnTo>
                <a:lnTo>
                  <a:pt x="1118" y="545"/>
                </a:lnTo>
                <a:lnTo>
                  <a:pt x="1124" y="544"/>
                </a:lnTo>
                <a:lnTo>
                  <a:pt x="1130" y="544"/>
                </a:lnTo>
                <a:lnTo>
                  <a:pt x="1135" y="545"/>
                </a:lnTo>
                <a:lnTo>
                  <a:pt x="1143" y="545"/>
                </a:lnTo>
                <a:lnTo>
                  <a:pt x="1152" y="545"/>
                </a:lnTo>
                <a:lnTo>
                  <a:pt x="1167" y="545"/>
                </a:lnTo>
                <a:lnTo>
                  <a:pt x="1183" y="545"/>
                </a:lnTo>
                <a:lnTo>
                  <a:pt x="1189" y="545"/>
                </a:lnTo>
                <a:lnTo>
                  <a:pt x="1195" y="545"/>
                </a:lnTo>
                <a:lnTo>
                  <a:pt x="1197" y="544"/>
                </a:lnTo>
                <a:lnTo>
                  <a:pt x="1198" y="543"/>
                </a:lnTo>
                <a:lnTo>
                  <a:pt x="1197" y="542"/>
                </a:lnTo>
                <a:lnTo>
                  <a:pt x="1198" y="539"/>
                </a:lnTo>
                <a:lnTo>
                  <a:pt x="1199" y="537"/>
                </a:lnTo>
                <a:lnTo>
                  <a:pt x="1200" y="536"/>
                </a:lnTo>
                <a:lnTo>
                  <a:pt x="1203" y="537"/>
                </a:lnTo>
                <a:lnTo>
                  <a:pt x="1205" y="537"/>
                </a:lnTo>
                <a:lnTo>
                  <a:pt x="1209" y="537"/>
                </a:lnTo>
                <a:lnTo>
                  <a:pt x="1213" y="536"/>
                </a:lnTo>
                <a:lnTo>
                  <a:pt x="1215" y="534"/>
                </a:lnTo>
                <a:lnTo>
                  <a:pt x="1217" y="529"/>
                </a:lnTo>
                <a:lnTo>
                  <a:pt x="1224" y="521"/>
                </a:lnTo>
                <a:lnTo>
                  <a:pt x="1230" y="514"/>
                </a:lnTo>
                <a:lnTo>
                  <a:pt x="1232" y="510"/>
                </a:lnTo>
                <a:lnTo>
                  <a:pt x="1234" y="505"/>
                </a:lnTo>
                <a:lnTo>
                  <a:pt x="1236" y="500"/>
                </a:lnTo>
                <a:lnTo>
                  <a:pt x="1236" y="493"/>
                </a:lnTo>
                <a:lnTo>
                  <a:pt x="1240" y="486"/>
                </a:lnTo>
                <a:lnTo>
                  <a:pt x="1244" y="477"/>
                </a:lnTo>
                <a:lnTo>
                  <a:pt x="1242" y="473"/>
                </a:lnTo>
                <a:lnTo>
                  <a:pt x="1240" y="470"/>
                </a:lnTo>
                <a:lnTo>
                  <a:pt x="1237" y="468"/>
                </a:lnTo>
                <a:lnTo>
                  <a:pt x="1233" y="466"/>
                </a:lnTo>
                <a:lnTo>
                  <a:pt x="1226" y="463"/>
                </a:lnTo>
                <a:lnTo>
                  <a:pt x="1220" y="461"/>
                </a:lnTo>
                <a:lnTo>
                  <a:pt x="1213" y="460"/>
                </a:lnTo>
                <a:lnTo>
                  <a:pt x="1205" y="460"/>
                </a:lnTo>
                <a:lnTo>
                  <a:pt x="1200" y="460"/>
                </a:lnTo>
                <a:lnTo>
                  <a:pt x="1196" y="460"/>
                </a:lnTo>
                <a:lnTo>
                  <a:pt x="1191" y="458"/>
                </a:lnTo>
                <a:lnTo>
                  <a:pt x="1187" y="454"/>
                </a:lnTo>
                <a:lnTo>
                  <a:pt x="1175" y="451"/>
                </a:lnTo>
                <a:lnTo>
                  <a:pt x="1163" y="450"/>
                </a:lnTo>
                <a:lnTo>
                  <a:pt x="1154" y="453"/>
                </a:lnTo>
                <a:lnTo>
                  <a:pt x="1146" y="456"/>
                </a:lnTo>
                <a:lnTo>
                  <a:pt x="1141" y="455"/>
                </a:lnTo>
                <a:lnTo>
                  <a:pt x="1137" y="453"/>
                </a:lnTo>
                <a:lnTo>
                  <a:pt x="1133" y="452"/>
                </a:lnTo>
                <a:lnTo>
                  <a:pt x="1131" y="452"/>
                </a:lnTo>
                <a:lnTo>
                  <a:pt x="1129" y="453"/>
                </a:lnTo>
                <a:lnTo>
                  <a:pt x="1125" y="454"/>
                </a:lnTo>
                <a:lnTo>
                  <a:pt x="1118" y="456"/>
                </a:lnTo>
                <a:lnTo>
                  <a:pt x="1111" y="458"/>
                </a:lnTo>
                <a:lnTo>
                  <a:pt x="1104" y="456"/>
                </a:lnTo>
                <a:lnTo>
                  <a:pt x="1097" y="458"/>
                </a:lnTo>
                <a:lnTo>
                  <a:pt x="1098" y="454"/>
                </a:lnTo>
                <a:lnTo>
                  <a:pt x="1099" y="453"/>
                </a:lnTo>
                <a:lnTo>
                  <a:pt x="1101" y="453"/>
                </a:lnTo>
                <a:lnTo>
                  <a:pt x="1102" y="452"/>
                </a:lnTo>
                <a:lnTo>
                  <a:pt x="1106" y="452"/>
                </a:lnTo>
                <a:lnTo>
                  <a:pt x="1109" y="450"/>
                </a:lnTo>
                <a:lnTo>
                  <a:pt x="1107" y="448"/>
                </a:lnTo>
                <a:lnTo>
                  <a:pt x="1104" y="447"/>
                </a:lnTo>
                <a:lnTo>
                  <a:pt x="1102" y="447"/>
                </a:lnTo>
                <a:lnTo>
                  <a:pt x="1101" y="446"/>
                </a:lnTo>
                <a:lnTo>
                  <a:pt x="1102" y="445"/>
                </a:lnTo>
                <a:lnTo>
                  <a:pt x="1104" y="443"/>
                </a:lnTo>
                <a:lnTo>
                  <a:pt x="1106" y="443"/>
                </a:lnTo>
                <a:lnTo>
                  <a:pt x="1108" y="441"/>
                </a:lnTo>
                <a:lnTo>
                  <a:pt x="1108" y="439"/>
                </a:lnTo>
                <a:lnTo>
                  <a:pt x="1106" y="437"/>
                </a:lnTo>
                <a:lnTo>
                  <a:pt x="1104" y="436"/>
                </a:lnTo>
                <a:lnTo>
                  <a:pt x="1102" y="436"/>
                </a:lnTo>
                <a:lnTo>
                  <a:pt x="1089" y="436"/>
                </a:lnTo>
                <a:lnTo>
                  <a:pt x="1076" y="436"/>
                </a:lnTo>
                <a:lnTo>
                  <a:pt x="1063" y="435"/>
                </a:lnTo>
                <a:lnTo>
                  <a:pt x="1049" y="435"/>
                </a:lnTo>
                <a:lnTo>
                  <a:pt x="1035" y="434"/>
                </a:lnTo>
                <a:lnTo>
                  <a:pt x="1023" y="435"/>
                </a:lnTo>
                <a:lnTo>
                  <a:pt x="1017" y="435"/>
                </a:lnTo>
                <a:lnTo>
                  <a:pt x="1012" y="435"/>
                </a:lnTo>
                <a:lnTo>
                  <a:pt x="1009" y="434"/>
                </a:lnTo>
                <a:lnTo>
                  <a:pt x="1006" y="430"/>
                </a:lnTo>
                <a:lnTo>
                  <a:pt x="1002" y="427"/>
                </a:lnTo>
                <a:lnTo>
                  <a:pt x="998" y="425"/>
                </a:lnTo>
                <a:lnTo>
                  <a:pt x="992" y="423"/>
                </a:lnTo>
                <a:lnTo>
                  <a:pt x="987" y="423"/>
                </a:lnTo>
                <a:lnTo>
                  <a:pt x="976" y="425"/>
                </a:lnTo>
                <a:lnTo>
                  <a:pt x="967" y="426"/>
                </a:lnTo>
                <a:lnTo>
                  <a:pt x="960" y="427"/>
                </a:lnTo>
                <a:lnTo>
                  <a:pt x="954" y="428"/>
                </a:lnTo>
                <a:lnTo>
                  <a:pt x="952" y="426"/>
                </a:lnTo>
                <a:lnTo>
                  <a:pt x="950" y="425"/>
                </a:lnTo>
                <a:lnTo>
                  <a:pt x="948" y="426"/>
                </a:lnTo>
                <a:lnTo>
                  <a:pt x="946" y="427"/>
                </a:lnTo>
                <a:lnTo>
                  <a:pt x="940" y="427"/>
                </a:lnTo>
                <a:lnTo>
                  <a:pt x="932" y="427"/>
                </a:lnTo>
                <a:lnTo>
                  <a:pt x="925" y="427"/>
                </a:lnTo>
                <a:lnTo>
                  <a:pt x="918" y="427"/>
                </a:lnTo>
                <a:lnTo>
                  <a:pt x="905" y="426"/>
                </a:lnTo>
                <a:lnTo>
                  <a:pt x="894" y="427"/>
                </a:lnTo>
                <a:lnTo>
                  <a:pt x="879" y="427"/>
                </a:lnTo>
                <a:lnTo>
                  <a:pt x="865" y="428"/>
                </a:lnTo>
                <a:lnTo>
                  <a:pt x="851" y="428"/>
                </a:lnTo>
                <a:lnTo>
                  <a:pt x="837" y="428"/>
                </a:lnTo>
                <a:lnTo>
                  <a:pt x="824" y="428"/>
                </a:lnTo>
                <a:lnTo>
                  <a:pt x="810" y="428"/>
                </a:lnTo>
                <a:lnTo>
                  <a:pt x="797" y="429"/>
                </a:lnTo>
                <a:lnTo>
                  <a:pt x="784" y="430"/>
                </a:lnTo>
                <a:lnTo>
                  <a:pt x="771" y="433"/>
                </a:lnTo>
                <a:lnTo>
                  <a:pt x="759" y="435"/>
                </a:lnTo>
                <a:lnTo>
                  <a:pt x="745" y="438"/>
                </a:lnTo>
                <a:lnTo>
                  <a:pt x="730" y="441"/>
                </a:lnTo>
                <a:lnTo>
                  <a:pt x="723" y="442"/>
                </a:lnTo>
                <a:lnTo>
                  <a:pt x="717" y="443"/>
                </a:lnTo>
                <a:lnTo>
                  <a:pt x="710" y="442"/>
                </a:lnTo>
                <a:lnTo>
                  <a:pt x="704" y="442"/>
                </a:lnTo>
                <a:lnTo>
                  <a:pt x="701" y="444"/>
                </a:lnTo>
                <a:lnTo>
                  <a:pt x="698" y="447"/>
                </a:lnTo>
                <a:lnTo>
                  <a:pt x="694" y="448"/>
                </a:lnTo>
                <a:lnTo>
                  <a:pt x="689" y="448"/>
                </a:lnTo>
                <a:lnTo>
                  <a:pt x="684" y="450"/>
                </a:lnTo>
                <a:lnTo>
                  <a:pt x="679" y="450"/>
                </a:lnTo>
                <a:lnTo>
                  <a:pt x="674" y="452"/>
                </a:lnTo>
                <a:lnTo>
                  <a:pt x="670" y="455"/>
                </a:lnTo>
                <a:lnTo>
                  <a:pt x="674" y="456"/>
                </a:lnTo>
                <a:lnTo>
                  <a:pt x="680" y="456"/>
                </a:lnTo>
                <a:lnTo>
                  <a:pt x="685" y="456"/>
                </a:lnTo>
                <a:lnTo>
                  <a:pt x="688" y="456"/>
                </a:lnTo>
                <a:lnTo>
                  <a:pt x="689" y="458"/>
                </a:lnTo>
                <a:lnTo>
                  <a:pt x="689" y="459"/>
                </a:lnTo>
                <a:lnTo>
                  <a:pt x="689" y="461"/>
                </a:lnTo>
                <a:lnTo>
                  <a:pt x="688" y="462"/>
                </a:lnTo>
                <a:lnTo>
                  <a:pt x="686" y="464"/>
                </a:lnTo>
                <a:lnTo>
                  <a:pt x="684" y="467"/>
                </a:lnTo>
                <a:lnTo>
                  <a:pt x="694" y="468"/>
                </a:lnTo>
                <a:lnTo>
                  <a:pt x="705" y="468"/>
                </a:lnTo>
                <a:lnTo>
                  <a:pt x="679" y="472"/>
                </a:lnTo>
                <a:lnTo>
                  <a:pt x="653" y="477"/>
                </a:lnTo>
                <a:lnTo>
                  <a:pt x="627" y="481"/>
                </a:lnTo>
                <a:lnTo>
                  <a:pt x="602" y="487"/>
                </a:lnTo>
                <a:lnTo>
                  <a:pt x="575" y="493"/>
                </a:lnTo>
                <a:lnTo>
                  <a:pt x="549" y="497"/>
                </a:lnTo>
                <a:lnTo>
                  <a:pt x="523" y="503"/>
                </a:lnTo>
                <a:lnTo>
                  <a:pt x="498" y="508"/>
                </a:lnTo>
                <a:lnTo>
                  <a:pt x="501" y="505"/>
                </a:lnTo>
                <a:lnTo>
                  <a:pt x="504" y="503"/>
                </a:lnTo>
                <a:lnTo>
                  <a:pt x="505" y="502"/>
                </a:lnTo>
                <a:lnTo>
                  <a:pt x="504" y="501"/>
                </a:lnTo>
                <a:lnTo>
                  <a:pt x="503" y="500"/>
                </a:lnTo>
                <a:lnTo>
                  <a:pt x="499" y="500"/>
                </a:lnTo>
                <a:lnTo>
                  <a:pt x="496" y="498"/>
                </a:lnTo>
                <a:lnTo>
                  <a:pt x="492" y="498"/>
                </a:lnTo>
                <a:lnTo>
                  <a:pt x="491" y="500"/>
                </a:lnTo>
                <a:lnTo>
                  <a:pt x="490" y="502"/>
                </a:lnTo>
                <a:lnTo>
                  <a:pt x="490" y="503"/>
                </a:lnTo>
                <a:lnTo>
                  <a:pt x="490" y="505"/>
                </a:lnTo>
                <a:lnTo>
                  <a:pt x="487" y="506"/>
                </a:lnTo>
                <a:lnTo>
                  <a:pt x="481" y="506"/>
                </a:lnTo>
                <a:lnTo>
                  <a:pt x="474" y="506"/>
                </a:lnTo>
                <a:lnTo>
                  <a:pt x="466" y="508"/>
                </a:lnTo>
                <a:lnTo>
                  <a:pt x="460" y="510"/>
                </a:lnTo>
                <a:lnTo>
                  <a:pt x="453" y="513"/>
                </a:lnTo>
                <a:lnTo>
                  <a:pt x="449" y="514"/>
                </a:lnTo>
                <a:lnTo>
                  <a:pt x="446" y="516"/>
                </a:lnTo>
                <a:lnTo>
                  <a:pt x="442" y="516"/>
                </a:lnTo>
                <a:lnTo>
                  <a:pt x="440" y="516"/>
                </a:lnTo>
                <a:lnTo>
                  <a:pt x="443" y="513"/>
                </a:lnTo>
                <a:lnTo>
                  <a:pt x="447" y="512"/>
                </a:lnTo>
                <a:lnTo>
                  <a:pt x="447" y="510"/>
                </a:lnTo>
                <a:lnTo>
                  <a:pt x="447" y="509"/>
                </a:lnTo>
                <a:lnTo>
                  <a:pt x="446" y="508"/>
                </a:lnTo>
                <a:lnTo>
                  <a:pt x="443" y="508"/>
                </a:lnTo>
                <a:lnTo>
                  <a:pt x="440" y="508"/>
                </a:lnTo>
                <a:lnTo>
                  <a:pt x="438" y="508"/>
                </a:lnTo>
                <a:lnTo>
                  <a:pt x="427" y="510"/>
                </a:lnTo>
                <a:lnTo>
                  <a:pt x="418" y="512"/>
                </a:lnTo>
                <a:lnTo>
                  <a:pt x="408" y="514"/>
                </a:lnTo>
                <a:lnTo>
                  <a:pt x="398" y="516"/>
                </a:lnTo>
                <a:lnTo>
                  <a:pt x="392" y="517"/>
                </a:lnTo>
                <a:lnTo>
                  <a:pt x="389" y="520"/>
                </a:lnTo>
                <a:lnTo>
                  <a:pt x="387" y="525"/>
                </a:lnTo>
                <a:lnTo>
                  <a:pt x="385" y="530"/>
                </a:lnTo>
                <a:lnTo>
                  <a:pt x="385" y="534"/>
                </a:lnTo>
                <a:lnTo>
                  <a:pt x="385" y="535"/>
                </a:lnTo>
                <a:lnTo>
                  <a:pt x="384" y="536"/>
                </a:lnTo>
                <a:lnTo>
                  <a:pt x="381" y="536"/>
                </a:lnTo>
                <a:lnTo>
                  <a:pt x="374" y="538"/>
                </a:lnTo>
                <a:lnTo>
                  <a:pt x="365" y="538"/>
                </a:lnTo>
                <a:lnTo>
                  <a:pt x="371" y="536"/>
                </a:lnTo>
                <a:lnTo>
                  <a:pt x="377" y="530"/>
                </a:lnTo>
                <a:lnTo>
                  <a:pt x="381" y="528"/>
                </a:lnTo>
                <a:lnTo>
                  <a:pt x="382" y="526"/>
                </a:lnTo>
                <a:lnTo>
                  <a:pt x="382" y="523"/>
                </a:lnTo>
                <a:lnTo>
                  <a:pt x="380" y="521"/>
                </a:lnTo>
                <a:lnTo>
                  <a:pt x="376" y="520"/>
                </a:lnTo>
                <a:lnTo>
                  <a:pt x="373" y="521"/>
                </a:lnTo>
                <a:lnTo>
                  <a:pt x="369" y="523"/>
                </a:lnTo>
                <a:lnTo>
                  <a:pt x="367" y="526"/>
                </a:lnTo>
                <a:lnTo>
                  <a:pt x="358" y="529"/>
                </a:lnTo>
                <a:lnTo>
                  <a:pt x="349" y="531"/>
                </a:lnTo>
                <a:lnTo>
                  <a:pt x="331" y="535"/>
                </a:lnTo>
                <a:lnTo>
                  <a:pt x="313" y="538"/>
                </a:lnTo>
                <a:lnTo>
                  <a:pt x="294" y="542"/>
                </a:lnTo>
                <a:lnTo>
                  <a:pt x="276" y="545"/>
                </a:lnTo>
                <a:lnTo>
                  <a:pt x="258" y="551"/>
                </a:lnTo>
                <a:lnTo>
                  <a:pt x="240" y="558"/>
                </a:lnTo>
                <a:lnTo>
                  <a:pt x="231" y="560"/>
                </a:lnTo>
                <a:lnTo>
                  <a:pt x="221" y="562"/>
                </a:lnTo>
                <a:lnTo>
                  <a:pt x="212" y="563"/>
                </a:lnTo>
                <a:lnTo>
                  <a:pt x="203" y="564"/>
                </a:lnTo>
                <a:lnTo>
                  <a:pt x="194" y="564"/>
                </a:lnTo>
                <a:lnTo>
                  <a:pt x="185" y="564"/>
                </a:lnTo>
                <a:lnTo>
                  <a:pt x="177" y="566"/>
                </a:lnTo>
                <a:lnTo>
                  <a:pt x="168" y="569"/>
                </a:lnTo>
                <a:lnTo>
                  <a:pt x="162" y="572"/>
                </a:lnTo>
                <a:lnTo>
                  <a:pt x="157" y="576"/>
                </a:lnTo>
                <a:lnTo>
                  <a:pt x="154" y="577"/>
                </a:lnTo>
                <a:lnTo>
                  <a:pt x="151" y="578"/>
                </a:lnTo>
                <a:lnTo>
                  <a:pt x="148" y="578"/>
                </a:lnTo>
                <a:lnTo>
                  <a:pt x="144" y="578"/>
                </a:lnTo>
                <a:lnTo>
                  <a:pt x="157" y="566"/>
                </a:lnTo>
                <a:lnTo>
                  <a:pt x="169" y="555"/>
                </a:lnTo>
                <a:lnTo>
                  <a:pt x="178" y="551"/>
                </a:lnTo>
                <a:lnTo>
                  <a:pt x="187" y="546"/>
                </a:lnTo>
                <a:lnTo>
                  <a:pt x="195" y="541"/>
                </a:lnTo>
                <a:lnTo>
                  <a:pt x="204" y="537"/>
                </a:lnTo>
                <a:lnTo>
                  <a:pt x="214" y="534"/>
                </a:lnTo>
                <a:lnTo>
                  <a:pt x="224" y="530"/>
                </a:lnTo>
                <a:lnTo>
                  <a:pt x="234" y="528"/>
                </a:lnTo>
                <a:lnTo>
                  <a:pt x="243" y="526"/>
                </a:lnTo>
                <a:lnTo>
                  <a:pt x="252" y="522"/>
                </a:lnTo>
                <a:lnTo>
                  <a:pt x="262" y="520"/>
                </a:lnTo>
                <a:lnTo>
                  <a:pt x="269" y="518"/>
                </a:lnTo>
                <a:lnTo>
                  <a:pt x="278" y="513"/>
                </a:lnTo>
                <a:lnTo>
                  <a:pt x="278" y="514"/>
                </a:lnTo>
                <a:lnTo>
                  <a:pt x="280" y="514"/>
                </a:lnTo>
                <a:lnTo>
                  <a:pt x="280" y="514"/>
                </a:lnTo>
                <a:lnTo>
                  <a:pt x="280" y="514"/>
                </a:lnTo>
                <a:lnTo>
                  <a:pt x="280" y="513"/>
                </a:lnTo>
                <a:lnTo>
                  <a:pt x="280" y="512"/>
                </a:lnTo>
                <a:lnTo>
                  <a:pt x="280" y="512"/>
                </a:lnTo>
                <a:lnTo>
                  <a:pt x="280" y="512"/>
                </a:lnTo>
                <a:lnTo>
                  <a:pt x="281" y="512"/>
                </a:lnTo>
                <a:lnTo>
                  <a:pt x="281" y="512"/>
                </a:lnTo>
                <a:lnTo>
                  <a:pt x="281" y="510"/>
                </a:lnTo>
                <a:lnTo>
                  <a:pt x="282" y="508"/>
                </a:lnTo>
                <a:lnTo>
                  <a:pt x="283" y="506"/>
                </a:lnTo>
                <a:lnTo>
                  <a:pt x="286" y="506"/>
                </a:lnTo>
                <a:lnTo>
                  <a:pt x="291" y="506"/>
                </a:lnTo>
                <a:lnTo>
                  <a:pt x="297" y="506"/>
                </a:lnTo>
                <a:lnTo>
                  <a:pt x="307" y="504"/>
                </a:lnTo>
                <a:lnTo>
                  <a:pt x="317" y="501"/>
                </a:lnTo>
                <a:lnTo>
                  <a:pt x="327" y="497"/>
                </a:lnTo>
                <a:lnTo>
                  <a:pt x="338" y="496"/>
                </a:lnTo>
                <a:lnTo>
                  <a:pt x="347" y="494"/>
                </a:lnTo>
                <a:lnTo>
                  <a:pt x="356" y="491"/>
                </a:lnTo>
                <a:lnTo>
                  <a:pt x="359" y="489"/>
                </a:lnTo>
                <a:lnTo>
                  <a:pt x="360" y="488"/>
                </a:lnTo>
                <a:lnTo>
                  <a:pt x="360" y="486"/>
                </a:lnTo>
                <a:lnTo>
                  <a:pt x="358" y="484"/>
                </a:lnTo>
                <a:lnTo>
                  <a:pt x="357" y="480"/>
                </a:lnTo>
                <a:lnTo>
                  <a:pt x="356" y="478"/>
                </a:lnTo>
                <a:lnTo>
                  <a:pt x="357" y="476"/>
                </a:lnTo>
                <a:lnTo>
                  <a:pt x="358" y="476"/>
                </a:lnTo>
                <a:lnTo>
                  <a:pt x="359" y="475"/>
                </a:lnTo>
                <a:lnTo>
                  <a:pt x="361" y="475"/>
                </a:lnTo>
                <a:lnTo>
                  <a:pt x="366" y="475"/>
                </a:lnTo>
                <a:lnTo>
                  <a:pt x="369" y="476"/>
                </a:lnTo>
                <a:lnTo>
                  <a:pt x="374" y="477"/>
                </a:lnTo>
                <a:lnTo>
                  <a:pt x="377" y="479"/>
                </a:lnTo>
                <a:lnTo>
                  <a:pt x="379" y="477"/>
                </a:lnTo>
                <a:lnTo>
                  <a:pt x="381" y="475"/>
                </a:lnTo>
                <a:lnTo>
                  <a:pt x="383" y="473"/>
                </a:lnTo>
                <a:lnTo>
                  <a:pt x="387" y="473"/>
                </a:lnTo>
                <a:lnTo>
                  <a:pt x="391" y="473"/>
                </a:lnTo>
                <a:lnTo>
                  <a:pt x="398" y="473"/>
                </a:lnTo>
                <a:lnTo>
                  <a:pt x="407" y="470"/>
                </a:lnTo>
                <a:lnTo>
                  <a:pt x="417" y="464"/>
                </a:lnTo>
                <a:lnTo>
                  <a:pt x="423" y="463"/>
                </a:lnTo>
                <a:lnTo>
                  <a:pt x="430" y="463"/>
                </a:lnTo>
                <a:lnTo>
                  <a:pt x="435" y="466"/>
                </a:lnTo>
                <a:lnTo>
                  <a:pt x="440" y="466"/>
                </a:lnTo>
                <a:lnTo>
                  <a:pt x="448" y="462"/>
                </a:lnTo>
                <a:lnTo>
                  <a:pt x="455" y="459"/>
                </a:lnTo>
                <a:lnTo>
                  <a:pt x="463" y="455"/>
                </a:lnTo>
                <a:lnTo>
                  <a:pt x="472" y="453"/>
                </a:lnTo>
                <a:lnTo>
                  <a:pt x="475" y="452"/>
                </a:lnTo>
                <a:lnTo>
                  <a:pt x="479" y="451"/>
                </a:lnTo>
                <a:lnTo>
                  <a:pt x="481" y="452"/>
                </a:lnTo>
                <a:lnTo>
                  <a:pt x="482" y="454"/>
                </a:lnTo>
                <a:lnTo>
                  <a:pt x="484" y="456"/>
                </a:lnTo>
                <a:lnTo>
                  <a:pt x="487" y="458"/>
                </a:lnTo>
                <a:lnTo>
                  <a:pt x="489" y="458"/>
                </a:lnTo>
                <a:lnTo>
                  <a:pt x="492" y="456"/>
                </a:lnTo>
                <a:lnTo>
                  <a:pt x="496" y="452"/>
                </a:lnTo>
                <a:lnTo>
                  <a:pt x="497" y="446"/>
                </a:lnTo>
                <a:lnTo>
                  <a:pt x="498" y="445"/>
                </a:lnTo>
                <a:lnTo>
                  <a:pt x="499" y="444"/>
                </a:lnTo>
                <a:lnTo>
                  <a:pt x="500" y="443"/>
                </a:lnTo>
                <a:lnTo>
                  <a:pt x="503" y="443"/>
                </a:lnTo>
                <a:lnTo>
                  <a:pt x="507" y="442"/>
                </a:lnTo>
                <a:lnTo>
                  <a:pt x="512" y="441"/>
                </a:lnTo>
                <a:lnTo>
                  <a:pt x="530" y="437"/>
                </a:lnTo>
                <a:lnTo>
                  <a:pt x="548" y="436"/>
                </a:lnTo>
                <a:lnTo>
                  <a:pt x="566" y="435"/>
                </a:lnTo>
                <a:lnTo>
                  <a:pt x="586" y="436"/>
                </a:lnTo>
                <a:lnTo>
                  <a:pt x="580" y="433"/>
                </a:lnTo>
                <a:lnTo>
                  <a:pt x="575" y="428"/>
                </a:lnTo>
                <a:lnTo>
                  <a:pt x="582" y="428"/>
                </a:lnTo>
                <a:lnTo>
                  <a:pt x="588" y="426"/>
                </a:lnTo>
                <a:lnTo>
                  <a:pt x="593" y="422"/>
                </a:lnTo>
                <a:lnTo>
                  <a:pt x="598" y="419"/>
                </a:lnTo>
                <a:lnTo>
                  <a:pt x="599" y="422"/>
                </a:lnTo>
                <a:lnTo>
                  <a:pt x="602" y="425"/>
                </a:lnTo>
                <a:lnTo>
                  <a:pt x="604" y="427"/>
                </a:lnTo>
                <a:lnTo>
                  <a:pt x="606" y="428"/>
                </a:lnTo>
                <a:lnTo>
                  <a:pt x="612" y="431"/>
                </a:lnTo>
                <a:lnTo>
                  <a:pt x="618" y="434"/>
                </a:lnTo>
                <a:lnTo>
                  <a:pt x="619" y="437"/>
                </a:lnTo>
                <a:lnTo>
                  <a:pt x="621" y="439"/>
                </a:lnTo>
                <a:lnTo>
                  <a:pt x="624" y="442"/>
                </a:lnTo>
                <a:lnTo>
                  <a:pt x="628" y="443"/>
                </a:lnTo>
                <a:lnTo>
                  <a:pt x="629" y="443"/>
                </a:lnTo>
                <a:lnTo>
                  <a:pt x="628" y="443"/>
                </a:lnTo>
                <a:lnTo>
                  <a:pt x="633" y="444"/>
                </a:lnTo>
                <a:lnTo>
                  <a:pt x="639" y="446"/>
                </a:lnTo>
                <a:lnTo>
                  <a:pt x="645" y="448"/>
                </a:lnTo>
                <a:lnTo>
                  <a:pt x="649" y="451"/>
                </a:lnTo>
                <a:lnTo>
                  <a:pt x="647" y="452"/>
                </a:lnTo>
                <a:lnTo>
                  <a:pt x="646" y="453"/>
                </a:lnTo>
                <a:lnTo>
                  <a:pt x="645" y="454"/>
                </a:lnTo>
                <a:lnTo>
                  <a:pt x="645" y="456"/>
                </a:lnTo>
                <a:lnTo>
                  <a:pt x="644" y="459"/>
                </a:lnTo>
                <a:lnTo>
                  <a:pt x="643" y="460"/>
                </a:lnTo>
                <a:lnTo>
                  <a:pt x="640" y="460"/>
                </a:lnTo>
                <a:lnTo>
                  <a:pt x="638" y="461"/>
                </a:lnTo>
                <a:lnTo>
                  <a:pt x="644" y="461"/>
                </a:lnTo>
                <a:lnTo>
                  <a:pt x="649" y="460"/>
                </a:lnTo>
                <a:lnTo>
                  <a:pt x="652" y="459"/>
                </a:lnTo>
                <a:lnTo>
                  <a:pt x="656" y="458"/>
                </a:lnTo>
                <a:lnTo>
                  <a:pt x="660" y="456"/>
                </a:lnTo>
                <a:lnTo>
                  <a:pt x="661" y="453"/>
                </a:lnTo>
                <a:lnTo>
                  <a:pt x="660" y="451"/>
                </a:lnTo>
                <a:lnTo>
                  <a:pt x="656" y="451"/>
                </a:lnTo>
                <a:lnTo>
                  <a:pt x="653" y="447"/>
                </a:lnTo>
                <a:lnTo>
                  <a:pt x="651" y="444"/>
                </a:lnTo>
                <a:lnTo>
                  <a:pt x="645" y="439"/>
                </a:lnTo>
                <a:lnTo>
                  <a:pt x="639" y="436"/>
                </a:lnTo>
                <a:lnTo>
                  <a:pt x="635" y="434"/>
                </a:lnTo>
                <a:lnTo>
                  <a:pt x="629" y="431"/>
                </a:lnTo>
                <a:lnTo>
                  <a:pt x="623" y="431"/>
                </a:lnTo>
                <a:lnTo>
                  <a:pt x="618" y="434"/>
                </a:lnTo>
                <a:lnTo>
                  <a:pt x="618" y="430"/>
                </a:lnTo>
                <a:lnTo>
                  <a:pt x="618" y="428"/>
                </a:lnTo>
                <a:lnTo>
                  <a:pt x="619" y="425"/>
                </a:lnTo>
                <a:lnTo>
                  <a:pt x="621" y="421"/>
                </a:lnTo>
                <a:lnTo>
                  <a:pt x="622" y="420"/>
                </a:lnTo>
                <a:lnTo>
                  <a:pt x="623" y="419"/>
                </a:lnTo>
                <a:lnTo>
                  <a:pt x="623" y="418"/>
                </a:lnTo>
                <a:lnTo>
                  <a:pt x="622" y="417"/>
                </a:lnTo>
                <a:lnTo>
                  <a:pt x="620" y="417"/>
                </a:lnTo>
                <a:lnTo>
                  <a:pt x="618" y="417"/>
                </a:lnTo>
                <a:lnTo>
                  <a:pt x="615" y="417"/>
                </a:lnTo>
                <a:lnTo>
                  <a:pt x="613" y="417"/>
                </a:lnTo>
                <a:lnTo>
                  <a:pt x="611" y="415"/>
                </a:lnTo>
                <a:lnTo>
                  <a:pt x="611" y="413"/>
                </a:lnTo>
                <a:lnTo>
                  <a:pt x="611" y="412"/>
                </a:lnTo>
                <a:lnTo>
                  <a:pt x="613" y="411"/>
                </a:lnTo>
                <a:lnTo>
                  <a:pt x="615" y="410"/>
                </a:lnTo>
                <a:lnTo>
                  <a:pt x="619" y="410"/>
                </a:lnTo>
                <a:lnTo>
                  <a:pt x="626" y="410"/>
                </a:lnTo>
                <a:lnTo>
                  <a:pt x="629" y="410"/>
                </a:lnTo>
                <a:lnTo>
                  <a:pt x="640" y="409"/>
                </a:lnTo>
                <a:lnTo>
                  <a:pt x="651" y="406"/>
                </a:lnTo>
                <a:lnTo>
                  <a:pt x="660" y="404"/>
                </a:lnTo>
                <a:lnTo>
                  <a:pt x="670" y="401"/>
                </a:lnTo>
                <a:lnTo>
                  <a:pt x="681" y="398"/>
                </a:lnTo>
                <a:lnTo>
                  <a:pt x="692" y="396"/>
                </a:lnTo>
                <a:lnTo>
                  <a:pt x="703" y="394"/>
                </a:lnTo>
                <a:lnTo>
                  <a:pt x="713" y="393"/>
                </a:lnTo>
                <a:lnTo>
                  <a:pt x="723" y="390"/>
                </a:lnTo>
                <a:lnTo>
                  <a:pt x="735" y="388"/>
                </a:lnTo>
                <a:lnTo>
                  <a:pt x="745" y="387"/>
                </a:lnTo>
                <a:lnTo>
                  <a:pt x="755" y="386"/>
                </a:lnTo>
                <a:lnTo>
                  <a:pt x="767" y="385"/>
                </a:lnTo>
                <a:lnTo>
                  <a:pt x="778" y="384"/>
                </a:lnTo>
                <a:lnTo>
                  <a:pt x="788" y="384"/>
                </a:lnTo>
                <a:lnTo>
                  <a:pt x="800" y="383"/>
                </a:lnTo>
                <a:lnTo>
                  <a:pt x="821" y="379"/>
                </a:lnTo>
                <a:lnTo>
                  <a:pt x="843" y="376"/>
                </a:lnTo>
                <a:lnTo>
                  <a:pt x="853" y="375"/>
                </a:lnTo>
                <a:lnTo>
                  <a:pt x="865" y="373"/>
                </a:lnTo>
                <a:lnTo>
                  <a:pt x="875" y="373"/>
                </a:lnTo>
                <a:lnTo>
                  <a:pt x="886" y="373"/>
                </a:lnTo>
                <a:lnTo>
                  <a:pt x="896" y="376"/>
                </a:lnTo>
                <a:lnTo>
                  <a:pt x="908" y="377"/>
                </a:lnTo>
                <a:lnTo>
                  <a:pt x="918" y="378"/>
                </a:lnTo>
                <a:lnTo>
                  <a:pt x="929" y="378"/>
                </a:lnTo>
                <a:lnTo>
                  <a:pt x="940" y="378"/>
                </a:lnTo>
                <a:lnTo>
                  <a:pt x="951" y="377"/>
                </a:lnTo>
                <a:lnTo>
                  <a:pt x="961" y="377"/>
                </a:lnTo>
                <a:lnTo>
                  <a:pt x="973" y="376"/>
                </a:lnTo>
                <a:lnTo>
                  <a:pt x="978" y="375"/>
                </a:lnTo>
                <a:lnTo>
                  <a:pt x="983" y="372"/>
                </a:lnTo>
                <a:lnTo>
                  <a:pt x="993" y="373"/>
                </a:lnTo>
                <a:lnTo>
                  <a:pt x="1003" y="376"/>
                </a:lnTo>
                <a:lnTo>
                  <a:pt x="1014" y="378"/>
                </a:lnTo>
                <a:lnTo>
                  <a:pt x="1025" y="378"/>
                </a:lnTo>
                <a:lnTo>
                  <a:pt x="1035" y="379"/>
                </a:lnTo>
                <a:lnTo>
                  <a:pt x="1047" y="379"/>
                </a:lnTo>
                <a:lnTo>
                  <a:pt x="1056" y="378"/>
                </a:lnTo>
                <a:lnTo>
                  <a:pt x="1064" y="379"/>
                </a:lnTo>
                <a:lnTo>
                  <a:pt x="1074" y="381"/>
                </a:lnTo>
                <a:lnTo>
                  <a:pt x="1084" y="384"/>
                </a:lnTo>
                <a:lnTo>
                  <a:pt x="1094" y="384"/>
                </a:lnTo>
                <a:lnTo>
                  <a:pt x="1104" y="385"/>
                </a:lnTo>
                <a:lnTo>
                  <a:pt x="1114" y="386"/>
                </a:lnTo>
                <a:lnTo>
                  <a:pt x="1124" y="388"/>
                </a:lnTo>
                <a:lnTo>
                  <a:pt x="1131" y="390"/>
                </a:lnTo>
                <a:lnTo>
                  <a:pt x="1139" y="392"/>
                </a:lnTo>
                <a:lnTo>
                  <a:pt x="1142" y="389"/>
                </a:lnTo>
                <a:lnTo>
                  <a:pt x="1146" y="388"/>
                </a:lnTo>
                <a:lnTo>
                  <a:pt x="1151" y="387"/>
                </a:lnTo>
                <a:lnTo>
                  <a:pt x="1157" y="387"/>
                </a:lnTo>
                <a:lnTo>
                  <a:pt x="1160" y="388"/>
                </a:lnTo>
                <a:lnTo>
                  <a:pt x="1164" y="389"/>
                </a:lnTo>
                <a:lnTo>
                  <a:pt x="1167" y="390"/>
                </a:lnTo>
                <a:lnTo>
                  <a:pt x="1168" y="394"/>
                </a:lnTo>
                <a:lnTo>
                  <a:pt x="1170" y="397"/>
                </a:lnTo>
                <a:lnTo>
                  <a:pt x="1170" y="400"/>
                </a:lnTo>
                <a:lnTo>
                  <a:pt x="1167" y="402"/>
                </a:lnTo>
                <a:lnTo>
                  <a:pt x="1165" y="404"/>
                </a:lnTo>
                <a:lnTo>
                  <a:pt x="1162" y="406"/>
                </a:lnTo>
                <a:lnTo>
                  <a:pt x="1158" y="409"/>
                </a:lnTo>
                <a:lnTo>
                  <a:pt x="1154" y="410"/>
                </a:lnTo>
                <a:lnTo>
                  <a:pt x="1150" y="411"/>
                </a:lnTo>
                <a:lnTo>
                  <a:pt x="1142" y="412"/>
                </a:lnTo>
                <a:lnTo>
                  <a:pt x="1133" y="412"/>
                </a:lnTo>
                <a:lnTo>
                  <a:pt x="1123" y="411"/>
                </a:lnTo>
                <a:lnTo>
                  <a:pt x="1111" y="411"/>
                </a:lnTo>
                <a:lnTo>
                  <a:pt x="1100" y="410"/>
                </a:lnTo>
                <a:lnTo>
                  <a:pt x="1089" y="410"/>
                </a:lnTo>
                <a:lnTo>
                  <a:pt x="1077" y="410"/>
                </a:lnTo>
                <a:lnTo>
                  <a:pt x="1065" y="410"/>
                </a:lnTo>
                <a:lnTo>
                  <a:pt x="1061" y="411"/>
                </a:lnTo>
                <a:lnTo>
                  <a:pt x="1058" y="412"/>
                </a:lnTo>
                <a:lnTo>
                  <a:pt x="1056" y="413"/>
                </a:lnTo>
                <a:lnTo>
                  <a:pt x="1056" y="414"/>
                </a:lnTo>
                <a:lnTo>
                  <a:pt x="1056" y="415"/>
                </a:lnTo>
                <a:lnTo>
                  <a:pt x="1057" y="418"/>
                </a:lnTo>
                <a:lnTo>
                  <a:pt x="1059" y="419"/>
                </a:lnTo>
                <a:lnTo>
                  <a:pt x="1063" y="420"/>
                </a:lnTo>
                <a:lnTo>
                  <a:pt x="1065" y="421"/>
                </a:lnTo>
                <a:lnTo>
                  <a:pt x="1066" y="422"/>
                </a:lnTo>
                <a:lnTo>
                  <a:pt x="1066" y="422"/>
                </a:lnTo>
                <a:lnTo>
                  <a:pt x="1066" y="425"/>
                </a:lnTo>
                <a:lnTo>
                  <a:pt x="1058" y="425"/>
                </a:lnTo>
                <a:lnTo>
                  <a:pt x="1048" y="427"/>
                </a:lnTo>
                <a:lnTo>
                  <a:pt x="1059" y="427"/>
                </a:lnTo>
                <a:lnTo>
                  <a:pt x="1069" y="427"/>
                </a:lnTo>
                <a:lnTo>
                  <a:pt x="1080" y="427"/>
                </a:lnTo>
                <a:lnTo>
                  <a:pt x="1090" y="427"/>
                </a:lnTo>
                <a:lnTo>
                  <a:pt x="1097" y="425"/>
                </a:lnTo>
                <a:lnTo>
                  <a:pt x="1104" y="422"/>
                </a:lnTo>
                <a:lnTo>
                  <a:pt x="1107" y="421"/>
                </a:lnTo>
                <a:lnTo>
                  <a:pt x="1110" y="421"/>
                </a:lnTo>
                <a:lnTo>
                  <a:pt x="1115" y="421"/>
                </a:lnTo>
                <a:lnTo>
                  <a:pt x="1118" y="421"/>
                </a:lnTo>
                <a:lnTo>
                  <a:pt x="1124" y="425"/>
                </a:lnTo>
                <a:lnTo>
                  <a:pt x="1131" y="427"/>
                </a:lnTo>
                <a:lnTo>
                  <a:pt x="1134" y="428"/>
                </a:lnTo>
                <a:lnTo>
                  <a:pt x="1137" y="428"/>
                </a:lnTo>
                <a:lnTo>
                  <a:pt x="1140" y="427"/>
                </a:lnTo>
                <a:lnTo>
                  <a:pt x="1143" y="426"/>
                </a:lnTo>
                <a:lnTo>
                  <a:pt x="1146" y="425"/>
                </a:lnTo>
                <a:lnTo>
                  <a:pt x="1148" y="421"/>
                </a:lnTo>
                <a:lnTo>
                  <a:pt x="1150" y="420"/>
                </a:lnTo>
                <a:lnTo>
                  <a:pt x="1152" y="420"/>
                </a:lnTo>
                <a:lnTo>
                  <a:pt x="1163" y="421"/>
                </a:lnTo>
                <a:lnTo>
                  <a:pt x="1173" y="423"/>
                </a:lnTo>
                <a:lnTo>
                  <a:pt x="1190" y="425"/>
                </a:lnTo>
                <a:lnTo>
                  <a:pt x="1208" y="426"/>
                </a:lnTo>
                <a:lnTo>
                  <a:pt x="1217" y="425"/>
                </a:lnTo>
                <a:lnTo>
                  <a:pt x="1225" y="423"/>
                </a:lnTo>
                <a:lnTo>
                  <a:pt x="1234" y="421"/>
                </a:lnTo>
                <a:lnTo>
                  <a:pt x="1242" y="418"/>
                </a:lnTo>
                <a:lnTo>
                  <a:pt x="1249" y="413"/>
                </a:lnTo>
                <a:lnTo>
                  <a:pt x="1255" y="409"/>
                </a:lnTo>
                <a:lnTo>
                  <a:pt x="1261" y="403"/>
                </a:lnTo>
                <a:lnTo>
                  <a:pt x="1266" y="397"/>
                </a:lnTo>
                <a:lnTo>
                  <a:pt x="1271" y="392"/>
                </a:lnTo>
                <a:lnTo>
                  <a:pt x="1277" y="387"/>
                </a:lnTo>
                <a:lnTo>
                  <a:pt x="1280" y="386"/>
                </a:lnTo>
                <a:lnTo>
                  <a:pt x="1283" y="386"/>
                </a:lnTo>
                <a:lnTo>
                  <a:pt x="1287" y="386"/>
                </a:lnTo>
                <a:lnTo>
                  <a:pt x="1291" y="386"/>
                </a:lnTo>
                <a:lnTo>
                  <a:pt x="1289" y="383"/>
                </a:lnTo>
                <a:lnTo>
                  <a:pt x="1287" y="379"/>
                </a:lnTo>
                <a:lnTo>
                  <a:pt x="1284" y="376"/>
                </a:lnTo>
                <a:lnTo>
                  <a:pt x="1281" y="372"/>
                </a:lnTo>
                <a:lnTo>
                  <a:pt x="1274" y="368"/>
                </a:lnTo>
                <a:lnTo>
                  <a:pt x="1266" y="363"/>
                </a:lnTo>
                <a:lnTo>
                  <a:pt x="1247" y="355"/>
                </a:lnTo>
                <a:lnTo>
                  <a:pt x="1253" y="358"/>
                </a:lnTo>
                <a:lnTo>
                  <a:pt x="1264" y="362"/>
                </a:lnTo>
                <a:lnTo>
                  <a:pt x="1266" y="363"/>
                </a:lnTo>
                <a:close/>
                <a:moveTo>
                  <a:pt x="602" y="353"/>
                </a:moveTo>
                <a:lnTo>
                  <a:pt x="602" y="353"/>
                </a:lnTo>
                <a:lnTo>
                  <a:pt x="602" y="353"/>
                </a:lnTo>
                <a:lnTo>
                  <a:pt x="599" y="353"/>
                </a:lnTo>
                <a:lnTo>
                  <a:pt x="598" y="355"/>
                </a:lnTo>
                <a:lnTo>
                  <a:pt x="598" y="354"/>
                </a:lnTo>
                <a:lnTo>
                  <a:pt x="598" y="355"/>
                </a:lnTo>
                <a:lnTo>
                  <a:pt x="599" y="356"/>
                </a:lnTo>
                <a:lnTo>
                  <a:pt x="600" y="356"/>
                </a:lnTo>
                <a:lnTo>
                  <a:pt x="602" y="355"/>
                </a:lnTo>
                <a:lnTo>
                  <a:pt x="603" y="354"/>
                </a:lnTo>
                <a:lnTo>
                  <a:pt x="603" y="353"/>
                </a:lnTo>
                <a:lnTo>
                  <a:pt x="602" y="353"/>
                </a:lnTo>
                <a:close/>
                <a:moveTo>
                  <a:pt x="602" y="353"/>
                </a:moveTo>
                <a:lnTo>
                  <a:pt x="602" y="353"/>
                </a:lnTo>
                <a:lnTo>
                  <a:pt x="602" y="353"/>
                </a:lnTo>
                <a:lnTo>
                  <a:pt x="602" y="353"/>
                </a:lnTo>
                <a:lnTo>
                  <a:pt x="602" y="353"/>
                </a:lnTo>
                <a:close/>
                <a:moveTo>
                  <a:pt x="953" y="358"/>
                </a:moveTo>
                <a:lnTo>
                  <a:pt x="959" y="360"/>
                </a:lnTo>
                <a:lnTo>
                  <a:pt x="965" y="361"/>
                </a:lnTo>
                <a:lnTo>
                  <a:pt x="972" y="361"/>
                </a:lnTo>
                <a:lnTo>
                  <a:pt x="979" y="359"/>
                </a:lnTo>
                <a:lnTo>
                  <a:pt x="973" y="355"/>
                </a:lnTo>
                <a:lnTo>
                  <a:pt x="966" y="355"/>
                </a:lnTo>
                <a:lnTo>
                  <a:pt x="959" y="356"/>
                </a:lnTo>
                <a:lnTo>
                  <a:pt x="953" y="358"/>
                </a:lnTo>
                <a:close/>
                <a:moveTo>
                  <a:pt x="161" y="433"/>
                </a:moveTo>
                <a:lnTo>
                  <a:pt x="161" y="433"/>
                </a:lnTo>
                <a:lnTo>
                  <a:pt x="161" y="433"/>
                </a:lnTo>
                <a:lnTo>
                  <a:pt x="161" y="433"/>
                </a:lnTo>
                <a:lnTo>
                  <a:pt x="161" y="433"/>
                </a:lnTo>
                <a:lnTo>
                  <a:pt x="162" y="430"/>
                </a:lnTo>
                <a:lnTo>
                  <a:pt x="165" y="428"/>
                </a:lnTo>
                <a:lnTo>
                  <a:pt x="167" y="426"/>
                </a:lnTo>
                <a:lnTo>
                  <a:pt x="170" y="425"/>
                </a:lnTo>
                <a:lnTo>
                  <a:pt x="176" y="423"/>
                </a:lnTo>
                <a:lnTo>
                  <a:pt x="182" y="421"/>
                </a:lnTo>
                <a:lnTo>
                  <a:pt x="186" y="417"/>
                </a:lnTo>
                <a:lnTo>
                  <a:pt x="191" y="413"/>
                </a:lnTo>
                <a:lnTo>
                  <a:pt x="194" y="413"/>
                </a:lnTo>
                <a:lnTo>
                  <a:pt x="198" y="414"/>
                </a:lnTo>
                <a:lnTo>
                  <a:pt x="201" y="415"/>
                </a:lnTo>
                <a:lnTo>
                  <a:pt x="204" y="417"/>
                </a:lnTo>
                <a:lnTo>
                  <a:pt x="210" y="417"/>
                </a:lnTo>
                <a:lnTo>
                  <a:pt x="216" y="414"/>
                </a:lnTo>
                <a:lnTo>
                  <a:pt x="223" y="413"/>
                </a:lnTo>
                <a:lnTo>
                  <a:pt x="228" y="410"/>
                </a:lnTo>
                <a:lnTo>
                  <a:pt x="229" y="409"/>
                </a:lnTo>
                <a:lnTo>
                  <a:pt x="229" y="406"/>
                </a:lnTo>
                <a:lnTo>
                  <a:pt x="228" y="404"/>
                </a:lnTo>
                <a:lnTo>
                  <a:pt x="226" y="402"/>
                </a:lnTo>
                <a:lnTo>
                  <a:pt x="219" y="398"/>
                </a:lnTo>
                <a:lnTo>
                  <a:pt x="215" y="397"/>
                </a:lnTo>
                <a:lnTo>
                  <a:pt x="256" y="381"/>
                </a:lnTo>
                <a:lnTo>
                  <a:pt x="297" y="365"/>
                </a:lnTo>
                <a:lnTo>
                  <a:pt x="317" y="358"/>
                </a:lnTo>
                <a:lnTo>
                  <a:pt x="339" y="352"/>
                </a:lnTo>
                <a:lnTo>
                  <a:pt x="360" y="346"/>
                </a:lnTo>
                <a:lnTo>
                  <a:pt x="382" y="343"/>
                </a:lnTo>
                <a:lnTo>
                  <a:pt x="377" y="350"/>
                </a:lnTo>
                <a:lnTo>
                  <a:pt x="373" y="356"/>
                </a:lnTo>
                <a:lnTo>
                  <a:pt x="384" y="353"/>
                </a:lnTo>
                <a:lnTo>
                  <a:pt x="394" y="352"/>
                </a:lnTo>
                <a:lnTo>
                  <a:pt x="404" y="348"/>
                </a:lnTo>
                <a:lnTo>
                  <a:pt x="412" y="345"/>
                </a:lnTo>
                <a:lnTo>
                  <a:pt x="418" y="345"/>
                </a:lnTo>
                <a:lnTo>
                  <a:pt x="424" y="346"/>
                </a:lnTo>
                <a:lnTo>
                  <a:pt x="429" y="345"/>
                </a:lnTo>
                <a:lnTo>
                  <a:pt x="432" y="344"/>
                </a:lnTo>
                <a:lnTo>
                  <a:pt x="434" y="342"/>
                </a:lnTo>
                <a:lnTo>
                  <a:pt x="437" y="339"/>
                </a:lnTo>
                <a:lnTo>
                  <a:pt x="445" y="338"/>
                </a:lnTo>
                <a:lnTo>
                  <a:pt x="453" y="337"/>
                </a:lnTo>
                <a:lnTo>
                  <a:pt x="462" y="336"/>
                </a:lnTo>
                <a:lnTo>
                  <a:pt x="471" y="334"/>
                </a:lnTo>
                <a:lnTo>
                  <a:pt x="481" y="330"/>
                </a:lnTo>
                <a:lnTo>
                  <a:pt x="490" y="329"/>
                </a:lnTo>
                <a:lnTo>
                  <a:pt x="499" y="331"/>
                </a:lnTo>
                <a:lnTo>
                  <a:pt x="508" y="331"/>
                </a:lnTo>
                <a:lnTo>
                  <a:pt x="516" y="328"/>
                </a:lnTo>
                <a:lnTo>
                  <a:pt x="525" y="325"/>
                </a:lnTo>
                <a:lnTo>
                  <a:pt x="534" y="323"/>
                </a:lnTo>
                <a:lnTo>
                  <a:pt x="545" y="322"/>
                </a:lnTo>
                <a:lnTo>
                  <a:pt x="555" y="322"/>
                </a:lnTo>
                <a:lnTo>
                  <a:pt x="565" y="321"/>
                </a:lnTo>
                <a:lnTo>
                  <a:pt x="577" y="320"/>
                </a:lnTo>
                <a:lnTo>
                  <a:pt x="587" y="318"/>
                </a:lnTo>
                <a:lnTo>
                  <a:pt x="598" y="317"/>
                </a:lnTo>
                <a:lnTo>
                  <a:pt x="610" y="314"/>
                </a:lnTo>
                <a:lnTo>
                  <a:pt x="621" y="312"/>
                </a:lnTo>
                <a:lnTo>
                  <a:pt x="632" y="310"/>
                </a:lnTo>
                <a:lnTo>
                  <a:pt x="640" y="307"/>
                </a:lnTo>
                <a:lnTo>
                  <a:pt x="649" y="305"/>
                </a:lnTo>
                <a:lnTo>
                  <a:pt x="654" y="305"/>
                </a:lnTo>
                <a:lnTo>
                  <a:pt x="657" y="306"/>
                </a:lnTo>
                <a:lnTo>
                  <a:pt x="662" y="307"/>
                </a:lnTo>
                <a:lnTo>
                  <a:pt x="665" y="311"/>
                </a:lnTo>
                <a:lnTo>
                  <a:pt x="649" y="313"/>
                </a:lnTo>
                <a:lnTo>
                  <a:pt x="635" y="314"/>
                </a:lnTo>
                <a:lnTo>
                  <a:pt x="628" y="315"/>
                </a:lnTo>
                <a:lnTo>
                  <a:pt x="622" y="315"/>
                </a:lnTo>
                <a:lnTo>
                  <a:pt x="619" y="314"/>
                </a:lnTo>
                <a:lnTo>
                  <a:pt x="615" y="317"/>
                </a:lnTo>
                <a:lnTo>
                  <a:pt x="614" y="319"/>
                </a:lnTo>
                <a:lnTo>
                  <a:pt x="614" y="320"/>
                </a:lnTo>
                <a:lnTo>
                  <a:pt x="615" y="321"/>
                </a:lnTo>
                <a:lnTo>
                  <a:pt x="618" y="321"/>
                </a:lnTo>
                <a:lnTo>
                  <a:pt x="622" y="322"/>
                </a:lnTo>
                <a:lnTo>
                  <a:pt x="626" y="321"/>
                </a:lnTo>
                <a:lnTo>
                  <a:pt x="638" y="320"/>
                </a:lnTo>
                <a:lnTo>
                  <a:pt x="651" y="320"/>
                </a:lnTo>
                <a:lnTo>
                  <a:pt x="657" y="322"/>
                </a:lnTo>
                <a:lnTo>
                  <a:pt x="663" y="322"/>
                </a:lnTo>
                <a:lnTo>
                  <a:pt x="664" y="321"/>
                </a:lnTo>
                <a:lnTo>
                  <a:pt x="665" y="320"/>
                </a:lnTo>
                <a:lnTo>
                  <a:pt x="666" y="317"/>
                </a:lnTo>
                <a:lnTo>
                  <a:pt x="669" y="317"/>
                </a:lnTo>
                <a:lnTo>
                  <a:pt x="673" y="315"/>
                </a:lnTo>
                <a:lnTo>
                  <a:pt x="677" y="315"/>
                </a:lnTo>
                <a:lnTo>
                  <a:pt x="679" y="315"/>
                </a:lnTo>
                <a:lnTo>
                  <a:pt x="680" y="315"/>
                </a:lnTo>
                <a:lnTo>
                  <a:pt x="682" y="315"/>
                </a:lnTo>
                <a:lnTo>
                  <a:pt x="684" y="317"/>
                </a:lnTo>
                <a:lnTo>
                  <a:pt x="685" y="317"/>
                </a:lnTo>
                <a:lnTo>
                  <a:pt x="687" y="317"/>
                </a:lnTo>
                <a:lnTo>
                  <a:pt x="687" y="315"/>
                </a:lnTo>
                <a:lnTo>
                  <a:pt x="688" y="315"/>
                </a:lnTo>
                <a:lnTo>
                  <a:pt x="689" y="313"/>
                </a:lnTo>
                <a:lnTo>
                  <a:pt x="692" y="313"/>
                </a:lnTo>
                <a:lnTo>
                  <a:pt x="698" y="313"/>
                </a:lnTo>
                <a:lnTo>
                  <a:pt x="706" y="313"/>
                </a:lnTo>
                <a:lnTo>
                  <a:pt x="713" y="313"/>
                </a:lnTo>
                <a:lnTo>
                  <a:pt x="720" y="313"/>
                </a:lnTo>
                <a:lnTo>
                  <a:pt x="721" y="319"/>
                </a:lnTo>
                <a:lnTo>
                  <a:pt x="725" y="323"/>
                </a:lnTo>
                <a:lnTo>
                  <a:pt x="723" y="322"/>
                </a:lnTo>
                <a:lnTo>
                  <a:pt x="722" y="321"/>
                </a:lnTo>
                <a:lnTo>
                  <a:pt x="720" y="322"/>
                </a:lnTo>
                <a:lnTo>
                  <a:pt x="718" y="322"/>
                </a:lnTo>
                <a:lnTo>
                  <a:pt x="714" y="321"/>
                </a:lnTo>
                <a:lnTo>
                  <a:pt x="711" y="321"/>
                </a:lnTo>
                <a:lnTo>
                  <a:pt x="706" y="322"/>
                </a:lnTo>
                <a:lnTo>
                  <a:pt x="703" y="322"/>
                </a:lnTo>
                <a:lnTo>
                  <a:pt x="699" y="325"/>
                </a:lnTo>
                <a:lnTo>
                  <a:pt x="696" y="328"/>
                </a:lnTo>
                <a:lnTo>
                  <a:pt x="694" y="326"/>
                </a:lnTo>
                <a:lnTo>
                  <a:pt x="692" y="326"/>
                </a:lnTo>
                <a:lnTo>
                  <a:pt x="688" y="326"/>
                </a:lnTo>
                <a:lnTo>
                  <a:pt x="686" y="326"/>
                </a:lnTo>
                <a:lnTo>
                  <a:pt x="679" y="328"/>
                </a:lnTo>
                <a:lnTo>
                  <a:pt x="673" y="330"/>
                </a:lnTo>
                <a:lnTo>
                  <a:pt x="657" y="332"/>
                </a:lnTo>
                <a:lnTo>
                  <a:pt x="640" y="335"/>
                </a:lnTo>
                <a:lnTo>
                  <a:pt x="624" y="337"/>
                </a:lnTo>
                <a:lnTo>
                  <a:pt x="607" y="340"/>
                </a:lnTo>
                <a:lnTo>
                  <a:pt x="590" y="344"/>
                </a:lnTo>
                <a:lnTo>
                  <a:pt x="574" y="347"/>
                </a:lnTo>
                <a:lnTo>
                  <a:pt x="541" y="355"/>
                </a:lnTo>
                <a:lnTo>
                  <a:pt x="508" y="362"/>
                </a:lnTo>
                <a:lnTo>
                  <a:pt x="475" y="371"/>
                </a:lnTo>
                <a:lnTo>
                  <a:pt x="442" y="379"/>
                </a:lnTo>
                <a:lnTo>
                  <a:pt x="426" y="385"/>
                </a:lnTo>
                <a:lnTo>
                  <a:pt x="435" y="381"/>
                </a:lnTo>
                <a:lnTo>
                  <a:pt x="448" y="378"/>
                </a:lnTo>
                <a:lnTo>
                  <a:pt x="442" y="379"/>
                </a:lnTo>
                <a:lnTo>
                  <a:pt x="402" y="392"/>
                </a:lnTo>
                <a:lnTo>
                  <a:pt x="364" y="403"/>
                </a:lnTo>
                <a:lnTo>
                  <a:pt x="324" y="415"/>
                </a:lnTo>
                <a:lnTo>
                  <a:pt x="284" y="428"/>
                </a:lnTo>
                <a:lnTo>
                  <a:pt x="245" y="441"/>
                </a:lnTo>
                <a:lnTo>
                  <a:pt x="207" y="455"/>
                </a:lnTo>
                <a:lnTo>
                  <a:pt x="169" y="469"/>
                </a:lnTo>
                <a:lnTo>
                  <a:pt x="130" y="484"/>
                </a:lnTo>
                <a:lnTo>
                  <a:pt x="120" y="487"/>
                </a:lnTo>
                <a:lnTo>
                  <a:pt x="110" y="491"/>
                </a:lnTo>
                <a:lnTo>
                  <a:pt x="99" y="494"/>
                </a:lnTo>
                <a:lnTo>
                  <a:pt x="88" y="497"/>
                </a:lnTo>
                <a:lnTo>
                  <a:pt x="80" y="501"/>
                </a:lnTo>
                <a:lnTo>
                  <a:pt x="71" y="502"/>
                </a:lnTo>
                <a:lnTo>
                  <a:pt x="70" y="501"/>
                </a:lnTo>
                <a:lnTo>
                  <a:pt x="68" y="500"/>
                </a:lnTo>
                <a:lnTo>
                  <a:pt x="66" y="497"/>
                </a:lnTo>
                <a:lnTo>
                  <a:pt x="64" y="498"/>
                </a:lnTo>
                <a:lnTo>
                  <a:pt x="67" y="495"/>
                </a:lnTo>
                <a:lnTo>
                  <a:pt x="68" y="492"/>
                </a:lnTo>
                <a:lnTo>
                  <a:pt x="66" y="488"/>
                </a:lnTo>
                <a:lnTo>
                  <a:pt x="64" y="485"/>
                </a:lnTo>
                <a:lnTo>
                  <a:pt x="70" y="480"/>
                </a:lnTo>
                <a:lnTo>
                  <a:pt x="77" y="477"/>
                </a:lnTo>
                <a:lnTo>
                  <a:pt x="85" y="471"/>
                </a:lnTo>
                <a:lnTo>
                  <a:pt x="94" y="467"/>
                </a:lnTo>
                <a:lnTo>
                  <a:pt x="102" y="462"/>
                </a:lnTo>
                <a:lnTo>
                  <a:pt x="111" y="456"/>
                </a:lnTo>
                <a:lnTo>
                  <a:pt x="119" y="452"/>
                </a:lnTo>
                <a:lnTo>
                  <a:pt x="128" y="446"/>
                </a:lnTo>
                <a:lnTo>
                  <a:pt x="136" y="441"/>
                </a:lnTo>
                <a:lnTo>
                  <a:pt x="145" y="436"/>
                </a:lnTo>
                <a:lnTo>
                  <a:pt x="149" y="434"/>
                </a:lnTo>
                <a:lnTo>
                  <a:pt x="152" y="433"/>
                </a:lnTo>
                <a:lnTo>
                  <a:pt x="157" y="433"/>
                </a:lnTo>
                <a:lnTo>
                  <a:pt x="161" y="433"/>
                </a:lnTo>
                <a:close/>
                <a:moveTo>
                  <a:pt x="163" y="441"/>
                </a:moveTo>
                <a:lnTo>
                  <a:pt x="169" y="439"/>
                </a:lnTo>
                <a:lnTo>
                  <a:pt x="174" y="437"/>
                </a:lnTo>
                <a:lnTo>
                  <a:pt x="175" y="435"/>
                </a:lnTo>
                <a:lnTo>
                  <a:pt x="175" y="434"/>
                </a:lnTo>
                <a:lnTo>
                  <a:pt x="174" y="433"/>
                </a:lnTo>
                <a:lnTo>
                  <a:pt x="171" y="431"/>
                </a:lnTo>
                <a:lnTo>
                  <a:pt x="165" y="431"/>
                </a:lnTo>
                <a:lnTo>
                  <a:pt x="161" y="434"/>
                </a:lnTo>
                <a:lnTo>
                  <a:pt x="160" y="436"/>
                </a:lnTo>
                <a:lnTo>
                  <a:pt x="160" y="438"/>
                </a:lnTo>
                <a:lnTo>
                  <a:pt x="161" y="439"/>
                </a:lnTo>
                <a:lnTo>
                  <a:pt x="163" y="441"/>
                </a:lnTo>
                <a:lnTo>
                  <a:pt x="163" y="441"/>
                </a:lnTo>
                <a:lnTo>
                  <a:pt x="163" y="441"/>
                </a:lnTo>
                <a:close/>
                <a:moveTo>
                  <a:pt x="124" y="455"/>
                </a:moveTo>
                <a:lnTo>
                  <a:pt x="127" y="456"/>
                </a:lnTo>
                <a:lnTo>
                  <a:pt x="129" y="456"/>
                </a:lnTo>
                <a:lnTo>
                  <a:pt x="133" y="455"/>
                </a:lnTo>
                <a:lnTo>
                  <a:pt x="135" y="454"/>
                </a:lnTo>
                <a:lnTo>
                  <a:pt x="140" y="452"/>
                </a:lnTo>
                <a:lnTo>
                  <a:pt x="144" y="450"/>
                </a:lnTo>
                <a:lnTo>
                  <a:pt x="138" y="448"/>
                </a:lnTo>
                <a:lnTo>
                  <a:pt x="134" y="450"/>
                </a:lnTo>
                <a:lnTo>
                  <a:pt x="128" y="451"/>
                </a:lnTo>
                <a:lnTo>
                  <a:pt x="124" y="455"/>
                </a:lnTo>
                <a:close/>
                <a:moveTo>
                  <a:pt x="954" y="392"/>
                </a:moveTo>
                <a:lnTo>
                  <a:pt x="949" y="387"/>
                </a:lnTo>
                <a:lnTo>
                  <a:pt x="943" y="386"/>
                </a:lnTo>
                <a:lnTo>
                  <a:pt x="941" y="387"/>
                </a:lnTo>
                <a:lnTo>
                  <a:pt x="937" y="388"/>
                </a:lnTo>
                <a:lnTo>
                  <a:pt x="935" y="389"/>
                </a:lnTo>
                <a:lnTo>
                  <a:pt x="933" y="392"/>
                </a:lnTo>
                <a:lnTo>
                  <a:pt x="939" y="393"/>
                </a:lnTo>
                <a:lnTo>
                  <a:pt x="943" y="393"/>
                </a:lnTo>
                <a:lnTo>
                  <a:pt x="949" y="393"/>
                </a:lnTo>
                <a:lnTo>
                  <a:pt x="954" y="392"/>
                </a:lnTo>
                <a:close/>
                <a:moveTo>
                  <a:pt x="1107" y="402"/>
                </a:moveTo>
                <a:lnTo>
                  <a:pt x="1115" y="405"/>
                </a:lnTo>
                <a:lnTo>
                  <a:pt x="1119" y="408"/>
                </a:lnTo>
                <a:lnTo>
                  <a:pt x="1122" y="408"/>
                </a:lnTo>
                <a:lnTo>
                  <a:pt x="1126" y="405"/>
                </a:lnTo>
                <a:lnTo>
                  <a:pt x="1122" y="402"/>
                </a:lnTo>
                <a:lnTo>
                  <a:pt x="1117" y="401"/>
                </a:lnTo>
                <a:lnTo>
                  <a:pt x="1113" y="401"/>
                </a:lnTo>
                <a:lnTo>
                  <a:pt x="1107" y="402"/>
                </a:lnTo>
                <a:close/>
                <a:moveTo>
                  <a:pt x="808" y="510"/>
                </a:moveTo>
                <a:lnTo>
                  <a:pt x="803" y="509"/>
                </a:lnTo>
                <a:lnTo>
                  <a:pt x="800" y="509"/>
                </a:lnTo>
                <a:lnTo>
                  <a:pt x="796" y="511"/>
                </a:lnTo>
                <a:lnTo>
                  <a:pt x="794" y="514"/>
                </a:lnTo>
                <a:lnTo>
                  <a:pt x="800" y="516"/>
                </a:lnTo>
                <a:lnTo>
                  <a:pt x="805" y="516"/>
                </a:lnTo>
                <a:lnTo>
                  <a:pt x="806" y="514"/>
                </a:lnTo>
                <a:lnTo>
                  <a:pt x="808" y="512"/>
                </a:lnTo>
                <a:lnTo>
                  <a:pt x="809" y="511"/>
                </a:lnTo>
                <a:lnTo>
                  <a:pt x="808" y="510"/>
                </a:lnTo>
                <a:lnTo>
                  <a:pt x="805" y="509"/>
                </a:lnTo>
                <a:lnTo>
                  <a:pt x="808" y="510"/>
                </a:lnTo>
                <a:close/>
                <a:moveTo>
                  <a:pt x="1063" y="398"/>
                </a:moveTo>
                <a:lnTo>
                  <a:pt x="1058" y="394"/>
                </a:lnTo>
                <a:lnTo>
                  <a:pt x="1053" y="393"/>
                </a:lnTo>
                <a:lnTo>
                  <a:pt x="1049" y="394"/>
                </a:lnTo>
                <a:lnTo>
                  <a:pt x="1044" y="395"/>
                </a:lnTo>
                <a:lnTo>
                  <a:pt x="1049" y="397"/>
                </a:lnTo>
                <a:lnTo>
                  <a:pt x="1053" y="400"/>
                </a:lnTo>
                <a:lnTo>
                  <a:pt x="1056" y="401"/>
                </a:lnTo>
                <a:lnTo>
                  <a:pt x="1058" y="400"/>
                </a:lnTo>
                <a:lnTo>
                  <a:pt x="1060" y="400"/>
                </a:lnTo>
                <a:lnTo>
                  <a:pt x="1063" y="398"/>
                </a:lnTo>
                <a:close/>
                <a:moveTo>
                  <a:pt x="546" y="481"/>
                </a:moveTo>
                <a:lnTo>
                  <a:pt x="546" y="485"/>
                </a:lnTo>
                <a:lnTo>
                  <a:pt x="544" y="487"/>
                </a:lnTo>
                <a:lnTo>
                  <a:pt x="541" y="488"/>
                </a:lnTo>
                <a:lnTo>
                  <a:pt x="539" y="489"/>
                </a:lnTo>
                <a:lnTo>
                  <a:pt x="532" y="492"/>
                </a:lnTo>
                <a:lnTo>
                  <a:pt x="528" y="496"/>
                </a:lnTo>
                <a:lnTo>
                  <a:pt x="532" y="496"/>
                </a:lnTo>
                <a:lnTo>
                  <a:pt x="538" y="496"/>
                </a:lnTo>
                <a:lnTo>
                  <a:pt x="542" y="495"/>
                </a:lnTo>
                <a:lnTo>
                  <a:pt x="546" y="492"/>
                </a:lnTo>
                <a:lnTo>
                  <a:pt x="549" y="488"/>
                </a:lnTo>
                <a:lnTo>
                  <a:pt x="552" y="484"/>
                </a:lnTo>
                <a:lnTo>
                  <a:pt x="552" y="481"/>
                </a:lnTo>
                <a:lnTo>
                  <a:pt x="550" y="480"/>
                </a:lnTo>
                <a:lnTo>
                  <a:pt x="548" y="480"/>
                </a:lnTo>
                <a:lnTo>
                  <a:pt x="546" y="481"/>
                </a:lnTo>
                <a:lnTo>
                  <a:pt x="546" y="485"/>
                </a:lnTo>
                <a:lnTo>
                  <a:pt x="546" y="481"/>
                </a:lnTo>
                <a:close/>
                <a:moveTo>
                  <a:pt x="958" y="489"/>
                </a:moveTo>
                <a:lnTo>
                  <a:pt x="954" y="489"/>
                </a:lnTo>
                <a:lnTo>
                  <a:pt x="951" y="489"/>
                </a:lnTo>
                <a:lnTo>
                  <a:pt x="952" y="492"/>
                </a:lnTo>
                <a:lnTo>
                  <a:pt x="953" y="494"/>
                </a:lnTo>
                <a:lnTo>
                  <a:pt x="956" y="496"/>
                </a:lnTo>
                <a:lnTo>
                  <a:pt x="958" y="496"/>
                </a:lnTo>
                <a:lnTo>
                  <a:pt x="962" y="496"/>
                </a:lnTo>
                <a:lnTo>
                  <a:pt x="968" y="496"/>
                </a:lnTo>
                <a:lnTo>
                  <a:pt x="970" y="496"/>
                </a:lnTo>
                <a:lnTo>
                  <a:pt x="973" y="496"/>
                </a:lnTo>
                <a:lnTo>
                  <a:pt x="974" y="495"/>
                </a:lnTo>
                <a:lnTo>
                  <a:pt x="974" y="493"/>
                </a:lnTo>
                <a:lnTo>
                  <a:pt x="972" y="491"/>
                </a:lnTo>
                <a:lnTo>
                  <a:pt x="966" y="489"/>
                </a:lnTo>
                <a:lnTo>
                  <a:pt x="961" y="489"/>
                </a:lnTo>
                <a:lnTo>
                  <a:pt x="958" y="489"/>
                </a:lnTo>
                <a:lnTo>
                  <a:pt x="959" y="489"/>
                </a:lnTo>
                <a:lnTo>
                  <a:pt x="958" y="489"/>
                </a:lnTo>
                <a:close/>
                <a:moveTo>
                  <a:pt x="853" y="276"/>
                </a:moveTo>
                <a:lnTo>
                  <a:pt x="851" y="276"/>
                </a:lnTo>
                <a:lnTo>
                  <a:pt x="847" y="276"/>
                </a:lnTo>
                <a:lnTo>
                  <a:pt x="846" y="277"/>
                </a:lnTo>
                <a:lnTo>
                  <a:pt x="845" y="277"/>
                </a:lnTo>
                <a:lnTo>
                  <a:pt x="844" y="278"/>
                </a:lnTo>
                <a:lnTo>
                  <a:pt x="844" y="280"/>
                </a:lnTo>
                <a:lnTo>
                  <a:pt x="845" y="282"/>
                </a:lnTo>
                <a:lnTo>
                  <a:pt x="847" y="284"/>
                </a:lnTo>
                <a:lnTo>
                  <a:pt x="851" y="284"/>
                </a:lnTo>
                <a:lnTo>
                  <a:pt x="853" y="284"/>
                </a:lnTo>
                <a:lnTo>
                  <a:pt x="857" y="284"/>
                </a:lnTo>
                <a:lnTo>
                  <a:pt x="859" y="284"/>
                </a:lnTo>
                <a:lnTo>
                  <a:pt x="861" y="282"/>
                </a:lnTo>
                <a:lnTo>
                  <a:pt x="862" y="280"/>
                </a:lnTo>
                <a:lnTo>
                  <a:pt x="861" y="277"/>
                </a:lnTo>
                <a:lnTo>
                  <a:pt x="859" y="276"/>
                </a:lnTo>
                <a:lnTo>
                  <a:pt x="857" y="276"/>
                </a:lnTo>
                <a:lnTo>
                  <a:pt x="853" y="276"/>
                </a:lnTo>
                <a:lnTo>
                  <a:pt x="853" y="276"/>
                </a:lnTo>
                <a:lnTo>
                  <a:pt x="853" y="276"/>
                </a:lnTo>
                <a:close/>
                <a:moveTo>
                  <a:pt x="1020" y="500"/>
                </a:moveTo>
                <a:lnTo>
                  <a:pt x="1018" y="501"/>
                </a:lnTo>
                <a:lnTo>
                  <a:pt x="1018" y="502"/>
                </a:lnTo>
                <a:lnTo>
                  <a:pt x="1019" y="504"/>
                </a:lnTo>
                <a:lnTo>
                  <a:pt x="1020" y="505"/>
                </a:lnTo>
                <a:lnTo>
                  <a:pt x="1023" y="506"/>
                </a:lnTo>
                <a:lnTo>
                  <a:pt x="1027" y="508"/>
                </a:lnTo>
                <a:lnTo>
                  <a:pt x="1034" y="508"/>
                </a:lnTo>
                <a:lnTo>
                  <a:pt x="1042" y="506"/>
                </a:lnTo>
                <a:lnTo>
                  <a:pt x="1038" y="502"/>
                </a:lnTo>
                <a:lnTo>
                  <a:pt x="1032" y="501"/>
                </a:lnTo>
                <a:lnTo>
                  <a:pt x="1026" y="500"/>
                </a:lnTo>
                <a:lnTo>
                  <a:pt x="1020" y="500"/>
                </a:lnTo>
                <a:lnTo>
                  <a:pt x="1023" y="500"/>
                </a:lnTo>
                <a:lnTo>
                  <a:pt x="1020" y="500"/>
                </a:lnTo>
                <a:close/>
                <a:moveTo>
                  <a:pt x="1006" y="239"/>
                </a:moveTo>
                <a:lnTo>
                  <a:pt x="1002" y="240"/>
                </a:lnTo>
                <a:lnTo>
                  <a:pt x="1000" y="243"/>
                </a:lnTo>
                <a:lnTo>
                  <a:pt x="1000" y="245"/>
                </a:lnTo>
                <a:lnTo>
                  <a:pt x="1001" y="247"/>
                </a:lnTo>
                <a:lnTo>
                  <a:pt x="1003" y="248"/>
                </a:lnTo>
                <a:lnTo>
                  <a:pt x="1006" y="249"/>
                </a:lnTo>
                <a:lnTo>
                  <a:pt x="1009" y="248"/>
                </a:lnTo>
                <a:lnTo>
                  <a:pt x="1014" y="245"/>
                </a:lnTo>
                <a:lnTo>
                  <a:pt x="1019" y="240"/>
                </a:lnTo>
                <a:lnTo>
                  <a:pt x="1025" y="237"/>
                </a:lnTo>
                <a:lnTo>
                  <a:pt x="1020" y="236"/>
                </a:lnTo>
                <a:lnTo>
                  <a:pt x="1015" y="235"/>
                </a:lnTo>
                <a:lnTo>
                  <a:pt x="1012" y="235"/>
                </a:lnTo>
                <a:lnTo>
                  <a:pt x="1010" y="236"/>
                </a:lnTo>
                <a:lnTo>
                  <a:pt x="1007" y="237"/>
                </a:lnTo>
                <a:lnTo>
                  <a:pt x="1006" y="239"/>
                </a:lnTo>
                <a:lnTo>
                  <a:pt x="1007" y="237"/>
                </a:lnTo>
                <a:lnTo>
                  <a:pt x="1006" y="239"/>
                </a:lnTo>
                <a:close/>
                <a:moveTo>
                  <a:pt x="1002" y="421"/>
                </a:moveTo>
                <a:lnTo>
                  <a:pt x="1007" y="423"/>
                </a:lnTo>
                <a:lnTo>
                  <a:pt x="1012" y="426"/>
                </a:lnTo>
                <a:lnTo>
                  <a:pt x="1017" y="427"/>
                </a:lnTo>
                <a:lnTo>
                  <a:pt x="1022" y="428"/>
                </a:lnTo>
                <a:lnTo>
                  <a:pt x="1031" y="428"/>
                </a:lnTo>
                <a:lnTo>
                  <a:pt x="1041" y="428"/>
                </a:lnTo>
                <a:lnTo>
                  <a:pt x="1036" y="425"/>
                </a:lnTo>
                <a:lnTo>
                  <a:pt x="1032" y="422"/>
                </a:lnTo>
                <a:lnTo>
                  <a:pt x="1027" y="421"/>
                </a:lnTo>
                <a:lnTo>
                  <a:pt x="1023" y="420"/>
                </a:lnTo>
                <a:lnTo>
                  <a:pt x="1012" y="420"/>
                </a:lnTo>
                <a:lnTo>
                  <a:pt x="1002" y="421"/>
                </a:lnTo>
                <a:close/>
                <a:moveTo>
                  <a:pt x="697" y="253"/>
                </a:moveTo>
                <a:lnTo>
                  <a:pt x="687" y="254"/>
                </a:lnTo>
                <a:lnTo>
                  <a:pt x="677" y="255"/>
                </a:lnTo>
                <a:lnTo>
                  <a:pt x="666" y="257"/>
                </a:lnTo>
                <a:lnTo>
                  <a:pt x="656" y="259"/>
                </a:lnTo>
                <a:lnTo>
                  <a:pt x="652" y="259"/>
                </a:lnTo>
                <a:lnTo>
                  <a:pt x="646" y="259"/>
                </a:lnTo>
                <a:lnTo>
                  <a:pt x="652" y="259"/>
                </a:lnTo>
                <a:lnTo>
                  <a:pt x="656" y="259"/>
                </a:lnTo>
                <a:lnTo>
                  <a:pt x="666" y="259"/>
                </a:lnTo>
                <a:lnTo>
                  <a:pt x="677" y="259"/>
                </a:lnTo>
                <a:lnTo>
                  <a:pt x="687" y="256"/>
                </a:lnTo>
                <a:lnTo>
                  <a:pt x="697" y="253"/>
                </a:lnTo>
                <a:close/>
                <a:moveTo>
                  <a:pt x="1133" y="254"/>
                </a:moveTo>
                <a:lnTo>
                  <a:pt x="1117" y="253"/>
                </a:lnTo>
                <a:lnTo>
                  <a:pt x="1104" y="252"/>
                </a:lnTo>
                <a:lnTo>
                  <a:pt x="1107" y="249"/>
                </a:lnTo>
                <a:lnTo>
                  <a:pt x="1110" y="249"/>
                </a:lnTo>
                <a:lnTo>
                  <a:pt x="1114" y="248"/>
                </a:lnTo>
                <a:lnTo>
                  <a:pt x="1117" y="249"/>
                </a:lnTo>
                <a:lnTo>
                  <a:pt x="1125" y="251"/>
                </a:lnTo>
                <a:lnTo>
                  <a:pt x="1133" y="254"/>
                </a:lnTo>
                <a:close/>
                <a:moveTo>
                  <a:pt x="1082" y="242"/>
                </a:moveTo>
                <a:lnTo>
                  <a:pt x="1080" y="242"/>
                </a:lnTo>
                <a:lnTo>
                  <a:pt x="1077" y="243"/>
                </a:lnTo>
                <a:lnTo>
                  <a:pt x="1080" y="242"/>
                </a:lnTo>
                <a:lnTo>
                  <a:pt x="1082" y="242"/>
                </a:lnTo>
                <a:close/>
                <a:moveTo>
                  <a:pt x="663" y="182"/>
                </a:moveTo>
                <a:lnTo>
                  <a:pt x="663" y="180"/>
                </a:lnTo>
                <a:lnTo>
                  <a:pt x="663" y="178"/>
                </a:lnTo>
                <a:lnTo>
                  <a:pt x="663" y="184"/>
                </a:lnTo>
                <a:lnTo>
                  <a:pt x="662" y="190"/>
                </a:lnTo>
                <a:lnTo>
                  <a:pt x="660" y="195"/>
                </a:lnTo>
                <a:lnTo>
                  <a:pt x="655" y="199"/>
                </a:lnTo>
                <a:lnTo>
                  <a:pt x="660" y="196"/>
                </a:lnTo>
                <a:lnTo>
                  <a:pt x="662" y="192"/>
                </a:lnTo>
                <a:lnTo>
                  <a:pt x="663" y="187"/>
                </a:lnTo>
                <a:lnTo>
                  <a:pt x="663" y="182"/>
                </a:lnTo>
                <a:lnTo>
                  <a:pt x="663" y="185"/>
                </a:lnTo>
                <a:lnTo>
                  <a:pt x="663" y="182"/>
                </a:lnTo>
                <a:close/>
                <a:moveTo>
                  <a:pt x="1118" y="480"/>
                </a:moveTo>
                <a:lnTo>
                  <a:pt x="1119" y="478"/>
                </a:lnTo>
                <a:lnTo>
                  <a:pt x="1121" y="476"/>
                </a:lnTo>
                <a:lnTo>
                  <a:pt x="1123" y="476"/>
                </a:lnTo>
                <a:lnTo>
                  <a:pt x="1125" y="476"/>
                </a:lnTo>
                <a:lnTo>
                  <a:pt x="1129" y="477"/>
                </a:lnTo>
                <a:lnTo>
                  <a:pt x="1132" y="478"/>
                </a:lnTo>
                <a:lnTo>
                  <a:pt x="1141" y="480"/>
                </a:lnTo>
                <a:lnTo>
                  <a:pt x="1149" y="481"/>
                </a:lnTo>
                <a:lnTo>
                  <a:pt x="1145" y="483"/>
                </a:lnTo>
                <a:lnTo>
                  <a:pt x="1140" y="483"/>
                </a:lnTo>
                <a:lnTo>
                  <a:pt x="1135" y="483"/>
                </a:lnTo>
                <a:lnTo>
                  <a:pt x="1131" y="481"/>
                </a:lnTo>
                <a:lnTo>
                  <a:pt x="1127" y="481"/>
                </a:lnTo>
                <a:lnTo>
                  <a:pt x="1125" y="481"/>
                </a:lnTo>
                <a:lnTo>
                  <a:pt x="1124" y="481"/>
                </a:lnTo>
                <a:lnTo>
                  <a:pt x="1123" y="484"/>
                </a:lnTo>
                <a:lnTo>
                  <a:pt x="1123" y="486"/>
                </a:lnTo>
                <a:lnTo>
                  <a:pt x="1124" y="487"/>
                </a:lnTo>
                <a:lnTo>
                  <a:pt x="1124" y="488"/>
                </a:lnTo>
                <a:lnTo>
                  <a:pt x="1122" y="489"/>
                </a:lnTo>
                <a:lnTo>
                  <a:pt x="1121" y="491"/>
                </a:lnTo>
                <a:lnTo>
                  <a:pt x="1118" y="491"/>
                </a:lnTo>
                <a:lnTo>
                  <a:pt x="1118" y="489"/>
                </a:lnTo>
                <a:lnTo>
                  <a:pt x="1119" y="487"/>
                </a:lnTo>
                <a:lnTo>
                  <a:pt x="1121" y="485"/>
                </a:lnTo>
                <a:lnTo>
                  <a:pt x="1121" y="484"/>
                </a:lnTo>
                <a:lnTo>
                  <a:pt x="1119" y="481"/>
                </a:lnTo>
                <a:lnTo>
                  <a:pt x="1118" y="480"/>
                </a:lnTo>
                <a:lnTo>
                  <a:pt x="1119" y="480"/>
                </a:lnTo>
                <a:lnTo>
                  <a:pt x="1118" y="480"/>
                </a:lnTo>
                <a:close/>
                <a:moveTo>
                  <a:pt x="1056" y="476"/>
                </a:moveTo>
                <a:lnTo>
                  <a:pt x="1052" y="475"/>
                </a:lnTo>
                <a:lnTo>
                  <a:pt x="1049" y="472"/>
                </a:lnTo>
                <a:lnTo>
                  <a:pt x="1049" y="470"/>
                </a:lnTo>
                <a:lnTo>
                  <a:pt x="1050" y="469"/>
                </a:lnTo>
                <a:lnTo>
                  <a:pt x="1051" y="468"/>
                </a:lnTo>
                <a:lnTo>
                  <a:pt x="1053" y="468"/>
                </a:lnTo>
                <a:lnTo>
                  <a:pt x="1061" y="471"/>
                </a:lnTo>
                <a:lnTo>
                  <a:pt x="1068" y="475"/>
                </a:lnTo>
                <a:lnTo>
                  <a:pt x="1063" y="476"/>
                </a:lnTo>
                <a:lnTo>
                  <a:pt x="1056" y="476"/>
                </a:lnTo>
                <a:lnTo>
                  <a:pt x="1056" y="476"/>
                </a:lnTo>
                <a:lnTo>
                  <a:pt x="1056" y="476"/>
                </a:lnTo>
                <a:close/>
                <a:moveTo>
                  <a:pt x="1042" y="442"/>
                </a:moveTo>
                <a:lnTo>
                  <a:pt x="1052" y="443"/>
                </a:lnTo>
                <a:lnTo>
                  <a:pt x="1063" y="442"/>
                </a:lnTo>
                <a:lnTo>
                  <a:pt x="1067" y="442"/>
                </a:lnTo>
                <a:lnTo>
                  <a:pt x="1073" y="442"/>
                </a:lnTo>
                <a:lnTo>
                  <a:pt x="1077" y="442"/>
                </a:lnTo>
                <a:lnTo>
                  <a:pt x="1083" y="443"/>
                </a:lnTo>
                <a:lnTo>
                  <a:pt x="1080" y="446"/>
                </a:lnTo>
                <a:lnTo>
                  <a:pt x="1075" y="447"/>
                </a:lnTo>
                <a:lnTo>
                  <a:pt x="1072" y="448"/>
                </a:lnTo>
                <a:lnTo>
                  <a:pt x="1067" y="448"/>
                </a:lnTo>
                <a:lnTo>
                  <a:pt x="1059" y="448"/>
                </a:lnTo>
                <a:lnTo>
                  <a:pt x="1051" y="448"/>
                </a:lnTo>
                <a:lnTo>
                  <a:pt x="1047" y="450"/>
                </a:lnTo>
                <a:lnTo>
                  <a:pt x="1044" y="448"/>
                </a:lnTo>
                <a:lnTo>
                  <a:pt x="1043" y="446"/>
                </a:lnTo>
                <a:lnTo>
                  <a:pt x="1042" y="443"/>
                </a:lnTo>
                <a:lnTo>
                  <a:pt x="1040" y="441"/>
                </a:lnTo>
                <a:lnTo>
                  <a:pt x="1035" y="441"/>
                </a:lnTo>
                <a:lnTo>
                  <a:pt x="1031" y="442"/>
                </a:lnTo>
                <a:lnTo>
                  <a:pt x="1027" y="443"/>
                </a:lnTo>
                <a:lnTo>
                  <a:pt x="1031" y="441"/>
                </a:lnTo>
                <a:lnTo>
                  <a:pt x="1035" y="441"/>
                </a:lnTo>
                <a:lnTo>
                  <a:pt x="1039" y="441"/>
                </a:lnTo>
                <a:lnTo>
                  <a:pt x="1042" y="442"/>
                </a:lnTo>
                <a:lnTo>
                  <a:pt x="1047" y="443"/>
                </a:lnTo>
                <a:lnTo>
                  <a:pt x="1045" y="442"/>
                </a:lnTo>
                <a:lnTo>
                  <a:pt x="1042" y="442"/>
                </a:lnTo>
                <a:lnTo>
                  <a:pt x="1042" y="442"/>
                </a:lnTo>
                <a:close/>
                <a:moveTo>
                  <a:pt x="970" y="442"/>
                </a:moveTo>
                <a:lnTo>
                  <a:pt x="970" y="445"/>
                </a:lnTo>
                <a:lnTo>
                  <a:pt x="972" y="448"/>
                </a:lnTo>
                <a:lnTo>
                  <a:pt x="970" y="452"/>
                </a:lnTo>
                <a:lnTo>
                  <a:pt x="969" y="455"/>
                </a:lnTo>
                <a:lnTo>
                  <a:pt x="968" y="452"/>
                </a:lnTo>
                <a:lnTo>
                  <a:pt x="966" y="450"/>
                </a:lnTo>
                <a:lnTo>
                  <a:pt x="964" y="448"/>
                </a:lnTo>
                <a:lnTo>
                  <a:pt x="960" y="448"/>
                </a:lnTo>
                <a:lnTo>
                  <a:pt x="954" y="447"/>
                </a:lnTo>
                <a:lnTo>
                  <a:pt x="948" y="445"/>
                </a:lnTo>
                <a:lnTo>
                  <a:pt x="959" y="444"/>
                </a:lnTo>
                <a:lnTo>
                  <a:pt x="970" y="442"/>
                </a:lnTo>
                <a:lnTo>
                  <a:pt x="968" y="444"/>
                </a:lnTo>
                <a:lnTo>
                  <a:pt x="970" y="442"/>
                </a:lnTo>
                <a:close/>
                <a:moveTo>
                  <a:pt x="845" y="468"/>
                </a:moveTo>
                <a:lnTo>
                  <a:pt x="851" y="468"/>
                </a:lnTo>
                <a:lnTo>
                  <a:pt x="855" y="468"/>
                </a:lnTo>
                <a:lnTo>
                  <a:pt x="861" y="469"/>
                </a:lnTo>
                <a:lnTo>
                  <a:pt x="867" y="470"/>
                </a:lnTo>
                <a:lnTo>
                  <a:pt x="855" y="473"/>
                </a:lnTo>
                <a:lnTo>
                  <a:pt x="844" y="476"/>
                </a:lnTo>
                <a:lnTo>
                  <a:pt x="842" y="475"/>
                </a:lnTo>
                <a:lnTo>
                  <a:pt x="839" y="473"/>
                </a:lnTo>
                <a:lnTo>
                  <a:pt x="838" y="472"/>
                </a:lnTo>
                <a:lnTo>
                  <a:pt x="838" y="470"/>
                </a:lnTo>
                <a:lnTo>
                  <a:pt x="839" y="469"/>
                </a:lnTo>
                <a:lnTo>
                  <a:pt x="841" y="468"/>
                </a:lnTo>
                <a:lnTo>
                  <a:pt x="843" y="468"/>
                </a:lnTo>
                <a:lnTo>
                  <a:pt x="845" y="468"/>
                </a:lnTo>
                <a:lnTo>
                  <a:pt x="846" y="468"/>
                </a:lnTo>
                <a:lnTo>
                  <a:pt x="845" y="468"/>
                </a:lnTo>
                <a:close/>
                <a:moveTo>
                  <a:pt x="803" y="452"/>
                </a:moveTo>
                <a:lnTo>
                  <a:pt x="809" y="452"/>
                </a:lnTo>
                <a:lnTo>
                  <a:pt x="814" y="448"/>
                </a:lnTo>
                <a:lnTo>
                  <a:pt x="817" y="450"/>
                </a:lnTo>
                <a:lnTo>
                  <a:pt x="819" y="452"/>
                </a:lnTo>
                <a:lnTo>
                  <a:pt x="819" y="454"/>
                </a:lnTo>
                <a:lnTo>
                  <a:pt x="820" y="456"/>
                </a:lnTo>
                <a:lnTo>
                  <a:pt x="824" y="458"/>
                </a:lnTo>
                <a:lnTo>
                  <a:pt x="826" y="458"/>
                </a:lnTo>
                <a:lnTo>
                  <a:pt x="826" y="458"/>
                </a:lnTo>
                <a:lnTo>
                  <a:pt x="826" y="459"/>
                </a:lnTo>
                <a:lnTo>
                  <a:pt x="827" y="459"/>
                </a:lnTo>
                <a:lnTo>
                  <a:pt x="828" y="460"/>
                </a:lnTo>
                <a:lnTo>
                  <a:pt x="832" y="460"/>
                </a:lnTo>
                <a:lnTo>
                  <a:pt x="834" y="460"/>
                </a:lnTo>
                <a:lnTo>
                  <a:pt x="824" y="460"/>
                </a:lnTo>
                <a:lnTo>
                  <a:pt x="813" y="460"/>
                </a:lnTo>
                <a:lnTo>
                  <a:pt x="803" y="460"/>
                </a:lnTo>
                <a:lnTo>
                  <a:pt x="793" y="461"/>
                </a:lnTo>
                <a:lnTo>
                  <a:pt x="797" y="456"/>
                </a:lnTo>
                <a:lnTo>
                  <a:pt x="803" y="452"/>
                </a:lnTo>
                <a:lnTo>
                  <a:pt x="804" y="455"/>
                </a:lnTo>
                <a:lnTo>
                  <a:pt x="803" y="452"/>
                </a:lnTo>
                <a:close/>
                <a:moveTo>
                  <a:pt x="681" y="491"/>
                </a:moveTo>
                <a:lnTo>
                  <a:pt x="684" y="488"/>
                </a:lnTo>
                <a:lnTo>
                  <a:pt x="686" y="486"/>
                </a:lnTo>
                <a:lnTo>
                  <a:pt x="689" y="485"/>
                </a:lnTo>
                <a:lnTo>
                  <a:pt x="694" y="484"/>
                </a:lnTo>
                <a:lnTo>
                  <a:pt x="702" y="484"/>
                </a:lnTo>
                <a:lnTo>
                  <a:pt x="710" y="484"/>
                </a:lnTo>
                <a:lnTo>
                  <a:pt x="720" y="484"/>
                </a:lnTo>
                <a:lnTo>
                  <a:pt x="730" y="483"/>
                </a:lnTo>
                <a:lnTo>
                  <a:pt x="740" y="480"/>
                </a:lnTo>
                <a:lnTo>
                  <a:pt x="751" y="477"/>
                </a:lnTo>
                <a:lnTo>
                  <a:pt x="746" y="484"/>
                </a:lnTo>
                <a:lnTo>
                  <a:pt x="740" y="491"/>
                </a:lnTo>
                <a:lnTo>
                  <a:pt x="738" y="493"/>
                </a:lnTo>
                <a:lnTo>
                  <a:pt x="735" y="495"/>
                </a:lnTo>
                <a:lnTo>
                  <a:pt x="730" y="496"/>
                </a:lnTo>
                <a:lnTo>
                  <a:pt x="726" y="496"/>
                </a:lnTo>
                <a:lnTo>
                  <a:pt x="714" y="496"/>
                </a:lnTo>
                <a:lnTo>
                  <a:pt x="703" y="497"/>
                </a:lnTo>
                <a:lnTo>
                  <a:pt x="690" y="498"/>
                </a:lnTo>
                <a:lnTo>
                  <a:pt x="679" y="500"/>
                </a:lnTo>
                <a:lnTo>
                  <a:pt x="680" y="495"/>
                </a:lnTo>
                <a:lnTo>
                  <a:pt x="681" y="491"/>
                </a:lnTo>
                <a:lnTo>
                  <a:pt x="682" y="489"/>
                </a:lnTo>
                <a:lnTo>
                  <a:pt x="681" y="491"/>
                </a:lnTo>
                <a:close/>
                <a:moveTo>
                  <a:pt x="655" y="491"/>
                </a:moveTo>
                <a:lnTo>
                  <a:pt x="661" y="489"/>
                </a:lnTo>
                <a:lnTo>
                  <a:pt x="665" y="488"/>
                </a:lnTo>
                <a:lnTo>
                  <a:pt x="671" y="488"/>
                </a:lnTo>
                <a:lnTo>
                  <a:pt x="677" y="488"/>
                </a:lnTo>
                <a:lnTo>
                  <a:pt x="672" y="492"/>
                </a:lnTo>
                <a:lnTo>
                  <a:pt x="666" y="494"/>
                </a:lnTo>
                <a:lnTo>
                  <a:pt x="661" y="496"/>
                </a:lnTo>
                <a:lnTo>
                  <a:pt x="655" y="496"/>
                </a:lnTo>
                <a:lnTo>
                  <a:pt x="654" y="496"/>
                </a:lnTo>
                <a:lnTo>
                  <a:pt x="652" y="496"/>
                </a:lnTo>
                <a:lnTo>
                  <a:pt x="651" y="495"/>
                </a:lnTo>
                <a:lnTo>
                  <a:pt x="651" y="493"/>
                </a:lnTo>
                <a:lnTo>
                  <a:pt x="653" y="492"/>
                </a:lnTo>
                <a:lnTo>
                  <a:pt x="655" y="491"/>
                </a:lnTo>
                <a:lnTo>
                  <a:pt x="657" y="491"/>
                </a:lnTo>
                <a:lnTo>
                  <a:pt x="655" y="491"/>
                </a:lnTo>
                <a:close/>
                <a:moveTo>
                  <a:pt x="389" y="583"/>
                </a:moveTo>
                <a:lnTo>
                  <a:pt x="390" y="581"/>
                </a:lnTo>
                <a:lnTo>
                  <a:pt x="391" y="580"/>
                </a:lnTo>
                <a:lnTo>
                  <a:pt x="392" y="583"/>
                </a:lnTo>
                <a:lnTo>
                  <a:pt x="391" y="584"/>
                </a:lnTo>
                <a:lnTo>
                  <a:pt x="390" y="584"/>
                </a:lnTo>
                <a:lnTo>
                  <a:pt x="389" y="583"/>
                </a:lnTo>
                <a:lnTo>
                  <a:pt x="389" y="583"/>
                </a:lnTo>
                <a:lnTo>
                  <a:pt x="389" y="583"/>
                </a:lnTo>
                <a:close/>
                <a:moveTo>
                  <a:pt x="298" y="579"/>
                </a:moveTo>
                <a:lnTo>
                  <a:pt x="299" y="579"/>
                </a:lnTo>
                <a:lnTo>
                  <a:pt x="300" y="580"/>
                </a:lnTo>
                <a:lnTo>
                  <a:pt x="300" y="581"/>
                </a:lnTo>
                <a:lnTo>
                  <a:pt x="299" y="584"/>
                </a:lnTo>
                <a:lnTo>
                  <a:pt x="298" y="585"/>
                </a:lnTo>
                <a:lnTo>
                  <a:pt x="297" y="585"/>
                </a:lnTo>
                <a:lnTo>
                  <a:pt x="297" y="585"/>
                </a:lnTo>
                <a:lnTo>
                  <a:pt x="297" y="584"/>
                </a:lnTo>
                <a:lnTo>
                  <a:pt x="297" y="581"/>
                </a:lnTo>
                <a:lnTo>
                  <a:pt x="298" y="579"/>
                </a:lnTo>
                <a:lnTo>
                  <a:pt x="298" y="579"/>
                </a:lnTo>
                <a:lnTo>
                  <a:pt x="298" y="579"/>
                </a:lnTo>
                <a:close/>
                <a:moveTo>
                  <a:pt x="243" y="301"/>
                </a:moveTo>
                <a:lnTo>
                  <a:pt x="252" y="300"/>
                </a:lnTo>
                <a:lnTo>
                  <a:pt x="262" y="296"/>
                </a:lnTo>
                <a:lnTo>
                  <a:pt x="273" y="293"/>
                </a:lnTo>
                <a:lnTo>
                  <a:pt x="282" y="289"/>
                </a:lnTo>
                <a:lnTo>
                  <a:pt x="292" y="286"/>
                </a:lnTo>
                <a:lnTo>
                  <a:pt x="302" y="284"/>
                </a:lnTo>
                <a:lnTo>
                  <a:pt x="313" y="281"/>
                </a:lnTo>
                <a:lnTo>
                  <a:pt x="322" y="278"/>
                </a:lnTo>
                <a:lnTo>
                  <a:pt x="344" y="272"/>
                </a:lnTo>
                <a:lnTo>
                  <a:pt x="366" y="267"/>
                </a:lnTo>
                <a:lnTo>
                  <a:pt x="388" y="262"/>
                </a:lnTo>
                <a:lnTo>
                  <a:pt x="409" y="256"/>
                </a:lnTo>
                <a:lnTo>
                  <a:pt x="431" y="253"/>
                </a:lnTo>
                <a:lnTo>
                  <a:pt x="453" y="249"/>
                </a:lnTo>
                <a:lnTo>
                  <a:pt x="474" y="246"/>
                </a:lnTo>
                <a:lnTo>
                  <a:pt x="496" y="242"/>
                </a:lnTo>
                <a:lnTo>
                  <a:pt x="506" y="240"/>
                </a:lnTo>
                <a:lnTo>
                  <a:pt x="517" y="239"/>
                </a:lnTo>
                <a:lnTo>
                  <a:pt x="528" y="237"/>
                </a:lnTo>
                <a:lnTo>
                  <a:pt x="539" y="236"/>
                </a:lnTo>
                <a:lnTo>
                  <a:pt x="549" y="234"/>
                </a:lnTo>
                <a:lnTo>
                  <a:pt x="561" y="232"/>
                </a:lnTo>
                <a:lnTo>
                  <a:pt x="566" y="231"/>
                </a:lnTo>
                <a:lnTo>
                  <a:pt x="572" y="232"/>
                </a:lnTo>
                <a:lnTo>
                  <a:pt x="578" y="232"/>
                </a:lnTo>
                <a:lnTo>
                  <a:pt x="582" y="235"/>
                </a:lnTo>
                <a:lnTo>
                  <a:pt x="560" y="238"/>
                </a:lnTo>
                <a:lnTo>
                  <a:pt x="537" y="242"/>
                </a:lnTo>
                <a:lnTo>
                  <a:pt x="513" y="245"/>
                </a:lnTo>
                <a:lnTo>
                  <a:pt x="490" y="248"/>
                </a:lnTo>
                <a:lnTo>
                  <a:pt x="467" y="252"/>
                </a:lnTo>
                <a:lnTo>
                  <a:pt x="443" y="256"/>
                </a:lnTo>
                <a:lnTo>
                  <a:pt x="421" y="261"/>
                </a:lnTo>
                <a:lnTo>
                  <a:pt x="398" y="265"/>
                </a:lnTo>
                <a:lnTo>
                  <a:pt x="376" y="271"/>
                </a:lnTo>
                <a:lnTo>
                  <a:pt x="354" y="277"/>
                </a:lnTo>
                <a:lnTo>
                  <a:pt x="332" y="282"/>
                </a:lnTo>
                <a:lnTo>
                  <a:pt x="310" y="288"/>
                </a:lnTo>
                <a:lnTo>
                  <a:pt x="290" y="294"/>
                </a:lnTo>
                <a:lnTo>
                  <a:pt x="269" y="301"/>
                </a:lnTo>
                <a:lnTo>
                  <a:pt x="259" y="303"/>
                </a:lnTo>
                <a:lnTo>
                  <a:pt x="249" y="306"/>
                </a:lnTo>
                <a:lnTo>
                  <a:pt x="239" y="307"/>
                </a:lnTo>
                <a:lnTo>
                  <a:pt x="227" y="309"/>
                </a:lnTo>
                <a:lnTo>
                  <a:pt x="231" y="305"/>
                </a:lnTo>
                <a:lnTo>
                  <a:pt x="234" y="303"/>
                </a:lnTo>
                <a:lnTo>
                  <a:pt x="239" y="302"/>
                </a:lnTo>
                <a:lnTo>
                  <a:pt x="243" y="301"/>
                </a:lnTo>
                <a:lnTo>
                  <a:pt x="252" y="300"/>
                </a:lnTo>
                <a:lnTo>
                  <a:pt x="250" y="300"/>
                </a:lnTo>
                <a:lnTo>
                  <a:pt x="244" y="301"/>
                </a:lnTo>
                <a:lnTo>
                  <a:pt x="243" y="301"/>
                </a:lnTo>
                <a:close/>
                <a:moveTo>
                  <a:pt x="190" y="498"/>
                </a:moveTo>
                <a:lnTo>
                  <a:pt x="199" y="496"/>
                </a:lnTo>
                <a:lnTo>
                  <a:pt x="207" y="492"/>
                </a:lnTo>
                <a:lnTo>
                  <a:pt x="214" y="487"/>
                </a:lnTo>
                <a:lnTo>
                  <a:pt x="220" y="483"/>
                </a:lnTo>
                <a:lnTo>
                  <a:pt x="228" y="478"/>
                </a:lnTo>
                <a:lnTo>
                  <a:pt x="235" y="475"/>
                </a:lnTo>
                <a:lnTo>
                  <a:pt x="240" y="473"/>
                </a:lnTo>
                <a:lnTo>
                  <a:pt x="244" y="472"/>
                </a:lnTo>
                <a:lnTo>
                  <a:pt x="249" y="472"/>
                </a:lnTo>
                <a:lnTo>
                  <a:pt x="253" y="473"/>
                </a:lnTo>
                <a:lnTo>
                  <a:pt x="239" y="484"/>
                </a:lnTo>
                <a:lnTo>
                  <a:pt x="225" y="492"/>
                </a:lnTo>
                <a:lnTo>
                  <a:pt x="217" y="496"/>
                </a:lnTo>
                <a:lnTo>
                  <a:pt x="209" y="498"/>
                </a:lnTo>
                <a:lnTo>
                  <a:pt x="200" y="498"/>
                </a:lnTo>
                <a:lnTo>
                  <a:pt x="190" y="498"/>
                </a:lnTo>
                <a:close/>
                <a:moveTo>
                  <a:pt x="361" y="453"/>
                </a:moveTo>
                <a:lnTo>
                  <a:pt x="371" y="447"/>
                </a:lnTo>
                <a:lnTo>
                  <a:pt x="380" y="444"/>
                </a:lnTo>
                <a:lnTo>
                  <a:pt x="390" y="442"/>
                </a:lnTo>
                <a:lnTo>
                  <a:pt x="400" y="441"/>
                </a:lnTo>
                <a:lnTo>
                  <a:pt x="391" y="445"/>
                </a:lnTo>
                <a:lnTo>
                  <a:pt x="382" y="448"/>
                </a:lnTo>
                <a:lnTo>
                  <a:pt x="372" y="452"/>
                </a:lnTo>
                <a:lnTo>
                  <a:pt x="361" y="453"/>
                </a:lnTo>
                <a:lnTo>
                  <a:pt x="372" y="450"/>
                </a:lnTo>
                <a:lnTo>
                  <a:pt x="361" y="453"/>
                </a:lnTo>
                <a:close/>
                <a:moveTo>
                  <a:pt x="417" y="436"/>
                </a:moveTo>
                <a:lnTo>
                  <a:pt x="415" y="436"/>
                </a:lnTo>
                <a:lnTo>
                  <a:pt x="412" y="435"/>
                </a:lnTo>
                <a:lnTo>
                  <a:pt x="429" y="429"/>
                </a:lnTo>
                <a:lnTo>
                  <a:pt x="447" y="423"/>
                </a:lnTo>
                <a:lnTo>
                  <a:pt x="464" y="420"/>
                </a:lnTo>
                <a:lnTo>
                  <a:pt x="482" y="417"/>
                </a:lnTo>
                <a:lnTo>
                  <a:pt x="466" y="423"/>
                </a:lnTo>
                <a:lnTo>
                  <a:pt x="450" y="429"/>
                </a:lnTo>
                <a:lnTo>
                  <a:pt x="434" y="434"/>
                </a:lnTo>
                <a:lnTo>
                  <a:pt x="417" y="436"/>
                </a:lnTo>
                <a:lnTo>
                  <a:pt x="420" y="436"/>
                </a:lnTo>
                <a:lnTo>
                  <a:pt x="425" y="435"/>
                </a:lnTo>
                <a:lnTo>
                  <a:pt x="427" y="435"/>
                </a:lnTo>
                <a:lnTo>
                  <a:pt x="417" y="436"/>
                </a:lnTo>
                <a:close/>
                <a:moveTo>
                  <a:pt x="481" y="451"/>
                </a:moveTo>
                <a:lnTo>
                  <a:pt x="481" y="451"/>
                </a:lnTo>
                <a:lnTo>
                  <a:pt x="481" y="451"/>
                </a:lnTo>
                <a:lnTo>
                  <a:pt x="483" y="448"/>
                </a:lnTo>
                <a:lnTo>
                  <a:pt x="487" y="448"/>
                </a:lnTo>
                <a:lnTo>
                  <a:pt x="486" y="451"/>
                </a:lnTo>
                <a:lnTo>
                  <a:pt x="484" y="452"/>
                </a:lnTo>
                <a:lnTo>
                  <a:pt x="483" y="452"/>
                </a:lnTo>
                <a:lnTo>
                  <a:pt x="481" y="451"/>
                </a:lnTo>
                <a:lnTo>
                  <a:pt x="482" y="451"/>
                </a:lnTo>
                <a:lnTo>
                  <a:pt x="481" y="451"/>
                </a:lnTo>
                <a:close/>
                <a:moveTo>
                  <a:pt x="587" y="364"/>
                </a:moveTo>
                <a:lnTo>
                  <a:pt x="589" y="362"/>
                </a:lnTo>
                <a:lnTo>
                  <a:pt x="591" y="360"/>
                </a:lnTo>
                <a:lnTo>
                  <a:pt x="593" y="359"/>
                </a:lnTo>
                <a:lnTo>
                  <a:pt x="594" y="358"/>
                </a:lnTo>
                <a:lnTo>
                  <a:pt x="593" y="356"/>
                </a:lnTo>
                <a:lnTo>
                  <a:pt x="590" y="356"/>
                </a:lnTo>
                <a:lnTo>
                  <a:pt x="588" y="355"/>
                </a:lnTo>
                <a:lnTo>
                  <a:pt x="587" y="358"/>
                </a:lnTo>
                <a:lnTo>
                  <a:pt x="586" y="360"/>
                </a:lnTo>
                <a:lnTo>
                  <a:pt x="583" y="362"/>
                </a:lnTo>
                <a:lnTo>
                  <a:pt x="580" y="363"/>
                </a:lnTo>
                <a:lnTo>
                  <a:pt x="577" y="363"/>
                </a:lnTo>
                <a:lnTo>
                  <a:pt x="574" y="365"/>
                </a:lnTo>
                <a:lnTo>
                  <a:pt x="571" y="367"/>
                </a:lnTo>
                <a:lnTo>
                  <a:pt x="565" y="371"/>
                </a:lnTo>
                <a:lnTo>
                  <a:pt x="558" y="372"/>
                </a:lnTo>
                <a:lnTo>
                  <a:pt x="557" y="373"/>
                </a:lnTo>
                <a:lnTo>
                  <a:pt x="556" y="373"/>
                </a:lnTo>
                <a:lnTo>
                  <a:pt x="555" y="373"/>
                </a:lnTo>
                <a:lnTo>
                  <a:pt x="554" y="372"/>
                </a:lnTo>
                <a:lnTo>
                  <a:pt x="554" y="369"/>
                </a:lnTo>
                <a:lnTo>
                  <a:pt x="554" y="365"/>
                </a:lnTo>
                <a:lnTo>
                  <a:pt x="556" y="364"/>
                </a:lnTo>
                <a:lnTo>
                  <a:pt x="556" y="364"/>
                </a:lnTo>
                <a:lnTo>
                  <a:pt x="557" y="367"/>
                </a:lnTo>
                <a:lnTo>
                  <a:pt x="558" y="368"/>
                </a:lnTo>
                <a:lnTo>
                  <a:pt x="561" y="369"/>
                </a:lnTo>
                <a:lnTo>
                  <a:pt x="562" y="367"/>
                </a:lnTo>
                <a:lnTo>
                  <a:pt x="563" y="365"/>
                </a:lnTo>
                <a:lnTo>
                  <a:pt x="564" y="363"/>
                </a:lnTo>
                <a:lnTo>
                  <a:pt x="567" y="360"/>
                </a:lnTo>
                <a:lnTo>
                  <a:pt x="570" y="358"/>
                </a:lnTo>
                <a:lnTo>
                  <a:pt x="573" y="355"/>
                </a:lnTo>
                <a:lnTo>
                  <a:pt x="577" y="354"/>
                </a:lnTo>
                <a:lnTo>
                  <a:pt x="585" y="352"/>
                </a:lnTo>
                <a:lnTo>
                  <a:pt x="593" y="350"/>
                </a:lnTo>
                <a:lnTo>
                  <a:pt x="596" y="348"/>
                </a:lnTo>
                <a:lnTo>
                  <a:pt x="599" y="348"/>
                </a:lnTo>
                <a:lnTo>
                  <a:pt x="600" y="350"/>
                </a:lnTo>
                <a:lnTo>
                  <a:pt x="602" y="353"/>
                </a:lnTo>
                <a:lnTo>
                  <a:pt x="605" y="353"/>
                </a:lnTo>
                <a:lnTo>
                  <a:pt x="608" y="352"/>
                </a:lnTo>
                <a:lnTo>
                  <a:pt x="613" y="350"/>
                </a:lnTo>
                <a:lnTo>
                  <a:pt x="615" y="347"/>
                </a:lnTo>
                <a:lnTo>
                  <a:pt x="619" y="345"/>
                </a:lnTo>
                <a:lnTo>
                  <a:pt x="623" y="343"/>
                </a:lnTo>
                <a:lnTo>
                  <a:pt x="627" y="344"/>
                </a:lnTo>
                <a:lnTo>
                  <a:pt x="628" y="346"/>
                </a:lnTo>
                <a:lnTo>
                  <a:pt x="629" y="348"/>
                </a:lnTo>
                <a:lnTo>
                  <a:pt x="630" y="351"/>
                </a:lnTo>
                <a:lnTo>
                  <a:pt x="632" y="353"/>
                </a:lnTo>
                <a:lnTo>
                  <a:pt x="635" y="353"/>
                </a:lnTo>
                <a:lnTo>
                  <a:pt x="638" y="352"/>
                </a:lnTo>
                <a:lnTo>
                  <a:pt x="640" y="351"/>
                </a:lnTo>
                <a:lnTo>
                  <a:pt x="647" y="348"/>
                </a:lnTo>
                <a:lnTo>
                  <a:pt x="654" y="347"/>
                </a:lnTo>
                <a:lnTo>
                  <a:pt x="661" y="344"/>
                </a:lnTo>
                <a:lnTo>
                  <a:pt x="666" y="339"/>
                </a:lnTo>
                <a:lnTo>
                  <a:pt x="669" y="343"/>
                </a:lnTo>
                <a:lnTo>
                  <a:pt x="670" y="344"/>
                </a:lnTo>
                <a:lnTo>
                  <a:pt x="673" y="345"/>
                </a:lnTo>
                <a:lnTo>
                  <a:pt x="676" y="346"/>
                </a:lnTo>
                <a:lnTo>
                  <a:pt x="681" y="346"/>
                </a:lnTo>
                <a:lnTo>
                  <a:pt x="686" y="350"/>
                </a:lnTo>
                <a:lnTo>
                  <a:pt x="680" y="353"/>
                </a:lnTo>
                <a:lnTo>
                  <a:pt x="673" y="355"/>
                </a:lnTo>
                <a:lnTo>
                  <a:pt x="670" y="355"/>
                </a:lnTo>
                <a:lnTo>
                  <a:pt x="666" y="355"/>
                </a:lnTo>
                <a:lnTo>
                  <a:pt x="663" y="354"/>
                </a:lnTo>
                <a:lnTo>
                  <a:pt x="660" y="353"/>
                </a:lnTo>
                <a:lnTo>
                  <a:pt x="657" y="358"/>
                </a:lnTo>
                <a:lnTo>
                  <a:pt x="654" y="361"/>
                </a:lnTo>
                <a:lnTo>
                  <a:pt x="649" y="364"/>
                </a:lnTo>
                <a:lnTo>
                  <a:pt x="645" y="367"/>
                </a:lnTo>
                <a:lnTo>
                  <a:pt x="639" y="367"/>
                </a:lnTo>
                <a:lnTo>
                  <a:pt x="635" y="365"/>
                </a:lnTo>
                <a:lnTo>
                  <a:pt x="629" y="364"/>
                </a:lnTo>
                <a:lnTo>
                  <a:pt x="623" y="362"/>
                </a:lnTo>
                <a:lnTo>
                  <a:pt x="621" y="361"/>
                </a:lnTo>
                <a:lnTo>
                  <a:pt x="619" y="361"/>
                </a:lnTo>
                <a:lnTo>
                  <a:pt x="616" y="363"/>
                </a:lnTo>
                <a:lnTo>
                  <a:pt x="614" y="364"/>
                </a:lnTo>
                <a:lnTo>
                  <a:pt x="608" y="367"/>
                </a:lnTo>
                <a:lnTo>
                  <a:pt x="603" y="368"/>
                </a:lnTo>
                <a:lnTo>
                  <a:pt x="597" y="367"/>
                </a:lnTo>
                <a:lnTo>
                  <a:pt x="593" y="367"/>
                </a:lnTo>
                <a:lnTo>
                  <a:pt x="589" y="367"/>
                </a:lnTo>
                <a:lnTo>
                  <a:pt x="588" y="368"/>
                </a:lnTo>
                <a:lnTo>
                  <a:pt x="587" y="367"/>
                </a:lnTo>
                <a:lnTo>
                  <a:pt x="587" y="364"/>
                </a:lnTo>
                <a:lnTo>
                  <a:pt x="588" y="363"/>
                </a:lnTo>
                <a:lnTo>
                  <a:pt x="587" y="364"/>
                </a:lnTo>
                <a:close/>
                <a:moveTo>
                  <a:pt x="1141" y="364"/>
                </a:moveTo>
                <a:lnTo>
                  <a:pt x="1140" y="364"/>
                </a:lnTo>
                <a:lnTo>
                  <a:pt x="1139" y="365"/>
                </a:lnTo>
                <a:lnTo>
                  <a:pt x="1139" y="368"/>
                </a:lnTo>
                <a:lnTo>
                  <a:pt x="1135" y="369"/>
                </a:lnTo>
                <a:lnTo>
                  <a:pt x="1130" y="369"/>
                </a:lnTo>
                <a:lnTo>
                  <a:pt x="1123" y="369"/>
                </a:lnTo>
                <a:lnTo>
                  <a:pt x="1108" y="368"/>
                </a:lnTo>
                <a:lnTo>
                  <a:pt x="1093" y="365"/>
                </a:lnTo>
                <a:lnTo>
                  <a:pt x="1078" y="363"/>
                </a:lnTo>
                <a:lnTo>
                  <a:pt x="1064" y="362"/>
                </a:lnTo>
                <a:lnTo>
                  <a:pt x="1049" y="362"/>
                </a:lnTo>
                <a:lnTo>
                  <a:pt x="1034" y="362"/>
                </a:lnTo>
                <a:lnTo>
                  <a:pt x="1006" y="364"/>
                </a:lnTo>
                <a:lnTo>
                  <a:pt x="976" y="364"/>
                </a:lnTo>
                <a:lnTo>
                  <a:pt x="946" y="363"/>
                </a:lnTo>
                <a:lnTo>
                  <a:pt x="918" y="363"/>
                </a:lnTo>
                <a:lnTo>
                  <a:pt x="887" y="364"/>
                </a:lnTo>
                <a:lnTo>
                  <a:pt x="858" y="365"/>
                </a:lnTo>
                <a:lnTo>
                  <a:pt x="828" y="368"/>
                </a:lnTo>
                <a:lnTo>
                  <a:pt x="797" y="370"/>
                </a:lnTo>
                <a:lnTo>
                  <a:pt x="783" y="371"/>
                </a:lnTo>
                <a:lnTo>
                  <a:pt x="769" y="373"/>
                </a:lnTo>
                <a:lnTo>
                  <a:pt x="754" y="376"/>
                </a:lnTo>
                <a:lnTo>
                  <a:pt x="739" y="377"/>
                </a:lnTo>
                <a:lnTo>
                  <a:pt x="725" y="378"/>
                </a:lnTo>
                <a:lnTo>
                  <a:pt x="711" y="379"/>
                </a:lnTo>
                <a:lnTo>
                  <a:pt x="696" y="381"/>
                </a:lnTo>
                <a:lnTo>
                  <a:pt x="682" y="383"/>
                </a:lnTo>
                <a:lnTo>
                  <a:pt x="665" y="385"/>
                </a:lnTo>
                <a:lnTo>
                  <a:pt x="649" y="387"/>
                </a:lnTo>
                <a:lnTo>
                  <a:pt x="632" y="390"/>
                </a:lnTo>
                <a:lnTo>
                  <a:pt x="616" y="393"/>
                </a:lnTo>
                <a:lnTo>
                  <a:pt x="600" y="396"/>
                </a:lnTo>
                <a:lnTo>
                  <a:pt x="585" y="400"/>
                </a:lnTo>
                <a:lnTo>
                  <a:pt x="577" y="402"/>
                </a:lnTo>
                <a:lnTo>
                  <a:pt x="567" y="402"/>
                </a:lnTo>
                <a:lnTo>
                  <a:pt x="560" y="403"/>
                </a:lnTo>
                <a:lnTo>
                  <a:pt x="552" y="402"/>
                </a:lnTo>
                <a:lnTo>
                  <a:pt x="566" y="397"/>
                </a:lnTo>
                <a:lnTo>
                  <a:pt x="581" y="394"/>
                </a:lnTo>
                <a:lnTo>
                  <a:pt x="594" y="393"/>
                </a:lnTo>
                <a:lnTo>
                  <a:pt x="605" y="389"/>
                </a:lnTo>
                <a:lnTo>
                  <a:pt x="615" y="386"/>
                </a:lnTo>
                <a:lnTo>
                  <a:pt x="626" y="384"/>
                </a:lnTo>
                <a:lnTo>
                  <a:pt x="630" y="385"/>
                </a:lnTo>
                <a:lnTo>
                  <a:pt x="635" y="385"/>
                </a:lnTo>
                <a:lnTo>
                  <a:pt x="639" y="384"/>
                </a:lnTo>
                <a:lnTo>
                  <a:pt x="644" y="383"/>
                </a:lnTo>
                <a:lnTo>
                  <a:pt x="647" y="378"/>
                </a:lnTo>
                <a:lnTo>
                  <a:pt x="649" y="375"/>
                </a:lnTo>
                <a:lnTo>
                  <a:pt x="651" y="373"/>
                </a:lnTo>
                <a:lnTo>
                  <a:pt x="651" y="372"/>
                </a:lnTo>
                <a:lnTo>
                  <a:pt x="651" y="372"/>
                </a:lnTo>
                <a:lnTo>
                  <a:pt x="653" y="372"/>
                </a:lnTo>
                <a:lnTo>
                  <a:pt x="656" y="372"/>
                </a:lnTo>
                <a:lnTo>
                  <a:pt x="659" y="372"/>
                </a:lnTo>
                <a:lnTo>
                  <a:pt x="671" y="370"/>
                </a:lnTo>
                <a:lnTo>
                  <a:pt x="685" y="365"/>
                </a:lnTo>
                <a:lnTo>
                  <a:pt x="697" y="361"/>
                </a:lnTo>
                <a:lnTo>
                  <a:pt x="711" y="358"/>
                </a:lnTo>
                <a:lnTo>
                  <a:pt x="718" y="356"/>
                </a:lnTo>
                <a:lnTo>
                  <a:pt x="726" y="355"/>
                </a:lnTo>
                <a:lnTo>
                  <a:pt x="733" y="355"/>
                </a:lnTo>
                <a:lnTo>
                  <a:pt x="739" y="358"/>
                </a:lnTo>
                <a:lnTo>
                  <a:pt x="738" y="361"/>
                </a:lnTo>
                <a:lnTo>
                  <a:pt x="738" y="364"/>
                </a:lnTo>
                <a:lnTo>
                  <a:pt x="738" y="365"/>
                </a:lnTo>
                <a:lnTo>
                  <a:pt x="739" y="367"/>
                </a:lnTo>
                <a:lnTo>
                  <a:pt x="740" y="368"/>
                </a:lnTo>
                <a:lnTo>
                  <a:pt x="744" y="369"/>
                </a:lnTo>
                <a:lnTo>
                  <a:pt x="748" y="368"/>
                </a:lnTo>
                <a:lnTo>
                  <a:pt x="754" y="367"/>
                </a:lnTo>
                <a:lnTo>
                  <a:pt x="759" y="363"/>
                </a:lnTo>
                <a:lnTo>
                  <a:pt x="763" y="361"/>
                </a:lnTo>
                <a:lnTo>
                  <a:pt x="760" y="361"/>
                </a:lnTo>
                <a:lnTo>
                  <a:pt x="754" y="361"/>
                </a:lnTo>
                <a:lnTo>
                  <a:pt x="752" y="361"/>
                </a:lnTo>
                <a:lnTo>
                  <a:pt x="751" y="360"/>
                </a:lnTo>
                <a:lnTo>
                  <a:pt x="751" y="359"/>
                </a:lnTo>
                <a:lnTo>
                  <a:pt x="752" y="356"/>
                </a:lnTo>
                <a:lnTo>
                  <a:pt x="761" y="354"/>
                </a:lnTo>
                <a:lnTo>
                  <a:pt x="771" y="354"/>
                </a:lnTo>
                <a:lnTo>
                  <a:pt x="784" y="353"/>
                </a:lnTo>
                <a:lnTo>
                  <a:pt x="796" y="353"/>
                </a:lnTo>
                <a:lnTo>
                  <a:pt x="799" y="353"/>
                </a:lnTo>
                <a:lnTo>
                  <a:pt x="801" y="352"/>
                </a:lnTo>
                <a:lnTo>
                  <a:pt x="802" y="350"/>
                </a:lnTo>
                <a:lnTo>
                  <a:pt x="803" y="348"/>
                </a:lnTo>
                <a:lnTo>
                  <a:pt x="806" y="348"/>
                </a:lnTo>
                <a:lnTo>
                  <a:pt x="809" y="347"/>
                </a:lnTo>
                <a:lnTo>
                  <a:pt x="809" y="346"/>
                </a:lnTo>
                <a:lnTo>
                  <a:pt x="808" y="345"/>
                </a:lnTo>
                <a:lnTo>
                  <a:pt x="805" y="345"/>
                </a:lnTo>
                <a:lnTo>
                  <a:pt x="803" y="345"/>
                </a:lnTo>
                <a:lnTo>
                  <a:pt x="799" y="346"/>
                </a:lnTo>
                <a:lnTo>
                  <a:pt x="796" y="346"/>
                </a:lnTo>
                <a:lnTo>
                  <a:pt x="791" y="347"/>
                </a:lnTo>
                <a:lnTo>
                  <a:pt x="786" y="347"/>
                </a:lnTo>
                <a:lnTo>
                  <a:pt x="781" y="345"/>
                </a:lnTo>
                <a:lnTo>
                  <a:pt x="777" y="342"/>
                </a:lnTo>
                <a:lnTo>
                  <a:pt x="773" y="340"/>
                </a:lnTo>
                <a:lnTo>
                  <a:pt x="770" y="340"/>
                </a:lnTo>
                <a:lnTo>
                  <a:pt x="766" y="340"/>
                </a:lnTo>
                <a:lnTo>
                  <a:pt x="762" y="342"/>
                </a:lnTo>
                <a:lnTo>
                  <a:pt x="748" y="344"/>
                </a:lnTo>
                <a:lnTo>
                  <a:pt x="736" y="346"/>
                </a:lnTo>
                <a:lnTo>
                  <a:pt x="737" y="342"/>
                </a:lnTo>
                <a:lnTo>
                  <a:pt x="738" y="338"/>
                </a:lnTo>
                <a:lnTo>
                  <a:pt x="738" y="336"/>
                </a:lnTo>
                <a:lnTo>
                  <a:pt x="738" y="334"/>
                </a:lnTo>
                <a:lnTo>
                  <a:pt x="739" y="332"/>
                </a:lnTo>
                <a:lnTo>
                  <a:pt x="742" y="331"/>
                </a:lnTo>
                <a:lnTo>
                  <a:pt x="746" y="331"/>
                </a:lnTo>
                <a:lnTo>
                  <a:pt x="752" y="331"/>
                </a:lnTo>
                <a:lnTo>
                  <a:pt x="755" y="331"/>
                </a:lnTo>
                <a:lnTo>
                  <a:pt x="756" y="331"/>
                </a:lnTo>
                <a:lnTo>
                  <a:pt x="758" y="332"/>
                </a:lnTo>
                <a:lnTo>
                  <a:pt x="760" y="335"/>
                </a:lnTo>
                <a:lnTo>
                  <a:pt x="764" y="337"/>
                </a:lnTo>
                <a:lnTo>
                  <a:pt x="770" y="337"/>
                </a:lnTo>
                <a:lnTo>
                  <a:pt x="773" y="337"/>
                </a:lnTo>
                <a:lnTo>
                  <a:pt x="776" y="337"/>
                </a:lnTo>
                <a:lnTo>
                  <a:pt x="777" y="336"/>
                </a:lnTo>
                <a:lnTo>
                  <a:pt x="778" y="332"/>
                </a:lnTo>
                <a:lnTo>
                  <a:pt x="778" y="330"/>
                </a:lnTo>
                <a:lnTo>
                  <a:pt x="779" y="329"/>
                </a:lnTo>
                <a:lnTo>
                  <a:pt x="780" y="329"/>
                </a:lnTo>
                <a:lnTo>
                  <a:pt x="784" y="329"/>
                </a:lnTo>
                <a:lnTo>
                  <a:pt x="794" y="329"/>
                </a:lnTo>
                <a:lnTo>
                  <a:pt x="804" y="328"/>
                </a:lnTo>
                <a:lnTo>
                  <a:pt x="813" y="326"/>
                </a:lnTo>
                <a:lnTo>
                  <a:pt x="821" y="323"/>
                </a:lnTo>
                <a:lnTo>
                  <a:pt x="830" y="322"/>
                </a:lnTo>
                <a:lnTo>
                  <a:pt x="839" y="325"/>
                </a:lnTo>
                <a:lnTo>
                  <a:pt x="855" y="323"/>
                </a:lnTo>
                <a:lnTo>
                  <a:pt x="871" y="320"/>
                </a:lnTo>
                <a:lnTo>
                  <a:pt x="879" y="320"/>
                </a:lnTo>
                <a:lnTo>
                  <a:pt x="887" y="319"/>
                </a:lnTo>
                <a:lnTo>
                  <a:pt x="894" y="317"/>
                </a:lnTo>
                <a:lnTo>
                  <a:pt x="902" y="315"/>
                </a:lnTo>
                <a:lnTo>
                  <a:pt x="904" y="318"/>
                </a:lnTo>
                <a:lnTo>
                  <a:pt x="905" y="320"/>
                </a:lnTo>
                <a:lnTo>
                  <a:pt x="908" y="322"/>
                </a:lnTo>
                <a:lnTo>
                  <a:pt x="911" y="323"/>
                </a:lnTo>
                <a:lnTo>
                  <a:pt x="919" y="321"/>
                </a:lnTo>
                <a:lnTo>
                  <a:pt x="927" y="320"/>
                </a:lnTo>
                <a:lnTo>
                  <a:pt x="943" y="321"/>
                </a:lnTo>
                <a:lnTo>
                  <a:pt x="959" y="321"/>
                </a:lnTo>
                <a:lnTo>
                  <a:pt x="970" y="320"/>
                </a:lnTo>
                <a:lnTo>
                  <a:pt x="981" y="320"/>
                </a:lnTo>
                <a:lnTo>
                  <a:pt x="992" y="321"/>
                </a:lnTo>
                <a:lnTo>
                  <a:pt x="1002" y="322"/>
                </a:lnTo>
                <a:lnTo>
                  <a:pt x="1024" y="327"/>
                </a:lnTo>
                <a:lnTo>
                  <a:pt x="1044" y="329"/>
                </a:lnTo>
                <a:lnTo>
                  <a:pt x="1042" y="330"/>
                </a:lnTo>
                <a:lnTo>
                  <a:pt x="1040" y="331"/>
                </a:lnTo>
                <a:lnTo>
                  <a:pt x="1036" y="331"/>
                </a:lnTo>
                <a:lnTo>
                  <a:pt x="1033" y="332"/>
                </a:lnTo>
                <a:lnTo>
                  <a:pt x="1031" y="332"/>
                </a:lnTo>
                <a:lnTo>
                  <a:pt x="1030" y="334"/>
                </a:lnTo>
                <a:lnTo>
                  <a:pt x="1030" y="335"/>
                </a:lnTo>
                <a:lnTo>
                  <a:pt x="1032" y="337"/>
                </a:lnTo>
                <a:lnTo>
                  <a:pt x="1034" y="337"/>
                </a:lnTo>
                <a:lnTo>
                  <a:pt x="1036" y="338"/>
                </a:lnTo>
                <a:lnTo>
                  <a:pt x="1038" y="338"/>
                </a:lnTo>
                <a:lnTo>
                  <a:pt x="1039" y="339"/>
                </a:lnTo>
                <a:lnTo>
                  <a:pt x="1039" y="340"/>
                </a:lnTo>
                <a:lnTo>
                  <a:pt x="1039" y="342"/>
                </a:lnTo>
                <a:lnTo>
                  <a:pt x="1036" y="344"/>
                </a:lnTo>
                <a:lnTo>
                  <a:pt x="1034" y="345"/>
                </a:lnTo>
                <a:lnTo>
                  <a:pt x="1031" y="344"/>
                </a:lnTo>
                <a:lnTo>
                  <a:pt x="1027" y="344"/>
                </a:lnTo>
                <a:lnTo>
                  <a:pt x="1019" y="345"/>
                </a:lnTo>
                <a:lnTo>
                  <a:pt x="1012" y="343"/>
                </a:lnTo>
                <a:lnTo>
                  <a:pt x="1012" y="342"/>
                </a:lnTo>
                <a:lnTo>
                  <a:pt x="1014" y="340"/>
                </a:lnTo>
                <a:lnTo>
                  <a:pt x="1014" y="338"/>
                </a:lnTo>
                <a:lnTo>
                  <a:pt x="1011" y="337"/>
                </a:lnTo>
                <a:lnTo>
                  <a:pt x="1009" y="337"/>
                </a:lnTo>
                <a:lnTo>
                  <a:pt x="1009" y="338"/>
                </a:lnTo>
                <a:lnTo>
                  <a:pt x="1008" y="340"/>
                </a:lnTo>
                <a:lnTo>
                  <a:pt x="1008" y="343"/>
                </a:lnTo>
                <a:lnTo>
                  <a:pt x="1008" y="343"/>
                </a:lnTo>
                <a:lnTo>
                  <a:pt x="1008" y="344"/>
                </a:lnTo>
                <a:lnTo>
                  <a:pt x="1006" y="345"/>
                </a:lnTo>
                <a:lnTo>
                  <a:pt x="1003" y="345"/>
                </a:lnTo>
                <a:lnTo>
                  <a:pt x="1000" y="345"/>
                </a:lnTo>
                <a:lnTo>
                  <a:pt x="998" y="345"/>
                </a:lnTo>
                <a:lnTo>
                  <a:pt x="992" y="342"/>
                </a:lnTo>
                <a:lnTo>
                  <a:pt x="986" y="339"/>
                </a:lnTo>
                <a:lnTo>
                  <a:pt x="978" y="339"/>
                </a:lnTo>
                <a:lnTo>
                  <a:pt x="970" y="339"/>
                </a:lnTo>
                <a:lnTo>
                  <a:pt x="960" y="339"/>
                </a:lnTo>
                <a:lnTo>
                  <a:pt x="949" y="339"/>
                </a:lnTo>
                <a:lnTo>
                  <a:pt x="939" y="339"/>
                </a:lnTo>
                <a:lnTo>
                  <a:pt x="927" y="339"/>
                </a:lnTo>
                <a:lnTo>
                  <a:pt x="917" y="339"/>
                </a:lnTo>
                <a:lnTo>
                  <a:pt x="905" y="339"/>
                </a:lnTo>
                <a:lnTo>
                  <a:pt x="895" y="339"/>
                </a:lnTo>
                <a:lnTo>
                  <a:pt x="885" y="339"/>
                </a:lnTo>
                <a:lnTo>
                  <a:pt x="875" y="340"/>
                </a:lnTo>
                <a:lnTo>
                  <a:pt x="865" y="340"/>
                </a:lnTo>
                <a:lnTo>
                  <a:pt x="855" y="343"/>
                </a:lnTo>
                <a:lnTo>
                  <a:pt x="845" y="346"/>
                </a:lnTo>
                <a:lnTo>
                  <a:pt x="868" y="347"/>
                </a:lnTo>
                <a:lnTo>
                  <a:pt x="890" y="347"/>
                </a:lnTo>
                <a:lnTo>
                  <a:pt x="912" y="346"/>
                </a:lnTo>
                <a:lnTo>
                  <a:pt x="934" y="346"/>
                </a:lnTo>
                <a:lnTo>
                  <a:pt x="945" y="345"/>
                </a:lnTo>
                <a:lnTo>
                  <a:pt x="957" y="345"/>
                </a:lnTo>
                <a:lnTo>
                  <a:pt x="967" y="345"/>
                </a:lnTo>
                <a:lnTo>
                  <a:pt x="978" y="345"/>
                </a:lnTo>
                <a:lnTo>
                  <a:pt x="989" y="346"/>
                </a:lnTo>
                <a:lnTo>
                  <a:pt x="999" y="347"/>
                </a:lnTo>
                <a:lnTo>
                  <a:pt x="1010" y="347"/>
                </a:lnTo>
                <a:lnTo>
                  <a:pt x="1020" y="347"/>
                </a:lnTo>
                <a:lnTo>
                  <a:pt x="1031" y="347"/>
                </a:lnTo>
                <a:lnTo>
                  <a:pt x="1041" y="347"/>
                </a:lnTo>
                <a:lnTo>
                  <a:pt x="1050" y="348"/>
                </a:lnTo>
                <a:lnTo>
                  <a:pt x="1060" y="350"/>
                </a:lnTo>
                <a:lnTo>
                  <a:pt x="1064" y="351"/>
                </a:lnTo>
                <a:lnTo>
                  <a:pt x="1067" y="352"/>
                </a:lnTo>
                <a:lnTo>
                  <a:pt x="1069" y="351"/>
                </a:lnTo>
                <a:lnTo>
                  <a:pt x="1073" y="350"/>
                </a:lnTo>
                <a:lnTo>
                  <a:pt x="1074" y="347"/>
                </a:lnTo>
                <a:lnTo>
                  <a:pt x="1075" y="345"/>
                </a:lnTo>
                <a:lnTo>
                  <a:pt x="1076" y="344"/>
                </a:lnTo>
                <a:lnTo>
                  <a:pt x="1080" y="345"/>
                </a:lnTo>
                <a:lnTo>
                  <a:pt x="1081" y="346"/>
                </a:lnTo>
                <a:lnTo>
                  <a:pt x="1083" y="347"/>
                </a:lnTo>
                <a:lnTo>
                  <a:pt x="1084" y="347"/>
                </a:lnTo>
                <a:lnTo>
                  <a:pt x="1085" y="346"/>
                </a:lnTo>
                <a:lnTo>
                  <a:pt x="1086" y="344"/>
                </a:lnTo>
                <a:lnTo>
                  <a:pt x="1086" y="342"/>
                </a:lnTo>
                <a:lnTo>
                  <a:pt x="1088" y="339"/>
                </a:lnTo>
                <a:lnTo>
                  <a:pt x="1091" y="339"/>
                </a:lnTo>
                <a:lnTo>
                  <a:pt x="1097" y="343"/>
                </a:lnTo>
                <a:lnTo>
                  <a:pt x="1101" y="345"/>
                </a:lnTo>
                <a:lnTo>
                  <a:pt x="1105" y="344"/>
                </a:lnTo>
                <a:lnTo>
                  <a:pt x="1107" y="343"/>
                </a:lnTo>
                <a:lnTo>
                  <a:pt x="1109" y="339"/>
                </a:lnTo>
                <a:lnTo>
                  <a:pt x="1110" y="337"/>
                </a:lnTo>
                <a:lnTo>
                  <a:pt x="1104" y="335"/>
                </a:lnTo>
                <a:lnTo>
                  <a:pt x="1097" y="334"/>
                </a:lnTo>
                <a:lnTo>
                  <a:pt x="1090" y="334"/>
                </a:lnTo>
                <a:lnTo>
                  <a:pt x="1083" y="335"/>
                </a:lnTo>
                <a:lnTo>
                  <a:pt x="1076" y="335"/>
                </a:lnTo>
                <a:lnTo>
                  <a:pt x="1068" y="336"/>
                </a:lnTo>
                <a:lnTo>
                  <a:pt x="1061" y="335"/>
                </a:lnTo>
                <a:lnTo>
                  <a:pt x="1055" y="334"/>
                </a:lnTo>
                <a:lnTo>
                  <a:pt x="1063" y="329"/>
                </a:lnTo>
                <a:lnTo>
                  <a:pt x="1071" y="325"/>
                </a:lnTo>
                <a:lnTo>
                  <a:pt x="1073" y="325"/>
                </a:lnTo>
                <a:lnTo>
                  <a:pt x="1075" y="325"/>
                </a:lnTo>
                <a:lnTo>
                  <a:pt x="1077" y="325"/>
                </a:lnTo>
                <a:lnTo>
                  <a:pt x="1080" y="326"/>
                </a:lnTo>
                <a:lnTo>
                  <a:pt x="1084" y="329"/>
                </a:lnTo>
                <a:lnTo>
                  <a:pt x="1090" y="330"/>
                </a:lnTo>
                <a:lnTo>
                  <a:pt x="1100" y="329"/>
                </a:lnTo>
                <a:lnTo>
                  <a:pt x="1110" y="329"/>
                </a:lnTo>
                <a:lnTo>
                  <a:pt x="1117" y="330"/>
                </a:lnTo>
                <a:lnTo>
                  <a:pt x="1123" y="334"/>
                </a:lnTo>
                <a:lnTo>
                  <a:pt x="1129" y="337"/>
                </a:lnTo>
                <a:lnTo>
                  <a:pt x="1133" y="342"/>
                </a:lnTo>
                <a:lnTo>
                  <a:pt x="1126" y="345"/>
                </a:lnTo>
                <a:lnTo>
                  <a:pt x="1118" y="346"/>
                </a:lnTo>
                <a:lnTo>
                  <a:pt x="1115" y="347"/>
                </a:lnTo>
                <a:lnTo>
                  <a:pt x="1111" y="350"/>
                </a:lnTo>
                <a:lnTo>
                  <a:pt x="1109" y="352"/>
                </a:lnTo>
                <a:lnTo>
                  <a:pt x="1107" y="355"/>
                </a:lnTo>
                <a:lnTo>
                  <a:pt x="1110" y="355"/>
                </a:lnTo>
                <a:lnTo>
                  <a:pt x="1116" y="356"/>
                </a:lnTo>
                <a:lnTo>
                  <a:pt x="1119" y="356"/>
                </a:lnTo>
                <a:lnTo>
                  <a:pt x="1122" y="356"/>
                </a:lnTo>
                <a:lnTo>
                  <a:pt x="1124" y="355"/>
                </a:lnTo>
                <a:lnTo>
                  <a:pt x="1125" y="354"/>
                </a:lnTo>
                <a:lnTo>
                  <a:pt x="1123" y="351"/>
                </a:lnTo>
                <a:lnTo>
                  <a:pt x="1122" y="348"/>
                </a:lnTo>
                <a:lnTo>
                  <a:pt x="1124" y="347"/>
                </a:lnTo>
                <a:lnTo>
                  <a:pt x="1126" y="347"/>
                </a:lnTo>
                <a:lnTo>
                  <a:pt x="1130" y="347"/>
                </a:lnTo>
                <a:lnTo>
                  <a:pt x="1132" y="347"/>
                </a:lnTo>
                <a:lnTo>
                  <a:pt x="1138" y="350"/>
                </a:lnTo>
                <a:lnTo>
                  <a:pt x="1142" y="352"/>
                </a:lnTo>
                <a:lnTo>
                  <a:pt x="1150" y="358"/>
                </a:lnTo>
                <a:lnTo>
                  <a:pt x="1159" y="361"/>
                </a:lnTo>
                <a:lnTo>
                  <a:pt x="1155" y="363"/>
                </a:lnTo>
                <a:lnTo>
                  <a:pt x="1150" y="365"/>
                </a:lnTo>
                <a:lnTo>
                  <a:pt x="1146" y="365"/>
                </a:lnTo>
                <a:lnTo>
                  <a:pt x="1141" y="364"/>
                </a:lnTo>
                <a:lnTo>
                  <a:pt x="1143" y="365"/>
                </a:lnTo>
                <a:lnTo>
                  <a:pt x="1141" y="364"/>
                </a:lnTo>
                <a:close/>
                <a:moveTo>
                  <a:pt x="998" y="346"/>
                </a:moveTo>
                <a:lnTo>
                  <a:pt x="998" y="346"/>
                </a:lnTo>
                <a:lnTo>
                  <a:pt x="998" y="345"/>
                </a:lnTo>
                <a:lnTo>
                  <a:pt x="998" y="34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14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B270B5-2641-4048-A5B7-426327B0B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084"/>
            <a:ext cx="10515819" cy="831928"/>
          </a:xfrm>
          <a:prstGeom prst="rect">
            <a:avLst/>
          </a:prstGeom>
        </p:spPr>
        <p:txBody>
          <a:bodyPr anchor="ctr"/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79129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5232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4544995"/>
            <a:ext cx="4359101" cy="1583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16003" y="4544995"/>
            <a:ext cx="5507895" cy="1583993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39">
            <a:extLst>
              <a:ext uri="{FF2B5EF4-FFF2-40B4-BE49-F238E27FC236}">
                <a16:creationId xmlns:a16="http://schemas.microsoft.com/office/drawing/2014/main" id="{3EA755F4-3948-7D44-9769-856001ABD7FC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408108" y="369014"/>
            <a:ext cx="11375783" cy="3866838"/>
          </a:xfrm>
          <a:custGeom>
            <a:avLst/>
            <a:gdLst>
              <a:gd name="T0" fmla="*/ 968 w 1015"/>
              <a:gd name="T1" fmla="*/ 247 h 478"/>
              <a:gd name="T2" fmla="*/ 960 w 1015"/>
              <a:gd name="T3" fmla="*/ 223 h 478"/>
              <a:gd name="T4" fmla="*/ 977 w 1015"/>
              <a:gd name="T5" fmla="*/ 173 h 478"/>
              <a:gd name="T6" fmla="*/ 1004 w 1015"/>
              <a:gd name="T7" fmla="*/ 118 h 478"/>
              <a:gd name="T8" fmla="*/ 948 w 1015"/>
              <a:gd name="T9" fmla="*/ 84 h 478"/>
              <a:gd name="T10" fmla="*/ 922 w 1015"/>
              <a:gd name="T11" fmla="*/ 34 h 478"/>
              <a:gd name="T12" fmla="*/ 780 w 1015"/>
              <a:gd name="T13" fmla="*/ 14 h 478"/>
              <a:gd name="T14" fmla="*/ 490 w 1015"/>
              <a:gd name="T15" fmla="*/ 6 h 478"/>
              <a:gd name="T16" fmla="*/ 296 w 1015"/>
              <a:gd name="T17" fmla="*/ 42 h 478"/>
              <a:gd name="T18" fmla="*/ 181 w 1015"/>
              <a:gd name="T19" fmla="*/ 88 h 478"/>
              <a:gd name="T20" fmla="*/ 115 w 1015"/>
              <a:gd name="T21" fmla="*/ 150 h 478"/>
              <a:gd name="T22" fmla="*/ 32 w 1015"/>
              <a:gd name="T23" fmla="*/ 241 h 478"/>
              <a:gd name="T24" fmla="*/ 109 w 1015"/>
              <a:gd name="T25" fmla="*/ 259 h 478"/>
              <a:gd name="T26" fmla="*/ 134 w 1015"/>
              <a:gd name="T27" fmla="*/ 262 h 478"/>
              <a:gd name="T28" fmla="*/ 48 w 1015"/>
              <a:gd name="T29" fmla="*/ 306 h 478"/>
              <a:gd name="T30" fmla="*/ 12 w 1015"/>
              <a:gd name="T31" fmla="*/ 388 h 478"/>
              <a:gd name="T32" fmla="*/ 226 w 1015"/>
              <a:gd name="T33" fmla="*/ 316 h 478"/>
              <a:gd name="T34" fmla="*/ 580 w 1015"/>
              <a:gd name="T35" fmla="*/ 196 h 478"/>
              <a:gd name="T36" fmla="*/ 696 w 1015"/>
              <a:gd name="T37" fmla="*/ 172 h 478"/>
              <a:gd name="T38" fmla="*/ 837 w 1015"/>
              <a:gd name="T39" fmla="*/ 151 h 478"/>
              <a:gd name="T40" fmla="*/ 636 w 1015"/>
              <a:gd name="T41" fmla="*/ 193 h 478"/>
              <a:gd name="T42" fmla="*/ 314 w 1015"/>
              <a:gd name="T43" fmla="*/ 289 h 478"/>
              <a:gd name="T44" fmla="*/ 63 w 1015"/>
              <a:gd name="T45" fmla="*/ 405 h 478"/>
              <a:gd name="T46" fmla="*/ 52 w 1015"/>
              <a:gd name="T47" fmla="*/ 478 h 478"/>
              <a:gd name="T48" fmla="*/ 108 w 1015"/>
              <a:gd name="T49" fmla="*/ 447 h 478"/>
              <a:gd name="T50" fmla="*/ 211 w 1015"/>
              <a:gd name="T51" fmla="*/ 414 h 478"/>
              <a:gd name="T52" fmla="*/ 313 w 1015"/>
              <a:gd name="T53" fmla="*/ 373 h 478"/>
              <a:gd name="T54" fmla="*/ 406 w 1015"/>
              <a:gd name="T55" fmla="*/ 338 h 478"/>
              <a:gd name="T56" fmla="*/ 466 w 1015"/>
              <a:gd name="T57" fmla="*/ 322 h 478"/>
              <a:gd name="T58" fmla="*/ 338 w 1015"/>
              <a:gd name="T59" fmla="*/ 374 h 478"/>
              <a:gd name="T60" fmla="*/ 231 w 1015"/>
              <a:gd name="T61" fmla="*/ 444 h 478"/>
              <a:gd name="T62" fmla="*/ 288 w 1015"/>
              <a:gd name="T63" fmla="*/ 456 h 478"/>
              <a:gd name="T64" fmla="*/ 332 w 1015"/>
              <a:gd name="T65" fmla="*/ 427 h 478"/>
              <a:gd name="T66" fmla="*/ 340 w 1015"/>
              <a:gd name="T67" fmla="*/ 405 h 478"/>
              <a:gd name="T68" fmla="*/ 434 w 1015"/>
              <a:gd name="T69" fmla="*/ 372 h 478"/>
              <a:gd name="T70" fmla="*/ 448 w 1015"/>
              <a:gd name="T71" fmla="*/ 378 h 478"/>
              <a:gd name="T72" fmla="*/ 417 w 1015"/>
              <a:gd name="T73" fmla="*/ 402 h 478"/>
              <a:gd name="T74" fmla="*/ 557 w 1015"/>
              <a:gd name="T75" fmla="*/ 371 h 478"/>
              <a:gd name="T76" fmla="*/ 495 w 1015"/>
              <a:gd name="T77" fmla="*/ 396 h 478"/>
              <a:gd name="T78" fmla="*/ 622 w 1015"/>
              <a:gd name="T79" fmla="*/ 381 h 478"/>
              <a:gd name="T80" fmla="*/ 681 w 1015"/>
              <a:gd name="T81" fmla="*/ 369 h 478"/>
              <a:gd name="T82" fmla="*/ 720 w 1015"/>
              <a:gd name="T83" fmla="*/ 363 h 478"/>
              <a:gd name="T84" fmla="*/ 752 w 1015"/>
              <a:gd name="T85" fmla="*/ 349 h 478"/>
              <a:gd name="T86" fmla="*/ 687 w 1015"/>
              <a:gd name="T87" fmla="*/ 366 h 478"/>
              <a:gd name="T88" fmla="*/ 675 w 1015"/>
              <a:gd name="T89" fmla="*/ 346 h 478"/>
              <a:gd name="T90" fmla="*/ 826 w 1015"/>
              <a:gd name="T91" fmla="*/ 314 h 478"/>
              <a:gd name="T92" fmla="*/ 953 w 1015"/>
              <a:gd name="T93" fmla="*/ 322 h 478"/>
              <a:gd name="T94" fmla="*/ 1014 w 1015"/>
              <a:gd name="T95" fmla="*/ 289 h 478"/>
              <a:gd name="T96" fmla="*/ 214 w 1015"/>
              <a:gd name="T97" fmla="*/ 229 h 478"/>
              <a:gd name="T98" fmla="*/ 257 w 1015"/>
              <a:gd name="T99" fmla="*/ 217 h 478"/>
              <a:gd name="T100" fmla="*/ 573 w 1015"/>
              <a:gd name="T101" fmla="*/ 38 h 478"/>
              <a:gd name="T102" fmla="*/ 710 w 1015"/>
              <a:gd name="T103" fmla="*/ 34 h 478"/>
              <a:gd name="T104" fmla="*/ 206 w 1015"/>
              <a:gd name="T105" fmla="*/ 407 h 478"/>
              <a:gd name="T106" fmla="*/ 228 w 1015"/>
              <a:gd name="T107" fmla="*/ 396 h 478"/>
              <a:gd name="T108" fmla="*/ 335 w 1015"/>
              <a:gd name="T109" fmla="*/ 350 h 478"/>
              <a:gd name="T110" fmla="*/ 392 w 1015"/>
              <a:gd name="T111" fmla="*/ 330 h 478"/>
              <a:gd name="T112" fmla="*/ 495 w 1015"/>
              <a:gd name="T113" fmla="*/ 308 h 478"/>
              <a:gd name="T114" fmla="*/ 503 w 1015"/>
              <a:gd name="T115" fmla="*/ 291 h 478"/>
              <a:gd name="T116" fmla="*/ 519 w 1015"/>
              <a:gd name="T117" fmla="*/ 308 h 478"/>
              <a:gd name="T118" fmla="*/ 585 w 1015"/>
              <a:gd name="T119" fmla="*/ 279 h 478"/>
              <a:gd name="T120" fmla="*/ 630 w 1015"/>
              <a:gd name="T121" fmla="*/ 261 h 478"/>
              <a:gd name="T122" fmla="*/ 671 w 1015"/>
              <a:gd name="T123" fmla="*/ 263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15" h="478">
                <a:moveTo>
                  <a:pt x="1015" y="284"/>
                </a:moveTo>
                <a:lnTo>
                  <a:pt x="1014" y="279"/>
                </a:lnTo>
                <a:lnTo>
                  <a:pt x="1013" y="274"/>
                </a:lnTo>
                <a:lnTo>
                  <a:pt x="1011" y="270"/>
                </a:lnTo>
                <a:lnTo>
                  <a:pt x="1008" y="265"/>
                </a:lnTo>
                <a:lnTo>
                  <a:pt x="1006" y="262"/>
                </a:lnTo>
                <a:lnTo>
                  <a:pt x="1001" y="258"/>
                </a:lnTo>
                <a:lnTo>
                  <a:pt x="997" y="256"/>
                </a:lnTo>
                <a:lnTo>
                  <a:pt x="992" y="255"/>
                </a:lnTo>
                <a:lnTo>
                  <a:pt x="986" y="255"/>
                </a:lnTo>
                <a:lnTo>
                  <a:pt x="981" y="254"/>
                </a:lnTo>
                <a:lnTo>
                  <a:pt x="976" y="253"/>
                </a:lnTo>
                <a:lnTo>
                  <a:pt x="972" y="249"/>
                </a:lnTo>
                <a:lnTo>
                  <a:pt x="968" y="247"/>
                </a:lnTo>
                <a:lnTo>
                  <a:pt x="965" y="243"/>
                </a:lnTo>
                <a:lnTo>
                  <a:pt x="960" y="241"/>
                </a:lnTo>
                <a:lnTo>
                  <a:pt x="957" y="239"/>
                </a:lnTo>
                <a:lnTo>
                  <a:pt x="956" y="237"/>
                </a:lnTo>
                <a:lnTo>
                  <a:pt x="957" y="236"/>
                </a:lnTo>
                <a:lnTo>
                  <a:pt x="959" y="234"/>
                </a:lnTo>
                <a:lnTo>
                  <a:pt x="961" y="233"/>
                </a:lnTo>
                <a:lnTo>
                  <a:pt x="966" y="232"/>
                </a:lnTo>
                <a:lnTo>
                  <a:pt x="969" y="231"/>
                </a:lnTo>
                <a:lnTo>
                  <a:pt x="969" y="229"/>
                </a:lnTo>
                <a:lnTo>
                  <a:pt x="968" y="226"/>
                </a:lnTo>
                <a:lnTo>
                  <a:pt x="967" y="225"/>
                </a:lnTo>
                <a:lnTo>
                  <a:pt x="965" y="224"/>
                </a:lnTo>
                <a:lnTo>
                  <a:pt x="960" y="223"/>
                </a:lnTo>
                <a:lnTo>
                  <a:pt x="958" y="221"/>
                </a:lnTo>
                <a:lnTo>
                  <a:pt x="958" y="217"/>
                </a:lnTo>
                <a:lnTo>
                  <a:pt x="959" y="215"/>
                </a:lnTo>
                <a:lnTo>
                  <a:pt x="961" y="213"/>
                </a:lnTo>
                <a:lnTo>
                  <a:pt x="965" y="211"/>
                </a:lnTo>
                <a:lnTo>
                  <a:pt x="972" y="207"/>
                </a:lnTo>
                <a:lnTo>
                  <a:pt x="976" y="205"/>
                </a:lnTo>
                <a:lnTo>
                  <a:pt x="980" y="203"/>
                </a:lnTo>
                <a:lnTo>
                  <a:pt x="982" y="201"/>
                </a:lnTo>
                <a:lnTo>
                  <a:pt x="984" y="198"/>
                </a:lnTo>
                <a:lnTo>
                  <a:pt x="985" y="195"/>
                </a:lnTo>
                <a:lnTo>
                  <a:pt x="981" y="186"/>
                </a:lnTo>
                <a:lnTo>
                  <a:pt x="977" y="176"/>
                </a:lnTo>
                <a:lnTo>
                  <a:pt x="977" y="173"/>
                </a:lnTo>
                <a:lnTo>
                  <a:pt x="980" y="171"/>
                </a:lnTo>
                <a:lnTo>
                  <a:pt x="981" y="170"/>
                </a:lnTo>
                <a:lnTo>
                  <a:pt x="983" y="168"/>
                </a:lnTo>
                <a:lnTo>
                  <a:pt x="983" y="166"/>
                </a:lnTo>
                <a:lnTo>
                  <a:pt x="983" y="163"/>
                </a:lnTo>
                <a:lnTo>
                  <a:pt x="986" y="158"/>
                </a:lnTo>
                <a:lnTo>
                  <a:pt x="991" y="156"/>
                </a:lnTo>
                <a:lnTo>
                  <a:pt x="992" y="151"/>
                </a:lnTo>
                <a:lnTo>
                  <a:pt x="992" y="148"/>
                </a:lnTo>
                <a:lnTo>
                  <a:pt x="997" y="140"/>
                </a:lnTo>
                <a:lnTo>
                  <a:pt x="1002" y="133"/>
                </a:lnTo>
                <a:lnTo>
                  <a:pt x="1004" y="129"/>
                </a:lnTo>
                <a:lnTo>
                  <a:pt x="1005" y="124"/>
                </a:lnTo>
                <a:lnTo>
                  <a:pt x="1004" y="118"/>
                </a:lnTo>
                <a:lnTo>
                  <a:pt x="1002" y="114"/>
                </a:lnTo>
                <a:lnTo>
                  <a:pt x="1001" y="112"/>
                </a:lnTo>
                <a:lnTo>
                  <a:pt x="1000" y="108"/>
                </a:lnTo>
                <a:lnTo>
                  <a:pt x="998" y="106"/>
                </a:lnTo>
                <a:lnTo>
                  <a:pt x="996" y="104"/>
                </a:lnTo>
                <a:lnTo>
                  <a:pt x="990" y="101"/>
                </a:lnTo>
                <a:lnTo>
                  <a:pt x="983" y="98"/>
                </a:lnTo>
                <a:lnTo>
                  <a:pt x="969" y="95"/>
                </a:lnTo>
                <a:lnTo>
                  <a:pt x="956" y="92"/>
                </a:lnTo>
                <a:lnTo>
                  <a:pt x="951" y="92"/>
                </a:lnTo>
                <a:lnTo>
                  <a:pt x="948" y="91"/>
                </a:lnTo>
                <a:lnTo>
                  <a:pt x="947" y="89"/>
                </a:lnTo>
                <a:lnTo>
                  <a:pt x="947" y="87"/>
                </a:lnTo>
                <a:lnTo>
                  <a:pt x="948" y="84"/>
                </a:lnTo>
                <a:lnTo>
                  <a:pt x="950" y="82"/>
                </a:lnTo>
                <a:lnTo>
                  <a:pt x="950" y="76"/>
                </a:lnTo>
                <a:lnTo>
                  <a:pt x="950" y="71"/>
                </a:lnTo>
                <a:lnTo>
                  <a:pt x="949" y="65"/>
                </a:lnTo>
                <a:lnTo>
                  <a:pt x="947" y="59"/>
                </a:lnTo>
                <a:lnTo>
                  <a:pt x="947" y="52"/>
                </a:lnTo>
                <a:lnTo>
                  <a:pt x="945" y="48"/>
                </a:lnTo>
                <a:lnTo>
                  <a:pt x="945" y="45"/>
                </a:lnTo>
                <a:lnTo>
                  <a:pt x="943" y="42"/>
                </a:lnTo>
                <a:lnTo>
                  <a:pt x="942" y="41"/>
                </a:lnTo>
                <a:lnTo>
                  <a:pt x="940" y="39"/>
                </a:lnTo>
                <a:lnTo>
                  <a:pt x="934" y="37"/>
                </a:lnTo>
                <a:lnTo>
                  <a:pt x="927" y="35"/>
                </a:lnTo>
                <a:lnTo>
                  <a:pt x="922" y="34"/>
                </a:lnTo>
                <a:lnTo>
                  <a:pt x="915" y="33"/>
                </a:lnTo>
                <a:lnTo>
                  <a:pt x="906" y="32"/>
                </a:lnTo>
                <a:lnTo>
                  <a:pt x="897" y="31"/>
                </a:lnTo>
                <a:lnTo>
                  <a:pt x="887" y="30"/>
                </a:lnTo>
                <a:lnTo>
                  <a:pt x="878" y="29"/>
                </a:lnTo>
                <a:lnTo>
                  <a:pt x="864" y="29"/>
                </a:lnTo>
                <a:lnTo>
                  <a:pt x="849" y="29"/>
                </a:lnTo>
                <a:lnTo>
                  <a:pt x="834" y="29"/>
                </a:lnTo>
                <a:lnTo>
                  <a:pt x="819" y="29"/>
                </a:lnTo>
                <a:lnTo>
                  <a:pt x="812" y="27"/>
                </a:lnTo>
                <a:lnTo>
                  <a:pt x="805" y="26"/>
                </a:lnTo>
                <a:lnTo>
                  <a:pt x="800" y="24"/>
                </a:lnTo>
                <a:lnTo>
                  <a:pt x="793" y="21"/>
                </a:lnTo>
                <a:lnTo>
                  <a:pt x="780" y="14"/>
                </a:lnTo>
                <a:lnTo>
                  <a:pt x="767" y="7"/>
                </a:lnTo>
                <a:lnTo>
                  <a:pt x="752" y="4"/>
                </a:lnTo>
                <a:lnTo>
                  <a:pt x="737" y="2"/>
                </a:lnTo>
                <a:lnTo>
                  <a:pt x="724" y="1"/>
                </a:lnTo>
                <a:lnTo>
                  <a:pt x="709" y="1"/>
                </a:lnTo>
                <a:lnTo>
                  <a:pt x="692" y="0"/>
                </a:lnTo>
                <a:lnTo>
                  <a:pt x="675" y="0"/>
                </a:lnTo>
                <a:lnTo>
                  <a:pt x="658" y="0"/>
                </a:lnTo>
                <a:lnTo>
                  <a:pt x="639" y="0"/>
                </a:lnTo>
                <a:lnTo>
                  <a:pt x="605" y="0"/>
                </a:lnTo>
                <a:lnTo>
                  <a:pt x="570" y="1"/>
                </a:lnTo>
                <a:lnTo>
                  <a:pt x="535" y="4"/>
                </a:lnTo>
                <a:lnTo>
                  <a:pt x="499" y="6"/>
                </a:lnTo>
                <a:lnTo>
                  <a:pt x="490" y="6"/>
                </a:lnTo>
                <a:lnTo>
                  <a:pt x="480" y="6"/>
                </a:lnTo>
                <a:lnTo>
                  <a:pt x="471" y="7"/>
                </a:lnTo>
                <a:lnTo>
                  <a:pt x="461" y="8"/>
                </a:lnTo>
                <a:lnTo>
                  <a:pt x="452" y="9"/>
                </a:lnTo>
                <a:lnTo>
                  <a:pt x="442" y="12"/>
                </a:lnTo>
                <a:lnTo>
                  <a:pt x="433" y="13"/>
                </a:lnTo>
                <a:lnTo>
                  <a:pt x="424" y="15"/>
                </a:lnTo>
                <a:lnTo>
                  <a:pt x="406" y="18"/>
                </a:lnTo>
                <a:lnTo>
                  <a:pt x="388" y="22"/>
                </a:lnTo>
                <a:lnTo>
                  <a:pt x="370" y="25"/>
                </a:lnTo>
                <a:lnTo>
                  <a:pt x="351" y="29"/>
                </a:lnTo>
                <a:lnTo>
                  <a:pt x="333" y="33"/>
                </a:lnTo>
                <a:lnTo>
                  <a:pt x="314" y="38"/>
                </a:lnTo>
                <a:lnTo>
                  <a:pt x="296" y="42"/>
                </a:lnTo>
                <a:lnTo>
                  <a:pt x="276" y="48"/>
                </a:lnTo>
                <a:lnTo>
                  <a:pt x="258" y="52"/>
                </a:lnTo>
                <a:lnTo>
                  <a:pt x="239" y="58"/>
                </a:lnTo>
                <a:lnTo>
                  <a:pt x="219" y="63"/>
                </a:lnTo>
                <a:lnTo>
                  <a:pt x="201" y="68"/>
                </a:lnTo>
                <a:lnTo>
                  <a:pt x="206" y="72"/>
                </a:lnTo>
                <a:lnTo>
                  <a:pt x="208" y="76"/>
                </a:lnTo>
                <a:lnTo>
                  <a:pt x="208" y="79"/>
                </a:lnTo>
                <a:lnTo>
                  <a:pt x="207" y="80"/>
                </a:lnTo>
                <a:lnTo>
                  <a:pt x="205" y="81"/>
                </a:lnTo>
                <a:lnTo>
                  <a:pt x="202" y="82"/>
                </a:lnTo>
                <a:lnTo>
                  <a:pt x="198" y="83"/>
                </a:lnTo>
                <a:lnTo>
                  <a:pt x="193" y="83"/>
                </a:lnTo>
                <a:lnTo>
                  <a:pt x="181" y="88"/>
                </a:lnTo>
                <a:lnTo>
                  <a:pt x="168" y="93"/>
                </a:lnTo>
                <a:lnTo>
                  <a:pt x="157" y="100"/>
                </a:lnTo>
                <a:lnTo>
                  <a:pt x="145" y="107"/>
                </a:lnTo>
                <a:lnTo>
                  <a:pt x="134" y="114"/>
                </a:lnTo>
                <a:lnTo>
                  <a:pt x="124" y="122"/>
                </a:lnTo>
                <a:lnTo>
                  <a:pt x="119" y="125"/>
                </a:lnTo>
                <a:lnTo>
                  <a:pt x="115" y="129"/>
                </a:lnTo>
                <a:lnTo>
                  <a:pt x="110" y="132"/>
                </a:lnTo>
                <a:lnTo>
                  <a:pt x="108" y="137"/>
                </a:lnTo>
                <a:lnTo>
                  <a:pt x="110" y="141"/>
                </a:lnTo>
                <a:lnTo>
                  <a:pt x="112" y="145"/>
                </a:lnTo>
                <a:lnTo>
                  <a:pt x="115" y="147"/>
                </a:lnTo>
                <a:lnTo>
                  <a:pt x="115" y="149"/>
                </a:lnTo>
                <a:lnTo>
                  <a:pt x="115" y="150"/>
                </a:lnTo>
                <a:lnTo>
                  <a:pt x="114" y="154"/>
                </a:lnTo>
                <a:lnTo>
                  <a:pt x="104" y="159"/>
                </a:lnTo>
                <a:lnTo>
                  <a:pt x="93" y="164"/>
                </a:lnTo>
                <a:lnTo>
                  <a:pt x="82" y="171"/>
                </a:lnTo>
                <a:lnTo>
                  <a:pt x="70" y="179"/>
                </a:lnTo>
                <a:lnTo>
                  <a:pt x="59" y="187"/>
                </a:lnTo>
                <a:lnTo>
                  <a:pt x="49" y="196"/>
                </a:lnTo>
                <a:lnTo>
                  <a:pt x="40" y="205"/>
                </a:lnTo>
                <a:lnTo>
                  <a:pt x="34" y="214"/>
                </a:lnTo>
                <a:lnTo>
                  <a:pt x="32" y="220"/>
                </a:lnTo>
                <a:lnTo>
                  <a:pt x="30" y="224"/>
                </a:lnTo>
                <a:lnTo>
                  <a:pt x="30" y="230"/>
                </a:lnTo>
                <a:lnTo>
                  <a:pt x="30" y="237"/>
                </a:lnTo>
                <a:lnTo>
                  <a:pt x="32" y="241"/>
                </a:lnTo>
                <a:lnTo>
                  <a:pt x="34" y="247"/>
                </a:lnTo>
                <a:lnTo>
                  <a:pt x="37" y="251"/>
                </a:lnTo>
                <a:lnTo>
                  <a:pt x="40" y="256"/>
                </a:lnTo>
                <a:lnTo>
                  <a:pt x="44" y="261"/>
                </a:lnTo>
                <a:lnTo>
                  <a:pt x="48" y="265"/>
                </a:lnTo>
                <a:lnTo>
                  <a:pt x="52" y="269"/>
                </a:lnTo>
                <a:lnTo>
                  <a:pt x="57" y="271"/>
                </a:lnTo>
                <a:lnTo>
                  <a:pt x="61" y="273"/>
                </a:lnTo>
                <a:lnTo>
                  <a:pt x="67" y="273"/>
                </a:lnTo>
                <a:lnTo>
                  <a:pt x="71" y="273"/>
                </a:lnTo>
                <a:lnTo>
                  <a:pt x="76" y="273"/>
                </a:lnTo>
                <a:lnTo>
                  <a:pt x="85" y="270"/>
                </a:lnTo>
                <a:lnTo>
                  <a:pt x="94" y="266"/>
                </a:lnTo>
                <a:lnTo>
                  <a:pt x="109" y="259"/>
                </a:lnTo>
                <a:lnTo>
                  <a:pt x="125" y="253"/>
                </a:lnTo>
                <a:lnTo>
                  <a:pt x="133" y="250"/>
                </a:lnTo>
                <a:lnTo>
                  <a:pt x="141" y="247"/>
                </a:lnTo>
                <a:lnTo>
                  <a:pt x="144" y="246"/>
                </a:lnTo>
                <a:lnTo>
                  <a:pt x="148" y="243"/>
                </a:lnTo>
                <a:lnTo>
                  <a:pt x="150" y="242"/>
                </a:lnTo>
                <a:lnTo>
                  <a:pt x="152" y="242"/>
                </a:lnTo>
                <a:lnTo>
                  <a:pt x="153" y="243"/>
                </a:lnTo>
                <a:lnTo>
                  <a:pt x="154" y="245"/>
                </a:lnTo>
                <a:lnTo>
                  <a:pt x="153" y="248"/>
                </a:lnTo>
                <a:lnTo>
                  <a:pt x="149" y="253"/>
                </a:lnTo>
                <a:lnTo>
                  <a:pt x="144" y="257"/>
                </a:lnTo>
                <a:lnTo>
                  <a:pt x="140" y="259"/>
                </a:lnTo>
                <a:lnTo>
                  <a:pt x="134" y="262"/>
                </a:lnTo>
                <a:lnTo>
                  <a:pt x="128" y="262"/>
                </a:lnTo>
                <a:lnTo>
                  <a:pt x="126" y="262"/>
                </a:lnTo>
                <a:lnTo>
                  <a:pt x="124" y="262"/>
                </a:lnTo>
                <a:lnTo>
                  <a:pt x="124" y="263"/>
                </a:lnTo>
                <a:lnTo>
                  <a:pt x="125" y="266"/>
                </a:lnTo>
                <a:lnTo>
                  <a:pt x="119" y="266"/>
                </a:lnTo>
                <a:lnTo>
                  <a:pt x="115" y="267"/>
                </a:lnTo>
                <a:lnTo>
                  <a:pt x="109" y="270"/>
                </a:lnTo>
                <a:lnTo>
                  <a:pt x="104" y="273"/>
                </a:lnTo>
                <a:lnTo>
                  <a:pt x="94" y="281"/>
                </a:lnTo>
                <a:lnTo>
                  <a:pt x="84" y="288"/>
                </a:lnTo>
                <a:lnTo>
                  <a:pt x="71" y="294"/>
                </a:lnTo>
                <a:lnTo>
                  <a:pt x="60" y="299"/>
                </a:lnTo>
                <a:lnTo>
                  <a:pt x="48" y="306"/>
                </a:lnTo>
                <a:lnTo>
                  <a:pt x="36" y="312"/>
                </a:lnTo>
                <a:lnTo>
                  <a:pt x="26" y="317"/>
                </a:lnTo>
                <a:lnTo>
                  <a:pt x="17" y="322"/>
                </a:lnTo>
                <a:lnTo>
                  <a:pt x="12" y="325"/>
                </a:lnTo>
                <a:lnTo>
                  <a:pt x="9" y="330"/>
                </a:lnTo>
                <a:lnTo>
                  <a:pt x="5" y="334"/>
                </a:lnTo>
                <a:lnTo>
                  <a:pt x="3" y="340"/>
                </a:lnTo>
                <a:lnTo>
                  <a:pt x="1" y="349"/>
                </a:lnTo>
                <a:lnTo>
                  <a:pt x="0" y="359"/>
                </a:lnTo>
                <a:lnTo>
                  <a:pt x="1" y="370"/>
                </a:lnTo>
                <a:lnTo>
                  <a:pt x="3" y="379"/>
                </a:lnTo>
                <a:lnTo>
                  <a:pt x="5" y="382"/>
                </a:lnTo>
                <a:lnTo>
                  <a:pt x="9" y="386"/>
                </a:lnTo>
                <a:lnTo>
                  <a:pt x="12" y="388"/>
                </a:lnTo>
                <a:lnTo>
                  <a:pt x="16" y="390"/>
                </a:lnTo>
                <a:lnTo>
                  <a:pt x="19" y="392"/>
                </a:lnTo>
                <a:lnTo>
                  <a:pt x="24" y="394"/>
                </a:lnTo>
                <a:lnTo>
                  <a:pt x="28" y="394"/>
                </a:lnTo>
                <a:lnTo>
                  <a:pt x="32" y="394"/>
                </a:lnTo>
                <a:lnTo>
                  <a:pt x="45" y="390"/>
                </a:lnTo>
                <a:lnTo>
                  <a:pt x="59" y="386"/>
                </a:lnTo>
                <a:lnTo>
                  <a:pt x="71" y="380"/>
                </a:lnTo>
                <a:lnTo>
                  <a:pt x="84" y="374"/>
                </a:lnTo>
                <a:lnTo>
                  <a:pt x="112" y="362"/>
                </a:lnTo>
                <a:lnTo>
                  <a:pt x="141" y="350"/>
                </a:lnTo>
                <a:lnTo>
                  <a:pt x="169" y="339"/>
                </a:lnTo>
                <a:lnTo>
                  <a:pt x="198" y="328"/>
                </a:lnTo>
                <a:lnTo>
                  <a:pt x="226" y="316"/>
                </a:lnTo>
                <a:lnTo>
                  <a:pt x="254" y="305"/>
                </a:lnTo>
                <a:lnTo>
                  <a:pt x="282" y="292"/>
                </a:lnTo>
                <a:lnTo>
                  <a:pt x="309" y="281"/>
                </a:lnTo>
                <a:lnTo>
                  <a:pt x="338" y="270"/>
                </a:lnTo>
                <a:lnTo>
                  <a:pt x="366" y="259"/>
                </a:lnTo>
                <a:lnTo>
                  <a:pt x="395" y="249"/>
                </a:lnTo>
                <a:lnTo>
                  <a:pt x="423" y="240"/>
                </a:lnTo>
                <a:lnTo>
                  <a:pt x="452" y="231"/>
                </a:lnTo>
                <a:lnTo>
                  <a:pt x="480" y="223"/>
                </a:lnTo>
                <a:lnTo>
                  <a:pt x="508" y="214"/>
                </a:lnTo>
                <a:lnTo>
                  <a:pt x="537" y="206"/>
                </a:lnTo>
                <a:lnTo>
                  <a:pt x="551" y="203"/>
                </a:lnTo>
                <a:lnTo>
                  <a:pt x="565" y="199"/>
                </a:lnTo>
                <a:lnTo>
                  <a:pt x="580" y="196"/>
                </a:lnTo>
                <a:lnTo>
                  <a:pt x="594" y="192"/>
                </a:lnTo>
                <a:lnTo>
                  <a:pt x="607" y="190"/>
                </a:lnTo>
                <a:lnTo>
                  <a:pt x="621" y="187"/>
                </a:lnTo>
                <a:lnTo>
                  <a:pt x="634" y="184"/>
                </a:lnTo>
                <a:lnTo>
                  <a:pt x="644" y="180"/>
                </a:lnTo>
                <a:lnTo>
                  <a:pt x="653" y="173"/>
                </a:lnTo>
                <a:lnTo>
                  <a:pt x="662" y="167"/>
                </a:lnTo>
                <a:lnTo>
                  <a:pt x="672" y="166"/>
                </a:lnTo>
                <a:lnTo>
                  <a:pt x="683" y="166"/>
                </a:lnTo>
                <a:lnTo>
                  <a:pt x="687" y="167"/>
                </a:lnTo>
                <a:lnTo>
                  <a:pt x="692" y="171"/>
                </a:lnTo>
                <a:lnTo>
                  <a:pt x="693" y="173"/>
                </a:lnTo>
                <a:lnTo>
                  <a:pt x="695" y="173"/>
                </a:lnTo>
                <a:lnTo>
                  <a:pt x="696" y="172"/>
                </a:lnTo>
                <a:lnTo>
                  <a:pt x="699" y="171"/>
                </a:lnTo>
                <a:lnTo>
                  <a:pt x="706" y="168"/>
                </a:lnTo>
                <a:lnTo>
                  <a:pt x="714" y="167"/>
                </a:lnTo>
                <a:lnTo>
                  <a:pt x="722" y="167"/>
                </a:lnTo>
                <a:lnTo>
                  <a:pt x="730" y="167"/>
                </a:lnTo>
                <a:lnTo>
                  <a:pt x="747" y="165"/>
                </a:lnTo>
                <a:lnTo>
                  <a:pt x="763" y="163"/>
                </a:lnTo>
                <a:lnTo>
                  <a:pt x="779" y="160"/>
                </a:lnTo>
                <a:lnTo>
                  <a:pt x="796" y="159"/>
                </a:lnTo>
                <a:lnTo>
                  <a:pt x="808" y="157"/>
                </a:lnTo>
                <a:lnTo>
                  <a:pt x="820" y="153"/>
                </a:lnTo>
                <a:lnTo>
                  <a:pt x="826" y="151"/>
                </a:lnTo>
                <a:lnTo>
                  <a:pt x="832" y="151"/>
                </a:lnTo>
                <a:lnTo>
                  <a:pt x="837" y="151"/>
                </a:lnTo>
                <a:lnTo>
                  <a:pt x="844" y="154"/>
                </a:lnTo>
                <a:lnTo>
                  <a:pt x="834" y="158"/>
                </a:lnTo>
                <a:lnTo>
                  <a:pt x="824" y="160"/>
                </a:lnTo>
                <a:lnTo>
                  <a:pt x="812" y="163"/>
                </a:lnTo>
                <a:lnTo>
                  <a:pt x="802" y="165"/>
                </a:lnTo>
                <a:lnTo>
                  <a:pt x="790" y="167"/>
                </a:lnTo>
                <a:lnTo>
                  <a:pt x="778" y="170"/>
                </a:lnTo>
                <a:lnTo>
                  <a:pt x="766" y="172"/>
                </a:lnTo>
                <a:lnTo>
                  <a:pt x="754" y="173"/>
                </a:lnTo>
                <a:lnTo>
                  <a:pt x="730" y="178"/>
                </a:lnTo>
                <a:lnTo>
                  <a:pt x="706" y="181"/>
                </a:lnTo>
                <a:lnTo>
                  <a:pt x="683" y="184"/>
                </a:lnTo>
                <a:lnTo>
                  <a:pt x="659" y="189"/>
                </a:lnTo>
                <a:lnTo>
                  <a:pt x="636" y="193"/>
                </a:lnTo>
                <a:lnTo>
                  <a:pt x="612" y="199"/>
                </a:lnTo>
                <a:lnTo>
                  <a:pt x="589" y="206"/>
                </a:lnTo>
                <a:lnTo>
                  <a:pt x="566" y="212"/>
                </a:lnTo>
                <a:lnTo>
                  <a:pt x="543" y="218"/>
                </a:lnTo>
                <a:lnTo>
                  <a:pt x="520" y="224"/>
                </a:lnTo>
                <a:lnTo>
                  <a:pt x="496" y="230"/>
                </a:lnTo>
                <a:lnTo>
                  <a:pt x="473" y="237"/>
                </a:lnTo>
                <a:lnTo>
                  <a:pt x="449" y="243"/>
                </a:lnTo>
                <a:lnTo>
                  <a:pt x="427" y="250"/>
                </a:lnTo>
                <a:lnTo>
                  <a:pt x="404" y="257"/>
                </a:lnTo>
                <a:lnTo>
                  <a:pt x="381" y="265"/>
                </a:lnTo>
                <a:lnTo>
                  <a:pt x="358" y="272"/>
                </a:lnTo>
                <a:lnTo>
                  <a:pt x="337" y="280"/>
                </a:lnTo>
                <a:lnTo>
                  <a:pt x="314" y="289"/>
                </a:lnTo>
                <a:lnTo>
                  <a:pt x="291" y="297"/>
                </a:lnTo>
                <a:lnTo>
                  <a:pt x="269" y="307"/>
                </a:lnTo>
                <a:lnTo>
                  <a:pt x="248" y="316"/>
                </a:lnTo>
                <a:lnTo>
                  <a:pt x="226" y="325"/>
                </a:lnTo>
                <a:lnTo>
                  <a:pt x="205" y="336"/>
                </a:lnTo>
                <a:lnTo>
                  <a:pt x="183" y="346"/>
                </a:lnTo>
                <a:lnTo>
                  <a:pt x="162" y="357"/>
                </a:lnTo>
                <a:lnTo>
                  <a:pt x="141" y="367"/>
                </a:lnTo>
                <a:lnTo>
                  <a:pt x="120" y="378"/>
                </a:lnTo>
                <a:lnTo>
                  <a:pt x="108" y="383"/>
                </a:lnTo>
                <a:lnTo>
                  <a:pt x="95" y="389"/>
                </a:lnTo>
                <a:lnTo>
                  <a:pt x="84" y="395"/>
                </a:lnTo>
                <a:lnTo>
                  <a:pt x="71" y="400"/>
                </a:lnTo>
                <a:lnTo>
                  <a:pt x="63" y="405"/>
                </a:lnTo>
                <a:lnTo>
                  <a:pt x="54" y="411"/>
                </a:lnTo>
                <a:lnTo>
                  <a:pt x="46" y="417"/>
                </a:lnTo>
                <a:lnTo>
                  <a:pt x="41" y="424"/>
                </a:lnTo>
                <a:lnTo>
                  <a:pt x="36" y="432"/>
                </a:lnTo>
                <a:lnTo>
                  <a:pt x="34" y="441"/>
                </a:lnTo>
                <a:lnTo>
                  <a:pt x="34" y="450"/>
                </a:lnTo>
                <a:lnTo>
                  <a:pt x="35" y="458"/>
                </a:lnTo>
                <a:lnTo>
                  <a:pt x="38" y="463"/>
                </a:lnTo>
                <a:lnTo>
                  <a:pt x="44" y="467"/>
                </a:lnTo>
                <a:lnTo>
                  <a:pt x="46" y="470"/>
                </a:lnTo>
                <a:lnTo>
                  <a:pt x="49" y="472"/>
                </a:lnTo>
                <a:lnTo>
                  <a:pt x="50" y="474"/>
                </a:lnTo>
                <a:lnTo>
                  <a:pt x="50" y="478"/>
                </a:lnTo>
                <a:lnTo>
                  <a:pt x="52" y="478"/>
                </a:lnTo>
                <a:lnTo>
                  <a:pt x="55" y="478"/>
                </a:lnTo>
                <a:lnTo>
                  <a:pt x="58" y="478"/>
                </a:lnTo>
                <a:lnTo>
                  <a:pt x="60" y="475"/>
                </a:lnTo>
                <a:lnTo>
                  <a:pt x="59" y="473"/>
                </a:lnTo>
                <a:lnTo>
                  <a:pt x="58" y="471"/>
                </a:lnTo>
                <a:lnTo>
                  <a:pt x="57" y="467"/>
                </a:lnTo>
                <a:lnTo>
                  <a:pt x="57" y="465"/>
                </a:lnTo>
                <a:lnTo>
                  <a:pt x="58" y="463"/>
                </a:lnTo>
                <a:lnTo>
                  <a:pt x="59" y="461"/>
                </a:lnTo>
                <a:lnTo>
                  <a:pt x="62" y="457"/>
                </a:lnTo>
                <a:lnTo>
                  <a:pt x="68" y="456"/>
                </a:lnTo>
                <a:lnTo>
                  <a:pt x="81" y="453"/>
                </a:lnTo>
                <a:lnTo>
                  <a:pt x="94" y="449"/>
                </a:lnTo>
                <a:lnTo>
                  <a:pt x="108" y="447"/>
                </a:lnTo>
                <a:lnTo>
                  <a:pt x="121" y="446"/>
                </a:lnTo>
                <a:lnTo>
                  <a:pt x="125" y="445"/>
                </a:lnTo>
                <a:lnTo>
                  <a:pt x="128" y="445"/>
                </a:lnTo>
                <a:lnTo>
                  <a:pt x="131" y="442"/>
                </a:lnTo>
                <a:lnTo>
                  <a:pt x="133" y="440"/>
                </a:lnTo>
                <a:lnTo>
                  <a:pt x="140" y="440"/>
                </a:lnTo>
                <a:lnTo>
                  <a:pt x="148" y="441"/>
                </a:lnTo>
                <a:lnTo>
                  <a:pt x="158" y="437"/>
                </a:lnTo>
                <a:lnTo>
                  <a:pt x="169" y="431"/>
                </a:lnTo>
                <a:lnTo>
                  <a:pt x="180" y="425"/>
                </a:lnTo>
                <a:lnTo>
                  <a:pt x="191" y="422"/>
                </a:lnTo>
                <a:lnTo>
                  <a:pt x="199" y="419"/>
                </a:lnTo>
                <a:lnTo>
                  <a:pt x="206" y="415"/>
                </a:lnTo>
                <a:lnTo>
                  <a:pt x="211" y="414"/>
                </a:lnTo>
                <a:lnTo>
                  <a:pt x="217" y="412"/>
                </a:lnTo>
                <a:lnTo>
                  <a:pt x="218" y="411"/>
                </a:lnTo>
                <a:lnTo>
                  <a:pt x="218" y="409"/>
                </a:lnTo>
                <a:lnTo>
                  <a:pt x="218" y="408"/>
                </a:lnTo>
                <a:lnTo>
                  <a:pt x="222" y="407"/>
                </a:lnTo>
                <a:lnTo>
                  <a:pt x="227" y="405"/>
                </a:lnTo>
                <a:lnTo>
                  <a:pt x="234" y="403"/>
                </a:lnTo>
                <a:lnTo>
                  <a:pt x="247" y="397"/>
                </a:lnTo>
                <a:lnTo>
                  <a:pt x="259" y="391"/>
                </a:lnTo>
                <a:lnTo>
                  <a:pt x="269" y="387"/>
                </a:lnTo>
                <a:lnTo>
                  <a:pt x="281" y="382"/>
                </a:lnTo>
                <a:lnTo>
                  <a:pt x="291" y="379"/>
                </a:lnTo>
                <a:lnTo>
                  <a:pt x="302" y="375"/>
                </a:lnTo>
                <a:lnTo>
                  <a:pt x="313" y="373"/>
                </a:lnTo>
                <a:lnTo>
                  <a:pt x="323" y="369"/>
                </a:lnTo>
                <a:lnTo>
                  <a:pt x="331" y="363"/>
                </a:lnTo>
                <a:lnTo>
                  <a:pt x="340" y="357"/>
                </a:lnTo>
                <a:lnTo>
                  <a:pt x="349" y="356"/>
                </a:lnTo>
                <a:lnTo>
                  <a:pt x="358" y="358"/>
                </a:lnTo>
                <a:lnTo>
                  <a:pt x="363" y="357"/>
                </a:lnTo>
                <a:lnTo>
                  <a:pt x="368" y="356"/>
                </a:lnTo>
                <a:lnTo>
                  <a:pt x="373" y="354"/>
                </a:lnTo>
                <a:lnTo>
                  <a:pt x="376" y="352"/>
                </a:lnTo>
                <a:lnTo>
                  <a:pt x="382" y="345"/>
                </a:lnTo>
                <a:lnTo>
                  <a:pt x="388" y="338"/>
                </a:lnTo>
                <a:lnTo>
                  <a:pt x="393" y="336"/>
                </a:lnTo>
                <a:lnTo>
                  <a:pt x="399" y="337"/>
                </a:lnTo>
                <a:lnTo>
                  <a:pt x="406" y="338"/>
                </a:lnTo>
                <a:lnTo>
                  <a:pt x="411" y="340"/>
                </a:lnTo>
                <a:lnTo>
                  <a:pt x="415" y="341"/>
                </a:lnTo>
                <a:lnTo>
                  <a:pt x="419" y="340"/>
                </a:lnTo>
                <a:lnTo>
                  <a:pt x="421" y="339"/>
                </a:lnTo>
                <a:lnTo>
                  <a:pt x="424" y="337"/>
                </a:lnTo>
                <a:lnTo>
                  <a:pt x="431" y="329"/>
                </a:lnTo>
                <a:lnTo>
                  <a:pt x="439" y="323"/>
                </a:lnTo>
                <a:lnTo>
                  <a:pt x="448" y="319"/>
                </a:lnTo>
                <a:lnTo>
                  <a:pt x="457" y="316"/>
                </a:lnTo>
                <a:lnTo>
                  <a:pt x="460" y="315"/>
                </a:lnTo>
                <a:lnTo>
                  <a:pt x="462" y="314"/>
                </a:lnTo>
                <a:lnTo>
                  <a:pt x="464" y="315"/>
                </a:lnTo>
                <a:lnTo>
                  <a:pt x="465" y="317"/>
                </a:lnTo>
                <a:lnTo>
                  <a:pt x="466" y="322"/>
                </a:lnTo>
                <a:lnTo>
                  <a:pt x="465" y="326"/>
                </a:lnTo>
                <a:lnTo>
                  <a:pt x="463" y="330"/>
                </a:lnTo>
                <a:lnTo>
                  <a:pt x="460" y="332"/>
                </a:lnTo>
                <a:lnTo>
                  <a:pt x="456" y="334"/>
                </a:lnTo>
                <a:lnTo>
                  <a:pt x="453" y="336"/>
                </a:lnTo>
                <a:lnTo>
                  <a:pt x="439" y="339"/>
                </a:lnTo>
                <a:lnTo>
                  <a:pt x="425" y="344"/>
                </a:lnTo>
                <a:lnTo>
                  <a:pt x="413" y="349"/>
                </a:lnTo>
                <a:lnTo>
                  <a:pt x="400" y="354"/>
                </a:lnTo>
                <a:lnTo>
                  <a:pt x="389" y="358"/>
                </a:lnTo>
                <a:lnTo>
                  <a:pt x="376" y="363"/>
                </a:lnTo>
                <a:lnTo>
                  <a:pt x="363" y="366"/>
                </a:lnTo>
                <a:lnTo>
                  <a:pt x="350" y="370"/>
                </a:lnTo>
                <a:lnTo>
                  <a:pt x="338" y="374"/>
                </a:lnTo>
                <a:lnTo>
                  <a:pt x="325" y="380"/>
                </a:lnTo>
                <a:lnTo>
                  <a:pt x="312" y="386"/>
                </a:lnTo>
                <a:lnTo>
                  <a:pt x="299" y="391"/>
                </a:lnTo>
                <a:lnTo>
                  <a:pt x="287" y="397"/>
                </a:lnTo>
                <a:lnTo>
                  <a:pt x="274" y="402"/>
                </a:lnTo>
                <a:lnTo>
                  <a:pt x="261" y="407"/>
                </a:lnTo>
                <a:lnTo>
                  <a:pt x="251" y="413"/>
                </a:lnTo>
                <a:lnTo>
                  <a:pt x="247" y="416"/>
                </a:lnTo>
                <a:lnTo>
                  <a:pt x="242" y="420"/>
                </a:lnTo>
                <a:lnTo>
                  <a:pt x="239" y="424"/>
                </a:lnTo>
                <a:lnTo>
                  <a:pt x="235" y="430"/>
                </a:lnTo>
                <a:lnTo>
                  <a:pt x="233" y="435"/>
                </a:lnTo>
                <a:lnTo>
                  <a:pt x="232" y="439"/>
                </a:lnTo>
                <a:lnTo>
                  <a:pt x="231" y="444"/>
                </a:lnTo>
                <a:lnTo>
                  <a:pt x="232" y="448"/>
                </a:lnTo>
                <a:lnTo>
                  <a:pt x="234" y="450"/>
                </a:lnTo>
                <a:lnTo>
                  <a:pt x="236" y="453"/>
                </a:lnTo>
                <a:lnTo>
                  <a:pt x="238" y="456"/>
                </a:lnTo>
                <a:lnTo>
                  <a:pt x="240" y="458"/>
                </a:lnTo>
                <a:lnTo>
                  <a:pt x="243" y="462"/>
                </a:lnTo>
                <a:lnTo>
                  <a:pt x="248" y="463"/>
                </a:lnTo>
                <a:lnTo>
                  <a:pt x="249" y="463"/>
                </a:lnTo>
                <a:lnTo>
                  <a:pt x="252" y="462"/>
                </a:lnTo>
                <a:lnTo>
                  <a:pt x="256" y="461"/>
                </a:lnTo>
                <a:lnTo>
                  <a:pt x="259" y="460"/>
                </a:lnTo>
                <a:lnTo>
                  <a:pt x="266" y="458"/>
                </a:lnTo>
                <a:lnTo>
                  <a:pt x="274" y="458"/>
                </a:lnTo>
                <a:lnTo>
                  <a:pt x="288" y="456"/>
                </a:lnTo>
                <a:lnTo>
                  <a:pt x="302" y="453"/>
                </a:lnTo>
                <a:lnTo>
                  <a:pt x="316" y="448"/>
                </a:lnTo>
                <a:lnTo>
                  <a:pt x="331" y="442"/>
                </a:lnTo>
                <a:lnTo>
                  <a:pt x="345" y="437"/>
                </a:lnTo>
                <a:lnTo>
                  <a:pt x="358" y="431"/>
                </a:lnTo>
                <a:lnTo>
                  <a:pt x="351" y="432"/>
                </a:lnTo>
                <a:lnTo>
                  <a:pt x="343" y="433"/>
                </a:lnTo>
                <a:lnTo>
                  <a:pt x="341" y="433"/>
                </a:lnTo>
                <a:lnTo>
                  <a:pt x="338" y="435"/>
                </a:lnTo>
                <a:lnTo>
                  <a:pt x="335" y="433"/>
                </a:lnTo>
                <a:lnTo>
                  <a:pt x="332" y="432"/>
                </a:lnTo>
                <a:lnTo>
                  <a:pt x="331" y="430"/>
                </a:lnTo>
                <a:lnTo>
                  <a:pt x="331" y="428"/>
                </a:lnTo>
                <a:lnTo>
                  <a:pt x="332" y="427"/>
                </a:lnTo>
                <a:lnTo>
                  <a:pt x="334" y="425"/>
                </a:lnTo>
                <a:lnTo>
                  <a:pt x="341" y="424"/>
                </a:lnTo>
                <a:lnTo>
                  <a:pt x="346" y="424"/>
                </a:lnTo>
                <a:lnTo>
                  <a:pt x="342" y="422"/>
                </a:lnTo>
                <a:lnTo>
                  <a:pt x="340" y="419"/>
                </a:lnTo>
                <a:lnTo>
                  <a:pt x="337" y="417"/>
                </a:lnTo>
                <a:lnTo>
                  <a:pt x="332" y="416"/>
                </a:lnTo>
                <a:lnTo>
                  <a:pt x="330" y="415"/>
                </a:lnTo>
                <a:lnTo>
                  <a:pt x="330" y="413"/>
                </a:lnTo>
                <a:lnTo>
                  <a:pt x="330" y="411"/>
                </a:lnTo>
                <a:lnTo>
                  <a:pt x="332" y="408"/>
                </a:lnTo>
                <a:lnTo>
                  <a:pt x="334" y="407"/>
                </a:lnTo>
                <a:lnTo>
                  <a:pt x="338" y="407"/>
                </a:lnTo>
                <a:lnTo>
                  <a:pt x="340" y="405"/>
                </a:lnTo>
                <a:lnTo>
                  <a:pt x="342" y="403"/>
                </a:lnTo>
                <a:lnTo>
                  <a:pt x="347" y="399"/>
                </a:lnTo>
                <a:lnTo>
                  <a:pt x="351" y="396"/>
                </a:lnTo>
                <a:lnTo>
                  <a:pt x="356" y="395"/>
                </a:lnTo>
                <a:lnTo>
                  <a:pt x="362" y="392"/>
                </a:lnTo>
                <a:lnTo>
                  <a:pt x="374" y="388"/>
                </a:lnTo>
                <a:lnTo>
                  <a:pt x="388" y="383"/>
                </a:lnTo>
                <a:lnTo>
                  <a:pt x="400" y="378"/>
                </a:lnTo>
                <a:lnTo>
                  <a:pt x="414" y="373"/>
                </a:lnTo>
                <a:lnTo>
                  <a:pt x="417" y="372"/>
                </a:lnTo>
                <a:lnTo>
                  <a:pt x="423" y="370"/>
                </a:lnTo>
                <a:lnTo>
                  <a:pt x="428" y="369"/>
                </a:lnTo>
                <a:lnTo>
                  <a:pt x="432" y="370"/>
                </a:lnTo>
                <a:lnTo>
                  <a:pt x="434" y="372"/>
                </a:lnTo>
                <a:lnTo>
                  <a:pt x="438" y="374"/>
                </a:lnTo>
                <a:lnTo>
                  <a:pt x="441" y="372"/>
                </a:lnTo>
                <a:lnTo>
                  <a:pt x="444" y="370"/>
                </a:lnTo>
                <a:lnTo>
                  <a:pt x="447" y="367"/>
                </a:lnTo>
                <a:lnTo>
                  <a:pt x="450" y="364"/>
                </a:lnTo>
                <a:lnTo>
                  <a:pt x="453" y="364"/>
                </a:lnTo>
                <a:lnTo>
                  <a:pt x="455" y="364"/>
                </a:lnTo>
                <a:lnTo>
                  <a:pt x="457" y="365"/>
                </a:lnTo>
                <a:lnTo>
                  <a:pt x="457" y="367"/>
                </a:lnTo>
                <a:lnTo>
                  <a:pt x="457" y="370"/>
                </a:lnTo>
                <a:lnTo>
                  <a:pt x="456" y="371"/>
                </a:lnTo>
                <a:lnTo>
                  <a:pt x="455" y="373"/>
                </a:lnTo>
                <a:lnTo>
                  <a:pt x="453" y="374"/>
                </a:lnTo>
                <a:lnTo>
                  <a:pt x="448" y="378"/>
                </a:lnTo>
                <a:lnTo>
                  <a:pt x="445" y="379"/>
                </a:lnTo>
                <a:lnTo>
                  <a:pt x="433" y="382"/>
                </a:lnTo>
                <a:lnTo>
                  <a:pt x="421" y="386"/>
                </a:lnTo>
                <a:lnTo>
                  <a:pt x="411" y="389"/>
                </a:lnTo>
                <a:lnTo>
                  <a:pt x="399" y="394"/>
                </a:lnTo>
                <a:lnTo>
                  <a:pt x="396" y="395"/>
                </a:lnTo>
                <a:lnTo>
                  <a:pt x="393" y="397"/>
                </a:lnTo>
                <a:lnTo>
                  <a:pt x="392" y="400"/>
                </a:lnTo>
                <a:lnTo>
                  <a:pt x="393" y="404"/>
                </a:lnTo>
                <a:lnTo>
                  <a:pt x="397" y="406"/>
                </a:lnTo>
                <a:lnTo>
                  <a:pt x="400" y="407"/>
                </a:lnTo>
                <a:lnTo>
                  <a:pt x="404" y="407"/>
                </a:lnTo>
                <a:lnTo>
                  <a:pt x="407" y="406"/>
                </a:lnTo>
                <a:lnTo>
                  <a:pt x="417" y="402"/>
                </a:lnTo>
                <a:lnTo>
                  <a:pt x="428" y="397"/>
                </a:lnTo>
                <a:lnTo>
                  <a:pt x="440" y="395"/>
                </a:lnTo>
                <a:lnTo>
                  <a:pt x="453" y="392"/>
                </a:lnTo>
                <a:lnTo>
                  <a:pt x="467" y="389"/>
                </a:lnTo>
                <a:lnTo>
                  <a:pt x="482" y="386"/>
                </a:lnTo>
                <a:lnTo>
                  <a:pt x="498" y="381"/>
                </a:lnTo>
                <a:lnTo>
                  <a:pt x="513" y="378"/>
                </a:lnTo>
                <a:lnTo>
                  <a:pt x="528" y="374"/>
                </a:lnTo>
                <a:lnTo>
                  <a:pt x="541" y="371"/>
                </a:lnTo>
                <a:lnTo>
                  <a:pt x="546" y="370"/>
                </a:lnTo>
                <a:lnTo>
                  <a:pt x="552" y="369"/>
                </a:lnTo>
                <a:lnTo>
                  <a:pt x="554" y="369"/>
                </a:lnTo>
                <a:lnTo>
                  <a:pt x="556" y="369"/>
                </a:lnTo>
                <a:lnTo>
                  <a:pt x="557" y="371"/>
                </a:lnTo>
                <a:lnTo>
                  <a:pt x="559" y="373"/>
                </a:lnTo>
                <a:lnTo>
                  <a:pt x="532" y="380"/>
                </a:lnTo>
                <a:lnTo>
                  <a:pt x="506" y="387"/>
                </a:lnTo>
                <a:lnTo>
                  <a:pt x="479" y="394"/>
                </a:lnTo>
                <a:lnTo>
                  <a:pt x="453" y="402"/>
                </a:lnTo>
                <a:lnTo>
                  <a:pt x="454" y="404"/>
                </a:lnTo>
                <a:lnTo>
                  <a:pt x="455" y="405"/>
                </a:lnTo>
                <a:lnTo>
                  <a:pt x="456" y="405"/>
                </a:lnTo>
                <a:lnTo>
                  <a:pt x="458" y="405"/>
                </a:lnTo>
                <a:lnTo>
                  <a:pt x="464" y="404"/>
                </a:lnTo>
                <a:lnTo>
                  <a:pt x="469" y="403"/>
                </a:lnTo>
                <a:lnTo>
                  <a:pt x="478" y="400"/>
                </a:lnTo>
                <a:lnTo>
                  <a:pt x="486" y="398"/>
                </a:lnTo>
                <a:lnTo>
                  <a:pt x="495" y="396"/>
                </a:lnTo>
                <a:lnTo>
                  <a:pt x="504" y="394"/>
                </a:lnTo>
                <a:lnTo>
                  <a:pt x="513" y="391"/>
                </a:lnTo>
                <a:lnTo>
                  <a:pt x="522" y="389"/>
                </a:lnTo>
                <a:lnTo>
                  <a:pt x="531" y="387"/>
                </a:lnTo>
                <a:lnTo>
                  <a:pt x="541" y="386"/>
                </a:lnTo>
                <a:lnTo>
                  <a:pt x="551" y="384"/>
                </a:lnTo>
                <a:lnTo>
                  <a:pt x="560" y="382"/>
                </a:lnTo>
                <a:lnTo>
                  <a:pt x="577" y="379"/>
                </a:lnTo>
                <a:lnTo>
                  <a:pt x="593" y="375"/>
                </a:lnTo>
                <a:lnTo>
                  <a:pt x="599" y="371"/>
                </a:lnTo>
                <a:lnTo>
                  <a:pt x="607" y="370"/>
                </a:lnTo>
                <a:lnTo>
                  <a:pt x="614" y="377"/>
                </a:lnTo>
                <a:lnTo>
                  <a:pt x="620" y="382"/>
                </a:lnTo>
                <a:lnTo>
                  <a:pt x="622" y="381"/>
                </a:lnTo>
                <a:lnTo>
                  <a:pt x="625" y="380"/>
                </a:lnTo>
                <a:lnTo>
                  <a:pt x="629" y="378"/>
                </a:lnTo>
                <a:lnTo>
                  <a:pt x="634" y="377"/>
                </a:lnTo>
                <a:lnTo>
                  <a:pt x="642" y="378"/>
                </a:lnTo>
                <a:lnTo>
                  <a:pt x="651" y="378"/>
                </a:lnTo>
                <a:lnTo>
                  <a:pt x="658" y="375"/>
                </a:lnTo>
                <a:lnTo>
                  <a:pt x="666" y="372"/>
                </a:lnTo>
                <a:lnTo>
                  <a:pt x="669" y="370"/>
                </a:lnTo>
                <a:lnTo>
                  <a:pt x="673" y="369"/>
                </a:lnTo>
                <a:lnTo>
                  <a:pt x="677" y="369"/>
                </a:lnTo>
                <a:lnTo>
                  <a:pt x="680" y="369"/>
                </a:lnTo>
                <a:lnTo>
                  <a:pt x="680" y="369"/>
                </a:lnTo>
                <a:lnTo>
                  <a:pt x="680" y="369"/>
                </a:lnTo>
                <a:lnTo>
                  <a:pt x="681" y="369"/>
                </a:lnTo>
                <a:lnTo>
                  <a:pt x="684" y="371"/>
                </a:lnTo>
                <a:lnTo>
                  <a:pt x="686" y="373"/>
                </a:lnTo>
                <a:lnTo>
                  <a:pt x="687" y="374"/>
                </a:lnTo>
                <a:lnTo>
                  <a:pt x="688" y="374"/>
                </a:lnTo>
                <a:lnTo>
                  <a:pt x="689" y="374"/>
                </a:lnTo>
                <a:lnTo>
                  <a:pt x="692" y="373"/>
                </a:lnTo>
                <a:lnTo>
                  <a:pt x="693" y="371"/>
                </a:lnTo>
                <a:lnTo>
                  <a:pt x="692" y="373"/>
                </a:lnTo>
                <a:lnTo>
                  <a:pt x="695" y="370"/>
                </a:lnTo>
                <a:lnTo>
                  <a:pt x="700" y="367"/>
                </a:lnTo>
                <a:lnTo>
                  <a:pt x="705" y="367"/>
                </a:lnTo>
                <a:lnTo>
                  <a:pt x="711" y="366"/>
                </a:lnTo>
                <a:lnTo>
                  <a:pt x="716" y="365"/>
                </a:lnTo>
                <a:lnTo>
                  <a:pt x="720" y="363"/>
                </a:lnTo>
                <a:lnTo>
                  <a:pt x="724" y="361"/>
                </a:lnTo>
                <a:lnTo>
                  <a:pt x="726" y="358"/>
                </a:lnTo>
                <a:lnTo>
                  <a:pt x="728" y="357"/>
                </a:lnTo>
                <a:lnTo>
                  <a:pt x="730" y="358"/>
                </a:lnTo>
                <a:lnTo>
                  <a:pt x="732" y="359"/>
                </a:lnTo>
                <a:lnTo>
                  <a:pt x="733" y="361"/>
                </a:lnTo>
                <a:lnTo>
                  <a:pt x="734" y="364"/>
                </a:lnTo>
                <a:lnTo>
                  <a:pt x="736" y="366"/>
                </a:lnTo>
                <a:lnTo>
                  <a:pt x="742" y="365"/>
                </a:lnTo>
                <a:lnTo>
                  <a:pt x="747" y="364"/>
                </a:lnTo>
                <a:lnTo>
                  <a:pt x="750" y="358"/>
                </a:lnTo>
                <a:lnTo>
                  <a:pt x="752" y="353"/>
                </a:lnTo>
                <a:lnTo>
                  <a:pt x="753" y="350"/>
                </a:lnTo>
                <a:lnTo>
                  <a:pt x="752" y="349"/>
                </a:lnTo>
                <a:lnTo>
                  <a:pt x="750" y="348"/>
                </a:lnTo>
                <a:lnTo>
                  <a:pt x="746" y="348"/>
                </a:lnTo>
                <a:lnTo>
                  <a:pt x="732" y="350"/>
                </a:lnTo>
                <a:lnTo>
                  <a:pt x="718" y="353"/>
                </a:lnTo>
                <a:lnTo>
                  <a:pt x="712" y="352"/>
                </a:lnTo>
                <a:lnTo>
                  <a:pt x="708" y="350"/>
                </a:lnTo>
                <a:lnTo>
                  <a:pt x="703" y="350"/>
                </a:lnTo>
                <a:lnTo>
                  <a:pt x="699" y="352"/>
                </a:lnTo>
                <a:lnTo>
                  <a:pt x="695" y="353"/>
                </a:lnTo>
                <a:lnTo>
                  <a:pt x="693" y="356"/>
                </a:lnTo>
                <a:lnTo>
                  <a:pt x="692" y="358"/>
                </a:lnTo>
                <a:lnTo>
                  <a:pt x="691" y="362"/>
                </a:lnTo>
                <a:lnTo>
                  <a:pt x="689" y="364"/>
                </a:lnTo>
                <a:lnTo>
                  <a:pt x="687" y="366"/>
                </a:lnTo>
                <a:lnTo>
                  <a:pt x="685" y="369"/>
                </a:lnTo>
                <a:lnTo>
                  <a:pt x="681" y="369"/>
                </a:lnTo>
                <a:lnTo>
                  <a:pt x="680" y="369"/>
                </a:lnTo>
                <a:lnTo>
                  <a:pt x="680" y="369"/>
                </a:lnTo>
                <a:lnTo>
                  <a:pt x="680" y="364"/>
                </a:lnTo>
                <a:lnTo>
                  <a:pt x="679" y="361"/>
                </a:lnTo>
                <a:lnTo>
                  <a:pt x="677" y="358"/>
                </a:lnTo>
                <a:lnTo>
                  <a:pt x="672" y="356"/>
                </a:lnTo>
                <a:lnTo>
                  <a:pt x="669" y="356"/>
                </a:lnTo>
                <a:lnTo>
                  <a:pt x="664" y="357"/>
                </a:lnTo>
                <a:lnTo>
                  <a:pt x="661" y="356"/>
                </a:lnTo>
                <a:lnTo>
                  <a:pt x="659" y="355"/>
                </a:lnTo>
                <a:lnTo>
                  <a:pt x="666" y="349"/>
                </a:lnTo>
                <a:lnTo>
                  <a:pt x="675" y="346"/>
                </a:lnTo>
                <a:lnTo>
                  <a:pt x="684" y="344"/>
                </a:lnTo>
                <a:lnTo>
                  <a:pt x="693" y="342"/>
                </a:lnTo>
                <a:lnTo>
                  <a:pt x="704" y="341"/>
                </a:lnTo>
                <a:lnTo>
                  <a:pt x="716" y="340"/>
                </a:lnTo>
                <a:lnTo>
                  <a:pt x="726" y="338"/>
                </a:lnTo>
                <a:lnTo>
                  <a:pt x="737" y="337"/>
                </a:lnTo>
                <a:lnTo>
                  <a:pt x="750" y="333"/>
                </a:lnTo>
                <a:lnTo>
                  <a:pt x="761" y="331"/>
                </a:lnTo>
                <a:lnTo>
                  <a:pt x="772" y="329"/>
                </a:lnTo>
                <a:lnTo>
                  <a:pt x="784" y="325"/>
                </a:lnTo>
                <a:lnTo>
                  <a:pt x="795" y="323"/>
                </a:lnTo>
                <a:lnTo>
                  <a:pt x="805" y="320"/>
                </a:lnTo>
                <a:lnTo>
                  <a:pt x="816" y="316"/>
                </a:lnTo>
                <a:lnTo>
                  <a:pt x="826" y="314"/>
                </a:lnTo>
                <a:lnTo>
                  <a:pt x="850" y="309"/>
                </a:lnTo>
                <a:lnTo>
                  <a:pt x="873" y="308"/>
                </a:lnTo>
                <a:lnTo>
                  <a:pt x="897" y="307"/>
                </a:lnTo>
                <a:lnTo>
                  <a:pt x="920" y="307"/>
                </a:lnTo>
                <a:lnTo>
                  <a:pt x="927" y="307"/>
                </a:lnTo>
                <a:lnTo>
                  <a:pt x="935" y="308"/>
                </a:lnTo>
                <a:lnTo>
                  <a:pt x="939" y="308"/>
                </a:lnTo>
                <a:lnTo>
                  <a:pt x="940" y="311"/>
                </a:lnTo>
                <a:lnTo>
                  <a:pt x="941" y="313"/>
                </a:lnTo>
                <a:lnTo>
                  <a:pt x="943" y="315"/>
                </a:lnTo>
                <a:lnTo>
                  <a:pt x="944" y="317"/>
                </a:lnTo>
                <a:lnTo>
                  <a:pt x="948" y="320"/>
                </a:lnTo>
                <a:lnTo>
                  <a:pt x="950" y="321"/>
                </a:lnTo>
                <a:lnTo>
                  <a:pt x="953" y="322"/>
                </a:lnTo>
                <a:lnTo>
                  <a:pt x="959" y="324"/>
                </a:lnTo>
                <a:lnTo>
                  <a:pt x="966" y="325"/>
                </a:lnTo>
                <a:lnTo>
                  <a:pt x="971" y="328"/>
                </a:lnTo>
                <a:lnTo>
                  <a:pt x="975" y="328"/>
                </a:lnTo>
                <a:lnTo>
                  <a:pt x="978" y="326"/>
                </a:lnTo>
                <a:lnTo>
                  <a:pt x="981" y="325"/>
                </a:lnTo>
                <a:lnTo>
                  <a:pt x="986" y="320"/>
                </a:lnTo>
                <a:lnTo>
                  <a:pt x="991" y="312"/>
                </a:lnTo>
                <a:lnTo>
                  <a:pt x="997" y="304"/>
                </a:lnTo>
                <a:lnTo>
                  <a:pt x="1002" y="297"/>
                </a:lnTo>
                <a:lnTo>
                  <a:pt x="1007" y="295"/>
                </a:lnTo>
                <a:lnTo>
                  <a:pt x="1010" y="292"/>
                </a:lnTo>
                <a:lnTo>
                  <a:pt x="1013" y="291"/>
                </a:lnTo>
                <a:lnTo>
                  <a:pt x="1014" y="289"/>
                </a:lnTo>
                <a:lnTo>
                  <a:pt x="1014" y="287"/>
                </a:lnTo>
                <a:lnTo>
                  <a:pt x="1015" y="284"/>
                </a:lnTo>
                <a:lnTo>
                  <a:pt x="1014" y="276"/>
                </a:lnTo>
                <a:lnTo>
                  <a:pt x="1014" y="279"/>
                </a:lnTo>
                <a:lnTo>
                  <a:pt x="1014" y="283"/>
                </a:lnTo>
                <a:lnTo>
                  <a:pt x="1015" y="284"/>
                </a:lnTo>
                <a:close/>
                <a:moveTo>
                  <a:pt x="256" y="223"/>
                </a:moveTo>
                <a:lnTo>
                  <a:pt x="243" y="224"/>
                </a:lnTo>
                <a:lnTo>
                  <a:pt x="231" y="229"/>
                </a:lnTo>
                <a:lnTo>
                  <a:pt x="226" y="230"/>
                </a:lnTo>
                <a:lnTo>
                  <a:pt x="221" y="231"/>
                </a:lnTo>
                <a:lnTo>
                  <a:pt x="218" y="231"/>
                </a:lnTo>
                <a:lnTo>
                  <a:pt x="215" y="231"/>
                </a:lnTo>
                <a:lnTo>
                  <a:pt x="214" y="229"/>
                </a:lnTo>
                <a:lnTo>
                  <a:pt x="211" y="226"/>
                </a:lnTo>
                <a:lnTo>
                  <a:pt x="217" y="226"/>
                </a:lnTo>
                <a:lnTo>
                  <a:pt x="224" y="224"/>
                </a:lnTo>
                <a:lnTo>
                  <a:pt x="230" y="221"/>
                </a:lnTo>
                <a:lnTo>
                  <a:pt x="238" y="218"/>
                </a:lnTo>
                <a:lnTo>
                  <a:pt x="244" y="216"/>
                </a:lnTo>
                <a:lnTo>
                  <a:pt x="251" y="215"/>
                </a:lnTo>
                <a:lnTo>
                  <a:pt x="258" y="214"/>
                </a:lnTo>
                <a:lnTo>
                  <a:pt x="266" y="214"/>
                </a:lnTo>
                <a:lnTo>
                  <a:pt x="265" y="216"/>
                </a:lnTo>
                <a:lnTo>
                  <a:pt x="263" y="216"/>
                </a:lnTo>
                <a:lnTo>
                  <a:pt x="261" y="217"/>
                </a:lnTo>
                <a:lnTo>
                  <a:pt x="259" y="217"/>
                </a:lnTo>
                <a:lnTo>
                  <a:pt x="257" y="217"/>
                </a:lnTo>
                <a:lnTo>
                  <a:pt x="256" y="218"/>
                </a:lnTo>
                <a:lnTo>
                  <a:pt x="256" y="221"/>
                </a:lnTo>
                <a:lnTo>
                  <a:pt x="256" y="223"/>
                </a:lnTo>
                <a:lnTo>
                  <a:pt x="250" y="220"/>
                </a:lnTo>
                <a:lnTo>
                  <a:pt x="256" y="223"/>
                </a:lnTo>
                <a:close/>
                <a:moveTo>
                  <a:pt x="680" y="37"/>
                </a:moveTo>
                <a:lnTo>
                  <a:pt x="661" y="37"/>
                </a:lnTo>
                <a:lnTo>
                  <a:pt x="640" y="38"/>
                </a:lnTo>
                <a:lnTo>
                  <a:pt x="621" y="38"/>
                </a:lnTo>
                <a:lnTo>
                  <a:pt x="601" y="38"/>
                </a:lnTo>
                <a:lnTo>
                  <a:pt x="592" y="38"/>
                </a:lnTo>
                <a:lnTo>
                  <a:pt x="584" y="38"/>
                </a:lnTo>
                <a:lnTo>
                  <a:pt x="578" y="38"/>
                </a:lnTo>
                <a:lnTo>
                  <a:pt x="573" y="38"/>
                </a:lnTo>
                <a:lnTo>
                  <a:pt x="570" y="37"/>
                </a:lnTo>
                <a:lnTo>
                  <a:pt x="569" y="35"/>
                </a:lnTo>
                <a:lnTo>
                  <a:pt x="568" y="33"/>
                </a:lnTo>
                <a:lnTo>
                  <a:pt x="570" y="31"/>
                </a:lnTo>
                <a:lnTo>
                  <a:pt x="577" y="29"/>
                </a:lnTo>
                <a:lnTo>
                  <a:pt x="584" y="29"/>
                </a:lnTo>
                <a:lnTo>
                  <a:pt x="622" y="26"/>
                </a:lnTo>
                <a:lnTo>
                  <a:pt x="660" y="25"/>
                </a:lnTo>
                <a:lnTo>
                  <a:pt x="699" y="25"/>
                </a:lnTo>
                <a:lnTo>
                  <a:pt x="736" y="26"/>
                </a:lnTo>
                <a:lnTo>
                  <a:pt x="730" y="30"/>
                </a:lnTo>
                <a:lnTo>
                  <a:pt x="724" y="32"/>
                </a:lnTo>
                <a:lnTo>
                  <a:pt x="717" y="33"/>
                </a:lnTo>
                <a:lnTo>
                  <a:pt x="710" y="34"/>
                </a:lnTo>
                <a:lnTo>
                  <a:pt x="695" y="35"/>
                </a:lnTo>
                <a:lnTo>
                  <a:pt x="680" y="37"/>
                </a:lnTo>
                <a:lnTo>
                  <a:pt x="670" y="37"/>
                </a:lnTo>
                <a:lnTo>
                  <a:pt x="676" y="37"/>
                </a:lnTo>
                <a:lnTo>
                  <a:pt x="684" y="35"/>
                </a:lnTo>
                <a:lnTo>
                  <a:pt x="680" y="37"/>
                </a:lnTo>
                <a:close/>
                <a:moveTo>
                  <a:pt x="230" y="395"/>
                </a:moveTo>
                <a:lnTo>
                  <a:pt x="225" y="398"/>
                </a:lnTo>
                <a:lnTo>
                  <a:pt x="222" y="400"/>
                </a:lnTo>
                <a:lnTo>
                  <a:pt x="218" y="402"/>
                </a:lnTo>
                <a:lnTo>
                  <a:pt x="214" y="403"/>
                </a:lnTo>
                <a:lnTo>
                  <a:pt x="210" y="404"/>
                </a:lnTo>
                <a:lnTo>
                  <a:pt x="208" y="405"/>
                </a:lnTo>
                <a:lnTo>
                  <a:pt x="206" y="407"/>
                </a:lnTo>
                <a:lnTo>
                  <a:pt x="203" y="411"/>
                </a:lnTo>
                <a:lnTo>
                  <a:pt x="201" y="409"/>
                </a:lnTo>
                <a:lnTo>
                  <a:pt x="200" y="407"/>
                </a:lnTo>
                <a:lnTo>
                  <a:pt x="201" y="404"/>
                </a:lnTo>
                <a:lnTo>
                  <a:pt x="202" y="402"/>
                </a:lnTo>
                <a:lnTo>
                  <a:pt x="207" y="397"/>
                </a:lnTo>
                <a:lnTo>
                  <a:pt x="213" y="395"/>
                </a:lnTo>
                <a:lnTo>
                  <a:pt x="218" y="394"/>
                </a:lnTo>
                <a:lnTo>
                  <a:pt x="224" y="391"/>
                </a:lnTo>
                <a:lnTo>
                  <a:pt x="226" y="390"/>
                </a:lnTo>
                <a:lnTo>
                  <a:pt x="228" y="390"/>
                </a:lnTo>
                <a:lnTo>
                  <a:pt x="230" y="392"/>
                </a:lnTo>
                <a:lnTo>
                  <a:pt x="230" y="395"/>
                </a:lnTo>
                <a:lnTo>
                  <a:pt x="228" y="396"/>
                </a:lnTo>
                <a:lnTo>
                  <a:pt x="230" y="395"/>
                </a:lnTo>
                <a:close/>
                <a:moveTo>
                  <a:pt x="392" y="330"/>
                </a:moveTo>
                <a:lnTo>
                  <a:pt x="390" y="331"/>
                </a:lnTo>
                <a:lnTo>
                  <a:pt x="388" y="332"/>
                </a:lnTo>
                <a:lnTo>
                  <a:pt x="388" y="333"/>
                </a:lnTo>
                <a:lnTo>
                  <a:pt x="388" y="337"/>
                </a:lnTo>
                <a:lnTo>
                  <a:pt x="383" y="336"/>
                </a:lnTo>
                <a:lnTo>
                  <a:pt x="379" y="336"/>
                </a:lnTo>
                <a:lnTo>
                  <a:pt x="374" y="337"/>
                </a:lnTo>
                <a:lnTo>
                  <a:pt x="370" y="338"/>
                </a:lnTo>
                <a:lnTo>
                  <a:pt x="362" y="341"/>
                </a:lnTo>
                <a:lnTo>
                  <a:pt x="353" y="346"/>
                </a:lnTo>
                <a:lnTo>
                  <a:pt x="343" y="349"/>
                </a:lnTo>
                <a:lnTo>
                  <a:pt x="335" y="350"/>
                </a:lnTo>
                <a:lnTo>
                  <a:pt x="326" y="353"/>
                </a:lnTo>
                <a:lnTo>
                  <a:pt x="320" y="353"/>
                </a:lnTo>
                <a:lnTo>
                  <a:pt x="330" y="348"/>
                </a:lnTo>
                <a:lnTo>
                  <a:pt x="339" y="342"/>
                </a:lnTo>
                <a:lnTo>
                  <a:pt x="350" y="338"/>
                </a:lnTo>
                <a:lnTo>
                  <a:pt x="362" y="333"/>
                </a:lnTo>
                <a:lnTo>
                  <a:pt x="372" y="330"/>
                </a:lnTo>
                <a:lnTo>
                  <a:pt x="382" y="328"/>
                </a:lnTo>
                <a:lnTo>
                  <a:pt x="391" y="323"/>
                </a:lnTo>
                <a:lnTo>
                  <a:pt x="401" y="321"/>
                </a:lnTo>
                <a:lnTo>
                  <a:pt x="401" y="324"/>
                </a:lnTo>
                <a:lnTo>
                  <a:pt x="399" y="326"/>
                </a:lnTo>
                <a:lnTo>
                  <a:pt x="396" y="329"/>
                </a:lnTo>
                <a:lnTo>
                  <a:pt x="392" y="330"/>
                </a:lnTo>
                <a:lnTo>
                  <a:pt x="393" y="330"/>
                </a:lnTo>
                <a:lnTo>
                  <a:pt x="392" y="330"/>
                </a:lnTo>
                <a:close/>
                <a:moveTo>
                  <a:pt x="508" y="311"/>
                </a:moveTo>
                <a:lnTo>
                  <a:pt x="504" y="312"/>
                </a:lnTo>
                <a:lnTo>
                  <a:pt x="499" y="312"/>
                </a:lnTo>
                <a:lnTo>
                  <a:pt x="497" y="314"/>
                </a:lnTo>
                <a:lnTo>
                  <a:pt x="496" y="316"/>
                </a:lnTo>
                <a:lnTo>
                  <a:pt x="494" y="319"/>
                </a:lnTo>
                <a:lnTo>
                  <a:pt x="491" y="319"/>
                </a:lnTo>
                <a:lnTo>
                  <a:pt x="489" y="317"/>
                </a:lnTo>
                <a:lnTo>
                  <a:pt x="488" y="314"/>
                </a:lnTo>
                <a:lnTo>
                  <a:pt x="489" y="311"/>
                </a:lnTo>
                <a:lnTo>
                  <a:pt x="491" y="309"/>
                </a:lnTo>
                <a:lnTo>
                  <a:pt x="495" y="308"/>
                </a:lnTo>
                <a:lnTo>
                  <a:pt x="497" y="307"/>
                </a:lnTo>
                <a:lnTo>
                  <a:pt x="500" y="304"/>
                </a:lnTo>
                <a:lnTo>
                  <a:pt x="503" y="303"/>
                </a:lnTo>
                <a:lnTo>
                  <a:pt x="505" y="301"/>
                </a:lnTo>
                <a:lnTo>
                  <a:pt x="507" y="300"/>
                </a:lnTo>
                <a:lnTo>
                  <a:pt x="508" y="300"/>
                </a:lnTo>
                <a:lnTo>
                  <a:pt x="506" y="298"/>
                </a:lnTo>
                <a:lnTo>
                  <a:pt x="504" y="297"/>
                </a:lnTo>
                <a:lnTo>
                  <a:pt x="500" y="297"/>
                </a:lnTo>
                <a:lnTo>
                  <a:pt x="500" y="297"/>
                </a:lnTo>
                <a:lnTo>
                  <a:pt x="499" y="296"/>
                </a:lnTo>
                <a:lnTo>
                  <a:pt x="500" y="295"/>
                </a:lnTo>
                <a:lnTo>
                  <a:pt x="502" y="292"/>
                </a:lnTo>
                <a:lnTo>
                  <a:pt x="503" y="291"/>
                </a:lnTo>
                <a:lnTo>
                  <a:pt x="505" y="289"/>
                </a:lnTo>
                <a:lnTo>
                  <a:pt x="507" y="289"/>
                </a:lnTo>
                <a:lnTo>
                  <a:pt x="510" y="289"/>
                </a:lnTo>
                <a:lnTo>
                  <a:pt x="512" y="289"/>
                </a:lnTo>
                <a:lnTo>
                  <a:pt x="513" y="290"/>
                </a:lnTo>
                <a:lnTo>
                  <a:pt x="515" y="291"/>
                </a:lnTo>
                <a:lnTo>
                  <a:pt x="516" y="292"/>
                </a:lnTo>
                <a:lnTo>
                  <a:pt x="516" y="295"/>
                </a:lnTo>
                <a:lnTo>
                  <a:pt x="516" y="296"/>
                </a:lnTo>
                <a:lnTo>
                  <a:pt x="518" y="297"/>
                </a:lnTo>
                <a:lnTo>
                  <a:pt x="519" y="298"/>
                </a:lnTo>
                <a:lnTo>
                  <a:pt x="521" y="301"/>
                </a:lnTo>
                <a:lnTo>
                  <a:pt x="521" y="305"/>
                </a:lnTo>
                <a:lnTo>
                  <a:pt x="519" y="308"/>
                </a:lnTo>
                <a:lnTo>
                  <a:pt x="515" y="309"/>
                </a:lnTo>
                <a:lnTo>
                  <a:pt x="512" y="309"/>
                </a:lnTo>
                <a:lnTo>
                  <a:pt x="508" y="311"/>
                </a:lnTo>
                <a:lnTo>
                  <a:pt x="510" y="309"/>
                </a:lnTo>
                <a:lnTo>
                  <a:pt x="508" y="311"/>
                </a:lnTo>
                <a:close/>
                <a:moveTo>
                  <a:pt x="669" y="264"/>
                </a:moveTo>
                <a:lnTo>
                  <a:pt x="658" y="269"/>
                </a:lnTo>
                <a:lnTo>
                  <a:pt x="647" y="271"/>
                </a:lnTo>
                <a:lnTo>
                  <a:pt x="637" y="272"/>
                </a:lnTo>
                <a:lnTo>
                  <a:pt x="627" y="274"/>
                </a:lnTo>
                <a:lnTo>
                  <a:pt x="617" y="278"/>
                </a:lnTo>
                <a:lnTo>
                  <a:pt x="606" y="281"/>
                </a:lnTo>
                <a:lnTo>
                  <a:pt x="596" y="280"/>
                </a:lnTo>
                <a:lnTo>
                  <a:pt x="585" y="279"/>
                </a:lnTo>
                <a:lnTo>
                  <a:pt x="586" y="276"/>
                </a:lnTo>
                <a:lnTo>
                  <a:pt x="587" y="273"/>
                </a:lnTo>
                <a:lnTo>
                  <a:pt x="588" y="271"/>
                </a:lnTo>
                <a:lnTo>
                  <a:pt x="592" y="270"/>
                </a:lnTo>
                <a:lnTo>
                  <a:pt x="596" y="272"/>
                </a:lnTo>
                <a:lnTo>
                  <a:pt x="601" y="274"/>
                </a:lnTo>
                <a:lnTo>
                  <a:pt x="607" y="274"/>
                </a:lnTo>
                <a:lnTo>
                  <a:pt x="613" y="272"/>
                </a:lnTo>
                <a:lnTo>
                  <a:pt x="617" y="271"/>
                </a:lnTo>
                <a:lnTo>
                  <a:pt x="620" y="269"/>
                </a:lnTo>
                <a:lnTo>
                  <a:pt x="622" y="266"/>
                </a:lnTo>
                <a:lnTo>
                  <a:pt x="625" y="264"/>
                </a:lnTo>
                <a:lnTo>
                  <a:pt x="628" y="261"/>
                </a:lnTo>
                <a:lnTo>
                  <a:pt x="630" y="261"/>
                </a:lnTo>
                <a:lnTo>
                  <a:pt x="634" y="262"/>
                </a:lnTo>
                <a:lnTo>
                  <a:pt x="637" y="264"/>
                </a:lnTo>
                <a:lnTo>
                  <a:pt x="638" y="261"/>
                </a:lnTo>
                <a:lnTo>
                  <a:pt x="640" y="258"/>
                </a:lnTo>
                <a:lnTo>
                  <a:pt x="643" y="257"/>
                </a:lnTo>
                <a:lnTo>
                  <a:pt x="645" y="256"/>
                </a:lnTo>
                <a:lnTo>
                  <a:pt x="650" y="257"/>
                </a:lnTo>
                <a:lnTo>
                  <a:pt x="656" y="259"/>
                </a:lnTo>
                <a:lnTo>
                  <a:pt x="661" y="261"/>
                </a:lnTo>
                <a:lnTo>
                  <a:pt x="666" y="261"/>
                </a:lnTo>
                <a:lnTo>
                  <a:pt x="669" y="258"/>
                </a:lnTo>
                <a:lnTo>
                  <a:pt x="671" y="258"/>
                </a:lnTo>
                <a:lnTo>
                  <a:pt x="672" y="261"/>
                </a:lnTo>
                <a:lnTo>
                  <a:pt x="671" y="263"/>
                </a:lnTo>
                <a:lnTo>
                  <a:pt x="670" y="264"/>
                </a:lnTo>
                <a:lnTo>
                  <a:pt x="669" y="264"/>
                </a:lnTo>
                <a:lnTo>
                  <a:pt x="666" y="265"/>
                </a:lnTo>
                <a:lnTo>
                  <a:pt x="669" y="264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88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30" name="Freeform 113">
            <a:extLst>
              <a:ext uri="{FF2B5EF4-FFF2-40B4-BE49-F238E27FC236}">
                <a16:creationId xmlns:a16="http://schemas.microsoft.com/office/drawing/2014/main" id="{97010E33-9486-4349-80EE-CC5EF3DBB0E7}"/>
              </a:ext>
            </a:extLst>
          </p:cNvPr>
          <p:cNvSpPr>
            <a:spLocks noGrp="1" noEditPoints="1"/>
          </p:cNvSpPr>
          <p:nvPr>
            <p:ph type="pic" sz="quarter" idx="40"/>
          </p:nvPr>
        </p:nvSpPr>
        <p:spPr bwMode="auto">
          <a:xfrm>
            <a:off x="5448013" y="477014"/>
            <a:ext cx="5875586" cy="5745648"/>
          </a:xfrm>
          <a:custGeom>
            <a:avLst/>
            <a:gdLst>
              <a:gd name="T0" fmla="*/ 27625 w 31750"/>
              <a:gd name="T1" fmla="*/ 9094 h 25656"/>
              <a:gd name="T2" fmla="*/ 22125 w 31750"/>
              <a:gd name="T3" fmla="*/ 9156 h 25656"/>
              <a:gd name="T4" fmla="*/ 17344 w 31750"/>
              <a:gd name="T5" fmla="*/ 25656 h 25656"/>
              <a:gd name="T6" fmla="*/ 17344 w 31750"/>
              <a:gd name="T7" fmla="*/ 25652 h 25656"/>
              <a:gd name="T8" fmla="*/ 17344 w 31750"/>
              <a:gd name="T9" fmla="*/ 25647 h 25656"/>
              <a:gd name="T10" fmla="*/ 17344 w 31750"/>
              <a:gd name="T11" fmla="*/ 25638 h 25656"/>
              <a:gd name="T12" fmla="*/ 17344 w 31750"/>
              <a:gd name="T13" fmla="*/ 25629 h 25656"/>
              <a:gd name="T14" fmla="*/ 17344 w 31750"/>
              <a:gd name="T15" fmla="*/ 25625 h 25656"/>
              <a:gd name="T16" fmla="*/ 21719 w 31750"/>
              <a:gd name="T17" fmla="*/ 21812 h 25656"/>
              <a:gd name="T18" fmla="*/ 15907 w 31750"/>
              <a:gd name="T19" fmla="*/ 12781 h 25656"/>
              <a:gd name="T20" fmla="*/ 21125 w 31750"/>
              <a:gd name="T21" fmla="*/ 13062 h 25656"/>
              <a:gd name="T22" fmla="*/ 24063 w 31750"/>
              <a:gd name="T23" fmla="*/ 14844 h 25656"/>
              <a:gd name="T24" fmla="*/ 27688 w 31750"/>
              <a:gd name="T25" fmla="*/ 18156 h 25656"/>
              <a:gd name="T26" fmla="*/ 31188 w 31750"/>
              <a:gd name="T27" fmla="*/ 3875 h 25656"/>
              <a:gd name="T28" fmla="*/ 28157 w 31750"/>
              <a:gd name="T29" fmla="*/ 3062 h 25656"/>
              <a:gd name="T30" fmla="*/ 12250 w 31750"/>
              <a:gd name="T31" fmla="*/ 8656 h 25656"/>
              <a:gd name="T32" fmla="*/ 3375 w 31750"/>
              <a:gd name="T33" fmla="*/ 18594 h 25656"/>
              <a:gd name="T34" fmla="*/ 6782 w 31750"/>
              <a:gd name="T35" fmla="*/ 18281 h 25656"/>
              <a:gd name="T36" fmla="*/ 8375 w 31750"/>
              <a:gd name="T37" fmla="*/ 20750 h 25656"/>
              <a:gd name="T38" fmla="*/ 12563 w 31750"/>
              <a:gd name="T39" fmla="*/ 19281 h 25656"/>
              <a:gd name="T40" fmla="*/ 14469 w 31750"/>
              <a:gd name="T41" fmla="*/ 21187 h 25656"/>
              <a:gd name="T42" fmla="*/ 17344 w 31750"/>
              <a:gd name="T43" fmla="*/ 23187 h 25656"/>
              <a:gd name="T44" fmla="*/ 16094 w 31750"/>
              <a:gd name="T45" fmla="*/ 20469 h 25656"/>
              <a:gd name="T46" fmla="*/ 13000 w 31750"/>
              <a:gd name="T47" fmla="*/ 14937 h 25656"/>
              <a:gd name="T48" fmla="*/ 15813 w 31750"/>
              <a:gd name="T49" fmla="*/ 17344 h 25656"/>
              <a:gd name="T50" fmla="*/ 18097 w 31750"/>
              <a:gd name="T51" fmla="*/ 15000 h 25656"/>
              <a:gd name="T52" fmla="*/ 18118 w 31750"/>
              <a:gd name="T53" fmla="*/ 15000 h 25656"/>
              <a:gd name="T54" fmla="*/ 18125 w 31750"/>
              <a:gd name="T55" fmla="*/ 15000 h 25656"/>
              <a:gd name="T56" fmla="*/ 15782 w 31750"/>
              <a:gd name="T57" fmla="*/ 13812 h 25656"/>
              <a:gd name="T58" fmla="*/ 23063 w 31750"/>
              <a:gd name="T59" fmla="*/ 13812 h 25656"/>
              <a:gd name="T60" fmla="*/ 11000 w 31750"/>
              <a:gd name="T61" fmla="*/ 22781 h 25656"/>
              <a:gd name="T62" fmla="*/ 14407 w 31750"/>
              <a:gd name="T63" fmla="*/ 22250 h 25656"/>
              <a:gd name="T64" fmla="*/ 21094 w 31750"/>
              <a:gd name="T65" fmla="*/ 20062 h 25656"/>
              <a:gd name="T66" fmla="*/ 24688 w 31750"/>
              <a:gd name="T67" fmla="*/ 22812 h 25656"/>
              <a:gd name="T68" fmla="*/ 20844 w 31750"/>
              <a:gd name="T69" fmla="*/ 24687 h 25656"/>
              <a:gd name="T70" fmla="*/ 719 w 31750"/>
              <a:gd name="T71" fmla="*/ 20062 h 25656"/>
              <a:gd name="T72" fmla="*/ 15375 w 31750"/>
              <a:gd name="T73" fmla="*/ 4187 h 25656"/>
              <a:gd name="T74" fmla="*/ 19063 w 31750"/>
              <a:gd name="T75" fmla="*/ 22500 h 25656"/>
              <a:gd name="T76" fmla="*/ 15219 w 31750"/>
              <a:gd name="T77" fmla="*/ 23750 h 25656"/>
              <a:gd name="T78" fmla="*/ 24875 w 31750"/>
              <a:gd name="T79" fmla="*/ 18281 h 25656"/>
              <a:gd name="T80" fmla="*/ 25532 w 31750"/>
              <a:gd name="T81" fmla="*/ 16062 h 25656"/>
              <a:gd name="T82" fmla="*/ 16875 w 31750"/>
              <a:gd name="T83" fmla="*/ 18656 h 25656"/>
              <a:gd name="T84" fmla="*/ 3625 w 31750"/>
              <a:gd name="T85" fmla="*/ 16344 h 25656"/>
              <a:gd name="T86" fmla="*/ 18469 w 31750"/>
              <a:gd name="T87" fmla="*/ 23187 h 25656"/>
              <a:gd name="T88" fmla="*/ 17282 w 31750"/>
              <a:gd name="T89" fmla="*/ 16437 h 25656"/>
              <a:gd name="T90" fmla="*/ 6344 w 31750"/>
              <a:gd name="T91" fmla="*/ 16062 h 25656"/>
              <a:gd name="T92" fmla="*/ 6563 w 31750"/>
              <a:gd name="T93" fmla="*/ 15375 h 25656"/>
              <a:gd name="T94" fmla="*/ 9594 w 31750"/>
              <a:gd name="T95" fmla="*/ 17031 h 25656"/>
              <a:gd name="T96" fmla="*/ 14282 w 31750"/>
              <a:gd name="T97" fmla="*/ 12250 h 25656"/>
              <a:gd name="T98" fmla="*/ 5969 w 31750"/>
              <a:gd name="T99" fmla="*/ 17969 h 25656"/>
              <a:gd name="T100" fmla="*/ 8219 w 31750"/>
              <a:gd name="T101" fmla="*/ 20219 h 25656"/>
              <a:gd name="T102" fmla="*/ 12782 w 31750"/>
              <a:gd name="T103" fmla="*/ 17500 h 25656"/>
              <a:gd name="T104" fmla="*/ 14688 w 31750"/>
              <a:gd name="T105" fmla="*/ 12187 h 25656"/>
              <a:gd name="T106" fmla="*/ 29313 w 31750"/>
              <a:gd name="T107" fmla="*/ 16969 h 25656"/>
              <a:gd name="T108" fmla="*/ 28563 w 31750"/>
              <a:gd name="T109" fmla="*/ 9500 h 25656"/>
              <a:gd name="T110" fmla="*/ 23625 w 31750"/>
              <a:gd name="T111" fmla="*/ 10906 h 25656"/>
              <a:gd name="T112" fmla="*/ 22719 w 31750"/>
              <a:gd name="T113" fmla="*/ 9875 h 25656"/>
              <a:gd name="T114" fmla="*/ 23938 w 31750"/>
              <a:gd name="T115" fmla="*/ 14000 h 25656"/>
              <a:gd name="T116" fmla="*/ 20125 w 31750"/>
              <a:gd name="T117" fmla="*/ 4312 h 25656"/>
              <a:gd name="T118" fmla="*/ 17438 w 31750"/>
              <a:gd name="T119" fmla="*/ 2562 h 25656"/>
              <a:gd name="T120" fmla="*/ 25438 w 31750"/>
              <a:gd name="T121" fmla="*/ 14500 h 25656"/>
              <a:gd name="T122" fmla="*/ 22407 w 31750"/>
              <a:gd name="T123" fmla="*/ 22156 h 25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750" h="25656">
                <a:moveTo>
                  <a:pt x="14469" y="12125"/>
                </a:moveTo>
                <a:cubicBezTo>
                  <a:pt x="14469" y="12125"/>
                  <a:pt x="14469" y="12125"/>
                  <a:pt x="14469" y="12125"/>
                </a:cubicBezTo>
                <a:cubicBezTo>
                  <a:pt x="14500" y="12187"/>
                  <a:pt x="14438" y="12187"/>
                  <a:pt x="14407" y="12219"/>
                </a:cubicBezTo>
                <a:cubicBezTo>
                  <a:pt x="14407" y="12156"/>
                  <a:pt x="14407" y="12125"/>
                  <a:pt x="14469" y="12125"/>
                </a:cubicBezTo>
                <a:cubicBezTo>
                  <a:pt x="14500" y="12156"/>
                  <a:pt x="14532" y="12125"/>
                  <a:pt x="14563" y="12125"/>
                </a:cubicBezTo>
                <a:lnTo>
                  <a:pt x="14563" y="12125"/>
                </a:lnTo>
                <a:cubicBezTo>
                  <a:pt x="14563" y="12031"/>
                  <a:pt x="14500" y="12062"/>
                  <a:pt x="14469" y="12062"/>
                </a:cubicBezTo>
                <a:cubicBezTo>
                  <a:pt x="14469" y="12062"/>
                  <a:pt x="14469" y="12094"/>
                  <a:pt x="14469" y="12125"/>
                </a:cubicBezTo>
                <a:cubicBezTo>
                  <a:pt x="14469" y="12125"/>
                  <a:pt x="14469" y="12125"/>
                  <a:pt x="14469" y="12125"/>
                </a:cubicBezTo>
                <a:close/>
                <a:moveTo>
                  <a:pt x="10469" y="19656"/>
                </a:moveTo>
                <a:cubicBezTo>
                  <a:pt x="10438" y="19656"/>
                  <a:pt x="10469" y="19687"/>
                  <a:pt x="10469" y="19687"/>
                </a:cubicBezTo>
                <a:cubicBezTo>
                  <a:pt x="10500" y="19687"/>
                  <a:pt x="10500" y="19687"/>
                  <a:pt x="10532" y="19687"/>
                </a:cubicBezTo>
                <a:cubicBezTo>
                  <a:pt x="10532" y="19656"/>
                  <a:pt x="10500" y="19656"/>
                  <a:pt x="10500" y="19625"/>
                </a:cubicBezTo>
                <a:cubicBezTo>
                  <a:pt x="10500" y="19625"/>
                  <a:pt x="10469" y="19625"/>
                  <a:pt x="10469" y="19656"/>
                </a:cubicBezTo>
                <a:close/>
                <a:moveTo>
                  <a:pt x="9125" y="18937"/>
                </a:moveTo>
                <a:cubicBezTo>
                  <a:pt x="9157" y="18969"/>
                  <a:pt x="9157" y="18969"/>
                  <a:pt x="9188" y="18969"/>
                </a:cubicBezTo>
                <a:cubicBezTo>
                  <a:pt x="9188" y="18937"/>
                  <a:pt x="9188" y="18906"/>
                  <a:pt x="9125" y="18937"/>
                </a:cubicBezTo>
                <a:close/>
                <a:moveTo>
                  <a:pt x="9188" y="18969"/>
                </a:moveTo>
                <a:cubicBezTo>
                  <a:pt x="9188" y="19000"/>
                  <a:pt x="9188" y="19031"/>
                  <a:pt x="9188" y="19062"/>
                </a:cubicBezTo>
                <a:cubicBezTo>
                  <a:pt x="9000" y="19000"/>
                  <a:pt x="9063" y="18812"/>
                  <a:pt x="9032" y="18719"/>
                </a:cubicBezTo>
                <a:cubicBezTo>
                  <a:pt x="9188" y="18531"/>
                  <a:pt x="9407" y="18500"/>
                  <a:pt x="9594" y="18375"/>
                </a:cubicBezTo>
                <a:cubicBezTo>
                  <a:pt x="9594" y="18281"/>
                  <a:pt x="9594" y="18219"/>
                  <a:pt x="9625" y="18156"/>
                </a:cubicBezTo>
                <a:cubicBezTo>
                  <a:pt x="9657" y="18125"/>
                  <a:pt x="9688" y="18125"/>
                  <a:pt x="9719" y="18094"/>
                </a:cubicBezTo>
                <a:cubicBezTo>
                  <a:pt x="9875" y="18312"/>
                  <a:pt x="9782" y="18500"/>
                  <a:pt x="9563" y="18594"/>
                </a:cubicBezTo>
                <a:cubicBezTo>
                  <a:pt x="9313" y="18656"/>
                  <a:pt x="9469" y="18750"/>
                  <a:pt x="9563" y="18844"/>
                </a:cubicBezTo>
                <a:cubicBezTo>
                  <a:pt x="9563" y="18844"/>
                  <a:pt x="9563" y="18844"/>
                  <a:pt x="9563" y="18844"/>
                </a:cubicBezTo>
                <a:cubicBezTo>
                  <a:pt x="9532" y="18875"/>
                  <a:pt x="9407" y="18875"/>
                  <a:pt x="9500" y="18969"/>
                </a:cubicBezTo>
                <a:cubicBezTo>
                  <a:pt x="9563" y="19125"/>
                  <a:pt x="9688" y="19031"/>
                  <a:pt x="9719" y="18969"/>
                </a:cubicBezTo>
                <a:cubicBezTo>
                  <a:pt x="9813" y="18812"/>
                  <a:pt x="10063" y="18844"/>
                  <a:pt x="10094" y="18625"/>
                </a:cubicBezTo>
                <a:cubicBezTo>
                  <a:pt x="10094" y="18625"/>
                  <a:pt x="10188" y="18531"/>
                  <a:pt x="10250" y="18594"/>
                </a:cubicBezTo>
                <a:cubicBezTo>
                  <a:pt x="10282" y="18656"/>
                  <a:pt x="10250" y="18687"/>
                  <a:pt x="10219" y="18750"/>
                </a:cubicBezTo>
                <a:cubicBezTo>
                  <a:pt x="10157" y="18937"/>
                  <a:pt x="9969" y="18969"/>
                  <a:pt x="9844" y="19062"/>
                </a:cubicBezTo>
                <a:lnTo>
                  <a:pt x="9844" y="19062"/>
                </a:lnTo>
                <a:cubicBezTo>
                  <a:pt x="9719" y="19156"/>
                  <a:pt x="9594" y="19156"/>
                  <a:pt x="9532" y="19344"/>
                </a:cubicBezTo>
                <a:cubicBezTo>
                  <a:pt x="9469" y="19500"/>
                  <a:pt x="9313" y="19281"/>
                  <a:pt x="9157" y="19281"/>
                </a:cubicBezTo>
                <a:cubicBezTo>
                  <a:pt x="9094" y="19281"/>
                  <a:pt x="9125" y="19187"/>
                  <a:pt x="9188" y="19156"/>
                </a:cubicBezTo>
                <a:cubicBezTo>
                  <a:pt x="9282" y="19156"/>
                  <a:pt x="9344" y="19062"/>
                  <a:pt x="9313" y="19000"/>
                </a:cubicBezTo>
                <a:cubicBezTo>
                  <a:pt x="9313" y="18937"/>
                  <a:pt x="9219" y="19000"/>
                  <a:pt x="9188" y="18969"/>
                </a:cubicBezTo>
                <a:close/>
                <a:moveTo>
                  <a:pt x="27282" y="9125"/>
                </a:moveTo>
                <a:cubicBezTo>
                  <a:pt x="27282" y="9062"/>
                  <a:pt x="27219" y="9094"/>
                  <a:pt x="27157" y="9094"/>
                </a:cubicBezTo>
                <a:cubicBezTo>
                  <a:pt x="27157" y="9125"/>
                  <a:pt x="27125" y="9187"/>
                  <a:pt x="27094" y="9219"/>
                </a:cubicBezTo>
                <a:cubicBezTo>
                  <a:pt x="27063" y="9219"/>
                  <a:pt x="27000" y="9250"/>
                  <a:pt x="27000" y="9156"/>
                </a:cubicBezTo>
                <a:cubicBezTo>
                  <a:pt x="27032" y="9125"/>
                  <a:pt x="27094" y="9094"/>
                  <a:pt x="27125" y="9062"/>
                </a:cubicBezTo>
                <a:cubicBezTo>
                  <a:pt x="27157" y="9000"/>
                  <a:pt x="27188" y="8969"/>
                  <a:pt x="27250" y="8906"/>
                </a:cubicBezTo>
                <a:cubicBezTo>
                  <a:pt x="27250" y="8906"/>
                  <a:pt x="27250" y="8906"/>
                  <a:pt x="27250" y="8906"/>
                </a:cubicBezTo>
                <a:cubicBezTo>
                  <a:pt x="27282" y="8906"/>
                  <a:pt x="27344" y="8906"/>
                  <a:pt x="27375" y="8844"/>
                </a:cubicBezTo>
                <a:cubicBezTo>
                  <a:pt x="27375" y="8781"/>
                  <a:pt x="27375" y="8719"/>
                  <a:pt x="27375" y="8687"/>
                </a:cubicBezTo>
                <a:cubicBezTo>
                  <a:pt x="27375" y="8656"/>
                  <a:pt x="27344" y="8656"/>
                  <a:pt x="27344" y="8625"/>
                </a:cubicBezTo>
                <a:cubicBezTo>
                  <a:pt x="27344" y="8625"/>
                  <a:pt x="27344" y="8625"/>
                  <a:pt x="27344" y="8625"/>
                </a:cubicBezTo>
                <a:cubicBezTo>
                  <a:pt x="27344" y="8656"/>
                  <a:pt x="27375" y="8656"/>
                  <a:pt x="27375" y="8687"/>
                </a:cubicBezTo>
                <a:cubicBezTo>
                  <a:pt x="27532" y="8625"/>
                  <a:pt x="27657" y="8500"/>
                  <a:pt x="27782" y="8437"/>
                </a:cubicBezTo>
                <a:cubicBezTo>
                  <a:pt x="27657" y="8500"/>
                  <a:pt x="27532" y="8625"/>
                  <a:pt x="27375" y="8687"/>
                </a:cubicBezTo>
                <a:cubicBezTo>
                  <a:pt x="27375" y="8719"/>
                  <a:pt x="27375" y="8781"/>
                  <a:pt x="27375" y="8844"/>
                </a:cubicBezTo>
                <a:cubicBezTo>
                  <a:pt x="27563" y="8844"/>
                  <a:pt x="27688" y="8844"/>
                  <a:pt x="27625" y="9094"/>
                </a:cubicBezTo>
                <a:cubicBezTo>
                  <a:pt x="27594" y="9219"/>
                  <a:pt x="27657" y="9281"/>
                  <a:pt x="27750" y="9219"/>
                </a:cubicBezTo>
                <a:cubicBezTo>
                  <a:pt x="28000" y="9094"/>
                  <a:pt x="28188" y="9250"/>
                  <a:pt x="28407" y="9281"/>
                </a:cubicBezTo>
                <a:cubicBezTo>
                  <a:pt x="28407" y="9281"/>
                  <a:pt x="28375" y="9281"/>
                  <a:pt x="28375" y="9281"/>
                </a:cubicBezTo>
                <a:cubicBezTo>
                  <a:pt x="28375" y="9281"/>
                  <a:pt x="28375" y="9312"/>
                  <a:pt x="28375" y="9312"/>
                </a:cubicBezTo>
                <a:cubicBezTo>
                  <a:pt x="28375" y="9312"/>
                  <a:pt x="28375" y="9281"/>
                  <a:pt x="28375" y="9281"/>
                </a:cubicBezTo>
                <a:cubicBezTo>
                  <a:pt x="28188" y="9250"/>
                  <a:pt x="28032" y="9312"/>
                  <a:pt x="27907" y="9375"/>
                </a:cubicBezTo>
                <a:cubicBezTo>
                  <a:pt x="27750" y="9469"/>
                  <a:pt x="27657" y="9656"/>
                  <a:pt x="27407" y="9562"/>
                </a:cubicBezTo>
                <a:cubicBezTo>
                  <a:pt x="27344" y="9562"/>
                  <a:pt x="27125" y="9750"/>
                  <a:pt x="27188" y="9969"/>
                </a:cubicBezTo>
                <a:cubicBezTo>
                  <a:pt x="27188" y="10031"/>
                  <a:pt x="27188" y="10062"/>
                  <a:pt x="27157" y="10094"/>
                </a:cubicBezTo>
                <a:cubicBezTo>
                  <a:pt x="27125" y="10094"/>
                  <a:pt x="27125" y="10125"/>
                  <a:pt x="27094" y="10156"/>
                </a:cubicBezTo>
                <a:cubicBezTo>
                  <a:pt x="26782" y="10125"/>
                  <a:pt x="26938" y="9875"/>
                  <a:pt x="26969" y="9750"/>
                </a:cubicBezTo>
                <a:lnTo>
                  <a:pt x="26969" y="9750"/>
                </a:lnTo>
                <a:cubicBezTo>
                  <a:pt x="27032" y="9562"/>
                  <a:pt x="27125" y="9406"/>
                  <a:pt x="27094" y="9219"/>
                </a:cubicBezTo>
                <a:cubicBezTo>
                  <a:pt x="27188" y="9250"/>
                  <a:pt x="27250" y="9219"/>
                  <a:pt x="27282" y="9125"/>
                </a:cubicBezTo>
                <a:close/>
                <a:moveTo>
                  <a:pt x="22282" y="8969"/>
                </a:moveTo>
                <a:cubicBezTo>
                  <a:pt x="22125" y="8969"/>
                  <a:pt x="22094" y="8781"/>
                  <a:pt x="21938" y="8781"/>
                </a:cubicBezTo>
                <a:cubicBezTo>
                  <a:pt x="21969" y="8969"/>
                  <a:pt x="22063" y="9062"/>
                  <a:pt x="22282" y="8969"/>
                </a:cubicBezTo>
                <a:close/>
                <a:moveTo>
                  <a:pt x="21938" y="8781"/>
                </a:moveTo>
                <a:cubicBezTo>
                  <a:pt x="22000" y="8719"/>
                  <a:pt x="22032" y="8687"/>
                  <a:pt x="22063" y="8625"/>
                </a:cubicBezTo>
                <a:cubicBezTo>
                  <a:pt x="22063" y="8594"/>
                  <a:pt x="22032" y="8562"/>
                  <a:pt x="22032" y="8531"/>
                </a:cubicBezTo>
                <a:cubicBezTo>
                  <a:pt x="22032" y="8562"/>
                  <a:pt x="22063" y="8594"/>
                  <a:pt x="22063" y="8625"/>
                </a:cubicBezTo>
                <a:cubicBezTo>
                  <a:pt x="22125" y="8625"/>
                  <a:pt x="22157" y="8656"/>
                  <a:pt x="22188" y="8656"/>
                </a:cubicBezTo>
                <a:cubicBezTo>
                  <a:pt x="22344" y="8750"/>
                  <a:pt x="22563" y="8687"/>
                  <a:pt x="22657" y="8875"/>
                </a:cubicBezTo>
                <a:cubicBezTo>
                  <a:pt x="22657" y="8875"/>
                  <a:pt x="22657" y="8875"/>
                  <a:pt x="22657" y="8875"/>
                </a:cubicBezTo>
                <a:cubicBezTo>
                  <a:pt x="22688" y="8906"/>
                  <a:pt x="22719" y="8937"/>
                  <a:pt x="22750" y="8969"/>
                </a:cubicBezTo>
                <a:cubicBezTo>
                  <a:pt x="22750" y="8969"/>
                  <a:pt x="22750" y="8969"/>
                  <a:pt x="22750" y="8969"/>
                </a:cubicBezTo>
                <a:cubicBezTo>
                  <a:pt x="22782" y="9000"/>
                  <a:pt x="22782" y="9000"/>
                  <a:pt x="22813" y="9000"/>
                </a:cubicBezTo>
                <a:cubicBezTo>
                  <a:pt x="22782" y="8969"/>
                  <a:pt x="22782" y="8969"/>
                  <a:pt x="22782" y="8937"/>
                </a:cubicBezTo>
                <a:cubicBezTo>
                  <a:pt x="22750" y="8906"/>
                  <a:pt x="22750" y="8875"/>
                  <a:pt x="22719" y="8812"/>
                </a:cubicBezTo>
                <a:cubicBezTo>
                  <a:pt x="22719" y="8750"/>
                  <a:pt x="22782" y="8781"/>
                  <a:pt x="22813" y="8750"/>
                </a:cubicBezTo>
                <a:cubicBezTo>
                  <a:pt x="22907" y="8750"/>
                  <a:pt x="23032" y="8875"/>
                  <a:pt x="23063" y="8750"/>
                </a:cubicBezTo>
                <a:cubicBezTo>
                  <a:pt x="23094" y="8656"/>
                  <a:pt x="23125" y="8531"/>
                  <a:pt x="22969" y="8469"/>
                </a:cubicBezTo>
                <a:cubicBezTo>
                  <a:pt x="23000" y="8406"/>
                  <a:pt x="23000" y="8375"/>
                  <a:pt x="23000" y="8344"/>
                </a:cubicBezTo>
                <a:cubicBezTo>
                  <a:pt x="22938" y="8281"/>
                  <a:pt x="22938" y="8219"/>
                  <a:pt x="22938" y="8187"/>
                </a:cubicBezTo>
                <a:cubicBezTo>
                  <a:pt x="22938" y="8219"/>
                  <a:pt x="22938" y="8281"/>
                  <a:pt x="23000" y="8344"/>
                </a:cubicBezTo>
                <a:cubicBezTo>
                  <a:pt x="23094" y="8344"/>
                  <a:pt x="23157" y="8375"/>
                  <a:pt x="23219" y="8469"/>
                </a:cubicBezTo>
                <a:cubicBezTo>
                  <a:pt x="23282" y="8594"/>
                  <a:pt x="23344" y="8500"/>
                  <a:pt x="23375" y="8437"/>
                </a:cubicBezTo>
                <a:cubicBezTo>
                  <a:pt x="23375" y="8594"/>
                  <a:pt x="23594" y="8562"/>
                  <a:pt x="23625" y="8719"/>
                </a:cubicBezTo>
                <a:cubicBezTo>
                  <a:pt x="23625" y="8719"/>
                  <a:pt x="23625" y="8719"/>
                  <a:pt x="23625" y="8719"/>
                </a:cubicBezTo>
                <a:cubicBezTo>
                  <a:pt x="23625" y="8750"/>
                  <a:pt x="23625" y="8812"/>
                  <a:pt x="23688" y="8812"/>
                </a:cubicBezTo>
                <a:cubicBezTo>
                  <a:pt x="23688" y="8812"/>
                  <a:pt x="23719" y="8781"/>
                  <a:pt x="23719" y="8781"/>
                </a:cubicBezTo>
                <a:cubicBezTo>
                  <a:pt x="23750" y="8750"/>
                  <a:pt x="23750" y="8719"/>
                  <a:pt x="23750" y="8687"/>
                </a:cubicBezTo>
                <a:cubicBezTo>
                  <a:pt x="23750" y="8687"/>
                  <a:pt x="23750" y="8687"/>
                  <a:pt x="23750" y="8687"/>
                </a:cubicBezTo>
                <a:cubicBezTo>
                  <a:pt x="23875" y="8656"/>
                  <a:pt x="24063" y="8781"/>
                  <a:pt x="24063" y="8500"/>
                </a:cubicBezTo>
                <a:cubicBezTo>
                  <a:pt x="24250" y="9000"/>
                  <a:pt x="23969" y="9656"/>
                  <a:pt x="23500" y="9812"/>
                </a:cubicBezTo>
                <a:cubicBezTo>
                  <a:pt x="23313" y="9594"/>
                  <a:pt x="23063" y="9500"/>
                  <a:pt x="22844" y="9375"/>
                </a:cubicBezTo>
                <a:lnTo>
                  <a:pt x="22844" y="9375"/>
                </a:lnTo>
                <a:cubicBezTo>
                  <a:pt x="22782" y="9437"/>
                  <a:pt x="22719" y="9469"/>
                  <a:pt x="22688" y="9469"/>
                </a:cubicBezTo>
                <a:cubicBezTo>
                  <a:pt x="22688" y="9469"/>
                  <a:pt x="22657" y="9469"/>
                  <a:pt x="22657" y="9437"/>
                </a:cubicBezTo>
                <a:cubicBezTo>
                  <a:pt x="22657" y="9469"/>
                  <a:pt x="22688" y="9469"/>
                  <a:pt x="22688" y="9469"/>
                </a:cubicBezTo>
                <a:cubicBezTo>
                  <a:pt x="22719" y="9469"/>
                  <a:pt x="22782" y="9437"/>
                  <a:pt x="22844" y="9375"/>
                </a:cubicBezTo>
                <a:cubicBezTo>
                  <a:pt x="22750" y="9250"/>
                  <a:pt x="22625" y="9281"/>
                  <a:pt x="22500" y="9281"/>
                </a:cubicBezTo>
                <a:cubicBezTo>
                  <a:pt x="22500" y="9281"/>
                  <a:pt x="22469" y="9281"/>
                  <a:pt x="22469" y="9250"/>
                </a:cubicBezTo>
                <a:cubicBezTo>
                  <a:pt x="22375" y="9125"/>
                  <a:pt x="22219" y="9125"/>
                  <a:pt x="22125" y="9156"/>
                </a:cubicBezTo>
                <a:cubicBezTo>
                  <a:pt x="21907" y="9250"/>
                  <a:pt x="21844" y="9031"/>
                  <a:pt x="21719" y="9000"/>
                </a:cubicBezTo>
                <a:cubicBezTo>
                  <a:pt x="21657" y="9000"/>
                  <a:pt x="21688" y="8937"/>
                  <a:pt x="21688" y="8906"/>
                </a:cubicBezTo>
                <a:cubicBezTo>
                  <a:pt x="21750" y="8781"/>
                  <a:pt x="21844" y="8781"/>
                  <a:pt x="21938" y="8781"/>
                </a:cubicBezTo>
                <a:close/>
                <a:moveTo>
                  <a:pt x="18438" y="1375"/>
                </a:moveTo>
                <a:cubicBezTo>
                  <a:pt x="18438" y="1469"/>
                  <a:pt x="18407" y="1562"/>
                  <a:pt x="18500" y="1656"/>
                </a:cubicBezTo>
                <a:cubicBezTo>
                  <a:pt x="18563" y="1531"/>
                  <a:pt x="18500" y="1469"/>
                  <a:pt x="18438" y="1375"/>
                </a:cubicBezTo>
                <a:close/>
                <a:moveTo>
                  <a:pt x="9500" y="16344"/>
                </a:moveTo>
                <a:cubicBezTo>
                  <a:pt x="9500" y="16312"/>
                  <a:pt x="9500" y="16312"/>
                  <a:pt x="9500" y="16312"/>
                </a:cubicBezTo>
                <a:cubicBezTo>
                  <a:pt x="9500" y="16312"/>
                  <a:pt x="9500" y="16312"/>
                  <a:pt x="9469" y="16312"/>
                </a:cubicBezTo>
                <a:cubicBezTo>
                  <a:pt x="9469" y="16281"/>
                  <a:pt x="9500" y="16250"/>
                  <a:pt x="9563" y="16250"/>
                </a:cubicBezTo>
                <a:cubicBezTo>
                  <a:pt x="9532" y="16281"/>
                  <a:pt x="9500" y="16312"/>
                  <a:pt x="9500" y="16344"/>
                </a:cubicBezTo>
                <a:close/>
                <a:moveTo>
                  <a:pt x="9469" y="16312"/>
                </a:moveTo>
                <a:cubicBezTo>
                  <a:pt x="9469" y="16312"/>
                  <a:pt x="9469" y="16344"/>
                  <a:pt x="9469" y="16344"/>
                </a:cubicBezTo>
                <a:cubicBezTo>
                  <a:pt x="9500" y="16344"/>
                  <a:pt x="9500" y="16344"/>
                  <a:pt x="9500" y="16344"/>
                </a:cubicBezTo>
                <a:cubicBezTo>
                  <a:pt x="9438" y="16562"/>
                  <a:pt x="9219" y="16594"/>
                  <a:pt x="9032" y="16687"/>
                </a:cubicBezTo>
                <a:lnTo>
                  <a:pt x="9032" y="16687"/>
                </a:lnTo>
                <a:cubicBezTo>
                  <a:pt x="9000" y="16625"/>
                  <a:pt x="8969" y="16562"/>
                  <a:pt x="8938" y="16531"/>
                </a:cubicBezTo>
                <a:cubicBezTo>
                  <a:pt x="8969" y="16500"/>
                  <a:pt x="9000" y="16469"/>
                  <a:pt x="9063" y="16437"/>
                </a:cubicBezTo>
                <a:cubicBezTo>
                  <a:pt x="9250" y="16531"/>
                  <a:pt x="9313" y="16281"/>
                  <a:pt x="9469" y="16312"/>
                </a:cubicBezTo>
                <a:close/>
                <a:moveTo>
                  <a:pt x="17375" y="25656"/>
                </a:moveTo>
                <a:cubicBezTo>
                  <a:pt x="17375" y="25656"/>
                  <a:pt x="17375" y="25656"/>
                  <a:pt x="17375" y="25656"/>
                </a:cubicBezTo>
                <a:cubicBezTo>
                  <a:pt x="17375" y="25656"/>
                  <a:pt x="17375" y="25656"/>
                  <a:pt x="17344" y="25656"/>
                </a:cubicBezTo>
                <a:cubicBezTo>
                  <a:pt x="17344" y="25656"/>
                  <a:pt x="17375" y="25656"/>
                  <a:pt x="17375" y="25656"/>
                </a:cubicBez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5"/>
                </a:lnTo>
                <a:lnTo>
                  <a:pt x="17344" y="25656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4"/>
                </a:lnTo>
                <a:lnTo>
                  <a:pt x="17344" y="25655"/>
                </a:lnTo>
                <a:close/>
                <a:moveTo>
                  <a:pt x="17344" y="25654"/>
                </a:moveTo>
                <a:lnTo>
                  <a:pt x="17344" y="25654"/>
                </a:lnTo>
                <a:lnTo>
                  <a:pt x="17344" y="25654"/>
                </a:lnTo>
                <a:lnTo>
                  <a:pt x="17344" y="25654"/>
                </a:lnTo>
                <a:close/>
                <a:moveTo>
                  <a:pt x="17344" y="25654"/>
                </a:moveTo>
                <a:lnTo>
                  <a:pt x="17344" y="25654"/>
                </a:lnTo>
                <a:close/>
                <a:moveTo>
                  <a:pt x="17344" y="25654"/>
                </a:moveTo>
                <a:lnTo>
                  <a:pt x="17344" y="25654"/>
                </a:lnTo>
                <a:lnTo>
                  <a:pt x="17344" y="25654"/>
                </a:lnTo>
                <a:lnTo>
                  <a:pt x="17344" y="25654"/>
                </a:lnTo>
                <a:close/>
                <a:moveTo>
                  <a:pt x="17344" y="25654"/>
                </a:moveTo>
                <a:lnTo>
                  <a:pt x="17344" y="25653"/>
                </a:lnTo>
                <a:lnTo>
                  <a:pt x="17344" y="25653"/>
                </a:lnTo>
                <a:lnTo>
                  <a:pt x="17344" y="25653"/>
                </a:lnTo>
                <a:lnTo>
                  <a:pt x="17344" y="25653"/>
                </a:lnTo>
                <a:lnTo>
                  <a:pt x="17344" y="25654"/>
                </a:lnTo>
                <a:close/>
                <a:moveTo>
                  <a:pt x="17344" y="25653"/>
                </a:moveTo>
                <a:lnTo>
                  <a:pt x="17344" y="25653"/>
                </a:lnTo>
                <a:close/>
                <a:moveTo>
                  <a:pt x="17344" y="25653"/>
                </a:moveTo>
                <a:lnTo>
                  <a:pt x="17344" y="25653"/>
                </a:lnTo>
                <a:lnTo>
                  <a:pt x="17344" y="25653"/>
                </a:lnTo>
                <a:lnTo>
                  <a:pt x="17344" y="25653"/>
                </a:lnTo>
                <a:close/>
                <a:moveTo>
                  <a:pt x="17344" y="25653"/>
                </a:moveTo>
                <a:lnTo>
                  <a:pt x="17344" y="25652"/>
                </a:lnTo>
                <a:lnTo>
                  <a:pt x="17344" y="25652"/>
                </a:lnTo>
                <a:lnTo>
                  <a:pt x="17344" y="25652"/>
                </a:lnTo>
                <a:lnTo>
                  <a:pt x="17344" y="25653"/>
                </a:lnTo>
                <a:close/>
                <a:moveTo>
                  <a:pt x="17344" y="25652"/>
                </a:moveTo>
                <a:lnTo>
                  <a:pt x="17344" y="25652"/>
                </a:lnTo>
                <a:lnTo>
                  <a:pt x="17344" y="25652"/>
                </a:lnTo>
                <a:close/>
                <a:moveTo>
                  <a:pt x="17344" y="25652"/>
                </a:moveTo>
                <a:lnTo>
                  <a:pt x="17344" y="25652"/>
                </a:lnTo>
                <a:lnTo>
                  <a:pt x="17344" y="25651"/>
                </a:lnTo>
                <a:lnTo>
                  <a:pt x="17344" y="25652"/>
                </a:lnTo>
                <a:close/>
                <a:moveTo>
                  <a:pt x="17344" y="25651"/>
                </a:moveTo>
                <a:lnTo>
                  <a:pt x="17344" y="25651"/>
                </a:lnTo>
                <a:lnTo>
                  <a:pt x="17344" y="25651"/>
                </a:lnTo>
                <a:lnTo>
                  <a:pt x="17344" y="25651"/>
                </a:lnTo>
                <a:close/>
                <a:moveTo>
                  <a:pt x="17344" y="25651"/>
                </a:moveTo>
                <a:lnTo>
                  <a:pt x="17344" y="25651"/>
                </a:lnTo>
                <a:lnTo>
                  <a:pt x="17344" y="25651"/>
                </a:lnTo>
                <a:lnTo>
                  <a:pt x="17344" y="25651"/>
                </a:lnTo>
                <a:lnTo>
                  <a:pt x="17344" y="25651"/>
                </a:lnTo>
                <a:close/>
                <a:moveTo>
                  <a:pt x="17344" y="25651"/>
                </a:moveTo>
                <a:lnTo>
                  <a:pt x="17344" y="25650"/>
                </a:lnTo>
                <a:lnTo>
                  <a:pt x="17344" y="25650"/>
                </a:lnTo>
                <a:lnTo>
                  <a:pt x="17344" y="25650"/>
                </a:lnTo>
                <a:lnTo>
                  <a:pt x="17344" y="25651"/>
                </a:lnTo>
                <a:close/>
                <a:moveTo>
                  <a:pt x="17344" y="25650"/>
                </a:moveTo>
                <a:lnTo>
                  <a:pt x="17344" y="25650"/>
                </a:lnTo>
                <a:close/>
                <a:moveTo>
                  <a:pt x="17344" y="25650"/>
                </a:moveTo>
                <a:lnTo>
                  <a:pt x="17344" y="25650"/>
                </a:lnTo>
                <a:lnTo>
                  <a:pt x="17344" y="25649"/>
                </a:lnTo>
                <a:lnTo>
                  <a:pt x="17344" y="25649"/>
                </a:lnTo>
                <a:lnTo>
                  <a:pt x="17344" y="25650"/>
                </a:lnTo>
                <a:close/>
                <a:moveTo>
                  <a:pt x="17344" y="25649"/>
                </a:moveTo>
                <a:lnTo>
                  <a:pt x="17344" y="25649"/>
                </a:lnTo>
                <a:lnTo>
                  <a:pt x="17344" y="25649"/>
                </a:lnTo>
                <a:lnTo>
                  <a:pt x="17344" y="25649"/>
                </a:lnTo>
                <a:close/>
                <a:moveTo>
                  <a:pt x="17344" y="25649"/>
                </a:moveTo>
                <a:lnTo>
                  <a:pt x="17344" y="25648"/>
                </a:lnTo>
                <a:lnTo>
                  <a:pt x="17344" y="25648"/>
                </a:lnTo>
                <a:lnTo>
                  <a:pt x="17344" y="25648"/>
                </a:lnTo>
                <a:lnTo>
                  <a:pt x="17344" y="25648"/>
                </a:lnTo>
                <a:lnTo>
                  <a:pt x="17344" y="25649"/>
                </a:lnTo>
                <a:close/>
                <a:moveTo>
                  <a:pt x="17344" y="25648"/>
                </a:moveTo>
                <a:lnTo>
                  <a:pt x="17344" y="25648"/>
                </a:lnTo>
                <a:lnTo>
                  <a:pt x="17344" y="25647"/>
                </a:lnTo>
                <a:lnTo>
                  <a:pt x="17344" y="25648"/>
                </a:lnTo>
                <a:close/>
                <a:moveTo>
                  <a:pt x="17344" y="25647"/>
                </a:moveTo>
                <a:lnTo>
                  <a:pt x="17344" y="25647"/>
                </a:lnTo>
                <a:lnTo>
                  <a:pt x="17344" y="25647"/>
                </a:lnTo>
                <a:lnTo>
                  <a:pt x="17344" y="25647"/>
                </a:lnTo>
                <a:lnTo>
                  <a:pt x="17344" y="25647"/>
                </a:lnTo>
                <a:close/>
                <a:moveTo>
                  <a:pt x="17344" y="25647"/>
                </a:moveTo>
                <a:lnTo>
                  <a:pt x="17344" y="25646"/>
                </a:lnTo>
                <a:lnTo>
                  <a:pt x="17344" y="25646"/>
                </a:lnTo>
                <a:lnTo>
                  <a:pt x="17344" y="25646"/>
                </a:lnTo>
                <a:lnTo>
                  <a:pt x="17344" y="25647"/>
                </a:lnTo>
                <a:close/>
                <a:moveTo>
                  <a:pt x="17344" y="25646"/>
                </a:moveTo>
                <a:lnTo>
                  <a:pt x="17344" y="25646"/>
                </a:lnTo>
                <a:lnTo>
                  <a:pt x="17344" y="25646"/>
                </a:lnTo>
                <a:lnTo>
                  <a:pt x="17344" y="25645"/>
                </a:lnTo>
                <a:lnTo>
                  <a:pt x="17344" y="25646"/>
                </a:lnTo>
                <a:close/>
                <a:moveTo>
                  <a:pt x="17344" y="25645"/>
                </a:moveTo>
                <a:lnTo>
                  <a:pt x="17344" y="25645"/>
                </a:lnTo>
                <a:lnTo>
                  <a:pt x="17344" y="25645"/>
                </a:lnTo>
                <a:lnTo>
                  <a:pt x="17344" y="25645"/>
                </a:lnTo>
                <a:lnTo>
                  <a:pt x="17344" y="25645"/>
                </a:lnTo>
                <a:close/>
                <a:moveTo>
                  <a:pt x="17344" y="25645"/>
                </a:moveTo>
                <a:lnTo>
                  <a:pt x="17344" y="25644"/>
                </a:lnTo>
                <a:lnTo>
                  <a:pt x="17344" y="25644"/>
                </a:lnTo>
                <a:lnTo>
                  <a:pt x="17344" y="25644"/>
                </a:lnTo>
                <a:lnTo>
                  <a:pt x="17344" y="25645"/>
                </a:lnTo>
                <a:close/>
                <a:moveTo>
                  <a:pt x="17344" y="25644"/>
                </a:moveTo>
                <a:lnTo>
                  <a:pt x="17344" y="25644"/>
                </a:lnTo>
                <a:lnTo>
                  <a:pt x="17344" y="25643"/>
                </a:lnTo>
                <a:lnTo>
                  <a:pt x="17344" y="25643"/>
                </a:lnTo>
                <a:lnTo>
                  <a:pt x="17344" y="25643"/>
                </a:lnTo>
                <a:lnTo>
                  <a:pt x="17344" y="25644"/>
                </a:lnTo>
                <a:close/>
                <a:moveTo>
                  <a:pt x="17344" y="25643"/>
                </a:moveTo>
                <a:lnTo>
                  <a:pt x="17344" y="25643"/>
                </a:lnTo>
                <a:lnTo>
                  <a:pt x="17344" y="25643"/>
                </a:lnTo>
                <a:lnTo>
                  <a:pt x="17344" y="25642"/>
                </a:lnTo>
                <a:lnTo>
                  <a:pt x="17344" y="25643"/>
                </a:lnTo>
                <a:close/>
                <a:moveTo>
                  <a:pt x="17344" y="25642"/>
                </a:moveTo>
                <a:lnTo>
                  <a:pt x="17344" y="25642"/>
                </a:lnTo>
                <a:lnTo>
                  <a:pt x="17344" y="25642"/>
                </a:lnTo>
                <a:lnTo>
                  <a:pt x="17344" y="25641"/>
                </a:lnTo>
                <a:lnTo>
                  <a:pt x="17344" y="25641"/>
                </a:lnTo>
                <a:lnTo>
                  <a:pt x="17344" y="25641"/>
                </a:lnTo>
                <a:lnTo>
                  <a:pt x="17344" y="25642"/>
                </a:lnTo>
                <a:close/>
                <a:moveTo>
                  <a:pt x="17344" y="25641"/>
                </a:moveTo>
                <a:lnTo>
                  <a:pt x="17344" y="25641"/>
                </a:lnTo>
                <a:lnTo>
                  <a:pt x="17344" y="25641"/>
                </a:lnTo>
                <a:lnTo>
                  <a:pt x="17344" y="25640"/>
                </a:lnTo>
                <a:lnTo>
                  <a:pt x="17344" y="25641"/>
                </a:lnTo>
                <a:close/>
                <a:moveTo>
                  <a:pt x="17344" y="25640"/>
                </a:moveTo>
                <a:lnTo>
                  <a:pt x="17344" y="25640"/>
                </a:lnTo>
                <a:lnTo>
                  <a:pt x="17344" y="25640"/>
                </a:lnTo>
                <a:lnTo>
                  <a:pt x="17344" y="25639"/>
                </a:lnTo>
                <a:lnTo>
                  <a:pt x="17344" y="25640"/>
                </a:lnTo>
                <a:close/>
                <a:moveTo>
                  <a:pt x="17344" y="25639"/>
                </a:moveTo>
                <a:lnTo>
                  <a:pt x="17344" y="25639"/>
                </a:lnTo>
                <a:lnTo>
                  <a:pt x="17344" y="25639"/>
                </a:lnTo>
                <a:lnTo>
                  <a:pt x="17344" y="25638"/>
                </a:lnTo>
                <a:lnTo>
                  <a:pt x="17344" y="25639"/>
                </a:lnTo>
                <a:close/>
                <a:moveTo>
                  <a:pt x="17344" y="25638"/>
                </a:moveTo>
                <a:lnTo>
                  <a:pt x="17344" y="25638"/>
                </a:lnTo>
                <a:lnTo>
                  <a:pt x="17344" y="25638"/>
                </a:lnTo>
                <a:lnTo>
                  <a:pt x="17344" y="25638"/>
                </a:lnTo>
                <a:lnTo>
                  <a:pt x="17344" y="25637"/>
                </a:lnTo>
                <a:lnTo>
                  <a:pt x="17344" y="25638"/>
                </a:lnTo>
                <a:lnTo>
                  <a:pt x="17344" y="25638"/>
                </a:lnTo>
                <a:close/>
                <a:moveTo>
                  <a:pt x="17344" y="25637"/>
                </a:moveTo>
                <a:lnTo>
                  <a:pt x="17344" y="25637"/>
                </a:lnTo>
                <a:lnTo>
                  <a:pt x="17344" y="25637"/>
                </a:lnTo>
                <a:lnTo>
                  <a:pt x="17344" y="25637"/>
                </a:lnTo>
                <a:lnTo>
                  <a:pt x="17344" y="25636"/>
                </a:lnTo>
                <a:lnTo>
                  <a:pt x="17344" y="25637"/>
                </a:lnTo>
                <a:close/>
                <a:moveTo>
                  <a:pt x="17344" y="25636"/>
                </a:moveTo>
                <a:lnTo>
                  <a:pt x="17344" y="25636"/>
                </a:lnTo>
                <a:lnTo>
                  <a:pt x="17344" y="25636"/>
                </a:lnTo>
                <a:lnTo>
                  <a:pt x="17344" y="25636"/>
                </a:lnTo>
                <a:lnTo>
                  <a:pt x="17344" y="25635"/>
                </a:lnTo>
                <a:lnTo>
                  <a:pt x="17344" y="25636"/>
                </a:lnTo>
                <a:lnTo>
                  <a:pt x="17344" y="25636"/>
                </a:lnTo>
                <a:close/>
                <a:moveTo>
                  <a:pt x="17344" y="25635"/>
                </a:moveTo>
                <a:lnTo>
                  <a:pt x="17344" y="25635"/>
                </a:lnTo>
                <a:lnTo>
                  <a:pt x="17344" y="25635"/>
                </a:lnTo>
                <a:lnTo>
                  <a:pt x="17344" y="25634"/>
                </a:lnTo>
                <a:lnTo>
                  <a:pt x="17344" y="25634"/>
                </a:lnTo>
                <a:lnTo>
                  <a:pt x="17344" y="25634"/>
                </a:lnTo>
                <a:lnTo>
                  <a:pt x="17344" y="25634"/>
                </a:lnTo>
                <a:lnTo>
                  <a:pt x="17344" y="25635"/>
                </a:lnTo>
                <a:close/>
                <a:moveTo>
                  <a:pt x="17344" y="25634"/>
                </a:moveTo>
                <a:lnTo>
                  <a:pt x="17344" y="25634"/>
                </a:lnTo>
                <a:lnTo>
                  <a:pt x="17344" y="25633"/>
                </a:lnTo>
                <a:lnTo>
                  <a:pt x="17344" y="25633"/>
                </a:lnTo>
                <a:lnTo>
                  <a:pt x="17344" y="25633"/>
                </a:lnTo>
                <a:lnTo>
                  <a:pt x="17344" y="25633"/>
                </a:lnTo>
                <a:lnTo>
                  <a:pt x="17344" y="25634"/>
                </a:lnTo>
                <a:close/>
                <a:moveTo>
                  <a:pt x="17344" y="25633"/>
                </a:moveTo>
                <a:lnTo>
                  <a:pt x="17344" y="25633"/>
                </a:lnTo>
                <a:lnTo>
                  <a:pt x="17344" y="25633"/>
                </a:lnTo>
                <a:lnTo>
                  <a:pt x="17344" y="25632"/>
                </a:lnTo>
                <a:lnTo>
                  <a:pt x="17344" y="25632"/>
                </a:lnTo>
                <a:lnTo>
                  <a:pt x="17344" y="25632"/>
                </a:lnTo>
                <a:lnTo>
                  <a:pt x="17344" y="25632"/>
                </a:lnTo>
                <a:lnTo>
                  <a:pt x="17344" y="25633"/>
                </a:lnTo>
                <a:close/>
                <a:moveTo>
                  <a:pt x="17344" y="25632"/>
                </a:moveTo>
                <a:lnTo>
                  <a:pt x="17344" y="25632"/>
                </a:lnTo>
                <a:lnTo>
                  <a:pt x="17344" y="25631"/>
                </a:lnTo>
                <a:lnTo>
                  <a:pt x="17344" y="25631"/>
                </a:lnTo>
                <a:lnTo>
                  <a:pt x="17344" y="25631"/>
                </a:lnTo>
                <a:lnTo>
                  <a:pt x="17344" y="25630"/>
                </a:lnTo>
                <a:lnTo>
                  <a:pt x="17344" y="25630"/>
                </a:lnTo>
                <a:lnTo>
                  <a:pt x="17344" y="25631"/>
                </a:lnTo>
                <a:lnTo>
                  <a:pt x="17344" y="25632"/>
                </a:lnTo>
                <a:close/>
                <a:moveTo>
                  <a:pt x="17344" y="25630"/>
                </a:moveTo>
                <a:lnTo>
                  <a:pt x="17344" y="25630"/>
                </a:lnTo>
                <a:lnTo>
                  <a:pt x="17344" y="25630"/>
                </a:lnTo>
                <a:lnTo>
                  <a:pt x="17344" y="25630"/>
                </a:lnTo>
                <a:lnTo>
                  <a:pt x="17344" y="25630"/>
                </a:lnTo>
                <a:lnTo>
                  <a:pt x="17344" y="25629"/>
                </a:lnTo>
                <a:lnTo>
                  <a:pt x="17344" y="25629"/>
                </a:lnTo>
                <a:lnTo>
                  <a:pt x="17344" y="25629"/>
                </a:lnTo>
                <a:lnTo>
                  <a:pt x="17344" y="25629"/>
                </a:lnTo>
                <a:lnTo>
                  <a:pt x="17344" y="25630"/>
                </a:lnTo>
                <a:lnTo>
                  <a:pt x="17344" y="25630"/>
                </a:lnTo>
                <a:close/>
                <a:moveTo>
                  <a:pt x="17344" y="25629"/>
                </a:moveTo>
                <a:lnTo>
                  <a:pt x="17344" y="25629"/>
                </a:lnTo>
                <a:lnTo>
                  <a:pt x="17344" y="25629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9"/>
                </a:lnTo>
                <a:close/>
                <a:moveTo>
                  <a:pt x="17344" y="25628"/>
                </a:moveTo>
                <a:lnTo>
                  <a:pt x="17344" y="25628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8"/>
                </a:lnTo>
                <a:close/>
                <a:moveTo>
                  <a:pt x="17344" y="25626"/>
                </a:move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close/>
                <a:moveTo>
                  <a:pt x="17344" y="25625"/>
                </a:move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close/>
                <a:moveTo>
                  <a:pt x="17344" y="25625"/>
                </a:moveTo>
                <a:cubicBezTo>
                  <a:pt x="17344" y="25625"/>
                  <a:pt x="17344" y="25625"/>
                  <a:pt x="17313" y="25625"/>
                </a:cubicBezTo>
                <a:lnTo>
                  <a:pt x="17313" y="25625"/>
                </a:lnTo>
                <a:cubicBezTo>
                  <a:pt x="17344" y="25625"/>
                  <a:pt x="17344" y="25625"/>
                  <a:pt x="17344" y="25625"/>
                </a:cubicBezTo>
                <a:close/>
                <a:moveTo>
                  <a:pt x="17250" y="25500"/>
                </a:moveTo>
                <a:lnTo>
                  <a:pt x="17250" y="25469"/>
                </a:lnTo>
                <a:lnTo>
                  <a:pt x="17250" y="25469"/>
                </a:lnTo>
                <a:lnTo>
                  <a:pt x="17250" y="25500"/>
                </a:lnTo>
                <a:close/>
                <a:moveTo>
                  <a:pt x="16625" y="24937"/>
                </a:moveTo>
                <a:cubicBezTo>
                  <a:pt x="16500" y="24781"/>
                  <a:pt x="16438" y="24594"/>
                  <a:pt x="16219" y="24406"/>
                </a:cubicBezTo>
                <a:cubicBezTo>
                  <a:pt x="16282" y="24687"/>
                  <a:pt x="16407" y="24844"/>
                  <a:pt x="16563" y="24969"/>
                </a:cubicBezTo>
                <a:cubicBezTo>
                  <a:pt x="16563" y="24969"/>
                  <a:pt x="16563" y="24969"/>
                  <a:pt x="16563" y="24969"/>
                </a:cubicBezTo>
                <a:cubicBezTo>
                  <a:pt x="16594" y="24969"/>
                  <a:pt x="16625" y="24969"/>
                  <a:pt x="16657" y="24969"/>
                </a:cubicBezTo>
                <a:cubicBezTo>
                  <a:pt x="16625" y="24969"/>
                  <a:pt x="16625" y="24937"/>
                  <a:pt x="16625" y="24937"/>
                </a:cubicBezTo>
                <a:close/>
                <a:moveTo>
                  <a:pt x="19282" y="24750"/>
                </a:moveTo>
                <a:cubicBezTo>
                  <a:pt x="19125" y="24812"/>
                  <a:pt x="18969" y="24906"/>
                  <a:pt x="18813" y="25094"/>
                </a:cubicBezTo>
                <a:cubicBezTo>
                  <a:pt x="19063" y="25031"/>
                  <a:pt x="19250" y="25000"/>
                  <a:pt x="19313" y="24781"/>
                </a:cubicBezTo>
                <a:cubicBezTo>
                  <a:pt x="19313" y="24781"/>
                  <a:pt x="19313" y="24781"/>
                  <a:pt x="19313" y="24781"/>
                </a:cubicBezTo>
                <a:cubicBezTo>
                  <a:pt x="19313" y="24750"/>
                  <a:pt x="19344" y="24750"/>
                  <a:pt x="19344" y="24719"/>
                </a:cubicBezTo>
                <a:cubicBezTo>
                  <a:pt x="19313" y="24719"/>
                  <a:pt x="19313" y="24750"/>
                  <a:pt x="19282" y="24750"/>
                </a:cubicBezTo>
                <a:close/>
                <a:moveTo>
                  <a:pt x="22000" y="24687"/>
                </a:moveTo>
                <a:cubicBezTo>
                  <a:pt x="21969" y="24656"/>
                  <a:pt x="21969" y="24625"/>
                  <a:pt x="21969" y="24625"/>
                </a:cubicBezTo>
                <a:cubicBezTo>
                  <a:pt x="21907" y="24406"/>
                  <a:pt x="22000" y="24187"/>
                  <a:pt x="22063" y="24000"/>
                </a:cubicBezTo>
                <a:cubicBezTo>
                  <a:pt x="22125" y="23781"/>
                  <a:pt x="22125" y="23531"/>
                  <a:pt x="22438" y="23812"/>
                </a:cubicBezTo>
                <a:cubicBezTo>
                  <a:pt x="22469" y="23844"/>
                  <a:pt x="22500" y="23750"/>
                  <a:pt x="22532" y="23719"/>
                </a:cubicBezTo>
                <a:cubicBezTo>
                  <a:pt x="22532" y="23719"/>
                  <a:pt x="22532" y="23719"/>
                  <a:pt x="22532" y="23719"/>
                </a:cubicBezTo>
                <a:cubicBezTo>
                  <a:pt x="22594" y="23687"/>
                  <a:pt x="22625" y="23656"/>
                  <a:pt x="22657" y="23562"/>
                </a:cubicBezTo>
                <a:cubicBezTo>
                  <a:pt x="22657" y="23562"/>
                  <a:pt x="22657" y="23562"/>
                  <a:pt x="22657" y="23562"/>
                </a:cubicBezTo>
                <a:cubicBezTo>
                  <a:pt x="22657" y="23562"/>
                  <a:pt x="22688" y="23531"/>
                  <a:pt x="22688" y="23531"/>
                </a:cubicBezTo>
                <a:cubicBezTo>
                  <a:pt x="22657" y="23500"/>
                  <a:pt x="22625" y="23531"/>
                  <a:pt x="22625" y="23531"/>
                </a:cubicBezTo>
                <a:lnTo>
                  <a:pt x="22625" y="23531"/>
                </a:lnTo>
                <a:cubicBezTo>
                  <a:pt x="22563" y="23562"/>
                  <a:pt x="22500" y="23594"/>
                  <a:pt x="22500" y="23656"/>
                </a:cubicBezTo>
                <a:cubicBezTo>
                  <a:pt x="22407" y="23531"/>
                  <a:pt x="22094" y="23531"/>
                  <a:pt x="22219" y="23250"/>
                </a:cubicBezTo>
                <a:cubicBezTo>
                  <a:pt x="22188" y="23156"/>
                  <a:pt x="22438" y="22969"/>
                  <a:pt x="22094" y="23000"/>
                </a:cubicBezTo>
                <a:cubicBezTo>
                  <a:pt x="21969" y="22937"/>
                  <a:pt x="21969" y="22812"/>
                  <a:pt x="21938" y="22687"/>
                </a:cubicBezTo>
                <a:cubicBezTo>
                  <a:pt x="21938" y="22594"/>
                  <a:pt x="22000" y="22531"/>
                  <a:pt x="22063" y="22594"/>
                </a:cubicBezTo>
                <a:cubicBezTo>
                  <a:pt x="22157" y="22687"/>
                  <a:pt x="22188" y="22687"/>
                  <a:pt x="22250" y="22625"/>
                </a:cubicBezTo>
                <a:cubicBezTo>
                  <a:pt x="22313" y="22500"/>
                  <a:pt x="22250" y="22500"/>
                  <a:pt x="22157" y="22469"/>
                </a:cubicBezTo>
                <a:cubicBezTo>
                  <a:pt x="21969" y="22406"/>
                  <a:pt x="21782" y="22344"/>
                  <a:pt x="21594" y="22312"/>
                </a:cubicBezTo>
                <a:cubicBezTo>
                  <a:pt x="21625" y="22219"/>
                  <a:pt x="21563" y="22187"/>
                  <a:pt x="21500" y="22219"/>
                </a:cubicBezTo>
                <a:cubicBezTo>
                  <a:pt x="21500" y="22219"/>
                  <a:pt x="21500" y="22219"/>
                  <a:pt x="21500" y="22187"/>
                </a:cubicBezTo>
                <a:cubicBezTo>
                  <a:pt x="21469" y="22187"/>
                  <a:pt x="21469" y="22187"/>
                  <a:pt x="21469" y="22187"/>
                </a:cubicBezTo>
                <a:cubicBezTo>
                  <a:pt x="21563" y="22062"/>
                  <a:pt x="21657" y="21937"/>
                  <a:pt x="21719" y="21812"/>
                </a:cubicBezTo>
                <a:cubicBezTo>
                  <a:pt x="21719" y="21812"/>
                  <a:pt x="21719" y="21812"/>
                  <a:pt x="21719" y="21812"/>
                </a:cubicBezTo>
                <a:lnTo>
                  <a:pt x="21719" y="21812"/>
                </a:lnTo>
                <a:cubicBezTo>
                  <a:pt x="21750" y="21781"/>
                  <a:pt x="21750" y="21750"/>
                  <a:pt x="21782" y="21687"/>
                </a:cubicBezTo>
                <a:cubicBezTo>
                  <a:pt x="21782" y="21687"/>
                  <a:pt x="21782" y="21687"/>
                  <a:pt x="21782" y="21687"/>
                </a:cubicBezTo>
                <a:cubicBezTo>
                  <a:pt x="21782" y="21687"/>
                  <a:pt x="21813" y="21656"/>
                  <a:pt x="21813" y="21656"/>
                </a:cubicBezTo>
                <a:cubicBezTo>
                  <a:pt x="21782" y="21625"/>
                  <a:pt x="21750" y="21625"/>
                  <a:pt x="21719" y="21656"/>
                </a:cubicBezTo>
                <a:cubicBezTo>
                  <a:pt x="21719" y="21687"/>
                  <a:pt x="21688" y="21719"/>
                  <a:pt x="21657" y="21781"/>
                </a:cubicBezTo>
                <a:cubicBezTo>
                  <a:pt x="21438" y="21687"/>
                  <a:pt x="21469" y="21906"/>
                  <a:pt x="21407" y="22000"/>
                </a:cubicBezTo>
                <a:cubicBezTo>
                  <a:pt x="21344" y="22062"/>
                  <a:pt x="21344" y="22187"/>
                  <a:pt x="21469" y="22187"/>
                </a:cubicBezTo>
                <a:cubicBezTo>
                  <a:pt x="21469" y="22187"/>
                  <a:pt x="21469" y="22219"/>
                  <a:pt x="21469" y="22219"/>
                </a:cubicBezTo>
                <a:cubicBezTo>
                  <a:pt x="21469" y="22219"/>
                  <a:pt x="21469" y="22219"/>
                  <a:pt x="21500" y="22219"/>
                </a:cubicBezTo>
                <a:cubicBezTo>
                  <a:pt x="21500" y="22312"/>
                  <a:pt x="21407" y="22406"/>
                  <a:pt x="21344" y="22500"/>
                </a:cubicBezTo>
                <a:cubicBezTo>
                  <a:pt x="21282" y="22531"/>
                  <a:pt x="21219" y="22531"/>
                  <a:pt x="21250" y="22625"/>
                </a:cubicBezTo>
                <a:cubicBezTo>
                  <a:pt x="21282" y="22687"/>
                  <a:pt x="21344" y="22687"/>
                  <a:pt x="21407" y="22656"/>
                </a:cubicBezTo>
                <a:cubicBezTo>
                  <a:pt x="21563" y="22562"/>
                  <a:pt x="21657" y="22687"/>
                  <a:pt x="21750" y="22750"/>
                </a:cubicBezTo>
                <a:cubicBezTo>
                  <a:pt x="21750" y="22719"/>
                  <a:pt x="21782" y="22719"/>
                  <a:pt x="21782" y="22687"/>
                </a:cubicBezTo>
                <a:cubicBezTo>
                  <a:pt x="21844" y="22687"/>
                  <a:pt x="21875" y="22687"/>
                  <a:pt x="21907" y="22687"/>
                </a:cubicBezTo>
                <a:cubicBezTo>
                  <a:pt x="21875" y="22750"/>
                  <a:pt x="21844" y="22750"/>
                  <a:pt x="21782" y="22687"/>
                </a:cubicBezTo>
                <a:cubicBezTo>
                  <a:pt x="21782" y="22719"/>
                  <a:pt x="21750" y="22719"/>
                  <a:pt x="21750" y="22750"/>
                </a:cubicBezTo>
                <a:cubicBezTo>
                  <a:pt x="21750" y="22781"/>
                  <a:pt x="21750" y="22844"/>
                  <a:pt x="21750" y="22875"/>
                </a:cubicBezTo>
                <a:cubicBezTo>
                  <a:pt x="21563" y="22969"/>
                  <a:pt x="21407" y="23281"/>
                  <a:pt x="21219" y="22875"/>
                </a:cubicBezTo>
                <a:cubicBezTo>
                  <a:pt x="21188" y="22781"/>
                  <a:pt x="21094" y="22844"/>
                  <a:pt x="21000" y="22812"/>
                </a:cubicBezTo>
                <a:cubicBezTo>
                  <a:pt x="20875" y="22781"/>
                  <a:pt x="20750" y="22719"/>
                  <a:pt x="20625" y="22812"/>
                </a:cubicBezTo>
                <a:cubicBezTo>
                  <a:pt x="20594" y="22875"/>
                  <a:pt x="20563" y="22937"/>
                  <a:pt x="20500" y="22812"/>
                </a:cubicBezTo>
                <a:cubicBezTo>
                  <a:pt x="20469" y="22781"/>
                  <a:pt x="20438" y="22719"/>
                  <a:pt x="20500" y="22656"/>
                </a:cubicBezTo>
                <a:cubicBezTo>
                  <a:pt x="20657" y="22469"/>
                  <a:pt x="20875" y="22312"/>
                  <a:pt x="21157" y="22219"/>
                </a:cubicBezTo>
                <a:lnTo>
                  <a:pt x="21157" y="22219"/>
                </a:lnTo>
                <a:cubicBezTo>
                  <a:pt x="21063" y="22437"/>
                  <a:pt x="20938" y="22594"/>
                  <a:pt x="21000" y="22812"/>
                </a:cubicBezTo>
                <a:cubicBezTo>
                  <a:pt x="20969" y="23094"/>
                  <a:pt x="21094" y="23344"/>
                  <a:pt x="21125" y="23625"/>
                </a:cubicBezTo>
                <a:cubicBezTo>
                  <a:pt x="21125" y="23719"/>
                  <a:pt x="20938" y="23875"/>
                  <a:pt x="21125" y="23906"/>
                </a:cubicBezTo>
                <a:cubicBezTo>
                  <a:pt x="21407" y="24031"/>
                  <a:pt x="21375" y="24250"/>
                  <a:pt x="21344" y="24469"/>
                </a:cubicBezTo>
                <a:cubicBezTo>
                  <a:pt x="21313" y="24719"/>
                  <a:pt x="21500" y="24687"/>
                  <a:pt x="21657" y="24750"/>
                </a:cubicBezTo>
                <a:cubicBezTo>
                  <a:pt x="21782" y="24781"/>
                  <a:pt x="21844" y="24719"/>
                  <a:pt x="21813" y="24594"/>
                </a:cubicBezTo>
                <a:cubicBezTo>
                  <a:pt x="21719" y="24531"/>
                  <a:pt x="21782" y="24375"/>
                  <a:pt x="21657" y="24344"/>
                </a:cubicBezTo>
                <a:cubicBezTo>
                  <a:pt x="21594" y="24312"/>
                  <a:pt x="21563" y="24250"/>
                  <a:pt x="21594" y="24187"/>
                </a:cubicBezTo>
                <a:cubicBezTo>
                  <a:pt x="21625" y="24125"/>
                  <a:pt x="21688" y="24125"/>
                  <a:pt x="21719" y="24156"/>
                </a:cubicBezTo>
                <a:cubicBezTo>
                  <a:pt x="21813" y="24187"/>
                  <a:pt x="21875" y="24219"/>
                  <a:pt x="21844" y="24312"/>
                </a:cubicBezTo>
                <a:cubicBezTo>
                  <a:pt x="21844" y="24375"/>
                  <a:pt x="21844" y="24469"/>
                  <a:pt x="21813" y="24562"/>
                </a:cubicBezTo>
                <a:cubicBezTo>
                  <a:pt x="21875" y="24594"/>
                  <a:pt x="21907" y="24625"/>
                  <a:pt x="21938" y="24656"/>
                </a:cubicBezTo>
                <a:cubicBezTo>
                  <a:pt x="21938" y="24656"/>
                  <a:pt x="21969" y="24687"/>
                  <a:pt x="22000" y="24687"/>
                </a:cubicBezTo>
                <a:close/>
                <a:moveTo>
                  <a:pt x="23750" y="24531"/>
                </a:moveTo>
                <a:cubicBezTo>
                  <a:pt x="23688" y="24562"/>
                  <a:pt x="23719" y="24562"/>
                  <a:pt x="23750" y="24594"/>
                </a:cubicBezTo>
                <a:cubicBezTo>
                  <a:pt x="23688" y="24937"/>
                  <a:pt x="24000" y="24844"/>
                  <a:pt x="24157" y="24906"/>
                </a:cubicBezTo>
                <a:cubicBezTo>
                  <a:pt x="24032" y="24812"/>
                  <a:pt x="23969" y="24594"/>
                  <a:pt x="23782" y="24562"/>
                </a:cubicBezTo>
                <a:cubicBezTo>
                  <a:pt x="23750" y="24562"/>
                  <a:pt x="23750" y="24531"/>
                  <a:pt x="23750" y="24531"/>
                </a:cubicBezTo>
                <a:close/>
                <a:moveTo>
                  <a:pt x="17719" y="12781"/>
                </a:moveTo>
                <a:lnTo>
                  <a:pt x="17688" y="12750"/>
                </a:lnTo>
                <a:lnTo>
                  <a:pt x="17688" y="12781"/>
                </a:lnTo>
                <a:lnTo>
                  <a:pt x="17719" y="12781"/>
                </a:lnTo>
                <a:close/>
                <a:moveTo>
                  <a:pt x="16469" y="12812"/>
                </a:moveTo>
                <a:cubicBezTo>
                  <a:pt x="16438" y="12812"/>
                  <a:pt x="16407" y="12812"/>
                  <a:pt x="16407" y="12875"/>
                </a:cubicBezTo>
                <a:cubicBezTo>
                  <a:pt x="16313" y="12906"/>
                  <a:pt x="16188" y="12906"/>
                  <a:pt x="16094" y="12937"/>
                </a:cubicBezTo>
                <a:cubicBezTo>
                  <a:pt x="16032" y="12844"/>
                  <a:pt x="16219" y="12781"/>
                  <a:pt x="16094" y="12687"/>
                </a:cubicBezTo>
                <a:cubicBezTo>
                  <a:pt x="16032" y="12625"/>
                  <a:pt x="15969" y="12719"/>
                  <a:pt x="15907" y="12781"/>
                </a:cubicBezTo>
                <a:cubicBezTo>
                  <a:pt x="15813" y="12812"/>
                  <a:pt x="15719" y="12750"/>
                  <a:pt x="15657" y="12844"/>
                </a:cubicBezTo>
                <a:cubicBezTo>
                  <a:pt x="15500" y="12875"/>
                  <a:pt x="15407" y="13000"/>
                  <a:pt x="15250" y="13000"/>
                </a:cubicBezTo>
                <a:cubicBezTo>
                  <a:pt x="15282" y="12875"/>
                  <a:pt x="15407" y="12812"/>
                  <a:pt x="15313" y="12656"/>
                </a:cubicBezTo>
                <a:cubicBezTo>
                  <a:pt x="15125" y="12906"/>
                  <a:pt x="14875" y="13031"/>
                  <a:pt x="14657" y="13187"/>
                </a:cubicBezTo>
                <a:cubicBezTo>
                  <a:pt x="14594" y="13187"/>
                  <a:pt x="14532" y="13156"/>
                  <a:pt x="14532" y="13250"/>
                </a:cubicBezTo>
                <a:cubicBezTo>
                  <a:pt x="14438" y="13219"/>
                  <a:pt x="14344" y="13281"/>
                  <a:pt x="14282" y="13187"/>
                </a:cubicBezTo>
                <a:cubicBezTo>
                  <a:pt x="14282" y="13187"/>
                  <a:pt x="14282" y="13187"/>
                  <a:pt x="14282" y="13187"/>
                </a:cubicBezTo>
                <a:cubicBezTo>
                  <a:pt x="14282" y="13187"/>
                  <a:pt x="14282" y="13187"/>
                  <a:pt x="14282" y="13187"/>
                </a:cubicBezTo>
                <a:cubicBezTo>
                  <a:pt x="14469" y="13062"/>
                  <a:pt x="14532" y="12844"/>
                  <a:pt x="14750" y="12750"/>
                </a:cubicBezTo>
                <a:cubicBezTo>
                  <a:pt x="15000" y="12594"/>
                  <a:pt x="15250" y="12469"/>
                  <a:pt x="15500" y="12312"/>
                </a:cubicBezTo>
                <a:cubicBezTo>
                  <a:pt x="15750" y="12250"/>
                  <a:pt x="16000" y="12187"/>
                  <a:pt x="16282" y="12125"/>
                </a:cubicBezTo>
                <a:cubicBezTo>
                  <a:pt x="16157" y="12000"/>
                  <a:pt x="15719" y="12281"/>
                  <a:pt x="15969" y="11844"/>
                </a:cubicBezTo>
                <a:cubicBezTo>
                  <a:pt x="16157" y="11844"/>
                  <a:pt x="16219" y="11594"/>
                  <a:pt x="16407" y="11625"/>
                </a:cubicBezTo>
                <a:cubicBezTo>
                  <a:pt x="16407" y="11625"/>
                  <a:pt x="16407" y="11625"/>
                  <a:pt x="16407" y="11625"/>
                </a:cubicBezTo>
                <a:cubicBezTo>
                  <a:pt x="16532" y="11719"/>
                  <a:pt x="16657" y="11656"/>
                  <a:pt x="16782" y="11625"/>
                </a:cubicBezTo>
                <a:cubicBezTo>
                  <a:pt x="17032" y="11562"/>
                  <a:pt x="17250" y="11437"/>
                  <a:pt x="17500" y="11656"/>
                </a:cubicBezTo>
                <a:cubicBezTo>
                  <a:pt x="17407" y="11719"/>
                  <a:pt x="17313" y="11781"/>
                  <a:pt x="17219" y="11844"/>
                </a:cubicBezTo>
                <a:cubicBezTo>
                  <a:pt x="17125" y="11937"/>
                  <a:pt x="17063" y="12062"/>
                  <a:pt x="17282" y="12125"/>
                </a:cubicBezTo>
                <a:cubicBezTo>
                  <a:pt x="17282" y="12125"/>
                  <a:pt x="17282" y="12125"/>
                  <a:pt x="17282" y="12125"/>
                </a:cubicBezTo>
                <a:cubicBezTo>
                  <a:pt x="17407" y="12250"/>
                  <a:pt x="17625" y="12250"/>
                  <a:pt x="17688" y="12125"/>
                </a:cubicBezTo>
                <a:cubicBezTo>
                  <a:pt x="17844" y="11812"/>
                  <a:pt x="18094" y="11875"/>
                  <a:pt x="18375" y="11906"/>
                </a:cubicBezTo>
                <a:cubicBezTo>
                  <a:pt x="18000" y="11969"/>
                  <a:pt x="17813" y="12312"/>
                  <a:pt x="17469" y="12469"/>
                </a:cubicBezTo>
                <a:cubicBezTo>
                  <a:pt x="17657" y="12469"/>
                  <a:pt x="17813" y="12469"/>
                  <a:pt x="17844" y="12656"/>
                </a:cubicBezTo>
                <a:cubicBezTo>
                  <a:pt x="17844" y="12656"/>
                  <a:pt x="17844" y="12656"/>
                  <a:pt x="17844" y="12656"/>
                </a:cubicBezTo>
                <a:cubicBezTo>
                  <a:pt x="17844" y="12687"/>
                  <a:pt x="17813" y="12687"/>
                  <a:pt x="17813" y="12719"/>
                </a:cubicBezTo>
                <a:cubicBezTo>
                  <a:pt x="17844" y="12719"/>
                  <a:pt x="17844" y="12719"/>
                  <a:pt x="17875" y="12687"/>
                </a:cubicBezTo>
                <a:cubicBezTo>
                  <a:pt x="18125" y="12562"/>
                  <a:pt x="18375" y="12437"/>
                  <a:pt x="18625" y="12312"/>
                </a:cubicBezTo>
                <a:cubicBezTo>
                  <a:pt x="18688" y="12312"/>
                  <a:pt x="18813" y="12219"/>
                  <a:pt x="18844" y="12312"/>
                </a:cubicBezTo>
                <a:cubicBezTo>
                  <a:pt x="18907" y="12469"/>
                  <a:pt x="18813" y="12500"/>
                  <a:pt x="18688" y="12500"/>
                </a:cubicBezTo>
                <a:cubicBezTo>
                  <a:pt x="18375" y="12562"/>
                  <a:pt x="18125" y="12750"/>
                  <a:pt x="17875" y="12937"/>
                </a:cubicBezTo>
                <a:cubicBezTo>
                  <a:pt x="17813" y="12969"/>
                  <a:pt x="17782" y="13062"/>
                  <a:pt x="17813" y="13125"/>
                </a:cubicBezTo>
                <a:cubicBezTo>
                  <a:pt x="17875" y="13250"/>
                  <a:pt x="17938" y="13125"/>
                  <a:pt x="18000" y="13125"/>
                </a:cubicBezTo>
                <a:cubicBezTo>
                  <a:pt x="18219" y="13094"/>
                  <a:pt x="18407" y="12969"/>
                  <a:pt x="18532" y="13281"/>
                </a:cubicBezTo>
                <a:cubicBezTo>
                  <a:pt x="18563" y="13406"/>
                  <a:pt x="18657" y="13281"/>
                  <a:pt x="18719" y="13281"/>
                </a:cubicBezTo>
                <a:cubicBezTo>
                  <a:pt x="18782" y="13281"/>
                  <a:pt x="18907" y="13281"/>
                  <a:pt x="18782" y="13156"/>
                </a:cubicBezTo>
                <a:cubicBezTo>
                  <a:pt x="18719" y="13094"/>
                  <a:pt x="18938" y="13000"/>
                  <a:pt x="19063" y="12969"/>
                </a:cubicBezTo>
                <a:cubicBezTo>
                  <a:pt x="19125" y="12937"/>
                  <a:pt x="19250" y="12875"/>
                  <a:pt x="19250" y="13062"/>
                </a:cubicBezTo>
                <a:cubicBezTo>
                  <a:pt x="19219" y="13344"/>
                  <a:pt x="19438" y="13312"/>
                  <a:pt x="19625" y="13312"/>
                </a:cubicBezTo>
                <a:cubicBezTo>
                  <a:pt x="19688" y="13406"/>
                  <a:pt x="19469" y="13562"/>
                  <a:pt x="19688" y="13625"/>
                </a:cubicBezTo>
                <a:cubicBezTo>
                  <a:pt x="19813" y="13437"/>
                  <a:pt x="19969" y="13406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ubicBezTo>
                  <a:pt x="20282" y="13344"/>
                  <a:pt x="20250" y="13156"/>
                  <a:pt x="20438" y="13125"/>
                </a:cubicBezTo>
                <a:cubicBezTo>
                  <a:pt x="20438" y="13125"/>
                  <a:pt x="20438" y="13125"/>
                  <a:pt x="20438" y="13125"/>
                </a:cubicBezTo>
                <a:cubicBezTo>
                  <a:pt x="20469" y="13125"/>
                  <a:pt x="20469" y="13125"/>
                  <a:pt x="20500" y="13094"/>
                </a:cubicBezTo>
                <a:cubicBezTo>
                  <a:pt x="20563" y="13031"/>
                  <a:pt x="20594" y="13062"/>
                  <a:pt x="20625" y="13062"/>
                </a:cubicBezTo>
                <a:cubicBezTo>
                  <a:pt x="20594" y="13062"/>
                  <a:pt x="20563" y="13031"/>
                  <a:pt x="20500" y="13094"/>
                </a:cubicBezTo>
                <a:cubicBezTo>
                  <a:pt x="20532" y="13219"/>
                  <a:pt x="20625" y="13187"/>
                  <a:pt x="20688" y="13156"/>
                </a:cubicBezTo>
                <a:cubicBezTo>
                  <a:pt x="20719" y="13125"/>
                  <a:pt x="20719" y="13125"/>
                  <a:pt x="20750" y="13125"/>
                </a:cubicBezTo>
                <a:cubicBezTo>
                  <a:pt x="20750" y="13125"/>
                  <a:pt x="20750" y="13125"/>
                  <a:pt x="20750" y="13125"/>
                </a:cubicBezTo>
                <a:cubicBezTo>
                  <a:pt x="20875" y="13094"/>
                  <a:pt x="21000" y="13062"/>
                  <a:pt x="21125" y="13062"/>
                </a:cubicBezTo>
                <a:cubicBezTo>
                  <a:pt x="21125" y="13031"/>
                  <a:pt x="21125" y="13031"/>
                  <a:pt x="21125" y="13031"/>
                </a:cubicBezTo>
                <a:cubicBezTo>
                  <a:pt x="21125" y="13000"/>
                  <a:pt x="21125" y="13000"/>
                  <a:pt x="21094" y="13000"/>
                </a:cubicBezTo>
                <a:cubicBezTo>
                  <a:pt x="21125" y="13000"/>
                  <a:pt x="21125" y="13000"/>
                  <a:pt x="21125" y="13031"/>
                </a:cubicBezTo>
                <a:cubicBezTo>
                  <a:pt x="21125" y="13031"/>
                  <a:pt x="21125" y="13031"/>
                  <a:pt x="21125" y="13062"/>
                </a:cubicBezTo>
                <a:cubicBezTo>
                  <a:pt x="21188" y="13062"/>
                  <a:pt x="21219" y="13062"/>
                  <a:pt x="21250" y="13062"/>
                </a:cubicBezTo>
                <a:cubicBezTo>
                  <a:pt x="21219" y="13125"/>
                  <a:pt x="21157" y="13187"/>
                  <a:pt x="21125" y="13250"/>
                </a:cubicBezTo>
                <a:cubicBezTo>
                  <a:pt x="20969" y="13250"/>
                  <a:pt x="20813" y="13219"/>
                  <a:pt x="20625" y="13281"/>
                </a:cubicBezTo>
                <a:cubicBezTo>
                  <a:pt x="20813" y="13469"/>
                  <a:pt x="20969" y="13312"/>
                  <a:pt x="21125" y="13312"/>
                </a:cubicBezTo>
                <a:cubicBezTo>
                  <a:pt x="21125" y="13281"/>
                  <a:pt x="21125" y="13281"/>
                  <a:pt x="21125" y="13250"/>
                </a:cubicBezTo>
                <a:cubicBezTo>
                  <a:pt x="21157" y="13250"/>
                  <a:pt x="21219" y="13250"/>
                  <a:pt x="21219" y="13281"/>
                </a:cubicBezTo>
                <a:cubicBezTo>
                  <a:pt x="21219" y="13281"/>
                  <a:pt x="21157" y="13312"/>
                  <a:pt x="21125" y="13312"/>
                </a:cubicBezTo>
                <a:cubicBezTo>
                  <a:pt x="20938" y="13531"/>
                  <a:pt x="20688" y="13437"/>
                  <a:pt x="20438" y="13469"/>
                </a:cubicBezTo>
                <a:cubicBezTo>
                  <a:pt x="20375" y="13469"/>
                  <a:pt x="20282" y="13406"/>
                  <a:pt x="20188" y="13437"/>
                </a:cubicBezTo>
                <a:lnTo>
                  <a:pt x="20188" y="13437"/>
                </a:lnTo>
                <a:cubicBezTo>
                  <a:pt x="20188" y="13437"/>
                  <a:pt x="20188" y="13437"/>
                  <a:pt x="20188" y="13437"/>
                </a:cubicBezTo>
                <a:cubicBezTo>
                  <a:pt x="20188" y="13469"/>
                  <a:pt x="20188" y="13469"/>
                  <a:pt x="20188" y="13500"/>
                </a:cubicBezTo>
                <a:cubicBezTo>
                  <a:pt x="20032" y="13562"/>
                  <a:pt x="19875" y="13656"/>
                  <a:pt x="19688" y="13625"/>
                </a:cubicBezTo>
                <a:cubicBezTo>
                  <a:pt x="19688" y="13625"/>
                  <a:pt x="19688" y="13625"/>
                  <a:pt x="19688" y="13625"/>
                </a:cubicBezTo>
                <a:lnTo>
                  <a:pt x="19688" y="13625"/>
                </a:lnTo>
                <a:cubicBezTo>
                  <a:pt x="19688" y="13625"/>
                  <a:pt x="19688" y="13625"/>
                  <a:pt x="19688" y="13625"/>
                </a:cubicBezTo>
                <a:cubicBezTo>
                  <a:pt x="19813" y="13875"/>
                  <a:pt x="20094" y="13656"/>
                  <a:pt x="20250" y="13812"/>
                </a:cubicBezTo>
                <a:cubicBezTo>
                  <a:pt x="20250" y="13875"/>
                  <a:pt x="20313" y="13969"/>
                  <a:pt x="20375" y="13906"/>
                </a:cubicBezTo>
                <a:cubicBezTo>
                  <a:pt x="20594" y="13687"/>
                  <a:pt x="20907" y="13750"/>
                  <a:pt x="21188" y="13656"/>
                </a:cubicBezTo>
                <a:cubicBezTo>
                  <a:pt x="21250" y="13625"/>
                  <a:pt x="21344" y="13500"/>
                  <a:pt x="21438" y="13594"/>
                </a:cubicBezTo>
                <a:cubicBezTo>
                  <a:pt x="21563" y="13656"/>
                  <a:pt x="21344" y="13750"/>
                  <a:pt x="21469" y="13906"/>
                </a:cubicBezTo>
                <a:cubicBezTo>
                  <a:pt x="21563" y="13656"/>
                  <a:pt x="21875" y="13906"/>
                  <a:pt x="21938" y="13625"/>
                </a:cubicBezTo>
                <a:cubicBezTo>
                  <a:pt x="21938" y="13625"/>
                  <a:pt x="21938" y="13625"/>
                  <a:pt x="21938" y="13625"/>
                </a:cubicBezTo>
                <a:cubicBezTo>
                  <a:pt x="22000" y="13625"/>
                  <a:pt x="22032" y="13625"/>
                  <a:pt x="22063" y="13625"/>
                </a:cubicBezTo>
                <a:cubicBezTo>
                  <a:pt x="22094" y="13687"/>
                  <a:pt x="22125" y="13687"/>
                  <a:pt x="22188" y="13719"/>
                </a:cubicBezTo>
                <a:cubicBezTo>
                  <a:pt x="22594" y="13812"/>
                  <a:pt x="22938" y="13656"/>
                  <a:pt x="23282" y="13469"/>
                </a:cubicBezTo>
                <a:cubicBezTo>
                  <a:pt x="23313" y="13469"/>
                  <a:pt x="23344" y="13437"/>
                  <a:pt x="23407" y="13437"/>
                </a:cubicBezTo>
                <a:cubicBezTo>
                  <a:pt x="23407" y="13406"/>
                  <a:pt x="23438" y="13344"/>
                  <a:pt x="23469" y="13312"/>
                </a:cubicBezTo>
                <a:cubicBezTo>
                  <a:pt x="23469" y="13312"/>
                  <a:pt x="23469" y="13312"/>
                  <a:pt x="23469" y="13312"/>
                </a:cubicBezTo>
                <a:cubicBezTo>
                  <a:pt x="23469" y="13312"/>
                  <a:pt x="23469" y="13312"/>
                  <a:pt x="23469" y="13312"/>
                </a:cubicBezTo>
                <a:cubicBezTo>
                  <a:pt x="23469" y="13312"/>
                  <a:pt x="23500" y="13312"/>
                  <a:pt x="23500" y="13312"/>
                </a:cubicBezTo>
                <a:cubicBezTo>
                  <a:pt x="23500" y="13312"/>
                  <a:pt x="23469" y="13312"/>
                  <a:pt x="23469" y="13312"/>
                </a:cubicBezTo>
                <a:cubicBezTo>
                  <a:pt x="23438" y="13344"/>
                  <a:pt x="23407" y="13406"/>
                  <a:pt x="23407" y="13437"/>
                </a:cubicBezTo>
                <a:cubicBezTo>
                  <a:pt x="23469" y="13531"/>
                  <a:pt x="23563" y="13656"/>
                  <a:pt x="23657" y="13781"/>
                </a:cubicBezTo>
                <a:cubicBezTo>
                  <a:pt x="23469" y="13781"/>
                  <a:pt x="23344" y="13781"/>
                  <a:pt x="23313" y="14000"/>
                </a:cubicBezTo>
                <a:cubicBezTo>
                  <a:pt x="23250" y="14156"/>
                  <a:pt x="23032" y="14125"/>
                  <a:pt x="22907" y="14156"/>
                </a:cubicBezTo>
                <a:cubicBezTo>
                  <a:pt x="22782" y="14187"/>
                  <a:pt x="22844" y="14062"/>
                  <a:pt x="22813" y="14000"/>
                </a:cubicBezTo>
                <a:cubicBezTo>
                  <a:pt x="22844" y="14000"/>
                  <a:pt x="22844" y="14000"/>
                  <a:pt x="22844" y="14000"/>
                </a:cubicBezTo>
                <a:cubicBezTo>
                  <a:pt x="22844" y="14000"/>
                  <a:pt x="22844" y="13969"/>
                  <a:pt x="22844" y="13969"/>
                </a:cubicBezTo>
                <a:lnTo>
                  <a:pt x="22844" y="13969"/>
                </a:lnTo>
                <a:cubicBezTo>
                  <a:pt x="22844" y="13969"/>
                  <a:pt x="22844" y="14000"/>
                  <a:pt x="22844" y="14000"/>
                </a:cubicBezTo>
                <a:cubicBezTo>
                  <a:pt x="22844" y="14000"/>
                  <a:pt x="22813" y="14000"/>
                  <a:pt x="22813" y="14000"/>
                </a:cubicBezTo>
                <a:cubicBezTo>
                  <a:pt x="22657" y="14000"/>
                  <a:pt x="22625" y="14156"/>
                  <a:pt x="22500" y="14219"/>
                </a:cubicBezTo>
                <a:cubicBezTo>
                  <a:pt x="22469" y="14250"/>
                  <a:pt x="22313" y="14250"/>
                  <a:pt x="22407" y="14406"/>
                </a:cubicBezTo>
                <a:cubicBezTo>
                  <a:pt x="22469" y="14500"/>
                  <a:pt x="22532" y="14469"/>
                  <a:pt x="22625" y="14406"/>
                </a:cubicBezTo>
                <a:cubicBezTo>
                  <a:pt x="22688" y="14375"/>
                  <a:pt x="22782" y="14344"/>
                  <a:pt x="22875" y="14344"/>
                </a:cubicBezTo>
                <a:cubicBezTo>
                  <a:pt x="23032" y="14312"/>
                  <a:pt x="22907" y="14406"/>
                  <a:pt x="22907" y="14469"/>
                </a:cubicBezTo>
                <a:cubicBezTo>
                  <a:pt x="22907" y="14469"/>
                  <a:pt x="22907" y="14469"/>
                  <a:pt x="22907" y="14469"/>
                </a:cubicBezTo>
                <a:cubicBezTo>
                  <a:pt x="22844" y="14500"/>
                  <a:pt x="22750" y="14531"/>
                  <a:pt x="22688" y="14625"/>
                </a:cubicBezTo>
                <a:cubicBezTo>
                  <a:pt x="22813" y="14656"/>
                  <a:pt x="22907" y="14594"/>
                  <a:pt x="22969" y="14531"/>
                </a:cubicBezTo>
                <a:cubicBezTo>
                  <a:pt x="23157" y="14469"/>
                  <a:pt x="23250" y="14687"/>
                  <a:pt x="23375" y="14656"/>
                </a:cubicBezTo>
                <a:cubicBezTo>
                  <a:pt x="23625" y="14625"/>
                  <a:pt x="23844" y="14656"/>
                  <a:pt x="23938" y="14937"/>
                </a:cubicBezTo>
                <a:cubicBezTo>
                  <a:pt x="23938" y="15000"/>
                  <a:pt x="24000" y="15000"/>
                  <a:pt x="24063" y="15000"/>
                </a:cubicBezTo>
                <a:cubicBezTo>
                  <a:pt x="24157" y="14969"/>
                  <a:pt x="24094" y="14906"/>
                  <a:pt x="24063" y="14844"/>
                </a:cubicBezTo>
                <a:cubicBezTo>
                  <a:pt x="24032" y="14750"/>
                  <a:pt x="24094" y="14625"/>
                  <a:pt x="24125" y="14625"/>
                </a:cubicBezTo>
                <a:cubicBezTo>
                  <a:pt x="24375" y="14687"/>
                  <a:pt x="24407" y="14469"/>
                  <a:pt x="24532" y="14375"/>
                </a:cubicBezTo>
                <a:cubicBezTo>
                  <a:pt x="24625" y="14344"/>
                  <a:pt x="24688" y="14250"/>
                  <a:pt x="24782" y="14250"/>
                </a:cubicBezTo>
                <a:cubicBezTo>
                  <a:pt x="24813" y="14344"/>
                  <a:pt x="25063" y="14312"/>
                  <a:pt x="24938" y="14375"/>
                </a:cubicBezTo>
                <a:cubicBezTo>
                  <a:pt x="24719" y="14531"/>
                  <a:pt x="24969" y="14562"/>
                  <a:pt x="24969" y="14625"/>
                </a:cubicBezTo>
                <a:cubicBezTo>
                  <a:pt x="25032" y="14750"/>
                  <a:pt x="25125" y="14719"/>
                  <a:pt x="25219" y="14625"/>
                </a:cubicBezTo>
                <a:cubicBezTo>
                  <a:pt x="25313" y="14656"/>
                  <a:pt x="25375" y="14531"/>
                  <a:pt x="25500" y="14625"/>
                </a:cubicBezTo>
                <a:cubicBezTo>
                  <a:pt x="25375" y="14750"/>
                  <a:pt x="25157" y="14781"/>
                  <a:pt x="25094" y="14937"/>
                </a:cubicBezTo>
                <a:cubicBezTo>
                  <a:pt x="25063" y="14969"/>
                  <a:pt x="25000" y="15000"/>
                  <a:pt x="24969" y="15000"/>
                </a:cubicBezTo>
                <a:cubicBezTo>
                  <a:pt x="24844" y="14969"/>
                  <a:pt x="24625" y="15031"/>
                  <a:pt x="24594" y="15125"/>
                </a:cubicBezTo>
                <a:cubicBezTo>
                  <a:pt x="24563" y="15375"/>
                  <a:pt x="24782" y="15125"/>
                  <a:pt x="24813" y="15250"/>
                </a:cubicBezTo>
                <a:cubicBezTo>
                  <a:pt x="24813" y="15250"/>
                  <a:pt x="24813" y="15281"/>
                  <a:pt x="24813" y="15312"/>
                </a:cubicBezTo>
                <a:cubicBezTo>
                  <a:pt x="24813" y="15312"/>
                  <a:pt x="24813" y="15312"/>
                  <a:pt x="24813" y="15312"/>
                </a:cubicBezTo>
                <a:cubicBezTo>
                  <a:pt x="24782" y="15312"/>
                  <a:pt x="24782" y="15344"/>
                  <a:pt x="24750" y="15375"/>
                </a:cubicBezTo>
                <a:cubicBezTo>
                  <a:pt x="24750" y="15375"/>
                  <a:pt x="24750" y="15375"/>
                  <a:pt x="24750" y="15375"/>
                </a:cubicBezTo>
                <a:cubicBezTo>
                  <a:pt x="24750" y="15375"/>
                  <a:pt x="24719" y="15406"/>
                  <a:pt x="24750" y="15437"/>
                </a:cubicBezTo>
                <a:cubicBezTo>
                  <a:pt x="24750" y="15437"/>
                  <a:pt x="24782" y="15406"/>
                  <a:pt x="24782" y="15406"/>
                </a:cubicBezTo>
                <a:cubicBezTo>
                  <a:pt x="24782" y="15406"/>
                  <a:pt x="24782" y="15406"/>
                  <a:pt x="24782" y="15406"/>
                </a:cubicBezTo>
                <a:cubicBezTo>
                  <a:pt x="24813" y="15375"/>
                  <a:pt x="24844" y="15344"/>
                  <a:pt x="24844" y="15344"/>
                </a:cubicBezTo>
                <a:cubicBezTo>
                  <a:pt x="24938" y="15219"/>
                  <a:pt x="25219" y="15281"/>
                  <a:pt x="25094" y="15031"/>
                </a:cubicBezTo>
                <a:cubicBezTo>
                  <a:pt x="25188" y="15000"/>
                  <a:pt x="25250" y="15000"/>
                  <a:pt x="25344" y="14969"/>
                </a:cubicBezTo>
                <a:cubicBezTo>
                  <a:pt x="25407" y="15094"/>
                  <a:pt x="25500" y="15062"/>
                  <a:pt x="25594" y="15062"/>
                </a:cubicBezTo>
                <a:cubicBezTo>
                  <a:pt x="25594" y="15094"/>
                  <a:pt x="25563" y="15094"/>
                  <a:pt x="25563" y="15125"/>
                </a:cubicBezTo>
                <a:cubicBezTo>
                  <a:pt x="25532" y="15406"/>
                  <a:pt x="25563" y="15469"/>
                  <a:pt x="25782" y="15375"/>
                </a:cubicBezTo>
                <a:cubicBezTo>
                  <a:pt x="25969" y="15281"/>
                  <a:pt x="26188" y="15406"/>
                  <a:pt x="26344" y="15281"/>
                </a:cubicBezTo>
                <a:cubicBezTo>
                  <a:pt x="26407" y="15469"/>
                  <a:pt x="26344" y="15625"/>
                  <a:pt x="26344" y="15781"/>
                </a:cubicBezTo>
                <a:cubicBezTo>
                  <a:pt x="26344" y="15812"/>
                  <a:pt x="26344" y="15875"/>
                  <a:pt x="26407" y="15875"/>
                </a:cubicBezTo>
                <a:cubicBezTo>
                  <a:pt x="26469" y="15844"/>
                  <a:pt x="26532" y="15812"/>
                  <a:pt x="26625" y="15781"/>
                </a:cubicBezTo>
                <a:cubicBezTo>
                  <a:pt x="26688" y="15906"/>
                  <a:pt x="26938" y="15969"/>
                  <a:pt x="26688" y="16156"/>
                </a:cubicBezTo>
                <a:cubicBezTo>
                  <a:pt x="26688" y="16156"/>
                  <a:pt x="26657" y="16156"/>
                  <a:pt x="26657" y="16156"/>
                </a:cubicBezTo>
                <a:cubicBezTo>
                  <a:pt x="26657" y="16156"/>
                  <a:pt x="26657" y="16156"/>
                  <a:pt x="26625" y="16156"/>
                </a:cubicBezTo>
                <a:lnTo>
                  <a:pt x="26625" y="16156"/>
                </a:lnTo>
                <a:cubicBezTo>
                  <a:pt x="26657" y="16156"/>
                  <a:pt x="26657" y="16156"/>
                  <a:pt x="26657" y="16156"/>
                </a:cubicBezTo>
                <a:cubicBezTo>
                  <a:pt x="26657" y="16156"/>
                  <a:pt x="26688" y="16156"/>
                  <a:pt x="26688" y="16156"/>
                </a:cubicBezTo>
                <a:cubicBezTo>
                  <a:pt x="26688" y="16156"/>
                  <a:pt x="26688" y="16156"/>
                  <a:pt x="26688" y="16156"/>
                </a:cubicBezTo>
                <a:cubicBezTo>
                  <a:pt x="26844" y="16250"/>
                  <a:pt x="26813" y="16469"/>
                  <a:pt x="26907" y="16594"/>
                </a:cubicBezTo>
                <a:cubicBezTo>
                  <a:pt x="27094" y="16844"/>
                  <a:pt x="27157" y="17125"/>
                  <a:pt x="27469" y="17219"/>
                </a:cubicBezTo>
                <a:cubicBezTo>
                  <a:pt x="27625" y="17406"/>
                  <a:pt x="27875" y="17312"/>
                  <a:pt x="28032" y="17406"/>
                </a:cubicBezTo>
                <a:cubicBezTo>
                  <a:pt x="28094" y="17469"/>
                  <a:pt x="28157" y="17437"/>
                  <a:pt x="28219" y="17469"/>
                </a:cubicBezTo>
                <a:cubicBezTo>
                  <a:pt x="28219" y="17531"/>
                  <a:pt x="28219" y="17562"/>
                  <a:pt x="28282" y="17562"/>
                </a:cubicBezTo>
                <a:cubicBezTo>
                  <a:pt x="28282" y="17562"/>
                  <a:pt x="28313" y="17531"/>
                  <a:pt x="28313" y="17500"/>
                </a:cubicBezTo>
                <a:cubicBezTo>
                  <a:pt x="28344" y="17500"/>
                  <a:pt x="28375" y="17500"/>
                  <a:pt x="28407" y="17469"/>
                </a:cubicBezTo>
                <a:cubicBezTo>
                  <a:pt x="28407" y="17594"/>
                  <a:pt x="28375" y="17719"/>
                  <a:pt x="28375" y="17844"/>
                </a:cubicBezTo>
                <a:cubicBezTo>
                  <a:pt x="28219" y="17844"/>
                  <a:pt x="28219" y="17969"/>
                  <a:pt x="28157" y="18062"/>
                </a:cubicBezTo>
                <a:cubicBezTo>
                  <a:pt x="28094" y="18156"/>
                  <a:pt x="28000" y="18219"/>
                  <a:pt x="28000" y="18031"/>
                </a:cubicBezTo>
                <a:cubicBezTo>
                  <a:pt x="28032" y="18031"/>
                  <a:pt x="28032" y="18000"/>
                  <a:pt x="28032" y="17969"/>
                </a:cubicBezTo>
                <a:lnTo>
                  <a:pt x="28032" y="17969"/>
                </a:lnTo>
                <a:cubicBezTo>
                  <a:pt x="28032" y="17969"/>
                  <a:pt x="28000" y="17969"/>
                  <a:pt x="28000" y="17969"/>
                </a:cubicBezTo>
                <a:cubicBezTo>
                  <a:pt x="27969" y="17969"/>
                  <a:pt x="27969" y="18000"/>
                  <a:pt x="28000" y="18031"/>
                </a:cubicBezTo>
                <a:cubicBezTo>
                  <a:pt x="27844" y="18031"/>
                  <a:pt x="27844" y="18187"/>
                  <a:pt x="27782" y="18250"/>
                </a:cubicBezTo>
                <a:cubicBezTo>
                  <a:pt x="27750" y="18281"/>
                  <a:pt x="27719" y="18312"/>
                  <a:pt x="27657" y="18250"/>
                </a:cubicBezTo>
                <a:cubicBezTo>
                  <a:pt x="27625" y="18219"/>
                  <a:pt x="27657" y="18187"/>
                  <a:pt x="27688" y="18156"/>
                </a:cubicBezTo>
                <a:cubicBezTo>
                  <a:pt x="27688" y="18156"/>
                  <a:pt x="27688" y="18156"/>
                  <a:pt x="27688" y="18156"/>
                </a:cubicBezTo>
                <a:cubicBezTo>
                  <a:pt x="27688" y="18156"/>
                  <a:pt x="27688" y="18156"/>
                  <a:pt x="27688" y="18156"/>
                </a:cubicBezTo>
                <a:cubicBezTo>
                  <a:pt x="27688" y="18156"/>
                  <a:pt x="27688" y="18156"/>
                  <a:pt x="27688" y="18156"/>
                </a:cubicBezTo>
                <a:cubicBezTo>
                  <a:pt x="27625" y="18187"/>
                  <a:pt x="27563" y="18219"/>
                  <a:pt x="27469" y="18281"/>
                </a:cubicBezTo>
                <a:cubicBezTo>
                  <a:pt x="27469" y="18062"/>
                  <a:pt x="27375" y="18031"/>
                  <a:pt x="27219" y="18187"/>
                </a:cubicBezTo>
                <a:cubicBezTo>
                  <a:pt x="27157" y="18250"/>
                  <a:pt x="27094" y="18344"/>
                  <a:pt x="26938" y="18312"/>
                </a:cubicBezTo>
                <a:cubicBezTo>
                  <a:pt x="26532" y="18281"/>
                  <a:pt x="26125" y="18312"/>
                  <a:pt x="25844" y="18687"/>
                </a:cubicBezTo>
                <a:cubicBezTo>
                  <a:pt x="25750" y="18781"/>
                  <a:pt x="25688" y="18875"/>
                  <a:pt x="25594" y="18937"/>
                </a:cubicBezTo>
                <a:cubicBezTo>
                  <a:pt x="25375" y="19094"/>
                  <a:pt x="25532" y="19250"/>
                  <a:pt x="25657" y="19250"/>
                </a:cubicBezTo>
                <a:cubicBezTo>
                  <a:pt x="26063" y="19312"/>
                  <a:pt x="26438" y="19469"/>
                  <a:pt x="26813" y="19375"/>
                </a:cubicBezTo>
                <a:cubicBezTo>
                  <a:pt x="26907" y="19344"/>
                  <a:pt x="26969" y="19375"/>
                  <a:pt x="27032" y="19375"/>
                </a:cubicBezTo>
                <a:cubicBezTo>
                  <a:pt x="27469" y="19469"/>
                  <a:pt x="27938" y="19594"/>
                  <a:pt x="28375" y="19250"/>
                </a:cubicBezTo>
                <a:cubicBezTo>
                  <a:pt x="28469" y="19281"/>
                  <a:pt x="28469" y="19156"/>
                  <a:pt x="28532" y="19156"/>
                </a:cubicBezTo>
                <a:cubicBezTo>
                  <a:pt x="28969" y="18969"/>
                  <a:pt x="29063" y="18812"/>
                  <a:pt x="29063" y="18344"/>
                </a:cubicBezTo>
                <a:cubicBezTo>
                  <a:pt x="29063" y="18312"/>
                  <a:pt x="29063" y="18312"/>
                  <a:pt x="29063" y="18281"/>
                </a:cubicBezTo>
                <a:cubicBezTo>
                  <a:pt x="29313" y="18250"/>
                  <a:pt x="29313" y="17969"/>
                  <a:pt x="29469" y="17844"/>
                </a:cubicBezTo>
                <a:cubicBezTo>
                  <a:pt x="30000" y="17625"/>
                  <a:pt x="30125" y="17062"/>
                  <a:pt x="30500" y="16687"/>
                </a:cubicBezTo>
                <a:cubicBezTo>
                  <a:pt x="30719" y="16437"/>
                  <a:pt x="30625" y="16031"/>
                  <a:pt x="30407" y="15750"/>
                </a:cubicBezTo>
                <a:cubicBezTo>
                  <a:pt x="30282" y="15594"/>
                  <a:pt x="30188" y="15406"/>
                  <a:pt x="30063" y="15250"/>
                </a:cubicBezTo>
                <a:cubicBezTo>
                  <a:pt x="30344" y="15125"/>
                  <a:pt x="30157" y="14969"/>
                  <a:pt x="30063" y="14812"/>
                </a:cubicBezTo>
                <a:cubicBezTo>
                  <a:pt x="30094" y="14625"/>
                  <a:pt x="29875" y="14344"/>
                  <a:pt x="30219" y="14219"/>
                </a:cubicBezTo>
                <a:cubicBezTo>
                  <a:pt x="30219" y="14187"/>
                  <a:pt x="30188" y="14187"/>
                  <a:pt x="30188" y="14156"/>
                </a:cubicBezTo>
                <a:cubicBezTo>
                  <a:pt x="30094" y="13969"/>
                  <a:pt x="30094" y="13750"/>
                  <a:pt x="30094" y="13562"/>
                </a:cubicBezTo>
                <a:cubicBezTo>
                  <a:pt x="30282" y="13625"/>
                  <a:pt x="30219" y="13312"/>
                  <a:pt x="30469" y="13375"/>
                </a:cubicBezTo>
                <a:cubicBezTo>
                  <a:pt x="30313" y="13281"/>
                  <a:pt x="30250" y="13219"/>
                  <a:pt x="30157" y="13250"/>
                </a:cubicBezTo>
                <a:cubicBezTo>
                  <a:pt x="30157" y="13219"/>
                  <a:pt x="30157" y="13187"/>
                  <a:pt x="30157" y="13156"/>
                </a:cubicBezTo>
                <a:cubicBezTo>
                  <a:pt x="30157" y="13156"/>
                  <a:pt x="30157" y="13156"/>
                  <a:pt x="30157" y="13156"/>
                </a:cubicBezTo>
                <a:cubicBezTo>
                  <a:pt x="30157" y="13156"/>
                  <a:pt x="30188" y="13156"/>
                  <a:pt x="30219" y="13125"/>
                </a:cubicBezTo>
                <a:cubicBezTo>
                  <a:pt x="30219" y="13156"/>
                  <a:pt x="30219" y="13156"/>
                  <a:pt x="30219" y="13156"/>
                </a:cubicBezTo>
                <a:cubicBezTo>
                  <a:pt x="30219" y="13156"/>
                  <a:pt x="30250" y="13125"/>
                  <a:pt x="30250" y="13125"/>
                </a:cubicBezTo>
                <a:cubicBezTo>
                  <a:pt x="30282" y="13125"/>
                  <a:pt x="30282" y="13125"/>
                  <a:pt x="30313" y="13125"/>
                </a:cubicBezTo>
                <a:cubicBezTo>
                  <a:pt x="30375" y="13187"/>
                  <a:pt x="30438" y="13187"/>
                  <a:pt x="30469" y="13156"/>
                </a:cubicBezTo>
                <a:cubicBezTo>
                  <a:pt x="30500" y="13094"/>
                  <a:pt x="30438" y="13062"/>
                  <a:pt x="30407" y="13062"/>
                </a:cubicBezTo>
                <a:cubicBezTo>
                  <a:pt x="30407" y="12969"/>
                  <a:pt x="30532" y="12969"/>
                  <a:pt x="30500" y="12875"/>
                </a:cubicBezTo>
                <a:cubicBezTo>
                  <a:pt x="30500" y="12687"/>
                  <a:pt x="30282" y="12469"/>
                  <a:pt x="30563" y="12312"/>
                </a:cubicBezTo>
                <a:cubicBezTo>
                  <a:pt x="30407" y="12125"/>
                  <a:pt x="30719" y="12062"/>
                  <a:pt x="30657" y="12000"/>
                </a:cubicBezTo>
                <a:cubicBezTo>
                  <a:pt x="30563" y="11844"/>
                  <a:pt x="30563" y="11656"/>
                  <a:pt x="30469" y="11531"/>
                </a:cubicBezTo>
                <a:cubicBezTo>
                  <a:pt x="30438" y="11469"/>
                  <a:pt x="30375" y="11375"/>
                  <a:pt x="30407" y="11312"/>
                </a:cubicBezTo>
                <a:cubicBezTo>
                  <a:pt x="30500" y="11281"/>
                  <a:pt x="30563" y="11344"/>
                  <a:pt x="30625" y="11375"/>
                </a:cubicBezTo>
                <a:cubicBezTo>
                  <a:pt x="30782" y="11437"/>
                  <a:pt x="30844" y="11312"/>
                  <a:pt x="30813" y="11219"/>
                </a:cubicBezTo>
                <a:cubicBezTo>
                  <a:pt x="30750" y="11062"/>
                  <a:pt x="30563" y="11156"/>
                  <a:pt x="30438" y="11125"/>
                </a:cubicBezTo>
                <a:cubicBezTo>
                  <a:pt x="30438" y="11000"/>
                  <a:pt x="30563" y="10875"/>
                  <a:pt x="30407" y="10781"/>
                </a:cubicBezTo>
                <a:cubicBezTo>
                  <a:pt x="30094" y="10625"/>
                  <a:pt x="30282" y="10562"/>
                  <a:pt x="30438" y="10500"/>
                </a:cubicBezTo>
                <a:cubicBezTo>
                  <a:pt x="30563" y="10469"/>
                  <a:pt x="30532" y="10344"/>
                  <a:pt x="30500" y="10312"/>
                </a:cubicBezTo>
                <a:cubicBezTo>
                  <a:pt x="30407" y="10094"/>
                  <a:pt x="30250" y="9875"/>
                  <a:pt x="30125" y="9656"/>
                </a:cubicBezTo>
                <a:cubicBezTo>
                  <a:pt x="30000" y="9375"/>
                  <a:pt x="29844" y="9125"/>
                  <a:pt x="29750" y="8812"/>
                </a:cubicBezTo>
                <a:cubicBezTo>
                  <a:pt x="29688" y="8500"/>
                  <a:pt x="29938" y="8344"/>
                  <a:pt x="29875" y="8094"/>
                </a:cubicBezTo>
                <a:cubicBezTo>
                  <a:pt x="29875" y="8094"/>
                  <a:pt x="29875" y="8094"/>
                  <a:pt x="29875" y="8094"/>
                </a:cubicBezTo>
                <a:cubicBezTo>
                  <a:pt x="29907" y="7937"/>
                  <a:pt x="30000" y="7812"/>
                  <a:pt x="29969" y="7687"/>
                </a:cubicBezTo>
                <a:cubicBezTo>
                  <a:pt x="29907" y="7500"/>
                  <a:pt x="30032" y="7344"/>
                  <a:pt x="29938" y="7156"/>
                </a:cubicBezTo>
                <a:cubicBezTo>
                  <a:pt x="29875" y="7000"/>
                  <a:pt x="30188" y="6937"/>
                  <a:pt x="30125" y="6719"/>
                </a:cubicBezTo>
                <a:cubicBezTo>
                  <a:pt x="30094" y="6625"/>
                  <a:pt x="30282" y="6469"/>
                  <a:pt x="30344" y="6344"/>
                </a:cubicBezTo>
                <a:cubicBezTo>
                  <a:pt x="30375" y="6312"/>
                  <a:pt x="30438" y="6250"/>
                  <a:pt x="30438" y="6250"/>
                </a:cubicBezTo>
                <a:cubicBezTo>
                  <a:pt x="30344" y="6031"/>
                  <a:pt x="30469" y="5937"/>
                  <a:pt x="30625" y="5812"/>
                </a:cubicBezTo>
                <a:cubicBezTo>
                  <a:pt x="30657" y="5781"/>
                  <a:pt x="30688" y="5750"/>
                  <a:pt x="30719" y="5656"/>
                </a:cubicBezTo>
                <a:cubicBezTo>
                  <a:pt x="30875" y="5062"/>
                  <a:pt x="31032" y="4469"/>
                  <a:pt x="31188" y="3875"/>
                </a:cubicBezTo>
                <a:cubicBezTo>
                  <a:pt x="31188" y="3875"/>
                  <a:pt x="31188" y="3875"/>
                  <a:pt x="31188" y="3844"/>
                </a:cubicBezTo>
                <a:cubicBezTo>
                  <a:pt x="31219" y="3812"/>
                  <a:pt x="31219" y="3812"/>
                  <a:pt x="31250" y="3781"/>
                </a:cubicBezTo>
                <a:cubicBezTo>
                  <a:pt x="31250" y="3781"/>
                  <a:pt x="31219" y="3781"/>
                  <a:pt x="31219" y="3750"/>
                </a:cubicBezTo>
                <a:lnTo>
                  <a:pt x="31219" y="3750"/>
                </a:lnTo>
                <a:cubicBezTo>
                  <a:pt x="31219" y="3781"/>
                  <a:pt x="31219" y="3812"/>
                  <a:pt x="31188" y="3844"/>
                </a:cubicBezTo>
                <a:cubicBezTo>
                  <a:pt x="31188" y="3875"/>
                  <a:pt x="31188" y="3875"/>
                  <a:pt x="31188" y="3875"/>
                </a:cubicBezTo>
                <a:cubicBezTo>
                  <a:pt x="31188" y="3875"/>
                  <a:pt x="31188" y="3875"/>
                  <a:pt x="31188" y="3875"/>
                </a:cubicBezTo>
                <a:cubicBezTo>
                  <a:pt x="30969" y="4062"/>
                  <a:pt x="30782" y="4312"/>
                  <a:pt x="30532" y="4531"/>
                </a:cubicBezTo>
                <a:cubicBezTo>
                  <a:pt x="30563" y="4437"/>
                  <a:pt x="30563" y="4375"/>
                  <a:pt x="30563" y="4312"/>
                </a:cubicBezTo>
                <a:cubicBezTo>
                  <a:pt x="30594" y="4281"/>
                  <a:pt x="30625" y="4219"/>
                  <a:pt x="30657" y="4187"/>
                </a:cubicBezTo>
                <a:cubicBezTo>
                  <a:pt x="30750" y="4125"/>
                  <a:pt x="30813" y="4031"/>
                  <a:pt x="30844" y="3937"/>
                </a:cubicBezTo>
                <a:cubicBezTo>
                  <a:pt x="30875" y="3875"/>
                  <a:pt x="30907" y="3812"/>
                  <a:pt x="30844" y="3781"/>
                </a:cubicBezTo>
                <a:cubicBezTo>
                  <a:pt x="30813" y="3781"/>
                  <a:pt x="30719" y="3750"/>
                  <a:pt x="30719" y="3781"/>
                </a:cubicBezTo>
                <a:cubicBezTo>
                  <a:pt x="30657" y="3875"/>
                  <a:pt x="30438" y="3875"/>
                  <a:pt x="30500" y="4062"/>
                </a:cubicBezTo>
                <a:cubicBezTo>
                  <a:pt x="30407" y="4156"/>
                  <a:pt x="30282" y="4187"/>
                  <a:pt x="30188" y="4312"/>
                </a:cubicBezTo>
                <a:cubicBezTo>
                  <a:pt x="30032" y="4531"/>
                  <a:pt x="29844" y="4750"/>
                  <a:pt x="29594" y="4875"/>
                </a:cubicBezTo>
                <a:cubicBezTo>
                  <a:pt x="29500" y="4906"/>
                  <a:pt x="29407" y="4875"/>
                  <a:pt x="29344" y="4969"/>
                </a:cubicBezTo>
                <a:cubicBezTo>
                  <a:pt x="29407" y="5062"/>
                  <a:pt x="29500" y="4937"/>
                  <a:pt x="29563" y="5062"/>
                </a:cubicBezTo>
                <a:cubicBezTo>
                  <a:pt x="29375" y="5219"/>
                  <a:pt x="29188" y="5375"/>
                  <a:pt x="29000" y="5562"/>
                </a:cubicBezTo>
                <a:cubicBezTo>
                  <a:pt x="29094" y="5562"/>
                  <a:pt x="29157" y="5594"/>
                  <a:pt x="29219" y="5594"/>
                </a:cubicBezTo>
                <a:cubicBezTo>
                  <a:pt x="29094" y="5812"/>
                  <a:pt x="28844" y="5687"/>
                  <a:pt x="28688" y="5812"/>
                </a:cubicBezTo>
                <a:cubicBezTo>
                  <a:pt x="28594" y="5875"/>
                  <a:pt x="28563" y="5906"/>
                  <a:pt x="28563" y="6000"/>
                </a:cubicBezTo>
                <a:cubicBezTo>
                  <a:pt x="28500" y="6000"/>
                  <a:pt x="28438" y="6000"/>
                  <a:pt x="28375" y="6000"/>
                </a:cubicBezTo>
                <a:cubicBezTo>
                  <a:pt x="28282" y="6031"/>
                  <a:pt x="28188" y="6031"/>
                  <a:pt x="28094" y="6031"/>
                </a:cubicBezTo>
                <a:cubicBezTo>
                  <a:pt x="28157" y="5844"/>
                  <a:pt x="28344" y="5875"/>
                  <a:pt x="28469" y="5750"/>
                </a:cubicBezTo>
                <a:cubicBezTo>
                  <a:pt x="28344" y="5719"/>
                  <a:pt x="28219" y="5844"/>
                  <a:pt x="28125" y="5719"/>
                </a:cubicBezTo>
                <a:cubicBezTo>
                  <a:pt x="28063" y="5656"/>
                  <a:pt x="28125" y="5531"/>
                  <a:pt x="28157" y="5500"/>
                </a:cubicBezTo>
                <a:cubicBezTo>
                  <a:pt x="28375" y="5281"/>
                  <a:pt x="28500" y="4906"/>
                  <a:pt x="28907" y="4844"/>
                </a:cubicBezTo>
                <a:cubicBezTo>
                  <a:pt x="28969" y="4812"/>
                  <a:pt x="29063" y="4781"/>
                  <a:pt x="29125" y="4719"/>
                </a:cubicBezTo>
                <a:cubicBezTo>
                  <a:pt x="29032" y="4656"/>
                  <a:pt x="28875" y="4750"/>
                  <a:pt x="28782" y="4625"/>
                </a:cubicBezTo>
                <a:cubicBezTo>
                  <a:pt x="28782" y="4625"/>
                  <a:pt x="28750" y="4656"/>
                  <a:pt x="28750" y="4656"/>
                </a:cubicBezTo>
                <a:cubicBezTo>
                  <a:pt x="28750" y="4656"/>
                  <a:pt x="28782" y="4625"/>
                  <a:pt x="28782" y="4625"/>
                </a:cubicBezTo>
                <a:cubicBezTo>
                  <a:pt x="28782" y="4594"/>
                  <a:pt x="28813" y="4594"/>
                  <a:pt x="28813" y="4562"/>
                </a:cubicBezTo>
                <a:cubicBezTo>
                  <a:pt x="28969" y="4562"/>
                  <a:pt x="29125" y="4594"/>
                  <a:pt x="29188" y="4375"/>
                </a:cubicBezTo>
                <a:cubicBezTo>
                  <a:pt x="29094" y="4281"/>
                  <a:pt x="28907" y="4500"/>
                  <a:pt x="28875" y="4250"/>
                </a:cubicBezTo>
                <a:cubicBezTo>
                  <a:pt x="29063" y="4281"/>
                  <a:pt x="29188" y="4062"/>
                  <a:pt x="29188" y="3969"/>
                </a:cubicBezTo>
                <a:cubicBezTo>
                  <a:pt x="29219" y="3719"/>
                  <a:pt x="29375" y="3687"/>
                  <a:pt x="29563" y="3625"/>
                </a:cubicBezTo>
                <a:cubicBezTo>
                  <a:pt x="29750" y="3562"/>
                  <a:pt x="29907" y="3469"/>
                  <a:pt x="30063" y="3312"/>
                </a:cubicBezTo>
                <a:cubicBezTo>
                  <a:pt x="30063" y="3312"/>
                  <a:pt x="30094" y="3281"/>
                  <a:pt x="30094" y="3281"/>
                </a:cubicBezTo>
                <a:cubicBezTo>
                  <a:pt x="30094" y="3281"/>
                  <a:pt x="30094" y="3281"/>
                  <a:pt x="30094" y="3281"/>
                </a:cubicBezTo>
                <a:lnTo>
                  <a:pt x="30094" y="3281"/>
                </a:lnTo>
                <a:cubicBezTo>
                  <a:pt x="30094" y="3281"/>
                  <a:pt x="30063" y="3281"/>
                  <a:pt x="30063" y="3312"/>
                </a:cubicBezTo>
                <a:cubicBezTo>
                  <a:pt x="30000" y="3312"/>
                  <a:pt x="29938" y="3281"/>
                  <a:pt x="29844" y="3281"/>
                </a:cubicBezTo>
                <a:cubicBezTo>
                  <a:pt x="29969" y="3187"/>
                  <a:pt x="30032" y="3062"/>
                  <a:pt x="29938" y="2937"/>
                </a:cubicBezTo>
                <a:cubicBezTo>
                  <a:pt x="30063" y="2937"/>
                  <a:pt x="30125" y="2875"/>
                  <a:pt x="30219" y="2812"/>
                </a:cubicBezTo>
                <a:cubicBezTo>
                  <a:pt x="30313" y="2719"/>
                  <a:pt x="30500" y="2562"/>
                  <a:pt x="30532" y="2594"/>
                </a:cubicBezTo>
                <a:cubicBezTo>
                  <a:pt x="30813" y="2750"/>
                  <a:pt x="31063" y="2562"/>
                  <a:pt x="31313" y="2594"/>
                </a:cubicBezTo>
                <a:cubicBezTo>
                  <a:pt x="31657" y="2625"/>
                  <a:pt x="31750" y="2469"/>
                  <a:pt x="31594" y="2156"/>
                </a:cubicBezTo>
                <a:lnTo>
                  <a:pt x="31594" y="2156"/>
                </a:lnTo>
                <a:cubicBezTo>
                  <a:pt x="31532" y="2031"/>
                  <a:pt x="31563" y="1937"/>
                  <a:pt x="31657" y="1812"/>
                </a:cubicBezTo>
                <a:cubicBezTo>
                  <a:pt x="31469" y="1844"/>
                  <a:pt x="31344" y="1656"/>
                  <a:pt x="31188" y="1781"/>
                </a:cubicBezTo>
                <a:cubicBezTo>
                  <a:pt x="30875" y="1844"/>
                  <a:pt x="30500" y="1812"/>
                  <a:pt x="30250" y="2000"/>
                </a:cubicBezTo>
                <a:cubicBezTo>
                  <a:pt x="29657" y="2437"/>
                  <a:pt x="28969" y="2719"/>
                  <a:pt x="28344" y="3125"/>
                </a:cubicBezTo>
                <a:cubicBezTo>
                  <a:pt x="28344" y="2906"/>
                  <a:pt x="28250" y="3031"/>
                  <a:pt x="28157" y="3062"/>
                </a:cubicBezTo>
                <a:cubicBezTo>
                  <a:pt x="27907" y="3187"/>
                  <a:pt x="27657" y="3344"/>
                  <a:pt x="27375" y="3437"/>
                </a:cubicBezTo>
                <a:cubicBezTo>
                  <a:pt x="27188" y="3500"/>
                  <a:pt x="27188" y="3594"/>
                  <a:pt x="27157" y="3750"/>
                </a:cubicBezTo>
                <a:cubicBezTo>
                  <a:pt x="27063" y="3750"/>
                  <a:pt x="27000" y="3844"/>
                  <a:pt x="26938" y="3875"/>
                </a:cubicBezTo>
                <a:cubicBezTo>
                  <a:pt x="26719" y="3906"/>
                  <a:pt x="26594" y="4062"/>
                  <a:pt x="26438" y="4156"/>
                </a:cubicBezTo>
                <a:cubicBezTo>
                  <a:pt x="26157" y="4281"/>
                  <a:pt x="25844" y="4000"/>
                  <a:pt x="25625" y="4312"/>
                </a:cubicBezTo>
                <a:cubicBezTo>
                  <a:pt x="25532" y="4156"/>
                  <a:pt x="25532" y="4062"/>
                  <a:pt x="25500" y="3937"/>
                </a:cubicBezTo>
                <a:cubicBezTo>
                  <a:pt x="25344" y="4062"/>
                  <a:pt x="25250" y="4250"/>
                  <a:pt x="25032" y="4312"/>
                </a:cubicBezTo>
                <a:cubicBezTo>
                  <a:pt x="24875" y="4375"/>
                  <a:pt x="24750" y="4312"/>
                  <a:pt x="24594" y="4312"/>
                </a:cubicBezTo>
                <a:cubicBezTo>
                  <a:pt x="24375" y="4344"/>
                  <a:pt x="24188" y="4312"/>
                  <a:pt x="24063" y="4125"/>
                </a:cubicBezTo>
                <a:cubicBezTo>
                  <a:pt x="24063" y="4187"/>
                  <a:pt x="24094" y="4281"/>
                  <a:pt x="24000" y="4344"/>
                </a:cubicBezTo>
                <a:cubicBezTo>
                  <a:pt x="23875" y="4312"/>
                  <a:pt x="24000" y="4094"/>
                  <a:pt x="23844" y="4125"/>
                </a:cubicBezTo>
                <a:cubicBezTo>
                  <a:pt x="23688" y="4125"/>
                  <a:pt x="23719" y="4344"/>
                  <a:pt x="23594" y="4406"/>
                </a:cubicBezTo>
                <a:cubicBezTo>
                  <a:pt x="23594" y="4219"/>
                  <a:pt x="23344" y="4281"/>
                  <a:pt x="23313" y="4094"/>
                </a:cubicBezTo>
                <a:cubicBezTo>
                  <a:pt x="23125" y="4156"/>
                  <a:pt x="23063" y="3969"/>
                  <a:pt x="22938" y="3906"/>
                </a:cubicBezTo>
                <a:cubicBezTo>
                  <a:pt x="22844" y="4094"/>
                  <a:pt x="22594" y="3687"/>
                  <a:pt x="22532" y="4000"/>
                </a:cubicBezTo>
                <a:cubicBezTo>
                  <a:pt x="22532" y="4031"/>
                  <a:pt x="22438" y="3906"/>
                  <a:pt x="22375" y="3844"/>
                </a:cubicBezTo>
                <a:cubicBezTo>
                  <a:pt x="22344" y="3781"/>
                  <a:pt x="22344" y="3625"/>
                  <a:pt x="22250" y="3719"/>
                </a:cubicBezTo>
                <a:cubicBezTo>
                  <a:pt x="22032" y="3844"/>
                  <a:pt x="22000" y="3656"/>
                  <a:pt x="21938" y="3562"/>
                </a:cubicBezTo>
                <a:cubicBezTo>
                  <a:pt x="21844" y="3312"/>
                  <a:pt x="21813" y="3500"/>
                  <a:pt x="21719" y="3562"/>
                </a:cubicBezTo>
                <a:cubicBezTo>
                  <a:pt x="21469" y="3406"/>
                  <a:pt x="21282" y="3187"/>
                  <a:pt x="21125" y="2906"/>
                </a:cubicBezTo>
                <a:cubicBezTo>
                  <a:pt x="21000" y="2594"/>
                  <a:pt x="20844" y="2312"/>
                  <a:pt x="20688" y="2031"/>
                </a:cubicBezTo>
                <a:cubicBezTo>
                  <a:pt x="20532" y="1812"/>
                  <a:pt x="20407" y="1562"/>
                  <a:pt x="20219" y="1375"/>
                </a:cubicBezTo>
                <a:cubicBezTo>
                  <a:pt x="20188" y="1344"/>
                  <a:pt x="20157" y="1312"/>
                  <a:pt x="20157" y="1281"/>
                </a:cubicBezTo>
                <a:cubicBezTo>
                  <a:pt x="19969" y="1000"/>
                  <a:pt x="19782" y="719"/>
                  <a:pt x="19594" y="437"/>
                </a:cubicBezTo>
                <a:cubicBezTo>
                  <a:pt x="19469" y="562"/>
                  <a:pt x="19688" y="625"/>
                  <a:pt x="19594" y="781"/>
                </a:cubicBezTo>
                <a:cubicBezTo>
                  <a:pt x="19438" y="562"/>
                  <a:pt x="19250" y="437"/>
                  <a:pt x="19188" y="188"/>
                </a:cubicBezTo>
                <a:cubicBezTo>
                  <a:pt x="19157" y="125"/>
                  <a:pt x="19157" y="94"/>
                  <a:pt x="19063" y="63"/>
                </a:cubicBezTo>
                <a:cubicBezTo>
                  <a:pt x="18813" y="0"/>
                  <a:pt x="18563" y="0"/>
                  <a:pt x="18344" y="125"/>
                </a:cubicBezTo>
                <a:cubicBezTo>
                  <a:pt x="17657" y="594"/>
                  <a:pt x="17063" y="1125"/>
                  <a:pt x="16719" y="1906"/>
                </a:cubicBezTo>
                <a:cubicBezTo>
                  <a:pt x="16625" y="1969"/>
                  <a:pt x="16563" y="1937"/>
                  <a:pt x="16500" y="1844"/>
                </a:cubicBezTo>
                <a:cubicBezTo>
                  <a:pt x="16407" y="2125"/>
                  <a:pt x="16219" y="2344"/>
                  <a:pt x="16219" y="2625"/>
                </a:cubicBezTo>
                <a:cubicBezTo>
                  <a:pt x="16219" y="2625"/>
                  <a:pt x="16219" y="2625"/>
                  <a:pt x="16219" y="2625"/>
                </a:cubicBezTo>
                <a:cubicBezTo>
                  <a:pt x="16188" y="2594"/>
                  <a:pt x="16157" y="2594"/>
                  <a:pt x="16125" y="2562"/>
                </a:cubicBezTo>
                <a:cubicBezTo>
                  <a:pt x="16157" y="2750"/>
                  <a:pt x="16000" y="2906"/>
                  <a:pt x="16032" y="3094"/>
                </a:cubicBezTo>
                <a:cubicBezTo>
                  <a:pt x="15782" y="3500"/>
                  <a:pt x="15688" y="4000"/>
                  <a:pt x="15469" y="4437"/>
                </a:cubicBezTo>
                <a:cubicBezTo>
                  <a:pt x="15282" y="4562"/>
                  <a:pt x="15219" y="4906"/>
                  <a:pt x="14907" y="4875"/>
                </a:cubicBezTo>
                <a:cubicBezTo>
                  <a:pt x="14969" y="4969"/>
                  <a:pt x="15000" y="5031"/>
                  <a:pt x="15063" y="5125"/>
                </a:cubicBezTo>
                <a:cubicBezTo>
                  <a:pt x="15063" y="5187"/>
                  <a:pt x="15063" y="5250"/>
                  <a:pt x="14969" y="5250"/>
                </a:cubicBezTo>
                <a:cubicBezTo>
                  <a:pt x="14907" y="5187"/>
                  <a:pt x="14875" y="5156"/>
                  <a:pt x="14813" y="5219"/>
                </a:cubicBezTo>
                <a:cubicBezTo>
                  <a:pt x="14688" y="5312"/>
                  <a:pt x="14844" y="5375"/>
                  <a:pt x="14844" y="5469"/>
                </a:cubicBezTo>
                <a:cubicBezTo>
                  <a:pt x="14844" y="5469"/>
                  <a:pt x="14844" y="5469"/>
                  <a:pt x="14844" y="5469"/>
                </a:cubicBezTo>
                <a:cubicBezTo>
                  <a:pt x="14782" y="5469"/>
                  <a:pt x="14750" y="5531"/>
                  <a:pt x="14688" y="5531"/>
                </a:cubicBezTo>
                <a:cubicBezTo>
                  <a:pt x="14438" y="5625"/>
                  <a:pt x="14563" y="5937"/>
                  <a:pt x="14375" y="6031"/>
                </a:cubicBezTo>
                <a:cubicBezTo>
                  <a:pt x="14188" y="6125"/>
                  <a:pt x="14344" y="6156"/>
                  <a:pt x="14344" y="6219"/>
                </a:cubicBezTo>
                <a:cubicBezTo>
                  <a:pt x="14282" y="6406"/>
                  <a:pt x="14094" y="6469"/>
                  <a:pt x="13969" y="6562"/>
                </a:cubicBezTo>
                <a:cubicBezTo>
                  <a:pt x="13907" y="6594"/>
                  <a:pt x="14000" y="6719"/>
                  <a:pt x="13907" y="6781"/>
                </a:cubicBezTo>
                <a:cubicBezTo>
                  <a:pt x="13875" y="6781"/>
                  <a:pt x="13875" y="6781"/>
                  <a:pt x="13844" y="6812"/>
                </a:cubicBezTo>
                <a:cubicBezTo>
                  <a:pt x="13844" y="6812"/>
                  <a:pt x="13844" y="6812"/>
                  <a:pt x="13844" y="6844"/>
                </a:cubicBezTo>
                <a:cubicBezTo>
                  <a:pt x="13813" y="6937"/>
                  <a:pt x="13657" y="6937"/>
                  <a:pt x="13594" y="7031"/>
                </a:cubicBezTo>
                <a:cubicBezTo>
                  <a:pt x="13313" y="7094"/>
                  <a:pt x="13313" y="7312"/>
                  <a:pt x="13282" y="7531"/>
                </a:cubicBezTo>
                <a:cubicBezTo>
                  <a:pt x="13157" y="7719"/>
                  <a:pt x="13094" y="7937"/>
                  <a:pt x="12875" y="8031"/>
                </a:cubicBezTo>
                <a:cubicBezTo>
                  <a:pt x="12657" y="8031"/>
                  <a:pt x="12594" y="8094"/>
                  <a:pt x="12750" y="8281"/>
                </a:cubicBezTo>
                <a:cubicBezTo>
                  <a:pt x="12719" y="8344"/>
                  <a:pt x="12657" y="8437"/>
                  <a:pt x="12625" y="8437"/>
                </a:cubicBezTo>
                <a:cubicBezTo>
                  <a:pt x="12375" y="8312"/>
                  <a:pt x="12344" y="8562"/>
                  <a:pt x="12250" y="8656"/>
                </a:cubicBezTo>
                <a:cubicBezTo>
                  <a:pt x="12125" y="8781"/>
                  <a:pt x="12063" y="8906"/>
                  <a:pt x="11907" y="8969"/>
                </a:cubicBezTo>
                <a:cubicBezTo>
                  <a:pt x="11907" y="9062"/>
                  <a:pt x="12063" y="9000"/>
                  <a:pt x="12000" y="9094"/>
                </a:cubicBezTo>
                <a:cubicBezTo>
                  <a:pt x="11844" y="9281"/>
                  <a:pt x="11688" y="9437"/>
                  <a:pt x="11469" y="9562"/>
                </a:cubicBezTo>
                <a:cubicBezTo>
                  <a:pt x="11313" y="9656"/>
                  <a:pt x="11313" y="9719"/>
                  <a:pt x="11375" y="9844"/>
                </a:cubicBezTo>
                <a:cubicBezTo>
                  <a:pt x="11344" y="9844"/>
                  <a:pt x="11282" y="9844"/>
                  <a:pt x="11250" y="9875"/>
                </a:cubicBezTo>
                <a:cubicBezTo>
                  <a:pt x="11157" y="9875"/>
                  <a:pt x="10969" y="9875"/>
                  <a:pt x="11032" y="10000"/>
                </a:cubicBezTo>
                <a:cubicBezTo>
                  <a:pt x="11125" y="10219"/>
                  <a:pt x="10969" y="10219"/>
                  <a:pt x="10844" y="10281"/>
                </a:cubicBezTo>
                <a:cubicBezTo>
                  <a:pt x="10625" y="10344"/>
                  <a:pt x="10407" y="10375"/>
                  <a:pt x="10313" y="10625"/>
                </a:cubicBezTo>
                <a:cubicBezTo>
                  <a:pt x="10219" y="10656"/>
                  <a:pt x="10125" y="10687"/>
                  <a:pt x="10032" y="10781"/>
                </a:cubicBezTo>
                <a:cubicBezTo>
                  <a:pt x="9938" y="10875"/>
                  <a:pt x="9938" y="10937"/>
                  <a:pt x="10063" y="10969"/>
                </a:cubicBezTo>
                <a:cubicBezTo>
                  <a:pt x="10125" y="11219"/>
                  <a:pt x="9938" y="11281"/>
                  <a:pt x="9782" y="11281"/>
                </a:cubicBezTo>
                <a:cubicBezTo>
                  <a:pt x="9657" y="11281"/>
                  <a:pt x="9625" y="11312"/>
                  <a:pt x="9625" y="11437"/>
                </a:cubicBezTo>
                <a:cubicBezTo>
                  <a:pt x="9407" y="11406"/>
                  <a:pt x="9094" y="11312"/>
                  <a:pt x="9250" y="11750"/>
                </a:cubicBezTo>
                <a:cubicBezTo>
                  <a:pt x="9282" y="11781"/>
                  <a:pt x="9188" y="11812"/>
                  <a:pt x="9157" y="11812"/>
                </a:cubicBezTo>
                <a:cubicBezTo>
                  <a:pt x="9000" y="11687"/>
                  <a:pt x="8875" y="11812"/>
                  <a:pt x="8719" y="11812"/>
                </a:cubicBezTo>
                <a:cubicBezTo>
                  <a:pt x="8750" y="11844"/>
                  <a:pt x="8750" y="11875"/>
                  <a:pt x="8782" y="11906"/>
                </a:cubicBezTo>
                <a:cubicBezTo>
                  <a:pt x="8844" y="12000"/>
                  <a:pt x="8969" y="12062"/>
                  <a:pt x="8875" y="12187"/>
                </a:cubicBezTo>
                <a:cubicBezTo>
                  <a:pt x="8782" y="12281"/>
                  <a:pt x="8719" y="12125"/>
                  <a:pt x="8657" y="12156"/>
                </a:cubicBezTo>
                <a:cubicBezTo>
                  <a:pt x="8563" y="12156"/>
                  <a:pt x="8375" y="12031"/>
                  <a:pt x="8500" y="12281"/>
                </a:cubicBezTo>
                <a:cubicBezTo>
                  <a:pt x="8532" y="12375"/>
                  <a:pt x="8469" y="12469"/>
                  <a:pt x="8375" y="12469"/>
                </a:cubicBezTo>
                <a:cubicBezTo>
                  <a:pt x="8094" y="12437"/>
                  <a:pt x="8125" y="12781"/>
                  <a:pt x="7907" y="12812"/>
                </a:cubicBezTo>
                <a:cubicBezTo>
                  <a:pt x="8063" y="13281"/>
                  <a:pt x="7375" y="13000"/>
                  <a:pt x="7469" y="13375"/>
                </a:cubicBezTo>
                <a:cubicBezTo>
                  <a:pt x="7219" y="13312"/>
                  <a:pt x="7032" y="13594"/>
                  <a:pt x="6688" y="13437"/>
                </a:cubicBezTo>
                <a:cubicBezTo>
                  <a:pt x="6844" y="13594"/>
                  <a:pt x="7000" y="13531"/>
                  <a:pt x="7063" y="13719"/>
                </a:cubicBezTo>
                <a:cubicBezTo>
                  <a:pt x="6500" y="13750"/>
                  <a:pt x="6063" y="14062"/>
                  <a:pt x="5532" y="14156"/>
                </a:cubicBezTo>
                <a:cubicBezTo>
                  <a:pt x="5625" y="14344"/>
                  <a:pt x="5938" y="14094"/>
                  <a:pt x="5969" y="14437"/>
                </a:cubicBezTo>
                <a:cubicBezTo>
                  <a:pt x="5844" y="14437"/>
                  <a:pt x="5782" y="14531"/>
                  <a:pt x="5657" y="14531"/>
                </a:cubicBezTo>
                <a:cubicBezTo>
                  <a:pt x="5532" y="14312"/>
                  <a:pt x="5407" y="14437"/>
                  <a:pt x="5282" y="14531"/>
                </a:cubicBezTo>
                <a:cubicBezTo>
                  <a:pt x="5125" y="14687"/>
                  <a:pt x="5344" y="14719"/>
                  <a:pt x="5407" y="14812"/>
                </a:cubicBezTo>
                <a:cubicBezTo>
                  <a:pt x="5219" y="14937"/>
                  <a:pt x="5063" y="14750"/>
                  <a:pt x="4907" y="14750"/>
                </a:cubicBezTo>
                <a:cubicBezTo>
                  <a:pt x="4844" y="14750"/>
                  <a:pt x="4782" y="14719"/>
                  <a:pt x="4782" y="14812"/>
                </a:cubicBezTo>
                <a:cubicBezTo>
                  <a:pt x="4750" y="14875"/>
                  <a:pt x="4750" y="14906"/>
                  <a:pt x="4750" y="14937"/>
                </a:cubicBezTo>
                <a:cubicBezTo>
                  <a:pt x="4625" y="14937"/>
                  <a:pt x="4469" y="14969"/>
                  <a:pt x="4407" y="15000"/>
                </a:cubicBezTo>
                <a:cubicBezTo>
                  <a:pt x="4125" y="15094"/>
                  <a:pt x="3907" y="15312"/>
                  <a:pt x="3719" y="15562"/>
                </a:cubicBezTo>
                <a:cubicBezTo>
                  <a:pt x="3563" y="15719"/>
                  <a:pt x="3407" y="15812"/>
                  <a:pt x="3188" y="15687"/>
                </a:cubicBezTo>
                <a:cubicBezTo>
                  <a:pt x="3188" y="15687"/>
                  <a:pt x="3188" y="15687"/>
                  <a:pt x="3188" y="15687"/>
                </a:cubicBezTo>
                <a:cubicBezTo>
                  <a:pt x="3282" y="15844"/>
                  <a:pt x="3469" y="15969"/>
                  <a:pt x="3125" y="16000"/>
                </a:cubicBezTo>
                <a:cubicBezTo>
                  <a:pt x="3063" y="16000"/>
                  <a:pt x="3032" y="16094"/>
                  <a:pt x="3032" y="16156"/>
                </a:cubicBezTo>
                <a:cubicBezTo>
                  <a:pt x="2969" y="16375"/>
                  <a:pt x="2782" y="16375"/>
                  <a:pt x="2625" y="16375"/>
                </a:cubicBezTo>
                <a:cubicBezTo>
                  <a:pt x="2719" y="16437"/>
                  <a:pt x="2782" y="16531"/>
                  <a:pt x="2657" y="16656"/>
                </a:cubicBezTo>
                <a:cubicBezTo>
                  <a:pt x="2532" y="16750"/>
                  <a:pt x="2594" y="16875"/>
                  <a:pt x="2563" y="16969"/>
                </a:cubicBezTo>
                <a:cubicBezTo>
                  <a:pt x="2500" y="17000"/>
                  <a:pt x="2438" y="16937"/>
                  <a:pt x="2375" y="17031"/>
                </a:cubicBezTo>
                <a:cubicBezTo>
                  <a:pt x="2188" y="17219"/>
                  <a:pt x="1938" y="17437"/>
                  <a:pt x="2032" y="17687"/>
                </a:cubicBezTo>
                <a:cubicBezTo>
                  <a:pt x="2094" y="17844"/>
                  <a:pt x="1782" y="18062"/>
                  <a:pt x="2094" y="18125"/>
                </a:cubicBezTo>
                <a:cubicBezTo>
                  <a:pt x="2063" y="18187"/>
                  <a:pt x="2032" y="18250"/>
                  <a:pt x="1938" y="18219"/>
                </a:cubicBezTo>
                <a:cubicBezTo>
                  <a:pt x="1875" y="18156"/>
                  <a:pt x="1813" y="18094"/>
                  <a:pt x="1719" y="18062"/>
                </a:cubicBezTo>
                <a:cubicBezTo>
                  <a:pt x="1688" y="18125"/>
                  <a:pt x="1625" y="18187"/>
                  <a:pt x="1594" y="18250"/>
                </a:cubicBezTo>
                <a:cubicBezTo>
                  <a:pt x="1469" y="18437"/>
                  <a:pt x="1438" y="18594"/>
                  <a:pt x="1625" y="18719"/>
                </a:cubicBezTo>
                <a:cubicBezTo>
                  <a:pt x="1875" y="18844"/>
                  <a:pt x="1969" y="19094"/>
                  <a:pt x="2188" y="19219"/>
                </a:cubicBezTo>
                <a:cubicBezTo>
                  <a:pt x="2344" y="19344"/>
                  <a:pt x="2500" y="19500"/>
                  <a:pt x="2750" y="19500"/>
                </a:cubicBezTo>
                <a:cubicBezTo>
                  <a:pt x="2688" y="19344"/>
                  <a:pt x="2719" y="19156"/>
                  <a:pt x="2594" y="19031"/>
                </a:cubicBezTo>
                <a:cubicBezTo>
                  <a:pt x="2907" y="18875"/>
                  <a:pt x="2719" y="18656"/>
                  <a:pt x="2625" y="18469"/>
                </a:cubicBezTo>
                <a:cubicBezTo>
                  <a:pt x="2907" y="18312"/>
                  <a:pt x="3125" y="18500"/>
                  <a:pt x="3375" y="18594"/>
                </a:cubicBezTo>
                <a:cubicBezTo>
                  <a:pt x="3375" y="18594"/>
                  <a:pt x="3375" y="18594"/>
                  <a:pt x="3375" y="18594"/>
                </a:cubicBezTo>
                <a:cubicBezTo>
                  <a:pt x="3407" y="18656"/>
                  <a:pt x="3438" y="18656"/>
                  <a:pt x="3500" y="18687"/>
                </a:cubicBezTo>
                <a:cubicBezTo>
                  <a:pt x="3500" y="18687"/>
                  <a:pt x="3500" y="18687"/>
                  <a:pt x="3500" y="18687"/>
                </a:cubicBezTo>
                <a:cubicBezTo>
                  <a:pt x="3532" y="18687"/>
                  <a:pt x="3563" y="18687"/>
                  <a:pt x="3594" y="18687"/>
                </a:cubicBezTo>
                <a:cubicBezTo>
                  <a:pt x="3594" y="18656"/>
                  <a:pt x="3532" y="18656"/>
                  <a:pt x="3532" y="18656"/>
                </a:cubicBezTo>
                <a:cubicBezTo>
                  <a:pt x="3469" y="18625"/>
                  <a:pt x="3438" y="18594"/>
                  <a:pt x="3407" y="18594"/>
                </a:cubicBezTo>
                <a:cubicBezTo>
                  <a:pt x="3407" y="18437"/>
                  <a:pt x="3625" y="18594"/>
                  <a:pt x="3594" y="18437"/>
                </a:cubicBezTo>
                <a:cubicBezTo>
                  <a:pt x="3313" y="18375"/>
                  <a:pt x="3094" y="18250"/>
                  <a:pt x="2844" y="18062"/>
                </a:cubicBezTo>
                <a:cubicBezTo>
                  <a:pt x="3125" y="18156"/>
                  <a:pt x="3157" y="17844"/>
                  <a:pt x="3407" y="17781"/>
                </a:cubicBezTo>
                <a:cubicBezTo>
                  <a:pt x="3219" y="17687"/>
                  <a:pt x="3094" y="17812"/>
                  <a:pt x="3000" y="17875"/>
                </a:cubicBezTo>
                <a:cubicBezTo>
                  <a:pt x="3000" y="17781"/>
                  <a:pt x="3000" y="17687"/>
                  <a:pt x="3000" y="17625"/>
                </a:cubicBezTo>
                <a:cubicBezTo>
                  <a:pt x="3063" y="17625"/>
                  <a:pt x="3125" y="17656"/>
                  <a:pt x="3188" y="17656"/>
                </a:cubicBezTo>
                <a:cubicBezTo>
                  <a:pt x="3157" y="17594"/>
                  <a:pt x="3157" y="17562"/>
                  <a:pt x="3125" y="17500"/>
                </a:cubicBezTo>
                <a:cubicBezTo>
                  <a:pt x="3125" y="17469"/>
                  <a:pt x="3125" y="17437"/>
                  <a:pt x="3094" y="17406"/>
                </a:cubicBezTo>
                <a:cubicBezTo>
                  <a:pt x="3125" y="17437"/>
                  <a:pt x="3125" y="17469"/>
                  <a:pt x="3125" y="17500"/>
                </a:cubicBezTo>
                <a:cubicBezTo>
                  <a:pt x="3157" y="17562"/>
                  <a:pt x="3157" y="17594"/>
                  <a:pt x="3188" y="17656"/>
                </a:cubicBezTo>
                <a:cubicBezTo>
                  <a:pt x="3375" y="17656"/>
                  <a:pt x="3563" y="17656"/>
                  <a:pt x="3750" y="17719"/>
                </a:cubicBezTo>
                <a:cubicBezTo>
                  <a:pt x="3750" y="17719"/>
                  <a:pt x="3750" y="17719"/>
                  <a:pt x="3750" y="17719"/>
                </a:cubicBezTo>
                <a:cubicBezTo>
                  <a:pt x="3782" y="17719"/>
                  <a:pt x="3782" y="17719"/>
                  <a:pt x="3782" y="17750"/>
                </a:cubicBezTo>
                <a:cubicBezTo>
                  <a:pt x="3782" y="17750"/>
                  <a:pt x="3782" y="17719"/>
                  <a:pt x="3782" y="17719"/>
                </a:cubicBezTo>
                <a:cubicBezTo>
                  <a:pt x="3782" y="17719"/>
                  <a:pt x="3782" y="17719"/>
                  <a:pt x="3750" y="17719"/>
                </a:cubicBezTo>
                <a:cubicBezTo>
                  <a:pt x="3907" y="17562"/>
                  <a:pt x="4032" y="17750"/>
                  <a:pt x="4157" y="17750"/>
                </a:cubicBezTo>
                <a:cubicBezTo>
                  <a:pt x="4219" y="17750"/>
                  <a:pt x="4344" y="17781"/>
                  <a:pt x="4313" y="17719"/>
                </a:cubicBezTo>
                <a:cubicBezTo>
                  <a:pt x="4219" y="17469"/>
                  <a:pt x="4438" y="17656"/>
                  <a:pt x="4469" y="17562"/>
                </a:cubicBezTo>
                <a:cubicBezTo>
                  <a:pt x="4563" y="17594"/>
                  <a:pt x="4688" y="17562"/>
                  <a:pt x="4719" y="17719"/>
                </a:cubicBezTo>
                <a:cubicBezTo>
                  <a:pt x="4657" y="17781"/>
                  <a:pt x="4438" y="17719"/>
                  <a:pt x="4469" y="17906"/>
                </a:cubicBezTo>
                <a:cubicBezTo>
                  <a:pt x="4500" y="18031"/>
                  <a:pt x="4532" y="18156"/>
                  <a:pt x="4688" y="18219"/>
                </a:cubicBezTo>
                <a:cubicBezTo>
                  <a:pt x="4750" y="18250"/>
                  <a:pt x="4844" y="18312"/>
                  <a:pt x="4907" y="18344"/>
                </a:cubicBezTo>
                <a:cubicBezTo>
                  <a:pt x="4907" y="18344"/>
                  <a:pt x="4907" y="18344"/>
                  <a:pt x="4907" y="18344"/>
                </a:cubicBezTo>
                <a:cubicBezTo>
                  <a:pt x="4907" y="18375"/>
                  <a:pt x="4907" y="18437"/>
                  <a:pt x="4907" y="18469"/>
                </a:cubicBezTo>
                <a:cubicBezTo>
                  <a:pt x="4657" y="18594"/>
                  <a:pt x="4344" y="18500"/>
                  <a:pt x="3969" y="18625"/>
                </a:cubicBezTo>
                <a:cubicBezTo>
                  <a:pt x="4219" y="18687"/>
                  <a:pt x="4344" y="18719"/>
                  <a:pt x="4500" y="18750"/>
                </a:cubicBezTo>
                <a:cubicBezTo>
                  <a:pt x="4532" y="18875"/>
                  <a:pt x="4344" y="18844"/>
                  <a:pt x="4375" y="18937"/>
                </a:cubicBezTo>
                <a:cubicBezTo>
                  <a:pt x="4407" y="19031"/>
                  <a:pt x="4500" y="19031"/>
                  <a:pt x="4594" y="19031"/>
                </a:cubicBezTo>
                <a:cubicBezTo>
                  <a:pt x="4688" y="19031"/>
                  <a:pt x="4782" y="19031"/>
                  <a:pt x="4875" y="19125"/>
                </a:cubicBezTo>
                <a:cubicBezTo>
                  <a:pt x="4657" y="19219"/>
                  <a:pt x="4625" y="19375"/>
                  <a:pt x="4782" y="19500"/>
                </a:cubicBezTo>
                <a:cubicBezTo>
                  <a:pt x="4938" y="19656"/>
                  <a:pt x="4969" y="19437"/>
                  <a:pt x="5063" y="19375"/>
                </a:cubicBezTo>
                <a:cubicBezTo>
                  <a:pt x="5250" y="19312"/>
                  <a:pt x="5250" y="19062"/>
                  <a:pt x="5469" y="19031"/>
                </a:cubicBezTo>
                <a:cubicBezTo>
                  <a:pt x="5532" y="19031"/>
                  <a:pt x="5594" y="18906"/>
                  <a:pt x="5625" y="19000"/>
                </a:cubicBezTo>
                <a:cubicBezTo>
                  <a:pt x="5688" y="19094"/>
                  <a:pt x="5625" y="19156"/>
                  <a:pt x="5563" y="19187"/>
                </a:cubicBezTo>
                <a:cubicBezTo>
                  <a:pt x="5438" y="19312"/>
                  <a:pt x="5282" y="19406"/>
                  <a:pt x="5125" y="19531"/>
                </a:cubicBezTo>
                <a:cubicBezTo>
                  <a:pt x="5625" y="19531"/>
                  <a:pt x="5657" y="19531"/>
                  <a:pt x="6094" y="19000"/>
                </a:cubicBezTo>
                <a:cubicBezTo>
                  <a:pt x="6032" y="18781"/>
                  <a:pt x="5844" y="19187"/>
                  <a:pt x="5813" y="18937"/>
                </a:cubicBezTo>
                <a:cubicBezTo>
                  <a:pt x="5782" y="18750"/>
                  <a:pt x="5625" y="18750"/>
                  <a:pt x="5500" y="18687"/>
                </a:cubicBezTo>
                <a:cubicBezTo>
                  <a:pt x="5594" y="18594"/>
                  <a:pt x="5657" y="18469"/>
                  <a:pt x="5750" y="18469"/>
                </a:cubicBezTo>
                <a:cubicBezTo>
                  <a:pt x="5969" y="18500"/>
                  <a:pt x="5938" y="18344"/>
                  <a:pt x="5969" y="18219"/>
                </a:cubicBezTo>
                <a:cubicBezTo>
                  <a:pt x="5969" y="18219"/>
                  <a:pt x="5969" y="18219"/>
                  <a:pt x="5969" y="18219"/>
                </a:cubicBezTo>
                <a:cubicBezTo>
                  <a:pt x="5750" y="18375"/>
                  <a:pt x="5657" y="18281"/>
                  <a:pt x="5563" y="18094"/>
                </a:cubicBezTo>
                <a:cubicBezTo>
                  <a:pt x="5438" y="18094"/>
                  <a:pt x="5344" y="18156"/>
                  <a:pt x="5282" y="18250"/>
                </a:cubicBezTo>
                <a:cubicBezTo>
                  <a:pt x="5344" y="18156"/>
                  <a:pt x="5438" y="18094"/>
                  <a:pt x="5563" y="18094"/>
                </a:cubicBezTo>
                <a:cubicBezTo>
                  <a:pt x="5594" y="18062"/>
                  <a:pt x="5563" y="17969"/>
                  <a:pt x="5657" y="17969"/>
                </a:cubicBezTo>
                <a:cubicBezTo>
                  <a:pt x="5719" y="18094"/>
                  <a:pt x="5969" y="17969"/>
                  <a:pt x="5969" y="18219"/>
                </a:cubicBezTo>
                <a:lnTo>
                  <a:pt x="5969" y="18219"/>
                </a:lnTo>
                <a:cubicBezTo>
                  <a:pt x="5969" y="18219"/>
                  <a:pt x="5969" y="18219"/>
                  <a:pt x="5969" y="18219"/>
                </a:cubicBezTo>
                <a:cubicBezTo>
                  <a:pt x="6250" y="18062"/>
                  <a:pt x="6500" y="18219"/>
                  <a:pt x="6782" y="18281"/>
                </a:cubicBezTo>
                <a:cubicBezTo>
                  <a:pt x="6782" y="18375"/>
                  <a:pt x="6782" y="18437"/>
                  <a:pt x="6813" y="18531"/>
                </a:cubicBezTo>
                <a:cubicBezTo>
                  <a:pt x="6875" y="18781"/>
                  <a:pt x="6594" y="18781"/>
                  <a:pt x="6500" y="18906"/>
                </a:cubicBezTo>
                <a:cubicBezTo>
                  <a:pt x="6188" y="19344"/>
                  <a:pt x="5844" y="19750"/>
                  <a:pt x="5438" y="20094"/>
                </a:cubicBezTo>
                <a:cubicBezTo>
                  <a:pt x="5344" y="20156"/>
                  <a:pt x="5188" y="20187"/>
                  <a:pt x="5250" y="20406"/>
                </a:cubicBezTo>
                <a:cubicBezTo>
                  <a:pt x="5469" y="20187"/>
                  <a:pt x="5688" y="20031"/>
                  <a:pt x="5907" y="19812"/>
                </a:cubicBezTo>
                <a:cubicBezTo>
                  <a:pt x="6094" y="19625"/>
                  <a:pt x="6500" y="19562"/>
                  <a:pt x="6688" y="19719"/>
                </a:cubicBezTo>
                <a:cubicBezTo>
                  <a:pt x="6875" y="19844"/>
                  <a:pt x="7063" y="19969"/>
                  <a:pt x="7219" y="20156"/>
                </a:cubicBezTo>
                <a:cubicBezTo>
                  <a:pt x="7219" y="20156"/>
                  <a:pt x="7219" y="20156"/>
                  <a:pt x="7219" y="20156"/>
                </a:cubicBezTo>
                <a:cubicBezTo>
                  <a:pt x="7157" y="20250"/>
                  <a:pt x="7125" y="20344"/>
                  <a:pt x="7063" y="20406"/>
                </a:cubicBezTo>
                <a:cubicBezTo>
                  <a:pt x="6750" y="20562"/>
                  <a:pt x="6594" y="20906"/>
                  <a:pt x="6219" y="21000"/>
                </a:cubicBezTo>
                <a:cubicBezTo>
                  <a:pt x="6532" y="21094"/>
                  <a:pt x="6688" y="20906"/>
                  <a:pt x="6875" y="20781"/>
                </a:cubicBezTo>
                <a:cubicBezTo>
                  <a:pt x="7125" y="20594"/>
                  <a:pt x="7219" y="20656"/>
                  <a:pt x="7219" y="21000"/>
                </a:cubicBezTo>
                <a:cubicBezTo>
                  <a:pt x="7250" y="20969"/>
                  <a:pt x="7313" y="20969"/>
                  <a:pt x="7313" y="21000"/>
                </a:cubicBezTo>
                <a:cubicBezTo>
                  <a:pt x="7313" y="21062"/>
                  <a:pt x="7282" y="21062"/>
                  <a:pt x="7219" y="21062"/>
                </a:cubicBezTo>
                <a:cubicBezTo>
                  <a:pt x="7219" y="21062"/>
                  <a:pt x="7219" y="21031"/>
                  <a:pt x="7219" y="21031"/>
                </a:cubicBezTo>
                <a:cubicBezTo>
                  <a:pt x="7219" y="21031"/>
                  <a:pt x="7219" y="21000"/>
                  <a:pt x="7219" y="21000"/>
                </a:cubicBezTo>
                <a:cubicBezTo>
                  <a:pt x="7219" y="21000"/>
                  <a:pt x="7188" y="21000"/>
                  <a:pt x="7188" y="21000"/>
                </a:cubicBezTo>
                <a:lnTo>
                  <a:pt x="7188" y="21000"/>
                </a:lnTo>
                <a:cubicBezTo>
                  <a:pt x="7219" y="21031"/>
                  <a:pt x="7219" y="21031"/>
                  <a:pt x="7219" y="21031"/>
                </a:cubicBezTo>
                <a:cubicBezTo>
                  <a:pt x="7219" y="21031"/>
                  <a:pt x="7219" y="21062"/>
                  <a:pt x="7219" y="21062"/>
                </a:cubicBezTo>
                <a:cubicBezTo>
                  <a:pt x="7250" y="21125"/>
                  <a:pt x="7219" y="21250"/>
                  <a:pt x="7375" y="21187"/>
                </a:cubicBezTo>
                <a:cubicBezTo>
                  <a:pt x="7469" y="21125"/>
                  <a:pt x="7625" y="21156"/>
                  <a:pt x="7594" y="21250"/>
                </a:cubicBezTo>
                <a:cubicBezTo>
                  <a:pt x="7500" y="21469"/>
                  <a:pt x="7657" y="21406"/>
                  <a:pt x="7750" y="21469"/>
                </a:cubicBezTo>
                <a:cubicBezTo>
                  <a:pt x="7813" y="21500"/>
                  <a:pt x="7907" y="21531"/>
                  <a:pt x="7907" y="21594"/>
                </a:cubicBezTo>
                <a:cubicBezTo>
                  <a:pt x="7907" y="21594"/>
                  <a:pt x="7907" y="21594"/>
                  <a:pt x="7907" y="21594"/>
                </a:cubicBezTo>
                <a:cubicBezTo>
                  <a:pt x="7907" y="21625"/>
                  <a:pt x="7875" y="21656"/>
                  <a:pt x="7875" y="21656"/>
                </a:cubicBezTo>
                <a:cubicBezTo>
                  <a:pt x="7907" y="21687"/>
                  <a:pt x="7907" y="21687"/>
                  <a:pt x="7938" y="21656"/>
                </a:cubicBezTo>
                <a:cubicBezTo>
                  <a:pt x="8407" y="21344"/>
                  <a:pt x="8407" y="21344"/>
                  <a:pt x="8688" y="21625"/>
                </a:cubicBezTo>
                <a:cubicBezTo>
                  <a:pt x="8625" y="21687"/>
                  <a:pt x="8563" y="21750"/>
                  <a:pt x="8500" y="21812"/>
                </a:cubicBezTo>
                <a:cubicBezTo>
                  <a:pt x="8438" y="21875"/>
                  <a:pt x="8313" y="21937"/>
                  <a:pt x="8375" y="22031"/>
                </a:cubicBezTo>
                <a:cubicBezTo>
                  <a:pt x="8438" y="22094"/>
                  <a:pt x="8594" y="22094"/>
                  <a:pt x="8657" y="22094"/>
                </a:cubicBezTo>
                <a:cubicBezTo>
                  <a:pt x="8813" y="22031"/>
                  <a:pt x="8938" y="21969"/>
                  <a:pt x="9032" y="21875"/>
                </a:cubicBezTo>
                <a:cubicBezTo>
                  <a:pt x="9094" y="21844"/>
                  <a:pt x="9157" y="21719"/>
                  <a:pt x="9000" y="21687"/>
                </a:cubicBezTo>
                <a:cubicBezTo>
                  <a:pt x="8969" y="21531"/>
                  <a:pt x="9094" y="21500"/>
                  <a:pt x="9125" y="21406"/>
                </a:cubicBezTo>
                <a:cubicBezTo>
                  <a:pt x="9125" y="21406"/>
                  <a:pt x="9125" y="21406"/>
                  <a:pt x="9125" y="21406"/>
                </a:cubicBezTo>
                <a:cubicBezTo>
                  <a:pt x="9219" y="21375"/>
                  <a:pt x="9282" y="21344"/>
                  <a:pt x="9313" y="21250"/>
                </a:cubicBezTo>
                <a:cubicBezTo>
                  <a:pt x="9438" y="21219"/>
                  <a:pt x="9500" y="21156"/>
                  <a:pt x="9563" y="21062"/>
                </a:cubicBezTo>
                <a:cubicBezTo>
                  <a:pt x="9563" y="21062"/>
                  <a:pt x="9563" y="21062"/>
                  <a:pt x="9563" y="21062"/>
                </a:cubicBezTo>
                <a:cubicBezTo>
                  <a:pt x="9563" y="21062"/>
                  <a:pt x="9563" y="21031"/>
                  <a:pt x="9594" y="21031"/>
                </a:cubicBezTo>
                <a:cubicBezTo>
                  <a:pt x="9563" y="21031"/>
                  <a:pt x="9563" y="21031"/>
                  <a:pt x="9563" y="21031"/>
                </a:cubicBezTo>
                <a:cubicBezTo>
                  <a:pt x="9563" y="21031"/>
                  <a:pt x="9563" y="21031"/>
                  <a:pt x="9563" y="21031"/>
                </a:cubicBezTo>
                <a:cubicBezTo>
                  <a:pt x="9563" y="21031"/>
                  <a:pt x="9563" y="21062"/>
                  <a:pt x="9563" y="21062"/>
                </a:cubicBezTo>
                <a:cubicBezTo>
                  <a:pt x="9563" y="21031"/>
                  <a:pt x="9563" y="21031"/>
                  <a:pt x="9563" y="21031"/>
                </a:cubicBezTo>
                <a:cubicBezTo>
                  <a:pt x="9469" y="21031"/>
                  <a:pt x="9313" y="21031"/>
                  <a:pt x="9344" y="21000"/>
                </a:cubicBezTo>
                <a:cubicBezTo>
                  <a:pt x="9532" y="20844"/>
                  <a:pt x="9219" y="20875"/>
                  <a:pt x="9250" y="20781"/>
                </a:cubicBezTo>
                <a:cubicBezTo>
                  <a:pt x="9250" y="20781"/>
                  <a:pt x="9250" y="20781"/>
                  <a:pt x="9250" y="20781"/>
                </a:cubicBezTo>
                <a:cubicBezTo>
                  <a:pt x="9313" y="20750"/>
                  <a:pt x="9344" y="20719"/>
                  <a:pt x="9375" y="20687"/>
                </a:cubicBezTo>
                <a:cubicBezTo>
                  <a:pt x="9375" y="20687"/>
                  <a:pt x="9375" y="20687"/>
                  <a:pt x="9375" y="20687"/>
                </a:cubicBezTo>
                <a:cubicBezTo>
                  <a:pt x="9407" y="20656"/>
                  <a:pt x="9407" y="20656"/>
                  <a:pt x="9407" y="20625"/>
                </a:cubicBezTo>
                <a:cubicBezTo>
                  <a:pt x="9375" y="20625"/>
                  <a:pt x="9375" y="20625"/>
                  <a:pt x="9344" y="20625"/>
                </a:cubicBezTo>
                <a:cubicBezTo>
                  <a:pt x="9313" y="20656"/>
                  <a:pt x="9250" y="20687"/>
                  <a:pt x="9219" y="20719"/>
                </a:cubicBezTo>
                <a:cubicBezTo>
                  <a:pt x="9125" y="20812"/>
                  <a:pt x="9032" y="20906"/>
                  <a:pt x="8907" y="20875"/>
                </a:cubicBezTo>
                <a:cubicBezTo>
                  <a:pt x="8813" y="20844"/>
                  <a:pt x="8719" y="21031"/>
                  <a:pt x="8657" y="20875"/>
                </a:cubicBezTo>
                <a:cubicBezTo>
                  <a:pt x="8594" y="20719"/>
                  <a:pt x="8532" y="20719"/>
                  <a:pt x="8375" y="20750"/>
                </a:cubicBezTo>
                <a:cubicBezTo>
                  <a:pt x="8282" y="20750"/>
                  <a:pt x="8157" y="20656"/>
                  <a:pt x="8157" y="20531"/>
                </a:cubicBezTo>
                <a:cubicBezTo>
                  <a:pt x="8157" y="20531"/>
                  <a:pt x="8157" y="20531"/>
                  <a:pt x="8157" y="20531"/>
                </a:cubicBezTo>
                <a:cubicBezTo>
                  <a:pt x="8188" y="20500"/>
                  <a:pt x="8282" y="20500"/>
                  <a:pt x="8250" y="20437"/>
                </a:cubicBezTo>
                <a:cubicBezTo>
                  <a:pt x="8219" y="20375"/>
                  <a:pt x="8125" y="20406"/>
                  <a:pt x="8094" y="20469"/>
                </a:cubicBezTo>
                <a:cubicBezTo>
                  <a:pt x="7969" y="20500"/>
                  <a:pt x="7844" y="20531"/>
                  <a:pt x="7719" y="20531"/>
                </a:cubicBezTo>
                <a:cubicBezTo>
                  <a:pt x="7719" y="20531"/>
                  <a:pt x="7688" y="20531"/>
                  <a:pt x="7657" y="20531"/>
                </a:cubicBezTo>
                <a:cubicBezTo>
                  <a:pt x="7625" y="20312"/>
                  <a:pt x="7657" y="20187"/>
                  <a:pt x="7938" y="20281"/>
                </a:cubicBezTo>
                <a:cubicBezTo>
                  <a:pt x="8032" y="20312"/>
                  <a:pt x="8125" y="20281"/>
                  <a:pt x="8219" y="20281"/>
                </a:cubicBezTo>
                <a:cubicBezTo>
                  <a:pt x="8250" y="20406"/>
                  <a:pt x="8344" y="20375"/>
                  <a:pt x="8407" y="20344"/>
                </a:cubicBezTo>
                <a:cubicBezTo>
                  <a:pt x="8532" y="20281"/>
                  <a:pt x="8625" y="20281"/>
                  <a:pt x="8688" y="20437"/>
                </a:cubicBezTo>
                <a:cubicBezTo>
                  <a:pt x="8688" y="20500"/>
                  <a:pt x="8625" y="20594"/>
                  <a:pt x="8719" y="20594"/>
                </a:cubicBezTo>
                <a:cubicBezTo>
                  <a:pt x="8844" y="20625"/>
                  <a:pt x="8938" y="20562"/>
                  <a:pt x="9000" y="20437"/>
                </a:cubicBezTo>
                <a:cubicBezTo>
                  <a:pt x="9125" y="20437"/>
                  <a:pt x="9157" y="20312"/>
                  <a:pt x="9313" y="20250"/>
                </a:cubicBezTo>
                <a:cubicBezTo>
                  <a:pt x="9188" y="20219"/>
                  <a:pt x="9125" y="20187"/>
                  <a:pt x="9063" y="20156"/>
                </a:cubicBezTo>
                <a:cubicBezTo>
                  <a:pt x="9063" y="20094"/>
                  <a:pt x="9157" y="20000"/>
                  <a:pt x="9000" y="20031"/>
                </a:cubicBezTo>
                <a:cubicBezTo>
                  <a:pt x="8844" y="20062"/>
                  <a:pt x="8688" y="20062"/>
                  <a:pt x="8563" y="20094"/>
                </a:cubicBezTo>
                <a:cubicBezTo>
                  <a:pt x="8375" y="20125"/>
                  <a:pt x="8313" y="20062"/>
                  <a:pt x="8313" y="19906"/>
                </a:cubicBezTo>
                <a:cubicBezTo>
                  <a:pt x="8344" y="19937"/>
                  <a:pt x="8407" y="19937"/>
                  <a:pt x="8407" y="19844"/>
                </a:cubicBezTo>
                <a:cubicBezTo>
                  <a:pt x="8500" y="19812"/>
                  <a:pt x="8594" y="19812"/>
                  <a:pt x="8719" y="19812"/>
                </a:cubicBezTo>
                <a:cubicBezTo>
                  <a:pt x="8969" y="19875"/>
                  <a:pt x="9250" y="20062"/>
                  <a:pt x="9500" y="19812"/>
                </a:cubicBezTo>
                <a:cubicBezTo>
                  <a:pt x="9532" y="19781"/>
                  <a:pt x="9594" y="19719"/>
                  <a:pt x="9657" y="19812"/>
                </a:cubicBezTo>
                <a:cubicBezTo>
                  <a:pt x="9563" y="19875"/>
                  <a:pt x="9469" y="19937"/>
                  <a:pt x="9375" y="20031"/>
                </a:cubicBezTo>
                <a:cubicBezTo>
                  <a:pt x="9375" y="20062"/>
                  <a:pt x="9344" y="20187"/>
                  <a:pt x="9407" y="20156"/>
                </a:cubicBezTo>
                <a:cubicBezTo>
                  <a:pt x="9657" y="20094"/>
                  <a:pt x="9532" y="20219"/>
                  <a:pt x="9500" y="20312"/>
                </a:cubicBezTo>
                <a:cubicBezTo>
                  <a:pt x="9500" y="20500"/>
                  <a:pt x="9500" y="20687"/>
                  <a:pt x="9469" y="20875"/>
                </a:cubicBezTo>
                <a:cubicBezTo>
                  <a:pt x="9782" y="20750"/>
                  <a:pt x="9844" y="20562"/>
                  <a:pt x="9782" y="20312"/>
                </a:cubicBezTo>
                <a:cubicBezTo>
                  <a:pt x="9750" y="20219"/>
                  <a:pt x="9782" y="20094"/>
                  <a:pt x="9938" y="20125"/>
                </a:cubicBezTo>
                <a:cubicBezTo>
                  <a:pt x="10219" y="20219"/>
                  <a:pt x="10250" y="20375"/>
                  <a:pt x="10032" y="20594"/>
                </a:cubicBezTo>
                <a:cubicBezTo>
                  <a:pt x="10000" y="20656"/>
                  <a:pt x="9907" y="20687"/>
                  <a:pt x="9938" y="20750"/>
                </a:cubicBezTo>
                <a:cubicBezTo>
                  <a:pt x="9969" y="20781"/>
                  <a:pt x="10032" y="20812"/>
                  <a:pt x="10063" y="20812"/>
                </a:cubicBezTo>
                <a:cubicBezTo>
                  <a:pt x="10188" y="20875"/>
                  <a:pt x="10188" y="20781"/>
                  <a:pt x="10219" y="20719"/>
                </a:cubicBezTo>
                <a:cubicBezTo>
                  <a:pt x="10407" y="20562"/>
                  <a:pt x="10313" y="20250"/>
                  <a:pt x="10500" y="20094"/>
                </a:cubicBezTo>
                <a:cubicBezTo>
                  <a:pt x="10532" y="20062"/>
                  <a:pt x="10563" y="20000"/>
                  <a:pt x="10625" y="20000"/>
                </a:cubicBezTo>
                <a:cubicBezTo>
                  <a:pt x="10688" y="20031"/>
                  <a:pt x="10657" y="20094"/>
                  <a:pt x="10657" y="20156"/>
                </a:cubicBezTo>
                <a:cubicBezTo>
                  <a:pt x="10625" y="20375"/>
                  <a:pt x="10469" y="20531"/>
                  <a:pt x="10375" y="20750"/>
                </a:cubicBezTo>
                <a:cubicBezTo>
                  <a:pt x="10782" y="20750"/>
                  <a:pt x="10782" y="20406"/>
                  <a:pt x="10938" y="20156"/>
                </a:cubicBezTo>
                <a:cubicBezTo>
                  <a:pt x="11094" y="20062"/>
                  <a:pt x="11188" y="19844"/>
                  <a:pt x="11407" y="19875"/>
                </a:cubicBezTo>
                <a:cubicBezTo>
                  <a:pt x="11469" y="19875"/>
                  <a:pt x="11500" y="19906"/>
                  <a:pt x="11532" y="19844"/>
                </a:cubicBezTo>
                <a:cubicBezTo>
                  <a:pt x="11563" y="19781"/>
                  <a:pt x="11532" y="19750"/>
                  <a:pt x="11500" y="19719"/>
                </a:cubicBezTo>
                <a:cubicBezTo>
                  <a:pt x="11469" y="19656"/>
                  <a:pt x="11407" y="19687"/>
                  <a:pt x="11375" y="19687"/>
                </a:cubicBezTo>
                <a:cubicBezTo>
                  <a:pt x="11313" y="19719"/>
                  <a:pt x="11250" y="19781"/>
                  <a:pt x="11157" y="19750"/>
                </a:cubicBezTo>
                <a:cubicBezTo>
                  <a:pt x="11157" y="19625"/>
                  <a:pt x="11094" y="19500"/>
                  <a:pt x="11250" y="19406"/>
                </a:cubicBezTo>
                <a:cubicBezTo>
                  <a:pt x="11375" y="19344"/>
                  <a:pt x="11500" y="19406"/>
                  <a:pt x="11625" y="19469"/>
                </a:cubicBezTo>
                <a:cubicBezTo>
                  <a:pt x="11594" y="19594"/>
                  <a:pt x="11625" y="19656"/>
                  <a:pt x="11750" y="19687"/>
                </a:cubicBezTo>
                <a:cubicBezTo>
                  <a:pt x="11719" y="19781"/>
                  <a:pt x="11875" y="19812"/>
                  <a:pt x="11782" y="19969"/>
                </a:cubicBezTo>
                <a:cubicBezTo>
                  <a:pt x="11688" y="20062"/>
                  <a:pt x="11969" y="20219"/>
                  <a:pt x="11875" y="20406"/>
                </a:cubicBezTo>
                <a:cubicBezTo>
                  <a:pt x="11907" y="20406"/>
                  <a:pt x="11938" y="20437"/>
                  <a:pt x="11938" y="20437"/>
                </a:cubicBezTo>
                <a:cubicBezTo>
                  <a:pt x="11969" y="20281"/>
                  <a:pt x="12188" y="20219"/>
                  <a:pt x="12157" y="20031"/>
                </a:cubicBezTo>
                <a:cubicBezTo>
                  <a:pt x="12188" y="19844"/>
                  <a:pt x="12219" y="19687"/>
                  <a:pt x="12282" y="19500"/>
                </a:cubicBezTo>
                <a:cubicBezTo>
                  <a:pt x="12282" y="19500"/>
                  <a:pt x="12344" y="19562"/>
                  <a:pt x="12344" y="19562"/>
                </a:cubicBezTo>
                <a:cubicBezTo>
                  <a:pt x="12407" y="19531"/>
                  <a:pt x="12375" y="19469"/>
                  <a:pt x="12375" y="19406"/>
                </a:cubicBezTo>
                <a:cubicBezTo>
                  <a:pt x="12438" y="19344"/>
                  <a:pt x="12469" y="19281"/>
                  <a:pt x="12563" y="19281"/>
                </a:cubicBezTo>
                <a:cubicBezTo>
                  <a:pt x="12594" y="19281"/>
                  <a:pt x="12594" y="19250"/>
                  <a:pt x="12625" y="19250"/>
                </a:cubicBezTo>
                <a:cubicBezTo>
                  <a:pt x="12594" y="19250"/>
                  <a:pt x="12594" y="19281"/>
                  <a:pt x="12563" y="19281"/>
                </a:cubicBezTo>
                <a:cubicBezTo>
                  <a:pt x="12532" y="19375"/>
                  <a:pt x="12688" y="19469"/>
                  <a:pt x="12563" y="19531"/>
                </a:cubicBezTo>
                <a:cubicBezTo>
                  <a:pt x="12563" y="19500"/>
                  <a:pt x="12563" y="19500"/>
                  <a:pt x="12532" y="19500"/>
                </a:cubicBezTo>
                <a:lnTo>
                  <a:pt x="12532" y="19500"/>
                </a:lnTo>
                <a:cubicBezTo>
                  <a:pt x="12563" y="19531"/>
                  <a:pt x="12563" y="19531"/>
                  <a:pt x="12563" y="19531"/>
                </a:cubicBezTo>
                <a:cubicBezTo>
                  <a:pt x="12594" y="19562"/>
                  <a:pt x="12594" y="19625"/>
                  <a:pt x="12625" y="19656"/>
                </a:cubicBezTo>
                <a:cubicBezTo>
                  <a:pt x="12594" y="19687"/>
                  <a:pt x="12563" y="19719"/>
                  <a:pt x="12594" y="19750"/>
                </a:cubicBezTo>
                <a:lnTo>
                  <a:pt x="12594" y="19750"/>
                </a:lnTo>
                <a:cubicBezTo>
                  <a:pt x="12657" y="19781"/>
                  <a:pt x="12657" y="19719"/>
                  <a:pt x="12657" y="19687"/>
                </a:cubicBezTo>
                <a:cubicBezTo>
                  <a:pt x="12688" y="19562"/>
                  <a:pt x="12813" y="19531"/>
                  <a:pt x="12907" y="19437"/>
                </a:cubicBezTo>
                <a:cubicBezTo>
                  <a:pt x="12907" y="19437"/>
                  <a:pt x="12907" y="19437"/>
                  <a:pt x="12907" y="19437"/>
                </a:cubicBezTo>
                <a:cubicBezTo>
                  <a:pt x="12938" y="19406"/>
                  <a:pt x="12938" y="19375"/>
                  <a:pt x="12938" y="19344"/>
                </a:cubicBezTo>
                <a:cubicBezTo>
                  <a:pt x="13094" y="19469"/>
                  <a:pt x="13000" y="19594"/>
                  <a:pt x="12969" y="19687"/>
                </a:cubicBezTo>
                <a:cubicBezTo>
                  <a:pt x="12907" y="19812"/>
                  <a:pt x="12875" y="19906"/>
                  <a:pt x="12907" y="20062"/>
                </a:cubicBezTo>
                <a:cubicBezTo>
                  <a:pt x="12844" y="20250"/>
                  <a:pt x="12782" y="20312"/>
                  <a:pt x="12688" y="20062"/>
                </a:cubicBezTo>
                <a:cubicBezTo>
                  <a:pt x="12625" y="20000"/>
                  <a:pt x="12594" y="19906"/>
                  <a:pt x="12469" y="19969"/>
                </a:cubicBezTo>
                <a:cubicBezTo>
                  <a:pt x="12563" y="20094"/>
                  <a:pt x="12125" y="20125"/>
                  <a:pt x="12407" y="20312"/>
                </a:cubicBezTo>
                <a:cubicBezTo>
                  <a:pt x="12532" y="20406"/>
                  <a:pt x="12375" y="20406"/>
                  <a:pt x="12313" y="20406"/>
                </a:cubicBezTo>
                <a:cubicBezTo>
                  <a:pt x="12313" y="20406"/>
                  <a:pt x="12313" y="20406"/>
                  <a:pt x="12282" y="20406"/>
                </a:cubicBezTo>
                <a:cubicBezTo>
                  <a:pt x="12313" y="20406"/>
                  <a:pt x="12313" y="20406"/>
                  <a:pt x="12313" y="20406"/>
                </a:cubicBezTo>
                <a:cubicBezTo>
                  <a:pt x="12313" y="20406"/>
                  <a:pt x="12313" y="20406"/>
                  <a:pt x="12313" y="20406"/>
                </a:cubicBezTo>
                <a:cubicBezTo>
                  <a:pt x="12313" y="20469"/>
                  <a:pt x="12313" y="20531"/>
                  <a:pt x="12313" y="20594"/>
                </a:cubicBezTo>
                <a:cubicBezTo>
                  <a:pt x="12313" y="20656"/>
                  <a:pt x="12219" y="20750"/>
                  <a:pt x="12375" y="20781"/>
                </a:cubicBezTo>
                <a:cubicBezTo>
                  <a:pt x="12469" y="20812"/>
                  <a:pt x="12532" y="20750"/>
                  <a:pt x="12500" y="20625"/>
                </a:cubicBezTo>
                <a:cubicBezTo>
                  <a:pt x="12500" y="20562"/>
                  <a:pt x="12532" y="20531"/>
                  <a:pt x="12625" y="20500"/>
                </a:cubicBezTo>
                <a:cubicBezTo>
                  <a:pt x="12782" y="20469"/>
                  <a:pt x="12875" y="20469"/>
                  <a:pt x="12875" y="20719"/>
                </a:cubicBezTo>
                <a:cubicBezTo>
                  <a:pt x="12907" y="20937"/>
                  <a:pt x="12719" y="21187"/>
                  <a:pt x="12938" y="21437"/>
                </a:cubicBezTo>
                <a:cubicBezTo>
                  <a:pt x="12938" y="21437"/>
                  <a:pt x="12938" y="21437"/>
                  <a:pt x="12938" y="21437"/>
                </a:cubicBezTo>
                <a:cubicBezTo>
                  <a:pt x="13063" y="21562"/>
                  <a:pt x="13125" y="21719"/>
                  <a:pt x="12907" y="21844"/>
                </a:cubicBezTo>
                <a:cubicBezTo>
                  <a:pt x="12969" y="21812"/>
                  <a:pt x="13032" y="21812"/>
                  <a:pt x="13063" y="21781"/>
                </a:cubicBezTo>
                <a:cubicBezTo>
                  <a:pt x="13250" y="21719"/>
                  <a:pt x="13344" y="21719"/>
                  <a:pt x="13219" y="21937"/>
                </a:cubicBezTo>
                <a:cubicBezTo>
                  <a:pt x="13219" y="21937"/>
                  <a:pt x="13188" y="21937"/>
                  <a:pt x="13188" y="21937"/>
                </a:cubicBezTo>
                <a:cubicBezTo>
                  <a:pt x="13157" y="21937"/>
                  <a:pt x="13094" y="21969"/>
                  <a:pt x="13094" y="22031"/>
                </a:cubicBezTo>
                <a:lnTo>
                  <a:pt x="13094" y="22031"/>
                </a:lnTo>
                <a:cubicBezTo>
                  <a:pt x="13094" y="22031"/>
                  <a:pt x="13125" y="22031"/>
                  <a:pt x="13125" y="22031"/>
                </a:cubicBezTo>
                <a:cubicBezTo>
                  <a:pt x="13188" y="22031"/>
                  <a:pt x="13188" y="22000"/>
                  <a:pt x="13188" y="21937"/>
                </a:cubicBezTo>
                <a:cubicBezTo>
                  <a:pt x="13219" y="21937"/>
                  <a:pt x="13219" y="21937"/>
                  <a:pt x="13219" y="21937"/>
                </a:cubicBezTo>
                <a:cubicBezTo>
                  <a:pt x="13375" y="21875"/>
                  <a:pt x="13594" y="22031"/>
                  <a:pt x="13719" y="21781"/>
                </a:cubicBezTo>
                <a:cubicBezTo>
                  <a:pt x="13719" y="21781"/>
                  <a:pt x="13719" y="21781"/>
                  <a:pt x="13719" y="21781"/>
                </a:cubicBezTo>
                <a:cubicBezTo>
                  <a:pt x="13844" y="21687"/>
                  <a:pt x="13844" y="21562"/>
                  <a:pt x="13813" y="21437"/>
                </a:cubicBezTo>
                <a:cubicBezTo>
                  <a:pt x="13844" y="21406"/>
                  <a:pt x="13875" y="21375"/>
                  <a:pt x="13907" y="21344"/>
                </a:cubicBezTo>
                <a:cubicBezTo>
                  <a:pt x="13938" y="21312"/>
                  <a:pt x="13969" y="21219"/>
                  <a:pt x="13907" y="21187"/>
                </a:cubicBezTo>
                <a:cubicBezTo>
                  <a:pt x="13782" y="21125"/>
                  <a:pt x="13750" y="21250"/>
                  <a:pt x="13719" y="21312"/>
                </a:cubicBezTo>
                <a:cubicBezTo>
                  <a:pt x="13594" y="21406"/>
                  <a:pt x="13719" y="21406"/>
                  <a:pt x="13782" y="21437"/>
                </a:cubicBezTo>
                <a:cubicBezTo>
                  <a:pt x="13813" y="21562"/>
                  <a:pt x="13657" y="21562"/>
                  <a:pt x="13657" y="21687"/>
                </a:cubicBezTo>
                <a:cubicBezTo>
                  <a:pt x="13594" y="21469"/>
                  <a:pt x="13438" y="21281"/>
                  <a:pt x="13438" y="21031"/>
                </a:cubicBezTo>
                <a:cubicBezTo>
                  <a:pt x="13532" y="20969"/>
                  <a:pt x="13657" y="20937"/>
                  <a:pt x="13625" y="20812"/>
                </a:cubicBezTo>
                <a:cubicBezTo>
                  <a:pt x="13563" y="20625"/>
                  <a:pt x="13657" y="20500"/>
                  <a:pt x="13719" y="20375"/>
                </a:cubicBezTo>
                <a:cubicBezTo>
                  <a:pt x="13719" y="20375"/>
                  <a:pt x="13719" y="20375"/>
                  <a:pt x="13719" y="20375"/>
                </a:cubicBezTo>
                <a:cubicBezTo>
                  <a:pt x="13719" y="20375"/>
                  <a:pt x="13719" y="20375"/>
                  <a:pt x="13719" y="20375"/>
                </a:cubicBezTo>
                <a:cubicBezTo>
                  <a:pt x="13907" y="20344"/>
                  <a:pt x="14063" y="20375"/>
                  <a:pt x="14250" y="20437"/>
                </a:cubicBezTo>
                <a:cubicBezTo>
                  <a:pt x="14250" y="20531"/>
                  <a:pt x="14250" y="20594"/>
                  <a:pt x="14375" y="20625"/>
                </a:cubicBezTo>
                <a:cubicBezTo>
                  <a:pt x="14469" y="20656"/>
                  <a:pt x="14563" y="20719"/>
                  <a:pt x="14469" y="20875"/>
                </a:cubicBezTo>
                <a:cubicBezTo>
                  <a:pt x="14438" y="20969"/>
                  <a:pt x="14469" y="21062"/>
                  <a:pt x="14438" y="21156"/>
                </a:cubicBezTo>
                <a:cubicBezTo>
                  <a:pt x="14438" y="21187"/>
                  <a:pt x="14469" y="21187"/>
                  <a:pt x="14469" y="21187"/>
                </a:cubicBezTo>
                <a:cubicBezTo>
                  <a:pt x="14375" y="21219"/>
                  <a:pt x="14407" y="21250"/>
                  <a:pt x="14469" y="21281"/>
                </a:cubicBezTo>
                <a:cubicBezTo>
                  <a:pt x="14438" y="21312"/>
                  <a:pt x="14469" y="21344"/>
                  <a:pt x="14500" y="21375"/>
                </a:cubicBezTo>
                <a:cubicBezTo>
                  <a:pt x="14532" y="21437"/>
                  <a:pt x="14500" y="21531"/>
                  <a:pt x="14594" y="21594"/>
                </a:cubicBezTo>
                <a:cubicBezTo>
                  <a:pt x="14657" y="21750"/>
                  <a:pt x="14563" y="21969"/>
                  <a:pt x="14813" y="22062"/>
                </a:cubicBezTo>
                <a:cubicBezTo>
                  <a:pt x="14750" y="22156"/>
                  <a:pt x="14500" y="22094"/>
                  <a:pt x="14657" y="22281"/>
                </a:cubicBezTo>
                <a:cubicBezTo>
                  <a:pt x="14719" y="22375"/>
                  <a:pt x="14844" y="22469"/>
                  <a:pt x="14657" y="22594"/>
                </a:cubicBezTo>
                <a:cubicBezTo>
                  <a:pt x="14625" y="22594"/>
                  <a:pt x="14625" y="22687"/>
                  <a:pt x="14657" y="22719"/>
                </a:cubicBezTo>
                <a:cubicBezTo>
                  <a:pt x="14750" y="22875"/>
                  <a:pt x="14875" y="23031"/>
                  <a:pt x="15032" y="23000"/>
                </a:cubicBezTo>
                <a:cubicBezTo>
                  <a:pt x="15157" y="23000"/>
                  <a:pt x="15219" y="22875"/>
                  <a:pt x="15219" y="22687"/>
                </a:cubicBezTo>
                <a:cubicBezTo>
                  <a:pt x="15219" y="22625"/>
                  <a:pt x="15250" y="22531"/>
                  <a:pt x="15282" y="22469"/>
                </a:cubicBezTo>
                <a:cubicBezTo>
                  <a:pt x="15344" y="22469"/>
                  <a:pt x="15407" y="22469"/>
                  <a:pt x="15469" y="22500"/>
                </a:cubicBezTo>
                <a:cubicBezTo>
                  <a:pt x="15563" y="22656"/>
                  <a:pt x="15657" y="22656"/>
                  <a:pt x="15719" y="22469"/>
                </a:cubicBezTo>
                <a:cubicBezTo>
                  <a:pt x="15782" y="22500"/>
                  <a:pt x="15875" y="22531"/>
                  <a:pt x="15938" y="22531"/>
                </a:cubicBezTo>
                <a:cubicBezTo>
                  <a:pt x="15969" y="22594"/>
                  <a:pt x="15844" y="22656"/>
                  <a:pt x="15969" y="22656"/>
                </a:cubicBezTo>
                <a:cubicBezTo>
                  <a:pt x="16063" y="22687"/>
                  <a:pt x="16125" y="22500"/>
                  <a:pt x="16219" y="22625"/>
                </a:cubicBezTo>
                <a:cubicBezTo>
                  <a:pt x="16282" y="22750"/>
                  <a:pt x="16219" y="22844"/>
                  <a:pt x="16157" y="22937"/>
                </a:cubicBezTo>
                <a:cubicBezTo>
                  <a:pt x="16157" y="22969"/>
                  <a:pt x="16125" y="22969"/>
                  <a:pt x="16125" y="23000"/>
                </a:cubicBezTo>
                <a:cubicBezTo>
                  <a:pt x="16125" y="23000"/>
                  <a:pt x="16157" y="23000"/>
                  <a:pt x="16157" y="23000"/>
                </a:cubicBezTo>
                <a:cubicBezTo>
                  <a:pt x="16250" y="23000"/>
                  <a:pt x="16407" y="22906"/>
                  <a:pt x="16344" y="23125"/>
                </a:cubicBezTo>
                <a:cubicBezTo>
                  <a:pt x="16344" y="23125"/>
                  <a:pt x="16375" y="23125"/>
                  <a:pt x="16407" y="23125"/>
                </a:cubicBezTo>
                <a:cubicBezTo>
                  <a:pt x="16407" y="23125"/>
                  <a:pt x="16407" y="23125"/>
                  <a:pt x="16407" y="23125"/>
                </a:cubicBezTo>
                <a:cubicBezTo>
                  <a:pt x="16375" y="23125"/>
                  <a:pt x="16344" y="23125"/>
                  <a:pt x="16344" y="23125"/>
                </a:cubicBezTo>
                <a:cubicBezTo>
                  <a:pt x="16313" y="23125"/>
                  <a:pt x="16282" y="23125"/>
                  <a:pt x="16282" y="23125"/>
                </a:cubicBezTo>
                <a:cubicBezTo>
                  <a:pt x="16250" y="23156"/>
                  <a:pt x="16219" y="23219"/>
                  <a:pt x="16188" y="23250"/>
                </a:cubicBezTo>
                <a:cubicBezTo>
                  <a:pt x="16094" y="23344"/>
                  <a:pt x="16188" y="23469"/>
                  <a:pt x="16157" y="23594"/>
                </a:cubicBezTo>
                <a:cubicBezTo>
                  <a:pt x="16157" y="23687"/>
                  <a:pt x="16188" y="23844"/>
                  <a:pt x="16063" y="23906"/>
                </a:cubicBezTo>
                <a:cubicBezTo>
                  <a:pt x="16000" y="23906"/>
                  <a:pt x="15969" y="24031"/>
                  <a:pt x="15938" y="23937"/>
                </a:cubicBezTo>
                <a:cubicBezTo>
                  <a:pt x="15907" y="23906"/>
                  <a:pt x="15969" y="23875"/>
                  <a:pt x="16000" y="23844"/>
                </a:cubicBezTo>
                <a:cubicBezTo>
                  <a:pt x="16063" y="23719"/>
                  <a:pt x="15844" y="23594"/>
                  <a:pt x="15969" y="23437"/>
                </a:cubicBezTo>
                <a:cubicBezTo>
                  <a:pt x="16125" y="23187"/>
                  <a:pt x="16032" y="23000"/>
                  <a:pt x="15782" y="22906"/>
                </a:cubicBezTo>
                <a:cubicBezTo>
                  <a:pt x="15688" y="23062"/>
                  <a:pt x="15750" y="23219"/>
                  <a:pt x="15782" y="23375"/>
                </a:cubicBezTo>
                <a:cubicBezTo>
                  <a:pt x="15782" y="23375"/>
                  <a:pt x="15782" y="23375"/>
                  <a:pt x="15782" y="23375"/>
                </a:cubicBezTo>
                <a:cubicBezTo>
                  <a:pt x="15688" y="23375"/>
                  <a:pt x="15532" y="23375"/>
                  <a:pt x="15625" y="23500"/>
                </a:cubicBezTo>
                <a:cubicBezTo>
                  <a:pt x="15782" y="23687"/>
                  <a:pt x="15782" y="23875"/>
                  <a:pt x="15782" y="24094"/>
                </a:cubicBezTo>
                <a:cubicBezTo>
                  <a:pt x="15782" y="24219"/>
                  <a:pt x="15719" y="24281"/>
                  <a:pt x="15594" y="24250"/>
                </a:cubicBezTo>
                <a:cubicBezTo>
                  <a:pt x="15594" y="24250"/>
                  <a:pt x="15563" y="24219"/>
                  <a:pt x="15563" y="24187"/>
                </a:cubicBezTo>
                <a:cubicBezTo>
                  <a:pt x="15563" y="24062"/>
                  <a:pt x="15657" y="23937"/>
                  <a:pt x="15625" y="23781"/>
                </a:cubicBezTo>
                <a:lnTo>
                  <a:pt x="15625" y="23781"/>
                </a:lnTo>
                <a:cubicBezTo>
                  <a:pt x="15532" y="23937"/>
                  <a:pt x="15532" y="24062"/>
                  <a:pt x="15563" y="24187"/>
                </a:cubicBezTo>
                <a:cubicBezTo>
                  <a:pt x="15563" y="24219"/>
                  <a:pt x="15563" y="24250"/>
                  <a:pt x="15594" y="24250"/>
                </a:cubicBezTo>
                <a:cubicBezTo>
                  <a:pt x="15594" y="24250"/>
                  <a:pt x="15594" y="24250"/>
                  <a:pt x="15594" y="24250"/>
                </a:cubicBezTo>
                <a:cubicBezTo>
                  <a:pt x="15688" y="24406"/>
                  <a:pt x="15907" y="24469"/>
                  <a:pt x="15907" y="24687"/>
                </a:cubicBezTo>
                <a:cubicBezTo>
                  <a:pt x="15938" y="24531"/>
                  <a:pt x="15875" y="24406"/>
                  <a:pt x="15907" y="24281"/>
                </a:cubicBezTo>
                <a:cubicBezTo>
                  <a:pt x="15938" y="23937"/>
                  <a:pt x="16063" y="24031"/>
                  <a:pt x="16188" y="24219"/>
                </a:cubicBezTo>
                <a:cubicBezTo>
                  <a:pt x="16438" y="24156"/>
                  <a:pt x="16282" y="23937"/>
                  <a:pt x="16313" y="23781"/>
                </a:cubicBezTo>
                <a:cubicBezTo>
                  <a:pt x="16407" y="23875"/>
                  <a:pt x="16344" y="24062"/>
                  <a:pt x="16500" y="24031"/>
                </a:cubicBezTo>
                <a:cubicBezTo>
                  <a:pt x="16625" y="24000"/>
                  <a:pt x="16688" y="23906"/>
                  <a:pt x="16657" y="23750"/>
                </a:cubicBezTo>
                <a:cubicBezTo>
                  <a:pt x="16625" y="23625"/>
                  <a:pt x="16688" y="23500"/>
                  <a:pt x="16813" y="23469"/>
                </a:cubicBezTo>
                <a:cubicBezTo>
                  <a:pt x="16938" y="23437"/>
                  <a:pt x="17000" y="23500"/>
                  <a:pt x="17094" y="23562"/>
                </a:cubicBezTo>
                <a:cubicBezTo>
                  <a:pt x="17094" y="23594"/>
                  <a:pt x="17032" y="23656"/>
                  <a:pt x="17094" y="23687"/>
                </a:cubicBezTo>
                <a:cubicBezTo>
                  <a:pt x="17157" y="23687"/>
                  <a:pt x="17157" y="23625"/>
                  <a:pt x="17188" y="23594"/>
                </a:cubicBezTo>
                <a:cubicBezTo>
                  <a:pt x="17188" y="23469"/>
                  <a:pt x="17219" y="23344"/>
                  <a:pt x="17344" y="23250"/>
                </a:cubicBezTo>
                <a:cubicBezTo>
                  <a:pt x="17375" y="23250"/>
                  <a:pt x="17375" y="23219"/>
                  <a:pt x="17407" y="23219"/>
                </a:cubicBezTo>
                <a:cubicBezTo>
                  <a:pt x="17375" y="23187"/>
                  <a:pt x="17375" y="23187"/>
                  <a:pt x="17344" y="23187"/>
                </a:cubicBezTo>
                <a:cubicBezTo>
                  <a:pt x="17282" y="23062"/>
                  <a:pt x="17250" y="22906"/>
                  <a:pt x="17313" y="22781"/>
                </a:cubicBezTo>
                <a:cubicBezTo>
                  <a:pt x="17500" y="22844"/>
                  <a:pt x="17500" y="23031"/>
                  <a:pt x="17563" y="23187"/>
                </a:cubicBezTo>
                <a:cubicBezTo>
                  <a:pt x="17657" y="23406"/>
                  <a:pt x="17407" y="23500"/>
                  <a:pt x="17407" y="23656"/>
                </a:cubicBezTo>
                <a:cubicBezTo>
                  <a:pt x="17500" y="23687"/>
                  <a:pt x="17500" y="23625"/>
                  <a:pt x="17532" y="23562"/>
                </a:cubicBezTo>
                <a:cubicBezTo>
                  <a:pt x="17594" y="23500"/>
                  <a:pt x="17688" y="23406"/>
                  <a:pt x="17750" y="23469"/>
                </a:cubicBezTo>
                <a:cubicBezTo>
                  <a:pt x="17875" y="23562"/>
                  <a:pt x="17969" y="23687"/>
                  <a:pt x="18032" y="23812"/>
                </a:cubicBezTo>
                <a:cubicBezTo>
                  <a:pt x="18063" y="23906"/>
                  <a:pt x="17938" y="23937"/>
                  <a:pt x="17875" y="23937"/>
                </a:cubicBezTo>
                <a:cubicBezTo>
                  <a:pt x="17813" y="23969"/>
                  <a:pt x="17750" y="23969"/>
                  <a:pt x="17782" y="24062"/>
                </a:cubicBezTo>
                <a:cubicBezTo>
                  <a:pt x="17813" y="24094"/>
                  <a:pt x="17813" y="24156"/>
                  <a:pt x="17875" y="24156"/>
                </a:cubicBezTo>
                <a:cubicBezTo>
                  <a:pt x="18063" y="24156"/>
                  <a:pt x="18313" y="24312"/>
                  <a:pt x="18375" y="24000"/>
                </a:cubicBezTo>
                <a:cubicBezTo>
                  <a:pt x="18375" y="23906"/>
                  <a:pt x="18438" y="23875"/>
                  <a:pt x="18500" y="23875"/>
                </a:cubicBezTo>
                <a:cubicBezTo>
                  <a:pt x="18563" y="23812"/>
                  <a:pt x="18657" y="23750"/>
                  <a:pt x="18688" y="23937"/>
                </a:cubicBezTo>
                <a:cubicBezTo>
                  <a:pt x="18688" y="24031"/>
                  <a:pt x="18594" y="24156"/>
                  <a:pt x="18688" y="24281"/>
                </a:cubicBezTo>
                <a:cubicBezTo>
                  <a:pt x="18688" y="24312"/>
                  <a:pt x="18688" y="24375"/>
                  <a:pt x="18719" y="24375"/>
                </a:cubicBezTo>
                <a:cubicBezTo>
                  <a:pt x="18813" y="24375"/>
                  <a:pt x="18782" y="24312"/>
                  <a:pt x="18782" y="24281"/>
                </a:cubicBezTo>
                <a:cubicBezTo>
                  <a:pt x="18907" y="24000"/>
                  <a:pt x="19188" y="24031"/>
                  <a:pt x="19375" y="23906"/>
                </a:cubicBezTo>
                <a:cubicBezTo>
                  <a:pt x="19438" y="23875"/>
                  <a:pt x="19500" y="23969"/>
                  <a:pt x="19532" y="24031"/>
                </a:cubicBezTo>
                <a:cubicBezTo>
                  <a:pt x="19563" y="24062"/>
                  <a:pt x="19532" y="24125"/>
                  <a:pt x="19500" y="24156"/>
                </a:cubicBezTo>
                <a:cubicBezTo>
                  <a:pt x="19282" y="24250"/>
                  <a:pt x="19125" y="24469"/>
                  <a:pt x="18875" y="24500"/>
                </a:cubicBezTo>
                <a:cubicBezTo>
                  <a:pt x="18875" y="24500"/>
                  <a:pt x="18875" y="24500"/>
                  <a:pt x="18875" y="24500"/>
                </a:cubicBezTo>
                <a:cubicBezTo>
                  <a:pt x="18782" y="24437"/>
                  <a:pt x="18688" y="24406"/>
                  <a:pt x="18563" y="24500"/>
                </a:cubicBezTo>
                <a:cubicBezTo>
                  <a:pt x="18657" y="24594"/>
                  <a:pt x="18750" y="24500"/>
                  <a:pt x="18813" y="24531"/>
                </a:cubicBezTo>
                <a:cubicBezTo>
                  <a:pt x="18875" y="24687"/>
                  <a:pt x="18969" y="24656"/>
                  <a:pt x="19063" y="24594"/>
                </a:cubicBezTo>
                <a:cubicBezTo>
                  <a:pt x="19188" y="24500"/>
                  <a:pt x="19313" y="24469"/>
                  <a:pt x="19469" y="24437"/>
                </a:cubicBezTo>
                <a:cubicBezTo>
                  <a:pt x="19469" y="24531"/>
                  <a:pt x="19438" y="24625"/>
                  <a:pt x="19469" y="24687"/>
                </a:cubicBezTo>
                <a:cubicBezTo>
                  <a:pt x="19532" y="24844"/>
                  <a:pt x="19657" y="24937"/>
                  <a:pt x="19782" y="24937"/>
                </a:cubicBezTo>
                <a:cubicBezTo>
                  <a:pt x="19969" y="24937"/>
                  <a:pt x="19938" y="24719"/>
                  <a:pt x="19907" y="24656"/>
                </a:cubicBezTo>
                <a:cubicBezTo>
                  <a:pt x="19813" y="24469"/>
                  <a:pt x="19688" y="24281"/>
                  <a:pt x="19938" y="24125"/>
                </a:cubicBezTo>
                <a:cubicBezTo>
                  <a:pt x="19938" y="24094"/>
                  <a:pt x="19875" y="24094"/>
                  <a:pt x="19875" y="24062"/>
                </a:cubicBezTo>
                <a:cubicBezTo>
                  <a:pt x="19875" y="23656"/>
                  <a:pt x="19532" y="23844"/>
                  <a:pt x="19344" y="23781"/>
                </a:cubicBezTo>
                <a:cubicBezTo>
                  <a:pt x="19407" y="23687"/>
                  <a:pt x="19500" y="23656"/>
                  <a:pt x="19532" y="23531"/>
                </a:cubicBezTo>
                <a:cubicBezTo>
                  <a:pt x="19563" y="23500"/>
                  <a:pt x="19594" y="23437"/>
                  <a:pt x="19532" y="23406"/>
                </a:cubicBezTo>
                <a:cubicBezTo>
                  <a:pt x="19500" y="23375"/>
                  <a:pt x="19438" y="23406"/>
                  <a:pt x="19438" y="23437"/>
                </a:cubicBezTo>
                <a:cubicBezTo>
                  <a:pt x="19407" y="23562"/>
                  <a:pt x="19219" y="23531"/>
                  <a:pt x="19219" y="23687"/>
                </a:cubicBezTo>
                <a:cubicBezTo>
                  <a:pt x="19250" y="23844"/>
                  <a:pt x="19157" y="23937"/>
                  <a:pt x="19032" y="23906"/>
                </a:cubicBezTo>
                <a:cubicBezTo>
                  <a:pt x="18938" y="23875"/>
                  <a:pt x="18907" y="23750"/>
                  <a:pt x="18938" y="23625"/>
                </a:cubicBezTo>
                <a:cubicBezTo>
                  <a:pt x="18969" y="23469"/>
                  <a:pt x="19125" y="23312"/>
                  <a:pt x="18907" y="23187"/>
                </a:cubicBezTo>
                <a:cubicBezTo>
                  <a:pt x="18750" y="23062"/>
                  <a:pt x="18782" y="22844"/>
                  <a:pt x="18594" y="22750"/>
                </a:cubicBezTo>
                <a:cubicBezTo>
                  <a:pt x="18313" y="22625"/>
                  <a:pt x="18313" y="22500"/>
                  <a:pt x="18532" y="22250"/>
                </a:cubicBezTo>
                <a:cubicBezTo>
                  <a:pt x="18563" y="22187"/>
                  <a:pt x="18657" y="22156"/>
                  <a:pt x="18594" y="22062"/>
                </a:cubicBezTo>
                <a:cubicBezTo>
                  <a:pt x="18500" y="21969"/>
                  <a:pt x="18438" y="22000"/>
                  <a:pt x="18375" y="22094"/>
                </a:cubicBezTo>
                <a:cubicBezTo>
                  <a:pt x="18250" y="22281"/>
                  <a:pt x="18094" y="22250"/>
                  <a:pt x="17938" y="22125"/>
                </a:cubicBezTo>
                <a:cubicBezTo>
                  <a:pt x="17782" y="22000"/>
                  <a:pt x="17750" y="22187"/>
                  <a:pt x="17657" y="22281"/>
                </a:cubicBezTo>
                <a:cubicBezTo>
                  <a:pt x="17750" y="22000"/>
                  <a:pt x="17625" y="21812"/>
                  <a:pt x="17438" y="21656"/>
                </a:cubicBezTo>
                <a:cubicBezTo>
                  <a:pt x="17219" y="21500"/>
                  <a:pt x="17219" y="21250"/>
                  <a:pt x="17125" y="21031"/>
                </a:cubicBezTo>
                <a:cubicBezTo>
                  <a:pt x="17188" y="21156"/>
                  <a:pt x="17188" y="21250"/>
                  <a:pt x="17125" y="21375"/>
                </a:cubicBezTo>
                <a:cubicBezTo>
                  <a:pt x="17063" y="21531"/>
                  <a:pt x="17125" y="21656"/>
                  <a:pt x="17219" y="21750"/>
                </a:cubicBezTo>
                <a:cubicBezTo>
                  <a:pt x="17532" y="22062"/>
                  <a:pt x="17563" y="22062"/>
                  <a:pt x="17157" y="22250"/>
                </a:cubicBezTo>
                <a:cubicBezTo>
                  <a:pt x="17032" y="22156"/>
                  <a:pt x="16907" y="22094"/>
                  <a:pt x="16844" y="21937"/>
                </a:cubicBezTo>
                <a:cubicBezTo>
                  <a:pt x="16782" y="21812"/>
                  <a:pt x="16813" y="21687"/>
                  <a:pt x="16844" y="21562"/>
                </a:cubicBezTo>
                <a:cubicBezTo>
                  <a:pt x="16938" y="21312"/>
                  <a:pt x="16844" y="21156"/>
                  <a:pt x="16594" y="21062"/>
                </a:cubicBezTo>
                <a:cubicBezTo>
                  <a:pt x="16688" y="20906"/>
                  <a:pt x="16407" y="20844"/>
                  <a:pt x="16532" y="20656"/>
                </a:cubicBezTo>
                <a:cubicBezTo>
                  <a:pt x="16282" y="20750"/>
                  <a:pt x="16563" y="20906"/>
                  <a:pt x="16407" y="21000"/>
                </a:cubicBezTo>
                <a:cubicBezTo>
                  <a:pt x="16219" y="20906"/>
                  <a:pt x="16000" y="20812"/>
                  <a:pt x="16094" y="20469"/>
                </a:cubicBezTo>
                <a:cubicBezTo>
                  <a:pt x="16125" y="20250"/>
                  <a:pt x="15875" y="20187"/>
                  <a:pt x="15719" y="20094"/>
                </a:cubicBezTo>
                <a:cubicBezTo>
                  <a:pt x="15532" y="19969"/>
                  <a:pt x="15594" y="20250"/>
                  <a:pt x="15469" y="20219"/>
                </a:cubicBezTo>
                <a:cubicBezTo>
                  <a:pt x="15469" y="20156"/>
                  <a:pt x="15469" y="20094"/>
                  <a:pt x="15438" y="20031"/>
                </a:cubicBezTo>
                <a:cubicBezTo>
                  <a:pt x="15469" y="19875"/>
                  <a:pt x="15344" y="19781"/>
                  <a:pt x="15282" y="19687"/>
                </a:cubicBezTo>
                <a:cubicBezTo>
                  <a:pt x="15469" y="19625"/>
                  <a:pt x="15344" y="19437"/>
                  <a:pt x="15407" y="19344"/>
                </a:cubicBezTo>
                <a:cubicBezTo>
                  <a:pt x="15407" y="19344"/>
                  <a:pt x="15407" y="19344"/>
                  <a:pt x="15407" y="19344"/>
                </a:cubicBezTo>
                <a:cubicBezTo>
                  <a:pt x="15500" y="19094"/>
                  <a:pt x="15469" y="19062"/>
                  <a:pt x="15344" y="19094"/>
                </a:cubicBezTo>
                <a:cubicBezTo>
                  <a:pt x="15063" y="19156"/>
                  <a:pt x="14969" y="19062"/>
                  <a:pt x="15063" y="18781"/>
                </a:cubicBezTo>
                <a:cubicBezTo>
                  <a:pt x="15094" y="18719"/>
                  <a:pt x="15157" y="18594"/>
                  <a:pt x="15032" y="18562"/>
                </a:cubicBezTo>
                <a:cubicBezTo>
                  <a:pt x="14938" y="18562"/>
                  <a:pt x="14907" y="18656"/>
                  <a:pt x="14938" y="18750"/>
                </a:cubicBezTo>
                <a:cubicBezTo>
                  <a:pt x="14938" y="18906"/>
                  <a:pt x="14875" y="19062"/>
                  <a:pt x="14688" y="19125"/>
                </a:cubicBezTo>
                <a:cubicBezTo>
                  <a:pt x="14500" y="19219"/>
                  <a:pt x="14375" y="19375"/>
                  <a:pt x="14532" y="19594"/>
                </a:cubicBezTo>
                <a:cubicBezTo>
                  <a:pt x="14438" y="19687"/>
                  <a:pt x="14500" y="19875"/>
                  <a:pt x="14344" y="19906"/>
                </a:cubicBezTo>
                <a:cubicBezTo>
                  <a:pt x="14344" y="19719"/>
                  <a:pt x="14188" y="19844"/>
                  <a:pt x="14157" y="19781"/>
                </a:cubicBezTo>
                <a:cubicBezTo>
                  <a:pt x="14157" y="19687"/>
                  <a:pt x="14157" y="19594"/>
                  <a:pt x="14157" y="19500"/>
                </a:cubicBezTo>
                <a:cubicBezTo>
                  <a:pt x="14219" y="19469"/>
                  <a:pt x="14313" y="19500"/>
                  <a:pt x="14313" y="19406"/>
                </a:cubicBezTo>
                <a:cubicBezTo>
                  <a:pt x="14313" y="19344"/>
                  <a:pt x="14219" y="19375"/>
                  <a:pt x="14157" y="19344"/>
                </a:cubicBezTo>
                <a:cubicBezTo>
                  <a:pt x="14157" y="19312"/>
                  <a:pt x="14157" y="19281"/>
                  <a:pt x="14157" y="19219"/>
                </a:cubicBezTo>
                <a:cubicBezTo>
                  <a:pt x="14282" y="19219"/>
                  <a:pt x="14407" y="19219"/>
                  <a:pt x="14375" y="19031"/>
                </a:cubicBezTo>
                <a:cubicBezTo>
                  <a:pt x="14344" y="18969"/>
                  <a:pt x="14438" y="18875"/>
                  <a:pt x="14469" y="18812"/>
                </a:cubicBezTo>
                <a:cubicBezTo>
                  <a:pt x="14625" y="18656"/>
                  <a:pt x="14563" y="18594"/>
                  <a:pt x="14407" y="18531"/>
                </a:cubicBezTo>
                <a:cubicBezTo>
                  <a:pt x="14188" y="18531"/>
                  <a:pt x="14063" y="18500"/>
                  <a:pt x="14250" y="18281"/>
                </a:cubicBezTo>
                <a:cubicBezTo>
                  <a:pt x="14282" y="18250"/>
                  <a:pt x="14282" y="18156"/>
                  <a:pt x="14282" y="18094"/>
                </a:cubicBezTo>
                <a:cubicBezTo>
                  <a:pt x="14313" y="18125"/>
                  <a:pt x="14313" y="18125"/>
                  <a:pt x="14344" y="18094"/>
                </a:cubicBezTo>
                <a:cubicBezTo>
                  <a:pt x="14407" y="17969"/>
                  <a:pt x="14375" y="17781"/>
                  <a:pt x="14438" y="17656"/>
                </a:cubicBezTo>
                <a:cubicBezTo>
                  <a:pt x="14469" y="17562"/>
                  <a:pt x="14344" y="17625"/>
                  <a:pt x="14313" y="17625"/>
                </a:cubicBezTo>
                <a:cubicBezTo>
                  <a:pt x="14282" y="17625"/>
                  <a:pt x="14282" y="17719"/>
                  <a:pt x="14219" y="17687"/>
                </a:cubicBezTo>
                <a:cubicBezTo>
                  <a:pt x="14219" y="17656"/>
                  <a:pt x="14250" y="17594"/>
                  <a:pt x="14250" y="17562"/>
                </a:cubicBezTo>
                <a:cubicBezTo>
                  <a:pt x="14157" y="17375"/>
                  <a:pt x="14188" y="17187"/>
                  <a:pt x="14188" y="16937"/>
                </a:cubicBezTo>
                <a:cubicBezTo>
                  <a:pt x="13938" y="17031"/>
                  <a:pt x="13938" y="17312"/>
                  <a:pt x="13782" y="17469"/>
                </a:cubicBezTo>
                <a:cubicBezTo>
                  <a:pt x="14125" y="17687"/>
                  <a:pt x="13813" y="17906"/>
                  <a:pt x="13813" y="18156"/>
                </a:cubicBezTo>
                <a:cubicBezTo>
                  <a:pt x="13719" y="18156"/>
                  <a:pt x="13657" y="18156"/>
                  <a:pt x="13657" y="18281"/>
                </a:cubicBezTo>
                <a:cubicBezTo>
                  <a:pt x="13657" y="18344"/>
                  <a:pt x="13625" y="18375"/>
                  <a:pt x="13563" y="18375"/>
                </a:cubicBezTo>
                <a:cubicBezTo>
                  <a:pt x="13532" y="18344"/>
                  <a:pt x="13469" y="18312"/>
                  <a:pt x="13469" y="18281"/>
                </a:cubicBezTo>
                <a:cubicBezTo>
                  <a:pt x="13532" y="18062"/>
                  <a:pt x="13344" y="17844"/>
                  <a:pt x="13438" y="17625"/>
                </a:cubicBezTo>
                <a:cubicBezTo>
                  <a:pt x="13469" y="17531"/>
                  <a:pt x="13469" y="17437"/>
                  <a:pt x="13344" y="17406"/>
                </a:cubicBezTo>
                <a:cubicBezTo>
                  <a:pt x="13250" y="17375"/>
                  <a:pt x="13250" y="17281"/>
                  <a:pt x="13282" y="17219"/>
                </a:cubicBezTo>
                <a:cubicBezTo>
                  <a:pt x="13375" y="17250"/>
                  <a:pt x="13438" y="17406"/>
                  <a:pt x="13563" y="17281"/>
                </a:cubicBezTo>
                <a:cubicBezTo>
                  <a:pt x="13688" y="17187"/>
                  <a:pt x="13594" y="17094"/>
                  <a:pt x="13532" y="17031"/>
                </a:cubicBezTo>
                <a:cubicBezTo>
                  <a:pt x="13438" y="16937"/>
                  <a:pt x="13407" y="16844"/>
                  <a:pt x="13375" y="16719"/>
                </a:cubicBezTo>
                <a:cubicBezTo>
                  <a:pt x="13219" y="16844"/>
                  <a:pt x="13188" y="17094"/>
                  <a:pt x="12938" y="17000"/>
                </a:cubicBezTo>
                <a:cubicBezTo>
                  <a:pt x="12969" y="16969"/>
                  <a:pt x="12969" y="16937"/>
                  <a:pt x="13000" y="16906"/>
                </a:cubicBezTo>
                <a:cubicBezTo>
                  <a:pt x="13094" y="16844"/>
                  <a:pt x="13157" y="16750"/>
                  <a:pt x="13188" y="16625"/>
                </a:cubicBezTo>
                <a:cubicBezTo>
                  <a:pt x="13188" y="16594"/>
                  <a:pt x="13219" y="16500"/>
                  <a:pt x="13157" y="16469"/>
                </a:cubicBezTo>
                <a:cubicBezTo>
                  <a:pt x="13063" y="16437"/>
                  <a:pt x="13063" y="16562"/>
                  <a:pt x="13000" y="16562"/>
                </a:cubicBezTo>
                <a:cubicBezTo>
                  <a:pt x="13094" y="16250"/>
                  <a:pt x="12750" y="16406"/>
                  <a:pt x="12688" y="16250"/>
                </a:cubicBezTo>
                <a:cubicBezTo>
                  <a:pt x="12688" y="16219"/>
                  <a:pt x="12719" y="16187"/>
                  <a:pt x="12719" y="16156"/>
                </a:cubicBezTo>
                <a:cubicBezTo>
                  <a:pt x="12719" y="16156"/>
                  <a:pt x="12719" y="16156"/>
                  <a:pt x="12719" y="16156"/>
                </a:cubicBezTo>
                <a:cubicBezTo>
                  <a:pt x="12969" y="16062"/>
                  <a:pt x="13157" y="15844"/>
                  <a:pt x="13344" y="15719"/>
                </a:cubicBezTo>
                <a:cubicBezTo>
                  <a:pt x="13563" y="15562"/>
                  <a:pt x="13188" y="15531"/>
                  <a:pt x="13250" y="15375"/>
                </a:cubicBezTo>
                <a:cubicBezTo>
                  <a:pt x="13250" y="15344"/>
                  <a:pt x="13188" y="15281"/>
                  <a:pt x="13125" y="15281"/>
                </a:cubicBezTo>
                <a:cubicBezTo>
                  <a:pt x="13032" y="15281"/>
                  <a:pt x="13094" y="15437"/>
                  <a:pt x="13032" y="15469"/>
                </a:cubicBezTo>
                <a:cubicBezTo>
                  <a:pt x="13000" y="15406"/>
                  <a:pt x="13032" y="15312"/>
                  <a:pt x="13000" y="15312"/>
                </a:cubicBezTo>
                <a:cubicBezTo>
                  <a:pt x="12657" y="15156"/>
                  <a:pt x="12938" y="14969"/>
                  <a:pt x="13000" y="14937"/>
                </a:cubicBezTo>
                <a:cubicBezTo>
                  <a:pt x="13282" y="14844"/>
                  <a:pt x="13313" y="14625"/>
                  <a:pt x="13375" y="14406"/>
                </a:cubicBezTo>
                <a:cubicBezTo>
                  <a:pt x="13563" y="14281"/>
                  <a:pt x="13750" y="14156"/>
                  <a:pt x="13938" y="14062"/>
                </a:cubicBezTo>
                <a:cubicBezTo>
                  <a:pt x="13938" y="14000"/>
                  <a:pt x="13938" y="13969"/>
                  <a:pt x="13969" y="13906"/>
                </a:cubicBezTo>
                <a:cubicBezTo>
                  <a:pt x="13750" y="13906"/>
                  <a:pt x="13657" y="14125"/>
                  <a:pt x="13469" y="14156"/>
                </a:cubicBezTo>
                <a:cubicBezTo>
                  <a:pt x="13469" y="14156"/>
                  <a:pt x="13469" y="14156"/>
                  <a:pt x="13469" y="14156"/>
                </a:cubicBezTo>
                <a:cubicBezTo>
                  <a:pt x="13157" y="14000"/>
                  <a:pt x="12907" y="14000"/>
                  <a:pt x="12750" y="14250"/>
                </a:cubicBezTo>
                <a:cubicBezTo>
                  <a:pt x="12750" y="14250"/>
                  <a:pt x="12750" y="14250"/>
                  <a:pt x="12750" y="14281"/>
                </a:cubicBezTo>
                <a:cubicBezTo>
                  <a:pt x="12750" y="14250"/>
                  <a:pt x="12750" y="14250"/>
                  <a:pt x="12750" y="14250"/>
                </a:cubicBezTo>
                <a:cubicBezTo>
                  <a:pt x="12688" y="14219"/>
                  <a:pt x="12594" y="14281"/>
                  <a:pt x="12563" y="14219"/>
                </a:cubicBezTo>
                <a:cubicBezTo>
                  <a:pt x="12532" y="14125"/>
                  <a:pt x="12625" y="14094"/>
                  <a:pt x="12688" y="14062"/>
                </a:cubicBezTo>
                <a:cubicBezTo>
                  <a:pt x="12969" y="13969"/>
                  <a:pt x="13282" y="13937"/>
                  <a:pt x="13532" y="13719"/>
                </a:cubicBezTo>
                <a:cubicBezTo>
                  <a:pt x="13625" y="13687"/>
                  <a:pt x="13657" y="13656"/>
                  <a:pt x="13657" y="13562"/>
                </a:cubicBezTo>
                <a:cubicBezTo>
                  <a:pt x="13938" y="13500"/>
                  <a:pt x="14188" y="13281"/>
                  <a:pt x="14532" y="13281"/>
                </a:cubicBezTo>
                <a:cubicBezTo>
                  <a:pt x="14625" y="13406"/>
                  <a:pt x="14750" y="13437"/>
                  <a:pt x="14907" y="13375"/>
                </a:cubicBezTo>
                <a:cubicBezTo>
                  <a:pt x="15032" y="13312"/>
                  <a:pt x="15094" y="13406"/>
                  <a:pt x="15094" y="13562"/>
                </a:cubicBezTo>
                <a:cubicBezTo>
                  <a:pt x="15032" y="13594"/>
                  <a:pt x="15000" y="13625"/>
                  <a:pt x="14969" y="13625"/>
                </a:cubicBezTo>
                <a:cubicBezTo>
                  <a:pt x="14719" y="13656"/>
                  <a:pt x="14594" y="13969"/>
                  <a:pt x="14313" y="13906"/>
                </a:cubicBezTo>
                <a:cubicBezTo>
                  <a:pt x="14344" y="13781"/>
                  <a:pt x="14532" y="13812"/>
                  <a:pt x="14532" y="13656"/>
                </a:cubicBezTo>
                <a:cubicBezTo>
                  <a:pt x="14282" y="13656"/>
                  <a:pt x="14125" y="13812"/>
                  <a:pt x="13969" y="13906"/>
                </a:cubicBezTo>
                <a:cubicBezTo>
                  <a:pt x="13938" y="13969"/>
                  <a:pt x="13938" y="14000"/>
                  <a:pt x="13938" y="14062"/>
                </a:cubicBezTo>
                <a:cubicBezTo>
                  <a:pt x="14000" y="14156"/>
                  <a:pt x="14157" y="14031"/>
                  <a:pt x="14188" y="14062"/>
                </a:cubicBezTo>
                <a:cubicBezTo>
                  <a:pt x="14219" y="14375"/>
                  <a:pt x="14094" y="14531"/>
                  <a:pt x="13844" y="14594"/>
                </a:cubicBezTo>
                <a:cubicBezTo>
                  <a:pt x="13563" y="14625"/>
                  <a:pt x="13657" y="14875"/>
                  <a:pt x="13594" y="15031"/>
                </a:cubicBezTo>
                <a:cubicBezTo>
                  <a:pt x="13907" y="14656"/>
                  <a:pt x="14313" y="14562"/>
                  <a:pt x="14782" y="14562"/>
                </a:cubicBezTo>
                <a:cubicBezTo>
                  <a:pt x="14782" y="14562"/>
                  <a:pt x="14782" y="14562"/>
                  <a:pt x="14782" y="14562"/>
                </a:cubicBezTo>
                <a:cubicBezTo>
                  <a:pt x="14813" y="14562"/>
                  <a:pt x="14813" y="14531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469"/>
                  <a:pt x="14844" y="14469"/>
                  <a:pt x="14813" y="14437"/>
                </a:cubicBezTo>
                <a:cubicBezTo>
                  <a:pt x="14875" y="14406"/>
                  <a:pt x="14907" y="14281"/>
                  <a:pt x="14969" y="14375"/>
                </a:cubicBezTo>
                <a:cubicBezTo>
                  <a:pt x="15032" y="14437"/>
                  <a:pt x="14907" y="14500"/>
                  <a:pt x="14844" y="14500"/>
                </a:cubicBezTo>
                <a:lnTo>
                  <a:pt x="14844" y="14500"/>
                </a:lnTo>
                <a:cubicBezTo>
                  <a:pt x="14844" y="14500"/>
                  <a:pt x="14844" y="14500"/>
                  <a:pt x="14844" y="14500"/>
                </a:cubicBezTo>
                <a:cubicBezTo>
                  <a:pt x="14844" y="14562"/>
                  <a:pt x="14844" y="14594"/>
                  <a:pt x="14782" y="14562"/>
                </a:cubicBezTo>
                <a:lnTo>
                  <a:pt x="14782" y="14562"/>
                </a:lnTo>
                <a:cubicBezTo>
                  <a:pt x="14782" y="14562"/>
                  <a:pt x="14782" y="14562"/>
                  <a:pt x="14782" y="14562"/>
                </a:cubicBezTo>
                <a:cubicBezTo>
                  <a:pt x="14750" y="14781"/>
                  <a:pt x="14907" y="14781"/>
                  <a:pt x="15032" y="14812"/>
                </a:cubicBezTo>
                <a:cubicBezTo>
                  <a:pt x="15000" y="14844"/>
                  <a:pt x="14969" y="14875"/>
                  <a:pt x="14938" y="14875"/>
                </a:cubicBezTo>
                <a:cubicBezTo>
                  <a:pt x="14688" y="15094"/>
                  <a:pt x="14625" y="15344"/>
                  <a:pt x="14782" y="15531"/>
                </a:cubicBezTo>
                <a:cubicBezTo>
                  <a:pt x="14782" y="15531"/>
                  <a:pt x="14782" y="15562"/>
                  <a:pt x="14782" y="15562"/>
                </a:cubicBezTo>
                <a:cubicBezTo>
                  <a:pt x="14813" y="15594"/>
                  <a:pt x="14813" y="15594"/>
                  <a:pt x="14844" y="15625"/>
                </a:cubicBezTo>
                <a:cubicBezTo>
                  <a:pt x="14813" y="15594"/>
                  <a:pt x="14813" y="15594"/>
                  <a:pt x="14782" y="15562"/>
                </a:cubicBezTo>
                <a:cubicBezTo>
                  <a:pt x="14625" y="15562"/>
                  <a:pt x="14657" y="15687"/>
                  <a:pt x="14657" y="15750"/>
                </a:cubicBezTo>
                <a:cubicBezTo>
                  <a:pt x="14594" y="15781"/>
                  <a:pt x="14563" y="15812"/>
                  <a:pt x="14532" y="15875"/>
                </a:cubicBezTo>
                <a:cubicBezTo>
                  <a:pt x="14719" y="16094"/>
                  <a:pt x="14313" y="16406"/>
                  <a:pt x="14688" y="16594"/>
                </a:cubicBezTo>
                <a:cubicBezTo>
                  <a:pt x="14282" y="16656"/>
                  <a:pt x="14594" y="16906"/>
                  <a:pt x="14532" y="17062"/>
                </a:cubicBezTo>
                <a:cubicBezTo>
                  <a:pt x="14625" y="16969"/>
                  <a:pt x="14688" y="16875"/>
                  <a:pt x="14782" y="16750"/>
                </a:cubicBezTo>
                <a:cubicBezTo>
                  <a:pt x="14844" y="16781"/>
                  <a:pt x="14813" y="16625"/>
                  <a:pt x="14907" y="16656"/>
                </a:cubicBezTo>
                <a:cubicBezTo>
                  <a:pt x="14969" y="16687"/>
                  <a:pt x="14969" y="16750"/>
                  <a:pt x="14969" y="16812"/>
                </a:cubicBezTo>
                <a:cubicBezTo>
                  <a:pt x="14969" y="17031"/>
                  <a:pt x="15188" y="17219"/>
                  <a:pt x="15125" y="17469"/>
                </a:cubicBezTo>
                <a:cubicBezTo>
                  <a:pt x="15094" y="17469"/>
                  <a:pt x="15125" y="17531"/>
                  <a:pt x="15125" y="17531"/>
                </a:cubicBezTo>
                <a:cubicBezTo>
                  <a:pt x="15375" y="17406"/>
                  <a:pt x="15344" y="17625"/>
                  <a:pt x="15375" y="17719"/>
                </a:cubicBezTo>
                <a:cubicBezTo>
                  <a:pt x="15407" y="17875"/>
                  <a:pt x="15500" y="17781"/>
                  <a:pt x="15594" y="17781"/>
                </a:cubicBezTo>
                <a:cubicBezTo>
                  <a:pt x="15625" y="17719"/>
                  <a:pt x="15719" y="17719"/>
                  <a:pt x="15719" y="17656"/>
                </a:cubicBezTo>
                <a:cubicBezTo>
                  <a:pt x="15750" y="17531"/>
                  <a:pt x="15782" y="17437"/>
                  <a:pt x="15813" y="17344"/>
                </a:cubicBezTo>
                <a:cubicBezTo>
                  <a:pt x="15813" y="17344"/>
                  <a:pt x="15813" y="17344"/>
                  <a:pt x="15813" y="17344"/>
                </a:cubicBezTo>
                <a:cubicBezTo>
                  <a:pt x="15844" y="17344"/>
                  <a:pt x="15907" y="17344"/>
                  <a:pt x="15969" y="17312"/>
                </a:cubicBezTo>
                <a:cubicBezTo>
                  <a:pt x="15969" y="17500"/>
                  <a:pt x="15719" y="17656"/>
                  <a:pt x="15907" y="17844"/>
                </a:cubicBezTo>
                <a:cubicBezTo>
                  <a:pt x="15907" y="17875"/>
                  <a:pt x="15844" y="17937"/>
                  <a:pt x="15938" y="17969"/>
                </a:cubicBezTo>
                <a:cubicBezTo>
                  <a:pt x="16032" y="17969"/>
                  <a:pt x="16094" y="17969"/>
                  <a:pt x="16157" y="17875"/>
                </a:cubicBezTo>
                <a:cubicBezTo>
                  <a:pt x="16219" y="17906"/>
                  <a:pt x="16219" y="17969"/>
                  <a:pt x="16219" y="18031"/>
                </a:cubicBezTo>
                <a:cubicBezTo>
                  <a:pt x="16188" y="18031"/>
                  <a:pt x="16125" y="18062"/>
                  <a:pt x="16094" y="18062"/>
                </a:cubicBezTo>
                <a:cubicBezTo>
                  <a:pt x="16125" y="18187"/>
                  <a:pt x="16188" y="18062"/>
                  <a:pt x="16219" y="18062"/>
                </a:cubicBezTo>
                <a:cubicBezTo>
                  <a:pt x="16282" y="18125"/>
                  <a:pt x="16250" y="18250"/>
                  <a:pt x="16344" y="18281"/>
                </a:cubicBezTo>
                <a:cubicBezTo>
                  <a:pt x="16344" y="18312"/>
                  <a:pt x="16313" y="18406"/>
                  <a:pt x="16375" y="18437"/>
                </a:cubicBezTo>
                <a:cubicBezTo>
                  <a:pt x="16438" y="18469"/>
                  <a:pt x="16438" y="18437"/>
                  <a:pt x="16469" y="18375"/>
                </a:cubicBezTo>
                <a:cubicBezTo>
                  <a:pt x="16532" y="18281"/>
                  <a:pt x="16438" y="18312"/>
                  <a:pt x="16375" y="18281"/>
                </a:cubicBezTo>
                <a:cubicBezTo>
                  <a:pt x="16532" y="18125"/>
                  <a:pt x="16469" y="17906"/>
                  <a:pt x="16563" y="17719"/>
                </a:cubicBezTo>
                <a:cubicBezTo>
                  <a:pt x="16500" y="17594"/>
                  <a:pt x="16844" y="17437"/>
                  <a:pt x="16500" y="17344"/>
                </a:cubicBezTo>
                <a:cubicBezTo>
                  <a:pt x="16625" y="17281"/>
                  <a:pt x="16688" y="17281"/>
                  <a:pt x="16782" y="17312"/>
                </a:cubicBezTo>
                <a:cubicBezTo>
                  <a:pt x="16844" y="17312"/>
                  <a:pt x="16844" y="17312"/>
                  <a:pt x="16813" y="17187"/>
                </a:cubicBezTo>
                <a:cubicBezTo>
                  <a:pt x="16813" y="17187"/>
                  <a:pt x="16813" y="17156"/>
                  <a:pt x="16813" y="17156"/>
                </a:cubicBezTo>
                <a:cubicBezTo>
                  <a:pt x="16875" y="17031"/>
                  <a:pt x="17407" y="16750"/>
                  <a:pt x="17532" y="16750"/>
                </a:cubicBezTo>
                <a:cubicBezTo>
                  <a:pt x="17875" y="16750"/>
                  <a:pt x="18000" y="16562"/>
                  <a:pt x="18063" y="16250"/>
                </a:cubicBezTo>
                <a:cubicBezTo>
                  <a:pt x="18063" y="16250"/>
                  <a:pt x="18094" y="16219"/>
                  <a:pt x="18094" y="16219"/>
                </a:cubicBezTo>
                <a:cubicBezTo>
                  <a:pt x="18063" y="16219"/>
                  <a:pt x="18032" y="16219"/>
                  <a:pt x="18032" y="16281"/>
                </a:cubicBezTo>
                <a:cubicBezTo>
                  <a:pt x="17844" y="16375"/>
                  <a:pt x="17657" y="16469"/>
                  <a:pt x="17469" y="16562"/>
                </a:cubicBezTo>
                <a:cubicBezTo>
                  <a:pt x="17438" y="16562"/>
                  <a:pt x="17407" y="16562"/>
                  <a:pt x="17407" y="16562"/>
                </a:cubicBezTo>
                <a:cubicBezTo>
                  <a:pt x="17407" y="16562"/>
                  <a:pt x="17438" y="16562"/>
                  <a:pt x="17469" y="16562"/>
                </a:cubicBezTo>
                <a:cubicBezTo>
                  <a:pt x="17500" y="16437"/>
                  <a:pt x="17532" y="16344"/>
                  <a:pt x="17532" y="16250"/>
                </a:cubicBezTo>
                <a:cubicBezTo>
                  <a:pt x="17625" y="16187"/>
                  <a:pt x="17594" y="16094"/>
                  <a:pt x="17625" y="16031"/>
                </a:cubicBezTo>
                <a:cubicBezTo>
                  <a:pt x="17657" y="16000"/>
                  <a:pt x="17719" y="15969"/>
                  <a:pt x="17688" y="15906"/>
                </a:cubicBezTo>
                <a:cubicBezTo>
                  <a:pt x="17782" y="15906"/>
                  <a:pt x="17782" y="15844"/>
                  <a:pt x="17844" y="15750"/>
                </a:cubicBezTo>
                <a:cubicBezTo>
                  <a:pt x="18063" y="15781"/>
                  <a:pt x="18125" y="15437"/>
                  <a:pt x="18344" y="15500"/>
                </a:cubicBezTo>
                <a:cubicBezTo>
                  <a:pt x="18375" y="15500"/>
                  <a:pt x="18375" y="15500"/>
                  <a:pt x="18375" y="15500"/>
                </a:cubicBezTo>
                <a:cubicBezTo>
                  <a:pt x="18500" y="15500"/>
                  <a:pt x="18688" y="15594"/>
                  <a:pt x="18657" y="15312"/>
                </a:cubicBezTo>
                <a:cubicBezTo>
                  <a:pt x="18625" y="15250"/>
                  <a:pt x="18782" y="15281"/>
                  <a:pt x="18875" y="15250"/>
                </a:cubicBezTo>
                <a:cubicBezTo>
                  <a:pt x="18719" y="15625"/>
                  <a:pt x="18532" y="15750"/>
                  <a:pt x="18188" y="15750"/>
                </a:cubicBezTo>
                <a:lnTo>
                  <a:pt x="18188" y="15750"/>
                </a:lnTo>
                <a:cubicBezTo>
                  <a:pt x="18188" y="15625"/>
                  <a:pt x="18407" y="15656"/>
                  <a:pt x="18375" y="15500"/>
                </a:cubicBezTo>
                <a:cubicBezTo>
                  <a:pt x="18375" y="15500"/>
                  <a:pt x="18375" y="15500"/>
                  <a:pt x="18344" y="15500"/>
                </a:cubicBezTo>
                <a:cubicBezTo>
                  <a:pt x="18344" y="15437"/>
                  <a:pt x="18407" y="15375"/>
                  <a:pt x="18344" y="15344"/>
                </a:cubicBezTo>
                <a:cubicBezTo>
                  <a:pt x="18063" y="15281"/>
                  <a:pt x="18282" y="15187"/>
                  <a:pt x="18313" y="15094"/>
                </a:cubicBezTo>
                <a:cubicBezTo>
                  <a:pt x="18313" y="15094"/>
                  <a:pt x="18313" y="15094"/>
                  <a:pt x="18313" y="15094"/>
                </a:cubicBezTo>
                <a:cubicBezTo>
                  <a:pt x="18438" y="15000"/>
                  <a:pt x="18657" y="15156"/>
                  <a:pt x="18750" y="14937"/>
                </a:cubicBezTo>
                <a:cubicBezTo>
                  <a:pt x="18594" y="14937"/>
                  <a:pt x="18407" y="14875"/>
                  <a:pt x="18282" y="15062"/>
                </a:cubicBezTo>
                <a:cubicBezTo>
                  <a:pt x="18219" y="15062"/>
                  <a:pt x="18157" y="15031"/>
                  <a:pt x="18094" y="15000"/>
                </a:cubicBezTo>
                <a:lnTo>
                  <a:pt x="18094" y="15000"/>
                </a:lnTo>
                <a:lnTo>
                  <a:pt x="18094" y="15000"/>
                </a:lnTo>
                <a:lnTo>
                  <a:pt x="18094" y="15000"/>
                </a:lnTo>
                <a:lnTo>
                  <a:pt x="18095" y="15000"/>
                </a:lnTo>
                <a:lnTo>
                  <a:pt x="18095" y="15000"/>
                </a:lnTo>
                <a:lnTo>
                  <a:pt x="18095" y="15000"/>
                </a:lnTo>
                <a:lnTo>
                  <a:pt x="18095" y="15000"/>
                </a:lnTo>
                <a:lnTo>
                  <a:pt x="18096" y="15000"/>
                </a:lnTo>
                <a:lnTo>
                  <a:pt x="18096" y="15000"/>
                </a:lnTo>
                <a:lnTo>
                  <a:pt x="18096" y="15000"/>
                </a:lnTo>
                <a:lnTo>
                  <a:pt x="18096" y="15000"/>
                </a:lnTo>
                <a:lnTo>
                  <a:pt x="18097" y="15000"/>
                </a:lnTo>
                <a:lnTo>
                  <a:pt x="18097" y="15000"/>
                </a:lnTo>
                <a:lnTo>
                  <a:pt x="18097" y="15000"/>
                </a:lnTo>
                <a:lnTo>
                  <a:pt x="18098" y="15000"/>
                </a:lnTo>
                <a:lnTo>
                  <a:pt x="18098" y="15000"/>
                </a:lnTo>
                <a:lnTo>
                  <a:pt x="18098" y="15000"/>
                </a:lnTo>
                <a:lnTo>
                  <a:pt x="18099" y="15000"/>
                </a:lnTo>
                <a:lnTo>
                  <a:pt x="18099" y="15000"/>
                </a:lnTo>
                <a:lnTo>
                  <a:pt x="18100" y="15000"/>
                </a:lnTo>
                <a:lnTo>
                  <a:pt x="18100" y="15000"/>
                </a:lnTo>
                <a:lnTo>
                  <a:pt x="18100" y="15000"/>
                </a:lnTo>
                <a:lnTo>
                  <a:pt x="18101" y="15000"/>
                </a:lnTo>
                <a:lnTo>
                  <a:pt x="18101" y="15000"/>
                </a:lnTo>
                <a:lnTo>
                  <a:pt x="18101" y="15000"/>
                </a:lnTo>
                <a:lnTo>
                  <a:pt x="18102" y="15000"/>
                </a:lnTo>
                <a:lnTo>
                  <a:pt x="18102" y="15000"/>
                </a:lnTo>
                <a:lnTo>
                  <a:pt x="18103" y="15000"/>
                </a:lnTo>
                <a:lnTo>
                  <a:pt x="18103" y="15000"/>
                </a:lnTo>
                <a:lnTo>
                  <a:pt x="18103" y="15000"/>
                </a:lnTo>
                <a:lnTo>
                  <a:pt x="18104" y="15000"/>
                </a:lnTo>
                <a:lnTo>
                  <a:pt x="18104" y="15000"/>
                </a:lnTo>
                <a:lnTo>
                  <a:pt x="18105" y="15000"/>
                </a:lnTo>
                <a:lnTo>
                  <a:pt x="18105" y="15000"/>
                </a:lnTo>
                <a:lnTo>
                  <a:pt x="18106" y="15000"/>
                </a:lnTo>
                <a:lnTo>
                  <a:pt x="18106" y="15000"/>
                </a:lnTo>
                <a:lnTo>
                  <a:pt x="18107" y="15000"/>
                </a:lnTo>
                <a:lnTo>
                  <a:pt x="18107" y="15000"/>
                </a:lnTo>
                <a:lnTo>
                  <a:pt x="18108" y="15000"/>
                </a:lnTo>
                <a:lnTo>
                  <a:pt x="18108" y="15000"/>
                </a:lnTo>
                <a:lnTo>
                  <a:pt x="18108" y="15000"/>
                </a:lnTo>
                <a:lnTo>
                  <a:pt x="18109" y="15000"/>
                </a:lnTo>
                <a:lnTo>
                  <a:pt x="18109" y="15000"/>
                </a:lnTo>
                <a:lnTo>
                  <a:pt x="18110" y="15000"/>
                </a:lnTo>
                <a:lnTo>
                  <a:pt x="18110" y="15000"/>
                </a:lnTo>
                <a:lnTo>
                  <a:pt x="18111" y="15000"/>
                </a:lnTo>
                <a:lnTo>
                  <a:pt x="18111" y="15000"/>
                </a:lnTo>
                <a:lnTo>
                  <a:pt x="18111" y="15000"/>
                </a:lnTo>
                <a:lnTo>
                  <a:pt x="18111" y="15000"/>
                </a:lnTo>
                <a:lnTo>
                  <a:pt x="18112" y="15000"/>
                </a:lnTo>
                <a:lnTo>
                  <a:pt x="18112" y="15000"/>
                </a:lnTo>
                <a:lnTo>
                  <a:pt x="18113" y="15000"/>
                </a:lnTo>
                <a:lnTo>
                  <a:pt x="18113" y="15000"/>
                </a:lnTo>
                <a:lnTo>
                  <a:pt x="18113" y="15000"/>
                </a:lnTo>
                <a:lnTo>
                  <a:pt x="18114" y="15000"/>
                </a:lnTo>
                <a:lnTo>
                  <a:pt x="18114" y="15000"/>
                </a:lnTo>
                <a:lnTo>
                  <a:pt x="18115" y="15000"/>
                </a:lnTo>
                <a:lnTo>
                  <a:pt x="18115" y="15000"/>
                </a:lnTo>
                <a:lnTo>
                  <a:pt x="18115" y="15000"/>
                </a:lnTo>
                <a:lnTo>
                  <a:pt x="18116" y="15000"/>
                </a:lnTo>
                <a:lnTo>
                  <a:pt x="18116" y="15000"/>
                </a:lnTo>
                <a:lnTo>
                  <a:pt x="18116" y="15000"/>
                </a:lnTo>
                <a:lnTo>
                  <a:pt x="18117" y="15000"/>
                </a:lnTo>
                <a:lnTo>
                  <a:pt x="18117" y="15000"/>
                </a:lnTo>
                <a:lnTo>
                  <a:pt x="18117" y="15000"/>
                </a:lnTo>
                <a:lnTo>
                  <a:pt x="18118" y="15000"/>
                </a:lnTo>
                <a:lnTo>
                  <a:pt x="18118" y="15000"/>
                </a:lnTo>
                <a:lnTo>
                  <a:pt x="18118" y="15000"/>
                </a:lnTo>
                <a:lnTo>
                  <a:pt x="18118" y="15000"/>
                </a:lnTo>
                <a:lnTo>
                  <a:pt x="18119" y="15000"/>
                </a:lnTo>
                <a:lnTo>
                  <a:pt x="18119" y="15000"/>
                </a:lnTo>
                <a:lnTo>
                  <a:pt x="18119" y="15000"/>
                </a:lnTo>
                <a:lnTo>
                  <a:pt x="18119" y="15000"/>
                </a:lnTo>
                <a:lnTo>
                  <a:pt x="18120" y="15000"/>
                </a:lnTo>
                <a:lnTo>
                  <a:pt x="18120" y="15000"/>
                </a:lnTo>
                <a:lnTo>
                  <a:pt x="18120" y="15000"/>
                </a:lnTo>
                <a:lnTo>
                  <a:pt x="18121" y="15000"/>
                </a:lnTo>
                <a:lnTo>
                  <a:pt x="18121" y="15000"/>
                </a:lnTo>
                <a:lnTo>
                  <a:pt x="18121" y="15000"/>
                </a:lnTo>
                <a:lnTo>
                  <a:pt x="18121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094" y="15000"/>
                </a:lnTo>
                <a:cubicBezTo>
                  <a:pt x="18032" y="15000"/>
                  <a:pt x="18000" y="15000"/>
                  <a:pt x="17969" y="15062"/>
                </a:cubicBezTo>
                <a:cubicBezTo>
                  <a:pt x="17813" y="15031"/>
                  <a:pt x="17719" y="15187"/>
                  <a:pt x="17563" y="15156"/>
                </a:cubicBezTo>
                <a:cubicBezTo>
                  <a:pt x="17469" y="15219"/>
                  <a:pt x="17375" y="15219"/>
                  <a:pt x="17250" y="15187"/>
                </a:cubicBezTo>
                <a:cubicBezTo>
                  <a:pt x="17344" y="15094"/>
                  <a:pt x="17438" y="15156"/>
                  <a:pt x="17532" y="15094"/>
                </a:cubicBezTo>
                <a:cubicBezTo>
                  <a:pt x="17532" y="15094"/>
                  <a:pt x="17532" y="15094"/>
                  <a:pt x="17532" y="15094"/>
                </a:cubicBezTo>
                <a:cubicBezTo>
                  <a:pt x="17750" y="14969"/>
                  <a:pt x="17938" y="14750"/>
                  <a:pt x="18219" y="14656"/>
                </a:cubicBezTo>
                <a:cubicBezTo>
                  <a:pt x="18219" y="14656"/>
                  <a:pt x="18250" y="14625"/>
                  <a:pt x="18282" y="14656"/>
                </a:cubicBezTo>
                <a:lnTo>
                  <a:pt x="18282" y="14656"/>
                </a:lnTo>
                <a:cubicBezTo>
                  <a:pt x="18282" y="14656"/>
                  <a:pt x="18250" y="14687"/>
                  <a:pt x="18250" y="14719"/>
                </a:cubicBezTo>
                <a:cubicBezTo>
                  <a:pt x="18250" y="14844"/>
                  <a:pt x="18094" y="14875"/>
                  <a:pt x="18094" y="15000"/>
                </a:cubicBezTo>
                <a:cubicBezTo>
                  <a:pt x="18094" y="15062"/>
                  <a:pt x="18032" y="15094"/>
                  <a:pt x="17969" y="15062"/>
                </a:cubicBezTo>
                <a:cubicBezTo>
                  <a:pt x="17750" y="15344"/>
                  <a:pt x="17438" y="15562"/>
                  <a:pt x="17094" y="15625"/>
                </a:cubicBezTo>
                <a:cubicBezTo>
                  <a:pt x="16875" y="15656"/>
                  <a:pt x="16875" y="15719"/>
                  <a:pt x="16907" y="15875"/>
                </a:cubicBezTo>
                <a:cubicBezTo>
                  <a:pt x="16907" y="15875"/>
                  <a:pt x="16907" y="15875"/>
                  <a:pt x="16907" y="15875"/>
                </a:cubicBezTo>
                <a:cubicBezTo>
                  <a:pt x="16844" y="15844"/>
                  <a:pt x="16813" y="15844"/>
                  <a:pt x="16750" y="15812"/>
                </a:cubicBezTo>
                <a:cubicBezTo>
                  <a:pt x="16719" y="15781"/>
                  <a:pt x="16688" y="15719"/>
                  <a:pt x="16657" y="15687"/>
                </a:cubicBezTo>
                <a:cubicBezTo>
                  <a:pt x="16688" y="15687"/>
                  <a:pt x="16657" y="15656"/>
                  <a:pt x="16657" y="15656"/>
                </a:cubicBezTo>
                <a:cubicBezTo>
                  <a:pt x="16719" y="15625"/>
                  <a:pt x="16782" y="15656"/>
                  <a:pt x="16782" y="15594"/>
                </a:cubicBezTo>
                <a:cubicBezTo>
                  <a:pt x="16844" y="15562"/>
                  <a:pt x="16875" y="15562"/>
                  <a:pt x="16875" y="15500"/>
                </a:cubicBezTo>
                <a:cubicBezTo>
                  <a:pt x="16938" y="15344"/>
                  <a:pt x="17219" y="15312"/>
                  <a:pt x="17157" y="15062"/>
                </a:cubicBezTo>
                <a:cubicBezTo>
                  <a:pt x="17188" y="14937"/>
                  <a:pt x="17188" y="14812"/>
                  <a:pt x="17000" y="14906"/>
                </a:cubicBezTo>
                <a:cubicBezTo>
                  <a:pt x="16938" y="14969"/>
                  <a:pt x="16875" y="15000"/>
                  <a:pt x="16813" y="15062"/>
                </a:cubicBezTo>
                <a:cubicBezTo>
                  <a:pt x="16688" y="15000"/>
                  <a:pt x="16594" y="15094"/>
                  <a:pt x="16500" y="15125"/>
                </a:cubicBezTo>
                <a:cubicBezTo>
                  <a:pt x="16438" y="15156"/>
                  <a:pt x="16344" y="15219"/>
                  <a:pt x="16375" y="15281"/>
                </a:cubicBezTo>
                <a:cubicBezTo>
                  <a:pt x="16438" y="15375"/>
                  <a:pt x="16500" y="15250"/>
                  <a:pt x="16594" y="15281"/>
                </a:cubicBezTo>
                <a:cubicBezTo>
                  <a:pt x="16563" y="15375"/>
                  <a:pt x="16532" y="15437"/>
                  <a:pt x="16500" y="15562"/>
                </a:cubicBezTo>
                <a:cubicBezTo>
                  <a:pt x="16438" y="15469"/>
                  <a:pt x="16344" y="15406"/>
                  <a:pt x="16250" y="15375"/>
                </a:cubicBezTo>
                <a:cubicBezTo>
                  <a:pt x="16250" y="15312"/>
                  <a:pt x="16094" y="15312"/>
                  <a:pt x="16219" y="15187"/>
                </a:cubicBezTo>
                <a:cubicBezTo>
                  <a:pt x="16407" y="15000"/>
                  <a:pt x="16219" y="15031"/>
                  <a:pt x="16094" y="15031"/>
                </a:cubicBezTo>
                <a:cubicBezTo>
                  <a:pt x="16094" y="14906"/>
                  <a:pt x="16094" y="14781"/>
                  <a:pt x="16094" y="14625"/>
                </a:cubicBezTo>
                <a:cubicBezTo>
                  <a:pt x="15969" y="14656"/>
                  <a:pt x="15875" y="14687"/>
                  <a:pt x="15750" y="14719"/>
                </a:cubicBezTo>
                <a:cubicBezTo>
                  <a:pt x="15875" y="14687"/>
                  <a:pt x="15969" y="14656"/>
                  <a:pt x="16094" y="14625"/>
                </a:cubicBezTo>
                <a:cubicBezTo>
                  <a:pt x="16125" y="14625"/>
                  <a:pt x="16125" y="14625"/>
                  <a:pt x="16157" y="14625"/>
                </a:cubicBezTo>
                <a:cubicBezTo>
                  <a:pt x="16157" y="14719"/>
                  <a:pt x="16125" y="14812"/>
                  <a:pt x="16219" y="14875"/>
                </a:cubicBezTo>
                <a:cubicBezTo>
                  <a:pt x="16344" y="14969"/>
                  <a:pt x="16375" y="14750"/>
                  <a:pt x="16438" y="14781"/>
                </a:cubicBezTo>
                <a:cubicBezTo>
                  <a:pt x="16625" y="14844"/>
                  <a:pt x="16532" y="14469"/>
                  <a:pt x="16688" y="14625"/>
                </a:cubicBezTo>
                <a:cubicBezTo>
                  <a:pt x="16875" y="14750"/>
                  <a:pt x="17157" y="14469"/>
                  <a:pt x="17282" y="14812"/>
                </a:cubicBezTo>
                <a:cubicBezTo>
                  <a:pt x="17313" y="14844"/>
                  <a:pt x="17532" y="14687"/>
                  <a:pt x="17563" y="14594"/>
                </a:cubicBezTo>
                <a:cubicBezTo>
                  <a:pt x="17594" y="14437"/>
                  <a:pt x="17750" y="14281"/>
                  <a:pt x="17625" y="14125"/>
                </a:cubicBezTo>
                <a:cubicBezTo>
                  <a:pt x="17469" y="13906"/>
                  <a:pt x="17282" y="13969"/>
                  <a:pt x="17157" y="14219"/>
                </a:cubicBezTo>
                <a:cubicBezTo>
                  <a:pt x="17125" y="14312"/>
                  <a:pt x="17094" y="14312"/>
                  <a:pt x="16969" y="14312"/>
                </a:cubicBezTo>
                <a:cubicBezTo>
                  <a:pt x="16719" y="14344"/>
                  <a:pt x="16469" y="14219"/>
                  <a:pt x="16250" y="14437"/>
                </a:cubicBezTo>
                <a:cubicBezTo>
                  <a:pt x="16125" y="14437"/>
                  <a:pt x="16032" y="14562"/>
                  <a:pt x="15907" y="14500"/>
                </a:cubicBezTo>
                <a:cubicBezTo>
                  <a:pt x="16094" y="14281"/>
                  <a:pt x="16375" y="14156"/>
                  <a:pt x="16469" y="13875"/>
                </a:cubicBezTo>
                <a:cubicBezTo>
                  <a:pt x="16657" y="13969"/>
                  <a:pt x="16657" y="13625"/>
                  <a:pt x="16844" y="13719"/>
                </a:cubicBezTo>
                <a:cubicBezTo>
                  <a:pt x="16907" y="13750"/>
                  <a:pt x="16969" y="13719"/>
                  <a:pt x="16969" y="13687"/>
                </a:cubicBezTo>
                <a:cubicBezTo>
                  <a:pt x="17000" y="13625"/>
                  <a:pt x="16969" y="13531"/>
                  <a:pt x="16907" y="13500"/>
                </a:cubicBezTo>
                <a:cubicBezTo>
                  <a:pt x="16875" y="13437"/>
                  <a:pt x="16844" y="13500"/>
                  <a:pt x="16813" y="13531"/>
                </a:cubicBezTo>
                <a:cubicBezTo>
                  <a:pt x="16625" y="13594"/>
                  <a:pt x="16438" y="13625"/>
                  <a:pt x="16250" y="13625"/>
                </a:cubicBezTo>
                <a:cubicBezTo>
                  <a:pt x="16125" y="13625"/>
                  <a:pt x="16032" y="13687"/>
                  <a:pt x="16032" y="13812"/>
                </a:cubicBezTo>
                <a:cubicBezTo>
                  <a:pt x="15938" y="13812"/>
                  <a:pt x="15875" y="13812"/>
                  <a:pt x="15782" y="13812"/>
                </a:cubicBezTo>
                <a:cubicBezTo>
                  <a:pt x="15813" y="13594"/>
                  <a:pt x="15969" y="13469"/>
                  <a:pt x="16157" y="13375"/>
                </a:cubicBezTo>
                <a:cubicBezTo>
                  <a:pt x="16344" y="13312"/>
                  <a:pt x="16532" y="13250"/>
                  <a:pt x="16719" y="13156"/>
                </a:cubicBezTo>
                <a:cubicBezTo>
                  <a:pt x="16782" y="13125"/>
                  <a:pt x="16844" y="13125"/>
                  <a:pt x="16813" y="13031"/>
                </a:cubicBezTo>
                <a:cubicBezTo>
                  <a:pt x="16782" y="12937"/>
                  <a:pt x="16750" y="13000"/>
                  <a:pt x="16688" y="13000"/>
                </a:cubicBezTo>
                <a:cubicBezTo>
                  <a:pt x="16563" y="13031"/>
                  <a:pt x="16500" y="12937"/>
                  <a:pt x="16407" y="12875"/>
                </a:cubicBezTo>
                <a:cubicBezTo>
                  <a:pt x="16438" y="12875"/>
                  <a:pt x="16469" y="12844"/>
                  <a:pt x="16469" y="12812"/>
                </a:cubicBezTo>
                <a:cubicBezTo>
                  <a:pt x="16500" y="12812"/>
                  <a:pt x="16532" y="12781"/>
                  <a:pt x="16563" y="12781"/>
                </a:cubicBezTo>
                <a:cubicBezTo>
                  <a:pt x="16532" y="12781"/>
                  <a:pt x="16532" y="12781"/>
                  <a:pt x="16532" y="12750"/>
                </a:cubicBezTo>
                <a:lnTo>
                  <a:pt x="16532" y="12750"/>
                </a:lnTo>
                <a:cubicBezTo>
                  <a:pt x="16500" y="12781"/>
                  <a:pt x="16500" y="12781"/>
                  <a:pt x="16469" y="12812"/>
                </a:cubicBezTo>
                <a:close/>
                <a:moveTo>
                  <a:pt x="15125" y="23656"/>
                </a:moveTo>
                <a:cubicBezTo>
                  <a:pt x="15125" y="23656"/>
                  <a:pt x="15125" y="23656"/>
                  <a:pt x="15125" y="23687"/>
                </a:cubicBezTo>
                <a:cubicBezTo>
                  <a:pt x="15125" y="23687"/>
                  <a:pt x="15125" y="23687"/>
                  <a:pt x="15125" y="23687"/>
                </a:cubicBezTo>
                <a:cubicBezTo>
                  <a:pt x="15125" y="23656"/>
                  <a:pt x="15125" y="23656"/>
                  <a:pt x="15125" y="23656"/>
                </a:cubicBezTo>
                <a:cubicBezTo>
                  <a:pt x="15125" y="23656"/>
                  <a:pt x="15125" y="23656"/>
                  <a:pt x="15125" y="23656"/>
                </a:cubicBezTo>
                <a:close/>
                <a:moveTo>
                  <a:pt x="30344" y="13594"/>
                </a:moveTo>
                <a:lnTo>
                  <a:pt x="30344" y="13594"/>
                </a:lnTo>
                <a:lnTo>
                  <a:pt x="30344" y="13594"/>
                </a:lnTo>
                <a:close/>
                <a:moveTo>
                  <a:pt x="21844" y="22531"/>
                </a:moveTo>
                <a:cubicBezTo>
                  <a:pt x="21844" y="22500"/>
                  <a:pt x="21844" y="22500"/>
                  <a:pt x="21844" y="22469"/>
                </a:cubicBezTo>
                <a:cubicBezTo>
                  <a:pt x="21844" y="22469"/>
                  <a:pt x="21875" y="22500"/>
                  <a:pt x="21875" y="22500"/>
                </a:cubicBezTo>
                <a:cubicBezTo>
                  <a:pt x="21875" y="22500"/>
                  <a:pt x="21844" y="22500"/>
                  <a:pt x="21844" y="22531"/>
                </a:cubicBezTo>
                <a:close/>
                <a:moveTo>
                  <a:pt x="21563" y="24031"/>
                </a:moveTo>
                <a:cubicBezTo>
                  <a:pt x="21469" y="23906"/>
                  <a:pt x="21407" y="23781"/>
                  <a:pt x="21500" y="23656"/>
                </a:cubicBezTo>
                <a:cubicBezTo>
                  <a:pt x="21500" y="23625"/>
                  <a:pt x="21594" y="23625"/>
                  <a:pt x="21625" y="23656"/>
                </a:cubicBezTo>
                <a:cubicBezTo>
                  <a:pt x="21750" y="23781"/>
                  <a:pt x="21594" y="23906"/>
                  <a:pt x="21563" y="24031"/>
                </a:cubicBezTo>
                <a:close/>
                <a:moveTo>
                  <a:pt x="22000" y="23219"/>
                </a:moveTo>
                <a:cubicBezTo>
                  <a:pt x="21969" y="23344"/>
                  <a:pt x="21875" y="23406"/>
                  <a:pt x="21782" y="23437"/>
                </a:cubicBezTo>
                <a:cubicBezTo>
                  <a:pt x="21782" y="23437"/>
                  <a:pt x="21750" y="23406"/>
                  <a:pt x="21719" y="23344"/>
                </a:cubicBezTo>
                <a:cubicBezTo>
                  <a:pt x="21657" y="23219"/>
                  <a:pt x="21782" y="23187"/>
                  <a:pt x="21875" y="23125"/>
                </a:cubicBezTo>
                <a:cubicBezTo>
                  <a:pt x="21875" y="23125"/>
                  <a:pt x="21875" y="23094"/>
                  <a:pt x="21875" y="23062"/>
                </a:cubicBezTo>
                <a:cubicBezTo>
                  <a:pt x="21938" y="23062"/>
                  <a:pt x="21969" y="23094"/>
                  <a:pt x="22000" y="23125"/>
                </a:cubicBezTo>
                <a:cubicBezTo>
                  <a:pt x="22032" y="23094"/>
                  <a:pt x="22032" y="23094"/>
                  <a:pt x="22063" y="23062"/>
                </a:cubicBezTo>
                <a:cubicBezTo>
                  <a:pt x="22032" y="23094"/>
                  <a:pt x="22032" y="23094"/>
                  <a:pt x="22000" y="23125"/>
                </a:cubicBezTo>
                <a:cubicBezTo>
                  <a:pt x="22000" y="23156"/>
                  <a:pt x="22000" y="23187"/>
                  <a:pt x="22000" y="23219"/>
                </a:cubicBezTo>
                <a:close/>
                <a:moveTo>
                  <a:pt x="30532" y="13656"/>
                </a:moveTo>
                <a:lnTo>
                  <a:pt x="30532" y="13656"/>
                </a:lnTo>
                <a:lnTo>
                  <a:pt x="30532" y="13656"/>
                </a:lnTo>
                <a:close/>
                <a:moveTo>
                  <a:pt x="11688" y="23437"/>
                </a:moveTo>
                <a:cubicBezTo>
                  <a:pt x="11688" y="23437"/>
                  <a:pt x="11688" y="23469"/>
                  <a:pt x="11688" y="23469"/>
                </a:cubicBezTo>
                <a:cubicBezTo>
                  <a:pt x="11688" y="23469"/>
                  <a:pt x="11688" y="23437"/>
                  <a:pt x="11688" y="23437"/>
                </a:cubicBezTo>
                <a:cubicBezTo>
                  <a:pt x="11688" y="23437"/>
                  <a:pt x="11688" y="23437"/>
                  <a:pt x="11688" y="23437"/>
                </a:cubicBezTo>
                <a:cubicBezTo>
                  <a:pt x="11688" y="23437"/>
                  <a:pt x="11688" y="23437"/>
                  <a:pt x="11719" y="23406"/>
                </a:cubicBezTo>
                <a:lnTo>
                  <a:pt x="11719" y="23406"/>
                </a:lnTo>
                <a:cubicBezTo>
                  <a:pt x="11688" y="23437"/>
                  <a:pt x="11688" y="23437"/>
                  <a:pt x="11688" y="23437"/>
                </a:cubicBezTo>
                <a:close/>
                <a:moveTo>
                  <a:pt x="23094" y="13812"/>
                </a:moveTo>
                <a:cubicBezTo>
                  <a:pt x="23094" y="13812"/>
                  <a:pt x="23094" y="13812"/>
                  <a:pt x="23094" y="13781"/>
                </a:cubicBezTo>
                <a:cubicBezTo>
                  <a:pt x="23094" y="13811"/>
                  <a:pt x="23094" y="13812"/>
                  <a:pt x="23068" y="13812"/>
                </a:cubicBezTo>
                <a:lnTo>
                  <a:pt x="23094" y="13812"/>
                </a:lnTo>
                <a:close/>
                <a:moveTo>
                  <a:pt x="23063" y="13812"/>
                </a:moveTo>
                <a:lnTo>
                  <a:pt x="23063" y="13812"/>
                </a:lnTo>
                <a:lnTo>
                  <a:pt x="23063" y="13812"/>
                </a:lnTo>
                <a:lnTo>
                  <a:pt x="23063" y="13812"/>
                </a:lnTo>
                <a:lnTo>
                  <a:pt x="23063" y="13812"/>
                </a:lnTo>
                <a:lnTo>
                  <a:pt x="23063" y="13812"/>
                </a:lnTo>
                <a:lnTo>
                  <a:pt x="23064" y="13812"/>
                </a:lnTo>
                <a:lnTo>
                  <a:pt x="23064" y="13812"/>
                </a:lnTo>
                <a:lnTo>
                  <a:pt x="23064" y="13812"/>
                </a:lnTo>
                <a:lnTo>
                  <a:pt x="23064" y="13812"/>
                </a:lnTo>
                <a:lnTo>
                  <a:pt x="23063" y="13812"/>
                </a:lnTo>
                <a:cubicBezTo>
                  <a:pt x="23063" y="13844"/>
                  <a:pt x="23032" y="13844"/>
                  <a:pt x="23032" y="13875"/>
                </a:cubicBezTo>
                <a:cubicBezTo>
                  <a:pt x="23000" y="13875"/>
                  <a:pt x="23000" y="13875"/>
                  <a:pt x="23000" y="13875"/>
                </a:cubicBezTo>
                <a:cubicBezTo>
                  <a:pt x="23000" y="13875"/>
                  <a:pt x="23000" y="13906"/>
                  <a:pt x="23000" y="13906"/>
                </a:cubicBezTo>
                <a:lnTo>
                  <a:pt x="23000" y="13906"/>
                </a:lnTo>
                <a:cubicBezTo>
                  <a:pt x="23000" y="13906"/>
                  <a:pt x="23000" y="13875"/>
                  <a:pt x="23000" y="13875"/>
                </a:cubicBezTo>
                <a:cubicBezTo>
                  <a:pt x="23032" y="13875"/>
                  <a:pt x="23032" y="13875"/>
                  <a:pt x="23032" y="13875"/>
                </a:cubicBezTo>
                <a:cubicBezTo>
                  <a:pt x="23063" y="13875"/>
                  <a:pt x="23063" y="13844"/>
                  <a:pt x="23063" y="13812"/>
                </a:cubicBezTo>
                <a:close/>
                <a:moveTo>
                  <a:pt x="23064" y="13812"/>
                </a:moveTo>
                <a:lnTo>
                  <a:pt x="23065" y="13812"/>
                </a:lnTo>
                <a:lnTo>
                  <a:pt x="23065" y="13812"/>
                </a:lnTo>
                <a:lnTo>
                  <a:pt x="23065" y="13812"/>
                </a:lnTo>
                <a:lnTo>
                  <a:pt x="23066" y="13812"/>
                </a:lnTo>
                <a:lnTo>
                  <a:pt x="23064" y="13812"/>
                </a:lnTo>
                <a:close/>
                <a:moveTo>
                  <a:pt x="23066" y="13812"/>
                </a:moveTo>
                <a:lnTo>
                  <a:pt x="23066" y="13812"/>
                </a:lnTo>
                <a:lnTo>
                  <a:pt x="23066" y="13812"/>
                </a:lnTo>
                <a:lnTo>
                  <a:pt x="23067" y="13812"/>
                </a:lnTo>
                <a:lnTo>
                  <a:pt x="23067" y="13812"/>
                </a:lnTo>
                <a:lnTo>
                  <a:pt x="23066" y="13812"/>
                </a:lnTo>
                <a:close/>
                <a:moveTo>
                  <a:pt x="23067" y="13812"/>
                </a:moveTo>
                <a:lnTo>
                  <a:pt x="23067" y="13812"/>
                </a:lnTo>
                <a:lnTo>
                  <a:pt x="23068" y="13812"/>
                </a:lnTo>
                <a:lnTo>
                  <a:pt x="23068" y="13812"/>
                </a:lnTo>
                <a:moveTo>
                  <a:pt x="23094" y="13812"/>
                </a:moveTo>
                <a:lnTo>
                  <a:pt x="23067" y="13812"/>
                </a:lnTo>
                <a:moveTo>
                  <a:pt x="23000" y="13875"/>
                </a:moveTo>
                <a:cubicBezTo>
                  <a:pt x="23000" y="13875"/>
                  <a:pt x="23000" y="13875"/>
                  <a:pt x="23032" y="13875"/>
                </a:cubicBezTo>
                <a:cubicBezTo>
                  <a:pt x="23000" y="13875"/>
                  <a:pt x="23000" y="13875"/>
                  <a:pt x="23000" y="13875"/>
                </a:cubicBezTo>
                <a:close/>
                <a:moveTo>
                  <a:pt x="11938" y="23250"/>
                </a:moveTo>
                <a:cubicBezTo>
                  <a:pt x="11969" y="23250"/>
                  <a:pt x="12000" y="23219"/>
                  <a:pt x="12000" y="23187"/>
                </a:cubicBezTo>
                <a:cubicBezTo>
                  <a:pt x="11969" y="23187"/>
                  <a:pt x="11938" y="23219"/>
                  <a:pt x="11938" y="23250"/>
                </a:cubicBezTo>
                <a:cubicBezTo>
                  <a:pt x="11907" y="23250"/>
                  <a:pt x="11875" y="23281"/>
                  <a:pt x="11875" y="23281"/>
                </a:cubicBezTo>
                <a:cubicBezTo>
                  <a:pt x="11875" y="23281"/>
                  <a:pt x="11875" y="23281"/>
                  <a:pt x="11875" y="23312"/>
                </a:cubicBezTo>
                <a:lnTo>
                  <a:pt x="11875" y="23312"/>
                </a:lnTo>
                <a:cubicBezTo>
                  <a:pt x="11907" y="23281"/>
                  <a:pt x="11907" y="23281"/>
                  <a:pt x="11938" y="23250"/>
                </a:cubicBezTo>
                <a:close/>
                <a:moveTo>
                  <a:pt x="12000" y="23187"/>
                </a:moveTo>
                <a:cubicBezTo>
                  <a:pt x="12032" y="23156"/>
                  <a:pt x="12063" y="23156"/>
                  <a:pt x="12063" y="23125"/>
                </a:cubicBezTo>
                <a:cubicBezTo>
                  <a:pt x="12063" y="23125"/>
                  <a:pt x="12094" y="23125"/>
                  <a:pt x="12094" y="23094"/>
                </a:cubicBezTo>
                <a:lnTo>
                  <a:pt x="12094" y="23094"/>
                </a:lnTo>
                <a:cubicBezTo>
                  <a:pt x="12094" y="23125"/>
                  <a:pt x="12063" y="23125"/>
                  <a:pt x="12063" y="23125"/>
                </a:cubicBezTo>
                <a:cubicBezTo>
                  <a:pt x="12032" y="23156"/>
                  <a:pt x="12032" y="23156"/>
                  <a:pt x="12000" y="23187"/>
                </a:cubicBezTo>
                <a:close/>
                <a:moveTo>
                  <a:pt x="10594" y="23094"/>
                </a:moveTo>
                <a:cubicBezTo>
                  <a:pt x="10594" y="23094"/>
                  <a:pt x="10594" y="23062"/>
                  <a:pt x="10625" y="23062"/>
                </a:cubicBezTo>
                <a:cubicBezTo>
                  <a:pt x="10594" y="23062"/>
                  <a:pt x="10594" y="23062"/>
                  <a:pt x="10594" y="23062"/>
                </a:cubicBezTo>
                <a:cubicBezTo>
                  <a:pt x="10594" y="23094"/>
                  <a:pt x="10594" y="23094"/>
                  <a:pt x="10594" y="23094"/>
                </a:cubicBezTo>
                <a:close/>
                <a:moveTo>
                  <a:pt x="10625" y="23062"/>
                </a:moveTo>
                <a:cubicBezTo>
                  <a:pt x="10782" y="23062"/>
                  <a:pt x="10907" y="23000"/>
                  <a:pt x="10938" y="22812"/>
                </a:cubicBezTo>
                <a:cubicBezTo>
                  <a:pt x="10969" y="22781"/>
                  <a:pt x="11000" y="22781"/>
                  <a:pt x="11000" y="22781"/>
                </a:cubicBezTo>
                <a:cubicBezTo>
                  <a:pt x="11000" y="22844"/>
                  <a:pt x="10969" y="22812"/>
                  <a:pt x="10938" y="22812"/>
                </a:cubicBezTo>
                <a:cubicBezTo>
                  <a:pt x="10782" y="22844"/>
                  <a:pt x="10719" y="22969"/>
                  <a:pt x="10625" y="23062"/>
                </a:cubicBezTo>
                <a:close/>
                <a:moveTo>
                  <a:pt x="22344" y="14531"/>
                </a:moveTo>
                <a:lnTo>
                  <a:pt x="22375" y="14531"/>
                </a:lnTo>
                <a:lnTo>
                  <a:pt x="22344" y="14531"/>
                </a:lnTo>
                <a:close/>
                <a:moveTo>
                  <a:pt x="12250" y="23000"/>
                </a:moveTo>
                <a:cubicBezTo>
                  <a:pt x="12250" y="23000"/>
                  <a:pt x="12250" y="23000"/>
                  <a:pt x="12250" y="23031"/>
                </a:cubicBezTo>
                <a:cubicBezTo>
                  <a:pt x="12250" y="23031"/>
                  <a:pt x="12250" y="23000"/>
                  <a:pt x="12250" y="23000"/>
                </a:cubicBezTo>
                <a:cubicBezTo>
                  <a:pt x="12282" y="22969"/>
                  <a:pt x="12313" y="22969"/>
                  <a:pt x="12313" y="22937"/>
                </a:cubicBezTo>
                <a:cubicBezTo>
                  <a:pt x="12563" y="22719"/>
                  <a:pt x="12938" y="22625"/>
                  <a:pt x="13125" y="22250"/>
                </a:cubicBezTo>
                <a:cubicBezTo>
                  <a:pt x="12782" y="22375"/>
                  <a:pt x="12500" y="22531"/>
                  <a:pt x="12188" y="22625"/>
                </a:cubicBezTo>
                <a:cubicBezTo>
                  <a:pt x="11969" y="22656"/>
                  <a:pt x="12032" y="22812"/>
                  <a:pt x="12032" y="22875"/>
                </a:cubicBezTo>
                <a:lnTo>
                  <a:pt x="12032" y="22875"/>
                </a:lnTo>
                <a:cubicBezTo>
                  <a:pt x="12063" y="22969"/>
                  <a:pt x="12125" y="22844"/>
                  <a:pt x="12219" y="22844"/>
                </a:cubicBezTo>
                <a:cubicBezTo>
                  <a:pt x="12250" y="22875"/>
                  <a:pt x="12313" y="22875"/>
                  <a:pt x="12313" y="22937"/>
                </a:cubicBezTo>
                <a:cubicBezTo>
                  <a:pt x="12313" y="22969"/>
                  <a:pt x="12282" y="22969"/>
                  <a:pt x="12250" y="23000"/>
                </a:cubicBezTo>
                <a:close/>
                <a:moveTo>
                  <a:pt x="18875" y="22969"/>
                </a:moveTo>
                <a:cubicBezTo>
                  <a:pt x="18875" y="22969"/>
                  <a:pt x="18875" y="22969"/>
                  <a:pt x="18875" y="23000"/>
                </a:cubicBezTo>
                <a:cubicBezTo>
                  <a:pt x="18907" y="22969"/>
                  <a:pt x="18907" y="22969"/>
                  <a:pt x="18907" y="22969"/>
                </a:cubicBezTo>
                <a:cubicBezTo>
                  <a:pt x="18907" y="22969"/>
                  <a:pt x="18907" y="22969"/>
                  <a:pt x="18907" y="22937"/>
                </a:cubicBezTo>
                <a:cubicBezTo>
                  <a:pt x="18875" y="22969"/>
                  <a:pt x="18875" y="22969"/>
                  <a:pt x="18875" y="22969"/>
                </a:cubicBezTo>
                <a:close/>
                <a:moveTo>
                  <a:pt x="18969" y="22844"/>
                </a:moveTo>
                <a:lnTo>
                  <a:pt x="18938" y="22844"/>
                </a:lnTo>
                <a:lnTo>
                  <a:pt x="18969" y="22844"/>
                </a:lnTo>
                <a:close/>
                <a:moveTo>
                  <a:pt x="24157" y="14781"/>
                </a:moveTo>
                <a:lnTo>
                  <a:pt x="24188" y="14781"/>
                </a:lnTo>
                <a:lnTo>
                  <a:pt x="24188" y="14781"/>
                </a:lnTo>
                <a:lnTo>
                  <a:pt x="24157" y="14781"/>
                </a:lnTo>
                <a:close/>
                <a:moveTo>
                  <a:pt x="24875" y="14750"/>
                </a:moveTo>
                <a:cubicBezTo>
                  <a:pt x="24875" y="14750"/>
                  <a:pt x="24844" y="14781"/>
                  <a:pt x="24844" y="14781"/>
                </a:cubicBezTo>
                <a:cubicBezTo>
                  <a:pt x="24844" y="14781"/>
                  <a:pt x="24875" y="14781"/>
                  <a:pt x="24875" y="14812"/>
                </a:cubicBezTo>
                <a:cubicBezTo>
                  <a:pt x="24875" y="14781"/>
                  <a:pt x="24875" y="14781"/>
                  <a:pt x="24875" y="14781"/>
                </a:cubicBezTo>
                <a:cubicBezTo>
                  <a:pt x="24875" y="14781"/>
                  <a:pt x="24875" y="14750"/>
                  <a:pt x="24875" y="14750"/>
                </a:cubicBezTo>
                <a:close/>
                <a:moveTo>
                  <a:pt x="19844" y="22469"/>
                </a:moveTo>
                <a:lnTo>
                  <a:pt x="19844" y="22437"/>
                </a:lnTo>
                <a:lnTo>
                  <a:pt x="19813" y="22469"/>
                </a:lnTo>
                <a:lnTo>
                  <a:pt x="19844" y="22469"/>
                </a:lnTo>
                <a:close/>
                <a:moveTo>
                  <a:pt x="18719" y="22281"/>
                </a:moveTo>
                <a:lnTo>
                  <a:pt x="18688" y="22281"/>
                </a:lnTo>
                <a:lnTo>
                  <a:pt x="18688" y="22281"/>
                </a:lnTo>
                <a:lnTo>
                  <a:pt x="18719" y="22281"/>
                </a:lnTo>
                <a:close/>
                <a:moveTo>
                  <a:pt x="13969" y="22281"/>
                </a:moveTo>
                <a:cubicBezTo>
                  <a:pt x="14000" y="22312"/>
                  <a:pt x="14000" y="22281"/>
                  <a:pt x="14032" y="22250"/>
                </a:cubicBezTo>
                <a:cubicBezTo>
                  <a:pt x="14125" y="22250"/>
                  <a:pt x="14157" y="22156"/>
                  <a:pt x="14157" y="22062"/>
                </a:cubicBezTo>
                <a:cubicBezTo>
                  <a:pt x="14157" y="22062"/>
                  <a:pt x="14157" y="22062"/>
                  <a:pt x="14157" y="22062"/>
                </a:cubicBezTo>
                <a:cubicBezTo>
                  <a:pt x="14188" y="22062"/>
                  <a:pt x="14188" y="22031"/>
                  <a:pt x="14188" y="22000"/>
                </a:cubicBezTo>
                <a:cubicBezTo>
                  <a:pt x="14157" y="22031"/>
                  <a:pt x="14157" y="22031"/>
                  <a:pt x="14125" y="22031"/>
                </a:cubicBezTo>
                <a:cubicBezTo>
                  <a:pt x="14000" y="22062"/>
                  <a:pt x="14000" y="22125"/>
                  <a:pt x="14000" y="22219"/>
                </a:cubicBezTo>
                <a:cubicBezTo>
                  <a:pt x="14000" y="22250"/>
                  <a:pt x="13969" y="22250"/>
                  <a:pt x="13969" y="22281"/>
                </a:cubicBezTo>
                <a:close/>
                <a:moveTo>
                  <a:pt x="14282" y="21937"/>
                </a:moveTo>
                <a:cubicBezTo>
                  <a:pt x="14250" y="21937"/>
                  <a:pt x="14250" y="21906"/>
                  <a:pt x="14250" y="21906"/>
                </a:cubicBezTo>
                <a:cubicBezTo>
                  <a:pt x="14250" y="21906"/>
                  <a:pt x="14250" y="21937"/>
                  <a:pt x="14282" y="21937"/>
                </a:cubicBezTo>
                <a:cubicBezTo>
                  <a:pt x="14282" y="21937"/>
                  <a:pt x="14282" y="21937"/>
                  <a:pt x="14282" y="21937"/>
                </a:cubicBezTo>
                <a:cubicBezTo>
                  <a:pt x="14313" y="22031"/>
                  <a:pt x="14344" y="22125"/>
                  <a:pt x="14407" y="22250"/>
                </a:cubicBezTo>
                <a:cubicBezTo>
                  <a:pt x="14438" y="22156"/>
                  <a:pt x="14469" y="22094"/>
                  <a:pt x="14500" y="22031"/>
                </a:cubicBezTo>
                <a:cubicBezTo>
                  <a:pt x="14532" y="21969"/>
                  <a:pt x="14625" y="21937"/>
                  <a:pt x="14563" y="21844"/>
                </a:cubicBezTo>
                <a:cubicBezTo>
                  <a:pt x="14469" y="21750"/>
                  <a:pt x="14407" y="21844"/>
                  <a:pt x="14344" y="21906"/>
                </a:cubicBezTo>
                <a:lnTo>
                  <a:pt x="14344" y="21906"/>
                </a:lnTo>
                <a:cubicBezTo>
                  <a:pt x="14344" y="21906"/>
                  <a:pt x="14313" y="21937"/>
                  <a:pt x="14282" y="21937"/>
                </a:cubicBezTo>
                <a:close/>
                <a:moveTo>
                  <a:pt x="18844" y="17000"/>
                </a:moveTo>
                <a:cubicBezTo>
                  <a:pt x="18844" y="16969"/>
                  <a:pt x="18844" y="16937"/>
                  <a:pt x="18844" y="16906"/>
                </a:cubicBezTo>
                <a:cubicBezTo>
                  <a:pt x="18813" y="16906"/>
                  <a:pt x="18813" y="16937"/>
                  <a:pt x="18782" y="16937"/>
                </a:cubicBezTo>
                <a:cubicBezTo>
                  <a:pt x="18813" y="16937"/>
                  <a:pt x="18813" y="16969"/>
                  <a:pt x="18844" y="17000"/>
                </a:cubicBezTo>
                <a:close/>
                <a:moveTo>
                  <a:pt x="19094" y="21469"/>
                </a:moveTo>
                <a:cubicBezTo>
                  <a:pt x="19094" y="21469"/>
                  <a:pt x="19094" y="21469"/>
                  <a:pt x="19125" y="21500"/>
                </a:cubicBezTo>
                <a:cubicBezTo>
                  <a:pt x="19125" y="21469"/>
                  <a:pt x="19125" y="21469"/>
                  <a:pt x="19094" y="21469"/>
                </a:cubicBezTo>
                <a:cubicBezTo>
                  <a:pt x="19094" y="21469"/>
                  <a:pt x="19094" y="21469"/>
                  <a:pt x="19094" y="21469"/>
                </a:cubicBezTo>
                <a:close/>
                <a:moveTo>
                  <a:pt x="22063" y="21375"/>
                </a:moveTo>
                <a:cubicBezTo>
                  <a:pt x="22063" y="21375"/>
                  <a:pt x="22063" y="21375"/>
                  <a:pt x="22032" y="21375"/>
                </a:cubicBezTo>
                <a:cubicBezTo>
                  <a:pt x="22063" y="21375"/>
                  <a:pt x="22063" y="21375"/>
                  <a:pt x="22063" y="21375"/>
                </a:cubicBezTo>
                <a:cubicBezTo>
                  <a:pt x="22094" y="21344"/>
                  <a:pt x="22094" y="21344"/>
                  <a:pt x="22125" y="21344"/>
                </a:cubicBezTo>
                <a:cubicBezTo>
                  <a:pt x="22125" y="21344"/>
                  <a:pt x="22157" y="21312"/>
                  <a:pt x="22157" y="21312"/>
                </a:cubicBezTo>
                <a:lnTo>
                  <a:pt x="22157" y="21312"/>
                </a:lnTo>
                <a:cubicBezTo>
                  <a:pt x="22188" y="21344"/>
                  <a:pt x="22188" y="21375"/>
                  <a:pt x="22157" y="21375"/>
                </a:cubicBezTo>
                <a:cubicBezTo>
                  <a:pt x="22157" y="21437"/>
                  <a:pt x="22157" y="21469"/>
                  <a:pt x="22157" y="21500"/>
                </a:cubicBezTo>
                <a:cubicBezTo>
                  <a:pt x="22188" y="21562"/>
                  <a:pt x="22219" y="21531"/>
                  <a:pt x="22250" y="21500"/>
                </a:cubicBezTo>
                <a:cubicBezTo>
                  <a:pt x="22438" y="21281"/>
                  <a:pt x="22438" y="21000"/>
                  <a:pt x="22563" y="20781"/>
                </a:cubicBezTo>
                <a:cubicBezTo>
                  <a:pt x="22625" y="20687"/>
                  <a:pt x="22500" y="20656"/>
                  <a:pt x="22469" y="20687"/>
                </a:cubicBezTo>
                <a:cubicBezTo>
                  <a:pt x="22375" y="20719"/>
                  <a:pt x="22250" y="20531"/>
                  <a:pt x="22250" y="20656"/>
                </a:cubicBezTo>
                <a:cubicBezTo>
                  <a:pt x="22219" y="20906"/>
                  <a:pt x="22000" y="21094"/>
                  <a:pt x="22063" y="21375"/>
                </a:cubicBezTo>
                <a:close/>
                <a:moveTo>
                  <a:pt x="21907" y="21375"/>
                </a:moveTo>
                <a:cubicBezTo>
                  <a:pt x="21907" y="21375"/>
                  <a:pt x="21907" y="21344"/>
                  <a:pt x="21938" y="21312"/>
                </a:cubicBezTo>
                <a:cubicBezTo>
                  <a:pt x="21907" y="21312"/>
                  <a:pt x="21875" y="21344"/>
                  <a:pt x="21844" y="21344"/>
                </a:cubicBezTo>
                <a:cubicBezTo>
                  <a:pt x="21844" y="21344"/>
                  <a:pt x="21844" y="21344"/>
                  <a:pt x="21844" y="21344"/>
                </a:cubicBezTo>
                <a:cubicBezTo>
                  <a:pt x="21844" y="21375"/>
                  <a:pt x="21844" y="21375"/>
                  <a:pt x="21844" y="21406"/>
                </a:cubicBezTo>
                <a:cubicBezTo>
                  <a:pt x="21875" y="21406"/>
                  <a:pt x="21875" y="21406"/>
                  <a:pt x="21907" y="21375"/>
                </a:cubicBezTo>
                <a:close/>
                <a:moveTo>
                  <a:pt x="20000" y="20500"/>
                </a:moveTo>
                <a:cubicBezTo>
                  <a:pt x="20000" y="20500"/>
                  <a:pt x="19969" y="20500"/>
                  <a:pt x="19969" y="20500"/>
                </a:cubicBezTo>
                <a:cubicBezTo>
                  <a:pt x="19969" y="20500"/>
                  <a:pt x="19969" y="20500"/>
                  <a:pt x="20000" y="20500"/>
                </a:cubicBezTo>
                <a:cubicBezTo>
                  <a:pt x="20000" y="20500"/>
                  <a:pt x="20000" y="20469"/>
                  <a:pt x="20000" y="20469"/>
                </a:cubicBezTo>
                <a:cubicBezTo>
                  <a:pt x="20063" y="20437"/>
                  <a:pt x="20125" y="20437"/>
                  <a:pt x="20125" y="20562"/>
                </a:cubicBezTo>
                <a:cubicBezTo>
                  <a:pt x="20125" y="20687"/>
                  <a:pt x="20125" y="20844"/>
                  <a:pt x="20125" y="20969"/>
                </a:cubicBezTo>
                <a:cubicBezTo>
                  <a:pt x="20125" y="21031"/>
                  <a:pt x="20125" y="21125"/>
                  <a:pt x="20188" y="21156"/>
                </a:cubicBezTo>
                <a:cubicBezTo>
                  <a:pt x="20282" y="21187"/>
                  <a:pt x="20282" y="21094"/>
                  <a:pt x="20313" y="21031"/>
                </a:cubicBezTo>
                <a:cubicBezTo>
                  <a:pt x="20375" y="20969"/>
                  <a:pt x="20344" y="20812"/>
                  <a:pt x="20500" y="20781"/>
                </a:cubicBezTo>
                <a:cubicBezTo>
                  <a:pt x="20594" y="20781"/>
                  <a:pt x="20563" y="20594"/>
                  <a:pt x="20532" y="20500"/>
                </a:cubicBezTo>
                <a:cubicBezTo>
                  <a:pt x="20500" y="20375"/>
                  <a:pt x="20438" y="20437"/>
                  <a:pt x="20375" y="20437"/>
                </a:cubicBezTo>
                <a:cubicBezTo>
                  <a:pt x="20188" y="20500"/>
                  <a:pt x="20219" y="20344"/>
                  <a:pt x="20219" y="20250"/>
                </a:cubicBezTo>
                <a:cubicBezTo>
                  <a:pt x="20219" y="20125"/>
                  <a:pt x="20250" y="20031"/>
                  <a:pt x="20375" y="20156"/>
                </a:cubicBezTo>
                <a:cubicBezTo>
                  <a:pt x="20375" y="20156"/>
                  <a:pt x="20375" y="20156"/>
                  <a:pt x="20375" y="20156"/>
                </a:cubicBezTo>
                <a:cubicBezTo>
                  <a:pt x="20375" y="20187"/>
                  <a:pt x="20375" y="20187"/>
                  <a:pt x="20375" y="20187"/>
                </a:cubicBezTo>
                <a:cubicBezTo>
                  <a:pt x="20375" y="20187"/>
                  <a:pt x="20375" y="20156"/>
                  <a:pt x="20375" y="20156"/>
                </a:cubicBezTo>
                <a:cubicBezTo>
                  <a:pt x="20563" y="20375"/>
                  <a:pt x="20719" y="20094"/>
                  <a:pt x="20875" y="20094"/>
                </a:cubicBezTo>
                <a:cubicBezTo>
                  <a:pt x="20938" y="20281"/>
                  <a:pt x="20657" y="20406"/>
                  <a:pt x="20782" y="20625"/>
                </a:cubicBezTo>
                <a:cubicBezTo>
                  <a:pt x="20875" y="20469"/>
                  <a:pt x="21094" y="20375"/>
                  <a:pt x="21032" y="20125"/>
                </a:cubicBezTo>
                <a:cubicBezTo>
                  <a:pt x="21032" y="20125"/>
                  <a:pt x="21032" y="20125"/>
                  <a:pt x="21032" y="20125"/>
                </a:cubicBezTo>
                <a:cubicBezTo>
                  <a:pt x="21063" y="20125"/>
                  <a:pt x="21063" y="20094"/>
                  <a:pt x="21094" y="20062"/>
                </a:cubicBezTo>
                <a:cubicBezTo>
                  <a:pt x="21094" y="20062"/>
                  <a:pt x="21094" y="20062"/>
                  <a:pt x="21094" y="20062"/>
                </a:cubicBezTo>
                <a:cubicBezTo>
                  <a:pt x="21094" y="20062"/>
                  <a:pt x="21125" y="20031"/>
                  <a:pt x="21125" y="20031"/>
                </a:cubicBezTo>
                <a:cubicBezTo>
                  <a:pt x="21094" y="19969"/>
                  <a:pt x="21063" y="20000"/>
                  <a:pt x="21032" y="20031"/>
                </a:cubicBezTo>
                <a:cubicBezTo>
                  <a:pt x="21032" y="20031"/>
                  <a:pt x="21063" y="20031"/>
                  <a:pt x="21063" y="20031"/>
                </a:cubicBezTo>
                <a:cubicBezTo>
                  <a:pt x="21063" y="20031"/>
                  <a:pt x="21032" y="20031"/>
                  <a:pt x="21032" y="20031"/>
                </a:cubicBezTo>
                <a:cubicBezTo>
                  <a:pt x="21032" y="20031"/>
                  <a:pt x="21000" y="20062"/>
                  <a:pt x="20969" y="20094"/>
                </a:cubicBezTo>
                <a:cubicBezTo>
                  <a:pt x="20969" y="20094"/>
                  <a:pt x="20969" y="20094"/>
                  <a:pt x="20969" y="20094"/>
                </a:cubicBezTo>
                <a:cubicBezTo>
                  <a:pt x="20938" y="20094"/>
                  <a:pt x="20907" y="20094"/>
                  <a:pt x="20875" y="20094"/>
                </a:cubicBezTo>
                <a:cubicBezTo>
                  <a:pt x="20844" y="20031"/>
                  <a:pt x="20875" y="19875"/>
                  <a:pt x="20719" y="19969"/>
                </a:cubicBezTo>
                <a:cubicBezTo>
                  <a:pt x="20657" y="20000"/>
                  <a:pt x="20594" y="19969"/>
                  <a:pt x="20532" y="19937"/>
                </a:cubicBezTo>
                <a:cubicBezTo>
                  <a:pt x="20313" y="19844"/>
                  <a:pt x="20188" y="20062"/>
                  <a:pt x="19969" y="20062"/>
                </a:cubicBezTo>
                <a:lnTo>
                  <a:pt x="19969" y="20062"/>
                </a:lnTo>
                <a:cubicBezTo>
                  <a:pt x="19938" y="20062"/>
                  <a:pt x="19938" y="20156"/>
                  <a:pt x="20000" y="20187"/>
                </a:cubicBezTo>
                <a:cubicBezTo>
                  <a:pt x="20219" y="20281"/>
                  <a:pt x="19969" y="20375"/>
                  <a:pt x="20000" y="20469"/>
                </a:cubicBezTo>
                <a:cubicBezTo>
                  <a:pt x="20000" y="20469"/>
                  <a:pt x="20000" y="20469"/>
                  <a:pt x="20000" y="20500"/>
                </a:cubicBezTo>
                <a:close/>
                <a:moveTo>
                  <a:pt x="11657" y="20062"/>
                </a:moveTo>
                <a:lnTo>
                  <a:pt x="11657" y="20094"/>
                </a:lnTo>
                <a:lnTo>
                  <a:pt x="11688" y="20062"/>
                </a:lnTo>
                <a:lnTo>
                  <a:pt x="11657" y="20062"/>
                </a:lnTo>
                <a:close/>
                <a:moveTo>
                  <a:pt x="8594" y="19969"/>
                </a:moveTo>
                <a:cubicBezTo>
                  <a:pt x="8594" y="19969"/>
                  <a:pt x="8625" y="19969"/>
                  <a:pt x="8625" y="19969"/>
                </a:cubicBezTo>
                <a:cubicBezTo>
                  <a:pt x="8625" y="19937"/>
                  <a:pt x="8625" y="19937"/>
                  <a:pt x="8625" y="19937"/>
                </a:cubicBezTo>
                <a:cubicBezTo>
                  <a:pt x="8625" y="19937"/>
                  <a:pt x="8594" y="19937"/>
                  <a:pt x="8594" y="19937"/>
                </a:cubicBezTo>
                <a:cubicBezTo>
                  <a:pt x="8594" y="19937"/>
                  <a:pt x="8594" y="19969"/>
                  <a:pt x="8594" y="19969"/>
                </a:cubicBezTo>
                <a:close/>
                <a:moveTo>
                  <a:pt x="21063" y="14094"/>
                </a:moveTo>
                <a:lnTo>
                  <a:pt x="21032" y="14094"/>
                </a:lnTo>
                <a:lnTo>
                  <a:pt x="21063" y="14094"/>
                </a:lnTo>
                <a:close/>
                <a:moveTo>
                  <a:pt x="11000" y="21281"/>
                </a:moveTo>
                <a:cubicBezTo>
                  <a:pt x="11000" y="21281"/>
                  <a:pt x="10969" y="21281"/>
                  <a:pt x="10969" y="21281"/>
                </a:cubicBezTo>
                <a:cubicBezTo>
                  <a:pt x="10969" y="21312"/>
                  <a:pt x="10938" y="21344"/>
                  <a:pt x="10938" y="21344"/>
                </a:cubicBezTo>
                <a:cubicBezTo>
                  <a:pt x="10688" y="21437"/>
                  <a:pt x="10563" y="21500"/>
                  <a:pt x="10500" y="21656"/>
                </a:cubicBezTo>
                <a:cubicBezTo>
                  <a:pt x="10844" y="21500"/>
                  <a:pt x="10844" y="21500"/>
                  <a:pt x="10938" y="21375"/>
                </a:cubicBezTo>
                <a:cubicBezTo>
                  <a:pt x="10938" y="21375"/>
                  <a:pt x="10938" y="21375"/>
                  <a:pt x="10938" y="21375"/>
                </a:cubicBezTo>
                <a:cubicBezTo>
                  <a:pt x="10969" y="21344"/>
                  <a:pt x="11000" y="21344"/>
                  <a:pt x="11000" y="21281"/>
                </a:cubicBezTo>
                <a:close/>
                <a:moveTo>
                  <a:pt x="21938" y="21656"/>
                </a:moveTo>
                <a:cubicBezTo>
                  <a:pt x="21938" y="21625"/>
                  <a:pt x="21938" y="21594"/>
                  <a:pt x="21938" y="21594"/>
                </a:cubicBezTo>
                <a:cubicBezTo>
                  <a:pt x="21938" y="21594"/>
                  <a:pt x="21907" y="21562"/>
                  <a:pt x="21907" y="21562"/>
                </a:cubicBezTo>
                <a:cubicBezTo>
                  <a:pt x="21907" y="21594"/>
                  <a:pt x="21875" y="21594"/>
                  <a:pt x="21907" y="21625"/>
                </a:cubicBezTo>
                <a:cubicBezTo>
                  <a:pt x="21907" y="21625"/>
                  <a:pt x="21907" y="21625"/>
                  <a:pt x="21938" y="21656"/>
                </a:cubicBezTo>
                <a:close/>
                <a:moveTo>
                  <a:pt x="13813" y="22875"/>
                </a:moveTo>
                <a:cubicBezTo>
                  <a:pt x="13813" y="22875"/>
                  <a:pt x="13844" y="22875"/>
                  <a:pt x="13844" y="22875"/>
                </a:cubicBezTo>
                <a:cubicBezTo>
                  <a:pt x="13875" y="22875"/>
                  <a:pt x="13907" y="22844"/>
                  <a:pt x="13938" y="22844"/>
                </a:cubicBezTo>
                <a:cubicBezTo>
                  <a:pt x="14032" y="22844"/>
                  <a:pt x="14157" y="22906"/>
                  <a:pt x="14125" y="22750"/>
                </a:cubicBezTo>
                <a:cubicBezTo>
                  <a:pt x="14125" y="22562"/>
                  <a:pt x="13969" y="22625"/>
                  <a:pt x="13938" y="22625"/>
                </a:cubicBezTo>
                <a:lnTo>
                  <a:pt x="13938" y="22625"/>
                </a:lnTo>
                <a:cubicBezTo>
                  <a:pt x="13750" y="22625"/>
                  <a:pt x="13907" y="22812"/>
                  <a:pt x="13844" y="22875"/>
                </a:cubicBezTo>
                <a:cubicBezTo>
                  <a:pt x="13813" y="22875"/>
                  <a:pt x="13813" y="22875"/>
                  <a:pt x="13813" y="22875"/>
                </a:cubicBezTo>
                <a:cubicBezTo>
                  <a:pt x="13813" y="22875"/>
                  <a:pt x="13782" y="22875"/>
                  <a:pt x="13782" y="22875"/>
                </a:cubicBezTo>
                <a:cubicBezTo>
                  <a:pt x="13782" y="22906"/>
                  <a:pt x="13782" y="22906"/>
                  <a:pt x="13782" y="22906"/>
                </a:cubicBezTo>
                <a:lnTo>
                  <a:pt x="13782" y="22906"/>
                </a:lnTo>
                <a:cubicBezTo>
                  <a:pt x="13813" y="22906"/>
                  <a:pt x="13813" y="22875"/>
                  <a:pt x="13813" y="22875"/>
                </a:cubicBezTo>
                <a:close/>
                <a:moveTo>
                  <a:pt x="24657" y="22844"/>
                </a:moveTo>
                <a:cubicBezTo>
                  <a:pt x="24657" y="22844"/>
                  <a:pt x="24657" y="22875"/>
                  <a:pt x="24657" y="22875"/>
                </a:cubicBezTo>
                <a:cubicBezTo>
                  <a:pt x="24688" y="22875"/>
                  <a:pt x="24688" y="22875"/>
                  <a:pt x="24719" y="22875"/>
                </a:cubicBezTo>
                <a:cubicBezTo>
                  <a:pt x="24688" y="22844"/>
                  <a:pt x="24688" y="22844"/>
                  <a:pt x="24688" y="22812"/>
                </a:cubicBezTo>
                <a:cubicBezTo>
                  <a:pt x="24688" y="22844"/>
                  <a:pt x="24657" y="22844"/>
                  <a:pt x="24657" y="22844"/>
                </a:cubicBezTo>
                <a:close/>
                <a:moveTo>
                  <a:pt x="14250" y="14781"/>
                </a:moveTo>
                <a:cubicBezTo>
                  <a:pt x="14250" y="14781"/>
                  <a:pt x="14250" y="14812"/>
                  <a:pt x="14250" y="14812"/>
                </a:cubicBezTo>
                <a:cubicBezTo>
                  <a:pt x="14282" y="14812"/>
                  <a:pt x="14282" y="14781"/>
                  <a:pt x="14313" y="14781"/>
                </a:cubicBezTo>
                <a:cubicBezTo>
                  <a:pt x="14313" y="14781"/>
                  <a:pt x="14282" y="14750"/>
                  <a:pt x="14282" y="14750"/>
                </a:cubicBezTo>
                <a:cubicBezTo>
                  <a:pt x="14282" y="14781"/>
                  <a:pt x="14250" y="14781"/>
                  <a:pt x="14250" y="14781"/>
                </a:cubicBezTo>
                <a:close/>
                <a:moveTo>
                  <a:pt x="15625" y="22844"/>
                </a:moveTo>
                <a:cubicBezTo>
                  <a:pt x="15625" y="22812"/>
                  <a:pt x="15625" y="22812"/>
                  <a:pt x="15625" y="22781"/>
                </a:cubicBezTo>
                <a:cubicBezTo>
                  <a:pt x="15625" y="22781"/>
                  <a:pt x="15594" y="22781"/>
                  <a:pt x="15594" y="22812"/>
                </a:cubicBezTo>
                <a:cubicBezTo>
                  <a:pt x="15594" y="22812"/>
                  <a:pt x="15625" y="22844"/>
                  <a:pt x="15625" y="22844"/>
                </a:cubicBezTo>
                <a:cubicBezTo>
                  <a:pt x="15625" y="22844"/>
                  <a:pt x="15625" y="22844"/>
                  <a:pt x="15625" y="22844"/>
                </a:cubicBezTo>
                <a:close/>
                <a:moveTo>
                  <a:pt x="18875" y="14875"/>
                </a:moveTo>
                <a:cubicBezTo>
                  <a:pt x="18813" y="14875"/>
                  <a:pt x="18750" y="14875"/>
                  <a:pt x="18750" y="14937"/>
                </a:cubicBezTo>
                <a:cubicBezTo>
                  <a:pt x="18782" y="14937"/>
                  <a:pt x="18844" y="14937"/>
                  <a:pt x="18875" y="14875"/>
                </a:cubicBezTo>
                <a:cubicBezTo>
                  <a:pt x="18875" y="14875"/>
                  <a:pt x="18875" y="14875"/>
                  <a:pt x="18875" y="14875"/>
                </a:cubicBezTo>
                <a:close/>
                <a:moveTo>
                  <a:pt x="18875" y="14875"/>
                </a:moveTo>
                <a:cubicBezTo>
                  <a:pt x="18875" y="14875"/>
                  <a:pt x="18875" y="14875"/>
                  <a:pt x="18875" y="14875"/>
                </a:cubicBezTo>
                <a:close/>
                <a:moveTo>
                  <a:pt x="21000" y="24812"/>
                </a:moveTo>
                <a:cubicBezTo>
                  <a:pt x="21000" y="24812"/>
                  <a:pt x="21032" y="24812"/>
                  <a:pt x="21063" y="24812"/>
                </a:cubicBezTo>
                <a:cubicBezTo>
                  <a:pt x="21063" y="24937"/>
                  <a:pt x="21125" y="24969"/>
                  <a:pt x="21219" y="24937"/>
                </a:cubicBezTo>
                <a:cubicBezTo>
                  <a:pt x="21125" y="24937"/>
                  <a:pt x="21250" y="24687"/>
                  <a:pt x="21063" y="24812"/>
                </a:cubicBezTo>
                <a:cubicBezTo>
                  <a:pt x="21032" y="24812"/>
                  <a:pt x="21032" y="24750"/>
                  <a:pt x="21000" y="24812"/>
                </a:cubicBezTo>
                <a:close/>
                <a:moveTo>
                  <a:pt x="12688" y="21687"/>
                </a:moveTo>
                <a:lnTo>
                  <a:pt x="12657" y="21719"/>
                </a:lnTo>
                <a:lnTo>
                  <a:pt x="12688" y="21719"/>
                </a:lnTo>
                <a:lnTo>
                  <a:pt x="12688" y="21687"/>
                </a:lnTo>
                <a:close/>
                <a:moveTo>
                  <a:pt x="3782" y="18750"/>
                </a:moveTo>
                <a:cubicBezTo>
                  <a:pt x="3782" y="18750"/>
                  <a:pt x="3782" y="18750"/>
                  <a:pt x="3782" y="18750"/>
                </a:cubicBezTo>
                <a:cubicBezTo>
                  <a:pt x="3782" y="18750"/>
                  <a:pt x="3750" y="18750"/>
                  <a:pt x="3750" y="18750"/>
                </a:cubicBezTo>
                <a:cubicBezTo>
                  <a:pt x="3750" y="18750"/>
                  <a:pt x="3750" y="18750"/>
                  <a:pt x="3782" y="18781"/>
                </a:cubicBezTo>
                <a:cubicBezTo>
                  <a:pt x="3782" y="18781"/>
                  <a:pt x="3782" y="18750"/>
                  <a:pt x="3782" y="18750"/>
                </a:cubicBezTo>
                <a:close/>
                <a:moveTo>
                  <a:pt x="23969" y="22437"/>
                </a:moveTo>
                <a:cubicBezTo>
                  <a:pt x="23969" y="22437"/>
                  <a:pt x="23969" y="22437"/>
                  <a:pt x="24000" y="22469"/>
                </a:cubicBezTo>
                <a:cubicBezTo>
                  <a:pt x="24000" y="22437"/>
                  <a:pt x="24000" y="22437"/>
                  <a:pt x="24000" y="22437"/>
                </a:cubicBezTo>
                <a:cubicBezTo>
                  <a:pt x="24000" y="22406"/>
                  <a:pt x="24000" y="22406"/>
                  <a:pt x="24000" y="22406"/>
                </a:cubicBezTo>
                <a:cubicBezTo>
                  <a:pt x="23969" y="22406"/>
                  <a:pt x="23969" y="22437"/>
                  <a:pt x="23969" y="22437"/>
                </a:cubicBezTo>
                <a:close/>
                <a:moveTo>
                  <a:pt x="19782" y="15969"/>
                </a:moveTo>
                <a:cubicBezTo>
                  <a:pt x="19782" y="15937"/>
                  <a:pt x="19782" y="15937"/>
                  <a:pt x="19782" y="15937"/>
                </a:cubicBezTo>
                <a:cubicBezTo>
                  <a:pt x="19782" y="15937"/>
                  <a:pt x="19782" y="15969"/>
                  <a:pt x="19782" y="15969"/>
                </a:cubicBezTo>
                <a:cubicBezTo>
                  <a:pt x="19782" y="15969"/>
                  <a:pt x="19782" y="15969"/>
                  <a:pt x="19782" y="15969"/>
                </a:cubicBezTo>
                <a:close/>
                <a:moveTo>
                  <a:pt x="15500" y="18312"/>
                </a:moveTo>
                <a:cubicBezTo>
                  <a:pt x="15500" y="18281"/>
                  <a:pt x="15532" y="18281"/>
                  <a:pt x="15532" y="18281"/>
                </a:cubicBezTo>
                <a:cubicBezTo>
                  <a:pt x="15532" y="18281"/>
                  <a:pt x="15500" y="18281"/>
                  <a:pt x="15500" y="18250"/>
                </a:cubicBezTo>
                <a:cubicBezTo>
                  <a:pt x="15500" y="18281"/>
                  <a:pt x="15500" y="18281"/>
                  <a:pt x="15500" y="18281"/>
                </a:cubicBezTo>
                <a:cubicBezTo>
                  <a:pt x="15500" y="18281"/>
                  <a:pt x="15500" y="18281"/>
                  <a:pt x="15500" y="18312"/>
                </a:cubicBezTo>
                <a:close/>
                <a:moveTo>
                  <a:pt x="12438" y="21031"/>
                </a:moveTo>
                <a:cubicBezTo>
                  <a:pt x="12438" y="21031"/>
                  <a:pt x="12407" y="21031"/>
                  <a:pt x="12407" y="21000"/>
                </a:cubicBezTo>
                <a:cubicBezTo>
                  <a:pt x="12407" y="21031"/>
                  <a:pt x="12375" y="21031"/>
                  <a:pt x="12375" y="21062"/>
                </a:cubicBezTo>
                <a:cubicBezTo>
                  <a:pt x="12375" y="21062"/>
                  <a:pt x="12407" y="21062"/>
                  <a:pt x="12407" y="21094"/>
                </a:cubicBezTo>
                <a:cubicBezTo>
                  <a:pt x="12407" y="21062"/>
                  <a:pt x="12438" y="21062"/>
                  <a:pt x="12438" y="21031"/>
                </a:cubicBezTo>
                <a:close/>
                <a:moveTo>
                  <a:pt x="20844" y="24687"/>
                </a:moveTo>
                <a:cubicBezTo>
                  <a:pt x="20844" y="24687"/>
                  <a:pt x="20844" y="24719"/>
                  <a:pt x="20844" y="24719"/>
                </a:cubicBezTo>
                <a:cubicBezTo>
                  <a:pt x="20844" y="24719"/>
                  <a:pt x="20875" y="24719"/>
                  <a:pt x="20875" y="24687"/>
                </a:cubicBezTo>
                <a:cubicBezTo>
                  <a:pt x="20844" y="24687"/>
                  <a:pt x="20844" y="24687"/>
                  <a:pt x="20844" y="24687"/>
                </a:cubicBezTo>
                <a:cubicBezTo>
                  <a:pt x="20844" y="24687"/>
                  <a:pt x="20844" y="24687"/>
                  <a:pt x="20844" y="24687"/>
                </a:cubicBezTo>
                <a:close/>
                <a:moveTo>
                  <a:pt x="18657" y="16781"/>
                </a:moveTo>
                <a:cubicBezTo>
                  <a:pt x="18625" y="16750"/>
                  <a:pt x="18563" y="16781"/>
                  <a:pt x="18532" y="16812"/>
                </a:cubicBezTo>
                <a:cubicBezTo>
                  <a:pt x="18563" y="16844"/>
                  <a:pt x="18563" y="16844"/>
                  <a:pt x="18594" y="16875"/>
                </a:cubicBezTo>
                <a:cubicBezTo>
                  <a:pt x="18625" y="16844"/>
                  <a:pt x="18688" y="16844"/>
                  <a:pt x="18657" y="16781"/>
                </a:cubicBezTo>
                <a:close/>
                <a:moveTo>
                  <a:pt x="10875" y="22031"/>
                </a:moveTo>
                <a:cubicBezTo>
                  <a:pt x="10875" y="22031"/>
                  <a:pt x="10875" y="22031"/>
                  <a:pt x="10875" y="22031"/>
                </a:cubicBezTo>
                <a:cubicBezTo>
                  <a:pt x="10907" y="22031"/>
                  <a:pt x="10907" y="22031"/>
                  <a:pt x="10938" y="22031"/>
                </a:cubicBezTo>
                <a:cubicBezTo>
                  <a:pt x="10938" y="22031"/>
                  <a:pt x="10938" y="22000"/>
                  <a:pt x="10938" y="22000"/>
                </a:cubicBezTo>
                <a:cubicBezTo>
                  <a:pt x="10907" y="22000"/>
                  <a:pt x="10875" y="22031"/>
                  <a:pt x="10875" y="22031"/>
                </a:cubicBezTo>
                <a:close/>
                <a:moveTo>
                  <a:pt x="16219" y="18656"/>
                </a:moveTo>
                <a:cubicBezTo>
                  <a:pt x="16219" y="18625"/>
                  <a:pt x="16219" y="18625"/>
                  <a:pt x="16219" y="18625"/>
                </a:cubicBezTo>
                <a:cubicBezTo>
                  <a:pt x="16219" y="18625"/>
                  <a:pt x="16188" y="18625"/>
                  <a:pt x="16188" y="18656"/>
                </a:cubicBezTo>
                <a:cubicBezTo>
                  <a:pt x="16188" y="18656"/>
                  <a:pt x="16188" y="18656"/>
                  <a:pt x="16188" y="18656"/>
                </a:cubicBezTo>
                <a:cubicBezTo>
                  <a:pt x="16219" y="18656"/>
                  <a:pt x="16219" y="18656"/>
                  <a:pt x="16219" y="18656"/>
                </a:cubicBezTo>
                <a:close/>
                <a:moveTo>
                  <a:pt x="4063" y="18812"/>
                </a:moveTo>
                <a:cubicBezTo>
                  <a:pt x="4000" y="18812"/>
                  <a:pt x="4000" y="18781"/>
                  <a:pt x="3969" y="18781"/>
                </a:cubicBezTo>
                <a:cubicBezTo>
                  <a:pt x="3938" y="18781"/>
                  <a:pt x="3938" y="18812"/>
                  <a:pt x="3907" y="18812"/>
                </a:cubicBezTo>
                <a:cubicBezTo>
                  <a:pt x="3938" y="18844"/>
                  <a:pt x="3969" y="18844"/>
                  <a:pt x="4000" y="18844"/>
                </a:cubicBezTo>
                <a:cubicBezTo>
                  <a:pt x="4032" y="18844"/>
                  <a:pt x="4032" y="18812"/>
                  <a:pt x="4063" y="18812"/>
                </a:cubicBezTo>
                <a:close/>
                <a:moveTo>
                  <a:pt x="24594" y="20875"/>
                </a:moveTo>
                <a:cubicBezTo>
                  <a:pt x="24594" y="20906"/>
                  <a:pt x="24625" y="20906"/>
                  <a:pt x="24657" y="20906"/>
                </a:cubicBezTo>
                <a:cubicBezTo>
                  <a:pt x="24657" y="20906"/>
                  <a:pt x="24657" y="20937"/>
                  <a:pt x="24657" y="20937"/>
                </a:cubicBezTo>
                <a:cubicBezTo>
                  <a:pt x="24750" y="20937"/>
                  <a:pt x="24782" y="21031"/>
                  <a:pt x="24782" y="21125"/>
                </a:cubicBezTo>
                <a:cubicBezTo>
                  <a:pt x="24844" y="21125"/>
                  <a:pt x="24875" y="21125"/>
                  <a:pt x="24938" y="21156"/>
                </a:cubicBezTo>
                <a:cubicBezTo>
                  <a:pt x="24907" y="21156"/>
                  <a:pt x="24907" y="21187"/>
                  <a:pt x="24875" y="21219"/>
                </a:cubicBezTo>
                <a:lnTo>
                  <a:pt x="24875" y="21219"/>
                </a:lnTo>
                <a:cubicBezTo>
                  <a:pt x="24813" y="21219"/>
                  <a:pt x="24782" y="21156"/>
                  <a:pt x="24782" y="21125"/>
                </a:cubicBezTo>
                <a:cubicBezTo>
                  <a:pt x="24625" y="21062"/>
                  <a:pt x="24438" y="21281"/>
                  <a:pt x="24313" y="21062"/>
                </a:cubicBezTo>
                <a:cubicBezTo>
                  <a:pt x="24375" y="20906"/>
                  <a:pt x="24563" y="21062"/>
                  <a:pt x="24657" y="20937"/>
                </a:cubicBezTo>
                <a:cubicBezTo>
                  <a:pt x="24657" y="20906"/>
                  <a:pt x="24657" y="20906"/>
                  <a:pt x="24657" y="20906"/>
                </a:cubicBezTo>
                <a:cubicBezTo>
                  <a:pt x="24625" y="20906"/>
                  <a:pt x="24625" y="20875"/>
                  <a:pt x="24625" y="20844"/>
                </a:cubicBezTo>
                <a:cubicBezTo>
                  <a:pt x="24594" y="20875"/>
                  <a:pt x="24594" y="20875"/>
                  <a:pt x="24594" y="20875"/>
                </a:cubicBezTo>
                <a:close/>
                <a:moveTo>
                  <a:pt x="16000" y="19062"/>
                </a:moveTo>
                <a:cubicBezTo>
                  <a:pt x="16000" y="19062"/>
                  <a:pt x="16032" y="19031"/>
                  <a:pt x="16032" y="19031"/>
                </a:cubicBezTo>
                <a:cubicBezTo>
                  <a:pt x="16032" y="19000"/>
                  <a:pt x="16000" y="18969"/>
                  <a:pt x="16000" y="18969"/>
                </a:cubicBezTo>
                <a:cubicBezTo>
                  <a:pt x="16000" y="18969"/>
                  <a:pt x="15969" y="19000"/>
                  <a:pt x="15969" y="19000"/>
                </a:cubicBezTo>
                <a:cubicBezTo>
                  <a:pt x="15969" y="19031"/>
                  <a:pt x="16000" y="19062"/>
                  <a:pt x="16000" y="19062"/>
                </a:cubicBezTo>
                <a:close/>
                <a:moveTo>
                  <a:pt x="16688" y="12687"/>
                </a:moveTo>
                <a:cubicBezTo>
                  <a:pt x="16688" y="12687"/>
                  <a:pt x="16688" y="12719"/>
                  <a:pt x="16719" y="12719"/>
                </a:cubicBezTo>
                <a:cubicBezTo>
                  <a:pt x="16719" y="12719"/>
                  <a:pt x="16719" y="12719"/>
                  <a:pt x="16750" y="12719"/>
                </a:cubicBezTo>
                <a:cubicBezTo>
                  <a:pt x="16719" y="12687"/>
                  <a:pt x="16719" y="12687"/>
                  <a:pt x="16719" y="12687"/>
                </a:cubicBezTo>
                <a:cubicBezTo>
                  <a:pt x="16688" y="12656"/>
                  <a:pt x="16688" y="12656"/>
                  <a:pt x="16688" y="12687"/>
                </a:cubicBezTo>
                <a:close/>
                <a:moveTo>
                  <a:pt x="11719" y="20594"/>
                </a:moveTo>
                <a:cubicBezTo>
                  <a:pt x="11719" y="20594"/>
                  <a:pt x="11750" y="20562"/>
                  <a:pt x="11782" y="20531"/>
                </a:cubicBezTo>
                <a:cubicBezTo>
                  <a:pt x="11750" y="20531"/>
                  <a:pt x="11719" y="20500"/>
                  <a:pt x="11719" y="20500"/>
                </a:cubicBezTo>
                <a:cubicBezTo>
                  <a:pt x="11688" y="20531"/>
                  <a:pt x="11657" y="20531"/>
                  <a:pt x="11657" y="20562"/>
                </a:cubicBezTo>
                <a:cubicBezTo>
                  <a:pt x="11625" y="20594"/>
                  <a:pt x="11688" y="20594"/>
                  <a:pt x="11719" y="20594"/>
                </a:cubicBezTo>
                <a:close/>
                <a:moveTo>
                  <a:pt x="1032" y="20531"/>
                </a:moveTo>
                <a:cubicBezTo>
                  <a:pt x="1000" y="20500"/>
                  <a:pt x="969" y="20500"/>
                  <a:pt x="938" y="20500"/>
                </a:cubicBezTo>
                <a:cubicBezTo>
                  <a:pt x="938" y="20500"/>
                  <a:pt x="938" y="20469"/>
                  <a:pt x="938" y="20469"/>
                </a:cubicBezTo>
                <a:cubicBezTo>
                  <a:pt x="907" y="20375"/>
                  <a:pt x="750" y="20406"/>
                  <a:pt x="782" y="20281"/>
                </a:cubicBezTo>
                <a:cubicBezTo>
                  <a:pt x="844" y="20250"/>
                  <a:pt x="938" y="20344"/>
                  <a:pt x="1000" y="20250"/>
                </a:cubicBezTo>
                <a:cubicBezTo>
                  <a:pt x="907" y="20187"/>
                  <a:pt x="782" y="20187"/>
                  <a:pt x="719" y="20062"/>
                </a:cubicBezTo>
                <a:cubicBezTo>
                  <a:pt x="719" y="20000"/>
                  <a:pt x="688" y="20031"/>
                  <a:pt x="657" y="20031"/>
                </a:cubicBezTo>
                <a:cubicBezTo>
                  <a:pt x="625" y="20062"/>
                  <a:pt x="625" y="20094"/>
                  <a:pt x="625" y="20094"/>
                </a:cubicBezTo>
                <a:cubicBezTo>
                  <a:pt x="719" y="20250"/>
                  <a:pt x="657" y="20500"/>
                  <a:pt x="938" y="20469"/>
                </a:cubicBezTo>
                <a:cubicBezTo>
                  <a:pt x="938" y="20469"/>
                  <a:pt x="938" y="20469"/>
                  <a:pt x="938" y="20500"/>
                </a:cubicBezTo>
                <a:cubicBezTo>
                  <a:pt x="969" y="20500"/>
                  <a:pt x="1000" y="20531"/>
                  <a:pt x="1000" y="20562"/>
                </a:cubicBezTo>
                <a:cubicBezTo>
                  <a:pt x="1032" y="20562"/>
                  <a:pt x="1032" y="20531"/>
                  <a:pt x="1032" y="20531"/>
                </a:cubicBezTo>
                <a:close/>
                <a:moveTo>
                  <a:pt x="24594" y="23250"/>
                </a:moveTo>
                <a:cubicBezTo>
                  <a:pt x="24625" y="23219"/>
                  <a:pt x="24625" y="23219"/>
                  <a:pt x="24625" y="23219"/>
                </a:cubicBezTo>
                <a:cubicBezTo>
                  <a:pt x="24625" y="23187"/>
                  <a:pt x="24594" y="23156"/>
                  <a:pt x="24594" y="23125"/>
                </a:cubicBezTo>
                <a:cubicBezTo>
                  <a:pt x="24563" y="22906"/>
                  <a:pt x="24438" y="22750"/>
                  <a:pt x="24250" y="22656"/>
                </a:cubicBezTo>
                <a:lnTo>
                  <a:pt x="24250" y="22656"/>
                </a:lnTo>
                <a:cubicBezTo>
                  <a:pt x="24313" y="22875"/>
                  <a:pt x="24313" y="22875"/>
                  <a:pt x="24594" y="23125"/>
                </a:cubicBezTo>
                <a:cubicBezTo>
                  <a:pt x="24594" y="23156"/>
                  <a:pt x="24594" y="23219"/>
                  <a:pt x="24594" y="23250"/>
                </a:cubicBezTo>
                <a:close/>
                <a:moveTo>
                  <a:pt x="22875" y="20781"/>
                </a:moveTo>
                <a:cubicBezTo>
                  <a:pt x="22875" y="20781"/>
                  <a:pt x="22875" y="20781"/>
                  <a:pt x="22875" y="20781"/>
                </a:cubicBezTo>
                <a:cubicBezTo>
                  <a:pt x="22844" y="20812"/>
                  <a:pt x="22813" y="20844"/>
                  <a:pt x="22844" y="20875"/>
                </a:cubicBezTo>
                <a:cubicBezTo>
                  <a:pt x="22875" y="20875"/>
                  <a:pt x="22907" y="20844"/>
                  <a:pt x="22907" y="20812"/>
                </a:cubicBezTo>
                <a:cubicBezTo>
                  <a:pt x="22938" y="20781"/>
                  <a:pt x="22969" y="20750"/>
                  <a:pt x="23000" y="20750"/>
                </a:cubicBezTo>
                <a:cubicBezTo>
                  <a:pt x="23000" y="20719"/>
                  <a:pt x="23000" y="20687"/>
                  <a:pt x="22969" y="20656"/>
                </a:cubicBezTo>
                <a:cubicBezTo>
                  <a:pt x="22938" y="20687"/>
                  <a:pt x="22907" y="20719"/>
                  <a:pt x="22875" y="20781"/>
                </a:cubicBezTo>
                <a:close/>
                <a:moveTo>
                  <a:pt x="23000" y="20750"/>
                </a:moveTo>
                <a:cubicBezTo>
                  <a:pt x="23000" y="20750"/>
                  <a:pt x="23032" y="20750"/>
                  <a:pt x="23032" y="20750"/>
                </a:cubicBezTo>
                <a:cubicBezTo>
                  <a:pt x="22938" y="21281"/>
                  <a:pt x="22844" y="21437"/>
                  <a:pt x="22625" y="21437"/>
                </a:cubicBezTo>
                <a:cubicBezTo>
                  <a:pt x="22719" y="21281"/>
                  <a:pt x="22782" y="21125"/>
                  <a:pt x="22782" y="20937"/>
                </a:cubicBezTo>
                <a:cubicBezTo>
                  <a:pt x="22532" y="21281"/>
                  <a:pt x="22438" y="21719"/>
                  <a:pt x="22313" y="22156"/>
                </a:cubicBezTo>
                <a:cubicBezTo>
                  <a:pt x="22313" y="22156"/>
                  <a:pt x="22313" y="22187"/>
                  <a:pt x="22344" y="22187"/>
                </a:cubicBezTo>
                <a:cubicBezTo>
                  <a:pt x="22344" y="22187"/>
                  <a:pt x="22344" y="22187"/>
                  <a:pt x="22344" y="22187"/>
                </a:cubicBezTo>
                <a:cubicBezTo>
                  <a:pt x="22313" y="22219"/>
                  <a:pt x="22313" y="22281"/>
                  <a:pt x="22375" y="22281"/>
                </a:cubicBezTo>
                <a:cubicBezTo>
                  <a:pt x="22688" y="22500"/>
                  <a:pt x="22688" y="22500"/>
                  <a:pt x="23032" y="22062"/>
                </a:cubicBezTo>
                <a:cubicBezTo>
                  <a:pt x="22938" y="22062"/>
                  <a:pt x="22813" y="21969"/>
                  <a:pt x="22750" y="22156"/>
                </a:cubicBezTo>
                <a:cubicBezTo>
                  <a:pt x="22719" y="22312"/>
                  <a:pt x="22594" y="22219"/>
                  <a:pt x="22500" y="22187"/>
                </a:cubicBezTo>
                <a:cubicBezTo>
                  <a:pt x="22500" y="22156"/>
                  <a:pt x="22500" y="22125"/>
                  <a:pt x="22500" y="22125"/>
                </a:cubicBezTo>
                <a:cubicBezTo>
                  <a:pt x="22688" y="22031"/>
                  <a:pt x="22813" y="21875"/>
                  <a:pt x="22907" y="21656"/>
                </a:cubicBezTo>
                <a:cubicBezTo>
                  <a:pt x="22938" y="21500"/>
                  <a:pt x="22907" y="21281"/>
                  <a:pt x="23157" y="21219"/>
                </a:cubicBezTo>
                <a:cubicBezTo>
                  <a:pt x="23188" y="21219"/>
                  <a:pt x="23219" y="21156"/>
                  <a:pt x="23188" y="21125"/>
                </a:cubicBezTo>
                <a:cubicBezTo>
                  <a:pt x="22969" y="20969"/>
                  <a:pt x="23157" y="20875"/>
                  <a:pt x="23219" y="20750"/>
                </a:cubicBezTo>
                <a:cubicBezTo>
                  <a:pt x="23313" y="20625"/>
                  <a:pt x="23407" y="20469"/>
                  <a:pt x="23188" y="20375"/>
                </a:cubicBezTo>
                <a:lnTo>
                  <a:pt x="23188" y="20375"/>
                </a:lnTo>
                <a:cubicBezTo>
                  <a:pt x="23063" y="20469"/>
                  <a:pt x="23219" y="20687"/>
                  <a:pt x="23032" y="20750"/>
                </a:cubicBezTo>
                <a:cubicBezTo>
                  <a:pt x="23032" y="20750"/>
                  <a:pt x="23000" y="20750"/>
                  <a:pt x="23000" y="20750"/>
                </a:cubicBezTo>
                <a:cubicBezTo>
                  <a:pt x="23032" y="20750"/>
                  <a:pt x="23032" y="20750"/>
                  <a:pt x="23032" y="20750"/>
                </a:cubicBezTo>
                <a:cubicBezTo>
                  <a:pt x="23032" y="20750"/>
                  <a:pt x="23032" y="20719"/>
                  <a:pt x="23032" y="20719"/>
                </a:cubicBezTo>
                <a:cubicBezTo>
                  <a:pt x="23032" y="20719"/>
                  <a:pt x="23032" y="20750"/>
                  <a:pt x="23000" y="20750"/>
                </a:cubicBezTo>
                <a:close/>
                <a:moveTo>
                  <a:pt x="14125" y="23031"/>
                </a:moveTo>
                <a:cubicBezTo>
                  <a:pt x="14125" y="23062"/>
                  <a:pt x="14125" y="23062"/>
                  <a:pt x="14157" y="23094"/>
                </a:cubicBezTo>
                <a:cubicBezTo>
                  <a:pt x="14157" y="23094"/>
                  <a:pt x="14157" y="23062"/>
                  <a:pt x="14157" y="23062"/>
                </a:cubicBezTo>
                <a:cubicBezTo>
                  <a:pt x="14157" y="23062"/>
                  <a:pt x="14157" y="23031"/>
                  <a:pt x="14125" y="23031"/>
                </a:cubicBezTo>
                <a:cubicBezTo>
                  <a:pt x="14125" y="23031"/>
                  <a:pt x="14125" y="23031"/>
                  <a:pt x="14125" y="23031"/>
                </a:cubicBezTo>
                <a:close/>
                <a:moveTo>
                  <a:pt x="13938" y="22062"/>
                </a:moveTo>
                <a:cubicBezTo>
                  <a:pt x="13938" y="22031"/>
                  <a:pt x="13907" y="22031"/>
                  <a:pt x="13907" y="22000"/>
                </a:cubicBezTo>
                <a:cubicBezTo>
                  <a:pt x="13875" y="22031"/>
                  <a:pt x="13875" y="22062"/>
                  <a:pt x="13844" y="22062"/>
                </a:cubicBezTo>
                <a:cubicBezTo>
                  <a:pt x="13844" y="22094"/>
                  <a:pt x="13875" y="22094"/>
                  <a:pt x="13875" y="22094"/>
                </a:cubicBezTo>
                <a:cubicBezTo>
                  <a:pt x="13907" y="22094"/>
                  <a:pt x="13938" y="22094"/>
                  <a:pt x="13938" y="22062"/>
                </a:cubicBezTo>
                <a:close/>
                <a:moveTo>
                  <a:pt x="15375" y="4187"/>
                </a:moveTo>
                <a:cubicBezTo>
                  <a:pt x="15375" y="4187"/>
                  <a:pt x="15344" y="4156"/>
                  <a:pt x="15344" y="4156"/>
                </a:cubicBezTo>
                <a:cubicBezTo>
                  <a:pt x="15344" y="4156"/>
                  <a:pt x="15313" y="4156"/>
                  <a:pt x="15313" y="4156"/>
                </a:cubicBezTo>
                <a:cubicBezTo>
                  <a:pt x="15344" y="4187"/>
                  <a:pt x="15344" y="4187"/>
                  <a:pt x="15344" y="4219"/>
                </a:cubicBezTo>
                <a:cubicBezTo>
                  <a:pt x="15344" y="4219"/>
                  <a:pt x="15375" y="4187"/>
                  <a:pt x="15375" y="4187"/>
                </a:cubicBezTo>
                <a:close/>
                <a:moveTo>
                  <a:pt x="7063" y="21344"/>
                </a:moveTo>
                <a:cubicBezTo>
                  <a:pt x="7063" y="21375"/>
                  <a:pt x="7063" y="21375"/>
                  <a:pt x="7094" y="21406"/>
                </a:cubicBezTo>
                <a:cubicBezTo>
                  <a:pt x="7094" y="21406"/>
                  <a:pt x="7125" y="21375"/>
                  <a:pt x="7125" y="21375"/>
                </a:cubicBezTo>
                <a:cubicBezTo>
                  <a:pt x="7125" y="21375"/>
                  <a:pt x="7125" y="21344"/>
                  <a:pt x="7125" y="21312"/>
                </a:cubicBezTo>
                <a:cubicBezTo>
                  <a:pt x="7094" y="21344"/>
                  <a:pt x="7063" y="21344"/>
                  <a:pt x="7063" y="21344"/>
                </a:cubicBezTo>
                <a:close/>
                <a:moveTo>
                  <a:pt x="12469" y="21750"/>
                </a:moveTo>
                <a:cubicBezTo>
                  <a:pt x="12469" y="21719"/>
                  <a:pt x="12469" y="21719"/>
                  <a:pt x="12469" y="21719"/>
                </a:cubicBezTo>
                <a:cubicBezTo>
                  <a:pt x="12407" y="21719"/>
                  <a:pt x="12344" y="21750"/>
                  <a:pt x="12313" y="21812"/>
                </a:cubicBezTo>
                <a:cubicBezTo>
                  <a:pt x="12094" y="21781"/>
                  <a:pt x="12094" y="21781"/>
                  <a:pt x="12125" y="21969"/>
                </a:cubicBezTo>
                <a:lnTo>
                  <a:pt x="12125" y="21969"/>
                </a:lnTo>
                <a:cubicBezTo>
                  <a:pt x="12219" y="21937"/>
                  <a:pt x="12282" y="21875"/>
                  <a:pt x="12313" y="21812"/>
                </a:cubicBezTo>
                <a:cubicBezTo>
                  <a:pt x="12375" y="21781"/>
                  <a:pt x="12438" y="21812"/>
                  <a:pt x="12469" y="21750"/>
                </a:cubicBezTo>
                <a:close/>
                <a:moveTo>
                  <a:pt x="875" y="19531"/>
                </a:moveTo>
                <a:cubicBezTo>
                  <a:pt x="875" y="19531"/>
                  <a:pt x="907" y="19531"/>
                  <a:pt x="938" y="19500"/>
                </a:cubicBezTo>
                <a:cubicBezTo>
                  <a:pt x="938" y="19500"/>
                  <a:pt x="938" y="19469"/>
                  <a:pt x="938" y="19469"/>
                </a:cubicBezTo>
                <a:cubicBezTo>
                  <a:pt x="907" y="19469"/>
                  <a:pt x="875" y="19469"/>
                  <a:pt x="844" y="19500"/>
                </a:cubicBezTo>
                <a:cubicBezTo>
                  <a:pt x="813" y="19500"/>
                  <a:pt x="844" y="19531"/>
                  <a:pt x="875" y="19531"/>
                </a:cubicBezTo>
                <a:close/>
                <a:moveTo>
                  <a:pt x="20875" y="14219"/>
                </a:moveTo>
                <a:cubicBezTo>
                  <a:pt x="20875" y="14219"/>
                  <a:pt x="20907" y="14187"/>
                  <a:pt x="20907" y="14187"/>
                </a:cubicBezTo>
                <a:cubicBezTo>
                  <a:pt x="20875" y="14125"/>
                  <a:pt x="20813" y="14156"/>
                  <a:pt x="20750" y="14125"/>
                </a:cubicBezTo>
                <a:cubicBezTo>
                  <a:pt x="20782" y="14187"/>
                  <a:pt x="20782" y="14250"/>
                  <a:pt x="20875" y="14219"/>
                </a:cubicBezTo>
                <a:close/>
                <a:moveTo>
                  <a:pt x="20750" y="14125"/>
                </a:moveTo>
                <a:cubicBezTo>
                  <a:pt x="20625" y="14094"/>
                  <a:pt x="20500" y="14250"/>
                  <a:pt x="20344" y="14156"/>
                </a:cubicBezTo>
                <a:cubicBezTo>
                  <a:pt x="20469" y="13937"/>
                  <a:pt x="20719" y="14000"/>
                  <a:pt x="20907" y="13906"/>
                </a:cubicBezTo>
                <a:cubicBezTo>
                  <a:pt x="21032" y="13812"/>
                  <a:pt x="21157" y="13781"/>
                  <a:pt x="21313" y="13844"/>
                </a:cubicBezTo>
                <a:lnTo>
                  <a:pt x="21313" y="13844"/>
                </a:lnTo>
                <a:cubicBezTo>
                  <a:pt x="21219" y="14000"/>
                  <a:pt x="21063" y="13937"/>
                  <a:pt x="20969" y="13969"/>
                </a:cubicBezTo>
                <a:cubicBezTo>
                  <a:pt x="20969" y="13969"/>
                  <a:pt x="20969" y="13969"/>
                  <a:pt x="20969" y="13969"/>
                </a:cubicBezTo>
                <a:cubicBezTo>
                  <a:pt x="20907" y="14031"/>
                  <a:pt x="20813" y="14031"/>
                  <a:pt x="20750" y="14125"/>
                </a:cubicBezTo>
                <a:close/>
                <a:moveTo>
                  <a:pt x="19000" y="21312"/>
                </a:moveTo>
                <a:cubicBezTo>
                  <a:pt x="19032" y="21250"/>
                  <a:pt x="19032" y="21187"/>
                  <a:pt x="18969" y="21156"/>
                </a:cubicBezTo>
                <a:cubicBezTo>
                  <a:pt x="18907" y="21219"/>
                  <a:pt x="18969" y="21281"/>
                  <a:pt x="19000" y="21312"/>
                </a:cubicBezTo>
                <a:close/>
                <a:moveTo>
                  <a:pt x="14157" y="20625"/>
                </a:moveTo>
                <a:cubicBezTo>
                  <a:pt x="14157" y="20562"/>
                  <a:pt x="14125" y="20531"/>
                  <a:pt x="14063" y="20562"/>
                </a:cubicBezTo>
                <a:cubicBezTo>
                  <a:pt x="14032" y="20594"/>
                  <a:pt x="14032" y="20656"/>
                  <a:pt x="14000" y="20687"/>
                </a:cubicBezTo>
                <a:cubicBezTo>
                  <a:pt x="14032" y="20719"/>
                  <a:pt x="14063" y="20750"/>
                  <a:pt x="14063" y="20719"/>
                </a:cubicBezTo>
                <a:cubicBezTo>
                  <a:pt x="14125" y="20719"/>
                  <a:pt x="14157" y="20687"/>
                  <a:pt x="14157" y="20625"/>
                </a:cubicBezTo>
                <a:close/>
                <a:moveTo>
                  <a:pt x="29500" y="4281"/>
                </a:moveTo>
                <a:cubicBezTo>
                  <a:pt x="29407" y="4250"/>
                  <a:pt x="29344" y="4250"/>
                  <a:pt x="29250" y="4312"/>
                </a:cubicBezTo>
                <a:cubicBezTo>
                  <a:pt x="29375" y="4375"/>
                  <a:pt x="29438" y="4312"/>
                  <a:pt x="29500" y="4281"/>
                </a:cubicBezTo>
                <a:close/>
                <a:moveTo>
                  <a:pt x="12657" y="21906"/>
                </a:moveTo>
                <a:cubicBezTo>
                  <a:pt x="12657" y="21937"/>
                  <a:pt x="12657" y="22000"/>
                  <a:pt x="12719" y="22000"/>
                </a:cubicBezTo>
                <a:cubicBezTo>
                  <a:pt x="12750" y="21969"/>
                  <a:pt x="12750" y="21969"/>
                  <a:pt x="12782" y="21937"/>
                </a:cubicBezTo>
                <a:cubicBezTo>
                  <a:pt x="12782" y="21875"/>
                  <a:pt x="12719" y="21875"/>
                  <a:pt x="12688" y="21875"/>
                </a:cubicBezTo>
                <a:cubicBezTo>
                  <a:pt x="12657" y="21844"/>
                  <a:pt x="12625" y="21875"/>
                  <a:pt x="12657" y="21906"/>
                </a:cubicBezTo>
                <a:close/>
                <a:moveTo>
                  <a:pt x="11407" y="20594"/>
                </a:moveTo>
                <a:cubicBezTo>
                  <a:pt x="11282" y="20656"/>
                  <a:pt x="11188" y="20656"/>
                  <a:pt x="11094" y="20812"/>
                </a:cubicBezTo>
                <a:cubicBezTo>
                  <a:pt x="11250" y="20781"/>
                  <a:pt x="11344" y="20750"/>
                  <a:pt x="11407" y="20594"/>
                </a:cubicBezTo>
                <a:close/>
                <a:moveTo>
                  <a:pt x="19157" y="22531"/>
                </a:moveTo>
                <a:cubicBezTo>
                  <a:pt x="19157" y="22500"/>
                  <a:pt x="19094" y="22500"/>
                  <a:pt x="19063" y="22500"/>
                </a:cubicBezTo>
                <a:cubicBezTo>
                  <a:pt x="18969" y="22531"/>
                  <a:pt x="19000" y="22625"/>
                  <a:pt x="19000" y="22781"/>
                </a:cubicBezTo>
                <a:cubicBezTo>
                  <a:pt x="19063" y="22656"/>
                  <a:pt x="19188" y="22625"/>
                  <a:pt x="19157" y="22531"/>
                </a:cubicBezTo>
                <a:close/>
                <a:moveTo>
                  <a:pt x="13188" y="21937"/>
                </a:moveTo>
                <a:close/>
                <a:moveTo>
                  <a:pt x="19625" y="16031"/>
                </a:moveTo>
                <a:cubicBezTo>
                  <a:pt x="19469" y="16000"/>
                  <a:pt x="19375" y="16094"/>
                  <a:pt x="19282" y="16187"/>
                </a:cubicBezTo>
                <a:cubicBezTo>
                  <a:pt x="19125" y="16219"/>
                  <a:pt x="18969" y="16250"/>
                  <a:pt x="18844" y="16375"/>
                </a:cubicBezTo>
                <a:lnTo>
                  <a:pt x="18844" y="16375"/>
                </a:lnTo>
                <a:cubicBezTo>
                  <a:pt x="18875" y="16375"/>
                  <a:pt x="18875" y="16406"/>
                  <a:pt x="18875" y="16437"/>
                </a:cubicBezTo>
                <a:cubicBezTo>
                  <a:pt x="19032" y="16344"/>
                  <a:pt x="19219" y="16344"/>
                  <a:pt x="19313" y="16219"/>
                </a:cubicBezTo>
                <a:cubicBezTo>
                  <a:pt x="19438" y="16187"/>
                  <a:pt x="19563" y="16125"/>
                  <a:pt x="19625" y="16031"/>
                </a:cubicBezTo>
                <a:close/>
                <a:moveTo>
                  <a:pt x="23938" y="22719"/>
                </a:moveTo>
                <a:cubicBezTo>
                  <a:pt x="23907" y="22687"/>
                  <a:pt x="23875" y="22687"/>
                  <a:pt x="23844" y="22656"/>
                </a:cubicBezTo>
                <a:cubicBezTo>
                  <a:pt x="23782" y="22531"/>
                  <a:pt x="23907" y="22312"/>
                  <a:pt x="23688" y="22187"/>
                </a:cubicBezTo>
                <a:cubicBezTo>
                  <a:pt x="23625" y="22344"/>
                  <a:pt x="23782" y="22469"/>
                  <a:pt x="23750" y="22594"/>
                </a:cubicBezTo>
                <a:cubicBezTo>
                  <a:pt x="23532" y="22594"/>
                  <a:pt x="23563" y="22344"/>
                  <a:pt x="23438" y="22281"/>
                </a:cubicBezTo>
                <a:cubicBezTo>
                  <a:pt x="23438" y="22281"/>
                  <a:pt x="23438" y="22281"/>
                  <a:pt x="23438" y="22281"/>
                </a:cubicBezTo>
                <a:cubicBezTo>
                  <a:pt x="23407" y="22250"/>
                  <a:pt x="23375" y="22187"/>
                  <a:pt x="23344" y="22219"/>
                </a:cubicBezTo>
                <a:cubicBezTo>
                  <a:pt x="23282" y="22250"/>
                  <a:pt x="23313" y="22281"/>
                  <a:pt x="23375" y="22344"/>
                </a:cubicBezTo>
                <a:cubicBezTo>
                  <a:pt x="23375" y="22406"/>
                  <a:pt x="23407" y="22469"/>
                  <a:pt x="23313" y="22469"/>
                </a:cubicBezTo>
                <a:cubicBezTo>
                  <a:pt x="23063" y="22531"/>
                  <a:pt x="23032" y="22719"/>
                  <a:pt x="23094" y="22906"/>
                </a:cubicBezTo>
                <a:cubicBezTo>
                  <a:pt x="23125" y="23094"/>
                  <a:pt x="23063" y="23219"/>
                  <a:pt x="23000" y="23344"/>
                </a:cubicBezTo>
                <a:cubicBezTo>
                  <a:pt x="22813" y="23625"/>
                  <a:pt x="23032" y="23750"/>
                  <a:pt x="23219" y="24000"/>
                </a:cubicBezTo>
                <a:cubicBezTo>
                  <a:pt x="23219" y="23625"/>
                  <a:pt x="23125" y="23281"/>
                  <a:pt x="23500" y="23125"/>
                </a:cubicBezTo>
                <a:cubicBezTo>
                  <a:pt x="23563" y="23125"/>
                  <a:pt x="23563" y="23000"/>
                  <a:pt x="23563" y="22937"/>
                </a:cubicBezTo>
                <a:cubicBezTo>
                  <a:pt x="23532" y="22719"/>
                  <a:pt x="23532" y="22719"/>
                  <a:pt x="23813" y="22719"/>
                </a:cubicBezTo>
                <a:cubicBezTo>
                  <a:pt x="23813" y="22719"/>
                  <a:pt x="23813" y="22719"/>
                  <a:pt x="23813" y="22719"/>
                </a:cubicBezTo>
                <a:cubicBezTo>
                  <a:pt x="23813" y="22750"/>
                  <a:pt x="23813" y="22781"/>
                  <a:pt x="23844" y="22812"/>
                </a:cubicBezTo>
                <a:cubicBezTo>
                  <a:pt x="23938" y="22875"/>
                  <a:pt x="24032" y="22937"/>
                  <a:pt x="24157" y="22875"/>
                </a:cubicBezTo>
                <a:cubicBezTo>
                  <a:pt x="24157" y="22875"/>
                  <a:pt x="24188" y="22844"/>
                  <a:pt x="24188" y="22812"/>
                </a:cubicBezTo>
                <a:cubicBezTo>
                  <a:pt x="24125" y="22687"/>
                  <a:pt x="24000" y="22750"/>
                  <a:pt x="23938" y="22719"/>
                </a:cubicBezTo>
                <a:close/>
                <a:moveTo>
                  <a:pt x="17219" y="25375"/>
                </a:moveTo>
                <a:cubicBezTo>
                  <a:pt x="17188" y="25250"/>
                  <a:pt x="17157" y="25156"/>
                  <a:pt x="17125" y="25062"/>
                </a:cubicBezTo>
                <a:cubicBezTo>
                  <a:pt x="17094" y="25187"/>
                  <a:pt x="17094" y="25281"/>
                  <a:pt x="17219" y="25375"/>
                </a:cubicBezTo>
                <a:close/>
                <a:moveTo>
                  <a:pt x="20875" y="23656"/>
                </a:moveTo>
                <a:cubicBezTo>
                  <a:pt x="20875" y="23687"/>
                  <a:pt x="20907" y="23687"/>
                  <a:pt x="20938" y="23687"/>
                </a:cubicBezTo>
                <a:cubicBezTo>
                  <a:pt x="21032" y="23594"/>
                  <a:pt x="21000" y="23531"/>
                  <a:pt x="20938" y="23406"/>
                </a:cubicBezTo>
                <a:cubicBezTo>
                  <a:pt x="20969" y="23531"/>
                  <a:pt x="20782" y="23562"/>
                  <a:pt x="20875" y="23656"/>
                </a:cubicBezTo>
                <a:close/>
                <a:moveTo>
                  <a:pt x="20657" y="14312"/>
                </a:moveTo>
                <a:cubicBezTo>
                  <a:pt x="20563" y="14312"/>
                  <a:pt x="20438" y="14312"/>
                  <a:pt x="20375" y="14469"/>
                </a:cubicBezTo>
                <a:cubicBezTo>
                  <a:pt x="20532" y="14469"/>
                  <a:pt x="20594" y="14406"/>
                  <a:pt x="20657" y="14312"/>
                </a:cubicBezTo>
                <a:close/>
                <a:moveTo>
                  <a:pt x="10938" y="22812"/>
                </a:moveTo>
                <a:cubicBezTo>
                  <a:pt x="10938" y="22812"/>
                  <a:pt x="10938" y="22812"/>
                  <a:pt x="10938" y="22812"/>
                </a:cubicBezTo>
                <a:cubicBezTo>
                  <a:pt x="10938" y="22812"/>
                  <a:pt x="10938" y="22812"/>
                  <a:pt x="10938" y="22812"/>
                </a:cubicBezTo>
                <a:close/>
                <a:moveTo>
                  <a:pt x="15688" y="18187"/>
                </a:moveTo>
                <a:cubicBezTo>
                  <a:pt x="15688" y="18000"/>
                  <a:pt x="15813" y="17844"/>
                  <a:pt x="15594" y="17781"/>
                </a:cubicBezTo>
                <a:cubicBezTo>
                  <a:pt x="15625" y="17906"/>
                  <a:pt x="15532" y="18031"/>
                  <a:pt x="15688" y="18187"/>
                </a:cubicBezTo>
                <a:close/>
                <a:moveTo>
                  <a:pt x="10750" y="21094"/>
                </a:moveTo>
                <a:cubicBezTo>
                  <a:pt x="10907" y="21031"/>
                  <a:pt x="11094" y="21031"/>
                  <a:pt x="10969" y="20781"/>
                </a:cubicBezTo>
                <a:cubicBezTo>
                  <a:pt x="10875" y="20875"/>
                  <a:pt x="10782" y="20937"/>
                  <a:pt x="10750" y="21094"/>
                </a:cubicBezTo>
                <a:close/>
                <a:moveTo>
                  <a:pt x="15219" y="23750"/>
                </a:moveTo>
                <a:cubicBezTo>
                  <a:pt x="15125" y="23812"/>
                  <a:pt x="15219" y="23844"/>
                  <a:pt x="15250" y="23844"/>
                </a:cubicBezTo>
                <a:cubicBezTo>
                  <a:pt x="15344" y="23937"/>
                  <a:pt x="15313" y="24094"/>
                  <a:pt x="15407" y="24187"/>
                </a:cubicBezTo>
                <a:cubicBezTo>
                  <a:pt x="15407" y="24062"/>
                  <a:pt x="15407" y="23937"/>
                  <a:pt x="15375" y="23812"/>
                </a:cubicBezTo>
                <a:cubicBezTo>
                  <a:pt x="15375" y="23719"/>
                  <a:pt x="15282" y="23719"/>
                  <a:pt x="15219" y="23750"/>
                </a:cubicBezTo>
                <a:close/>
                <a:moveTo>
                  <a:pt x="20063" y="22031"/>
                </a:moveTo>
                <a:cubicBezTo>
                  <a:pt x="19969" y="22031"/>
                  <a:pt x="19907" y="22094"/>
                  <a:pt x="19907" y="22187"/>
                </a:cubicBezTo>
                <a:cubicBezTo>
                  <a:pt x="19907" y="22250"/>
                  <a:pt x="19907" y="22312"/>
                  <a:pt x="19969" y="22312"/>
                </a:cubicBezTo>
                <a:cubicBezTo>
                  <a:pt x="20063" y="22281"/>
                  <a:pt x="20094" y="22187"/>
                  <a:pt x="20125" y="22125"/>
                </a:cubicBezTo>
                <a:cubicBezTo>
                  <a:pt x="20125" y="22062"/>
                  <a:pt x="20094" y="22000"/>
                  <a:pt x="20063" y="22031"/>
                </a:cubicBezTo>
                <a:close/>
                <a:moveTo>
                  <a:pt x="16219" y="18406"/>
                </a:moveTo>
                <a:cubicBezTo>
                  <a:pt x="16219" y="18312"/>
                  <a:pt x="16188" y="18250"/>
                  <a:pt x="16125" y="18219"/>
                </a:cubicBezTo>
                <a:cubicBezTo>
                  <a:pt x="16063" y="18219"/>
                  <a:pt x="16000" y="18250"/>
                  <a:pt x="16000" y="18312"/>
                </a:cubicBezTo>
                <a:cubicBezTo>
                  <a:pt x="15969" y="18406"/>
                  <a:pt x="16032" y="18469"/>
                  <a:pt x="16094" y="18500"/>
                </a:cubicBezTo>
                <a:cubicBezTo>
                  <a:pt x="16157" y="18500"/>
                  <a:pt x="16188" y="18469"/>
                  <a:pt x="16219" y="18406"/>
                </a:cubicBezTo>
                <a:close/>
                <a:moveTo>
                  <a:pt x="30594" y="3562"/>
                </a:moveTo>
                <a:cubicBezTo>
                  <a:pt x="30563" y="3625"/>
                  <a:pt x="30688" y="3656"/>
                  <a:pt x="30750" y="3656"/>
                </a:cubicBezTo>
                <a:cubicBezTo>
                  <a:pt x="30907" y="3656"/>
                  <a:pt x="30844" y="3500"/>
                  <a:pt x="30875" y="3375"/>
                </a:cubicBezTo>
                <a:cubicBezTo>
                  <a:pt x="30750" y="3406"/>
                  <a:pt x="30625" y="3406"/>
                  <a:pt x="30594" y="3562"/>
                </a:cubicBezTo>
                <a:close/>
                <a:moveTo>
                  <a:pt x="844" y="20969"/>
                </a:moveTo>
                <a:cubicBezTo>
                  <a:pt x="844" y="20969"/>
                  <a:pt x="844" y="21000"/>
                  <a:pt x="844" y="21031"/>
                </a:cubicBezTo>
                <a:cubicBezTo>
                  <a:pt x="875" y="21187"/>
                  <a:pt x="1000" y="21062"/>
                  <a:pt x="1063" y="21094"/>
                </a:cubicBezTo>
                <a:cubicBezTo>
                  <a:pt x="1125" y="21125"/>
                  <a:pt x="1188" y="21156"/>
                  <a:pt x="1250" y="21156"/>
                </a:cubicBezTo>
                <a:cubicBezTo>
                  <a:pt x="1250" y="21156"/>
                  <a:pt x="1250" y="21125"/>
                  <a:pt x="1250" y="21125"/>
                </a:cubicBezTo>
                <a:cubicBezTo>
                  <a:pt x="1219" y="21094"/>
                  <a:pt x="1157" y="21062"/>
                  <a:pt x="1094" y="21031"/>
                </a:cubicBezTo>
                <a:cubicBezTo>
                  <a:pt x="1032" y="21000"/>
                  <a:pt x="938" y="20906"/>
                  <a:pt x="844" y="20969"/>
                </a:cubicBezTo>
                <a:close/>
                <a:moveTo>
                  <a:pt x="14282" y="21937"/>
                </a:moveTo>
                <a:cubicBezTo>
                  <a:pt x="14282" y="21937"/>
                  <a:pt x="14282" y="21937"/>
                  <a:pt x="14282" y="21937"/>
                </a:cubicBezTo>
                <a:close/>
                <a:moveTo>
                  <a:pt x="14719" y="18500"/>
                </a:moveTo>
                <a:cubicBezTo>
                  <a:pt x="14875" y="18219"/>
                  <a:pt x="14875" y="18219"/>
                  <a:pt x="14657" y="18062"/>
                </a:cubicBezTo>
                <a:cubicBezTo>
                  <a:pt x="14688" y="18219"/>
                  <a:pt x="14625" y="18344"/>
                  <a:pt x="14719" y="18500"/>
                </a:cubicBezTo>
                <a:close/>
                <a:moveTo>
                  <a:pt x="24000" y="20344"/>
                </a:moveTo>
                <a:cubicBezTo>
                  <a:pt x="24157" y="20344"/>
                  <a:pt x="24313" y="20344"/>
                  <a:pt x="24438" y="20344"/>
                </a:cubicBezTo>
                <a:cubicBezTo>
                  <a:pt x="24469" y="20375"/>
                  <a:pt x="24500" y="20375"/>
                  <a:pt x="24500" y="20344"/>
                </a:cubicBezTo>
                <a:lnTo>
                  <a:pt x="24500" y="20344"/>
                </a:lnTo>
                <a:cubicBezTo>
                  <a:pt x="24500" y="20344"/>
                  <a:pt x="24469" y="20344"/>
                  <a:pt x="24438" y="20344"/>
                </a:cubicBezTo>
                <a:cubicBezTo>
                  <a:pt x="24313" y="20312"/>
                  <a:pt x="24125" y="20094"/>
                  <a:pt x="24000" y="20344"/>
                </a:cubicBezTo>
                <a:close/>
                <a:moveTo>
                  <a:pt x="11188" y="21094"/>
                </a:moveTo>
                <a:cubicBezTo>
                  <a:pt x="11500" y="21094"/>
                  <a:pt x="11657" y="20937"/>
                  <a:pt x="11844" y="20812"/>
                </a:cubicBezTo>
                <a:cubicBezTo>
                  <a:pt x="11625" y="20844"/>
                  <a:pt x="11407" y="20906"/>
                  <a:pt x="11188" y="21094"/>
                </a:cubicBezTo>
                <a:close/>
                <a:moveTo>
                  <a:pt x="20750" y="14125"/>
                </a:moveTo>
                <a:cubicBezTo>
                  <a:pt x="20750" y="14125"/>
                  <a:pt x="20750" y="14125"/>
                  <a:pt x="20750" y="14125"/>
                </a:cubicBezTo>
                <a:close/>
                <a:moveTo>
                  <a:pt x="14375" y="15594"/>
                </a:moveTo>
                <a:cubicBezTo>
                  <a:pt x="14375" y="15406"/>
                  <a:pt x="14625" y="15312"/>
                  <a:pt x="14625" y="15094"/>
                </a:cubicBezTo>
                <a:cubicBezTo>
                  <a:pt x="14282" y="15156"/>
                  <a:pt x="14282" y="15344"/>
                  <a:pt x="14375" y="15594"/>
                </a:cubicBezTo>
                <a:close/>
                <a:moveTo>
                  <a:pt x="24782" y="21125"/>
                </a:moveTo>
                <a:cubicBezTo>
                  <a:pt x="24782" y="21125"/>
                  <a:pt x="24782" y="21125"/>
                  <a:pt x="24782" y="21125"/>
                </a:cubicBezTo>
                <a:cubicBezTo>
                  <a:pt x="24782" y="21125"/>
                  <a:pt x="24782" y="21125"/>
                  <a:pt x="24782" y="21125"/>
                </a:cubicBezTo>
                <a:close/>
                <a:moveTo>
                  <a:pt x="2188" y="20719"/>
                </a:moveTo>
                <a:cubicBezTo>
                  <a:pt x="1969" y="20656"/>
                  <a:pt x="1750" y="20594"/>
                  <a:pt x="1532" y="20531"/>
                </a:cubicBezTo>
                <a:cubicBezTo>
                  <a:pt x="1719" y="20656"/>
                  <a:pt x="1938" y="20719"/>
                  <a:pt x="2188" y="20719"/>
                </a:cubicBezTo>
                <a:close/>
                <a:moveTo>
                  <a:pt x="22282" y="17062"/>
                </a:moveTo>
                <a:cubicBezTo>
                  <a:pt x="22219" y="17094"/>
                  <a:pt x="22219" y="17187"/>
                  <a:pt x="22219" y="17281"/>
                </a:cubicBezTo>
                <a:cubicBezTo>
                  <a:pt x="22219" y="17375"/>
                  <a:pt x="22313" y="17344"/>
                  <a:pt x="22407" y="17344"/>
                </a:cubicBezTo>
                <a:cubicBezTo>
                  <a:pt x="22719" y="17812"/>
                  <a:pt x="22969" y="18406"/>
                  <a:pt x="23719" y="18344"/>
                </a:cubicBezTo>
                <a:cubicBezTo>
                  <a:pt x="23907" y="18562"/>
                  <a:pt x="24125" y="18531"/>
                  <a:pt x="24375" y="18437"/>
                </a:cubicBezTo>
                <a:cubicBezTo>
                  <a:pt x="24344" y="18437"/>
                  <a:pt x="24282" y="18406"/>
                  <a:pt x="24313" y="18375"/>
                </a:cubicBezTo>
                <a:cubicBezTo>
                  <a:pt x="24344" y="18312"/>
                  <a:pt x="24375" y="18344"/>
                  <a:pt x="24438" y="18375"/>
                </a:cubicBezTo>
                <a:cubicBezTo>
                  <a:pt x="24688" y="18500"/>
                  <a:pt x="24688" y="18500"/>
                  <a:pt x="24875" y="18281"/>
                </a:cubicBezTo>
                <a:cubicBezTo>
                  <a:pt x="24500" y="18312"/>
                  <a:pt x="24125" y="18312"/>
                  <a:pt x="23782" y="18219"/>
                </a:cubicBezTo>
                <a:cubicBezTo>
                  <a:pt x="23750" y="18187"/>
                  <a:pt x="23750" y="18156"/>
                  <a:pt x="23750" y="18156"/>
                </a:cubicBezTo>
                <a:cubicBezTo>
                  <a:pt x="23719" y="18125"/>
                  <a:pt x="23719" y="18187"/>
                  <a:pt x="23719" y="18187"/>
                </a:cubicBezTo>
                <a:cubicBezTo>
                  <a:pt x="23219" y="18062"/>
                  <a:pt x="22969" y="17656"/>
                  <a:pt x="22625" y="17312"/>
                </a:cubicBezTo>
                <a:cubicBezTo>
                  <a:pt x="22657" y="17312"/>
                  <a:pt x="22657" y="17312"/>
                  <a:pt x="22688" y="17312"/>
                </a:cubicBezTo>
                <a:cubicBezTo>
                  <a:pt x="22657" y="17312"/>
                  <a:pt x="22657" y="17312"/>
                  <a:pt x="22625" y="17312"/>
                </a:cubicBezTo>
                <a:cubicBezTo>
                  <a:pt x="22594" y="17281"/>
                  <a:pt x="22594" y="17281"/>
                  <a:pt x="22594" y="17281"/>
                </a:cubicBezTo>
                <a:cubicBezTo>
                  <a:pt x="22563" y="17187"/>
                  <a:pt x="22532" y="17125"/>
                  <a:pt x="22469" y="17094"/>
                </a:cubicBezTo>
                <a:cubicBezTo>
                  <a:pt x="22407" y="17062"/>
                  <a:pt x="22344" y="17000"/>
                  <a:pt x="22282" y="17062"/>
                </a:cubicBezTo>
                <a:close/>
                <a:moveTo>
                  <a:pt x="8813" y="22656"/>
                </a:moveTo>
                <a:cubicBezTo>
                  <a:pt x="8719" y="22656"/>
                  <a:pt x="8688" y="22687"/>
                  <a:pt x="8719" y="22750"/>
                </a:cubicBezTo>
                <a:cubicBezTo>
                  <a:pt x="8750" y="22812"/>
                  <a:pt x="8688" y="22969"/>
                  <a:pt x="8844" y="22969"/>
                </a:cubicBezTo>
                <a:cubicBezTo>
                  <a:pt x="8907" y="22969"/>
                  <a:pt x="8969" y="22875"/>
                  <a:pt x="8969" y="22781"/>
                </a:cubicBezTo>
                <a:cubicBezTo>
                  <a:pt x="8969" y="22687"/>
                  <a:pt x="8907" y="22656"/>
                  <a:pt x="8813" y="22656"/>
                </a:cubicBezTo>
                <a:close/>
                <a:moveTo>
                  <a:pt x="15782" y="19156"/>
                </a:moveTo>
                <a:cubicBezTo>
                  <a:pt x="15719" y="19187"/>
                  <a:pt x="15594" y="19156"/>
                  <a:pt x="15594" y="19281"/>
                </a:cubicBezTo>
                <a:cubicBezTo>
                  <a:pt x="15594" y="19437"/>
                  <a:pt x="15719" y="19437"/>
                  <a:pt x="15813" y="19437"/>
                </a:cubicBezTo>
                <a:cubicBezTo>
                  <a:pt x="15938" y="19469"/>
                  <a:pt x="15907" y="19375"/>
                  <a:pt x="15907" y="19312"/>
                </a:cubicBezTo>
                <a:cubicBezTo>
                  <a:pt x="15875" y="19219"/>
                  <a:pt x="15938" y="19094"/>
                  <a:pt x="15782" y="19156"/>
                </a:cubicBezTo>
                <a:close/>
                <a:moveTo>
                  <a:pt x="16063" y="20156"/>
                </a:moveTo>
                <a:cubicBezTo>
                  <a:pt x="16094" y="19844"/>
                  <a:pt x="16188" y="19531"/>
                  <a:pt x="16125" y="19219"/>
                </a:cubicBezTo>
                <a:cubicBezTo>
                  <a:pt x="16000" y="19531"/>
                  <a:pt x="16063" y="19844"/>
                  <a:pt x="16063" y="20156"/>
                </a:cubicBezTo>
                <a:close/>
                <a:moveTo>
                  <a:pt x="3657" y="20219"/>
                </a:moveTo>
                <a:cubicBezTo>
                  <a:pt x="3688" y="20344"/>
                  <a:pt x="3750" y="20281"/>
                  <a:pt x="3813" y="20250"/>
                </a:cubicBezTo>
                <a:cubicBezTo>
                  <a:pt x="3969" y="20219"/>
                  <a:pt x="4125" y="20187"/>
                  <a:pt x="4282" y="20031"/>
                </a:cubicBezTo>
                <a:cubicBezTo>
                  <a:pt x="4094" y="20062"/>
                  <a:pt x="3907" y="20094"/>
                  <a:pt x="3750" y="20125"/>
                </a:cubicBezTo>
                <a:cubicBezTo>
                  <a:pt x="3688" y="20125"/>
                  <a:pt x="3657" y="20156"/>
                  <a:pt x="3657" y="20219"/>
                </a:cubicBezTo>
                <a:close/>
                <a:moveTo>
                  <a:pt x="17063" y="24187"/>
                </a:moveTo>
                <a:cubicBezTo>
                  <a:pt x="17032" y="24156"/>
                  <a:pt x="17032" y="24062"/>
                  <a:pt x="16969" y="24094"/>
                </a:cubicBezTo>
                <a:cubicBezTo>
                  <a:pt x="16875" y="24125"/>
                  <a:pt x="16907" y="24187"/>
                  <a:pt x="16907" y="24250"/>
                </a:cubicBezTo>
                <a:cubicBezTo>
                  <a:pt x="16907" y="24344"/>
                  <a:pt x="16907" y="24437"/>
                  <a:pt x="16875" y="24500"/>
                </a:cubicBezTo>
                <a:cubicBezTo>
                  <a:pt x="16844" y="24625"/>
                  <a:pt x="16907" y="24625"/>
                  <a:pt x="17000" y="24594"/>
                </a:cubicBezTo>
                <a:cubicBezTo>
                  <a:pt x="17094" y="24562"/>
                  <a:pt x="17188" y="24500"/>
                  <a:pt x="17219" y="24406"/>
                </a:cubicBezTo>
                <a:cubicBezTo>
                  <a:pt x="17250" y="24312"/>
                  <a:pt x="17188" y="24187"/>
                  <a:pt x="17063" y="24187"/>
                </a:cubicBezTo>
                <a:close/>
                <a:moveTo>
                  <a:pt x="10750" y="22156"/>
                </a:moveTo>
                <a:cubicBezTo>
                  <a:pt x="10688" y="22031"/>
                  <a:pt x="10657" y="21969"/>
                  <a:pt x="10594" y="21937"/>
                </a:cubicBezTo>
                <a:cubicBezTo>
                  <a:pt x="10500" y="22281"/>
                  <a:pt x="10125" y="22094"/>
                  <a:pt x="9938" y="22281"/>
                </a:cubicBezTo>
                <a:cubicBezTo>
                  <a:pt x="10250" y="22469"/>
                  <a:pt x="10438" y="22125"/>
                  <a:pt x="10750" y="22156"/>
                </a:cubicBezTo>
                <a:close/>
                <a:moveTo>
                  <a:pt x="16344" y="19875"/>
                </a:moveTo>
                <a:cubicBezTo>
                  <a:pt x="16344" y="19844"/>
                  <a:pt x="16313" y="19812"/>
                  <a:pt x="16313" y="19812"/>
                </a:cubicBezTo>
                <a:cubicBezTo>
                  <a:pt x="16313" y="19656"/>
                  <a:pt x="16750" y="19469"/>
                  <a:pt x="16438" y="19281"/>
                </a:cubicBezTo>
                <a:lnTo>
                  <a:pt x="16438" y="19281"/>
                </a:lnTo>
                <a:cubicBezTo>
                  <a:pt x="16250" y="19562"/>
                  <a:pt x="16250" y="19625"/>
                  <a:pt x="16313" y="19812"/>
                </a:cubicBezTo>
                <a:cubicBezTo>
                  <a:pt x="16313" y="19812"/>
                  <a:pt x="16313" y="19844"/>
                  <a:pt x="16344" y="19875"/>
                </a:cubicBezTo>
                <a:close/>
                <a:moveTo>
                  <a:pt x="22657" y="22594"/>
                </a:moveTo>
                <a:cubicBezTo>
                  <a:pt x="22344" y="22500"/>
                  <a:pt x="22594" y="22875"/>
                  <a:pt x="22438" y="22937"/>
                </a:cubicBezTo>
                <a:cubicBezTo>
                  <a:pt x="22625" y="22906"/>
                  <a:pt x="22907" y="23094"/>
                  <a:pt x="22938" y="22750"/>
                </a:cubicBezTo>
                <a:cubicBezTo>
                  <a:pt x="22938" y="22594"/>
                  <a:pt x="22719" y="22594"/>
                  <a:pt x="22657" y="22594"/>
                </a:cubicBezTo>
                <a:close/>
                <a:moveTo>
                  <a:pt x="25719" y="15531"/>
                </a:moveTo>
                <a:cubicBezTo>
                  <a:pt x="25594" y="15500"/>
                  <a:pt x="25438" y="15562"/>
                  <a:pt x="25344" y="15687"/>
                </a:cubicBezTo>
                <a:cubicBezTo>
                  <a:pt x="25313" y="15719"/>
                  <a:pt x="25219" y="15750"/>
                  <a:pt x="25188" y="15844"/>
                </a:cubicBezTo>
                <a:cubicBezTo>
                  <a:pt x="25344" y="15875"/>
                  <a:pt x="25469" y="15656"/>
                  <a:pt x="25625" y="15812"/>
                </a:cubicBezTo>
                <a:cubicBezTo>
                  <a:pt x="25500" y="15906"/>
                  <a:pt x="25407" y="15969"/>
                  <a:pt x="25282" y="16062"/>
                </a:cubicBezTo>
                <a:cubicBezTo>
                  <a:pt x="25407" y="16062"/>
                  <a:pt x="25469" y="16094"/>
                  <a:pt x="25532" y="16062"/>
                </a:cubicBezTo>
                <a:cubicBezTo>
                  <a:pt x="25625" y="16031"/>
                  <a:pt x="25813" y="15906"/>
                  <a:pt x="25782" y="15844"/>
                </a:cubicBezTo>
                <a:cubicBezTo>
                  <a:pt x="25657" y="15750"/>
                  <a:pt x="25907" y="15594"/>
                  <a:pt x="25719" y="15531"/>
                </a:cubicBezTo>
                <a:close/>
                <a:moveTo>
                  <a:pt x="25032" y="20594"/>
                </a:moveTo>
                <a:cubicBezTo>
                  <a:pt x="25000" y="20719"/>
                  <a:pt x="25094" y="20719"/>
                  <a:pt x="25188" y="20781"/>
                </a:cubicBezTo>
                <a:cubicBezTo>
                  <a:pt x="25469" y="20969"/>
                  <a:pt x="25625" y="20781"/>
                  <a:pt x="25875" y="20625"/>
                </a:cubicBezTo>
                <a:cubicBezTo>
                  <a:pt x="25625" y="20594"/>
                  <a:pt x="25438" y="20562"/>
                  <a:pt x="25250" y="20531"/>
                </a:cubicBezTo>
                <a:cubicBezTo>
                  <a:pt x="25157" y="20531"/>
                  <a:pt x="25063" y="20469"/>
                  <a:pt x="25032" y="20594"/>
                </a:cubicBezTo>
                <a:close/>
                <a:moveTo>
                  <a:pt x="19500" y="19812"/>
                </a:moveTo>
                <a:cubicBezTo>
                  <a:pt x="19532" y="19625"/>
                  <a:pt x="19500" y="19562"/>
                  <a:pt x="19407" y="19500"/>
                </a:cubicBezTo>
                <a:cubicBezTo>
                  <a:pt x="19250" y="19375"/>
                  <a:pt x="19094" y="19406"/>
                  <a:pt x="19000" y="19594"/>
                </a:cubicBezTo>
                <a:cubicBezTo>
                  <a:pt x="18907" y="19437"/>
                  <a:pt x="18875" y="19250"/>
                  <a:pt x="18657" y="19469"/>
                </a:cubicBezTo>
                <a:cubicBezTo>
                  <a:pt x="18657" y="19437"/>
                  <a:pt x="18625" y="19437"/>
                  <a:pt x="18625" y="19406"/>
                </a:cubicBezTo>
                <a:cubicBezTo>
                  <a:pt x="18469" y="19250"/>
                  <a:pt x="18594" y="19031"/>
                  <a:pt x="18469" y="18781"/>
                </a:cubicBezTo>
                <a:cubicBezTo>
                  <a:pt x="18469" y="19000"/>
                  <a:pt x="18250" y="18844"/>
                  <a:pt x="18219" y="19031"/>
                </a:cubicBezTo>
                <a:cubicBezTo>
                  <a:pt x="18188" y="19031"/>
                  <a:pt x="18125" y="19156"/>
                  <a:pt x="18125" y="19031"/>
                </a:cubicBezTo>
                <a:cubicBezTo>
                  <a:pt x="18094" y="18812"/>
                  <a:pt x="18000" y="18594"/>
                  <a:pt x="18157" y="18406"/>
                </a:cubicBezTo>
                <a:cubicBezTo>
                  <a:pt x="18000" y="18469"/>
                  <a:pt x="17907" y="18375"/>
                  <a:pt x="17813" y="18250"/>
                </a:cubicBezTo>
                <a:cubicBezTo>
                  <a:pt x="17907" y="18187"/>
                  <a:pt x="18032" y="18187"/>
                  <a:pt x="18063" y="18031"/>
                </a:cubicBezTo>
                <a:cubicBezTo>
                  <a:pt x="17813" y="18219"/>
                  <a:pt x="17469" y="18094"/>
                  <a:pt x="17219" y="18312"/>
                </a:cubicBezTo>
                <a:cubicBezTo>
                  <a:pt x="17219" y="18312"/>
                  <a:pt x="17219" y="18344"/>
                  <a:pt x="17219" y="18375"/>
                </a:cubicBezTo>
                <a:cubicBezTo>
                  <a:pt x="17282" y="18375"/>
                  <a:pt x="17344" y="18375"/>
                  <a:pt x="17500" y="18344"/>
                </a:cubicBezTo>
                <a:cubicBezTo>
                  <a:pt x="17219" y="18531"/>
                  <a:pt x="17438" y="18625"/>
                  <a:pt x="17469" y="18750"/>
                </a:cubicBezTo>
                <a:cubicBezTo>
                  <a:pt x="17532" y="18750"/>
                  <a:pt x="17563" y="18750"/>
                  <a:pt x="17594" y="18719"/>
                </a:cubicBezTo>
                <a:cubicBezTo>
                  <a:pt x="17625" y="18781"/>
                  <a:pt x="17657" y="18812"/>
                  <a:pt x="17688" y="18781"/>
                </a:cubicBezTo>
                <a:cubicBezTo>
                  <a:pt x="17594" y="19062"/>
                  <a:pt x="17719" y="19250"/>
                  <a:pt x="17907" y="19437"/>
                </a:cubicBezTo>
                <a:cubicBezTo>
                  <a:pt x="17969" y="19531"/>
                  <a:pt x="18000" y="19656"/>
                  <a:pt x="18000" y="19781"/>
                </a:cubicBezTo>
                <a:cubicBezTo>
                  <a:pt x="18063" y="19719"/>
                  <a:pt x="18094" y="19625"/>
                  <a:pt x="18125" y="19562"/>
                </a:cubicBezTo>
                <a:cubicBezTo>
                  <a:pt x="18094" y="19625"/>
                  <a:pt x="18063" y="19719"/>
                  <a:pt x="18000" y="19781"/>
                </a:cubicBezTo>
                <a:cubicBezTo>
                  <a:pt x="18000" y="19844"/>
                  <a:pt x="17907" y="19937"/>
                  <a:pt x="18032" y="20062"/>
                </a:cubicBezTo>
                <a:cubicBezTo>
                  <a:pt x="18063" y="19906"/>
                  <a:pt x="18094" y="19781"/>
                  <a:pt x="18250" y="19844"/>
                </a:cubicBezTo>
                <a:cubicBezTo>
                  <a:pt x="18375" y="19937"/>
                  <a:pt x="18657" y="19781"/>
                  <a:pt x="18625" y="20094"/>
                </a:cubicBezTo>
                <a:cubicBezTo>
                  <a:pt x="18594" y="20437"/>
                  <a:pt x="18719" y="20719"/>
                  <a:pt x="18844" y="21031"/>
                </a:cubicBezTo>
                <a:cubicBezTo>
                  <a:pt x="19094" y="20906"/>
                  <a:pt x="19063" y="20750"/>
                  <a:pt x="18844" y="20594"/>
                </a:cubicBezTo>
                <a:cubicBezTo>
                  <a:pt x="18969" y="20594"/>
                  <a:pt x="19000" y="20594"/>
                  <a:pt x="19063" y="20594"/>
                </a:cubicBezTo>
                <a:cubicBezTo>
                  <a:pt x="19250" y="20437"/>
                  <a:pt x="19094" y="20187"/>
                  <a:pt x="19157" y="20000"/>
                </a:cubicBezTo>
                <a:cubicBezTo>
                  <a:pt x="19282" y="19969"/>
                  <a:pt x="19469" y="20031"/>
                  <a:pt x="19500" y="19812"/>
                </a:cubicBezTo>
                <a:close/>
                <a:moveTo>
                  <a:pt x="844" y="19875"/>
                </a:moveTo>
                <a:cubicBezTo>
                  <a:pt x="844" y="19937"/>
                  <a:pt x="907" y="20000"/>
                  <a:pt x="1032" y="19969"/>
                </a:cubicBezTo>
                <a:cubicBezTo>
                  <a:pt x="1094" y="19969"/>
                  <a:pt x="1188" y="20031"/>
                  <a:pt x="1250" y="20094"/>
                </a:cubicBezTo>
                <a:cubicBezTo>
                  <a:pt x="1282" y="20125"/>
                  <a:pt x="1375" y="20187"/>
                  <a:pt x="1375" y="20156"/>
                </a:cubicBezTo>
                <a:cubicBezTo>
                  <a:pt x="1375" y="19906"/>
                  <a:pt x="1657" y="20000"/>
                  <a:pt x="1719" y="19844"/>
                </a:cubicBezTo>
                <a:cubicBezTo>
                  <a:pt x="1500" y="19594"/>
                  <a:pt x="1250" y="19812"/>
                  <a:pt x="1032" y="19719"/>
                </a:cubicBezTo>
                <a:cubicBezTo>
                  <a:pt x="969" y="19687"/>
                  <a:pt x="844" y="19750"/>
                  <a:pt x="844" y="19875"/>
                </a:cubicBezTo>
                <a:close/>
                <a:moveTo>
                  <a:pt x="19688" y="20875"/>
                </a:moveTo>
                <a:cubicBezTo>
                  <a:pt x="19750" y="20687"/>
                  <a:pt x="19750" y="20500"/>
                  <a:pt x="19750" y="20312"/>
                </a:cubicBezTo>
                <a:cubicBezTo>
                  <a:pt x="19719" y="20687"/>
                  <a:pt x="19063" y="20500"/>
                  <a:pt x="19219" y="21094"/>
                </a:cubicBezTo>
                <a:cubicBezTo>
                  <a:pt x="19313" y="20687"/>
                  <a:pt x="19594" y="21156"/>
                  <a:pt x="19688" y="20875"/>
                </a:cubicBezTo>
                <a:close/>
                <a:moveTo>
                  <a:pt x="17094" y="18531"/>
                </a:moveTo>
                <a:cubicBezTo>
                  <a:pt x="17094" y="18375"/>
                  <a:pt x="17094" y="18250"/>
                  <a:pt x="17063" y="18094"/>
                </a:cubicBezTo>
                <a:cubicBezTo>
                  <a:pt x="17032" y="18031"/>
                  <a:pt x="17032" y="17937"/>
                  <a:pt x="16907" y="18000"/>
                </a:cubicBezTo>
                <a:cubicBezTo>
                  <a:pt x="16844" y="18031"/>
                  <a:pt x="16719" y="18000"/>
                  <a:pt x="16782" y="18156"/>
                </a:cubicBezTo>
                <a:cubicBezTo>
                  <a:pt x="16875" y="18281"/>
                  <a:pt x="16750" y="18281"/>
                  <a:pt x="16688" y="18281"/>
                </a:cubicBezTo>
                <a:cubicBezTo>
                  <a:pt x="16782" y="18469"/>
                  <a:pt x="16657" y="18719"/>
                  <a:pt x="16719" y="18906"/>
                </a:cubicBezTo>
                <a:cubicBezTo>
                  <a:pt x="16875" y="18844"/>
                  <a:pt x="16907" y="18750"/>
                  <a:pt x="16875" y="18656"/>
                </a:cubicBezTo>
                <a:cubicBezTo>
                  <a:pt x="16813" y="18312"/>
                  <a:pt x="17000" y="18500"/>
                  <a:pt x="17094" y="18531"/>
                </a:cubicBezTo>
                <a:close/>
                <a:moveTo>
                  <a:pt x="21000" y="22812"/>
                </a:moveTo>
                <a:cubicBezTo>
                  <a:pt x="21000" y="22812"/>
                  <a:pt x="21000" y="22812"/>
                  <a:pt x="21000" y="22812"/>
                </a:cubicBezTo>
                <a:cubicBezTo>
                  <a:pt x="21000" y="22812"/>
                  <a:pt x="21000" y="22812"/>
                  <a:pt x="21000" y="22812"/>
                </a:cubicBezTo>
                <a:lnTo>
                  <a:pt x="21000" y="22812"/>
                </a:lnTo>
                <a:cubicBezTo>
                  <a:pt x="21000" y="22812"/>
                  <a:pt x="21000" y="22812"/>
                  <a:pt x="21000" y="22812"/>
                </a:cubicBezTo>
                <a:cubicBezTo>
                  <a:pt x="21000" y="22812"/>
                  <a:pt x="21000" y="22812"/>
                  <a:pt x="21000" y="22812"/>
                </a:cubicBezTo>
                <a:close/>
                <a:moveTo>
                  <a:pt x="11969" y="21562"/>
                </a:moveTo>
                <a:cubicBezTo>
                  <a:pt x="12000" y="21562"/>
                  <a:pt x="12032" y="21625"/>
                  <a:pt x="12063" y="21594"/>
                </a:cubicBezTo>
                <a:cubicBezTo>
                  <a:pt x="12250" y="21562"/>
                  <a:pt x="12438" y="21594"/>
                  <a:pt x="12594" y="21469"/>
                </a:cubicBezTo>
                <a:cubicBezTo>
                  <a:pt x="12657" y="21375"/>
                  <a:pt x="12563" y="21281"/>
                  <a:pt x="12500" y="21187"/>
                </a:cubicBezTo>
                <a:cubicBezTo>
                  <a:pt x="12438" y="21281"/>
                  <a:pt x="12563" y="21437"/>
                  <a:pt x="12375" y="21406"/>
                </a:cubicBezTo>
                <a:cubicBezTo>
                  <a:pt x="12313" y="21406"/>
                  <a:pt x="12344" y="21406"/>
                  <a:pt x="12344" y="21344"/>
                </a:cubicBezTo>
                <a:cubicBezTo>
                  <a:pt x="12407" y="21125"/>
                  <a:pt x="12282" y="21156"/>
                  <a:pt x="12157" y="21250"/>
                </a:cubicBezTo>
                <a:cubicBezTo>
                  <a:pt x="12094" y="21281"/>
                  <a:pt x="12032" y="21344"/>
                  <a:pt x="11938" y="21344"/>
                </a:cubicBezTo>
                <a:cubicBezTo>
                  <a:pt x="11844" y="21344"/>
                  <a:pt x="11688" y="21250"/>
                  <a:pt x="11688" y="21437"/>
                </a:cubicBezTo>
                <a:cubicBezTo>
                  <a:pt x="11657" y="21625"/>
                  <a:pt x="11844" y="21531"/>
                  <a:pt x="11969" y="21562"/>
                </a:cubicBezTo>
                <a:close/>
                <a:moveTo>
                  <a:pt x="3375" y="18594"/>
                </a:moveTo>
                <a:cubicBezTo>
                  <a:pt x="3375" y="18594"/>
                  <a:pt x="3375" y="18594"/>
                  <a:pt x="3375" y="18594"/>
                </a:cubicBezTo>
                <a:cubicBezTo>
                  <a:pt x="3375" y="18594"/>
                  <a:pt x="3375" y="18594"/>
                  <a:pt x="3375" y="18594"/>
                </a:cubicBezTo>
                <a:close/>
                <a:moveTo>
                  <a:pt x="2188" y="18375"/>
                </a:moveTo>
                <a:cubicBezTo>
                  <a:pt x="2250" y="18219"/>
                  <a:pt x="2375" y="18375"/>
                  <a:pt x="2469" y="18344"/>
                </a:cubicBezTo>
                <a:cubicBezTo>
                  <a:pt x="2469" y="18344"/>
                  <a:pt x="2469" y="18344"/>
                  <a:pt x="2469" y="18344"/>
                </a:cubicBezTo>
                <a:cubicBezTo>
                  <a:pt x="2407" y="18406"/>
                  <a:pt x="2375" y="18469"/>
                  <a:pt x="2282" y="18469"/>
                </a:cubicBezTo>
                <a:cubicBezTo>
                  <a:pt x="2282" y="18469"/>
                  <a:pt x="2282" y="18469"/>
                  <a:pt x="2282" y="18469"/>
                </a:cubicBezTo>
                <a:cubicBezTo>
                  <a:pt x="2250" y="18437"/>
                  <a:pt x="2219" y="18406"/>
                  <a:pt x="2188" y="18375"/>
                </a:cubicBezTo>
                <a:close/>
                <a:moveTo>
                  <a:pt x="2375" y="18562"/>
                </a:moveTo>
                <a:cubicBezTo>
                  <a:pt x="2375" y="18562"/>
                  <a:pt x="2407" y="18562"/>
                  <a:pt x="2407" y="18562"/>
                </a:cubicBezTo>
                <a:cubicBezTo>
                  <a:pt x="2407" y="18562"/>
                  <a:pt x="2375" y="18562"/>
                  <a:pt x="2375" y="18562"/>
                </a:cubicBezTo>
                <a:close/>
                <a:moveTo>
                  <a:pt x="2532" y="18406"/>
                </a:moveTo>
                <a:cubicBezTo>
                  <a:pt x="2500" y="18406"/>
                  <a:pt x="2469" y="18469"/>
                  <a:pt x="2438" y="18500"/>
                </a:cubicBezTo>
                <a:cubicBezTo>
                  <a:pt x="2469" y="18469"/>
                  <a:pt x="2500" y="18406"/>
                  <a:pt x="2532" y="18406"/>
                </a:cubicBezTo>
                <a:cubicBezTo>
                  <a:pt x="2500" y="18375"/>
                  <a:pt x="2500" y="18375"/>
                  <a:pt x="2500" y="18344"/>
                </a:cubicBezTo>
                <a:cubicBezTo>
                  <a:pt x="2500" y="18344"/>
                  <a:pt x="2469" y="18344"/>
                  <a:pt x="2469" y="18344"/>
                </a:cubicBezTo>
                <a:cubicBezTo>
                  <a:pt x="2469" y="18344"/>
                  <a:pt x="2469" y="18344"/>
                  <a:pt x="2469" y="18344"/>
                </a:cubicBezTo>
                <a:cubicBezTo>
                  <a:pt x="2469" y="18344"/>
                  <a:pt x="2469" y="18344"/>
                  <a:pt x="2469" y="18344"/>
                </a:cubicBezTo>
                <a:cubicBezTo>
                  <a:pt x="2469" y="18344"/>
                  <a:pt x="2500" y="18344"/>
                  <a:pt x="2500" y="18344"/>
                </a:cubicBezTo>
                <a:cubicBezTo>
                  <a:pt x="2657" y="18250"/>
                  <a:pt x="2625" y="18375"/>
                  <a:pt x="2625" y="18469"/>
                </a:cubicBezTo>
                <a:cubicBezTo>
                  <a:pt x="2594" y="18437"/>
                  <a:pt x="2563" y="18406"/>
                  <a:pt x="2532" y="18406"/>
                </a:cubicBezTo>
                <a:close/>
                <a:moveTo>
                  <a:pt x="2969" y="16906"/>
                </a:moveTo>
                <a:cubicBezTo>
                  <a:pt x="3000" y="16906"/>
                  <a:pt x="3063" y="16906"/>
                  <a:pt x="3063" y="16969"/>
                </a:cubicBezTo>
                <a:cubicBezTo>
                  <a:pt x="3063" y="17031"/>
                  <a:pt x="3000" y="17031"/>
                  <a:pt x="2938" y="17031"/>
                </a:cubicBezTo>
                <a:cubicBezTo>
                  <a:pt x="2938" y="17000"/>
                  <a:pt x="2907" y="17000"/>
                  <a:pt x="2875" y="16969"/>
                </a:cubicBezTo>
                <a:cubicBezTo>
                  <a:pt x="2875" y="16969"/>
                  <a:pt x="2875" y="16969"/>
                  <a:pt x="2875" y="16969"/>
                </a:cubicBezTo>
                <a:cubicBezTo>
                  <a:pt x="2907" y="16906"/>
                  <a:pt x="2875" y="16875"/>
                  <a:pt x="2969" y="16906"/>
                </a:cubicBezTo>
                <a:close/>
                <a:moveTo>
                  <a:pt x="5250" y="17812"/>
                </a:moveTo>
                <a:cubicBezTo>
                  <a:pt x="5219" y="17906"/>
                  <a:pt x="5188" y="17969"/>
                  <a:pt x="5157" y="18031"/>
                </a:cubicBezTo>
                <a:cubicBezTo>
                  <a:pt x="5094" y="18031"/>
                  <a:pt x="5032" y="18031"/>
                  <a:pt x="4969" y="18031"/>
                </a:cubicBezTo>
                <a:cubicBezTo>
                  <a:pt x="4969" y="18031"/>
                  <a:pt x="4969" y="18031"/>
                  <a:pt x="4969" y="18031"/>
                </a:cubicBezTo>
                <a:cubicBezTo>
                  <a:pt x="5000" y="17875"/>
                  <a:pt x="5094" y="17844"/>
                  <a:pt x="5250" y="17812"/>
                </a:cubicBezTo>
                <a:close/>
                <a:moveTo>
                  <a:pt x="3563" y="16250"/>
                </a:moveTo>
                <a:cubicBezTo>
                  <a:pt x="3563" y="16250"/>
                  <a:pt x="3594" y="16250"/>
                  <a:pt x="3594" y="16250"/>
                </a:cubicBezTo>
                <a:cubicBezTo>
                  <a:pt x="3594" y="16250"/>
                  <a:pt x="3563" y="16250"/>
                  <a:pt x="3563" y="16250"/>
                </a:cubicBezTo>
                <a:close/>
                <a:moveTo>
                  <a:pt x="3625" y="16344"/>
                </a:moveTo>
                <a:cubicBezTo>
                  <a:pt x="3625" y="16312"/>
                  <a:pt x="3625" y="16312"/>
                  <a:pt x="3625" y="16281"/>
                </a:cubicBezTo>
                <a:cubicBezTo>
                  <a:pt x="3625" y="16312"/>
                  <a:pt x="3625" y="16312"/>
                  <a:pt x="3625" y="16344"/>
                </a:cubicBezTo>
                <a:close/>
                <a:moveTo>
                  <a:pt x="4907" y="15187"/>
                </a:moveTo>
                <a:cubicBezTo>
                  <a:pt x="4875" y="15187"/>
                  <a:pt x="4875" y="15156"/>
                  <a:pt x="4875" y="15125"/>
                </a:cubicBezTo>
                <a:cubicBezTo>
                  <a:pt x="4875" y="15156"/>
                  <a:pt x="4875" y="15187"/>
                  <a:pt x="4907" y="15187"/>
                </a:cubicBezTo>
                <a:close/>
                <a:moveTo>
                  <a:pt x="3938" y="17156"/>
                </a:moveTo>
                <a:cubicBezTo>
                  <a:pt x="3907" y="17094"/>
                  <a:pt x="3875" y="17062"/>
                  <a:pt x="3813" y="17062"/>
                </a:cubicBezTo>
                <a:cubicBezTo>
                  <a:pt x="3875" y="17062"/>
                  <a:pt x="3907" y="17094"/>
                  <a:pt x="3938" y="17156"/>
                </a:cubicBezTo>
                <a:cubicBezTo>
                  <a:pt x="3969" y="17156"/>
                  <a:pt x="4000" y="17156"/>
                  <a:pt x="4000" y="17156"/>
                </a:cubicBezTo>
                <a:cubicBezTo>
                  <a:pt x="4000" y="17156"/>
                  <a:pt x="3969" y="17156"/>
                  <a:pt x="3938" y="17156"/>
                </a:cubicBezTo>
                <a:close/>
                <a:moveTo>
                  <a:pt x="4407" y="17187"/>
                </a:moveTo>
                <a:cubicBezTo>
                  <a:pt x="4188" y="17312"/>
                  <a:pt x="4125" y="17250"/>
                  <a:pt x="4063" y="17062"/>
                </a:cubicBezTo>
                <a:cubicBezTo>
                  <a:pt x="4063" y="17062"/>
                  <a:pt x="4063" y="17062"/>
                  <a:pt x="4063" y="17062"/>
                </a:cubicBezTo>
                <a:cubicBezTo>
                  <a:pt x="4063" y="17062"/>
                  <a:pt x="4063" y="17031"/>
                  <a:pt x="4063" y="17031"/>
                </a:cubicBezTo>
                <a:cubicBezTo>
                  <a:pt x="4250" y="16937"/>
                  <a:pt x="4469" y="16937"/>
                  <a:pt x="4688" y="16969"/>
                </a:cubicBezTo>
                <a:cubicBezTo>
                  <a:pt x="4532" y="16937"/>
                  <a:pt x="4500" y="17125"/>
                  <a:pt x="4407" y="17187"/>
                </a:cubicBezTo>
                <a:close/>
                <a:moveTo>
                  <a:pt x="5282" y="18562"/>
                </a:moveTo>
                <a:cubicBezTo>
                  <a:pt x="5250" y="18594"/>
                  <a:pt x="5250" y="18656"/>
                  <a:pt x="5188" y="18656"/>
                </a:cubicBezTo>
                <a:cubicBezTo>
                  <a:pt x="5063" y="18656"/>
                  <a:pt x="5000" y="18562"/>
                  <a:pt x="4938" y="18469"/>
                </a:cubicBezTo>
                <a:cubicBezTo>
                  <a:pt x="5000" y="18375"/>
                  <a:pt x="5063" y="18406"/>
                  <a:pt x="5125" y="18375"/>
                </a:cubicBezTo>
                <a:cubicBezTo>
                  <a:pt x="5219" y="18406"/>
                  <a:pt x="5313" y="18406"/>
                  <a:pt x="5282" y="18562"/>
                </a:cubicBezTo>
                <a:close/>
                <a:moveTo>
                  <a:pt x="5219" y="18312"/>
                </a:moveTo>
                <a:cubicBezTo>
                  <a:pt x="5219" y="18312"/>
                  <a:pt x="5250" y="18281"/>
                  <a:pt x="5250" y="18281"/>
                </a:cubicBezTo>
                <a:cubicBezTo>
                  <a:pt x="5250" y="18281"/>
                  <a:pt x="5219" y="18312"/>
                  <a:pt x="5219" y="18312"/>
                </a:cubicBezTo>
                <a:close/>
                <a:moveTo>
                  <a:pt x="8907" y="20937"/>
                </a:moveTo>
                <a:cubicBezTo>
                  <a:pt x="8938" y="20937"/>
                  <a:pt x="8969" y="20937"/>
                  <a:pt x="9000" y="20937"/>
                </a:cubicBezTo>
                <a:cubicBezTo>
                  <a:pt x="8969" y="20969"/>
                  <a:pt x="8969" y="21000"/>
                  <a:pt x="8938" y="21000"/>
                </a:cubicBezTo>
                <a:cubicBezTo>
                  <a:pt x="8907" y="21031"/>
                  <a:pt x="8875" y="21000"/>
                  <a:pt x="8875" y="20969"/>
                </a:cubicBezTo>
                <a:cubicBezTo>
                  <a:pt x="8875" y="20969"/>
                  <a:pt x="8907" y="20937"/>
                  <a:pt x="8907" y="20937"/>
                </a:cubicBezTo>
                <a:close/>
                <a:moveTo>
                  <a:pt x="8688" y="21094"/>
                </a:moveTo>
                <a:cubicBezTo>
                  <a:pt x="8688" y="21094"/>
                  <a:pt x="8719" y="21094"/>
                  <a:pt x="8719" y="21094"/>
                </a:cubicBezTo>
                <a:cubicBezTo>
                  <a:pt x="8719" y="21094"/>
                  <a:pt x="8688" y="21125"/>
                  <a:pt x="8688" y="21125"/>
                </a:cubicBezTo>
                <a:cubicBezTo>
                  <a:pt x="8688" y="21125"/>
                  <a:pt x="8688" y="21094"/>
                  <a:pt x="8688" y="21094"/>
                </a:cubicBezTo>
                <a:close/>
                <a:moveTo>
                  <a:pt x="9063" y="21125"/>
                </a:moveTo>
                <a:cubicBezTo>
                  <a:pt x="9157" y="21094"/>
                  <a:pt x="9282" y="21031"/>
                  <a:pt x="9282" y="21219"/>
                </a:cubicBezTo>
                <a:cubicBezTo>
                  <a:pt x="9219" y="21281"/>
                  <a:pt x="9157" y="21312"/>
                  <a:pt x="9094" y="21344"/>
                </a:cubicBezTo>
                <a:cubicBezTo>
                  <a:pt x="9094" y="21344"/>
                  <a:pt x="9094" y="21344"/>
                  <a:pt x="9094" y="21344"/>
                </a:cubicBezTo>
                <a:cubicBezTo>
                  <a:pt x="9094" y="21344"/>
                  <a:pt x="9094" y="21344"/>
                  <a:pt x="9094" y="21344"/>
                </a:cubicBezTo>
                <a:cubicBezTo>
                  <a:pt x="8969" y="21375"/>
                  <a:pt x="8875" y="21531"/>
                  <a:pt x="8657" y="21406"/>
                </a:cubicBezTo>
                <a:cubicBezTo>
                  <a:pt x="8813" y="21312"/>
                  <a:pt x="8938" y="21219"/>
                  <a:pt x="9063" y="21125"/>
                </a:cubicBezTo>
                <a:close/>
                <a:moveTo>
                  <a:pt x="16375" y="23469"/>
                </a:moveTo>
                <a:cubicBezTo>
                  <a:pt x="16344" y="23437"/>
                  <a:pt x="16344" y="23406"/>
                  <a:pt x="16344" y="23375"/>
                </a:cubicBezTo>
                <a:cubicBezTo>
                  <a:pt x="16344" y="23375"/>
                  <a:pt x="16375" y="23344"/>
                  <a:pt x="16375" y="23344"/>
                </a:cubicBezTo>
                <a:cubicBezTo>
                  <a:pt x="16375" y="23375"/>
                  <a:pt x="16407" y="23406"/>
                  <a:pt x="16407" y="23437"/>
                </a:cubicBezTo>
                <a:cubicBezTo>
                  <a:pt x="16407" y="23469"/>
                  <a:pt x="16407" y="23469"/>
                  <a:pt x="16375" y="23469"/>
                </a:cubicBezTo>
                <a:close/>
                <a:moveTo>
                  <a:pt x="19594" y="24562"/>
                </a:moveTo>
                <a:cubicBezTo>
                  <a:pt x="19625" y="24562"/>
                  <a:pt x="19657" y="24531"/>
                  <a:pt x="19657" y="24531"/>
                </a:cubicBezTo>
                <a:cubicBezTo>
                  <a:pt x="19657" y="24562"/>
                  <a:pt x="19688" y="24562"/>
                  <a:pt x="19688" y="24594"/>
                </a:cubicBezTo>
                <a:cubicBezTo>
                  <a:pt x="19657" y="24594"/>
                  <a:pt x="19625" y="24625"/>
                  <a:pt x="19594" y="24625"/>
                </a:cubicBezTo>
                <a:cubicBezTo>
                  <a:pt x="19594" y="24594"/>
                  <a:pt x="19594" y="24594"/>
                  <a:pt x="19594" y="24562"/>
                </a:cubicBezTo>
                <a:close/>
                <a:moveTo>
                  <a:pt x="18469" y="23187"/>
                </a:moveTo>
                <a:cubicBezTo>
                  <a:pt x="18500" y="23156"/>
                  <a:pt x="18532" y="23125"/>
                  <a:pt x="18563" y="23187"/>
                </a:cubicBezTo>
                <a:cubicBezTo>
                  <a:pt x="18657" y="23281"/>
                  <a:pt x="18657" y="23375"/>
                  <a:pt x="18563" y="23531"/>
                </a:cubicBezTo>
                <a:cubicBezTo>
                  <a:pt x="18469" y="23406"/>
                  <a:pt x="18407" y="23312"/>
                  <a:pt x="18469" y="23187"/>
                </a:cubicBezTo>
                <a:close/>
                <a:moveTo>
                  <a:pt x="18000" y="22781"/>
                </a:moveTo>
                <a:cubicBezTo>
                  <a:pt x="18063" y="22812"/>
                  <a:pt x="18219" y="22812"/>
                  <a:pt x="18188" y="22969"/>
                </a:cubicBezTo>
                <a:cubicBezTo>
                  <a:pt x="18188" y="23031"/>
                  <a:pt x="18188" y="23125"/>
                  <a:pt x="18094" y="23125"/>
                </a:cubicBezTo>
                <a:cubicBezTo>
                  <a:pt x="17969" y="23094"/>
                  <a:pt x="17875" y="23031"/>
                  <a:pt x="17844" y="22906"/>
                </a:cubicBezTo>
                <a:cubicBezTo>
                  <a:pt x="17844" y="22844"/>
                  <a:pt x="17938" y="22719"/>
                  <a:pt x="18000" y="22781"/>
                </a:cubicBezTo>
                <a:close/>
                <a:moveTo>
                  <a:pt x="17032" y="22781"/>
                </a:moveTo>
                <a:cubicBezTo>
                  <a:pt x="17000" y="22812"/>
                  <a:pt x="16969" y="22875"/>
                  <a:pt x="16969" y="22875"/>
                </a:cubicBezTo>
                <a:cubicBezTo>
                  <a:pt x="16813" y="22812"/>
                  <a:pt x="16782" y="22687"/>
                  <a:pt x="16719" y="22562"/>
                </a:cubicBezTo>
                <a:cubicBezTo>
                  <a:pt x="16719" y="22500"/>
                  <a:pt x="16563" y="22406"/>
                  <a:pt x="16750" y="22375"/>
                </a:cubicBezTo>
                <a:cubicBezTo>
                  <a:pt x="16782" y="22344"/>
                  <a:pt x="16844" y="22312"/>
                  <a:pt x="16844" y="22344"/>
                </a:cubicBezTo>
                <a:cubicBezTo>
                  <a:pt x="16813" y="22531"/>
                  <a:pt x="16969" y="22625"/>
                  <a:pt x="17032" y="22781"/>
                </a:cubicBezTo>
                <a:close/>
                <a:moveTo>
                  <a:pt x="16188" y="21156"/>
                </a:moveTo>
                <a:cubicBezTo>
                  <a:pt x="16250" y="21062"/>
                  <a:pt x="16250" y="21125"/>
                  <a:pt x="16282" y="21187"/>
                </a:cubicBezTo>
                <a:cubicBezTo>
                  <a:pt x="16282" y="21187"/>
                  <a:pt x="16282" y="21219"/>
                  <a:pt x="16282" y="21219"/>
                </a:cubicBezTo>
                <a:cubicBezTo>
                  <a:pt x="16313" y="21344"/>
                  <a:pt x="16188" y="21500"/>
                  <a:pt x="16407" y="21562"/>
                </a:cubicBezTo>
                <a:cubicBezTo>
                  <a:pt x="16375" y="21625"/>
                  <a:pt x="16375" y="21719"/>
                  <a:pt x="16344" y="21812"/>
                </a:cubicBezTo>
                <a:cubicBezTo>
                  <a:pt x="16219" y="21781"/>
                  <a:pt x="16250" y="21625"/>
                  <a:pt x="16157" y="21625"/>
                </a:cubicBezTo>
                <a:cubicBezTo>
                  <a:pt x="16157" y="21469"/>
                  <a:pt x="16125" y="21312"/>
                  <a:pt x="16188" y="21156"/>
                </a:cubicBezTo>
                <a:close/>
                <a:moveTo>
                  <a:pt x="15563" y="20562"/>
                </a:moveTo>
                <a:cubicBezTo>
                  <a:pt x="15594" y="20469"/>
                  <a:pt x="15532" y="20312"/>
                  <a:pt x="15719" y="20312"/>
                </a:cubicBezTo>
                <a:cubicBezTo>
                  <a:pt x="15844" y="20281"/>
                  <a:pt x="15875" y="20437"/>
                  <a:pt x="15938" y="20531"/>
                </a:cubicBezTo>
                <a:cubicBezTo>
                  <a:pt x="15938" y="20531"/>
                  <a:pt x="15969" y="20562"/>
                  <a:pt x="15938" y="20594"/>
                </a:cubicBezTo>
                <a:cubicBezTo>
                  <a:pt x="15938" y="20594"/>
                  <a:pt x="15907" y="20562"/>
                  <a:pt x="15907" y="20562"/>
                </a:cubicBezTo>
                <a:cubicBezTo>
                  <a:pt x="15844" y="20562"/>
                  <a:pt x="15657" y="20437"/>
                  <a:pt x="15688" y="20594"/>
                </a:cubicBezTo>
                <a:cubicBezTo>
                  <a:pt x="15782" y="21031"/>
                  <a:pt x="15594" y="20937"/>
                  <a:pt x="15344" y="20781"/>
                </a:cubicBezTo>
                <a:cubicBezTo>
                  <a:pt x="15344" y="20781"/>
                  <a:pt x="15344" y="20750"/>
                  <a:pt x="15344" y="20750"/>
                </a:cubicBezTo>
                <a:cubicBezTo>
                  <a:pt x="15469" y="20719"/>
                  <a:pt x="15532" y="20656"/>
                  <a:pt x="15563" y="20562"/>
                </a:cubicBezTo>
                <a:close/>
                <a:moveTo>
                  <a:pt x="16188" y="13844"/>
                </a:moveTo>
                <a:cubicBezTo>
                  <a:pt x="16313" y="13750"/>
                  <a:pt x="16407" y="13687"/>
                  <a:pt x="16469" y="13875"/>
                </a:cubicBezTo>
                <a:cubicBezTo>
                  <a:pt x="16407" y="13875"/>
                  <a:pt x="16313" y="13875"/>
                  <a:pt x="16250" y="13906"/>
                </a:cubicBezTo>
                <a:cubicBezTo>
                  <a:pt x="16219" y="13906"/>
                  <a:pt x="16157" y="13969"/>
                  <a:pt x="16125" y="13906"/>
                </a:cubicBezTo>
                <a:cubicBezTo>
                  <a:pt x="16094" y="13875"/>
                  <a:pt x="16188" y="13875"/>
                  <a:pt x="16188" y="13844"/>
                </a:cubicBezTo>
                <a:close/>
                <a:moveTo>
                  <a:pt x="15407" y="13562"/>
                </a:moveTo>
                <a:cubicBezTo>
                  <a:pt x="15219" y="13687"/>
                  <a:pt x="15157" y="13750"/>
                  <a:pt x="15094" y="13750"/>
                </a:cubicBezTo>
                <a:cubicBezTo>
                  <a:pt x="15157" y="13750"/>
                  <a:pt x="15219" y="13687"/>
                  <a:pt x="15407" y="13562"/>
                </a:cubicBezTo>
                <a:cubicBezTo>
                  <a:pt x="15407" y="13562"/>
                  <a:pt x="15407" y="13562"/>
                  <a:pt x="15407" y="13562"/>
                </a:cubicBezTo>
                <a:close/>
                <a:moveTo>
                  <a:pt x="14750" y="14375"/>
                </a:moveTo>
                <a:cubicBezTo>
                  <a:pt x="14750" y="14375"/>
                  <a:pt x="14750" y="14375"/>
                  <a:pt x="14750" y="14375"/>
                </a:cubicBezTo>
                <a:cubicBezTo>
                  <a:pt x="14750" y="14375"/>
                  <a:pt x="14750" y="14375"/>
                  <a:pt x="14750" y="14375"/>
                </a:cubicBezTo>
                <a:close/>
                <a:moveTo>
                  <a:pt x="14907" y="15937"/>
                </a:moveTo>
                <a:cubicBezTo>
                  <a:pt x="14844" y="15937"/>
                  <a:pt x="14813" y="15937"/>
                  <a:pt x="14782" y="15937"/>
                </a:cubicBezTo>
                <a:cubicBezTo>
                  <a:pt x="14750" y="16000"/>
                  <a:pt x="14719" y="15969"/>
                  <a:pt x="14688" y="15937"/>
                </a:cubicBezTo>
                <a:cubicBezTo>
                  <a:pt x="14719" y="15937"/>
                  <a:pt x="14750" y="15937"/>
                  <a:pt x="14782" y="15937"/>
                </a:cubicBezTo>
                <a:cubicBezTo>
                  <a:pt x="14750" y="15844"/>
                  <a:pt x="14875" y="15812"/>
                  <a:pt x="14875" y="15750"/>
                </a:cubicBezTo>
                <a:cubicBezTo>
                  <a:pt x="14969" y="15687"/>
                  <a:pt x="14969" y="15594"/>
                  <a:pt x="15000" y="15531"/>
                </a:cubicBezTo>
                <a:cubicBezTo>
                  <a:pt x="15032" y="15844"/>
                  <a:pt x="15032" y="15844"/>
                  <a:pt x="14907" y="15937"/>
                </a:cubicBezTo>
                <a:close/>
                <a:moveTo>
                  <a:pt x="17313" y="16500"/>
                </a:moveTo>
                <a:cubicBezTo>
                  <a:pt x="17313" y="16469"/>
                  <a:pt x="17313" y="16469"/>
                  <a:pt x="17282" y="16437"/>
                </a:cubicBezTo>
                <a:cubicBezTo>
                  <a:pt x="17313" y="16469"/>
                  <a:pt x="17313" y="16469"/>
                  <a:pt x="17313" y="16500"/>
                </a:cubicBezTo>
                <a:close/>
                <a:moveTo>
                  <a:pt x="17125" y="16125"/>
                </a:moveTo>
                <a:cubicBezTo>
                  <a:pt x="17157" y="16062"/>
                  <a:pt x="17219" y="15906"/>
                  <a:pt x="17344" y="16062"/>
                </a:cubicBezTo>
                <a:cubicBezTo>
                  <a:pt x="17313" y="16125"/>
                  <a:pt x="17188" y="16125"/>
                  <a:pt x="17282" y="16219"/>
                </a:cubicBezTo>
                <a:cubicBezTo>
                  <a:pt x="17282" y="16281"/>
                  <a:pt x="17282" y="16344"/>
                  <a:pt x="17282" y="16375"/>
                </a:cubicBezTo>
                <a:cubicBezTo>
                  <a:pt x="17282" y="16406"/>
                  <a:pt x="17282" y="16406"/>
                  <a:pt x="17282" y="16437"/>
                </a:cubicBezTo>
                <a:cubicBezTo>
                  <a:pt x="17282" y="16406"/>
                  <a:pt x="17282" y="16406"/>
                  <a:pt x="17282" y="16375"/>
                </a:cubicBezTo>
                <a:cubicBezTo>
                  <a:pt x="17250" y="16375"/>
                  <a:pt x="17250" y="16375"/>
                  <a:pt x="17250" y="16375"/>
                </a:cubicBezTo>
                <a:cubicBezTo>
                  <a:pt x="17219" y="16406"/>
                  <a:pt x="17219" y="16406"/>
                  <a:pt x="17219" y="16406"/>
                </a:cubicBezTo>
                <a:cubicBezTo>
                  <a:pt x="17188" y="16500"/>
                  <a:pt x="17188" y="16562"/>
                  <a:pt x="17157" y="16594"/>
                </a:cubicBezTo>
                <a:cubicBezTo>
                  <a:pt x="17188" y="16562"/>
                  <a:pt x="17188" y="16500"/>
                  <a:pt x="17219" y="16406"/>
                </a:cubicBezTo>
                <a:cubicBezTo>
                  <a:pt x="17188" y="16406"/>
                  <a:pt x="17125" y="16406"/>
                  <a:pt x="17094" y="16406"/>
                </a:cubicBezTo>
                <a:cubicBezTo>
                  <a:pt x="16813" y="16406"/>
                  <a:pt x="16813" y="16406"/>
                  <a:pt x="16844" y="16281"/>
                </a:cubicBezTo>
                <a:cubicBezTo>
                  <a:pt x="16844" y="16219"/>
                  <a:pt x="16844" y="16156"/>
                  <a:pt x="16844" y="16094"/>
                </a:cubicBezTo>
                <a:cubicBezTo>
                  <a:pt x="16844" y="16094"/>
                  <a:pt x="16844" y="16094"/>
                  <a:pt x="16844" y="16094"/>
                </a:cubicBezTo>
                <a:cubicBezTo>
                  <a:pt x="16844" y="16156"/>
                  <a:pt x="16844" y="16219"/>
                  <a:pt x="16844" y="16281"/>
                </a:cubicBezTo>
                <a:cubicBezTo>
                  <a:pt x="17000" y="16312"/>
                  <a:pt x="17063" y="16219"/>
                  <a:pt x="17125" y="16125"/>
                </a:cubicBezTo>
                <a:close/>
                <a:moveTo>
                  <a:pt x="16938" y="15906"/>
                </a:moveTo>
                <a:cubicBezTo>
                  <a:pt x="16938" y="15906"/>
                  <a:pt x="16938" y="15906"/>
                  <a:pt x="16938" y="15906"/>
                </a:cubicBezTo>
                <a:cubicBezTo>
                  <a:pt x="16907" y="15906"/>
                  <a:pt x="16907" y="15906"/>
                  <a:pt x="16907" y="15906"/>
                </a:cubicBezTo>
                <a:cubicBezTo>
                  <a:pt x="16907" y="15906"/>
                  <a:pt x="16907" y="15906"/>
                  <a:pt x="16938" y="15906"/>
                </a:cubicBezTo>
                <a:close/>
                <a:moveTo>
                  <a:pt x="16844" y="16062"/>
                </a:moveTo>
                <a:cubicBezTo>
                  <a:pt x="16844" y="16062"/>
                  <a:pt x="16844" y="16062"/>
                  <a:pt x="16844" y="16062"/>
                </a:cubicBezTo>
                <a:cubicBezTo>
                  <a:pt x="16844" y="16062"/>
                  <a:pt x="16813" y="16062"/>
                  <a:pt x="16813" y="16062"/>
                </a:cubicBezTo>
                <a:cubicBezTo>
                  <a:pt x="16813" y="16062"/>
                  <a:pt x="16844" y="16062"/>
                  <a:pt x="16844" y="16062"/>
                </a:cubicBezTo>
                <a:close/>
                <a:moveTo>
                  <a:pt x="16719" y="15187"/>
                </a:moveTo>
                <a:cubicBezTo>
                  <a:pt x="16750" y="15187"/>
                  <a:pt x="16782" y="15187"/>
                  <a:pt x="16782" y="15187"/>
                </a:cubicBezTo>
                <a:cubicBezTo>
                  <a:pt x="16782" y="15187"/>
                  <a:pt x="16750" y="15187"/>
                  <a:pt x="16719" y="15187"/>
                </a:cubicBezTo>
                <a:cubicBezTo>
                  <a:pt x="16719" y="15187"/>
                  <a:pt x="16719" y="15187"/>
                  <a:pt x="16719" y="15187"/>
                </a:cubicBezTo>
                <a:close/>
                <a:moveTo>
                  <a:pt x="16719" y="15187"/>
                </a:moveTo>
                <a:cubicBezTo>
                  <a:pt x="16719" y="15187"/>
                  <a:pt x="16719" y="15187"/>
                  <a:pt x="16719" y="15187"/>
                </a:cubicBezTo>
                <a:cubicBezTo>
                  <a:pt x="16688" y="15219"/>
                  <a:pt x="16657" y="15219"/>
                  <a:pt x="16625" y="15250"/>
                </a:cubicBezTo>
                <a:cubicBezTo>
                  <a:pt x="16657" y="15219"/>
                  <a:pt x="16688" y="15219"/>
                  <a:pt x="16719" y="15187"/>
                </a:cubicBezTo>
                <a:close/>
                <a:moveTo>
                  <a:pt x="16000" y="15125"/>
                </a:moveTo>
                <a:cubicBezTo>
                  <a:pt x="15938" y="15250"/>
                  <a:pt x="15813" y="15250"/>
                  <a:pt x="15719" y="15312"/>
                </a:cubicBezTo>
                <a:cubicBezTo>
                  <a:pt x="15719" y="15125"/>
                  <a:pt x="15813" y="15062"/>
                  <a:pt x="16000" y="15125"/>
                </a:cubicBezTo>
                <a:close/>
                <a:moveTo>
                  <a:pt x="7782" y="19156"/>
                </a:moveTo>
                <a:cubicBezTo>
                  <a:pt x="7782" y="19000"/>
                  <a:pt x="7907" y="19031"/>
                  <a:pt x="8000" y="19031"/>
                </a:cubicBezTo>
                <a:cubicBezTo>
                  <a:pt x="7969" y="19125"/>
                  <a:pt x="7875" y="19187"/>
                  <a:pt x="7782" y="19156"/>
                </a:cubicBezTo>
                <a:close/>
                <a:moveTo>
                  <a:pt x="7969" y="18844"/>
                </a:moveTo>
                <a:cubicBezTo>
                  <a:pt x="7938" y="18844"/>
                  <a:pt x="7938" y="18844"/>
                  <a:pt x="7907" y="18844"/>
                </a:cubicBezTo>
                <a:cubicBezTo>
                  <a:pt x="7907" y="18844"/>
                  <a:pt x="7907" y="18844"/>
                  <a:pt x="7907" y="18844"/>
                </a:cubicBezTo>
                <a:cubicBezTo>
                  <a:pt x="7938" y="18844"/>
                  <a:pt x="7938" y="18844"/>
                  <a:pt x="7969" y="18844"/>
                </a:cubicBezTo>
                <a:close/>
                <a:moveTo>
                  <a:pt x="7969" y="18625"/>
                </a:moveTo>
                <a:cubicBezTo>
                  <a:pt x="7969" y="18625"/>
                  <a:pt x="7969" y="18625"/>
                  <a:pt x="7969" y="18625"/>
                </a:cubicBezTo>
                <a:cubicBezTo>
                  <a:pt x="7907" y="18625"/>
                  <a:pt x="7844" y="18656"/>
                  <a:pt x="7782" y="18656"/>
                </a:cubicBezTo>
                <a:cubicBezTo>
                  <a:pt x="7782" y="18437"/>
                  <a:pt x="7875" y="18531"/>
                  <a:pt x="7969" y="18594"/>
                </a:cubicBezTo>
                <a:cubicBezTo>
                  <a:pt x="7969" y="18594"/>
                  <a:pt x="7969" y="18625"/>
                  <a:pt x="7969" y="18625"/>
                </a:cubicBezTo>
                <a:close/>
                <a:moveTo>
                  <a:pt x="6844" y="18187"/>
                </a:moveTo>
                <a:cubicBezTo>
                  <a:pt x="6750" y="17781"/>
                  <a:pt x="7063" y="17906"/>
                  <a:pt x="7250" y="17844"/>
                </a:cubicBezTo>
                <a:cubicBezTo>
                  <a:pt x="7250" y="17844"/>
                  <a:pt x="7282" y="17844"/>
                  <a:pt x="7282" y="17875"/>
                </a:cubicBezTo>
                <a:cubicBezTo>
                  <a:pt x="7282" y="17844"/>
                  <a:pt x="7250" y="17844"/>
                  <a:pt x="7250" y="17844"/>
                </a:cubicBezTo>
                <a:cubicBezTo>
                  <a:pt x="7125" y="17969"/>
                  <a:pt x="7000" y="18094"/>
                  <a:pt x="6844" y="18187"/>
                </a:cubicBezTo>
                <a:close/>
                <a:moveTo>
                  <a:pt x="6250" y="17437"/>
                </a:moveTo>
                <a:cubicBezTo>
                  <a:pt x="6250" y="17437"/>
                  <a:pt x="6250" y="17437"/>
                  <a:pt x="6250" y="17437"/>
                </a:cubicBezTo>
                <a:cubicBezTo>
                  <a:pt x="6219" y="17437"/>
                  <a:pt x="6219" y="17437"/>
                  <a:pt x="6219" y="17437"/>
                </a:cubicBezTo>
                <a:lnTo>
                  <a:pt x="6250" y="17437"/>
                </a:lnTo>
                <a:close/>
                <a:moveTo>
                  <a:pt x="6407" y="16094"/>
                </a:moveTo>
                <a:cubicBezTo>
                  <a:pt x="6375" y="16156"/>
                  <a:pt x="6313" y="16156"/>
                  <a:pt x="6282" y="16125"/>
                </a:cubicBezTo>
                <a:cubicBezTo>
                  <a:pt x="6250" y="16094"/>
                  <a:pt x="6313" y="16094"/>
                  <a:pt x="6344" y="16062"/>
                </a:cubicBezTo>
                <a:cubicBezTo>
                  <a:pt x="6344" y="16094"/>
                  <a:pt x="6375" y="16094"/>
                  <a:pt x="6407" y="16094"/>
                </a:cubicBezTo>
                <a:close/>
                <a:moveTo>
                  <a:pt x="7282" y="17344"/>
                </a:moveTo>
                <a:cubicBezTo>
                  <a:pt x="7282" y="17344"/>
                  <a:pt x="7282" y="17344"/>
                  <a:pt x="7282" y="17344"/>
                </a:cubicBezTo>
                <a:cubicBezTo>
                  <a:pt x="7282" y="17406"/>
                  <a:pt x="7282" y="17469"/>
                  <a:pt x="7313" y="17531"/>
                </a:cubicBezTo>
                <a:cubicBezTo>
                  <a:pt x="7282" y="17469"/>
                  <a:pt x="7282" y="17406"/>
                  <a:pt x="7282" y="17344"/>
                </a:cubicBezTo>
                <a:close/>
                <a:moveTo>
                  <a:pt x="7344" y="17125"/>
                </a:moveTo>
                <a:cubicBezTo>
                  <a:pt x="7344" y="17125"/>
                  <a:pt x="7344" y="17125"/>
                  <a:pt x="7344" y="17125"/>
                </a:cubicBezTo>
                <a:cubicBezTo>
                  <a:pt x="7344" y="17094"/>
                  <a:pt x="7313" y="17062"/>
                  <a:pt x="7282" y="17031"/>
                </a:cubicBezTo>
                <a:cubicBezTo>
                  <a:pt x="7282" y="17000"/>
                  <a:pt x="7282" y="17000"/>
                  <a:pt x="7282" y="17000"/>
                </a:cubicBezTo>
                <a:cubicBezTo>
                  <a:pt x="7282" y="17000"/>
                  <a:pt x="7282" y="17000"/>
                  <a:pt x="7282" y="17031"/>
                </a:cubicBezTo>
                <a:cubicBezTo>
                  <a:pt x="7282" y="16937"/>
                  <a:pt x="7344" y="16906"/>
                  <a:pt x="7407" y="16906"/>
                </a:cubicBezTo>
                <a:cubicBezTo>
                  <a:pt x="7438" y="16937"/>
                  <a:pt x="7469" y="17000"/>
                  <a:pt x="7469" y="17031"/>
                </a:cubicBezTo>
                <a:cubicBezTo>
                  <a:pt x="7438" y="17062"/>
                  <a:pt x="7407" y="17094"/>
                  <a:pt x="7344" y="17125"/>
                </a:cubicBezTo>
                <a:close/>
                <a:moveTo>
                  <a:pt x="7407" y="16844"/>
                </a:moveTo>
                <a:cubicBezTo>
                  <a:pt x="7438" y="16844"/>
                  <a:pt x="7469" y="16844"/>
                  <a:pt x="7500" y="16844"/>
                </a:cubicBezTo>
                <a:cubicBezTo>
                  <a:pt x="7469" y="16844"/>
                  <a:pt x="7438" y="16844"/>
                  <a:pt x="7407" y="16844"/>
                </a:cubicBezTo>
                <a:close/>
                <a:moveTo>
                  <a:pt x="7563" y="15656"/>
                </a:moveTo>
                <a:cubicBezTo>
                  <a:pt x="7594" y="15687"/>
                  <a:pt x="7625" y="15687"/>
                  <a:pt x="7688" y="15719"/>
                </a:cubicBezTo>
                <a:cubicBezTo>
                  <a:pt x="7625" y="15687"/>
                  <a:pt x="7594" y="15687"/>
                  <a:pt x="7563" y="15656"/>
                </a:cubicBezTo>
                <a:close/>
                <a:moveTo>
                  <a:pt x="7532" y="15625"/>
                </a:moveTo>
                <a:cubicBezTo>
                  <a:pt x="7532" y="15625"/>
                  <a:pt x="7532" y="15625"/>
                  <a:pt x="7532" y="15625"/>
                </a:cubicBezTo>
                <a:cubicBezTo>
                  <a:pt x="7532" y="15625"/>
                  <a:pt x="7500" y="15625"/>
                  <a:pt x="7469" y="15625"/>
                </a:cubicBezTo>
                <a:cubicBezTo>
                  <a:pt x="7469" y="15687"/>
                  <a:pt x="7469" y="15719"/>
                  <a:pt x="7469" y="15750"/>
                </a:cubicBezTo>
                <a:cubicBezTo>
                  <a:pt x="7469" y="15750"/>
                  <a:pt x="7469" y="15750"/>
                  <a:pt x="7469" y="15750"/>
                </a:cubicBezTo>
                <a:cubicBezTo>
                  <a:pt x="7407" y="15719"/>
                  <a:pt x="7344" y="15719"/>
                  <a:pt x="7250" y="15719"/>
                </a:cubicBezTo>
                <a:cubicBezTo>
                  <a:pt x="7188" y="15719"/>
                  <a:pt x="7094" y="15750"/>
                  <a:pt x="7094" y="15656"/>
                </a:cubicBezTo>
                <a:cubicBezTo>
                  <a:pt x="7094" y="15531"/>
                  <a:pt x="7219" y="15594"/>
                  <a:pt x="7282" y="15594"/>
                </a:cubicBezTo>
                <a:cubicBezTo>
                  <a:pt x="7344" y="15656"/>
                  <a:pt x="7407" y="15625"/>
                  <a:pt x="7469" y="15625"/>
                </a:cubicBezTo>
                <a:cubicBezTo>
                  <a:pt x="7500" y="15625"/>
                  <a:pt x="7532" y="15625"/>
                  <a:pt x="7532" y="15625"/>
                </a:cubicBezTo>
                <a:close/>
                <a:moveTo>
                  <a:pt x="7500" y="15781"/>
                </a:moveTo>
                <a:cubicBezTo>
                  <a:pt x="7500" y="15781"/>
                  <a:pt x="7500" y="15750"/>
                  <a:pt x="7469" y="15750"/>
                </a:cubicBezTo>
                <a:cubicBezTo>
                  <a:pt x="7500" y="15750"/>
                  <a:pt x="7500" y="15781"/>
                  <a:pt x="7500" y="15781"/>
                </a:cubicBezTo>
                <a:close/>
                <a:moveTo>
                  <a:pt x="7344" y="17906"/>
                </a:moveTo>
                <a:cubicBezTo>
                  <a:pt x="7344" y="17875"/>
                  <a:pt x="7344" y="17875"/>
                  <a:pt x="7313" y="17875"/>
                </a:cubicBezTo>
                <a:cubicBezTo>
                  <a:pt x="7344" y="17875"/>
                  <a:pt x="7344" y="17875"/>
                  <a:pt x="7344" y="17906"/>
                </a:cubicBezTo>
                <a:close/>
                <a:moveTo>
                  <a:pt x="7407" y="17906"/>
                </a:moveTo>
                <a:cubicBezTo>
                  <a:pt x="7407" y="17906"/>
                  <a:pt x="7438" y="17937"/>
                  <a:pt x="7469" y="17937"/>
                </a:cubicBezTo>
                <a:cubicBezTo>
                  <a:pt x="7438" y="17937"/>
                  <a:pt x="7407" y="17906"/>
                  <a:pt x="7407" y="17906"/>
                </a:cubicBezTo>
                <a:close/>
                <a:moveTo>
                  <a:pt x="7563" y="15844"/>
                </a:moveTo>
                <a:cubicBezTo>
                  <a:pt x="7594" y="15844"/>
                  <a:pt x="7594" y="15844"/>
                  <a:pt x="7625" y="15812"/>
                </a:cubicBezTo>
                <a:cubicBezTo>
                  <a:pt x="7594" y="15844"/>
                  <a:pt x="7594" y="15844"/>
                  <a:pt x="7563" y="15844"/>
                </a:cubicBezTo>
                <a:close/>
                <a:moveTo>
                  <a:pt x="7688" y="15719"/>
                </a:moveTo>
                <a:cubicBezTo>
                  <a:pt x="7719" y="15719"/>
                  <a:pt x="7719" y="15719"/>
                  <a:pt x="7750" y="15750"/>
                </a:cubicBezTo>
                <a:cubicBezTo>
                  <a:pt x="7719" y="15719"/>
                  <a:pt x="7719" y="15719"/>
                  <a:pt x="7688" y="15719"/>
                </a:cubicBezTo>
                <a:close/>
                <a:moveTo>
                  <a:pt x="7532" y="15312"/>
                </a:moveTo>
                <a:cubicBezTo>
                  <a:pt x="7469" y="15406"/>
                  <a:pt x="7375" y="15500"/>
                  <a:pt x="7282" y="15562"/>
                </a:cubicBezTo>
                <a:cubicBezTo>
                  <a:pt x="7282" y="15562"/>
                  <a:pt x="7282" y="15562"/>
                  <a:pt x="7282" y="15562"/>
                </a:cubicBezTo>
                <a:cubicBezTo>
                  <a:pt x="7375" y="15500"/>
                  <a:pt x="7469" y="15406"/>
                  <a:pt x="7532" y="15312"/>
                </a:cubicBezTo>
                <a:cubicBezTo>
                  <a:pt x="7594" y="15281"/>
                  <a:pt x="7625" y="15250"/>
                  <a:pt x="7688" y="15219"/>
                </a:cubicBezTo>
                <a:cubicBezTo>
                  <a:pt x="7625" y="15250"/>
                  <a:pt x="7594" y="15281"/>
                  <a:pt x="7532" y="15312"/>
                </a:cubicBezTo>
                <a:close/>
                <a:moveTo>
                  <a:pt x="6563" y="15375"/>
                </a:moveTo>
                <a:cubicBezTo>
                  <a:pt x="6625" y="15375"/>
                  <a:pt x="6719" y="15375"/>
                  <a:pt x="6750" y="15375"/>
                </a:cubicBezTo>
                <a:cubicBezTo>
                  <a:pt x="6719" y="15375"/>
                  <a:pt x="6625" y="15375"/>
                  <a:pt x="6563" y="15375"/>
                </a:cubicBezTo>
                <a:cubicBezTo>
                  <a:pt x="6563" y="15375"/>
                  <a:pt x="6563" y="15375"/>
                  <a:pt x="6563" y="15375"/>
                </a:cubicBezTo>
                <a:close/>
                <a:moveTo>
                  <a:pt x="7532" y="18656"/>
                </a:moveTo>
                <a:cubicBezTo>
                  <a:pt x="7500" y="18625"/>
                  <a:pt x="7500" y="18594"/>
                  <a:pt x="7500" y="18562"/>
                </a:cubicBezTo>
                <a:cubicBezTo>
                  <a:pt x="7500" y="18562"/>
                  <a:pt x="7500" y="18562"/>
                  <a:pt x="7500" y="18562"/>
                </a:cubicBezTo>
                <a:cubicBezTo>
                  <a:pt x="7532" y="18594"/>
                  <a:pt x="7563" y="18594"/>
                  <a:pt x="7532" y="18656"/>
                </a:cubicBezTo>
                <a:close/>
                <a:moveTo>
                  <a:pt x="8000" y="18406"/>
                </a:moveTo>
                <a:cubicBezTo>
                  <a:pt x="8063" y="18406"/>
                  <a:pt x="8125" y="18375"/>
                  <a:pt x="8157" y="18469"/>
                </a:cubicBezTo>
                <a:cubicBezTo>
                  <a:pt x="8094" y="18469"/>
                  <a:pt x="8032" y="18500"/>
                  <a:pt x="8000" y="18406"/>
                </a:cubicBezTo>
                <a:close/>
                <a:moveTo>
                  <a:pt x="9532" y="16844"/>
                </a:moveTo>
                <a:cubicBezTo>
                  <a:pt x="9532" y="16844"/>
                  <a:pt x="9532" y="16812"/>
                  <a:pt x="9532" y="16812"/>
                </a:cubicBezTo>
                <a:cubicBezTo>
                  <a:pt x="9594" y="16750"/>
                  <a:pt x="9657" y="16781"/>
                  <a:pt x="9688" y="16844"/>
                </a:cubicBezTo>
                <a:cubicBezTo>
                  <a:pt x="9688" y="16844"/>
                  <a:pt x="9688" y="16844"/>
                  <a:pt x="9688" y="16844"/>
                </a:cubicBezTo>
                <a:cubicBezTo>
                  <a:pt x="9625" y="16812"/>
                  <a:pt x="9594" y="16906"/>
                  <a:pt x="9532" y="16844"/>
                </a:cubicBezTo>
                <a:close/>
                <a:moveTo>
                  <a:pt x="8938" y="16875"/>
                </a:moveTo>
                <a:cubicBezTo>
                  <a:pt x="8938" y="16875"/>
                  <a:pt x="8938" y="16844"/>
                  <a:pt x="8938" y="16844"/>
                </a:cubicBezTo>
                <a:cubicBezTo>
                  <a:pt x="8938" y="16844"/>
                  <a:pt x="8938" y="16844"/>
                  <a:pt x="8938" y="16844"/>
                </a:cubicBezTo>
                <a:cubicBezTo>
                  <a:pt x="8938" y="16844"/>
                  <a:pt x="8938" y="16844"/>
                  <a:pt x="8938" y="16844"/>
                </a:cubicBezTo>
                <a:cubicBezTo>
                  <a:pt x="8938" y="16844"/>
                  <a:pt x="8938" y="16875"/>
                  <a:pt x="8938" y="16875"/>
                </a:cubicBezTo>
                <a:close/>
                <a:moveTo>
                  <a:pt x="9532" y="15875"/>
                </a:moveTo>
                <a:cubicBezTo>
                  <a:pt x="9532" y="15875"/>
                  <a:pt x="9500" y="15875"/>
                  <a:pt x="9500" y="15875"/>
                </a:cubicBezTo>
                <a:cubicBezTo>
                  <a:pt x="9500" y="15875"/>
                  <a:pt x="9532" y="15875"/>
                  <a:pt x="9532" y="15875"/>
                </a:cubicBezTo>
                <a:close/>
                <a:moveTo>
                  <a:pt x="10250" y="15937"/>
                </a:moveTo>
                <a:cubicBezTo>
                  <a:pt x="10250" y="15937"/>
                  <a:pt x="10250" y="15937"/>
                  <a:pt x="10250" y="15937"/>
                </a:cubicBezTo>
                <a:cubicBezTo>
                  <a:pt x="10250" y="15969"/>
                  <a:pt x="10250" y="15969"/>
                  <a:pt x="10250" y="15969"/>
                </a:cubicBezTo>
                <a:cubicBezTo>
                  <a:pt x="10250" y="15969"/>
                  <a:pt x="10250" y="15969"/>
                  <a:pt x="10250" y="15937"/>
                </a:cubicBezTo>
                <a:close/>
                <a:moveTo>
                  <a:pt x="10219" y="16156"/>
                </a:moveTo>
                <a:cubicBezTo>
                  <a:pt x="10219" y="16156"/>
                  <a:pt x="10219" y="16125"/>
                  <a:pt x="10219" y="16125"/>
                </a:cubicBezTo>
                <a:cubicBezTo>
                  <a:pt x="10219" y="16125"/>
                  <a:pt x="10219" y="16156"/>
                  <a:pt x="10219" y="16156"/>
                </a:cubicBezTo>
                <a:close/>
                <a:moveTo>
                  <a:pt x="10313" y="15906"/>
                </a:moveTo>
                <a:cubicBezTo>
                  <a:pt x="10313" y="15906"/>
                  <a:pt x="10313" y="15906"/>
                  <a:pt x="10313" y="15906"/>
                </a:cubicBezTo>
                <a:cubicBezTo>
                  <a:pt x="10313" y="15875"/>
                  <a:pt x="10344" y="15875"/>
                  <a:pt x="10375" y="15875"/>
                </a:cubicBezTo>
                <a:cubicBezTo>
                  <a:pt x="10344" y="15875"/>
                  <a:pt x="10313" y="15875"/>
                  <a:pt x="10313" y="15906"/>
                </a:cubicBezTo>
                <a:close/>
                <a:moveTo>
                  <a:pt x="10469" y="15844"/>
                </a:moveTo>
                <a:cubicBezTo>
                  <a:pt x="10438" y="15875"/>
                  <a:pt x="10438" y="15875"/>
                  <a:pt x="10407" y="15875"/>
                </a:cubicBezTo>
                <a:cubicBezTo>
                  <a:pt x="10438" y="15875"/>
                  <a:pt x="10438" y="15875"/>
                  <a:pt x="10469" y="15844"/>
                </a:cubicBezTo>
                <a:close/>
                <a:moveTo>
                  <a:pt x="10407" y="15875"/>
                </a:moveTo>
                <a:cubicBezTo>
                  <a:pt x="10407" y="15875"/>
                  <a:pt x="10375" y="15875"/>
                  <a:pt x="10375" y="15875"/>
                </a:cubicBezTo>
                <a:cubicBezTo>
                  <a:pt x="10375" y="15875"/>
                  <a:pt x="10407" y="15875"/>
                  <a:pt x="10407" y="15875"/>
                </a:cubicBezTo>
                <a:close/>
                <a:moveTo>
                  <a:pt x="10063" y="16250"/>
                </a:moveTo>
                <a:cubicBezTo>
                  <a:pt x="10063" y="16281"/>
                  <a:pt x="10063" y="16281"/>
                  <a:pt x="10032" y="16281"/>
                </a:cubicBezTo>
                <a:cubicBezTo>
                  <a:pt x="10063" y="16281"/>
                  <a:pt x="10063" y="16281"/>
                  <a:pt x="10063" y="16250"/>
                </a:cubicBezTo>
                <a:close/>
                <a:moveTo>
                  <a:pt x="10250" y="16219"/>
                </a:moveTo>
                <a:cubicBezTo>
                  <a:pt x="10250" y="16219"/>
                  <a:pt x="10250" y="16219"/>
                  <a:pt x="10250" y="16219"/>
                </a:cubicBezTo>
                <a:cubicBezTo>
                  <a:pt x="10219" y="16187"/>
                  <a:pt x="10188" y="16187"/>
                  <a:pt x="10157" y="16187"/>
                </a:cubicBezTo>
                <a:cubicBezTo>
                  <a:pt x="10188" y="16187"/>
                  <a:pt x="10219" y="16187"/>
                  <a:pt x="10250" y="16219"/>
                </a:cubicBezTo>
                <a:close/>
                <a:moveTo>
                  <a:pt x="10532" y="15812"/>
                </a:moveTo>
                <a:cubicBezTo>
                  <a:pt x="10563" y="15812"/>
                  <a:pt x="10594" y="15781"/>
                  <a:pt x="10594" y="15781"/>
                </a:cubicBezTo>
                <a:cubicBezTo>
                  <a:pt x="10594" y="15781"/>
                  <a:pt x="10563" y="15812"/>
                  <a:pt x="10532" y="15812"/>
                </a:cubicBezTo>
                <a:close/>
                <a:moveTo>
                  <a:pt x="10469" y="15406"/>
                </a:moveTo>
                <a:cubicBezTo>
                  <a:pt x="10438" y="15406"/>
                  <a:pt x="10438" y="15437"/>
                  <a:pt x="10469" y="15469"/>
                </a:cubicBezTo>
                <a:cubicBezTo>
                  <a:pt x="10438" y="15437"/>
                  <a:pt x="10438" y="15406"/>
                  <a:pt x="10469" y="15406"/>
                </a:cubicBezTo>
                <a:cubicBezTo>
                  <a:pt x="10469" y="15406"/>
                  <a:pt x="10500" y="15406"/>
                  <a:pt x="10500" y="15406"/>
                </a:cubicBezTo>
                <a:cubicBezTo>
                  <a:pt x="10500" y="15406"/>
                  <a:pt x="10469" y="15406"/>
                  <a:pt x="10469" y="15406"/>
                </a:cubicBezTo>
                <a:close/>
                <a:moveTo>
                  <a:pt x="8782" y="17094"/>
                </a:moveTo>
                <a:cubicBezTo>
                  <a:pt x="9063" y="17156"/>
                  <a:pt x="9313" y="17125"/>
                  <a:pt x="9594" y="17031"/>
                </a:cubicBezTo>
                <a:cubicBezTo>
                  <a:pt x="9594" y="17031"/>
                  <a:pt x="9594" y="17031"/>
                  <a:pt x="9594" y="17031"/>
                </a:cubicBezTo>
                <a:cubicBezTo>
                  <a:pt x="9625" y="17125"/>
                  <a:pt x="9469" y="17156"/>
                  <a:pt x="9532" y="17250"/>
                </a:cubicBezTo>
                <a:cubicBezTo>
                  <a:pt x="9469" y="17250"/>
                  <a:pt x="9469" y="17312"/>
                  <a:pt x="9469" y="17344"/>
                </a:cubicBezTo>
                <a:cubicBezTo>
                  <a:pt x="9500" y="17312"/>
                  <a:pt x="9532" y="17281"/>
                  <a:pt x="9532" y="17281"/>
                </a:cubicBezTo>
                <a:cubicBezTo>
                  <a:pt x="9532" y="17281"/>
                  <a:pt x="9532" y="17281"/>
                  <a:pt x="9532" y="17281"/>
                </a:cubicBezTo>
                <a:cubicBezTo>
                  <a:pt x="9532" y="17281"/>
                  <a:pt x="9500" y="17312"/>
                  <a:pt x="9469" y="17344"/>
                </a:cubicBezTo>
                <a:cubicBezTo>
                  <a:pt x="9375" y="17312"/>
                  <a:pt x="9344" y="17344"/>
                  <a:pt x="9282" y="17406"/>
                </a:cubicBezTo>
                <a:cubicBezTo>
                  <a:pt x="9250" y="17531"/>
                  <a:pt x="9157" y="17469"/>
                  <a:pt x="9125" y="17406"/>
                </a:cubicBezTo>
                <a:cubicBezTo>
                  <a:pt x="9063" y="17312"/>
                  <a:pt x="9063" y="17344"/>
                  <a:pt x="8969" y="17312"/>
                </a:cubicBezTo>
                <a:cubicBezTo>
                  <a:pt x="8844" y="17281"/>
                  <a:pt x="8750" y="17219"/>
                  <a:pt x="8594" y="17281"/>
                </a:cubicBezTo>
                <a:cubicBezTo>
                  <a:pt x="8532" y="17094"/>
                  <a:pt x="8750" y="17187"/>
                  <a:pt x="8782" y="17094"/>
                </a:cubicBezTo>
                <a:close/>
                <a:moveTo>
                  <a:pt x="9313" y="18125"/>
                </a:moveTo>
                <a:cubicBezTo>
                  <a:pt x="9313" y="18125"/>
                  <a:pt x="9313" y="18156"/>
                  <a:pt x="9313" y="18156"/>
                </a:cubicBezTo>
                <a:cubicBezTo>
                  <a:pt x="9313" y="18156"/>
                  <a:pt x="9313" y="18156"/>
                  <a:pt x="9313" y="18156"/>
                </a:cubicBezTo>
                <a:cubicBezTo>
                  <a:pt x="9313" y="18156"/>
                  <a:pt x="9313" y="18125"/>
                  <a:pt x="9313" y="18125"/>
                </a:cubicBezTo>
                <a:close/>
                <a:moveTo>
                  <a:pt x="10188" y="17281"/>
                </a:moveTo>
                <a:cubicBezTo>
                  <a:pt x="10188" y="17312"/>
                  <a:pt x="10157" y="17344"/>
                  <a:pt x="10125" y="17344"/>
                </a:cubicBezTo>
                <a:cubicBezTo>
                  <a:pt x="10125" y="17344"/>
                  <a:pt x="10125" y="17344"/>
                  <a:pt x="10125" y="17344"/>
                </a:cubicBezTo>
                <a:cubicBezTo>
                  <a:pt x="10125" y="17375"/>
                  <a:pt x="10125" y="17375"/>
                  <a:pt x="10125" y="17406"/>
                </a:cubicBezTo>
                <a:cubicBezTo>
                  <a:pt x="10063" y="17406"/>
                  <a:pt x="9969" y="17437"/>
                  <a:pt x="9875" y="17469"/>
                </a:cubicBezTo>
                <a:cubicBezTo>
                  <a:pt x="9938" y="17344"/>
                  <a:pt x="10032" y="17312"/>
                  <a:pt x="10125" y="17344"/>
                </a:cubicBezTo>
                <a:lnTo>
                  <a:pt x="10125" y="17344"/>
                </a:lnTo>
                <a:cubicBezTo>
                  <a:pt x="10125" y="17344"/>
                  <a:pt x="10125" y="17344"/>
                  <a:pt x="10125" y="17344"/>
                </a:cubicBezTo>
                <a:cubicBezTo>
                  <a:pt x="10125" y="17281"/>
                  <a:pt x="10157" y="17281"/>
                  <a:pt x="10188" y="17281"/>
                </a:cubicBezTo>
                <a:close/>
                <a:moveTo>
                  <a:pt x="10344" y="17812"/>
                </a:moveTo>
                <a:cubicBezTo>
                  <a:pt x="10344" y="17781"/>
                  <a:pt x="10375" y="17812"/>
                  <a:pt x="10407" y="17812"/>
                </a:cubicBezTo>
                <a:cubicBezTo>
                  <a:pt x="10375" y="17844"/>
                  <a:pt x="10375" y="17875"/>
                  <a:pt x="10344" y="17875"/>
                </a:cubicBezTo>
                <a:cubicBezTo>
                  <a:pt x="10313" y="17875"/>
                  <a:pt x="10313" y="17875"/>
                  <a:pt x="10282" y="17875"/>
                </a:cubicBezTo>
                <a:cubicBezTo>
                  <a:pt x="10313" y="17844"/>
                  <a:pt x="10313" y="17812"/>
                  <a:pt x="10344" y="17812"/>
                </a:cubicBezTo>
                <a:close/>
                <a:moveTo>
                  <a:pt x="11782" y="18625"/>
                </a:moveTo>
                <a:cubicBezTo>
                  <a:pt x="11782" y="18656"/>
                  <a:pt x="11750" y="18656"/>
                  <a:pt x="11750" y="18687"/>
                </a:cubicBezTo>
                <a:cubicBezTo>
                  <a:pt x="11750" y="18656"/>
                  <a:pt x="11782" y="18656"/>
                  <a:pt x="11782" y="18625"/>
                </a:cubicBezTo>
                <a:cubicBezTo>
                  <a:pt x="11782" y="18625"/>
                  <a:pt x="11782" y="18625"/>
                  <a:pt x="11782" y="18625"/>
                </a:cubicBezTo>
                <a:cubicBezTo>
                  <a:pt x="11813" y="18656"/>
                  <a:pt x="11844" y="18687"/>
                  <a:pt x="11844" y="18687"/>
                </a:cubicBezTo>
                <a:cubicBezTo>
                  <a:pt x="11844" y="18687"/>
                  <a:pt x="11813" y="18656"/>
                  <a:pt x="11782" y="18625"/>
                </a:cubicBezTo>
                <a:close/>
                <a:moveTo>
                  <a:pt x="12563" y="11250"/>
                </a:moveTo>
                <a:cubicBezTo>
                  <a:pt x="12532" y="11250"/>
                  <a:pt x="12532" y="11250"/>
                  <a:pt x="12500" y="11250"/>
                </a:cubicBezTo>
                <a:cubicBezTo>
                  <a:pt x="12532" y="11250"/>
                  <a:pt x="12532" y="11250"/>
                  <a:pt x="12563" y="11250"/>
                </a:cubicBezTo>
                <a:close/>
                <a:moveTo>
                  <a:pt x="12500" y="11250"/>
                </a:moveTo>
                <a:cubicBezTo>
                  <a:pt x="12500" y="11219"/>
                  <a:pt x="12500" y="11219"/>
                  <a:pt x="12500" y="11219"/>
                </a:cubicBezTo>
                <a:cubicBezTo>
                  <a:pt x="12500" y="11219"/>
                  <a:pt x="12500" y="11219"/>
                  <a:pt x="12500" y="11250"/>
                </a:cubicBezTo>
                <a:close/>
                <a:moveTo>
                  <a:pt x="13813" y="12469"/>
                </a:moveTo>
                <a:cubicBezTo>
                  <a:pt x="13782" y="12469"/>
                  <a:pt x="13719" y="12500"/>
                  <a:pt x="13688" y="12500"/>
                </a:cubicBezTo>
                <a:cubicBezTo>
                  <a:pt x="13688" y="12531"/>
                  <a:pt x="13657" y="12531"/>
                  <a:pt x="13657" y="12500"/>
                </a:cubicBezTo>
                <a:cubicBezTo>
                  <a:pt x="13657" y="12500"/>
                  <a:pt x="13657" y="12500"/>
                  <a:pt x="13657" y="12500"/>
                </a:cubicBezTo>
                <a:cubicBezTo>
                  <a:pt x="13657" y="12500"/>
                  <a:pt x="13688" y="12500"/>
                  <a:pt x="13688" y="12500"/>
                </a:cubicBezTo>
                <a:cubicBezTo>
                  <a:pt x="13719" y="12500"/>
                  <a:pt x="13782" y="12469"/>
                  <a:pt x="13813" y="12469"/>
                </a:cubicBezTo>
                <a:cubicBezTo>
                  <a:pt x="13875" y="12375"/>
                  <a:pt x="13969" y="12344"/>
                  <a:pt x="14094" y="12312"/>
                </a:cubicBezTo>
                <a:cubicBezTo>
                  <a:pt x="14094" y="12344"/>
                  <a:pt x="14094" y="12406"/>
                  <a:pt x="14063" y="12437"/>
                </a:cubicBezTo>
                <a:cubicBezTo>
                  <a:pt x="14032" y="12500"/>
                  <a:pt x="14188" y="12625"/>
                  <a:pt x="14032" y="12687"/>
                </a:cubicBezTo>
                <a:cubicBezTo>
                  <a:pt x="13875" y="12719"/>
                  <a:pt x="13813" y="12594"/>
                  <a:pt x="13813" y="12469"/>
                </a:cubicBezTo>
                <a:close/>
                <a:moveTo>
                  <a:pt x="14282" y="12250"/>
                </a:moveTo>
                <a:cubicBezTo>
                  <a:pt x="14282" y="12250"/>
                  <a:pt x="14282" y="12281"/>
                  <a:pt x="14282" y="12281"/>
                </a:cubicBezTo>
                <a:cubicBezTo>
                  <a:pt x="14282" y="12281"/>
                  <a:pt x="14282" y="12250"/>
                  <a:pt x="14282" y="12250"/>
                </a:cubicBezTo>
                <a:close/>
                <a:moveTo>
                  <a:pt x="14219" y="10281"/>
                </a:moveTo>
                <a:cubicBezTo>
                  <a:pt x="14219" y="10219"/>
                  <a:pt x="14282" y="10094"/>
                  <a:pt x="14375" y="10250"/>
                </a:cubicBezTo>
                <a:cubicBezTo>
                  <a:pt x="14375" y="10250"/>
                  <a:pt x="14375" y="10250"/>
                  <a:pt x="14375" y="10250"/>
                </a:cubicBezTo>
                <a:cubicBezTo>
                  <a:pt x="14375" y="10281"/>
                  <a:pt x="14375" y="10312"/>
                  <a:pt x="14375" y="10344"/>
                </a:cubicBezTo>
                <a:cubicBezTo>
                  <a:pt x="14375" y="10312"/>
                  <a:pt x="14375" y="10312"/>
                  <a:pt x="14407" y="10281"/>
                </a:cubicBezTo>
                <a:cubicBezTo>
                  <a:pt x="14500" y="10312"/>
                  <a:pt x="14594" y="10344"/>
                  <a:pt x="14594" y="10469"/>
                </a:cubicBezTo>
                <a:cubicBezTo>
                  <a:pt x="14563" y="10562"/>
                  <a:pt x="14532" y="10625"/>
                  <a:pt x="14407" y="10625"/>
                </a:cubicBezTo>
                <a:cubicBezTo>
                  <a:pt x="14375" y="10656"/>
                  <a:pt x="14375" y="10719"/>
                  <a:pt x="14344" y="10719"/>
                </a:cubicBezTo>
                <a:cubicBezTo>
                  <a:pt x="14375" y="10719"/>
                  <a:pt x="14375" y="10656"/>
                  <a:pt x="14407" y="10625"/>
                </a:cubicBezTo>
                <a:cubicBezTo>
                  <a:pt x="14344" y="10625"/>
                  <a:pt x="14282" y="10594"/>
                  <a:pt x="14219" y="10594"/>
                </a:cubicBezTo>
                <a:cubicBezTo>
                  <a:pt x="14219" y="10500"/>
                  <a:pt x="14188" y="10375"/>
                  <a:pt x="14219" y="10281"/>
                </a:cubicBezTo>
                <a:close/>
                <a:moveTo>
                  <a:pt x="12313" y="10844"/>
                </a:moveTo>
                <a:cubicBezTo>
                  <a:pt x="12344" y="10844"/>
                  <a:pt x="12344" y="10812"/>
                  <a:pt x="12375" y="10781"/>
                </a:cubicBezTo>
                <a:cubicBezTo>
                  <a:pt x="12438" y="10906"/>
                  <a:pt x="12344" y="10844"/>
                  <a:pt x="12313" y="10844"/>
                </a:cubicBezTo>
                <a:cubicBezTo>
                  <a:pt x="12313" y="10875"/>
                  <a:pt x="12313" y="10906"/>
                  <a:pt x="12313" y="10937"/>
                </a:cubicBezTo>
                <a:cubicBezTo>
                  <a:pt x="12313" y="10937"/>
                  <a:pt x="12344" y="10969"/>
                  <a:pt x="12344" y="11000"/>
                </a:cubicBezTo>
                <a:cubicBezTo>
                  <a:pt x="12469" y="11000"/>
                  <a:pt x="12438" y="11125"/>
                  <a:pt x="12469" y="11187"/>
                </a:cubicBezTo>
                <a:cubicBezTo>
                  <a:pt x="12469" y="11187"/>
                  <a:pt x="12469" y="11187"/>
                  <a:pt x="12469" y="11187"/>
                </a:cubicBezTo>
                <a:cubicBezTo>
                  <a:pt x="12188" y="11250"/>
                  <a:pt x="12344" y="11062"/>
                  <a:pt x="12344" y="11000"/>
                </a:cubicBezTo>
                <a:cubicBezTo>
                  <a:pt x="12344" y="10969"/>
                  <a:pt x="12313" y="10937"/>
                  <a:pt x="12313" y="10937"/>
                </a:cubicBezTo>
                <a:cubicBezTo>
                  <a:pt x="12282" y="10906"/>
                  <a:pt x="12250" y="10875"/>
                  <a:pt x="12313" y="10844"/>
                </a:cubicBezTo>
                <a:close/>
                <a:moveTo>
                  <a:pt x="11063" y="16250"/>
                </a:moveTo>
                <a:cubicBezTo>
                  <a:pt x="11063" y="16344"/>
                  <a:pt x="11000" y="16469"/>
                  <a:pt x="11157" y="16469"/>
                </a:cubicBezTo>
                <a:cubicBezTo>
                  <a:pt x="11188" y="16469"/>
                  <a:pt x="11188" y="16500"/>
                  <a:pt x="11188" y="16500"/>
                </a:cubicBezTo>
                <a:cubicBezTo>
                  <a:pt x="11188" y="16531"/>
                  <a:pt x="11188" y="16531"/>
                  <a:pt x="11188" y="16562"/>
                </a:cubicBezTo>
                <a:cubicBezTo>
                  <a:pt x="11188" y="16531"/>
                  <a:pt x="11188" y="16531"/>
                  <a:pt x="11188" y="16500"/>
                </a:cubicBezTo>
                <a:cubicBezTo>
                  <a:pt x="11032" y="16594"/>
                  <a:pt x="10782" y="16594"/>
                  <a:pt x="10813" y="16844"/>
                </a:cubicBezTo>
                <a:cubicBezTo>
                  <a:pt x="10813" y="16906"/>
                  <a:pt x="10782" y="16937"/>
                  <a:pt x="10750" y="16969"/>
                </a:cubicBezTo>
                <a:cubicBezTo>
                  <a:pt x="10750" y="16969"/>
                  <a:pt x="10750" y="16969"/>
                  <a:pt x="10750" y="16969"/>
                </a:cubicBezTo>
                <a:cubicBezTo>
                  <a:pt x="10657" y="16719"/>
                  <a:pt x="10532" y="16844"/>
                  <a:pt x="10344" y="16906"/>
                </a:cubicBezTo>
                <a:cubicBezTo>
                  <a:pt x="10125" y="16937"/>
                  <a:pt x="10063" y="17062"/>
                  <a:pt x="10000" y="17219"/>
                </a:cubicBezTo>
                <a:cubicBezTo>
                  <a:pt x="10000" y="17219"/>
                  <a:pt x="10000" y="17219"/>
                  <a:pt x="10000" y="17219"/>
                </a:cubicBezTo>
                <a:cubicBezTo>
                  <a:pt x="9969" y="17187"/>
                  <a:pt x="9969" y="17156"/>
                  <a:pt x="9938" y="17156"/>
                </a:cubicBezTo>
                <a:cubicBezTo>
                  <a:pt x="9938" y="17156"/>
                  <a:pt x="9938" y="17156"/>
                  <a:pt x="9907" y="17187"/>
                </a:cubicBezTo>
                <a:cubicBezTo>
                  <a:pt x="9938" y="17187"/>
                  <a:pt x="9969" y="17219"/>
                  <a:pt x="9969" y="17219"/>
                </a:cubicBezTo>
                <a:cubicBezTo>
                  <a:pt x="9969" y="17219"/>
                  <a:pt x="10000" y="17219"/>
                  <a:pt x="10000" y="17219"/>
                </a:cubicBezTo>
                <a:cubicBezTo>
                  <a:pt x="9969" y="17219"/>
                  <a:pt x="9969" y="17219"/>
                  <a:pt x="9969" y="17219"/>
                </a:cubicBezTo>
                <a:cubicBezTo>
                  <a:pt x="9844" y="17125"/>
                  <a:pt x="9782" y="17437"/>
                  <a:pt x="9625" y="17281"/>
                </a:cubicBezTo>
                <a:cubicBezTo>
                  <a:pt x="9750" y="17094"/>
                  <a:pt x="9969" y="17000"/>
                  <a:pt x="10125" y="16844"/>
                </a:cubicBezTo>
                <a:cubicBezTo>
                  <a:pt x="10407" y="16781"/>
                  <a:pt x="10563" y="16531"/>
                  <a:pt x="10875" y="16469"/>
                </a:cubicBezTo>
                <a:cubicBezTo>
                  <a:pt x="11063" y="16437"/>
                  <a:pt x="10844" y="16219"/>
                  <a:pt x="10875" y="16062"/>
                </a:cubicBezTo>
                <a:cubicBezTo>
                  <a:pt x="11094" y="15937"/>
                  <a:pt x="11000" y="16187"/>
                  <a:pt x="11063" y="16250"/>
                </a:cubicBezTo>
                <a:close/>
                <a:moveTo>
                  <a:pt x="5688" y="17875"/>
                </a:moveTo>
                <a:cubicBezTo>
                  <a:pt x="5719" y="17875"/>
                  <a:pt x="5719" y="17844"/>
                  <a:pt x="5719" y="17844"/>
                </a:cubicBezTo>
                <a:cubicBezTo>
                  <a:pt x="5719" y="17844"/>
                  <a:pt x="5719" y="17875"/>
                  <a:pt x="5688" y="17875"/>
                </a:cubicBezTo>
                <a:close/>
                <a:moveTo>
                  <a:pt x="5719" y="17781"/>
                </a:moveTo>
                <a:cubicBezTo>
                  <a:pt x="5719" y="17781"/>
                  <a:pt x="5719" y="17781"/>
                  <a:pt x="5719" y="17781"/>
                </a:cubicBezTo>
                <a:cubicBezTo>
                  <a:pt x="5657" y="17844"/>
                  <a:pt x="5594" y="17875"/>
                  <a:pt x="5500" y="17844"/>
                </a:cubicBezTo>
                <a:cubicBezTo>
                  <a:pt x="5500" y="17781"/>
                  <a:pt x="5469" y="17750"/>
                  <a:pt x="5438" y="17656"/>
                </a:cubicBezTo>
                <a:cubicBezTo>
                  <a:pt x="5469" y="17750"/>
                  <a:pt x="5500" y="17781"/>
                  <a:pt x="5500" y="17844"/>
                </a:cubicBezTo>
                <a:cubicBezTo>
                  <a:pt x="5500" y="17812"/>
                  <a:pt x="5532" y="17781"/>
                  <a:pt x="5532" y="17750"/>
                </a:cubicBezTo>
                <a:cubicBezTo>
                  <a:pt x="5594" y="17719"/>
                  <a:pt x="5657" y="17656"/>
                  <a:pt x="5719" y="17781"/>
                </a:cubicBezTo>
                <a:cubicBezTo>
                  <a:pt x="5719" y="17781"/>
                  <a:pt x="5719" y="17781"/>
                  <a:pt x="5719" y="17781"/>
                </a:cubicBezTo>
                <a:close/>
                <a:moveTo>
                  <a:pt x="5969" y="17969"/>
                </a:moveTo>
                <a:cubicBezTo>
                  <a:pt x="5875" y="17969"/>
                  <a:pt x="5813" y="17906"/>
                  <a:pt x="5782" y="17844"/>
                </a:cubicBezTo>
                <a:cubicBezTo>
                  <a:pt x="5844" y="17781"/>
                  <a:pt x="5938" y="17844"/>
                  <a:pt x="6032" y="17812"/>
                </a:cubicBezTo>
                <a:cubicBezTo>
                  <a:pt x="6000" y="17844"/>
                  <a:pt x="6063" y="17937"/>
                  <a:pt x="5969" y="17969"/>
                </a:cubicBezTo>
                <a:close/>
                <a:moveTo>
                  <a:pt x="6500" y="17687"/>
                </a:moveTo>
                <a:cubicBezTo>
                  <a:pt x="6375" y="17906"/>
                  <a:pt x="6219" y="17875"/>
                  <a:pt x="6094" y="17719"/>
                </a:cubicBezTo>
                <a:cubicBezTo>
                  <a:pt x="5969" y="17562"/>
                  <a:pt x="5750" y="17625"/>
                  <a:pt x="5688" y="17469"/>
                </a:cubicBezTo>
                <a:cubicBezTo>
                  <a:pt x="5688" y="17469"/>
                  <a:pt x="5688" y="17469"/>
                  <a:pt x="5688" y="17469"/>
                </a:cubicBezTo>
                <a:cubicBezTo>
                  <a:pt x="6000" y="17281"/>
                  <a:pt x="6219" y="17531"/>
                  <a:pt x="6438" y="17625"/>
                </a:cubicBezTo>
                <a:cubicBezTo>
                  <a:pt x="6469" y="17594"/>
                  <a:pt x="6469" y="17594"/>
                  <a:pt x="6469" y="17562"/>
                </a:cubicBezTo>
                <a:cubicBezTo>
                  <a:pt x="6500" y="17219"/>
                  <a:pt x="6532" y="17187"/>
                  <a:pt x="6938" y="17375"/>
                </a:cubicBezTo>
                <a:cubicBezTo>
                  <a:pt x="6844" y="17531"/>
                  <a:pt x="6657" y="17594"/>
                  <a:pt x="6500" y="17687"/>
                </a:cubicBezTo>
                <a:close/>
                <a:moveTo>
                  <a:pt x="6938" y="19719"/>
                </a:moveTo>
                <a:cubicBezTo>
                  <a:pt x="6907" y="19719"/>
                  <a:pt x="6907" y="19719"/>
                  <a:pt x="6907" y="19719"/>
                </a:cubicBezTo>
                <a:cubicBezTo>
                  <a:pt x="6875" y="19687"/>
                  <a:pt x="6875" y="19687"/>
                  <a:pt x="6907" y="19687"/>
                </a:cubicBezTo>
                <a:cubicBezTo>
                  <a:pt x="6907" y="19687"/>
                  <a:pt x="6907" y="19687"/>
                  <a:pt x="6938" y="19687"/>
                </a:cubicBezTo>
                <a:cubicBezTo>
                  <a:pt x="6938" y="19687"/>
                  <a:pt x="6938" y="19719"/>
                  <a:pt x="6938" y="19719"/>
                </a:cubicBezTo>
                <a:close/>
                <a:moveTo>
                  <a:pt x="6969" y="19219"/>
                </a:moveTo>
                <a:cubicBezTo>
                  <a:pt x="6938" y="19375"/>
                  <a:pt x="6782" y="19375"/>
                  <a:pt x="6719" y="19469"/>
                </a:cubicBezTo>
                <a:cubicBezTo>
                  <a:pt x="6657" y="19500"/>
                  <a:pt x="6563" y="19562"/>
                  <a:pt x="6532" y="19437"/>
                </a:cubicBezTo>
                <a:cubicBezTo>
                  <a:pt x="6532" y="19375"/>
                  <a:pt x="6532" y="19219"/>
                  <a:pt x="6594" y="19219"/>
                </a:cubicBezTo>
                <a:cubicBezTo>
                  <a:pt x="6719" y="19250"/>
                  <a:pt x="6844" y="19125"/>
                  <a:pt x="6969" y="19219"/>
                </a:cubicBezTo>
                <a:cubicBezTo>
                  <a:pt x="7063" y="19125"/>
                  <a:pt x="6907" y="19062"/>
                  <a:pt x="6907" y="18969"/>
                </a:cubicBezTo>
                <a:cubicBezTo>
                  <a:pt x="7094" y="18875"/>
                  <a:pt x="7250" y="18750"/>
                  <a:pt x="7469" y="18844"/>
                </a:cubicBezTo>
                <a:cubicBezTo>
                  <a:pt x="7500" y="18844"/>
                  <a:pt x="7563" y="18812"/>
                  <a:pt x="7563" y="18719"/>
                </a:cubicBezTo>
                <a:cubicBezTo>
                  <a:pt x="7563" y="18719"/>
                  <a:pt x="7563" y="18719"/>
                  <a:pt x="7563" y="18719"/>
                </a:cubicBezTo>
                <a:cubicBezTo>
                  <a:pt x="7594" y="18625"/>
                  <a:pt x="7719" y="18750"/>
                  <a:pt x="7782" y="18687"/>
                </a:cubicBezTo>
                <a:cubicBezTo>
                  <a:pt x="7719" y="18812"/>
                  <a:pt x="7813" y="18844"/>
                  <a:pt x="7907" y="18844"/>
                </a:cubicBezTo>
                <a:cubicBezTo>
                  <a:pt x="7875" y="19062"/>
                  <a:pt x="7750" y="18875"/>
                  <a:pt x="7657" y="18906"/>
                </a:cubicBezTo>
                <a:cubicBezTo>
                  <a:pt x="7594" y="18875"/>
                  <a:pt x="7532" y="18875"/>
                  <a:pt x="7500" y="18937"/>
                </a:cubicBezTo>
                <a:cubicBezTo>
                  <a:pt x="7500" y="18969"/>
                  <a:pt x="7532" y="19000"/>
                  <a:pt x="7594" y="18969"/>
                </a:cubicBezTo>
                <a:cubicBezTo>
                  <a:pt x="7594" y="19000"/>
                  <a:pt x="7563" y="19062"/>
                  <a:pt x="7563" y="19094"/>
                </a:cubicBezTo>
                <a:cubicBezTo>
                  <a:pt x="7563" y="19094"/>
                  <a:pt x="7532" y="19094"/>
                  <a:pt x="7532" y="19094"/>
                </a:cubicBezTo>
                <a:cubicBezTo>
                  <a:pt x="7532" y="19125"/>
                  <a:pt x="7532" y="19125"/>
                  <a:pt x="7500" y="19125"/>
                </a:cubicBezTo>
                <a:cubicBezTo>
                  <a:pt x="7532" y="19125"/>
                  <a:pt x="7532" y="19125"/>
                  <a:pt x="7532" y="19094"/>
                </a:cubicBezTo>
                <a:cubicBezTo>
                  <a:pt x="7500" y="19094"/>
                  <a:pt x="7438" y="19094"/>
                  <a:pt x="7375" y="19094"/>
                </a:cubicBezTo>
                <a:cubicBezTo>
                  <a:pt x="7219" y="19031"/>
                  <a:pt x="7157" y="19312"/>
                  <a:pt x="6969" y="19219"/>
                </a:cubicBezTo>
                <a:close/>
                <a:moveTo>
                  <a:pt x="7375" y="20750"/>
                </a:moveTo>
                <a:cubicBezTo>
                  <a:pt x="7313" y="20625"/>
                  <a:pt x="7063" y="20656"/>
                  <a:pt x="7094" y="20406"/>
                </a:cubicBezTo>
                <a:cubicBezTo>
                  <a:pt x="7250" y="20406"/>
                  <a:pt x="7375" y="20437"/>
                  <a:pt x="7500" y="20531"/>
                </a:cubicBezTo>
                <a:cubicBezTo>
                  <a:pt x="7500" y="20531"/>
                  <a:pt x="7500" y="20531"/>
                  <a:pt x="7500" y="20531"/>
                </a:cubicBezTo>
                <a:cubicBezTo>
                  <a:pt x="7500" y="20625"/>
                  <a:pt x="7469" y="20719"/>
                  <a:pt x="7375" y="20750"/>
                </a:cubicBezTo>
                <a:close/>
                <a:moveTo>
                  <a:pt x="8157" y="20937"/>
                </a:moveTo>
                <a:cubicBezTo>
                  <a:pt x="8000" y="21125"/>
                  <a:pt x="7782" y="21000"/>
                  <a:pt x="7563" y="21125"/>
                </a:cubicBezTo>
                <a:cubicBezTo>
                  <a:pt x="7750" y="20750"/>
                  <a:pt x="7938" y="20875"/>
                  <a:pt x="8157" y="20937"/>
                </a:cubicBezTo>
                <a:close/>
                <a:moveTo>
                  <a:pt x="7657" y="20531"/>
                </a:moveTo>
                <a:cubicBezTo>
                  <a:pt x="7657" y="20531"/>
                  <a:pt x="7657" y="20531"/>
                  <a:pt x="7657" y="20531"/>
                </a:cubicBezTo>
                <a:cubicBezTo>
                  <a:pt x="7625" y="20531"/>
                  <a:pt x="7625" y="20531"/>
                  <a:pt x="7594" y="20531"/>
                </a:cubicBezTo>
                <a:cubicBezTo>
                  <a:pt x="7625" y="20531"/>
                  <a:pt x="7625" y="20531"/>
                  <a:pt x="7657" y="20531"/>
                </a:cubicBezTo>
                <a:close/>
                <a:moveTo>
                  <a:pt x="7813" y="20031"/>
                </a:moveTo>
                <a:cubicBezTo>
                  <a:pt x="7782" y="20031"/>
                  <a:pt x="7782" y="20031"/>
                  <a:pt x="7750" y="20031"/>
                </a:cubicBezTo>
                <a:cubicBezTo>
                  <a:pt x="7782" y="20031"/>
                  <a:pt x="7782" y="20031"/>
                  <a:pt x="7813" y="20031"/>
                </a:cubicBezTo>
                <a:close/>
                <a:moveTo>
                  <a:pt x="7844" y="20031"/>
                </a:moveTo>
                <a:cubicBezTo>
                  <a:pt x="7844" y="20031"/>
                  <a:pt x="7844" y="20031"/>
                  <a:pt x="7844" y="20031"/>
                </a:cubicBezTo>
                <a:cubicBezTo>
                  <a:pt x="8000" y="20094"/>
                  <a:pt x="8188" y="19937"/>
                  <a:pt x="8219" y="20219"/>
                </a:cubicBezTo>
                <a:cubicBezTo>
                  <a:pt x="8094" y="20187"/>
                  <a:pt x="7938" y="20219"/>
                  <a:pt x="7844" y="20031"/>
                </a:cubicBezTo>
                <a:close/>
                <a:moveTo>
                  <a:pt x="8438" y="18906"/>
                </a:moveTo>
                <a:cubicBezTo>
                  <a:pt x="8594" y="18781"/>
                  <a:pt x="8719" y="18656"/>
                  <a:pt x="8500" y="18469"/>
                </a:cubicBezTo>
                <a:cubicBezTo>
                  <a:pt x="8438" y="18469"/>
                  <a:pt x="8375" y="18469"/>
                  <a:pt x="8375" y="18406"/>
                </a:cubicBezTo>
                <a:cubicBezTo>
                  <a:pt x="8375" y="18469"/>
                  <a:pt x="8438" y="18469"/>
                  <a:pt x="8500" y="18469"/>
                </a:cubicBezTo>
                <a:cubicBezTo>
                  <a:pt x="8500" y="18437"/>
                  <a:pt x="8563" y="18375"/>
                  <a:pt x="8500" y="18344"/>
                </a:cubicBezTo>
                <a:cubicBezTo>
                  <a:pt x="8750" y="18375"/>
                  <a:pt x="8844" y="18250"/>
                  <a:pt x="8938" y="18031"/>
                </a:cubicBezTo>
                <a:cubicBezTo>
                  <a:pt x="8625" y="17937"/>
                  <a:pt x="8657" y="18281"/>
                  <a:pt x="8469" y="18344"/>
                </a:cubicBezTo>
                <a:cubicBezTo>
                  <a:pt x="8469" y="18344"/>
                  <a:pt x="8469" y="18344"/>
                  <a:pt x="8469" y="18344"/>
                </a:cubicBezTo>
                <a:cubicBezTo>
                  <a:pt x="8438" y="18344"/>
                  <a:pt x="8407" y="18344"/>
                  <a:pt x="8344" y="18344"/>
                </a:cubicBezTo>
                <a:cubicBezTo>
                  <a:pt x="8375" y="18312"/>
                  <a:pt x="8407" y="18250"/>
                  <a:pt x="8438" y="18219"/>
                </a:cubicBezTo>
                <a:cubicBezTo>
                  <a:pt x="8438" y="18219"/>
                  <a:pt x="8438" y="18219"/>
                  <a:pt x="8438" y="18219"/>
                </a:cubicBezTo>
                <a:cubicBezTo>
                  <a:pt x="8500" y="18062"/>
                  <a:pt x="8282" y="17937"/>
                  <a:pt x="8375" y="17781"/>
                </a:cubicBezTo>
                <a:cubicBezTo>
                  <a:pt x="8500" y="17812"/>
                  <a:pt x="8625" y="17844"/>
                  <a:pt x="8688" y="17656"/>
                </a:cubicBezTo>
                <a:cubicBezTo>
                  <a:pt x="8750" y="17500"/>
                  <a:pt x="8907" y="17562"/>
                  <a:pt x="9032" y="17531"/>
                </a:cubicBezTo>
                <a:cubicBezTo>
                  <a:pt x="8969" y="17687"/>
                  <a:pt x="8875" y="17844"/>
                  <a:pt x="8938" y="18031"/>
                </a:cubicBezTo>
                <a:cubicBezTo>
                  <a:pt x="9000" y="18000"/>
                  <a:pt x="9094" y="17969"/>
                  <a:pt x="9188" y="17937"/>
                </a:cubicBezTo>
                <a:cubicBezTo>
                  <a:pt x="9032" y="18125"/>
                  <a:pt x="9094" y="18187"/>
                  <a:pt x="9313" y="18156"/>
                </a:cubicBezTo>
                <a:cubicBezTo>
                  <a:pt x="9282" y="18219"/>
                  <a:pt x="9282" y="18281"/>
                  <a:pt x="9282" y="18344"/>
                </a:cubicBezTo>
                <a:cubicBezTo>
                  <a:pt x="9125" y="18406"/>
                  <a:pt x="8969" y="18437"/>
                  <a:pt x="8844" y="18594"/>
                </a:cubicBezTo>
                <a:cubicBezTo>
                  <a:pt x="8750" y="18719"/>
                  <a:pt x="8844" y="18719"/>
                  <a:pt x="8938" y="18719"/>
                </a:cubicBezTo>
                <a:cubicBezTo>
                  <a:pt x="8813" y="18875"/>
                  <a:pt x="8719" y="19125"/>
                  <a:pt x="8438" y="18906"/>
                </a:cubicBezTo>
                <a:close/>
                <a:moveTo>
                  <a:pt x="10000" y="20031"/>
                </a:moveTo>
                <a:cubicBezTo>
                  <a:pt x="9969" y="20031"/>
                  <a:pt x="9969" y="20031"/>
                  <a:pt x="9938" y="20031"/>
                </a:cubicBezTo>
                <a:cubicBezTo>
                  <a:pt x="9938" y="20031"/>
                  <a:pt x="9938" y="20000"/>
                  <a:pt x="9938" y="20000"/>
                </a:cubicBezTo>
                <a:cubicBezTo>
                  <a:pt x="9969" y="20000"/>
                  <a:pt x="9969" y="20000"/>
                  <a:pt x="10000" y="20000"/>
                </a:cubicBezTo>
                <a:cubicBezTo>
                  <a:pt x="10000" y="20000"/>
                  <a:pt x="10000" y="20031"/>
                  <a:pt x="10000" y="20031"/>
                </a:cubicBezTo>
                <a:close/>
                <a:moveTo>
                  <a:pt x="10844" y="20094"/>
                </a:moveTo>
                <a:cubicBezTo>
                  <a:pt x="10844" y="20094"/>
                  <a:pt x="10844" y="20094"/>
                  <a:pt x="10875" y="20094"/>
                </a:cubicBezTo>
                <a:cubicBezTo>
                  <a:pt x="10938" y="20094"/>
                  <a:pt x="10907" y="20125"/>
                  <a:pt x="10938" y="20156"/>
                </a:cubicBezTo>
                <a:cubicBezTo>
                  <a:pt x="10907" y="20156"/>
                  <a:pt x="10844" y="20156"/>
                  <a:pt x="10844" y="20094"/>
                </a:cubicBezTo>
                <a:close/>
                <a:moveTo>
                  <a:pt x="10375" y="19875"/>
                </a:moveTo>
                <a:cubicBezTo>
                  <a:pt x="10250" y="19906"/>
                  <a:pt x="10125" y="19969"/>
                  <a:pt x="10032" y="19812"/>
                </a:cubicBezTo>
                <a:cubicBezTo>
                  <a:pt x="9969" y="19656"/>
                  <a:pt x="9875" y="19531"/>
                  <a:pt x="10032" y="19375"/>
                </a:cubicBezTo>
                <a:cubicBezTo>
                  <a:pt x="10032" y="19344"/>
                  <a:pt x="10063" y="19312"/>
                  <a:pt x="10063" y="19281"/>
                </a:cubicBezTo>
                <a:cubicBezTo>
                  <a:pt x="10063" y="19156"/>
                  <a:pt x="10188" y="19156"/>
                  <a:pt x="10250" y="19156"/>
                </a:cubicBezTo>
                <a:cubicBezTo>
                  <a:pt x="10313" y="19156"/>
                  <a:pt x="10313" y="19187"/>
                  <a:pt x="10313" y="19250"/>
                </a:cubicBezTo>
                <a:cubicBezTo>
                  <a:pt x="10344" y="19344"/>
                  <a:pt x="10313" y="19406"/>
                  <a:pt x="10188" y="19406"/>
                </a:cubicBezTo>
                <a:cubicBezTo>
                  <a:pt x="10157" y="19437"/>
                  <a:pt x="10125" y="19437"/>
                  <a:pt x="10063" y="19437"/>
                </a:cubicBezTo>
                <a:cubicBezTo>
                  <a:pt x="10063" y="19562"/>
                  <a:pt x="10125" y="19625"/>
                  <a:pt x="10250" y="19594"/>
                </a:cubicBezTo>
                <a:cubicBezTo>
                  <a:pt x="10344" y="19594"/>
                  <a:pt x="10438" y="19625"/>
                  <a:pt x="10438" y="19437"/>
                </a:cubicBezTo>
                <a:cubicBezTo>
                  <a:pt x="10407" y="19281"/>
                  <a:pt x="10688" y="19250"/>
                  <a:pt x="10688" y="19062"/>
                </a:cubicBezTo>
                <a:cubicBezTo>
                  <a:pt x="10782" y="19094"/>
                  <a:pt x="10844" y="19156"/>
                  <a:pt x="10907" y="19187"/>
                </a:cubicBezTo>
                <a:cubicBezTo>
                  <a:pt x="11000" y="19219"/>
                  <a:pt x="10969" y="19312"/>
                  <a:pt x="10969" y="19375"/>
                </a:cubicBezTo>
                <a:cubicBezTo>
                  <a:pt x="11063" y="19937"/>
                  <a:pt x="10625" y="19812"/>
                  <a:pt x="10375" y="19875"/>
                </a:cubicBezTo>
                <a:close/>
                <a:moveTo>
                  <a:pt x="12782" y="15844"/>
                </a:moveTo>
                <a:cubicBezTo>
                  <a:pt x="12750" y="15812"/>
                  <a:pt x="12750" y="15812"/>
                  <a:pt x="12719" y="15781"/>
                </a:cubicBezTo>
                <a:cubicBezTo>
                  <a:pt x="12750" y="15812"/>
                  <a:pt x="12750" y="15812"/>
                  <a:pt x="12782" y="15844"/>
                </a:cubicBezTo>
                <a:close/>
                <a:moveTo>
                  <a:pt x="13157" y="18469"/>
                </a:moveTo>
                <a:cubicBezTo>
                  <a:pt x="13157" y="18469"/>
                  <a:pt x="13157" y="18469"/>
                  <a:pt x="13157" y="18469"/>
                </a:cubicBezTo>
                <a:cubicBezTo>
                  <a:pt x="13157" y="18469"/>
                  <a:pt x="13157" y="18469"/>
                  <a:pt x="13157" y="18469"/>
                </a:cubicBezTo>
                <a:close/>
                <a:moveTo>
                  <a:pt x="12750" y="17437"/>
                </a:moveTo>
                <a:cubicBezTo>
                  <a:pt x="12750" y="17437"/>
                  <a:pt x="12750" y="17437"/>
                  <a:pt x="12750" y="17437"/>
                </a:cubicBezTo>
                <a:cubicBezTo>
                  <a:pt x="12750" y="17469"/>
                  <a:pt x="12782" y="17469"/>
                  <a:pt x="12782" y="17500"/>
                </a:cubicBezTo>
                <a:cubicBezTo>
                  <a:pt x="12782" y="17469"/>
                  <a:pt x="12750" y="17469"/>
                  <a:pt x="12750" y="17437"/>
                </a:cubicBezTo>
                <a:close/>
                <a:moveTo>
                  <a:pt x="12938" y="19219"/>
                </a:moveTo>
                <a:cubicBezTo>
                  <a:pt x="12938" y="19250"/>
                  <a:pt x="12938" y="19312"/>
                  <a:pt x="12875" y="19281"/>
                </a:cubicBezTo>
                <a:cubicBezTo>
                  <a:pt x="12875" y="19281"/>
                  <a:pt x="12875" y="19250"/>
                  <a:pt x="12844" y="19250"/>
                </a:cubicBezTo>
                <a:cubicBezTo>
                  <a:pt x="12844" y="19250"/>
                  <a:pt x="12844" y="19219"/>
                  <a:pt x="12875" y="19187"/>
                </a:cubicBezTo>
                <a:cubicBezTo>
                  <a:pt x="12907" y="19187"/>
                  <a:pt x="12938" y="19219"/>
                  <a:pt x="12938" y="19219"/>
                </a:cubicBezTo>
                <a:cubicBezTo>
                  <a:pt x="12938" y="19219"/>
                  <a:pt x="12969" y="19219"/>
                  <a:pt x="12969" y="19219"/>
                </a:cubicBezTo>
                <a:cubicBezTo>
                  <a:pt x="12969" y="19219"/>
                  <a:pt x="12938" y="19219"/>
                  <a:pt x="12938" y="19219"/>
                </a:cubicBezTo>
                <a:close/>
                <a:moveTo>
                  <a:pt x="12875" y="19281"/>
                </a:moveTo>
                <a:cubicBezTo>
                  <a:pt x="12907" y="19312"/>
                  <a:pt x="12907" y="19312"/>
                  <a:pt x="12907" y="19344"/>
                </a:cubicBezTo>
                <a:cubicBezTo>
                  <a:pt x="12875" y="19344"/>
                  <a:pt x="12875" y="19375"/>
                  <a:pt x="12844" y="19375"/>
                </a:cubicBezTo>
                <a:cubicBezTo>
                  <a:pt x="12844" y="19375"/>
                  <a:pt x="12844" y="19375"/>
                  <a:pt x="12875" y="19406"/>
                </a:cubicBezTo>
                <a:cubicBezTo>
                  <a:pt x="12844" y="19375"/>
                  <a:pt x="12844" y="19375"/>
                  <a:pt x="12844" y="19375"/>
                </a:cubicBezTo>
                <a:cubicBezTo>
                  <a:pt x="12719" y="19437"/>
                  <a:pt x="12782" y="19312"/>
                  <a:pt x="12750" y="19281"/>
                </a:cubicBezTo>
                <a:cubicBezTo>
                  <a:pt x="12750" y="19281"/>
                  <a:pt x="12750" y="19281"/>
                  <a:pt x="12750" y="19281"/>
                </a:cubicBezTo>
                <a:cubicBezTo>
                  <a:pt x="12750" y="19281"/>
                  <a:pt x="12750" y="19281"/>
                  <a:pt x="12750" y="19281"/>
                </a:cubicBezTo>
                <a:cubicBezTo>
                  <a:pt x="12782" y="19281"/>
                  <a:pt x="12813" y="19250"/>
                  <a:pt x="12844" y="19250"/>
                </a:cubicBezTo>
                <a:cubicBezTo>
                  <a:pt x="12875" y="19281"/>
                  <a:pt x="12875" y="19281"/>
                  <a:pt x="12875" y="19281"/>
                </a:cubicBezTo>
                <a:close/>
                <a:moveTo>
                  <a:pt x="12938" y="21437"/>
                </a:moveTo>
                <a:cubicBezTo>
                  <a:pt x="12969" y="21406"/>
                  <a:pt x="12969" y="21406"/>
                  <a:pt x="12969" y="21375"/>
                </a:cubicBezTo>
                <a:cubicBezTo>
                  <a:pt x="13000" y="21437"/>
                  <a:pt x="12969" y="21406"/>
                  <a:pt x="12938" y="21437"/>
                </a:cubicBezTo>
                <a:close/>
                <a:moveTo>
                  <a:pt x="13469" y="21437"/>
                </a:moveTo>
                <a:cubicBezTo>
                  <a:pt x="13532" y="21469"/>
                  <a:pt x="13407" y="21500"/>
                  <a:pt x="13375" y="21562"/>
                </a:cubicBezTo>
                <a:cubicBezTo>
                  <a:pt x="13250" y="21500"/>
                  <a:pt x="13094" y="21469"/>
                  <a:pt x="13063" y="21281"/>
                </a:cubicBezTo>
                <a:cubicBezTo>
                  <a:pt x="13063" y="21187"/>
                  <a:pt x="13125" y="21125"/>
                  <a:pt x="13188" y="21125"/>
                </a:cubicBezTo>
                <a:cubicBezTo>
                  <a:pt x="13375" y="21125"/>
                  <a:pt x="13344" y="21344"/>
                  <a:pt x="13469" y="21437"/>
                </a:cubicBezTo>
                <a:close/>
                <a:moveTo>
                  <a:pt x="14094" y="20031"/>
                </a:moveTo>
                <a:cubicBezTo>
                  <a:pt x="14063" y="19969"/>
                  <a:pt x="14094" y="19937"/>
                  <a:pt x="14157" y="19906"/>
                </a:cubicBezTo>
                <a:cubicBezTo>
                  <a:pt x="14157" y="19969"/>
                  <a:pt x="14157" y="20000"/>
                  <a:pt x="14094" y="20031"/>
                </a:cubicBezTo>
                <a:close/>
                <a:moveTo>
                  <a:pt x="14219" y="19094"/>
                </a:moveTo>
                <a:cubicBezTo>
                  <a:pt x="14219" y="19094"/>
                  <a:pt x="14157" y="19094"/>
                  <a:pt x="14094" y="19094"/>
                </a:cubicBezTo>
                <a:cubicBezTo>
                  <a:pt x="14063" y="19125"/>
                  <a:pt x="14063" y="19125"/>
                  <a:pt x="14063" y="19156"/>
                </a:cubicBezTo>
                <a:cubicBezTo>
                  <a:pt x="14063" y="19125"/>
                  <a:pt x="14063" y="19125"/>
                  <a:pt x="14094" y="19094"/>
                </a:cubicBezTo>
                <a:cubicBezTo>
                  <a:pt x="14125" y="19062"/>
                  <a:pt x="14125" y="19062"/>
                  <a:pt x="14157" y="19031"/>
                </a:cubicBezTo>
                <a:cubicBezTo>
                  <a:pt x="14188" y="19031"/>
                  <a:pt x="14219" y="19031"/>
                  <a:pt x="14219" y="19094"/>
                </a:cubicBezTo>
                <a:close/>
                <a:moveTo>
                  <a:pt x="14250" y="18969"/>
                </a:moveTo>
                <a:cubicBezTo>
                  <a:pt x="14219" y="18937"/>
                  <a:pt x="14219" y="18937"/>
                  <a:pt x="14219" y="18937"/>
                </a:cubicBezTo>
                <a:cubicBezTo>
                  <a:pt x="14250" y="18937"/>
                  <a:pt x="14250" y="18937"/>
                  <a:pt x="14250" y="18937"/>
                </a:cubicBezTo>
                <a:lnTo>
                  <a:pt x="14250" y="18969"/>
                </a:lnTo>
                <a:close/>
                <a:moveTo>
                  <a:pt x="13844" y="18187"/>
                </a:moveTo>
                <a:cubicBezTo>
                  <a:pt x="13907" y="18156"/>
                  <a:pt x="13969" y="18156"/>
                  <a:pt x="14032" y="18156"/>
                </a:cubicBezTo>
                <a:cubicBezTo>
                  <a:pt x="14063" y="18344"/>
                  <a:pt x="14000" y="18531"/>
                  <a:pt x="13907" y="18687"/>
                </a:cubicBezTo>
                <a:cubicBezTo>
                  <a:pt x="13907" y="18687"/>
                  <a:pt x="13907" y="18687"/>
                  <a:pt x="13907" y="18687"/>
                </a:cubicBezTo>
                <a:cubicBezTo>
                  <a:pt x="13844" y="18687"/>
                  <a:pt x="13782" y="18687"/>
                  <a:pt x="13719" y="18656"/>
                </a:cubicBezTo>
                <a:cubicBezTo>
                  <a:pt x="13657" y="18500"/>
                  <a:pt x="13938" y="18375"/>
                  <a:pt x="13844" y="18187"/>
                </a:cubicBezTo>
                <a:close/>
                <a:moveTo>
                  <a:pt x="13875" y="18781"/>
                </a:moveTo>
                <a:cubicBezTo>
                  <a:pt x="13875" y="18906"/>
                  <a:pt x="13813" y="18969"/>
                  <a:pt x="13688" y="19000"/>
                </a:cubicBezTo>
                <a:cubicBezTo>
                  <a:pt x="13813" y="18969"/>
                  <a:pt x="13875" y="18906"/>
                  <a:pt x="13875" y="18781"/>
                </a:cubicBezTo>
                <a:close/>
                <a:moveTo>
                  <a:pt x="13000" y="16594"/>
                </a:moveTo>
                <a:cubicBezTo>
                  <a:pt x="13000" y="16625"/>
                  <a:pt x="13000" y="16687"/>
                  <a:pt x="12938" y="16719"/>
                </a:cubicBezTo>
                <a:cubicBezTo>
                  <a:pt x="12938" y="16719"/>
                  <a:pt x="12907" y="16687"/>
                  <a:pt x="12907" y="16687"/>
                </a:cubicBezTo>
                <a:cubicBezTo>
                  <a:pt x="12907" y="16625"/>
                  <a:pt x="12938" y="16594"/>
                  <a:pt x="13000" y="16594"/>
                </a:cubicBezTo>
                <a:close/>
                <a:moveTo>
                  <a:pt x="14782" y="12125"/>
                </a:moveTo>
                <a:cubicBezTo>
                  <a:pt x="14782" y="12156"/>
                  <a:pt x="14750" y="12156"/>
                  <a:pt x="14688" y="12187"/>
                </a:cubicBezTo>
                <a:cubicBezTo>
                  <a:pt x="14688" y="12187"/>
                  <a:pt x="14625" y="12156"/>
                  <a:pt x="14657" y="12125"/>
                </a:cubicBezTo>
                <a:cubicBezTo>
                  <a:pt x="14688" y="12094"/>
                  <a:pt x="14719" y="12062"/>
                  <a:pt x="14782" y="12062"/>
                </a:cubicBezTo>
                <a:cubicBezTo>
                  <a:pt x="14782" y="12062"/>
                  <a:pt x="14844" y="12062"/>
                  <a:pt x="14782" y="12125"/>
                </a:cubicBezTo>
                <a:close/>
                <a:moveTo>
                  <a:pt x="15688" y="10000"/>
                </a:moveTo>
                <a:cubicBezTo>
                  <a:pt x="15688" y="10000"/>
                  <a:pt x="15688" y="10000"/>
                  <a:pt x="15688" y="10000"/>
                </a:cubicBezTo>
                <a:cubicBezTo>
                  <a:pt x="15688" y="10000"/>
                  <a:pt x="15688" y="10000"/>
                  <a:pt x="15688" y="10000"/>
                </a:cubicBezTo>
                <a:close/>
                <a:moveTo>
                  <a:pt x="15688" y="10250"/>
                </a:moveTo>
                <a:cubicBezTo>
                  <a:pt x="15688" y="10219"/>
                  <a:pt x="15625" y="10187"/>
                  <a:pt x="15594" y="10156"/>
                </a:cubicBezTo>
                <a:cubicBezTo>
                  <a:pt x="15625" y="10187"/>
                  <a:pt x="15688" y="10219"/>
                  <a:pt x="15688" y="10250"/>
                </a:cubicBezTo>
                <a:close/>
                <a:moveTo>
                  <a:pt x="15594" y="10062"/>
                </a:moveTo>
                <a:cubicBezTo>
                  <a:pt x="15594" y="10031"/>
                  <a:pt x="15594" y="10031"/>
                  <a:pt x="15594" y="10031"/>
                </a:cubicBezTo>
                <a:cubicBezTo>
                  <a:pt x="15594" y="10031"/>
                  <a:pt x="15594" y="10062"/>
                  <a:pt x="15594" y="10062"/>
                </a:cubicBezTo>
                <a:cubicBezTo>
                  <a:pt x="15594" y="10062"/>
                  <a:pt x="15594" y="10062"/>
                  <a:pt x="15594" y="10062"/>
                </a:cubicBezTo>
                <a:close/>
                <a:moveTo>
                  <a:pt x="15688" y="10250"/>
                </a:moveTo>
                <a:cubicBezTo>
                  <a:pt x="15688" y="10250"/>
                  <a:pt x="15688" y="10250"/>
                  <a:pt x="15688" y="10250"/>
                </a:cubicBezTo>
                <a:cubicBezTo>
                  <a:pt x="15688" y="10250"/>
                  <a:pt x="15688" y="10250"/>
                  <a:pt x="15688" y="10250"/>
                </a:cubicBezTo>
                <a:close/>
                <a:moveTo>
                  <a:pt x="15875" y="11562"/>
                </a:moveTo>
                <a:cubicBezTo>
                  <a:pt x="15875" y="11562"/>
                  <a:pt x="15875" y="11562"/>
                  <a:pt x="15875" y="11562"/>
                </a:cubicBezTo>
                <a:cubicBezTo>
                  <a:pt x="15875" y="11562"/>
                  <a:pt x="15875" y="11562"/>
                  <a:pt x="15875" y="11562"/>
                </a:cubicBezTo>
                <a:close/>
                <a:moveTo>
                  <a:pt x="15844" y="11562"/>
                </a:moveTo>
                <a:cubicBezTo>
                  <a:pt x="15844" y="11562"/>
                  <a:pt x="15844" y="11562"/>
                  <a:pt x="15875" y="11562"/>
                </a:cubicBezTo>
                <a:cubicBezTo>
                  <a:pt x="15844" y="11562"/>
                  <a:pt x="15844" y="11562"/>
                  <a:pt x="15844" y="11562"/>
                </a:cubicBezTo>
                <a:close/>
                <a:moveTo>
                  <a:pt x="15657" y="9562"/>
                </a:moveTo>
                <a:cubicBezTo>
                  <a:pt x="15657" y="9562"/>
                  <a:pt x="15657" y="9562"/>
                  <a:pt x="15657" y="9562"/>
                </a:cubicBezTo>
                <a:cubicBezTo>
                  <a:pt x="15657" y="9562"/>
                  <a:pt x="15657" y="9562"/>
                  <a:pt x="15657" y="9562"/>
                </a:cubicBezTo>
                <a:close/>
                <a:moveTo>
                  <a:pt x="28032" y="5781"/>
                </a:moveTo>
                <a:cubicBezTo>
                  <a:pt x="28000" y="5781"/>
                  <a:pt x="28000" y="5812"/>
                  <a:pt x="28000" y="5812"/>
                </a:cubicBezTo>
                <a:cubicBezTo>
                  <a:pt x="27969" y="5812"/>
                  <a:pt x="27969" y="5781"/>
                  <a:pt x="27969" y="5781"/>
                </a:cubicBezTo>
                <a:cubicBezTo>
                  <a:pt x="27969" y="5781"/>
                  <a:pt x="27969" y="5750"/>
                  <a:pt x="27969" y="5750"/>
                </a:cubicBezTo>
                <a:cubicBezTo>
                  <a:pt x="28000" y="5781"/>
                  <a:pt x="28000" y="5781"/>
                  <a:pt x="28032" y="5781"/>
                </a:cubicBezTo>
                <a:close/>
                <a:moveTo>
                  <a:pt x="29250" y="17031"/>
                </a:moveTo>
                <a:cubicBezTo>
                  <a:pt x="29250" y="17031"/>
                  <a:pt x="29250" y="17031"/>
                  <a:pt x="29250" y="17031"/>
                </a:cubicBezTo>
                <a:cubicBezTo>
                  <a:pt x="29250" y="17031"/>
                  <a:pt x="29250" y="17031"/>
                  <a:pt x="29219" y="17062"/>
                </a:cubicBezTo>
                <a:cubicBezTo>
                  <a:pt x="29250" y="17031"/>
                  <a:pt x="29250" y="17031"/>
                  <a:pt x="29250" y="17031"/>
                </a:cubicBezTo>
                <a:close/>
                <a:moveTo>
                  <a:pt x="29438" y="9031"/>
                </a:moveTo>
                <a:cubicBezTo>
                  <a:pt x="29438" y="9031"/>
                  <a:pt x="29469" y="9062"/>
                  <a:pt x="29500" y="9062"/>
                </a:cubicBezTo>
                <a:cubicBezTo>
                  <a:pt x="29469" y="9062"/>
                  <a:pt x="29438" y="9031"/>
                  <a:pt x="29438" y="9031"/>
                </a:cubicBezTo>
                <a:close/>
                <a:moveTo>
                  <a:pt x="29469" y="13656"/>
                </a:moveTo>
                <a:cubicBezTo>
                  <a:pt x="29469" y="13656"/>
                  <a:pt x="29469" y="13656"/>
                  <a:pt x="29438" y="13687"/>
                </a:cubicBezTo>
                <a:cubicBezTo>
                  <a:pt x="29469" y="13656"/>
                  <a:pt x="29469" y="13656"/>
                  <a:pt x="29469" y="13656"/>
                </a:cubicBezTo>
                <a:close/>
                <a:moveTo>
                  <a:pt x="29375" y="16906"/>
                </a:moveTo>
                <a:cubicBezTo>
                  <a:pt x="29375" y="16906"/>
                  <a:pt x="29375" y="16906"/>
                  <a:pt x="29375" y="16906"/>
                </a:cubicBezTo>
                <a:cubicBezTo>
                  <a:pt x="29344" y="16906"/>
                  <a:pt x="29344" y="16937"/>
                  <a:pt x="29313" y="16969"/>
                </a:cubicBezTo>
                <a:cubicBezTo>
                  <a:pt x="29313" y="16969"/>
                  <a:pt x="29313" y="16969"/>
                  <a:pt x="29313" y="16969"/>
                </a:cubicBezTo>
                <a:cubicBezTo>
                  <a:pt x="29344" y="16937"/>
                  <a:pt x="29344" y="16906"/>
                  <a:pt x="29375" y="16906"/>
                </a:cubicBezTo>
                <a:close/>
                <a:moveTo>
                  <a:pt x="29375" y="16906"/>
                </a:moveTo>
                <a:cubicBezTo>
                  <a:pt x="29375" y="16906"/>
                  <a:pt x="29375" y="16875"/>
                  <a:pt x="29407" y="16875"/>
                </a:cubicBezTo>
                <a:cubicBezTo>
                  <a:pt x="29375" y="16875"/>
                  <a:pt x="29375" y="16906"/>
                  <a:pt x="29375" y="16906"/>
                </a:cubicBezTo>
                <a:cubicBezTo>
                  <a:pt x="29375" y="16906"/>
                  <a:pt x="29375" y="16906"/>
                  <a:pt x="29375" y="16906"/>
                </a:cubicBezTo>
                <a:close/>
                <a:moveTo>
                  <a:pt x="29313" y="16969"/>
                </a:moveTo>
                <a:cubicBezTo>
                  <a:pt x="29313" y="16969"/>
                  <a:pt x="29313" y="16969"/>
                  <a:pt x="29313" y="16969"/>
                </a:cubicBezTo>
                <a:cubicBezTo>
                  <a:pt x="29313" y="17000"/>
                  <a:pt x="29282" y="17031"/>
                  <a:pt x="29250" y="17031"/>
                </a:cubicBezTo>
                <a:cubicBezTo>
                  <a:pt x="29250" y="17031"/>
                  <a:pt x="29250" y="17031"/>
                  <a:pt x="29250" y="17031"/>
                </a:cubicBezTo>
                <a:cubicBezTo>
                  <a:pt x="29282" y="17031"/>
                  <a:pt x="29313" y="17000"/>
                  <a:pt x="29313" y="16969"/>
                </a:cubicBezTo>
                <a:close/>
                <a:moveTo>
                  <a:pt x="27688" y="11500"/>
                </a:moveTo>
                <a:cubicBezTo>
                  <a:pt x="27657" y="11312"/>
                  <a:pt x="27563" y="11125"/>
                  <a:pt x="27875" y="11031"/>
                </a:cubicBezTo>
                <a:cubicBezTo>
                  <a:pt x="27969" y="11000"/>
                  <a:pt x="28032" y="10844"/>
                  <a:pt x="27907" y="10781"/>
                </a:cubicBezTo>
                <a:cubicBezTo>
                  <a:pt x="27563" y="10562"/>
                  <a:pt x="27938" y="10531"/>
                  <a:pt x="27969" y="10406"/>
                </a:cubicBezTo>
                <a:cubicBezTo>
                  <a:pt x="28188" y="10437"/>
                  <a:pt x="28219" y="10719"/>
                  <a:pt x="28438" y="10719"/>
                </a:cubicBezTo>
                <a:cubicBezTo>
                  <a:pt x="28313" y="11094"/>
                  <a:pt x="28094" y="11375"/>
                  <a:pt x="27688" y="11500"/>
                </a:cubicBezTo>
                <a:close/>
                <a:moveTo>
                  <a:pt x="28625" y="13156"/>
                </a:moveTo>
                <a:cubicBezTo>
                  <a:pt x="28625" y="13187"/>
                  <a:pt x="28625" y="13187"/>
                  <a:pt x="28625" y="13187"/>
                </a:cubicBezTo>
                <a:cubicBezTo>
                  <a:pt x="28625" y="13187"/>
                  <a:pt x="28625" y="13187"/>
                  <a:pt x="28625" y="13156"/>
                </a:cubicBezTo>
                <a:close/>
                <a:moveTo>
                  <a:pt x="28594" y="13187"/>
                </a:moveTo>
                <a:cubicBezTo>
                  <a:pt x="28594" y="13187"/>
                  <a:pt x="28594" y="13219"/>
                  <a:pt x="28594" y="13219"/>
                </a:cubicBezTo>
                <a:cubicBezTo>
                  <a:pt x="28594" y="13219"/>
                  <a:pt x="28594" y="13187"/>
                  <a:pt x="28594" y="13187"/>
                </a:cubicBezTo>
                <a:close/>
                <a:moveTo>
                  <a:pt x="28563" y="11594"/>
                </a:moveTo>
                <a:cubicBezTo>
                  <a:pt x="28563" y="11594"/>
                  <a:pt x="28563" y="11594"/>
                  <a:pt x="28594" y="11594"/>
                </a:cubicBezTo>
                <a:cubicBezTo>
                  <a:pt x="28563" y="11594"/>
                  <a:pt x="28563" y="11594"/>
                  <a:pt x="28563" y="11594"/>
                </a:cubicBezTo>
                <a:close/>
                <a:moveTo>
                  <a:pt x="28563" y="11531"/>
                </a:moveTo>
                <a:cubicBezTo>
                  <a:pt x="28563" y="11531"/>
                  <a:pt x="28563" y="11531"/>
                  <a:pt x="28563" y="11531"/>
                </a:cubicBezTo>
                <a:cubicBezTo>
                  <a:pt x="28594" y="11562"/>
                  <a:pt x="28625" y="11562"/>
                  <a:pt x="28657" y="11562"/>
                </a:cubicBezTo>
                <a:cubicBezTo>
                  <a:pt x="28625" y="11562"/>
                  <a:pt x="28594" y="11562"/>
                  <a:pt x="28563" y="11531"/>
                </a:cubicBezTo>
                <a:close/>
                <a:moveTo>
                  <a:pt x="28563" y="11562"/>
                </a:moveTo>
                <a:cubicBezTo>
                  <a:pt x="28563" y="11562"/>
                  <a:pt x="28563" y="11562"/>
                  <a:pt x="28563" y="11594"/>
                </a:cubicBezTo>
                <a:cubicBezTo>
                  <a:pt x="28563" y="11562"/>
                  <a:pt x="28563" y="11562"/>
                  <a:pt x="28563" y="11562"/>
                </a:cubicBezTo>
                <a:cubicBezTo>
                  <a:pt x="28563" y="11562"/>
                  <a:pt x="28563" y="11562"/>
                  <a:pt x="28563" y="11562"/>
                </a:cubicBezTo>
                <a:close/>
                <a:moveTo>
                  <a:pt x="28657" y="11562"/>
                </a:moveTo>
                <a:cubicBezTo>
                  <a:pt x="28657" y="11562"/>
                  <a:pt x="28657" y="11562"/>
                  <a:pt x="28657" y="11562"/>
                </a:cubicBezTo>
                <a:cubicBezTo>
                  <a:pt x="28657" y="11562"/>
                  <a:pt x="28657" y="11562"/>
                  <a:pt x="28657" y="11562"/>
                </a:cubicBezTo>
                <a:close/>
                <a:moveTo>
                  <a:pt x="28219" y="10281"/>
                </a:moveTo>
                <a:cubicBezTo>
                  <a:pt x="28157" y="10250"/>
                  <a:pt x="28094" y="10250"/>
                  <a:pt x="28000" y="10250"/>
                </a:cubicBezTo>
                <a:cubicBezTo>
                  <a:pt x="27969" y="10219"/>
                  <a:pt x="27907" y="10281"/>
                  <a:pt x="27844" y="10281"/>
                </a:cubicBezTo>
                <a:cubicBezTo>
                  <a:pt x="27907" y="10281"/>
                  <a:pt x="27969" y="10219"/>
                  <a:pt x="28000" y="10250"/>
                </a:cubicBezTo>
                <a:cubicBezTo>
                  <a:pt x="28000" y="10219"/>
                  <a:pt x="28032" y="10187"/>
                  <a:pt x="28000" y="10156"/>
                </a:cubicBezTo>
                <a:cubicBezTo>
                  <a:pt x="27938" y="9594"/>
                  <a:pt x="27969" y="9562"/>
                  <a:pt x="28469" y="9625"/>
                </a:cubicBezTo>
                <a:cubicBezTo>
                  <a:pt x="28469" y="9625"/>
                  <a:pt x="28469" y="9625"/>
                  <a:pt x="28469" y="9625"/>
                </a:cubicBezTo>
                <a:cubicBezTo>
                  <a:pt x="28500" y="9656"/>
                  <a:pt x="28563" y="9687"/>
                  <a:pt x="28594" y="9750"/>
                </a:cubicBezTo>
                <a:cubicBezTo>
                  <a:pt x="28313" y="9812"/>
                  <a:pt x="28188" y="10000"/>
                  <a:pt x="28219" y="10281"/>
                </a:cubicBezTo>
                <a:close/>
                <a:moveTo>
                  <a:pt x="27000" y="6906"/>
                </a:moveTo>
                <a:cubicBezTo>
                  <a:pt x="27032" y="6906"/>
                  <a:pt x="27032" y="6875"/>
                  <a:pt x="27063" y="6844"/>
                </a:cubicBezTo>
                <a:cubicBezTo>
                  <a:pt x="27094" y="6812"/>
                  <a:pt x="27094" y="6812"/>
                  <a:pt x="27094" y="6750"/>
                </a:cubicBezTo>
                <a:cubicBezTo>
                  <a:pt x="27125" y="6719"/>
                  <a:pt x="27157" y="6656"/>
                  <a:pt x="27188" y="6625"/>
                </a:cubicBezTo>
                <a:cubicBezTo>
                  <a:pt x="27250" y="6594"/>
                  <a:pt x="27313" y="6500"/>
                  <a:pt x="27407" y="6594"/>
                </a:cubicBezTo>
                <a:cubicBezTo>
                  <a:pt x="27469" y="6656"/>
                  <a:pt x="27375" y="6719"/>
                  <a:pt x="27313" y="6750"/>
                </a:cubicBezTo>
                <a:cubicBezTo>
                  <a:pt x="27250" y="6875"/>
                  <a:pt x="27094" y="6906"/>
                  <a:pt x="27032" y="7031"/>
                </a:cubicBezTo>
                <a:cubicBezTo>
                  <a:pt x="27032" y="7031"/>
                  <a:pt x="27032" y="7031"/>
                  <a:pt x="27032" y="7031"/>
                </a:cubicBezTo>
                <a:cubicBezTo>
                  <a:pt x="26938" y="7031"/>
                  <a:pt x="27000" y="6937"/>
                  <a:pt x="27000" y="6906"/>
                </a:cubicBezTo>
                <a:close/>
                <a:moveTo>
                  <a:pt x="27344" y="7281"/>
                </a:moveTo>
                <a:cubicBezTo>
                  <a:pt x="27344" y="7344"/>
                  <a:pt x="27313" y="7406"/>
                  <a:pt x="27282" y="7469"/>
                </a:cubicBezTo>
                <a:cubicBezTo>
                  <a:pt x="27313" y="7406"/>
                  <a:pt x="27344" y="7344"/>
                  <a:pt x="27344" y="7281"/>
                </a:cubicBezTo>
                <a:cubicBezTo>
                  <a:pt x="27344" y="7281"/>
                  <a:pt x="27344" y="7281"/>
                  <a:pt x="27344" y="7281"/>
                </a:cubicBezTo>
                <a:close/>
                <a:moveTo>
                  <a:pt x="27219" y="8750"/>
                </a:moveTo>
                <a:cubicBezTo>
                  <a:pt x="27250" y="8750"/>
                  <a:pt x="27250" y="8750"/>
                  <a:pt x="27250" y="8719"/>
                </a:cubicBezTo>
                <a:cubicBezTo>
                  <a:pt x="27250" y="8750"/>
                  <a:pt x="27250" y="8750"/>
                  <a:pt x="27219" y="8750"/>
                </a:cubicBezTo>
                <a:close/>
                <a:moveTo>
                  <a:pt x="28563" y="9500"/>
                </a:moveTo>
                <a:cubicBezTo>
                  <a:pt x="28563" y="9500"/>
                  <a:pt x="28563" y="9500"/>
                  <a:pt x="28563" y="9531"/>
                </a:cubicBezTo>
                <a:cubicBezTo>
                  <a:pt x="28563" y="9500"/>
                  <a:pt x="28563" y="9500"/>
                  <a:pt x="28563" y="9500"/>
                </a:cubicBezTo>
                <a:close/>
                <a:moveTo>
                  <a:pt x="28000" y="7781"/>
                </a:moveTo>
                <a:cubicBezTo>
                  <a:pt x="28000" y="7750"/>
                  <a:pt x="28000" y="7750"/>
                  <a:pt x="28000" y="7750"/>
                </a:cubicBezTo>
                <a:cubicBezTo>
                  <a:pt x="28000" y="7750"/>
                  <a:pt x="28000" y="7750"/>
                  <a:pt x="28000" y="7781"/>
                </a:cubicBezTo>
                <a:close/>
                <a:moveTo>
                  <a:pt x="28063" y="7719"/>
                </a:moveTo>
                <a:cubicBezTo>
                  <a:pt x="28063" y="7719"/>
                  <a:pt x="28094" y="7719"/>
                  <a:pt x="28094" y="7687"/>
                </a:cubicBezTo>
                <a:cubicBezTo>
                  <a:pt x="28094" y="7719"/>
                  <a:pt x="28063" y="7719"/>
                  <a:pt x="28063" y="7719"/>
                </a:cubicBezTo>
                <a:close/>
                <a:moveTo>
                  <a:pt x="27719" y="6687"/>
                </a:moveTo>
                <a:cubicBezTo>
                  <a:pt x="27750" y="6656"/>
                  <a:pt x="27750" y="6625"/>
                  <a:pt x="27782" y="6687"/>
                </a:cubicBezTo>
                <a:cubicBezTo>
                  <a:pt x="27782" y="6687"/>
                  <a:pt x="27750" y="6687"/>
                  <a:pt x="27750" y="6719"/>
                </a:cubicBezTo>
                <a:cubicBezTo>
                  <a:pt x="27719" y="6781"/>
                  <a:pt x="27657" y="6812"/>
                  <a:pt x="27594" y="6812"/>
                </a:cubicBezTo>
                <a:cubicBezTo>
                  <a:pt x="27594" y="6719"/>
                  <a:pt x="27657" y="6719"/>
                  <a:pt x="27719" y="6687"/>
                </a:cubicBezTo>
                <a:close/>
                <a:moveTo>
                  <a:pt x="27157" y="10094"/>
                </a:moveTo>
                <a:cubicBezTo>
                  <a:pt x="27157" y="10094"/>
                  <a:pt x="27157" y="10094"/>
                  <a:pt x="27157" y="10094"/>
                </a:cubicBezTo>
                <a:cubicBezTo>
                  <a:pt x="27157" y="10125"/>
                  <a:pt x="27157" y="10125"/>
                  <a:pt x="27157" y="10156"/>
                </a:cubicBezTo>
                <a:cubicBezTo>
                  <a:pt x="27157" y="10125"/>
                  <a:pt x="27157" y="10125"/>
                  <a:pt x="27157" y="10094"/>
                </a:cubicBezTo>
                <a:close/>
                <a:moveTo>
                  <a:pt x="27782" y="6875"/>
                </a:moveTo>
                <a:cubicBezTo>
                  <a:pt x="27782" y="6875"/>
                  <a:pt x="27782" y="6875"/>
                  <a:pt x="27782" y="6844"/>
                </a:cubicBezTo>
                <a:cubicBezTo>
                  <a:pt x="27782" y="6844"/>
                  <a:pt x="27813" y="6844"/>
                  <a:pt x="27813" y="6844"/>
                </a:cubicBezTo>
                <a:cubicBezTo>
                  <a:pt x="27813" y="6844"/>
                  <a:pt x="27813" y="6844"/>
                  <a:pt x="27844" y="6844"/>
                </a:cubicBezTo>
                <a:cubicBezTo>
                  <a:pt x="27813" y="6875"/>
                  <a:pt x="27813" y="6875"/>
                  <a:pt x="27782" y="6875"/>
                </a:cubicBezTo>
                <a:close/>
                <a:moveTo>
                  <a:pt x="25782" y="4594"/>
                </a:moveTo>
                <a:cubicBezTo>
                  <a:pt x="25719" y="4500"/>
                  <a:pt x="25625" y="4531"/>
                  <a:pt x="25563" y="4531"/>
                </a:cubicBezTo>
                <a:cubicBezTo>
                  <a:pt x="25625" y="4531"/>
                  <a:pt x="25719" y="4500"/>
                  <a:pt x="25782" y="4594"/>
                </a:cubicBezTo>
                <a:close/>
                <a:moveTo>
                  <a:pt x="18125" y="3625"/>
                </a:move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lose/>
                <a:moveTo>
                  <a:pt x="20532" y="4031"/>
                </a:moveTo>
                <a:cubicBezTo>
                  <a:pt x="20532" y="4031"/>
                  <a:pt x="20532" y="4031"/>
                  <a:pt x="20532" y="4000"/>
                </a:cubicBezTo>
                <a:cubicBezTo>
                  <a:pt x="20532" y="4031"/>
                  <a:pt x="20532" y="4031"/>
                  <a:pt x="20532" y="4031"/>
                </a:cubicBezTo>
                <a:close/>
                <a:moveTo>
                  <a:pt x="22063" y="8281"/>
                </a:moveTo>
                <a:cubicBezTo>
                  <a:pt x="22063" y="8281"/>
                  <a:pt x="22063" y="8281"/>
                  <a:pt x="22063" y="8281"/>
                </a:cubicBezTo>
                <a:cubicBezTo>
                  <a:pt x="22125" y="8312"/>
                  <a:pt x="22188" y="8281"/>
                  <a:pt x="22250" y="8250"/>
                </a:cubicBezTo>
                <a:cubicBezTo>
                  <a:pt x="22250" y="8250"/>
                  <a:pt x="22250" y="8250"/>
                  <a:pt x="22282" y="8250"/>
                </a:cubicBezTo>
                <a:cubicBezTo>
                  <a:pt x="22250" y="8250"/>
                  <a:pt x="22250" y="8250"/>
                  <a:pt x="22250" y="8250"/>
                </a:cubicBezTo>
                <a:cubicBezTo>
                  <a:pt x="22188" y="8281"/>
                  <a:pt x="22125" y="8312"/>
                  <a:pt x="22063" y="8281"/>
                </a:cubicBezTo>
                <a:close/>
                <a:moveTo>
                  <a:pt x="22063" y="8250"/>
                </a:moveTo>
                <a:cubicBezTo>
                  <a:pt x="22063" y="8281"/>
                  <a:pt x="22063" y="8281"/>
                  <a:pt x="22063" y="8281"/>
                </a:cubicBezTo>
                <a:cubicBezTo>
                  <a:pt x="22063" y="8281"/>
                  <a:pt x="22063" y="8281"/>
                  <a:pt x="22063" y="8281"/>
                </a:cubicBezTo>
                <a:cubicBezTo>
                  <a:pt x="22063" y="8281"/>
                  <a:pt x="22063" y="8281"/>
                  <a:pt x="22063" y="8250"/>
                </a:cubicBezTo>
                <a:close/>
                <a:moveTo>
                  <a:pt x="22469" y="8031"/>
                </a:moveTo>
                <a:cubicBezTo>
                  <a:pt x="22438" y="8031"/>
                  <a:pt x="22438" y="8031"/>
                  <a:pt x="22438" y="8031"/>
                </a:cubicBezTo>
                <a:cubicBezTo>
                  <a:pt x="22438" y="8031"/>
                  <a:pt x="22438" y="8031"/>
                  <a:pt x="22469" y="8031"/>
                </a:cubicBezTo>
                <a:close/>
                <a:moveTo>
                  <a:pt x="21750" y="8687"/>
                </a:moveTo>
                <a:cubicBezTo>
                  <a:pt x="21719" y="8687"/>
                  <a:pt x="21719" y="8687"/>
                  <a:pt x="21719" y="8687"/>
                </a:cubicBezTo>
                <a:cubicBezTo>
                  <a:pt x="21719" y="8656"/>
                  <a:pt x="21719" y="8656"/>
                  <a:pt x="21719" y="8656"/>
                </a:cubicBezTo>
                <a:lnTo>
                  <a:pt x="21750" y="8687"/>
                </a:lnTo>
                <a:close/>
                <a:moveTo>
                  <a:pt x="22594" y="9406"/>
                </a:moveTo>
                <a:cubicBezTo>
                  <a:pt x="22594" y="9406"/>
                  <a:pt x="22625" y="9437"/>
                  <a:pt x="22625" y="9437"/>
                </a:cubicBezTo>
                <a:cubicBezTo>
                  <a:pt x="22625" y="9437"/>
                  <a:pt x="22594" y="9406"/>
                  <a:pt x="22594" y="9406"/>
                </a:cubicBezTo>
                <a:close/>
                <a:moveTo>
                  <a:pt x="23594" y="11375"/>
                </a:moveTo>
                <a:cubicBezTo>
                  <a:pt x="23532" y="11031"/>
                  <a:pt x="23250" y="11094"/>
                  <a:pt x="23032" y="11062"/>
                </a:cubicBezTo>
                <a:cubicBezTo>
                  <a:pt x="23032" y="11062"/>
                  <a:pt x="23032" y="11062"/>
                  <a:pt x="23032" y="11062"/>
                </a:cubicBezTo>
                <a:cubicBezTo>
                  <a:pt x="23094" y="11031"/>
                  <a:pt x="23188" y="11031"/>
                  <a:pt x="23250" y="11000"/>
                </a:cubicBezTo>
                <a:cubicBezTo>
                  <a:pt x="23375" y="10906"/>
                  <a:pt x="23532" y="10781"/>
                  <a:pt x="23625" y="10906"/>
                </a:cubicBezTo>
                <a:cubicBezTo>
                  <a:pt x="23688" y="10969"/>
                  <a:pt x="23688" y="11219"/>
                  <a:pt x="23594" y="11375"/>
                </a:cubicBezTo>
                <a:close/>
                <a:moveTo>
                  <a:pt x="21063" y="12312"/>
                </a:moveTo>
                <a:cubicBezTo>
                  <a:pt x="21063" y="12312"/>
                  <a:pt x="21063" y="12312"/>
                  <a:pt x="21063" y="12312"/>
                </a:cubicBezTo>
                <a:cubicBezTo>
                  <a:pt x="21063" y="12312"/>
                  <a:pt x="21063" y="12312"/>
                  <a:pt x="21063" y="12312"/>
                </a:cubicBezTo>
                <a:close/>
                <a:moveTo>
                  <a:pt x="21032" y="8687"/>
                </a:moveTo>
                <a:cubicBezTo>
                  <a:pt x="21032" y="8687"/>
                  <a:pt x="21032" y="8656"/>
                  <a:pt x="21063" y="8656"/>
                </a:cubicBezTo>
                <a:cubicBezTo>
                  <a:pt x="21063" y="8656"/>
                  <a:pt x="21063" y="8656"/>
                  <a:pt x="21063" y="8656"/>
                </a:cubicBezTo>
                <a:cubicBezTo>
                  <a:pt x="21032" y="8656"/>
                  <a:pt x="21032" y="8687"/>
                  <a:pt x="21032" y="8687"/>
                </a:cubicBezTo>
                <a:close/>
                <a:moveTo>
                  <a:pt x="20313" y="8969"/>
                </a:moveTo>
                <a:cubicBezTo>
                  <a:pt x="20313" y="8969"/>
                  <a:pt x="20313" y="8969"/>
                  <a:pt x="20344" y="9000"/>
                </a:cubicBezTo>
                <a:cubicBezTo>
                  <a:pt x="20313" y="8969"/>
                  <a:pt x="20313" y="8969"/>
                  <a:pt x="20313" y="8969"/>
                </a:cubicBezTo>
                <a:close/>
                <a:moveTo>
                  <a:pt x="20063" y="9437"/>
                </a:moveTo>
                <a:cubicBezTo>
                  <a:pt x="20063" y="9437"/>
                  <a:pt x="20063" y="9469"/>
                  <a:pt x="20063" y="9469"/>
                </a:cubicBezTo>
                <a:cubicBezTo>
                  <a:pt x="20063" y="9469"/>
                  <a:pt x="20063" y="9437"/>
                  <a:pt x="20063" y="9437"/>
                </a:cubicBezTo>
                <a:close/>
                <a:moveTo>
                  <a:pt x="20032" y="9281"/>
                </a:moveTo>
                <a:cubicBezTo>
                  <a:pt x="20063" y="9281"/>
                  <a:pt x="20094" y="9281"/>
                  <a:pt x="20125" y="9344"/>
                </a:cubicBezTo>
                <a:cubicBezTo>
                  <a:pt x="20094" y="9281"/>
                  <a:pt x="20063" y="9281"/>
                  <a:pt x="20032" y="9281"/>
                </a:cubicBezTo>
                <a:close/>
                <a:moveTo>
                  <a:pt x="19938" y="9281"/>
                </a:moveTo>
                <a:cubicBezTo>
                  <a:pt x="19907" y="9281"/>
                  <a:pt x="19907" y="9281"/>
                  <a:pt x="19875" y="9281"/>
                </a:cubicBezTo>
                <a:cubicBezTo>
                  <a:pt x="19907" y="9281"/>
                  <a:pt x="19907" y="9281"/>
                  <a:pt x="19938" y="9281"/>
                </a:cubicBezTo>
                <a:cubicBezTo>
                  <a:pt x="19938" y="9281"/>
                  <a:pt x="19938" y="9281"/>
                  <a:pt x="19938" y="9281"/>
                </a:cubicBezTo>
                <a:close/>
                <a:moveTo>
                  <a:pt x="19875" y="9312"/>
                </a:moveTo>
                <a:cubicBezTo>
                  <a:pt x="19875" y="9312"/>
                  <a:pt x="19875" y="9312"/>
                  <a:pt x="19875" y="9281"/>
                </a:cubicBezTo>
                <a:cubicBezTo>
                  <a:pt x="19875" y="9281"/>
                  <a:pt x="19875" y="9281"/>
                  <a:pt x="19875" y="9281"/>
                </a:cubicBezTo>
                <a:cubicBezTo>
                  <a:pt x="19875" y="9312"/>
                  <a:pt x="19875" y="9312"/>
                  <a:pt x="19875" y="9312"/>
                </a:cubicBezTo>
                <a:close/>
                <a:moveTo>
                  <a:pt x="21407" y="9750"/>
                </a:moveTo>
                <a:cubicBezTo>
                  <a:pt x="21438" y="9750"/>
                  <a:pt x="21469" y="9750"/>
                  <a:pt x="21532" y="9750"/>
                </a:cubicBezTo>
                <a:cubicBezTo>
                  <a:pt x="21469" y="9750"/>
                  <a:pt x="21438" y="9750"/>
                  <a:pt x="21407" y="9750"/>
                </a:cubicBezTo>
                <a:cubicBezTo>
                  <a:pt x="21375" y="9750"/>
                  <a:pt x="21375" y="9750"/>
                  <a:pt x="21375" y="9781"/>
                </a:cubicBezTo>
                <a:cubicBezTo>
                  <a:pt x="21375" y="9750"/>
                  <a:pt x="21375" y="9750"/>
                  <a:pt x="21407" y="9750"/>
                </a:cubicBezTo>
                <a:close/>
                <a:moveTo>
                  <a:pt x="21500" y="10844"/>
                </a:moveTo>
                <a:cubicBezTo>
                  <a:pt x="21469" y="10844"/>
                  <a:pt x="21438" y="10844"/>
                  <a:pt x="21438" y="10844"/>
                </a:cubicBezTo>
                <a:cubicBezTo>
                  <a:pt x="21438" y="10844"/>
                  <a:pt x="21469" y="10844"/>
                  <a:pt x="21500" y="10844"/>
                </a:cubicBezTo>
                <a:close/>
                <a:moveTo>
                  <a:pt x="22719" y="12187"/>
                </a:moveTo>
                <a:cubicBezTo>
                  <a:pt x="22688" y="12156"/>
                  <a:pt x="22688" y="12156"/>
                  <a:pt x="22688" y="12156"/>
                </a:cubicBezTo>
                <a:cubicBezTo>
                  <a:pt x="22688" y="12156"/>
                  <a:pt x="22688" y="12156"/>
                  <a:pt x="22719" y="12187"/>
                </a:cubicBezTo>
                <a:close/>
                <a:moveTo>
                  <a:pt x="22157" y="13125"/>
                </a:moveTo>
                <a:cubicBezTo>
                  <a:pt x="22250" y="13125"/>
                  <a:pt x="22375" y="13094"/>
                  <a:pt x="22500" y="13062"/>
                </a:cubicBezTo>
                <a:cubicBezTo>
                  <a:pt x="22375" y="13094"/>
                  <a:pt x="22250" y="13125"/>
                  <a:pt x="22157" y="13125"/>
                </a:cubicBezTo>
                <a:cubicBezTo>
                  <a:pt x="22157" y="13125"/>
                  <a:pt x="22157" y="13125"/>
                  <a:pt x="22157" y="13125"/>
                </a:cubicBezTo>
                <a:close/>
                <a:moveTo>
                  <a:pt x="22875" y="12500"/>
                </a:moveTo>
                <a:cubicBezTo>
                  <a:pt x="22875" y="12500"/>
                  <a:pt x="22875" y="12500"/>
                  <a:pt x="22875" y="12500"/>
                </a:cubicBezTo>
                <a:cubicBezTo>
                  <a:pt x="22875" y="12531"/>
                  <a:pt x="22844" y="12562"/>
                  <a:pt x="22813" y="12594"/>
                </a:cubicBezTo>
                <a:cubicBezTo>
                  <a:pt x="22844" y="12562"/>
                  <a:pt x="22875" y="12531"/>
                  <a:pt x="22875" y="12500"/>
                </a:cubicBezTo>
                <a:close/>
                <a:moveTo>
                  <a:pt x="22657" y="12656"/>
                </a:moveTo>
                <a:cubicBezTo>
                  <a:pt x="22688" y="12656"/>
                  <a:pt x="22719" y="12656"/>
                  <a:pt x="22750" y="12625"/>
                </a:cubicBezTo>
                <a:cubicBezTo>
                  <a:pt x="22719" y="12656"/>
                  <a:pt x="22688" y="12656"/>
                  <a:pt x="22657" y="12656"/>
                </a:cubicBezTo>
                <a:close/>
                <a:moveTo>
                  <a:pt x="23063" y="10406"/>
                </a:moveTo>
                <a:cubicBezTo>
                  <a:pt x="22969" y="10625"/>
                  <a:pt x="22782" y="10750"/>
                  <a:pt x="22500" y="10750"/>
                </a:cubicBezTo>
                <a:cubicBezTo>
                  <a:pt x="22157" y="10719"/>
                  <a:pt x="22000" y="10531"/>
                  <a:pt x="21907" y="10219"/>
                </a:cubicBezTo>
                <a:cubicBezTo>
                  <a:pt x="22063" y="10219"/>
                  <a:pt x="22219" y="10156"/>
                  <a:pt x="22344" y="10344"/>
                </a:cubicBezTo>
                <a:cubicBezTo>
                  <a:pt x="22469" y="10531"/>
                  <a:pt x="22625" y="10500"/>
                  <a:pt x="22813" y="10406"/>
                </a:cubicBezTo>
                <a:cubicBezTo>
                  <a:pt x="23032" y="10250"/>
                  <a:pt x="22938" y="10094"/>
                  <a:pt x="22813" y="9937"/>
                </a:cubicBezTo>
                <a:cubicBezTo>
                  <a:pt x="22782" y="9906"/>
                  <a:pt x="22750" y="9906"/>
                  <a:pt x="22719" y="9875"/>
                </a:cubicBezTo>
                <a:cubicBezTo>
                  <a:pt x="22782" y="9844"/>
                  <a:pt x="22813" y="9844"/>
                  <a:pt x="22844" y="9906"/>
                </a:cubicBezTo>
                <a:cubicBezTo>
                  <a:pt x="23032" y="10031"/>
                  <a:pt x="23157" y="10187"/>
                  <a:pt x="23063" y="10406"/>
                </a:cubicBezTo>
                <a:close/>
                <a:moveTo>
                  <a:pt x="22313" y="10125"/>
                </a:moveTo>
                <a:cubicBezTo>
                  <a:pt x="22250" y="10156"/>
                  <a:pt x="22188" y="10156"/>
                  <a:pt x="22125" y="10187"/>
                </a:cubicBezTo>
                <a:cubicBezTo>
                  <a:pt x="22063" y="10187"/>
                  <a:pt x="22000" y="10156"/>
                  <a:pt x="21969" y="10094"/>
                </a:cubicBezTo>
                <a:cubicBezTo>
                  <a:pt x="21938" y="10031"/>
                  <a:pt x="22032" y="10000"/>
                  <a:pt x="22063" y="9969"/>
                </a:cubicBezTo>
                <a:cubicBezTo>
                  <a:pt x="22219" y="9844"/>
                  <a:pt x="22313" y="9844"/>
                  <a:pt x="22407" y="9969"/>
                </a:cubicBezTo>
                <a:cubicBezTo>
                  <a:pt x="22344" y="10000"/>
                  <a:pt x="22313" y="10062"/>
                  <a:pt x="22313" y="10125"/>
                </a:cubicBezTo>
                <a:close/>
                <a:moveTo>
                  <a:pt x="21750" y="9656"/>
                </a:moveTo>
                <a:cubicBezTo>
                  <a:pt x="21782" y="9656"/>
                  <a:pt x="21782" y="9656"/>
                  <a:pt x="21813" y="9625"/>
                </a:cubicBezTo>
                <a:cubicBezTo>
                  <a:pt x="21782" y="9656"/>
                  <a:pt x="21782" y="9656"/>
                  <a:pt x="21750" y="9656"/>
                </a:cubicBezTo>
                <a:close/>
                <a:moveTo>
                  <a:pt x="21563" y="9719"/>
                </a:moveTo>
                <a:cubicBezTo>
                  <a:pt x="21594" y="9719"/>
                  <a:pt x="21594" y="9719"/>
                  <a:pt x="21625" y="9719"/>
                </a:cubicBezTo>
                <a:cubicBezTo>
                  <a:pt x="21594" y="9719"/>
                  <a:pt x="21594" y="9719"/>
                  <a:pt x="21563" y="9719"/>
                </a:cubicBezTo>
                <a:close/>
                <a:moveTo>
                  <a:pt x="20375" y="3812"/>
                </a:moveTo>
                <a:cubicBezTo>
                  <a:pt x="20375" y="3812"/>
                  <a:pt x="20375" y="3812"/>
                  <a:pt x="20375" y="3812"/>
                </a:cubicBezTo>
                <a:cubicBezTo>
                  <a:pt x="20375" y="3812"/>
                  <a:pt x="20375" y="3812"/>
                  <a:pt x="20375" y="3812"/>
                </a:cubicBezTo>
                <a:close/>
                <a:moveTo>
                  <a:pt x="20375" y="8844"/>
                </a:moveTo>
                <a:cubicBezTo>
                  <a:pt x="20375" y="8844"/>
                  <a:pt x="20375" y="8844"/>
                  <a:pt x="20375" y="8844"/>
                </a:cubicBezTo>
                <a:cubicBezTo>
                  <a:pt x="20375" y="8844"/>
                  <a:pt x="20375" y="8844"/>
                  <a:pt x="20375" y="8844"/>
                </a:cubicBezTo>
                <a:cubicBezTo>
                  <a:pt x="20188" y="8937"/>
                  <a:pt x="19813" y="8875"/>
                  <a:pt x="19938" y="9281"/>
                </a:cubicBezTo>
                <a:cubicBezTo>
                  <a:pt x="19938" y="9281"/>
                  <a:pt x="19938" y="9281"/>
                  <a:pt x="19938" y="9281"/>
                </a:cubicBezTo>
                <a:cubicBezTo>
                  <a:pt x="19813" y="8875"/>
                  <a:pt x="20188" y="8937"/>
                  <a:pt x="20375" y="8844"/>
                </a:cubicBezTo>
                <a:close/>
                <a:moveTo>
                  <a:pt x="19063" y="5719"/>
                </a:moveTo>
                <a:cubicBezTo>
                  <a:pt x="19063" y="5687"/>
                  <a:pt x="19063" y="5687"/>
                  <a:pt x="19063" y="5687"/>
                </a:cubicBezTo>
                <a:cubicBezTo>
                  <a:pt x="19063" y="5687"/>
                  <a:pt x="19063" y="5687"/>
                  <a:pt x="19063" y="5719"/>
                </a:cubicBezTo>
                <a:close/>
                <a:moveTo>
                  <a:pt x="19063" y="5719"/>
                </a:moveTo>
                <a:cubicBezTo>
                  <a:pt x="19063" y="5750"/>
                  <a:pt x="19063" y="5750"/>
                  <a:pt x="19063" y="5781"/>
                </a:cubicBezTo>
                <a:cubicBezTo>
                  <a:pt x="19063" y="5750"/>
                  <a:pt x="19063" y="5750"/>
                  <a:pt x="19063" y="5719"/>
                </a:cubicBezTo>
                <a:close/>
                <a:moveTo>
                  <a:pt x="19063" y="5625"/>
                </a:moveTo>
                <a:cubicBezTo>
                  <a:pt x="19063" y="5625"/>
                  <a:pt x="19063" y="5625"/>
                  <a:pt x="19063" y="5625"/>
                </a:cubicBezTo>
                <a:cubicBezTo>
                  <a:pt x="19063" y="5625"/>
                  <a:pt x="19063" y="5625"/>
                  <a:pt x="19063" y="5625"/>
                </a:cubicBezTo>
                <a:close/>
                <a:moveTo>
                  <a:pt x="18563" y="5844"/>
                </a:moveTo>
                <a:cubicBezTo>
                  <a:pt x="18563" y="5844"/>
                  <a:pt x="18563" y="5844"/>
                  <a:pt x="18594" y="5844"/>
                </a:cubicBezTo>
                <a:cubicBezTo>
                  <a:pt x="18594" y="5844"/>
                  <a:pt x="18594" y="5844"/>
                  <a:pt x="18594" y="5844"/>
                </a:cubicBezTo>
                <a:cubicBezTo>
                  <a:pt x="18563" y="5844"/>
                  <a:pt x="18563" y="5844"/>
                  <a:pt x="18563" y="5844"/>
                </a:cubicBezTo>
                <a:close/>
                <a:moveTo>
                  <a:pt x="18157" y="6406"/>
                </a:moveTo>
                <a:cubicBezTo>
                  <a:pt x="18157" y="6375"/>
                  <a:pt x="18157" y="6344"/>
                  <a:pt x="18157" y="6312"/>
                </a:cubicBezTo>
                <a:cubicBezTo>
                  <a:pt x="18219" y="6219"/>
                  <a:pt x="18063" y="6031"/>
                  <a:pt x="18188" y="6031"/>
                </a:cubicBezTo>
                <a:cubicBezTo>
                  <a:pt x="18344" y="6000"/>
                  <a:pt x="18563" y="5906"/>
                  <a:pt x="18688" y="6156"/>
                </a:cubicBezTo>
                <a:cubicBezTo>
                  <a:pt x="18688" y="6219"/>
                  <a:pt x="18657" y="6312"/>
                  <a:pt x="18719" y="6375"/>
                </a:cubicBezTo>
                <a:cubicBezTo>
                  <a:pt x="18782" y="6469"/>
                  <a:pt x="18688" y="6562"/>
                  <a:pt x="18657" y="6562"/>
                </a:cubicBezTo>
                <a:cubicBezTo>
                  <a:pt x="18532" y="6375"/>
                  <a:pt x="18282" y="6625"/>
                  <a:pt x="18157" y="6406"/>
                </a:cubicBezTo>
                <a:close/>
                <a:moveTo>
                  <a:pt x="21125" y="10781"/>
                </a:moveTo>
                <a:cubicBezTo>
                  <a:pt x="21219" y="10844"/>
                  <a:pt x="21313" y="10844"/>
                  <a:pt x="21407" y="10844"/>
                </a:cubicBezTo>
                <a:cubicBezTo>
                  <a:pt x="21313" y="10844"/>
                  <a:pt x="21219" y="10844"/>
                  <a:pt x="21125" y="10781"/>
                </a:cubicBezTo>
                <a:cubicBezTo>
                  <a:pt x="21125" y="10781"/>
                  <a:pt x="21125" y="10781"/>
                  <a:pt x="21125" y="10781"/>
                </a:cubicBezTo>
                <a:close/>
                <a:moveTo>
                  <a:pt x="21969" y="8406"/>
                </a:moveTo>
                <a:cubicBezTo>
                  <a:pt x="21969" y="8406"/>
                  <a:pt x="22000" y="8437"/>
                  <a:pt x="22000" y="8437"/>
                </a:cubicBezTo>
                <a:cubicBezTo>
                  <a:pt x="22000" y="8437"/>
                  <a:pt x="21969" y="8406"/>
                  <a:pt x="21969" y="8406"/>
                </a:cubicBezTo>
                <a:close/>
                <a:moveTo>
                  <a:pt x="23938" y="14000"/>
                </a:moveTo>
                <a:cubicBezTo>
                  <a:pt x="23938" y="14000"/>
                  <a:pt x="23938" y="14000"/>
                  <a:pt x="23938" y="14000"/>
                </a:cubicBezTo>
                <a:cubicBezTo>
                  <a:pt x="23938" y="14000"/>
                  <a:pt x="23938" y="14000"/>
                  <a:pt x="23938" y="14000"/>
                </a:cubicBezTo>
                <a:close/>
                <a:moveTo>
                  <a:pt x="23938" y="14000"/>
                </a:moveTo>
                <a:cubicBezTo>
                  <a:pt x="23938" y="14000"/>
                  <a:pt x="23938" y="14000"/>
                  <a:pt x="23938" y="14000"/>
                </a:cubicBezTo>
                <a:cubicBezTo>
                  <a:pt x="23938" y="14000"/>
                  <a:pt x="23938" y="14000"/>
                  <a:pt x="23938" y="14000"/>
                </a:cubicBezTo>
                <a:cubicBezTo>
                  <a:pt x="23938" y="14000"/>
                  <a:pt x="23938" y="14000"/>
                  <a:pt x="23938" y="14000"/>
                </a:cubicBezTo>
                <a:close/>
                <a:moveTo>
                  <a:pt x="23969" y="14000"/>
                </a:moveTo>
                <a:cubicBezTo>
                  <a:pt x="23969" y="13937"/>
                  <a:pt x="23969" y="13906"/>
                  <a:pt x="23938" y="13844"/>
                </a:cubicBezTo>
                <a:cubicBezTo>
                  <a:pt x="23969" y="13906"/>
                  <a:pt x="23969" y="13937"/>
                  <a:pt x="23969" y="14000"/>
                </a:cubicBezTo>
                <a:cubicBezTo>
                  <a:pt x="23969" y="14000"/>
                  <a:pt x="23969" y="14000"/>
                  <a:pt x="23969" y="14000"/>
                </a:cubicBezTo>
                <a:close/>
                <a:moveTo>
                  <a:pt x="25469" y="14406"/>
                </a:moveTo>
                <a:cubicBezTo>
                  <a:pt x="25469" y="14437"/>
                  <a:pt x="25469" y="14437"/>
                  <a:pt x="25469" y="14437"/>
                </a:cubicBezTo>
                <a:cubicBezTo>
                  <a:pt x="25469" y="14437"/>
                  <a:pt x="25469" y="14437"/>
                  <a:pt x="25469" y="14406"/>
                </a:cubicBezTo>
                <a:cubicBezTo>
                  <a:pt x="25469" y="14406"/>
                  <a:pt x="25469" y="14406"/>
                  <a:pt x="25469" y="14406"/>
                </a:cubicBezTo>
                <a:close/>
                <a:moveTo>
                  <a:pt x="23000" y="4000"/>
                </a:moveTo>
                <a:cubicBezTo>
                  <a:pt x="23000" y="4031"/>
                  <a:pt x="23000" y="4031"/>
                  <a:pt x="23032" y="4062"/>
                </a:cubicBezTo>
                <a:cubicBezTo>
                  <a:pt x="23000" y="4062"/>
                  <a:pt x="23000" y="4094"/>
                  <a:pt x="23000" y="4094"/>
                </a:cubicBezTo>
                <a:cubicBezTo>
                  <a:pt x="22969" y="4094"/>
                  <a:pt x="22969" y="4062"/>
                  <a:pt x="22969" y="4062"/>
                </a:cubicBezTo>
                <a:cubicBezTo>
                  <a:pt x="22969" y="4031"/>
                  <a:pt x="22969" y="4031"/>
                  <a:pt x="23000" y="4000"/>
                </a:cubicBezTo>
                <a:close/>
                <a:moveTo>
                  <a:pt x="21750" y="3562"/>
                </a:moveTo>
                <a:cubicBezTo>
                  <a:pt x="21844" y="3625"/>
                  <a:pt x="21875" y="3687"/>
                  <a:pt x="21750" y="3750"/>
                </a:cubicBezTo>
                <a:cubicBezTo>
                  <a:pt x="21750" y="3687"/>
                  <a:pt x="21625" y="3625"/>
                  <a:pt x="21750" y="3562"/>
                </a:cubicBezTo>
                <a:close/>
                <a:moveTo>
                  <a:pt x="20532" y="3969"/>
                </a:moveTo>
                <a:cubicBezTo>
                  <a:pt x="20532" y="3937"/>
                  <a:pt x="20532" y="3906"/>
                  <a:pt x="20438" y="3875"/>
                </a:cubicBezTo>
                <a:cubicBezTo>
                  <a:pt x="20438" y="3875"/>
                  <a:pt x="20438" y="3875"/>
                  <a:pt x="20438" y="3875"/>
                </a:cubicBezTo>
                <a:cubicBezTo>
                  <a:pt x="20532" y="3906"/>
                  <a:pt x="20532" y="3937"/>
                  <a:pt x="20532" y="3969"/>
                </a:cubicBezTo>
                <a:close/>
                <a:moveTo>
                  <a:pt x="17000" y="2281"/>
                </a:moveTo>
                <a:cubicBezTo>
                  <a:pt x="17032" y="2250"/>
                  <a:pt x="17032" y="2250"/>
                  <a:pt x="17032" y="2219"/>
                </a:cubicBezTo>
                <a:cubicBezTo>
                  <a:pt x="17063" y="1562"/>
                  <a:pt x="17719" y="1531"/>
                  <a:pt x="18032" y="1156"/>
                </a:cubicBezTo>
                <a:cubicBezTo>
                  <a:pt x="18063" y="1094"/>
                  <a:pt x="18188" y="1125"/>
                  <a:pt x="18157" y="1219"/>
                </a:cubicBezTo>
                <a:cubicBezTo>
                  <a:pt x="18125" y="1312"/>
                  <a:pt x="18094" y="1406"/>
                  <a:pt x="18063" y="1500"/>
                </a:cubicBezTo>
                <a:cubicBezTo>
                  <a:pt x="18063" y="1500"/>
                  <a:pt x="18063" y="1500"/>
                  <a:pt x="18063" y="1500"/>
                </a:cubicBezTo>
                <a:cubicBezTo>
                  <a:pt x="18063" y="1500"/>
                  <a:pt x="18063" y="1500"/>
                  <a:pt x="18063" y="1500"/>
                </a:cubicBezTo>
                <a:cubicBezTo>
                  <a:pt x="17782" y="1375"/>
                  <a:pt x="17782" y="1656"/>
                  <a:pt x="17688" y="1781"/>
                </a:cubicBezTo>
                <a:cubicBezTo>
                  <a:pt x="17875" y="1719"/>
                  <a:pt x="18094" y="1844"/>
                  <a:pt x="18157" y="1594"/>
                </a:cubicBezTo>
                <a:cubicBezTo>
                  <a:pt x="18282" y="1406"/>
                  <a:pt x="18407" y="1219"/>
                  <a:pt x="18532" y="1031"/>
                </a:cubicBezTo>
                <a:cubicBezTo>
                  <a:pt x="18688" y="1187"/>
                  <a:pt x="18625" y="1375"/>
                  <a:pt x="18625" y="1531"/>
                </a:cubicBezTo>
                <a:cubicBezTo>
                  <a:pt x="18625" y="1531"/>
                  <a:pt x="18625" y="1500"/>
                  <a:pt x="18657" y="1500"/>
                </a:cubicBezTo>
                <a:cubicBezTo>
                  <a:pt x="18625" y="1500"/>
                  <a:pt x="18625" y="1531"/>
                  <a:pt x="18625" y="1531"/>
                </a:cubicBezTo>
                <a:cubicBezTo>
                  <a:pt x="18625" y="1625"/>
                  <a:pt x="18750" y="1656"/>
                  <a:pt x="18719" y="1781"/>
                </a:cubicBezTo>
                <a:cubicBezTo>
                  <a:pt x="18719" y="2031"/>
                  <a:pt x="18719" y="2031"/>
                  <a:pt x="18938" y="1969"/>
                </a:cubicBezTo>
                <a:cubicBezTo>
                  <a:pt x="19063" y="1937"/>
                  <a:pt x="19125" y="2000"/>
                  <a:pt x="19157" y="2094"/>
                </a:cubicBezTo>
                <a:cubicBezTo>
                  <a:pt x="19188" y="2187"/>
                  <a:pt x="19188" y="2281"/>
                  <a:pt x="19282" y="2312"/>
                </a:cubicBezTo>
                <a:cubicBezTo>
                  <a:pt x="19344" y="2375"/>
                  <a:pt x="19469" y="2344"/>
                  <a:pt x="19500" y="2406"/>
                </a:cubicBezTo>
                <a:cubicBezTo>
                  <a:pt x="19563" y="2406"/>
                  <a:pt x="19625" y="2375"/>
                  <a:pt x="19657" y="2375"/>
                </a:cubicBezTo>
                <a:cubicBezTo>
                  <a:pt x="19688" y="2375"/>
                  <a:pt x="19688" y="2375"/>
                  <a:pt x="19719" y="2406"/>
                </a:cubicBezTo>
                <a:cubicBezTo>
                  <a:pt x="19688" y="2375"/>
                  <a:pt x="19688" y="2375"/>
                  <a:pt x="19657" y="2375"/>
                </a:cubicBezTo>
                <a:cubicBezTo>
                  <a:pt x="19625" y="2375"/>
                  <a:pt x="19563" y="2406"/>
                  <a:pt x="19500" y="2406"/>
                </a:cubicBezTo>
                <a:cubicBezTo>
                  <a:pt x="19563" y="2531"/>
                  <a:pt x="19500" y="2687"/>
                  <a:pt x="19657" y="2719"/>
                </a:cubicBezTo>
                <a:cubicBezTo>
                  <a:pt x="19782" y="2906"/>
                  <a:pt x="20032" y="2969"/>
                  <a:pt x="20094" y="3187"/>
                </a:cubicBezTo>
                <a:cubicBezTo>
                  <a:pt x="20250" y="3344"/>
                  <a:pt x="20375" y="3562"/>
                  <a:pt x="20375" y="3812"/>
                </a:cubicBezTo>
                <a:cubicBezTo>
                  <a:pt x="20407" y="3812"/>
                  <a:pt x="20438" y="3844"/>
                  <a:pt x="20438" y="3875"/>
                </a:cubicBezTo>
                <a:cubicBezTo>
                  <a:pt x="20438" y="3875"/>
                  <a:pt x="20438" y="3875"/>
                  <a:pt x="20438" y="3875"/>
                </a:cubicBezTo>
                <a:cubicBezTo>
                  <a:pt x="20438" y="3844"/>
                  <a:pt x="20407" y="3812"/>
                  <a:pt x="20375" y="3812"/>
                </a:cubicBezTo>
                <a:cubicBezTo>
                  <a:pt x="20375" y="3562"/>
                  <a:pt x="20250" y="3344"/>
                  <a:pt x="20094" y="3187"/>
                </a:cubicBezTo>
                <a:cubicBezTo>
                  <a:pt x="19969" y="3344"/>
                  <a:pt x="19813" y="3531"/>
                  <a:pt x="20125" y="3687"/>
                </a:cubicBezTo>
                <a:cubicBezTo>
                  <a:pt x="20250" y="3875"/>
                  <a:pt x="20188" y="4094"/>
                  <a:pt x="20125" y="4312"/>
                </a:cubicBezTo>
                <a:cubicBezTo>
                  <a:pt x="20188" y="4312"/>
                  <a:pt x="20219" y="4344"/>
                  <a:pt x="20219" y="4375"/>
                </a:cubicBezTo>
                <a:cubicBezTo>
                  <a:pt x="20250" y="4375"/>
                  <a:pt x="20250" y="4406"/>
                  <a:pt x="20250" y="4437"/>
                </a:cubicBezTo>
                <a:cubicBezTo>
                  <a:pt x="20250" y="4406"/>
                  <a:pt x="20250" y="4375"/>
                  <a:pt x="20219" y="4375"/>
                </a:cubicBezTo>
                <a:cubicBezTo>
                  <a:pt x="20219" y="4344"/>
                  <a:pt x="20188" y="4312"/>
                  <a:pt x="20125" y="4312"/>
                </a:cubicBezTo>
                <a:cubicBezTo>
                  <a:pt x="20094" y="4375"/>
                  <a:pt x="20032" y="4437"/>
                  <a:pt x="20000" y="4500"/>
                </a:cubicBezTo>
                <a:cubicBezTo>
                  <a:pt x="19813" y="4562"/>
                  <a:pt x="19813" y="4750"/>
                  <a:pt x="19844" y="4875"/>
                </a:cubicBezTo>
                <a:cubicBezTo>
                  <a:pt x="19875" y="5062"/>
                  <a:pt x="19907" y="5187"/>
                  <a:pt x="19719" y="5312"/>
                </a:cubicBezTo>
                <a:cubicBezTo>
                  <a:pt x="19594" y="5375"/>
                  <a:pt x="19688" y="5562"/>
                  <a:pt x="19594" y="5687"/>
                </a:cubicBezTo>
                <a:cubicBezTo>
                  <a:pt x="19563" y="5625"/>
                  <a:pt x="19500" y="5562"/>
                  <a:pt x="19469" y="5500"/>
                </a:cubicBezTo>
                <a:cubicBezTo>
                  <a:pt x="19407" y="5687"/>
                  <a:pt x="19282" y="5812"/>
                  <a:pt x="19188" y="6062"/>
                </a:cubicBezTo>
                <a:cubicBezTo>
                  <a:pt x="19125" y="5812"/>
                  <a:pt x="19094" y="5656"/>
                  <a:pt x="19094" y="5531"/>
                </a:cubicBezTo>
                <a:cubicBezTo>
                  <a:pt x="19094" y="5531"/>
                  <a:pt x="19094" y="5531"/>
                  <a:pt x="19094" y="5531"/>
                </a:cubicBezTo>
                <a:cubicBezTo>
                  <a:pt x="19094" y="5531"/>
                  <a:pt x="19094" y="5531"/>
                  <a:pt x="19094" y="5531"/>
                </a:cubicBezTo>
                <a:cubicBezTo>
                  <a:pt x="19219" y="5500"/>
                  <a:pt x="19407" y="5500"/>
                  <a:pt x="19344" y="5281"/>
                </a:cubicBezTo>
                <a:cubicBezTo>
                  <a:pt x="19313" y="5219"/>
                  <a:pt x="19375" y="5187"/>
                  <a:pt x="19407" y="5219"/>
                </a:cubicBezTo>
                <a:cubicBezTo>
                  <a:pt x="19532" y="5344"/>
                  <a:pt x="19500" y="5250"/>
                  <a:pt x="19500" y="5156"/>
                </a:cubicBezTo>
                <a:cubicBezTo>
                  <a:pt x="19375" y="4687"/>
                  <a:pt x="19188" y="4281"/>
                  <a:pt x="18969" y="3844"/>
                </a:cubicBezTo>
                <a:cubicBezTo>
                  <a:pt x="18938" y="3781"/>
                  <a:pt x="18844" y="3781"/>
                  <a:pt x="18813" y="3844"/>
                </a:cubicBezTo>
                <a:cubicBezTo>
                  <a:pt x="18625" y="3656"/>
                  <a:pt x="18407" y="3469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87"/>
                  <a:pt x="18094" y="3719"/>
                  <a:pt x="18032" y="3687"/>
                </a:cubicBezTo>
                <a:cubicBezTo>
                  <a:pt x="18063" y="3656"/>
                  <a:pt x="18094" y="3656"/>
                  <a:pt x="18125" y="3625"/>
                </a:cubicBezTo>
                <a:cubicBezTo>
                  <a:pt x="18094" y="3594"/>
                  <a:pt x="18125" y="3531"/>
                  <a:pt x="18063" y="3500"/>
                </a:cubicBezTo>
                <a:cubicBezTo>
                  <a:pt x="18032" y="3500"/>
                  <a:pt x="18032" y="3531"/>
                  <a:pt x="18000" y="3531"/>
                </a:cubicBezTo>
                <a:cubicBezTo>
                  <a:pt x="17969" y="3531"/>
                  <a:pt x="18000" y="3500"/>
                  <a:pt x="18032" y="3469"/>
                </a:cubicBezTo>
                <a:cubicBezTo>
                  <a:pt x="18188" y="3250"/>
                  <a:pt x="18032" y="3187"/>
                  <a:pt x="17844" y="3125"/>
                </a:cubicBezTo>
                <a:cubicBezTo>
                  <a:pt x="17844" y="3156"/>
                  <a:pt x="17813" y="3187"/>
                  <a:pt x="17813" y="3250"/>
                </a:cubicBezTo>
                <a:cubicBezTo>
                  <a:pt x="17813" y="3250"/>
                  <a:pt x="17782" y="3250"/>
                  <a:pt x="17782" y="3250"/>
                </a:cubicBezTo>
                <a:cubicBezTo>
                  <a:pt x="17782" y="3250"/>
                  <a:pt x="17750" y="3250"/>
                  <a:pt x="17750" y="3281"/>
                </a:cubicBezTo>
                <a:cubicBezTo>
                  <a:pt x="17750" y="3281"/>
                  <a:pt x="17719" y="3281"/>
                  <a:pt x="17719" y="3281"/>
                </a:cubicBezTo>
                <a:cubicBezTo>
                  <a:pt x="17719" y="3281"/>
                  <a:pt x="17750" y="3281"/>
                  <a:pt x="17750" y="3281"/>
                </a:cubicBezTo>
                <a:cubicBezTo>
                  <a:pt x="17750" y="3250"/>
                  <a:pt x="17782" y="3250"/>
                  <a:pt x="17782" y="3250"/>
                </a:cubicBezTo>
                <a:cubicBezTo>
                  <a:pt x="17782" y="3250"/>
                  <a:pt x="17813" y="3250"/>
                  <a:pt x="17813" y="3250"/>
                </a:cubicBezTo>
                <a:cubicBezTo>
                  <a:pt x="17813" y="3187"/>
                  <a:pt x="17782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2969"/>
                  <a:pt x="17844" y="2844"/>
                  <a:pt x="17844" y="2687"/>
                </a:cubicBezTo>
                <a:cubicBezTo>
                  <a:pt x="17844" y="2687"/>
                  <a:pt x="17844" y="2687"/>
                  <a:pt x="17844" y="2687"/>
                </a:cubicBezTo>
                <a:cubicBezTo>
                  <a:pt x="18250" y="2219"/>
                  <a:pt x="17563" y="2344"/>
                  <a:pt x="17563" y="2062"/>
                </a:cubicBezTo>
                <a:cubicBezTo>
                  <a:pt x="17438" y="2344"/>
                  <a:pt x="17532" y="2469"/>
                  <a:pt x="17719" y="2500"/>
                </a:cubicBezTo>
                <a:cubicBezTo>
                  <a:pt x="17719" y="2594"/>
                  <a:pt x="17594" y="2562"/>
                  <a:pt x="17563" y="2625"/>
                </a:cubicBezTo>
                <a:cubicBezTo>
                  <a:pt x="17563" y="2656"/>
                  <a:pt x="17563" y="2719"/>
                  <a:pt x="17532" y="2750"/>
                </a:cubicBezTo>
                <a:cubicBezTo>
                  <a:pt x="17532" y="2750"/>
                  <a:pt x="17532" y="2781"/>
                  <a:pt x="17500" y="2781"/>
                </a:cubicBezTo>
                <a:cubicBezTo>
                  <a:pt x="17532" y="2781"/>
                  <a:pt x="17532" y="2750"/>
                  <a:pt x="17532" y="2750"/>
                </a:cubicBezTo>
                <a:cubicBezTo>
                  <a:pt x="17563" y="2719"/>
                  <a:pt x="17563" y="2656"/>
                  <a:pt x="17563" y="2625"/>
                </a:cubicBezTo>
                <a:cubicBezTo>
                  <a:pt x="17532" y="2594"/>
                  <a:pt x="17469" y="2594"/>
                  <a:pt x="17438" y="2562"/>
                </a:cubicBezTo>
                <a:cubicBezTo>
                  <a:pt x="17407" y="2656"/>
                  <a:pt x="17407" y="2750"/>
                  <a:pt x="17438" y="2812"/>
                </a:cubicBezTo>
                <a:cubicBezTo>
                  <a:pt x="17407" y="2844"/>
                  <a:pt x="17375" y="2844"/>
                  <a:pt x="17344" y="2875"/>
                </a:cubicBezTo>
                <a:cubicBezTo>
                  <a:pt x="17219" y="2812"/>
                  <a:pt x="17344" y="2656"/>
                  <a:pt x="17250" y="2562"/>
                </a:cubicBezTo>
                <a:cubicBezTo>
                  <a:pt x="17032" y="2781"/>
                  <a:pt x="16938" y="3125"/>
                  <a:pt x="17000" y="3437"/>
                </a:cubicBezTo>
                <a:cubicBezTo>
                  <a:pt x="17032" y="3531"/>
                  <a:pt x="17032" y="3625"/>
                  <a:pt x="16969" y="3687"/>
                </a:cubicBezTo>
                <a:cubicBezTo>
                  <a:pt x="16782" y="4031"/>
                  <a:pt x="16813" y="4344"/>
                  <a:pt x="17032" y="4656"/>
                </a:cubicBezTo>
                <a:cubicBezTo>
                  <a:pt x="17094" y="4719"/>
                  <a:pt x="17125" y="4781"/>
                  <a:pt x="17157" y="4875"/>
                </a:cubicBezTo>
                <a:cubicBezTo>
                  <a:pt x="17188" y="4906"/>
                  <a:pt x="17188" y="4937"/>
                  <a:pt x="17219" y="4969"/>
                </a:cubicBezTo>
                <a:cubicBezTo>
                  <a:pt x="17188" y="4937"/>
                  <a:pt x="17188" y="4906"/>
                  <a:pt x="17157" y="4875"/>
                </a:cubicBezTo>
                <a:cubicBezTo>
                  <a:pt x="17125" y="4781"/>
                  <a:pt x="17094" y="4719"/>
                  <a:pt x="17032" y="4656"/>
                </a:cubicBezTo>
                <a:cubicBezTo>
                  <a:pt x="16969" y="4844"/>
                  <a:pt x="16688" y="4969"/>
                  <a:pt x="16907" y="5187"/>
                </a:cubicBezTo>
                <a:cubicBezTo>
                  <a:pt x="16907" y="5187"/>
                  <a:pt x="16875" y="5219"/>
                  <a:pt x="16875" y="5250"/>
                </a:cubicBezTo>
                <a:cubicBezTo>
                  <a:pt x="16688" y="5469"/>
                  <a:pt x="16782" y="5656"/>
                  <a:pt x="17063" y="5687"/>
                </a:cubicBezTo>
                <a:cubicBezTo>
                  <a:pt x="16969" y="5781"/>
                  <a:pt x="16719" y="5719"/>
                  <a:pt x="16782" y="5969"/>
                </a:cubicBezTo>
                <a:cubicBezTo>
                  <a:pt x="16782" y="6031"/>
                  <a:pt x="16719" y="6094"/>
                  <a:pt x="16657" y="6062"/>
                </a:cubicBezTo>
                <a:cubicBezTo>
                  <a:pt x="16532" y="6031"/>
                  <a:pt x="16625" y="5906"/>
                  <a:pt x="16594" y="5844"/>
                </a:cubicBezTo>
                <a:cubicBezTo>
                  <a:pt x="16563" y="5500"/>
                  <a:pt x="16438" y="5187"/>
                  <a:pt x="16532" y="4844"/>
                </a:cubicBezTo>
                <a:cubicBezTo>
                  <a:pt x="16313" y="5000"/>
                  <a:pt x="16282" y="4906"/>
                  <a:pt x="16282" y="4719"/>
                </a:cubicBezTo>
                <a:cubicBezTo>
                  <a:pt x="16282" y="4562"/>
                  <a:pt x="16344" y="4375"/>
                  <a:pt x="16157" y="4250"/>
                </a:cubicBezTo>
                <a:cubicBezTo>
                  <a:pt x="16313" y="4000"/>
                  <a:pt x="16188" y="3687"/>
                  <a:pt x="16344" y="3469"/>
                </a:cubicBezTo>
                <a:cubicBezTo>
                  <a:pt x="16563" y="3062"/>
                  <a:pt x="16625" y="2562"/>
                  <a:pt x="17000" y="2281"/>
                </a:cubicBezTo>
                <a:close/>
                <a:moveTo>
                  <a:pt x="18032" y="1531"/>
                </a:moveTo>
                <a:cubicBezTo>
                  <a:pt x="18063" y="1562"/>
                  <a:pt x="18094" y="1594"/>
                  <a:pt x="18094" y="1594"/>
                </a:cubicBezTo>
                <a:cubicBezTo>
                  <a:pt x="18094" y="1594"/>
                  <a:pt x="18063" y="1562"/>
                  <a:pt x="18032" y="1531"/>
                </a:cubicBezTo>
                <a:close/>
                <a:moveTo>
                  <a:pt x="17844" y="2594"/>
                </a:moveTo>
                <a:cubicBezTo>
                  <a:pt x="17844" y="2594"/>
                  <a:pt x="17844" y="2594"/>
                  <a:pt x="17844" y="2594"/>
                </a:cubicBezTo>
                <a:cubicBezTo>
                  <a:pt x="17844" y="2594"/>
                  <a:pt x="17844" y="2594"/>
                  <a:pt x="17844" y="2594"/>
                </a:cubicBezTo>
                <a:close/>
                <a:moveTo>
                  <a:pt x="16907" y="5406"/>
                </a:moveTo>
                <a:cubicBezTo>
                  <a:pt x="16907" y="5437"/>
                  <a:pt x="16907" y="5437"/>
                  <a:pt x="16875" y="5437"/>
                </a:cubicBezTo>
                <a:cubicBezTo>
                  <a:pt x="16875" y="5437"/>
                  <a:pt x="16875" y="5437"/>
                  <a:pt x="16875" y="5406"/>
                </a:cubicBezTo>
                <a:cubicBezTo>
                  <a:pt x="16875" y="5406"/>
                  <a:pt x="16875" y="5406"/>
                  <a:pt x="16875" y="5406"/>
                </a:cubicBezTo>
                <a:cubicBezTo>
                  <a:pt x="16907" y="5406"/>
                  <a:pt x="16907" y="5406"/>
                  <a:pt x="16907" y="5406"/>
                </a:cubicBezTo>
                <a:close/>
                <a:moveTo>
                  <a:pt x="16344" y="2500"/>
                </a:moveTo>
                <a:cubicBezTo>
                  <a:pt x="16344" y="2500"/>
                  <a:pt x="16344" y="2500"/>
                  <a:pt x="16344" y="2500"/>
                </a:cubicBezTo>
                <a:cubicBezTo>
                  <a:pt x="16344" y="2531"/>
                  <a:pt x="16344" y="2562"/>
                  <a:pt x="16313" y="2594"/>
                </a:cubicBezTo>
                <a:cubicBezTo>
                  <a:pt x="16344" y="2562"/>
                  <a:pt x="16344" y="2531"/>
                  <a:pt x="16344" y="2500"/>
                </a:cubicBezTo>
                <a:close/>
                <a:moveTo>
                  <a:pt x="17313" y="12094"/>
                </a:moveTo>
                <a:cubicBezTo>
                  <a:pt x="17407" y="12062"/>
                  <a:pt x="17500" y="12031"/>
                  <a:pt x="17688" y="12031"/>
                </a:cubicBezTo>
                <a:cubicBezTo>
                  <a:pt x="17532" y="12156"/>
                  <a:pt x="17407" y="12094"/>
                  <a:pt x="17313" y="12094"/>
                </a:cubicBezTo>
                <a:close/>
                <a:moveTo>
                  <a:pt x="18250" y="12906"/>
                </a:moveTo>
                <a:cubicBezTo>
                  <a:pt x="18532" y="12781"/>
                  <a:pt x="18844" y="12781"/>
                  <a:pt x="19094" y="12656"/>
                </a:cubicBezTo>
                <a:cubicBezTo>
                  <a:pt x="18844" y="12781"/>
                  <a:pt x="18657" y="13125"/>
                  <a:pt x="18250" y="12906"/>
                </a:cubicBezTo>
                <a:close/>
                <a:moveTo>
                  <a:pt x="21907" y="13469"/>
                </a:moveTo>
                <a:cubicBezTo>
                  <a:pt x="21907" y="13406"/>
                  <a:pt x="21938" y="13406"/>
                  <a:pt x="21969" y="13375"/>
                </a:cubicBezTo>
                <a:cubicBezTo>
                  <a:pt x="21938" y="13406"/>
                  <a:pt x="21907" y="13406"/>
                  <a:pt x="21907" y="13469"/>
                </a:cubicBezTo>
                <a:close/>
                <a:moveTo>
                  <a:pt x="23532" y="13312"/>
                </a:moveTo>
                <a:cubicBezTo>
                  <a:pt x="23625" y="13312"/>
                  <a:pt x="23688" y="13312"/>
                  <a:pt x="23782" y="13281"/>
                </a:cubicBezTo>
                <a:cubicBezTo>
                  <a:pt x="23688" y="13312"/>
                  <a:pt x="23625" y="13312"/>
                  <a:pt x="23532" y="13312"/>
                </a:cubicBezTo>
                <a:close/>
                <a:moveTo>
                  <a:pt x="23969" y="14594"/>
                </a:moveTo>
                <a:cubicBezTo>
                  <a:pt x="23969" y="14594"/>
                  <a:pt x="23938" y="14594"/>
                  <a:pt x="23938" y="14594"/>
                </a:cubicBezTo>
                <a:cubicBezTo>
                  <a:pt x="23938" y="14562"/>
                  <a:pt x="23938" y="14531"/>
                  <a:pt x="23938" y="14531"/>
                </a:cubicBezTo>
                <a:cubicBezTo>
                  <a:pt x="23969" y="14531"/>
                  <a:pt x="23969" y="14562"/>
                  <a:pt x="24000" y="14562"/>
                </a:cubicBezTo>
                <a:cubicBezTo>
                  <a:pt x="24000" y="14562"/>
                  <a:pt x="24000" y="14594"/>
                  <a:pt x="23969" y="14594"/>
                </a:cubicBezTo>
                <a:close/>
                <a:moveTo>
                  <a:pt x="25438" y="14500"/>
                </a:moveTo>
                <a:cubicBezTo>
                  <a:pt x="25438" y="14500"/>
                  <a:pt x="25469" y="14469"/>
                  <a:pt x="25469" y="14437"/>
                </a:cubicBezTo>
                <a:cubicBezTo>
                  <a:pt x="25469" y="14437"/>
                  <a:pt x="25469" y="14437"/>
                  <a:pt x="25469" y="14437"/>
                </a:cubicBezTo>
                <a:cubicBezTo>
                  <a:pt x="25469" y="14469"/>
                  <a:pt x="25438" y="14500"/>
                  <a:pt x="25438" y="14500"/>
                </a:cubicBezTo>
                <a:close/>
                <a:moveTo>
                  <a:pt x="29750" y="16906"/>
                </a:moveTo>
                <a:cubicBezTo>
                  <a:pt x="29719" y="16969"/>
                  <a:pt x="29688" y="17062"/>
                  <a:pt x="29657" y="17125"/>
                </a:cubicBezTo>
                <a:cubicBezTo>
                  <a:pt x="29688" y="17062"/>
                  <a:pt x="29719" y="16969"/>
                  <a:pt x="29750" y="16906"/>
                </a:cubicBezTo>
                <a:cubicBezTo>
                  <a:pt x="29782" y="16844"/>
                  <a:pt x="29782" y="16812"/>
                  <a:pt x="29813" y="16781"/>
                </a:cubicBezTo>
                <a:cubicBezTo>
                  <a:pt x="29813" y="16781"/>
                  <a:pt x="29813" y="16781"/>
                  <a:pt x="29813" y="16781"/>
                </a:cubicBezTo>
                <a:cubicBezTo>
                  <a:pt x="29782" y="16812"/>
                  <a:pt x="29782" y="16844"/>
                  <a:pt x="29750" y="16906"/>
                </a:cubicBezTo>
                <a:close/>
                <a:moveTo>
                  <a:pt x="29938" y="16594"/>
                </a:moveTo>
                <a:cubicBezTo>
                  <a:pt x="29938" y="16594"/>
                  <a:pt x="29938" y="16594"/>
                  <a:pt x="29938" y="16594"/>
                </a:cubicBezTo>
                <a:cubicBezTo>
                  <a:pt x="29938" y="16594"/>
                  <a:pt x="29907" y="16594"/>
                  <a:pt x="29907" y="16625"/>
                </a:cubicBezTo>
                <a:cubicBezTo>
                  <a:pt x="29907" y="16594"/>
                  <a:pt x="29938" y="16594"/>
                  <a:pt x="29938" y="16594"/>
                </a:cubicBezTo>
                <a:close/>
                <a:moveTo>
                  <a:pt x="28282" y="6344"/>
                </a:moveTo>
                <a:cubicBezTo>
                  <a:pt x="28282" y="6469"/>
                  <a:pt x="27969" y="6469"/>
                  <a:pt x="28188" y="6625"/>
                </a:cubicBezTo>
                <a:cubicBezTo>
                  <a:pt x="28125" y="6656"/>
                  <a:pt x="28094" y="6687"/>
                  <a:pt x="28063" y="6719"/>
                </a:cubicBezTo>
                <a:cubicBezTo>
                  <a:pt x="27969" y="6656"/>
                  <a:pt x="27782" y="6625"/>
                  <a:pt x="27875" y="6469"/>
                </a:cubicBezTo>
                <a:cubicBezTo>
                  <a:pt x="27938" y="6312"/>
                  <a:pt x="28094" y="6312"/>
                  <a:pt x="28282" y="6344"/>
                </a:cubicBezTo>
                <a:close/>
                <a:moveTo>
                  <a:pt x="28719" y="4687"/>
                </a:moveTo>
                <a:cubicBezTo>
                  <a:pt x="28719" y="4687"/>
                  <a:pt x="28719" y="4656"/>
                  <a:pt x="28750" y="4656"/>
                </a:cubicBezTo>
                <a:cubicBezTo>
                  <a:pt x="28719" y="4656"/>
                  <a:pt x="28719" y="4687"/>
                  <a:pt x="28719" y="4687"/>
                </a:cubicBezTo>
                <a:close/>
                <a:moveTo>
                  <a:pt x="31125" y="1906"/>
                </a:moveTo>
                <a:cubicBezTo>
                  <a:pt x="31125" y="1906"/>
                  <a:pt x="31125" y="1906"/>
                  <a:pt x="31125" y="1906"/>
                </a:cubicBezTo>
                <a:cubicBezTo>
                  <a:pt x="31125" y="1937"/>
                  <a:pt x="31157" y="1937"/>
                  <a:pt x="31157" y="1969"/>
                </a:cubicBezTo>
                <a:cubicBezTo>
                  <a:pt x="31157" y="1937"/>
                  <a:pt x="31125" y="1937"/>
                  <a:pt x="31125" y="1906"/>
                </a:cubicBezTo>
                <a:close/>
                <a:moveTo>
                  <a:pt x="500" y="23344"/>
                </a:moveTo>
                <a:cubicBezTo>
                  <a:pt x="438" y="23281"/>
                  <a:pt x="344" y="23250"/>
                  <a:pt x="282" y="23219"/>
                </a:cubicBezTo>
                <a:cubicBezTo>
                  <a:pt x="94" y="23125"/>
                  <a:pt x="125" y="23312"/>
                  <a:pt x="63" y="23375"/>
                </a:cubicBezTo>
                <a:cubicBezTo>
                  <a:pt x="32" y="23437"/>
                  <a:pt x="0" y="23531"/>
                  <a:pt x="125" y="23531"/>
                </a:cubicBezTo>
                <a:cubicBezTo>
                  <a:pt x="688" y="23562"/>
                  <a:pt x="1250" y="23531"/>
                  <a:pt x="1750" y="23250"/>
                </a:cubicBezTo>
                <a:cubicBezTo>
                  <a:pt x="1500" y="23312"/>
                  <a:pt x="1250" y="23219"/>
                  <a:pt x="1000" y="23406"/>
                </a:cubicBezTo>
                <a:cubicBezTo>
                  <a:pt x="875" y="23500"/>
                  <a:pt x="657" y="23500"/>
                  <a:pt x="500" y="23344"/>
                </a:cubicBezTo>
                <a:close/>
                <a:moveTo>
                  <a:pt x="20719" y="23781"/>
                </a:moveTo>
                <a:cubicBezTo>
                  <a:pt x="20719" y="23719"/>
                  <a:pt x="20625" y="23687"/>
                  <a:pt x="20532" y="23687"/>
                </a:cubicBezTo>
                <a:cubicBezTo>
                  <a:pt x="20469" y="23687"/>
                  <a:pt x="20407" y="23656"/>
                  <a:pt x="20375" y="23562"/>
                </a:cubicBezTo>
                <a:cubicBezTo>
                  <a:pt x="20313" y="23469"/>
                  <a:pt x="20219" y="23312"/>
                  <a:pt x="20094" y="23406"/>
                </a:cubicBezTo>
                <a:cubicBezTo>
                  <a:pt x="20000" y="23500"/>
                  <a:pt x="20125" y="23656"/>
                  <a:pt x="20188" y="23719"/>
                </a:cubicBezTo>
                <a:cubicBezTo>
                  <a:pt x="20313" y="23844"/>
                  <a:pt x="20438" y="23906"/>
                  <a:pt x="20563" y="24000"/>
                </a:cubicBezTo>
                <a:cubicBezTo>
                  <a:pt x="20625" y="24062"/>
                  <a:pt x="20719" y="24062"/>
                  <a:pt x="20688" y="24156"/>
                </a:cubicBezTo>
                <a:cubicBezTo>
                  <a:pt x="20657" y="24375"/>
                  <a:pt x="20782" y="24375"/>
                  <a:pt x="20938" y="24375"/>
                </a:cubicBezTo>
                <a:cubicBezTo>
                  <a:pt x="20938" y="24375"/>
                  <a:pt x="20969" y="24375"/>
                  <a:pt x="20969" y="24344"/>
                </a:cubicBezTo>
                <a:cubicBezTo>
                  <a:pt x="20969" y="24375"/>
                  <a:pt x="20969" y="24375"/>
                  <a:pt x="20969" y="24406"/>
                </a:cubicBezTo>
                <a:cubicBezTo>
                  <a:pt x="20969" y="24469"/>
                  <a:pt x="20938" y="24594"/>
                  <a:pt x="21032" y="24562"/>
                </a:cubicBezTo>
                <a:cubicBezTo>
                  <a:pt x="21094" y="24562"/>
                  <a:pt x="21157" y="24562"/>
                  <a:pt x="21219" y="24531"/>
                </a:cubicBezTo>
                <a:cubicBezTo>
                  <a:pt x="21250" y="24469"/>
                  <a:pt x="21219" y="24406"/>
                  <a:pt x="21157" y="24344"/>
                </a:cubicBezTo>
                <a:cubicBezTo>
                  <a:pt x="21000" y="24156"/>
                  <a:pt x="20782" y="24031"/>
                  <a:pt x="20719" y="23781"/>
                </a:cubicBezTo>
                <a:close/>
                <a:moveTo>
                  <a:pt x="15594" y="17781"/>
                </a:moveTo>
                <a:cubicBezTo>
                  <a:pt x="15594" y="17781"/>
                  <a:pt x="15594" y="17781"/>
                  <a:pt x="15594" y="17781"/>
                </a:cubicBezTo>
                <a:close/>
                <a:moveTo>
                  <a:pt x="22407" y="22156"/>
                </a:moveTo>
                <a:cubicBezTo>
                  <a:pt x="22407" y="22156"/>
                  <a:pt x="22375" y="22156"/>
                  <a:pt x="22375" y="22187"/>
                </a:cubicBezTo>
                <a:cubicBezTo>
                  <a:pt x="22375" y="22187"/>
                  <a:pt x="22375" y="22187"/>
                  <a:pt x="22375" y="22187"/>
                </a:cubicBezTo>
                <a:cubicBezTo>
                  <a:pt x="22375" y="22156"/>
                  <a:pt x="22407" y="22156"/>
                  <a:pt x="22407" y="22156"/>
                </a:cubicBezTo>
                <a:cubicBezTo>
                  <a:pt x="22407" y="22125"/>
                  <a:pt x="22407" y="22125"/>
                  <a:pt x="22438" y="22125"/>
                </a:cubicBezTo>
                <a:cubicBezTo>
                  <a:pt x="22407" y="22125"/>
                  <a:pt x="22407" y="22125"/>
                  <a:pt x="22407" y="22156"/>
                </a:cubicBezTo>
                <a:close/>
                <a:moveTo>
                  <a:pt x="14782" y="14562"/>
                </a:moveTo>
                <a:cubicBezTo>
                  <a:pt x="14782" y="14562"/>
                  <a:pt x="14782" y="14562"/>
                  <a:pt x="14782" y="14562"/>
                </a:cubicBezTo>
                <a:cubicBezTo>
                  <a:pt x="14782" y="14562"/>
                  <a:pt x="14782" y="14562"/>
                  <a:pt x="14782" y="14562"/>
                </a:cubicBezTo>
                <a:lnTo>
                  <a:pt x="14782" y="14562"/>
                </a:lnTo>
                <a:cubicBezTo>
                  <a:pt x="14782" y="14562"/>
                  <a:pt x="14782" y="14562"/>
                  <a:pt x="14782" y="14562"/>
                </a:cubicBezTo>
                <a:close/>
                <a:moveTo>
                  <a:pt x="14844" y="14500"/>
                </a:move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lose/>
                <a:moveTo>
                  <a:pt x="12313" y="20406"/>
                </a:moveTo>
                <a:cubicBezTo>
                  <a:pt x="12313" y="20406"/>
                  <a:pt x="12313" y="20406"/>
                  <a:pt x="12313" y="20406"/>
                </a:cubicBezTo>
                <a:close/>
                <a:moveTo>
                  <a:pt x="15594" y="24250"/>
                </a:moveTo>
                <a:cubicBezTo>
                  <a:pt x="15594" y="24250"/>
                  <a:pt x="15594" y="24250"/>
                  <a:pt x="15594" y="24250"/>
                </a:cubicBezTo>
                <a:close/>
                <a:moveTo>
                  <a:pt x="31188" y="3875"/>
                </a:moveTo>
                <a:cubicBezTo>
                  <a:pt x="31188" y="3875"/>
                  <a:pt x="31188" y="3875"/>
                  <a:pt x="31188" y="3875"/>
                </a:cubicBezTo>
                <a:close/>
                <a:moveTo>
                  <a:pt x="5969" y="18219"/>
                </a:moveTo>
                <a:cubicBezTo>
                  <a:pt x="5969" y="18219"/>
                  <a:pt x="5969" y="18219"/>
                  <a:pt x="5969" y="18219"/>
                </a:cubicBezTo>
                <a:cubicBezTo>
                  <a:pt x="5969" y="18219"/>
                  <a:pt x="5969" y="18219"/>
                  <a:pt x="5969" y="18219"/>
                </a:cubicBezTo>
                <a:close/>
                <a:moveTo>
                  <a:pt x="3188" y="15687"/>
                </a:moveTo>
                <a:cubicBezTo>
                  <a:pt x="3188" y="15687"/>
                  <a:pt x="3188" y="15687"/>
                  <a:pt x="3188" y="15687"/>
                </a:cubicBezTo>
                <a:close/>
                <a:moveTo>
                  <a:pt x="18094" y="16937"/>
                </a:moveTo>
                <a:cubicBezTo>
                  <a:pt x="17969" y="16844"/>
                  <a:pt x="17875" y="16781"/>
                  <a:pt x="17813" y="16906"/>
                </a:cubicBezTo>
                <a:cubicBezTo>
                  <a:pt x="17782" y="16937"/>
                  <a:pt x="17750" y="17000"/>
                  <a:pt x="17813" y="17031"/>
                </a:cubicBezTo>
                <a:cubicBezTo>
                  <a:pt x="17907" y="17094"/>
                  <a:pt x="17969" y="16937"/>
                  <a:pt x="18094" y="16937"/>
                </a:cubicBezTo>
                <a:close/>
                <a:moveTo>
                  <a:pt x="17282" y="17719"/>
                </a:moveTo>
                <a:cubicBezTo>
                  <a:pt x="17282" y="17812"/>
                  <a:pt x="17313" y="17844"/>
                  <a:pt x="17407" y="17844"/>
                </a:cubicBezTo>
                <a:cubicBezTo>
                  <a:pt x="17438" y="17875"/>
                  <a:pt x="17469" y="17937"/>
                  <a:pt x="17532" y="17844"/>
                </a:cubicBezTo>
                <a:cubicBezTo>
                  <a:pt x="17563" y="17812"/>
                  <a:pt x="17563" y="17781"/>
                  <a:pt x="17563" y="17719"/>
                </a:cubicBezTo>
                <a:cubicBezTo>
                  <a:pt x="17532" y="17719"/>
                  <a:pt x="17469" y="17719"/>
                  <a:pt x="17438" y="17719"/>
                </a:cubicBezTo>
                <a:cubicBezTo>
                  <a:pt x="17438" y="17687"/>
                  <a:pt x="17407" y="17625"/>
                  <a:pt x="17407" y="17594"/>
                </a:cubicBezTo>
                <a:cubicBezTo>
                  <a:pt x="17875" y="17719"/>
                  <a:pt x="18032" y="17625"/>
                  <a:pt x="17969" y="17187"/>
                </a:cubicBezTo>
                <a:lnTo>
                  <a:pt x="17969" y="17187"/>
                </a:lnTo>
                <a:cubicBezTo>
                  <a:pt x="17938" y="17375"/>
                  <a:pt x="17813" y="17344"/>
                  <a:pt x="17719" y="17344"/>
                </a:cubicBezTo>
                <a:cubicBezTo>
                  <a:pt x="17563" y="17344"/>
                  <a:pt x="17438" y="17406"/>
                  <a:pt x="17407" y="17594"/>
                </a:cubicBezTo>
                <a:cubicBezTo>
                  <a:pt x="17313" y="17594"/>
                  <a:pt x="17313" y="17656"/>
                  <a:pt x="17282" y="17719"/>
                </a:cubicBezTo>
                <a:close/>
                <a:moveTo>
                  <a:pt x="20188" y="13437"/>
                </a:moveTo>
                <a:cubicBezTo>
                  <a:pt x="20188" y="13437"/>
                  <a:pt x="20188" y="13437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lose/>
                <a:moveTo>
                  <a:pt x="10125" y="17344"/>
                </a:moveTo>
                <a:cubicBezTo>
                  <a:pt x="10125" y="17344"/>
                  <a:pt x="10125" y="17344"/>
                  <a:pt x="10125" y="17344"/>
                </a:cubicBezTo>
                <a:cubicBezTo>
                  <a:pt x="10125" y="17344"/>
                  <a:pt x="10125" y="17344"/>
                  <a:pt x="10125" y="17344"/>
                </a:cubicBezTo>
                <a:cubicBezTo>
                  <a:pt x="10125" y="17344"/>
                  <a:pt x="10125" y="17344"/>
                  <a:pt x="10125" y="17344"/>
                </a:cubicBezTo>
                <a:close/>
                <a:moveTo>
                  <a:pt x="26688" y="16156"/>
                </a:moveTo>
                <a:cubicBezTo>
                  <a:pt x="26688" y="16156"/>
                  <a:pt x="26688" y="16156"/>
                  <a:pt x="26688" y="161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511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30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7">
            <a:extLst>
              <a:ext uri="{FF2B5EF4-FFF2-40B4-BE49-F238E27FC236}">
                <a16:creationId xmlns:a16="http://schemas.microsoft.com/office/drawing/2014/main" id="{727E5293-3CD4-E94B-95D5-807336A2AF25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588105" y="1125011"/>
            <a:ext cx="5979070" cy="4965143"/>
          </a:xfrm>
          <a:custGeom>
            <a:avLst/>
            <a:gdLst>
              <a:gd name="T0" fmla="*/ 1039 w 1462"/>
              <a:gd name="T1" fmla="*/ 961 h 1485"/>
              <a:gd name="T2" fmla="*/ 913 w 1462"/>
              <a:gd name="T3" fmla="*/ 992 h 1485"/>
              <a:gd name="T4" fmla="*/ 845 w 1462"/>
              <a:gd name="T5" fmla="*/ 978 h 1485"/>
              <a:gd name="T6" fmla="*/ 974 w 1462"/>
              <a:gd name="T7" fmla="*/ 914 h 1485"/>
              <a:gd name="T8" fmla="*/ 932 w 1462"/>
              <a:gd name="T9" fmla="*/ 1347 h 1485"/>
              <a:gd name="T10" fmla="*/ 1340 w 1462"/>
              <a:gd name="T11" fmla="*/ 1387 h 1485"/>
              <a:gd name="T12" fmla="*/ 1423 w 1462"/>
              <a:gd name="T13" fmla="*/ 990 h 1485"/>
              <a:gd name="T14" fmla="*/ 1232 w 1462"/>
              <a:gd name="T15" fmla="*/ 769 h 1485"/>
              <a:gd name="T16" fmla="*/ 999 w 1462"/>
              <a:gd name="T17" fmla="*/ 475 h 1485"/>
              <a:gd name="T18" fmla="*/ 850 w 1462"/>
              <a:gd name="T19" fmla="*/ 31 h 1485"/>
              <a:gd name="T20" fmla="*/ 331 w 1462"/>
              <a:gd name="T21" fmla="*/ 324 h 1485"/>
              <a:gd name="T22" fmla="*/ 113 w 1462"/>
              <a:gd name="T23" fmla="*/ 107 h 1485"/>
              <a:gd name="T24" fmla="*/ 290 w 1462"/>
              <a:gd name="T25" fmla="*/ 1044 h 1485"/>
              <a:gd name="T26" fmla="*/ 196 w 1462"/>
              <a:gd name="T27" fmla="*/ 1100 h 1485"/>
              <a:gd name="T28" fmla="*/ 921 w 1462"/>
              <a:gd name="T29" fmla="*/ 1465 h 1485"/>
              <a:gd name="T30" fmla="*/ 930 w 1462"/>
              <a:gd name="T31" fmla="*/ 1316 h 1485"/>
              <a:gd name="T32" fmla="*/ 862 w 1462"/>
              <a:gd name="T33" fmla="*/ 1238 h 1485"/>
              <a:gd name="T34" fmla="*/ 1195 w 1462"/>
              <a:gd name="T35" fmla="*/ 1382 h 1485"/>
              <a:gd name="T36" fmla="*/ 724 w 1462"/>
              <a:gd name="T37" fmla="*/ 1289 h 1485"/>
              <a:gd name="T38" fmla="*/ 697 w 1462"/>
              <a:gd name="T39" fmla="*/ 1309 h 1485"/>
              <a:gd name="T40" fmla="*/ 1252 w 1462"/>
              <a:gd name="T41" fmla="*/ 1280 h 1485"/>
              <a:gd name="T42" fmla="*/ 1174 w 1462"/>
              <a:gd name="T43" fmla="*/ 1219 h 1485"/>
              <a:gd name="T44" fmla="*/ 1400 w 1462"/>
              <a:gd name="T45" fmla="*/ 1256 h 1485"/>
              <a:gd name="T46" fmla="*/ 1358 w 1462"/>
              <a:gd name="T47" fmla="*/ 1340 h 1485"/>
              <a:gd name="T48" fmla="*/ 988 w 1462"/>
              <a:gd name="T49" fmla="*/ 1233 h 1485"/>
              <a:gd name="T50" fmla="*/ 718 w 1462"/>
              <a:gd name="T51" fmla="*/ 1069 h 1485"/>
              <a:gd name="T52" fmla="*/ 744 w 1462"/>
              <a:gd name="T53" fmla="*/ 1108 h 1485"/>
              <a:gd name="T54" fmla="*/ 775 w 1462"/>
              <a:gd name="T55" fmla="*/ 880 h 1485"/>
              <a:gd name="T56" fmla="*/ 930 w 1462"/>
              <a:gd name="T57" fmla="*/ 713 h 1485"/>
              <a:gd name="T58" fmla="*/ 946 w 1462"/>
              <a:gd name="T59" fmla="*/ 748 h 1485"/>
              <a:gd name="T60" fmla="*/ 753 w 1462"/>
              <a:gd name="T61" fmla="*/ 720 h 1485"/>
              <a:gd name="T62" fmla="*/ 593 w 1462"/>
              <a:gd name="T63" fmla="*/ 377 h 1485"/>
              <a:gd name="T64" fmla="*/ 648 w 1462"/>
              <a:gd name="T65" fmla="*/ 1249 h 1485"/>
              <a:gd name="T66" fmla="*/ 503 w 1462"/>
              <a:gd name="T67" fmla="*/ 1178 h 1485"/>
              <a:gd name="T68" fmla="*/ 719 w 1462"/>
              <a:gd name="T69" fmla="*/ 97 h 1485"/>
              <a:gd name="T70" fmla="*/ 779 w 1462"/>
              <a:gd name="T71" fmla="*/ 807 h 1485"/>
              <a:gd name="T72" fmla="*/ 810 w 1462"/>
              <a:gd name="T73" fmla="*/ 766 h 1485"/>
              <a:gd name="T74" fmla="*/ 883 w 1462"/>
              <a:gd name="T75" fmla="*/ 391 h 1485"/>
              <a:gd name="T76" fmla="*/ 918 w 1462"/>
              <a:gd name="T77" fmla="*/ 643 h 1485"/>
              <a:gd name="T78" fmla="*/ 942 w 1462"/>
              <a:gd name="T79" fmla="*/ 409 h 1485"/>
              <a:gd name="T80" fmla="*/ 965 w 1462"/>
              <a:gd name="T81" fmla="*/ 793 h 1485"/>
              <a:gd name="T82" fmla="*/ 947 w 1462"/>
              <a:gd name="T83" fmla="*/ 853 h 1485"/>
              <a:gd name="T84" fmla="*/ 1145 w 1462"/>
              <a:gd name="T85" fmla="*/ 869 h 1485"/>
              <a:gd name="T86" fmla="*/ 1070 w 1462"/>
              <a:gd name="T87" fmla="*/ 962 h 1485"/>
              <a:gd name="T88" fmla="*/ 1139 w 1462"/>
              <a:gd name="T89" fmla="*/ 800 h 1485"/>
              <a:gd name="T90" fmla="*/ 1210 w 1462"/>
              <a:gd name="T91" fmla="*/ 907 h 1485"/>
              <a:gd name="T92" fmla="*/ 1141 w 1462"/>
              <a:gd name="T93" fmla="*/ 1011 h 1485"/>
              <a:gd name="T94" fmla="*/ 1089 w 1462"/>
              <a:gd name="T95" fmla="*/ 1012 h 1485"/>
              <a:gd name="T96" fmla="*/ 1213 w 1462"/>
              <a:gd name="T97" fmla="*/ 1109 h 1485"/>
              <a:gd name="T98" fmla="*/ 1144 w 1462"/>
              <a:gd name="T99" fmla="*/ 1179 h 1485"/>
              <a:gd name="T100" fmla="*/ 1225 w 1462"/>
              <a:gd name="T101" fmla="*/ 1153 h 1485"/>
              <a:gd name="T102" fmla="*/ 1284 w 1462"/>
              <a:gd name="T103" fmla="*/ 1030 h 1485"/>
              <a:gd name="T104" fmla="*/ 1182 w 1462"/>
              <a:gd name="T105" fmla="*/ 1046 h 1485"/>
              <a:gd name="T106" fmla="*/ 1177 w 1462"/>
              <a:gd name="T107" fmla="*/ 1040 h 1485"/>
              <a:gd name="T108" fmla="*/ 1304 w 1462"/>
              <a:gd name="T109" fmla="*/ 1058 h 1485"/>
              <a:gd name="T110" fmla="*/ 461 w 1462"/>
              <a:gd name="T111" fmla="*/ 1157 h 1485"/>
              <a:gd name="T112" fmla="*/ 448 w 1462"/>
              <a:gd name="T113" fmla="*/ 660 h 1485"/>
              <a:gd name="T114" fmla="*/ 457 w 1462"/>
              <a:gd name="T115" fmla="*/ 678 h 1485"/>
              <a:gd name="T116" fmla="*/ 319 w 1462"/>
              <a:gd name="T117" fmla="*/ 343 h 1485"/>
              <a:gd name="T118" fmla="*/ 283 w 1462"/>
              <a:gd name="T119" fmla="*/ 317 h 1485"/>
              <a:gd name="T120" fmla="*/ 70 w 1462"/>
              <a:gd name="T121" fmla="*/ 451 h 1485"/>
              <a:gd name="T122" fmla="*/ 166 w 1462"/>
              <a:gd name="T123" fmla="*/ 808 h 1485"/>
              <a:gd name="T124" fmla="*/ 79 w 1462"/>
              <a:gd name="T125" fmla="*/ 191 h 1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62" h="1485">
                <a:moveTo>
                  <a:pt x="1432" y="1173"/>
                </a:moveTo>
                <a:lnTo>
                  <a:pt x="1431" y="1175"/>
                </a:lnTo>
                <a:lnTo>
                  <a:pt x="1429" y="1177"/>
                </a:lnTo>
                <a:lnTo>
                  <a:pt x="1428" y="1177"/>
                </a:lnTo>
                <a:lnTo>
                  <a:pt x="1424" y="1175"/>
                </a:lnTo>
                <a:lnTo>
                  <a:pt x="1422" y="1173"/>
                </a:lnTo>
                <a:lnTo>
                  <a:pt x="1418" y="1171"/>
                </a:lnTo>
                <a:lnTo>
                  <a:pt x="1418" y="1170"/>
                </a:lnTo>
                <a:lnTo>
                  <a:pt x="1417" y="1168"/>
                </a:lnTo>
                <a:lnTo>
                  <a:pt x="1417" y="1166"/>
                </a:lnTo>
                <a:lnTo>
                  <a:pt x="1417" y="1164"/>
                </a:lnTo>
                <a:lnTo>
                  <a:pt x="1417" y="1159"/>
                </a:lnTo>
                <a:lnTo>
                  <a:pt x="1418" y="1154"/>
                </a:lnTo>
                <a:lnTo>
                  <a:pt x="1421" y="1151"/>
                </a:lnTo>
                <a:lnTo>
                  <a:pt x="1423" y="1146"/>
                </a:lnTo>
                <a:lnTo>
                  <a:pt x="1427" y="1145"/>
                </a:lnTo>
                <a:lnTo>
                  <a:pt x="1429" y="1144"/>
                </a:lnTo>
                <a:lnTo>
                  <a:pt x="1432" y="1147"/>
                </a:lnTo>
                <a:lnTo>
                  <a:pt x="1435" y="1152"/>
                </a:lnTo>
                <a:lnTo>
                  <a:pt x="1434" y="1163"/>
                </a:lnTo>
                <a:lnTo>
                  <a:pt x="1432" y="1173"/>
                </a:lnTo>
                <a:close/>
                <a:moveTo>
                  <a:pt x="961" y="615"/>
                </a:moveTo>
                <a:lnTo>
                  <a:pt x="959" y="612"/>
                </a:lnTo>
                <a:lnTo>
                  <a:pt x="958" y="607"/>
                </a:lnTo>
                <a:lnTo>
                  <a:pt x="955" y="608"/>
                </a:lnTo>
                <a:lnTo>
                  <a:pt x="954" y="610"/>
                </a:lnTo>
                <a:lnTo>
                  <a:pt x="955" y="613"/>
                </a:lnTo>
                <a:lnTo>
                  <a:pt x="956" y="617"/>
                </a:lnTo>
                <a:lnTo>
                  <a:pt x="959" y="615"/>
                </a:lnTo>
                <a:lnTo>
                  <a:pt x="961" y="615"/>
                </a:lnTo>
                <a:close/>
                <a:moveTo>
                  <a:pt x="1227" y="1030"/>
                </a:moveTo>
                <a:lnTo>
                  <a:pt x="1229" y="1030"/>
                </a:lnTo>
                <a:lnTo>
                  <a:pt x="1230" y="1031"/>
                </a:lnTo>
                <a:lnTo>
                  <a:pt x="1231" y="1026"/>
                </a:lnTo>
                <a:lnTo>
                  <a:pt x="1232" y="1021"/>
                </a:lnTo>
                <a:lnTo>
                  <a:pt x="1231" y="1021"/>
                </a:lnTo>
                <a:lnTo>
                  <a:pt x="1229" y="1020"/>
                </a:lnTo>
                <a:lnTo>
                  <a:pt x="1228" y="1025"/>
                </a:lnTo>
                <a:lnTo>
                  <a:pt x="1227" y="1030"/>
                </a:lnTo>
                <a:close/>
                <a:moveTo>
                  <a:pt x="1238" y="1044"/>
                </a:moveTo>
                <a:lnTo>
                  <a:pt x="1238" y="1046"/>
                </a:lnTo>
                <a:lnTo>
                  <a:pt x="1239" y="1048"/>
                </a:lnTo>
                <a:lnTo>
                  <a:pt x="1241" y="1049"/>
                </a:lnTo>
                <a:lnTo>
                  <a:pt x="1244" y="1049"/>
                </a:lnTo>
                <a:lnTo>
                  <a:pt x="1250" y="1046"/>
                </a:lnTo>
                <a:lnTo>
                  <a:pt x="1258" y="1044"/>
                </a:lnTo>
                <a:lnTo>
                  <a:pt x="1249" y="1041"/>
                </a:lnTo>
                <a:lnTo>
                  <a:pt x="1239" y="1039"/>
                </a:lnTo>
                <a:lnTo>
                  <a:pt x="1239" y="1040"/>
                </a:lnTo>
                <a:lnTo>
                  <a:pt x="1238" y="1044"/>
                </a:lnTo>
                <a:close/>
                <a:moveTo>
                  <a:pt x="1085" y="922"/>
                </a:moveTo>
                <a:lnTo>
                  <a:pt x="1085" y="920"/>
                </a:lnTo>
                <a:lnTo>
                  <a:pt x="1084" y="916"/>
                </a:lnTo>
                <a:lnTo>
                  <a:pt x="1078" y="920"/>
                </a:lnTo>
                <a:lnTo>
                  <a:pt x="1072" y="922"/>
                </a:lnTo>
                <a:lnTo>
                  <a:pt x="1075" y="927"/>
                </a:lnTo>
                <a:lnTo>
                  <a:pt x="1077" y="930"/>
                </a:lnTo>
                <a:lnTo>
                  <a:pt x="1080" y="927"/>
                </a:lnTo>
                <a:lnTo>
                  <a:pt x="1085" y="923"/>
                </a:lnTo>
                <a:lnTo>
                  <a:pt x="1085" y="927"/>
                </a:lnTo>
                <a:lnTo>
                  <a:pt x="1086" y="932"/>
                </a:lnTo>
                <a:lnTo>
                  <a:pt x="1092" y="930"/>
                </a:lnTo>
                <a:lnTo>
                  <a:pt x="1098" y="928"/>
                </a:lnTo>
                <a:lnTo>
                  <a:pt x="1096" y="922"/>
                </a:lnTo>
                <a:lnTo>
                  <a:pt x="1092" y="920"/>
                </a:lnTo>
                <a:lnTo>
                  <a:pt x="1090" y="920"/>
                </a:lnTo>
                <a:lnTo>
                  <a:pt x="1085" y="922"/>
                </a:lnTo>
                <a:close/>
                <a:moveTo>
                  <a:pt x="1031" y="958"/>
                </a:moveTo>
                <a:lnTo>
                  <a:pt x="1028" y="958"/>
                </a:lnTo>
                <a:lnTo>
                  <a:pt x="1025" y="957"/>
                </a:lnTo>
                <a:lnTo>
                  <a:pt x="1022" y="956"/>
                </a:lnTo>
                <a:lnTo>
                  <a:pt x="1020" y="955"/>
                </a:lnTo>
                <a:lnTo>
                  <a:pt x="1017" y="957"/>
                </a:lnTo>
                <a:lnTo>
                  <a:pt x="1016" y="961"/>
                </a:lnTo>
                <a:lnTo>
                  <a:pt x="1022" y="964"/>
                </a:lnTo>
                <a:lnTo>
                  <a:pt x="1029" y="967"/>
                </a:lnTo>
                <a:lnTo>
                  <a:pt x="1032" y="967"/>
                </a:lnTo>
                <a:lnTo>
                  <a:pt x="1035" y="967"/>
                </a:lnTo>
                <a:lnTo>
                  <a:pt x="1038" y="965"/>
                </a:lnTo>
                <a:lnTo>
                  <a:pt x="1042" y="963"/>
                </a:lnTo>
                <a:lnTo>
                  <a:pt x="1039" y="961"/>
                </a:lnTo>
                <a:lnTo>
                  <a:pt x="1037" y="958"/>
                </a:lnTo>
                <a:lnTo>
                  <a:pt x="1035" y="958"/>
                </a:lnTo>
                <a:lnTo>
                  <a:pt x="1031" y="958"/>
                </a:lnTo>
                <a:close/>
                <a:moveTo>
                  <a:pt x="1115" y="904"/>
                </a:moveTo>
                <a:lnTo>
                  <a:pt x="1121" y="906"/>
                </a:lnTo>
                <a:lnTo>
                  <a:pt x="1127" y="908"/>
                </a:lnTo>
                <a:lnTo>
                  <a:pt x="1126" y="904"/>
                </a:lnTo>
                <a:lnTo>
                  <a:pt x="1124" y="901"/>
                </a:lnTo>
                <a:lnTo>
                  <a:pt x="1127" y="900"/>
                </a:lnTo>
                <a:lnTo>
                  <a:pt x="1130" y="898"/>
                </a:lnTo>
                <a:lnTo>
                  <a:pt x="1127" y="895"/>
                </a:lnTo>
                <a:lnTo>
                  <a:pt x="1125" y="894"/>
                </a:lnTo>
                <a:lnTo>
                  <a:pt x="1120" y="890"/>
                </a:lnTo>
                <a:lnTo>
                  <a:pt x="1114" y="886"/>
                </a:lnTo>
                <a:lnTo>
                  <a:pt x="1112" y="888"/>
                </a:lnTo>
                <a:lnTo>
                  <a:pt x="1108" y="893"/>
                </a:lnTo>
                <a:lnTo>
                  <a:pt x="1113" y="894"/>
                </a:lnTo>
                <a:lnTo>
                  <a:pt x="1117" y="897"/>
                </a:lnTo>
                <a:lnTo>
                  <a:pt x="1118" y="898"/>
                </a:lnTo>
                <a:lnTo>
                  <a:pt x="1118" y="900"/>
                </a:lnTo>
                <a:lnTo>
                  <a:pt x="1117" y="902"/>
                </a:lnTo>
                <a:lnTo>
                  <a:pt x="1115" y="904"/>
                </a:lnTo>
                <a:close/>
                <a:moveTo>
                  <a:pt x="1134" y="1007"/>
                </a:moveTo>
                <a:lnTo>
                  <a:pt x="1134" y="1013"/>
                </a:lnTo>
                <a:lnTo>
                  <a:pt x="1134" y="1018"/>
                </a:lnTo>
                <a:lnTo>
                  <a:pt x="1135" y="1019"/>
                </a:lnTo>
                <a:lnTo>
                  <a:pt x="1139" y="1020"/>
                </a:lnTo>
                <a:lnTo>
                  <a:pt x="1139" y="1018"/>
                </a:lnTo>
                <a:lnTo>
                  <a:pt x="1140" y="1017"/>
                </a:lnTo>
                <a:lnTo>
                  <a:pt x="1138" y="1012"/>
                </a:lnTo>
                <a:lnTo>
                  <a:pt x="1137" y="1007"/>
                </a:lnTo>
                <a:lnTo>
                  <a:pt x="1135" y="1007"/>
                </a:lnTo>
                <a:lnTo>
                  <a:pt x="1134" y="1007"/>
                </a:lnTo>
                <a:close/>
                <a:moveTo>
                  <a:pt x="1068" y="1028"/>
                </a:moveTo>
                <a:lnTo>
                  <a:pt x="1068" y="1030"/>
                </a:lnTo>
                <a:lnTo>
                  <a:pt x="1069" y="1031"/>
                </a:lnTo>
                <a:lnTo>
                  <a:pt x="1072" y="1028"/>
                </a:lnTo>
                <a:lnTo>
                  <a:pt x="1075" y="1026"/>
                </a:lnTo>
                <a:lnTo>
                  <a:pt x="1078" y="1027"/>
                </a:lnTo>
                <a:lnTo>
                  <a:pt x="1080" y="1028"/>
                </a:lnTo>
                <a:lnTo>
                  <a:pt x="1082" y="1028"/>
                </a:lnTo>
                <a:lnTo>
                  <a:pt x="1083" y="1027"/>
                </a:lnTo>
                <a:lnTo>
                  <a:pt x="1079" y="1023"/>
                </a:lnTo>
                <a:lnTo>
                  <a:pt x="1077" y="1018"/>
                </a:lnTo>
                <a:lnTo>
                  <a:pt x="1071" y="1024"/>
                </a:lnTo>
                <a:lnTo>
                  <a:pt x="1068" y="1028"/>
                </a:lnTo>
                <a:close/>
                <a:moveTo>
                  <a:pt x="1111" y="1019"/>
                </a:moveTo>
                <a:lnTo>
                  <a:pt x="1111" y="1020"/>
                </a:lnTo>
                <a:lnTo>
                  <a:pt x="1112" y="1021"/>
                </a:lnTo>
                <a:lnTo>
                  <a:pt x="1117" y="1020"/>
                </a:lnTo>
                <a:lnTo>
                  <a:pt x="1121" y="1020"/>
                </a:lnTo>
                <a:lnTo>
                  <a:pt x="1124" y="1020"/>
                </a:lnTo>
                <a:lnTo>
                  <a:pt x="1127" y="1019"/>
                </a:lnTo>
                <a:lnTo>
                  <a:pt x="1128" y="1018"/>
                </a:lnTo>
                <a:lnTo>
                  <a:pt x="1131" y="1016"/>
                </a:lnTo>
                <a:lnTo>
                  <a:pt x="1126" y="1014"/>
                </a:lnTo>
                <a:lnTo>
                  <a:pt x="1122" y="1012"/>
                </a:lnTo>
                <a:lnTo>
                  <a:pt x="1117" y="1016"/>
                </a:lnTo>
                <a:lnTo>
                  <a:pt x="1111" y="1019"/>
                </a:lnTo>
                <a:close/>
                <a:moveTo>
                  <a:pt x="1187" y="957"/>
                </a:moveTo>
                <a:lnTo>
                  <a:pt x="1175" y="964"/>
                </a:lnTo>
                <a:lnTo>
                  <a:pt x="1163" y="971"/>
                </a:lnTo>
                <a:lnTo>
                  <a:pt x="1165" y="971"/>
                </a:lnTo>
                <a:lnTo>
                  <a:pt x="1165" y="972"/>
                </a:lnTo>
                <a:lnTo>
                  <a:pt x="1167" y="972"/>
                </a:lnTo>
                <a:lnTo>
                  <a:pt x="1170" y="971"/>
                </a:lnTo>
                <a:lnTo>
                  <a:pt x="1179" y="969"/>
                </a:lnTo>
                <a:lnTo>
                  <a:pt x="1188" y="965"/>
                </a:lnTo>
                <a:lnTo>
                  <a:pt x="1190" y="963"/>
                </a:lnTo>
                <a:lnTo>
                  <a:pt x="1193" y="960"/>
                </a:lnTo>
                <a:lnTo>
                  <a:pt x="1189" y="958"/>
                </a:lnTo>
                <a:lnTo>
                  <a:pt x="1187" y="957"/>
                </a:lnTo>
                <a:close/>
                <a:moveTo>
                  <a:pt x="912" y="915"/>
                </a:moveTo>
                <a:lnTo>
                  <a:pt x="907" y="918"/>
                </a:lnTo>
                <a:lnTo>
                  <a:pt x="904" y="919"/>
                </a:lnTo>
                <a:lnTo>
                  <a:pt x="907" y="921"/>
                </a:lnTo>
                <a:lnTo>
                  <a:pt x="910" y="921"/>
                </a:lnTo>
                <a:lnTo>
                  <a:pt x="911" y="920"/>
                </a:lnTo>
                <a:lnTo>
                  <a:pt x="912" y="915"/>
                </a:lnTo>
                <a:close/>
                <a:moveTo>
                  <a:pt x="907" y="996"/>
                </a:moveTo>
                <a:lnTo>
                  <a:pt x="913" y="992"/>
                </a:lnTo>
                <a:lnTo>
                  <a:pt x="919" y="990"/>
                </a:lnTo>
                <a:lnTo>
                  <a:pt x="914" y="988"/>
                </a:lnTo>
                <a:lnTo>
                  <a:pt x="911" y="989"/>
                </a:lnTo>
                <a:lnTo>
                  <a:pt x="908" y="991"/>
                </a:lnTo>
                <a:lnTo>
                  <a:pt x="907" y="996"/>
                </a:lnTo>
                <a:close/>
                <a:moveTo>
                  <a:pt x="935" y="996"/>
                </a:moveTo>
                <a:lnTo>
                  <a:pt x="932" y="993"/>
                </a:lnTo>
                <a:lnTo>
                  <a:pt x="930" y="992"/>
                </a:lnTo>
                <a:lnTo>
                  <a:pt x="928" y="992"/>
                </a:lnTo>
                <a:lnTo>
                  <a:pt x="926" y="992"/>
                </a:lnTo>
                <a:lnTo>
                  <a:pt x="925" y="996"/>
                </a:lnTo>
                <a:lnTo>
                  <a:pt x="924" y="998"/>
                </a:lnTo>
                <a:lnTo>
                  <a:pt x="924" y="1000"/>
                </a:lnTo>
                <a:lnTo>
                  <a:pt x="925" y="1003"/>
                </a:lnTo>
                <a:lnTo>
                  <a:pt x="923" y="1003"/>
                </a:lnTo>
                <a:lnTo>
                  <a:pt x="920" y="1003"/>
                </a:lnTo>
                <a:lnTo>
                  <a:pt x="917" y="1003"/>
                </a:lnTo>
                <a:lnTo>
                  <a:pt x="913" y="1004"/>
                </a:lnTo>
                <a:lnTo>
                  <a:pt x="911" y="1005"/>
                </a:lnTo>
                <a:lnTo>
                  <a:pt x="910" y="1006"/>
                </a:lnTo>
                <a:lnTo>
                  <a:pt x="911" y="1009"/>
                </a:lnTo>
                <a:lnTo>
                  <a:pt x="913" y="1011"/>
                </a:lnTo>
                <a:lnTo>
                  <a:pt x="916" y="1012"/>
                </a:lnTo>
                <a:lnTo>
                  <a:pt x="918" y="1013"/>
                </a:lnTo>
                <a:lnTo>
                  <a:pt x="914" y="1016"/>
                </a:lnTo>
                <a:lnTo>
                  <a:pt x="913" y="1016"/>
                </a:lnTo>
                <a:lnTo>
                  <a:pt x="913" y="1020"/>
                </a:lnTo>
                <a:lnTo>
                  <a:pt x="914" y="1024"/>
                </a:lnTo>
                <a:lnTo>
                  <a:pt x="910" y="1021"/>
                </a:lnTo>
                <a:lnTo>
                  <a:pt x="905" y="1020"/>
                </a:lnTo>
                <a:lnTo>
                  <a:pt x="900" y="1021"/>
                </a:lnTo>
                <a:lnTo>
                  <a:pt x="894" y="1024"/>
                </a:lnTo>
                <a:lnTo>
                  <a:pt x="894" y="1024"/>
                </a:lnTo>
                <a:lnTo>
                  <a:pt x="893" y="1028"/>
                </a:lnTo>
                <a:lnTo>
                  <a:pt x="892" y="1023"/>
                </a:lnTo>
                <a:lnTo>
                  <a:pt x="891" y="1019"/>
                </a:lnTo>
                <a:lnTo>
                  <a:pt x="884" y="1017"/>
                </a:lnTo>
                <a:lnTo>
                  <a:pt x="880" y="1014"/>
                </a:lnTo>
                <a:lnTo>
                  <a:pt x="882" y="1010"/>
                </a:lnTo>
                <a:lnTo>
                  <a:pt x="884" y="1000"/>
                </a:lnTo>
                <a:lnTo>
                  <a:pt x="878" y="997"/>
                </a:lnTo>
                <a:lnTo>
                  <a:pt x="871" y="992"/>
                </a:lnTo>
                <a:lnTo>
                  <a:pt x="873" y="997"/>
                </a:lnTo>
                <a:lnTo>
                  <a:pt x="875" y="1000"/>
                </a:lnTo>
                <a:lnTo>
                  <a:pt x="875" y="1003"/>
                </a:lnTo>
                <a:lnTo>
                  <a:pt x="875" y="1005"/>
                </a:lnTo>
                <a:lnTo>
                  <a:pt x="872" y="1004"/>
                </a:lnTo>
                <a:lnTo>
                  <a:pt x="871" y="1004"/>
                </a:lnTo>
                <a:lnTo>
                  <a:pt x="869" y="1002"/>
                </a:lnTo>
                <a:lnTo>
                  <a:pt x="868" y="1000"/>
                </a:lnTo>
                <a:lnTo>
                  <a:pt x="866" y="1000"/>
                </a:lnTo>
                <a:lnTo>
                  <a:pt x="864" y="1000"/>
                </a:lnTo>
                <a:lnTo>
                  <a:pt x="862" y="1003"/>
                </a:lnTo>
                <a:lnTo>
                  <a:pt x="858" y="1005"/>
                </a:lnTo>
                <a:lnTo>
                  <a:pt x="859" y="1007"/>
                </a:lnTo>
                <a:lnTo>
                  <a:pt x="861" y="1011"/>
                </a:lnTo>
                <a:lnTo>
                  <a:pt x="859" y="1012"/>
                </a:lnTo>
                <a:lnTo>
                  <a:pt x="857" y="1012"/>
                </a:lnTo>
                <a:lnTo>
                  <a:pt x="856" y="1011"/>
                </a:lnTo>
                <a:lnTo>
                  <a:pt x="855" y="1010"/>
                </a:lnTo>
                <a:lnTo>
                  <a:pt x="850" y="1009"/>
                </a:lnTo>
                <a:lnTo>
                  <a:pt x="845" y="1009"/>
                </a:lnTo>
                <a:lnTo>
                  <a:pt x="844" y="1011"/>
                </a:lnTo>
                <a:lnTo>
                  <a:pt x="844" y="1012"/>
                </a:lnTo>
                <a:lnTo>
                  <a:pt x="842" y="1012"/>
                </a:lnTo>
                <a:lnTo>
                  <a:pt x="839" y="1011"/>
                </a:lnTo>
                <a:lnTo>
                  <a:pt x="839" y="1011"/>
                </a:lnTo>
                <a:lnTo>
                  <a:pt x="838" y="1011"/>
                </a:lnTo>
                <a:lnTo>
                  <a:pt x="838" y="1011"/>
                </a:lnTo>
                <a:lnTo>
                  <a:pt x="838" y="1011"/>
                </a:lnTo>
                <a:lnTo>
                  <a:pt x="836" y="1011"/>
                </a:lnTo>
                <a:lnTo>
                  <a:pt x="832" y="1011"/>
                </a:lnTo>
                <a:lnTo>
                  <a:pt x="832" y="1011"/>
                </a:lnTo>
                <a:lnTo>
                  <a:pt x="832" y="1011"/>
                </a:lnTo>
                <a:lnTo>
                  <a:pt x="830" y="1011"/>
                </a:lnTo>
                <a:lnTo>
                  <a:pt x="828" y="1011"/>
                </a:lnTo>
                <a:lnTo>
                  <a:pt x="825" y="1011"/>
                </a:lnTo>
                <a:lnTo>
                  <a:pt x="824" y="1011"/>
                </a:lnTo>
                <a:lnTo>
                  <a:pt x="831" y="999"/>
                </a:lnTo>
                <a:lnTo>
                  <a:pt x="838" y="989"/>
                </a:lnTo>
                <a:lnTo>
                  <a:pt x="845" y="978"/>
                </a:lnTo>
                <a:lnTo>
                  <a:pt x="854" y="968"/>
                </a:lnTo>
                <a:lnTo>
                  <a:pt x="871" y="948"/>
                </a:lnTo>
                <a:lnTo>
                  <a:pt x="890" y="928"/>
                </a:lnTo>
                <a:lnTo>
                  <a:pt x="897" y="920"/>
                </a:lnTo>
                <a:lnTo>
                  <a:pt x="905" y="911"/>
                </a:lnTo>
                <a:lnTo>
                  <a:pt x="914" y="902"/>
                </a:lnTo>
                <a:lnTo>
                  <a:pt x="924" y="894"/>
                </a:lnTo>
                <a:lnTo>
                  <a:pt x="930" y="895"/>
                </a:lnTo>
                <a:lnTo>
                  <a:pt x="934" y="897"/>
                </a:lnTo>
                <a:lnTo>
                  <a:pt x="935" y="895"/>
                </a:lnTo>
                <a:lnTo>
                  <a:pt x="935" y="894"/>
                </a:lnTo>
                <a:lnTo>
                  <a:pt x="933" y="892"/>
                </a:lnTo>
                <a:lnTo>
                  <a:pt x="931" y="888"/>
                </a:lnTo>
                <a:lnTo>
                  <a:pt x="935" y="883"/>
                </a:lnTo>
                <a:lnTo>
                  <a:pt x="940" y="879"/>
                </a:lnTo>
                <a:lnTo>
                  <a:pt x="944" y="877"/>
                </a:lnTo>
                <a:lnTo>
                  <a:pt x="947" y="876"/>
                </a:lnTo>
                <a:lnTo>
                  <a:pt x="952" y="876"/>
                </a:lnTo>
                <a:lnTo>
                  <a:pt x="955" y="876"/>
                </a:lnTo>
                <a:lnTo>
                  <a:pt x="953" y="872"/>
                </a:lnTo>
                <a:lnTo>
                  <a:pt x="953" y="869"/>
                </a:lnTo>
                <a:lnTo>
                  <a:pt x="953" y="866"/>
                </a:lnTo>
                <a:lnTo>
                  <a:pt x="955" y="865"/>
                </a:lnTo>
                <a:lnTo>
                  <a:pt x="959" y="862"/>
                </a:lnTo>
                <a:lnTo>
                  <a:pt x="963" y="858"/>
                </a:lnTo>
                <a:lnTo>
                  <a:pt x="963" y="862"/>
                </a:lnTo>
                <a:lnTo>
                  <a:pt x="965" y="866"/>
                </a:lnTo>
                <a:lnTo>
                  <a:pt x="967" y="860"/>
                </a:lnTo>
                <a:lnTo>
                  <a:pt x="970" y="856"/>
                </a:lnTo>
                <a:lnTo>
                  <a:pt x="974" y="852"/>
                </a:lnTo>
                <a:lnTo>
                  <a:pt x="979" y="850"/>
                </a:lnTo>
                <a:lnTo>
                  <a:pt x="987" y="845"/>
                </a:lnTo>
                <a:lnTo>
                  <a:pt x="996" y="842"/>
                </a:lnTo>
                <a:lnTo>
                  <a:pt x="1001" y="836"/>
                </a:lnTo>
                <a:lnTo>
                  <a:pt x="1007" y="830"/>
                </a:lnTo>
                <a:lnTo>
                  <a:pt x="1009" y="829"/>
                </a:lnTo>
                <a:lnTo>
                  <a:pt x="1010" y="829"/>
                </a:lnTo>
                <a:lnTo>
                  <a:pt x="1013" y="829"/>
                </a:lnTo>
                <a:lnTo>
                  <a:pt x="1015" y="830"/>
                </a:lnTo>
                <a:lnTo>
                  <a:pt x="1022" y="831"/>
                </a:lnTo>
                <a:lnTo>
                  <a:pt x="1030" y="832"/>
                </a:lnTo>
                <a:lnTo>
                  <a:pt x="1032" y="834"/>
                </a:lnTo>
                <a:lnTo>
                  <a:pt x="1035" y="836"/>
                </a:lnTo>
                <a:lnTo>
                  <a:pt x="1039" y="835"/>
                </a:lnTo>
                <a:lnTo>
                  <a:pt x="1044" y="834"/>
                </a:lnTo>
                <a:lnTo>
                  <a:pt x="1045" y="836"/>
                </a:lnTo>
                <a:lnTo>
                  <a:pt x="1045" y="837"/>
                </a:lnTo>
                <a:lnTo>
                  <a:pt x="1050" y="838"/>
                </a:lnTo>
                <a:lnTo>
                  <a:pt x="1052" y="838"/>
                </a:lnTo>
                <a:lnTo>
                  <a:pt x="1056" y="841"/>
                </a:lnTo>
                <a:lnTo>
                  <a:pt x="1059" y="843"/>
                </a:lnTo>
                <a:lnTo>
                  <a:pt x="1064" y="844"/>
                </a:lnTo>
                <a:lnTo>
                  <a:pt x="1069" y="844"/>
                </a:lnTo>
                <a:lnTo>
                  <a:pt x="1072" y="844"/>
                </a:lnTo>
                <a:lnTo>
                  <a:pt x="1075" y="846"/>
                </a:lnTo>
                <a:lnTo>
                  <a:pt x="1076" y="849"/>
                </a:lnTo>
                <a:lnTo>
                  <a:pt x="1076" y="853"/>
                </a:lnTo>
                <a:lnTo>
                  <a:pt x="1070" y="862"/>
                </a:lnTo>
                <a:lnTo>
                  <a:pt x="1064" y="870"/>
                </a:lnTo>
                <a:lnTo>
                  <a:pt x="1063" y="877"/>
                </a:lnTo>
                <a:lnTo>
                  <a:pt x="1063" y="885"/>
                </a:lnTo>
                <a:lnTo>
                  <a:pt x="1058" y="883"/>
                </a:lnTo>
                <a:lnTo>
                  <a:pt x="1056" y="879"/>
                </a:lnTo>
                <a:lnTo>
                  <a:pt x="1055" y="874"/>
                </a:lnTo>
                <a:lnTo>
                  <a:pt x="1053" y="870"/>
                </a:lnTo>
                <a:lnTo>
                  <a:pt x="1052" y="869"/>
                </a:lnTo>
                <a:lnTo>
                  <a:pt x="1051" y="869"/>
                </a:lnTo>
                <a:lnTo>
                  <a:pt x="1037" y="879"/>
                </a:lnTo>
                <a:lnTo>
                  <a:pt x="1022" y="890"/>
                </a:lnTo>
                <a:lnTo>
                  <a:pt x="1016" y="893"/>
                </a:lnTo>
                <a:lnTo>
                  <a:pt x="1009" y="895"/>
                </a:lnTo>
                <a:lnTo>
                  <a:pt x="1003" y="897"/>
                </a:lnTo>
                <a:lnTo>
                  <a:pt x="1001" y="900"/>
                </a:lnTo>
                <a:lnTo>
                  <a:pt x="999" y="904"/>
                </a:lnTo>
                <a:lnTo>
                  <a:pt x="999" y="909"/>
                </a:lnTo>
                <a:lnTo>
                  <a:pt x="994" y="908"/>
                </a:lnTo>
                <a:lnTo>
                  <a:pt x="990" y="908"/>
                </a:lnTo>
                <a:lnTo>
                  <a:pt x="987" y="911"/>
                </a:lnTo>
                <a:lnTo>
                  <a:pt x="983" y="914"/>
                </a:lnTo>
                <a:lnTo>
                  <a:pt x="980" y="915"/>
                </a:lnTo>
                <a:lnTo>
                  <a:pt x="974" y="914"/>
                </a:lnTo>
                <a:lnTo>
                  <a:pt x="970" y="918"/>
                </a:lnTo>
                <a:lnTo>
                  <a:pt x="966" y="921"/>
                </a:lnTo>
                <a:lnTo>
                  <a:pt x="965" y="922"/>
                </a:lnTo>
                <a:lnTo>
                  <a:pt x="963" y="923"/>
                </a:lnTo>
                <a:lnTo>
                  <a:pt x="962" y="926"/>
                </a:lnTo>
                <a:lnTo>
                  <a:pt x="960" y="927"/>
                </a:lnTo>
                <a:lnTo>
                  <a:pt x="958" y="928"/>
                </a:lnTo>
                <a:lnTo>
                  <a:pt x="955" y="928"/>
                </a:lnTo>
                <a:lnTo>
                  <a:pt x="949" y="930"/>
                </a:lnTo>
                <a:lnTo>
                  <a:pt x="944" y="934"/>
                </a:lnTo>
                <a:lnTo>
                  <a:pt x="941" y="936"/>
                </a:lnTo>
                <a:lnTo>
                  <a:pt x="939" y="939"/>
                </a:lnTo>
                <a:lnTo>
                  <a:pt x="940" y="941"/>
                </a:lnTo>
                <a:lnTo>
                  <a:pt x="941" y="944"/>
                </a:lnTo>
                <a:lnTo>
                  <a:pt x="945" y="941"/>
                </a:lnTo>
                <a:lnTo>
                  <a:pt x="947" y="937"/>
                </a:lnTo>
                <a:lnTo>
                  <a:pt x="951" y="943"/>
                </a:lnTo>
                <a:lnTo>
                  <a:pt x="954" y="947"/>
                </a:lnTo>
                <a:lnTo>
                  <a:pt x="953" y="949"/>
                </a:lnTo>
                <a:lnTo>
                  <a:pt x="951" y="950"/>
                </a:lnTo>
                <a:lnTo>
                  <a:pt x="949" y="954"/>
                </a:lnTo>
                <a:lnTo>
                  <a:pt x="947" y="956"/>
                </a:lnTo>
                <a:lnTo>
                  <a:pt x="939" y="960"/>
                </a:lnTo>
                <a:lnTo>
                  <a:pt x="931" y="963"/>
                </a:lnTo>
                <a:lnTo>
                  <a:pt x="927" y="965"/>
                </a:lnTo>
                <a:lnTo>
                  <a:pt x="924" y="968"/>
                </a:lnTo>
                <a:lnTo>
                  <a:pt x="921" y="970"/>
                </a:lnTo>
                <a:lnTo>
                  <a:pt x="920" y="971"/>
                </a:lnTo>
                <a:lnTo>
                  <a:pt x="910" y="977"/>
                </a:lnTo>
                <a:lnTo>
                  <a:pt x="901" y="984"/>
                </a:lnTo>
                <a:lnTo>
                  <a:pt x="898" y="985"/>
                </a:lnTo>
                <a:lnTo>
                  <a:pt x="894" y="985"/>
                </a:lnTo>
                <a:lnTo>
                  <a:pt x="896" y="988"/>
                </a:lnTo>
                <a:lnTo>
                  <a:pt x="898" y="990"/>
                </a:lnTo>
                <a:lnTo>
                  <a:pt x="901" y="990"/>
                </a:lnTo>
                <a:lnTo>
                  <a:pt x="905" y="989"/>
                </a:lnTo>
                <a:lnTo>
                  <a:pt x="913" y="983"/>
                </a:lnTo>
                <a:lnTo>
                  <a:pt x="921" y="978"/>
                </a:lnTo>
                <a:lnTo>
                  <a:pt x="928" y="975"/>
                </a:lnTo>
                <a:lnTo>
                  <a:pt x="935" y="971"/>
                </a:lnTo>
                <a:lnTo>
                  <a:pt x="935" y="974"/>
                </a:lnTo>
                <a:lnTo>
                  <a:pt x="934" y="976"/>
                </a:lnTo>
                <a:lnTo>
                  <a:pt x="945" y="983"/>
                </a:lnTo>
                <a:lnTo>
                  <a:pt x="954" y="989"/>
                </a:lnTo>
                <a:lnTo>
                  <a:pt x="946" y="991"/>
                </a:lnTo>
                <a:lnTo>
                  <a:pt x="938" y="995"/>
                </a:lnTo>
                <a:lnTo>
                  <a:pt x="940" y="997"/>
                </a:lnTo>
                <a:lnTo>
                  <a:pt x="944" y="999"/>
                </a:lnTo>
                <a:lnTo>
                  <a:pt x="939" y="1003"/>
                </a:lnTo>
                <a:lnTo>
                  <a:pt x="934" y="1005"/>
                </a:lnTo>
                <a:lnTo>
                  <a:pt x="930" y="1005"/>
                </a:lnTo>
                <a:lnTo>
                  <a:pt x="925" y="1003"/>
                </a:lnTo>
                <a:lnTo>
                  <a:pt x="925" y="1003"/>
                </a:lnTo>
                <a:lnTo>
                  <a:pt x="925" y="1003"/>
                </a:lnTo>
                <a:lnTo>
                  <a:pt x="925" y="1003"/>
                </a:lnTo>
                <a:lnTo>
                  <a:pt x="925" y="1003"/>
                </a:lnTo>
                <a:lnTo>
                  <a:pt x="930" y="999"/>
                </a:lnTo>
                <a:lnTo>
                  <a:pt x="935" y="996"/>
                </a:lnTo>
                <a:close/>
                <a:moveTo>
                  <a:pt x="1208" y="1276"/>
                </a:moveTo>
                <a:lnTo>
                  <a:pt x="1209" y="1277"/>
                </a:lnTo>
                <a:lnTo>
                  <a:pt x="1210" y="1278"/>
                </a:lnTo>
                <a:lnTo>
                  <a:pt x="1214" y="1276"/>
                </a:lnTo>
                <a:lnTo>
                  <a:pt x="1216" y="1273"/>
                </a:lnTo>
                <a:lnTo>
                  <a:pt x="1215" y="1271"/>
                </a:lnTo>
                <a:lnTo>
                  <a:pt x="1214" y="1270"/>
                </a:lnTo>
                <a:lnTo>
                  <a:pt x="1211" y="1272"/>
                </a:lnTo>
                <a:lnTo>
                  <a:pt x="1208" y="1276"/>
                </a:lnTo>
                <a:close/>
                <a:moveTo>
                  <a:pt x="1170" y="1346"/>
                </a:moveTo>
                <a:lnTo>
                  <a:pt x="1160" y="1344"/>
                </a:lnTo>
                <a:lnTo>
                  <a:pt x="1149" y="1341"/>
                </a:lnTo>
                <a:lnTo>
                  <a:pt x="1149" y="1344"/>
                </a:lnTo>
                <a:lnTo>
                  <a:pt x="1149" y="1345"/>
                </a:lnTo>
                <a:lnTo>
                  <a:pt x="1160" y="1347"/>
                </a:lnTo>
                <a:lnTo>
                  <a:pt x="1170" y="1348"/>
                </a:lnTo>
                <a:lnTo>
                  <a:pt x="1170" y="1347"/>
                </a:lnTo>
                <a:lnTo>
                  <a:pt x="1170" y="1346"/>
                </a:lnTo>
                <a:close/>
                <a:moveTo>
                  <a:pt x="919" y="1347"/>
                </a:moveTo>
                <a:lnTo>
                  <a:pt x="932" y="1349"/>
                </a:lnTo>
                <a:lnTo>
                  <a:pt x="946" y="1353"/>
                </a:lnTo>
                <a:lnTo>
                  <a:pt x="940" y="1348"/>
                </a:lnTo>
                <a:lnTo>
                  <a:pt x="932" y="1347"/>
                </a:lnTo>
                <a:lnTo>
                  <a:pt x="925" y="1346"/>
                </a:lnTo>
                <a:lnTo>
                  <a:pt x="919" y="1347"/>
                </a:lnTo>
                <a:close/>
                <a:moveTo>
                  <a:pt x="1166" y="1373"/>
                </a:moveTo>
                <a:lnTo>
                  <a:pt x="1180" y="1377"/>
                </a:lnTo>
                <a:lnTo>
                  <a:pt x="1193" y="1382"/>
                </a:lnTo>
                <a:lnTo>
                  <a:pt x="1180" y="1375"/>
                </a:lnTo>
                <a:lnTo>
                  <a:pt x="1167" y="1369"/>
                </a:lnTo>
                <a:lnTo>
                  <a:pt x="1167" y="1372"/>
                </a:lnTo>
                <a:lnTo>
                  <a:pt x="1166" y="1373"/>
                </a:lnTo>
                <a:close/>
                <a:moveTo>
                  <a:pt x="1193" y="1382"/>
                </a:moveTo>
                <a:lnTo>
                  <a:pt x="1194" y="1382"/>
                </a:lnTo>
                <a:lnTo>
                  <a:pt x="1194" y="1382"/>
                </a:lnTo>
                <a:lnTo>
                  <a:pt x="1194" y="1382"/>
                </a:lnTo>
                <a:lnTo>
                  <a:pt x="1195" y="1382"/>
                </a:lnTo>
                <a:lnTo>
                  <a:pt x="1195" y="1382"/>
                </a:lnTo>
                <a:lnTo>
                  <a:pt x="1196" y="1384"/>
                </a:lnTo>
                <a:lnTo>
                  <a:pt x="1198" y="1388"/>
                </a:lnTo>
                <a:lnTo>
                  <a:pt x="1188" y="1389"/>
                </a:lnTo>
                <a:lnTo>
                  <a:pt x="1179" y="1389"/>
                </a:lnTo>
                <a:lnTo>
                  <a:pt x="1169" y="1390"/>
                </a:lnTo>
                <a:lnTo>
                  <a:pt x="1161" y="1391"/>
                </a:lnTo>
                <a:lnTo>
                  <a:pt x="1155" y="1391"/>
                </a:lnTo>
                <a:lnTo>
                  <a:pt x="1148" y="1391"/>
                </a:lnTo>
                <a:lnTo>
                  <a:pt x="1133" y="1389"/>
                </a:lnTo>
                <a:lnTo>
                  <a:pt x="1119" y="1387"/>
                </a:lnTo>
                <a:lnTo>
                  <a:pt x="1108" y="1383"/>
                </a:lnTo>
                <a:lnTo>
                  <a:pt x="1098" y="1379"/>
                </a:lnTo>
                <a:lnTo>
                  <a:pt x="1094" y="1377"/>
                </a:lnTo>
                <a:lnTo>
                  <a:pt x="1090" y="1376"/>
                </a:lnTo>
                <a:lnTo>
                  <a:pt x="1085" y="1374"/>
                </a:lnTo>
                <a:lnTo>
                  <a:pt x="1082" y="1370"/>
                </a:lnTo>
                <a:lnTo>
                  <a:pt x="1083" y="1374"/>
                </a:lnTo>
                <a:lnTo>
                  <a:pt x="1082" y="1376"/>
                </a:lnTo>
                <a:lnTo>
                  <a:pt x="1080" y="1379"/>
                </a:lnTo>
                <a:lnTo>
                  <a:pt x="1076" y="1379"/>
                </a:lnTo>
                <a:lnTo>
                  <a:pt x="1062" y="1376"/>
                </a:lnTo>
                <a:lnTo>
                  <a:pt x="1048" y="1374"/>
                </a:lnTo>
                <a:lnTo>
                  <a:pt x="1036" y="1370"/>
                </a:lnTo>
                <a:lnTo>
                  <a:pt x="1023" y="1367"/>
                </a:lnTo>
                <a:lnTo>
                  <a:pt x="1013" y="1365"/>
                </a:lnTo>
                <a:lnTo>
                  <a:pt x="1002" y="1362"/>
                </a:lnTo>
                <a:lnTo>
                  <a:pt x="993" y="1360"/>
                </a:lnTo>
                <a:lnTo>
                  <a:pt x="982" y="1358"/>
                </a:lnTo>
                <a:lnTo>
                  <a:pt x="972" y="1355"/>
                </a:lnTo>
                <a:lnTo>
                  <a:pt x="961" y="1353"/>
                </a:lnTo>
                <a:lnTo>
                  <a:pt x="961" y="1354"/>
                </a:lnTo>
                <a:lnTo>
                  <a:pt x="961" y="1355"/>
                </a:lnTo>
                <a:lnTo>
                  <a:pt x="962" y="1356"/>
                </a:lnTo>
                <a:lnTo>
                  <a:pt x="965" y="1356"/>
                </a:lnTo>
                <a:lnTo>
                  <a:pt x="977" y="1360"/>
                </a:lnTo>
                <a:lnTo>
                  <a:pt x="992" y="1363"/>
                </a:lnTo>
                <a:lnTo>
                  <a:pt x="1004" y="1366"/>
                </a:lnTo>
                <a:lnTo>
                  <a:pt x="1017" y="1369"/>
                </a:lnTo>
                <a:lnTo>
                  <a:pt x="1037" y="1374"/>
                </a:lnTo>
                <a:lnTo>
                  <a:pt x="1056" y="1379"/>
                </a:lnTo>
                <a:lnTo>
                  <a:pt x="1075" y="1383"/>
                </a:lnTo>
                <a:lnTo>
                  <a:pt x="1094" y="1388"/>
                </a:lnTo>
                <a:lnTo>
                  <a:pt x="1104" y="1390"/>
                </a:lnTo>
                <a:lnTo>
                  <a:pt x="1114" y="1393"/>
                </a:lnTo>
                <a:lnTo>
                  <a:pt x="1124" y="1394"/>
                </a:lnTo>
                <a:lnTo>
                  <a:pt x="1134" y="1395"/>
                </a:lnTo>
                <a:lnTo>
                  <a:pt x="1144" y="1396"/>
                </a:lnTo>
                <a:lnTo>
                  <a:pt x="1153" y="1396"/>
                </a:lnTo>
                <a:lnTo>
                  <a:pt x="1163" y="1397"/>
                </a:lnTo>
                <a:lnTo>
                  <a:pt x="1173" y="1397"/>
                </a:lnTo>
                <a:lnTo>
                  <a:pt x="1181" y="1398"/>
                </a:lnTo>
                <a:lnTo>
                  <a:pt x="1190" y="1400"/>
                </a:lnTo>
                <a:lnTo>
                  <a:pt x="1206" y="1400"/>
                </a:lnTo>
                <a:lnTo>
                  <a:pt x="1221" y="1401"/>
                </a:lnTo>
                <a:lnTo>
                  <a:pt x="1235" y="1403"/>
                </a:lnTo>
                <a:lnTo>
                  <a:pt x="1250" y="1407"/>
                </a:lnTo>
                <a:lnTo>
                  <a:pt x="1253" y="1408"/>
                </a:lnTo>
                <a:lnTo>
                  <a:pt x="1256" y="1408"/>
                </a:lnTo>
                <a:lnTo>
                  <a:pt x="1265" y="1404"/>
                </a:lnTo>
                <a:lnTo>
                  <a:pt x="1275" y="1402"/>
                </a:lnTo>
                <a:lnTo>
                  <a:pt x="1285" y="1400"/>
                </a:lnTo>
                <a:lnTo>
                  <a:pt x="1296" y="1398"/>
                </a:lnTo>
                <a:lnTo>
                  <a:pt x="1306" y="1396"/>
                </a:lnTo>
                <a:lnTo>
                  <a:pt x="1315" y="1393"/>
                </a:lnTo>
                <a:lnTo>
                  <a:pt x="1327" y="1389"/>
                </a:lnTo>
                <a:lnTo>
                  <a:pt x="1340" y="1387"/>
                </a:lnTo>
                <a:lnTo>
                  <a:pt x="1345" y="1383"/>
                </a:lnTo>
                <a:lnTo>
                  <a:pt x="1349" y="1380"/>
                </a:lnTo>
                <a:lnTo>
                  <a:pt x="1353" y="1376"/>
                </a:lnTo>
                <a:lnTo>
                  <a:pt x="1356" y="1374"/>
                </a:lnTo>
                <a:lnTo>
                  <a:pt x="1363" y="1370"/>
                </a:lnTo>
                <a:lnTo>
                  <a:pt x="1370" y="1367"/>
                </a:lnTo>
                <a:lnTo>
                  <a:pt x="1370" y="1366"/>
                </a:lnTo>
                <a:lnTo>
                  <a:pt x="1370" y="1365"/>
                </a:lnTo>
                <a:lnTo>
                  <a:pt x="1367" y="1365"/>
                </a:lnTo>
                <a:lnTo>
                  <a:pt x="1365" y="1363"/>
                </a:lnTo>
                <a:lnTo>
                  <a:pt x="1369" y="1358"/>
                </a:lnTo>
                <a:lnTo>
                  <a:pt x="1373" y="1352"/>
                </a:lnTo>
                <a:lnTo>
                  <a:pt x="1375" y="1348"/>
                </a:lnTo>
                <a:lnTo>
                  <a:pt x="1379" y="1346"/>
                </a:lnTo>
                <a:lnTo>
                  <a:pt x="1382" y="1345"/>
                </a:lnTo>
                <a:lnTo>
                  <a:pt x="1387" y="1345"/>
                </a:lnTo>
                <a:lnTo>
                  <a:pt x="1391" y="1344"/>
                </a:lnTo>
                <a:lnTo>
                  <a:pt x="1396" y="1340"/>
                </a:lnTo>
                <a:lnTo>
                  <a:pt x="1401" y="1339"/>
                </a:lnTo>
                <a:lnTo>
                  <a:pt x="1407" y="1337"/>
                </a:lnTo>
                <a:lnTo>
                  <a:pt x="1410" y="1335"/>
                </a:lnTo>
                <a:lnTo>
                  <a:pt x="1414" y="1333"/>
                </a:lnTo>
                <a:lnTo>
                  <a:pt x="1412" y="1332"/>
                </a:lnTo>
                <a:lnTo>
                  <a:pt x="1412" y="1331"/>
                </a:lnTo>
                <a:lnTo>
                  <a:pt x="1409" y="1331"/>
                </a:lnTo>
                <a:lnTo>
                  <a:pt x="1404" y="1330"/>
                </a:lnTo>
                <a:lnTo>
                  <a:pt x="1409" y="1321"/>
                </a:lnTo>
                <a:lnTo>
                  <a:pt x="1412" y="1313"/>
                </a:lnTo>
                <a:lnTo>
                  <a:pt x="1416" y="1311"/>
                </a:lnTo>
                <a:lnTo>
                  <a:pt x="1420" y="1310"/>
                </a:lnTo>
                <a:lnTo>
                  <a:pt x="1424" y="1310"/>
                </a:lnTo>
                <a:lnTo>
                  <a:pt x="1428" y="1307"/>
                </a:lnTo>
                <a:lnTo>
                  <a:pt x="1431" y="1305"/>
                </a:lnTo>
                <a:lnTo>
                  <a:pt x="1434" y="1302"/>
                </a:lnTo>
                <a:lnTo>
                  <a:pt x="1439" y="1291"/>
                </a:lnTo>
                <a:lnTo>
                  <a:pt x="1444" y="1280"/>
                </a:lnTo>
                <a:lnTo>
                  <a:pt x="1445" y="1277"/>
                </a:lnTo>
                <a:lnTo>
                  <a:pt x="1446" y="1275"/>
                </a:lnTo>
                <a:lnTo>
                  <a:pt x="1444" y="1273"/>
                </a:lnTo>
                <a:lnTo>
                  <a:pt x="1441" y="1272"/>
                </a:lnTo>
                <a:lnTo>
                  <a:pt x="1439" y="1270"/>
                </a:lnTo>
                <a:lnTo>
                  <a:pt x="1438" y="1266"/>
                </a:lnTo>
                <a:lnTo>
                  <a:pt x="1438" y="1263"/>
                </a:lnTo>
                <a:lnTo>
                  <a:pt x="1438" y="1259"/>
                </a:lnTo>
                <a:lnTo>
                  <a:pt x="1439" y="1244"/>
                </a:lnTo>
                <a:lnTo>
                  <a:pt x="1441" y="1230"/>
                </a:lnTo>
                <a:lnTo>
                  <a:pt x="1445" y="1230"/>
                </a:lnTo>
                <a:lnTo>
                  <a:pt x="1448" y="1230"/>
                </a:lnTo>
                <a:lnTo>
                  <a:pt x="1451" y="1223"/>
                </a:lnTo>
                <a:lnTo>
                  <a:pt x="1453" y="1216"/>
                </a:lnTo>
                <a:lnTo>
                  <a:pt x="1455" y="1206"/>
                </a:lnTo>
                <a:lnTo>
                  <a:pt x="1456" y="1198"/>
                </a:lnTo>
                <a:lnTo>
                  <a:pt x="1450" y="1192"/>
                </a:lnTo>
                <a:lnTo>
                  <a:pt x="1446" y="1187"/>
                </a:lnTo>
                <a:lnTo>
                  <a:pt x="1448" y="1177"/>
                </a:lnTo>
                <a:lnTo>
                  <a:pt x="1450" y="1166"/>
                </a:lnTo>
                <a:lnTo>
                  <a:pt x="1451" y="1154"/>
                </a:lnTo>
                <a:lnTo>
                  <a:pt x="1452" y="1144"/>
                </a:lnTo>
                <a:lnTo>
                  <a:pt x="1453" y="1139"/>
                </a:lnTo>
                <a:lnTo>
                  <a:pt x="1455" y="1136"/>
                </a:lnTo>
                <a:lnTo>
                  <a:pt x="1457" y="1133"/>
                </a:lnTo>
                <a:lnTo>
                  <a:pt x="1462" y="1131"/>
                </a:lnTo>
                <a:lnTo>
                  <a:pt x="1460" y="1118"/>
                </a:lnTo>
                <a:lnTo>
                  <a:pt x="1458" y="1104"/>
                </a:lnTo>
                <a:lnTo>
                  <a:pt x="1456" y="1091"/>
                </a:lnTo>
                <a:lnTo>
                  <a:pt x="1453" y="1077"/>
                </a:lnTo>
                <a:lnTo>
                  <a:pt x="1449" y="1075"/>
                </a:lnTo>
                <a:lnTo>
                  <a:pt x="1446" y="1073"/>
                </a:lnTo>
                <a:lnTo>
                  <a:pt x="1439" y="1061"/>
                </a:lnTo>
                <a:lnTo>
                  <a:pt x="1435" y="1049"/>
                </a:lnTo>
                <a:lnTo>
                  <a:pt x="1431" y="1038"/>
                </a:lnTo>
                <a:lnTo>
                  <a:pt x="1428" y="1025"/>
                </a:lnTo>
                <a:lnTo>
                  <a:pt x="1427" y="1023"/>
                </a:lnTo>
                <a:lnTo>
                  <a:pt x="1428" y="1019"/>
                </a:lnTo>
                <a:lnTo>
                  <a:pt x="1429" y="1014"/>
                </a:lnTo>
                <a:lnTo>
                  <a:pt x="1429" y="1006"/>
                </a:lnTo>
                <a:lnTo>
                  <a:pt x="1428" y="998"/>
                </a:lnTo>
                <a:lnTo>
                  <a:pt x="1425" y="993"/>
                </a:lnTo>
                <a:lnTo>
                  <a:pt x="1424" y="992"/>
                </a:lnTo>
                <a:lnTo>
                  <a:pt x="1421" y="993"/>
                </a:lnTo>
                <a:lnTo>
                  <a:pt x="1423" y="990"/>
                </a:lnTo>
                <a:lnTo>
                  <a:pt x="1425" y="985"/>
                </a:lnTo>
                <a:lnTo>
                  <a:pt x="1421" y="986"/>
                </a:lnTo>
                <a:lnTo>
                  <a:pt x="1418" y="985"/>
                </a:lnTo>
                <a:lnTo>
                  <a:pt x="1417" y="982"/>
                </a:lnTo>
                <a:lnTo>
                  <a:pt x="1416" y="979"/>
                </a:lnTo>
                <a:lnTo>
                  <a:pt x="1412" y="962"/>
                </a:lnTo>
                <a:lnTo>
                  <a:pt x="1409" y="946"/>
                </a:lnTo>
                <a:lnTo>
                  <a:pt x="1407" y="940"/>
                </a:lnTo>
                <a:lnTo>
                  <a:pt x="1403" y="936"/>
                </a:lnTo>
                <a:lnTo>
                  <a:pt x="1400" y="935"/>
                </a:lnTo>
                <a:lnTo>
                  <a:pt x="1397" y="933"/>
                </a:lnTo>
                <a:lnTo>
                  <a:pt x="1395" y="930"/>
                </a:lnTo>
                <a:lnTo>
                  <a:pt x="1394" y="928"/>
                </a:lnTo>
                <a:lnTo>
                  <a:pt x="1393" y="925"/>
                </a:lnTo>
                <a:lnTo>
                  <a:pt x="1394" y="921"/>
                </a:lnTo>
                <a:lnTo>
                  <a:pt x="1395" y="918"/>
                </a:lnTo>
                <a:lnTo>
                  <a:pt x="1397" y="914"/>
                </a:lnTo>
                <a:lnTo>
                  <a:pt x="1401" y="909"/>
                </a:lnTo>
                <a:lnTo>
                  <a:pt x="1404" y="905"/>
                </a:lnTo>
                <a:lnTo>
                  <a:pt x="1402" y="902"/>
                </a:lnTo>
                <a:lnTo>
                  <a:pt x="1398" y="899"/>
                </a:lnTo>
                <a:lnTo>
                  <a:pt x="1396" y="895"/>
                </a:lnTo>
                <a:lnTo>
                  <a:pt x="1395" y="891"/>
                </a:lnTo>
                <a:lnTo>
                  <a:pt x="1395" y="887"/>
                </a:lnTo>
                <a:lnTo>
                  <a:pt x="1394" y="886"/>
                </a:lnTo>
                <a:lnTo>
                  <a:pt x="1391" y="886"/>
                </a:lnTo>
                <a:lnTo>
                  <a:pt x="1388" y="887"/>
                </a:lnTo>
                <a:lnTo>
                  <a:pt x="1384" y="888"/>
                </a:lnTo>
                <a:lnTo>
                  <a:pt x="1381" y="887"/>
                </a:lnTo>
                <a:lnTo>
                  <a:pt x="1377" y="886"/>
                </a:lnTo>
                <a:lnTo>
                  <a:pt x="1375" y="884"/>
                </a:lnTo>
                <a:lnTo>
                  <a:pt x="1368" y="879"/>
                </a:lnTo>
                <a:lnTo>
                  <a:pt x="1362" y="873"/>
                </a:lnTo>
                <a:lnTo>
                  <a:pt x="1359" y="871"/>
                </a:lnTo>
                <a:lnTo>
                  <a:pt x="1356" y="867"/>
                </a:lnTo>
                <a:lnTo>
                  <a:pt x="1356" y="865"/>
                </a:lnTo>
                <a:lnTo>
                  <a:pt x="1356" y="863"/>
                </a:lnTo>
                <a:lnTo>
                  <a:pt x="1358" y="860"/>
                </a:lnTo>
                <a:lnTo>
                  <a:pt x="1360" y="858"/>
                </a:lnTo>
                <a:lnTo>
                  <a:pt x="1355" y="858"/>
                </a:lnTo>
                <a:lnTo>
                  <a:pt x="1353" y="858"/>
                </a:lnTo>
                <a:lnTo>
                  <a:pt x="1351" y="853"/>
                </a:lnTo>
                <a:lnTo>
                  <a:pt x="1348" y="850"/>
                </a:lnTo>
                <a:lnTo>
                  <a:pt x="1345" y="849"/>
                </a:lnTo>
                <a:lnTo>
                  <a:pt x="1340" y="849"/>
                </a:lnTo>
                <a:lnTo>
                  <a:pt x="1338" y="849"/>
                </a:lnTo>
                <a:lnTo>
                  <a:pt x="1336" y="846"/>
                </a:lnTo>
                <a:lnTo>
                  <a:pt x="1332" y="839"/>
                </a:lnTo>
                <a:lnTo>
                  <a:pt x="1328" y="831"/>
                </a:lnTo>
                <a:lnTo>
                  <a:pt x="1327" y="828"/>
                </a:lnTo>
                <a:lnTo>
                  <a:pt x="1326" y="823"/>
                </a:lnTo>
                <a:lnTo>
                  <a:pt x="1325" y="818"/>
                </a:lnTo>
                <a:lnTo>
                  <a:pt x="1326" y="814"/>
                </a:lnTo>
                <a:lnTo>
                  <a:pt x="1317" y="808"/>
                </a:lnTo>
                <a:lnTo>
                  <a:pt x="1307" y="801"/>
                </a:lnTo>
                <a:lnTo>
                  <a:pt x="1304" y="803"/>
                </a:lnTo>
                <a:lnTo>
                  <a:pt x="1301" y="804"/>
                </a:lnTo>
                <a:lnTo>
                  <a:pt x="1299" y="803"/>
                </a:lnTo>
                <a:lnTo>
                  <a:pt x="1298" y="800"/>
                </a:lnTo>
                <a:lnTo>
                  <a:pt x="1296" y="802"/>
                </a:lnTo>
                <a:lnTo>
                  <a:pt x="1292" y="803"/>
                </a:lnTo>
                <a:lnTo>
                  <a:pt x="1282" y="802"/>
                </a:lnTo>
                <a:lnTo>
                  <a:pt x="1270" y="801"/>
                </a:lnTo>
                <a:lnTo>
                  <a:pt x="1267" y="799"/>
                </a:lnTo>
                <a:lnTo>
                  <a:pt x="1266" y="795"/>
                </a:lnTo>
                <a:lnTo>
                  <a:pt x="1264" y="793"/>
                </a:lnTo>
                <a:lnTo>
                  <a:pt x="1262" y="790"/>
                </a:lnTo>
                <a:lnTo>
                  <a:pt x="1259" y="790"/>
                </a:lnTo>
                <a:lnTo>
                  <a:pt x="1257" y="790"/>
                </a:lnTo>
                <a:lnTo>
                  <a:pt x="1253" y="792"/>
                </a:lnTo>
                <a:lnTo>
                  <a:pt x="1251" y="792"/>
                </a:lnTo>
                <a:lnTo>
                  <a:pt x="1249" y="790"/>
                </a:lnTo>
                <a:lnTo>
                  <a:pt x="1246" y="788"/>
                </a:lnTo>
                <a:lnTo>
                  <a:pt x="1243" y="782"/>
                </a:lnTo>
                <a:lnTo>
                  <a:pt x="1239" y="776"/>
                </a:lnTo>
                <a:lnTo>
                  <a:pt x="1242" y="776"/>
                </a:lnTo>
                <a:lnTo>
                  <a:pt x="1244" y="776"/>
                </a:lnTo>
                <a:lnTo>
                  <a:pt x="1242" y="774"/>
                </a:lnTo>
                <a:lnTo>
                  <a:pt x="1239" y="772"/>
                </a:lnTo>
                <a:lnTo>
                  <a:pt x="1236" y="771"/>
                </a:lnTo>
                <a:lnTo>
                  <a:pt x="1232" y="769"/>
                </a:lnTo>
                <a:lnTo>
                  <a:pt x="1227" y="769"/>
                </a:lnTo>
                <a:lnTo>
                  <a:pt x="1220" y="767"/>
                </a:lnTo>
                <a:lnTo>
                  <a:pt x="1220" y="766"/>
                </a:lnTo>
                <a:lnTo>
                  <a:pt x="1221" y="765"/>
                </a:lnTo>
                <a:lnTo>
                  <a:pt x="1210" y="768"/>
                </a:lnTo>
                <a:lnTo>
                  <a:pt x="1201" y="772"/>
                </a:lnTo>
                <a:lnTo>
                  <a:pt x="1191" y="774"/>
                </a:lnTo>
                <a:lnTo>
                  <a:pt x="1183" y="778"/>
                </a:lnTo>
                <a:lnTo>
                  <a:pt x="1169" y="781"/>
                </a:lnTo>
                <a:lnTo>
                  <a:pt x="1154" y="785"/>
                </a:lnTo>
                <a:lnTo>
                  <a:pt x="1147" y="785"/>
                </a:lnTo>
                <a:lnTo>
                  <a:pt x="1140" y="783"/>
                </a:lnTo>
                <a:lnTo>
                  <a:pt x="1137" y="783"/>
                </a:lnTo>
                <a:lnTo>
                  <a:pt x="1133" y="783"/>
                </a:lnTo>
                <a:lnTo>
                  <a:pt x="1130" y="785"/>
                </a:lnTo>
                <a:lnTo>
                  <a:pt x="1126" y="787"/>
                </a:lnTo>
                <a:lnTo>
                  <a:pt x="1124" y="787"/>
                </a:lnTo>
                <a:lnTo>
                  <a:pt x="1121" y="787"/>
                </a:lnTo>
                <a:lnTo>
                  <a:pt x="1113" y="785"/>
                </a:lnTo>
                <a:lnTo>
                  <a:pt x="1106" y="785"/>
                </a:lnTo>
                <a:lnTo>
                  <a:pt x="1099" y="786"/>
                </a:lnTo>
                <a:lnTo>
                  <a:pt x="1092" y="787"/>
                </a:lnTo>
                <a:lnTo>
                  <a:pt x="1068" y="795"/>
                </a:lnTo>
                <a:lnTo>
                  <a:pt x="1043" y="803"/>
                </a:lnTo>
                <a:lnTo>
                  <a:pt x="1017" y="811"/>
                </a:lnTo>
                <a:lnTo>
                  <a:pt x="993" y="821"/>
                </a:lnTo>
                <a:lnTo>
                  <a:pt x="986" y="822"/>
                </a:lnTo>
                <a:lnTo>
                  <a:pt x="979" y="823"/>
                </a:lnTo>
                <a:lnTo>
                  <a:pt x="975" y="822"/>
                </a:lnTo>
                <a:lnTo>
                  <a:pt x="972" y="821"/>
                </a:lnTo>
                <a:lnTo>
                  <a:pt x="968" y="818"/>
                </a:lnTo>
                <a:lnTo>
                  <a:pt x="965" y="816"/>
                </a:lnTo>
                <a:lnTo>
                  <a:pt x="977" y="804"/>
                </a:lnTo>
                <a:lnTo>
                  <a:pt x="989" y="794"/>
                </a:lnTo>
                <a:lnTo>
                  <a:pt x="1001" y="782"/>
                </a:lnTo>
                <a:lnTo>
                  <a:pt x="1013" y="771"/>
                </a:lnTo>
                <a:lnTo>
                  <a:pt x="1024" y="759"/>
                </a:lnTo>
                <a:lnTo>
                  <a:pt x="1036" y="747"/>
                </a:lnTo>
                <a:lnTo>
                  <a:pt x="1046" y="734"/>
                </a:lnTo>
                <a:lnTo>
                  <a:pt x="1056" y="722"/>
                </a:lnTo>
                <a:lnTo>
                  <a:pt x="1064" y="706"/>
                </a:lnTo>
                <a:lnTo>
                  <a:pt x="1072" y="692"/>
                </a:lnTo>
                <a:lnTo>
                  <a:pt x="1075" y="685"/>
                </a:lnTo>
                <a:lnTo>
                  <a:pt x="1077" y="677"/>
                </a:lnTo>
                <a:lnTo>
                  <a:pt x="1078" y="670"/>
                </a:lnTo>
                <a:lnTo>
                  <a:pt x="1078" y="662"/>
                </a:lnTo>
                <a:lnTo>
                  <a:pt x="1079" y="649"/>
                </a:lnTo>
                <a:lnTo>
                  <a:pt x="1078" y="636"/>
                </a:lnTo>
                <a:lnTo>
                  <a:pt x="1077" y="626"/>
                </a:lnTo>
                <a:lnTo>
                  <a:pt x="1077" y="614"/>
                </a:lnTo>
                <a:lnTo>
                  <a:pt x="1076" y="615"/>
                </a:lnTo>
                <a:lnTo>
                  <a:pt x="1075" y="615"/>
                </a:lnTo>
                <a:lnTo>
                  <a:pt x="1072" y="614"/>
                </a:lnTo>
                <a:lnTo>
                  <a:pt x="1071" y="613"/>
                </a:lnTo>
                <a:lnTo>
                  <a:pt x="1066" y="600"/>
                </a:lnTo>
                <a:lnTo>
                  <a:pt x="1063" y="586"/>
                </a:lnTo>
                <a:lnTo>
                  <a:pt x="1062" y="583"/>
                </a:lnTo>
                <a:lnTo>
                  <a:pt x="1061" y="580"/>
                </a:lnTo>
                <a:lnTo>
                  <a:pt x="1058" y="578"/>
                </a:lnTo>
                <a:lnTo>
                  <a:pt x="1055" y="576"/>
                </a:lnTo>
                <a:lnTo>
                  <a:pt x="1056" y="573"/>
                </a:lnTo>
                <a:lnTo>
                  <a:pt x="1056" y="572"/>
                </a:lnTo>
                <a:lnTo>
                  <a:pt x="1051" y="564"/>
                </a:lnTo>
                <a:lnTo>
                  <a:pt x="1045" y="556"/>
                </a:lnTo>
                <a:lnTo>
                  <a:pt x="1041" y="548"/>
                </a:lnTo>
                <a:lnTo>
                  <a:pt x="1037" y="541"/>
                </a:lnTo>
                <a:lnTo>
                  <a:pt x="1035" y="535"/>
                </a:lnTo>
                <a:lnTo>
                  <a:pt x="1034" y="529"/>
                </a:lnTo>
                <a:lnTo>
                  <a:pt x="1025" y="516"/>
                </a:lnTo>
                <a:lnTo>
                  <a:pt x="1018" y="504"/>
                </a:lnTo>
                <a:lnTo>
                  <a:pt x="1017" y="503"/>
                </a:lnTo>
                <a:lnTo>
                  <a:pt x="1015" y="501"/>
                </a:lnTo>
                <a:lnTo>
                  <a:pt x="1011" y="500"/>
                </a:lnTo>
                <a:lnTo>
                  <a:pt x="1008" y="497"/>
                </a:lnTo>
                <a:lnTo>
                  <a:pt x="1008" y="497"/>
                </a:lnTo>
                <a:lnTo>
                  <a:pt x="1008" y="497"/>
                </a:lnTo>
                <a:lnTo>
                  <a:pt x="1009" y="495"/>
                </a:lnTo>
                <a:lnTo>
                  <a:pt x="1008" y="492"/>
                </a:lnTo>
                <a:lnTo>
                  <a:pt x="1003" y="485"/>
                </a:lnTo>
                <a:lnTo>
                  <a:pt x="1000" y="478"/>
                </a:lnTo>
                <a:lnTo>
                  <a:pt x="999" y="475"/>
                </a:lnTo>
                <a:lnTo>
                  <a:pt x="997" y="473"/>
                </a:lnTo>
                <a:lnTo>
                  <a:pt x="997" y="473"/>
                </a:lnTo>
                <a:lnTo>
                  <a:pt x="997" y="473"/>
                </a:lnTo>
                <a:lnTo>
                  <a:pt x="995" y="467"/>
                </a:lnTo>
                <a:lnTo>
                  <a:pt x="993" y="462"/>
                </a:lnTo>
                <a:lnTo>
                  <a:pt x="993" y="461"/>
                </a:lnTo>
                <a:lnTo>
                  <a:pt x="992" y="460"/>
                </a:lnTo>
                <a:lnTo>
                  <a:pt x="990" y="458"/>
                </a:lnTo>
                <a:lnTo>
                  <a:pt x="988" y="457"/>
                </a:lnTo>
                <a:lnTo>
                  <a:pt x="982" y="451"/>
                </a:lnTo>
                <a:lnTo>
                  <a:pt x="979" y="443"/>
                </a:lnTo>
                <a:lnTo>
                  <a:pt x="975" y="433"/>
                </a:lnTo>
                <a:lnTo>
                  <a:pt x="973" y="425"/>
                </a:lnTo>
                <a:lnTo>
                  <a:pt x="969" y="416"/>
                </a:lnTo>
                <a:lnTo>
                  <a:pt x="966" y="406"/>
                </a:lnTo>
                <a:lnTo>
                  <a:pt x="962" y="402"/>
                </a:lnTo>
                <a:lnTo>
                  <a:pt x="958" y="396"/>
                </a:lnTo>
                <a:lnTo>
                  <a:pt x="953" y="388"/>
                </a:lnTo>
                <a:lnTo>
                  <a:pt x="949" y="380"/>
                </a:lnTo>
                <a:lnTo>
                  <a:pt x="947" y="375"/>
                </a:lnTo>
                <a:lnTo>
                  <a:pt x="946" y="371"/>
                </a:lnTo>
                <a:lnTo>
                  <a:pt x="946" y="368"/>
                </a:lnTo>
                <a:lnTo>
                  <a:pt x="948" y="363"/>
                </a:lnTo>
                <a:lnTo>
                  <a:pt x="947" y="360"/>
                </a:lnTo>
                <a:lnTo>
                  <a:pt x="945" y="355"/>
                </a:lnTo>
                <a:lnTo>
                  <a:pt x="942" y="353"/>
                </a:lnTo>
                <a:lnTo>
                  <a:pt x="942" y="352"/>
                </a:lnTo>
                <a:lnTo>
                  <a:pt x="940" y="339"/>
                </a:lnTo>
                <a:lnTo>
                  <a:pt x="938" y="327"/>
                </a:lnTo>
                <a:lnTo>
                  <a:pt x="935" y="314"/>
                </a:lnTo>
                <a:lnTo>
                  <a:pt x="933" y="303"/>
                </a:lnTo>
                <a:lnTo>
                  <a:pt x="931" y="290"/>
                </a:lnTo>
                <a:lnTo>
                  <a:pt x="926" y="278"/>
                </a:lnTo>
                <a:lnTo>
                  <a:pt x="921" y="270"/>
                </a:lnTo>
                <a:lnTo>
                  <a:pt x="919" y="262"/>
                </a:lnTo>
                <a:lnTo>
                  <a:pt x="918" y="254"/>
                </a:lnTo>
                <a:lnTo>
                  <a:pt x="918" y="245"/>
                </a:lnTo>
                <a:lnTo>
                  <a:pt x="918" y="242"/>
                </a:lnTo>
                <a:lnTo>
                  <a:pt x="917" y="240"/>
                </a:lnTo>
                <a:lnTo>
                  <a:pt x="912" y="230"/>
                </a:lnTo>
                <a:lnTo>
                  <a:pt x="910" y="221"/>
                </a:lnTo>
                <a:lnTo>
                  <a:pt x="908" y="216"/>
                </a:lnTo>
                <a:lnTo>
                  <a:pt x="908" y="212"/>
                </a:lnTo>
                <a:lnTo>
                  <a:pt x="908" y="207"/>
                </a:lnTo>
                <a:lnTo>
                  <a:pt x="910" y="201"/>
                </a:lnTo>
                <a:lnTo>
                  <a:pt x="910" y="199"/>
                </a:lnTo>
                <a:lnTo>
                  <a:pt x="908" y="195"/>
                </a:lnTo>
                <a:lnTo>
                  <a:pt x="905" y="182"/>
                </a:lnTo>
                <a:lnTo>
                  <a:pt x="901" y="171"/>
                </a:lnTo>
                <a:lnTo>
                  <a:pt x="898" y="170"/>
                </a:lnTo>
                <a:lnTo>
                  <a:pt x="896" y="167"/>
                </a:lnTo>
                <a:lnTo>
                  <a:pt x="892" y="161"/>
                </a:lnTo>
                <a:lnTo>
                  <a:pt x="891" y="154"/>
                </a:lnTo>
                <a:lnTo>
                  <a:pt x="890" y="151"/>
                </a:lnTo>
                <a:lnTo>
                  <a:pt x="891" y="147"/>
                </a:lnTo>
                <a:lnTo>
                  <a:pt x="893" y="143"/>
                </a:lnTo>
                <a:lnTo>
                  <a:pt x="893" y="139"/>
                </a:lnTo>
                <a:lnTo>
                  <a:pt x="891" y="137"/>
                </a:lnTo>
                <a:lnTo>
                  <a:pt x="886" y="136"/>
                </a:lnTo>
                <a:lnTo>
                  <a:pt x="884" y="130"/>
                </a:lnTo>
                <a:lnTo>
                  <a:pt x="882" y="123"/>
                </a:lnTo>
                <a:lnTo>
                  <a:pt x="882" y="121"/>
                </a:lnTo>
                <a:lnTo>
                  <a:pt x="883" y="117"/>
                </a:lnTo>
                <a:lnTo>
                  <a:pt x="884" y="112"/>
                </a:lnTo>
                <a:lnTo>
                  <a:pt x="884" y="108"/>
                </a:lnTo>
                <a:lnTo>
                  <a:pt x="879" y="97"/>
                </a:lnTo>
                <a:lnTo>
                  <a:pt x="875" y="87"/>
                </a:lnTo>
                <a:lnTo>
                  <a:pt x="872" y="84"/>
                </a:lnTo>
                <a:lnTo>
                  <a:pt x="871" y="83"/>
                </a:lnTo>
                <a:lnTo>
                  <a:pt x="868" y="81"/>
                </a:lnTo>
                <a:lnTo>
                  <a:pt x="864" y="77"/>
                </a:lnTo>
                <a:lnTo>
                  <a:pt x="857" y="63"/>
                </a:lnTo>
                <a:lnTo>
                  <a:pt x="851" y="48"/>
                </a:lnTo>
                <a:lnTo>
                  <a:pt x="849" y="44"/>
                </a:lnTo>
                <a:lnTo>
                  <a:pt x="848" y="40"/>
                </a:lnTo>
                <a:lnTo>
                  <a:pt x="848" y="38"/>
                </a:lnTo>
                <a:lnTo>
                  <a:pt x="848" y="37"/>
                </a:lnTo>
                <a:lnTo>
                  <a:pt x="849" y="34"/>
                </a:lnTo>
                <a:lnTo>
                  <a:pt x="850" y="32"/>
                </a:lnTo>
                <a:lnTo>
                  <a:pt x="850" y="32"/>
                </a:lnTo>
                <a:lnTo>
                  <a:pt x="850" y="31"/>
                </a:lnTo>
                <a:lnTo>
                  <a:pt x="848" y="32"/>
                </a:lnTo>
                <a:lnTo>
                  <a:pt x="845" y="32"/>
                </a:lnTo>
                <a:lnTo>
                  <a:pt x="847" y="27"/>
                </a:lnTo>
                <a:lnTo>
                  <a:pt x="848" y="23"/>
                </a:lnTo>
                <a:lnTo>
                  <a:pt x="844" y="23"/>
                </a:lnTo>
                <a:lnTo>
                  <a:pt x="842" y="21"/>
                </a:lnTo>
                <a:lnTo>
                  <a:pt x="837" y="14"/>
                </a:lnTo>
                <a:lnTo>
                  <a:pt x="834" y="7"/>
                </a:lnTo>
                <a:lnTo>
                  <a:pt x="832" y="9"/>
                </a:lnTo>
                <a:lnTo>
                  <a:pt x="832" y="10"/>
                </a:lnTo>
                <a:lnTo>
                  <a:pt x="825" y="9"/>
                </a:lnTo>
                <a:lnTo>
                  <a:pt x="818" y="7"/>
                </a:lnTo>
                <a:lnTo>
                  <a:pt x="811" y="4"/>
                </a:lnTo>
                <a:lnTo>
                  <a:pt x="803" y="2"/>
                </a:lnTo>
                <a:lnTo>
                  <a:pt x="795" y="0"/>
                </a:lnTo>
                <a:lnTo>
                  <a:pt x="787" y="0"/>
                </a:lnTo>
                <a:lnTo>
                  <a:pt x="780" y="2"/>
                </a:lnTo>
                <a:lnTo>
                  <a:pt x="772" y="4"/>
                </a:lnTo>
                <a:lnTo>
                  <a:pt x="765" y="7"/>
                </a:lnTo>
                <a:lnTo>
                  <a:pt x="758" y="12"/>
                </a:lnTo>
                <a:lnTo>
                  <a:pt x="746" y="23"/>
                </a:lnTo>
                <a:lnTo>
                  <a:pt x="734" y="32"/>
                </a:lnTo>
                <a:lnTo>
                  <a:pt x="724" y="44"/>
                </a:lnTo>
                <a:lnTo>
                  <a:pt x="713" y="54"/>
                </a:lnTo>
                <a:lnTo>
                  <a:pt x="697" y="75"/>
                </a:lnTo>
                <a:lnTo>
                  <a:pt x="682" y="96"/>
                </a:lnTo>
                <a:lnTo>
                  <a:pt x="666" y="117"/>
                </a:lnTo>
                <a:lnTo>
                  <a:pt x="651" y="138"/>
                </a:lnTo>
                <a:lnTo>
                  <a:pt x="637" y="160"/>
                </a:lnTo>
                <a:lnTo>
                  <a:pt x="623" y="184"/>
                </a:lnTo>
                <a:lnTo>
                  <a:pt x="609" y="206"/>
                </a:lnTo>
                <a:lnTo>
                  <a:pt x="596" y="229"/>
                </a:lnTo>
                <a:lnTo>
                  <a:pt x="585" y="248"/>
                </a:lnTo>
                <a:lnTo>
                  <a:pt x="575" y="268"/>
                </a:lnTo>
                <a:lnTo>
                  <a:pt x="565" y="286"/>
                </a:lnTo>
                <a:lnTo>
                  <a:pt x="555" y="306"/>
                </a:lnTo>
                <a:lnTo>
                  <a:pt x="548" y="321"/>
                </a:lnTo>
                <a:lnTo>
                  <a:pt x="541" y="338"/>
                </a:lnTo>
                <a:lnTo>
                  <a:pt x="535" y="353"/>
                </a:lnTo>
                <a:lnTo>
                  <a:pt x="528" y="369"/>
                </a:lnTo>
                <a:lnTo>
                  <a:pt x="524" y="382"/>
                </a:lnTo>
                <a:lnTo>
                  <a:pt x="520" y="395"/>
                </a:lnTo>
                <a:lnTo>
                  <a:pt x="516" y="408"/>
                </a:lnTo>
                <a:lnTo>
                  <a:pt x="512" y="420"/>
                </a:lnTo>
                <a:lnTo>
                  <a:pt x="509" y="432"/>
                </a:lnTo>
                <a:lnTo>
                  <a:pt x="505" y="444"/>
                </a:lnTo>
                <a:lnTo>
                  <a:pt x="502" y="454"/>
                </a:lnTo>
                <a:lnTo>
                  <a:pt x="499" y="466"/>
                </a:lnTo>
                <a:lnTo>
                  <a:pt x="496" y="478"/>
                </a:lnTo>
                <a:lnTo>
                  <a:pt x="492" y="490"/>
                </a:lnTo>
                <a:lnTo>
                  <a:pt x="491" y="490"/>
                </a:lnTo>
                <a:lnTo>
                  <a:pt x="490" y="490"/>
                </a:lnTo>
                <a:lnTo>
                  <a:pt x="485" y="483"/>
                </a:lnTo>
                <a:lnTo>
                  <a:pt x="480" y="476"/>
                </a:lnTo>
                <a:lnTo>
                  <a:pt x="469" y="465"/>
                </a:lnTo>
                <a:lnTo>
                  <a:pt x="457" y="454"/>
                </a:lnTo>
                <a:lnTo>
                  <a:pt x="455" y="452"/>
                </a:lnTo>
                <a:lnTo>
                  <a:pt x="452" y="450"/>
                </a:lnTo>
                <a:lnTo>
                  <a:pt x="445" y="444"/>
                </a:lnTo>
                <a:lnTo>
                  <a:pt x="437" y="441"/>
                </a:lnTo>
                <a:lnTo>
                  <a:pt x="427" y="432"/>
                </a:lnTo>
                <a:lnTo>
                  <a:pt x="419" y="422"/>
                </a:lnTo>
                <a:lnTo>
                  <a:pt x="413" y="412"/>
                </a:lnTo>
                <a:lnTo>
                  <a:pt x="406" y="404"/>
                </a:lnTo>
                <a:lnTo>
                  <a:pt x="401" y="402"/>
                </a:lnTo>
                <a:lnTo>
                  <a:pt x="396" y="398"/>
                </a:lnTo>
                <a:lnTo>
                  <a:pt x="386" y="387"/>
                </a:lnTo>
                <a:lnTo>
                  <a:pt x="375" y="374"/>
                </a:lnTo>
                <a:lnTo>
                  <a:pt x="369" y="367"/>
                </a:lnTo>
                <a:lnTo>
                  <a:pt x="364" y="360"/>
                </a:lnTo>
                <a:lnTo>
                  <a:pt x="362" y="356"/>
                </a:lnTo>
                <a:lnTo>
                  <a:pt x="360" y="353"/>
                </a:lnTo>
                <a:lnTo>
                  <a:pt x="359" y="352"/>
                </a:lnTo>
                <a:lnTo>
                  <a:pt x="357" y="350"/>
                </a:lnTo>
                <a:lnTo>
                  <a:pt x="354" y="349"/>
                </a:lnTo>
                <a:lnTo>
                  <a:pt x="352" y="349"/>
                </a:lnTo>
                <a:lnTo>
                  <a:pt x="351" y="349"/>
                </a:lnTo>
                <a:lnTo>
                  <a:pt x="350" y="348"/>
                </a:lnTo>
                <a:lnTo>
                  <a:pt x="340" y="338"/>
                </a:lnTo>
                <a:lnTo>
                  <a:pt x="332" y="328"/>
                </a:lnTo>
                <a:lnTo>
                  <a:pt x="331" y="324"/>
                </a:lnTo>
                <a:lnTo>
                  <a:pt x="330" y="319"/>
                </a:lnTo>
                <a:lnTo>
                  <a:pt x="326" y="314"/>
                </a:lnTo>
                <a:lnTo>
                  <a:pt x="323" y="310"/>
                </a:lnTo>
                <a:lnTo>
                  <a:pt x="321" y="308"/>
                </a:lnTo>
                <a:lnTo>
                  <a:pt x="320" y="307"/>
                </a:lnTo>
                <a:lnTo>
                  <a:pt x="314" y="299"/>
                </a:lnTo>
                <a:lnTo>
                  <a:pt x="310" y="290"/>
                </a:lnTo>
                <a:lnTo>
                  <a:pt x="304" y="280"/>
                </a:lnTo>
                <a:lnTo>
                  <a:pt x="299" y="271"/>
                </a:lnTo>
                <a:lnTo>
                  <a:pt x="296" y="263"/>
                </a:lnTo>
                <a:lnTo>
                  <a:pt x="291" y="255"/>
                </a:lnTo>
                <a:lnTo>
                  <a:pt x="291" y="254"/>
                </a:lnTo>
                <a:lnTo>
                  <a:pt x="290" y="252"/>
                </a:lnTo>
                <a:lnTo>
                  <a:pt x="284" y="244"/>
                </a:lnTo>
                <a:lnTo>
                  <a:pt x="277" y="236"/>
                </a:lnTo>
                <a:lnTo>
                  <a:pt x="271" y="228"/>
                </a:lnTo>
                <a:lnTo>
                  <a:pt x="265" y="220"/>
                </a:lnTo>
                <a:lnTo>
                  <a:pt x="265" y="219"/>
                </a:lnTo>
                <a:lnTo>
                  <a:pt x="265" y="219"/>
                </a:lnTo>
                <a:lnTo>
                  <a:pt x="264" y="216"/>
                </a:lnTo>
                <a:lnTo>
                  <a:pt x="263" y="215"/>
                </a:lnTo>
                <a:lnTo>
                  <a:pt x="262" y="215"/>
                </a:lnTo>
                <a:lnTo>
                  <a:pt x="262" y="214"/>
                </a:lnTo>
                <a:lnTo>
                  <a:pt x="261" y="214"/>
                </a:lnTo>
                <a:lnTo>
                  <a:pt x="261" y="213"/>
                </a:lnTo>
                <a:lnTo>
                  <a:pt x="259" y="210"/>
                </a:lnTo>
                <a:lnTo>
                  <a:pt x="258" y="209"/>
                </a:lnTo>
                <a:lnTo>
                  <a:pt x="256" y="209"/>
                </a:lnTo>
                <a:lnTo>
                  <a:pt x="254" y="209"/>
                </a:lnTo>
                <a:lnTo>
                  <a:pt x="250" y="205"/>
                </a:lnTo>
                <a:lnTo>
                  <a:pt x="248" y="200"/>
                </a:lnTo>
                <a:lnTo>
                  <a:pt x="245" y="194"/>
                </a:lnTo>
                <a:lnTo>
                  <a:pt x="244" y="188"/>
                </a:lnTo>
                <a:lnTo>
                  <a:pt x="244" y="185"/>
                </a:lnTo>
                <a:lnTo>
                  <a:pt x="242" y="182"/>
                </a:lnTo>
                <a:lnTo>
                  <a:pt x="235" y="175"/>
                </a:lnTo>
                <a:lnTo>
                  <a:pt x="227" y="168"/>
                </a:lnTo>
                <a:lnTo>
                  <a:pt x="226" y="170"/>
                </a:lnTo>
                <a:lnTo>
                  <a:pt x="223" y="171"/>
                </a:lnTo>
                <a:lnTo>
                  <a:pt x="219" y="167"/>
                </a:lnTo>
                <a:lnTo>
                  <a:pt x="215" y="164"/>
                </a:lnTo>
                <a:lnTo>
                  <a:pt x="213" y="160"/>
                </a:lnTo>
                <a:lnTo>
                  <a:pt x="213" y="158"/>
                </a:lnTo>
                <a:lnTo>
                  <a:pt x="214" y="154"/>
                </a:lnTo>
                <a:lnTo>
                  <a:pt x="214" y="152"/>
                </a:lnTo>
                <a:lnTo>
                  <a:pt x="212" y="151"/>
                </a:lnTo>
                <a:lnTo>
                  <a:pt x="210" y="150"/>
                </a:lnTo>
                <a:lnTo>
                  <a:pt x="207" y="151"/>
                </a:lnTo>
                <a:lnTo>
                  <a:pt x="205" y="153"/>
                </a:lnTo>
                <a:lnTo>
                  <a:pt x="201" y="150"/>
                </a:lnTo>
                <a:lnTo>
                  <a:pt x="198" y="147"/>
                </a:lnTo>
                <a:lnTo>
                  <a:pt x="196" y="145"/>
                </a:lnTo>
                <a:lnTo>
                  <a:pt x="196" y="144"/>
                </a:lnTo>
                <a:lnTo>
                  <a:pt x="196" y="142"/>
                </a:lnTo>
                <a:lnTo>
                  <a:pt x="198" y="139"/>
                </a:lnTo>
                <a:lnTo>
                  <a:pt x="196" y="136"/>
                </a:lnTo>
                <a:lnTo>
                  <a:pt x="194" y="133"/>
                </a:lnTo>
                <a:lnTo>
                  <a:pt x="189" y="131"/>
                </a:lnTo>
                <a:lnTo>
                  <a:pt x="185" y="128"/>
                </a:lnTo>
                <a:lnTo>
                  <a:pt x="181" y="126"/>
                </a:lnTo>
                <a:lnTo>
                  <a:pt x="179" y="125"/>
                </a:lnTo>
                <a:lnTo>
                  <a:pt x="175" y="125"/>
                </a:lnTo>
                <a:lnTo>
                  <a:pt x="172" y="126"/>
                </a:lnTo>
                <a:lnTo>
                  <a:pt x="168" y="125"/>
                </a:lnTo>
                <a:lnTo>
                  <a:pt x="164" y="122"/>
                </a:lnTo>
                <a:lnTo>
                  <a:pt x="158" y="117"/>
                </a:lnTo>
                <a:lnTo>
                  <a:pt x="152" y="116"/>
                </a:lnTo>
                <a:lnTo>
                  <a:pt x="148" y="114"/>
                </a:lnTo>
                <a:lnTo>
                  <a:pt x="146" y="112"/>
                </a:lnTo>
                <a:lnTo>
                  <a:pt x="145" y="109"/>
                </a:lnTo>
                <a:lnTo>
                  <a:pt x="144" y="105"/>
                </a:lnTo>
                <a:lnTo>
                  <a:pt x="143" y="107"/>
                </a:lnTo>
                <a:lnTo>
                  <a:pt x="140" y="108"/>
                </a:lnTo>
                <a:lnTo>
                  <a:pt x="140" y="105"/>
                </a:lnTo>
                <a:lnTo>
                  <a:pt x="140" y="104"/>
                </a:lnTo>
                <a:lnTo>
                  <a:pt x="134" y="103"/>
                </a:lnTo>
                <a:lnTo>
                  <a:pt x="130" y="102"/>
                </a:lnTo>
                <a:lnTo>
                  <a:pt x="125" y="101"/>
                </a:lnTo>
                <a:lnTo>
                  <a:pt x="120" y="103"/>
                </a:lnTo>
                <a:lnTo>
                  <a:pt x="117" y="105"/>
                </a:lnTo>
                <a:lnTo>
                  <a:pt x="113" y="107"/>
                </a:lnTo>
                <a:lnTo>
                  <a:pt x="100" y="109"/>
                </a:lnTo>
                <a:lnTo>
                  <a:pt x="90" y="114"/>
                </a:lnTo>
                <a:lnTo>
                  <a:pt x="79" y="119"/>
                </a:lnTo>
                <a:lnTo>
                  <a:pt x="70" y="128"/>
                </a:lnTo>
                <a:lnTo>
                  <a:pt x="61" y="138"/>
                </a:lnTo>
                <a:lnTo>
                  <a:pt x="54" y="150"/>
                </a:lnTo>
                <a:lnTo>
                  <a:pt x="48" y="161"/>
                </a:lnTo>
                <a:lnTo>
                  <a:pt x="42" y="174"/>
                </a:lnTo>
                <a:lnTo>
                  <a:pt x="36" y="188"/>
                </a:lnTo>
                <a:lnTo>
                  <a:pt x="31" y="203"/>
                </a:lnTo>
                <a:lnTo>
                  <a:pt x="27" y="217"/>
                </a:lnTo>
                <a:lnTo>
                  <a:pt x="23" y="233"/>
                </a:lnTo>
                <a:lnTo>
                  <a:pt x="19" y="250"/>
                </a:lnTo>
                <a:lnTo>
                  <a:pt x="14" y="269"/>
                </a:lnTo>
                <a:lnTo>
                  <a:pt x="10" y="287"/>
                </a:lnTo>
                <a:lnTo>
                  <a:pt x="7" y="306"/>
                </a:lnTo>
                <a:lnTo>
                  <a:pt x="6" y="319"/>
                </a:lnTo>
                <a:lnTo>
                  <a:pt x="5" y="333"/>
                </a:lnTo>
                <a:lnTo>
                  <a:pt x="3" y="347"/>
                </a:lnTo>
                <a:lnTo>
                  <a:pt x="2" y="361"/>
                </a:lnTo>
                <a:lnTo>
                  <a:pt x="0" y="392"/>
                </a:lnTo>
                <a:lnTo>
                  <a:pt x="1" y="425"/>
                </a:lnTo>
                <a:lnTo>
                  <a:pt x="1" y="441"/>
                </a:lnTo>
                <a:lnTo>
                  <a:pt x="3" y="457"/>
                </a:lnTo>
                <a:lnTo>
                  <a:pt x="6" y="473"/>
                </a:lnTo>
                <a:lnTo>
                  <a:pt x="9" y="488"/>
                </a:lnTo>
                <a:lnTo>
                  <a:pt x="13" y="508"/>
                </a:lnTo>
                <a:lnTo>
                  <a:pt x="17" y="527"/>
                </a:lnTo>
                <a:lnTo>
                  <a:pt x="23" y="546"/>
                </a:lnTo>
                <a:lnTo>
                  <a:pt x="28" y="565"/>
                </a:lnTo>
                <a:lnTo>
                  <a:pt x="31" y="574"/>
                </a:lnTo>
                <a:lnTo>
                  <a:pt x="34" y="585"/>
                </a:lnTo>
                <a:lnTo>
                  <a:pt x="37" y="594"/>
                </a:lnTo>
                <a:lnTo>
                  <a:pt x="42" y="604"/>
                </a:lnTo>
                <a:lnTo>
                  <a:pt x="49" y="624"/>
                </a:lnTo>
                <a:lnTo>
                  <a:pt x="57" y="642"/>
                </a:lnTo>
                <a:lnTo>
                  <a:pt x="64" y="662"/>
                </a:lnTo>
                <a:lnTo>
                  <a:pt x="72" y="681"/>
                </a:lnTo>
                <a:lnTo>
                  <a:pt x="79" y="695"/>
                </a:lnTo>
                <a:lnTo>
                  <a:pt x="86" y="709"/>
                </a:lnTo>
                <a:lnTo>
                  <a:pt x="95" y="723"/>
                </a:lnTo>
                <a:lnTo>
                  <a:pt x="103" y="736"/>
                </a:lnTo>
                <a:lnTo>
                  <a:pt x="110" y="748"/>
                </a:lnTo>
                <a:lnTo>
                  <a:pt x="118" y="761"/>
                </a:lnTo>
                <a:lnTo>
                  <a:pt x="125" y="773"/>
                </a:lnTo>
                <a:lnTo>
                  <a:pt x="133" y="786"/>
                </a:lnTo>
                <a:lnTo>
                  <a:pt x="137" y="789"/>
                </a:lnTo>
                <a:lnTo>
                  <a:pt x="139" y="790"/>
                </a:lnTo>
                <a:lnTo>
                  <a:pt x="141" y="793"/>
                </a:lnTo>
                <a:lnTo>
                  <a:pt x="143" y="795"/>
                </a:lnTo>
                <a:lnTo>
                  <a:pt x="143" y="796"/>
                </a:lnTo>
                <a:lnTo>
                  <a:pt x="143" y="796"/>
                </a:lnTo>
                <a:lnTo>
                  <a:pt x="145" y="804"/>
                </a:lnTo>
                <a:lnTo>
                  <a:pt x="148" y="811"/>
                </a:lnTo>
                <a:lnTo>
                  <a:pt x="164" y="834"/>
                </a:lnTo>
                <a:lnTo>
                  <a:pt x="180" y="857"/>
                </a:lnTo>
                <a:lnTo>
                  <a:pt x="195" y="880"/>
                </a:lnTo>
                <a:lnTo>
                  <a:pt x="212" y="902"/>
                </a:lnTo>
                <a:lnTo>
                  <a:pt x="235" y="934"/>
                </a:lnTo>
                <a:lnTo>
                  <a:pt x="259" y="965"/>
                </a:lnTo>
                <a:lnTo>
                  <a:pt x="285" y="995"/>
                </a:lnTo>
                <a:lnTo>
                  <a:pt x="312" y="1024"/>
                </a:lnTo>
                <a:lnTo>
                  <a:pt x="334" y="1046"/>
                </a:lnTo>
                <a:lnTo>
                  <a:pt x="358" y="1067"/>
                </a:lnTo>
                <a:lnTo>
                  <a:pt x="380" y="1089"/>
                </a:lnTo>
                <a:lnTo>
                  <a:pt x="403" y="1110"/>
                </a:lnTo>
                <a:lnTo>
                  <a:pt x="413" y="1118"/>
                </a:lnTo>
                <a:lnTo>
                  <a:pt x="423" y="1126"/>
                </a:lnTo>
                <a:lnTo>
                  <a:pt x="433" y="1135"/>
                </a:lnTo>
                <a:lnTo>
                  <a:pt x="442" y="1143"/>
                </a:lnTo>
                <a:lnTo>
                  <a:pt x="438" y="1147"/>
                </a:lnTo>
                <a:lnTo>
                  <a:pt x="435" y="1152"/>
                </a:lnTo>
                <a:lnTo>
                  <a:pt x="423" y="1144"/>
                </a:lnTo>
                <a:lnTo>
                  <a:pt x="410" y="1137"/>
                </a:lnTo>
                <a:lnTo>
                  <a:pt x="399" y="1129"/>
                </a:lnTo>
                <a:lnTo>
                  <a:pt x="387" y="1121"/>
                </a:lnTo>
                <a:lnTo>
                  <a:pt x="366" y="1105"/>
                </a:lnTo>
                <a:lnTo>
                  <a:pt x="346" y="1089"/>
                </a:lnTo>
                <a:lnTo>
                  <a:pt x="326" y="1073"/>
                </a:lnTo>
                <a:lnTo>
                  <a:pt x="305" y="1058"/>
                </a:lnTo>
                <a:lnTo>
                  <a:pt x="290" y="1044"/>
                </a:lnTo>
                <a:lnTo>
                  <a:pt x="275" y="1030"/>
                </a:lnTo>
                <a:lnTo>
                  <a:pt x="268" y="1023"/>
                </a:lnTo>
                <a:lnTo>
                  <a:pt x="262" y="1014"/>
                </a:lnTo>
                <a:lnTo>
                  <a:pt x="256" y="1006"/>
                </a:lnTo>
                <a:lnTo>
                  <a:pt x="250" y="998"/>
                </a:lnTo>
                <a:lnTo>
                  <a:pt x="242" y="986"/>
                </a:lnTo>
                <a:lnTo>
                  <a:pt x="231" y="976"/>
                </a:lnTo>
                <a:lnTo>
                  <a:pt x="221" y="969"/>
                </a:lnTo>
                <a:lnTo>
                  <a:pt x="208" y="962"/>
                </a:lnTo>
                <a:lnTo>
                  <a:pt x="205" y="960"/>
                </a:lnTo>
                <a:lnTo>
                  <a:pt x="200" y="958"/>
                </a:lnTo>
                <a:lnTo>
                  <a:pt x="194" y="960"/>
                </a:lnTo>
                <a:lnTo>
                  <a:pt x="189" y="961"/>
                </a:lnTo>
                <a:lnTo>
                  <a:pt x="194" y="965"/>
                </a:lnTo>
                <a:lnTo>
                  <a:pt x="198" y="968"/>
                </a:lnTo>
                <a:lnTo>
                  <a:pt x="213" y="976"/>
                </a:lnTo>
                <a:lnTo>
                  <a:pt x="228" y="985"/>
                </a:lnTo>
                <a:lnTo>
                  <a:pt x="235" y="991"/>
                </a:lnTo>
                <a:lnTo>
                  <a:pt x="242" y="997"/>
                </a:lnTo>
                <a:lnTo>
                  <a:pt x="248" y="1003"/>
                </a:lnTo>
                <a:lnTo>
                  <a:pt x="254" y="1010"/>
                </a:lnTo>
                <a:lnTo>
                  <a:pt x="261" y="1020"/>
                </a:lnTo>
                <a:lnTo>
                  <a:pt x="269" y="1030"/>
                </a:lnTo>
                <a:lnTo>
                  <a:pt x="278" y="1038"/>
                </a:lnTo>
                <a:lnTo>
                  <a:pt x="286" y="1046"/>
                </a:lnTo>
                <a:lnTo>
                  <a:pt x="305" y="1062"/>
                </a:lnTo>
                <a:lnTo>
                  <a:pt x="325" y="1077"/>
                </a:lnTo>
                <a:lnTo>
                  <a:pt x="346" y="1095"/>
                </a:lnTo>
                <a:lnTo>
                  <a:pt x="368" y="1111"/>
                </a:lnTo>
                <a:lnTo>
                  <a:pt x="392" y="1128"/>
                </a:lnTo>
                <a:lnTo>
                  <a:pt x="416" y="1143"/>
                </a:lnTo>
                <a:lnTo>
                  <a:pt x="428" y="1151"/>
                </a:lnTo>
                <a:lnTo>
                  <a:pt x="438" y="1160"/>
                </a:lnTo>
                <a:lnTo>
                  <a:pt x="438" y="1161"/>
                </a:lnTo>
                <a:lnTo>
                  <a:pt x="437" y="1163"/>
                </a:lnTo>
                <a:lnTo>
                  <a:pt x="431" y="1158"/>
                </a:lnTo>
                <a:lnTo>
                  <a:pt x="426" y="1154"/>
                </a:lnTo>
                <a:lnTo>
                  <a:pt x="417" y="1156"/>
                </a:lnTo>
                <a:lnTo>
                  <a:pt x="409" y="1158"/>
                </a:lnTo>
                <a:lnTo>
                  <a:pt x="409" y="1159"/>
                </a:lnTo>
                <a:lnTo>
                  <a:pt x="408" y="1159"/>
                </a:lnTo>
                <a:lnTo>
                  <a:pt x="417" y="1166"/>
                </a:lnTo>
                <a:lnTo>
                  <a:pt x="427" y="1173"/>
                </a:lnTo>
                <a:lnTo>
                  <a:pt x="422" y="1174"/>
                </a:lnTo>
                <a:lnTo>
                  <a:pt x="417" y="1174"/>
                </a:lnTo>
                <a:lnTo>
                  <a:pt x="402" y="1170"/>
                </a:lnTo>
                <a:lnTo>
                  <a:pt x="388" y="1164"/>
                </a:lnTo>
                <a:lnTo>
                  <a:pt x="375" y="1157"/>
                </a:lnTo>
                <a:lnTo>
                  <a:pt x="364" y="1150"/>
                </a:lnTo>
                <a:lnTo>
                  <a:pt x="351" y="1143"/>
                </a:lnTo>
                <a:lnTo>
                  <a:pt x="338" y="1137"/>
                </a:lnTo>
                <a:lnTo>
                  <a:pt x="316" y="1129"/>
                </a:lnTo>
                <a:lnTo>
                  <a:pt x="293" y="1121"/>
                </a:lnTo>
                <a:lnTo>
                  <a:pt x="270" y="1112"/>
                </a:lnTo>
                <a:lnTo>
                  <a:pt x="248" y="1105"/>
                </a:lnTo>
                <a:lnTo>
                  <a:pt x="229" y="1100"/>
                </a:lnTo>
                <a:lnTo>
                  <a:pt x="210" y="1095"/>
                </a:lnTo>
                <a:lnTo>
                  <a:pt x="192" y="1094"/>
                </a:lnTo>
                <a:lnTo>
                  <a:pt x="172" y="1093"/>
                </a:lnTo>
                <a:lnTo>
                  <a:pt x="166" y="1093"/>
                </a:lnTo>
                <a:lnTo>
                  <a:pt x="160" y="1091"/>
                </a:lnTo>
                <a:lnTo>
                  <a:pt x="155" y="1089"/>
                </a:lnTo>
                <a:lnTo>
                  <a:pt x="151" y="1086"/>
                </a:lnTo>
                <a:lnTo>
                  <a:pt x="136" y="1075"/>
                </a:lnTo>
                <a:lnTo>
                  <a:pt x="120" y="1066"/>
                </a:lnTo>
                <a:lnTo>
                  <a:pt x="118" y="1065"/>
                </a:lnTo>
                <a:lnTo>
                  <a:pt x="113" y="1063"/>
                </a:lnTo>
                <a:lnTo>
                  <a:pt x="113" y="1068"/>
                </a:lnTo>
                <a:lnTo>
                  <a:pt x="113" y="1073"/>
                </a:lnTo>
                <a:lnTo>
                  <a:pt x="114" y="1074"/>
                </a:lnTo>
                <a:lnTo>
                  <a:pt x="117" y="1076"/>
                </a:lnTo>
                <a:lnTo>
                  <a:pt x="123" y="1083"/>
                </a:lnTo>
                <a:lnTo>
                  <a:pt x="129" y="1088"/>
                </a:lnTo>
                <a:lnTo>
                  <a:pt x="136" y="1093"/>
                </a:lnTo>
                <a:lnTo>
                  <a:pt x="143" y="1096"/>
                </a:lnTo>
                <a:lnTo>
                  <a:pt x="150" y="1100"/>
                </a:lnTo>
                <a:lnTo>
                  <a:pt x="158" y="1101"/>
                </a:lnTo>
                <a:lnTo>
                  <a:pt x="166" y="1102"/>
                </a:lnTo>
                <a:lnTo>
                  <a:pt x="174" y="1101"/>
                </a:lnTo>
                <a:lnTo>
                  <a:pt x="185" y="1100"/>
                </a:lnTo>
                <a:lnTo>
                  <a:pt x="196" y="1100"/>
                </a:lnTo>
                <a:lnTo>
                  <a:pt x="206" y="1101"/>
                </a:lnTo>
                <a:lnTo>
                  <a:pt x="216" y="1102"/>
                </a:lnTo>
                <a:lnTo>
                  <a:pt x="237" y="1107"/>
                </a:lnTo>
                <a:lnTo>
                  <a:pt x="257" y="1112"/>
                </a:lnTo>
                <a:lnTo>
                  <a:pt x="272" y="1118"/>
                </a:lnTo>
                <a:lnTo>
                  <a:pt x="286" y="1123"/>
                </a:lnTo>
                <a:lnTo>
                  <a:pt x="307" y="1130"/>
                </a:lnTo>
                <a:lnTo>
                  <a:pt x="327" y="1137"/>
                </a:lnTo>
                <a:lnTo>
                  <a:pt x="347" y="1146"/>
                </a:lnTo>
                <a:lnTo>
                  <a:pt x="367" y="1156"/>
                </a:lnTo>
                <a:lnTo>
                  <a:pt x="382" y="1164"/>
                </a:lnTo>
                <a:lnTo>
                  <a:pt x="397" y="1172"/>
                </a:lnTo>
                <a:lnTo>
                  <a:pt x="406" y="1175"/>
                </a:lnTo>
                <a:lnTo>
                  <a:pt x="415" y="1178"/>
                </a:lnTo>
                <a:lnTo>
                  <a:pt x="423" y="1179"/>
                </a:lnTo>
                <a:lnTo>
                  <a:pt x="433" y="1179"/>
                </a:lnTo>
                <a:lnTo>
                  <a:pt x="435" y="1179"/>
                </a:lnTo>
                <a:lnTo>
                  <a:pt x="437" y="1180"/>
                </a:lnTo>
                <a:lnTo>
                  <a:pt x="437" y="1182"/>
                </a:lnTo>
                <a:lnTo>
                  <a:pt x="437" y="1185"/>
                </a:lnTo>
                <a:lnTo>
                  <a:pt x="438" y="1193"/>
                </a:lnTo>
                <a:lnTo>
                  <a:pt x="440" y="1201"/>
                </a:lnTo>
                <a:lnTo>
                  <a:pt x="443" y="1206"/>
                </a:lnTo>
                <a:lnTo>
                  <a:pt x="448" y="1210"/>
                </a:lnTo>
                <a:lnTo>
                  <a:pt x="450" y="1207"/>
                </a:lnTo>
                <a:lnTo>
                  <a:pt x="451" y="1205"/>
                </a:lnTo>
                <a:lnTo>
                  <a:pt x="455" y="1210"/>
                </a:lnTo>
                <a:lnTo>
                  <a:pt x="459" y="1214"/>
                </a:lnTo>
                <a:lnTo>
                  <a:pt x="464" y="1215"/>
                </a:lnTo>
                <a:lnTo>
                  <a:pt x="466" y="1219"/>
                </a:lnTo>
                <a:lnTo>
                  <a:pt x="469" y="1222"/>
                </a:lnTo>
                <a:lnTo>
                  <a:pt x="470" y="1226"/>
                </a:lnTo>
                <a:lnTo>
                  <a:pt x="471" y="1233"/>
                </a:lnTo>
                <a:lnTo>
                  <a:pt x="475" y="1238"/>
                </a:lnTo>
                <a:lnTo>
                  <a:pt x="483" y="1248"/>
                </a:lnTo>
                <a:lnTo>
                  <a:pt x="491" y="1257"/>
                </a:lnTo>
                <a:lnTo>
                  <a:pt x="499" y="1265"/>
                </a:lnTo>
                <a:lnTo>
                  <a:pt x="509" y="1275"/>
                </a:lnTo>
                <a:lnTo>
                  <a:pt x="519" y="1284"/>
                </a:lnTo>
                <a:lnTo>
                  <a:pt x="530" y="1292"/>
                </a:lnTo>
                <a:lnTo>
                  <a:pt x="540" y="1300"/>
                </a:lnTo>
                <a:lnTo>
                  <a:pt x="552" y="1309"/>
                </a:lnTo>
                <a:lnTo>
                  <a:pt x="571" y="1320"/>
                </a:lnTo>
                <a:lnTo>
                  <a:pt x="588" y="1332"/>
                </a:lnTo>
                <a:lnTo>
                  <a:pt x="607" y="1342"/>
                </a:lnTo>
                <a:lnTo>
                  <a:pt x="626" y="1353"/>
                </a:lnTo>
                <a:lnTo>
                  <a:pt x="645" y="1363"/>
                </a:lnTo>
                <a:lnTo>
                  <a:pt x="666" y="1374"/>
                </a:lnTo>
                <a:lnTo>
                  <a:pt x="686" y="1386"/>
                </a:lnTo>
                <a:lnTo>
                  <a:pt x="707" y="1396"/>
                </a:lnTo>
                <a:lnTo>
                  <a:pt x="717" y="1400"/>
                </a:lnTo>
                <a:lnTo>
                  <a:pt x="726" y="1404"/>
                </a:lnTo>
                <a:lnTo>
                  <a:pt x="735" y="1409"/>
                </a:lnTo>
                <a:lnTo>
                  <a:pt x="745" y="1412"/>
                </a:lnTo>
                <a:lnTo>
                  <a:pt x="752" y="1418"/>
                </a:lnTo>
                <a:lnTo>
                  <a:pt x="760" y="1423"/>
                </a:lnTo>
                <a:lnTo>
                  <a:pt x="775" y="1430"/>
                </a:lnTo>
                <a:lnTo>
                  <a:pt x="790" y="1436"/>
                </a:lnTo>
                <a:lnTo>
                  <a:pt x="803" y="1442"/>
                </a:lnTo>
                <a:lnTo>
                  <a:pt x="816" y="1449"/>
                </a:lnTo>
                <a:lnTo>
                  <a:pt x="829" y="1453"/>
                </a:lnTo>
                <a:lnTo>
                  <a:pt x="843" y="1458"/>
                </a:lnTo>
                <a:lnTo>
                  <a:pt x="847" y="1460"/>
                </a:lnTo>
                <a:lnTo>
                  <a:pt x="850" y="1461"/>
                </a:lnTo>
                <a:lnTo>
                  <a:pt x="857" y="1465"/>
                </a:lnTo>
                <a:lnTo>
                  <a:pt x="863" y="1468"/>
                </a:lnTo>
                <a:lnTo>
                  <a:pt x="869" y="1471"/>
                </a:lnTo>
                <a:lnTo>
                  <a:pt x="875" y="1474"/>
                </a:lnTo>
                <a:lnTo>
                  <a:pt x="882" y="1478"/>
                </a:lnTo>
                <a:lnTo>
                  <a:pt x="889" y="1480"/>
                </a:lnTo>
                <a:lnTo>
                  <a:pt x="896" y="1481"/>
                </a:lnTo>
                <a:lnTo>
                  <a:pt x="903" y="1481"/>
                </a:lnTo>
                <a:lnTo>
                  <a:pt x="910" y="1482"/>
                </a:lnTo>
                <a:lnTo>
                  <a:pt x="917" y="1484"/>
                </a:lnTo>
                <a:lnTo>
                  <a:pt x="920" y="1485"/>
                </a:lnTo>
                <a:lnTo>
                  <a:pt x="924" y="1485"/>
                </a:lnTo>
                <a:lnTo>
                  <a:pt x="928" y="1481"/>
                </a:lnTo>
                <a:lnTo>
                  <a:pt x="933" y="1475"/>
                </a:lnTo>
                <a:lnTo>
                  <a:pt x="930" y="1472"/>
                </a:lnTo>
                <a:lnTo>
                  <a:pt x="926" y="1468"/>
                </a:lnTo>
                <a:lnTo>
                  <a:pt x="921" y="1465"/>
                </a:lnTo>
                <a:lnTo>
                  <a:pt x="918" y="1461"/>
                </a:lnTo>
                <a:lnTo>
                  <a:pt x="914" y="1457"/>
                </a:lnTo>
                <a:lnTo>
                  <a:pt x="912" y="1453"/>
                </a:lnTo>
                <a:lnTo>
                  <a:pt x="908" y="1450"/>
                </a:lnTo>
                <a:lnTo>
                  <a:pt x="903" y="1446"/>
                </a:lnTo>
                <a:lnTo>
                  <a:pt x="887" y="1436"/>
                </a:lnTo>
                <a:lnTo>
                  <a:pt x="872" y="1424"/>
                </a:lnTo>
                <a:lnTo>
                  <a:pt x="859" y="1414"/>
                </a:lnTo>
                <a:lnTo>
                  <a:pt x="845" y="1404"/>
                </a:lnTo>
                <a:lnTo>
                  <a:pt x="829" y="1397"/>
                </a:lnTo>
                <a:lnTo>
                  <a:pt x="813" y="1391"/>
                </a:lnTo>
                <a:lnTo>
                  <a:pt x="802" y="1387"/>
                </a:lnTo>
                <a:lnTo>
                  <a:pt x="790" y="1381"/>
                </a:lnTo>
                <a:lnTo>
                  <a:pt x="782" y="1376"/>
                </a:lnTo>
                <a:lnTo>
                  <a:pt x="773" y="1372"/>
                </a:lnTo>
                <a:lnTo>
                  <a:pt x="765" y="1366"/>
                </a:lnTo>
                <a:lnTo>
                  <a:pt x="755" y="1361"/>
                </a:lnTo>
                <a:lnTo>
                  <a:pt x="749" y="1358"/>
                </a:lnTo>
                <a:lnTo>
                  <a:pt x="744" y="1354"/>
                </a:lnTo>
                <a:lnTo>
                  <a:pt x="738" y="1351"/>
                </a:lnTo>
                <a:lnTo>
                  <a:pt x="733" y="1346"/>
                </a:lnTo>
                <a:lnTo>
                  <a:pt x="723" y="1335"/>
                </a:lnTo>
                <a:lnTo>
                  <a:pt x="712" y="1326"/>
                </a:lnTo>
                <a:lnTo>
                  <a:pt x="698" y="1314"/>
                </a:lnTo>
                <a:lnTo>
                  <a:pt x="685" y="1302"/>
                </a:lnTo>
                <a:lnTo>
                  <a:pt x="687" y="1300"/>
                </a:lnTo>
                <a:lnTo>
                  <a:pt x="690" y="1298"/>
                </a:lnTo>
                <a:lnTo>
                  <a:pt x="684" y="1294"/>
                </a:lnTo>
                <a:lnTo>
                  <a:pt x="678" y="1291"/>
                </a:lnTo>
                <a:lnTo>
                  <a:pt x="679" y="1285"/>
                </a:lnTo>
                <a:lnTo>
                  <a:pt x="679" y="1280"/>
                </a:lnTo>
                <a:lnTo>
                  <a:pt x="676" y="1276"/>
                </a:lnTo>
                <a:lnTo>
                  <a:pt x="669" y="1272"/>
                </a:lnTo>
                <a:lnTo>
                  <a:pt x="676" y="1270"/>
                </a:lnTo>
                <a:lnTo>
                  <a:pt x="683" y="1268"/>
                </a:lnTo>
                <a:lnTo>
                  <a:pt x="678" y="1266"/>
                </a:lnTo>
                <a:lnTo>
                  <a:pt x="675" y="1266"/>
                </a:lnTo>
                <a:lnTo>
                  <a:pt x="672" y="1266"/>
                </a:lnTo>
                <a:lnTo>
                  <a:pt x="670" y="1268"/>
                </a:lnTo>
                <a:lnTo>
                  <a:pt x="668" y="1266"/>
                </a:lnTo>
                <a:lnTo>
                  <a:pt x="668" y="1264"/>
                </a:lnTo>
                <a:lnTo>
                  <a:pt x="669" y="1258"/>
                </a:lnTo>
                <a:lnTo>
                  <a:pt x="670" y="1252"/>
                </a:lnTo>
                <a:lnTo>
                  <a:pt x="671" y="1252"/>
                </a:lnTo>
                <a:lnTo>
                  <a:pt x="672" y="1252"/>
                </a:lnTo>
                <a:lnTo>
                  <a:pt x="676" y="1254"/>
                </a:lnTo>
                <a:lnTo>
                  <a:pt x="680" y="1255"/>
                </a:lnTo>
                <a:lnTo>
                  <a:pt x="682" y="1256"/>
                </a:lnTo>
                <a:lnTo>
                  <a:pt x="682" y="1257"/>
                </a:lnTo>
                <a:lnTo>
                  <a:pt x="679" y="1257"/>
                </a:lnTo>
                <a:lnTo>
                  <a:pt x="677" y="1258"/>
                </a:lnTo>
                <a:lnTo>
                  <a:pt x="679" y="1261"/>
                </a:lnTo>
                <a:lnTo>
                  <a:pt x="682" y="1261"/>
                </a:lnTo>
                <a:lnTo>
                  <a:pt x="683" y="1258"/>
                </a:lnTo>
                <a:lnTo>
                  <a:pt x="685" y="1258"/>
                </a:lnTo>
                <a:lnTo>
                  <a:pt x="686" y="1257"/>
                </a:lnTo>
                <a:lnTo>
                  <a:pt x="689" y="1258"/>
                </a:lnTo>
                <a:lnTo>
                  <a:pt x="692" y="1259"/>
                </a:lnTo>
                <a:lnTo>
                  <a:pt x="696" y="1261"/>
                </a:lnTo>
                <a:lnTo>
                  <a:pt x="712" y="1264"/>
                </a:lnTo>
                <a:lnTo>
                  <a:pt x="727" y="1269"/>
                </a:lnTo>
                <a:lnTo>
                  <a:pt x="742" y="1272"/>
                </a:lnTo>
                <a:lnTo>
                  <a:pt x="758" y="1276"/>
                </a:lnTo>
                <a:lnTo>
                  <a:pt x="769" y="1279"/>
                </a:lnTo>
                <a:lnTo>
                  <a:pt x="781" y="1282"/>
                </a:lnTo>
                <a:lnTo>
                  <a:pt x="792" y="1284"/>
                </a:lnTo>
                <a:lnTo>
                  <a:pt x="803" y="1287"/>
                </a:lnTo>
                <a:lnTo>
                  <a:pt x="818" y="1291"/>
                </a:lnTo>
                <a:lnTo>
                  <a:pt x="832" y="1294"/>
                </a:lnTo>
                <a:lnTo>
                  <a:pt x="848" y="1298"/>
                </a:lnTo>
                <a:lnTo>
                  <a:pt x="862" y="1302"/>
                </a:lnTo>
                <a:lnTo>
                  <a:pt x="865" y="1303"/>
                </a:lnTo>
                <a:lnTo>
                  <a:pt x="870" y="1304"/>
                </a:lnTo>
                <a:lnTo>
                  <a:pt x="885" y="1307"/>
                </a:lnTo>
                <a:lnTo>
                  <a:pt x="901" y="1311"/>
                </a:lnTo>
                <a:lnTo>
                  <a:pt x="912" y="1313"/>
                </a:lnTo>
                <a:lnTo>
                  <a:pt x="921" y="1313"/>
                </a:lnTo>
                <a:lnTo>
                  <a:pt x="924" y="1313"/>
                </a:lnTo>
                <a:lnTo>
                  <a:pt x="926" y="1313"/>
                </a:lnTo>
                <a:lnTo>
                  <a:pt x="928" y="1314"/>
                </a:lnTo>
                <a:lnTo>
                  <a:pt x="930" y="1316"/>
                </a:lnTo>
                <a:lnTo>
                  <a:pt x="934" y="1320"/>
                </a:lnTo>
                <a:lnTo>
                  <a:pt x="937" y="1321"/>
                </a:lnTo>
                <a:lnTo>
                  <a:pt x="940" y="1320"/>
                </a:lnTo>
                <a:lnTo>
                  <a:pt x="945" y="1316"/>
                </a:lnTo>
                <a:lnTo>
                  <a:pt x="934" y="1312"/>
                </a:lnTo>
                <a:lnTo>
                  <a:pt x="925" y="1309"/>
                </a:lnTo>
                <a:lnTo>
                  <a:pt x="911" y="1304"/>
                </a:lnTo>
                <a:lnTo>
                  <a:pt x="898" y="1300"/>
                </a:lnTo>
                <a:lnTo>
                  <a:pt x="884" y="1297"/>
                </a:lnTo>
                <a:lnTo>
                  <a:pt x="870" y="1292"/>
                </a:lnTo>
                <a:lnTo>
                  <a:pt x="859" y="1289"/>
                </a:lnTo>
                <a:lnTo>
                  <a:pt x="848" y="1285"/>
                </a:lnTo>
                <a:lnTo>
                  <a:pt x="830" y="1282"/>
                </a:lnTo>
                <a:lnTo>
                  <a:pt x="813" y="1278"/>
                </a:lnTo>
                <a:lnTo>
                  <a:pt x="801" y="1275"/>
                </a:lnTo>
                <a:lnTo>
                  <a:pt x="789" y="1271"/>
                </a:lnTo>
                <a:lnTo>
                  <a:pt x="778" y="1268"/>
                </a:lnTo>
                <a:lnTo>
                  <a:pt x="766" y="1265"/>
                </a:lnTo>
                <a:lnTo>
                  <a:pt x="751" y="1264"/>
                </a:lnTo>
                <a:lnTo>
                  <a:pt x="734" y="1262"/>
                </a:lnTo>
                <a:lnTo>
                  <a:pt x="723" y="1257"/>
                </a:lnTo>
                <a:lnTo>
                  <a:pt x="711" y="1252"/>
                </a:lnTo>
                <a:lnTo>
                  <a:pt x="699" y="1249"/>
                </a:lnTo>
                <a:lnTo>
                  <a:pt x="687" y="1244"/>
                </a:lnTo>
                <a:lnTo>
                  <a:pt x="687" y="1243"/>
                </a:lnTo>
                <a:lnTo>
                  <a:pt x="689" y="1241"/>
                </a:lnTo>
                <a:lnTo>
                  <a:pt x="726" y="1247"/>
                </a:lnTo>
                <a:lnTo>
                  <a:pt x="763" y="1250"/>
                </a:lnTo>
                <a:lnTo>
                  <a:pt x="801" y="1255"/>
                </a:lnTo>
                <a:lnTo>
                  <a:pt x="838" y="1258"/>
                </a:lnTo>
                <a:lnTo>
                  <a:pt x="877" y="1262"/>
                </a:lnTo>
                <a:lnTo>
                  <a:pt x="914" y="1266"/>
                </a:lnTo>
                <a:lnTo>
                  <a:pt x="952" y="1273"/>
                </a:lnTo>
                <a:lnTo>
                  <a:pt x="989" y="1280"/>
                </a:lnTo>
                <a:lnTo>
                  <a:pt x="988" y="1280"/>
                </a:lnTo>
                <a:lnTo>
                  <a:pt x="988" y="1279"/>
                </a:lnTo>
                <a:lnTo>
                  <a:pt x="990" y="1280"/>
                </a:lnTo>
                <a:lnTo>
                  <a:pt x="993" y="1280"/>
                </a:lnTo>
                <a:lnTo>
                  <a:pt x="1013" y="1286"/>
                </a:lnTo>
                <a:lnTo>
                  <a:pt x="1032" y="1293"/>
                </a:lnTo>
                <a:lnTo>
                  <a:pt x="1051" y="1299"/>
                </a:lnTo>
                <a:lnTo>
                  <a:pt x="1071" y="1305"/>
                </a:lnTo>
                <a:lnTo>
                  <a:pt x="1075" y="1305"/>
                </a:lnTo>
                <a:lnTo>
                  <a:pt x="1077" y="1304"/>
                </a:lnTo>
                <a:lnTo>
                  <a:pt x="1115" y="1316"/>
                </a:lnTo>
                <a:lnTo>
                  <a:pt x="1154" y="1327"/>
                </a:lnTo>
                <a:lnTo>
                  <a:pt x="1193" y="1338"/>
                </a:lnTo>
                <a:lnTo>
                  <a:pt x="1232" y="1348"/>
                </a:lnTo>
                <a:lnTo>
                  <a:pt x="1232" y="1347"/>
                </a:lnTo>
                <a:lnTo>
                  <a:pt x="1232" y="1346"/>
                </a:lnTo>
                <a:lnTo>
                  <a:pt x="1215" y="1340"/>
                </a:lnTo>
                <a:lnTo>
                  <a:pt x="1198" y="1335"/>
                </a:lnTo>
                <a:lnTo>
                  <a:pt x="1200" y="1334"/>
                </a:lnTo>
                <a:lnTo>
                  <a:pt x="1201" y="1333"/>
                </a:lnTo>
                <a:lnTo>
                  <a:pt x="1186" y="1326"/>
                </a:lnTo>
                <a:lnTo>
                  <a:pt x="1169" y="1319"/>
                </a:lnTo>
                <a:lnTo>
                  <a:pt x="1152" y="1312"/>
                </a:lnTo>
                <a:lnTo>
                  <a:pt x="1135" y="1306"/>
                </a:lnTo>
                <a:lnTo>
                  <a:pt x="1103" y="1296"/>
                </a:lnTo>
                <a:lnTo>
                  <a:pt x="1069" y="1285"/>
                </a:lnTo>
                <a:lnTo>
                  <a:pt x="1061" y="1280"/>
                </a:lnTo>
                <a:lnTo>
                  <a:pt x="1051" y="1278"/>
                </a:lnTo>
                <a:lnTo>
                  <a:pt x="1043" y="1275"/>
                </a:lnTo>
                <a:lnTo>
                  <a:pt x="1035" y="1272"/>
                </a:lnTo>
                <a:lnTo>
                  <a:pt x="1016" y="1270"/>
                </a:lnTo>
                <a:lnTo>
                  <a:pt x="999" y="1266"/>
                </a:lnTo>
                <a:lnTo>
                  <a:pt x="999" y="1266"/>
                </a:lnTo>
                <a:lnTo>
                  <a:pt x="997" y="1266"/>
                </a:lnTo>
                <a:lnTo>
                  <a:pt x="988" y="1264"/>
                </a:lnTo>
                <a:lnTo>
                  <a:pt x="979" y="1262"/>
                </a:lnTo>
                <a:lnTo>
                  <a:pt x="973" y="1261"/>
                </a:lnTo>
                <a:lnTo>
                  <a:pt x="966" y="1259"/>
                </a:lnTo>
                <a:lnTo>
                  <a:pt x="956" y="1257"/>
                </a:lnTo>
                <a:lnTo>
                  <a:pt x="946" y="1255"/>
                </a:lnTo>
                <a:lnTo>
                  <a:pt x="937" y="1252"/>
                </a:lnTo>
                <a:lnTo>
                  <a:pt x="926" y="1250"/>
                </a:lnTo>
                <a:lnTo>
                  <a:pt x="911" y="1248"/>
                </a:lnTo>
                <a:lnTo>
                  <a:pt x="896" y="1245"/>
                </a:lnTo>
                <a:lnTo>
                  <a:pt x="880" y="1242"/>
                </a:lnTo>
                <a:lnTo>
                  <a:pt x="864" y="1240"/>
                </a:lnTo>
                <a:lnTo>
                  <a:pt x="862" y="1238"/>
                </a:lnTo>
                <a:lnTo>
                  <a:pt x="859" y="1236"/>
                </a:lnTo>
                <a:lnTo>
                  <a:pt x="861" y="1228"/>
                </a:lnTo>
                <a:lnTo>
                  <a:pt x="863" y="1221"/>
                </a:lnTo>
                <a:lnTo>
                  <a:pt x="868" y="1228"/>
                </a:lnTo>
                <a:lnTo>
                  <a:pt x="872" y="1235"/>
                </a:lnTo>
                <a:lnTo>
                  <a:pt x="878" y="1231"/>
                </a:lnTo>
                <a:lnTo>
                  <a:pt x="884" y="1229"/>
                </a:lnTo>
                <a:lnTo>
                  <a:pt x="886" y="1231"/>
                </a:lnTo>
                <a:lnTo>
                  <a:pt x="889" y="1234"/>
                </a:lnTo>
                <a:lnTo>
                  <a:pt x="890" y="1235"/>
                </a:lnTo>
                <a:lnTo>
                  <a:pt x="891" y="1235"/>
                </a:lnTo>
                <a:lnTo>
                  <a:pt x="892" y="1234"/>
                </a:lnTo>
                <a:lnTo>
                  <a:pt x="894" y="1233"/>
                </a:lnTo>
                <a:lnTo>
                  <a:pt x="896" y="1233"/>
                </a:lnTo>
                <a:lnTo>
                  <a:pt x="897" y="1234"/>
                </a:lnTo>
                <a:lnTo>
                  <a:pt x="938" y="1241"/>
                </a:lnTo>
                <a:lnTo>
                  <a:pt x="979" y="1249"/>
                </a:lnTo>
                <a:lnTo>
                  <a:pt x="1018" y="1258"/>
                </a:lnTo>
                <a:lnTo>
                  <a:pt x="1059" y="1268"/>
                </a:lnTo>
                <a:lnTo>
                  <a:pt x="1079" y="1272"/>
                </a:lnTo>
                <a:lnTo>
                  <a:pt x="1098" y="1278"/>
                </a:lnTo>
                <a:lnTo>
                  <a:pt x="1118" y="1284"/>
                </a:lnTo>
                <a:lnTo>
                  <a:pt x="1137" y="1291"/>
                </a:lnTo>
                <a:lnTo>
                  <a:pt x="1156" y="1297"/>
                </a:lnTo>
                <a:lnTo>
                  <a:pt x="1176" y="1304"/>
                </a:lnTo>
                <a:lnTo>
                  <a:pt x="1195" y="1310"/>
                </a:lnTo>
                <a:lnTo>
                  <a:pt x="1215" y="1313"/>
                </a:lnTo>
                <a:lnTo>
                  <a:pt x="1220" y="1313"/>
                </a:lnTo>
                <a:lnTo>
                  <a:pt x="1222" y="1311"/>
                </a:lnTo>
                <a:lnTo>
                  <a:pt x="1237" y="1314"/>
                </a:lnTo>
                <a:lnTo>
                  <a:pt x="1251" y="1318"/>
                </a:lnTo>
                <a:lnTo>
                  <a:pt x="1260" y="1320"/>
                </a:lnTo>
                <a:lnTo>
                  <a:pt x="1269" y="1321"/>
                </a:lnTo>
                <a:lnTo>
                  <a:pt x="1278" y="1324"/>
                </a:lnTo>
                <a:lnTo>
                  <a:pt x="1287" y="1324"/>
                </a:lnTo>
                <a:lnTo>
                  <a:pt x="1296" y="1325"/>
                </a:lnTo>
                <a:lnTo>
                  <a:pt x="1305" y="1327"/>
                </a:lnTo>
                <a:lnTo>
                  <a:pt x="1308" y="1328"/>
                </a:lnTo>
                <a:lnTo>
                  <a:pt x="1310" y="1332"/>
                </a:lnTo>
                <a:lnTo>
                  <a:pt x="1310" y="1334"/>
                </a:lnTo>
                <a:lnTo>
                  <a:pt x="1307" y="1337"/>
                </a:lnTo>
                <a:lnTo>
                  <a:pt x="1304" y="1340"/>
                </a:lnTo>
                <a:lnTo>
                  <a:pt x="1300" y="1342"/>
                </a:lnTo>
                <a:lnTo>
                  <a:pt x="1297" y="1346"/>
                </a:lnTo>
                <a:lnTo>
                  <a:pt x="1296" y="1352"/>
                </a:lnTo>
                <a:lnTo>
                  <a:pt x="1296" y="1352"/>
                </a:lnTo>
                <a:lnTo>
                  <a:pt x="1294" y="1353"/>
                </a:lnTo>
                <a:lnTo>
                  <a:pt x="1290" y="1355"/>
                </a:lnTo>
                <a:lnTo>
                  <a:pt x="1284" y="1354"/>
                </a:lnTo>
                <a:lnTo>
                  <a:pt x="1279" y="1353"/>
                </a:lnTo>
                <a:lnTo>
                  <a:pt x="1275" y="1349"/>
                </a:lnTo>
                <a:lnTo>
                  <a:pt x="1277" y="1347"/>
                </a:lnTo>
                <a:lnTo>
                  <a:pt x="1278" y="1346"/>
                </a:lnTo>
                <a:lnTo>
                  <a:pt x="1278" y="1345"/>
                </a:lnTo>
                <a:lnTo>
                  <a:pt x="1277" y="1344"/>
                </a:lnTo>
                <a:lnTo>
                  <a:pt x="1270" y="1346"/>
                </a:lnTo>
                <a:lnTo>
                  <a:pt x="1263" y="1348"/>
                </a:lnTo>
                <a:lnTo>
                  <a:pt x="1264" y="1349"/>
                </a:lnTo>
                <a:lnTo>
                  <a:pt x="1264" y="1349"/>
                </a:lnTo>
                <a:lnTo>
                  <a:pt x="1251" y="1348"/>
                </a:lnTo>
                <a:lnTo>
                  <a:pt x="1238" y="1348"/>
                </a:lnTo>
                <a:lnTo>
                  <a:pt x="1238" y="1348"/>
                </a:lnTo>
                <a:lnTo>
                  <a:pt x="1238" y="1349"/>
                </a:lnTo>
                <a:lnTo>
                  <a:pt x="1252" y="1354"/>
                </a:lnTo>
                <a:lnTo>
                  <a:pt x="1267" y="1360"/>
                </a:lnTo>
                <a:lnTo>
                  <a:pt x="1267" y="1361"/>
                </a:lnTo>
                <a:lnTo>
                  <a:pt x="1267" y="1362"/>
                </a:lnTo>
                <a:lnTo>
                  <a:pt x="1263" y="1366"/>
                </a:lnTo>
                <a:lnTo>
                  <a:pt x="1258" y="1369"/>
                </a:lnTo>
                <a:lnTo>
                  <a:pt x="1248" y="1373"/>
                </a:lnTo>
                <a:lnTo>
                  <a:pt x="1239" y="1377"/>
                </a:lnTo>
                <a:lnTo>
                  <a:pt x="1235" y="1381"/>
                </a:lnTo>
                <a:lnTo>
                  <a:pt x="1229" y="1383"/>
                </a:lnTo>
                <a:lnTo>
                  <a:pt x="1224" y="1384"/>
                </a:lnTo>
                <a:lnTo>
                  <a:pt x="1218" y="1386"/>
                </a:lnTo>
                <a:lnTo>
                  <a:pt x="1213" y="1386"/>
                </a:lnTo>
                <a:lnTo>
                  <a:pt x="1206" y="1384"/>
                </a:lnTo>
                <a:lnTo>
                  <a:pt x="1200" y="1383"/>
                </a:lnTo>
                <a:lnTo>
                  <a:pt x="1195" y="1382"/>
                </a:lnTo>
                <a:lnTo>
                  <a:pt x="1195" y="1382"/>
                </a:lnTo>
                <a:lnTo>
                  <a:pt x="1195" y="1382"/>
                </a:lnTo>
                <a:lnTo>
                  <a:pt x="1194" y="1382"/>
                </a:lnTo>
                <a:lnTo>
                  <a:pt x="1193" y="1382"/>
                </a:lnTo>
                <a:close/>
                <a:moveTo>
                  <a:pt x="1403" y="929"/>
                </a:moveTo>
                <a:lnTo>
                  <a:pt x="1407" y="926"/>
                </a:lnTo>
                <a:lnTo>
                  <a:pt x="1410" y="922"/>
                </a:lnTo>
                <a:lnTo>
                  <a:pt x="1409" y="920"/>
                </a:lnTo>
                <a:lnTo>
                  <a:pt x="1407" y="915"/>
                </a:lnTo>
                <a:lnTo>
                  <a:pt x="1402" y="920"/>
                </a:lnTo>
                <a:lnTo>
                  <a:pt x="1400" y="925"/>
                </a:lnTo>
                <a:lnTo>
                  <a:pt x="1401" y="926"/>
                </a:lnTo>
                <a:lnTo>
                  <a:pt x="1403" y="929"/>
                </a:lnTo>
                <a:close/>
                <a:moveTo>
                  <a:pt x="1211" y="1255"/>
                </a:moveTo>
                <a:lnTo>
                  <a:pt x="1208" y="1258"/>
                </a:lnTo>
                <a:lnTo>
                  <a:pt x="1206" y="1261"/>
                </a:lnTo>
                <a:lnTo>
                  <a:pt x="1203" y="1264"/>
                </a:lnTo>
                <a:lnTo>
                  <a:pt x="1201" y="1269"/>
                </a:lnTo>
                <a:lnTo>
                  <a:pt x="1207" y="1268"/>
                </a:lnTo>
                <a:lnTo>
                  <a:pt x="1210" y="1265"/>
                </a:lnTo>
                <a:lnTo>
                  <a:pt x="1213" y="1261"/>
                </a:lnTo>
                <a:lnTo>
                  <a:pt x="1211" y="1255"/>
                </a:lnTo>
                <a:close/>
                <a:moveTo>
                  <a:pt x="709" y="1275"/>
                </a:moveTo>
                <a:lnTo>
                  <a:pt x="705" y="1275"/>
                </a:lnTo>
                <a:lnTo>
                  <a:pt x="700" y="1275"/>
                </a:lnTo>
                <a:lnTo>
                  <a:pt x="702" y="1278"/>
                </a:lnTo>
                <a:lnTo>
                  <a:pt x="703" y="1280"/>
                </a:lnTo>
                <a:lnTo>
                  <a:pt x="705" y="1282"/>
                </a:lnTo>
                <a:lnTo>
                  <a:pt x="707" y="1283"/>
                </a:lnTo>
                <a:lnTo>
                  <a:pt x="712" y="1284"/>
                </a:lnTo>
                <a:lnTo>
                  <a:pt x="717" y="1284"/>
                </a:lnTo>
                <a:lnTo>
                  <a:pt x="717" y="1283"/>
                </a:lnTo>
                <a:lnTo>
                  <a:pt x="718" y="1282"/>
                </a:lnTo>
                <a:lnTo>
                  <a:pt x="711" y="1279"/>
                </a:lnTo>
                <a:lnTo>
                  <a:pt x="704" y="1277"/>
                </a:lnTo>
                <a:lnTo>
                  <a:pt x="706" y="1276"/>
                </a:lnTo>
                <a:lnTo>
                  <a:pt x="709" y="1276"/>
                </a:lnTo>
                <a:lnTo>
                  <a:pt x="709" y="1275"/>
                </a:lnTo>
                <a:lnTo>
                  <a:pt x="709" y="1275"/>
                </a:lnTo>
                <a:close/>
                <a:moveTo>
                  <a:pt x="869" y="1337"/>
                </a:moveTo>
                <a:lnTo>
                  <a:pt x="878" y="1339"/>
                </a:lnTo>
                <a:lnTo>
                  <a:pt x="889" y="1341"/>
                </a:lnTo>
                <a:lnTo>
                  <a:pt x="898" y="1344"/>
                </a:lnTo>
                <a:lnTo>
                  <a:pt x="908" y="1346"/>
                </a:lnTo>
                <a:lnTo>
                  <a:pt x="908" y="1345"/>
                </a:lnTo>
                <a:lnTo>
                  <a:pt x="908" y="1344"/>
                </a:lnTo>
                <a:lnTo>
                  <a:pt x="899" y="1341"/>
                </a:lnTo>
                <a:lnTo>
                  <a:pt x="889" y="1339"/>
                </a:lnTo>
                <a:lnTo>
                  <a:pt x="879" y="1337"/>
                </a:lnTo>
                <a:lnTo>
                  <a:pt x="869" y="1334"/>
                </a:lnTo>
                <a:lnTo>
                  <a:pt x="869" y="1335"/>
                </a:lnTo>
                <a:lnTo>
                  <a:pt x="869" y="1337"/>
                </a:lnTo>
                <a:close/>
                <a:moveTo>
                  <a:pt x="1221" y="1243"/>
                </a:moveTo>
                <a:lnTo>
                  <a:pt x="1220" y="1245"/>
                </a:lnTo>
                <a:lnTo>
                  <a:pt x="1218" y="1248"/>
                </a:lnTo>
                <a:lnTo>
                  <a:pt x="1218" y="1250"/>
                </a:lnTo>
                <a:lnTo>
                  <a:pt x="1220" y="1254"/>
                </a:lnTo>
                <a:lnTo>
                  <a:pt x="1221" y="1256"/>
                </a:lnTo>
                <a:lnTo>
                  <a:pt x="1222" y="1258"/>
                </a:lnTo>
                <a:lnTo>
                  <a:pt x="1224" y="1259"/>
                </a:lnTo>
                <a:lnTo>
                  <a:pt x="1227" y="1261"/>
                </a:lnTo>
                <a:lnTo>
                  <a:pt x="1230" y="1261"/>
                </a:lnTo>
                <a:lnTo>
                  <a:pt x="1235" y="1261"/>
                </a:lnTo>
                <a:lnTo>
                  <a:pt x="1230" y="1256"/>
                </a:lnTo>
                <a:lnTo>
                  <a:pt x="1225" y="1254"/>
                </a:lnTo>
                <a:lnTo>
                  <a:pt x="1223" y="1251"/>
                </a:lnTo>
                <a:lnTo>
                  <a:pt x="1222" y="1249"/>
                </a:lnTo>
                <a:lnTo>
                  <a:pt x="1221" y="1247"/>
                </a:lnTo>
                <a:lnTo>
                  <a:pt x="1221" y="1243"/>
                </a:lnTo>
                <a:close/>
                <a:moveTo>
                  <a:pt x="731" y="1291"/>
                </a:moveTo>
                <a:lnTo>
                  <a:pt x="738" y="1292"/>
                </a:lnTo>
                <a:lnTo>
                  <a:pt x="745" y="1292"/>
                </a:lnTo>
                <a:lnTo>
                  <a:pt x="747" y="1292"/>
                </a:lnTo>
                <a:lnTo>
                  <a:pt x="749" y="1292"/>
                </a:lnTo>
                <a:lnTo>
                  <a:pt x="749" y="1291"/>
                </a:lnTo>
                <a:lnTo>
                  <a:pt x="749" y="1290"/>
                </a:lnTo>
                <a:lnTo>
                  <a:pt x="746" y="1289"/>
                </a:lnTo>
                <a:lnTo>
                  <a:pt x="742" y="1287"/>
                </a:lnTo>
                <a:lnTo>
                  <a:pt x="734" y="1286"/>
                </a:lnTo>
                <a:lnTo>
                  <a:pt x="727" y="1286"/>
                </a:lnTo>
                <a:lnTo>
                  <a:pt x="724" y="1286"/>
                </a:lnTo>
                <a:lnTo>
                  <a:pt x="721" y="1286"/>
                </a:lnTo>
                <a:lnTo>
                  <a:pt x="724" y="1289"/>
                </a:lnTo>
                <a:lnTo>
                  <a:pt x="726" y="1291"/>
                </a:lnTo>
                <a:lnTo>
                  <a:pt x="728" y="1291"/>
                </a:lnTo>
                <a:lnTo>
                  <a:pt x="731" y="1291"/>
                </a:lnTo>
                <a:close/>
                <a:moveTo>
                  <a:pt x="1030" y="1355"/>
                </a:moveTo>
                <a:lnTo>
                  <a:pt x="1042" y="1359"/>
                </a:lnTo>
                <a:lnTo>
                  <a:pt x="1052" y="1362"/>
                </a:lnTo>
                <a:lnTo>
                  <a:pt x="1059" y="1363"/>
                </a:lnTo>
                <a:lnTo>
                  <a:pt x="1066" y="1366"/>
                </a:lnTo>
                <a:lnTo>
                  <a:pt x="1068" y="1367"/>
                </a:lnTo>
                <a:lnTo>
                  <a:pt x="1069" y="1368"/>
                </a:lnTo>
                <a:lnTo>
                  <a:pt x="1071" y="1372"/>
                </a:lnTo>
                <a:lnTo>
                  <a:pt x="1073" y="1376"/>
                </a:lnTo>
                <a:lnTo>
                  <a:pt x="1076" y="1375"/>
                </a:lnTo>
                <a:lnTo>
                  <a:pt x="1077" y="1374"/>
                </a:lnTo>
                <a:lnTo>
                  <a:pt x="1076" y="1369"/>
                </a:lnTo>
                <a:lnTo>
                  <a:pt x="1073" y="1366"/>
                </a:lnTo>
                <a:lnTo>
                  <a:pt x="1059" y="1359"/>
                </a:lnTo>
                <a:lnTo>
                  <a:pt x="1045" y="1353"/>
                </a:lnTo>
                <a:lnTo>
                  <a:pt x="1035" y="1348"/>
                </a:lnTo>
                <a:lnTo>
                  <a:pt x="1024" y="1344"/>
                </a:lnTo>
                <a:lnTo>
                  <a:pt x="1014" y="1340"/>
                </a:lnTo>
                <a:lnTo>
                  <a:pt x="1003" y="1335"/>
                </a:lnTo>
                <a:lnTo>
                  <a:pt x="999" y="1335"/>
                </a:lnTo>
                <a:lnTo>
                  <a:pt x="995" y="1335"/>
                </a:lnTo>
                <a:lnTo>
                  <a:pt x="988" y="1337"/>
                </a:lnTo>
                <a:lnTo>
                  <a:pt x="983" y="1337"/>
                </a:lnTo>
                <a:lnTo>
                  <a:pt x="979" y="1334"/>
                </a:lnTo>
                <a:lnTo>
                  <a:pt x="974" y="1328"/>
                </a:lnTo>
                <a:lnTo>
                  <a:pt x="970" y="1325"/>
                </a:lnTo>
                <a:lnTo>
                  <a:pt x="967" y="1323"/>
                </a:lnTo>
                <a:lnTo>
                  <a:pt x="966" y="1324"/>
                </a:lnTo>
                <a:lnTo>
                  <a:pt x="965" y="1325"/>
                </a:lnTo>
                <a:lnTo>
                  <a:pt x="972" y="1331"/>
                </a:lnTo>
                <a:lnTo>
                  <a:pt x="977" y="1337"/>
                </a:lnTo>
                <a:lnTo>
                  <a:pt x="987" y="1340"/>
                </a:lnTo>
                <a:lnTo>
                  <a:pt x="997" y="1344"/>
                </a:lnTo>
                <a:lnTo>
                  <a:pt x="1014" y="1349"/>
                </a:lnTo>
                <a:lnTo>
                  <a:pt x="1030" y="1355"/>
                </a:lnTo>
                <a:close/>
                <a:moveTo>
                  <a:pt x="697" y="1312"/>
                </a:moveTo>
                <a:lnTo>
                  <a:pt x="704" y="1316"/>
                </a:lnTo>
                <a:lnTo>
                  <a:pt x="711" y="1317"/>
                </a:lnTo>
                <a:lnTo>
                  <a:pt x="724" y="1318"/>
                </a:lnTo>
                <a:lnTo>
                  <a:pt x="738" y="1319"/>
                </a:lnTo>
                <a:lnTo>
                  <a:pt x="751" y="1320"/>
                </a:lnTo>
                <a:lnTo>
                  <a:pt x="763" y="1321"/>
                </a:lnTo>
                <a:lnTo>
                  <a:pt x="782" y="1324"/>
                </a:lnTo>
                <a:lnTo>
                  <a:pt x="801" y="1326"/>
                </a:lnTo>
                <a:lnTo>
                  <a:pt x="818" y="1330"/>
                </a:lnTo>
                <a:lnTo>
                  <a:pt x="837" y="1332"/>
                </a:lnTo>
                <a:lnTo>
                  <a:pt x="850" y="1334"/>
                </a:lnTo>
                <a:lnTo>
                  <a:pt x="863" y="1337"/>
                </a:lnTo>
                <a:lnTo>
                  <a:pt x="863" y="1335"/>
                </a:lnTo>
                <a:lnTo>
                  <a:pt x="863" y="1334"/>
                </a:lnTo>
                <a:lnTo>
                  <a:pt x="861" y="1333"/>
                </a:lnTo>
                <a:lnTo>
                  <a:pt x="858" y="1332"/>
                </a:lnTo>
                <a:lnTo>
                  <a:pt x="845" y="1328"/>
                </a:lnTo>
                <a:lnTo>
                  <a:pt x="831" y="1326"/>
                </a:lnTo>
                <a:lnTo>
                  <a:pt x="818" y="1324"/>
                </a:lnTo>
                <a:lnTo>
                  <a:pt x="804" y="1319"/>
                </a:lnTo>
                <a:lnTo>
                  <a:pt x="797" y="1318"/>
                </a:lnTo>
                <a:lnTo>
                  <a:pt x="790" y="1317"/>
                </a:lnTo>
                <a:lnTo>
                  <a:pt x="782" y="1318"/>
                </a:lnTo>
                <a:lnTo>
                  <a:pt x="775" y="1318"/>
                </a:lnTo>
                <a:lnTo>
                  <a:pt x="759" y="1317"/>
                </a:lnTo>
                <a:lnTo>
                  <a:pt x="744" y="1316"/>
                </a:lnTo>
                <a:lnTo>
                  <a:pt x="739" y="1314"/>
                </a:lnTo>
                <a:lnTo>
                  <a:pt x="734" y="1314"/>
                </a:lnTo>
                <a:lnTo>
                  <a:pt x="730" y="1313"/>
                </a:lnTo>
                <a:lnTo>
                  <a:pt x="725" y="1311"/>
                </a:lnTo>
                <a:lnTo>
                  <a:pt x="721" y="1311"/>
                </a:lnTo>
                <a:lnTo>
                  <a:pt x="717" y="1312"/>
                </a:lnTo>
                <a:lnTo>
                  <a:pt x="716" y="1309"/>
                </a:lnTo>
                <a:lnTo>
                  <a:pt x="714" y="1305"/>
                </a:lnTo>
                <a:lnTo>
                  <a:pt x="713" y="1305"/>
                </a:lnTo>
                <a:lnTo>
                  <a:pt x="712" y="1305"/>
                </a:lnTo>
                <a:lnTo>
                  <a:pt x="711" y="1309"/>
                </a:lnTo>
                <a:lnTo>
                  <a:pt x="710" y="1314"/>
                </a:lnTo>
                <a:lnTo>
                  <a:pt x="707" y="1310"/>
                </a:lnTo>
                <a:lnTo>
                  <a:pt x="705" y="1307"/>
                </a:lnTo>
                <a:lnTo>
                  <a:pt x="702" y="1307"/>
                </a:lnTo>
                <a:lnTo>
                  <a:pt x="697" y="1309"/>
                </a:lnTo>
                <a:lnTo>
                  <a:pt x="697" y="1311"/>
                </a:lnTo>
                <a:lnTo>
                  <a:pt x="697" y="1312"/>
                </a:lnTo>
                <a:close/>
                <a:moveTo>
                  <a:pt x="1163" y="1238"/>
                </a:moveTo>
                <a:lnTo>
                  <a:pt x="1156" y="1233"/>
                </a:lnTo>
                <a:lnTo>
                  <a:pt x="1151" y="1228"/>
                </a:lnTo>
                <a:lnTo>
                  <a:pt x="1147" y="1231"/>
                </a:lnTo>
                <a:lnTo>
                  <a:pt x="1145" y="1234"/>
                </a:lnTo>
                <a:lnTo>
                  <a:pt x="1142" y="1233"/>
                </a:lnTo>
                <a:lnTo>
                  <a:pt x="1140" y="1234"/>
                </a:lnTo>
                <a:lnTo>
                  <a:pt x="1139" y="1235"/>
                </a:lnTo>
                <a:lnTo>
                  <a:pt x="1138" y="1236"/>
                </a:lnTo>
                <a:lnTo>
                  <a:pt x="1137" y="1240"/>
                </a:lnTo>
                <a:lnTo>
                  <a:pt x="1135" y="1243"/>
                </a:lnTo>
                <a:lnTo>
                  <a:pt x="1142" y="1241"/>
                </a:lnTo>
                <a:lnTo>
                  <a:pt x="1149" y="1240"/>
                </a:lnTo>
                <a:lnTo>
                  <a:pt x="1147" y="1244"/>
                </a:lnTo>
                <a:lnTo>
                  <a:pt x="1146" y="1247"/>
                </a:lnTo>
                <a:lnTo>
                  <a:pt x="1148" y="1249"/>
                </a:lnTo>
                <a:lnTo>
                  <a:pt x="1151" y="1251"/>
                </a:lnTo>
                <a:lnTo>
                  <a:pt x="1154" y="1251"/>
                </a:lnTo>
                <a:lnTo>
                  <a:pt x="1158" y="1250"/>
                </a:lnTo>
                <a:lnTo>
                  <a:pt x="1165" y="1248"/>
                </a:lnTo>
                <a:lnTo>
                  <a:pt x="1173" y="1248"/>
                </a:lnTo>
                <a:lnTo>
                  <a:pt x="1175" y="1248"/>
                </a:lnTo>
                <a:lnTo>
                  <a:pt x="1176" y="1250"/>
                </a:lnTo>
                <a:lnTo>
                  <a:pt x="1181" y="1256"/>
                </a:lnTo>
                <a:lnTo>
                  <a:pt x="1184" y="1262"/>
                </a:lnTo>
                <a:lnTo>
                  <a:pt x="1190" y="1263"/>
                </a:lnTo>
                <a:lnTo>
                  <a:pt x="1197" y="1264"/>
                </a:lnTo>
                <a:lnTo>
                  <a:pt x="1196" y="1258"/>
                </a:lnTo>
                <a:lnTo>
                  <a:pt x="1194" y="1255"/>
                </a:lnTo>
                <a:lnTo>
                  <a:pt x="1194" y="1251"/>
                </a:lnTo>
                <a:lnTo>
                  <a:pt x="1193" y="1249"/>
                </a:lnTo>
                <a:lnTo>
                  <a:pt x="1190" y="1245"/>
                </a:lnTo>
                <a:lnTo>
                  <a:pt x="1188" y="1243"/>
                </a:lnTo>
                <a:lnTo>
                  <a:pt x="1182" y="1241"/>
                </a:lnTo>
                <a:lnTo>
                  <a:pt x="1176" y="1240"/>
                </a:lnTo>
                <a:lnTo>
                  <a:pt x="1173" y="1238"/>
                </a:lnTo>
                <a:lnTo>
                  <a:pt x="1172" y="1237"/>
                </a:lnTo>
                <a:lnTo>
                  <a:pt x="1170" y="1235"/>
                </a:lnTo>
                <a:lnTo>
                  <a:pt x="1172" y="1231"/>
                </a:lnTo>
                <a:lnTo>
                  <a:pt x="1176" y="1227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1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6" y="1224"/>
                </a:lnTo>
                <a:lnTo>
                  <a:pt x="1190" y="1226"/>
                </a:lnTo>
                <a:lnTo>
                  <a:pt x="1200" y="1229"/>
                </a:lnTo>
                <a:lnTo>
                  <a:pt x="1209" y="1233"/>
                </a:lnTo>
                <a:lnTo>
                  <a:pt x="1218" y="1234"/>
                </a:lnTo>
                <a:lnTo>
                  <a:pt x="1228" y="1237"/>
                </a:lnTo>
                <a:lnTo>
                  <a:pt x="1236" y="1241"/>
                </a:lnTo>
                <a:lnTo>
                  <a:pt x="1244" y="1244"/>
                </a:lnTo>
                <a:lnTo>
                  <a:pt x="1252" y="1248"/>
                </a:lnTo>
                <a:lnTo>
                  <a:pt x="1262" y="1249"/>
                </a:lnTo>
                <a:lnTo>
                  <a:pt x="1263" y="1249"/>
                </a:lnTo>
                <a:lnTo>
                  <a:pt x="1264" y="1249"/>
                </a:lnTo>
                <a:lnTo>
                  <a:pt x="1264" y="1256"/>
                </a:lnTo>
                <a:lnTo>
                  <a:pt x="1266" y="1261"/>
                </a:lnTo>
                <a:lnTo>
                  <a:pt x="1270" y="1264"/>
                </a:lnTo>
                <a:lnTo>
                  <a:pt x="1275" y="1268"/>
                </a:lnTo>
                <a:lnTo>
                  <a:pt x="1273" y="1269"/>
                </a:lnTo>
                <a:lnTo>
                  <a:pt x="1273" y="1270"/>
                </a:lnTo>
                <a:lnTo>
                  <a:pt x="1266" y="1269"/>
                </a:lnTo>
                <a:lnTo>
                  <a:pt x="1260" y="1269"/>
                </a:lnTo>
                <a:lnTo>
                  <a:pt x="1260" y="1269"/>
                </a:lnTo>
                <a:lnTo>
                  <a:pt x="1260" y="1270"/>
                </a:lnTo>
                <a:lnTo>
                  <a:pt x="1266" y="1273"/>
                </a:lnTo>
                <a:lnTo>
                  <a:pt x="1272" y="1277"/>
                </a:lnTo>
                <a:lnTo>
                  <a:pt x="1271" y="1278"/>
                </a:lnTo>
                <a:lnTo>
                  <a:pt x="1271" y="1280"/>
                </a:lnTo>
                <a:lnTo>
                  <a:pt x="1271" y="1283"/>
                </a:lnTo>
                <a:lnTo>
                  <a:pt x="1271" y="1286"/>
                </a:lnTo>
                <a:lnTo>
                  <a:pt x="1266" y="1286"/>
                </a:lnTo>
                <a:lnTo>
                  <a:pt x="1263" y="1285"/>
                </a:lnTo>
                <a:lnTo>
                  <a:pt x="1260" y="1284"/>
                </a:lnTo>
                <a:lnTo>
                  <a:pt x="1257" y="1283"/>
                </a:lnTo>
                <a:lnTo>
                  <a:pt x="1252" y="1280"/>
                </a:lnTo>
                <a:lnTo>
                  <a:pt x="1246" y="1278"/>
                </a:lnTo>
                <a:lnTo>
                  <a:pt x="1250" y="1275"/>
                </a:lnTo>
                <a:lnTo>
                  <a:pt x="1251" y="1271"/>
                </a:lnTo>
                <a:lnTo>
                  <a:pt x="1243" y="1271"/>
                </a:lnTo>
                <a:lnTo>
                  <a:pt x="1235" y="1271"/>
                </a:lnTo>
                <a:lnTo>
                  <a:pt x="1231" y="1271"/>
                </a:lnTo>
                <a:lnTo>
                  <a:pt x="1228" y="1270"/>
                </a:lnTo>
                <a:lnTo>
                  <a:pt x="1223" y="1268"/>
                </a:lnTo>
                <a:lnTo>
                  <a:pt x="1221" y="1264"/>
                </a:lnTo>
                <a:lnTo>
                  <a:pt x="1221" y="1269"/>
                </a:lnTo>
                <a:lnTo>
                  <a:pt x="1221" y="1272"/>
                </a:lnTo>
                <a:lnTo>
                  <a:pt x="1223" y="1275"/>
                </a:lnTo>
                <a:lnTo>
                  <a:pt x="1225" y="1276"/>
                </a:lnTo>
                <a:lnTo>
                  <a:pt x="1232" y="1278"/>
                </a:lnTo>
                <a:lnTo>
                  <a:pt x="1238" y="1282"/>
                </a:lnTo>
                <a:lnTo>
                  <a:pt x="1228" y="1287"/>
                </a:lnTo>
                <a:lnTo>
                  <a:pt x="1217" y="1292"/>
                </a:lnTo>
                <a:lnTo>
                  <a:pt x="1211" y="1293"/>
                </a:lnTo>
                <a:lnTo>
                  <a:pt x="1204" y="1293"/>
                </a:lnTo>
                <a:lnTo>
                  <a:pt x="1200" y="1293"/>
                </a:lnTo>
                <a:lnTo>
                  <a:pt x="1195" y="1293"/>
                </a:lnTo>
                <a:lnTo>
                  <a:pt x="1184" y="1291"/>
                </a:lnTo>
                <a:lnTo>
                  <a:pt x="1174" y="1287"/>
                </a:lnTo>
                <a:lnTo>
                  <a:pt x="1163" y="1284"/>
                </a:lnTo>
                <a:lnTo>
                  <a:pt x="1153" y="1280"/>
                </a:lnTo>
                <a:lnTo>
                  <a:pt x="1152" y="1277"/>
                </a:lnTo>
                <a:lnTo>
                  <a:pt x="1148" y="1275"/>
                </a:lnTo>
                <a:lnTo>
                  <a:pt x="1112" y="1261"/>
                </a:lnTo>
                <a:lnTo>
                  <a:pt x="1077" y="1248"/>
                </a:lnTo>
                <a:lnTo>
                  <a:pt x="1041" y="1235"/>
                </a:lnTo>
                <a:lnTo>
                  <a:pt x="1003" y="1222"/>
                </a:lnTo>
                <a:lnTo>
                  <a:pt x="1000" y="1221"/>
                </a:lnTo>
                <a:lnTo>
                  <a:pt x="995" y="1220"/>
                </a:lnTo>
                <a:lnTo>
                  <a:pt x="1000" y="1219"/>
                </a:lnTo>
                <a:lnTo>
                  <a:pt x="1004" y="1219"/>
                </a:lnTo>
                <a:lnTo>
                  <a:pt x="1021" y="1221"/>
                </a:lnTo>
                <a:lnTo>
                  <a:pt x="1038" y="1223"/>
                </a:lnTo>
                <a:lnTo>
                  <a:pt x="1045" y="1223"/>
                </a:lnTo>
                <a:lnTo>
                  <a:pt x="1053" y="1226"/>
                </a:lnTo>
                <a:lnTo>
                  <a:pt x="1059" y="1227"/>
                </a:lnTo>
                <a:lnTo>
                  <a:pt x="1063" y="1227"/>
                </a:lnTo>
                <a:lnTo>
                  <a:pt x="1064" y="1226"/>
                </a:lnTo>
                <a:lnTo>
                  <a:pt x="1065" y="1223"/>
                </a:lnTo>
                <a:lnTo>
                  <a:pt x="1065" y="1223"/>
                </a:lnTo>
                <a:lnTo>
                  <a:pt x="1066" y="1223"/>
                </a:lnTo>
                <a:lnTo>
                  <a:pt x="1073" y="1227"/>
                </a:lnTo>
                <a:lnTo>
                  <a:pt x="1082" y="1229"/>
                </a:lnTo>
                <a:lnTo>
                  <a:pt x="1086" y="1229"/>
                </a:lnTo>
                <a:lnTo>
                  <a:pt x="1090" y="1230"/>
                </a:lnTo>
                <a:lnTo>
                  <a:pt x="1093" y="1230"/>
                </a:lnTo>
                <a:lnTo>
                  <a:pt x="1097" y="1230"/>
                </a:lnTo>
                <a:lnTo>
                  <a:pt x="1098" y="1231"/>
                </a:lnTo>
                <a:lnTo>
                  <a:pt x="1098" y="1231"/>
                </a:lnTo>
                <a:lnTo>
                  <a:pt x="1107" y="1234"/>
                </a:lnTo>
                <a:lnTo>
                  <a:pt x="1115" y="1235"/>
                </a:lnTo>
                <a:lnTo>
                  <a:pt x="1113" y="1237"/>
                </a:lnTo>
                <a:lnTo>
                  <a:pt x="1111" y="1238"/>
                </a:lnTo>
                <a:lnTo>
                  <a:pt x="1115" y="1237"/>
                </a:lnTo>
                <a:lnTo>
                  <a:pt x="1119" y="1236"/>
                </a:lnTo>
                <a:lnTo>
                  <a:pt x="1121" y="1237"/>
                </a:lnTo>
                <a:lnTo>
                  <a:pt x="1122" y="1238"/>
                </a:lnTo>
                <a:lnTo>
                  <a:pt x="1124" y="1241"/>
                </a:lnTo>
                <a:lnTo>
                  <a:pt x="1126" y="1244"/>
                </a:lnTo>
                <a:lnTo>
                  <a:pt x="1133" y="1235"/>
                </a:lnTo>
                <a:lnTo>
                  <a:pt x="1139" y="1226"/>
                </a:lnTo>
                <a:lnTo>
                  <a:pt x="1140" y="1224"/>
                </a:lnTo>
                <a:lnTo>
                  <a:pt x="1142" y="1222"/>
                </a:lnTo>
                <a:lnTo>
                  <a:pt x="1148" y="1222"/>
                </a:lnTo>
                <a:lnTo>
                  <a:pt x="1155" y="1222"/>
                </a:lnTo>
                <a:lnTo>
                  <a:pt x="1155" y="1223"/>
                </a:lnTo>
                <a:lnTo>
                  <a:pt x="1154" y="1223"/>
                </a:lnTo>
                <a:lnTo>
                  <a:pt x="1158" y="1226"/>
                </a:lnTo>
                <a:lnTo>
                  <a:pt x="1161" y="1228"/>
                </a:lnTo>
                <a:lnTo>
                  <a:pt x="1162" y="1227"/>
                </a:lnTo>
                <a:lnTo>
                  <a:pt x="1165" y="1226"/>
                </a:lnTo>
                <a:lnTo>
                  <a:pt x="1161" y="1223"/>
                </a:lnTo>
                <a:lnTo>
                  <a:pt x="1159" y="1222"/>
                </a:lnTo>
                <a:lnTo>
                  <a:pt x="1163" y="1222"/>
                </a:lnTo>
                <a:lnTo>
                  <a:pt x="1169" y="1221"/>
                </a:lnTo>
                <a:lnTo>
                  <a:pt x="1172" y="1220"/>
                </a:lnTo>
                <a:lnTo>
                  <a:pt x="1174" y="1219"/>
                </a:lnTo>
                <a:lnTo>
                  <a:pt x="1177" y="1220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75" y="1222"/>
                </a:lnTo>
                <a:lnTo>
                  <a:pt x="1172" y="1222"/>
                </a:lnTo>
                <a:lnTo>
                  <a:pt x="1170" y="1224"/>
                </a:lnTo>
                <a:lnTo>
                  <a:pt x="1168" y="1227"/>
                </a:lnTo>
                <a:lnTo>
                  <a:pt x="1167" y="1233"/>
                </a:lnTo>
                <a:lnTo>
                  <a:pt x="1163" y="1238"/>
                </a:lnTo>
                <a:close/>
                <a:moveTo>
                  <a:pt x="1285" y="1126"/>
                </a:moveTo>
                <a:lnTo>
                  <a:pt x="1285" y="1128"/>
                </a:lnTo>
                <a:lnTo>
                  <a:pt x="1285" y="1128"/>
                </a:lnTo>
                <a:lnTo>
                  <a:pt x="1284" y="1128"/>
                </a:lnTo>
                <a:lnTo>
                  <a:pt x="1284" y="1126"/>
                </a:lnTo>
                <a:lnTo>
                  <a:pt x="1286" y="1125"/>
                </a:lnTo>
                <a:lnTo>
                  <a:pt x="1289" y="1124"/>
                </a:lnTo>
                <a:lnTo>
                  <a:pt x="1291" y="1125"/>
                </a:lnTo>
                <a:lnTo>
                  <a:pt x="1292" y="1128"/>
                </a:lnTo>
                <a:lnTo>
                  <a:pt x="1294" y="1130"/>
                </a:lnTo>
                <a:lnTo>
                  <a:pt x="1298" y="1132"/>
                </a:lnTo>
                <a:lnTo>
                  <a:pt x="1301" y="1135"/>
                </a:lnTo>
                <a:lnTo>
                  <a:pt x="1305" y="1138"/>
                </a:lnTo>
                <a:lnTo>
                  <a:pt x="1305" y="1142"/>
                </a:lnTo>
                <a:lnTo>
                  <a:pt x="1305" y="1146"/>
                </a:lnTo>
                <a:lnTo>
                  <a:pt x="1301" y="1147"/>
                </a:lnTo>
                <a:lnTo>
                  <a:pt x="1297" y="1147"/>
                </a:lnTo>
                <a:lnTo>
                  <a:pt x="1294" y="1146"/>
                </a:lnTo>
                <a:lnTo>
                  <a:pt x="1291" y="1145"/>
                </a:lnTo>
                <a:lnTo>
                  <a:pt x="1289" y="1146"/>
                </a:lnTo>
                <a:lnTo>
                  <a:pt x="1286" y="1149"/>
                </a:lnTo>
                <a:lnTo>
                  <a:pt x="1284" y="1151"/>
                </a:lnTo>
                <a:lnTo>
                  <a:pt x="1280" y="1153"/>
                </a:lnTo>
                <a:lnTo>
                  <a:pt x="1277" y="1153"/>
                </a:lnTo>
                <a:lnTo>
                  <a:pt x="1273" y="1153"/>
                </a:lnTo>
                <a:lnTo>
                  <a:pt x="1270" y="1153"/>
                </a:lnTo>
                <a:lnTo>
                  <a:pt x="1264" y="1153"/>
                </a:lnTo>
                <a:lnTo>
                  <a:pt x="1263" y="1151"/>
                </a:lnTo>
                <a:lnTo>
                  <a:pt x="1262" y="1149"/>
                </a:lnTo>
                <a:lnTo>
                  <a:pt x="1256" y="1153"/>
                </a:lnTo>
                <a:lnTo>
                  <a:pt x="1250" y="1157"/>
                </a:lnTo>
                <a:lnTo>
                  <a:pt x="1245" y="1159"/>
                </a:lnTo>
                <a:lnTo>
                  <a:pt x="1241" y="1159"/>
                </a:lnTo>
                <a:lnTo>
                  <a:pt x="1236" y="1157"/>
                </a:lnTo>
                <a:lnTo>
                  <a:pt x="1234" y="1153"/>
                </a:lnTo>
                <a:lnTo>
                  <a:pt x="1229" y="1147"/>
                </a:lnTo>
                <a:lnTo>
                  <a:pt x="1224" y="1145"/>
                </a:lnTo>
                <a:lnTo>
                  <a:pt x="1224" y="1142"/>
                </a:lnTo>
                <a:lnTo>
                  <a:pt x="1223" y="1137"/>
                </a:lnTo>
                <a:lnTo>
                  <a:pt x="1225" y="1137"/>
                </a:lnTo>
                <a:lnTo>
                  <a:pt x="1228" y="1136"/>
                </a:lnTo>
                <a:lnTo>
                  <a:pt x="1229" y="1136"/>
                </a:lnTo>
                <a:lnTo>
                  <a:pt x="1230" y="1136"/>
                </a:lnTo>
                <a:lnTo>
                  <a:pt x="1232" y="1137"/>
                </a:lnTo>
                <a:lnTo>
                  <a:pt x="1236" y="1140"/>
                </a:lnTo>
                <a:lnTo>
                  <a:pt x="1238" y="1139"/>
                </a:lnTo>
                <a:lnTo>
                  <a:pt x="1241" y="1138"/>
                </a:lnTo>
                <a:lnTo>
                  <a:pt x="1244" y="1135"/>
                </a:lnTo>
                <a:lnTo>
                  <a:pt x="1249" y="1133"/>
                </a:lnTo>
                <a:lnTo>
                  <a:pt x="1253" y="1135"/>
                </a:lnTo>
                <a:lnTo>
                  <a:pt x="1258" y="1137"/>
                </a:lnTo>
                <a:lnTo>
                  <a:pt x="1260" y="1139"/>
                </a:lnTo>
                <a:lnTo>
                  <a:pt x="1263" y="1139"/>
                </a:lnTo>
                <a:lnTo>
                  <a:pt x="1265" y="1138"/>
                </a:lnTo>
                <a:lnTo>
                  <a:pt x="1267" y="1135"/>
                </a:lnTo>
                <a:lnTo>
                  <a:pt x="1275" y="1138"/>
                </a:lnTo>
                <a:lnTo>
                  <a:pt x="1279" y="1138"/>
                </a:lnTo>
                <a:lnTo>
                  <a:pt x="1283" y="1133"/>
                </a:lnTo>
                <a:lnTo>
                  <a:pt x="1285" y="1128"/>
                </a:lnTo>
                <a:lnTo>
                  <a:pt x="1287" y="1129"/>
                </a:lnTo>
                <a:lnTo>
                  <a:pt x="1290" y="1130"/>
                </a:lnTo>
                <a:lnTo>
                  <a:pt x="1287" y="1129"/>
                </a:lnTo>
                <a:lnTo>
                  <a:pt x="1285" y="1126"/>
                </a:lnTo>
                <a:close/>
                <a:moveTo>
                  <a:pt x="1410" y="1262"/>
                </a:moveTo>
                <a:lnTo>
                  <a:pt x="1405" y="1261"/>
                </a:lnTo>
                <a:lnTo>
                  <a:pt x="1402" y="1258"/>
                </a:lnTo>
                <a:lnTo>
                  <a:pt x="1400" y="1256"/>
                </a:lnTo>
                <a:lnTo>
                  <a:pt x="1398" y="1252"/>
                </a:lnTo>
                <a:lnTo>
                  <a:pt x="1400" y="1249"/>
                </a:lnTo>
                <a:lnTo>
                  <a:pt x="1402" y="1245"/>
                </a:lnTo>
                <a:lnTo>
                  <a:pt x="1405" y="1243"/>
                </a:lnTo>
                <a:lnTo>
                  <a:pt x="1408" y="1242"/>
                </a:lnTo>
                <a:lnTo>
                  <a:pt x="1412" y="1243"/>
                </a:lnTo>
                <a:lnTo>
                  <a:pt x="1416" y="1245"/>
                </a:lnTo>
                <a:lnTo>
                  <a:pt x="1417" y="1249"/>
                </a:lnTo>
                <a:lnTo>
                  <a:pt x="1418" y="1254"/>
                </a:lnTo>
                <a:lnTo>
                  <a:pt x="1417" y="1256"/>
                </a:lnTo>
                <a:lnTo>
                  <a:pt x="1416" y="1259"/>
                </a:lnTo>
                <a:lnTo>
                  <a:pt x="1414" y="1261"/>
                </a:lnTo>
                <a:lnTo>
                  <a:pt x="1410" y="1262"/>
                </a:lnTo>
                <a:close/>
                <a:moveTo>
                  <a:pt x="1402" y="1076"/>
                </a:moveTo>
                <a:lnTo>
                  <a:pt x="1404" y="1075"/>
                </a:lnTo>
                <a:lnTo>
                  <a:pt x="1408" y="1075"/>
                </a:lnTo>
                <a:lnTo>
                  <a:pt x="1405" y="1072"/>
                </a:lnTo>
                <a:lnTo>
                  <a:pt x="1404" y="1067"/>
                </a:lnTo>
                <a:lnTo>
                  <a:pt x="1403" y="1062"/>
                </a:lnTo>
                <a:lnTo>
                  <a:pt x="1404" y="1058"/>
                </a:lnTo>
                <a:lnTo>
                  <a:pt x="1407" y="1055"/>
                </a:lnTo>
                <a:lnTo>
                  <a:pt x="1409" y="1054"/>
                </a:lnTo>
                <a:lnTo>
                  <a:pt x="1411" y="1054"/>
                </a:lnTo>
                <a:lnTo>
                  <a:pt x="1414" y="1055"/>
                </a:lnTo>
                <a:lnTo>
                  <a:pt x="1417" y="1059"/>
                </a:lnTo>
                <a:lnTo>
                  <a:pt x="1418" y="1065"/>
                </a:lnTo>
                <a:lnTo>
                  <a:pt x="1417" y="1072"/>
                </a:lnTo>
                <a:lnTo>
                  <a:pt x="1416" y="1076"/>
                </a:lnTo>
                <a:lnTo>
                  <a:pt x="1411" y="1081"/>
                </a:lnTo>
                <a:lnTo>
                  <a:pt x="1405" y="1083"/>
                </a:lnTo>
                <a:lnTo>
                  <a:pt x="1403" y="1083"/>
                </a:lnTo>
                <a:lnTo>
                  <a:pt x="1400" y="1084"/>
                </a:lnTo>
                <a:lnTo>
                  <a:pt x="1401" y="1080"/>
                </a:lnTo>
                <a:lnTo>
                  <a:pt x="1402" y="1076"/>
                </a:lnTo>
                <a:close/>
                <a:moveTo>
                  <a:pt x="1391" y="968"/>
                </a:moveTo>
                <a:lnTo>
                  <a:pt x="1390" y="962"/>
                </a:lnTo>
                <a:lnTo>
                  <a:pt x="1389" y="956"/>
                </a:lnTo>
                <a:lnTo>
                  <a:pt x="1391" y="956"/>
                </a:lnTo>
                <a:lnTo>
                  <a:pt x="1393" y="956"/>
                </a:lnTo>
                <a:lnTo>
                  <a:pt x="1394" y="961"/>
                </a:lnTo>
                <a:lnTo>
                  <a:pt x="1395" y="967"/>
                </a:lnTo>
                <a:lnTo>
                  <a:pt x="1393" y="968"/>
                </a:lnTo>
                <a:lnTo>
                  <a:pt x="1391" y="968"/>
                </a:lnTo>
                <a:close/>
                <a:moveTo>
                  <a:pt x="1369" y="1316"/>
                </a:moveTo>
                <a:lnTo>
                  <a:pt x="1368" y="1314"/>
                </a:lnTo>
                <a:lnTo>
                  <a:pt x="1367" y="1313"/>
                </a:lnTo>
                <a:lnTo>
                  <a:pt x="1367" y="1312"/>
                </a:lnTo>
                <a:lnTo>
                  <a:pt x="1368" y="1311"/>
                </a:lnTo>
                <a:lnTo>
                  <a:pt x="1369" y="1307"/>
                </a:lnTo>
                <a:lnTo>
                  <a:pt x="1370" y="1305"/>
                </a:lnTo>
                <a:lnTo>
                  <a:pt x="1373" y="1303"/>
                </a:lnTo>
                <a:lnTo>
                  <a:pt x="1377" y="1302"/>
                </a:lnTo>
                <a:lnTo>
                  <a:pt x="1381" y="1303"/>
                </a:lnTo>
                <a:lnTo>
                  <a:pt x="1384" y="1305"/>
                </a:lnTo>
                <a:lnTo>
                  <a:pt x="1386" y="1309"/>
                </a:lnTo>
                <a:lnTo>
                  <a:pt x="1388" y="1313"/>
                </a:lnTo>
                <a:lnTo>
                  <a:pt x="1383" y="1316"/>
                </a:lnTo>
                <a:lnTo>
                  <a:pt x="1379" y="1318"/>
                </a:lnTo>
                <a:lnTo>
                  <a:pt x="1374" y="1318"/>
                </a:lnTo>
                <a:lnTo>
                  <a:pt x="1369" y="1316"/>
                </a:lnTo>
                <a:close/>
                <a:moveTo>
                  <a:pt x="1349" y="1184"/>
                </a:moveTo>
                <a:lnTo>
                  <a:pt x="1354" y="1180"/>
                </a:lnTo>
                <a:lnTo>
                  <a:pt x="1360" y="1177"/>
                </a:lnTo>
                <a:lnTo>
                  <a:pt x="1366" y="1177"/>
                </a:lnTo>
                <a:lnTo>
                  <a:pt x="1372" y="1177"/>
                </a:lnTo>
                <a:lnTo>
                  <a:pt x="1367" y="1181"/>
                </a:lnTo>
                <a:lnTo>
                  <a:pt x="1362" y="1185"/>
                </a:lnTo>
                <a:lnTo>
                  <a:pt x="1359" y="1186"/>
                </a:lnTo>
                <a:lnTo>
                  <a:pt x="1356" y="1186"/>
                </a:lnTo>
                <a:lnTo>
                  <a:pt x="1353" y="1185"/>
                </a:lnTo>
                <a:lnTo>
                  <a:pt x="1349" y="1184"/>
                </a:lnTo>
                <a:close/>
                <a:moveTo>
                  <a:pt x="1360" y="1351"/>
                </a:moveTo>
                <a:lnTo>
                  <a:pt x="1353" y="1354"/>
                </a:lnTo>
                <a:lnTo>
                  <a:pt x="1347" y="1355"/>
                </a:lnTo>
                <a:lnTo>
                  <a:pt x="1345" y="1354"/>
                </a:lnTo>
                <a:lnTo>
                  <a:pt x="1342" y="1352"/>
                </a:lnTo>
                <a:lnTo>
                  <a:pt x="1343" y="1348"/>
                </a:lnTo>
                <a:lnTo>
                  <a:pt x="1346" y="1345"/>
                </a:lnTo>
                <a:lnTo>
                  <a:pt x="1348" y="1341"/>
                </a:lnTo>
                <a:lnTo>
                  <a:pt x="1353" y="1340"/>
                </a:lnTo>
                <a:lnTo>
                  <a:pt x="1358" y="1340"/>
                </a:lnTo>
                <a:lnTo>
                  <a:pt x="1361" y="1340"/>
                </a:lnTo>
                <a:lnTo>
                  <a:pt x="1362" y="1342"/>
                </a:lnTo>
                <a:lnTo>
                  <a:pt x="1363" y="1346"/>
                </a:lnTo>
                <a:lnTo>
                  <a:pt x="1362" y="1348"/>
                </a:lnTo>
                <a:lnTo>
                  <a:pt x="1360" y="1351"/>
                </a:lnTo>
                <a:close/>
                <a:moveTo>
                  <a:pt x="1336" y="1185"/>
                </a:moveTo>
                <a:lnTo>
                  <a:pt x="1333" y="1181"/>
                </a:lnTo>
                <a:lnTo>
                  <a:pt x="1331" y="1178"/>
                </a:lnTo>
                <a:lnTo>
                  <a:pt x="1332" y="1174"/>
                </a:lnTo>
                <a:lnTo>
                  <a:pt x="1334" y="1171"/>
                </a:lnTo>
                <a:lnTo>
                  <a:pt x="1338" y="1168"/>
                </a:lnTo>
                <a:lnTo>
                  <a:pt x="1341" y="1167"/>
                </a:lnTo>
                <a:lnTo>
                  <a:pt x="1345" y="1170"/>
                </a:lnTo>
                <a:lnTo>
                  <a:pt x="1349" y="1173"/>
                </a:lnTo>
                <a:lnTo>
                  <a:pt x="1343" y="1179"/>
                </a:lnTo>
                <a:lnTo>
                  <a:pt x="1336" y="1185"/>
                </a:lnTo>
                <a:close/>
                <a:moveTo>
                  <a:pt x="1318" y="1046"/>
                </a:moveTo>
                <a:lnTo>
                  <a:pt x="1317" y="1045"/>
                </a:lnTo>
                <a:lnTo>
                  <a:pt x="1314" y="1044"/>
                </a:lnTo>
                <a:lnTo>
                  <a:pt x="1315" y="1041"/>
                </a:lnTo>
                <a:lnTo>
                  <a:pt x="1318" y="1040"/>
                </a:lnTo>
                <a:lnTo>
                  <a:pt x="1321" y="1039"/>
                </a:lnTo>
                <a:lnTo>
                  <a:pt x="1322" y="1038"/>
                </a:lnTo>
                <a:lnTo>
                  <a:pt x="1325" y="1035"/>
                </a:lnTo>
                <a:lnTo>
                  <a:pt x="1325" y="1033"/>
                </a:lnTo>
                <a:lnTo>
                  <a:pt x="1327" y="1031"/>
                </a:lnTo>
                <a:lnTo>
                  <a:pt x="1329" y="1028"/>
                </a:lnTo>
                <a:lnTo>
                  <a:pt x="1332" y="1031"/>
                </a:lnTo>
                <a:lnTo>
                  <a:pt x="1332" y="1034"/>
                </a:lnTo>
                <a:lnTo>
                  <a:pt x="1331" y="1039"/>
                </a:lnTo>
                <a:lnTo>
                  <a:pt x="1328" y="1044"/>
                </a:lnTo>
                <a:lnTo>
                  <a:pt x="1324" y="1046"/>
                </a:lnTo>
                <a:lnTo>
                  <a:pt x="1318" y="1046"/>
                </a:lnTo>
                <a:close/>
                <a:moveTo>
                  <a:pt x="1315" y="1124"/>
                </a:moveTo>
                <a:lnTo>
                  <a:pt x="1320" y="1126"/>
                </a:lnTo>
                <a:lnTo>
                  <a:pt x="1324" y="1128"/>
                </a:lnTo>
                <a:lnTo>
                  <a:pt x="1324" y="1130"/>
                </a:lnTo>
                <a:lnTo>
                  <a:pt x="1324" y="1131"/>
                </a:lnTo>
                <a:lnTo>
                  <a:pt x="1319" y="1130"/>
                </a:lnTo>
                <a:lnTo>
                  <a:pt x="1315" y="1129"/>
                </a:lnTo>
                <a:lnTo>
                  <a:pt x="1315" y="1128"/>
                </a:lnTo>
                <a:lnTo>
                  <a:pt x="1315" y="1124"/>
                </a:lnTo>
                <a:close/>
                <a:moveTo>
                  <a:pt x="1321" y="1145"/>
                </a:moveTo>
                <a:lnTo>
                  <a:pt x="1315" y="1144"/>
                </a:lnTo>
                <a:lnTo>
                  <a:pt x="1310" y="1142"/>
                </a:lnTo>
                <a:lnTo>
                  <a:pt x="1310" y="1138"/>
                </a:lnTo>
                <a:lnTo>
                  <a:pt x="1311" y="1135"/>
                </a:lnTo>
                <a:lnTo>
                  <a:pt x="1312" y="1135"/>
                </a:lnTo>
                <a:lnTo>
                  <a:pt x="1313" y="1136"/>
                </a:lnTo>
                <a:lnTo>
                  <a:pt x="1317" y="1136"/>
                </a:lnTo>
                <a:lnTo>
                  <a:pt x="1320" y="1137"/>
                </a:lnTo>
                <a:lnTo>
                  <a:pt x="1324" y="1139"/>
                </a:lnTo>
                <a:lnTo>
                  <a:pt x="1325" y="1140"/>
                </a:lnTo>
                <a:lnTo>
                  <a:pt x="1324" y="1144"/>
                </a:lnTo>
                <a:lnTo>
                  <a:pt x="1321" y="1145"/>
                </a:lnTo>
                <a:close/>
                <a:moveTo>
                  <a:pt x="1305" y="1195"/>
                </a:moveTo>
                <a:lnTo>
                  <a:pt x="1305" y="1193"/>
                </a:lnTo>
                <a:lnTo>
                  <a:pt x="1305" y="1192"/>
                </a:lnTo>
                <a:lnTo>
                  <a:pt x="1308" y="1191"/>
                </a:lnTo>
                <a:lnTo>
                  <a:pt x="1312" y="1191"/>
                </a:lnTo>
                <a:lnTo>
                  <a:pt x="1312" y="1192"/>
                </a:lnTo>
                <a:lnTo>
                  <a:pt x="1313" y="1193"/>
                </a:lnTo>
                <a:lnTo>
                  <a:pt x="1310" y="1194"/>
                </a:lnTo>
                <a:lnTo>
                  <a:pt x="1305" y="1195"/>
                </a:lnTo>
                <a:close/>
                <a:moveTo>
                  <a:pt x="1296" y="1316"/>
                </a:moveTo>
                <a:lnTo>
                  <a:pt x="1305" y="1317"/>
                </a:lnTo>
                <a:lnTo>
                  <a:pt x="1313" y="1318"/>
                </a:lnTo>
                <a:lnTo>
                  <a:pt x="1308" y="1321"/>
                </a:lnTo>
                <a:lnTo>
                  <a:pt x="1304" y="1321"/>
                </a:lnTo>
                <a:lnTo>
                  <a:pt x="1299" y="1319"/>
                </a:lnTo>
                <a:lnTo>
                  <a:pt x="1296" y="1316"/>
                </a:lnTo>
                <a:close/>
                <a:moveTo>
                  <a:pt x="900" y="1219"/>
                </a:moveTo>
                <a:lnTo>
                  <a:pt x="900" y="1219"/>
                </a:lnTo>
                <a:lnTo>
                  <a:pt x="900" y="1219"/>
                </a:lnTo>
                <a:lnTo>
                  <a:pt x="910" y="1219"/>
                </a:lnTo>
                <a:lnTo>
                  <a:pt x="920" y="1217"/>
                </a:lnTo>
                <a:lnTo>
                  <a:pt x="928" y="1216"/>
                </a:lnTo>
                <a:lnTo>
                  <a:pt x="937" y="1215"/>
                </a:lnTo>
                <a:lnTo>
                  <a:pt x="953" y="1221"/>
                </a:lnTo>
                <a:lnTo>
                  <a:pt x="970" y="1227"/>
                </a:lnTo>
                <a:lnTo>
                  <a:pt x="988" y="1233"/>
                </a:lnTo>
                <a:lnTo>
                  <a:pt x="1006" y="1238"/>
                </a:lnTo>
                <a:lnTo>
                  <a:pt x="1010" y="1240"/>
                </a:lnTo>
                <a:lnTo>
                  <a:pt x="1015" y="1242"/>
                </a:lnTo>
                <a:lnTo>
                  <a:pt x="987" y="1236"/>
                </a:lnTo>
                <a:lnTo>
                  <a:pt x="958" y="1230"/>
                </a:lnTo>
                <a:lnTo>
                  <a:pt x="930" y="1224"/>
                </a:lnTo>
                <a:lnTo>
                  <a:pt x="900" y="1219"/>
                </a:lnTo>
                <a:close/>
                <a:moveTo>
                  <a:pt x="893" y="1222"/>
                </a:moveTo>
                <a:lnTo>
                  <a:pt x="886" y="1223"/>
                </a:lnTo>
                <a:lnTo>
                  <a:pt x="879" y="1223"/>
                </a:lnTo>
                <a:lnTo>
                  <a:pt x="882" y="1217"/>
                </a:lnTo>
                <a:lnTo>
                  <a:pt x="883" y="1214"/>
                </a:lnTo>
                <a:lnTo>
                  <a:pt x="885" y="1215"/>
                </a:lnTo>
                <a:lnTo>
                  <a:pt x="886" y="1215"/>
                </a:lnTo>
                <a:lnTo>
                  <a:pt x="893" y="1217"/>
                </a:lnTo>
                <a:lnTo>
                  <a:pt x="899" y="1219"/>
                </a:lnTo>
                <a:lnTo>
                  <a:pt x="896" y="1220"/>
                </a:lnTo>
                <a:lnTo>
                  <a:pt x="893" y="1222"/>
                </a:lnTo>
                <a:close/>
                <a:moveTo>
                  <a:pt x="875" y="1096"/>
                </a:moveTo>
                <a:lnTo>
                  <a:pt x="877" y="1093"/>
                </a:lnTo>
                <a:lnTo>
                  <a:pt x="879" y="1090"/>
                </a:lnTo>
                <a:lnTo>
                  <a:pt x="884" y="1089"/>
                </a:lnTo>
                <a:lnTo>
                  <a:pt x="889" y="1089"/>
                </a:lnTo>
                <a:lnTo>
                  <a:pt x="893" y="1089"/>
                </a:lnTo>
                <a:lnTo>
                  <a:pt x="898" y="1090"/>
                </a:lnTo>
                <a:lnTo>
                  <a:pt x="886" y="1094"/>
                </a:lnTo>
                <a:lnTo>
                  <a:pt x="876" y="1096"/>
                </a:lnTo>
                <a:lnTo>
                  <a:pt x="875" y="1096"/>
                </a:lnTo>
                <a:lnTo>
                  <a:pt x="875" y="1096"/>
                </a:lnTo>
                <a:close/>
                <a:moveTo>
                  <a:pt x="933" y="1081"/>
                </a:moveTo>
                <a:lnTo>
                  <a:pt x="928" y="1082"/>
                </a:lnTo>
                <a:lnTo>
                  <a:pt x="926" y="1082"/>
                </a:lnTo>
                <a:lnTo>
                  <a:pt x="924" y="1077"/>
                </a:lnTo>
                <a:lnTo>
                  <a:pt x="923" y="1074"/>
                </a:lnTo>
                <a:lnTo>
                  <a:pt x="927" y="1069"/>
                </a:lnTo>
                <a:lnTo>
                  <a:pt x="933" y="1065"/>
                </a:lnTo>
                <a:lnTo>
                  <a:pt x="934" y="1068"/>
                </a:lnTo>
                <a:lnTo>
                  <a:pt x="935" y="1070"/>
                </a:lnTo>
                <a:lnTo>
                  <a:pt x="934" y="1072"/>
                </a:lnTo>
                <a:lnTo>
                  <a:pt x="933" y="1073"/>
                </a:lnTo>
                <a:lnTo>
                  <a:pt x="930" y="1074"/>
                </a:lnTo>
                <a:lnTo>
                  <a:pt x="925" y="1074"/>
                </a:lnTo>
                <a:lnTo>
                  <a:pt x="930" y="1077"/>
                </a:lnTo>
                <a:lnTo>
                  <a:pt x="933" y="1081"/>
                </a:lnTo>
                <a:close/>
                <a:moveTo>
                  <a:pt x="839" y="1229"/>
                </a:moveTo>
                <a:lnTo>
                  <a:pt x="835" y="1226"/>
                </a:lnTo>
                <a:lnTo>
                  <a:pt x="829" y="1220"/>
                </a:lnTo>
                <a:lnTo>
                  <a:pt x="836" y="1221"/>
                </a:lnTo>
                <a:lnTo>
                  <a:pt x="839" y="1223"/>
                </a:lnTo>
                <a:lnTo>
                  <a:pt x="841" y="1226"/>
                </a:lnTo>
                <a:lnTo>
                  <a:pt x="839" y="1229"/>
                </a:lnTo>
                <a:close/>
                <a:moveTo>
                  <a:pt x="816" y="1034"/>
                </a:moveTo>
                <a:lnTo>
                  <a:pt x="813" y="1037"/>
                </a:lnTo>
                <a:lnTo>
                  <a:pt x="810" y="1039"/>
                </a:lnTo>
                <a:lnTo>
                  <a:pt x="810" y="1038"/>
                </a:lnTo>
                <a:lnTo>
                  <a:pt x="811" y="1035"/>
                </a:lnTo>
                <a:lnTo>
                  <a:pt x="813" y="1034"/>
                </a:lnTo>
                <a:lnTo>
                  <a:pt x="813" y="1032"/>
                </a:lnTo>
                <a:lnTo>
                  <a:pt x="815" y="1030"/>
                </a:lnTo>
                <a:lnTo>
                  <a:pt x="817" y="1027"/>
                </a:lnTo>
                <a:lnTo>
                  <a:pt x="818" y="1027"/>
                </a:lnTo>
                <a:lnTo>
                  <a:pt x="820" y="1028"/>
                </a:lnTo>
                <a:lnTo>
                  <a:pt x="820" y="1028"/>
                </a:lnTo>
                <a:lnTo>
                  <a:pt x="820" y="1028"/>
                </a:lnTo>
                <a:lnTo>
                  <a:pt x="816" y="1032"/>
                </a:lnTo>
                <a:lnTo>
                  <a:pt x="816" y="1034"/>
                </a:lnTo>
                <a:close/>
                <a:moveTo>
                  <a:pt x="801" y="1024"/>
                </a:moveTo>
                <a:lnTo>
                  <a:pt x="796" y="1026"/>
                </a:lnTo>
                <a:lnTo>
                  <a:pt x="793" y="1028"/>
                </a:lnTo>
                <a:lnTo>
                  <a:pt x="775" y="1040"/>
                </a:lnTo>
                <a:lnTo>
                  <a:pt x="758" y="1051"/>
                </a:lnTo>
                <a:lnTo>
                  <a:pt x="753" y="1054"/>
                </a:lnTo>
                <a:lnTo>
                  <a:pt x="747" y="1055"/>
                </a:lnTo>
                <a:lnTo>
                  <a:pt x="745" y="1055"/>
                </a:lnTo>
                <a:lnTo>
                  <a:pt x="742" y="1056"/>
                </a:lnTo>
                <a:lnTo>
                  <a:pt x="740" y="1058"/>
                </a:lnTo>
                <a:lnTo>
                  <a:pt x="740" y="1061"/>
                </a:lnTo>
                <a:lnTo>
                  <a:pt x="737" y="1063"/>
                </a:lnTo>
                <a:lnTo>
                  <a:pt x="731" y="1066"/>
                </a:lnTo>
                <a:lnTo>
                  <a:pt x="725" y="1067"/>
                </a:lnTo>
                <a:lnTo>
                  <a:pt x="718" y="1069"/>
                </a:lnTo>
                <a:lnTo>
                  <a:pt x="724" y="1063"/>
                </a:lnTo>
                <a:lnTo>
                  <a:pt x="731" y="1060"/>
                </a:lnTo>
                <a:lnTo>
                  <a:pt x="734" y="1058"/>
                </a:lnTo>
                <a:lnTo>
                  <a:pt x="737" y="1055"/>
                </a:lnTo>
                <a:lnTo>
                  <a:pt x="739" y="1052"/>
                </a:lnTo>
                <a:lnTo>
                  <a:pt x="740" y="1047"/>
                </a:lnTo>
                <a:lnTo>
                  <a:pt x="730" y="1047"/>
                </a:lnTo>
                <a:lnTo>
                  <a:pt x="718" y="1047"/>
                </a:lnTo>
                <a:lnTo>
                  <a:pt x="717" y="1045"/>
                </a:lnTo>
                <a:lnTo>
                  <a:pt x="717" y="1044"/>
                </a:lnTo>
                <a:lnTo>
                  <a:pt x="726" y="1042"/>
                </a:lnTo>
                <a:lnTo>
                  <a:pt x="734" y="1040"/>
                </a:lnTo>
                <a:lnTo>
                  <a:pt x="733" y="1039"/>
                </a:lnTo>
                <a:lnTo>
                  <a:pt x="730" y="1038"/>
                </a:lnTo>
                <a:lnTo>
                  <a:pt x="741" y="1030"/>
                </a:lnTo>
                <a:lnTo>
                  <a:pt x="752" y="1021"/>
                </a:lnTo>
                <a:lnTo>
                  <a:pt x="751" y="1020"/>
                </a:lnTo>
                <a:lnTo>
                  <a:pt x="751" y="1020"/>
                </a:lnTo>
                <a:lnTo>
                  <a:pt x="747" y="1021"/>
                </a:lnTo>
                <a:lnTo>
                  <a:pt x="742" y="1023"/>
                </a:lnTo>
                <a:lnTo>
                  <a:pt x="742" y="1023"/>
                </a:lnTo>
                <a:lnTo>
                  <a:pt x="741" y="1021"/>
                </a:lnTo>
                <a:lnTo>
                  <a:pt x="749" y="1016"/>
                </a:lnTo>
                <a:lnTo>
                  <a:pt x="756" y="1011"/>
                </a:lnTo>
                <a:lnTo>
                  <a:pt x="765" y="1004"/>
                </a:lnTo>
                <a:lnTo>
                  <a:pt x="773" y="998"/>
                </a:lnTo>
                <a:lnTo>
                  <a:pt x="780" y="990"/>
                </a:lnTo>
                <a:lnTo>
                  <a:pt x="787" y="982"/>
                </a:lnTo>
                <a:lnTo>
                  <a:pt x="796" y="971"/>
                </a:lnTo>
                <a:lnTo>
                  <a:pt x="807" y="962"/>
                </a:lnTo>
                <a:lnTo>
                  <a:pt x="810" y="958"/>
                </a:lnTo>
                <a:lnTo>
                  <a:pt x="813" y="955"/>
                </a:lnTo>
                <a:lnTo>
                  <a:pt x="820" y="949"/>
                </a:lnTo>
                <a:lnTo>
                  <a:pt x="827" y="946"/>
                </a:lnTo>
                <a:lnTo>
                  <a:pt x="830" y="944"/>
                </a:lnTo>
                <a:lnTo>
                  <a:pt x="835" y="943"/>
                </a:lnTo>
                <a:lnTo>
                  <a:pt x="837" y="943"/>
                </a:lnTo>
                <a:lnTo>
                  <a:pt x="839" y="943"/>
                </a:lnTo>
                <a:lnTo>
                  <a:pt x="842" y="944"/>
                </a:lnTo>
                <a:lnTo>
                  <a:pt x="844" y="947"/>
                </a:lnTo>
                <a:lnTo>
                  <a:pt x="847" y="947"/>
                </a:lnTo>
                <a:lnTo>
                  <a:pt x="850" y="946"/>
                </a:lnTo>
                <a:lnTo>
                  <a:pt x="854" y="944"/>
                </a:lnTo>
                <a:lnTo>
                  <a:pt x="858" y="943"/>
                </a:lnTo>
                <a:lnTo>
                  <a:pt x="858" y="944"/>
                </a:lnTo>
                <a:lnTo>
                  <a:pt x="859" y="946"/>
                </a:lnTo>
                <a:lnTo>
                  <a:pt x="855" y="954"/>
                </a:lnTo>
                <a:lnTo>
                  <a:pt x="849" y="962"/>
                </a:lnTo>
                <a:lnTo>
                  <a:pt x="838" y="975"/>
                </a:lnTo>
                <a:lnTo>
                  <a:pt x="828" y="988"/>
                </a:lnTo>
                <a:lnTo>
                  <a:pt x="821" y="998"/>
                </a:lnTo>
                <a:lnTo>
                  <a:pt x="815" y="1009"/>
                </a:lnTo>
                <a:lnTo>
                  <a:pt x="814" y="1011"/>
                </a:lnTo>
                <a:lnTo>
                  <a:pt x="813" y="1012"/>
                </a:lnTo>
                <a:lnTo>
                  <a:pt x="810" y="1013"/>
                </a:lnTo>
                <a:lnTo>
                  <a:pt x="808" y="1014"/>
                </a:lnTo>
                <a:lnTo>
                  <a:pt x="804" y="1019"/>
                </a:lnTo>
                <a:lnTo>
                  <a:pt x="801" y="1024"/>
                </a:lnTo>
                <a:close/>
                <a:moveTo>
                  <a:pt x="779" y="1243"/>
                </a:moveTo>
                <a:lnTo>
                  <a:pt x="779" y="1242"/>
                </a:lnTo>
                <a:lnTo>
                  <a:pt x="779" y="1241"/>
                </a:lnTo>
                <a:lnTo>
                  <a:pt x="782" y="1241"/>
                </a:lnTo>
                <a:lnTo>
                  <a:pt x="786" y="1241"/>
                </a:lnTo>
                <a:lnTo>
                  <a:pt x="789" y="1242"/>
                </a:lnTo>
                <a:lnTo>
                  <a:pt x="793" y="1242"/>
                </a:lnTo>
                <a:lnTo>
                  <a:pt x="793" y="1243"/>
                </a:lnTo>
                <a:lnTo>
                  <a:pt x="793" y="1244"/>
                </a:lnTo>
                <a:lnTo>
                  <a:pt x="786" y="1243"/>
                </a:lnTo>
                <a:lnTo>
                  <a:pt x="779" y="1243"/>
                </a:lnTo>
                <a:close/>
                <a:moveTo>
                  <a:pt x="767" y="1241"/>
                </a:moveTo>
                <a:lnTo>
                  <a:pt x="754" y="1240"/>
                </a:lnTo>
                <a:lnTo>
                  <a:pt x="742" y="1237"/>
                </a:lnTo>
                <a:lnTo>
                  <a:pt x="742" y="1236"/>
                </a:lnTo>
                <a:lnTo>
                  <a:pt x="742" y="1235"/>
                </a:lnTo>
                <a:lnTo>
                  <a:pt x="755" y="1235"/>
                </a:lnTo>
                <a:lnTo>
                  <a:pt x="769" y="1236"/>
                </a:lnTo>
                <a:lnTo>
                  <a:pt x="768" y="1238"/>
                </a:lnTo>
                <a:lnTo>
                  <a:pt x="767" y="1241"/>
                </a:lnTo>
                <a:close/>
                <a:moveTo>
                  <a:pt x="741" y="1109"/>
                </a:moveTo>
                <a:lnTo>
                  <a:pt x="742" y="1109"/>
                </a:lnTo>
                <a:lnTo>
                  <a:pt x="744" y="1108"/>
                </a:lnTo>
                <a:lnTo>
                  <a:pt x="742" y="1109"/>
                </a:lnTo>
                <a:lnTo>
                  <a:pt x="741" y="1110"/>
                </a:lnTo>
                <a:lnTo>
                  <a:pt x="741" y="1110"/>
                </a:lnTo>
                <a:lnTo>
                  <a:pt x="741" y="1109"/>
                </a:lnTo>
                <a:close/>
                <a:moveTo>
                  <a:pt x="868" y="939"/>
                </a:moveTo>
                <a:lnTo>
                  <a:pt x="868" y="940"/>
                </a:lnTo>
                <a:lnTo>
                  <a:pt x="868" y="941"/>
                </a:lnTo>
                <a:lnTo>
                  <a:pt x="864" y="940"/>
                </a:lnTo>
                <a:lnTo>
                  <a:pt x="859" y="940"/>
                </a:lnTo>
                <a:lnTo>
                  <a:pt x="861" y="936"/>
                </a:lnTo>
                <a:lnTo>
                  <a:pt x="862" y="935"/>
                </a:lnTo>
                <a:lnTo>
                  <a:pt x="852" y="933"/>
                </a:lnTo>
                <a:lnTo>
                  <a:pt x="843" y="930"/>
                </a:lnTo>
                <a:lnTo>
                  <a:pt x="843" y="929"/>
                </a:lnTo>
                <a:lnTo>
                  <a:pt x="843" y="928"/>
                </a:lnTo>
                <a:lnTo>
                  <a:pt x="851" y="923"/>
                </a:lnTo>
                <a:lnTo>
                  <a:pt x="858" y="918"/>
                </a:lnTo>
                <a:lnTo>
                  <a:pt x="858" y="918"/>
                </a:lnTo>
                <a:lnTo>
                  <a:pt x="858" y="916"/>
                </a:lnTo>
                <a:lnTo>
                  <a:pt x="855" y="918"/>
                </a:lnTo>
                <a:lnTo>
                  <a:pt x="851" y="919"/>
                </a:lnTo>
                <a:lnTo>
                  <a:pt x="857" y="912"/>
                </a:lnTo>
                <a:lnTo>
                  <a:pt x="863" y="906"/>
                </a:lnTo>
                <a:lnTo>
                  <a:pt x="870" y="901"/>
                </a:lnTo>
                <a:lnTo>
                  <a:pt x="878" y="899"/>
                </a:lnTo>
                <a:lnTo>
                  <a:pt x="882" y="898"/>
                </a:lnTo>
                <a:lnTo>
                  <a:pt x="883" y="898"/>
                </a:lnTo>
                <a:lnTo>
                  <a:pt x="885" y="899"/>
                </a:lnTo>
                <a:lnTo>
                  <a:pt x="887" y="901"/>
                </a:lnTo>
                <a:lnTo>
                  <a:pt x="890" y="905"/>
                </a:lnTo>
                <a:lnTo>
                  <a:pt x="892" y="908"/>
                </a:lnTo>
                <a:lnTo>
                  <a:pt x="893" y="912"/>
                </a:lnTo>
                <a:lnTo>
                  <a:pt x="892" y="915"/>
                </a:lnTo>
                <a:lnTo>
                  <a:pt x="886" y="922"/>
                </a:lnTo>
                <a:lnTo>
                  <a:pt x="879" y="928"/>
                </a:lnTo>
                <a:lnTo>
                  <a:pt x="872" y="933"/>
                </a:lnTo>
                <a:lnTo>
                  <a:pt x="865" y="936"/>
                </a:lnTo>
                <a:lnTo>
                  <a:pt x="866" y="937"/>
                </a:lnTo>
                <a:lnTo>
                  <a:pt x="868" y="939"/>
                </a:lnTo>
                <a:close/>
                <a:moveTo>
                  <a:pt x="714" y="962"/>
                </a:moveTo>
                <a:lnTo>
                  <a:pt x="717" y="961"/>
                </a:lnTo>
                <a:lnTo>
                  <a:pt x="719" y="958"/>
                </a:lnTo>
                <a:lnTo>
                  <a:pt x="723" y="957"/>
                </a:lnTo>
                <a:lnTo>
                  <a:pt x="724" y="955"/>
                </a:lnTo>
                <a:lnTo>
                  <a:pt x="724" y="953"/>
                </a:lnTo>
                <a:lnTo>
                  <a:pt x="721" y="950"/>
                </a:lnTo>
                <a:lnTo>
                  <a:pt x="720" y="948"/>
                </a:lnTo>
                <a:lnTo>
                  <a:pt x="720" y="944"/>
                </a:lnTo>
                <a:lnTo>
                  <a:pt x="720" y="942"/>
                </a:lnTo>
                <a:lnTo>
                  <a:pt x="724" y="940"/>
                </a:lnTo>
                <a:lnTo>
                  <a:pt x="726" y="936"/>
                </a:lnTo>
                <a:lnTo>
                  <a:pt x="728" y="933"/>
                </a:lnTo>
                <a:lnTo>
                  <a:pt x="731" y="934"/>
                </a:lnTo>
                <a:lnTo>
                  <a:pt x="733" y="936"/>
                </a:lnTo>
                <a:lnTo>
                  <a:pt x="734" y="930"/>
                </a:lnTo>
                <a:lnTo>
                  <a:pt x="735" y="925"/>
                </a:lnTo>
                <a:lnTo>
                  <a:pt x="740" y="923"/>
                </a:lnTo>
                <a:lnTo>
                  <a:pt x="745" y="921"/>
                </a:lnTo>
                <a:lnTo>
                  <a:pt x="748" y="919"/>
                </a:lnTo>
                <a:lnTo>
                  <a:pt x="751" y="916"/>
                </a:lnTo>
                <a:lnTo>
                  <a:pt x="753" y="913"/>
                </a:lnTo>
                <a:lnTo>
                  <a:pt x="754" y="909"/>
                </a:lnTo>
                <a:lnTo>
                  <a:pt x="754" y="905"/>
                </a:lnTo>
                <a:lnTo>
                  <a:pt x="753" y="901"/>
                </a:lnTo>
                <a:lnTo>
                  <a:pt x="758" y="904"/>
                </a:lnTo>
                <a:lnTo>
                  <a:pt x="763" y="906"/>
                </a:lnTo>
                <a:lnTo>
                  <a:pt x="763" y="900"/>
                </a:lnTo>
                <a:lnTo>
                  <a:pt x="765" y="895"/>
                </a:lnTo>
                <a:lnTo>
                  <a:pt x="765" y="892"/>
                </a:lnTo>
                <a:lnTo>
                  <a:pt x="766" y="890"/>
                </a:lnTo>
                <a:lnTo>
                  <a:pt x="769" y="888"/>
                </a:lnTo>
                <a:lnTo>
                  <a:pt x="773" y="890"/>
                </a:lnTo>
                <a:lnTo>
                  <a:pt x="771" y="892"/>
                </a:lnTo>
                <a:lnTo>
                  <a:pt x="768" y="894"/>
                </a:lnTo>
                <a:lnTo>
                  <a:pt x="773" y="898"/>
                </a:lnTo>
                <a:lnTo>
                  <a:pt x="778" y="901"/>
                </a:lnTo>
                <a:lnTo>
                  <a:pt x="775" y="892"/>
                </a:lnTo>
                <a:lnTo>
                  <a:pt x="774" y="883"/>
                </a:lnTo>
                <a:lnTo>
                  <a:pt x="773" y="883"/>
                </a:lnTo>
                <a:lnTo>
                  <a:pt x="772" y="883"/>
                </a:lnTo>
                <a:lnTo>
                  <a:pt x="775" y="880"/>
                </a:lnTo>
                <a:lnTo>
                  <a:pt x="779" y="879"/>
                </a:lnTo>
                <a:lnTo>
                  <a:pt x="783" y="876"/>
                </a:lnTo>
                <a:lnTo>
                  <a:pt x="787" y="873"/>
                </a:lnTo>
                <a:lnTo>
                  <a:pt x="785" y="870"/>
                </a:lnTo>
                <a:lnTo>
                  <a:pt x="781" y="866"/>
                </a:lnTo>
                <a:lnTo>
                  <a:pt x="786" y="864"/>
                </a:lnTo>
                <a:lnTo>
                  <a:pt x="790" y="863"/>
                </a:lnTo>
                <a:lnTo>
                  <a:pt x="786" y="859"/>
                </a:lnTo>
                <a:lnTo>
                  <a:pt x="781" y="857"/>
                </a:lnTo>
                <a:lnTo>
                  <a:pt x="786" y="857"/>
                </a:lnTo>
                <a:lnTo>
                  <a:pt x="787" y="856"/>
                </a:lnTo>
                <a:lnTo>
                  <a:pt x="792" y="856"/>
                </a:lnTo>
                <a:lnTo>
                  <a:pt x="794" y="856"/>
                </a:lnTo>
                <a:lnTo>
                  <a:pt x="797" y="853"/>
                </a:lnTo>
                <a:lnTo>
                  <a:pt x="799" y="850"/>
                </a:lnTo>
                <a:lnTo>
                  <a:pt x="802" y="845"/>
                </a:lnTo>
                <a:lnTo>
                  <a:pt x="806" y="843"/>
                </a:lnTo>
                <a:lnTo>
                  <a:pt x="808" y="844"/>
                </a:lnTo>
                <a:lnTo>
                  <a:pt x="813" y="849"/>
                </a:lnTo>
                <a:lnTo>
                  <a:pt x="814" y="850"/>
                </a:lnTo>
                <a:lnTo>
                  <a:pt x="816" y="851"/>
                </a:lnTo>
                <a:lnTo>
                  <a:pt x="816" y="849"/>
                </a:lnTo>
                <a:lnTo>
                  <a:pt x="816" y="848"/>
                </a:lnTo>
                <a:lnTo>
                  <a:pt x="814" y="844"/>
                </a:lnTo>
                <a:lnTo>
                  <a:pt x="813" y="842"/>
                </a:lnTo>
                <a:lnTo>
                  <a:pt x="816" y="839"/>
                </a:lnTo>
                <a:lnTo>
                  <a:pt x="820" y="838"/>
                </a:lnTo>
                <a:lnTo>
                  <a:pt x="824" y="836"/>
                </a:lnTo>
                <a:lnTo>
                  <a:pt x="829" y="834"/>
                </a:lnTo>
                <a:lnTo>
                  <a:pt x="831" y="831"/>
                </a:lnTo>
                <a:lnTo>
                  <a:pt x="832" y="829"/>
                </a:lnTo>
                <a:lnTo>
                  <a:pt x="831" y="827"/>
                </a:lnTo>
                <a:lnTo>
                  <a:pt x="829" y="823"/>
                </a:lnTo>
                <a:lnTo>
                  <a:pt x="823" y="816"/>
                </a:lnTo>
                <a:lnTo>
                  <a:pt x="817" y="808"/>
                </a:lnTo>
                <a:lnTo>
                  <a:pt x="818" y="807"/>
                </a:lnTo>
                <a:lnTo>
                  <a:pt x="820" y="806"/>
                </a:lnTo>
                <a:lnTo>
                  <a:pt x="822" y="808"/>
                </a:lnTo>
                <a:lnTo>
                  <a:pt x="824" y="811"/>
                </a:lnTo>
                <a:lnTo>
                  <a:pt x="828" y="814"/>
                </a:lnTo>
                <a:lnTo>
                  <a:pt x="831" y="816"/>
                </a:lnTo>
                <a:lnTo>
                  <a:pt x="834" y="814"/>
                </a:lnTo>
                <a:lnTo>
                  <a:pt x="836" y="810"/>
                </a:lnTo>
                <a:lnTo>
                  <a:pt x="839" y="808"/>
                </a:lnTo>
                <a:lnTo>
                  <a:pt x="843" y="804"/>
                </a:lnTo>
                <a:lnTo>
                  <a:pt x="849" y="800"/>
                </a:lnTo>
                <a:lnTo>
                  <a:pt x="852" y="794"/>
                </a:lnTo>
                <a:lnTo>
                  <a:pt x="855" y="787"/>
                </a:lnTo>
                <a:lnTo>
                  <a:pt x="857" y="780"/>
                </a:lnTo>
                <a:lnTo>
                  <a:pt x="858" y="778"/>
                </a:lnTo>
                <a:lnTo>
                  <a:pt x="861" y="775"/>
                </a:lnTo>
                <a:lnTo>
                  <a:pt x="862" y="774"/>
                </a:lnTo>
                <a:lnTo>
                  <a:pt x="865" y="773"/>
                </a:lnTo>
                <a:lnTo>
                  <a:pt x="868" y="772"/>
                </a:lnTo>
                <a:lnTo>
                  <a:pt x="870" y="769"/>
                </a:lnTo>
                <a:lnTo>
                  <a:pt x="866" y="768"/>
                </a:lnTo>
                <a:lnTo>
                  <a:pt x="863" y="767"/>
                </a:lnTo>
                <a:lnTo>
                  <a:pt x="865" y="764"/>
                </a:lnTo>
                <a:lnTo>
                  <a:pt x="869" y="761"/>
                </a:lnTo>
                <a:lnTo>
                  <a:pt x="871" y="759"/>
                </a:lnTo>
                <a:lnTo>
                  <a:pt x="872" y="757"/>
                </a:lnTo>
                <a:lnTo>
                  <a:pt x="875" y="752"/>
                </a:lnTo>
                <a:lnTo>
                  <a:pt x="876" y="747"/>
                </a:lnTo>
                <a:lnTo>
                  <a:pt x="879" y="754"/>
                </a:lnTo>
                <a:lnTo>
                  <a:pt x="882" y="760"/>
                </a:lnTo>
                <a:lnTo>
                  <a:pt x="883" y="760"/>
                </a:lnTo>
                <a:lnTo>
                  <a:pt x="884" y="760"/>
                </a:lnTo>
                <a:lnTo>
                  <a:pt x="884" y="758"/>
                </a:lnTo>
                <a:lnTo>
                  <a:pt x="884" y="755"/>
                </a:lnTo>
                <a:lnTo>
                  <a:pt x="883" y="752"/>
                </a:lnTo>
                <a:lnTo>
                  <a:pt x="884" y="748"/>
                </a:lnTo>
                <a:lnTo>
                  <a:pt x="886" y="745"/>
                </a:lnTo>
                <a:lnTo>
                  <a:pt x="890" y="743"/>
                </a:lnTo>
                <a:lnTo>
                  <a:pt x="899" y="736"/>
                </a:lnTo>
                <a:lnTo>
                  <a:pt x="908" y="729"/>
                </a:lnTo>
                <a:lnTo>
                  <a:pt x="913" y="723"/>
                </a:lnTo>
                <a:lnTo>
                  <a:pt x="917" y="717"/>
                </a:lnTo>
                <a:lnTo>
                  <a:pt x="919" y="716"/>
                </a:lnTo>
                <a:lnTo>
                  <a:pt x="924" y="716"/>
                </a:lnTo>
                <a:lnTo>
                  <a:pt x="926" y="715"/>
                </a:lnTo>
                <a:lnTo>
                  <a:pt x="930" y="713"/>
                </a:lnTo>
                <a:lnTo>
                  <a:pt x="932" y="709"/>
                </a:lnTo>
                <a:lnTo>
                  <a:pt x="934" y="704"/>
                </a:lnTo>
                <a:lnTo>
                  <a:pt x="935" y="702"/>
                </a:lnTo>
                <a:lnTo>
                  <a:pt x="937" y="701"/>
                </a:lnTo>
                <a:lnTo>
                  <a:pt x="940" y="699"/>
                </a:lnTo>
                <a:lnTo>
                  <a:pt x="944" y="699"/>
                </a:lnTo>
                <a:lnTo>
                  <a:pt x="948" y="697"/>
                </a:lnTo>
                <a:lnTo>
                  <a:pt x="953" y="692"/>
                </a:lnTo>
                <a:lnTo>
                  <a:pt x="953" y="685"/>
                </a:lnTo>
                <a:lnTo>
                  <a:pt x="954" y="681"/>
                </a:lnTo>
                <a:lnTo>
                  <a:pt x="956" y="678"/>
                </a:lnTo>
                <a:lnTo>
                  <a:pt x="962" y="675"/>
                </a:lnTo>
                <a:lnTo>
                  <a:pt x="969" y="669"/>
                </a:lnTo>
                <a:lnTo>
                  <a:pt x="976" y="662"/>
                </a:lnTo>
                <a:lnTo>
                  <a:pt x="986" y="654"/>
                </a:lnTo>
                <a:lnTo>
                  <a:pt x="995" y="646"/>
                </a:lnTo>
                <a:lnTo>
                  <a:pt x="1006" y="638"/>
                </a:lnTo>
                <a:lnTo>
                  <a:pt x="1015" y="629"/>
                </a:lnTo>
                <a:lnTo>
                  <a:pt x="1024" y="622"/>
                </a:lnTo>
                <a:lnTo>
                  <a:pt x="1032" y="617"/>
                </a:lnTo>
                <a:lnTo>
                  <a:pt x="1034" y="622"/>
                </a:lnTo>
                <a:lnTo>
                  <a:pt x="1036" y="628"/>
                </a:lnTo>
                <a:lnTo>
                  <a:pt x="1036" y="628"/>
                </a:lnTo>
                <a:lnTo>
                  <a:pt x="1036" y="629"/>
                </a:lnTo>
                <a:lnTo>
                  <a:pt x="1032" y="640"/>
                </a:lnTo>
                <a:lnTo>
                  <a:pt x="1028" y="649"/>
                </a:lnTo>
                <a:lnTo>
                  <a:pt x="1025" y="654"/>
                </a:lnTo>
                <a:lnTo>
                  <a:pt x="1023" y="659"/>
                </a:lnTo>
                <a:lnTo>
                  <a:pt x="1016" y="668"/>
                </a:lnTo>
                <a:lnTo>
                  <a:pt x="1008" y="677"/>
                </a:lnTo>
                <a:lnTo>
                  <a:pt x="1007" y="678"/>
                </a:lnTo>
                <a:lnTo>
                  <a:pt x="1004" y="678"/>
                </a:lnTo>
                <a:lnTo>
                  <a:pt x="999" y="678"/>
                </a:lnTo>
                <a:lnTo>
                  <a:pt x="995" y="681"/>
                </a:lnTo>
                <a:lnTo>
                  <a:pt x="994" y="683"/>
                </a:lnTo>
                <a:lnTo>
                  <a:pt x="994" y="684"/>
                </a:lnTo>
                <a:lnTo>
                  <a:pt x="995" y="688"/>
                </a:lnTo>
                <a:lnTo>
                  <a:pt x="996" y="690"/>
                </a:lnTo>
                <a:lnTo>
                  <a:pt x="987" y="689"/>
                </a:lnTo>
                <a:lnTo>
                  <a:pt x="976" y="689"/>
                </a:lnTo>
                <a:lnTo>
                  <a:pt x="977" y="695"/>
                </a:lnTo>
                <a:lnTo>
                  <a:pt x="980" y="702"/>
                </a:lnTo>
                <a:lnTo>
                  <a:pt x="980" y="706"/>
                </a:lnTo>
                <a:lnTo>
                  <a:pt x="977" y="710"/>
                </a:lnTo>
                <a:lnTo>
                  <a:pt x="974" y="713"/>
                </a:lnTo>
                <a:lnTo>
                  <a:pt x="970" y="715"/>
                </a:lnTo>
                <a:lnTo>
                  <a:pt x="968" y="713"/>
                </a:lnTo>
                <a:lnTo>
                  <a:pt x="966" y="710"/>
                </a:lnTo>
                <a:lnTo>
                  <a:pt x="966" y="708"/>
                </a:lnTo>
                <a:lnTo>
                  <a:pt x="967" y="705"/>
                </a:lnTo>
                <a:lnTo>
                  <a:pt x="961" y="708"/>
                </a:lnTo>
                <a:lnTo>
                  <a:pt x="955" y="710"/>
                </a:lnTo>
                <a:lnTo>
                  <a:pt x="956" y="712"/>
                </a:lnTo>
                <a:lnTo>
                  <a:pt x="958" y="713"/>
                </a:lnTo>
                <a:lnTo>
                  <a:pt x="960" y="716"/>
                </a:lnTo>
                <a:lnTo>
                  <a:pt x="962" y="717"/>
                </a:lnTo>
                <a:lnTo>
                  <a:pt x="965" y="718"/>
                </a:lnTo>
                <a:lnTo>
                  <a:pt x="966" y="720"/>
                </a:lnTo>
                <a:lnTo>
                  <a:pt x="967" y="723"/>
                </a:lnTo>
                <a:lnTo>
                  <a:pt x="966" y="726"/>
                </a:lnTo>
                <a:lnTo>
                  <a:pt x="963" y="723"/>
                </a:lnTo>
                <a:lnTo>
                  <a:pt x="960" y="720"/>
                </a:lnTo>
                <a:lnTo>
                  <a:pt x="956" y="718"/>
                </a:lnTo>
                <a:lnTo>
                  <a:pt x="952" y="719"/>
                </a:lnTo>
                <a:lnTo>
                  <a:pt x="953" y="723"/>
                </a:lnTo>
                <a:lnTo>
                  <a:pt x="956" y="726"/>
                </a:lnTo>
                <a:lnTo>
                  <a:pt x="958" y="727"/>
                </a:lnTo>
                <a:lnTo>
                  <a:pt x="959" y="730"/>
                </a:lnTo>
                <a:lnTo>
                  <a:pt x="959" y="732"/>
                </a:lnTo>
                <a:lnTo>
                  <a:pt x="956" y="734"/>
                </a:lnTo>
                <a:lnTo>
                  <a:pt x="954" y="731"/>
                </a:lnTo>
                <a:lnTo>
                  <a:pt x="953" y="726"/>
                </a:lnTo>
                <a:lnTo>
                  <a:pt x="952" y="727"/>
                </a:lnTo>
                <a:lnTo>
                  <a:pt x="951" y="727"/>
                </a:lnTo>
                <a:lnTo>
                  <a:pt x="951" y="732"/>
                </a:lnTo>
                <a:lnTo>
                  <a:pt x="952" y="737"/>
                </a:lnTo>
                <a:lnTo>
                  <a:pt x="953" y="739"/>
                </a:lnTo>
                <a:lnTo>
                  <a:pt x="953" y="741"/>
                </a:lnTo>
                <a:lnTo>
                  <a:pt x="952" y="744"/>
                </a:lnTo>
                <a:lnTo>
                  <a:pt x="949" y="745"/>
                </a:lnTo>
                <a:lnTo>
                  <a:pt x="946" y="748"/>
                </a:lnTo>
                <a:lnTo>
                  <a:pt x="942" y="752"/>
                </a:lnTo>
                <a:lnTo>
                  <a:pt x="937" y="755"/>
                </a:lnTo>
                <a:lnTo>
                  <a:pt x="931" y="759"/>
                </a:lnTo>
                <a:lnTo>
                  <a:pt x="927" y="765"/>
                </a:lnTo>
                <a:lnTo>
                  <a:pt x="924" y="771"/>
                </a:lnTo>
                <a:lnTo>
                  <a:pt x="921" y="771"/>
                </a:lnTo>
                <a:lnTo>
                  <a:pt x="917" y="771"/>
                </a:lnTo>
                <a:lnTo>
                  <a:pt x="917" y="774"/>
                </a:lnTo>
                <a:lnTo>
                  <a:pt x="917" y="775"/>
                </a:lnTo>
                <a:lnTo>
                  <a:pt x="912" y="781"/>
                </a:lnTo>
                <a:lnTo>
                  <a:pt x="907" y="787"/>
                </a:lnTo>
                <a:lnTo>
                  <a:pt x="905" y="789"/>
                </a:lnTo>
                <a:lnTo>
                  <a:pt x="901" y="793"/>
                </a:lnTo>
                <a:lnTo>
                  <a:pt x="898" y="795"/>
                </a:lnTo>
                <a:lnTo>
                  <a:pt x="892" y="797"/>
                </a:lnTo>
                <a:lnTo>
                  <a:pt x="889" y="801"/>
                </a:lnTo>
                <a:lnTo>
                  <a:pt x="886" y="804"/>
                </a:lnTo>
                <a:lnTo>
                  <a:pt x="880" y="811"/>
                </a:lnTo>
                <a:lnTo>
                  <a:pt x="876" y="817"/>
                </a:lnTo>
                <a:lnTo>
                  <a:pt x="872" y="816"/>
                </a:lnTo>
                <a:lnTo>
                  <a:pt x="868" y="815"/>
                </a:lnTo>
                <a:lnTo>
                  <a:pt x="868" y="818"/>
                </a:lnTo>
                <a:lnTo>
                  <a:pt x="868" y="821"/>
                </a:lnTo>
                <a:lnTo>
                  <a:pt x="868" y="823"/>
                </a:lnTo>
                <a:lnTo>
                  <a:pt x="866" y="825"/>
                </a:lnTo>
                <a:lnTo>
                  <a:pt x="862" y="828"/>
                </a:lnTo>
                <a:lnTo>
                  <a:pt x="858" y="831"/>
                </a:lnTo>
                <a:lnTo>
                  <a:pt x="856" y="834"/>
                </a:lnTo>
                <a:lnTo>
                  <a:pt x="855" y="838"/>
                </a:lnTo>
                <a:lnTo>
                  <a:pt x="847" y="841"/>
                </a:lnTo>
                <a:lnTo>
                  <a:pt x="838" y="843"/>
                </a:lnTo>
                <a:lnTo>
                  <a:pt x="839" y="848"/>
                </a:lnTo>
                <a:lnTo>
                  <a:pt x="839" y="850"/>
                </a:lnTo>
                <a:lnTo>
                  <a:pt x="838" y="853"/>
                </a:lnTo>
                <a:lnTo>
                  <a:pt x="837" y="856"/>
                </a:lnTo>
                <a:lnTo>
                  <a:pt x="831" y="859"/>
                </a:lnTo>
                <a:lnTo>
                  <a:pt x="827" y="864"/>
                </a:lnTo>
                <a:lnTo>
                  <a:pt x="818" y="871"/>
                </a:lnTo>
                <a:lnTo>
                  <a:pt x="809" y="878"/>
                </a:lnTo>
                <a:lnTo>
                  <a:pt x="808" y="880"/>
                </a:lnTo>
                <a:lnTo>
                  <a:pt x="807" y="883"/>
                </a:lnTo>
                <a:lnTo>
                  <a:pt x="806" y="887"/>
                </a:lnTo>
                <a:lnTo>
                  <a:pt x="803" y="891"/>
                </a:lnTo>
                <a:lnTo>
                  <a:pt x="800" y="893"/>
                </a:lnTo>
                <a:lnTo>
                  <a:pt x="796" y="893"/>
                </a:lnTo>
                <a:lnTo>
                  <a:pt x="790" y="900"/>
                </a:lnTo>
                <a:lnTo>
                  <a:pt x="786" y="906"/>
                </a:lnTo>
                <a:lnTo>
                  <a:pt x="776" y="918"/>
                </a:lnTo>
                <a:lnTo>
                  <a:pt x="765" y="927"/>
                </a:lnTo>
                <a:lnTo>
                  <a:pt x="761" y="933"/>
                </a:lnTo>
                <a:lnTo>
                  <a:pt x="756" y="937"/>
                </a:lnTo>
                <a:lnTo>
                  <a:pt x="751" y="942"/>
                </a:lnTo>
                <a:lnTo>
                  <a:pt x="745" y="946"/>
                </a:lnTo>
                <a:lnTo>
                  <a:pt x="731" y="955"/>
                </a:lnTo>
                <a:lnTo>
                  <a:pt x="716" y="965"/>
                </a:lnTo>
                <a:lnTo>
                  <a:pt x="716" y="964"/>
                </a:lnTo>
                <a:lnTo>
                  <a:pt x="714" y="962"/>
                </a:lnTo>
                <a:close/>
                <a:moveTo>
                  <a:pt x="765" y="820"/>
                </a:moveTo>
                <a:lnTo>
                  <a:pt x="765" y="810"/>
                </a:lnTo>
                <a:lnTo>
                  <a:pt x="765" y="802"/>
                </a:lnTo>
                <a:lnTo>
                  <a:pt x="767" y="804"/>
                </a:lnTo>
                <a:lnTo>
                  <a:pt x="768" y="807"/>
                </a:lnTo>
                <a:lnTo>
                  <a:pt x="769" y="809"/>
                </a:lnTo>
                <a:lnTo>
                  <a:pt x="769" y="811"/>
                </a:lnTo>
                <a:lnTo>
                  <a:pt x="767" y="815"/>
                </a:lnTo>
                <a:lnTo>
                  <a:pt x="765" y="820"/>
                </a:lnTo>
                <a:close/>
                <a:moveTo>
                  <a:pt x="759" y="870"/>
                </a:moveTo>
                <a:lnTo>
                  <a:pt x="763" y="867"/>
                </a:lnTo>
                <a:lnTo>
                  <a:pt x="768" y="865"/>
                </a:lnTo>
                <a:lnTo>
                  <a:pt x="765" y="871"/>
                </a:lnTo>
                <a:lnTo>
                  <a:pt x="761" y="878"/>
                </a:lnTo>
                <a:lnTo>
                  <a:pt x="760" y="872"/>
                </a:lnTo>
                <a:lnTo>
                  <a:pt x="759" y="870"/>
                </a:lnTo>
                <a:close/>
                <a:moveTo>
                  <a:pt x="758" y="730"/>
                </a:moveTo>
                <a:lnTo>
                  <a:pt x="756" y="731"/>
                </a:lnTo>
                <a:lnTo>
                  <a:pt x="755" y="732"/>
                </a:lnTo>
                <a:lnTo>
                  <a:pt x="753" y="732"/>
                </a:lnTo>
                <a:lnTo>
                  <a:pt x="752" y="731"/>
                </a:lnTo>
                <a:lnTo>
                  <a:pt x="752" y="729"/>
                </a:lnTo>
                <a:lnTo>
                  <a:pt x="752" y="726"/>
                </a:lnTo>
                <a:lnTo>
                  <a:pt x="753" y="720"/>
                </a:lnTo>
                <a:lnTo>
                  <a:pt x="754" y="713"/>
                </a:lnTo>
                <a:lnTo>
                  <a:pt x="759" y="716"/>
                </a:lnTo>
                <a:lnTo>
                  <a:pt x="765" y="719"/>
                </a:lnTo>
                <a:lnTo>
                  <a:pt x="761" y="722"/>
                </a:lnTo>
                <a:lnTo>
                  <a:pt x="758" y="724"/>
                </a:lnTo>
                <a:lnTo>
                  <a:pt x="756" y="725"/>
                </a:lnTo>
                <a:lnTo>
                  <a:pt x="756" y="726"/>
                </a:lnTo>
                <a:lnTo>
                  <a:pt x="756" y="729"/>
                </a:lnTo>
                <a:lnTo>
                  <a:pt x="758" y="730"/>
                </a:lnTo>
                <a:close/>
                <a:moveTo>
                  <a:pt x="747" y="751"/>
                </a:moveTo>
                <a:lnTo>
                  <a:pt x="755" y="744"/>
                </a:lnTo>
                <a:lnTo>
                  <a:pt x="765" y="737"/>
                </a:lnTo>
                <a:lnTo>
                  <a:pt x="761" y="743"/>
                </a:lnTo>
                <a:lnTo>
                  <a:pt x="758" y="747"/>
                </a:lnTo>
                <a:lnTo>
                  <a:pt x="753" y="751"/>
                </a:lnTo>
                <a:lnTo>
                  <a:pt x="747" y="751"/>
                </a:lnTo>
                <a:close/>
                <a:moveTo>
                  <a:pt x="747" y="897"/>
                </a:moveTo>
                <a:lnTo>
                  <a:pt x="746" y="898"/>
                </a:lnTo>
                <a:lnTo>
                  <a:pt x="746" y="899"/>
                </a:lnTo>
                <a:lnTo>
                  <a:pt x="744" y="899"/>
                </a:lnTo>
                <a:lnTo>
                  <a:pt x="741" y="900"/>
                </a:lnTo>
                <a:lnTo>
                  <a:pt x="738" y="901"/>
                </a:lnTo>
                <a:lnTo>
                  <a:pt x="734" y="901"/>
                </a:lnTo>
                <a:lnTo>
                  <a:pt x="734" y="900"/>
                </a:lnTo>
                <a:lnTo>
                  <a:pt x="734" y="898"/>
                </a:lnTo>
                <a:lnTo>
                  <a:pt x="738" y="895"/>
                </a:lnTo>
                <a:lnTo>
                  <a:pt x="741" y="894"/>
                </a:lnTo>
                <a:lnTo>
                  <a:pt x="744" y="895"/>
                </a:lnTo>
                <a:lnTo>
                  <a:pt x="747" y="897"/>
                </a:lnTo>
                <a:close/>
                <a:moveTo>
                  <a:pt x="745" y="888"/>
                </a:moveTo>
                <a:lnTo>
                  <a:pt x="745" y="887"/>
                </a:lnTo>
                <a:lnTo>
                  <a:pt x="745" y="887"/>
                </a:lnTo>
                <a:lnTo>
                  <a:pt x="751" y="886"/>
                </a:lnTo>
                <a:lnTo>
                  <a:pt x="755" y="886"/>
                </a:lnTo>
                <a:lnTo>
                  <a:pt x="756" y="887"/>
                </a:lnTo>
                <a:lnTo>
                  <a:pt x="755" y="888"/>
                </a:lnTo>
                <a:lnTo>
                  <a:pt x="753" y="890"/>
                </a:lnTo>
                <a:lnTo>
                  <a:pt x="751" y="890"/>
                </a:lnTo>
                <a:lnTo>
                  <a:pt x="748" y="890"/>
                </a:lnTo>
                <a:lnTo>
                  <a:pt x="745" y="888"/>
                </a:lnTo>
                <a:close/>
                <a:moveTo>
                  <a:pt x="678" y="425"/>
                </a:moveTo>
                <a:lnTo>
                  <a:pt x="671" y="434"/>
                </a:lnTo>
                <a:lnTo>
                  <a:pt x="664" y="444"/>
                </a:lnTo>
                <a:lnTo>
                  <a:pt x="657" y="453"/>
                </a:lnTo>
                <a:lnTo>
                  <a:pt x="650" y="462"/>
                </a:lnTo>
                <a:lnTo>
                  <a:pt x="641" y="473"/>
                </a:lnTo>
                <a:lnTo>
                  <a:pt x="630" y="482"/>
                </a:lnTo>
                <a:lnTo>
                  <a:pt x="623" y="483"/>
                </a:lnTo>
                <a:lnTo>
                  <a:pt x="615" y="485"/>
                </a:lnTo>
                <a:lnTo>
                  <a:pt x="609" y="486"/>
                </a:lnTo>
                <a:lnTo>
                  <a:pt x="602" y="487"/>
                </a:lnTo>
                <a:lnTo>
                  <a:pt x="593" y="489"/>
                </a:lnTo>
                <a:lnTo>
                  <a:pt x="585" y="489"/>
                </a:lnTo>
                <a:lnTo>
                  <a:pt x="581" y="486"/>
                </a:lnTo>
                <a:lnTo>
                  <a:pt x="576" y="479"/>
                </a:lnTo>
                <a:lnTo>
                  <a:pt x="573" y="481"/>
                </a:lnTo>
                <a:lnTo>
                  <a:pt x="568" y="483"/>
                </a:lnTo>
                <a:lnTo>
                  <a:pt x="564" y="483"/>
                </a:lnTo>
                <a:lnTo>
                  <a:pt x="560" y="482"/>
                </a:lnTo>
                <a:lnTo>
                  <a:pt x="559" y="479"/>
                </a:lnTo>
                <a:lnTo>
                  <a:pt x="559" y="474"/>
                </a:lnTo>
                <a:lnTo>
                  <a:pt x="561" y="461"/>
                </a:lnTo>
                <a:lnTo>
                  <a:pt x="565" y="448"/>
                </a:lnTo>
                <a:lnTo>
                  <a:pt x="567" y="436"/>
                </a:lnTo>
                <a:lnTo>
                  <a:pt x="571" y="424"/>
                </a:lnTo>
                <a:lnTo>
                  <a:pt x="575" y="410"/>
                </a:lnTo>
                <a:lnTo>
                  <a:pt x="582" y="396"/>
                </a:lnTo>
                <a:lnTo>
                  <a:pt x="585" y="392"/>
                </a:lnTo>
                <a:lnTo>
                  <a:pt x="588" y="389"/>
                </a:lnTo>
                <a:lnTo>
                  <a:pt x="585" y="388"/>
                </a:lnTo>
                <a:lnTo>
                  <a:pt x="582" y="387"/>
                </a:lnTo>
                <a:lnTo>
                  <a:pt x="582" y="380"/>
                </a:lnTo>
                <a:lnTo>
                  <a:pt x="583" y="375"/>
                </a:lnTo>
                <a:lnTo>
                  <a:pt x="585" y="373"/>
                </a:lnTo>
                <a:lnTo>
                  <a:pt x="587" y="371"/>
                </a:lnTo>
                <a:lnTo>
                  <a:pt x="589" y="371"/>
                </a:lnTo>
                <a:lnTo>
                  <a:pt x="592" y="371"/>
                </a:lnTo>
                <a:lnTo>
                  <a:pt x="594" y="373"/>
                </a:lnTo>
                <a:lnTo>
                  <a:pt x="597" y="374"/>
                </a:lnTo>
                <a:lnTo>
                  <a:pt x="595" y="376"/>
                </a:lnTo>
                <a:lnTo>
                  <a:pt x="593" y="377"/>
                </a:lnTo>
                <a:lnTo>
                  <a:pt x="590" y="380"/>
                </a:lnTo>
                <a:lnTo>
                  <a:pt x="588" y="381"/>
                </a:lnTo>
                <a:lnTo>
                  <a:pt x="589" y="382"/>
                </a:lnTo>
                <a:lnTo>
                  <a:pt x="589" y="383"/>
                </a:lnTo>
                <a:lnTo>
                  <a:pt x="601" y="381"/>
                </a:lnTo>
                <a:lnTo>
                  <a:pt x="611" y="378"/>
                </a:lnTo>
                <a:lnTo>
                  <a:pt x="614" y="377"/>
                </a:lnTo>
                <a:lnTo>
                  <a:pt x="616" y="378"/>
                </a:lnTo>
                <a:lnTo>
                  <a:pt x="618" y="378"/>
                </a:lnTo>
                <a:lnTo>
                  <a:pt x="620" y="381"/>
                </a:lnTo>
                <a:lnTo>
                  <a:pt x="622" y="384"/>
                </a:lnTo>
                <a:lnTo>
                  <a:pt x="623" y="390"/>
                </a:lnTo>
                <a:lnTo>
                  <a:pt x="627" y="385"/>
                </a:lnTo>
                <a:lnTo>
                  <a:pt x="630" y="382"/>
                </a:lnTo>
                <a:lnTo>
                  <a:pt x="634" y="376"/>
                </a:lnTo>
                <a:lnTo>
                  <a:pt x="638" y="370"/>
                </a:lnTo>
                <a:lnTo>
                  <a:pt x="643" y="366"/>
                </a:lnTo>
                <a:lnTo>
                  <a:pt x="648" y="361"/>
                </a:lnTo>
                <a:lnTo>
                  <a:pt x="659" y="353"/>
                </a:lnTo>
                <a:lnTo>
                  <a:pt x="672" y="347"/>
                </a:lnTo>
                <a:lnTo>
                  <a:pt x="675" y="346"/>
                </a:lnTo>
                <a:lnTo>
                  <a:pt x="677" y="346"/>
                </a:lnTo>
                <a:lnTo>
                  <a:pt x="684" y="346"/>
                </a:lnTo>
                <a:lnTo>
                  <a:pt x="690" y="345"/>
                </a:lnTo>
                <a:lnTo>
                  <a:pt x="693" y="341"/>
                </a:lnTo>
                <a:lnTo>
                  <a:pt x="696" y="335"/>
                </a:lnTo>
                <a:lnTo>
                  <a:pt x="698" y="332"/>
                </a:lnTo>
                <a:lnTo>
                  <a:pt x="700" y="331"/>
                </a:lnTo>
                <a:lnTo>
                  <a:pt x="703" y="331"/>
                </a:lnTo>
                <a:lnTo>
                  <a:pt x="706" y="332"/>
                </a:lnTo>
                <a:lnTo>
                  <a:pt x="710" y="333"/>
                </a:lnTo>
                <a:lnTo>
                  <a:pt x="713" y="334"/>
                </a:lnTo>
                <a:lnTo>
                  <a:pt x="716" y="335"/>
                </a:lnTo>
                <a:lnTo>
                  <a:pt x="717" y="338"/>
                </a:lnTo>
                <a:lnTo>
                  <a:pt x="719" y="342"/>
                </a:lnTo>
                <a:lnTo>
                  <a:pt x="719" y="349"/>
                </a:lnTo>
                <a:lnTo>
                  <a:pt x="719" y="353"/>
                </a:lnTo>
                <a:lnTo>
                  <a:pt x="721" y="355"/>
                </a:lnTo>
                <a:lnTo>
                  <a:pt x="725" y="355"/>
                </a:lnTo>
                <a:lnTo>
                  <a:pt x="730" y="355"/>
                </a:lnTo>
                <a:lnTo>
                  <a:pt x="730" y="356"/>
                </a:lnTo>
                <a:lnTo>
                  <a:pt x="730" y="359"/>
                </a:lnTo>
                <a:lnTo>
                  <a:pt x="733" y="359"/>
                </a:lnTo>
                <a:lnTo>
                  <a:pt x="735" y="357"/>
                </a:lnTo>
                <a:lnTo>
                  <a:pt x="747" y="347"/>
                </a:lnTo>
                <a:lnTo>
                  <a:pt x="758" y="335"/>
                </a:lnTo>
                <a:lnTo>
                  <a:pt x="763" y="329"/>
                </a:lnTo>
                <a:lnTo>
                  <a:pt x="769" y="325"/>
                </a:lnTo>
                <a:lnTo>
                  <a:pt x="775" y="321"/>
                </a:lnTo>
                <a:lnTo>
                  <a:pt x="782" y="318"/>
                </a:lnTo>
                <a:lnTo>
                  <a:pt x="789" y="315"/>
                </a:lnTo>
                <a:lnTo>
                  <a:pt x="796" y="313"/>
                </a:lnTo>
                <a:lnTo>
                  <a:pt x="803" y="313"/>
                </a:lnTo>
                <a:lnTo>
                  <a:pt x="811" y="313"/>
                </a:lnTo>
                <a:lnTo>
                  <a:pt x="817" y="314"/>
                </a:lnTo>
                <a:lnTo>
                  <a:pt x="822" y="315"/>
                </a:lnTo>
                <a:lnTo>
                  <a:pt x="825" y="318"/>
                </a:lnTo>
                <a:lnTo>
                  <a:pt x="829" y="320"/>
                </a:lnTo>
                <a:lnTo>
                  <a:pt x="830" y="324"/>
                </a:lnTo>
                <a:lnTo>
                  <a:pt x="831" y="328"/>
                </a:lnTo>
                <a:lnTo>
                  <a:pt x="832" y="333"/>
                </a:lnTo>
                <a:lnTo>
                  <a:pt x="832" y="339"/>
                </a:lnTo>
                <a:lnTo>
                  <a:pt x="830" y="350"/>
                </a:lnTo>
                <a:lnTo>
                  <a:pt x="825" y="362"/>
                </a:lnTo>
                <a:lnTo>
                  <a:pt x="821" y="373"/>
                </a:lnTo>
                <a:lnTo>
                  <a:pt x="813" y="382"/>
                </a:lnTo>
                <a:lnTo>
                  <a:pt x="804" y="391"/>
                </a:lnTo>
                <a:lnTo>
                  <a:pt x="796" y="401"/>
                </a:lnTo>
                <a:lnTo>
                  <a:pt x="788" y="410"/>
                </a:lnTo>
                <a:lnTo>
                  <a:pt x="779" y="419"/>
                </a:lnTo>
                <a:lnTo>
                  <a:pt x="772" y="424"/>
                </a:lnTo>
                <a:lnTo>
                  <a:pt x="765" y="427"/>
                </a:lnTo>
                <a:lnTo>
                  <a:pt x="761" y="430"/>
                </a:lnTo>
                <a:lnTo>
                  <a:pt x="758" y="431"/>
                </a:lnTo>
                <a:lnTo>
                  <a:pt x="742" y="424"/>
                </a:lnTo>
                <a:lnTo>
                  <a:pt x="727" y="418"/>
                </a:lnTo>
                <a:lnTo>
                  <a:pt x="712" y="412"/>
                </a:lnTo>
                <a:lnTo>
                  <a:pt x="696" y="404"/>
                </a:lnTo>
                <a:lnTo>
                  <a:pt x="687" y="415"/>
                </a:lnTo>
                <a:lnTo>
                  <a:pt x="678" y="425"/>
                </a:lnTo>
                <a:close/>
                <a:moveTo>
                  <a:pt x="648" y="1249"/>
                </a:moveTo>
                <a:lnTo>
                  <a:pt x="651" y="1254"/>
                </a:lnTo>
                <a:lnTo>
                  <a:pt x="652" y="1258"/>
                </a:lnTo>
                <a:lnTo>
                  <a:pt x="654" y="1263"/>
                </a:lnTo>
                <a:lnTo>
                  <a:pt x="654" y="1268"/>
                </a:lnTo>
                <a:lnTo>
                  <a:pt x="650" y="1265"/>
                </a:lnTo>
                <a:lnTo>
                  <a:pt x="648" y="1261"/>
                </a:lnTo>
                <a:lnTo>
                  <a:pt x="648" y="1256"/>
                </a:lnTo>
                <a:lnTo>
                  <a:pt x="648" y="1249"/>
                </a:lnTo>
                <a:close/>
                <a:moveTo>
                  <a:pt x="628" y="586"/>
                </a:moveTo>
                <a:lnTo>
                  <a:pt x="626" y="592"/>
                </a:lnTo>
                <a:lnTo>
                  <a:pt x="622" y="596"/>
                </a:lnTo>
                <a:lnTo>
                  <a:pt x="618" y="599"/>
                </a:lnTo>
                <a:lnTo>
                  <a:pt x="614" y="600"/>
                </a:lnTo>
                <a:lnTo>
                  <a:pt x="608" y="601"/>
                </a:lnTo>
                <a:lnTo>
                  <a:pt x="603" y="603"/>
                </a:lnTo>
                <a:lnTo>
                  <a:pt x="599" y="601"/>
                </a:lnTo>
                <a:lnTo>
                  <a:pt x="594" y="601"/>
                </a:lnTo>
                <a:lnTo>
                  <a:pt x="590" y="598"/>
                </a:lnTo>
                <a:lnTo>
                  <a:pt x="587" y="593"/>
                </a:lnTo>
                <a:lnTo>
                  <a:pt x="601" y="579"/>
                </a:lnTo>
                <a:lnTo>
                  <a:pt x="615" y="567"/>
                </a:lnTo>
                <a:lnTo>
                  <a:pt x="618" y="566"/>
                </a:lnTo>
                <a:lnTo>
                  <a:pt x="622" y="567"/>
                </a:lnTo>
                <a:lnTo>
                  <a:pt x="624" y="570"/>
                </a:lnTo>
                <a:lnTo>
                  <a:pt x="627" y="576"/>
                </a:lnTo>
                <a:lnTo>
                  <a:pt x="628" y="583"/>
                </a:lnTo>
                <a:lnTo>
                  <a:pt x="628" y="586"/>
                </a:lnTo>
                <a:close/>
                <a:moveTo>
                  <a:pt x="544" y="516"/>
                </a:moveTo>
                <a:lnTo>
                  <a:pt x="542" y="518"/>
                </a:lnTo>
                <a:lnTo>
                  <a:pt x="541" y="521"/>
                </a:lnTo>
                <a:lnTo>
                  <a:pt x="540" y="523"/>
                </a:lnTo>
                <a:lnTo>
                  <a:pt x="538" y="523"/>
                </a:lnTo>
                <a:lnTo>
                  <a:pt x="535" y="524"/>
                </a:lnTo>
                <a:lnTo>
                  <a:pt x="533" y="524"/>
                </a:lnTo>
                <a:lnTo>
                  <a:pt x="531" y="523"/>
                </a:lnTo>
                <a:lnTo>
                  <a:pt x="528" y="522"/>
                </a:lnTo>
                <a:lnTo>
                  <a:pt x="525" y="518"/>
                </a:lnTo>
                <a:lnTo>
                  <a:pt x="520" y="516"/>
                </a:lnTo>
                <a:lnTo>
                  <a:pt x="516" y="515"/>
                </a:lnTo>
                <a:lnTo>
                  <a:pt x="511" y="516"/>
                </a:lnTo>
                <a:lnTo>
                  <a:pt x="507" y="516"/>
                </a:lnTo>
                <a:lnTo>
                  <a:pt x="505" y="515"/>
                </a:lnTo>
                <a:lnTo>
                  <a:pt x="505" y="513"/>
                </a:lnTo>
                <a:lnTo>
                  <a:pt x="505" y="509"/>
                </a:lnTo>
                <a:lnTo>
                  <a:pt x="506" y="495"/>
                </a:lnTo>
                <a:lnTo>
                  <a:pt x="507" y="482"/>
                </a:lnTo>
                <a:lnTo>
                  <a:pt x="510" y="468"/>
                </a:lnTo>
                <a:lnTo>
                  <a:pt x="511" y="455"/>
                </a:lnTo>
                <a:lnTo>
                  <a:pt x="513" y="448"/>
                </a:lnTo>
                <a:lnTo>
                  <a:pt x="518" y="443"/>
                </a:lnTo>
                <a:lnTo>
                  <a:pt x="524" y="438"/>
                </a:lnTo>
                <a:lnTo>
                  <a:pt x="531" y="434"/>
                </a:lnTo>
                <a:lnTo>
                  <a:pt x="533" y="432"/>
                </a:lnTo>
                <a:lnTo>
                  <a:pt x="534" y="429"/>
                </a:lnTo>
                <a:lnTo>
                  <a:pt x="538" y="422"/>
                </a:lnTo>
                <a:lnTo>
                  <a:pt x="540" y="416"/>
                </a:lnTo>
                <a:lnTo>
                  <a:pt x="544" y="411"/>
                </a:lnTo>
                <a:lnTo>
                  <a:pt x="546" y="409"/>
                </a:lnTo>
                <a:lnTo>
                  <a:pt x="551" y="408"/>
                </a:lnTo>
                <a:lnTo>
                  <a:pt x="555" y="409"/>
                </a:lnTo>
                <a:lnTo>
                  <a:pt x="560" y="409"/>
                </a:lnTo>
                <a:lnTo>
                  <a:pt x="567" y="408"/>
                </a:lnTo>
                <a:lnTo>
                  <a:pt x="565" y="419"/>
                </a:lnTo>
                <a:lnTo>
                  <a:pt x="562" y="432"/>
                </a:lnTo>
                <a:lnTo>
                  <a:pt x="560" y="444"/>
                </a:lnTo>
                <a:lnTo>
                  <a:pt x="558" y="455"/>
                </a:lnTo>
                <a:lnTo>
                  <a:pt x="554" y="471"/>
                </a:lnTo>
                <a:lnTo>
                  <a:pt x="551" y="486"/>
                </a:lnTo>
                <a:lnTo>
                  <a:pt x="547" y="501"/>
                </a:lnTo>
                <a:lnTo>
                  <a:pt x="544" y="516"/>
                </a:lnTo>
                <a:close/>
                <a:moveTo>
                  <a:pt x="528" y="1222"/>
                </a:moveTo>
                <a:lnTo>
                  <a:pt x="519" y="1213"/>
                </a:lnTo>
                <a:lnTo>
                  <a:pt x="510" y="1203"/>
                </a:lnTo>
                <a:lnTo>
                  <a:pt x="511" y="1202"/>
                </a:lnTo>
                <a:lnTo>
                  <a:pt x="512" y="1201"/>
                </a:lnTo>
                <a:lnTo>
                  <a:pt x="521" y="1210"/>
                </a:lnTo>
                <a:lnTo>
                  <a:pt x="531" y="1220"/>
                </a:lnTo>
                <a:lnTo>
                  <a:pt x="530" y="1221"/>
                </a:lnTo>
                <a:lnTo>
                  <a:pt x="528" y="1222"/>
                </a:lnTo>
                <a:close/>
                <a:moveTo>
                  <a:pt x="504" y="1180"/>
                </a:moveTo>
                <a:lnTo>
                  <a:pt x="503" y="1178"/>
                </a:lnTo>
                <a:lnTo>
                  <a:pt x="503" y="1175"/>
                </a:lnTo>
                <a:lnTo>
                  <a:pt x="504" y="1173"/>
                </a:lnTo>
                <a:lnTo>
                  <a:pt x="506" y="1171"/>
                </a:lnTo>
                <a:lnTo>
                  <a:pt x="510" y="1171"/>
                </a:lnTo>
                <a:lnTo>
                  <a:pt x="513" y="1171"/>
                </a:lnTo>
                <a:lnTo>
                  <a:pt x="512" y="1174"/>
                </a:lnTo>
                <a:lnTo>
                  <a:pt x="511" y="1178"/>
                </a:lnTo>
                <a:lnTo>
                  <a:pt x="510" y="1179"/>
                </a:lnTo>
                <a:lnTo>
                  <a:pt x="507" y="1180"/>
                </a:lnTo>
                <a:lnTo>
                  <a:pt x="506" y="1180"/>
                </a:lnTo>
                <a:lnTo>
                  <a:pt x="504" y="1180"/>
                </a:lnTo>
                <a:close/>
                <a:moveTo>
                  <a:pt x="498" y="613"/>
                </a:moveTo>
                <a:lnTo>
                  <a:pt x="498" y="631"/>
                </a:lnTo>
                <a:lnTo>
                  <a:pt x="498" y="648"/>
                </a:lnTo>
                <a:lnTo>
                  <a:pt x="498" y="653"/>
                </a:lnTo>
                <a:lnTo>
                  <a:pt x="496" y="655"/>
                </a:lnTo>
                <a:lnTo>
                  <a:pt x="493" y="656"/>
                </a:lnTo>
                <a:lnTo>
                  <a:pt x="489" y="656"/>
                </a:lnTo>
                <a:lnTo>
                  <a:pt x="488" y="656"/>
                </a:lnTo>
                <a:lnTo>
                  <a:pt x="486" y="656"/>
                </a:lnTo>
                <a:lnTo>
                  <a:pt x="482" y="656"/>
                </a:lnTo>
                <a:lnTo>
                  <a:pt x="478" y="655"/>
                </a:lnTo>
                <a:lnTo>
                  <a:pt x="476" y="649"/>
                </a:lnTo>
                <a:lnTo>
                  <a:pt x="476" y="642"/>
                </a:lnTo>
                <a:lnTo>
                  <a:pt x="476" y="632"/>
                </a:lnTo>
                <a:lnTo>
                  <a:pt x="476" y="621"/>
                </a:lnTo>
                <a:lnTo>
                  <a:pt x="478" y="608"/>
                </a:lnTo>
                <a:lnTo>
                  <a:pt x="482" y="594"/>
                </a:lnTo>
                <a:lnTo>
                  <a:pt x="484" y="594"/>
                </a:lnTo>
                <a:lnTo>
                  <a:pt x="488" y="594"/>
                </a:lnTo>
                <a:lnTo>
                  <a:pt x="492" y="596"/>
                </a:lnTo>
                <a:lnTo>
                  <a:pt x="496" y="599"/>
                </a:lnTo>
                <a:lnTo>
                  <a:pt x="499" y="606"/>
                </a:lnTo>
                <a:lnTo>
                  <a:pt x="502" y="613"/>
                </a:lnTo>
                <a:lnTo>
                  <a:pt x="500" y="613"/>
                </a:lnTo>
                <a:lnTo>
                  <a:pt x="498" y="613"/>
                </a:lnTo>
                <a:close/>
                <a:moveTo>
                  <a:pt x="486" y="1152"/>
                </a:moveTo>
                <a:lnTo>
                  <a:pt x="493" y="1152"/>
                </a:lnTo>
                <a:lnTo>
                  <a:pt x="500" y="1152"/>
                </a:lnTo>
                <a:lnTo>
                  <a:pt x="498" y="1156"/>
                </a:lnTo>
                <a:lnTo>
                  <a:pt x="495" y="1157"/>
                </a:lnTo>
                <a:lnTo>
                  <a:pt x="491" y="1156"/>
                </a:lnTo>
                <a:lnTo>
                  <a:pt x="486" y="1152"/>
                </a:lnTo>
                <a:close/>
                <a:moveTo>
                  <a:pt x="492" y="1210"/>
                </a:moveTo>
                <a:lnTo>
                  <a:pt x="490" y="1214"/>
                </a:lnTo>
                <a:lnTo>
                  <a:pt x="486" y="1217"/>
                </a:lnTo>
                <a:lnTo>
                  <a:pt x="484" y="1220"/>
                </a:lnTo>
                <a:lnTo>
                  <a:pt x="480" y="1220"/>
                </a:lnTo>
                <a:lnTo>
                  <a:pt x="479" y="1217"/>
                </a:lnTo>
                <a:lnTo>
                  <a:pt x="477" y="1213"/>
                </a:lnTo>
                <a:lnTo>
                  <a:pt x="480" y="1208"/>
                </a:lnTo>
                <a:lnTo>
                  <a:pt x="484" y="1202"/>
                </a:lnTo>
                <a:lnTo>
                  <a:pt x="488" y="1202"/>
                </a:lnTo>
                <a:lnTo>
                  <a:pt x="492" y="1202"/>
                </a:lnTo>
                <a:lnTo>
                  <a:pt x="492" y="1206"/>
                </a:lnTo>
                <a:lnTo>
                  <a:pt x="492" y="1210"/>
                </a:lnTo>
                <a:close/>
                <a:moveTo>
                  <a:pt x="659" y="151"/>
                </a:moveTo>
                <a:lnTo>
                  <a:pt x="662" y="147"/>
                </a:lnTo>
                <a:lnTo>
                  <a:pt x="664" y="145"/>
                </a:lnTo>
                <a:lnTo>
                  <a:pt x="665" y="144"/>
                </a:lnTo>
                <a:lnTo>
                  <a:pt x="668" y="143"/>
                </a:lnTo>
                <a:lnTo>
                  <a:pt x="669" y="143"/>
                </a:lnTo>
                <a:lnTo>
                  <a:pt x="671" y="143"/>
                </a:lnTo>
                <a:lnTo>
                  <a:pt x="673" y="142"/>
                </a:lnTo>
                <a:lnTo>
                  <a:pt x="676" y="139"/>
                </a:lnTo>
                <a:lnTo>
                  <a:pt x="676" y="143"/>
                </a:lnTo>
                <a:lnTo>
                  <a:pt x="676" y="146"/>
                </a:lnTo>
                <a:lnTo>
                  <a:pt x="675" y="150"/>
                </a:lnTo>
                <a:lnTo>
                  <a:pt x="672" y="152"/>
                </a:lnTo>
                <a:lnTo>
                  <a:pt x="670" y="154"/>
                </a:lnTo>
                <a:lnTo>
                  <a:pt x="668" y="156"/>
                </a:lnTo>
                <a:lnTo>
                  <a:pt x="665" y="157"/>
                </a:lnTo>
                <a:lnTo>
                  <a:pt x="663" y="158"/>
                </a:lnTo>
                <a:lnTo>
                  <a:pt x="659" y="157"/>
                </a:lnTo>
                <a:lnTo>
                  <a:pt x="658" y="154"/>
                </a:lnTo>
                <a:lnTo>
                  <a:pt x="658" y="152"/>
                </a:lnTo>
                <a:lnTo>
                  <a:pt x="659" y="151"/>
                </a:lnTo>
                <a:close/>
                <a:moveTo>
                  <a:pt x="707" y="114"/>
                </a:moveTo>
                <a:lnTo>
                  <a:pt x="710" y="107"/>
                </a:lnTo>
                <a:lnTo>
                  <a:pt x="714" y="102"/>
                </a:lnTo>
                <a:lnTo>
                  <a:pt x="719" y="97"/>
                </a:lnTo>
                <a:lnTo>
                  <a:pt x="725" y="93"/>
                </a:lnTo>
                <a:lnTo>
                  <a:pt x="727" y="90"/>
                </a:lnTo>
                <a:lnTo>
                  <a:pt x="731" y="89"/>
                </a:lnTo>
                <a:lnTo>
                  <a:pt x="733" y="87"/>
                </a:lnTo>
                <a:lnTo>
                  <a:pt x="737" y="87"/>
                </a:lnTo>
                <a:lnTo>
                  <a:pt x="740" y="87"/>
                </a:lnTo>
                <a:lnTo>
                  <a:pt x="742" y="89"/>
                </a:lnTo>
                <a:lnTo>
                  <a:pt x="746" y="91"/>
                </a:lnTo>
                <a:lnTo>
                  <a:pt x="747" y="95"/>
                </a:lnTo>
                <a:lnTo>
                  <a:pt x="748" y="97"/>
                </a:lnTo>
                <a:lnTo>
                  <a:pt x="747" y="102"/>
                </a:lnTo>
                <a:lnTo>
                  <a:pt x="744" y="110"/>
                </a:lnTo>
                <a:lnTo>
                  <a:pt x="740" y="117"/>
                </a:lnTo>
                <a:lnTo>
                  <a:pt x="738" y="119"/>
                </a:lnTo>
                <a:lnTo>
                  <a:pt x="734" y="122"/>
                </a:lnTo>
                <a:lnTo>
                  <a:pt x="731" y="123"/>
                </a:lnTo>
                <a:lnTo>
                  <a:pt x="727" y="124"/>
                </a:lnTo>
                <a:lnTo>
                  <a:pt x="716" y="128"/>
                </a:lnTo>
                <a:lnTo>
                  <a:pt x="703" y="132"/>
                </a:lnTo>
                <a:lnTo>
                  <a:pt x="705" y="122"/>
                </a:lnTo>
                <a:lnTo>
                  <a:pt x="707" y="114"/>
                </a:lnTo>
                <a:close/>
                <a:moveTo>
                  <a:pt x="775" y="26"/>
                </a:moveTo>
                <a:lnTo>
                  <a:pt x="780" y="26"/>
                </a:lnTo>
                <a:lnTo>
                  <a:pt x="785" y="25"/>
                </a:lnTo>
                <a:lnTo>
                  <a:pt x="789" y="24"/>
                </a:lnTo>
                <a:lnTo>
                  <a:pt x="794" y="23"/>
                </a:lnTo>
                <a:lnTo>
                  <a:pt x="796" y="27"/>
                </a:lnTo>
                <a:lnTo>
                  <a:pt x="797" y="32"/>
                </a:lnTo>
                <a:lnTo>
                  <a:pt x="792" y="41"/>
                </a:lnTo>
                <a:lnTo>
                  <a:pt x="785" y="51"/>
                </a:lnTo>
                <a:lnTo>
                  <a:pt x="783" y="52"/>
                </a:lnTo>
                <a:lnTo>
                  <a:pt x="782" y="52"/>
                </a:lnTo>
                <a:lnTo>
                  <a:pt x="778" y="55"/>
                </a:lnTo>
                <a:lnTo>
                  <a:pt x="774" y="55"/>
                </a:lnTo>
                <a:lnTo>
                  <a:pt x="772" y="53"/>
                </a:lnTo>
                <a:lnTo>
                  <a:pt x="771" y="47"/>
                </a:lnTo>
                <a:lnTo>
                  <a:pt x="767" y="48"/>
                </a:lnTo>
                <a:lnTo>
                  <a:pt x="765" y="48"/>
                </a:lnTo>
                <a:lnTo>
                  <a:pt x="762" y="49"/>
                </a:lnTo>
                <a:lnTo>
                  <a:pt x="761" y="49"/>
                </a:lnTo>
                <a:lnTo>
                  <a:pt x="760" y="47"/>
                </a:lnTo>
                <a:lnTo>
                  <a:pt x="760" y="45"/>
                </a:lnTo>
                <a:lnTo>
                  <a:pt x="760" y="41"/>
                </a:lnTo>
                <a:lnTo>
                  <a:pt x="760" y="38"/>
                </a:lnTo>
                <a:lnTo>
                  <a:pt x="761" y="35"/>
                </a:lnTo>
                <a:lnTo>
                  <a:pt x="763" y="32"/>
                </a:lnTo>
                <a:lnTo>
                  <a:pt x="766" y="30"/>
                </a:lnTo>
                <a:lnTo>
                  <a:pt x="768" y="28"/>
                </a:lnTo>
                <a:lnTo>
                  <a:pt x="772" y="26"/>
                </a:lnTo>
                <a:lnTo>
                  <a:pt x="775" y="26"/>
                </a:lnTo>
                <a:close/>
                <a:moveTo>
                  <a:pt x="802" y="93"/>
                </a:moveTo>
                <a:lnTo>
                  <a:pt x="806" y="93"/>
                </a:lnTo>
                <a:lnTo>
                  <a:pt x="808" y="94"/>
                </a:lnTo>
                <a:lnTo>
                  <a:pt x="810" y="96"/>
                </a:lnTo>
                <a:lnTo>
                  <a:pt x="811" y="100"/>
                </a:lnTo>
                <a:lnTo>
                  <a:pt x="808" y="102"/>
                </a:lnTo>
                <a:lnTo>
                  <a:pt x="803" y="104"/>
                </a:lnTo>
                <a:lnTo>
                  <a:pt x="802" y="103"/>
                </a:lnTo>
                <a:lnTo>
                  <a:pt x="801" y="102"/>
                </a:lnTo>
                <a:lnTo>
                  <a:pt x="801" y="97"/>
                </a:lnTo>
                <a:lnTo>
                  <a:pt x="802" y="93"/>
                </a:lnTo>
                <a:close/>
                <a:moveTo>
                  <a:pt x="827" y="759"/>
                </a:moveTo>
                <a:lnTo>
                  <a:pt x="828" y="766"/>
                </a:lnTo>
                <a:lnTo>
                  <a:pt x="830" y="772"/>
                </a:lnTo>
                <a:lnTo>
                  <a:pt x="825" y="772"/>
                </a:lnTo>
                <a:lnTo>
                  <a:pt x="823" y="771"/>
                </a:lnTo>
                <a:lnTo>
                  <a:pt x="824" y="766"/>
                </a:lnTo>
                <a:lnTo>
                  <a:pt x="827" y="759"/>
                </a:lnTo>
                <a:close/>
                <a:moveTo>
                  <a:pt x="787" y="844"/>
                </a:moveTo>
                <a:lnTo>
                  <a:pt x="789" y="843"/>
                </a:lnTo>
                <a:lnTo>
                  <a:pt x="792" y="842"/>
                </a:lnTo>
                <a:lnTo>
                  <a:pt x="793" y="844"/>
                </a:lnTo>
                <a:lnTo>
                  <a:pt x="793" y="846"/>
                </a:lnTo>
                <a:lnTo>
                  <a:pt x="790" y="850"/>
                </a:lnTo>
                <a:lnTo>
                  <a:pt x="786" y="855"/>
                </a:lnTo>
                <a:lnTo>
                  <a:pt x="787" y="849"/>
                </a:lnTo>
                <a:lnTo>
                  <a:pt x="787" y="844"/>
                </a:lnTo>
                <a:close/>
                <a:moveTo>
                  <a:pt x="782" y="809"/>
                </a:moveTo>
                <a:lnTo>
                  <a:pt x="780" y="809"/>
                </a:lnTo>
                <a:lnTo>
                  <a:pt x="779" y="808"/>
                </a:lnTo>
                <a:lnTo>
                  <a:pt x="779" y="807"/>
                </a:lnTo>
                <a:lnTo>
                  <a:pt x="779" y="804"/>
                </a:lnTo>
                <a:lnTo>
                  <a:pt x="780" y="802"/>
                </a:lnTo>
                <a:lnTo>
                  <a:pt x="780" y="801"/>
                </a:lnTo>
                <a:lnTo>
                  <a:pt x="778" y="800"/>
                </a:lnTo>
                <a:lnTo>
                  <a:pt x="775" y="800"/>
                </a:lnTo>
                <a:lnTo>
                  <a:pt x="774" y="799"/>
                </a:lnTo>
                <a:lnTo>
                  <a:pt x="772" y="796"/>
                </a:lnTo>
                <a:lnTo>
                  <a:pt x="780" y="796"/>
                </a:lnTo>
                <a:lnTo>
                  <a:pt x="787" y="796"/>
                </a:lnTo>
                <a:lnTo>
                  <a:pt x="785" y="803"/>
                </a:lnTo>
                <a:lnTo>
                  <a:pt x="782" y="809"/>
                </a:lnTo>
                <a:close/>
                <a:moveTo>
                  <a:pt x="780" y="821"/>
                </a:moveTo>
                <a:lnTo>
                  <a:pt x="779" y="822"/>
                </a:lnTo>
                <a:lnTo>
                  <a:pt x="776" y="822"/>
                </a:lnTo>
                <a:lnTo>
                  <a:pt x="776" y="820"/>
                </a:lnTo>
                <a:lnTo>
                  <a:pt x="776" y="817"/>
                </a:lnTo>
                <a:lnTo>
                  <a:pt x="780" y="814"/>
                </a:lnTo>
                <a:lnTo>
                  <a:pt x="782" y="809"/>
                </a:lnTo>
                <a:lnTo>
                  <a:pt x="783" y="809"/>
                </a:lnTo>
                <a:lnTo>
                  <a:pt x="783" y="809"/>
                </a:lnTo>
                <a:lnTo>
                  <a:pt x="785" y="813"/>
                </a:lnTo>
                <a:lnTo>
                  <a:pt x="783" y="815"/>
                </a:lnTo>
                <a:lnTo>
                  <a:pt x="781" y="817"/>
                </a:lnTo>
                <a:lnTo>
                  <a:pt x="780" y="821"/>
                </a:lnTo>
                <a:close/>
                <a:moveTo>
                  <a:pt x="771" y="841"/>
                </a:moveTo>
                <a:lnTo>
                  <a:pt x="775" y="837"/>
                </a:lnTo>
                <a:lnTo>
                  <a:pt x="780" y="834"/>
                </a:lnTo>
                <a:lnTo>
                  <a:pt x="781" y="835"/>
                </a:lnTo>
                <a:lnTo>
                  <a:pt x="783" y="836"/>
                </a:lnTo>
                <a:lnTo>
                  <a:pt x="779" y="845"/>
                </a:lnTo>
                <a:lnTo>
                  <a:pt x="774" y="855"/>
                </a:lnTo>
                <a:lnTo>
                  <a:pt x="772" y="853"/>
                </a:lnTo>
                <a:lnTo>
                  <a:pt x="769" y="853"/>
                </a:lnTo>
                <a:lnTo>
                  <a:pt x="772" y="848"/>
                </a:lnTo>
                <a:lnTo>
                  <a:pt x="773" y="842"/>
                </a:lnTo>
                <a:lnTo>
                  <a:pt x="772" y="841"/>
                </a:lnTo>
                <a:lnTo>
                  <a:pt x="771" y="841"/>
                </a:lnTo>
                <a:close/>
                <a:moveTo>
                  <a:pt x="802" y="797"/>
                </a:moveTo>
                <a:lnTo>
                  <a:pt x="797" y="793"/>
                </a:lnTo>
                <a:lnTo>
                  <a:pt x="795" y="789"/>
                </a:lnTo>
                <a:lnTo>
                  <a:pt x="796" y="786"/>
                </a:lnTo>
                <a:lnTo>
                  <a:pt x="800" y="780"/>
                </a:lnTo>
                <a:lnTo>
                  <a:pt x="801" y="788"/>
                </a:lnTo>
                <a:lnTo>
                  <a:pt x="802" y="797"/>
                </a:lnTo>
                <a:close/>
                <a:moveTo>
                  <a:pt x="806" y="496"/>
                </a:moveTo>
                <a:lnTo>
                  <a:pt x="801" y="497"/>
                </a:lnTo>
                <a:lnTo>
                  <a:pt x="797" y="497"/>
                </a:lnTo>
                <a:lnTo>
                  <a:pt x="794" y="496"/>
                </a:lnTo>
                <a:lnTo>
                  <a:pt x="790" y="494"/>
                </a:lnTo>
                <a:lnTo>
                  <a:pt x="785" y="488"/>
                </a:lnTo>
                <a:lnTo>
                  <a:pt x="779" y="482"/>
                </a:lnTo>
                <a:lnTo>
                  <a:pt x="778" y="479"/>
                </a:lnTo>
                <a:lnTo>
                  <a:pt x="778" y="474"/>
                </a:lnTo>
                <a:lnTo>
                  <a:pt x="779" y="468"/>
                </a:lnTo>
                <a:lnTo>
                  <a:pt x="780" y="464"/>
                </a:lnTo>
                <a:lnTo>
                  <a:pt x="782" y="461"/>
                </a:lnTo>
                <a:lnTo>
                  <a:pt x="785" y="459"/>
                </a:lnTo>
                <a:lnTo>
                  <a:pt x="788" y="457"/>
                </a:lnTo>
                <a:lnTo>
                  <a:pt x="793" y="455"/>
                </a:lnTo>
                <a:lnTo>
                  <a:pt x="802" y="453"/>
                </a:lnTo>
                <a:lnTo>
                  <a:pt x="813" y="452"/>
                </a:lnTo>
                <a:lnTo>
                  <a:pt x="821" y="453"/>
                </a:lnTo>
                <a:lnTo>
                  <a:pt x="829" y="455"/>
                </a:lnTo>
                <a:lnTo>
                  <a:pt x="830" y="457"/>
                </a:lnTo>
                <a:lnTo>
                  <a:pt x="830" y="459"/>
                </a:lnTo>
                <a:lnTo>
                  <a:pt x="827" y="474"/>
                </a:lnTo>
                <a:lnTo>
                  <a:pt x="822" y="489"/>
                </a:lnTo>
                <a:lnTo>
                  <a:pt x="820" y="494"/>
                </a:lnTo>
                <a:lnTo>
                  <a:pt x="816" y="496"/>
                </a:lnTo>
                <a:lnTo>
                  <a:pt x="811" y="497"/>
                </a:lnTo>
                <a:lnTo>
                  <a:pt x="806" y="496"/>
                </a:lnTo>
                <a:close/>
                <a:moveTo>
                  <a:pt x="803" y="774"/>
                </a:moveTo>
                <a:lnTo>
                  <a:pt x="803" y="762"/>
                </a:lnTo>
                <a:lnTo>
                  <a:pt x="804" y="751"/>
                </a:lnTo>
                <a:lnTo>
                  <a:pt x="806" y="748"/>
                </a:lnTo>
                <a:lnTo>
                  <a:pt x="808" y="746"/>
                </a:lnTo>
                <a:lnTo>
                  <a:pt x="810" y="750"/>
                </a:lnTo>
                <a:lnTo>
                  <a:pt x="811" y="753"/>
                </a:lnTo>
                <a:lnTo>
                  <a:pt x="813" y="757"/>
                </a:lnTo>
                <a:lnTo>
                  <a:pt x="813" y="759"/>
                </a:lnTo>
                <a:lnTo>
                  <a:pt x="810" y="766"/>
                </a:lnTo>
                <a:lnTo>
                  <a:pt x="803" y="774"/>
                </a:lnTo>
                <a:close/>
                <a:moveTo>
                  <a:pt x="808" y="746"/>
                </a:moveTo>
                <a:lnTo>
                  <a:pt x="807" y="744"/>
                </a:lnTo>
                <a:lnTo>
                  <a:pt x="807" y="740"/>
                </a:lnTo>
                <a:lnTo>
                  <a:pt x="813" y="740"/>
                </a:lnTo>
                <a:lnTo>
                  <a:pt x="818" y="739"/>
                </a:lnTo>
                <a:lnTo>
                  <a:pt x="816" y="744"/>
                </a:lnTo>
                <a:lnTo>
                  <a:pt x="814" y="746"/>
                </a:lnTo>
                <a:lnTo>
                  <a:pt x="811" y="746"/>
                </a:lnTo>
                <a:lnTo>
                  <a:pt x="808" y="746"/>
                </a:lnTo>
                <a:close/>
                <a:moveTo>
                  <a:pt x="836" y="788"/>
                </a:moveTo>
                <a:lnTo>
                  <a:pt x="838" y="793"/>
                </a:lnTo>
                <a:lnTo>
                  <a:pt x="837" y="796"/>
                </a:lnTo>
                <a:lnTo>
                  <a:pt x="835" y="797"/>
                </a:lnTo>
                <a:lnTo>
                  <a:pt x="829" y="799"/>
                </a:lnTo>
                <a:lnTo>
                  <a:pt x="832" y="793"/>
                </a:lnTo>
                <a:lnTo>
                  <a:pt x="836" y="788"/>
                </a:lnTo>
                <a:close/>
                <a:moveTo>
                  <a:pt x="845" y="729"/>
                </a:moveTo>
                <a:lnTo>
                  <a:pt x="849" y="726"/>
                </a:lnTo>
                <a:lnTo>
                  <a:pt x="852" y="725"/>
                </a:lnTo>
                <a:lnTo>
                  <a:pt x="852" y="722"/>
                </a:lnTo>
                <a:lnTo>
                  <a:pt x="852" y="719"/>
                </a:lnTo>
                <a:lnTo>
                  <a:pt x="854" y="717"/>
                </a:lnTo>
                <a:lnTo>
                  <a:pt x="855" y="715"/>
                </a:lnTo>
                <a:lnTo>
                  <a:pt x="859" y="711"/>
                </a:lnTo>
                <a:lnTo>
                  <a:pt x="863" y="706"/>
                </a:lnTo>
                <a:lnTo>
                  <a:pt x="864" y="705"/>
                </a:lnTo>
                <a:lnTo>
                  <a:pt x="865" y="704"/>
                </a:lnTo>
                <a:lnTo>
                  <a:pt x="868" y="701"/>
                </a:lnTo>
                <a:lnTo>
                  <a:pt x="870" y="699"/>
                </a:lnTo>
                <a:lnTo>
                  <a:pt x="872" y="698"/>
                </a:lnTo>
                <a:lnTo>
                  <a:pt x="876" y="698"/>
                </a:lnTo>
                <a:lnTo>
                  <a:pt x="875" y="701"/>
                </a:lnTo>
                <a:lnTo>
                  <a:pt x="872" y="702"/>
                </a:lnTo>
                <a:lnTo>
                  <a:pt x="875" y="704"/>
                </a:lnTo>
                <a:lnTo>
                  <a:pt x="877" y="706"/>
                </a:lnTo>
                <a:lnTo>
                  <a:pt x="877" y="709"/>
                </a:lnTo>
                <a:lnTo>
                  <a:pt x="876" y="711"/>
                </a:lnTo>
                <a:lnTo>
                  <a:pt x="872" y="711"/>
                </a:lnTo>
                <a:lnTo>
                  <a:pt x="869" y="710"/>
                </a:lnTo>
                <a:lnTo>
                  <a:pt x="869" y="711"/>
                </a:lnTo>
                <a:lnTo>
                  <a:pt x="868" y="712"/>
                </a:lnTo>
                <a:lnTo>
                  <a:pt x="869" y="715"/>
                </a:lnTo>
                <a:lnTo>
                  <a:pt x="869" y="717"/>
                </a:lnTo>
                <a:lnTo>
                  <a:pt x="869" y="719"/>
                </a:lnTo>
                <a:lnTo>
                  <a:pt x="868" y="720"/>
                </a:lnTo>
                <a:lnTo>
                  <a:pt x="864" y="724"/>
                </a:lnTo>
                <a:lnTo>
                  <a:pt x="861" y="726"/>
                </a:lnTo>
                <a:lnTo>
                  <a:pt x="858" y="727"/>
                </a:lnTo>
                <a:lnTo>
                  <a:pt x="856" y="729"/>
                </a:lnTo>
                <a:lnTo>
                  <a:pt x="852" y="731"/>
                </a:lnTo>
                <a:lnTo>
                  <a:pt x="848" y="733"/>
                </a:lnTo>
                <a:lnTo>
                  <a:pt x="847" y="731"/>
                </a:lnTo>
                <a:lnTo>
                  <a:pt x="845" y="729"/>
                </a:lnTo>
                <a:close/>
                <a:moveTo>
                  <a:pt x="856" y="369"/>
                </a:moveTo>
                <a:lnTo>
                  <a:pt x="856" y="364"/>
                </a:lnTo>
                <a:lnTo>
                  <a:pt x="857" y="360"/>
                </a:lnTo>
                <a:lnTo>
                  <a:pt x="859" y="355"/>
                </a:lnTo>
                <a:lnTo>
                  <a:pt x="862" y="352"/>
                </a:lnTo>
                <a:lnTo>
                  <a:pt x="868" y="345"/>
                </a:lnTo>
                <a:lnTo>
                  <a:pt x="875" y="339"/>
                </a:lnTo>
                <a:lnTo>
                  <a:pt x="879" y="335"/>
                </a:lnTo>
                <a:lnTo>
                  <a:pt x="885" y="334"/>
                </a:lnTo>
                <a:lnTo>
                  <a:pt x="891" y="334"/>
                </a:lnTo>
                <a:lnTo>
                  <a:pt x="896" y="333"/>
                </a:lnTo>
                <a:lnTo>
                  <a:pt x="900" y="338"/>
                </a:lnTo>
                <a:lnTo>
                  <a:pt x="904" y="345"/>
                </a:lnTo>
                <a:lnTo>
                  <a:pt x="905" y="348"/>
                </a:lnTo>
                <a:lnTo>
                  <a:pt x="904" y="352"/>
                </a:lnTo>
                <a:lnTo>
                  <a:pt x="904" y="352"/>
                </a:lnTo>
                <a:lnTo>
                  <a:pt x="904" y="352"/>
                </a:lnTo>
                <a:lnTo>
                  <a:pt x="905" y="359"/>
                </a:lnTo>
                <a:lnTo>
                  <a:pt x="906" y="364"/>
                </a:lnTo>
                <a:lnTo>
                  <a:pt x="906" y="370"/>
                </a:lnTo>
                <a:lnTo>
                  <a:pt x="905" y="376"/>
                </a:lnTo>
                <a:lnTo>
                  <a:pt x="901" y="381"/>
                </a:lnTo>
                <a:lnTo>
                  <a:pt x="897" y="383"/>
                </a:lnTo>
                <a:lnTo>
                  <a:pt x="893" y="385"/>
                </a:lnTo>
                <a:lnTo>
                  <a:pt x="890" y="388"/>
                </a:lnTo>
                <a:lnTo>
                  <a:pt x="886" y="390"/>
                </a:lnTo>
                <a:lnTo>
                  <a:pt x="883" y="391"/>
                </a:lnTo>
                <a:lnTo>
                  <a:pt x="879" y="391"/>
                </a:lnTo>
                <a:lnTo>
                  <a:pt x="876" y="390"/>
                </a:lnTo>
                <a:lnTo>
                  <a:pt x="873" y="390"/>
                </a:lnTo>
                <a:lnTo>
                  <a:pt x="871" y="389"/>
                </a:lnTo>
                <a:lnTo>
                  <a:pt x="865" y="389"/>
                </a:lnTo>
                <a:lnTo>
                  <a:pt x="862" y="388"/>
                </a:lnTo>
                <a:lnTo>
                  <a:pt x="859" y="387"/>
                </a:lnTo>
                <a:lnTo>
                  <a:pt x="857" y="384"/>
                </a:lnTo>
                <a:lnTo>
                  <a:pt x="856" y="377"/>
                </a:lnTo>
                <a:lnTo>
                  <a:pt x="856" y="369"/>
                </a:lnTo>
                <a:close/>
                <a:moveTo>
                  <a:pt x="914" y="420"/>
                </a:moveTo>
                <a:lnTo>
                  <a:pt x="913" y="420"/>
                </a:lnTo>
                <a:lnTo>
                  <a:pt x="913" y="420"/>
                </a:lnTo>
                <a:lnTo>
                  <a:pt x="912" y="427"/>
                </a:lnTo>
                <a:lnTo>
                  <a:pt x="911" y="432"/>
                </a:lnTo>
                <a:lnTo>
                  <a:pt x="907" y="438"/>
                </a:lnTo>
                <a:lnTo>
                  <a:pt x="903" y="441"/>
                </a:lnTo>
                <a:lnTo>
                  <a:pt x="899" y="444"/>
                </a:lnTo>
                <a:lnTo>
                  <a:pt x="897" y="444"/>
                </a:lnTo>
                <a:lnTo>
                  <a:pt x="894" y="441"/>
                </a:lnTo>
                <a:lnTo>
                  <a:pt x="893" y="439"/>
                </a:lnTo>
                <a:lnTo>
                  <a:pt x="892" y="436"/>
                </a:lnTo>
                <a:lnTo>
                  <a:pt x="891" y="433"/>
                </a:lnTo>
                <a:lnTo>
                  <a:pt x="887" y="429"/>
                </a:lnTo>
                <a:lnTo>
                  <a:pt x="886" y="425"/>
                </a:lnTo>
                <a:lnTo>
                  <a:pt x="886" y="420"/>
                </a:lnTo>
                <a:lnTo>
                  <a:pt x="890" y="415"/>
                </a:lnTo>
                <a:lnTo>
                  <a:pt x="893" y="410"/>
                </a:lnTo>
                <a:lnTo>
                  <a:pt x="897" y="404"/>
                </a:lnTo>
                <a:lnTo>
                  <a:pt x="900" y="403"/>
                </a:lnTo>
                <a:lnTo>
                  <a:pt x="904" y="403"/>
                </a:lnTo>
                <a:lnTo>
                  <a:pt x="910" y="411"/>
                </a:lnTo>
                <a:lnTo>
                  <a:pt x="914" y="420"/>
                </a:lnTo>
                <a:close/>
                <a:moveTo>
                  <a:pt x="891" y="685"/>
                </a:moveTo>
                <a:lnTo>
                  <a:pt x="887" y="687"/>
                </a:lnTo>
                <a:lnTo>
                  <a:pt x="885" y="689"/>
                </a:lnTo>
                <a:lnTo>
                  <a:pt x="884" y="691"/>
                </a:lnTo>
                <a:lnTo>
                  <a:pt x="884" y="695"/>
                </a:lnTo>
                <a:lnTo>
                  <a:pt x="884" y="697"/>
                </a:lnTo>
                <a:lnTo>
                  <a:pt x="883" y="701"/>
                </a:lnTo>
                <a:lnTo>
                  <a:pt x="883" y="703"/>
                </a:lnTo>
                <a:lnTo>
                  <a:pt x="880" y="705"/>
                </a:lnTo>
                <a:lnTo>
                  <a:pt x="878" y="702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3" y="696"/>
                </a:lnTo>
                <a:lnTo>
                  <a:pt x="871" y="694"/>
                </a:lnTo>
                <a:lnTo>
                  <a:pt x="872" y="691"/>
                </a:lnTo>
                <a:lnTo>
                  <a:pt x="875" y="689"/>
                </a:lnTo>
                <a:lnTo>
                  <a:pt x="876" y="687"/>
                </a:lnTo>
                <a:lnTo>
                  <a:pt x="878" y="684"/>
                </a:lnTo>
                <a:lnTo>
                  <a:pt x="884" y="682"/>
                </a:lnTo>
                <a:lnTo>
                  <a:pt x="890" y="680"/>
                </a:lnTo>
                <a:lnTo>
                  <a:pt x="891" y="681"/>
                </a:lnTo>
                <a:lnTo>
                  <a:pt x="892" y="681"/>
                </a:lnTo>
                <a:lnTo>
                  <a:pt x="894" y="684"/>
                </a:lnTo>
                <a:lnTo>
                  <a:pt x="898" y="687"/>
                </a:lnTo>
                <a:lnTo>
                  <a:pt x="901" y="685"/>
                </a:lnTo>
                <a:lnTo>
                  <a:pt x="906" y="684"/>
                </a:lnTo>
                <a:lnTo>
                  <a:pt x="906" y="684"/>
                </a:lnTo>
                <a:lnTo>
                  <a:pt x="907" y="685"/>
                </a:lnTo>
                <a:lnTo>
                  <a:pt x="903" y="692"/>
                </a:lnTo>
                <a:lnTo>
                  <a:pt x="898" y="699"/>
                </a:lnTo>
                <a:lnTo>
                  <a:pt x="897" y="699"/>
                </a:lnTo>
                <a:lnTo>
                  <a:pt x="897" y="699"/>
                </a:lnTo>
                <a:lnTo>
                  <a:pt x="897" y="697"/>
                </a:lnTo>
                <a:lnTo>
                  <a:pt x="897" y="695"/>
                </a:lnTo>
                <a:lnTo>
                  <a:pt x="892" y="694"/>
                </a:lnTo>
                <a:lnTo>
                  <a:pt x="890" y="692"/>
                </a:lnTo>
                <a:lnTo>
                  <a:pt x="890" y="690"/>
                </a:lnTo>
                <a:lnTo>
                  <a:pt x="891" y="685"/>
                </a:lnTo>
                <a:close/>
                <a:moveTo>
                  <a:pt x="917" y="643"/>
                </a:moveTo>
                <a:lnTo>
                  <a:pt x="918" y="643"/>
                </a:lnTo>
                <a:lnTo>
                  <a:pt x="918" y="643"/>
                </a:lnTo>
                <a:lnTo>
                  <a:pt x="924" y="638"/>
                </a:lnTo>
                <a:lnTo>
                  <a:pt x="931" y="632"/>
                </a:lnTo>
                <a:lnTo>
                  <a:pt x="935" y="626"/>
                </a:lnTo>
                <a:lnTo>
                  <a:pt x="940" y="618"/>
                </a:lnTo>
                <a:lnTo>
                  <a:pt x="946" y="611"/>
                </a:lnTo>
                <a:lnTo>
                  <a:pt x="953" y="606"/>
                </a:lnTo>
                <a:lnTo>
                  <a:pt x="956" y="605"/>
                </a:lnTo>
                <a:lnTo>
                  <a:pt x="960" y="605"/>
                </a:lnTo>
                <a:lnTo>
                  <a:pt x="963" y="606"/>
                </a:lnTo>
                <a:lnTo>
                  <a:pt x="967" y="606"/>
                </a:lnTo>
                <a:lnTo>
                  <a:pt x="968" y="612"/>
                </a:lnTo>
                <a:lnTo>
                  <a:pt x="967" y="615"/>
                </a:lnTo>
                <a:lnTo>
                  <a:pt x="963" y="619"/>
                </a:lnTo>
                <a:lnTo>
                  <a:pt x="956" y="625"/>
                </a:lnTo>
                <a:lnTo>
                  <a:pt x="953" y="628"/>
                </a:lnTo>
                <a:lnTo>
                  <a:pt x="949" y="633"/>
                </a:lnTo>
                <a:lnTo>
                  <a:pt x="947" y="635"/>
                </a:lnTo>
                <a:lnTo>
                  <a:pt x="946" y="638"/>
                </a:lnTo>
                <a:lnTo>
                  <a:pt x="945" y="639"/>
                </a:lnTo>
                <a:lnTo>
                  <a:pt x="944" y="639"/>
                </a:lnTo>
                <a:lnTo>
                  <a:pt x="942" y="639"/>
                </a:lnTo>
                <a:lnTo>
                  <a:pt x="940" y="639"/>
                </a:lnTo>
                <a:lnTo>
                  <a:pt x="939" y="640"/>
                </a:lnTo>
                <a:lnTo>
                  <a:pt x="938" y="641"/>
                </a:lnTo>
                <a:lnTo>
                  <a:pt x="934" y="649"/>
                </a:lnTo>
                <a:lnTo>
                  <a:pt x="930" y="657"/>
                </a:lnTo>
                <a:lnTo>
                  <a:pt x="924" y="662"/>
                </a:lnTo>
                <a:lnTo>
                  <a:pt x="918" y="667"/>
                </a:lnTo>
                <a:lnTo>
                  <a:pt x="920" y="669"/>
                </a:lnTo>
                <a:lnTo>
                  <a:pt x="923" y="671"/>
                </a:lnTo>
                <a:lnTo>
                  <a:pt x="923" y="673"/>
                </a:lnTo>
                <a:lnTo>
                  <a:pt x="923" y="673"/>
                </a:lnTo>
                <a:lnTo>
                  <a:pt x="919" y="674"/>
                </a:lnTo>
                <a:lnTo>
                  <a:pt x="914" y="676"/>
                </a:lnTo>
                <a:lnTo>
                  <a:pt x="913" y="677"/>
                </a:lnTo>
                <a:lnTo>
                  <a:pt x="911" y="677"/>
                </a:lnTo>
                <a:lnTo>
                  <a:pt x="908" y="677"/>
                </a:lnTo>
                <a:lnTo>
                  <a:pt x="906" y="676"/>
                </a:lnTo>
                <a:lnTo>
                  <a:pt x="910" y="674"/>
                </a:lnTo>
                <a:lnTo>
                  <a:pt x="911" y="671"/>
                </a:lnTo>
                <a:lnTo>
                  <a:pt x="910" y="668"/>
                </a:lnTo>
                <a:lnTo>
                  <a:pt x="907" y="664"/>
                </a:lnTo>
                <a:lnTo>
                  <a:pt x="904" y="669"/>
                </a:lnTo>
                <a:lnTo>
                  <a:pt x="900" y="674"/>
                </a:lnTo>
                <a:lnTo>
                  <a:pt x="899" y="671"/>
                </a:lnTo>
                <a:lnTo>
                  <a:pt x="898" y="669"/>
                </a:lnTo>
                <a:lnTo>
                  <a:pt x="899" y="666"/>
                </a:lnTo>
                <a:lnTo>
                  <a:pt x="900" y="663"/>
                </a:lnTo>
                <a:lnTo>
                  <a:pt x="905" y="662"/>
                </a:lnTo>
                <a:lnTo>
                  <a:pt x="907" y="660"/>
                </a:lnTo>
                <a:lnTo>
                  <a:pt x="906" y="657"/>
                </a:lnTo>
                <a:lnTo>
                  <a:pt x="904" y="655"/>
                </a:lnTo>
                <a:lnTo>
                  <a:pt x="911" y="649"/>
                </a:lnTo>
                <a:lnTo>
                  <a:pt x="917" y="643"/>
                </a:lnTo>
                <a:close/>
                <a:moveTo>
                  <a:pt x="923" y="325"/>
                </a:moveTo>
                <a:lnTo>
                  <a:pt x="924" y="321"/>
                </a:lnTo>
                <a:lnTo>
                  <a:pt x="924" y="317"/>
                </a:lnTo>
                <a:lnTo>
                  <a:pt x="925" y="315"/>
                </a:lnTo>
                <a:lnTo>
                  <a:pt x="926" y="315"/>
                </a:lnTo>
                <a:lnTo>
                  <a:pt x="928" y="322"/>
                </a:lnTo>
                <a:lnTo>
                  <a:pt x="931" y="328"/>
                </a:lnTo>
                <a:lnTo>
                  <a:pt x="933" y="334"/>
                </a:lnTo>
                <a:lnTo>
                  <a:pt x="934" y="341"/>
                </a:lnTo>
                <a:lnTo>
                  <a:pt x="935" y="347"/>
                </a:lnTo>
                <a:lnTo>
                  <a:pt x="933" y="353"/>
                </a:lnTo>
                <a:lnTo>
                  <a:pt x="930" y="357"/>
                </a:lnTo>
                <a:lnTo>
                  <a:pt x="925" y="360"/>
                </a:lnTo>
                <a:lnTo>
                  <a:pt x="921" y="355"/>
                </a:lnTo>
                <a:lnTo>
                  <a:pt x="920" y="352"/>
                </a:lnTo>
                <a:lnTo>
                  <a:pt x="920" y="345"/>
                </a:lnTo>
                <a:lnTo>
                  <a:pt x="920" y="338"/>
                </a:lnTo>
                <a:lnTo>
                  <a:pt x="920" y="332"/>
                </a:lnTo>
                <a:lnTo>
                  <a:pt x="923" y="325"/>
                </a:lnTo>
                <a:close/>
                <a:moveTo>
                  <a:pt x="941" y="385"/>
                </a:moveTo>
                <a:lnTo>
                  <a:pt x="945" y="391"/>
                </a:lnTo>
                <a:lnTo>
                  <a:pt x="947" y="397"/>
                </a:lnTo>
                <a:lnTo>
                  <a:pt x="949" y="399"/>
                </a:lnTo>
                <a:lnTo>
                  <a:pt x="949" y="402"/>
                </a:lnTo>
                <a:lnTo>
                  <a:pt x="948" y="404"/>
                </a:lnTo>
                <a:lnTo>
                  <a:pt x="946" y="406"/>
                </a:lnTo>
                <a:lnTo>
                  <a:pt x="942" y="409"/>
                </a:lnTo>
                <a:lnTo>
                  <a:pt x="940" y="411"/>
                </a:lnTo>
                <a:lnTo>
                  <a:pt x="939" y="411"/>
                </a:lnTo>
                <a:lnTo>
                  <a:pt x="937" y="410"/>
                </a:lnTo>
                <a:lnTo>
                  <a:pt x="935" y="409"/>
                </a:lnTo>
                <a:lnTo>
                  <a:pt x="933" y="408"/>
                </a:lnTo>
                <a:lnTo>
                  <a:pt x="930" y="403"/>
                </a:lnTo>
                <a:lnTo>
                  <a:pt x="925" y="399"/>
                </a:lnTo>
                <a:lnTo>
                  <a:pt x="923" y="395"/>
                </a:lnTo>
                <a:lnTo>
                  <a:pt x="921" y="390"/>
                </a:lnTo>
                <a:lnTo>
                  <a:pt x="923" y="387"/>
                </a:lnTo>
                <a:lnTo>
                  <a:pt x="925" y="382"/>
                </a:lnTo>
                <a:lnTo>
                  <a:pt x="927" y="380"/>
                </a:lnTo>
                <a:lnTo>
                  <a:pt x="931" y="378"/>
                </a:lnTo>
                <a:lnTo>
                  <a:pt x="935" y="378"/>
                </a:lnTo>
                <a:lnTo>
                  <a:pt x="938" y="380"/>
                </a:lnTo>
                <a:lnTo>
                  <a:pt x="940" y="382"/>
                </a:lnTo>
                <a:lnTo>
                  <a:pt x="941" y="385"/>
                </a:lnTo>
                <a:close/>
                <a:moveTo>
                  <a:pt x="959" y="510"/>
                </a:moveTo>
                <a:lnTo>
                  <a:pt x="960" y="510"/>
                </a:lnTo>
                <a:lnTo>
                  <a:pt x="961" y="510"/>
                </a:lnTo>
                <a:lnTo>
                  <a:pt x="960" y="511"/>
                </a:lnTo>
                <a:lnTo>
                  <a:pt x="959" y="511"/>
                </a:lnTo>
                <a:lnTo>
                  <a:pt x="959" y="511"/>
                </a:lnTo>
                <a:lnTo>
                  <a:pt x="959" y="510"/>
                </a:lnTo>
                <a:lnTo>
                  <a:pt x="959" y="510"/>
                </a:lnTo>
                <a:lnTo>
                  <a:pt x="959" y="510"/>
                </a:lnTo>
                <a:close/>
                <a:moveTo>
                  <a:pt x="1022" y="597"/>
                </a:moveTo>
                <a:lnTo>
                  <a:pt x="1024" y="598"/>
                </a:lnTo>
                <a:lnTo>
                  <a:pt x="1025" y="600"/>
                </a:lnTo>
                <a:lnTo>
                  <a:pt x="1016" y="611"/>
                </a:lnTo>
                <a:lnTo>
                  <a:pt x="1007" y="621"/>
                </a:lnTo>
                <a:lnTo>
                  <a:pt x="996" y="627"/>
                </a:lnTo>
                <a:lnTo>
                  <a:pt x="986" y="634"/>
                </a:lnTo>
                <a:lnTo>
                  <a:pt x="986" y="633"/>
                </a:lnTo>
                <a:lnTo>
                  <a:pt x="984" y="632"/>
                </a:lnTo>
                <a:lnTo>
                  <a:pt x="994" y="624"/>
                </a:lnTo>
                <a:lnTo>
                  <a:pt x="1003" y="614"/>
                </a:lnTo>
                <a:lnTo>
                  <a:pt x="1013" y="605"/>
                </a:lnTo>
                <a:lnTo>
                  <a:pt x="1022" y="597"/>
                </a:lnTo>
                <a:close/>
                <a:moveTo>
                  <a:pt x="1046" y="704"/>
                </a:moveTo>
                <a:lnTo>
                  <a:pt x="1049" y="702"/>
                </a:lnTo>
                <a:lnTo>
                  <a:pt x="1050" y="699"/>
                </a:lnTo>
                <a:lnTo>
                  <a:pt x="1049" y="697"/>
                </a:lnTo>
                <a:lnTo>
                  <a:pt x="1046" y="695"/>
                </a:lnTo>
                <a:lnTo>
                  <a:pt x="1051" y="696"/>
                </a:lnTo>
                <a:lnTo>
                  <a:pt x="1055" y="697"/>
                </a:lnTo>
                <a:lnTo>
                  <a:pt x="1055" y="701"/>
                </a:lnTo>
                <a:lnTo>
                  <a:pt x="1053" y="704"/>
                </a:lnTo>
                <a:lnTo>
                  <a:pt x="1048" y="713"/>
                </a:lnTo>
                <a:lnTo>
                  <a:pt x="1043" y="722"/>
                </a:lnTo>
                <a:lnTo>
                  <a:pt x="1041" y="726"/>
                </a:lnTo>
                <a:lnTo>
                  <a:pt x="1038" y="731"/>
                </a:lnTo>
                <a:lnTo>
                  <a:pt x="1034" y="733"/>
                </a:lnTo>
                <a:lnTo>
                  <a:pt x="1030" y="737"/>
                </a:lnTo>
                <a:lnTo>
                  <a:pt x="1027" y="741"/>
                </a:lnTo>
                <a:lnTo>
                  <a:pt x="1023" y="750"/>
                </a:lnTo>
                <a:lnTo>
                  <a:pt x="1021" y="753"/>
                </a:lnTo>
                <a:lnTo>
                  <a:pt x="1018" y="755"/>
                </a:lnTo>
                <a:lnTo>
                  <a:pt x="1015" y="759"/>
                </a:lnTo>
                <a:lnTo>
                  <a:pt x="1011" y="762"/>
                </a:lnTo>
                <a:lnTo>
                  <a:pt x="1006" y="767"/>
                </a:lnTo>
                <a:lnTo>
                  <a:pt x="1001" y="772"/>
                </a:lnTo>
                <a:lnTo>
                  <a:pt x="997" y="778"/>
                </a:lnTo>
                <a:lnTo>
                  <a:pt x="993" y="782"/>
                </a:lnTo>
                <a:lnTo>
                  <a:pt x="989" y="785"/>
                </a:lnTo>
                <a:lnTo>
                  <a:pt x="986" y="788"/>
                </a:lnTo>
                <a:lnTo>
                  <a:pt x="984" y="789"/>
                </a:lnTo>
                <a:lnTo>
                  <a:pt x="983" y="790"/>
                </a:lnTo>
                <a:lnTo>
                  <a:pt x="980" y="793"/>
                </a:lnTo>
                <a:lnTo>
                  <a:pt x="976" y="795"/>
                </a:lnTo>
                <a:lnTo>
                  <a:pt x="974" y="797"/>
                </a:lnTo>
                <a:lnTo>
                  <a:pt x="972" y="799"/>
                </a:lnTo>
                <a:lnTo>
                  <a:pt x="968" y="804"/>
                </a:lnTo>
                <a:lnTo>
                  <a:pt x="963" y="811"/>
                </a:lnTo>
                <a:lnTo>
                  <a:pt x="960" y="807"/>
                </a:lnTo>
                <a:lnTo>
                  <a:pt x="956" y="803"/>
                </a:lnTo>
                <a:lnTo>
                  <a:pt x="960" y="801"/>
                </a:lnTo>
                <a:lnTo>
                  <a:pt x="963" y="800"/>
                </a:lnTo>
                <a:lnTo>
                  <a:pt x="962" y="797"/>
                </a:lnTo>
                <a:lnTo>
                  <a:pt x="963" y="794"/>
                </a:lnTo>
                <a:lnTo>
                  <a:pt x="965" y="793"/>
                </a:lnTo>
                <a:lnTo>
                  <a:pt x="969" y="790"/>
                </a:lnTo>
                <a:lnTo>
                  <a:pt x="968" y="789"/>
                </a:lnTo>
                <a:lnTo>
                  <a:pt x="967" y="788"/>
                </a:lnTo>
                <a:lnTo>
                  <a:pt x="962" y="789"/>
                </a:lnTo>
                <a:lnTo>
                  <a:pt x="960" y="790"/>
                </a:lnTo>
                <a:lnTo>
                  <a:pt x="955" y="796"/>
                </a:lnTo>
                <a:lnTo>
                  <a:pt x="952" y="802"/>
                </a:lnTo>
                <a:lnTo>
                  <a:pt x="952" y="802"/>
                </a:lnTo>
                <a:lnTo>
                  <a:pt x="953" y="802"/>
                </a:lnTo>
                <a:lnTo>
                  <a:pt x="945" y="808"/>
                </a:lnTo>
                <a:lnTo>
                  <a:pt x="937" y="814"/>
                </a:lnTo>
                <a:lnTo>
                  <a:pt x="938" y="816"/>
                </a:lnTo>
                <a:lnTo>
                  <a:pt x="938" y="817"/>
                </a:lnTo>
                <a:lnTo>
                  <a:pt x="948" y="814"/>
                </a:lnTo>
                <a:lnTo>
                  <a:pt x="959" y="810"/>
                </a:lnTo>
                <a:lnTo>
                  <a:pt x="954" y="815"/>
                </a:lnTo>
                <a:lnTo>
                  <a:pt x="948" y="820"/>
                </a:lnTo>
                <a:lnTo>
                  <a:pt x="941" y="821"/>
                </a:lnTo>
                <a:lnTo>
                  <a:pt x="935" y="821"/>
                </a:lnTo>
                <a:lnTo>
                  <a:pt x="932" y="818"/>
                </a:lnTo>
                <a:lnTo>
                  <a:pt x="930" y="815"/>
                </a:lnTo>
                <a:lnTo>
                  <a:pt x="931" y="811"/>
                </a:lnTo>
                <a:lnTo>
                  <a:pt x="934" y="808"/>
                </a:lnTo>
                <a:lnTo>
                  <a:pt x="937" y="806"/>
                </a:lnTo>
                <a:lnTo>
                  <a:pt x="940" y="803"/>
                </a:lnTo>
                <a:lnTo>
                  <a:pt x="944" y="799"/>
                </a:lnTo>
                <a:lnTo>
                  <a:pt x="947" y="795"/>
                </a:lnTo>
                <a:lnTo>
                  <a:pt x="952" y="792"/>
                </a:lnTo>
                <a:lnTo>
                  <a:pt x="955" y="787"/>
                </a:lnTo>
                <a:lnTo>
                  <a:pt x="961" y="775"/>
                </a:lnTo>
                <a:lnTo>
                  <a:pt x="968" y="766"/>
                </a:lnTo>
                <a:lnTo>
                  <a:pt x="976" y="755"/>
                </a:lnTo>
                <a:lnTo>
                  <a:pt x="986" y="747"/>
                </a:lnTo>
                <a:lnTo>
                  <a:pt x="995" y="737"/>
                </a:lnTo>
                <a:lnTo>
                  <a:pt x="1003" y="725"/>
                </a:lnTo>
                <a:lnTo>
                  <a:pt x="1013" y="717"/>
                </a:lnTo>
                <a:lnTo>
                  <a:pt x="1023" y="709"/>
                </a:lnTo>
                <a:lnTo>
                  <a:pt x="1024" y="713"/>
                </a:lnTo>
                <a:lnTo>
                  <a:pt x="1025" y="716"/>
                </a:lnTo>
                <a:lnTo>
                  <a:pt x="1029" y="713"/>
                </a:lnTo>
                <a:lnTo>
                  <a:pt x="1032" y="712"/>
                </a:lnTo>
                <a:lnTo>
                  <a:pt x="1032" y="715"/>
                </a:lnTo>
                <a:lnTo>
                  <a:pt x="1032" y="717"/>
                </a:lnTo>
                <a:lnTo>
                  <a:pt x="1034" y="717"/>
                </a:lnTo>
                <a:lnTo>
                  <a:pt x="1034" y="717"/>
                </a:lnTo>
                <a:lnTo>
                  <a:pt x="1036" y="713"/>
                </a:lnTo>
                <a:lnTo>
                  <a:pt x="1036" y="711"/>
                </a:lnTo>
                <a:lnTo>
                  <a:pt x="1032" y="708"/>
                </a:lnTo>
                <a:lnTo>
                  <a:pt x="1028" y="705"/>
                </a:lnTo>
                <a:lnTo>
                  <a:pt x="1030" y="705"/>
                </a:lnTo>
                <a:lnTo>
                  <a:pt x="1034" y="705"/>
                </a:lnTo>
                <a:lnTo>
                  <a:pt x="1039" y="705"/>
                </a:lnTo>
                <a:lnTo>
                  <a:pt x="1046" y="704"/>
                </a:lnTo>
                <a:close/>
                <a:moveTo>
                  <a:pt x="1062" y="605"/>
                </a:moveTo>
                <a:lnTo>
                  <a:pt x="1062" y="612"/>
                </a:lnTo>
                <a:lnTo>
                  <a:pt x="1063" y="619"/>
                </a:lnTo>
                <a:lnTo>
                  <a:pt x="1062" y="621"/>
                </a:lnTo>
                <a:lnTo>
                  <a:pt x="1059" y="622"/>
                </a:lnTo>
                <a:lnTo>
                  <a:pt x="1057" y="621"/>
                </a:lnTo>
                <a:lnTo>
                  <a:pt x="1056" y="620"/>
                </a:lnTo>
                <a:lnTo>
                  <a:pt x="1053" y="615"/>
                </a:lnTo>
                <a:lnTo>
                  <a:pt x="1053" y="612"/>
                </a:lnTo>
                <a:lnTo>
                  <a:pt x="1056" y="608"/>
                </a:lnTo>
                <a:lnTo>
                  <a:pt x="1062" y="605"/>
                </a:lnTo>
                <a:close/>
                <a:moveTo>
                  <a:pt x="921" y="837"/>
                </a:moveTo>
                <a:lnTo>
                  <a:pt x="920" y="836"/>
                </a:lnTo>
                <a:lnTo>
                  <a:pt x="920" y="835"/>
                </a:lnTo>
                <a:lnTo>
                  <a:pt x="933" y="830"/>
                </a:lnTo>
                <a:lnTo>
                  <a:pt x="946" y="824"/>
                </a:lnTo>
                <a:lnTo>
                  <a:pt x="944" y="829"/>
                </a:lnTo>
                <a:lnTo>
                  <a:pt x="940" y="831"/>
                </a:lnTo>
                <a:lnTo>
                  <a:pt x="933" y="834"/>
                </a:lnTo>
                <a:lnTo>
                  <a:pt x="921" y="837"/>
                </a:lnTo>
                <a:close/>
                <a:moveTo>
                  <a:pt x="970" y="831"/>
                </a:moveTo>
                <a:lnTo>
                  <a:pt x="972" y="832"/>
                </a:lnTo>
                <a:lnTo>
                  <a:pt x="972" y="832"/>
                </a:lnTo>
                <a:lnTo>
                  <a:pt x="962" y="841"/>
                </a:lnTo>
                <a:lnTo>
                  <a:pt x="953" y="849"/>
                </a:lnTo>
                <a:lnTo>
                  <a:pt x="953" y="850"/>
                </a:lnTo>
                <a:lnTo>
                  <a:pt x="953" y="850"/>
                </a:lnTo>
                <a:lnTo>
                  <a:pt x="947" y="853"/>
                </a:lnTo>
                <a:lnTo>
                  <a:pt x="940" y="858"/>
                </a:lnTo>
                <a:lnTo>
                  <a:pt x="942" y="856"/>
                </a:lnTo>
                <a:lnTo>
                  <a:pt x="944" y="853"/>
                </a:lnTo>
                <a:lnTo>
                  <a:pt x="940" y="855"/>
                </a:lnTo>
                <a:lnTo>
                  <a:pt x="938" y="855"/>
                </a:lnTo>
                <a:lnTo>
                  <a:pt x="937" y="852"/>
                </a:lnTo>
                <a:lnTo>
                  <a:pt x="934" y="849"/>
                </a:lnTo>
                <a:lnTo>
                  <a:pt x="942" y="842"/>
                </a:lnTo>
                <a:lnTo>
                  <a:pt x="951" y="837"/>
                </a:lnTo>
                <a:lnTo>
                  <a:pt x="961" y="834"/>
                </a:lnTo>
                <a:lnTo>
                  <a:pt x="970" y="831"/>
                </a:lnTo>
                <a:close/>
                <a:moveTo>
                  <a:pt x="1051" y="823"/>
                </a:moveTo>
                <a:lnTo>
                  <a:pt x="1055" y="827"/>
                </a:lnTo>
                <a:lnTo>
                  <a:pt x="1058" y="831"/>
                </a:lnTo>
                <a:lnTo>
                  <a:pt x="1056" y="832"/>
                </a:lnTo>
                <a:lnTo>
                  <a:pt x="1052" y="835"/>
                </a:lnTo>
                <a:lnTo>
                  <a:pt x="1050" y="829"/>
                </a:lnTo>
                <a:lnTo>
                  <a:pt x="1049" y="824"/>
                </a:lnTo>
                <a:lnTo>
                  <a:pt x="1050" y="824"/>
                </a:lnTo>
                <a:lnTo>
                  <a:pt x="1051" y="823"/>
                </a:lnTo>
                <a:close/>
                <a:moveTo>
                  <a:pt x="1100" y="797"/>
                </a:moveTo>
                <a:lnTo>
                  <a:pt x="1101" y="799"/>
                </a:lnTo>
                <a:lnTo>
                  <a:pt x="1101" y="799"/>
                </a:lnTo>
                <a:lnTo>
                  <a:pt x="1099" y="802"/>
                </a:lnTo>
                <a:lnTo>
                  <a:pt x="1097" y="804"/>
                </a:lnTo>
                <a:lnTo>
                  <a:pt x="1093" y="806"/>
                </a:lnTo>
                <a:lnTo>
                  <a:pt x="1090" y="806"/>
                </a:lnTo>
                <a:lnTo>
                  <a:pt x="1089" y="804"/>
                </a:lnTo>
                <a:lnTo>
                  <a:pt x="1089" y="803"/>
                </a:lnTo>
                <a:lnTo>
                  <a:pt x="1094" y="800"/>
                </a:lnTo>
                <a:lnTo>
                  <a:pt x="1100" y="797"/>
                </a:lnTo>
                <a:close/>
                <a:moveTo>
                  <a:pt x="1016" y="902"/>
                </a:moveTo>
                <a:lnTo>
                  <a:pt x="1023" y="899"/>
                </a:lnTo>
                <a:lnTo>
                  <a:pt x="1029" y="895"/>
                </a:lnTo>
                <a:lnTo>
                  <a:pt x="1032" y="895"/>
                </a:lnTo>
                <a:lnTo>
                  <a:pt x="1036" y="897"/>
                </a:lnTo>
                <a:lnTo>
                  <a:pt x="1036" y="901"/>
                </a:lnTo>
                <a:lnTo>
                  <a:pt x="1034" y="905"/>
                </a:lnTo>
                <a:lnTo>
                  <a:pt x="1028" y="908"/>
                </a:lnTo>
                <a:lnTo>
                  <a:pt x="1021" y="911"/>
                </a:lnTo>
                <a:lnTo>
                  <a:pt x="1007" y="916"/>
                </a:lnTo>
                <a:lnTo>
                  <a:pt x="993" y="925"/>
                </a:lnTo>
                <a:lnTo>
                  <a:pt x="992" y="923"/>
                </a:lnTo>
                <a:lnTo>
                  <a:pt x="990" y="921"/>
                </a:lnTo>
                <a:lnTo>
                  <a:pt x="990" y="916"/>
                </a:lnTo>
                <a:lnTo>
                  <a:pt x="993" y="914"/>
                </a:lnTo>
                <a:lnTo>
                  <a:pt x="995" y="912"/>
                </a:lnTo>
                <a:lnTo>
                  <a:pt x="999" y="911"/>
                </a:lnTo>
                <a:lnTo>
                  <a:pt x="999" y="911"/>
                </a:lnTo>
                <a:lnTo>
                  <a:pt x="999" y="911"/>
                </a:lnTo>
                <a:lnTo>
                  <a:pt x="1008" y="906"/>
                </a:lnTo>
                <a:lnTo>
                  <a:pt x="1016" y="902"/>
                </a:lnTo>
                <a:close/>
                <a:moveTo>
                  <a:pt x="962" y="1074"/>
                </a:moveTo>
                <a:lnTo>
                  <a:pt x="958" y="1074"/>
                </a:lnTo>
                <a:lnTo>
                  <a:pt x="954" y="1075"/>
                </a:lnTo>
                <a:lnTo>
                  <a:pt x="953" y="1074"/>
                </a:lnTo>
                <a:lnTo>
                  <a:pt x="953" y="1073"/>
                </a:lnTo>
                <a:lnTo>
                  <a:pt x="958" y="1072"/>
                </a:lnTo>
                <a:lnTo>
                  <a:pt x="961" y="1070"/>
                </a:lnTo>
                <a:lnTo>
                  <a:pt x="962" y="1072"/>
                </a:lnTo>
                <a:lnTo>
                  <a:pt x="962" y="1074"/>
                </a:lnTo>
                <a:close/>
                <a:moveTo>
                  <a:pt x="1118" y="864"/>
                </a:moveTo>
                <a:lnTo>
                  <a:pt x="1118" y="866"/>
                </a:lnTo>
                <a:lnTo>
                  <a:pt x="1119" y="869"/>
                </a:lnTo>
                <a:lnTo>
                  <a:pt x="1124" y="869"/>
                </a:lnTo>
                <a:lnTo>
                  <a:pt x="1130" y="867"/>
                </a:lnTo>
                <a:lnTo>
                  <a:pt x="1125" y="872"/>
                </a:lnTo>
                <a:lnTo>
                  <a:pt x="1122" y="876"/>
                </a:lnTo>
                <a:lnTo>
                  <a:pt x="1125" y="881"/>
                </a:lnTo>
                <a:lnTo>
                  <a:pt x="1127" y="887"/>
                </a:lnTo>
                <a:lnTo>
                  <a:pt x="1128" y="890"/>
                </a:lnTo>
                <a:lnTo>
                  <a:pt x="1132" y="891"/>
                </a:lnTo>
                <a:lnTo>
                  <a:pt x="1134" y="891"/>
                </a:lnTo>
                <a:lnTo>
                  <a:pt x="1137" y="890"/>
                </a:lnTo>
                <a:lnTo>
                  <a:pt x="1139" y="887"/>
                </a:lnTo>
                <a:lnTo>
                  <a:pt x="1140" y="886"/>
                </a:lnTo>
                <a:lnTo>
                  <a:pt x="1146" y="888"/>
                </a:lnTo>
                <a:lnTo>
                  <a:pt x="1152" y="891"/>
                </a:lnTo>
                <a:lnTo>
                  <a:pt x="1149" y="879"/>
                </a:lnTo>
                <a:lnTo>
                  <a:pt x="1148" y="869"/>
                </a:lnTo>
                <a:lnTo>
                  <a:pt x="1145" y="869"/>
                </a:lnTo>
                <a:lnTo>
                  <a:pt x="1144" y="869"/>
                </a:lnTo>
                <a:lnTo>
                  <a:pt x="1139" y="863"/>
                </a:lnTo>
                <a:lnTo>
                  <a:pt x="1134" y="858"/>
                </a:lnTo>
                <a:lnTo>
                  <a:pt x="1135" y="855"/>
                </a:lnTo>
                <a:lnTo>
                  <a:pt x="1137" y="851"/>
                </a:lnTo>
                <a:lnTo>
                  <a:pt x="1139" y="848"/>
                </a:lnTo>
                <a:lnTo>
                  <a:pt x="1144" y="846"/>
                </a:lnTo>
                <a:lnTo>
                  <a:pt x="1147" y="844"/>
                </a:lnTo>
                <a:lnTo>
                  <a:pt x="1149" y="841"/>
                </a:lnTo>
                <a:lnTo>
                  <a:pt x="1151" y="839"/>
                </a:lnTo>
                <a:lnTo>
                  <a:pt x="1154" y="837"/>
                </a:lnTo>
                <a:lnTo>
                  <a:pt x="1154" y="841"/>
                </a:lnTo>
                <a:lnTo>
                  <a:pt x="1154" y="842"/>
                </a:lnTo>
                <a:lnTo>
                  <a:pt x="1151" y="848"/>
                </a:lnTo>
                <a:lnTo>
                  <a:pt x="1149" y="852"/>
                </a:lnTo>
                <a:lnTo>
                  <a:pt x="1151" y="858"/>
                </a:lnTo>
                <a:lnTo>
                  <a:pt x="1153" y="864"/>
                </a:lnTo>
                <a:lnTo>
                  <a:pt x="1154" y="867"/>
                </a:lnTo>
                <a:lnTo>
                  <a:pt x="1154" y="871"/>
                </a:lnTo>
                <a:lnTo>
                  <a:pt x="1155" y="874"/>
                </a:lnTo>
                <a:lnTo>
                  <a:pt x="1159" y="878"/>
                </a:lnTo>
                <a:lnTo>
                  <a:pt x="1160" y="879"/>
                </a:lnTo>
                <a:lnTo>
                  <a:pt x="1163" y="880"/>
                </a:lnTo>
                <a:lnTo>
                  <a:pt x="1163" y="878"/>
                </a:lnTo>
                <a:lnTo>
                  <a:pt x="1165" y="874"/>
                </a:lnTo>
                <a:lnTo>
                  <a:pt x="1165" y="871"/>
                </a:lnTo>
                <a:lnTo>
                  <a:pt x="1165" y="866"/>
                </a:lnTo>
                <a:lnTo>
                  <a:pt x="1169" y="866"/>
                </a:lnTo>
                <a:lnTo>
                  <a:pt x="1174" y="866"/>
                </a:lnTo>
                <a:lnTo>
                  <a:pt x="1183" y="864"/>
                </a:lnTo>
                <a:lnTo>
                  <a:pt x="1193" y="862"/>
                </a:lnTo>
                <a:lnTo>
                  <a:pt x="1196" y="859"/>
                </a:lnTo>
                <a:lnTo>
                  <a:pt x="1200" y="857"/>
                </a:lnTo>
                <a:lnTo>
                  <a:pt x="1202" y="860"/>
                </a:lnTo>
                <a:lnTo>
                  <a:pt x="1206" y="864"/>
                </a:lnTo>
                <a:lnTo>
                  <a:pt x="1203" y="866"/>
                </a:lnTo>
                <a:lnTo>
                  <a:pt x="1200" y="869"/>
                </a:lnTo>
                <a:lnTo>
                  <a:pt x="1202" y="869"/>
                </a:lnTo>
                <a:lnTo>
                  <a:pt x="1206" y="870"/>
                </a:lnTo>
                <a:lnTo>
                  <a:pt x="1195" y="877"/>
                </a:lnTo>
                <a:lnTo>
                  <a:pt x="1184" y="883"/>
                </a:lnTo>
                <a:lnTo>
                  <a:pt x="1180" y="886"/>
                </a:lnTo>
                <a:lnTo>
                  <a:pt x="1175" y="890"/>
                </a:lnTo>
                <a:lnTo>
                  <a:pt x="1170" y="894"/>
                </a:lnTo>
                <a:lnTo>
                  <a:pt x="1168" y="900"/>
                </a:lnTo>
                <a:lnTo>
                  <a:pt x="1166" y="898"/>
                </a:lnTo>
                <a:lnTo>
                  <a:pt x="1165" y="897"/>
                </a:lnTo>
                <a:lnTo>
                  <a:pt x="1163" y="897"/>
                </a:lnTo>
                <a:lnTo>
                  <a:pt x="1161" y="898"/>
                </a:lnTo>
                <a:lnTo>
                  <a:pt x="1158" y="904"/>
                </a:lnTo>
                <a:lnTo>
                  <a:pt x="1151" y="913"/>
                </a:lnTo>
                <a:lnTo>
                  <a:pt x="1151" y="911"/>
                </a:lnTo>
                <a:lnTo>
                  <a:pt x="1149" y="908"/>
                </a:lnTo>
                <a:lnTo>
                  <a:pt x="1148" y="908"/>
                </a:lnTo>
                <a:lnTo>
                  <a:pt x="1147" y="909"/>
                </a:lnTo>
                <a:lnTo>
                  <a:pt x="1146" y="913"/>
                </a:lnTo>
                <a:lnTo>
                  <a:pt x="1142" y="916"/>
                </a:lnTo>
                <a:lnTo>
                  <a:pt x="1140" y="919"/>
                </a:lnTo>
                <a:lnTo>
                  <a:pt x="1137" y="920"/>
                </a:lnTo>
                <a:lnTo>
                  <a:pt x="1128" y="923"/>
                </a:lnTo>
                <a:lnTo>
                  <a:pt x="1121" y="928"/>
                </a:lnTo>
                <a:lnTo>
                  <a:pt x="1114" y="932"/>
                </a:lnTo>
                <a:lnTo>
                  <a:pt x="1107" y="936"/>
                </a:lnTo>
                <a:lnTo>
                  <a:pt x="1105" y="940"/>
                </a:lnTo>
                <a:lnTo>
                  <a:pt x="1103" y="943"/>
                </a:lnTo>
                <a:lnTo>
                  <a:pt x="1104" y="946"/>
                </a:lnTo>
                <a:lnTo>
                  <a:pt x="1105" y="947"/>
                </a:lnTo>
                <a:lnTo>
                  <a:pt x="1093" y="948"/>
                </a:lnTo>
                <a:lnTo>
                  <a:pt x="1083" y="949"/>
                </a:lnTo>
                <a:lnTo>
                  <a:pt x="1084" y="953"/>
                </a:lnTo>
                <a:lnTo>
                  <a:pt x="1085" y="955"/>
                </a:lnTo>
                <a:lnTo>
                  <a:pt x="1085" y="958"/>
                </a:lnTo>
                <a:lnTo>
                  <a:pt x="1083" y="962"/>
                </a:lnTo>
                <a:lnTo>
                  <a:pt x="1077" y="960"/>
                </a:lnTo>
                <a:lnTo>
                  <a:pt x="1071" y="958"/>
                </a:lnTo>
                <a:lnTo>
                  <a:pt x="1065" y="960"/>
                </a:lnTo>
                <a:lnTo>
                  <a:pt x="1057" y="964"/>
                </a:lnTo>
                <a:lnTo>
                  <a:pt x="1063" y="967"/>
                </a:lnTo>
                <a:lnTo>
                  <a:pt x="1066" y="969"/>
                </a:lnTo>
                <a:lnTo>
                  <a:pt x="1068" y="965"/>
                </a:lnTo>
                <a:lnTo>
                  <a:pt x="1070" y="962"/>
                </a:lnTo>
                <a:lnTo>
                  <a:pt x="1071" y="963"/>
                </a:lnTo>
                <a:lnTo>
                  <a:pt x="1075" y="964"/>
                </a:lnTo>
                <a:lnTo>
                  <a:pt x="1075" y="967"/>
                </a:lnTo>
                <a:lnTo>
                  <a:pt x="1073" y="969"/>
                </a:lnTo>
                <a:lnTo>
                  <a:pt x="1065" y="974"/>
                </a:lnTo>
                <a:lnTo>
                  <a:pt x="1056" y="981"/>
                </a:lnTo>
                <a:lnTo>
                  <a:pt x="1055" y="972"/>
                </a:lnTo>
                <a:lnTo>
                  <a:pt x="1055" y="967"/>
                </a:lnTo>
                <a:lnTo>
                  <a:pt x="1046" y="969"/>
                </a:lnTo>
                <a:lnTo>
                  <a:pt x="1037" y="972"/>
                </a:lnTo>
                <a:lnTo>
                  <a:pt x="1043" y="977"/>
                </a:lnTo>
                <a:lnTo>
                  <a:pt x="1049" y="983"/>
                </a:lnTo>
                <a:lnTo>
                  <a:pt x="1037" y="988"/>
                </a:lnTo>
                <a:lnTo>
                  <a:pt x="1024" y="993"/>
                </a:lnTo>
                <a:lnTo>
                  <a:pt x="1011" y="997"/>
                </a:lnTo>
                <a:lnTo>
                  <a:pt x="1000" y="1002"/>
                </a:lnTo>
                <a:lnTo>
                  <a:pt x="987" y="1006"/>
                </a:lnTo>
                <a:lnTo>
                  <a:pt x="975" y="1012"/>
                </a:lnTo>
                <a:lnTo>
                  <a:pt x="973" y="1013"/>
                </a:lnTo>
                <a:lnTo>
                  <a:pt x="970" y="1013"/>
                </a:lnTo>
                <a:lnTo>
                  <a:pt x="966" y="1013"/>
                </a:lnTo>
                <a:lnTo>
                  <a:pt x="960" y="1013"/>
                </a:lnTo>
                <a:lnTo>
                  <a:pt x="959" y="1009"/>
                </a:lnTo>
                <a:lnTo>
                  <a:pt x="956" y="1003"/>
                </a:lnTo>
                <a:lnTo>
                  <a:pt x="966" y="1005"/>
                </a:lnTo>
                <a:lnTo>
                  <a:pt x="974" y="1006"/>
                </a:lnTo>
                <a:lnTo>
                  <a:pt x="981" y="1004"/>
                </a:lnTo>
                <a:lnTo>
                  <a:pt x="989" y="1000"/>
                </a:lnTo>
                <a:lnTo>
                  <a:pt x="988" y="999"/>
                </a:lnTo>
                <a:lnTo>
                  <a:pt x="988" y="998"/>
                </a:lnTo>
                <a:lnTo>
                  <a:pt x="979" y="999"/>
                </a:lnTo>
                <a:lnTo>
                  <a:pt x="968" y="1002"/>
                </a:lnTo>
                <a:lnTo>
                  <a:pt x="965" y="996"/>
                </a:lnTo>
                <a:lnTo>
                  <a:pt x="963" y="992"/>
                </a:lnTo>
                <a:lnTo>
                  <a:pt x="966" y="990"/>
                </a:lnTo>
                <a:lnTo>
                  <a:pt x="970" y="986"/>
                </a:lnTo>
                <a:lnTo>
                  <a:pt x="968" y="985"/>
                </a:lnTo>
                <a:lnTo>
                  <a:pt x="966" y="984"/>
                </a:lnTo>
                <a:lnTo>
                  <a:pt x="968" y="981"/>
                </a:lnTo>
                <a:lnTo>
                  <a:pt x="972" y="978"/>
                </a:lnTo>
                <a:lnTo>
                  <a:pt x="974" y="977"/>
                </a:lnTo>
                <a:lnTo>
                  <a:pt x="975" y="975"/>
                </a:lnTo>
                <a:lnTo>
                  <a:pt x="975" y="972"/>
                </a:lnTo>
                <a:lnTo>
                  <a:pt x="973" y="969"/>
                </a:lnTo>
                <a:lnTo>
                  <a:pt x="977" y="971"/>
                </a:lnTo>
                <a:lnTo>
                  <a:pt x="981" y="974"/>
                </a:lnTo>
                <a:lnTo>
                  <a:pt x="979" y="977"/>
                </a:lnTo>
                <a:lnTo>
                  <a:pt x="977" y="981"/>
                </a:lnTo>
                <a:lnTo>
                  <a:pt x="977" y="981"/>
                </a:lnTo>
                <a:lnTo>
                  <a:pt x="979" y="981"/>
                </a:lnTo>
                <a:lnTo>
                  <a:pt x="993" y="970"/>
                </a:lnTo>
                <a:lnTo>
                  <a:pt x="1008" y="958"/>
                </a:lnTo>
                <a:lnTo>
                  <a:pt x="1006" y="955"/>
                </a:lnTo>
                <a:lnTo>
                  <a:pt x="1003" y="953"/>
                </a:lnTo>
                <a:lnTo>
                  <a:pt x="1009" y="951"/>
                </a:lnTo>
                <a:lnTo>
                  <a:pt x="1014" y="950"/>
                </a:lnTo>
                <a:lnTo>
                  <a:pt x="1018" y="947"/>
                </a:lnTo>
                <a:lnTo>
                  <a:pt x="1023" y="944"/>
                </a:lnTo>
                <a:lnTo>
                  <a:pt x="1024" y="942"/>
                </a:lnTo>
                <a:lnTo>
                  <a:pt x="1027" y="940"/>
                </a:lnTo>
                <a:lnTo>
                  <a:pt x="1028" y="937"/>
                </a:lnTo>
                <a:lnTo>
                  <a:pt x="1028" y="934"/>
                </a:lnTo>
                <a:lnTo>
                  <a:pt x="1029" y="932"/>
                </a:lnTo>
                <a:lnTo>
                  <a:pt x="1030" y="930"/>
                </a:lnTo>
                <a:lnTo>
                  <a:pt x="1045" y="922"/>
                </a:lnTo>
                <a:lnTo>
                  <a:pt x="1059" y="914"/>
                </a:lnTo>
                <a:lnTo>
                  <a:pt x="1066" y="912"/>
                </a:lnTo>
                <a:lnTo>
                  <a:pt x="1075" y="908"/>
                </a:lnTo>
                <a:lnTo>
                  <a:pt x="1077" y="905"/>
                </a:lnTo>
                <a:lnTo>
                  <a:pt x="1078" y="900"/>
                </a:lnTo>
                <a:lnTo>
                  <a:pt x="1078" y="894"/>
                </a:lnTo>
                <a:lnTo>
                  <a:pt x="1076" y="887"/>
                </a:lnTo>
                <a:lnTo>
                  <a:pt x="1085" y="884"/>
                </a:lnTo>
                <a:lnTo>
                  <a:pt x="1094" y="879"/>
                </a:lnTo>
                <a:lnTo>
                  <a:pt x="1104" y="876"/>
                </a:lnTo>
                <a:lnTo>
                  <a:pt x="1113" y="872"/>
                </a:lnTo>
                <a:lnTo>
                  <a:pt x="1111" y="871"/>
                </a:lnTo>
                <a:lnTo>
                  <a:pt x="1110" y="867"/>
                </a:lnTo>
                <a:lnTo>
                  <a:pt x="1113" y="865"/>
                </a:lnTo>
                <a:lnTo>
                  <a:pt x="1118" y="864"/>
                </a:lnTo>
                <a:close/>
                <a:moveTo>
                  <a:pt x="1139" y="800"/>
                </a:moveTo>
                <a:lnTo>
                  <a:pt x="1140" y="801"/>
                </a:lnTo>
                <a:lnTo>
                  <a:pt x="1142" y="803"/>
                </a:lnTo>
                <a:lnTo>
                  <a:pt x="1138" y="806"/>
                </a:lnTo>
                <a:lnTo>
                  <a:pt x="1134" y="809"/>
                </a:lnTo>
                <a:lnTo>
                  <a:pt x="1133" y="808"/>
                </a:lnTo>
                <a:lnTo>
                  <a:pt x="1131" y="806"/>
                </a:lnTo>
                <a:lnTo>
                  <a:pt x="1135" y="802"/>
                </a:lnTo>
                <a:lnTo>
                  <a:pt x="1139" y="800"/>
                </a:lnTo>
                <a:close/>
                <a:moveTo>
                  <a:pt x="1172" y="820"/>
                </a:moveTo>
                <a:lnTo>
                  <a:pt x="1175" y="817"/>
                </a:lnTo>
                <a:lnTo>
                  <a:pt x="1177" y="816"/>
                </a:lnTo>
                <a:lnTo>
                  <a:pt x="1181" y="817"/>
                </a:lnTo>
                <a:lnTo>
                  <a:pt x="1184" y="818"/>
                </a:lnTo>
                <a:lnTo>
                  <a:pt x="1188" y="821"/>
                </a:lnTo>
                <a:lnTo>
                  <a:pt x="1190" y="822"/>
                </a:lnTo>
                <a:lnTo>
                  <a:pt x="1195" y="830"/>
                </a:lnTo>
                <a:lnTo>
                  <a:pt x="1197" y="836"/>
                </a:lnTo>
                <a:lnTo>
                  <a:pt x="1189" y="843"/>
                </a:lnTo>
                <a:lnTo>
                  <a:pt x="1182" y="849"/>
                </a:lnTo>
                <a:lnTo>
                  <a:pt x="1181" y="849"/>
                </a:lnTo>
                <a:lnTo>
                  <a:pt x="1180" y="849"/>
                </a:lnTo>
                <a:lnTo>
                  <a:pt x="1182" y="845"/>
                </a:lnTo>
                <a:lnTo>
                  <a:pt x="1182" y="842"/>
                </a:lnTo>
                <a:lnTo>
                  <a:pt x="1181" y="839"/>
                </a:lnTo>
                <a:lnTo>
                  <a:pt x="1177" y="837"/>
                </a:lnTo>
                <a:lnTo>
                  <a:pt x="1174" y="834"/>
                </a:lnTo>
                <a:lnTo>
                  <a:pt x="1170" y="829"/>
                </a:lnTo>
                <a:lnTo>
                  <a:pt x="1169" y="827"/>
                </a:lnTo>
                <a:lnTo>
                  <a:pt x="1168" y="824"/>
                </a:lnTo>
                <a:lnTo>
                  <a:pt x="1169" y="821"/>
                </a:lnTo>
                <a:lnTo>
                  <a:pt x="1172" y="820"/>
                </a:lnTo>
                <a:close/>
                <a:moveTo>
                  <a:pt x="1022" y="1000"/>
                </a:moveTo>
                <a:lnTo>
                  <a:pt x="1027" y="1000"/>
                </a:lnTo>
                <a:lnTo>
                  <a:pt x="1031" y="999"/>
                </a:lnTo>
                <a:lnTo>
                  <a:pt x="1032" y="1002"/>
                </a:lnTo>
                <a:lnTo>
                  <a:pt x="1032" y="1004"/>
                </a:lnTo>
                <a:lnTo>
                  <a:pt x="1030" y="1006"/>
                </a:lnTo>
                <a:lnTo>
                  <a:pt x="1028" y="1006"/>
                </a:lnTo>
                <a:lnTo>
                  <a:pt x="1025" y="1005"/>
                </a:lnTo>
                <a:lnTo>
                  <a:pt x="1023" y="1004"/>
                </a:lnTo>
                <a:lnTo>
                  <a:pt x="1022" y="1002"/>
                </a:lnTo>
                <a:lnTo>
                  <a:pt x="1022" y="1000"/>
                </a:lnTo>
                <a:close/>
                <a:moveTo>
                  <a:pt x="1009" y="1058"/>
                </a:moveTo>
                <a:lnTo>
                  <a:pt x="1021" y="1052"/>
                </a:lnTo>
                <a:lnTo>
                  <a:pt x="1030" y="1047"/>
                </a:lnTo>
                <a:lnTo>
                  <a:pt x="1031" y="1049"/>
                </a:lnTo>
                <a:lnTo>
                  <a:pt x="1030" y="1051"/>
                </a:lnTo>
                <a:lnTo>
                  <a:pt x="1028" y="1053"/>
                </a:lnTo>
                <a:lnTo>
                  <a:pt x="1025" y="1054"/>
                </a:lnTo>
                <a:lnTo>
                  <a:pt x="1018" y="1056"/>
                </a:lnTo>
                <a:lnTo>
                  <a:pt x="1009" y="1058"/>
                </a:lnTo>
                <a:close/>
                <a:moveTo>
                  <a:pt x="1002" y="1116"/>
                </a:moveTo>
                <a:lnTo>
                  <a:pt x="1000" y="1117"/>
                </a:lnTo>
                <a:lnTo>
                  <a:pt x="997" y="1117"/>
                </a:lnTo>
                <a:lnTo>
                  <a:pt x="996" y="1117"/>
                </a:lnTo>
                <a:lnTo>
                  <a:pt x="994" y="1116"/>
                </a:lnTo>
                <a:lnTo>
                  <a:pt x="992" y="1114"/>
                </a:lnTo>
                <a:lnTo>
                  <a:pt x="988" y="1114"/>
                </a:lnTo>
                <a:lnTo>
                  <a:pt x="989" y="1110"/>
                </a:lnTo>
                <a:lnTo>
                  <a:pt x="990" y="1109"/>
                </a:lnTo>
                <a:lnTo>
                  <a:pt x="992" y="1109"/>
                </a:lnTo>
                <a:lnTo>
                  <a:pt x="994" y="1110"/>
                </a:lnTo>
                <a:lnTo>
                  <a:pt x="999" y="1112"/>
                </a:lnTo>
                <a:lnTo>
                  <a:pt x="1002" y="1116"/>
                </a:lnTo>
                <a:close/>
                <a:moveTo>
                  <a:pt x="999" y="1096"/>
                </a:moveTo>
                <a:lnTo>
                  <a:pt x="1000" y="1091"/>
                </a:lnTo>
                <a:lnTo>
                  <a:pt x="1001" y="1089"/>
                </a:lnTo>
                <a:lnTo>
                  <a:pt x="1004" y="1088"/>
                </a:lnTo>
                <a:lnTo>
                  <a:pt x="1009" y="1087"/>
                </a:lnTo>
                <a:lnTo>
                  <a:pt x="1009" y="1091"/>
                </a:lnTo>
                <a:lnTo>
                  <a:pt x="1010" y="1097"/>
                </a:lnTo>
                <a:lnTo>
                  <a:pt x="1004" y="1097"/>
                </a:lnTo>
                <a:lnTo>
                  <a:pt x="999" y="1096"/>
                </a:lnTo>
                <a:close/>
                <a:moveTo>
                  <a:pt x="1108" y="1170"/>
                </a:moveTo>
                <a:lnTo>
                  <a:pt x="1108" y="1170"/>
                </a:lnTo>
                <a:lnTo>
                  <a:pt x="1107" y="1170"/>
                </a:lnTo>
                <a:lnTo>
                  <a:pt x="1107" y="1170"/>
                </a:lnTo>
                <a:lnTo>
                  <a:pt x="1107" y="1170"/>
                </a:lnTo>
                <a:lnTo>
                  <a:pt x="1108" y="1170"/>
                </a:lnTo>
                <a:lnTo>
                  <a:pt x="1108" y="1170"/>
                </a:lnTo>
                <a:close/>
                <a:moveTo>
                  <a:pt x="1210" y="907"/>
                </a:moveTo>
                <a:lnTo>
                  <a:pt x="1214" y="905"/>
                </a:lnTo>
                <a:lnTo>
                  <a:pt x="1217" y="901"/>
                </a:lnTo>
                <a:lnTo>
                  <a:pt x="1223" y="907"/>
                </a:lnTo>
                <a:lnTo>
                  <a:pt x="1231" y="914"/>
                </a:lnTo>
                <a:lnTo>
                  <a:pt x="1232" y="919"/>
                </a:lnTo>
                <a:lnTo>
                  <a:pt x="1234" y="925"/>
                </a:lnTo>
                <a:lnTo>
                  <a:pt x="1231" y="930"/>
                </a:lnTo>
                <a:lnTo>
                  <a:pt x="1228" y="935"/>
                </a:lnTo>
                <a:lnTo>
                  <a:pt x="1224" y="939"/>
                </a:lnTo>
                <a:lnTo>
                  <a:pt x="1221" y="942"/>
                </a:lnTo>
                <a:lnTo>
                  <a:pt x="1216" y="946"/>
                </a:lnTo>
                <a:lnTo>
                  <a:pt x="1210" y="948"/>
                </a:lnTo>
                <a:lnTo>
                  <a:pt x="1207" y="949"/>
                </a:lnTo>
                <a:lnTo>
                  <a:pt x="1203" y="953"/>
                </a:lnTo>
                <a:lnTo>
                  <a:pt x="1208" y="954"/>
                </a:lnTo>
                <a:lnTo>
                  <a:pt x="1213" y="953"/>
                </a:lnTo>
                <a:lnTo>
                  <a:pt x="1217" y="951"/>
                </a:lnTo>
                <a:lnTo>
                  <a:pt x="1222" y="948"/>
                </a:lnTo>
                <a:lnTo>
                  <a:pt x="1231" y="942"/>
                </a:lnTo>
                <a:lnTo>
                  <a:pt x="1241" y="937"/>
                </a:lnTo>
                <a:lnTo>
                  <a:pt x="1250" y="934"/>
                </a:lnTo>
                <a:lnTo>
                  <a:pt x="1258" y="929"/>
                </a:lnTo>
                <a:lnTo>
                  <a:pt x="1258" y="930"/>
                </a:lnTo>
                <a:lnTo>
                  <a:pt x="1259" y="932"/>
                </a:lnTo>
                <a:lnTo>
                  <a:pt x="1257" y="933"/>
                </a:lnTo>
                <a:lnTo>
                  <a:pt x="1256" y="934"/>
                </a:lnTo>
                <a:lnTo>
                  <a:pt x="1256" y="939"/>
                </a:lnTo>
                <a:lnTo>
                  <a:pt x="1257" y="943"/>
                </a:lnTo>
                <a:lnTo>
                  <a:pt x="1256" y="943"/>
                </a:lnTo>
                <a:lnTo>
                  <a:pt x="1255" y="944"/>
                </a:lnTo>
                <a:lnTo>
                  <a:pt x="1251" y="942"/>
                </a:lnTo>
                <a:lnTo>
                  <a:pt x="1248" y="940"/>
                </a:lnTo>
                <a:lnTo>
                  <a:pt x="1246" y="944"/>
                </a:lnTo>
                <a:lnTo>
                  <a:pt x="1245" y="950"/>
                </a:lnTo>
                <a:lnTo>
                  <a:pt x="1244" y="953"/>
                </a:lnTo>
                <a:lnTo>
                  <a:pt x="1242" y="954"/>
                </a:lnTo>
                <a:lnTo>
                  <a:pt x="1241" y="955"/>
                </a:lnTo>
                <a:lnTo>
                  <a:pt x="1237" y="955"/>
                </a:lnTo>
                <a:lnTo>
                  <a:pt x="1236" y="961"/>
                </a:lnTo>
                <a:lnTo>
                  <a:pt x="1235" y="965"/>
                </a:lnTo>
                <a:lnTo>
                  <a:pt x="1234" y="967"/>
                </a:lnTo>
                <a:lnTo>
                  <a:pt x="1232" y="967"/>
                </a:lnTo>
                <a:lnTo>
                  <a:pt x="1231" y="963"/>
                </a:lnTo>
                <a:lnTo>
                  <a:pt x="1230" y="961"/>
                </a:lnTo>
                <a:lnTo>
                  <a:pt x="1224" y="967"/>
                </a:lnTo>
                <a:lnTo>
                  <a:pt x="1220" y="971"/>
                </a:lnTo>
                <a:lnTo>
                  <a:pt x="1221" y="972"/>
                </a:lnTo>
                <a:lnTo>
                  <a:pt x="1223" y="975"/>
                </a:lnTo>
                <a:lnTo>
                  <a:pt x="1220" y="977"/>
                </a:lnTo>
                <a:lnTo>
                  <a:pt x="1215" y="979"/>
                </a:lnTo>
                <a:lnTo>
                  <a:pt x="1209" y="978"/>
                </a:lnTo>
                <a:lnTo>
                  <a:pt x="1203" y="976"/>
                </a:lnTo>
                <a:lnTo>
                  <a:pt x="1203" y="979"/>
                </a:lnTo>
                <a:lnTo>
                  <a:pt x="1203" y="983"/>
                </a:lnTo>
                <a:lnTo>
                  <a:pt x="1200" y="985"/>
                </a:lnTo>
                <a:lnTo>
                  <a:pt x="1195" y="986"/>
                </a:lnTo>
                <a:lnTo>
                  <a:pt x="1194" y="986"/>
                </a:lnTo>
                <a:lnTo>
                  <a:pt x="1193" y="988"/>
                </a:lnTo>
                <a:lnTo>
                  <a:pt x="1191" y="990"/>
                </a:lnTo>
                <a:lnTo>
                  <a:pt x="1191" y="993"/>
                </a:lnTo>
                <a:lnTo>
                  <a:pt x="1184" y="990"/>
                </a:lnTo>
                <a:lnTo>
                  <a:pt x="1177" y="985"/>
                </a:lnTo>
                <a:lnTo>
                  <a:pt x="1176" y="989"/>
                </a:lnTo>
                <a:lnTo>
                  <a:pt x="1176" y="992"/>
                </a:lnTo>
                <a:lnTo>
                  <a:pt x="1173" y="990"/>
                </a:lnTo>
                <a:lnTo>
                  <a:pt x="1168" y="988"/>
                </a:lnTo>
                <a:lnTo>
                  <a:pt x="1172" y="993"/>
                </a:lnTo>
                <a:lnTo>
                  <a:pt x="1175" y="998"/>
                </a:lnTo>
                <a:lnTo>
                  <a:pt x="1170" y="998"/>
                </a:lnTo>
                <a:lnTo>
                  <a:pt x="1167" y="997"/>
                </a:lnTo>
                <a:lnTo>
                  <a:pt x="1166" y="997"/>
                </a:lnTo>
                <a:lnTo>
                  <a:pt x="1165" y="997"/>
                </a:lnTo>
                <a:lnTo>
                  <a:pt x="1165" y="999"/>
                </a:lnTo>
                <a:lnTo>
                  <a:pt x="1166" y="1003"/>
                </a:lnTo>
                <a:lnTo>
                  <a:pt x="1156" y="1003"/>
                </a:lnTo>
                <a:lnTo>
                  <a:pt x="1147" y="1003"/>
                </a:lnTo>
                <a:lnTo>
                  <a:pt x="1145" y="1003"/>
                </a:lnTo>
                <a:lnTo>
                  <a:pt x="1142" y="1004"/>
                </a:lnTo>
                <a:lnTo>
                  <a:pt x="1141" y="1005"/>
                </a:lnTo>
                <a:lnTo>
                  <a:pt x="1141" y="1009"/>
                </a:lnTo>
                <a:lnTo>
                  <a:pt x="1141" y="1011"/>
                </a:lnTo>
                <a:lnTo>
                  <a:pt x="1142" y="1013"/>
                </a:lnTo>
                <a:lnTo>
                  <a:pt x="1145" y="1014"/>
                </a:lnTo>
                <a:lnTo>
                  <a:pt x="1147" y="1014"/>
                </a:lnTo>
                <a:lnTo>
                  <a:pt x="1153" y="1013"/>
                </a:lnTo>
                <a:lnTo>
                  <a:pt x="1160" y="1012"/>
                </a:lnTo>
                <a:lnTo>
                  <a:pt x="1163" y="1012"/>
                </a:lnTo>
                <a:lnTo>
                  <a:pt x="1166" y="1012"/>
                </a:lnTo>
                <a:lnTo>
                  <a:pt x="1167" y="1013"/>
                </a:lnTo>
                <a:lnTo>
                  <a:pt x="1169" y="1016"/>
                </a:lnTo>
                <a:lnTo>
                  <a:pt x="1173" y="1013"/>
                </a:lnTo>
                <a:lnTo>
                  <a:pt x="1177" y="1011"/>
                </a:lnTo>
                <a:lnTo>
                  <a:pt x="1182" y="1009"/>
                </a:lnTo>
                <a:lnTo>
                  <a:pt x="1187" y="1007"/>
                </a:lnTo>
                <a:lnTo>
                  <a:pt x="1197" y="1006"/>
                </a:lnTo>
                <a:lnTo>
                  <a:pt x="1208" y="1006"/>
                </a:lnTo>
                <a:lnTo>
                  <a:pt x="1206" y="1002"/>
                </a:lnTo>
                <a:lnTo>
                  <a:pt x="1204" y="999"/>
                </a:lnTo>
                <a:lnTo>
                  <a:pt x="1211" y="999"/>
                </a:lnTo>
                <a:lnTo>
                  <a:pt x="1218" y="999"/>
                </a:lnTo>
                <a:lnTo>
                  <a:pt x="1222" y="999"/>
                </a:lnTo>
                <a:lnTo>
                  <a:pt x="1225" y="998"/>
                </a:lnTo>
                <a:lnTo>
                  <a:pt x="1227" y="998"/>
                </a:lnTo>
                <a:lnTo>
                  <a:pt x="1228" y="997"/>
                </a:lnTo>
                <a:lnTo>
                  <a:pt x="1229" y="995"/>
                </a:lnTo>
                <a:lnTo>
                  <a:pt x="1229" y="992"/>
                </a:lnTo>
                <a:lnTo>
                  <a:pt x="1236" y="991"/>
                </a:lnTo>
                <a:lnTo>
                  <a:pt x="1242" y="991"/>
                </a:lnTo>
                <a:lnTo>
                  <a:pt x="1242" y="991"/>
                </a:lnTo>
                <a:lnTo>
                  <a:pt x="1242" y="992"/>
                </a:lnTo>
                <a:lnTo>
                  <a:pt x="1238" y="995"/>
                </a:lnTo>
                <a:lnTo>
                  <a:pt x="1234" y="997"/>
                </a:lnTo>
                <a:lnTo>
                  <a:pt x="1224" y="1003"/>
                </a:lnTo>
                <a:lnTo>
                  <a:pt x="1215" y="1009"/>
                </a:lnTo>
                <a:lnTo>
                  <a:pt x="1204" y="1013"/>
                </a:lnTo>
                <a:lnTo>
                  <a:pt x="1195" y="1018"/>
                </a:lnTo>
                <a:lnTo>
                  <a:pt x="1184" y="1023"/>
                </a:lnTo>
                <a:lnTo>
                  <a:pt x="1174" y="1028"/>
                </a:lnTo>
                <a:lnTo>
                  <a:pt x="1168" y="1031"/>
                </a:lnTo>
                <a:lnTo>
                  <a:pt x="1163" y="1033"/>
                </a:lnTo>
                <a:lnTo>
                  <a:pt x="1159" y="1035"/>
                </a:lnTo>
                <a:lnTo>
                  <a:pt x="1153" y="1038"/>
                </a:lnTo>
                <a:lnTo>
                  <a:pt x="1148" y="1040"/>
                </a:lnTo>
                <a:lnTo>
                  <a:pt x="1144" y="1045"/>
                </a:lnTo>
                <a:lnTo>
                  <a:pt x="1142" y="1046"/>
                </a:lnTo>
                <a:lnTo>
                  <a:pt x="1141" y="1046"/>
                </a:lnTo>
                <a:lnTo>
                  <a:pt x="1131" y="1051"/>
                </a:lnTo>
                <a:lnTo>
                  <a:pt x="1119" y="1054"/>
                </a:lnTo>
                <a:lnTo>
                  <a:pt x="1113" y="1054"/>
                </a:lnTo>
                <a:lnTo>
                  <a:pt x="1106" y="1053"/>
                </a:lnTo>
                <a:lnTo>
                  <a:pt x="1093" y="1049"/>
                </a:lnTo>
                <a:lnTo>
                  <a:pt x="1082" y="1045"/>
                </a:lnTo>
                <a:lnTo>
                  <a:pt x="1073" y="1042"/>
                </a:lnTo>
                <a:lnTo>
                  <a:pt x="1065" y="1040"/>
                </a:lnTo>
                <a:lnTo>
                  <a:pt x="1065" y="1035"/>
                </a:lnTo>
                <a:lnTo>
                  <a:pt x="1063" y="1033"/>
                </a:lnTo>
                <a:lnTo>
                  <a:pt x="1061" y="1033"/>
                </a:lnTo>
                <a:lnTo>
                  <a:pt x="1056" y="1035"/>
                </a:lnTo>
                <a:lnTo>
                  <a:pt x="1050" y="1038"/>
                </a:lnTo>
                <a:lnTo>
                  <a:pt x="1044" y="1037"/>
                </a:lnTo>
                <a:lnTo>
                  <a:pt x="1038" y="1035"/>
                </a:lnTo>
                <a:lnTo>
                  <a:pt x="1034" y="1033"/>
                </a:lnTo>
                <a:lnTo>
                  <a:pt x="1034" y="1033"/>
                </a:lnTo>
                <a:lnTo>
                  <a:pt x="1035" y="1032"/>
                </a:lnTo>
                <a:lnTo>
                  <a:pt x="1031" y="1026"/>
                </a:lnTo>
                <a:lnTo>
                  <a:pt x="1028" y="1019"/>
                </a:lnTo>
                <a:lnTo>
                  <a:pt x="1031" y="1014"/>
                </a:lnTo>
                <a:lnTo>
                  <a:pt x="1036" y="1010"/>
                </a:lnTo>
                <a:lnTo>
                  <a:pt x="1039" y="1013"/>
                </a:lnTo>
                <a:lnTo>
                  <a:pt x="1043" y="1017"/>
                </a:lnTo>
                <a:lnTo>
                  <a:pt x="1042" y="1020"/>
                </a:lnTo>
                <a:lnTo>
                  <a:pt x="1041" y="1023"/>
                </a:lnTo>
                <a:lnTo>
                  <a:pt x="1046" y="1021"/>
                </a:lnTo>
                <a:lnTo>
                  <a:pt x="1051" y="1020"/>
                </a:lnTo>
                <a:lnTo>
                  <a:pt x="1053" y="1024"/>
                </a:lnTo>
                <a:lnTo>
                  <a:pt x="1056" y="1030"/>
                </a:lnTo>
                <a:lnTo>
                  <a:pt x="1057" y="1024"/>
                </a:lnTo>
                <a:lnTo>
                  <a:pt x="1059" y="1018"/>
                </a:lnTo>
                <a:lnTo>
                  <a:pt x="1063" y="1013"/>
                </a:lnTo>
                <a:lnTo>
                  <a:pt x="1066" y="1012"/>
                </a:lnTo>
                <a:lnTo>
                  <a:pt x="1078" y="1011"/>
                </a:lnTo>
                <a:lnTo>
                  <a:pt x="1089" y="1012"/>
                </a:lnTo>
                <a:lnTo>
                  <a:pt x="1086" y="1007"/>
                </a:lnTo>
                <a:lnTo>
                  <a:pt x="1084" y="1002"/>
                </a:lnTo>
                <a:lnTo>
                  <a:pt x="1089" y="1007"/>
                </a:lnTo>
                <a:lnTo>
                  <a:pt x="1093" y="1012"/>
                </a:lnTo>
                <a:lnTo>
                  <a:pt x="1094" y="1011"/>
                </a:lnTo>
                <a:lnTo>
                  <a:pt x="1096" y="1011"/>
                </a:lnTo>
                <a:lnTo>
                  <a:pt x="1098" y="1004"/>
                </a:lnTo>
                <a:lnTo>
                  <a:pt x="1100" y="997"/>
                </a:lnTo>
                <a:lnTo>
                  <a:pt x="1103" y="995"/>
                </a:lnTo>
                <a:lnTo>
                  <a:pt x="1105" y="993"/>
                </a:lnTo>
                <a:lnTo>
                  <a:pt x="1108" y="993"/>
                </a:lnTo>
                <a:lnTo>
                  <a:pt x="1113" y="993"/>
                </a:lnTo>
                <a:lnTo>
                  <a:pt x="1112" y="989"/>
                </a:lnTo>
                <a:lnTo>
                  <a:pt x="1112" y="984"/>
                </a:lnTo>
                <a:lnTo>
                  <a:pt x="1112" y="982"/>
                </a:lnTo>
                <a:lnTo>
                  <a:pt x="1113" y="981"/>
                </a:lnTo>
                <a:lnTo>
                  <a:pt x="1115" y="981"/>
                </a:lnTo>
                <a:lnTo>
                  <a:pt x="1119" y="981"/>
                </a:lnTo>
                <a:lnTo>
                  <a:pt x="1122" y="977"/>
                </a:lnTo>
                <a:lnTo>
                  <a:pt x="1125" y="974"/>
                </a:lnTo>
                <a:lnTo>
                  <a:pt x="1127" y="971"/>
                </a:lnTo>
                <a:lnTo>
                  <a:pt x="1132" y="969"/>
                </a:lnTo>
                <a:lnTo>
                  <a:pt x="1134" y="968"/>
                </a:lnTo>
                <a:lnTo>
                  <a:pt x="1135" y="967"/>
                </a:lnTo>
                <a:lnTo>
                  <a:pt x="1137" y="964"/>
                </a:lnTo>
                <a:lnTo>
                  <a:pt x="1138" y="962"/>
                </a:lnTo>
                <a:lnTo>
                  <a:pt x="1140" y="960"/>
                </a:lnTo>
                <a:lnTo>
                  <a:pt x="1144" y="960"/>
                </a:lnTo>
                <a:lnTo>
                  <a:pt x="1147" y="958"/>
                </a:lnTo>
                <a:lnTo>
                  <a:pt x="1153" y="955"/>
                </a:lnTo>
                <a:lnTo>
                  <a:pt x="1159" y="953"/>
                </a:lnTo>
                <a:lnTo>
                  <a:pt x="1161" y="950"/>
                </a:lnTo>
                <a:lnTo>
                  <a:pt x="1161" y="948"/>
                </a:lnTo>
                <a:lnTo>
                  <a:pt x="1160" y="946"/>
                </a:lnTo>
                <a:lnTo>
                  <a:pt x="1167" y="942"/>
                </a:lnTo>
                <a:lnTo>
                  <a:pt x="1173" y="939"/>
                </a:lnTo>
                <a:lnTo>
                  <a:pt x="1176" y="936"/>
                </a:lnTo>
                <a:lnTo>
                  <a:pt x="1179" y="934"/>
                </a:lnTo>
                <a:lnTo>
                  <a:pt x="1180" y="930"/>
                </a:lnTo>
                <a:lnTo>
                  <a:pt x="1181" y="928"/>
                </a:lnTo>
                <a:lnTo>
                  <a:pt x="1182" y="923"/>
                </a:lnTo>
                <a:lnTo>
                  <a:pt x="1183" y="921"/>
                </a:lnTo>
                <a:lnTo>
                  <a:pt x="1187" y="920"/>
                </a:lnTo>
                <a:lnTo>
                  <a:pt x="1189" y="919"/>
                </a:lnTo>
                <a:lnTo>
                  <a:pt x="1190" y="916"/>
                </a:lnTo>
                <a:lnTo>
                  <a:pt x="1191" y="914"/>
                </a:lnTo>
                <a:lnTo>
                  <a:pt x="1191" y="913"/>
                </a:lnTo>
                <a:lnTo>
                  <a:pt x="1193" y="913"/>
                </a:lnTo>
                <a:lnTo>
                  <a:pt x="1194" y="913"/>
                </a:lnTo>
                <a:lnTo>
                  <a:pt x="1196" y="914"/>
                </a:lnTo>
                <a:lnTo>
                  <a:pt x="1196" y="914"/>
                </a:lnTo>
                <a:lnTo>
                  <a:pt x="1197" y="913"/>
                </a:lnTo>
                <a:lnTo>
                  <a:pt x="1200" y="909"/>
                </a:lnTo>
                <a:lnTo>
                  <a:pt x="1202" y="907"/>
                </a:lnTo>
                <a:lnTo>
                  <a:pt x="1207" y="906"/>
                </a:lnTo>
                <a:lnTo>
                  <a:pt x="1210" y="907"/>
                </a:lnTo>
                <a:close/>
                <a:moveTo>
                  <a:pt x="1232" y="891"/>
                </a:moveTo>
                <a:lnTo>
                  <a:pt x="1234" y="891"/>
                </a:lnTo>
                <a:lnTo>
                  <a:pt x="1234" y="891"/>
                </a:lnTo>
                <a:lnTo>
                  <a:pt x="1232" y="898"/>
                </a:lnTo>
                <a:lnTo>
                  <a:pt x="1230" y="906"/>
                </a:lnTo>
                <a:lnTo>
                  <a:pt x="1227" y="902"/>
                </a:lnTo>
                <a:lnTo>
                  <a:pt x="1224" y="901"/>
                </a:lnTo>
                <a:lnTo>
                  <a:pt x="1224" y="900"/>
                </a:lnTo>
                <a:lnTo>
                  <a:pt x="1223" y="899"/>
                </a:lnTo>
                <a:lnTo>
                  <a:pt x="1228" y="894"/>
                </a:lnTo>
                <a:lnTo>
                  <a:pt x="1232" y="891"/>
                </a:lnTo>
                <a:close/>
                <a:moveTo>
                  <a:pt x="1218" y="1110"/>
                </a:moveTo>
                <a:lnTo>
                  <a:pt x="1220" y="1110"/>
                </a:lnTo>
                <a:lnTo>
                  <a:pt x="1221" y="1110"/>
                </a:lnTo>
                <a:lnTo>
                  <a:pt x="1220" y="1110"/>
                </a:lnTo>
                <a:lnTo>
                  <a:pt x="1218" y="1110"/>
                </a:lnTo>
                <a:lnTo>
                  <a:pt x="1218" y="1110"/>
                </a:lnTo>
                <a:lnTo>
                  <a:pt x="1218" y="1110"/>
                </a:lnTo>
                <a:close/>
                <a:moveTo>
                  <a:pt x="1213" y="1109"/>
                </a:moveTo>
                <a:lnTo>
                  <a:pt x="1211" y="1109"/>
                </a:lnTo>
                <a:lnTo>
                  <a:pt x="1210" y="1110"/>
                </a:lnTo>
                <a:lnTo>
                  <a:pt x="1210" y="1110"/>
                </a:lnTo>
                <a:lnTo>
                  <a:pt x="1209" y="1109"/>
                </a:lnTo>
                <a:lnTo>
                  <a:pt x="1211" y="1109"/>
                </a:lnTo>
                <a:lnTo>
                  <a:pt x="1213" y="1109"/>
                </a:lnTo>
                <a:close/>
                <a:moveTo>
                  <a:pt x="1201" y="1095"/>
                </a:moveTo>
                <a:lnTo>
                  <a:pt x="1200" y="1090"/>
                </a:lnTo>
                <a:lnTo>
                  <a:pt x="1200" y="1086"/>
                </a:lnTo>
                <a:lnTo>
                  <a:pt x="1200" y="1084"/>
                </a:lnTo>
                <a:lnTo>
                  <a:pt x="1201" y="1083"/>
                </a:lnTo>
                <a:lnTo>
                  <a:pt x="1203" y="1083"/>
                </a:lnTo>
                <a:lnTo>
                  <a:pt x="1206" y="1084"/>
                </a:lnTo>
                <a:lnTo>
                  <a:pt x="1207" y="1089"/>
                </a:lnTo>
                <a:lnTo>
                  <a:pt x="1210" y="1095"/>
                </a:lnTo>
                <a:lnTo>
                  <a:pt x="1206" y="1095"/>
                </a:lnTo>
                <a:lnTo>
                  <a:pt x="1201" y="1095"/>
                </a:lnTo>
                <a:close/>
                <a:moveTo>
                  <a:pt x="1179" y="1209"/>
                </a:moveTo>
                <a:lnTo>
                  <a:pt x="1184" y="1209"/>
                </a:lnTo>
                <a:lnTo>
                  <a:pt x="1189" y="1208"/>
                </a:lnTo>
                <a:lnTo>
                  <a:pt x="1191" y="1207"/>
                </a:lnTo>
                <a:lnTo>
                  <a:pt x="1194" y="1203"/>
                </a:lnTo>
                <a:lnTo>
                  <a:pt x="1194" y="1203"/>
                </a:lnTo>
                <a:lnTo>
                  <a:pt x="1195" y="1203"/>
                </a:lnTo>
                <a:lnTo>
                  <a:pt x="1196" y="1203"/>
                </a:lnTo>
                <a:lnTo>
                  <a:pt x="1197" y="1203"/>
                </a:lnTo>
                <a:lnTo>
                  <a:pt x="1201" y="1209"/>
                </a:lnTo>
                <a:lnTo>
                  <a:pt x="1204" y="1214"/>
                </a:lnTo>
                <a:lnTo>
                  <a:pt x="1204" y="1216"/>
                </a:lnTo>
                <a:lnTo>
                  <a:pt x="1204" y="1217"/>
                </a:lnTo>
                <a:lnTo>
                  <a:pt x="1203" y="1219"/>
                </a:lnTo>
                <a:lnTo>
                  <a:pt x="1201" y="1220"/>
                </a:lnTo>
                <a:lnTo>
                  <a:pt x="1189" y="1215"/>
                </a:lnTo>
                <a:lnTo>
                  <a:pt x="1179" y="1212"/>
                </a:lnTo>
                <a:lnTo>
                  <a:pt x="1179" y="1210"/>
                </a:lnTo>
                <a:lnTo>
                  <a:pt x="1179" y="1209"/>
                </a:lnTo>
                <a:close/>
                <a:moveTo>
                  <a:pt x="1187" y="1143"/>
                </a:moveTo>
                <a:lnTo>
                  <a:pt x="1184" y="1142"/>
                </a:lnTo>
                <a:lnTo>
                  <a:pt x="1181" y="1140"/>
                </a:lnTo>
                <a:lnTo>
                  <a:pt x="1180" y="1140"/>
                </a:lnTo>
                <a:lnTo>
                  <a:pt x="1180" y="1140"/>
                </a:lnTo>
                <a:lnTo>
                  <a:pt x="1181" y="1139"/>
                </a:lnTo>
                <a:lnTo>
                  <a:pt x="1182" y="1138"/>
                </a:lnTo>
                <a:lnTo>
                  <a:pt x="1184" y="1140"/>
                </a:lnTo>
                <a:lnTo>
                  <a:pt x="1187" y="1143"/>
                </a:lnTo>
                <a:close/>
                <a:moveTo>
                  <a:pt x="1188" y="1137"/>
                </a:moveTo>
                <a:lnTo>
                  <a:pt x="1187" y="1136"/>
                </a:lnTo>
                <a:lnTo>
                  <a:pt x="1186" y="1133"/>
                </a:lnTo>
                <a:lnTo>
                  <a:pt x="1186" y="1133"/>
                </a:lnTo>
                <a:lnTo>
                  <a:pt x="1187" y="1133"/>
                </a:lnTo>
                <a:lnTo>
                  <a:pt x="1187" y="1135"/>
                </a:lnTo>
                <a:lnTo>
                  <a:pt x="1188" y="1137"/>
                </a:lnTo>
                <a:close/>
                <a:moveTo>
                  <a:pt x="1187" y="1088"/>
                </a:moveTo>
                <a:lnTo>
                  <a:pt x="1186" y="1088"/>
                </a:lnTo>
                <a:lnTo>
                  <a:pt x="1184" y="1088"/>
                </a:lnTo>
                <a:lnTo>
                  <a:pt x="1183" y="1084"/>
                </a:lnTo>
                <a:lnTo>
                  <a:pt x="1183" y="1081"/>
                </a:lnTo>
                <a:lnTo>
                  <a:pt x="1186" y="1080"/>
                </a:lnTo>
                <a:lnTo>
                  <a:pt x="1189" y="1079"/>
                </a:lnTo>
                <a:lnTo>
                  <a:pt x="1189" y="1080"/>
                </a:lnTo>
                <a:lnTo>
                  <a:pt x="1190" y="1081"/>
                </a:lnTo>
                <a:lnTo>
                  <a:pt x="1189" y="1084"/>
                </a:lnTo>
                <a:lnTo>
                  <a:pt x="1187" y="1088"/>
                </a:lnTo>
                <a:close/>
                <a:moveTo>
                  <a:pt x="1125" y="1177"/>
                </a:moveTo>
                <a:lnTo>
                  <a:pt x="1122" y="1175"/>
                </a:lnTo>
                <a:lnTo>
                  <a:pt x="1121" y="1175"/>
                </a:lnTo>
                <a:lnTo>
                  <a:pt x="1120" y="1175"/>
                </a:lnTo>
                <a:lnTo>
                  <a:pt x="1119" y="1175"/>
                </a:lnTo>
                <a:lnTo>
                  <a:pt x="1121" y="1175"/>
                </a:lnTo>
                <a:lnTo>
                  <a:pt x="1124" y="1175"/>
                </a:lnTo>
                <a:lnTo>
                  <a:pt x="1124" y="1175"/>
                </a:lnTo>
                <a:lnTo>
                  <a:pt x="1125" y="1177"/>
                </a:lnTo>
                <a:close/>
                <a:moveTo>
                  <a:pt x="1122" y="1090"/>
                </a:moveTo>
                <a:lnTo>
                  <a:pt x="1121" y="1089"/>
                </a:lnTo>
                <a:lnTo>
                  <a:pt x="1120" y="1088"/>
                </a:lnTo>
                <a:lnTo>
                  <a:pt x="1125" y="1083"/>
                </a:lnTo>
                <a:lnTo>
                  <a:pt x="1130" y="1079"/>
                </a:lnTo>
                <a:lnTo>
                  <a:pt x="1132" y="1083"/>
                </a:lnTo>
                <a:lnTo>
                  <a:pt x="1133" y="1088"/>
                </a:lnTo>
                <a:lnTo>
                  <a:pt x="1128" y="1089"/>
                </a:lnTo>
                <a:lnTo>
                  <a:pt x="1122" y="1090"/>
                </a:lnTo>
                <a:close/>
                <a:moveTo>
                  <a:pt x="1144" y="1179"/>
                </a:moveTo>
                <a:lnTo>
                  <a:pt x="1144" y="1179"/>
                </a:lnTo>
                <a:lnTo>
                  <a:pt x="1142" y="1179"/>
                </a:lnTo>
                <a:lnTo>
                  <a:pt x="1144" y="1179"/>
                </a:lnTo>
                <a:lnTo>
                  <a:pt x="1144" y="1179"/>
                </a:lnTo>
                <a:lnTo>
                  <a:pt x="1144" y="1179"/>
                </a:lnTo>
                <a:lnTo>
                  <a:pt x="1144" y="1179"/>
                </a:lnTo>
                <a:close/>
                <a:moveTo>
                  <a:pt x="1155" y="1135"/>
                </a:moveTo>
                <a:lnTo>
                  <a:pt x="1154" y="1137"/>
                </a:lnTo>
                <a:lnTo>
                  <a:pt x="1152" y="1139"/>
                </a:lnTo>
                <a:lnTo>
                  <a:pt x="1151" y="1138"/>
                </a:lnTo>
                <a:lnTo>
                  <a:pt x="1149" y="1137"/>
                </a:lnTo>
                <a:lnTo>
                  <a:pt x="1152" y="1135"/>
                </a:lnTo>
                <a:lnTo>
                  <a:pt x="1153" y="1133"/>
                </a:lnTo>
                <a:lnTo>
                  <a:pt x="1154" y="1133"/>
                </a:lnTo>
                <a:lnTo>
                  <a:pt x="1155" y="1135"/>
                </a:lnTo>
                <a:close/>
                <a:moveTo>
                  <a:pt x="1147" y="1131"/>
                </a:moveTo>
                <a:lnTo>
                  <a:pt x="1147" y="1130"/>
                </a:lnTo>
                <a:lnTo>
                  <a:pt x="1146" y="1129"/>
                </a:lnTo>
                <a:lnTo>
                  <a:pt x="1149" y="1124"/>
                </a:lnTo>
                <a:lnTo>
                  <a:pt x="1152" y="1121"/>
                </a:lnTo>
                <a:lnTo>
                  <a:pt x="1154" y="1119"/>
                </a:lnTo>
                <a:lnTo>
                  <a:pt x="1156" y="1119"/>
                </a:lnTo>
                <a:lnTo>
                  <a:pt x="1156" y="1122"/>
                </a:lnTo>
                <a:lnTo>
                  <a:pt x="1156" y="1124"/>
                </a:lnTo>
                <a:lnTo>
                  <a:pt x="1152" y="1128"/>
                </a:lnTo>
                <a:lnTo>
                  <a:pt x="1147" y="1131"/>
                </a:lnTo>
                <a:close/>
                <a:moveTo>
                  <a:pt x="1175" y="1182"/>
                </a:moveTo>
                <a:lnTo>
                  <a:pt x="1175" y="1184"/>
                </a:lnTo>
                <a:lnTo>
                  <a:pt x="1175" y="1185"/>
                </a:lnTo>
                <a:lnTo>
                  <a:pt x="1169" y="1184"/>
                </a:lnTo>
                <a:lnTo>
                  <a:pt x="1163" y="1182"/>
                </a:lnTo>
                <a:lnTo>
                  <a:pt x="1162" y="1180"/>
                </a:lnTo>
                <a:lnTo>
                  <a:pt x="1161" y="1178"/>
                </a:lnTo>
                <a:lnTo>
                  <a:pt x="1160" y="1175"/>
                </a:lnTo>
                <a:lnTo>
                  <a:pt x="1161" y="1172"/>
                </a:lnTo>
                <a:lnTo>
                  <a:pt x="1162" y="1172"/>
                </a:lnTo>
                <a:lnTo>
                  <a:pt x="1163" y="1171"/>
                </a:lnTo>
                <a:lnTo>
                  <a:pt x="1169" y="1177"/>
                </a:lnTo>
                <a:lnTo>
                  <a:pt x="1175" y="1182"/>
                </a:lnTo>
                <a:lnTo>
                  <a:pt x="1175" y="1182"/>
                </a:lnTo>
                <a:lnTo>
                  <a:pt x="1175" y="1182"/>
                </a:lnTo>
                <a:close/>
                <a:moveTo>
                  <a:pt x="1175" y="1122"/>
                </a:moveTo>
                <a:lnTo>
                  <a:pt x="1174" y="1121"/>
                </a:lnTo>
                <a:lnTo>
                  <a:pt x="1172" y="1119"/>
                </a:lnTo>
                <a:lnTo>
                  <a:pt x="1170" y="1124"/>
                </a:lnTo>
                <a:lnTo>
                  <a:pt x="1169" y="1129"/>
                </a:lnTo>
                <a:lnTo>
                  <a:pt x="1168" y="1130"/>
                </a:lnTo>
                <a:lnTo>
                  <a:pt x="1167" y="1130"/>
                </a:lnTo>
                <a:lnTo>
                  <a:pt x="1166" y="1126"/>
                </a:lnTo>
                <a:lnTo>
                  <a:pt x="1166" y="1123"/>
                </a:lnTo>
                <a:lnTo>
                  <a:pt x="1167" y="1119"/>
                </a:lnTo>
                <a:lnTo>
                  <a:pt x="1169" y="1117"/>
                </a:lnTo>
                <a:lnTo>
                  <a:pt x="1172" y="1115"/>
                </a:lnTo>
                <a:lnTo>
                  <a:pt x="1172" y="1111"/>
                </a:lnTo>
                <a:lnTo>
                  <a:pt x="1169" y="1109"/>
                </a:lnTo>
                <a:lnTo>
                  <a:pt x="1166" y="1108"/>
                </a:lnTo>
                <a:lnTo>
                  <a:pt x="1166" y="1108"/>
                </a:lnTo>
                <a:lnTo>
                  <a:pt x="1165" y="1108"/>
                </a:lnTo>
                <a:lnTo>
                  <a:pt x="1151" y="1109"/>
                </a:lnTo>
                <a:lnTo>
                  <a:pt x="1138" y="1109"/>
                </a:lnTo>
                <a:lnTo>
                  <a:pt x="1133" y="1108"/>
                </a:lnTo>
                <a:lnTo>
                  <a:pt x="1127" y="1105"/>
                </a:lnTo>
                <a:lnTo>
                  <a:pt x="1139" y="1101"/>
                </a:lnTo>
                <a:lnTo>
                  <a:pt x="1149" y="1098"/>
                </a:lnTo>
                <a:lnTo>
                  <a:pt x="1153" y="1100"/>
                </a:lnTo>
                <a:lnTo>
                  <a:pt x="1156" y="1103"/>
                </a:lnTo>
                <a:lnTo>
                  <a:pt x="1156" y="1097"/>
                </a:lnTo>
                <a:lnTo>
                  <a:pt x="1158" y="1094"/>
                </a:lnTo>
                <a:lnTo>
                  <a:pt x="1163" y="1090"/>
                </a:lnTo>
                <a:lnTo>
                  <a:pt x="1172" y="1088"/>
                </a:lnTo>
                <a:lnTo>
                  <a:pt x="1168" y="1093"/>
                </a:lnTo>
                <a:lnTo>
                  <a:pt x="1165" y="1095"/>
                </a:lnTo>
                <a:lnTo>
                  <a:pt x="1162" y="1096"/>
                </a:lnTo>
                <a:lnTo>
                  <a:pt x="1161" y="1098"/>
                </a:lnTo>
                <a:lnTo>
                  <a:pt x="1161" y="1101"/>
                </a:lnTo>
                <a:lnTo>
                  <a:pt x="1162" y="1103"/>
                </a:lnTo>
                <a:lnTo>
                  <a:pt x="1167" y="1103"/>
                </a:lnTo>
                <a:lnTo>
                  <a:pt x="1170" y="1104"/>
                </a:lnTo>
                <a:lnTo>
                  <a:pt x="1173" y="1105"/>
                </a:lnTo>
                <a:lnTo>
                  <a:pt x="1176" y="1109"/>
                </a:lnTo>
                <a:lnTo>
                  <a:pt x="1177" y="1112"/>
                </a:lnTo>
                <a:lnTo>
                  <a:pt x="1180" y="1116"/>
                </a:lnTo>
                <a:lnTo>
                  <a:pt x="1179" y="1117"/>
                </a:lnTo>
                <a:lnTo>
                  <a:pt x="1175" y="1122"/>
                </a:lnTo>
                <a:close/>
                <a:moveTo>
                  <a:pt x="1224" y="1154"/>
                </a:moveTo>
                <a:lnTo>
                  <a:pt x="1225" y="1153"/>
                </a:lnTo>
                <a:lnTo>
                  <a:pt x="1225" y="1151"/>
                </a:lnTo>
                <a:lnTo>
                  <a:pt x="1225" y="1152"/>
                </a:lnTo>
                <a:lnTo>
                  <a:pt x="1227" y="1154"/>
                </a:lnTo>
                <a:lnTo>
                  <a:pt x="1225" y="1154"/>
                </a:lnTo>
                <a:lnTo>
                  <a:pt x="1224" y="1154"/>
                </a:lnTo>
                <a:close/>
                <a:moveTo>
                  <a:pt x="1237" y="1230"/>
                </a:moveTo>
                <a:lnTo>
                  <a:pt x="1231" y="1229"/>
                </a:lnTo>
                <a:lnTo>
                  <a:pt x="1227" y="1229"/>
                </a:lnTo>
                <a:lnTo>
                  <a:pt x="1222" y="1228"/>
                </a:lnTo>
                <a:lnTo>
                  <a:pt x="1218" y="1226"/>
                </a:lnTo>
                <a:lnTo>
                  <a:pt x="1215" y="1223"/>
                </a:lnTo>
                <a:lnTo>
                  <a:pt x="1211" y="1221"/>
                </a:lnTo>
                <a:lnTo>
                  <a:pt x="1210" y="1217"/>
                </a:lnTo>
                <a:lnTo>
                  <a:pt x="1209" y="1215"/>
                </a:lnTo>
                <a:lnTo>
                  <a:pt x="1223" y="1222"/>
                </a:lnTo>
                <a:lnTo>
                  <a:pt x="1237" y="1230"/>
                </a:lnTo>
                <a:close/>
                <a:moveTo>
                  <a:pt x="1253" y="1111"/>
                </a:moveTo>
                <a:lnTo>
                  <a:pt x="1252" y="1112"/>
                </a:lnTo>
                <a:lnTo>
                  <a:pt x="1252" y="1115"/>
                </a:lnTo>
                <a:lnTo>
                  <a:pt x="1245" y="1114"/>
                </a:lnTo>
                <a:lnTo>
                  <a:pt x="1238" y="1112"/>
                </a:lnTo>
                <a:lnTo>
                  <a:pt x="1238" y="1111"/>
                </a:lnTo>
                <a:lnTo>
                  <a:pt x="1238" y="1109"/>
                </a:lnTo>
                <a:lnTo>
                  <a:pt x="1239" y="1107"/>
                </a:lnTo>
                <a:lnTo>
                  <a:pt x="1242" y="1105"/>
                </a:lnTo>
                <a:lnTo>
                  <a:pt x="1248" y="1108"/>
                </a:lnTo>
                <a:lnTo>
                  <a:pt x="1253" y="1111"/>
                </a:lnTo>
                <a:close/>
                <a:moveTo>
                  <a:pt x="1265" y="1109"/>
                </a:moveTo>
                <a:lnTo>
                  <a:pt x="1270" y="1110"/>
                </a:lnTo>
                <a:lnTo>
                  <a:pt x="1273" y="1112"/>
                </a:lnTo>
                <a:lnTo>
                  <a:pt x="1270" y="1114"/>
                </a:lnTo>
                <a:lnTo>
                  <a:pt x="1265" y="1116"/>
                </a:lnTo>
                <a:lnTo>
                  <a:pt x="1265" y="1115"/>
                </a:lnTo>
                <a:lnTo>
                  <a:pt x="1265" y="1115"/>
                </a:lnTo>
                <a:lnTo>
                  <a:pt x="1264" y="1115"/>
                </a:lnTo>
                <a:lnTo>
                  <a:pt x="1263" y="1115"/>
                </a:lnTo>
                <a:lnTo>
                  <a:pt x="1259" y="1112"/>
                </a:lnTo>
                <a:lnTo>
                  <a:pt x="1256" y="1111"/>
                </a:lnTo>
                <a:lnTo>
                  <a:pt x="1259" y="1110"/>
                </a:lnTo>
                <a:lnTo>
                  <a:pt x="1264" y="1109"/>
                </a:lnTo>
                <a:lnTo>
                  <a:pt x="1265" y="1109"/>
                </a:lnTo>
                <a:lnTo>
                  <a:pt x="1265" y="1109"/>
                </a:lnTo>
                <a:close/>
                <a:moveTo>
                  <a:pt x="1272" y="1097"/>
                </a:moveTo>
                <a:lnTo>
                  <a:pt x="1271" y="1097"/>
                </a:lnTo>
                <a:lnTo>
                  <a:pt x="1270" y="1098"/>
                </a:lnTo>
                <a:lnTo>
                  <a:pt x="1267" y="1097"/>
                </a:lnTo>
                <a:lnTo>
                  <a:pt x="1265" y="1095"/>
                </a:lnTo>
                <a:lnTo>
                  <a:pt x="1265" y="1086"/>
                </a:lnTo>
                <a:lnTo>
                  <a:pt x="1265" y="1076"/>
                </a:lnTo>
                <a:lnTo>
                  <a:pt x="1267" y="1076"/>
                </a:lnTo>
                <a:lnTo>
                  <a:pt x="1269" y="1076"/>
                </a:lnTo>
                <a:lnTo>
                  <a:pt x="1272" y="1079"/>
                </a:lnTo>
                <a:lnTo>
                  <a:pt x="1273" y="1081"/>
                </a:lnTo>
                <a:lnTo>
                  <a:pt x="1273" y="1084"/>
                </a:lnTo>
                <a:lnTo>
                  <a:pt x="1272" y="1087"/>
                </a:lnTo>
                <a:lnTo>
                  <a:pt x="1271" y="1089"/>
                </a:lnTo>
                <a:lnTo>
                  <a:pt x="1271" y="1091"/>
                </a:lnTo>
                <a:lnTo>
                  <a:pt x="1271" y="1095"/>
                </a:lnTo>
                <a:lnTo>
                  <a:pt x="1272" y="1097"/>
                </a:lnTo>
                <a:close/>
                <a:moveTo>
                  <a:pt x="1265" y="998"/>
                </a:moveTo>
                <a:lnTo>
                  <a:pt x="1272" y="995"/>
                </a:lnTo>
                <a:lnTo>
                  <a:pt x="1279" y="992"/>
                </a:lnTo>
                <a:lnTo>
                  <a:pt x="1285" y="992"/>
                </a:lnTo>
                <a:lnTo>
                  <a:pt x="1291" y="993"/>
                </a:lnTo>
                <a:lnTo>
                  <a:pt x="1291" y="995"/>
                </a:lnTo>
                <a:lnTo>
                  <a:pt x="1291" y="997"/>
                </a:lnTo>
                <a:lnTo>
                  <a:pt x="1284" y="998"/>
                </a:lnTo>
                <a:lnTo>
                  <a:pt x="1278" y="1000"/>
                </a:lnTo>
                <a:lnTo>
                  <a:pt x="1277" y="999"/>
                </a:lnTo>
                <a:lnTo>
                  <a:pt x="1277" y="999"/>
                </a:lnTo>
                <a:lnTo>
                  <a:pt x="1275" y="1005"/>
                </a:lnTo>
                <a:lnTo>
                  <a:pt x="1272" y="1012"/>
                </a:lnTo>
                <a:lnTo>
                  <a:pt x="1282" y="1010"/>
                </a:lnTo>
                <a:lnTo>
                  <a:pt x="1291" y="1009"/>
                </a:lnTo>
                <a:lnTo>
                  <a:pt x="1280" y="1021"/>
                </a:lnTo>
                <a:lnTo>
                  <a:pt x="1271" y="1033"/>
                </a:lnTo>
                <a:lnTo>
                  <a:pt x="1271" y="1033"/>
                </a:lnTo>
                <a:lnTo>
                  <a:pt x="1272" y="1034"/>
                </a:lnTo>
                <a:lnTo>
                  <a:pt x="1278" y="1030"/>
                </a:lnTo>
                <a:lnTo>
                  <a:pt x="1285" y="1025"/>
                </a:lnTo>
                <a:lnTo>
                  <a:pt x="1284" y="1030"/>
                </a:lnTo>
                <a:lnTo>
                  <a:pt x="1284" y="1033"/>
                </a:lnTo>
                <a:lnTo>
                  <a:pt x="1289" y="1034"/>
                </a:lnTo>
                <a:lnTo>
                  <a:pt x="1298" y="1037"/>
                </a:lnTo>
                <a:lnTo>
                  <a:pt x="1291" y="1040"/>
                </a:lnTo>
                <a:lnTo>
                  <a:pt x="1285" y="1042"/>
                </a:lnTo>
                <a:lnTo>
                  <a:pt x="1279" y="1046"/>
                </a:lnTo>
                <a:lnTo>
                  <a:pt x="1273" y="1048"/>
                </a:lnTo>
                <a:lnTo>
                  <a:pt x="1270" y="1048"/>
                </a:lnTo>
                <a:lnTo>
                  <a:pt x="1265" y="1047"/>
                </a:lnTo>
                <a:lnTo>
                  <a:pt x="1265" y="1046"/>
                </a:lnTo>
                <a:lnTo>
                  <a:pt x="1264" y="1045"/>
                </a:lnTo>
                <a:lnTo>
                  <a:pt x="1260" y="1051"/>
                </a:lnTo>
                <a:lnTo>
                  <a:pt x="1256" y="1055"/>
                </a:lnTo>
                <a:lnTo>
                  <a:pt x="1253" y="1056"/>
                </a:lnTo>
                <a:lnTo>
                  <a:pt x="1251" y="1056"/>
                </a:lnTo>
                <a:lnTo>
                  <a:pt x="1250" y="1055"/>
                </a:lnTo>
                <a:lnTo>
                  <a:pt x="1248" y="1052"/>
                </a:lnTo>
                <a:lnTo>
                  <a:pt x="1245" y="1055"/>
                </a:lnTo>
                <a:lnTo>
                  <a:pt x="1244" y="1058"/>
                </a:lnTo>
                <a:lnTo>
                  <a:pt x="1244" y="1060"/>
                </a:lnTo>
                <a:lnTo>
                  <a:pt x="1246" y="1061"/>
                </a:lnTo>
                <a:lnTo>
                  <a:pt x="1250" y="1063"/>
                </a:lnTo>
                <a:lnTo>
                  <a:pt x="1251" y="1066"/>
                </a:lnTo>
                <a:lnTo>
                  <a:pt x="1251" y="1068"/>
                </a:lnTo>
                <a:lnTo>
                  <a:pt x="1249" y="1073"/>
                </a:lnTo>
                <a:lnTo>
                  <a:pt x="1255" y="1073"/>
                </a:lnTo>
                <a:lnTo>
                  <a:pt x="1260" y="1073"/>
                </a:lnTo>
                <a:lnTo>
                  <a:pt x="1260" y="1073"/>
                </a:lnTo>
                <a:lnTo>
                  <a:pt x="1262" y="1074"/>
                </a:lnTo>
                <a:lnTo>
                  <a:pt x="1259" y="1076"/>
                </a:lnTo>
                <a:lnTo>
                  <a:pt x="1257" y="1077"/>
                </a:lnTo>
                <a:lnTo>
                  <a:pt x="1253" y="1079"/>
                </a:lnTo>
                <a:lnTo>
                  <a:pt x="1250" y="1080"/>
                </a:lnTo>
                <a:lnTo>
                  <a:pt x="1251" y="1083"/>
                </a:lnTo>
                <a:lnTo>
                  <a:pt x="1253" y="1087"/>
                </a:lnTo>
                <a:lnTo>
                  <a:pt x="1250" y="1088"/>
                </a:lnTo>
                <a:lnTo>
                  <a:pt x="1248" y="1089"/>
                </a:lnTo>
                <a:lnTo>
                  <a:pt x="1245" y="1084"/>
                </a:lnTo>
                <a:lnTo>
                  <a:pt x="1243" y="1081"/>
                </a:lnTo>
                <a:lnTo>
                  <a:pt x="1244" y="1080"/>
                </a:lnTo>
                <a:lnTo>
                  <a:pt x="1245" y="1079"/>
                </a:lnTo>
                <a:lnTo>
                  <a:pt x="1237" y="1077"/>
                </a:lnTo>
                <a:lnTo>
                  <a:pt x="1230" y="1075"/>
                </a:lnTo>
                <a:lnTo>
                  <a:pt x="1231" y="1070"/>
                </a:lnTo>
                <a:lnTo>
                  <a:pt x="1232" y="1066"/>
                </a:lnTo>
                <a:lnTo>
                  <a:pt x="1235" y="1066"/>
                </a:lnTo>
                <a:lnTo>
                  <a:pt x="1237" y="1067"/>
                </a:lnTo>
                <a:lnTo>
                  <a:pt x="1239" y="1065"/>
                </a:lnTo>
                <a:lnTo>
                  <a:pt x="1239" y="1062"/>
                </a:lnTo>
                <a:lnTo>
                  <a:pt x="1239" y="1060"/>
                </a:lnTo>
                <a:lnTo>
                  <a:pt x="1239" y="1059"/>
                </a:lnTo>
                <a:lnTo>
                  <a:pt x="1236" y="1055"/>
                </a:lnTo>
                <a:lnTo>
                  <a:pt x="1229" y="1052"/>
                </a:lnTo>
                <a:lnTo>
                  <a:pt x="1227" y="1059"/>
                </a:lnTo>
                <a:lnTo>
                  <a:pt x="1224" y="1063"/>
                </a:lnTo>
                <a:lnTo>
                  <a:pt x="1218" y="1067"/>
                </a:lnTo>
                <a:lnTo>
                  <a:pt x="1210" y="1069"/>
                </a:lnTo>
                <a:lnTo>
                  <a:pt x="1217" y="1070"/>
                </a:lnTo>
                <a:lnTo>
                  <a:pt x="1222" y="1072"/>
                </a:lnTo>
                <a:lnTo>
                  <a:pt x="1222" y="1073"/>
                </a:lnTo>
                <a:lnTo>
                  <a:pt x="1223" y="1074"/>
                </a:lnTo>
                <a:lnTo>
                  <a:pt x="1216" y="1076"/>
                </a:lnTo>
                <a:lnTo>
                  <a:pt x="1209" y="1079"/>
                </a:lnTo>
                <a:lnTo>
                  <a:pt x="1207" y="1077"/>
                </a:lnTo>
                <a:lnTo>
                  <a:pt x="1204" y="1075"/>
                </a:lnTo>
                <a:lnTo>
                  <a:pt x="1204" y="1072"/>
                </a:lnTo>
                <a:lnTo>
                  <a:pt x="1206" y="1069"/>
                </a:lnTo>
                <a:lnTo>
                  <a:pt x="1213" y="1063"/>
                </a:lnTo>
                <a:lnTo>
                  <a:pt x="1218" y="1058"/>
                </a:lnTo>
                <a:lnTo>
                  <a:pt x="1217" y="1056"/>
                </a:lnTo>
                <a:lnTo>
                  <a:pt x="1217" y="1054"/>
                </a:lnTo>
                <a:lnTo>
                  <a:pt x="1211" y="1056"/>
                </a:lnTo>
                <a:lnTo>
                  <a:pt x="1207" y="1059"/>
                </a:lnTo>
                <a:lnTo>
                  <a:pt x="1202" y="1060"/>
                </a:lnTo>
                <a:lnTo>
                  <a:pt x="1198" y="1061"/>
                </a:lnTo>
                <a:lnTo>
                  <a:pt x="1196" y="1054"/>
                </a:lnTo>
                <a:lnTo>
                  <a:pt x="1195" y="1048"/>
                </a:lnTo>
                <a:lnTo>
                  <a:pt x="1195" y="1047"/>
                </a:lnTo>
                <a:lnTo>
                  <a:pt x="1195" y="1046"/>
                </a:lnTo>
                <a:lnTo>
                  <a:pt x="1189" y="1046"/>
                </a:lnTo>
                <a:lnTo>
                  <a:pt x="1182" y="1046"/>
                </a:lnTo>
                <a:lnTo>
                  <a:pt x="1187" y="1051"/>
                </a:lnTo>
                <a:lnTo>
                  <a:pt x="1190" y="1056"/>
                </a:lnTo>
                <a:lnTo>
                  <a:pt x="1193" y="1062"/>
                </a:lnTo>
                <a:lnTo>
                  <a:pt x="1194" y="1069"/>
                </a:lnTo>
                <a:lnTo>
                  <a:pt x="1190" y="1068"/>
                </a:lnTo>
                <a:lnTo>
                  <a:pt x="1188" y="1066"/>
                </a:lnTo>
                <a:lnTo>
                  <a:pt x="1187" y="1063"/>
                </a:lnTo>
                <a:lnTo>
                  <a:pt x="1187" y="1060"/>
                </a:lnTo>
                <a:lnTo>
                  <a:pt x="1186" y="1056"/>
                </a:lnTo>
                <a:lnTo>
                  <a:pt x="1184" y="1054"/>
                </a:lnTo>
                <a:lnTo>
                  <a:pt x="1181" y="1055"/>
                </a:lnTo>
                <a:lnTo>
                  <a:pt x="1177" y="1058"/>
                </a:lnTo>
                <a:lnTo>
                  <a:pt x="1181" y="1061"/>
                </a:lnTo>
                <a:lnTo>
                  <a:pt x="1184" y="1065"/>
                </a:lnTo>
                <a:lnTo>
                  <a:pt x="1179" y="1065"/>
                </a:lnTo>
                <a:lnTo>
                  <a:pt x="1174" y="1063"/>
                </a:lnTo>
                <a:lnTo>
                  <a:pt x="1174" y="1065"/>
                </a:lnTo>
                <a:lnTo>
                  <a:pt x="1174" y="1066"/>
                </a:lnTo>
                <a:lnTo>
                  <a:pt x="1176" y="1067"/>
                </a:lnTo>
                <a:lnTo>
                  <a:pt x="1177" y="1068"/>
                </a:lnTo>
                <a:lnTo>
                  <a:pt x="1180" y="1070"/>
                </a:lnTo>
                <a:lnTo>
                  <a:pt x="1181" y="1073"/>
                </a:lnTo>
                <a:lnTo>
                  <a:pt x="1177" y="1074"/>
                </a:lnTo>
                <a:lnTo>
                  <a:pt x="1175" y="1075"/>
                </a:lnTo>
                <a:lnTo>
                  <a:pt x="1170" y="1069"/>
                </a:lnTo>
                <a:lnTo>
                  <a:pt x="1166" y="1063"/>
                </a:lnTo>
                <a:lnTo>
                  <a:pt x="1161" y="1067"/>
                </a:lnTo>
                <a:lnTo>
                  <a:pt x="1154" y="1072"/>
                </a:lnTo>
                <a:lnTo>
                  <a:pt x="1158" y="1075"/>
                </a:lnTo>
                <a:lnTo>
                  <a:pt x="1160" y="1079"/>
                </a:lnTo>
                <a:lnTo>
                  <a:pt x="1163" y="1080"/>
                </a:lnTo>
                <a:lnTo>
                  <a:pt x="1167" y="1080"/>
                </a:lnTo>
                <a:lnTo>
                  <a:pt x="1173" y="1081"/>
                </a:lnTo>
                <a:lnTo>
                  <a:pt x="1177" y="1083"/>
                </a:lnTo>
                <a:lnTo>
                  <a:pt x="1180" y="1086"/>
                </a:lnTo>
                <a:lnTo>
                  <a:pt x="1181" y="1089"/>
                </a:lnTo>
                <a:lnTo>
                  <a:pt x="1180" y="1093"/>
                </a:lnTo>
                <a:lnTo>
                  <a:pt x="1179" y="1096"/>
                </a:lnTo>
                <a:lnTo>
                  <a:pt x="1176" y="1094"/>
                </a:lnTo>
                <a:lnTo>
                  <a:pt x="1175" y="1093"/>
                </a:lnTo>
                <a:lnTo>
                  <a:pt x="1173" y="1087"/>
                </a:lnTo>
                <a:lnTo>
                  <a:pt x="1170" y="1084"/>
                </a:lnTo>
                <a:lnTo>
                  <a:pt x="1167" y="1084"/>
                </a:lnTo>
                <a:lnTo>
                  <a:pt x="1161" y="1086"/>
                </a:lnTo>
                <a:lnTo>
                  <a:pt x="1156" y="1086"/>
                </a:lnTo>
                <a:lnTo>
                  <a:pt x="1152" y="1086"/>
                </a:lnTo>
                <a:lnTo>
                  <a:pt x="1149" y="1086"/>
                </a:lnTo>
                <a:lnTo>
                  <a:pt x="1147" y="1086"/>
                </a:lnTo>
                <a:lnTo>
                  <a:pt x="1144" y="1086"/>
                </a:lnTo>
                <a:lnTo>
                  <a:pt x="1140" y="1086"/>
                </a:lnTo>
                <a:lnTo>
                  <a:pt x="1140" y="1082"/>
                </a:lnTo>
                <a:lnTo>
                  <a:pt x="1140" y="1079"/>
                </a:lnTo>
                <a:lnTo>
                  <a:pt x="1141" y="1077"/>
                </a:lnTo>
                <a:lnTo>
                  <a:pt x="1141" y="1076"/>
                </a:lnTo>
                <a:lnTo>
                  <a:pt x="1132" y="1077"/>
                </a:lnTo>
                <a:lnTo>
                  <a:pt x="1124" y="1079"/>
                </a:lnTo>
                <a:lnTo>
                  <a:pt x="1121" y="1081"/>
                </a:lnTo>
                <a:lnTo>
                  <a:pt x="1119" y="1083"/>
                </a:lnTo>
                <a:lnTo>
                  <a:pt x="1115" y="1084"/>
                </a:lnTo>
                <a:lnTo>
                  <a:pt x="1112" y="1084"/>
                </a:lnTo>
                <a:lnTo>
                  <a:pt x="1111" y="1082"/>
                </a:lnTo>
                <a:lnTo>
                  <a:pt x="1111" y="1080"/>
                </a:lnTo>
                <a:lnTo>
                  <a:pt x="1111" y="1079"/>
                </a:lnTo>
                <a:lnTo>
                  <a:pt x="1112" y="1077"/>
                </a:lnTo>
                <a:lnTo>
                  <a:pt x="1111" y="1074"/>
                </a:lnTo>
                <a:lnTo>
                  <a:pt x="1111" y="1070"/>
                </a:lnTo>
                <a:lnTo>
                  <a:pt x="1112" y="1067"/>
                </a:lnTo>
                <a:lnTo>
                  <a:pt x="1114" y="1065"/>
                </a:lnTo>
                <a:lnTo>
                  <a:pt x="1119" y="1061"/>
                </a:lnTo>
                <a:lnTo>
                  <a:pt x="1125" y="1059"/>
                </a:lnTo>
                <a:lnTo>
                  <a:pt x="1131" y="1056"/>
                </a:lnTo>
                <a:lnTo>
                  <a:pt x="1137" y="1053"/>
                </a:lnTo>
                <a:lnTo>
                  <a:pt x="1142" y="1051"/>
                </a:lnTo>
                <a:lnTo>
                  <a:pt x="1148" y="1051"/>
                </a:lnTo>
                <a:lnTo>
                  <a:pt x="1152" y="1048"/>
                </a:lnTo>
                <a:lnTo>
                  <a:pt x="1154" y="1045"/>
                </a:lnTo>
                <a:lnTo>
                  <a:pt x="1166" y="1039"/>
                </a:lnTo>
                <a:lnTo>
                  <a:pt x="1176" y="1033"/>
                </a:lnTo>
                <a:lnTo>
                  <a:pt x="1179" y="1035"/>
                </a:lnTo>
                <a:lnTo>
                  <a:pt x="1179" y="1038"/>
                </a:lnTo>
                <a:lnTo>
                  <a:pt x="1177" y="1040"/>
                </a:lnTo>
                <a:lnTo>
                  <a:pt x="1175" y="1042"/>
                </a:lnTo>
                <a:lnTo>
                  <a:pt x="1173" y="1044"/>
                </a:lnTo>
                <a:lnTo>
                  <a:pt x="1173" y="1047"/>
                </a:lnTo>
                <a:lnTo>
                  <a:pt x="1177" y="1045"/>
                </a:lnTo>
                <a:lnTo>
                  <a:pt x="1183" y="1041"/>
                </a:lnTo>
                <a:lnTo>
                  <a:pt x="1186" y="1040"/>
                </a:lnTo>
                <a:lnTo>
                  <a:pt x="1187" y="1039"/>
                </a:lnTo>
                <a:lnTo>
                  <a:pt x="1187" y="1038"/>
                </a:lnTo>
                <a:lnTo>
                  <a:pt x="1187" y="1035"/>
                </a:lnTo>
                <a:lnTo>
                  <a:pt x="1186" y="1032"/>
                </a:lnTo>
                <a:lnTo>
                  <a:pt x="1184" y="1028"/>
                </a:lnTo>
                <a:lnTo>
                  <a:pt x="1198" y="1024"/>
                </a:lnTo>
                <a:lnTo>
                  <a:pt x="1211" y="1018"/>
                </a:lnTo>
                <a:lnTo>
                  <a:pt x="1215" y="1017"/>
                </a:lnTo>
                <a:lnTo>
                  <a:pt x="1217" y="1014"/>
                </a:lnTo>
                <a:lnTo>
                  <a:pt x="1221" y="1012"/>
                </a:lnTo>
                <a:lnTo>
                  <a:pt x="1224" y="1010"/>
                </a:lnTo>
                <a:lnTo>
                  <a:pt x="1232" y="1006"/>
                </a:lnTo>
                <a:lnTo>
                  <a:pt x="1239" y="1002"/>
                </a:lnTo>
                <a:lnTo>
                  <a:pt x="1248" y="998"/>
                </a:lnTo>
                <a:lnTo>
                  <a:pt x="1255" y="995"/>
                </a:lnTo>
                <a:lnTo>
                  <a:pt x="1258" y="993"/>
                </a:lnTo>
                <a:lnTo>
                  <a:pt x="1260" y="993"/>
                </a:lnTo>
                <a:lnTo>
                  <a:pt x="1263" y="995"/>
                </a:lnTo>
                <a:lnTo>
                  <a:pt x="1265" y="998"/>
                </a:lnTo>
                <a:close/>
                <a:moveTo>
                  <a:pt x="1267" y="925"/>
                </a:moveTo>
                <a:lnTo>
                  <a:pt x="1270" y="928"/>
                </a:lnTo>
                <a:lnTo>
                  <a:pt x="1272" y="930"/>
                </a:lnTo>
                <a:lnTo>
                  <a:pt x="1271" y="935"/>
                </a:lnTo>
                <a:lnTo>
                  <a:pt x="1269" y="939"/>
                </a:lnTo>
                <a:lnTo>
                  <a:pt x="1267" y="939"/>
                </a:lnTo>
                <a:lnTo>
                  <a:pt x="1266" y="939"/>
                </a:lnTo>
                <a:lnTo>
                  <a:pt x="1264" y="934"/>
                </a:lnTo>
                <a:lnTo>
                  <a:pt x="1263" y="930"/>
                </a:lnTo>
                <a:lnTo>
                  <a:pt x="1264" y="928"/>
                </a:lnTo>
                <a:lnTo>
                  <a:pt x="1267" y="925"/>
                </a:lnTo>
                <a:close/>
                <a:moveTo>
                  <a:pt x="1291" y="1105"/>
                </a:moveTo>
                <a:lnTo>
                  <a:pt x="1290" y="1103"/>
                </a:lnTo>
                <a:lnTo>
                  <a:pt x="1289" y="1101"/>
                </a:lnTo>
                <a:lnTo>
                  <a:pt x="1291" y="1100"/>
                </a:lnTo>
                <a:lnTo>
                  <a:pt x="1293" y="1100"/>
                </a:lnTo>
                <a:lnTo>
                  <a:pt x="1294" y="1100"/>
                </a:lnTo>
                <a:lnTo>
                  <a:pt x="1296" y="1102"/>
                </a:lnTo>
                <a:lnTo>
                  <a:pt x="1299" y="1104"/>
                </a:lnTo>
                <a:lnTo>
                  <a:pt x="1304" y="1105"/>
                </a:lnTo>
                <a:lnTo>
                  <a:pt x="1298" y="1110"/>
                </a:lnTo>
                <a:lnTo>
                  <a:pt x="1292" y="1114"/>
                </a:lnTo>
                <a:lnTo>
                  <a:pt x="1289" y="1114"/>
                </a:lnTo>
                <a:lnTo>
                  <a:pt x="1286" y="1115"/>
                </a:lnTo>
                <a:lnTo>
                  <a:pt x="1283" y="1114"/>
                </a:lnTo>
                <a:lnTo>
                  <a:pt x="1278" y="1112"/>
                </a:lnTo>
                <a:lnTo>
                  <a:pt x="1285" y="1109"/>
                </a:lnTo>
                <a:lnTo>
                  <a:pt x="1291" y="1105"/>
                </a:lnTo>
                <a:close/>
                <a:moveTo>
                  <a:pt x="1300" y="1083"/>
                </a:moveTo>
                <a:lnTo>
                  <a:pt x="1300" y="1084"/>
                </a:lnTo>
                <a:lnTo>
                  <a:pt x="1300" y="1086"/>
                </a:lnTo>
                <a:lnTo>
                  <a:pt x="1296" y="1086"/>
                </a:lnTo>
                <a:lnTo>
                  <a:pt x="1290" y="1087"/>
                </a:lnTo>
                <a:lnTo>
                  <a:pt x="1292" y="1089"/>
                </a:lnTo>
                <a:lnTo>
                  <a:pt x="1294" y="1090"/>
                </a:lnTo>
                <a:lnTo>
                  <a:pt x="1289" y="1094"/>
                </a:lnTo>
                <a:lnTo>
                  <a:pt x="1284" y="1097"/>
                </a:lnTo>
                <a:lnTo>
                  <a:pt x="1283" y="1097"/>
                </a:lnTo>
                <a:lnTo>
                  <a:pt x="1283" y="1096"/>
                </a:lnTo>
                <a:lnTo>
                  <a:pt x="1284" y="1094"/>
                </a:lnTo>
                <a:lnTo>
                  <a:pt x="1285" y="1091"/>
                </a:lnTo>
                <a:lnTo>
                  <a:pt x="1282" y="1091"/>
                </a:lnTo>
                <a:lnTo>
                  <a:pt x="1276" y="1090"/>
                </a:lnTo>
                <a:lnTo>
                  <a:pt x="1279" y="1081"/>
                </a:lnTo>
                <a:lnTo>
                  <a:pt x="1284" y="1073"/>
                </a:lnTo>
                <a:lnTo>
                  <a:pt x="1290" y="1073"/>
                </a:lnTo>
                <a:lnTo>
                  <a:pt x="1296" y="1073"/>
                </a:lnTo>
                <a:lnTo>
                  <a:pt x="1296" y="1074"/>
                </a:lnTo>
                <a:lnTo>
                  <a:pt x="1294" y="1076"/>
                </a:lnTo>
                <a:lnTo>
                  <a:pt x="1293" y="1077"/>
                </a:lnTo>
                <a:lnTo>
                  <a:pt x="1291" y="1081"/>
                </a:lnTo>
                <a:lnTo>
                  <a:pt x="1296" y="1082"/>
                </a:lnTo>
                <a:lnTo>
                  <a:pt x="1300" y="1083"/>
                </a:lnTo>
                <a:close/>
                <a:moveTo>
                  <a:pt x="1304" y="1055"/>
                </a:moveTo>
                <a:lnTo>
                  <a:pt x="1304" y="1056"/>
                </a:lnTo>
                <a:lnTo>
                  <a:pt x="1304" y="1058"/>
                </a:lnTo>
                <a:lnTo>
                  <a:pt x="1299" y="1059"/>
                </a:lnTo>
                <a:lnTo>
                  <a:pt x="1293" y="1061"/>
                </a:lnTo>
                <a:lnTo>
                  <a:pt x="1292" y="1055"/>
                </a:lnTo>
                <a:lnTo>
                  <a:pt x="1292" y="1051"/>
                </a:lnTo>
                <a:lnTo>
                  <a:pt x="1298" y="1053"/>
                </a:lnTo>
                <a:lnTo>
                  <a:pt x="1304" y="1055"/>
                </a:lnTo>
                <a:close/>
                <a:moveTo>
                  <a:pt x="1318" y="1011"/>
                </a:moveTo>
                <a:lnTo>
                  <a:pt x="1320" y="1012"/>
                </a:lnTo>
                <a:lnTo>
                  <a:pt x="1322" y="1014"/>
                </a:lnTo>
                <a:lnTo>
                  <a:pt x="1320" y="1016"/>
                </a:lnTo>
                <a:lnTo>
                  <a:pt x="1318" y="1018"/>
                </a:lnTo>
                <a:lnTo>
                  <a:pt x="1314" y="1021"/>
                </a:lnTo>
                <a:lnTo>
                  <a:pt x="1311" y="1025"/>
                </a:lnTo>
                <a:lnTo>
                  <a:pt x="1308" y="1026"/>
                </a:lnTo>
                <a:lnTo>
                  <a:pt x="1306" y="1028"/>
                </a:lnTo>
                <a:lnTo>
                  <a:pt x="1305" y="1026"/>
                </a:lnTo>
                <a:lnTo>
                  <a:pt x="1304" y="1024"/>
                </a:lnTo>
                <a:lnTo>
                  <a:pt x="1304" y="1020"/>
                </a:lnTo>
                <a:lnTo>
                  <a:pt x="1304" y="1018"/>
                </a:lnTo>
                <a:lnTo>
                  <a:pt x="1305" y="1016"/>
                </a:lnTo>
                <a:lnTo>
                  <a:pt x="1306" y="1014"/>
                </a:lnTo>
                <a:lnTo>
                  <a:pt x="1311" y="1011"/>
                </a:lnTo>
                <a:lnTo>
                  <a:pt x="1318" y="1011"/>
                </a:lnTo>
                <a:close/>
                <a:moveTo>
                  <a:pt x="1361" y="1159"/>
                </a:moveTo>
                <a:lnTo>
                  <a:pt x="1363" y="1161"/>
                </a:lnTo>
                <a:lnTo>
                  <a:pt x="1363" y="1165"/>
                </a:lnTo>
                <a:lnTo>
                  <a:pt x="1362" y="1167"/>
                </a:lnTo>
                <a:lnTo>
                  <a:pt x="1360" y="1171"/>
                </a:lnTo>
                <a:lnTo>
                  <a:pt x="1358" y="1172"/>
                </a:lnTo>
                <a:lnTo>
                  <a:pt x="1356" y="1173"/>
                </a:lnTo>
                <a:lnTo>
                  <a:pt x="1354" y="1172"/>
                </a:lnTo>
                <a:lnTo>
                  <a:pt x="1353" y="1170"/>
                </a:lnTo>
                <a:lnTo>
                  <a:pt x="1356" y="1165"/>
                </a:lnTo>
                <a:lnTo>
                  <a:pt x="1361" y="1159"/>
                </a:lnTo>
                <a:close/>
                <a:moveTo>
                  <a:pt x="1080" y="1299"/>
                </a:moveTo>
                <a:lnTo>
                  <a:pt x="1085" y="1298"/>
                </a:lnTo>
                <a:lnTo>
                  <a:pt x="1091" y="1299"/>
                </a:lnTo>
                <a:lnTo>
                  <a:pt x="1097" y="1303"/>
                </a:lnTo>
                <a:lnTo>
                  <a:pt x="1101" y="1306"/>
                </a:lnTo>
                <a:lnTo>
                  <a:pt x="1090" y="1303"/>
                </a:lnTo>
                <a:lnTo>
                  <a:pt x="1080" y="1299"/>
                </a:lnTo>
                <a:lnTo>
                  <a:pt x="1080" y="1299"/>
                </a:lnTo>
                <a:lnTo>
                  <a:pt x="1080" y="1299"/>
                </a:lnTo>
                <a:close/>
                <a:moveTo>
                  <a:pt x="459" y="816"/>
                </a:moveTo>
                <a:lnTo>
                  <a:pt x="458" y="813"/>
                </a:lnTo>
                <a:lnTo>
                  <a:pt x="457" y="810"/>
                </a:lnTo>
                <a:lnTo>
                  <a:pt x="458" y="793"/>
                </a:lnTo>
                <a:lnTo>
                  <a:pt x="459" y="776"/>
                </a:lnTo>
                <a:lnTo>
                  <a:pt x="461" y="772"/>
                </a:lnTo>
                <a:lnTo>
                  <a:pt x="463" y="767"/>
                </a:lnTo>
                <a:lnTo>
                  <a:pt x="466" y="764"/>
                </a:lnTo>
                <a:lnTo>
                  <a:pt x="471" y="761"/>
                </a:lnTo>
                <a:lnTo>
                  <a:pt x="473" y="767"/>
                </a:lnTo>
                <a:lnTo>
                  <a:pt x="475" y="775"/>
                </a:lnTo>
                <a:lnTo>
                  <a:pt x="475" y="783"/>
                </a:lnTo>
                <a:lnTo>
                  <a:pt x="473" y="792"/>
                </a:lnTo>
                <a:lnTo>
                  <a:pt x="471" y="800"/>
                </a:lnTo>
                <a:lnTo>
                  <a:pt x="468" y="807"/>
                </a:lnTo>
                <a:lnTo>
                  <a:pt x="464" y="813"/>
                </a:lnTo>
                <a:lnTo>
                  <a:pt x="459" y="816"/>
                </a:lnTo>
                <a:close/>
                <a:moveTo>
                  <a:pt x="464" y="1193"/>
                </a:moveTo>
                <a:lnTo>
                  <a:pt x="465" y="1194"/>
                </a:lnTo>
                <a:lnTo>
                  <a:pt x="465" y="1196"/>
                </a:lnTo>
                <a:lnTo>
                  <a:pt x="464" y="1199"/>
                </a:lnTo>
                <a:lnTo>
                  <a:pt x="464" y="1201"/>
                </a:lnTo>
                <a:lnTo>
                  <a:pt x="462" y="1199"/>
                </a:lnTo>
                <a:lnTo>
                  <a:pt x="459" y="1196"/>
                </a:lnTo>
                <a:lnTo>
                  <a:pt x="459" y="1194"/>
                </a:lnTo>
                <a:lnTo>
                  <a:pt x="461" y="1192"/>
                </a:lnTo>
                <a:lnTo>
                  <a:pt x="462" y="1189"/>
                </a:lnTo>
                <a:lnTo>
                  <a:pt x="464" y="1188"/>
                </a:lnTo>
                <a:lnTo>
                  <a:pt x="465" y="1191"/>
                </a:lnTo>
                <a:lnTo>
                  <a:pt x="465" y="1192"/>
                </a:lnTo>
                <a:lnTo>
                  <a:pt x="465" y="1192"/>
                </a:lnTo>
                <a:lnTo>
                  <a:pt x="464" y="1193"/>
                </a:lnTo>
                <a:close/>
                <a:moveTo>
                  <a:pt x="451" y="1158"/>
                </a:moveTo>
                <a:lnTo>
                  <a:pt x="454" y="1153"/>
                </a:lnTo>
                <a:lnTo>
                  <a:pt x="455" y="1150"/>
                </a:lnTo>
                <a:lnTo>
                  <a:pt x="458" y="1153"/>
                </a:lnTo>
                <a:lnTo>
                  <a:pt x="461" y="1156"/>
                </a:lnTo>
                <a:lnTo>
                  <a:pt x="461" y="1157"/>
                </a:lnTo>
                <a:lnTo>
                  <a:pt x="461" y="1158"/>
                </a:lnTo>
                <a:lnTo>
                  <a:pt x="456" y="1158"/>
                </a:lnTo>
                <a:lnTo>
                  <a:pt x="451" y="1158"/>
                </a:lnTo>
                <a:close/>
                <a:moveTo>
                  <a:pt x="448" y="708"/>
                </a:moveTo>
                <a:lnTo>
                  <a:pt x="449" y="701"/>
                </a:lnTo>
                <a:lnTo>
                  <a:pt x="450" y="695"/>
                </a:lnTo>
                <a:lnTo>
                  <a:pt x="451" y="695"/>
                </a:lnTo>
                <a:lnTo>
                  <a:pt x="452" y="695"/>
                </a:lnTo>
                <a:lnTo>
                  <a:pt x="451" y="698"/>
                </a:lnTo>
                <a:lnTo>
                  <a:pt x="450" y="701"/>
                </a:lnTo>
                <a:lnTo>
                  <a:pt x="454" y="704"/>
                </a:lnTo>
                <a:lnTo>
                  <a:pt x="457" y="709"/>
                </a:lnTo>
                <a:lnTo>
                  <a:pt x="452" y="708"/>
                </a:lnTo>
                <a:lnTo>
                  <a:pt x="448" y="708"/>
                </a:lnTo>
                <a:close/>
                <a:moveTo>
                  <a:pt x="443" y="775"/>
                </a:moveTo>
                <a:lnTo>
                  <a:pt x="440" y="769"/>
                </a:lnTo>
                <a:lnTo>
                  <a:pt x="435" y="762"/>
                </a:lnTo>
                <a:lnTo>
                  <a:pt x="438" y="762"/>
                </a:lnTo>
                <a:lnTo>
                  <a:pt x="442" y="765"/>
                </a:lnTo>
                <a:lnTo>
                  <a:pt x="445" y="772"/>
                </a:lnTo>
                <a:lnTo>
                  <a:pt x="451" y="785"/>
                </a:lnTo>
                <a:lnTo>
                  <a:pt x="449" y="785"/>
                </a:lnTo>
                <a:lnTo>
                  <a:pt x="448" y="783"/>
                </a:lnTo>
                <a:lnTo>
                  <a:pt x="447" y="781"/>
                </a:lnTo>
                <a:lnTo>
                  <a:pt x="443" y="775"/>
                </a:lnTo>
                <a:close/>
                <a:moveTo>
                  <a:pt x="433" y="780"/>
                </a:moveTo>
                <a:lnTo>
                  <a:pt x="430" y="775"/>
                </a:lnTo>
                <a:lnTo>
                  <a:pt x="427" y="771"/>
                </a:lnTo>
                <a:lnTo>
                  <a:pt x="428" y="771"/>
                </a:lnTo>
                <a:lnTo>
                  <a:pt x="429" y="769"/>
                </a:lnTo>
                <a:lnTo>
                  <a:pt x="433" y="774"/>
                </a:lnTo>
                <a:lnTo>
                  <a:pt x="436" y="779"/>
                </a:lnTo>
                <a:lnTo>
                  <a:pt x="434" y="779"/>
                </a:lnTo>
                <a:lnTo>
                  <a:pt x="433" y="780"/>
                </a:lnTo>
                <a:close/>
                <a:moveTo>
                  <a:pt x="440" y="738"/>
                </a:moveTo>
                <a:lnTo>
                  <a:pt x="431" y="726"/>
                </a:lnTo>
                <a:lnTo>
                  <a:pt x="423" y="715"/>
                </a:lnTo>
                <a:lnTo>
                  <a:pt x="427" y="716"/>
                </a:lnTo>
                <a:lnTo>
                  <a:pt x="430" y="718"/>
                </a:lnTo>
                <a:lnTo>
                  <a:pt x="434" y="720"/>
                </a:lnTo>
                <a:lnTo>
                  <a:pt x="436" y="723"/>
                </a:lnTo>
                <a:lnTo>
                  <a:pt x="438" y="726"/>
                </a:lnTo>
                <a:lnTo>
                  <a:pt x="440" y="730"/>
                </a:lnTo>
                <a:lnTo>
                  <a:pt x="440" y="734"/>
                </a:lnTo>
                <a:lnTo>
                  <a:pt x="440" y="738"/>
                </a:lnTo>
                <a:close/>
                <a:moveTo>
                  <a:pt x="423" y="704"/>
                </a:moveTo>
                <a:lnTo>
                  <a:pt x="427" y="708"/>
                </a:lnTo>
                <a:lnTo>
                  <a:pt x="431" y="710"/>
                </a:lnTo>
                <a:lnTo>
                  <a:pt x="430" y="711"/>
                </a:lnTo>
                <a:lnTo>
                  <a:pt x="430" y="712"/>
                </a:lnTo>
                <a:lnTo>
                  <a:pt x="424" y="712"/>
                </a:lnTo>
                <a:lnTo>
                  <a:pt x="417" y="712"/>
                </a:lnTo>
                <a:lnTo>
                  <a:pt x="421" y="708"/>
                </a:lnTo>
                <a:lnTo>
                  <a:pt x="423" y="704"/>
                </a:lnTo>
                <a:close/>
                <a:moveTo>
                  <a:pt x="414" y="687"/>
                </a:moveTo>
                <a:lnTo>
                  <a:pt x="415" y="682"/>
                </a:lnTo>
                <a:lnTo>
                  <a:pt x="417" y="678"/>
                </a:lnTo>
                <a:lnTo>
                  <a:pt x="419" y="678"/>
                </a:lnTo>
                <a:lnTo>
                  <a:pt x="421" y="678"/>
                </a:lnTo>
                <a:lnTo>
                  <a:pt x="419" y="683"/>
                </a:lnTo>
                <a:lnTo>
                  <a:pt x="417" y="688"/>
                </a:lnTo>
                <a:lnTo>
                  <a:pt x="415" y="688"/>
                </a:lnTo>
                <a:lnTo>
                  <a:pt x="414" y="687"/>
                </a:lnTo>
                <a:close/>
                <a:moveTo>
                  <a:pt x="426" y="443"/>
                </a:moveTo>
                <a:lnTo>
                  <a:pt x="430" y="445"/>
                </a:lnTo>
                <a:lnTo>
                  <a:pt x="434" y="447"/>
                </a:lnTo>
                <a:lnTo>
                  <a:pt x="435" y="450"/>
                </a:lnTo>
                <a:lnTo>
                  <a:pt x="435" y="454"/>
                </a:lnTo>
                <a:lnTo>
                  <a:pt x="429" y="453"/>
                </a:lnTo>
                <a:lnTo>
                  <a:pt x="427" y="451"/>
                </a:lnTo>
                <a:lnTo>
                  <a:pt x="426" y="447"/>
                </a:lnTo>
                <a:lnTo>
                  <a:pt x="426" y="443"/>
                </a:lnTo>
                <a:close/>
                <a:moveTo>
                  <a:pt x="442" y="745"/>
                </a:moveTo>
                <a:lnTo>
                  <a:pt x="445" y="751"/>
                </a:lnTo>
                <a:lnTo>
                  <a:pt x="448" y="755"/>
                </a:lnTo>
                <a:lnTo>
                  <a:pt x="443" y="754"/>
                </a:lnTo>
                <a:lnTo>
                  <a:pt x="441" y="752"/>
                </a:lnTo>
                <a:lnTo>
                  <a:pt x="441" y="750"/>
                </a:lnTo>
                <a:lnTo>
                  <a:pt x="442" y="745"/>
                </a:lnTo>
                <a:close/>
                <a:moveTo>
                  <a:pt x="443" y="659"/>
                </a:moveTo>
                <a:lnTo>
                  <a:pt x="448" y="660"/>
                </a:lnTo>
                <a:lnTo>
                  <a:pt x="450" y="660"/>
                </a:lnTo>
                <a:lnTo>
                  <a:pt x="451" y="659"/>
                </a:lnTo>
                <a:lnTo>
                  <a:pt x="451" y="657"/>
                </a:lnTo>
                <a:lnTo>
                  <a:pt x="450" y="656"/>
                </a:lnTo>
                <a:lnTo>
                  <a:pt x="449" y="656"/>
                </a:lnTo>
                <a:lnTo>
                  <a:pt x="445" y="655"/>
                </a:lnTo>
                <a:lnTo>
                  <a:pt x="443" y="655"/>
                </a:lnTo>
                <a:lnTo>
                  <a:pt x="442" y="654"/>
                </a:lnTo>
                <a:lnTo>
                  <a:pt x="442" y="652"/>
                </a:lnTo>
                <a:lnTo>
                  <a:pt x="442" y="648"/>
                </a:lnTo>
                <a:lnTo>
                  <a:pt x="443" y="643"/>
                </a:lnTo>
                <a:lnTo>
                  <a:pt x="443" y="638"/>
                </a:lnTo>
                <a:lnTo>
                  <a:pt x="442" y="632"/>
                </a:lnTo>
                <a:lnTo>
                  <a:pt x="444" y="631"/>
                </a:lnTo>
                <a:lnTo>
                  <a:pt x="445" y="628"/>
                </a:lnTo>
                <a:lnTo>
                  <a:pt x="447" y="626"/>
                </a:lnTo>
                <a:lnTo>
                  <a:pt x="444" y="622"/>
                </a:lnTo>
                <a:lnTo>
                  <a:pt x="445" y="620"/>
                </a:lnTo>
                <a:lnTo>
                  <a:pt x="448" y="615"/>
                </a:lnTo>
                <a:lnTo>
                  <a:pt x="445" y="614"/>
                </a:lnTo>
                <a:lnTo>
                  <a:pt x="442" y="612"/>
                </a:lnTo>
                <a:lnTo>
                  <a:pt x="445" y="604"/>
                </a:lnTo>
                <a:lnTo>
                  <a:pt x="448" y="597"/>
                </a:lnTo>
                <a:lnTo>
                  <a:pt x="449" y="593"/>
                </a:lnTo>
                <a:lnTo>
                  <a:pt x="450" y="589"/>
                </a:lnTo>
                <a:lnTo>
                  <a:pt x="450" y="585"/>
                </a:lnTo>
                <a:lnTo>
                  <a:pt x="449" y="580"/>
                </a:lnTo>
                <a:lnTo>
                  <a:pt x="448" y="573"/>
                </a:lnTo>
                <a:lnTo>
                  <a:pt x="449" y="566"/>
                </a:lnTo>
                <a:lnTo>
                  <a:pt x="451" y="560"/>
                </a:lnTo>
                <a:lnTo>
                  <a:pt x="455" y="553"/>
                </a:lnTo>
                <a:lnTo>
                  <a:pt x="456" y="551"/>
                </a:lnTo>
                <a:lnTo>
                  <a:pt x="457" y="549"/>
                </a:lnTo>
                <a:lnTo>
                  <a:pt x="463" y="556"/>
                </a:lnTo>
                <a:lnTo>
                  <a:pt x="468" y="565"/>
                </a:lnTo>
                <a:lnTo>
                  <a:pt x="468" y="566"/>
                </a:lnTo>
                <a:lnTo>
                  <a:pt x="466" y="569"/>
                </a:lnTo>
                <a:lnTo>
                  <a:pt x="465" y="572"/>
                </a:lnTo>
                <a:lnTo>
                  <a:pt x="464" y="576"/>
                </a:lnTo>
                <a:lnTo>
                  <a:pt x="464" y="579"/>
                </a:lnTo>
                <a:lnTo>
                  <a:pt x="464" y="583"/>
                </a:lnTo>
                <a:lnTo>
                  <a:pt x="464" y="597"/>
                </a:lnTo>
                <a:lnTo>
                  <a:pt x="462" y="610"/>
                </a:lnTo>
                <a:lnTo>
                  <a:pt x="463" y="615"/>
                </a:lnTo>
                <a:lnTo>
                  <a:pt x="464" y="621"/>
                </a:lnTo>
                <a:lnTo>
                  <a:pt x="464" y="624"/>
                </a:lnTo>
                <a:lnTo>
                  <a:pt x="464" y="627"/>
                </a:lnTo>
                <a:lnTo>
                  <a:pt x="462" y="640"/>
                </a:lnTo>
                <a:lnTo>
                  <a:pt x="461" y="654"/>
                </a:lnTo>
                <a:lnTo>
                  <a:pt x="457" y="650"/>
                </a:lnTo>
                <a:lnTo>
                  <a:pt x="454" y="646"/>
                </a:lnTo>
                <a:lnTo>
                  <a:pt x="454" y="646"/>
                </a:lnTo>
                <a:lnTo>
                  <a:pt x="454" y="646"/>
                </a:lnTo>
                <a:lnTo>
                  <a:pt x="457" y="643"/>
                </a:lnTo>
                <a:lnTo>
                  <a:pt x="458" y="641"/>
                </a:lnTo>
                <a:lnTo>
                  <a:pt x="459" y="639"/>
                </a:lnTo>
                <a:lnTo>
                  <a:pt x="461" y="636"/>
                </a:lnTo>
                <a:lnTo>
                  <a:pt x="459" y="631"/>
                </a:lnTo>
                <a:lnTo>
                  <a:pt x="457" y="626"/>
                </a:lnTo>
                <a:lnTo>
                  <a:pt x="455" y="625"/>
                </a:lnTo>
                <a:lnTo>
                  <a:pt x="452" y="624"/>
                </a:lnTo>
                <a:lnTo>
                  <a:pt x="451" y="627"/>
                </a:lnTo>
                <a:lnTo>
                  <a:pt x="449" y="629"/>
                </a:lnTo>
                <a:lnTo>
                  <a:pt x="448" y="632"/>
                </a:lnTo>
                <a:lnTo>
                  <a:pt x="448" y="633"/>
                </a:lnTo>
                <a:lnTo>
                  <a:pt x="448" y="635"/>
                </a:lnTo>
                <a:lnTo>
                  <a:pt x="449" y="638"/>
                </a:lnTo>
                <a:lnTo>
                  <a:pt x="451" y="639"/>
                </a:lnTo>
                <a:lnTo>
                  <a:pt x="451" y="641"/>
                </a:lnTo>
                <a:lnTo>
                  <a:pt x="450" y="642"/>
                </a:lnTo>
                <a:lnTo>
                  <a:pt x="449" y="645"/>
                </a:lnTo>
                <a:lnTo>
                  <a:pt x="449" y="647"/>
                </a:lnTo>
                <a:lnTo>
                  <a:pt x="449" y="648"/>
                </a:lnTo>
                <a:lnTo>
                  <a:pt x="451" y="652"/>
                </a:lnTo>
                <a:lnTo>
                  <a:pt x="454" y="655"/>
                </a:lnTo>
                <a:lnTo>
                  <a:pt x="455" y="661"/>
                </a:lnTo>
                <a:lnTo>
                  <a:pt x="455" y="668"/>
                </a:lnTo>
                <a:lnTo>
                  <a:pt x="452" y="669"/>
                </a:lnTo>
                <a:lnTo>
                  <a:pt x="449" y="669"/>
                </a:lnTo>
                <a:lnTo>
                  <a:pt x="454" y="674"/>
                </a:lnTo>
                <a:lnTo>
                  <a:pt x="457" y="678"/>
                </a:lnTo>
                <a:lnTo>
                  <a:pt x="458" y="683"/>
                </a:lnTo>
                <a:lnTo>
                  <a:pt x="457" y="689"/>
                </a:lnTo>
                <a:lnTo>
                  <a:pt x="457" y="689"/>
                </a:lnTo>
                <a:lnTo>
                  <a:pt x="457" y="689"/>
                </a:lnTo>
                <a:lnTo>
                  <a:pt x="457" y="684"/>
                </a:lnTo>
                <a:lnTo>
                  <a:pt x="456" y="678"/>
                </a:lnTo>
                <a:lnTo>
                  <a:pt x="451" y="687"/>
                </a:lnTo>
                <a:lnTo>
                  <a:pt x="445" y="694"/>
                </a:lnTo>
                <a:lnTo>
                  <a:pt x="444" y="692"/>
                </a:lnTo>
                <a:lnTo>
                  <a:pt x="442" y="691"/>
                </a:lnTo>
                <a:lnTo>
                  <a:pt x="443" y="688"/>
                </a:lnTo>
                <a:lnTo>
                  <a:pt x="445" y="684"/>
                </a:lnTo>
                <a:lnTo>
                  <a:pt x="444" y="681"/>
                </a:lnTo>
                <a:lnTo>
                  <a:pt x="443" y="678"/>
                </a:lnTo>
                <a:lnTo>
                  <a:pt x="442" y="675"/>
                </a:lnTo>
                <a:lnTo>
                  <a:pt x="442" y="671"/>
                </a:lnTo>
                <a:lnTo>
                  <a:pt x="443" y="666"/>
                </a:lnTo>
                <a:lnTo>
                  <a:pt x="443" y="659"/>
                </a:lnTo>
                <a:close/>
                <a:moveTo>
                  <a:pt x="390" y="412"/>
                </a:moveTo>
                <a:lnTo>
                  <a:pt x="386" y="412"/>
                </a:lnTo>
                <a:lnTo>
                  <a:pt x="382" y="411"/>
                </a:lnTo>
                <a:lnTo>
                  <a:pt x="378" y="406"/>
                </a:lnTo>
                <a:lnTo>
                  <a:pt x="373" y="401"/>
                </a:lnTo>
                <a:lnTo>
                  <a:pt x="372" y="397"/>
                </a:lnTo>
                <a:lnTo>
                  <a:pt x="371" y="395"/>
                </a:lnTo>
                <a:lnTo>
                  <a:pt x="371" y="390"/>
                </a:lnTo>
                <a:lnTo>
                  <a:pt x="371" y="387"/>
                </a:lnTo>
                <a:lnTo>
                  <a:pt x="374" y="388"/>
                </a:lnTo>
                <a:lnTo>
                  <a:pt x="378" y="389"/>
                </a:lnTo>
                <a:lnTo>
                  <a:pt x="381" y="391"/>
                </a:lnTo>
                <a:lnTo>
                  <a:pt x="383" y="394"/>
                </a:lnTo>
                <a:lnTo>
                  <a:pt x="388" y="399"/>
                </a:lnTo>
                <a:lnTo>
                  <a:pt x="392" y="405"/>
                </a:lnTo>
                <a:lnTo>
                  <a:pt x="392" y="409"/>
                </a:lnTo>
                <a:lnTo>
                  <a:pt x="390" y="412"/>
                </a:lnTo>
                <a:close/>
                <a:moveTo>
                  <a:pt x="386" y="731"/>
                </a:moveTo>
                <a:lnTo>
                  <a:pt x="383" y="730"/>
                </a:lnTo>
                <a:lnTo>
                  <a:pt x="381" y="730"/>
                </a:lnTo>
                <a:lnTo>
                  <a:pt x="385" y="720"/>
                </a:lnTo>
                <a:lnTo>
                  <a:pt x="387" y="712"/>
                </a:lnTo>
                <a:lnTo>
                  <a:pt x="388" y="712"/>
                </a:lnTo>
                <a:lnTo>
                  <a:pt x="389" y="713"/>
                </a:lnTo>
                <a:lnTo>
                  <a:pt x="387" y="722"/>
                </a:lnTo>
                <a:lnTo>
                  <a:pt x="386" y="731"/>
                </a:lnTo>
                <a:close/>
                <a:moveTo>
                  <a:pt x="367" y="715"/>
                </a:moveTo>
                <a:lnTo>
                  <a:pt x="369" y="710"/>
                </a:lnTo>
                <a:lnTo>
                  <a:pt x="371" y="706"/>
                </a:lnTo>
                <a:lnTo>
                  <a:pt x="368" y="703"/>
                </a:lnTo>
                <a:lnTo>
                  <a:pt x="366" y="699"/>
                </a:lnTo>
                <a:lnTo>
                  <a:pt x="368" y="697"/>
                </a:lnTo>
                <a:lnTo>
                  <a:pt x="371" y="694"/>
                </a:lnTo>
                <a:lnTo>
                  <a:pt x="373" y="703"/>
                </a:lnTo>
                <a:lnTo>
                  <a:pt x="376" y="712"/>
                </a:lnTo>
                <a:lnTo>
                  <a:pt x="372" y="713"/>
                </a:lnTo>
                <a:lnTo>
                  <a:pt x="367" y="715"/>
                </a:lnTo>
                <a:close/>
                <a:moveTo>
                  <a:pt x="355" y="617"/>
                </a:moveTo>
                <a:lnTo>
                  <a:pt x="353" y="615"/>
                </a:lnTo>
                <a:lnTo>
                  <a:pt x="351" y="614"/>
                </a:lnTo>
                <a:lnTo>
                  <a:pt x="352" y="612"/>
                </a:lnTo>
                <a:lnTo>
                  <a:pt x="354" y="611"/>
                </a:lnTo>
                <a:lnTo>
                  <a:pt x="357" y="611"/>
                </a:lnTo>
                <a:lnTo>
                  <a:pt x="359" y="608"/>
                </a:lnTo>
                <a:lnTo>
                  <a:pt x="360" y="607"/>
                </a:lnTo>
                <a:lnTo>
                  <a:pt x="360" y="604"/>
                </a:lnTo>
                <a:lnTo>
                  <a:pt x="362" y="601"/>
                </a:lnTo>
                <a:lnTo>
                  <a:pt x="366" y="598"/>
                </a:lnTo>
                <a:lnTo>
                  <a:pt x="366" y="607"/>
                </a:lnTo>
                <a:lnTo>
                  <a:pt x="365" y="613"/>
                </a:lnTo>
                <a:lnTo>
                  <a:pt x="362" y="614"/>
                </a:lnTo>
                <a:lnTo>
                  <a:pt x="361" y="615"/>
                </a:lnTo>
                <a:lnTo>
                  <a:pt x="359" y="617"/>
                </a:lnTo>
                <a:lnTo>
                  <a:pt x="355" y="617"/>
                </a:lnTo>
                <a:close/>
                <a:moveTo>
                  <a:pt x="332" y="368"/>
                </a:moveTo>
                <a:lnTo>
                  <a:pt x="327" y="366"/>
                </a:lnTo>
                <a:lnTo>
                  <a:pt x="324" y="363"/>
                </a:lnTo>
                <a:lnTo>
                  <a:pt x="321" y="362"/>
                </a:lnTo>
                <a:lnTo>
                  <a:pt x="319" y="361"/>
                </a:lnTo>
                <a:lnTo>
                  <a:pt x="318" y="359"/>
                </a:lnTo>
                <a:lnTo>
                  <a:pt x="318" y="355"/>
                </a:lnTo>
                <a:lnTo>
                  <a:pt x="318" y="349"/>
                </a:lnTo>
                <a:lnTo>
                  <a:pt x="319" y="343"/>
                </a:lnTo>
                <a:lnTo>
                  <a:pt x="320" y="341"/>
                </a:lnTo>
                <a:lnTo>
                  <a:pt x="323" y="340"/>
                </a:lnTo>
                <a:lnTo>
                  <a:pt x="326" y="340"/>
                </a:lnTo>
                <a:lnTo>
                  <a:pt x="327" y="340"/>
                </a:lnTo>
                <a:lnTo>
                  <a:pt x="337" y="347"/>
                </a:lnTo>
                <a:lnTo>
                  <a:pt x="345" y="356"/>
                </a:lnTo>
                <a:lnTo>
                  <a:pt x="345" y="359"/>
                </a:lnTo>
                <a:lnTo>
                  <a:pt x="346" y="361"/>
                </a:lnTo>
                <a:lnTo>
                  <a:pt x="345" y="363"/>
                </a:lnTo>
                <a:lnTo>
                  <a:pt x="345" y="366"/>
                </a:lnTo>
                <a:lnTo>
                  <a:pt x="344" y="368"/>
                </a:lnTo>
                <a:lnTo>
                  <a:pt x="341" y="369"/>
                </a:lnTo>
                <a:lnTo>
                  <a:pt x="340" y="370"/>
                </a:lnTo>
                <a:lnTo>
                  <a:pt x="338" y="370"/>
                </a:lnTo>
                <a:lnTo>
                  <a:pt x="335" y="370"/>
                </a:lnTo>
                <a:lnTo>
                  <a:pt x="332" y="368"/>
                </a:lnTo>
                <a:close/>
                <a:moveTo>
                  <a:pt x="327" y="405"/>
                </a:moveTo>
                <a:lnTo>
                  <a:pt x="327" y="408"/>
                </a:lnTo>
                <a:lnTo>
                  <a:pt x="327" y="410"/>
                </a:lnTo>
                <a:lnTo>
                  <a:pt x="325" y="415"/>
                </a:lnTo>
                <a:lnTo>
                  <a:pt x="323" y="418"/>
                </a:lnTo>
                <a:lnTo>
                  <a:pt x="319" y="416"/>
                </a:lnTo>
                <a:lnTo>
                  <a:pt x="316" y="413"/>
                </a:lnTo>
                <a:lnTo>
                  <a:pt x="314" y="412"/>
                </a:lnTo>
                <a:lnTo>
                  <a:pt x="312" y="411"/>
                </a:lnTo>
                <a:lnTo>
                  <a:pt x="310" y="410"/>
                </a:lnTo>
                <a:lnTo>
                  <a:pt x="307" y="409"/>
                </a:lnTo>
                <a:lnTo>
                  <a:pt x="306" y="406"/>
                </a:lnTo>
                <a:lnTo>
                  <a:pt x="305" y="405"/>
                </a:lnTo>
                <a:lnTo>
                  <a:pt x="304" y="401"/>
                </a:lnTo>
                <a:lnTo>
                  <a:pt x="304" y="396"/>
                </a:lnTo>
                <a:lnTo>
                  <a:pt x="304" y="387"/>
                </a:lnTo>
                <a:lnTo>
                  <a:pt x="305" y="376"/>
                </a:lnTo>
                <a:lnTo>
                  <a:pt x="311" y="377"/>
                </a:lnTo>
                <a:lnTo>
                  <a:pt x="316" y="380"/>
                </a:lnTo>
                <a:lnTo>
                  <a:pt x="319" y="383"/>
                </a:lnTo>
                <a:lnTo>
                  <a:pt x="323" y="388"/>
                </a:lnTo>
                <a:lnTo>
                  <a:pt x="325" y="391"/>
                </a:lnTo>
                <a:lnTo>
                  <a:pt x="327" y="396"/>
                </a:lnTo>
                <a:lnTo>
                  <a:pt x="327" y="401"/>
                </a:lnTo>
                <a:lnTo>
                  <a:pt x="327" y="405"/>
                </a:lnTo>
                <a:close/>
                <a:moveTo>
                  <a:pt x="295" y="301"/>
                </a:moveTo>
                <a:lnTo>
                  <a:pt x="293" y="292"/>
                </a:lnTo>
                <a:lnTo>
                  <a:pt x="292" y="282"/>
                </a:lnTo>
                <a:lnTo>
                  <a:pt x="293" y="282"/>
                </a:lnTo>
                <a:lnTo>
                  <a:pt x="293" y="282"/>
                </a:lnTo>
                <a:lnTo>
                  <a:pt x="300" y="289"/>
                </a:lnTo>
                <a:lnTo>
                  <a:pt x="306" y="297"/>
                </a:lnTo>
                <a:lnTo>
                  <a:pt x="310" y="300"/>
                </a:lnTo>
                <a:lnTo>
                  <a:pt x="311" y="305"/>
                </a:lnTo>
                <a:lnTo>
                  <a:pt x="312" y="310"/>
                </a:lnTo>
                <a:lnTo>
                  <a:pt x="313" y="315"/>
                </a:lnTo>
                <a:lnTo>
                  <a:pt x="311" y="320"/>
                </a:lnTo>
                <a:lnTo>
                  <a:pt x="309" y="326"/>
                </a:lnTo>
                <a:lnTo>
                  <a:pt x="304" y="321"/>
                </a:lnTo>
                <a:lnTo>
                  <a:pt x="300" y="318"/>
                </a:lnTo>
                <a:lnTo>
                  <a:pt x="297" y="310"/>
                </a:lnTo>
                <a:lnTo>
                  <a:pt x="295" y="301"/>
                </a:lnTo>
                <a:close/>
                <a:moveTo>
                  <a:pt x="288" y="374"/>
                </a:moveTo>
                <a:lnTo>
                  <a:pt x="285" y="376"/>
                </a:lnTo>
                <a:lnTo>
                  <a:pt x="282" y="377"/>
                </a:lnTo>
                <a:lnTo>
                  <a:pt x="278" y="378"/>
                </a:lnTo>
                <a:lnTo>
                  <a:pt x="275" y="378"/>
                </a:lnTo>
                <a:lnTo>
                  <a:pt x="271" y="378"/>
                </a:lnTo>
                <a:lnTo>
                  <a:pt x="268" y="377"/>
                </a:lnTo>
                <a:lnTo>
                  <a:pt x="264" y="376"/>
                </a:lnTo>
                <a:lnTo>
                  <a:pt x="263" y="375"/>
                </a:lnTo>
                <a:lnTo>
                  <a:pt x="259" y="368"/>
                </a:lnTo>
                <a:lnTo>
                  <a:pt x="257" y="362"/>
                </a:lnTo>
                <a:lnTo>
                  <a:pt x="255" y="355"/>
                </a:lnTo>
                <a:lnTo>
                  <a:pt x="255" y="348"/>
                </a:lnTo>
                <a:lnTo>
                  <a:pt x="256" y="339"/>
                </a:lnTo>
                <a:lnTo>
                  <a:pt x="259" y="331"/>
                </a:lnTo>
                <a:lnTo>
                  <a:pt x="261" y="326"/>
                </a:lnTo>
                <a:lnTo>
                  <a:pt x="263" y="322"/>
                </a:lnTo>
                <a:lnTo>
                  <a:pt x="267" y="319"/>
                </a:lnTo>
                <a:lnTo>
                  <a:pt x="270" y="315"/>
                </a:lnTo>
                <a:lnTo>
                  <a:pt x="274" y="314"/>
                </a:lnTo>
                <a:lnTo>
                  <a:pt x="277" y="313"/>
                </a:lnTo>
                <a:lnTo>
                  <a:pt x="279" y="314"/>
                </a:lnTo>
                <a:lnTo>
                  <a:pt x="283" y="317"/>
                </a:lnTo>
                <a:lnTo>
                  <a:pt x="284" y="318"/>
                </a:lnTo>
                <a:lnTo>
                  <a:pt x="285" y="320"/>
                </a:lnTo>
                <a:lnTo>
                  <a:pt x="291" y="333"/>
                </a:lnTo>
                <a:lnTo>
                  <a:pt x="298" y="346"/>
                </a:lnTo>
                <a:lnTo>
                  <a:pt x="299" y="349"/>
                </a:lnTo>
                <a:lnTo>
                  <a:pt x="299" y="353"/>
                </a:lnTo>
                <a:lnTo>
                  <a:pt x="295" y="363"/>
                </a:lnTo>
                <a:lnTo>
                  <a:pt x="288" y="374"/>
                </a:lnTo>
                <a:close/>
                <a:moveTo>
                  <a:pt x="270" y="497"/>
                </a:moveTo>
                <a:lnTo>
                  <a:pt x="262" y="496"/>
                </a:lnTo>
                <a:lnTo>
                  <a:pt x="255" y="493"/>
                </a:lnTo>
                <a:lnTo>
                  <a:pt x="252" y="490"/>
                </a:lnTo>
                <a:lnTo>
                  <a:pt x="249" y="488"/>
                </a:lnTo>
                <a:lnTo>
                  <a:pt x="247" y="485"/>
                </a:lnTo>
                <a:lnTo>
                  <a:pt x="245" y="480"/>
                </a:lnTo>
                <a:lnTo>
                  <a:pt x="244" y="474"/>
                </a:lnTo>
                <a:lnTo>
                  <a:pt x="245" y="469"/>
                </a:lnTo>
                <a:lnTo>
                  <a:pt x="248" y="466"/>
                </a:lnTo>
                <a:lnTo>
                  <a:pt x="252" y="461"/>
                </a:lnTo>
                <a:lnTo>
                  <a:pt x="257" y="458"/>
                </a:lnTo>
                <a:lnTo>
                  <a:pt x="262" y="455"/>
                </a:lnTo>
                <a:lnTo>
                  <a:pt x="268" y="453"/>
                </a:lnTo>
                <a:lnTo>
                  <a:pt x="274" y="453"/>
                </a:lnTo>
                <a:lnTo>
                  <a:pt x="277" y="453"/>
                </a:lnTo>
                <a:lnTo>
                  <a:pt x="279" y="454"/>
                </a:lnTo>
                <a:lnTo>
                  <a:pt x="284" y="469"/>
                </a:lnTo>
                <a:lnTo>
                  <a:pt x="289" y="482"/>
                </a:lnTo>
                <a:lnTo>
                  <a:pt x="288" y="487"/>
                </a:lnTo>
                <a:lnTo>
                  <a:pt x="288" y="490"/>
                </a:lnTo>
                <a:lnTo>
                  <a:pt x="285" y="493"/>
                </a:lnTo>
                <a:lnTo>
                  <a:pt x="284" y="495"/>
                </a:lnTo>
                <a:lnTo>
                  <a:pt x="281" y="497"/>
                </a:lnTo>
                <a:lnTo>
                  <a:pt x="278" y="497"/>
                </a:lnTo>
                <a:lnTo>
                  <a:pt x="274" y="499"/>
                </a:lnTo>
                <a:lnTo>
                  <a:pt x="270" y="497"/>
                </a:lnTo>
                <a:close/>
                <a:moveTo>
                  <a:pt x="231" y="390"/>
                </a:moveTo>
                <a:lnTo>
                  <a:pt x="228" y="406"/>
                </a:lnTo>
                <a:lnTo>
                  <a:pt x="224" y="423"/>
                </a:lnTo>
                <a:lnTo>
                  <a:pt x="222" y="432"/>
                </a:lnTo>
                <a:lnTo>
                  <a:pt x="219" y="441"/>
                </a:lnTo>
                <a:lnTo>
                  <a:pt x="215" y="446"/>
                </a:lnTo>
                <a:lnTo>
                  <a:pt x="212" y="452"/>
                </a:lnTo>
                <a:lnTo>
                  <a:pt x="196" y="450"/>
                </a:lnTo>
                <a:lnTo>
                  <a:pt x="182" y="450"/>
                </a:lnTo>
                <a:lnTo>
                  <a:pt x="167" y="450"/>
                </a:lnTo>
                <a:lnTo>
                  <a:pt x="152" y="447"/>
                </a:lnTo>
                <a:lnTo>
                  <a:pt x="151" y="447"/>
                </a:lnTo>
                <a:lnTo>
                  <a:pt x="150" y="450"/>
                </a:lnTo>
                <a:lnTo>
                  <a:pt x="148" y="460"/>
                </a:lnTo>
                <a:lnTo>
                  <a:pt x="147" y="471"/>
                </a:lnTo>
                <a:lnTo>
                  <a:pt x="146" y="481"/>
                </a:lnTo>
                <a:lnTo>
                  <a:pt x="145" y="493"/>
                </a:lnTo>
                <a:lnTo>
                  <a:pt x="144" y="502"/>
                </a:lnTo>
                <a:lnTo>
                  <a:pt x="143" y="510"/>
                </a:lnTo>
                <a:lnTo>
                  <a:pt x="140" y="520"/>
                </a:lnTo>
                <a:lnTo>
                  <a:pt x="138" y="529"/>
                </a:lnTo>
                <a:lnTo>
                  <a:pt x="134" y="534"/>
                </a:lnTo>
                <a:lnTo>
                  <a:pt x="127" y="537"/>
                </a:lnTo>
                <a:lnTo>
                  <a:pt x="123" y="539"/>
                </a:lnTo>
                <a:lnTo>
                  <a:pt x="118" y="542"/>
                </a:lnTo>
                <a:lnTo>
                  <a:pt x="111" y="546"/>
                </a:lnTo>
                <a:lnTo>
                  <a:pt x="105" y="549"/>
                </a:lnTo>
                <a:lnTo>
                  <a:pt x="99" y="546"/>
                </a:lnTo>
                <a:lnTo>
                  <a:pt x="92" y="542"/>
                </a:lnTo>
                <a:lnTo>
                  <a:pt x="92" y="543"/>
                </a:lnTo>
                <a:lnTo>
                  <a:pt x="91" y="544"/>
                </a:lnTo>
                <a:lnTo>
                  <a:pt x="88" y="548"/>
                </a:lnTo>
                <a:lnTo>
                  <a:pt x="84" y="549"/>
                </a:lnTo>
                <a:lnTo>
                  <a:pt x="79" y="546"/>
                </a:lnTo>
                <a:lnTo>
                  <a:pt x="76" y="542"/>
                </a:lnTo>
                <a:lnTo>
                  <a:pt x="72" y="529"/>
                </a:lnTo>
                <a:lnTo>
                  <a:pt x="68" y="516"/>
                </a:lnTo>
                <a:lnTo>
                  <a:pt x="64" y="503"/>
                </a:lnTo>
                <a:lnTo>
                  <a:pt x="61" y="490"/>
                </a:lnTo>
                <a:lnTo>
                  <a:pt x="60" y="479"/>
                </a:lnTo>
                <a:lnTo>
                  <a:pt x="58" y="467"/>
                </a:lnTo>
                <a:lnTo>
                  <a:pt x="60" y="462"/>
                </a:lnTo>
                <a:lnTo>
                  <a:pt x="61" y="459"/>
                </a:lnTo>
                <a:lnTo>
                  <a:pt x="62" y="455"/>
                </a:lnTo>
                <a:lnTo>
                  <a:pt x="64" y="453"/>
                </a:lnTo>
                <a:lnTo>
                  <a:pt x="70" y="451"/>
                </a:lnTo>
                <a:lnTo>
                  <a:pt x="76" y="448"/>
                </a:lnTo>
                <a:lnTo>
                  <a:pt x="82" y="448"/>
                </a:lnTo>
                <a:lnTo>
                  <a:pt x="90" y="452"/>
                </a:lnTo>
                <a:lnTo>
                  <a:pt x="91" y="444"/>
                </a:lnTo>
                <a:lnTo>
                  <a:pt x="92" y="434"/>
                </a:lnTo>
                <a:lnTo>
                  <a:pt x="93" y="427"/>
                </a:lnTo>
                <a:lnTo>
                  <a:pt x="96" y="422"/>
                </a:lnTo>
                <a:lnTo>
                  <a:pt x="100" y="416"/>
                </a:lnTo>
                <a:lnTo>
                  <a:pt x="104" y="411"/>
                </a:lnTo>
                <a:lnTo>
                  <a:pt x="106" y="408"/>
                </a:lnTo>
                <a:lnTo>
                  <a:pt x="109" y="404"/>
                </a:lnTo>
                <a:lnTo>
                  <a:pt x="112" y="402"/>
                </a:lnTo>
                <a:lnTo>
                  <a:pt x="117" y="401"/>
                </a:lnTo>
                <a:lnTo>
                  <a:pt x="118" y="398"/>
                </a:lnTo>
                <a:lnTo>
                  <a:pt x="120" y="394"/>
                </a:lnTo>
                <a:lnTo>
                  <a:pt x="123" y="388"/>
                </a:lnTo>
                <a:lnTo>
                  <a:pt x="125" y="384"/>
                </a:lnTo>
                <a:lnTo>
                  <a:pt x="130" y="384"/>
                </a:lnTo>
                <a:lnTo>
                  <a:pt x="134" y="383"/>
                </a:lnTo>
                <a:lnTo>
                  <a:pt x="137" y="383"/>
                </a:lnTo>
                <a:lnTo>
                  <a:pt x="139" y="384"/>
                </a:lnTo>
                <a:lnTo>
                  <a:pt x="140" y="387"/>
                </a:lnTo>
                <a:lnTo>
                  <a:pt x="143" y="389"/>
                </a:lnTo>
                <a:lnTo>
                  <a:pt x="145" y="394"/>
                </a:lnTo>
                <a:lnTo>
                  <a:pt x="148" y="397"/>
                </a:lnTo>
                <a:lnTo>
                  <a:pt x="154" y="398"/>
                </a:lnTo>
                <a:lnTo>
                  <a:pt x="160" y="397"/>
                </a:lnTo>
                <a:lnTo>
                  <a:pt x="165" y="383"/>
                </a:lnTo>
                <a:lnTo>
                  <a:pt x="169" y="368"/>
                </a:lnTo>
                <a:lnTo>
                  <a:pt x="172" y="361"/>
                </a:lnTo>
                <a:lnTo>
                  <a:pt x="174" y="355"/>
                </a:lnTo>
                <a:lnTo>
                  <a:pt x="178" y="349"/>
                </a:lnTo>
                <a:lnTo>
                  <a:pt x="181" y="345"/>
                </a:lnTo>
                <a:lnTo>
                  <a:pt x="186" y="340"/>
                </a:lnTo>
                <a:lnTo>
                  <a:pt x="190" y="336"/>
                </a:lnTo>
                <a:lnTo>
                  <a:pt x="196" y="333"/>
                </a:lnTo>
                <a:lnTo>
                  <a:pt x="203" y="331"/>
                </a:lnTo>
                <a:lnTo>
                  <a:pt x="207" y="329"/>
                </a:lnTo>
                <a:lnTo>
                  <a:pt x="210" y="329"/>
                </a:lnTo>
                <a:lnTo>
                  <a:pt x="214" y="329"/>
                </a:lnTo>
                <a:lnTo>
                  <a:pt x="217" y="331"/>
                </a:lnTo>
                <a:lnTo>
                  <a:pt x="221" y="333"/>
                </a:lnTo>
                <a:lnTo>
                  <a:pt x="223" y="335"/>
                </a:lnTo>
                <a:lnTo>
                  <a:pt x="226" y="339"/>
                </a:lnTo>
                <a:lnTo>
                  <a:pt x="227" y="342"/>
                </a:lnTo>
                <a:lnTo>
                  <a:pt x="230" y="354"/>
                </a:lnTo>
                <a:lnTo>
                  <a:pt x="231" y="366"/>
                </a:lnTo>
                <a:lnTo>
                  <a:pt x="233" y="378"/>
                </a:lnTo>
                <a:lnTo>
                  <a:pt x="231" y="390"/>
                </a:lnTo>
                <a:close/>
                <a:moveTo>
                  <a:pt x="179" y="639"/>
                </a:moveTo>
                <a:lnTo>
                  <a:pt x="174" y="640"/>
                </a:lnTo>
                <a:lnTo>
                  <a:pt x="169" y="639"/>
                </a:lnTo>
                <a:lnTo>
                  <a:pt x="166" y="638"/>
                </a:lnTo>
                <a:lnTo>
                  <a:pt x="162" y="634"/>
                </a:lnTo>
                <a:lnTo>
                  <a:pt x="162" y="629"/>
                </a:lnTo>
                <a:lnTo>
                  <a:pt x="162" y="625"/>
                </a:lnTo>
                <a:lnTo>
                  <a:pt x="166" y="615"/>
                </a:lnTo>
                <a:lnTo>
                  <a:pt x="169" y="605"/>
                </a:lnTo>
                <a:lnTo>
                  <a:pt x="174" y="606"/>
                </a:lnTo>
                <a:lnTo>
                  <a:pt x="178" y="607"/>
                </a:lnTo>
                <a:lnTo>
                  <a:pt x="181" y="608"/>
                </a:lnTo>
                <a:lnTo>
                  <a:pt x="185" y="611"/>
                </a:lnTo>
                <a:lnTo>
                  <a:pt x="188" y="614"/>
                </a:lnTo>
                <a:lnTo>
                  <a:pt x="190" y="617"/>
                </a:lnTo>
                <a:lnTo>
                  <a:pt x="192" y="620"/>
                </a:lnTo>
                <a:lnTo>
                  <a:pt x="193" y="625"/>
                </a:lnTo>
                <a:lnTo>
                  <a:pt x="192" y="628"/>
                </a:lnTo>
                <a:lnTo>
                  <a:pt x="188" y="633"/>
                </a:lnTo>
                <a:lnTo>
                  <a:pt x="183" y="638"/>
                </a:lnTo>
                <a:lnTo>
                  <a:pt x="179" y="639"/>
                </a:lnTo>
                <a:close/>
                <a:moveTo>
                  <a:pt x="179" y="843"/>
                </a:moveTo>
                <a:lnTo>
                  <a:pt x="176" y="842"/>
                </a:lnTo>
                <a:lnTo>
                  <a:pt x="174" y="841"/>
                </a:lnTo>
                <a:lnTo>
                  <a:pt x="162" y="824"/>
                </a:lnTo>
                <a:lnTo>
                  <a:pt x="152" y="807"/>
                </a:lnTo>
                <a:lnTo>
                  <a:pt x="152" y="806"/>
                </a:lnTo>
                <a:lnTo>
                  <a:pt x="152" y="804"/>
                </a:lnTo>
                <a:lnTo>
                  <a:pt x="155" y="807"/>
                </a:lnTo>
                <a:lnTo>
                  <a:pt x="159" y="809"/>
                </a:lnTo>
                <a:lnTo>
                  <a:pt x="162" y="809"/>
                </a:lnTo>
                <a:lnTo>
                  <a:pt x="166" y="808"/>
                </a:lnTo>
                <a:lnTo>
                  <a:pt x="169" y="813"/>
                </a:lnTo>
                <a:lnTo>
                  <a:pt x="172" y="816"/>
                </a:lnTo>
                <a:lnTo>
                  <a:pt x="176" y="822"/>
                </a:lnTo>
                <a:lnTo>
                  <a:pt x="179" y="828"/>
                </a:lnTo>
                <a:lnTo>
                  <a:pt x="180" y="831"/>
                </a:lnTo>
                <a:lnTo>
                  <a:pt x="181" y="835"/>
                </a:lnTo>
                <a:lnTo>
                  <a:pt x="180" y="839"/>
                </a:lnTo>
                <a:lnTo>
                  <a:pt x="179" y="843"/>
                </a:lnTo>
                <a:close/>
                <a:moveTo>
                  <a:pt x="113" y="709"/>
                </a:moveTo>
                <a:lnTo>
                  <a:pt x="105" y="709"/>
                </a:lnTo>
                <a:lnTo>
                  <a:pt x="100" y="708"/>
                </a:lnTo>
                <a:lnTo>
                  <a:pt x="97" y="704"/>
                </a:lnTo>
                <a:lnTo>
                  <a:pt x="93" y="697"/>
                </a:lnTo>
                <a:lnTo>
                  <a:pt x="86" y="687"/>
                </a:lnTo>
                <a:lnTo>
                  <a:pt x="79" y="675"/>
                </a:lnTo>
                <a:lnTo>
                  <a:pt x="76" y="667"/>
                </a:lnTo>
                <a:lnTo>
                  <a:pt x="72" y="659"/>
                </a:lnTo>
                <a:lnTo>
                  <a:pt x="76" y="657"/>
                </a:lnTo>
                <a:lnTo>
                  <a:pt x="79" y="657"/>
                </a:lnTo>
                <a:lnTo>
                  <a:pt x="84" y="659"/>
                </a:lnTo>
                <a:lnTo>
                  <a:pt x="88" y="659"/>
                </a:lnTo>
                <a:lnTo>
                  <a:pt x="93" y="663"/>
                </a:lnTo>
                <a:lnTo>
                  <a:pt x="98" y="668"/>
                </a:lnTo>
                <a:lnTo>
                  <a:pt x="107" y="684"/>
                </a:lnTo>
                <a:lnTo>
                  <a:pt x="117" y="699"/>
                </a:lnTo>
                <a:lnTo>
                  <a:pt x="119" y="703"/>
                </a:lnTo>
                <a:lnTo>
                  <a:pt x="119" y="705"/>
                </a:lnTo>
                <a:lnTo>
                  <a:pt x="117" y="708"/>
                </a:lnTo>
                <a:lnTo>
                  <a:pt x="113" y="709"/>
                </a:lnTo>
                <a:close/>
                <a:moveTo>
                  <a:pt x="56" y="589"/>
                </a:moveTo>
                <a:lnTo>
                  <a:pt x="53" y="587"/>
                </a:lnTo>
                <a:lnTo>
                  <a:pt x="50" y="585"/>
                </a:lnTo>
                <a:lnTo>
                  <a:pt x="44" y="573"/>
                </a:lnTo>
                <a:lnTo>
                  <a:pt x="38" y="562"/>
                </a:lnTo>
                <a:lnTo>
                  <a:pt x="34" y="550"/>
                </a:lnTo>
                <a:lnTo>
                  <a:pt x="28" y="538"/>
                </a:lnTo>
                <a:lnTo>
                  <a:pt x="27" y="532"/>
                </a:lnTo>
                <a:lnTo>
                  <a:pt x="28" y="528"/>
                </a:lnTo>
                <a:lnTo>
                  <a:pt x="30" y="523"/>
                </a:lnTo>
                <a:lnTo>
                  <a:pt x="33" y="518"/>
                </a:lnTo>
                <a:lnTo>
                  <a:pt x="34" y="514"/>
                </a:lnTo>
                <a:lnTo>
                  <a:pt x="35" y="508"/>
                </a:lnTo>
                <a:lnTo>
                  <a:pt x="35" y="503"/>
                </a:lnTo>
                <a:lnTo>
                  <a:pt x="34" y="499"/>
                </a:lnTo>
                <a:lnTo>
                  <a:pt x="35" y="494"/>
                </a:lnTo>
                <a:lnTo>
                  <a:pt x="37" y="490"/>
                </a:lnTo>
                <a:lnTo>
                  <a:pt x="41" y="489"/>
                </a:lnTo>
                <a:lnTo>
                  <a:pt x="45" y="489"/>
                </a:lnTo>
                <a:lnTo>
                  <a:pt x="48" y="488"/>
                </a:lnTo>
                <a:lnTo>
                  <a:pt x="53" y="486"/>
                </a:lnTo>
                <a:lnTo>
                  <a:pt x="57" y="497"/>
                </a:lnTo>
                <a:lnTo>
                  <a:pt x="62" y="510"/>
                </a:lnTo>
                <a:lnTo>
                  <a:pt x="68" y="528"/>
                </a:lnTo>
                <a:lnTo>
                  <a:pt x="74" y="545"/>
                </a:lnTo>
                <a:lnTo>
                  <a:pt x="79" y="563"/>
                </a:lnTo>
                <a:lnTo>
                  <a:pt x="85" y="580"/>
                </a:lnTo>
                <a:lnTo>
                  <a:pt x="85" y="585"/>
                </a:lnTo>
                <a:lnTo>
                  <a:pt x="85" y="587"/>
                </a:lnTo>
                <a:lnTo>
                  <a:pt x="81" y="590"/>
                </a:lnTo>
                <a:lnTo>
                  <a:pt x="76" y="590"/>
                </a:lnTo>
                <a:lnTo>
                  <a:pt x="71" y="587"/>
                </a:lnTo>
                <a:lnTo>
                  <a:pt x="67" y="586"/>
                </a:lnTo>
                <a:lnTo>
                  <a:pt x="61" y="587"/>
                </a:lnTo>
                <a:lnTo>
                  <a:pt x="56" y="589"/>
                </a:lnTo>
                <a:close/>
                <a:moveTo>
                  <a:pt x="37" y="243"/>
                </a:moveTo>
                <a:lnTo>
                  <a:pt x="38" y="248"/>
                </a:lnTo>
                <a:lnTo>
                  <a:pt x="38" y="252"/>
                </a:lnTo>
                <a:lnTo>
                  <a:pt x="37" y="256"/>
                </a:lnTo>
                <a:lnTo>
                  <a:pt x="35" y="258"/>
                </a:lnTo>
                <a:lnTo>
                  <a:pt x="31" y="259"/>
                </a:lnTo>
                <a:lnTo>
                  <a:pt x="28" y="261"/>
                </a:lnTo>
                <a:lnTo>
                  <a:pt x="27" y="258"/>
                </a:lnTo>
                <a:lnTo>
                  <a:pt x="27" y="257"/>
                </a:lnTo>
                <a:lnTo>
                  <a:pt x="31" y="250"/>
                </a:lnTo>
                <a:lnTo>
                  <a:pt x="37" y="243"/>
                </a:lnTo>
                <a:close/>
                <a:moveTo>
                  <a:pt x="61" y="195"/>
                </a:moveTo>
                <a:lnTo>
                  <a:pt x="63" y="192"/>
                </a:lnTo>
                <a:lnTo>
                  <a:pt x="67" y="189"/>
                </a:lnTo>
                <a:lnTo>
                  <a:pt x="72" y="187"/>
                </a:lnTo>
                <a:lnTo>
                  <a:pt x="78" y="188"/>
                </a:lnTo>
                <a:lnTo>
                  <a:pt x="79" y="191"/>
                </a:lnTo>
                <a:lnTo>
                  <a:pt x="81" y="196"/>
                </a:lnTo>
                <a:lnTo>
                  <a:pt x="81" y="196"/>
                </a:lnTo>
                <a:lnTo>
                  <a:pt x="79" y="198"/>
                </a:lnTo>
                <a:lnTo>
                  <a:pt x="81" y="202"/>
                </a:lnTo>
                <a:lnTo>
                  <a:pt x="81" y="207"/>
                </a:lnTo>
                <a:lnTo>
                  <a:pt x="78" y="210"/>
                </a:lnTo>
                <a:lnTo>
                  <a:pt x="76" y="213"/>
                </a:lnTo>
                <a:lnTo>
                  <a:pt x="70" y="219"/>
                </a:lnTo>
                <a:lnTo>
                  <a:pt x="63" y="223"/>
                </a:lnTo>
                <a:lnTo>
                  <a:pt x="61" y="226"/>
                </a:lnTo>
                <a:lnTo>
                  <a:pt x="58" y="229"/>
                </a:lnTo>
                <a:lnTo>
                  <a:pt x="56" y="224"/>
                </a:lnTo>
                <a:lnTo>
                  <a:pt x="55" y="220"/>
                </a:lnTo>
                <a:lnTo>
                  <a:pt x="54" y="216"/>
                </a:lnTo>
                <a:lnTo>
                  <a:pt x="54" y="212"/>
                </a:lnTo>
                <a:lnTo>
                  <a:pt x="55" y="207"/>
                </a:lnTo>
                <a:lnTo>
                  <a:pt x="56" y="203"/>
                </a:lnTo>
                <a:lnTo>
                  <a:pt x="58" y="200"/>
                </a:lnTo>
                <a:lnTo>
                  <a:pt x="61" y="195"/>
                </a:lnTo>
                <a:close/>
                <a:moveTo>
                  <a:pt x="75" y="142"/>
                </a:moveTo>
                <a:lnTo>
                  <a:pt x="79" y="137"/>
                </a:lnTo>
                <a:lnTo>
                  <a:pt x="85" y="132"/>
                </a:lnTo>
                <a:lnTo>
                  <a:pt x="92" y="128"/>
                </a:lnTo>
                <a:lnTo>
                  <a:pt x="102" y="124"/>
                </a:lnTo>
                <a:lnTo>
                  <a:pt x="102" y="132"/>
                </a:lnTo>
                <a:lnTo>
                  <a:pt x="99" y="139"/>
                </a:lnTo>
                <a:lnTo>
                  <a:pt x="96" y="146"/>
                </a:lnTo>
                <a:lnTo>
                  <a:pt x="92" y="151"/>
                </a:lnTo>
                <a:lnTo>
                  <a:pt x="89" y="152"/>
                </a:lnTo>
                <a:lnTo>
                  <a:pt x="83" y="152"/>
                </a:lnTo>
                <a:lnTo>
                  <a:pt x="79" y="152"/>
                </a:lnTo>
                <a:lnTo>
                  <a:pt x="75" y="153"/>
                </a:lnTo>
                <a:lnTo>
                  <a:pt x="75" y="147"/>
                </a:lnTo>
                <a:lnTo>
                  <a:pt x="75" y="142"/>
                </a:lnTo>
                <a:close/>
                <a:moveTo>
                  <a:pt x="112" y="374"/>
                </a:moveTo>
                <a:lnTo>
                  <a:pt x="113" y="375"/>
                </a:lnTo>
                <a:lnTo>
                  <a:pt x="116" y="376"/>
                </a:lnTo>
                <a:lnTo>
                  <a:pt x="113" y="378"/>
                </a:lnTo>
                <a:lnTo>
                  <a:pt x="112" y="380"/>
                </a:lnTo>
                <a:lnTo>
                  <a:pt x="110" y="381"/>
                </a:lnTo>
                <a:lnTo>
                  <a:pt x="107" y="382"/>
                </a:lnTo>
                <a:lnTo>
                  <a:pt x="106" y="383"/>
                </a:lnTo>
                <a:lnTo>
                  <a:pt x="105" y="387"/>
                </a:lnTo>
                <a:lnTo>
                  <a:pt x="104" y="389"/>
                </a:lnTo>
                <a:lnTo>
                  <a:pt x="103" y="390"/>
                </a:lnTo>
                <a:lnTo>
                  <a:pt x="100" y="389"/>
                </a:lnTo>
                <a:lnTo>
                  <a:pt x="99" y="387"/>
                </a:lnTo>
                <a:lnTo>
                  <a:pt x="100" y="381"/>
                </a:lnTo>
                <a:lnTo>
                  <a:pt x="103" y="376"/>
                </a:lnTo>
                <a:lnTo>
                  <a:pt x="106" y="374"/>
                </a:lnTo>
                <a:lnTo>
                  <a:pt x="112" y="374"/>
                </a:lnTo>
                <a:close/>
                <a:moveTo>
                  <a:pt x="132" y="165"/>
                </a:moveTo>
                <a:lnTo>
                  <a:pt x="129" y="168"/>
                </a:lnTo>
                <a:lnTo>
                  <a:pt x="126" y="173"/>
                </a:lnTo>
                <a:lnTo>
                  <a:pt x="125" y="173"/>
                </a:lnTo>
                <a:lnTo>
                  <a:pt x="124" y="172"/>
                </a:lnTo>
                <a:lnTo>
                  <a:pt x="123" y="168"/>
                </a:lnTo>
                <a:lnTo>
                  <a:pt x="123" y="165"/>
                </a:lnTo>
                <a:lnTo>
                  <a:pt x="127" y="165"/>
                </a:lnTo>
                <a:lnTo>
                  <a:pt x="132" y="16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150" b="1" dirty="0"/>
            </a:lvl1pPr>
          </a:lstStyle>
          <a:p>
            <a:pPr lvl="0" algn="ctr"/>
            <a:endParaRPr lang="en-US" sz="4799" dirty="0"/>
          </a:p>
        </p:txBody>
      </p:sp>
    </p:spTree>
    <p:extLst>
      <p:ext uri="{BB962C8B-B14F-4D97-AF65-F5344CB8AC3E}">
        <p14:creationId xmlns:p14="http://schemas.microsoft.com/office/powerpoint/2010/main" val="165988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1">
            <a:extLst>
              <a:ext uri="{FF2B5EF4-FFF2-40B4-BE49-F238E27FC236}">
                <a16:creationId xmlns:a16="http://schemas.microsoft.com/office/drawing/2014/main" id="{1CB22A2F-A2AF-D74D-A8B2-FF8D2165C3C0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>
            <a:off x="5664008" y="909011"/>
            <a:ext cx="6519721" cy="5948989"/>
          </a:xfrm>
          <a:custGeom>
            <a:avLst/>
            <a:gdLst>
              <a:gd name="T0" fmla="*/ 1944 w 1974"/>
              <a:gd name="T1" fmla="*/ 1110 h 1432"/>
              <a:gd name="T2" fmla="*/ 1934 w 1974"/>
              <a:gd name="T3" fmla="*/ 1084 h 1432"/>
              <a:gd name="T4" fmla="*/ 1898 w 1974"/>
              <a:gd name="T5" fmla="*/ 1098 h 1432"/>
              <a:gd name="T6" fmla="*/ 1865 w 1974"/>
              <a:gd name="T7" fmla="*/ 1117 h 1432"/>
              <a:gd name="T8" fmla="*/ 1803 w 1974"/>
              <a:gd name="T9" fmla="*/ 1095 h 1432"/>
              <a:gd name="T10" fmla="*/ 1571 w 1974"/>
              <a:gd name="T11" fmla="*/ 878 h 1432"/>
              <a:gd name="T12" fmla="*/ 1349 w 1974"/>
              <a:gd name="T13" fmla="*/ 688 h 1432"/>
              <a:gd name="T14" fmla="*/ 1327 w 1974"/>
              <a:gd name="T15" fmla="*/ 663 h 1432"/>
              <a:gd name="T16" fmla="*/ 1273 w 1974"/>
              <a:gd name="T17" fmla="*/ 780 h 1432"/>
              <a:gd name="T18" fmla="*/ 1242 w 1974"/>
              <a:gd name="T19" fmla="*/ 520 h 1432"/>
              <a:gd name="T20" fmla="*/ 1210 w 1974"/>
              <a:gd name="T21" fmla="*/ 887 h 1432"/>
              <a:gd name="T22" fmla="*/ 1085 w 1974"/>
              <a:gd name="T23" fmla="*/ 360 h 1432"/>
              <a:gd name="T24" fmla="*/ 1097 w 1974"/>
              <a:gd name="T25" fmla="*/ 817 h 1432"/>
              <a:gd name="T26" fmla="*/ 1063 w 1974"/>
              <a:gd name="T27" fmla="*/ 862 h 1432"/>
              <a:gd name="T28" fmla="*/ 921 w 1974"/>
              <a:gd name="T29" fmla="*/ 613 h 1432"/>
              <a:gd name="T30" fmla="*/ 970 w 1974"/>
              <a:gd name="T31" fmla="*/ 897 h 1432"/>
              <a:gd name="T32" fmla="*/ 918 w 1974"/>
              <a:gd name="T33" fmla="*/ 1019 h 1432"/>
              <a:gd name="T34" fmla="*/ 867 w 1974"/>
              <a:gd name="T35" fmla="*/ 585 h 1432"/>
              <a:gd name="T36" fmla="*/ 807 w 1974"/>
              <a:gd name="T37" fmla="*/ 531 h 1432"/>
              <a:gd name="T38" fmla="*/ 872 w 1974"/>
              <a:gd name="T39" fmla="*/ 883 h 1432"/>
              <a:gd name="T40" fmla="*/ 804 w 1974"/>
              <a:gd name="T41" fmla="*/ 766 h 1432"/>
              <a:gd name="T42" fmla="*/ 756 w 1974"/>
              <a:gd name="T43" fmla="*/ 646 h 1432"/>
              <a:gd name="T44" fmla="*/ 666 w 1974"/>
              <a:gd name="T45" fmla="*/ 90 h 1432"/>
              <a:gd name="T46" fmla="*/ 677 w 1974"/>
              <a:gd name="T47" fmla="*/ 189 h 1432"/>
              <a:gd name="T48" fmla="*/ 629 w 1974"/>
              <a:gd name="T49" fmla="*/ 104 h 1432"/>
              <a:gd name="T50" fmla="*/ 649 w 1974"/>
              <a:gd name="T51" fmla="*/ 147 h 1432"/>
              <a:gd name="T52" fmla="*/ 572 w 1974"/>
              <a:gd name="T53" fmla="*/ 205 h 1432"/>
              <a:gd name="T54" fmla="*/ 648 w 1974"/>
              <a:gd name="T55" fmla="*/ 193 h 1432"/>
              <a:gd name="T56" fmla="*/ 608 w 1974"/>
              <a:gd name="T57" fmla="*/ 227 h 1432"/>
              <a:gd name="T58" fmla="*/ 614 w 1974"/>
              <a:gd name="T59" fmla="*/ 166 h 1432"/>
              <a:gd name="T60" fmla="*/ 583 w 1974"/>
              <a:gd name="T61" fmla="*/ 348 h 1432"/>
              <a:gd name="T62" fmla="*/ 522 w 1974"/>
              <a:gd name="T63" fmla="*/ 221 h 1432"/>
              <a:gd name="T64" fmla="*/ 787 w 1974"/>
              <a:gd name="T65" fmla="*/ 160 h 1432"/>
              <a:gd name="T66" fmla="*/ 482 w 1974"/>
              <a:gd name="T67" fmla="*/ 319 h 1432"/>
              <a:gd name="T68" fmla="*/ 466 w 1974"/>
              <a:gd name="T69" fmla="*/ 263 h 1432"/>
              <a:gd name="T70" fmla="*/ 423 w 1974"/>
              <a:gd name="T71" fmla="*/ 294 h 1432"/>
              <a:gd name="T72" fmla="*/ 408 w 1974"/>
              <a:gd name="T73" fmla="*/ 256 h 1432"/>
              <a:gd name="T74" fmla="*/ 325 w 1974"/>
              <a:gd name="T75" fmla="*/ 164 h 1432"/>
              <a:gd name="T76" fmla="*/ 199 w 1974"/>
              <a:gd name="T77" fmla="*/ 336 h 1432"/>
              <a:gd name="T78" fmla="*/ 217 w 1974"/>
              <a:gd name="T79" fmla="*/ 142 h 1432"/>
              <a:gd name="T80" fmla="*/ 213 w 1974"/>
              <a:gd name="T81" fmla="*/ 186 h 1432"/>
              <a:gd name="T82" fmla="*/ 56 w 1974"/>
              <a:gd name="T83" fmla="*/ 209 h 1432"/>
              <a:gd name="T84" fmla="*/ 1722 w 1974"/>
              <a:gd name="T85" fmla="*/ 873 h 1432"/>
              <a:gd name="T86" fmla="*/ 1382 w 1974"/>
              <a:gd name="T87" fmla="*/ 692 h 1432"/>
              <a:gd name="T88" fmla="*/ 1313 w 1974"/>
              <a:gd name="T89" fmla="*/ 531 h 1432"/>
              <a:gd name="T90" fmla="*/ 1251 w 1974"/>
              <a:gd name="T91" fmla="*/ 412 h 1432"/>
              <a:gd name="T92" fmla="*/ 1161 w 1974"/>
              <a:gd name="T93" fmla="*/ 319 h 1432"/>
              <a:gd name="T94" fmla="*/ 1086 w 1974"/>
              <a:gd name="T95" fmla="*/ 277 h 1432"/>
              <a:gd name="T96" fmla="*/ 924 w 1974"/>
              <a:gd name="T97" fmla="*/ 277 h 1432"/>
              <a:gd name="T98" fmla="*/ 1105 w 1974"/>
              <a:gd name="T99" fmla="*/ 256 h 1432"/>
              <a:gd name="T100" fmla="*/ 919 w 1974"/>
              <a:gd name="T101" fmla="*/ 213 h 1432"/>
              <a:gd name="T102" fmla="*/ 1043 w 1974"/>
              <a:gd name="T103" fmla="*/ 174 h 1432"/>
              <a:gd name="T104" fmla="*/ 1007 w 1974"/>
              <a:gd name="T105" fmla="*/ 147 h 1432"/>
              <a:gd name="T106" fmla="*/ 908 w 1974"/>
              <a:gd name="T107" fmla="*/ 82 h 1432"/>
              <a:gd name="T108" fmla="*/ 682 w 1974"/>
              <a:gd name="T109" fmla="*/ 11 h 1432"/>
              <a:gd name="T110" fmla="*/ 252 w 1974"/>
              <a:gd name="T111" fmla="*/ 94 h 1432"/>
              <a:gd name="T112" fmla="*/ 50 w 1974"/>
              <a:gd name="T113" fmla="*/ 209 h 1432"/>
              <a:gd name="T114" fmla="*/ 45 w 1974"/>
              <a:gd name="T115" fmla="*/ 459 h 1432"/>
              <a:gd name="T116" fmla="*/ 400 w 1974"/>
              <a:gd name="T117" fmla="*/ 485 h 1432"/>
              <a:gd name="T118" fmla="*/ 507 w 1974"/>
              <a:gd name="T119" fmla="*/ 786 h 1432"/>
              <a:gd name="T120" fmla="*/ 439 w 1974"/>
              <a:gd name="T121" fmla="*/ 1179 h 1432"/>
              <a:gd name="T122" fmla="*/ 1974 w 1974"/>
              <a:gd name="T123" fmla="*/ 1224 h 1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74" h="1432">
                <a:moveTo>
                  <a:pt x="1968" y="1090"/>
                </a:moveTo>
                <a:lnTo>
                  <a:pt x="1969" y="1091"/>
                </a:lnTo>
                <a:lnTo>
                  <a:pt x="1970" y="1091"/>
                </a:lnTo>
                <a:lnTo>
                  <a:pt x="1969" y="1091"/>
                </a:lnTo>
                <a:lnTo>
                  <a:pt x="1968" y="1090"/>
                </a:lnTo>
                <a:close/>
                <a:moveTo>
                  <a:pt x="1957" y="1084"/>
                </a:moveTo>
                <a:lnTo>
                  <a:pt x="1950" y="1081"/>
                </a:lnTo>
                <a:lnTo>
                  <a:pt x="1943" y="1077"/>
                </a:lnTo>
                <a:lnTo>
                  <a:pt x="1950" y="1081"/>
                </a:lnTo>
                <a:lnTo>
                  <a:pt x="1957" y="1084"/>
                </a:lnTo>
                <a:lnTo>
                  <a:pt x="1961" y="1086"/>
                </a:lnTo>
                <a:lnTo>
                  <a:pt x="1964" y="1088"/>
                </a:lnTo>
                <a:lnTo>
                  <a:pt x="1961" y="1086"/>
                </a:lnTo>
                <a:lnTo>
                  <a:pt x="1957" y="1084"/>
                </a:lnTo>
                <a:close/>
                <a:moveTo>
                  <a:pt x="1951" y="1361"/>
                </a:moveTo>
                <a:lnTo>
                  <a:pt x="1950" y="1361"/>
                </a:lnTo>
                <a:lnTo>
                  <a:pt x="1948" y="1361"/>
                </a:lnTo>
                <a:lnTo>
                  <a:pt x="1950" y="1361"/>
                </a:lnTo>
                <a:lnTo>
                  <a:pt x="1951" y="1361"/>
                </a:lnTo>
                <a:lnTo>
                  <a:pt x="1955" y="1360"/>
                </a:lnTo>
                <a:lnTo>
                  <a:pt x="1957" y="1358"/>
                </a:lnTo>
                <a:lnTo>
                  <a:pt x="1958" y="1356"/>
                </a:lnTo>
                <a:lnTo>
                  <a:pt x="1961" y="1354"/>
                </a:lnTo>
                <a:lnTo>
                  <a:pt x="1958" y="1356"/>
                </a:lnTo>
                <a:lnTo>
                  <a:pt x="1957" y="1358"/>
                </a:lnTo>
                <a:lnTo>
                  <a:pt x="1955" y="1360"/>
                </a:lnTo>
                <a:lnTo>
                  <a:pt x="1951" y="1361"/>
                </a:lnTo>
                <a:close/>
                <a:moveTo>
                  <a:pt x="1958" y="1145"/>
                </a:moveTo>
                <a:lnTo>
                  <a:pt x="1957" y="1145"/>
                </a:lnTo>
                <a:lnTo>
                  <a:pt x="1956" y="1145"/>
                </a:lnTo>
                <a:lnTo>
                  <a:pt x="1957" y="1145"/>
                </a:lnTo>
                <a:lnTo>
                  <a:pt x="1958" y="1145"/>
                </a:lnTo>
                <a:close/>
                <a:moveTo>
                  <a:pt x="1954" y="1112"/>
                </a:moveTo>
                <a:lnTo>
                  <a:pt x="1954" y="1112"/>
                </a:lnTo>
                <a:lnTo>
                  <a:pt x="1955" y="1112"/>
                </a:lnTo>
                <a:lnTo>
                  <a:pt x="1957" y="1112"/>
                </a:lnTo>
                <a:lnTo>
                  <a:pt x="1955" y="1112"/>
                </a:lnTo>
                <a:lnTo>
                  <a:pt x="1954" y="1112"/>
                </a:lnTo>
                <a:close/>
                <a:moveTo>
                  <a:pt x="1944" y="1110"/>
                </a:moveTo>
                <a:lnTo>
                  <a:pt x="1947" y="1110"/>
                </a:lnTo>
                <a:lnTo>
                  <a:pt x="1950" y="1110"/>
                </a:lnTo>
                <a:lnTo>
                  <a:pt x="1947" y="1110"/>
                </a:lnTo>
                <a:lnTo>
                  <a:pt x="1944" y="1110"/>
                </a:lnTo>
                <a:lnTo>
                  <a:pt x="1944" y="1110"/>
                </a:lnTo>
                <a:close/>
                <a:moveTo>
                  <a:pt x="1947" y="1116"/>
                </a:moveTo>
                <a:lnTo>
                  <a:pt x="1947" y="1116"/>
                </a:lnTo>
                <a:lnTo>
                  <a:pt x="1946" y="1116"/>
                </a:lnTo>
                <a:lnTo>
                  <a:pt x="1943" y="1116"/>
                </a:lnTo>
                <a:lnTo>
                  <a:pt x="1946" y="1116"/>
                </a:lnTo>
                <a:lnTo>
                  <a:pt x="1947" y="1116"/>
                </a:lnTo>
                <a:close/>
                <a:moveTo>
                  <a:pt x="1941" y="1147"/>
                </a:moveTo>
                <a:lnTo>
                  <a:pt x="1942" y="1145"/>
                </a:lnTo>
                <a:lnTo>
                  <a:pt x="1943" y="1143"/>
                </a:lnTo>
                <a:lnTo>
                  <a:pt x="1942" y="1145"/>
                </a:lnTo>
                <a:lnTo>
                  <a:pt x="1941" y="1147"/>
                </a:lnTo>
                <a:close/>
                <a:moveTo>
                  <a:pt x="1937" y="1150"/>
                </a:moveTo>
                <a:lnTo>
                  <a:pt x="1940" y="1150"/>
                </a:lnTo>
                <a:lnTo>
                  <a:pt x="1941" y="1150"/>
                </a:lnTo>
                <a:lnTo>
                  <a:pt x="1947" y="1150"/>
                </a:lnTo>
                <a:lnTo>
                  <a:pt x="1954" y="1150"/>
                </a:lnTo>
                <a:lnTo>
                  <a:pt x="1947" y="1150"/>
                </a:lnTo>
                <a:lnTo>
                  <a:pt x="1941" y="1150"/>
                </a:lnTo>
                <a:lnTo>
                  <a:pt x="1940" y="1150"/>
                </a:lnTo>
                <a:lnTo>
                  <a:pt x="1937" y="1150"/>
                </a:lnTo>
                <a:close/>
                <a:moveTo>
                  <a:pt x="1939" y="1355"/>
                </a:moveTo>
                <a:lnTo>
                  <a:pt x="1939" y="1355"/>
                </a:lnTo>
                <a:lnTo>
                  <a:pt x="1936" y="1356"/>
                </a:lnTo>
                <a:lnTo>
                  <a:pt x="1935" y="1356"/>
                </a:lnTo>
                <a:lnTo>
                  <a:pt x="1936" y="1356"/>
                </a:lnTo>
                <a:lnTo>
                  <a:pt x="1939" y="1355"/>
                </a:lnTo>
                <a:lnTo>
                  <a:pt x="1939" y="1355"/>
                </a:lnTo>
                <a:lnTo>
                  <a:pt x="1939" y="1355"/>
                </a:lnTo>
                <a:lnTo>
                  <a:pt x="1939" y="1354"/>
                </a:lnTo>
                <a:lnTo>
                  <a:pt x="1939" y="1355"/>
                </a:lnTo>
                <a:lnTo>
                  <a:pt x="1939" y="1355"/>
                </a:lnTo>
                <a:close/>
                <a:moveTo>
                  <a:pt x="1941" y="1105"/>
                </a:moveTo>
                <a:lnTo>
                  <a:pt x="1939" y="1103"/>
                </a:lnTo>
                <a:lnTo>
                  <a:pt x="1936" y="1102"/>
                </a:lnTo>
                <a:lnTo>
                  <a:pt x="1939" y="1103"/>
                </a:lnTo>
                <a:lnTo>
                  <a:pt x="1941" y="1105"/>
                </a:lnTo>
                <a:close/>
                <a:moveTo>
                  <a:pt x="1934" y="1084"/>
                </a:moveTo>
                <a:lnTo>
                  <a:pt x="1936" y="1084"/>
                </a:lnTo>
                <a:lnTo>
                  <a:pt x="1940" y="1086"/>
                </a:lnTo>
                <a:lnTo>
                  <a:pt x="1936" y="1084"/>
                </a:lnTo>
                <a:lnTo>
                  <a:pt x="1934" y="1084"/>
                </a:lnTo>
                <a:lnTo>
                  <a:pt x="1934" y="1084"/>
                </a:lnTo>
                <a:close/>
                <a:moveTo>
                  <a:pt x="1929" y="1081"/>
                </a:moveTo>
                <a:lnTo>
                  <a:pt x="1929" y="1081"/>
                </a:lnTo>
                <a:lnTo>
                  <a:pt x="1929" y="1081"/>
                </a:lnTo>
                <a:lnTo>
                  <a:pt x="1929" y="1081"/>
                </a:lnTo>
                <a:lnTo>
                  <a:pt x="1929" y="1081"/>
                </a:lnTo>
                <a:lnTo>
                  <a:pt x="1928" y="1077"/>
                </a:lnTo>
                <a:lnTo>
                  <a:pt x="1925" y="1076"/>
                </a:lnTo>
                <a:lnTo>
                  <a:pt x="1922" y="1076"/>
                </a:lnTo>
                <a:lnTo>
                  <a:pt x="1920" y="1076"/>
                </a:lnTo>
                <a:lnTo>
                  <a:pt x="1919" y="1074"/>
                </a:lnTo>
                <a:lnTo>
                  <a:pt x="1916" y="1072"/>
                </a:lnTo>
                <a:lnTo>
                  <a:pt x="1919" y="1074"/>
                </a:lnTo>
                <a:lnTo>
                  <a:pt x="1920" y="1076"/>
                </a:lnTo>
                <a:lnTo>
                  <a:pt x="1922" y="1076"/>
                </a:lnTo>
                <a:lnTo>
                  <a:pt x="1925" y="1076"/>
                </a:lnTo>
                <a:lnTo>
                  <a:pt x="1928" y="1077"/>
                </a:lnTo>
                <a:lnTo>
                  <a:pt x="1929" y="1081"/>
                </a:lnTo>
                <a:lnTo>
                  <a:pt x="1932" y="1081"/>
                </a:lnTo>
                <a:lnTo>
                  <a:pt x="1933" y="1081"/>
                </a:lnTo>
                <a:lnTo>
                  <a:pt x="1932" y="1081"/>
                </a:lnTo>
                <a:lnTo>
                  <a:pt x="1929" y="1081"/>
                </a:lnTo>
                <a:close/>
                <a:moveTo>
                  <a:pt x="1919" y="1076"/>
                </a:moveTo>
                <a:lnTo>
                  <a:pt x="1919" y="1076"/>
                </a:lnTo>
                <a:lnTo>
                  <a:pt x="1919" y="1076"/>
                </a:lnTo>
                <a:lnTo>
                  <a:pt x="1919" y="1076"/>
                </a:lnTo>
                <a:lnTo>
                  <a:pt x="1919" y="1076"/>
                </a:lnTo>
                <a:close/>
                <a:moveTo>
                  <a:pt x="1923" y="1121"/>
                </a:moveTo>
                <a:lnTo>
                  <a:pt x="1921" y="1121"/>
                </a:lnTo>
                <a:lnTo>
                  <a:pt x="1918" y="1121"/>
                </a:lnTo>
                <a:lnTo>
                  <a:pt x="1921" y="1121"/>
                </a:lnTo>
                <a:lnTo>
                  <a:pt x="1923" y="1121"/>
                </a:lnTo>
                <a:lnTo>
                  <a:pt x="1925" y="1122"/>
                </a:lnTo>
                <a:lnTo>
                  <a:pt x="1926" y="1123"/>
                </a:lnTo>
                <a:lnTo>
                  <a:pt x="1925" y="1122"/>
                </a:lnTo>
                <a:lnTo>
                  <a:pt x="1923" y="1121"/>
                </a:lnTo>
                <a:close/>
                <a:moveTo>
                  <a:pt x="1918" y="1257"/>
                </a:moveTo>
                <a:lnTo>
                  <a:pt x="1918" y="1257"/>
                </a:lnTo>
                <a:lnTo>
                  <a:pt x="1916" y="1258"/>
                </a:lnTo>
                <a:lnTo>
                  <a:pt x="1918" y="1257"/>
                </a:lnTo>
                <a:lnTo>
                  <a:pt x="1918" y="1257"/>
                </a:lnTo>
                <a:close/>
                <a:moveTo>
                  <a:pt x="1909" y="1101"/>
                </a:moveTo>
                <a:lnTo>
                  <a:pt x="1904" y="1101"/>
                </a:lnTo>
                <a:lnTo>
                  <a:pt x="1898" y="1098"/>
                </a:lnTo>
                <a:lnTo>
                  <a:pt x="1904" y="1101"/>
                </a:lnTo>
                <a:lnTo>
                  <a:pt x="1909" y="1101"/>
                </a:lnTo>
                <a:lnTo>
                  <a:pt x="1912" y="1105"/>
                </a:lnTo>
                <a:lnTo>
                  <a:pt x="1916" y="1108"/>
                </a:lnTo>
                <a:lnTo>
                  <a:pt x="1912" y="1105"/>
                </a:lnTo>
                <a:lnTo>
                  <a:pt x="1909" y="1101"/>
                </a:lnTo>
                <a:close/>
                <a:moveTo>
                  <a:pt x="1893" y="1313"/>
                </a:moveTo>
                <a:lnTo>
                  <a:pt x="1891" y="1312"/>
                </a:lnTo>
                <a:lnTo>
                  <a:pt x="1889" y="1311"/>
                </a:lnTo>
                <a:lnTo>
                  <a:pt x="1891" y="1312"/>
                </a:lnTo>
                <a:lnTo>
                  <a:pt x="1893" y="1313"/>
                </a:lnTo>
                <a:lnTo>
                  <a:pt x="1893" y="1313"/>
                </a:lnTo>
                <a:lnTo>
                  <a:pt x="1893" y="1313"/>
                </a:lnTo>
                <a:close/>
                <a:moveTo>
                  <a:pt x="1881" y="1313"/>
                </a:moveTo>
                <a:lnTo>
                  <a:pt x="1886" y="1311"/>
                </a:lnTo>
                <a:lnTo>
                  <a:pt x="1889" y="1308"/>
                </a:lnTo>
                <a:lnTo>
                  <a:pt x="1886" y="1311"/>
                </a:lnTo>
                <a:lnTo>
                  <a:pt x="1881" y="1313"/>
                </a:lnTo>
                <a:close/>
                <a:moveTo>
                  <a:pt x="1880" y="1059"/>
                </a:moveTo>
                <a:lnTo>
                  <a:pt x="1881" y="1059"/>
                </a:lnTo>
                <a:lnTo>
                  <a:pt x="1884" y="1059"/>
                </a:lnTo>
                <a:lnTo>
                  <a:pt x="1881" y="1059"/>
                </a:lnTo>
                <a:lnTo>
                  <a:pt x="1880" y="1059"/>
                </a:lnTo>
                <a:lnTo>
                  <a:pt x="1880" y="1059"/>
                </a:lnTo>
                <a:close/>
                <a:moveTo>
                  <a:pt x="1866" y="1114"/>
                </a:moveTo>
                <a:lnTo>
                  <a:pt x="1872" y="1116"/>
                </a:lnTo>
                <a:lnTo>
                  <a:pt x="1877" y="1117"/>
                </a:lnTo>
                <a:lnTo>
                  <a:pt x="1872" y="1116"/>
                </a:lnTo>
                <a:lnTo>
                  <a:pt x="1866" y="1114"/>
                </a:lnTo>
                <a:close/>
                <a:moveTo>
                  <a:pt x="1861" y="1270"/>
                </a:moveTo>
                <a:lnTo>
                  <a:pt x="1866" y="1268"/>
                </a:lnTo>
                <a:lnTo>
                  <a:pt x="1871" y="1265"/>
                </a:lnTo>
                <a:lnTo>
                  <a:pt x="1870" y="1265"/>
                </a:lnTo>
                <a:lnTo>
                  <a:pt x="1870" y="1264"/>
                </a:lnTo>
                <a:lnTo>
                  <a:pt x="1870" y="1265"/>
                </a:lnTo>
                <a:lnTo>
                  <a:pt x="1871" y="1265"/>
                </a:lnTo>
                <a:lnTo>
                  <a:pt x="1866" y="1268"/>
                </a:lnTo>
                <a:lnTo>
                  <a:pt x="1861" y="1270"/>
                </a:lnTo>
                <a:close/>
                <a:moveTo>
                  <a:pt x="1865" y="1117"/>
                </a:moveTo>
                <a:lnTo>
                  <a:pt x="1863" y="1117"/>
                </a:lnTo>
                <a:lnTo>
                  <a:pt x="1860" y="1117"/>
                </a:lnTo>
                <a:lnTo>
                  <a:pt x="1863" y="1117"/>
                </a:lnTo>
                <a:lnTo>
                  <a:pt x="1865" y="1117"/>
                </a:lnTo>
                <a:close/>
                <a:moveTo>
                  <a:pt x="1852" y="1130"/>
                </a:moveTo>
                <a:lnTo>
                  <a:pt x="1853" y="1130"/>
                </a:lnTo>
                <a:lnTo>
                  <a:pt x="1853" y="1129"/>
                </a:lnTo>
                <a:lnTo>
                  <a:pt x="1853" y="1130"/>
                </a:lnTo>
                <a:lnTo>
                  <a:pt x="1852" y="1130"/>
                </a:lnTo>
                <a:close/>
                <a:moveTo>
                  <a:pt x="1901" y="1059"/>
                </a:moveTo>
                <a:lnTo>
                  <a:pt x="1901" y="1058"/>
                </a:lnTo>
                <a:lnTo>
                  <a:pt x="1901" y="1056"/>
                </a:lnTo>
                <a:lnTo>
                  <a:pt x="1901" y="1058"/>
                </a:lnTo>
                <a:lnTo>
                  <a:pt x="1901" y="1059"/>
                </a:lnTo>
                <a:close/>
                <a:moveTo>
                  <a:pt x="1909" y="1101"/>
                </a:moveTo>
                <a:lnTo>
                  <a:pt x="1908" y="1100"/>
                </a:lnTo>
                <a:lnTo>
                  <a:pt x="1907" y="1098"/>
                </a:lnTo>
                <a:lnTo>
                  <a:pt x="1908" y="1100"/>
                </a:lnTo>
                <a:lnTo>
                  <a:pt x="1909" y="1101"/>
                </a:lnTo>
                <a:close/>
                <a:moveTo>
                  <a:pt x="1921" y="1038"/>
                </a:moveTo>
                <a:lnTo>
                  <a:pt x="1914" y="1033"/>
                </a:lnTo>
                <a:lnTo>
                  <a:pt x="1908" y="1027"/>
                </a:lnTo>
                <a:lnTo>
                  <a:pt x="1914" y="1033"/>
                </a:lnTo>
                <a:lnTo>
                  <a:pt x="1921" y="1038"/>
                </a:lnTo>
                <a:close/>
                <a:moveTo>
                  <a:pt x="1950" y="1067"/>
                </a:moveTo>
                <a:lnTo>
                  <a:pt x="1950" y="1066"/>
                </a:lnTo>
                <a:lnTo>
                  <a:pt x="1950" y="1067"/>
                </a:lnTo>
                <a:lnTo>
                  <a:pt x="1950" y="1067"/>
                </a:lnTo>
                <a:close/>
                <a:moveTo>
                  <a:pt x="1849" y="1130"/>
                </a:moveTo>
                <a:lnTo>
                  <a:pt x="1846" y="1128"/>
                </a:lnTo>
                <a:lnTo>
                  <a:pt x="1845" y="1125"/>
                </a:lnTo>
                <a:lnTo>
                  <a:pt x="1846" y="1128"/>
                </a:lnTo>
                <a:lnTo>
                  <a:pt x="1849" y="1130"/>
                </a:lnTo>
                <a:close/>
                <a:moveTo>
                  <a:pt x="1816" y="1084"/>
                </a:moveTo>
                <a:lnTo>
                  <a:pt x="1828" y="1076"/>
                </a:lnTo>
                <a:lnTo>
                  <a:pt x="1840" y="1070"/>
                </a:lnTo>
                <a:lnTo>
                  <a:pt x="1828" y="1076"/>
                </a:lnTo>
                <a:lnTo>
                  <a:pt x="1816" y="1084"/>
                </a:lnTo>
                <a:close/>
                <a:moveTo>
                  <a:pt x="1818" y="1087"/>
                </a:moveTo>
                <a:lnTo>
                  <a:pt x="1818" y="1086"/>
                </a:lnTo>
                <a:lnTo>
                  <a:pt x="1817" y="1086"/>
                </a:lnTo>
                <a:lnTo>
                  <a:pt x="1818" y="1086"/>
                </a:lnTo>
                <a:lnTo>
                  <a:pt x="1818" y="1087"/>
                </a:lnTo>
                <a:close/>
                <a:moveTo>
                  <a:pt x="1801" y="1098"/>
                </a:moveTo>
                <a:lnTo>
                  <a:pt x="1803" y="1095"/>
                </a:lnTo>
                <a:lnTo>
                  <a:pt x="1806" y="1094"/>
                </a:lnTo>
                <a:lnTo>
                  <a:pt x="1803" y="1095"/>
                </a:lnTo>
                <a:lnTo>
                  <a:pt x="1801" y="1098"/>
                </a:lnTo>
                <a:close/>
                <a:moveTo>
                  <a:pt x="1798" y="1215"/>
                </a:moveTo>
                <a:lnTo>
                  <a:pt x="1798" y="1219"/>
                </a:lnTo>
                <a:lnTo>
                  <a:pt x="1799" y="1221"/>
                </a:lnTo>
                <a:lnTo>
                  <a:pt x="1798" y="1219"/>
                </a:lnTo>
                <a:lnTo>
                  <a:pt x="1798" y="1215"/>
                </a:lnTo>
                <a:lnTo>
                  <a:pt x="1798" y="1210"/>
                </a:lnTo>
                <a:lnTo>
                  <a:pt x="1801" y="1207"/>
                </a:lnTo>
                <a:lnTo>
                  <a:pt x="1798" y="1210"/>
                </a:lnTo>
                <a:lnTo>
                  <a:pt x="1798" y="1215"/>
                </a:lnTo>
                <a:close/>
                <a:moveTo>
                  <a:pt x="1778" y="1297"/>
                </a:moveTo>
                <a:lnTo>
                  <a:pt x="1780" y="1296"/>
                </a:lnTo>
                <a:lnTo>
                  <a:pt x="1781" y="1296"/>
                </a:lnTo>
                <a:lnTo>
                  <a:pt x="1780" y="1296"/>
                </a:lnTo>
                <a:lnTo>
                  <a:pt x="1778" y="1297"/>
                </a:lnTo>
                <a:close/>
                <a:moveTo>
                  <a:pt x="1762" y="1164"/>
                </a:moveTo>
                <a:lnTo>
                  <a:pt x="1762" y="1164"/>
                </a:lnTo>
                <a:lnTo>
                  <a:pt x="1762" y="1165"/>
                </a:lnTo>
                <a:lnTo>
                  <a:pt x="1762" y="1164"/>
                </a:lnTo>
                <a:close/>
                <a:moveTo>
                  <a:pt x="1610" y="1199"/>
                </a:moveTo>
                <a:lnTo>
                  <a:pt x="1612" y="1199"/>
                </a:lnTo>
                <a:lnTo>
                  <a:pt x="1616" y="1199"/>
                </a:lnTo>
                <a:lnTo>
                  <a:pt x="1612" y="1199"/>
                </a:lnTo>
                <a:lnTo>
                  <a:pt x="1610" y="1199"/>
                </a:lnTo>
                <a:close/>
                <a:moveTo>
                  <a:pt x="1604" y="894"/>
                </a:moveTo>
                <a:lnTo>
                  <a:pt x="1604" y="892"/>
                </a:lnTo>
                <a:lnTo>
                  <a:pt x="1604" y="890"/>
                </a:lnTo>
                <a:lnTo>
                  <a:pt x="1604" y="890"/>
                </a:lnTo>
                <a:lnTo>
                  <a:pt x="1604" y="892"/>
                </a:lnTo>
                <a:lnTo>
                  <a:pt x="1604" y="894"/>
                </a:lnTo>
                <a:close/>
                <a:moveTo>
                  <a:pt x="1598" y="905"/>
                </a:moveTo>
                <a:lnTo>
                  <a:pt x="1598" y="906"/>
                </a:lnTo>
                <a:lnTo>
                  <a:pt x="1598" y="907"/>
                </a:lnTo>
                <a:lnTo>
                  <a:pt x="1598" y="906"/>
                </a:lnTo>
                <a:lnTo>
                  <a:pt x="1598" y="905"/>
                </a:lnTo>
                <a:close/>
                <a:moveTo>
                  <a:pt x="1577" y="886"/>
                </a:moveTo>
                <a:lnTo>
                  <a:pt x="1578" y="884"/>
                </a:lnTo>
                <a:lnTo>
                  <a:pt x="1580" y="881"/>
                </a:lnTo>
                <a:lnTo>
                  <a:pt x="1578" y="884"/>
                </a:lnTo>
                <a:lnTo>
                  <a:pt x="1577" y="886"/>
                </a:lnTo>
                <a:close/>
                <a:moveTo>
                  <a:pt x="1570" y="884"/>
                </a:moveTo>
                <a:lnTo>
                  <a:pt x="1571" y="881"/>
                </a:lnTo>
                <a:lnTo>
                  <a:pt x="1571" y="878"/>
                </a:lnTo>
                <a:lnTo>
                  <a:pt x="1567" y="878"/>
                </a:lnTo>
                <a:lnTo>
                  <a:pt x="1564" y="876"/>
                </a:lnTo>
                <a:lnTo>
                  <a:pt x="1567" y="878"/>
                </a:lnTo>
                <a:lnTo>
                  <a:pt x="1571" y="878"/>
                </a:lnTo>
                <a:lnTo>
                  <a:pt x="1571" y="881"/>
                </a:lnTo>
                <a:lnTo>
                  <a:pt x="1570" y="884"/>
                </a:lnTo>
                <a:close/>
                <a:moveTo>
                  <a:pt x="1421" y="741"/>
                </a:moveTo>
                <a:lnTo>
                  <a:pt x="1415" y="730"/>
                </a:lnTo>
                <a:lnTo>
                  <a:pt x="1410" y="718"/>
                </a:lnTo>
                <a:lnTo>
                  <a:pt x="1404" y="705"/>
                </a:lnTo>
                <a:lnTo>
                  <a:pt x="1400" y="694"/>
                </a:lnTo>
                <a:lnTo>
                  <a:pt x="1404" y="705"/>
                </a:lnTo>
                <a:lnTo>
                  <a:pt x="1410" y="718"/>
                </a:lnTo>
                <a:lnTo>
                  <a:pt x="1415" y="730"/>
                </a:lnTo>
                <a:lnTo>
                  <a:pt x="1421" y="741"/>
                </a:lnTo>
                <a:lnTo>
                  <a:pt x="1423" y="748"/>
                </a:lnTo>
                <a:lnTo>
                  <a:pt x="1424" y="755"/>
                </a:lnTo>
                <a:lnTo>
                  <a:pt x="1423" y="748"/>
                </a:lnTo>
                <a:lnTo>
                  <a:pt x="1421" y="741"/>
                </a:lnTo>
                <a:close/>
                <a:moveTo>
                  <a:pt x="1390" y="690"/>
                </a:moveTo>
                <a:lnTo>
                  <a:pt x="1393" y="689"/>
                </a:lnTo>
                <a:lnTo>
                  <a:pt x="1394" y="688"/>
                </a:lnTo>
                <a:lnTo>
                  <a:pt x="1393" y="689"/>
                </a:lnTo>
                <a:lnTo>
                  <a:pt x="1390" y="690"/>
                </a:lnTo>
                <a:close/>
                <a:moveTo>
                  <a:pt x="1393" y="758"/>
                </a:moveTo>
                <a:lnTo>
                  <a:pt x="1393" y="758"/>
                </a:lnTo>
                <a:lnTo>
                  <a:pt x="1393" y="758"/>
                </a:lnTo>
                <a:lnTo>
                  <a:pt x="1393" y="758"/>
                </a:lnTo>
                <a:lnTo>
                  <a:pt x="1393" y="758"/>
                </a:lnTo>
                <a:lnTo>
                  <a:pt x="1394" y="755"/>
                </a:lnTo>
                <a:lnTo>
                  <a:pt x="1394" y="752"/>
                </a:lnTo>
                <a:lnTo>
                  <a:pt x="1394" y="755"/>
                </a:lnTo>
                <a:lnTo>
                  <a:pt x="1393" y="758"/>
                </a:lnTo>
                <a:close/>
                <a:moveTo>
                  <a:pt x="1374" y="744"/>
                </a:moveTo>
                <a:lnTo>
                  <a:pt x="1373" y="744"/>
                </a:lnTo>
                <a:lnTo>
                  <a:pt x="1371" y="743"/>
                </a:lnTo>
                <a:lnTo>
                  <a:pt x="1373" y="744"/>
                </a:lnTo>
                <a:lnTo>
                  <a:pt x="1374" y="744"/>
                </a:lnTo>
                <a:lnTo>
                  <a:pt x="1374" y="745"/>
                </a:lnTo>
                <a:lnTo>
                  <a:pt x="1374" y="745"/>
                </a:lnTo>
                <a:lnTo>
                  <a:pt x="1374" y="745"/>
                </a:lnTo>
                <a:lnTo>
                  <a:pt x="1374" y="744"/>
                </a:lnTo>
                <a:close/>
                <a:moveTo>
                  <a:pt x="1349" y="688"/>
                </a:moveTo>
                <a:lnTo>
                  <a:pt x="1347" y="685"/>
                </a:lnTo>
                <a:lnTo>
                  <a:pt x="1346" y="682"/>
                </a:lnTo>
                <a:lnTo>
                  <a:pt x="1345" y="680"/>
                </a:lnTo>
                <a:lnTo>
                  <a:pt x="1345" y="676"/>
                </a:lnTo>
                <a:lnTo>
                  <a:pt x="1345" y="680"/>
                </a:lnTo>
                <a:lnTo>
                  <a:pt x="1346" y="682"/>
                </a:lnTo>
                <a:lnTo>
                  <a:pt x="1347" y="685"/>
                </a:lnTo>
                <a:lnTo>
                  <a:pt x="1349" y="688"/>
                </a:lnTo>
                <a:lnTo>
                  <a:pt x="1352" y="689"/>
                </a:lnTo>
                <a:lnTo>
                  <a:pt x="1353" y="689"/>
                </a:lnTo>
                <a:lnTo>
                  <a:pt x="1354" y="690"/>
                </a:lnTo>
                <a:lnTo>
                  <a:pt x="1354" y="692"/>
                </a:lnTo>
                <a:lnTo>
                  <a:pt x="1354" y="690"/>
                </a:lnTo>
                <a:lnTo>
                  <a:pt x="1353" y="689"/>
                </a:lnTo>
                <a:lnTo>
                  <a:pt x="1352" y="689"/>
                </a:lnTo>
                <a:lnTo>
                  <a:pt x="1349" y="688"/>
                </a:lnTo>
                <a:close/>
                <a:moveTo>
                  <a:pt x="1349" y="689"/>
                </a:moveTo>
                <a:lnTo>
                  <a:pt x="1349" y="689"/>
                </a:lnTo>
                <a:lnTo>
                  <a:pt x="1349" y="688"/>
                </a:lnTo>
                <a:lnTo>
                  <a:pt x="1349" y="689"/>
                </a:lnTo>
                <a:lnTo>
                  <a:pt x="1349" y="689"/>
                </a:lnTo>
                <a:close/>
                <a:moveTo>
                  <a:pt x="1335" y="678"/>
                </a:moveTo>
                <a:lnTo>
                  <a:pt x="1332" y="678"/>
                </a:lnTo>
                <a:lnTo>
                  <a:pt x="1328" y="678"/>
                </a:lnTo>
                <a:lnTo>
                  <a:pt x="1332" y="678"/>
                </a:lnTo>
                <a:lnTo>
                  <a:pt x="1335" y="678"/>
                </a:lnTo>
                <a:lnTo>
                  <a:pt x="1338" y="682"/>
                </a:lnTo>
                <a:lnTo>
                  <a:pt x="1340" y="684"/>
                </a:lnTo>
                <a:lnTo>
                  <a:pt x="1338" y="682"/>
                </a:lnTo>
                <a:lnTo>
                  <a:pt x="1335" y="678"/>
                </a:lnTo>
                <a:close/>
                <a:moveTo>
                  <a:pt x="1333" y="729"/>
                </a:moveTo>
                <a:lnTo>
                  <a:pt x="1333" y="727"/>
                </a:lnTo>
                <a:lnTo>
                  <a:pt x="1332" y="725"/>
                </a:lnTo>
                <a:lnTo>
                  <a:pt x="1333" y="727"/>
                </a:lnTo>
                <a:lnTo>
                  <a:pt x="1333" y="729"/>
                </a:lnTo>
                <a:lnTo>
                  <a:pt x="1334" y="730"/>
                </a:lnTo>
                <a:lnTo>
                  <a:pt x="1334" y="730"/>
                </a:lnTo>
                <a:lnTo>
                  <a:pt x="1334" y="730"/>
                </a:lnTo>
                <a:lnTo>
                  <a:pt x="1333" y="729"/>
                </a:lnTo>
                <a:close/>
                <a:moveTo>
                  <a:pt x="1322" y="667"/>
                </a:moveTo>
                <a:lnTo>
                  <a:pt x="1327" y="663"/>
                </a:lnTo>
                <a:lnTo>
                  <a:pt x="1331" y="660"/>
                </a:lnTo>
                <a:lnTo>
                  <a:pt x="1327" y="663"/>
                </a:lnTo>
                <a:lnTo>
                  <a:pt x="1322" y="667"/>
                </a:lnTo>
                <a:close/>
                <a:moveTo>
                  <a:pt x="1320" y="772"/>
                </a:moveTo>
                <a:lnTo>
                  <a:pt x="1316" y="765"/>
                </a:lnTo>
                <a:lnTo>
                  <a:pt x="1313" y="758"/>
                </a:lnTo>
                <a:lnTo>
                  <a:pt x="1316" y="765"/>
                </a:lnTo>
                <a:lnTo>
                  <a:pt x="1320" y="772"/>
                </a:lnTo>
                <a:lnTo>
                  <a:pt x="1321" y="773"/>
                </a:lnTo>
                <a:lnTo>
                  <a:pt x="1322" y="775"/>
                </a:lnTo>
                <a:lnTo>
                  <a:pt x="1321" y="773"/>
                </a:lnTo>
                <a:lnTo>
                  <a:pt x="1320" y="772"/>
                </a:lnTo>
                <a:close/>
                <a:moveTo>
                  <a:pt x="1307" y="776"/>
                </a:moveTo>
                <a:lnTo>
                  <a:pt x="1307" y="775"/>
                </a:lnTo>
                <a:lnTo>
                  <a:pt x="1308" y="775"/>
                </a:lnTo>
                <a:lnTo>
                  <a:pt x="1307" y="775"/>
                </a:lnTo>
                <a:lnTo>
                  <a:pt x="1306" y="774"/>
                </a:lnTo>
                <a:lnTo>
                  <a:pt x="1307" y="775"/>
                </a:lnTo>
                <a:lnTo>
                  <a:pt x="1308" y="775"/>
                </a:lnTo>
                <a:lnTo>
                  <a:pt x="1307" y="775"/>
                </a:lnTo>
                <a:lnTo>
                  <a:pt x="1307" y="776"/>
                </a:lnTo>
                <a:close/>
                <a:moveTo>
                  <a:pt x="1299" y="762"/>
                </a:moveTo>
                <a:lnTo>
                  <a:pt x="1297" y="762"/>
                </a:lnTo>
                <a:lnTo>
                  <a:pt x="1295" y="764"/>
                </a:lnTo>
                <a:lnTo>
                  <a:pt x="1297" y="762"/>
                </a:lnTo>
                <a:lnTo>
                  <a:pt x="1299" y="762"/>
                </a:lnTo>
                <a:lnTo>
                  <a:pt x="1299" y="762"/>
                </a:lnTo>
                <a:lnTo>
                  <a:pt x="1300" y="762"/>
                </a:lnTo>
                <a:lnTo>
                  <a:pt x="1299" y="762"/>
                </a:lnTo>
                <a:lnTo>
                  <a:pt x="1299" y="762"/>
                </a:lnTo>
                <a:close/>
                <a:moveTo>
                  <a:pt x="1295" y="767"/>
                </a:moveTo>
                <a:lnTo>
                  <a:pt x="1295" y="767"/>
                </a:lnTo>
                <a:lnTo>
                  <a:pt x="1294" y="768"/>
                </a:lnTo>
                <a:lnTo>
                  <a:pt x="1295" y="767"/>
                </a:lnTo>
                <a:lnTo>
                  <a:pt x="1295" y="767"/>
                </a:lnTo>
                <a:close/>
                <a:moveTo>
                  <a:pt x="1276" y="783"/>
                </a:moveTo>
                <a:lnTo>
                  <a:pt x="1277" y="783"/>
                </a:lnTo>
                <a:lnTo>
                  <a:pt x="1278" y="785"/>
                </a:lnTo>
                <a:lnTo>
                  <a:pt x="1277" y="783"/>
                </a:lnTo>
                <a:lnTo>
                  <a:pt x="1276" y="783"/>
                </a:lnTo>
                <a:close/>
                <a:moveTo>
                  <a:pt x="1273" y="780"/>
                </a:moveTo>
                <a:lnTo>
                  <a:pt x="1271" y="780"/>
                </a:lnTo>
                <a:lnTo>
                  <a:pt x="1267" y="780"/>
                </a:lnTo>
                <a:lnTo>
                  <a:pt x="1271" y="780"/>
                </a:lnTo>
                <a:lnTo>
                  <a:pt x="1273" y="780"/>
                </a:lnTo>
                <a:lnTo>
                  <a:pt x="1274" y="781"/>
                </a:lnTo>
                <a:lnTo>
                  <a:pt x="1276" y="782"/>
                </a:lnTo>
                <a:lnTo>
                  <a:pt x="1274" y="781"/>
                </a:lnTo>
                <a:lnTo>
                  <a:pt x="1273" y="780"/>
                </a:lnTo>
                <a:close/>
                <a:moveTo>
                  <a:pt x="1250" y="549"/>
                </a:moveTo>
                <a:lnTo>
                  <a:pt x="1243" y="541"/>
                </a:lnTo>
                <a:lnTo>
                  <a:pt x="1235" y="535"/>
                </a:lnTo>
                <a:lnTo>
                  <a:pt x="1229" y="531"/>
                </a:lnTo>
                <a:lnTo>
                  <a:pt x="1225" y="525"/>
                </a:lnTo>
                <a:lnTo>
                  <a:pt x="1221" y="520"/>
                </a:lnTo>
                <a:lnTo>
                  <a:pt x="1217" y="514"/>
                </a:lnTo>
                <a:lnTo>
                  <a:pt x="1216" y="513"/>
                </a:lnTo>
                <a:lnTo>
                  <a:pt x="1217" y="511"/>
                </a:lnTo>
                <a:lnTo>
                  <a:pt x="1217" y="510"/>
                </a:lnTo>
                <a:lnTo>
                  <a:pt x="1219" y="510"/>
                </a:lnTo>
                <a:lnTo>
                  <a:pt x="1222" y="511"/>
                </a:lnTo>
                <a:lnTo>
                  <a:pt x="1225" y="510"/>
                </a:lnTo>
                <a:lnTo>
                  <a:pt x="1221" y="503"/>
                </a:lnTo>
                <a:lnTo>
                  <a:pt x="1215" y="497"/>
                </a:lnTo>
                <a:lnTo>
                  <a:pt x="1197" y="486"/>
                </a:lnTo>
                <a:lnTo>
                  <a:pt x="1181" y="473"/>
                </a:lnTo>
                <a:lnTo>
                  <a:pt x="1167" y="458"/>
                </a:lnTo>
                <a:lnTo>
                  <a:pt x="1154" y="441"/>
                </a:lnTo>
                <a:lnTo>
                  <a:pt x="1152" y="439"/>
                </a:lnTo>
                <a:lnTo>
                  <a:pt x="1152" y="436"/>
                </a:lnTo>
                <a:lnTo>
                  <a:pt x="1153" y="436"/>
                </a:lnTo>
                <a:lnTo>
                  <a:pt x="1155" y="436"/>
                </a:lnTo>
                <a:lnTo>
                  <a:pt x="1156" y="436"/>
                </a:lnTo>
                <a:lnTo>
                  <a:pt x="1159" y="437"/>
                </a:lnTo>
                <a:lnTo>
                  <a:pt x="1170" y="443"/>
                </a:lnTo>
                <a:lnTo>
                  <a:pt x="1183" y="448"/>
                </a:lnTo>
                <a:lnTo>
                  <a:pt x="1196" y="454"/>
                </a:lnTo>
                <a:lnTo>
                  <a:pt x="1208" y="462"/>
                </a:lnTo>
                <a:lnTo>
                  <a:pt x="1219" y="474"/>
                </a:lnTo>
                <a:lnTo>
                  <a:pt x="1229" y="487"/>
                </a:lnTo>
                <a:lnTo>
                  <a:pt x="1236" y="496"/>
                </a:lnTo>
                <a:lnTo>
                  <a:pt x="1243" y="507"/>
                </a:lnTo>
                <a:lnTo>
                  <a:pt x="1249" y="517"/>
                </a:lnTo>
                <a:lnTo>
                  <a:pt x="1258" y="527"/>
                </a:lnTo>
                <a:lnTo>
                  <a:pt x="1252" y="527"/>
                </a:lnTo>
                <a:lnTo>
                  <a:pt x="1248" y="524"/>
                </a:lnTo>
                <a:lnTo>
                  <a:pt x="1244" y="522"/>
                </a:lnTo>
                <a:lnTo>
                  <a:pt x="1242" y="520"/>
                </a:lnTo>
                <a:lnTo>
                  <a:pt x="1238" y="517"/>
                </a:lnTo>
                <a:lnTo>
                  <a:pt x="1235" y="517"/>
                </a:lnTo>
                <a:lnTo>
                  <a:pt x="1237" y="521"/>
                </a:lnTo>
                <a:lnTo>
                  <a:pt x="1239" y="523"/>
                </a:lnTo>
                <a:lnTo>
                  <a:pt x="1243" y="525"/>
                </a:lnTo>
                <a:lnTo>
                  <a:pt x="1246" y="528"/>
                </a:lnTo>
                <a:lnTo>
                  <a:pt x="1255" y="536"/>
                </a:lnTo>
                <a:lnTo>
                  <a:pt x="1262" y="544"/>
                </a:lnTo>
                <a:lnTo>
                  <a:pt x="1266" y="555"/>
                </a:lnTo>
                <a:lnTo>
                  <a:pt x="1271" y="565"/>
                </a:lnTo>
                <a:lnTo>
                  <a:pt x="1260" y="557"/>
                </a:lnTo>
                <a:lnTo>
                  <a:pt x="1250" y="549"/>
                </a:lnTo>
                <a:close/>
                <a:moveTo>
                  <a:pt x="1245" y="758"/>
                </a:moveTo>
                <a:lnTo>
                  <a:pt x="1245" y="758"/>
                </a:lnTo>
                <a:lnTo>
                  <a:pt x="1245" y="757"/>
                </a:lnTo>
                <a:lnTo>
                  <a:pt x="1245" y="758"/>
                </a:lnTo>
                <a:close/>
                <a:moveTo>
                  <a:pt x="1225" y="857"/>
                </a:moveTo>
                <a:lnTo>
                  <a:pt x="1219" y="856"/>
                </a:lnTo>
                <a:lnTo>
                  <a:pt x="1214" y="853"/>
                </a:lnTo>
                <a:lnTo>
                  <a:pt x="1219" y="856"/>
                </a:lnTo>
                <a:lnTo>
                  <a:pt x="1225" y="857"/>
                </a:lnTo>
                <a:close/>
                <a:moveTo>
                  <a:pt x="1222" y="815"/>
                </a:moveTo>
                <a:lnTo>
                  <a:pt x="1223" y="813"/>
                </a:lnTo>
                <a:lnTo>
                  <a:pt x="1223" y="809"/>
                </a:lnTo>
                <a:lnTo>
                  <a:pt x="1223" y="809"/>
                </a:lnTo>
                <a:lnTo>
                  <a:pt x="1223" y="813"/>
                </a:lnTo>
                <a:lnTo>
                  <a:pt x="1222" y="815"/>
                </a:lnTo>
                <a:close/>
                <a:moveTo>
                  <a:pt x="1225" y="793"/>
                </a:moveTo>
                <a:lnTo>
                  <a:pt x="1225" y="795"/>
                </a:lnTo>
                <a:lnTo>
                  <a:pt x="1226" y="797"/>
                </a:lnTo>
                <a:lnTo>
                  <a:pt x="1225" y="795"/>
                </a:lnTo>
                <a:lnTo>
                  <a:pt x="1225" y="793"/>
                </a:lnTo>
                <a:close/>
                <a:moveTo>
                  <a:pt x="1225" y="857"/>
                </a:moveTo>
                <a:lnTo>
                  <a:pt x="1225" y="853"/>
                </a:lnTo>
                <a:lnTo>
                  <a:pt x="1225" y="850"/>
                </a:lnTo>
                <a:lnTo>
                  <a:pt x="1223" y="848"/>
                </a:lnTo>
                <a:lnTo>
                  <a:pt x="1222" y="844"/>
                </a:lnTo>
                <a:lnTo>
                  <a:pt x="1223" y="848"/>
                </a:lnTo>
                <a:lnTo>
                  <a:pt x="1225" y="850"/>
                </a:lnTo>
                <a:lnTo>
                  <a:pt x="1225" y="853"/>
                </a:lnTo>
                <a:lnTo>
                  <a:pt x="1225" y="857"/>
                </a:lnTo>
                <a:close/>
                <a:moveTo>
                  <a:pt x="1210" y="887"/>
                </a:moveTo>
                <a:lnTo>
                  <a:pt x="1210" y="887"/>
                </a:lnTo>
                <a:lnTo>
                  <a:pt x="1219" y="893"/>
                </a:lnTo>
                <a:lnTo>
                  <a:pt x="1228" y="900"/>
                </a:lnTo>
                <a:lnTo>
                  <a:pt x="1219" y="893"/>
                </a:lnTo>
                <a:lnTo>
                  <a:pt x="1210" y="887"/>
                </a:lnTo>
                <a:close/>
                <a:moveTo>
                  <a:pt x="1207" y="884"/>
                </a:moveTo>
                <a:lnTo>
                  <a:pt x="1208" y="884"/>
                </a:lnTo>
                <a:lnTo>
                  <a:pt x="1208" y="884"/>
                </a:lnTo>
                <a:lnTo>
                  <a:pt x="1208" y="884"/>
                </a:lnTo>
                <a:lnTo>
                  <a:pt x="1207" y="884"/>
                </a:lnTo>
                <a:close/>
                <a:moveTo>
                  <a:pt x="1152" y="876"/>
                </a:moveTo>
                <a:lnTo>
                  <a:pt x="1152" y="874"/>
                </a:lnTo>
                <a:lnTo>
                  <a:pt x="1152" y="874"/>
                </a:lnTo>
                <a:lnTo>
                  <a:pt x="1152" y="874"/>
                </a:lnTo>
                <a:lnTo>
                  <a:pt x="1152" y="876"/>
                </a:lnTo>
                <a:close/>
                <a:moveTo>
                  <a:pt x="1148" y="894"/>
                </a:moveTo>
                <a:lnTo>
                  <a:pt x="1148" y="894"/>
                </a:lnTo>
                <a:lnTo>
                  <a:pt x="1148" y="894"/>
                </a:lnTo>
                <a:lnTo>
                  <a:pt x="1148" y="894"/>
                </a:lnTo>
                <a:close/>
                <a:moveTo>
                  <a:pt x="1099" y="387"/>
                </a:moveTo>
                <a:lnTo>
                  <a:pt x="1094" y="387"/>
                </a:lnTo>
                <a:lnTo>
                  <a:pt x="1090" y="384"/>
                </a:lnTo>
                <a:lnTo>
                  <a:pt x="1083" y="382"/>
                </a:lnTo>
                <a:lnTo>
                  <a:pt x="1079" y="378"/>
                </a:lnTo>
                <a:lnTo>
                  <a:pt x="1077" y="376"/>
                </a:lnTo>
                <a:lnTo>
                  <a:pt x="1074" y="374"/>
                </a:lnTo>
                <a:lnTo>
                  <a:pt x="1072" y="373"/>
                </a:lnTo>
                <a:lnTo>
                  <a:pt x="1070" y="371"/>
                </a:lnTo>
                <a:lnTo>
                  <a:pt x="1065" y="371"/>
                </a:lnTo>
                <a:lnTo>
                  <a:pt x="1059" y="374"/>
                </a:lnTo>
                <a:lnTo>
                  <a:pt x="1056" y="373"/>
                </a:lnTo>
                <a:lnTo>
                  <a:pt x="1050" y="368"/>
                </a:lnTo>
                <a:lnTo>
                  <a:pt x="1053" y="366"/>
                </a:lnTo>
                <a:lnTo>
                  <a:pt x="1057" y="363"/>
                </a:lnTo>
                <a:lnTo>
                  <a:pt x="1059" y="361"/>
                </a:lnTo>
                <a:lnTo>
                  <a:pt x="1062" y="357"/>
                </a:lnTo>
                <a:lnTo>
                  <a:pt x="1063" y="356"/>
                </a:lnTo>
                <a:lnTo>
                  <a:pt x="1065" y="354"/>
                </a:lnTo>
                <a:lnTo>
                  <a:pt x="1067" y="354"/>
                </a:lnTo>
                <a:lnTo>
                  <a:pt x="1070" y="353"/>
                </a:lnTo>
                <a:lnTo>
                  <a:pt x="1077" y="354"/>
                </a:lnTo>
                <a:lnTo>
                  <a:pt x="1081" y="356"/>
                </a:lnTo>
                <a:lnTo>
                  <a:pt x="1083" y="359"/>
                </a:lnTo>
                <a:lnTo>
                  <a:pt x="1085" y="360"/>
                </a:lnTo>
                <a:lnTo>
                  <a:pt x="1095" y="360"/>
                </a:lnTo>
                <a:lnTo>
                  <a:pt x="1106" y="361"/>
                </a:lnTo>
                <a:lnTo>
                  <a:pt x="1117" y="364"/>
                </a:lnTo>
                <a:lnTo>
                  <a:pt x="1126" y="368"/>
                </a:lnTo>
                <a:lnTo>
                  <a:pt x="1132" y="370"/>
                </a:lnTo>
                <a:lnTo>
                  <a:pt x="1138" y="373"/>
                </a:lnTo>
                <a:lnTo>
                  <a:pt x="1145" y="374"/>
                </a:lnTo>
                <a:lnTo>
                  <a:pt x="1150" y="375"/>
                </a:lnTo>
                <a:lnTo>
                  <a:pt x="1156" y="375"/>
                </a:lnTo>
                <a:lnTo>
                  <a:pt x="1160" y="377"/>
                </a:lnTo>
                <a:lnTo>
                  <a:pt x="1163" y="381"/>
                </a:lnTo>
                <a:lnTo>
                  <a:pt x="1166" y="384"/>
                </a:lnTo>
                <a:lnTo>
                  <a:pt x="1171" y="392"/>
                </a:lnTo>
                <a:lnTo>
                  <a:pt x="1177" y="399"/>
                </a:lnTo>
                <a:lnTo>
                  <a:pt x="1184" y="405"/>
                </a:lnTo>
                <a:lnTo>
                  <a:pt x="1193" y="411"/>
                </a:lnTo>
                <a:lnTo>
                  <a:pt x="1202" y="422"/>
                </a:lnTo>
                <a:lnTo>
                  <a:pt x="1210" y="433"/>
                </a:lnTo>
                <a:lnTo>
                  <a:pt x="1221" y="447"/>
                </a:lnTo>
                <a:lnTo>
                  <a:pt x="1230" y="461"/>
                </a:lnTo>
                <a:lnTo>
                  <a:pt x="1230" y="462"/>
                </a:lnTo>
                <a:lnTo>
                  <a:pt x="1231" y="464"/>
                </a:lnTo>
                <a:lnTo>
                  <a:pt x="1231" y="466"/>
                </a:lnTo>
                <a:lnTo>
                  <a:pt x="1232" y="467"/>
                </a:lnTo>
                <a:lnTo>
                  <a:pt x="1232" y="468"/>
                </a:lnTo>
                <a:lnTo>
                  <a:pt x="1231" y="471"/>
                </a:lnTo>
                <a:lnTo>
                  <a:pt x="1228" y="471"/>
                </a:lnTo>
                <a:lnTo>
                  <a:pt x="1225" y="468"/>
                </a:lnTo>
                <a:lnTo>
                  <a:pt x="1209" y="457"/>
                </a:lnTo>
                <a:lnTo>
                  <a:pt x="1195" y="443"/>
                </a:lnTo>
                <a:lnTo>
                  <a:pt x="1183" y="432"/>
                </a:lnTo>
                <a:lnTo>
                  <a:pt x="1169" y="423"/>
                </a:lnTo>
                <a:lnTo>
                  <a:pt x="1157" y="415"/>
                </a:lnTo>
                <a:lnTo>
                  <a:pt x="1146" y="408"/>
                </a:lnTo>
                <a:lnTo>
                  <a:pt x="1134" y="401"/>
                </a:lnTo>
                <a:lnTo>
                  <a:pt x="1122" y="392"/>
                </a:lnTo>
                <a:lnTo>
                  <a:pt x="1118" y="388"/>
                </a:lnTo>
                <a:lnTo>
                  <a:pt x="1112" y="385"/>
                </a:lnTo>
                <a:lnTo>
                  <a:pt x="1110" y="384"/>
                </a:lnTo>
                <a:lnTo>
                  <a:pt x="1106" y="384"/>
                </a:lnTo>
                <a:lnTo>
                  <a:pt x="1103" y="385"/>
                </a:lnTo>
                <a:lnTo>
                  <a:pt x="1099" y="387"/>
                </a:lnTo>
                <a:close/>
                <a:moveTo>
                  <a:pt x="1097" y="817"/>
                </a:moveTo>
                <a:lnTo>
                  <a:pt x="1098" y="817"/>
                </a:lnTo>
                <a:lnTo>
                  <a:pt x="1098" y="816"/>
                </a:lnTo>
                <a:lnTo>
                  <a:pt x="1098" y="817"/>
                </a:lnTo>
                <a:lnTo>
                  <a:pt x="1097" y="817"/>
                </a:lnTo>
                <a:close/>
                <a:moveTo>
                  <a:pt x="1076" y="856"/>
                </a:moveTo>
                <a:lnTo>
                  <a:pt x="1077" y="857"/>
                </a:lnTo>
                <a:lnTo>
                  <a:pt x="1078" y="859"/>
                </a:lnTo>
                <a:lnTo>
                  <a:pt x="1077" y="857"/>
                </a:lnTo>
                <a:lnTo>
                  <a:pt x="1076" y="856"/>
                </a:lnTo>
                <a:close/>
                <a:moveTo>
                  <a:pt x="1070" y="850"/>
                </a:moveTo>
                <a:lnTo>
                  <a:pt x="1072" y="852"/>
                </a:lnTo>
                <a:lnTo>
                  <a:pt x="1074" y="853"/>
                </a:lnTo>
                <a:lnTo>
                  <a:pt x="1072" y="852"/>
                </a:lnTo>
                <a:lnTo>
                  <a:pt x="1070" y="850"/>
                </a:lnTo>
                <a:close/>
                <a:moveTo>
                  <a:pt x="1080" y="865"/>
                </a:moveTo>
                <a:lnTo>
                  <a:pt x="1078" y="865"/>
                </a:lnTo>
                <a:lnTo>
                  <a:pt x="1076" y="866"/>
                </a:lnTo>
                <a:lnTo>
                  <a:pt x="1074" y="869"/>
                </a:lnTo>
                <a:lnTo>
                  <a:pt x="1072" y="871"/>
                </a:lnTo>
                <a:lnTo>
                  <a:pt x="1070" y="871"/>
                </a:lnTo>
                <a:lnTo>
                  <a:pt x="1067" y="872"/>
                </a:lnTo>
                <a:lnTo>
                  <a:pt x="1070" y="871"/>
                </a:lnTo>
                <a:lnTo>
                  <a:pt x="1072" y="871"/>
                </a:lnTo>
                <a:lnTo>
                  <a:pt x="1074" y="869"/>
                </a:lnTo>
                <a:lnTo>
                  <a:pt x="1076" y="866"/>
                </a:lnTo>
                <a:lnTo>
                  <a:pt x="1078" y="865"/>
                </a:lnTo>
                <a:lnTo>
                  <a:pt x="1080" y="865"/>
                </a:lnTo>
                <a:lnTo>
                  <a:pt x="1083" y="864"/>
                </a:lnTo>
                <a:lnTo>
                  <a:pt x="1084" y="863"/>
                </a:lnTo>
                <a:lnTo>
                  <a:pt x="1083" y="864"/>
                </a:lnTo>
                <a:lnTo>
                  <a:pt x="1080" y="865"/>
                </a:lnTo>
                <a:close/>
                <a:moveTo>
                  <a:pt x="1064" y="872"/>
                </a:moveTo>
                <a:lnTo>
                  <a:pt x="1064" y="871"/>
                </a:lnTo>
                <a:lnTo>
                  <a:pt x="1063" y="871"/>
                </a:lnTo>
                <a:lnTo>
                  <a:pt x="1064" y="871"/>
                </a:lnTo>
                <a:lnTo>
                  <a:pt x="1064" y="872"/>
                </a:lnTo>
                <a:lnTo>
                  <a:pt x="1064" y="873"/>
                </a:lnTo>
                <a:lnTo>
                  <a:pt x="1065" y="873"/>
                </a:lnTo>
                <a:lnTo>
                  <a:pt x="1064" y="873"/>
                </a:lnTo>
                <a:lnTo>
                  <a:pt x="1064" y="872"/>
                </a:lnTo>
                <a:close/>
                <a:moveTo>
                  <a:pt x="1060" y="864"/>
                </a:moveTo>
                <a:lnTo>
                  <a:pt x="1062" y="863"/>
                </a:lnTo>
                <a:lnTo>
                  <a:pt x="1063" y="862"/>
                </a:lnTo>
                <a:lnTo>
                  <a:pt x="1062" y="863"/>
                </a:lnTo>
                <a:lnTo>
                  <a:pt x="1060" y="864"/>
                </a:lnTo>
                <a:close/>
                <a:moveTo>
                  <a:pt x="1057" y="844"/>
                </a:moveTo>
                <a:lnTo>
                  <a:pt x="1059" y="845"/>
                </a:lnTo>
                <a:lnTo>
                  <a:pt x="1062" y="848"/>
                </a:lnTo>
                <a:lnTo>
                  <a:pt x="1062" y="848"/>
                </a:lnTo>
                <a:lnTo>
                  <a:pt x="1059" y="845"/>
                </a:lnTo>
                <a:lnTo>
                  <a:pt x="1057" y="844"/>
                </a:lnTo>
                <a:close/>
                <a:moveTo>
                  <a:pt x="1038" y="856"/>
                </a:moveTo>
                <a:lnTo>
                  <a:pt x="1041" y="855"/>
                </a:lnTo>
                <a:lnTo>
                  <a:pt x="1043" y="855"/>
                </a:lnTo>
                <a:lnTo>
                  <a:pt x="1045" y="856"/>
                </a:lnTo>
                <a:lnTo>
                  <a:pt x="1048" y="857"/>
                </a:lnTo>
                <a:lnTo>
                  <a:pt x="1045" y="856"/>
                </a:lnTo>
                <a:lnTo>
                  <a:pt x="1043" y="855"/>
                </a:lnTo>
                <a:lnTo>
                  <a:pt x="1041" y="855"/>
                </a:lnTo>
                <a:lnTo>
                  <a:pt x="1038" y="856"/>
                </a:lnTo>
                <a:close/>
                <a:moveTo>
                  <a:pt x="1003" y="683"/>
                </a:moveTo>
                <a:lnTo>
                  <a:pt x="1003" y="685"/>
                </a:lnTo>
                <a:lnTo>
                  <a:pt x="1002" y="685"/>
                </a:lnTo>
                <a:lnTo>
                  <a:pt x="1001" y="685"/>
                </a:lnTo>
                <a:lnTo>
                  <a:pt x="998" y="685"/>
                </a:lnTo>
                <a:lnTo>
                  <a:pt x="987" y="680"/>
                </a:lnTo>
                <a:lnTo>
                  <a:pt x="975" y="671"/>
                </a:lnTo>
                <a:lnTo>
                  <a:pt x="974" y="670"/>
                </a:lnTo>
                <a:lnTo>
                  <a:pt x="973" y="669"/>
                </a:lnTo>
                <a:lnTo>
                  <a:pt x="968" y="669"/>
                </a:lnTo>
                <a:lnTo>
                  <a:pt x="965" y="668"/>
                </a:lnTo>
                <a:lnTo>
                  <a:pt x="962" y="666"/>
                </a:lnTo>
                <a:lnTo>
                  <a:pt x="961" y="663"/>
                </a:lnTo>
                <a:lnTo>
                  <a:pt x="957" y="657"/>
                </a:lnTo>
                <a:lnTo>
                  <a:pt x="954" y="653"/>
                </a:lnTo>
                <a:lnTo>
                  <a:pt x="947" y="643"/>
                </a:lnTo>
                <a:lnTo>
                  <a:pt x="940" y="634"/>
                </a:lnTo>
                <a:lnTo>
                  <a:pt x="935" y="629"/>
                </a:lnTo>
                <a:lnTo>
                  <a:pt x="932" y="626"/>
                </a:lnTo>
                <a:lnTo>
                  <a:pt x="927" y="622"/>
                </a:lnTo>
                <a:lnTo>
                  <a:pt x="921" y="620"/>
                </a:lnTo>
                <a:lnTo>
                  <a:pt x="919" y="619"/>
                </a:lnTo>
                <a:lnTo>
                  <a:pt x="919" y="616"/>
                </a:lnTo>
                <a:lnTo>
                  <a:pt x="919" y="615"/>
                </a:lnTo>
                <a:lnTo>
                  <a:pt x="920" y="614"/>
                </a:lnTo>
                <a:lnTo>
                  <a:pt x="921" y="613"/>
                </a:lnTo>
                <a:lnTo>
                  <a:pt x="924" y="613"/>
                </a:lnTo>
                <a:lnTo>
                  <a:pt x="929" y="614"/>
                </a:lnTo>
                <a:lnTo>
                  <a:pt x="936" y="614"/>
                </a:lnTo>
                <a:lnTo>
                  <a:pt x="936" y="613"/>
                </a:lnTo>
                <a:lnTo>
                  <a:pt x="935" y="612"/>
                </a:lnTo>
                <a:lnTo>
                  <a:pt x="934" y="609"/>
                </a:lnTo>
                <a:lnTo>
                  <a:pt x="932" y="607"/>
                </a:lnTo>
                <a:lnTo>
                  <a:pt x="932" y="606"/>
                </a:lnTo>
                <a:lnTo>
                  <a:pt x="932" y="605"/>
                </a:lnTo>
                <a:lnTo>
                  <a:pt x="932" y="604"/>
                </a:lnTo>
                <a:lnTo>
                  <a:pt x="933" y="602"/>
                </a:lnTo>
                <a:lnTo>
                  <a:pt x="936" y="600"/>
                </a:lnTo>
                <a:lnTo>
                  <a:pt x="940" y="599"/>
                </a:lnTo>
                <a:lnTo>
                  <a:pt x="943" y="600"/>
                </a:lnTo>
                <a:lnTo>
                  <a:pt x="947" y="601"/>
                </a:lnTo>
                <a:lnTo>
                  <a:pt x="952" y="607"/>
                </a:lnTo>
                <a:lnTo>
                  <a:pt x="955" y="613"/>
                </a:lnTo>
                <a:lnTo>
                  <a:pt x="957" y="619"/>
                </a:lnTo>
                <a:lnTo>
                  <a:pt x="960" y="625"/>
                </a:lnTo>
                <a:lnTo>
                  <a:pt x="963" y="629"/>
                </a:lnTo>
                <a:lnTo>
                  <a:pt x="967" y="633"/>
                </a:lnTo>
                <a:lnTo>
                  <a:pt x="969" y="634"/>
                </a:lnTo>
                <a:lnTo>
                  <a:pt x="970" y="638"/>
                </a:lnTo>
                <a:lnTo>
                  <a:pt x="970" y="640"/>
                </a:lnTo>
                <a:lnTo>
                  <a:pt x="970" y="643"/>
                </a:lnTo>
                <a:lnTo>
                  <a:pt x="970" y="645"/>
                </a:lnTo>
                <a:lnTo>
                  <a:pt x="972" y="645"/>
                </a:lnTo>
                <a:lnTo>
                  <a:pt x="974" y="645"/>
                </a:lnTo>
                <a:lnTo>
                  <a:pt x="976" y="642"/>
                </a:lnTo>
                <a:lnTo>
                  <a:pt x="980" y="649"/>
                </a:lnTo>
                <a:lnTo>
                  <a:pt x="984" y="655"/>
                </a:lnTo>
                <a:lnTo>
                  <a:pt x="987" y="659"/>
                </a:lnTo>
                <a:lnTo>
                  <a:pt x="988" y="661"/>
                </a:lnTo>
                <a:lnTo>
                  <a:pt x="990" y="663"/>
                </a:lnTo>
                <a:lnTo>
                  <a:pt x="994" y="664"/>
                </a:lnTo>
                <a:lnTo>
                  <a:pt x="997" y="668"/>
                </a:lnTo>
                <a:lnTo>
                  <a:pt x="1001" y="673"/>
                </a:lnTo>
                <a:lnTo>
                  <a:pt x="1003" y="678"/>
                </a:lnTo>
                <a:lnTo>
                  <a:pt x="1003" y="683"/>
                </a:lnTo>
                <a:close/>
                <a:moveTo>
                  <a:pt x="970" y="894"/>
                </a:moveTo>
                <a:lnTo>
                  <a:pt x="970" y="897"/>
                </a:lnTo>
                <a:lnTo>
                  <a:pt x="970" y="899"/>
                </a:lnTo>
                <a:lnTo>
                  <a:pt x="970" y="897"/>
                </a:lnTo>
                <a:lnTo>
                  <a:pt x="970" y="894"/>
                </a:lnTo>
                <a:lnTo>
                  <a:pt x="973" y="894"/>
                </a:lnTo>
                <a:lnTo>
                  <a:pt x="974" y="894"/>
                </a:lnTo>
                <a:lnTo>
                  <a:pt x="973" y="894"/>
                </a:lnTo>
                <a:lnTo>
                  <a:pt x="970" y="894"/>
                </a:lnTo>
                <a:close/>
                <a:moveTo>
                  <a:pt x="966" y="894"/>
                </a:moveTo>
                <a:lnTo>
                  <a:pt x="966" y="894"/>
                </a:lnTo>
                <a:lnTo>
                  <a:pt x="966" y="894"/>
                </a:lnTo>
                <a:lnTo>
                  <a:pt x="966" y="894"/>
                </a:lnTo>
                <a:lnTo>
                  <a:pt x="966" y="894"/>
                </a:lnTo>
                <a:close/>
                <a:moveTo>
                  <a:pt x="961" y="929"/>
                </a:moveTo>
                <a:lnTo>
                  <a:pt x="961" y="929"/>
                </a:lnTo>
                <a:lnTo>
                  <a:pt x="961" y="928"/>
                </a:lnTo>
                <a:lnTo>
                  <a:pt x="961" y="929"/>
                </a:lnTo>
                <a:lnTo>
                  <a:pt x="961" y="929"/>
                </a:lnTo>
                <a:lnTo>
                  <a:pt x="961" y="932"/>
                </a:lnTo>
                <a:lnTo>
                  <a:pt x="962" y="932"/>
                </a:lnTo>
                <a:lnTo>
                  <a:pt x="961" y="932"/>
                </a:lnTo>
                <a:lnTo>
                  <a:pt x="961" y="929"/>
                </a:lnTo>
                <a:close/>
                <a:moveTo>
                  <a:pt x="941" y="957"/>
                </a:moveTo>
                <a:lnTo>
                  <a:pt x="942" y="956"/>
                </a:lnTo>
                <a:lnTo>
                  <a:pt x="942" y="956"/>
                </a:lnTo>
                <a:lnTo>
                  <a:pt x="942" y="956"/>
                </a:lnTo>
                <a:lnTo>
                  <a:pt x="941" y="957"/>
                </a:lnTo>
                <a:close/>
                <a:moveTo>
                  <a:pt x="941" y="956"/>
                </a:moveTo>
                <a:lnTo>
                  <a:pt x="941" y="956"/>
                </a:lnTo>
                <a:lnTo>
                  <a:pt x="940" y="956"/>
                </a:lnTo>
                <a:lnTo>
                  <a:pt x="941" y="956"/>
                </a:lnTo>
                <a:lnTo>
                  <a:pt x="941" y="956"/>
                </a:lnTo>
                <a:close/>
                <a:moveTo>
                  <a:pt x="940" y="967"/>
                </a:moveTo>
                <a:lnTo>
                  <a:pt x="940" y="967"/>
                </a:lnTo>
                <a:lnTo>
                  <a:pt x="940" y="968"/>
                </a:lnTo>
                <a:lnTo>
                  <a:pt x="940" y="969"/>
                </a:lnTo>
                <a:lnTo>
                  <a:pt x="940" y="968"/>
                </a:lnTo>
                <a:lnTo>
                  <a:pt x="940" y="967"/>
                </a:lnTo>
                <a:close/>
                <a:moveTo>
                  <a:pt x="915" y="1007"/>
                </a:moveTo>
                <a:lnTo>
                  <a:pt x="915" y="1007"/>
                </a:lnTo>
                <a:lnTo>
                  <a:pt x="917" y="1013"/>
                </a:lnTo>
                <a:lnTo>
                  <a:pt x="918" y="1019"/>
                </a:lnTo>
                <a:lnTo>
                  <a:pt x="921" y="1025"/>
                </a:lnTo>
                <a:lnTo>
                  <a:pt x="925" y="1028"/>
                </a:lnTo>
                <a:lnTo>
                  <a:pt x="921" y="1025"/>
                </a:lnTo>
                <a:lnTo>
                  <a:pt x="918" y="1019"/>
                </a:lnTo>
                <a:lnTo>
                  <a:pt x="917" y="1013"/>
                </a:lnTo>
                <a:lnTo>
                  <a:pt x="915" y="1007"/>
                </a:lnTo>
                <a:close/>
                <a:moveTo>
                  <a:pt x="913" y="694"/>
                </a:moveTo>
                <a:lnTo>
                  <a:pt x="914" y="694"/>
                </a:lnTo>
                <a:lnTo>
                  <a:pt x="915" y="692"/>
                </a:lnTo>
                <a:lnTo>
                  <a:pt x="914" y="694"/>
                </a:lnTo>
                <a:lnTo>
                  <a:pt x="913" y="694"/>
                </a:lnTo>
                <a:close/>
                <a:moveTo>
                  <a:pt x="911" y="689"/>
                </a:moveTo>
                <a:lnTo>
                  <a:pt x="905" y="687"/>
                </a:lnTo>
                <a:lnTo>
                  <a:pt x="900" y="683"/>
                </a:lnTo>
                <a:lnTo>
                  <a:pt x="905" y="687"/>
                </a:lnTo>
                <a:lnTo>
                  <a:pt x="911" y="689"/>
                </a:lnTo>
                <a:lnTo>
                  <a:pt x="911" y="690"/>
                </a:lnTo>
                <a:lnTo>
                  <a:pt x="912" y="692"/>
                </a:lnTo>
                <a:lnTo>
                  <a:pt x="911" y="690"/>
                </a:lnTo>
                <a:lnTo>
                  <a:pt x="911" y="689"/>
                </a:lnTo>
                <a:close/>
                <a:moveTo>
                  <a:pt x="867" y="558"/>
                </a:moveTo>
                <a:lnTo>
                  <a:pt x="864" y="557"/>
                </a:lnTo>
                <a:lnTo>
                  <a:pt x="862" y="558"/>
                </a:lnTo>
                <a:lnTo>
                  <a:pt x="858" y="559"/>
                </a:lnTo>
                <a:lnTo>
                  <a:pt x="857" y="563"/>
                </a:lnTo>
                <a:lnTo>
                  <a:pt x="857" y="564"/>
                </a:lnTo>
                <a:lnTo>
                  <a:pt x="857" y="565"/>
                </a:lnTo>
                <a:lnTo>
                  <a:pt x="858" y="565"/>
                </a:lnTo>
                <a:lnTo>
                  <a:pt x="860" y="565"/>
                </a:lnTo>
                <a:lnTo>
                  <a:pt x="865" y="564"/>
                </a:lnTo>
                <a:lnTo>
                  <a:pt x="870" y="565"/>
                </a:lnTo>
                <a:lnTo>
                  <a:pt x="873" y="566"/>
                </a:lnTo>
                <a:lnTo>
                  <a:pt x="878" y="569"/>
                </a:lnTo>
                <a:lnTo>
                  <a:pt x="880" y="571"/>
                </a:lnTo>
                <a:lnTo>
                  <a:pt x="881" y="573"/>
                </a:lnTo>
                <a:lnTo>
                  <a:pt x="881" y="576"/>
                </a:lnTo>
                <a:lnTo>
                  <a:pt x="880" y="578"/>
                </a:lnTo>
                <a:lnTo>
                  <a:pt x="878" y="580"/>
                </a:lnTo>
                <a:lnTo>
                  <a:pt x="877" y="579"/>
                </a:lnTo>
                <a:lnTo>
                  <a:pt x="874" y="579"/>
                </a:lnTo>
                <a:lnTo>
                  <a:pt x="873" y="578"/>
                </a:lnTo>
                <a:lnTo>
                  <a:pt x="871" y="578"/>
                </a:lnTo>
                <a:lnTo>
                  <a:pt x="869" y="577"/>
                </a:lnTo>
                <a:lnTo>
                  <a:pt x="869" y="578"/>
                </a:lnTo>
                <a:lnTo>
                  <a:pt x="869" y="581"/>
                </a:lnTo>
                <a:lnTo>
                  <a:pt x="870" y="585"/>
                </a:lnTo>
                <a:lnTo>
                  <a:pt x="867" y="585"/>
                </a:lnTo>
                <a:lnTo>
                  <a:pt x="866" y="585"/>
                </a:lnTo>
                <a:lnTo>
                  <a:pt x="864" y="585"/>
                </a:lnTo>
                <a:lnTo>
                  <a:pt x="849" y="578"/>
                </a:lnTo>
                <a:lnTo>
                  <a:pt x="834" y="569"/>
                </a:lnTo>
                <a:lnTo>
                  <a:pt x="831" y="567"/>
                </a:lnTo>
                <a:lnTo>
                  <a:pt x="830" y="566"/>
                </a:lnTo>
                <a:lnTo>
                  <a:pt x="824" y="566"/>
                </a:lnTo>
                <a:lnTo>
                  <a:pt x="820" y="565"/>
                </a:lnTo>
                <a:lnTo>
                  <a:pt x="816" y="563"/>
                </a:lnTo>
                <a:lnTo>
                  <a:pt x="812" y="559"/>
                </a:lnTo>
                <a:lnTo>
                  <a:pt x="801" y="552"/>
                </a:lnTo>
                <a:lnTo>
                  <a:pt x="789" y="545"/>
                </a:lnTo>
                <a:lnTo>
                  <a:pt x="787" y="545"/>
                </a:lnTo>
                <a:lnTo>
                  <a:pt x="784" y="546"/>
                </a:lnTo>
                <a:lnTo>
                  <a:pt x="781" y="548"/>
                </a:lnTo>
                <a:lnTo>
                  <a:pt x="777" y="548"/>
                </a:lnTo>
                <a:lnTo>
                  <a:pt x="774" y="545"/>
                </a:lnTo>
                <a:lnTo>
                  <a:pt x="773" y="542"/>
                </a:lnTo>
                <a:lnTo>
                  <a:pt x="772" y="539"/>
                </a:lnTo>
                <a:lnTo>
                  <a:pt x="770" y="537"/>
                </a:lnTo>
                <a:lnTo>
                  <a:pt x="768" y="536"/>
                </a:lnTo>
                <a:lnTo>
                  <a:pt x="766" y="535"/>
                </a:lnTo>
                <a:lnTo>
                  <a:pt x="763" y="534"/>
                </a:lnTo>
                <a:lnTo>
                  <a:pt x="763" y="531"/>
                </a:lnTo>
                <a:lnTo>
                  <a:pt x="765" y="530"/>
                </a:lnTo>
                <a:lnTo>
                  <a:pt x="767" y="530"/>
                </a:lnTo>
                <a:lnTo>
                  <a:pt x="772" y="531"/>
                </a:lnTo>
                <a:lnTo>
                  <a:pt x="775" y="534"/>
                </a:lnTo>
                <a:lnTo>
                  <a:pt x="779" y="535"/>
                </a:lnTo>
                <a:lnTo>
                  <a:pt x="782" y="534"/>
                </a:lnTo>
                <a:lnTo>
                  <a:pt x="784" y="532"/>
                </a:lnTo>
                <a:lnTo>
                  <a:pt x="787" y="530"/>
                </a:lnTo>
                <a:lnTo>
                  <a:pt x="788" y="528"/>
                </a:lnTo>
                <a:lnTo>
                  <a:pt x="787" y="527"/>
                </a:lnTo>
                <a:lnTo>
                  <a:pt x="786" y="524"/>
                </a:lnTo>
                <a:lnTo>
                  <a:pt x="784" y="523"/>
                </a:lnTo>
                <a:lnTo>
                  <a:pt x="786" y="522"/>
                </a:lnTo>
                <a:lnTo>
                  <a:pt x="788" y="522"/>
                </a:lnTo>
                <a:lnTo>
                  <a:pt x="789" y="523"/>
                </a:lnTo>
                <a:lnTo>
                  <a:pt x="790" y="524"/>
                </a:lnTo>
                <a:lnTo>
                  <a:pt x="795" y="529"/>
                </a:lnTo>
                <a:lnTo>
                  <a:pt x="801" y="531"/>
                </a:lnTo>
                <a:lnTo>
                  <a:pt x="807" y="531"/>
                </a:lnTo>
                <a:lnTo>
                  <a:pt x="814" y="529"/>
                </a:lnTo>
                <a:lnTo>
                  <a:pt x="816" y="528"/>
                </a:lnTo>
                <a:lnTo>
                  <a:pt x="820" y="528"/>
                </a:lnTo>
                <a:lnTo>
                  <a:pt x="822" y="529"/>
                </a:lnTo>
                <a:lnTo>
                  <a:pt x="823" y="530"/>
                </a:lnTo>
                <a:lnTo>
                  <a:pt x="831" y="535"/>
                </a:lnTo>
                <a:lnTo>
                  <a:pt x="838" y="539"/>
                </a:lnTo>
                <a:lnTo>
                  <a:pt x="839" y="541"/>
                </a:lnTo>
                <a:lnTo>
                  <a:pt x="841" y="541"/>
                </a:lnTo>
                <a:lnTo>
                  <a:pt x="855" y="541"/>
                </a:lnTo>
                <a:lnTo>
                  <a:pt x="867" y="539"/>
                </a:lnTo>
                <a:lnTo>
                  <a:pt x="869" y="541"/>
                </a:lnTo>
                <a:lnTo>
                  <a:pt x="870" y="542"/>
                </a:lnTo>
                <a:lnTo>
                  <a:pt x="871" y="545"/>
                </a:lnTo>
                <a:lnTo>
                  <a:pt x="872" y="548"/>
                </a:lnTo>
                <a:lnTo>
                  <a:pt x="874" y="549"/>
                </a:lnTo>
                <a:lnTo>
                  <a:pt x="877" y="550"/>
                </a:lnTo>
                <a:lnTo>
                  <a:pt x="883" y="552"/>
                </a:lnTo>
                <a:lnTo>
                  <a:pt x="886" y="556"/>
                </a:lnTo>
                <a:lnTo>
                  <a:pt x="887" y="556"/>
                </a:lnTo>
                <a:lnTo>
                  <a:pt x="889" y="556"/>
                </a:lnTo>
                <a:lnTo>
                  <a:pt x="893" y="555"/>
                </a:lnTo>
                <a:lnTo>
                  <a:pt x="896" y="555"/>
                </a:lnTo>
                <a:lnTo>
                  <a:pt x="899" y="560"/>
                </a:lnTo>
                <a:lnTo>
                  <a:pt x="903" y="567"/>
                </a:lnTo>
                <a:lnTo>
                  <a:pt x="903" y="569"/>
                </a:lnTo>
                <a:lnTo>
                  <a:pt x="903" y="570"/>
                </a:lnTo>
                <a:lnTo>
                  <a:pt x="901" y="571"/>
                </a:lnTo>
                <a:lnTo>
                  <a:pt x="900" y="570"/>
                </a:lnTo>
                <a:lnTo>
                  <a:pt x="884" y="565"/>
                </a:lnTo>
                <a:lnTo>
                  <a:pt x="867" y="558"/>
                </a:lnTo>
                <a:close/>
                <a:moveTo>
                  <a:pt x="897" y="750"/>
                </a:moveTo>
                <a:lnTo>
                  <a:pt x="893" y="743"/>
                </a:lnTo>
                <a:lnTo>
                  <a:pt x="891" y="737"/>
                </a:lnTo>
                <a:lnTo>
                  <a:pt x="893" y="743"/>
                </a:lnTo>
                <a:lnTo>
                  <a:pt x="897" y="750"/>
                </a:lnTo>
                <a:lnTo>
                  <a:pt x="897" y="758"/>
                </a:lnTo>
                <a:lnTo>
                  <a:pt x="898" y="765"/>
                </a:lnTo>
                <a:lnTo>
                  <a:pt x="897" y="758"/>
                </a:lnTo>
                <a:lnTo>
                  <a:pt x="897" y="750"/>
                </a:lnTo>
                <a:close/>
                <a:moveTo>
                  <a:pt x="871" y="880"/>
                </a:moveTo>
                <a:lnTo>
                  <a:pt x="872" y="881"/>
                </a:lnTo>
                <a:lnTo>
                  <a:pt x="872" y="883"/>
                </a:lnTo>
                <a:lnTo>
                  <a:pt x="872" y="881"/>
                </a:lnTo>
                <a:lnTo>
                  <a:pt x="871" y="880"/>
                </a:lnTo>
                <a:close/>
                <a:moveTo>
                  <a:pt x="870" y="878"/>
                </a:moveTo>
                <a:lnTo>
                  <a:pt x="870" y="878"/>
                </a:lnTo>
                <a:lnTo>
                  <a:pt x="870" y="878"/>
                </a:lnTo>
                <a:lnTo>
                  <a:pt x="871" y="879"/>
                </a:lnTo>
                <a:lnTo>
                  <a:pt x="871" y="880"/>
                </a:lnTo>
                <a:lnTo>
                  <a:pt x="871" y="879"/>
                </a:lnTo>
                <a:lnTo>
                  <a:pt x="870" y="878"/>
                </a:lnTo>
                <a:close/>
                <a:moveTo>
                  <a:pt x="863" y="836"/>
                </a:moveTo>
                <a:lnTo>
                  <a:pt x="863" y="836"/>
                </a:lnTo>
                <a:lnTo>
                  <a:pt x="858" y="825"/>
                </a:lnTo>
                <a:lnTo>
                  <a:pt x="853" y="816"/>
                </a:lnTo>
                <a:lnTo>
                  <a:pt x="858" y="825"/>
                </a:lnTo>
                <a:lnTo>
                  <a:pt x="863" y="836"/>
                </a:lnTo>
                <a:lnTo>
                  <a:pt x="863" y="836"/>
                </a:lnTo>
                <a:lnTo>
                  <a:pt x="864" y="836"/>
                </a:lnTo>
                <a:lnTo>
                  <a:pt x="865" y="836"/>
                </a:lnTo>
                <a:lnTo>
                  <a:pt x="864" y="836"/>
                </a:lnTo>
                <a:lnTo>
                  <a:pt x="863" y="836"/>
                </a:lnTo>
                <a:close/>
                <a:moveTo>
                  <a:pt x="851" y="888"/>
                </a:moveTo>
                <a:lnTo>
                  <a:pt x="852" y="887"/>
                </a:lnTo>
                <a:lnTo>
                  <a:pt x="850" y="886"/>
                </a:lnTo>
                <a:lnTo>
                  <a:pt x="850" y="885"/>
                </a:lnTo>
                <a:lnTo>
                  <a:pt x="850" y="884"/>
                </a:lnTo>
                <a:lnTo>
                  <a:pt x="850" y="885"/>
                </a:lnTo>
                <a:lnTo>
                  <a:pt x="850" y="886"/>
                </a:lnTo>
                <a:lnTo>
                  <a:pt x="852" y="887"/>
                </a:lnTo>
                <a:lnTo>
                  <a:pt x="851" y="888"/>
                </a:lnTo>
                <a:close/>
                <a:moveTo>
                  <a:pt x="851" y="900"/>
                </a:moveTo>
                <a:lnTo>
                  <a:pt x="851" y="900"/>
                </a:lnTo>
                <a:lnTo>
                  <a:pt x="852" y="900"/>
                </a:lnTo>
                <a:lnTo>
                  <a:pt x="851" y="900"/>
                </a:lnTo>
                <a:lnTo>
                  <a:pt x="851" y="900"/>
                </a:lnTo>
                <a:close/>
                <a:moveTo>
                  <a:pt x="815" y="727"/>
                </a:moveTo>
                <a:lnTo>
                  <a:pt x="812" y="741"/>
                </a:lnTo>
                <a:lnTo>
                  <a:pt x="812" y="757"/>
                </a:lnTo>
                <a:lnTo>
                  <a:pt x="810" y="755"/>
                </a:lnTo>
                <a:lnTo>
                  <a:pt x="807" y="753"/>
                </a:lnTo>
                <a:lnTo>
                  <a:pt x="807" y="758"/>
                </a:lnTo>
                <a:lnTo>
                  <a:pt x="804" y="761"/>
                </a:lnTo>
                <a:lnTo>
                  <a:pt x="804" y="764"/>
                </a:lnTo>
                <a:lnTo>
                  <a:pt x="804" y="766"/>
                </a:lnTo>
                <a:lnTo>
                  <a:pt x="804" y="768"/>
                </a:lnTo>
                <a:lnTo>
                  <a:pt x="805" y="771"/>
                </a:lnTo>
                <a:lnTo>
                  <a:pt x="805" y="772"/>
                </a:lnTo>
                <a:lnTo>
                  <a:pt x="804" y="773"/>
                </a:lnTo>
                <a:lnTo>
                  <a:pt x="803" y="773"/>
                </a:lnTo>
                <a:lnTo>
                  <a:pt x="802" y="773"/>
                </a:lnTo>
                <a:lnTo>
                  <a:pt x="797" y="767"/>
                </a:lnTo>
                <a:lnTo>
                  <a:pt x="790" y="764"/>
                </a:lnTo>
                <a:lnTo>
                  <a:pt x="788" y="760"/>
                </a:lnTo>
                <a:lnTo>
                  <a:pt x="787" y="755"/>
                </a:lnTo>
                <a:lnTo>
                  <a:pt x="786" y="751"/>
                </a:lnTo>
                <a:lnTo>
                  <a:pt x="786" y="747"/>
                </a:lnTo>
                <a:lnTo>
                  <a:pt x="791" y="750"/>
                </a:lnTo>
                <a:lnTo>
                  <a:pt x="796" y="750"/>
                </a:lnTo>
                <a:lnTo>
                  <a:pt x="794" y="746"/>
                </a:lnTo>
                <a:lnTo>
                  <a:pt x="790" y="743"/>
                </a:lnTo>
                <a:lnTo>
                  <a:pt x="786" y="731"/>
                </a:lnTo>
                <a:lnTo>
                  <a:pt x="779" y="720"/>
                </a:lnTo>
                <a:lnTo>
                  <a:pt x="779" y="718"/>
                </a:lnTo>
                <a:lnTo>
                  <a:pt x="780" y="715"/>
                </a:lnTo>
                <a:lnTo>
                  <a:pt x="781" y="708"/>
                </a:lnTo>
                <a:lnTo>
                  <a:pt x="781" y="701"/>
                </a:lnTo>
                <a:lnTo>
                  <a:pt x="781" y="696"/>
                </a:lnTo>
                <a:lnTo>
                  <a:pt x="783" y="691"/>
                </a:lnTo>
                <a:lnTo>
                  <a:pt x="788" y="692"/>
                </a:lnTo>
                <a:lnTo>
                  <a:pt x="794" y="695"/>
                </a:lnTo>
                <a:lnTo>
                  <a:pt x="803" y="710"/>
                </a:lnTo>
                <a:lnTo>
                  <a:pt x="814" y="724"/>
                </a:lnTo>
                <a:lnTo>
                  <a:pt x="815" y="726"/>
                </a:lnTo>
                <a:lnTo>
                  <a:pt x="815" y="727"/>
                </a:lnTo>
                <a:close/>
                <a:moveTo>
                  <a:pt x="761" y="646"/>
                </a:moveTo>
                <a:lnTo>
                  <a:pt x="761" y="646"/>
                </a:lnTo>
                <a:lnTo>
                  <a:pt x="766" y="649"/>
                </a:lnTo>
                <a:lnTo>
                  <a:pt x="770" y="652"/>
                </a:lnTo>
                <a:lnTo>
                  <a:pt x="766" y="649"/>
                </a:lnTo>
                <a:lnTo>
                  <a:pt x="761" y="646"/>
                </a:lnTo>
                <a:close/>
                <a:moveTo>
                  <a:pt x="759" y="627"/>
                </a:moveTo>
                <a:lnTo>
                  <a:pt x="759" y="625"/>
                </a:lnTo>
                <a:lnTo>
                  <a:pt x="758" y="622"/>
                </a:lnTo>
                <a:lnTo>
                  <a:pt x="759" y="625"/>
                </a:lnTo>
                <a:lnTo>
                  <a:pt x="759" y="627"/>
                </a:lnTo>
                <a:close/>
                <a:moveTo>
                  <a:pt x="755" y="645"/>
                </a:moveTo>
                <a:lnTo>
                  <a:pt x="756" y="646"/>
                </a:lnTo>
                <a:lnTo>
                  <a:pt x="758" y="646"/>
                </a:lnTo>
                <a:lnTo>
                  <a:pt x="756" y="646"/>
                </a:lnTo>
                <a:lnTo>
                  <a:pt x="755" y="645"/>
                </a:lnTo>
                <a:close/>
                <a:moveTo>
                  <a:pt x="751" y="639"/>
                </a:moveTo>
                <a:lnTo>
                  <a:pt x="752" y="640"/>
                </a:lnTo>
                <a:lnTo>
                  <a:pt x="754" y="641"/>
                </a:lnTo>
                <a:lnTo>
                  <a:pt x="754" y="635"/>
                </a:lnTo>
                <a:lnTo>
                  <a:pt x="755" y="631"/>
                </a:lnTo>
                <a:lnTo>
                  <a:pt x="754" y="635"/>
                </a:lnTo>
                <a:lnTo>
                  <a:pt x="754" y="641"/>
                </a:lnTo>
                <a:lnTo>
                  <a:pt x="752" y="640"/>
                </a:lnTo>
                <a:lnTo>
                  <a:pt x="751" y="639"/>
                </a:lnTo>
                <a:close/>
                <a:moveTo>
                  <a:pt x="751" y="615"/>
                </a:moveTo>
                <a:lnTo>
                  <a:pt x="749" y="614"/>
                </a:lnTo>
                <a:lnTo>
                  <a:pt x="747" y="614"/>
                </a:lnTo>
                <a:lnTo>
                  <a:pt x="749" y="614"/>
                </a:lnTo>
                <a:lnTo>
                  <a:pt x="751" y="615"/>
                </a:lnTo>
                <a:close/>
                <a:moveTo>
                  <a:pt x="747" y="807"/>
                </a:moveTo>
                <a:lnTo>
                  <a:pt x="745" y="806"/>
                </a:lnTo>
                <a:lnTo>
                  <a:pt x="745" y="803"/>
                </a:lnTo>
                <a:lnTo>
                  <a:pt x="745" y="806"/>
                </a:lnTo>
                <a:lnTo>
                  <a:pt x="747" y="807"/>
                </a:lnTo>
                <a:lnTo>
                  <a:pt x="747" y="813"/>
                </a:lnTo>
                <a:lnTo>
                  <a:pt x="747" y="817"/>
                </a:lnTo>
                <a:lnTo>
                  <a:pt x="747" y="813"/>
                </a:lnTo>
                <a:lnTo>
                  <a:pt x="747" y="807"/>
                </a:lnTo>
                <a:close/>
                <a:moveTo>
                  <a:pt x="744" y="797"/>
                </a:moveTo>
                <a:lnTo>
                  <a:pt x="745" y="801"/>
                </a:lnTo>
                <a:lnTo>
                  <a:pt x="745" y="803"/>
                </a:lnTo>
                <a:lnTo>
                  <a:pt x="745" y="801"/>
                </a:lnTo>
                <a:lnTo>
                  <a:pt x="744" y="797"/>
                </a:lnTo>
                <a:close/>
                <a:moveTo>
                  <a:pt x="691" y="900"/>
                </a:moveTo>
                <a:lnTo>
                  <a:pt x="690" y="897"/>
                </a:lnTo>
                <a:lnTo>
                  <a:pt x="690" y="893"/>
                </a:lnTo>
                <a:lnTo>
                  <a:pt x="689" y="887"/>
                </a:lnTo>
                <a:lnTo>
                  <a:pt x="687" y="883"/>
                </a:lnTo>
                <a:lnTo>
                  <a:pt x="689" y="887"/>
                </a:lnTo>
                <a:lnTo>
                  <a:pt x="690" y="893"/>
                </a:lnTo>
                <a:lnTo>
                  <a:pt x="690" y="897"/>
                </a:lnTo>
                <a:lnTo>
                  <a:pt x="691" y="900"/>
                </a:lnTo>
                <a:close/>
                <a:moveTo>
                  <a:pt x="673" y="93"/>
                </a:moveTo>
                <a:lnTo>
                  <a:pt x="670" y="91"/>
                </a:lnTo>
                <a:lnTo>
                  <a:pt x="666" y="90"/>
                </a:lnTo>
                <a:lnTo>
                  <a:pt x="663" y="90"/>
                </a:lnTo>
                <a:lnTo>
                  <a:pt x="658" y="93"/>
                </a:lnTo>
                <a:lnTo>
                  <a:pt x="658" y="93"/>
                </a:lnTo>
                <a:lnTo>
                  <a:pt x="652" y="91"/>
                </a:lnTo>
                <a:lnTo>
                  <a:pt x="646" y="90"/>
                </a:lnTo>
                <a:lnTo>
                  <a:pt x="646" y="91"/>
                </a:lnTo>
                <a:lnTo>
                  <a:pt x="645" y="93"/>
                </a:lnTo>
                <a:lnTo>
                  <a:pt x="646" y="91"/>
                </a:lnTo>
                <a:lnTo>
                  <a:pt x="646" y="90"/>
                </a:lnTo>
                <a:lnTo>
                  <a:pt x="644" y="88"/>
                </a:lnTo>
                <a:lnTo>
                  <a:pt x="642" y="87"/>
                </a:lnTo>
                <a:lnTo>
                  <a:pt x="639" y="86"/>
                </a:lnTo>
                <a:lnTo>
                  <a:pt x="636" y="84"/>
                </a:lnTo>
                <a:lnTo>
                  <a:pt x="630" y="83"/>
                </a:lnTo>
                <a:lnTo>
                  <a:pt x="625" y="81"/>
                </a:lnTo>
                <a:lnTo>
                  <a:pt x="620" y="81"/>
                </a:lnTo>
                <a:lnTo>
                  <a:pt x="611" y="81"/>
                </a:lnTo>
                <a:lnTo>
                  <a:pt x="609" y="80"/>
                </a:lnTo>
                <a:lnTo>
                  <a:pt x="607" y="79"/>
                </a:lnTo>
                <a:lnTo>
                  <a:pt x="622" y="77"/>
                </a:lnTo>
                <a:lnTo>
                  <a:pt x="635" y="77"/>
                </a:lnTo>
                <a:lnTo>
                  <a:pt x="646" y="79"/>
                </a:lnTo>
                <a:lnTo>
                  <a:pt x="657" y="81"/>
                </a:lnTo>
                <a:lnTo>
                  <a:pt x="666" y="83"/>
                </a:lnTo>
                <a:lnTo>
                  <a:pt x="673" y="88"/>
                </a:lnTo>
                <a:lnTo>
                  <a:pt x="680" y="91"/>
                </a:lnTo>
                <a:lnTo>
                  <a:pt x="686" y="96"/>
                </a:lnTo>
                <a:lnTo>
                  <a:pt x="680" y="95"/>
                </a:lnTo>
                <a:lnTo>
                  <a:pt x="673" y="93"/>
                </a:lnTo>
                <a:close/>
                <a:moveTo>
                  <a:pt x="672" y="159"/>
                </a:moveTo>
                <a:lnTo>
                  <a:pt x="675" y="159"/>
                </a:lnTo>
                <a:lnTo>
                  <a:pt x="677" y="159"/>
                </a:lnTo>
                <a:lnTo>
                  <a:pt x="675" y="159"/>
                </a:lnTo>
                <a:lnTo>
                  <a:pt x="672" y="159"/>
                </a:lnTo>
                <a:close/>
                <a:moveTo>
                  <a:pt x="667" y="139"/>
                </a:moveTo>
                <a:lnTo>
                  <a:pt x="670" y="142"/>
                </a:lnTo>
                <a:lnTo>
                  <a:pt x="671" y="144"/>
                </a:lnTo>
                <a:lnTo>
                  <a:pt x="671" y="144"/>
                </a:lnTo>
                <a:lnTo>
                  <a:pt x="670" y="142"/>
                </a:lnTo>
                <a:lnTo>
                  <a:pt x="667" y="139"/>
                </a:lnTo>
                <a:close/>
                <a:moveTo>
                  <a:pt x="682" y="185"/>
                </a:moveTo>
                <a:lnTo>
                  <a:pt x="680" y="188"/>
                </a:lnTo>
                <a:lnTo>
                  <a:pt x="677" y="189"/>
                </a:lnTo>
                <a:lnTo>
                  <a:pt x="673" y="195"/>
                </a:lnTo>
                <a:lnTo>
                  <a:pt x="670" y="199"/>
                </a:lnTo>
                <a:lnTo>
                  <a:pt x="673" y="195"/>
                </a:lnTo>
                <a:lnTo>
                  <a:pt x="677" y="189"/>
                </a:lnTo>
                <a:lnTo>
                  <a:pt x="680" y="188"/>
                </a:lnTo>
                <a:lnTo>
                  <a:pt x="682" y="185"/>
                </a:lnTo>
                <a:lnTo>
                  <a:pt x="680" y="184"/>
                </a:lnTo>
                <a:lnTo>
                  <a:pt x="679" y="182"/>
                </a:lnTo>
                <a:lnTo>
                  <a:pt x="680" y="184"/>
                </a:lnTo>
                <a:lnTo>
                  <a:pt x="682" y="185"/>
                </a:lnTo>
                <a:lnTo>
                  <a:pt x="683" y="185"/>
                </a:lnTo>
                <a:lnTo>
                  <a:pt x="684" y="184"/>
                </a:lnTo>
                <a:lnTo>
                  <a:pt x="683" y="185"/>
                </a:lnTo>
                <a:lnTo>
                  <a:pt x="682" y="185"/>
                </a:lnTo>
                <a:close/>
                <a:moveTo>
                  <a:pt x="665" y="201"/>
                </a:moveTo>
                <a:lnTo>
                  <a:pt x="665" y="202"/>
                </a:lnTo>
                <a:lnTo>
                  <a:pt x="665" y="202"/>
                </a:lnTo>
                <a:lnTo>
                  <a:pt x="665" y="202"/>
                </a:lnTo>
                <a:lnTo>
                  <a:pt x="665" y="201"/>
                </a:lnTo>
                <a:close/>
                <a:moveTo>
                  <a:pt x="660" y="109"/>
                </a:moveTo>
                <a:lnTo>
                  <a:pt x="660" y="109"/>
                </a:lnTo>
                <a:lnTo>
                  <a:pt x="660" y="109"/>
                </a:lnTo>
                <a:lnTo>
                  <a:pt x="660" y="109"/>
                </a:lnTo>
                <a:lnTo>
                  <a:pt x="660" y="109"/>
                </a:lnTo>
                <a:lnTo>
                  <a:pt x="663" y="110"/>
                </a:lnTo>
                <a:lnTo>
                  <a:pt x="664" y="111"/>
                </a:lnTo>
                <a:lnTo>
                  <a:pt x="663" y="110"/>
                </a:lnTo>
                <a:lnTo>
                  <a:pt x="660" y="109"/>
                </a:lnTo>
                <a:close/>
                <a:moveTo>
                  <a:pt x="655" y="110"/>
                </a:moveTo>
                <a:lnTo>
                  <a:pt x="656" y="110"/>
                </a:lnTo>
                <a:lnTo>
                  <a:pt x="656" y="109"/>
                </a:lnTo>
                <a:lnTo>
                  <a:pt x="656" y="110"/>
                </a:lnTo>
                <a:lnTo>
                  <a:pt x="655" y="110"/>
                </a:lnTo>
                <a:close/>
                <a:moveTo>
                  <a:pt x="643" y="97"/>
                </a:moveTo>
                <a:lnTo>
                  <a:pt x="645" y="97"/>
                </a:lnTo>
                <a:lnTo>
                  <a:pt x="646" y="95"/>
                </a:lnTo>
                <a:lnTo>
                  <a:pt x="645" y="97"/>
                </a:lnTo>
                <a:lnTo>
                  <a:pt x="643" y="97"/>
                </a:lnTo>
                <a:close/>
                <a:moveTo>
                  <a:pt x="629" y="104"/>
                </a:moveTo>
                <a:lnTo>
                  <a:pt x="630" y="107"/>
                </a:lnTo>
                <a:lnTo>
                  <a:pt x="631" y="108"/>
                </a:lnTo>
                <a:lnTo>
                  <a:pt x="630" y="107"/>
                </a:lnTo>
                <a:lnTo>
                  <a:pt x="629" y="104"/>
                </a:lnTo>
                <a:close/>
                <a:moveTo>
                  <a:pt x="617" y="95"/>
                </a:moveTo>
                <a:lnTo>
                  <a:pt x="618" y="98"/>
                </a:lnTo>
                <a:lnTo>
                  <a:pt x="620" y="102"/>
                </a:lnTo>
                <a:lnTo>
                  <a:pt x="620" y="102"/>
                </a:lnTo>
                <a:lnTo>
                  <a:pt x="618" y="98"/>
                </a:lnTo>
                <a:lnTo>
                  <a:pt x="617" y="95"/>
                </a:lnTo>
                <a:close/>
                <a:moveTo>
                  <a:pt x="634" y="171"/>
                </a:moveTo>
                <a:lnTo>
                  <a:pt x="631" y="171"/>
                </a:lnTo>
                <a:lnTo>
                  <a:pt x="630" y="168"/>
                </a:lnTo>
                <a:lnTo>
                  <a:pt x="631" y="171"/>
                </a:lnTo>
                <a:lnTo>
                  <a:pt x="634" y="171"/>
                </a:lnTo>
                <a:lnTo>
                  <a:pt x="636" y="172"/>
                </a:lnTo>
                <a:lnTo>
                  <a:pt x="635" y="174"/>
                </a:lnTo>
                <a:lnTo>
                  <a:pt x="636" y="172"/>
                </a:lnTo>
                <a:lnTo>
                  <a:pt x="634" y="171"/>
                </a:lnTo>
                <a:close/>
                <a:moveTo>
                  <a:pt x="631" y="203"/>
                </a:moveTo>
                <a:lnTo>
                  <a:pt x="624" y="206"/>
                </a:lnTo>
                <a:lnTo>
                  <a:pt x="617" y="208"/>
                </a:lnTo>
                <a:lnTo>
                  <a:pt x="615" y="209"/>
                </a:lnTo>
                <a:lnTo>
                  <a:pt x="613" y="209"/>
                </a:lnTo>
                <a:lnTo>
                  <a:pt x="610" y="209"/>
                </a:lnTo>
                <a:lnTo>
                  <a:pt x="608" y="208"/>
                </a:lnTo>
                <a:lnTo>
                  <a:pt x="609" y="208"/>
                </a:lnTo>
                <a:lnTo>
                  <a:pt x="609" y="207"/>
                </a:lnTo>
                <a:lnTo>
                  <a:pt x="610" y="206"/>
                </a:lnTo>
                <a:lnTo>
                  <a:pt x="611" y="203"/>
                </a:lnTo>
                <a:lnTo>
                  <a:pt x="610" y="206"/>
                </a:lnTo>
                <a:lnTo>
                  <a:pt x="609" y="207"/>
                </a:lnTo>
                <a:lnTo>
                  <a:pt x="613" y="207"/>
                </a:lnTo>
                <a:lnTo>
                  <a:pt x="616" y="207"/>
                </a:lnTo>
                <a:lnTo>
                  <a:pt x="618" y="205"/>
                </a:lnTo>
                <a:lnTo>
                  <a:pt x="622" y="202"/>
                </a:lnTo>
                <a:lnTo>
                  <a:pt x="629" y="196"/>
                </a:lnTo>
                <a:lnTo>
                  <a:pt x="635" y="188"/>
                </a:lnTo>
                <a:lnTo>
                  <a:pt x="639" y="180"/>
                </a:lnTo>
                <a:lnTo>
                  <a:pt x="642" y="171"/>
                </a:lnTo>
                <a:lnTo>
                  <a:pt x="642" y="166"/>
                </a:lnTo>
                <a:lnTo>
                  <a:pt x="643" y="163"/>
                </a:lnTo>
                <a:lnTo>
                  <a:pt x="644" y="159"/>
                </a:lnTo>
                <a:lnTo>
                  <a:pt x="646" y="156"/>
                </a:lnTo>
                <a:lnTo>
                  <a:pt x="650" y="152"/>
                </a:lnTo>
                <a:lnTo>
                  <a:pt x="650" y="150"/>
                </a:lnTo>
                <a:lnTo>
                  <a:pt x="649" y="147"/>
                </a:lnTo>
                <a:lnTo>
                  <a:pt x="645" y="144"/>
                </a:lnTo>
                <a:lnTo>
                  <a:pt x="641" y="137"/>
                </a:lnTo>
                <a:lnTo>
                  <a:pt x="634" y="131"/>
                </a:lnTo>
                <a:lnTo>
                  <a:pt x="634" y="129"/>
                </a:lnTo>
                <a:lnTo>
                  <a:pt x="632" y="129"/>
                </a:lnTo>
                <a:lnTo>
                  <a:pt x="631" y="128"/>
                </a:lnTo>
                <a:lnTo>
                  <a:pt x="631" y="128"/>
                </a:lnTo>
                <a:lnTo>
                  <a:pt x="625" y="123"/>
                </a:lnTo>
                <a:lnTo>
                  <a:pt x="618" y="119"/>
                </a:lnTo>
                <a:lnTo>
                  <a:pt x="611" y="118"/>
                </a:lnTo>
                <a:lnTo>
                  <a:pt x="607" y="118"/>
                </a:lnTo>
                <a:lnTo>
                  <a:pt x="599" y="122"/>
                </a:lnTo>
                <a:lnTo>
                  <a:pt x="590" y="125"/>
                </a:lnTo>
                <a:lnTo>
                  <a:pt x="581" y="128"/>
                </a:lnTo>
                <a:lnTo>
                  <a:pt x="573" y="129"/>
                </a:lnTo>
                <a:lnTo>
                  <a:pt x="568" y="130"/>
                </a:lnTo>
                <a:lnTo>
                  <a:pt x="563" y="133"/>
                </a:lnTo>
                <a:lnTo>
                  <a:pt x="559" y="137"/>
                </a:lnTo>
                <a:lnTo>
                  <a:pt x="554" y="142"/>
                </a:lnTo>
                <a:lnTo>
                  <a:pt x="549" y="147"/>
                </a:lnTo>
                <a:lnTo>
                  <a:pt x="546" y="152"/>
                </a:lnTo>
                <a:lnTo>
                  <a:pt x="544" y="157"/>
                </a:lnTo>
                <a:lnTo>
                  <a:pt x="544" y="161"/>
                </a:lnTo>
                <a:lnTo>
                  <a:pt x="542" y="166"/>
                </a:lnTo>
                <a:lnTo>
                  <a:pt x="542" y="170"/>
                </a:lnTo>
                <a:lnTo>
                  <a:pt x="544" y="174"/>
                </a:lnTo>
                <a:lnTo>
                  <a:pt x="546" y="178"/>
                </a:lnTo>
                <a:lnTo>
                  <a:pt x="547" y="179"/>
                </a:lnTo>
                <a:lnTo>
                  <a:pt x="547" y="179"/>
                </a:lnTo>
                <a:lnTo>
                  <a:pt x="551" y="186"/>
                </a:lnTo>
                <a:lnTo>
                  <a:pt x="555" y="193"/>
                </a:lnTo>
                <a:lnTo>
                  <a:pt x="561" y="198"/>
                </a:lnTo>
                <a:lnTo>
                  <a:pt x="567" y="203"/>
                </a:lnTo>
                <a:lnTo>
                  <a:pt x="568" y="205"/>
                </a:lnTo>
                <a:lnTo>
                  <a:pt x="572" y="205"/>
                </a:lnTo>
                <a:lnTo>
                  <a:pt x="570" y="203"/>
                </a:lnTo>
                <a:lnTo>
                  <a:pt x="570" y="203"/>
                </a:lnTo>
                <a:lnTo>
                  <a:pt x="570" y="200"/>
                </a:lnTo>
                <a:lnTo>
                  <a:pt x="572" y="198"/>
                </a:lnTo>
                <a:lnTo>
                  <a:pt x="570" y="200"/>
                </a:lnTo>
                <a:lnTo>
                  <a:pt x="570" y="203"/>
                </a:lnTo>
                <a:lnTo>
                  <a:pt x="570" y="203"/>
                </a:lnTo>
                <a:lnTo>
                  <a:pt x="572" y="205"/>
                </a:lnTo>
                <a:lnTo>
                  <a:pt x="572" y="205"/>
                </a:lnTo>
                <a:lnTo>
                  <a:pt x="580" y="207"/>
                </a:lnTo>
                <a:lnTo>
                  <a:pt x="588" y="208"/>
                </a:lnTo>
                <a:lnTo>
                  <a:pt x="580" y="207"/>
                </a:lnTo>
                <a:lnTo>
                  <a:pt x="572" y="205"/>
                </a:lnTo>
                <a:lnTo>
                  <a:pt x="569" y="207"/>
                </a:lnTo>
                <a:lnTo>
                  <a:pt x="568" y="208"/>
                </a:lnTo>
                <a:lnTo>
                  <a:pt x="566" y="207"/>
                </a:lnTo>
                <a:lnTo>
                  <a:pt x="563" y="207"/>
                </a:lnTo>
                <a:lnTo>
                  <a:pt x="551" y="201"/>
                </a:lnTo>
                <a:lnTo>
                  <a:pt x="538" y="195"/>
                </a:lnTo>
                <a:lnTo>
                  <a:pt x="526" y="187"/>
                </a:lnTo>
                <a:lnTo>
                  <a:pt x="515" y="179"/>
                </a:lnTo>
                <a:lnTo>
                  <a:pt x="513" y="178"/>
                </a:lnTo>
                <a:lnTo>
                  <a:pt x="512" y="177"/>
                </a:lnTo>
                <a:lnTo>
                  <a:pt x="512" y="174"/>
                </a:lnTo>
                <a:lnTo>
                  <a:pt x="512" y="172"/>
                </a:lnTo>
                <a:lnTo>
                  <a:pt x="514" y="164"/>
                </a:lnTo>
                <a:lnTo>
                  <a:pt x="517" y="157"/>
                </a:lnTo>
                <a:lnTo>
                  <a:pt x="520" y="150"/>
                </a:lnTo>
                <a:lnTo>
                  <a:pt x="525" y="144"/>
                </a:lnTo>
                <a:lnTo>
                  <a:pt x="530" y="138"/>
                </a:lnTo>
                <a:lnTo>
                  <a:pt x="534" y="132"/>
                </a:lnTo>
                <a:lnTo>
                  <a:pt x="541" y="128"/>
                </a:lnTo>
                <a:lnTo>
                  <a:pt x="548" y="123"/>
                </a:lnTo>
                <a:lnTo>
                  <a:pt x="558" y="118"/>
                </a:lnTo>
                <a:lnTo>
                  <a:pt x="568" y="115"/>
                </a:lnTo>
                <a:lnTo>
                  <a:pt x="577" y="111"/>
                </a:lnTo>
                <a:lnTo>
                  <a:pt x="588" y="109"/>
                </a:lnTo>
                <a:lnTo>
                  <a:pt x="599" y="108"/>
                </a:lnTo>
                <a:lnTo>
                  <a:pt x="608" y="109"/>
                </a:lnTo>
                <a:lnTo>
                  <a:pt x="618" y="111"/>
                </a:lnTo>
                <a:lnTo>
                  <a:pt x="627" y="115"/>
                </a:lnTo>
                <a:lnTo>
                  <a:pt x="635" y="119"/>
                </a:lnTo>
                <a:lnTo>
                  <a:pt x="643" y="126"/>
                </a:lnTo>
                <a:lnTo>
                  <a:pt x="649" y="133"/>
                </a:lnTo>
                <a:lnTo>
                  <a:pt x="653" y="143"/>
                </a:lnTo>
                <a:lnTo>
                  <a:pt x="657" y="151"/>
                </a:lnTo>
                <a:lnTo>
                  <a:pt x="659" y="160"/>
                </a:lnTo>
                <a:lnTo>
                  <a:pt x="658" y="170"/>
                </a:lnTo>
                <a:lnTo>
                  <a:pt x="657" y="178"/>
                </a:lnTo>
                <a:lnTo>
                  <a:pt x="653" y="186"/>
                </a:lnTo>
                <a:lnTo>
                  <a:pt x="648" y="193"/>
                </a:lnTo>
                <a:lnTo>
                  <a:pt x="641" y="199"/>
                </a:lnTo>
                <a:lnTo>
                  <a:pt x="631" y="203"/>
                </a:lnTo>
                <a:close/>
                <a:moveTo>
                  <a:pt x="639" y="262"/>
                </a:moveTo>
                <a:lnTo>
                  <a:pt x="634" y="262"/>
                </a:lnTo>
                <a:lnTo>
                  <a:pt x="628" y="262"/>
                </a:lnTo>
                <a:lnTo>
                  <a:pt x="634" y="262"/>
                </a:lnTo>
                <a:lnTo>
                  <a:pt x="639" y="262"/>
                </a:lnTo>
                <a:lnTo>
                  <a:pt x="645" y="258"/>
                </a:lnTo>
                <a:lnTo>
                  <a:pt x="652" y="257"/>
                </a:lnTo>
                <a:lnTo>
                  <a:pt x="645" y="258"/>
                </a:lnTo>
                <a:lnTo>
                  <a:pt x="639" y="262"/>
                </a:lnTo>
                <a:close/>
                <a:moveTo>
                  <a:pt x="621" y="836"/>
                </a:moveTo>
                <a:lnTo>
                  <a:pt x="622" y="842"/>
                </a:lnTo>
                <a:lnTo>
                  <a:pt x="624" y="848"/>
                </a:lnTo>
                <a:lnTo>
                  <a:pt x="622" y="842"/>
                </a:lnTo>
                <a:lnTo>
                  <a:pt x="621" y="836"/>
                </a:lnTo>
                <a:close/>
                <a:moveTo>
                  <a:pt x="616" y="595"/>
                </a:moveTo>
                <a:lnTo>
                  <a:pt x="617" y="595"/>
                </a:lnTo>
                <a:lnTo>
                  <a:pt x="618" y="595"/>
                </a:lnTo>
                <a:lnTo>
                  <a:pt x="617" y="595"/>
                </a:lnTo>
                <a:lnTo>
                  <a:pt x="616" y="595"/>
                </a:lnTo>
                <a:close/>
                <a:moveTo>
                  <a:pt x="611" y="799"/>
                </a:moveTo>
                <a:lnTo>
                  <a:pt x="613" y="802"/>
                </a:lnTo>
                <a:lnTo>
                  <a:pt x="614" y="804"/>
                </a:lnTo>
                <a:lnTo>
                  <a:pt x="614" y="809"/>
                </a:lnTo>
                <a:lnTo>
                  <a:pt x="614" y="813"/>
                </a:lnTo>
                <a:lnTo>
                  <a:pt x="617" y="823"/>
                </a:lnTo>
                <a:lnTo>
                  <a:pt x="622" y="834"/>
                </a:lnTo>
                <a:lnTo>
                  <a:pt x="617" y="823"/>
                </a:lnTo>
                <a:lnTo>
                  <a:pt x="614" y="813"/>
                </a:lnTo>
                <a:lnTo>
                  <a:pt x="614" y="809"/>
                </a:lnTo>
                <a:lnTo>
                  <a:pt x="614" y="804"/>
                </a:lnTo>
                <a:lnTo>
                  <a:pt x="613" y="802"/>
                </a:lnTo>
                <a:lnTo>
                  <a:pt x="611" y="799"/>
                </a:lnTo>
                <a:close/>
                <a:moveTo>
                  <a:pt x="608" y="227"/>
                </a:moveTo>
                <a:lnTo>
                  <a:pt x="608" y="228"/>
                </a:lnTo>
                <a:lnTo>
                  <a:pt x="608" y="229"/>
                </a:lnTo>
                <a:lnTo>
                  <a:pt x="611" y="228"/>
                </a:lnTo>
                <a:lnTo>
                  <a:pt x="615" y="228"/>
                </a:lnTo>
                <a:lnTo>
                  <a:pt x="611" y="228"/>
                </a:lnTo>
                <a:lnTo>
                  <a:pt x="608" y="229"/>
                </a:lnTo>
                <a:lnTo>
                  <a:pt x="608" y="228"/>
                </a:lnTo>
                <a:lnTo>
                  <a:pt x="608" y="227"/>
                </a:lnTo>
                <a:close/>
                <a:moveTo>
                  <a:pt x="617" y="153"/>
                </a:moveTo>
                <a:lnTo>
                  <a:pt x="617" y="153"/>
                </a:lnTo>
                <a:lnTo>
                  <a:pt x="620" y="153"/>
                </a:lnTo>
                <a:lnTo>
                  <a:pt x="624" y="154"/>
                </a:lnTo>
                <a:lnTo>
                  <a:pt x="620" y="153"/>
                </a:lnTo>
                <a:lnTo>
                  <a:pt x="617" y="153"/>
                </a:lnTo>
                <a:close/>
                <a:moveTo>
                  <a:pt x="587" y="184"/>
                </a:moveTo>
                <a:lnTo>
                  <a:pt x="581" y="181"/>
                </a:lnTo>
                <a:lnTo>
                  <a:pt x="575" y="178"/>
                </a:lnTo>
                <a:lnTo>
                  <a:pt x="573" y="177"/>
                </a:lnTo>
                <a:lnTo>
                  <a:pt x="570" y="174"/>
                </a:lnTo>
                <a:lnTo>
                  <a:pt x="569" y="171"/>
                </a:lnTo>
                <a:lnTo>
                  <a:pt x="568" y="167"/>
                </a:lnTo>
                <a:lnTo>
                  <a:pt x="569" y="165"/>
                </a:lnTo>
                <a:lnTo>
                  <a:pt x="569" y="161"/>
                </a:lnTo>
                <a:lnTo>
                  <a:pt x="568" y="161"/>
                </a:lnTo>
                <a:lnTo>
                  <a:pt x="568" y="160"/>
                </a:lnTo>
                <a:lnTo>
                  <a:pt x="568" y="161"/>
                </a:lnTo>
                <a:lnTo>
                  <a:pt x="569" y="161"/>
                </a:lnTo>
                <a:lnTo>
                  <a:pt x="569" y="158"/>
                </a:lnTo>
                <a:lnTo>
                  <a:pt x="569" y="154"/>
                </a:lnTo>
                <a:lnTo>
                  <a:pt x="570" y="151"/>
                </a:lnTo>
                <a:lnTo>
                  <a:pt x="573" y="147"/>
                </a:lnTo>
                <a:lnTo>
                  <a:pt x="576" y="143"/>
                </a:lnTo>
                <a:lnTo>
                  <a:pt x="582" y="137"/>
                </a:lnTo>
                <a:lnTo>
                  <a:pt x="584" y="136"/>
                </a:lnTo>
                <a:lnTo>
                  <a:pt x="588" y="135"/>
                </a:lnTo>
                <a:lnTo>
                  <a:pt x="591" y="136"/>
                </a:lnTo>
                <a:lnTo>
                  <a:pt x="595" y="137"/>
                </a:lnTo>
                <a:lnTo>
                  <a:pt x="603" y="142"/>
                </a:lnTo>
                <a:lnTo>
                  <a:pt x="611" y="146"/>
                </a:lnTo>
                <a:lnTo>
                  <a:pt x="614" y="142"/>
                </a:lnTo>
                <a:lnTo>
                  <a:pt x="616" y="137"/>
                </a:lnTo>
                <a:lnTo>
                  <a:pt x="614" y="142"/>
                </a:lnTo>
                <a:lnTo>
                  <a:pt x="611" y="146"/>
                </a:lnTo>
                <a:lnTo>
                  <a:pt x="611" y="146"/>
                </a:lnTo>
                <a:lnTo>
                  <a:pt x="611" y="150"/>
                </a:lnTo>
                <a:lnTo>
                  <a:pt x="613" y="153"/>
                </a:lnTo>
                <a:lnTo>
                  <a:pt x="614" y="156"/>
                </a:lnTo>
                <a:lnTo>
                  <a:pt x="616" y="159"/>
                </a:lnTo>
                <a:lnTo>
                  <a:pt x="616" y="161"/>
                </a:lnTo>
                <a:lnTo>
                  <a:pt x="616" y="165"/>
                </a:lnTo>
                <a:lnTo>
                  <a:pt x="614" y="166"/>
                </a:lnTo>
                <a:lnTo>
                  <a:pt x="614" y="168"/>
                </a:lnTo>
                <a:lnTo>
                  <a:pt x="615" y="168"/>
                </a:lnTo>
                <a:lnTo>
                  <a:pt x="617" y="167"/>
                </a:lnTo>
                <a:lnTo>
                  <a:pt x="620" y="166"/>
                </a:lnTo>
                <a:lnTo>
                  <a:pt x="622" y="165"/>
                </a:lnTo>
                <a:lnTo>
                  <a:pt x="622" y="161"/>
                </a:lnTo>
                <a:lnTo>
                  <a:pt x="622" y="159"/>
                </a:lnTo>
                <a:lnTo>
                  <a:pt x="622" y="161"/>
                </a:lnTo>
                <a:lnTo>
                  <a:pt x="622" y="165"/>
                </a:lnTo>
                <a:lnTo>
                  <a:pt x="620" y="166"/>
                </a:lnTo>
                <a:lnTo>
                  <a:pt x="617" y="167"/>
                </a:lnTo>
                <a:lnTo>
                  <a:pt x="615" y="168"/>
                </a:lnTo>
                <a:lnTo>
                  <a:pt x="614" y="168"/>
                </a:lnTo>
                <a:lnTo>
                  <a:pt x="611" y="173"/>
                </a:lnTo>
                <a:lnTo>
                  <a:pt x="609" y="177"/>
                </a:lnTo>
                <a:lnTo>
                  <a:pt x="607" y="180"/>
                </a:lnTo>
                <a:lnTo>
                  <a:pt x="603" y="181"/>
                </a:lnTo>
                <a:lnTo>
                  <a:pt x="600" y="184"/>
                </a:lnTo>
                <a:lnTo>
                  <a:pt x="596" y="184"/>
                </a:lnTo>
                <a:lnTo>
                  <a:pt x="591" y="185"/>
                </a:lnTo>
                <a:lnTo>
                  <a:pt x="587" y="184"/>
                </a:lnTo>
                <a:close/>
                <a:moveTo>
                  <a:pt x="604" y="205"/>
                </a:moveTo>
                <a:lnTo>
                  <a:pt x="606" y="203"/>
                </a:lnTo>
                <a:lnTo>
                  <a:pt x="607" y="202"/>
                </a:lnTo>
                <a:lnTo>
                  <a:pt x="606" y="203"/>
                </a:lnTo>
                <a:lnTo>
                  <a:pt x="604" y="205"/>
                </a:lnTo>
                <a:close/>
                <a:moveTo>
                  <a:pt x="606" y="234"/>
                </a:moveTo>
                <a:lnTo>
                  <a:pt x="597" y="236"/>
                </a:lnTo>
                <a:lnTo>
                  <a:pt x="590" y="237"/>
                </a:lnTo>
                <a:lnTo>
                  <a:pt x="597" y="236"/>
                </a:lnTo>
                <a:lnTo>
                  <a:pt x="606" y="234"/>
                </a:lnTo>
                <a:close/>
                <a:moveTo>
                  <a:pt x="602" y="324"/>
                </a:moveTo>
                <a:lnTo>
                  <a:pt x="602" y="327"/>
                </a:lnTo>
                <a:lnTo>
                  <a:pt x="602" y="331"/>
                </a:lnTo>
                <a:lnTo>
                  <a:pt x="602" y="327"/>
                </a:lnTo>
                <a:lnTo>
                  <a:pt x="602" y="324"/>
                </a:lnTo>
                <a:lnTo>
                  <a:pt x="603" y="322"/>
                </a:lnTo>
                <a:lnTo>
                  <a:pt x="604" y="321"/>
                </a:lnTo>
                <a:lnTo>
                  <a:pt x="603" y="322"/>
                </a:lnTo>
                <a:lnTo>
                  <a:pt x="602" y="324"/>
                </a:lnTo>
                <a:close/>
                <a:moveTo>
                  <a:pt x="582" y="340"/>
                </a:moveTo>
                <a:lnTo>
                  <a:pt x="582" y="345"/>
                </a:lnTo>
                <a:lnTo>
                  <a:pt x="583" y="348"/>
                </a:lnTo>
                <a:lnTo>
                  <a:pt x="582" y="345"/>
                </a:lnTo>
                <a:lnTo>
                  <a:pt x="582" y="340"/>
                </a:lnTo>
                <a:close/>
                <a:moveTo>
                  <a:pt x="583" y="944"/>
                </a:moveTo>
                <a:lnTo>
                  <a:pt x="584" y="942"/>
                </a:lnTo>
                <a:lnTo>
                  <a:pt x="584" y="940"/>
                </a:lnTo>
                <a:lnTo>
                  <a:pt x="582" y="928"/>
                </a:lnTo>
                <a:lnTo>
                  <a:pt x="582" y="916"/>
                </a:lnTo>
                <a:lnTo>
                  <a:pt x="582" y="905"/>
                </a:lnTo>
                <a:lnTo>
                  <a:pt x="582" y="893"/>
                </a:lnTo>
                <a:lnTo>
                  <a:pt x="582" y="905"/>
                </a:lnTo>
                <a:lnTo>
                  <a:pt x="582" y="916"/>
                </a:lnTo>
                <a:lnTo>
                  <a:pt x="582" y="928"/>
                </a:lnTo>
                <a:lnTo>
                  <a:pt x="584" y="940"/>
                </a:lnTo>
                <a:lnTo>
                  <a:pt x="584" y="942"/>
                </a:lnTo>
                <a:lnTo>
                  <a:pt x="583" y="944"/>
                </a:lnTo>
                <a:close/>
                <a:moveTo>
                  <a:pt x="574" y="340"/>
                </a:moveTo>
                <a:lnTo>
                  <a:pt x="573" y="343"/>
                </a:lnTo>
                <a:lnTo>
                  <a:pt x="570" y="346"/>
                </a:lnTo>
                <a:lnTo>
                  <a:pt x="569" y="348"/>
                </a:lnTo>
                <a:lnTo>
                  <a:pt x="566" y="349"/>
                </a:lnTo>
                <a:lnTo>
                  <a:pt x="569" y="348"/>
                </a:lnTo>
                <a:lnTo>
                  <a:pt x="570" y="346"/>
                </a:lnTo>
                <a:lnTo>
                  <a:pt x="573" y="343"/>
                </a:lnTo>
                <a:lnTo>
                  <a:pt x="574" y="340"/>
                </a:lnTo>
                <a:lnTo>
                  <a:pt x="574" y="340"/>
                </a:lnTo>
                <a:lnTo>
                  <a:pt x="574" y="340"/>
                </a:lnTo>
                <a:lnTo>
                  <a:pt x="574" y="340"/>
                </a:lnTo>
                <a:lnTo>
                  <a:pt x="574" y="340"/>
                </a:lnTo>
                <a:close/>
                <a:moveTo>
                  <a:pt x="538" y="645"/>
                </a:moveTo>
                <a:lnTo>
                  <a:pt x="534" y="641"/>
                </a:lnTo>
                <a:lnTo>
                  <a:pt x="532" y="639"/>
                </a:lnTo>
                <a:lnTo>
                  <a:pt x="534" y="641"/>
                </a:lnTo>
                <a:lnTo>
                  <a:pt x="538" y="645"/>
                </a:lnTo>
                <a:lnTo>
                  <a:pt x="538" y="645"/>
                </a:lnTo>
                <a:close/>
                <a:moveTo>
                  <a:pt x="522" y="221"/>
                </a:moveTo>
                <a:lnTo>
                  <a:pt x="522" y="223"/>
                </a:lnTo>
                <a:lnTo>
                  <a:pt x="522" y="224"/>
                </a:lnTo>
                <a:lnTo>
                  <a:pt x="522" y="223"/>
                </a:lnTo>
                <a:lnTo>
                  <a:pt x="522" y="221"/>
                </a:lnTo>
                <a:lnTo>
                  <a:pt x="525" y="221"/>
                </a:lnTo>
                <a:lnTo>
                  <a:pt x="527" y="222"/>
                </a:lnTo>
                <a:lnTo>
                  <a:pt x="525" y="221"/>
                </a:lnTo>
                <a:lnTo>
                  <a:pt x="522" y="221"/>
                </a:lnTo>
                <a:close/>
                <a:moveTo>
                  <a:pt x="522" y="1002"/>
                </a:moveTo>
                <a:lnTo>
                  <a:pt x="522" y="1002"/>
                </a:lnTo>
                <a:lnTo>
                  <a:pt x="521" y="1000"/>
                </a:lnTo>
                <a:lnTo>
                  <a:pt x="522" y="993"/>
                </a:lnTo>
                <a:lnTo>
                  <a:pt x="522" y="986"/>
                </a:lnTo>
                <a:lnTo>
                  <a:pt x="522" y="993"/>
                </a:lnTo>
                <a:lnTo>
                  <a:pt x="521" y="1000"/>
                </a:lnTo>
                <a:lnTo>
                  <a:pt x="522" y="1002"/>
                </a:lnTo>
                <a:lnTo>
                  <a:pt x="522" y="1002"/>
                </a:lnTo>
                <a:close/>
                <a:moveTo>
                  <a:pt x="512" y="213"/>
                </a:moveTo>
                <a:lnTo>
                  <a:pt x="514" y="213"/>
                </a:lnTo>
                <a:lnTo>
                  <a:pt x="517" y="213"/>
                </a:lnTo>
                <a:lnTo>
                  <a:pt x="515" y="209"/>
                </a:lnTo>
                <a:lnTo>
                  <a:pt x="515" y="207"/>
                </a:lnTo>
                <a:lnTo>
                  <a:pt x="515" y="209"/>
                </a:lnTo>
                <a:lnTo>
                  <a:pt x="517" y="213"/>
                </a:lnTo>
                <a:lnTo>
                  <a:pt x="514" y="213"/>
                </a:lnTo>
                <a:lnTo>
                  <a:pt x="512" y="213"/>
                </a:lnTo>
                <a:close/>
                <a:moveTo>
                  <a:pt x="765" y="158"/>
                </a:moveTo>
                <a:lnTo>
                  <a:pt x="763" y="160"/>
                </a:lnTo>
                <a:lnTo>
                  <a:pt x="763" y="161"/>
                </a:lnTo>
                <a:lnTo>
                  <a:pt x="763" y="160"/>
                </a:lnTo>
                <a:lnTo>
                  <a:pt x="765" y="158"/>
                </a:lnTo>
                <a:close/>
                <a:moveTo>
                  <a:pt x="767" y="193"/>
                </a:moveTo>
                <a:lnTo>
                  <a:pt x="768" y="195"/>
                </a:lnTo>
                <a:lnTo>
                  <a:pt x="769" y="196"/>
                </a:lnTo>
                <a:lnTo>
                  <a:pt x="768" y="195"/>
                </a:lnTo>
                <a:lnTo>
                  <a:pt x="767" y="193"/>
                </a:lnTo>
                <a:close/>
                <a:moveTo>
                  <a:pt x="768" y="173"/>
                </a:moveTo>
                <a:lnTo>
                  <a:pt x="768" y="177"/>
                </a:lnTo>
                <a:lnTo>
                  <a:pt x="768" y="179"/>
                </a:lnTo>
                <a:lnTo>
                  <a:pt x="768" y="180"/>
                </a:lnTo>
                <a:lnTo>
                  <a:pt x="769" y="181"/>
                </a:lnTo>
                <a:lnTo>
                  <a:pt x="768" y="180"/>
                </a:lnTo>
                <a:lnTo>
                  <a:pt x="768" y="179"/>
                </a:lnTo>
                <a:lnTo>
                  <a:pt x="768" y="177"/>
                </a:lnTo>
                <a:lnTo>
                  <a:pt x="768" y="173"/>
                </a:lnTo>
                <a:close/>
                <a:moveTo>
                  <a:pt x="779" y="208"/>
                </a:moveTo>
                <a:lnTo>
                  <a:pt x="777" y="209"/>
                </a:lnTo>
                <a:lnTo>
                  <a:pt x="775" y="210"/>
                </a:lnTo>
                <a:lnTo>
                  <a:pt x="777" y="209"/>
                </a:lnTo>
                <a:lnTo>
                  <a:pt x="779" y="208"/>
                </a:lnTo>
                <a:close/>
                <a:moveTo>
                  <a:pt x="787" y="160"/>
                </a:moveTo>
                <a:lnTo>
                  <a:pt x="788" y="160"/>
                </a:lnTo>
                <a:lnTo>
                  <a:pt x="788" y="161"/>
                </a:lnTo>
                <a:lnTo>
                  <a:pt x="788" y="160"/>
                </a:lnTo>
                <a:lnTo>
                  <a:pt x="787" y="160"/>
                </a:lnTo>
                <a:close/>
                <a:moveTo>
                  <a:pt x="795" y="203"/>
                </a:moveTo>
                <a:lnTo>
                  <a:pt x="795" y="203"/>
                </a:lnTo>
                <a:lnTo>
                  <a:pt x="793" y="207"/>
                </a:lnTo>
                <a:lnTo>
                  <a:pt x="790" y="210"/>
                </a:lnTo>
                <a:lnTo>
                  <a:pt x="793" y="207"/>
                </a:lnTo>
                <a:lnTo>
                  <a:pt x="795" y="203"/>
                </a:lnTo>
                <a:close/>
                <a:moveTo>
                  <a:pt x="877" y="474"/>
                </a:moveTo>
                <a:lnTo>
                  <a:pt x="872" y="472"/>
                </a:lnTo>
                <a:lnTo>
                  <a:pt x="867" y="471"/>
                </a:lnTo>
                <a:lnTo>
                  <a:pt x="872" y="472"/>
                </a:lnTo>
                <a:lnTo>
                  <a:pt x="877" y="474"/>
                </a:lnTo>
                <a:close/>
                <a:moveTo>
                  <a:pt x="879" y="146"/>
                </a:moveTo>
                <a:lnTo>
                  <a:pt x="874" y="144"/>
                </a:lnTo>
                <a:lnTo>
                  <a:pt x="870" y="143"/>
                </a:lnTo>
                <a:lnTo>
                  <a:pt x="864" y="144"/>
                </a:lnTo>
                <a:lnTo>
                  <a:pt x="859" y="145"/>
                </a:lnTo>
                <a:lnTo>
                  <a:pt x="859" y="145"/>
                </a:lnTo>
                <a:lnTo>
                  <a:pt x="864" y="144"/>
                </a:lnTo>
                <a:lnTo>
                  <a:pt x="870" y="143"/>
                </a:lnTo>
                <a:lnTo>
                  <a:pt x="874" y="144"/>
                </a:lnTo>
                <a:lnTo>
                  <a:pt x="879" y="146"/>
                </a:lnTo>
                <a:close/>
                <a:moveTo>
                  <a:pt x="471" y="1257"/>
                </a:moveTo>
                <a:lnTo>
                  <a:pt x="469" y="1258"/>
                </a:lnTo>
                <a:lnTo>
                  <a:pt x="468" y="1259"/>
                </a:lnTo>
                <a:lnTo>
                  <a:pt x="469" y="1258"/>
                </a:lnTo>
                <a:lnTo>
                  <a:pt x="471" y="1257"/>
                </a:lnTo>
                <a:close/>
                <a:moveTo>
                  <a:pt x="469" y="1175"/>
                </a:moveTo>
                <a:lnTo>
                  <a:pt x="470" y="1178"/>
                </a:lnTo>
                <a:lnTo>
                  <a:pt x="470" y="1179"/>
                </a:lnTo>
                <a:lnTo>
                  <a:pt x="470" y="1178"/>
                </a:lnTo>
                <a:lnTo>
                  <a:pt x="469" y="1175"/>
                </a:lnTo>
                <a:lnTo>
                  <a:pt x="469" y="1175"/>
                </a:lnTo>
                <a:close/>
                <a:moveTo>
                  <a:pt x="498" y="279"/>
                </a:moveTo>
                <a:lnTo>
                  <a:pt x="498" y="279"/>
                </a:lnTo>
                <a:lnTo>
                  <a:pt x="499" y="279"/>
                </a:lnTo>
                <a:lnTo>
                  <a:pt x="498" y="279"/>
                </a:lnTo>
                <a:lnTo>
                  <a:pt x="498" y="279"/>
                </a:lnTo>
                <a:close/>
                <a:moveTo>
                  <a:pt x="484" y="319"/>
                </a:moveTo>
                <a:lnTo>
                  <a:pt x="482" y="319"/>
                </a:lnTo>
                <a:lnTo>
                  <a:pt x="480" y="319"/>
                </a:lnTo>
                <a:lnTo>
                  <a:pt x="482" y="319"/>
                </a:lnTo>
                <a:lnTo>
                  <a:pt x="484" y="319"/>
                </a:lnTo>
                <a:lnTo>
                  <a:pt x="486" y="320"/>
                </a:lnTo>
                <a:lnTo>
                  <a:pt x="490" y="321"/>
                </a:lnTo>
                <a:lnTo>
                  <a:pt x="486" y="320"/>
                </a:lnTo>
                <a:lnTo>
                  <a:pt x="484" y="319"/>
                </a:lnTo>
                <a:close/>
                <a:moveTo>
                  <a:pt x="476" y="271"/>
                </a:moveTo>
                <a:lnTo>
                  <a:pt x="477" y="268"/>
                </a:lnTo>
                <a:lnTo>
                  <a:pt x="479" y="265"/>
                </a:lnTo>
                <a:lnTo>
                  <a:pt x="482" y="265"/>
                </a:lnTo>
                <a:lnTo>
                  <a:pt x="484" y="266"/>
                </a:lnTo>
                <a:lnTo>
                  <a:pt x="482" y="265"/>
                </a:lnTo>
                <a:lnTo>
                  <a:pt x="479" y="265"/>
                </a:lnTo>
                <a:lnTo>
                  <a:pt x="477" y="268"/>
                </a:lnTo>
                <a:lnTo>
                  <a:pt x="476" y="271"/>
                </a:lnTo>
                <a:close/>
                <a:moveTo>
                  <a:pt x="479" y="245"/>
                </a:moveTo>
                <a:lnTo>
                  <a:pt x="482" y="245"/>
                </a:lnTo>
                <a:lnTo>
                  <a:pt x="483" y="247"/>
                </a:lnTo>
                <a:lnTo>
                  <a:pt x="482" y="245"/>
                </a:lnTo>
                <a:lnTo>
                  <a:pt x="479" y="245"/>
                </a:lnTo>
                <a:lnTo>
                  <a:pt x="478" y="249"/>
                </a:lnTo>
                <a:lnTo>
                  <a:pt x="478" y="252"/>
                </a:lnTo>
                <a:lnTo>
                  <a:pt x="478" y="249"/>
                </a:lnTo>
                <a:lnTo>
                  <a:pt x="479" y="245"/>
                </a:lnTo>
                <a:close/>
                <a:moveTo>
                  <a:pt x="489" y="275"/>
                </a:moveTo>
                <a:lnTo>
                  <a:pt x="489" y="273"/>
                </a:lnTo>
                <a:lnTo>
                  <a:pt x="489" y="273"/>
                </a:lnTo>
                <a:lnTo>
                  <a:pt x="489" y="273"/>
                </a:lnTo>
                <a:lnTo>
                  <a:pt x="489" y="275"/>
                </a:lnTo>
                <a:close/>
                <a:moveTo>
                  <a:pt x="489" y="259"/>
                </a:moveTo>
                <a:lnTo>
                  <a:pt x="487" y="261"/>
                </a:lnTo>
                <a:lnTo>
                  <a:pt x="486" y="263"/>
                </a:lnTo>
                <a:lnTo>
                  <a:pt x="487" y="261"/>
                </a:lnTo>
                <a:lnTo>
                  <a:pt x="489" y="259"/>
                </a:lnTo>
                <a:close/>
                <a:moveTo>
                  <a:pt x="487" y="102"/>
                </a:moveTo>
                <a:lnTo>
                  <a:pt x="487" y="102"/>
                </a:lnTo>
                <a:lnTo>
                  <a:pt x="487" y="102"/>
                </a:lnTo>
                <a:lnTo>
                  <a:pt x="487" y="102"/>
                </a:lnTo>
                <a:lnTo>
                  <a:pt x="487" y="102"/>
                </a:lnTo>
                <a:close/>
                <a:moveTo>
                  <a:pt x="468" y="261"/>
                </a:moveTo>
                <a:lnTo>
                  <a:pt x="466" y="262"/>
                </a:lnTo>
                <a:lnTo>
                  <a:pt x="466" y="263"/>
                </a:lnTo>
                <a:lnTo>
                  <a:pt x="466" y="262"/>
                </a:lnTo>
                <a:lnTo>
                  <a:pt x="468" y="261"/>
                </a:lnTo>
                <a:lnTo>
                  <a:pt x="471" y="262"/>
                </a:lnTo>
                <a:lnTo>
                  <a:pt x="476" y="262"/>
                </a:lnTo>
                <a:lnTo>
                  <a:pt x="471" y="262"/>
                </a:lnTo>
                <a:lnTo>
                  <a:pt x="468" y="261"/>
                </a:lnTo>
                <a:close/>
                <a:moveTo>
                  <a:pt x="463" y="250"/>
                </a:moveTo>
                <a:lnTo>
                  <a:pt x="465" y="254"/>
                </a:lnTo>
                <a:lnTo>
                  <a:pt x="466" y="257"/>
                </a:lnTo>
                <a:lnTo>
                  <a:pt x="465" y="254"/>
                </a:lnTo>
                <a:lnTo>
                  <a:pt x="463" y="250"/>
                </a:lnTo>
                <a:close/>
                <a:moveTo>
                  <a:pt x="455" y="261"/>
                </a:moveTo>
                <a:lnTo>
                  <a:pt x="456" y="261"/>
                </a:lnTo>
                <a:lnTo>
                  <a:pt x="456" y="259"/>
                </a:lnTo>
                <a:lnTo>
                  <a:pt x="456" y="259"/>
                </a:lnTo>
                <a:lnTo>
                  <a:pt x="456" y="261"/>
                </a:lnTo>
                <a:lnTo>
                  <a:pt x="455" y="261"/>
                </a:lnTo>
                <a:close/>
                <a:moveTo>
                  <a:pt x="444" y="247"/>
                </a:moveTo>
                <a:lnTo>
                  <a:pt x="444" y="247"/>
                </a:lnTo>
                <a:lnTo>
                  <a:pt x="444" y="247"/>
                </a:lnTo>
                <a:lnTo>
                  <a:pt x="445" y="248"/>
                </a:lnTo>
                <a:lnTo>
                  <a:pt x="446" y="248"/>
                </a:lnTo>
                <a:lnTo>
                  <a:pt x="445" y="248"/>
                </a:lnTo>
                <a:lnTo>
                  <a:pt x="444" y="247"/>
                </a:lnTo>
                <a:close/>
                <a:moveTo>
                  <a:pt x="444" y="251"/>
                </a:moveTo>
                <a:lnTo>
                  <a:pt x="444" y="251"/>
                </a:lnTo>
                <a:lnTo>
                  <a:pt x="444" y="251"/>
                </a:lnTo>
                <a:lnTo>
                  <a:pt x="444" y="251"/>
                </a:lnTo>
                <a:lnTo>
                  <a:pt x="444" y="251"/>
                </a:lnTo>
                <a:lnTo>
                  <a:pt x="444" y="252"/>
                </a:lnTo>
                <a:lnTo>
                  <a:pt x="444" y="251"/>
                </a:lnTo>
                <a:lnTo>
                  <a:pt x="444" y="251"/>
                </a:lnTo>
                <a:close/>
                <a:moveTo>
                  <a:pt x="439" y="237"/>
                </a:moveTo>
                <a:lnTo>
                  <a:pt x="438" y="237"/>
                </a:lnTo>
                <a:lnTo>
                  <a:pt x="437" y="237"/>
                </a:lnTo>
                <a:lnTo>
                  <a:pt x="438" y="237"/>
                </a:lnTo>
                <a:lnTo>
                  <a:pt x="439" y="237"/>
                </a:lnTo>
                <a:lnTo>
                  <a:pt x="439" y="236"/>
                </a:lnTo>
                <a:lnTo>
                  <a:pt x="438" y="235"/>
                </a:lnTo>
                <a:lnTo>
                  <a:pt x="439" y="236"/>
                </a:lnTo>
                <a:lnTo>
                  <a:pt x="439" y="237"/>
                </a:lnTo>
                <a:close/>
                <a:moveTo>
                  <a:pt x="424" y="294"/>
                </a:moveTo>
                <a:lnTo>
                  <a:pt x="423" y="294"/>
                </a:lnTo>
                <a:lnTo>
                  <a:pt x="422" y="294"/>
                </a:lnTo>
                <a:lnTo>
                  <a:pt x="423" y="294"/>
                </a:lnTo>
                <a:lnTo>
                  <a:pt x="424" y="294"/>
                </a:lnTo>
                <a:lnTo>
                  <a:pt x="424" y="292"/>
                </a:lnTo>
                <a:lnTo>
                  <a:pt x="424" y="289"/>
                </a:lnTo>
                <a:lnTo>
                  <a:pt x="424" y="289"/>
                </a:lnTo>
                <a:lnTo>
                  <a:pt x="424" y="292"/>
                </a:lnTo>
                <a:lnTo>
                  <a:pt x="424" y="294"/>
                </a:lnTo>
                <a:lnTo>
                  <a:pt x="425" y="296"/>
                </a:lnTo>
                <a:lnTo>
                  <a:pt x="427" y="296"/>
                </a:lnTo>
                <a:lnTo>
                  <a:pt x="425" y="296"/>
                </a:lnTo>
                <a:lnTo>
                  <a:pt x="424" y="294"/>
                </a:lnTo>
                <a:close/>
                <a:moveTo>
                  <a:pt x="422" y="290"/>
                </a:moveTo>
                <a:lnTo>
                  <a:pt x="422" y="290"/>
                </a:lnTo>
                <a:lnTo>
                  <a:pt x="421" y="290"/>
                </a:lnTo>
                <a:lnTo>
                  <a:pt x="422" y="290"/>
                </a:lnTo>
                <a:lnTo>
                  <a:pt x="422" y="290"/>
                </a:lnTo>
                <a:close/>
                <a:moveTo>
                  <a:pt x="421" y="290"/>
                </a:moveTo>
                <a:lnTo>
                  <a:pt x="413" y="290"/>
                </a:lnTo>
                <a:lnTo>
                  <a:pt x="404" y="291"/>
                </a:lnTo>
                <a:lnTo>
                  <a:pt x="413" y="290"/>
                </a:lnTo>
                <a:lnTo>
                  <a:pt x="421" y="290"/>
                </a:lnTo>
                <a:close/>
                <a:moveTo>
                  <a:pt x="400" y="229"/>
                </a:moveTo>
                <a:lnTo>
                  <a:pt x="399" y="228"/>
                </a:lnTo>
                <a:lnTo>
                  <a:pt x="399" y="228"/>
                </a:lnTo>
                <a:lnTo>
                  <a:pt x="399" y="228"/>
                </a:lnTo>
                <a:lnTo>
                  <a:pt x="400" y="229"/>
                </a:lnTo>
                <a:close/>
                <a:moveTo>
                  <a:pt x="397" y="237"/>
                </a:moveTo>
                <a:lnTo>
                  <a:pt x="399" y="238"/>
                </a:lnTo>
                <a:lnTo>
                  <a:pt x="399" y="241"/>
                </a:lnTo>
                <a:lnTo>
                  <a:pt x="399" y="238"/>
                </a:lnTo>
                <a:lnTo>
                  <a:pt x="397" y="237"/>
                </a:lnTo>
                <a:lnTo>
                  <a:pt x="400" y="234"/>
                </a:lnTo>
                <a:lnTo>
                  <a:pt x="400" y="229"/>
                </a:lnTo>
                <a:lnTo>
                  <a:pt x="400" y="234"/>
                </a:lnTo>
                <a:lnTo>
                  <a:pt x="397" y="237"/>
                </a:lnTo>
                <a:close/>
                <a:moveTo>
                  <a:pt x="410" y="257"/>
                </a:moveTo>
                <a:lnTo>
                  <a:pt x="410" y="257"/>
                </a:lnTo>
                <a:lnTo>
                  <a:pt x="410" y="257"/>
                </a:lnTo>
                <a:lnTo>
                  <a:pt x="410" y="257"/>
                </a:lnTo>
                <a:lnTo>
                  <a:pt x="408" y="256"/>
                </a:lnTo>
                <a:lnTo>
                  <a:pt x="407" y="255"/>
                </a:lnTo>
                <a:lnTo>
                  <a:pt x="408" y="256"/>
                </a:lnTo>
                <a:lnTo>
                  <a:pt x="410" y="257"/>
                </a:lnTo>
                <a:close/>
                <a:moveTo>
                  <a:pt x="416" y="266"/>
                </a:moveTo>
                <a:lnTo>
                  <a:pt x="415" y="263"/>
                </a:lnTo>
                <a:lnTo>
                  <a:pt x="415" y="261"/>
                </a:lnTo>
                <a:lnTo>
                  <a:pt x="415" y="263"/>
                </a:lnTo>
                <a:lnTo>
                  <a:pt x="416" y="266"/>
                </a:lnTo>
                <a:close/>
                <a:moveTo>
                  <a:pt x="420" y="256"/>
                </a:moveTo>
                <a:lnTo>
                  <a:pt x="420" y="257"/>
                </a:lnTo>
                <a:lnTo>
                  <a:pt x="420" y="257"/>
                </a:lnTo>
                <a:lnTo>
                  <a:pt x="420" y="257"/>
                </a:lnTo>
                <a:lnTo>
                  <a:pt x="420" y="256"/>
                </a:lnTo>
                <a:close/>
                <a:moveTo>
                  <a:pt x="418" y="254"/>
                </a:moveTo>
                <a:lnTo>
                  <a:pt x="420" y="252"/>
                </a:lnTo>
                <a:lnTo>
                  <a:pt x="421" y="251"/>
                </a:lnTo>
                <a:lnTo>
                  <a:pt x="420" y="252"/>
                </a:lnTo>
                <a:lnTo>
                  <a:pt x="418" y="254"/>
                </a:lnTo>
                <a:close/>
                <a:moveTo>
                  <a:pt x="422" y="249"/>
                </a:moveTo>
                <a:lnTo>
                  <a:pt x="422" y="249"/>
                </a:lnTo>
                <a:lnTo>
                  <a:pt x="420" y="248"/>
                </a:lnTo>
                <a:lnTo>
                  <a:pt x="418" y="247"/>
                </a:lnTo>
                <a:lnTo>
                  <a:pt x="420" y="248"/>
                </a:lnTo>
                <a:lnTo>
                  <a:pt x="422" y="249"/>
                </a:lnTo>
                <a:close/>
                <a:moveTo>
                  <a:pt x="379" y="237"/>
                </a:moveTo>
                <a:lnTo>
                  <a:pt x="376" y="237"/>
                </a:lnTo>
                <a:lnTo>
                  <a:pt x="374" y="236"/>
                </a:lnTo>
                <a:lnTo>
                  <a:pt x="376" y="237"/>
                </a:lnTo>
                <a:lnTo>
                  <a:pt x="379" y="237"/>
                </a:lnTo>
                <a:lnTo>
                  <a:pt x="379" y="241"/>
                </a:lnTo>
                <a:lnTo>
                  <a:pt x="380" y="242"/>
                </a:lnTo>
                <a:lnTo>
                  <a:pt x="379" y="241"/>
                </a:lnTo>
                <a:lnTo>
                  <a:pt x="379" y="237"/>
                </a:lnTo>
                <a:close/>
                <a:moveTo>
                  <a:pt x="351" y="222"/>
                </a:moveTo>
                <a:lnTo>
                  <a:pt x="352" y="222"/>
                </a:lnTo>
                <a:lnTo>
                  <a:pt x="352" y="223"/>
                </a:lnTo>
                <a:lnTo>
                  <a:pt x="352" y="222"/>
                </a:lnTo>
                <a:lnTo>
                  <a:pt x="351" y="222"/>
                </a:lnTo>
                <a:close/>
                <a:moveTo>
                  <a:pt x="345" y="226"/>
                </a:moveTo>
                <a:lnTo>
                  <a:pt x="347" y="226"/>
                </a:lnTo>
                <a:lnTo>
                  <a:pt x="348" y="226"/>
                </a:lnTo>
                <a:lnTo>
                  <a:pt x="347" y="226"/>
                </a:lnTo>
                <a:lnTo>
                  <a:pt x="345" y="226"/>
                </a:lnTo>
                <a:close/>
                <a:moveTo>
                  <a:pt x="325" y="164"/>
                </a:moveTo>
                <a:lnTo>
                  <a:pt x="325" y="164"/>
                </a:lnTo>
                <a:lnTo>
                  <a:pt x="325" y="164"/>
                </a:lnTo>
                <a:lnTo>
                  <a:pt x="325" y="164"/>
                </a:lnTo>
                <a:close/>
                <a:moveTo>
                  <a:pt x="306" y="150"/>
                </a:moveTo>
                <a:lnTo>
                  <a:pt x="307" y="150"/>
                </a:lnTo>
                <a:lnTo>
                  <a:pt x="307" y="149"/>
                </a:lnTo>
                <a:lnTo>
                  <a:pt x="307" y="147"/>
                </a:lnTo>
                <a:lnTo>
                  <a:pt x="306" y="146"/>
                </a:lnTo>
                <a:lnTo>
                  <a:pt x="307" y="147"/>
                </a:lnTo>
                <a:lnTo>
                  <a:pt x="307" y="149"/>
                </a:lnTo>
                <a:lnTo>
                  <a:pt x="307" y="150"/>
                </a:lnTo>
                <a:lnTo>
                  <a:pt x="306" y="150"/>
                </a:lnTo>
                <a:close/>
                <a:moveTo>
                  <a:pt x="282" y="320"/>
                </a:moveTo>
                <a:lnTo>
                  <a:pt x="268" y="324"/>
                </a:lnTo>
                <a:lnTo>
                  <a:pt x="254" y="327"/>
                </a:lnTo>
                <a:lnTo>
                  <a:pt x="241" y="331"/>
                </a:lnTo>
                <a:lnTo>
                  <a:pt x="227" y="335"/>
                </a:lnTo>
                <a:lnTo>
                  <a:pt x="209" y="340"/>
                </a:lnTo>
                <a:lnTo>
                  <a:pt x="192" y="346"/>
                </a:lnTo>
                <a:lnTo>
                  <a:pt x="185" y="347"/>
                </a:lnTo>
                <a:lnTo>
                  <a:pt x="178" y="347"/>
                </a:lnTo>
                <a:lnTo>
                  <a:pt x="169" y="346"/>
                </a:lnTo>
                <a:lnTo>
                  <a:pt x="162" y="343"/>
                </a:lnTo>
                <a:lnTo>
                  <a:pt x="154" y="341"/>
                </a:lnTo>
                <a:lnTo>
                  <a:pt x="146" y="339"/>
                </a:lnTo>
                <a:lnTo>
                  <a:pt x="137" y="339"/>
                </a:lnTo>
                <a:lnTo>
                  <a:pt x="128" y="339"/>
                </a:lnTo>
                <a:lnTo>
                  <a:pt x="119" y="341"/>
                </a:lnTo>
                <a:lnTo>
                  <a:pt x="110" y="340"/>
                </a:lnTo>
                <a:lnTo>
                  <a:pt x="118" y="334"/>
                </a:lnTo>
                <a:lnTo>
                  <a:pt x="127" y="328"/>
                </a:lnTo>
                <a:lnTo>
                  <a:pt x="132" y="327"/>
                </a:lnTo>
                <a:lnTo>
                  <a:pt x="137" y="326"/>
                </a:lnTo>
                <a:lnTo>
                  <a:pt x="142" y="325"/>
                </a:lnTo>
                <a:lnTo>
                  <a:pt x="148" y="326"/>
                </a:lnTo>
                <a:lnTo>
                  <a:pt x="154" y="327"/>
                </a:lnTo>
                <a:lnTo>
                  <a:pt x="161" y="327"/>
                </a:lnTo>
                <a:lnTo>
                  <a:pt x="167" y="326"/>
                </a:lnTo>
                <a:lnTo>
                  <a:pt x="173" y="327"/>
                </a:lnTo>
                <a:lnTo>
                  <a:pt x="179" y="328"/>
                </a:lnTo>
                <a:lnTo>
                  <a:pt x="183" y="332"/>
                </a:lnTo>
                <a:lnTo>
                  <a:pt x="190" y="334"/>
                </a:lnTo>
                <a:lnTo>
                  <a:pt x="196" y="336"/>
                </a:lnTo>
                <a:lnTo>
                  <a:pt x="199" y="336"/>
                </a:lnTo>
                <a:lnTo>
                  <a:pt x="202" y="335"/>
                </a:lnTo>
                <a:lnTo>
                  <a:pt x="204" y="334"/>
                </a:lnTo>
                <a:lnTo>
                  <a:pt x="208" y="332"/>
                </a:lnTo>
                <a:lnTo>
                  <a:pt x="211" y="332"/>
                </a:lnTo>
                <a:lnTo>
                  <a:pt x="216" y="332"/>
                </a:lnTo>
                <a:lnTo>
                  <a:pt x="220" y="331"/>
                </a:lnTo>
                <a:lnTo>
                  <a:pt x="223" y="329"/>
                </a:lnTo>
                <a:lnTo>
                  <a:pt x="230" y="326"/>
                </a:lnTo>
                <a:lnTo>
                  <a:pt x="238" y="324"/>
                </a:lnTo>
                <a:lnTo>
                  <a:pt x="255" y="322"/>
                </a:lnTo>
                <a:lnTo>
                  <a:pt x="272" y="320"/>
                </a:lnTo>
                <a:lnTo>
                  <a:pt x="289" y="317"/>
                </a:lnTo>
                <a:lnTo>
                  <a:pt x="305" y="313"/>
                </a:lnTo>
                <a:lnTo>
                  <a:pt x="306" y="313"/>
                </a:lnTo>
                <a:lnTo>
                  <a:pt x="307" y="313"/>
                </a:lnTo>
                <a:lnTo>
                  <a:pt x="294" y="318"/>
                </a:lnTo>
                <a:lnTo>
                  <a:pt x="282" y="320"/>
                </a:lnTo>
                <a:close/>
                <a:moveTo>
                  <a:pt x="168" y="152"/>
                </a:moveTo>
                <a:lnTo>
                  <a:pt x="171" y="153"/>
                </a:lnTo>
                <a:lnTo>
                  <a:pt x="173" y="154"/>
                </a:lnTo>
                <a:lnTo>
                  <a:pt x="171" y="153"/>
                </a:lnTo>
                <a:lnTo>
                  <a:pt x="168" y="152"/>
                </a:lnTo>
                <a:lnTo>
                  <a:pt x="167" y="154"/>
                </a:lnTo>
                <a:lnTo>
                  <a:pt x="167" y="157"/>
                </a:lnTo>
                <a:lnTo>
                  <a:pt x="167" y="154"/>
                </a:lnTo>
                <a:lnTo>
                  <a:pt x="168" y="152"/>
                </a:lnTo>
                <a:close/>
                <a:moveTo>
                  <a:pt x="188" y="129"/>
                </a:moveTo>
                <a:lnTo>
                  <a:pt x="186" y="130"/>
                </a:lnTo>
                <a:lnTo>
                  <a:pt x="183" y="131"/>
                </a:lnTo>
                <a:lnTo>
                  <a:pt x="186" y="130"/>
                </a:lnTo>
                <a:lnTo>
                  <a:pt x="188" y="129"/>
                </a:lnTo>
                <a:close/>
                <a:moveTo>
                  <a:pt x="194" y="128"/>
                </a:moveTo>
                <a:lnTo>
                  <a:pt x="192" y="128"/>
                </a:lnTo>
                <a:lnTo>
                  <a:pt x="189" y="129"/>
                </a:lnTo>
                <a:lnTo>
                  <a:pt x="192" y="128"/>
                </a:lnTo>
                <a:lnTo>
                  <a:pt x="194" y="128"/>
                </a:lnTo>
                <a:close/>
                <a:moveTo>
                  <a:pt x="210" y="128"/>
                </a:moveTo>
                <a:lnTo>
                  <a:pt x="207" y="128"/>
                </a:lnTo>
                <a:lnTo>
                  <a:pt x="203" y="129"/>
                </a:lnTo>
                <a:lnTo>
                  <a:pt x="207" y="128"/>
                </a:lnTo>
                <a:lnTo>
                  <a:pt x="210" y="128"/>
                </a:lnTo>
                <a:close/>
                <a:moveTo>
                  <a:pt x="214" y="142"/>
                </a:moveTo>
                <a:lnTo>
                  <a:pt x="217" y="142"/>
                </a:lnTo>
                <a:lnTo>
                  <a:pt x="222" y="142"/>
                </a:lnTo>
                <a:lnTo>
                  <a:pt x="217" y="142"/>
                </a:lnTo>
                <a:lnTo>
                  <a:pt x="214" y="142"/>
                </a:lnTo>
                <a:lnTo>
                  <a:pt x="211" y="140"/>
                </a:lnTo>
                <a:lnTo>
                  <a:pt x="209" y="138"/>
                </a:lnTo>
                <a:lnTo>
                  <a:pt x="211" y="140"/>
                </a:lnTo>
                <a:lnTo>
                  <a:pt x="214" y="142"/>
                </a:lnTo>
                <a:close/>
                <a:moveTo>
                  <a:pt x="218" y="129"/>
                </a:moveTo>
                <a:lnTo>
                  <a:pt x="222" y="126"/>
                </a:lnTo>
                <a:lnTo>
                  <a:pt x="225" y="124"/>
                </a:lnTo>
                <a:lnTo>
                  <a:pt x="222" y="126"/>
                </a:lnTo>
                <a:lnTo>
                  <a:pt x="218" y="129"/>
                </a:lnTo>
                <a:lnTo>
                  <a:pt x="218" y="129"/>
                </a:lnTo>
                <a:close/>
                <a:moveTo>
                  <a:pt x="224" y="140"/>
                </a:moveTo>
                <a:lnTo>
                  <a:pt x="224" y="140"/>
                </a:lnTo>
                <a:lnTo>
                  <a:pt x="225" y="142"/>
                </a:lnTo>
                <a:lnTo>
                  <a:pt x="224" y="140"/>
                </a:lnTo>
                <a:lnTo>
                  <a:pt x="224" y="140"/>
                </a:lnTo>
                <a:close/>
                <a:moveTo>
                  <a:pt x="229" y="230"/>
                </a:moveTo>
                <a:lnTo>
                  <a:pt x="223" y="227"/>
                </a:lnTo>
                <a:lnTo>
                  <a:pt x="218" y="223"/>
                </a:lnTo>
                <a:lnTo>
                  <a:pt x="218" y="223"/>
                </a:lnTo>
                <a:lnTo>
                  <a:pt x="223" y="227"/>
                </a:lnTo>
                <a:lnTo>
                  <a:pt x="229" y="230"/>
                </a:lnTo>
                <a:close/>
                <a:moveTo>
                  <a:pt x="238" y="178"/>
                </a:moveTo>
                <a:lnTo>
                  <a:pt x="249" y="182"/>
                </a:lnTo>
                <a:lnTo>
                  <a:pt x="258" y="187"/>
                </a:lnTo>
                <a:lnTo>
                  <a:pt x="261" y="191"/>
                </a:lnTo>
                <a:lnTo>
                  <a:pt x="263" y="193"/>
                </a:lnTo>
                <a:lnTo>
                  <a:pt x="264" y="196"/>
                </a:lnTo>
                <a:lnTo>
                  <a:pt x="265" y="200"/>
                </a:lnTo>
                <a:lnTo>
                  <a:pt x="265" y="202"/>
                </a:lnTo>
                <a:lnTo>
                  <a:pt x="264" y="202"/>
                </a:lnTo>
                <a:lnTo>
                  <a:pt x="262" y="202"/>
                </a:lnTo>
                <a:lnTo>
                  <a:pt x="261" y="203"/>
                </a:lnTo>
                <a:lnTo>
                  <a:pt x="255" y="203"/>
                </a:lnTo>
                <a:lnTo>
                  <a:pt x="249" y="201"/>
                </a:lnTo>
                <a:lnTo>
                  <a:pt x="244" y="199"/>
                </a:lnTo>
                <a:lnTo>
                  <a:pt x="238" y="198"/>
                </a:lnTo>
                <a:lnTo>
                  <a:pt x="232" y="195"/>
                </a:lnTo>
                <a:lnTo>
                  <a:pt x="225" y="193"/>
                </a:lnTo>
                <a:lnTo>
                  <a:pt x="220" y="189"/>
                </a:lnTo>
                <a:lnTo>
                  <a:pt x="213" y="186"/>
                </a:lnTo>
                <a:lnTo>
                  <a:pt x="210" y="182"/>
                </a:lnTo>
                <a:lnTo>
                  <a:pt x="209" y="178"/>
                </a:lnTo>
                <a:lnTo>
                  <a:pt x="209" y="174"/>
                </a:lnTo>
                <a:lnTo>
                  <a:pt x="210" y="171"/>
                </a:lnTo>
                <a:lnTo>
                  <a:pt x="213" y="170"/>
                </a:lnTo>
                <a:lnTo>
                  <a:pt x="214" y="168"/>
                </a:lnTo>
                <a:lnTo>
                  <a:pt x="215" y="168"/>
                </a:lnTo>
                <a:lnTo>
                  <a:pt x="216" y="170"/>
                </a:lnTo>
                <a:lnTo>
                  <a:pt x="218" y="171"/>
                </a:lnTo>
                <a:lnTo>
                  <a:pt x="222" y="173"/>
                </a:lnTo>
                <a:lnTo>
                  <a:pt x="220" y="178"/>
                </a:lnTo>
                <a:lnTo>
                  <a:pt x="221" y="181"/>
                </a:lnTo>
                <a:lnTo>
                  <a:pt x="222" y="182"/>
                </a:lnTo>
                <a:lnTo>
                  <a:pt x="225" y="182"/>
                </a:lnTo>
                <a:lnTo>
                  <a:pt x="229" y="182"/>
                </a:lnTo>
                <a:lnTo>
                  <a:pt x="232" y="181"/>
                </a:lnTo>
                <a:lnTo>
                  <a:pt x="236" y="180"/>
                </a:lnTo>
                <a:lnTo>
                  <a:pt x="238" y="178"/>
                </a:lnTo>
                <a:close/>
                <a:moveTo>
                  <a:pt x="277" y="139"/>
                </a:moveTo>
                <a:lnTo>
                  <a:pt x="277" y="137"/>
                </a:lnTo>
                <a:lnTo>
                  <a:pt x="277" y="136"/>
                </a:lnTo>
                <a:lnTo>
                  <a:pt x="277" y="137"/>
                </a:lnTo>
                <a:lnTo>
                  <a:pt x="277" y="139"/>
                </a:lnTo>
                <a:close/>
                <a:moveTo>
                  <a:pt x="284" y="150"/>
                </a:moveTo>
                <a:lnTo>
                  <a:pt x="282" y="149"/>
                </a:lnTo>
                <a:lnTo>
                  <a:pt x="280" y="146"/>
                </a:lnTo>
                <a:lnTo>
                  <a:pt x="282" y="149"/>
                </a:lnTo>
                <a:lnTo>
                  <a:pt x="284" y="150"/>
                </a:lnTo>
                <a:close/>
                <a:moveTo>
                  <a:pt x="287" y="132"/>
                </a:moveTo>
                <a:lnTo>
                  <a:pt x="289" y="132"/>
                </a:lnTo>
                <a:lnTo>
                  <a:pt x="290" y="131"/>
                </a:lnTo>
                <a:lnTo>
                  <a:pt x="289" y="132"/>
                </a:lnTo>
                <a:lnTo>
                  <a:pt x="287" y="132"/>
                </a:lnTo>
                <a:lnTo>
                  <a:pt x="287" y="135"/>
                </a:lnTo>
                <a:lnTo>
                  <a:pt x="286" y="137"/>
                </a:lnTo>
                <a:lnTo>
                  <a:pt x="287" y="135"/>
                </a:lnTo>
                <a:lnTo>
                  <a:pt x="287" y="132"/>
                </a:lnTo>
                <a:close/>
                <a:moveTo>
                  <a:pt x="56" y="209"/>
                </a:moveTo>
                <a:lnTo>
                  <a:pt x="56" y="209"/>
                </a:lnTo>
                <a:lnTo>
                  <a:pt x="56" y="208"/>
                </a:lnTo>
                <a:lnTo>
                  <a:pt x="57" y="208"/>
                </a:lnTo>
                <a:lnTo>
                  <a:pt x="56" y="208"/>
                </a:lnTo>
                <a:lnTo>
                  <a:pt x="56" y="209"/>
                </a:lnTo>
                <a:close/>
                <a:moveTo>
                  <a:pt x="54" y="213"/>
                </a:moveTo>
                <a:lnTo>
                  <a:pt x="55" y="212"/>
                </a:lnTo>
                <a:lnTo>
                  <a:pt x="56" y="212"/>
                </a:lnTo>
                <a:lnTo>
                  <a:pt x="55" y="212"/>
                </a:lnTo>
                <a:lnTo>
                  <a:pt x="54" y="213"/>
                </a:lnTo>
                <a:close/>
                <a:moveTo>
                  <a:pt x="49" y="215"/>
                </a:moveTo>
                <a:lnTo>
                  <a:pt x="51" y="214"/>
                </a:lnTo>
                <a:lnTo>
                  <a:pt x="54" y="212"/>
                </a:lnTo>
                <a:lnTo>
                  <a:pt x="51" y="214"/>
                </a:lnTo>
                <a:lnTo>
                  <a:pt x="49" y="215"/>
                </a:lnTo>
                <a:close/>
                <a:moveTo>
                  <a:pt x="48" y="217"/>
                </a:moveTo>
                <a:lnTo>
                  <a:pt x="49" y="217"/>
                </a:lnTo>
                <a:lnTo>
                  <a:pt x="49" y="216"/>
                </a:lnTo>
                <a:lnTo>
                  <a:pt x="49" y="217"/>
                </a:lnTo>
                <a:lnTo>
                  <a:pt x="48" y="217"/>
                </a:lnTo>
                <a:close/>
                <a:moveTo>
                  <a:pt x="1970" y="991"/>
                </a:moveTo>
                <a:lnTo>
                  <a:pt x="1957" y="982"/>
                </a:lnTo>
                <a:lnTo>
                  <a:pt x="1943" y="974"/>
                </a:lnTo>
                <a:lnTo>
                  <a:pt x="1930" y="965"/>
                </a:lnTo>
                <a:lnTo>
                  <a:pt x="1916" y="958"/>
                </a:lnTo>
                <a:lnTo>
                  <a:pt x="1914" y="955"/>
                </a:lnTo>
                <a:lnTo>
                  <a:pt x="1912" y="954"/>
                </a:lnTo>
                <a:lnTo>
                  <a:pt x="1899" y="947"/>
                </a:lnTo>
                <a:lnTo>
                  <a:pt x="1887" y="939"/>
                </a:lnTo>
                <a:lnTo>
                  <a:pt x="1887" y="937"/>
                </a:lnTo>
                <a:lnTo>
                  <a:pt x="1886" y="937"/>
                </a:lnTo>
                <a:lnTo>
                  <a:pt x="1886" y="936"/>
                </a:lnTo>
                <a:lnTo>
                  <a:pt x="1886" y="935"/>
                </a:lnTo>
                <a:lnTo>
                  <a:pt x="1885" y="936"/>
                </a:lnTo>
                <a:lnTo>
                  <a:pt x="1884" y="936"/>
                </a:lnTo>
                <a:lnTo>
                  <a:pt x="1882" y="936"/>
                </a:lnTo>
                <a:lnTo>
                  <a:pt x="1881" y="936"/>
                </a:lnTo>
                <a:lnTo>
                  <a:pt x="1879" y="935"/>
                </a:lnTo>
                <a:lnTo>
                  <a:pt x="1874" y="934"/>
                </a:lnTo>
                <a:lnTo>
                  <a:pt x="1863" y="928"/>
                </a:lnTo>
                <a:lnTo>
                  <a:pt x="1851" y="922"/>
                </a:lnTo>
                <a:lnTo>
                  <a:pt x="1833" y="915"/>
                </a:lnTo>
                <a:lnTo>
                  <a:pt x="1816" y="908"/>
                </a:lnTo>
                <a:lnTo>
                  <a:pt x="1798" y="901"/>
                </a:lnTo>
                <a:lnTo>
                  <a:pt x="1782" y="894"/>
                </a:lnTo>
                <a:lnTo>
                  <a:pt x="1762" y="887"/>
                </a:lnTo>
                <a:lnTo>
                  <a:pt x="1742" y="880"/>
                </a:lnTo>
                <a:lnTo>
                  <a:pt x="1722" y="873"/>
                </a:lnTo>
                <a:lnTo>
                  <a:pt x="1702" y="866"/>
                </a:lnTo>
                <a:lnTo>
                  <a:pt x="1685" y="859"/>
                </a:lnTo>
                <a:lnTo>
                  <a:pt x="1667" y="855"/>
                </a:lnTo>
                <a:lnTo>
                  <a:pt x="1667" y="855"/>
                </a:lnTo>
                <a:lnTo>
                  <a:pt x="1654" y="849"/>
                </a:lnTo>
                <a:lnTo>
                  <a:pt x="1640" y="842"/>
                </a:lnTo>
                <a:lnTo>
                  <a:pt x="1626" y="835"/>
                </a:lnTo>
                <a:lnTo>
                  <a:pt x="1614" y="829"/>
                </a:lnTo>
                <a:lnTo>
                  <a:pt x="1612" y="828"/>
                </a:lnTo>
                <a:lnTo>
                  <a:pt x="1611" y="828"/>
                </a:lnTo>
                <a:lnTo>
                  <a:pt x="1610" y="827"/>
                </a:lnTo>
                <a:lnTo>
                  <a:pt x="1609" y="827"/>
                </a:lnTo>
                <a:lnTo>
                  <a:pt x="1597" y="821"/>
                </a:lnTo>
                <a:lnTo>
                  <a:pt x="1585" y="816"/>
                </a:lnTo>
                <a:lnTo>
                  <a:pt x="1573" y="810"/>
                </a:lnTo>
                <a:lnTo>
                  <a:pt x="1561" y="806"/>
                </a:lnTo>
                <a:lnTo>
                  <a:pt x="1548" y="800"/>
                </a:lnTo>
                <a:lnTo>
                  <a:pt x="1536" y="794"/>
                </a:lnTo>
                <a:lnTo>
                  <a:pt x="1520" y="783"/>
                </a:lnTo>
                <a:lnTo>
                  <a:pt x="1504" y="773"/>
                </a:lnTo>
                <a:lnTo>
                  <a:pt x="1487" y="762"/>
                </a:lnTo>
                <a:lnTo>
                  <a:pt x="1472" y="752"/>
                </a:lnTo>
                <a:lnTo>
                  <a:pt x="1458" y="743"/>
                </a:lnTo>
                <a:lnTo>
                  <a:pt x="1444" y="732"/>
                </a:lnTo>
                <a:lnTo>
                  <a:pt x="1431" y="722"/>
                </a:lnTo>
                <a:lnTo>
                  <a:pt x="1421" y="709"/>
                </a:lnTo>
                <a:lnTo>
                  <a:pt x="1409" y="696"/>
                </a:lnTo>
                <a:lnTo>
                  <a:pt x="1398" y="683"/>
                </a:lnTo>
                <a:lnTo>
                  <a:pt x="1397" y="683"/>
                </a:lnTo>
                <a:lnTo>
                  <a:pt x="1396" y="684"/>
                </a:lnTo>
                <a:lnTo>
                  <a:pt x="1397" y="683"/>
                </a:lnTo>
                <a:lnTo>
                  <a:pt x="1398" y="683"/>
                </a:lnTo>
                <a:lnTo>
                  <a:pt x="1389" y="673"/>
                </a:lnTo>
                <a:lnTo>
                  <a:pt x="1378" y="661"/>
                </a:lnTo>
                <a:lnTo>
                  <a:pt x="1380" y="668"/>
                </a:lnTo>
                <a:lnTo>
                  <a:pt x="1382" y="674"/>
                </a:lnTo>
                <a:lnTo>
                  <a:pt x="1387" y="681"/>
                </a:lnTo>
                <a:lnTo>
                  <a:pt x="1388" y="689"/>
                </a:lnTo>
                <a:lnTo>
                  <a:pt x="1388" y="689"/>
                </a:lnTo>
                <a:lnTo>
                  <a:pt x="1388" y="689"/>
                </a:lnTo>
                <a:lnTo>
                  <a:pt x="1388" y="689"/>
                </a:lnTo>
                <a:lnTo>
                  <a:pt x="1385" y="691"/>
                </a:lnTo>
                <a:lnTo>
                  <a:pt x="1382" y="692"/>
                </a:lnTo>
                <a:lnTo>
                  <a:pt x="1380" y="691"/>
                </a:lnTo>
                <a:lnTo>
                  <a:pt x="1377" y="688"/>
                </a:lnTo>
                <a:lnTo>
                  <a:pt x="1376" y="687"/>
                </a:lnTo>
                <a:lnTo>
                  <a:pt x="1375" y="685"/>
                </a:lnTo>
                <a:lnTo>
                  <a:pt x="1374" y="684"/>
                </a:lnTo>
                <a:lnTo>
                  <a:pt x="1373" y="683"/>
                </a:lnTo>
                <a:lnTo>
                  <a:pt x="1371" y="682"/>
                </a:lnTo>
                <a:lnTo>
                  <a:pt x="1369" y="683"/>
                </a:lnTo>
                <a:lnTo>
                  <a:pt x="1369" y="684"/>
                </a:lnTo>
                <a:lnTo>
                  <a:pt x="1369" y="685"/>
                </a:lnTo>
                <a:lnTo>
                  <a:pt x="1370" y="687"/>
                </a:lnTo>
                <a:lnTo>
                  <a:pt x="1371" y="688"/>
                </a:lnTo>
                <a:lnTo>
                  <a:pt x="1373" y="689"/>
                </a:lnTo>
                <a:lnTo>
                  <a:pt x="1373" y="690"/>
                </a:lnTo>
                <a:lnTo>
                  <a:pt x="1373" y="691"/>
                </a:lnTo>
                <a:lnTo>
                  <a:pt x="1371" y="692"/>
                </a:lnTo>
                <a:lnTo>
                  <a:pt x="1369" y="692"/>
                </a:lnTo>
                <a:lnTo>
                  <a:pt x="1368" y="691"/>
                </a:lnTo>
                <a:lnTo>
                  <a:pt x="1360" y="682"/>
                </a:lnTo>
                <a:lnTo>
                  <a:pt x="1354" y="673"/>
                </a:lnTo>
                <a:lnTo>
                  <a:pt x="1353" y="670"/>
                </a:lnTo>
                <a:lnTo>
                  <a:pt x="1352" y="669"/>
                </a:lnTo>
                <a:lnTo>
                  <a:pt x="1349" y="668"/>
                </a:lnTo>
                <a:lnTo>
                  <a:pt x="1347" y="667"/>
                </a:lnTo>
                <a:lnTo>
                  <a:pt x="1347" y="666"/>
                </a:lnTo>
                <a:lnTo>
                  <a:pt x="1347" y="664"/>
                </a:lnTo>
                <a:lnTo>
                  <a:pt x="1348" y="662"/>
                </a:lnTo>
                <a:lnTo>
                  <a:pt x="1349" y="661"/>
                </a:lnTo>
                <a:lnTo>
                  <a:pt x="1349" y="646"/>
                </a:lnTo>
                <a:lnTo>
                  <a:pt x="1350" y="632"/>
                </a:lnTo>
                <a:lnTo>
                  <a:pt x="1350" y="628"/>
                </a:lnTo>
                <a:lnTo>
                  <a:pt x="1352" y="626"/>
                </a:lnTo>
                <a:lnTo>
                  <a:pt x="1355" y="625"/>
                </a:lnTo>
                <a:lnTo>
                  <a:pt x="1355" y="622"/>
                </a:lnTo>
                <a:lnTo>
                  <a:pt x="1355" y="620"/>
                </a:lnTo>
                <a:lnTo>
                  <a:pt x="1354" y="618"/>
                </a:lnTo>
                <a:lnTo>
                  <a:pt x="1348" y="604"/>
                </a:lnTo>
                <a:lnTo>
                  <a:pt x="1343" y="590"/>
                </a:lnTo>
                <a:lnTo>
                  <a:pt x="1338" y="576"/>
                </a:lnTo>
                <a:lnTo>
                  <a:pt x="1333" y="562"/>
                </a:lnTo>
                <a:lnTo>
                  <a:pt x="1326" y="550"/>
                </a:lnTo>
                <a:lnTo>
                  <a:pt x="1318" y="537"/>
                </a:lnTo>
                <a:lnTo>
                  <a:pt x="1313" y="531"/>
                </a:lnTo>
                <a:lnTo>
                  <a:pt x="1307" y="524"/>
                </a:lnTo>
                <a:lnTo>
                  <a:pt x="1306" y="522"/>
                </a:lnTo>
                <a:lnTo>
                  <a:pt x="1306" y="520"/>
                </a:lnTo>
                <a:lnTo>
                  <a:pt x="1309" y="517"/>
                </a:lnTo>
                <a:lnTo>
                  <a:pt x="1312" y="517"/>
                </a:lnTo>
                <a:lnTo>
                  <a:pt x="1325" y="521"/>
                </a:lnTo>
                <a:lnTo>
                  <a:pt x="1338" y="525"/>
                </a:lnTo>
                <a:lnTo>
                  <a:pt x="1341" y="527"/>
                </a:lnTo>
                <a:lnTo>
                  <a:pt x="1343" y="525"/>
                </a:lnTo>
                <a:lnTo>
                  <a:pt x="1343" y="524"/>
                </a:lnTo>
                <a:lnTo>
                  <a:pt x="1343" y="523"/>
                </a:lnTo>
                <a:lnTo>
                  <a:pt x="1342" y="522"/>
                </a:lnTo>
                <a:lnTo>
                  <a:pt x="1341" y="522"/>
                </a:lnTo>
                <a:lnTo>
                  <a:pt x="1333" y="517"/>
                </a:lnTo>
                <a:lnTo>
                  <a:pt x="1327" y="513"/>
                </a:lnTo>
                <a:lnTo>
                  <a:pt x="1322" y="506"/>
                </a:lnTo>
                <a:lnTo>
                  <a:pt x="1318" y="500"/>
                </a:lnTo>
                <a:lnTo>
                  <a:pt x="1312" y="490"/>
                </a:lnTo>
                <a:lnTo>
                  <a:pt x="1305" y="482"/>
                </a:lnTo>
                <a:lnTo>
                  <a:pt x="1294" y="474"/>
                </a:lnTo>
                <a:lnTo>
                  <a:pt x="1284" y="466"/>
                </a:lnTo>
                <a:lnTo>
                  <a:pt x="1281" y="464"/>
                </a:lnTo>
                <a:lnTo>
                  <a:pt x="1278" y="461"/>
                </a:lnTo>
                <a:lnTo>
                  <a:pt x="1278" y="460"/>
                </a:lnTo>
                <a:lnTo>
                  <a:pt x="1277" y="458"/>
                </a:lnTo>
                <a:lnTo>
                  <a:pt x="1278" y="457"/>
                </a:lnTo>
                <a:lnTo>
                  <a:pt x="1280" y="454"/>
                </a:lnTo>
                <a:lnTo>
                  <a:pt x="1279" y="453"/>
                </a:lnTo>
                <a:lnTo>
                  <a:pt x="1279" y="452"/>
                </a:lnTo>
                <a:lnTo>
                  <a:pt x="1271" y="444"/>
                </a:lnTo>
                <a:lnTo>
                  <a:pt x="1262" y="437"/>
                </a:lnTo>
                <a:lnTo>
                  <a:pt x="1257" y="436"/>
                </a:lnTo>
                <a:lnTo>
                  <a:pt x="1252" y="433"/>
                </a:lnTo>
                <a:lnTo>
                  <a:pt x="1249" y="430"/>
                </a:lnTo>
                <a:lnTo>
                  <a:pt x="1245" y="427"/>
                </a:lnTo>
                <a:lnTo>
                  <a:pt x="1238" y="420"/>
                </a:lnTo>
                <a:lnTo>
                  <a:pt x="1231" y="412"/>
                </a:lnTo>
                <a:lnTo>
                  <a:pt x="1229" y="411"/>
                </a:lnTo>
                <a:lnTo>
                  <a:pt x="1226" y="409"/>
                </a:lnTo>
                <a:lnTo>
                  <a:pt x="1225" y="406"/>
                </a:lnTo>
                <a:lnTo>
                  <a:pt x="1225" y="403"/>
                </a:lnTo>
                <a:lnTo>
                  <a:pt x="1238" y="406"/>
                </a:lnTo>
                <a:lnTo>
                  <a:pt x="1251" y="412"/>
                </a:lnTo>
                <a:lnTo>
                  <a:pt x="1263" y="418"/>
                </a:lnTo>
                <a:lnTo>
                  <a:pt x="1273" y="426"/>
                </a:lnTo>
                <a:lnTo>
                  <a:pt x="1274" y="427"/>
                </a:lnTo>
                <a:lnTo>
                  <a:pt x="1277" y="427"/>
                </a:lnTo>
                <a:lnTo>
                  <a:pt x="1278" y="429"/>
                </a:lnTo>
                <a:lnTo>
                  <a:pt x="1279" y="427"/>
                </a:lnTo>
                <a:lnTo>
                  <a:pt x="1280" y="425"/>
                </a:lnTo>
                <a:lnTo>
                  <a:pt x="1279" y="424"/>
                </a:lnTo>
                <a:lnTo>
                  <a:pt x="1278" y="423"/>
                </a:lnTo>
                <a:lnTo>
                  <a:pt x="1277" y="422"/>
                </a:lnTo>
                <a:lnTo>
                  <a:pt x="1262" y="408"/>
                </a:lnTo>
                <a:lnTo>
                  <a:pt x="1246" y="395"/>
                </a:lnTo>
                <a:lnTo>
                  <a:pt x="1242" y="394"/>
                </a:lnTo>
                <a:lnTo>
                  <a:pt x="1239" y="391"/>
                </a:lnTo>
                <a:lnTo>
                  <a:pt x="1237" y="390"/>
                </a:lnTo>
                <a:lnTo>
                  <a:pt x="1237" y="389"/>
                </a:lnTo>
                <a:lnTo>
                  <a:pt x="1236" y="388"/>
                </a:lnTo>
                <a:lnTo>
                  <a:pt x="1237" y="385"/>
                </a:lnTo>
                <a:lnTo>
                  <a:pt x="1238" y="384"/>
                </a:lnTo>
                <a:lnTo>
                  <a:pt x="1239" y="384"/>
                </a:lnTo>
                <a:lnTo>
                  <a:pt x="1240" y="384"/>
                </a:lnTo>
                <a:lnTo>
                  <a:pt x="1243" y="385"/>
                </a:lnTo>
                <a:lnTo>
                  <a:pt x="1248" y="389"/>
                </a:lnTo>
                <a:lnTo>
                  <a:pt x="1253" y="391"/>
                </a:lnTo>
                <a:lnTo>
                  <a:pt x="1256" y="392"/>
                </a:lnTo>
                <a:lnTo>
                  <a:pt x="1257" y="394"/>
                </a:lnTo>
                <a:lnTo>
                  <a:pt x="1258" y="394"/>
                </a:lnTo>
                <a:lnTo>
                  <a:pt x="1260" y="392"/>
                </a:lnTo>
                <a:lnTo>
                  <a:pt x="1260" y="389"/>
                </a:lnTo>
                <a:lnTo>
                  <a:pt x="1258" y="385"/>
                </a:lnTo>
                <a:lnTo>
                  <a:pt x="1252" y="378"/>
                </a:lnTo>
                <a:lnTo>
                  <a:pt x="1244" y="374"/>
                </a:lnTo>
                <a:lnTo>
                  <a:pt x="1237" y="369"/>
                </a:lnTo>
                <a:lnTo>
                  <a:pt x="1229" y="364"/>
                </a:lnTo>
                <a:lnTo>
                  <a:pt x="1212" y="356"/>
                </a:lnTo>
                <a:lnTo>
                  <a:pt x="1195" y="348"/>
                </a:lnTo>
                <a:lnTo>
                  <a:pt x="1187" y="343"/>
                </a:lnTo>
                <a:lnTo>
                  <a:pt x="1180" y="339"/>
                </a:lnTo>
                <a:lnTo>
                  <a:pt x="1174" y="332"/>
                </a:lnTo>
                <a:lnTo>
                  <a:pt x="1169" y="325"/>
                </a:lnTo>
                <a:lnTo>
                  <a:pt x="1167" y="322"/>
                </a:lnTo>
                <a:lnTo>
                  <a:pt x="1163" y="320"/>
                </a:lnTo>
                <a:lnTo>
                  <a:pt x="1161" y="319"/>
                </a:lnTo>
                <a:lnTo>
                  <a:pt x="1160" y="318"/>
                </a:lnTo>
                <a:lnTo>
                  <a:pt x="1160" y="317"/>
                </a:lnTo>
                <a:lnTo>
                  <a:pt x="1162" y="314"/>
                </a:lnTo>
                <a:lnTo>
                  <a:pt x="1164" y="312"/>
                </a:lnTo>
                <a:lnTo>
                  <a:pt x="1166" y="310"/>
                </a:lnTo>
                <a:lnTo>
                  <a:pt x="1167" y="307"/>
                </a:lnTo>
                <a:lnTo>
                  <a:pt x="1167" y="304"/>
                </a:lnTo>
                <a:lnTo>
                  <a:pt x="1159" y="312"/>
                </a:lnTo>
                <a:lnTo>
                  <a:pt x="1150" y="318"/>
                </a:lnTo>
                <a:lnTo>
                  <a:pt x="1148" y="319"/>
                </a:lnTo>
                <a:lnTo>
                  <a:pt x="1146" y="319"/>
                </a:lnTo>
                <a:lnTo>
                  <a:pt x="1145" y="318"/>
                </a:lnTo>
                <a:lnTo>
                  <a:pt x="1143" y="315"/>
                </a:lnTo>
                <a:lnTo>
                  <a:pt x="1142" y="314"/>
                </a:lnTo>
                <a:lnTo>
                  <a:pt x="1143" y="312"/>
                </a:lnTo>
                <a:lnTo>
                  <a:pt x="1145" y="311"/>
                </a:lnTo>
                <a:lnTo>
                  <a:pt x="1146" y="310"/>
                </a:lnTo>
                <a:lnTo>
                  <a:pt x="1149" y="307"/>
                </a:lnTo>
                <a:lnTo>
                  <a:pt x="1153" y="304"/>
                </a:lnTo>
                <a:lnTo>
                  <a:pt x="1155" y="303"/>
                </a:lnTo>
                <a:lnTo>
                  <a:pt x="1156" y="301"/>
                </a:lnTo>
                <a:lnTo>
                  <a:pt x="1157" y="299"/>
                </a:lnTo>
                <a:lnTo>
                  <a:pt x="1156" y="297"/>
                </a:lnTo>
                <a:lnTo>
                  <a:pt x="1154" y="294"/>
                </a:lnTo>
                <a:lnTo>
                  <a:pt x="1152" y="294"/>
                </a:lnTo>
                <a:lnTo>
                  <a:pt x="1149" y="294"/>
                </a:lnTo>
                <a:lnTo>
                  <a:pt x="1147" y="296"/>
                </a:lnTo>
                <a:lnTo>
                  <a:pt x="1145" y="297"/>
                </a:lnTo>
                <a:lnTo>
                  <a:pt x="1141" y="298"/>
                </a:lnTo>
                <a:lnTo>
                  <a:pt x="1138" y="299"/>
                </a:lnTo>
                <a:lnTo>
                  <a:pt x="1133" y="300"/>
                </a:lnTo>
                <a:lnTo>
                  <a:pt x="1131" y="299"/>
                </a:lnTo>
                <a:lnTo>
                  <a:pt x="1128" y="299"/>
                </a:lnTo>
                <a:lnTo>
                  <a:pt x="1127" y="298"/>
                </a:lnTo>
                <a:lnTo>
                  <a:pt x="1126" y="296"/>
                </a:lnTo>
                <a:lnTo>
                  <a:pt x="1121" y="291"/>
                </a:lnTo>
                <a:lnTo>
                  <a:pt x="1117" y="289"/>
                </a:lnTo>
                <a:lnTo>
                  <a:pt x="1112" y="287"/>
                </a:lnTo>
                <a:lnTo>
                  <a:pt x="1107" y="286"/>
                </a:lnTo>
                <a:lnTo>
                  <a:pt x="1101" y="284"/>
                </a:lnTo>
                <a:lnTo>
                  <a:pt x="1095" y="283"/>
                </a:lnTo>
                <a:lnTo>
                  <a:pt x="1090" y="280"/>
                </a:lnTo>
                <a:lnTo>
                  <a:pt x="1086" y="277"/>
                </a:lnTo>
                <a:lnTo>
                  <a:pt x="1081" y="272"/>
                </a:lnTo>
                <a:lnTo>
                  <a:pt x="1077" y="269"/>
                </a:lnTo>
                <a:lnTo>
                  <a:pt x="1071" y="266"/>
                </a:lnTo>
                <a:lnTo>
                  <a:pt x="1065" y="265"/>
                </a:lnTo>
                <a:lnTo>
                  <a:pt x="1060" y="265"/>
                </a:lnTo>
                <a:lnTo>
                  <a:pt x="1057" y="265"/>
                </a:lnTo>
                <a:lnTo>
                  <a:pt x="1048" y="268"/>
                </a:lnTo>
                <a:lnTo>
                  <a:pt x="1038" y="268"/>
                </a:lnTo>
                <a:lnTo>
                  <a:pt x="1029" y="266"/>
                </a:lnTo>
                <a:lnTo>
                  <a:pt x="1021" y="265"/>
                </a:lnTo>
                <a:lnTo>
                  <a:pt x="1011" y="264"/>
                </a:lnTo>
                <a:lnTo>
                  <a:pt x="1002" y="262"/>
                </a:lnTo>
                <a:lnTo>
                  <a:pt x="1000" y="262"/>
                </a:lnTo>
                <a:lnTo>
                  <a:pt x="998" y="262"/>
                </a:lnTo>
                <a:lnTo>
                  <a:pt x="997" y="264"/>
                </a:lnTo>
                <a:lnTo>
                  <a:pt x="998" y="266"/>
                </a:lnTo>
                <a:lnTo>
                  <a:pt x="1000" y="271"/>
                </a:lnTo>
                <a:lnTo>
                  <a:pt x="998" y="275"/>
                </a:lnTo>
                <a:lnTo>
                  <a:pt x="998" y="276"/>
                </a:lnTo>
                <a:lnTo>
                  <a:pt x="997" y="277"/>
                </a:lnTo>
                <a:lnTo>
                  <a:pt x="996" y="278"/>
                </a:lnTo>
                <a:lnTo>
                  <a:pt x="994" y="279"/>
                </a:lnTo>
                <a:lnTo>
                  <a:pt x="989" y="279"/>
                </a:lnTo>
                <a:lnTo>
                  <a:pt x="984" y="280"/>
                </a:lnTo>
                <a:lnTo>
                  <a:pt x="980" y="279"/>
                </a:lnTo>
                <a:lnTo>
                  <a:pt x="975" y="278"/>
                </a:lnTo>
                <a:lnTo>
                  <a:pt x="973" y="277"/>
                </a:lnTo>
                <a:lnTo>
                  <a:pt x="970" y="278"/>
                </a:lnTo>
                <a:lnTo>
                  <a:pt x="968" y="280"/>
                </a:lnTo>
                <a:lnTo>
                  <a:pt x="965" y="282"/>
                </a:lnTo>
                <a:lnTo>
                  <a:pt x="961" y="282"/>
                </a:lnTo>
                <a:lnTo>
                  <a:pt x="957" y="282"/>
                </a:lnTo>
                <a:lnTo>
                  <a:pt x="950" y="282"/>
                </a:lnTo>
                <a:lnTo>
                  <a:pt x="942" y="282"/>
                </a:lnTo>
                <a:lnTo>
                  <a:pt x="932" y="285"/>
                </a:lnTo>
                <a:lnTo>
                  <a:pt x="920" y="287"/>
                </a:lnTo>
                <a:lnTo>
                  <a:pt x="918" y="287"/>
                </a:lnTo>
                <a:lnTo>
                  <a:pt x="915" y="286"/>
                </a:lnTo>
                <a:lnTo>
                  <a:pt x="915" y="284"/>
                </a:lnTo>
                <a:lnTo>
                  <a:pt x="917" y="282"/>
                </a:lnTo>
                <a:lnTo>
                  <a:pt x="919" y="279"/>
                </a:lnTo>
                <a:lnTo>
                  <a:pt x="921" y="278"/>
                </a:lnTo>
                <a:lnTo>
                  <a:pt x="924" y="277"/>
                </a:lnTo>
                <a:lnTo>
                  <a:pt x="926" y="276"/>
                </a:lnTo>
                <a:lnTo>
                  <a:pt x="935" y="277"/>
                </a:lnTo>
                <a:lnTo>
                  <a:pt x="943" y="277"/>
                </a:lnTo>
                <a:lnTo>
                  <a:pt x="948" y="276"/>
                </a:lnTo>
                <a:lnTo>
                  <a:pt x="953" y="273"/>
                </a:lnTo>
                <a:lnTo>
                  <a:pt x="955" y="270"/>
                </a:lnTo>
                <a:lnTo>
                  <a:pt x="957" y="268"/>
                </a:lnTo>
                <a:lnTo>
                  <a:pt x="959" y="268"/>
                </a:lnTo>
                <a:lnTo>
                  <a:pt x="960" y="266"/>
                </a:lnTo>
                <a:lnTo>
                  <a:pt x="962" y="268"/>
                </a:lnTo>
                <a:lnTo>
                  <a:pt x="965" y="270"/>
                </a:lnTo>
                <a:lnTo>
                  <a:pt x="966" y="269"/>
                </a:lnTo>
                <a:lnTo>
                  <a:pt x="967" y="269"/>
                </a:lnTo>
                <a:lnTo>
                  <a:pt x="968" y="265"/>
                </a:lnTo>
                <a:lnTo>
                  <a:pt x="970" y="263"/>
                </a:lnTo>
                <a:lnTo>
                  <a:pt x="974" y="263"/>
                </a:lnTo>
                <a:lnTo>
                  <a:pt x="977" y="262"/>
                </a:lnTo>
                <a:lnTo>
                  <a:pt x="986" y="261"/>
                </a:lnTo>
                <a:lnTo>
                  <a:pt x="995" y="258"/>
                </a:lnTo>
                <a:lnTo>
                  <a:pt x="1003" y="257"/>
                </a:lnTo>
                <a:lnTo>
                  <a:pt x="1012" y="256"/>
                </a:lnTo>
                <a:lnTo>
                  <a:pt x="1018" y="257"/>
                </a:lnTo>
                <a:lnTo>
                  <a:pt x="1024" y="257"/>
                </a:lnTo>
                <a:lnTo>
                  <a:pt x="1029" y="256"/>
                </a:lnTo>
                <a:lnTo>
                  <a:pt x="1034" y="252"/>
                </a:lnTo>
                <a:lnTo>
                  <a:pt x="1037" y="250"/>
                </a:lnTo>
                <a:lnTo>
                  <a:pt x="1041" y="248"/>
                </a:lnTo>
                <a:lnTo>
                  <a:pt x="1044" y="247"/>
                </a:lnTo>
                <a:lnTo>
                  <a:pt x="1049" y="247"/>
                </a:lnTo>
                <a:lnTo>
                  <a:pt x="1055" y="247"/>
                </a:lnTo>
                <a:lnTo>
                  <a:pt x="1060" y="245"/>
                </a:lnTo>
                <a:lnTo>
                  <a:pt x="1065" y="247"/>
                </a:lnTo>
                <a:lnTo>
                  <a:pt x="1070" y="248"/>
                </a:lnTo>
                <a:lnTo>
                  <a:pt x="1074" y="250"/>
                </a:lnTo>
                <a:lnTo>
                  <a:pt x="1080" y="251"/>
                </a:lnTo>
                <a:lnTo>
                  <a:pt x="1085" y="251"/>
                </a:lnTo>
                <a:lnTo>
                  <a:pt x="1090" y="251"/>
                </a:lnTo>
                <a:lnTo>
                  <a:pt x="1093" y="252"/>
                </a:lnTo>
                <a:lnTo>
                  <a:pt x="1095" y="252"/>
                </a:lnTo>
                <a:lnTo>
                  <a:pt x="1099" y="254"/>
                </a:lnTo>
                <a:lnTo>
                  <a:pt x="1101" y="255"/>
                </a:lnTo>
                <a:lnTo>
                  <a:pt x="1104" y="256"/>
                </a:lnTo>
                <a:lnTo>
                  <a:pt x="1105" y="256"/>
                </a:lnTo>
                <a:lnTo>
                  <a:pt x="1106" y="254"/>
                </a:lnTo>
                <a:lnTo>
                  <a:pt x="1104" y="251"/>
                </a:lnTo>
                <a:lnTo>
                  <a:pt x="1101" y="250"/>
                </a:lnTo>
                <a:lnTo>
                  <a:pt x="1098" y="248"/>
                </a:lnTo>
                <a:lnTo>
                  <a:pt x="1095" y="247"/>
                </a:lnTo>
                <a:lnTo>
                  <a:pt x="1093" y="245"/>
                </a:lnTo>
                <a:lnTo>
                  <a:pt x="1092" y="243"/>
                </a:lnTo>
                <a:lnTo>
                  <a:pt x="1092" y="238"/>
                </a:lnTo>
                <a:lnTo>
                  <a:pt x="1093" y="236"/>
                </a:lnTo>
                <a:lnTo>
                  <a:pt x="1092" y="235"/>
                </a:lnTo>
                <a:lnTo>
                  <a:pt x="1090" y="234"/>
                </a:lnTo>
                <a:lnTo>
                  <a:pt x="1088" y="234"/>
                </a:lnTo>
                <a:lnTo>
                  <a:pt x="1083" y="234"/>
                </a:lnTo>
                <a:lnTo>
                  <a:pt x="1078" y="234"/>
                </a:lnTo>
                <a:lnTo>
                  <a:pt x="1066" y="233"/>
                </a:lnTo>
                <a:lnTo>
                  <a:pt x="1056" y="230"/>
                </a:lnTo>
                <a:lnTo>
                  <a:pt x="1050" y="227"/>
                </a:lnTo>
                <a:lnTo>
                  <a:pt x="1044" y="224"/>
                </a:lnTo>
                <a:lnTo>
                  <a:pt x="1038" y="223"/>
                </a:lnTo>
                <a:lnTo>
                  <a:pt x="1031" y="222"/>
                </a:lnTo>
                <a:lnTo>
                  <a:pt x="1023" y="222"/>
                </a:lnTo>
                <a:lnTo>
                  <a:pt x="1015" y="223"/>
                </a:lnTo>
                <a:lnTo>
                  <a:pt x="1005" y="222"/>
                </a:lnTo>
                <a:lnTo>
                  <a:pt x="997" y="220"/>
                </a:lnTo>
                <a:lnTo>
                  <a:pt x="995" y="219"/>
                </a:lnTo>
                <a:lnTo>
                  <a:pt x="994" y="220"/>
                </a:lnTo>
                <a:lnTo>
                  <a:pt x="993" y="220"/>
                </a:lnTo>
                <a:lnTo>
                  <a:pt x="991" y="222"/>
                </a:lnTo>
                <a:lnTo>
                  <a:pt x="991" y="224"/>
                </a:lnTo>
                <a:lnTo>
                  <a:pt x="989" y="226"/>
                </a:lnTo>
                <a:lnTo>
                  <a:pt x="987" y="226"/>
                </a:lnTo>
                <a:lnTo>
                  <a:pt x="986" y="226"/>
                </a:lnTo>
                <a:lnTo>
                  <a:pt x="969" y="223"/>
                </a:lnTo>
                <a:lnTo>
                  <a:pt x="952" y="222"/>
                </a:lnTo>
                <a:lnTo>
                  <a:pt x="947" y="221"/>
                </a:lnTo>
                <a:lnTo>
                  <a:pt x="942" y="220"/>
                </a:lnTo>
                <a:lnTo>
                  <a:pt x="938" y="217"/>
                </a:lnTo>
                <a:lnTo>
                  <a:pt x="933" y="215"/>
                </a:lnTo>
                <a:lnTo>
                  <a:pt x="927" y="213"/>
                </a:lnTo>
                <a:lnTo>
                  <a:pt x="922" y="213"/>
                </a:lnTo>
                <a:lnTo>
                  <a:pt x="921" y="213"/>
                </a:lnTo>
                <a:lnTo>
                  <a:pt x="920" y="213"/>
                </a:lnTo>
                <a:lnTo>
                  <a:pt x="919" y="213"/>
                </a:lnTo>
                <a:lnTo>
                  <a:pt x="918" y="212"/>
                </a:lnTo>
                <a:lnTo>
                  <a:pt x="919" y="209"/>
                </a:lnTo>
                <a:lnTo>
                  <a:pt x="919" y="208"/>
                </a:lnTo>
                <a:lnTo>
                  <a:pt x="920" y="208"/>
                </a:lnTo>
                <a:lnTo>
                  <a:pt x="922" y="208"/>
                </a:lnTo>
                <a:lnTo>
                  <a:pt x="931" y="207"/>
                </a:lnTo>
                <a:lnTo>
                  <a:pt x="940" y="205"/>
                </a:lnTo>
                <a:lnTo>
                  <a:pt x="926" y="201"/>
                </a:lnTo>
                <a:lnTo>
                  <a:pt x="912" y="196"/>
                </a:lnTo>
                <a:lnTo>
                  <a:pt x="919" y="195"/>
                </a:lnTo>
                <a:lnTo>
                  <a:pt x="925" y="194"/>
                </a:lnTo>
                <a:lnTo>
                  <a:pt x="929" y="192"/>
                </a:lnTo>
                <a:lnTo>
                  <a:pt x="934" y="189"/>
                </a:lnTo>
                <a:lnTo>
                  <a:pt x="939" y="187"/>
                </a:lnTo>
                <a:lnTo>
                  <a:pt x="943" y="186"/>
                </a:lnTo>
                <a:lnTo>
                  <a:pt x="947" y="186"/>
                </a:lnTo>
                <a:lnTo>
                  <a:pt x="952" y="187"/>
                </a:lnTo>
                <a:lnTo>
                  <a:pt x="957" y="188"/>
                </a:lnTo>
                <a:lnTo>
                  <a:pt x="963" y="187"/>
                </a:lnTo>
                <a:lnTo>
                  <a:pt x="969" y="186"/>
                </a:lnTo>
                <a:lnTo>
                  <a:pt x="974" y="182"/>
                </a:lnTo>
                <a:lnTo>
                  <a:pt x="979" y="179"/>
                </a:lnTo>
                <a:lnTo>
                  <a:pt x="983" y="178"/>
                </a:lnTo>
                <a:lnTo>
                  <a:pt x="988" y="178"/>
                </a:lnTo>
                <a:lnTo>
                  <a:pt x="993" y="179"/>
                </a:lnTo>
                <a:lnTo>
                  <a:pt x="1002" y="181"/>
                </a:lnTo>
                <a:lnTo>
                  <a:pt x="1010" y="182"/>
                </a:lnTo>
                <a:lnTo>
                  <a:pt x="1019" y="184"/>
                </a:lnTo>
                <a:lnTo>
                  <a:pt x="1028" y="184"/>
                </a:lnTo>
                <a:lnTo>
                  <a:pt x="1037" y="184"/>
                </a:lnTo>
                <a:lnTo>
                  <a:pt x="1045" y="184"/>
                </a:lnTo>
                <a:lnTo>
                  <a:pt x="1055" y="186"/>
                </a:lnTo>
                <a:lnTo>
                  <a:pt x="1063" y="188"/>
                </a:lnTo>
                <a:lnTo>
                  <a:pt x="1066" y="188"/>
                </a:lnTo>
                <a:lnTo>
                  <a:pt x="1070" y="187"/>
                </a:lnTo>
                <a:lnTo>
                  <a:pt x="1072" y="186"/>
                </a:lnTo>
                <a:lnTo>
                  <a:pt x="1073" y="181"/>
                </a:lnTo>
                <a:lnTo>
                  <a:pt x="1072" y="179"/>
                </a:lnTo>
                <a:lnTo>
                  <a:pt x="1071" y="177"/>
                </a:lnTo>
                <a:lnTo>
                  <a:pt x="1067" y="175"/>
                </a:lnTo>
                <a:lnTo>
                  <a:pt x="1065" y="175"/>
                </a:lnTo>
                <a:lnTo>
                  <a:pt x="1053" y="174"/>
                </a:lnTo>
                <a:lnTo>
                  <a:pt x="1043" y="174"/>
                </a:lnTo>
                <a:lnTo>
                  <a:pt x="1028" y="172"/>
                </a:lnTo>
                <a:lnTo>
                  <a:pt x="1011" y="171"/>
                </a:lnTo>
                <a:lnTo>
                  <a:pt x="1004" y="168"/>
                </a:lnTo>
                <a:lnTo>
                  <a:pt x="997" y="165"/>
                </a:lnTo>
                <a:lnTo>
                  <a:pt x="994" y="164"/>
                </a:lnTo>
                <a:lnTo>
                  <a:pt x="990" y="164"/>
                </a:lnTo>
                <a:lnTo>
                  <a:pt x="987" y="164"/>
                </a:lnTo>
                <a:lnTo>
                  <a:pt x="982" y="166"/>
                </a:lnTo>
                <a:lnTo>
                  <a:pt x="981" y="166"/>
                </a:lnTo>
                <a:lnTo>
                  <a:pt x="977" y="165"/>
                </a:lnTo>
                <a:lnTo>
                  <a:pt x="970" y="164"/>
                </a:lnTo>
                <a:lnTo>
                  <a:pt x="963" y="161"/>
                </a:lnTo>
                <a:lnTo>
                  <a:pt x="959" y="160"/>
                </a:lnTo>
                <a:lnTo>
                  <a:pt x="955" y="160"/>
                </a:lnTo>
                <a:lnTo>
                  <a:pt x="952" y="160"/>
                </a:lnTo>
                <a:lnTo>
                  <a:pt x="948" y="163"/>
                </a:lnTo>
                <a:lnTo>
                  <a:pt x="943" y="164"/>
                </a:lnTo>
                <a:lnTo>
                  <a:pt x="940" y="165"/>
                </a:lnTo>
                <a:lnTo>
                  <a:pt x="935" y="165"/>
                </a:lnTo>
                <a:lnTo>
                  <a:pt x="931" y="165"/>
                </a:lnTo>
                <a:lnTo>
                  <a:pt x="922" y="164"/>
                </a:lnTo>
                <a:lnTo>
                  <a:pt x="913" y="164"/>
                </a:lnTo>
                <a:lnTo>
                  <a:pt x="919" y="160"/>
                </a:lnTo>
                <a:lnTo>
                  <a:pt x="926" y="157"/>
                </a:lnTo>
                <a:lnTo>
                  <a:pt x="932" y="156"/>
                </a:lnTo>
                <a:lnTo>
                  <a:pt x="938" y="154"/>
                </a:lnTo>
                <a:lnTo>
                  <a:pt x="948" y="153"/>
                </a:lnTo>
                <a:lnTo>
                  <a:pt x="957" y="152"/>
                </a:lnTo>
                <a:lnTo>
                  <a:pt x="968" y="152"/>
                </a:lnTo>
                <a:lnTo>
                  <a:pt x="979" y="153"/>
                </a:lnTo>
                <a:lnTo>
                  <a:pt x="987" y="153"/>
                </a:lnTo>
                <a:lnTo>
                  <a:pt x="996" y="153"/>
                </a:lnTo>
                <a:lnTo>
                  <a:pt x="1000" y="153"/>
                </a:lnTo>
                <a:lnTo>
                  <a:pt x="1004" y="154"/>
                </a:lnTo>
                <a:lnTo>
                  <a:pt x="1009" y="156"/>
                </a:lnTo>
                <a:lnTo>
                  <a:pt x="1012" y="158"/>
                </a:lnTo>
                <a:lnTo>
                  <a:pt x="1016" y="159"/>
                </a:lnTo>
                <a:lnTo>
                  <a:pt x="1018" y="158"/>
                </a:lnTo>
                <a:lnTo>
                  <a:pt x="1018" y="156"/>
                </a:lnTo>
                <a:lnTo>
                  <a:pt x="1018" y="154"/>
                </a:lnTo>
                <a:lnTo>
                  <a:pt x="1016" y="153"/>
                </a:lnTo>
                <a:lnTo>
                  <a:pt x="1015" y="152"/>
                </a:lnTo>
                <a:lnTo>
                  <a:pt x="1007" y="147"/>
                </a:lnTo>
                <a:lnTo>
                  <a:pt x="1000" y="143"/>
                </a:lnTo>
                <a:lnTo>
                  <a:pt x="996" y="140"/>
                </a:lnTo>
                <a:lnTo>
                  <a:pt x="991" y="139"/>
                </a:lnTo>
                <a:lnTo>
                  <a:pt x="988" y="138"/>
                </a:lnTo>
                <a:lnTo>
                  <a:pt x="983" y="138"/>
                </a:lnTo>
                <a:lnTo>
                  <a:pt x="981" y="138"/>
                </a:lnTo>
                <a:lnTo>
                  <a:pt x="979" y="137"/>
                </a:lnTo>
                <a:lnTo>
                  <a:pt x="976" y="135"/>
                </a:lnTo>
                <a:lnTo>
                  <a:pt x="973" y="133"/>
                </a:lnTo>
                <a:lnTo>
                  <a:pt x="969" y="133"/>
                </a:lnTo>
                <a:lnTo>
                  <a:pt x="967" y="135"/>
                </a:lnTo>
                <a:lnTo>
                  <a:pt x="959" y="136"/>
                </a:lnTo>
                <a:lnTo>
                  <a:pt x="952" y="135"/>
                </a:lnTo>
                <a:lnTo>
                  <a:pt x="946" y="135"/>
                </a:lnTo>
                <a:lnTo>
                  <a:pt x="940" y="135"/>
                </a:lnTo>
                <a:lnTo>
                  <a:pt x="935" y="136"/>
                </a:lnTo>
                <a:lnTo>
                  <a:pt x="932" y="136"/>
                </a:lnTo>
                <a:lnTo>
                  <a:pt x="927" y="136"/>
                </a:lnTo>
                <a:lnTo>
                  <a:pt x="924" y="133"/>
                </a:lnTo>
                <a:lnTo>
                  <a:pt x="918" y="132"/>
                </a:lnTo>
                <a:lnTo>
                  <a:pt x="913" y="130"/>
                </a:lnTo>
                <a:lnTo>
                  <a:pt x="908" y="130"/>
                </a:lnTo>
                <a:lnTo>
                  <a:pt x="904" y="130"/>
                </a:lnTo>
                <a:lnTo>
                  <a:pt x="899" y="131"/>
                </a:lnTo>
                <a:lnTo>
                  <a:pt x="894" y="132"/>
                </a:lnTo>
                <a:lnTo>
                  <a:pt x="893" y="132"/>
                </a:lnTo>
                <a:lnTo>
                  <a:pt x="892" y="131"/>
                </a:lnTo>
                <a:lnTo>
                  <a:pt x="891" y="129"/>
                </a:lnTo>
                <a:lnTo>
                  <a:pt x="890" y="126"/>
                </a:lnTo>
                <a:lnTo>
                  <a:pt x="900" y="123"/>
                </a:lnTo>
                <a:lnTo>
                  <a:pt x="912" y="119"/>
                </a:lnTo>
                <a:lnTo>
                  <a:pt x="925" y="116"/>
                </a:lnTo>
                <a:lnTo>
                  <a:pt x="938" y="115"/>
                </a:lnTo>
                <a:lnTo>
                  <a:pt x="950" y="114"/>
                </a:lnTo>
                <a:lnTo>
                  <a:pt x="965" y="114"/>
                </a:lnTo>
                <a:lnTo>
                  <a:pt x="980" y="114"/>
                </a:lnTo>
                <a:lnTo>
                  <a:pt x="995" y="116"/>
                </a:lnTo>
                <a:lnTo>
                  <a:pt x="981" y="108"/>
                </a:lnTo>
                <a:lnTo>
                  <a:pt x="967" y="101"/>
                </a:lnTo>
                <a:lnTo>
                  <a:pt x="953" y="94"/>
                </a:lnTo>
                <a:lnTo>
                  <a:pt x="938" y="89"/>
                </a:lnTo>
                <a:lnTo>
                  <a:pt x="922" y="84"/>
                </a:lnTo>
                <a:lnTo>
                  <a:pt x="908" y="82"/>
                </a:lnTo>
                <a:lnTo>
                  <a:pt x="894" y="79"/>
                </a:lnTo>
                <a:lnTo>
                  <a:pt x="880" y="77"/>
                </a:lnTo>
                <a:lnTo>
                  <a:pt x="856" y="75"/>
                </a:lnTo>
                <a:lnTo>
                  <a:pt x="837" y="74"/>
                </a:lnTo>
                <a:lnTo>
                  <a:pt x="824" y="75"/>
                </a:lnTo>
                <a:lnTo>
                  <a:pt x="820" y="75"/>
                </a:lnTo>
                <a:lnTo>
                  <a:pt x="825" y="74"/>
                </a:lnTo>
                <a:lnTo>
                  <a:pt x="845" y="72"/>
                </a:lnTo>
                <a:lnTo>
                  <a:pt x="859" y="72"/>
                </a:lnTo>
                <a:lnTo>
                  <a:pt x="878" y="73"/>
                </a:lnTo>
                <a:lnTo>
                  <a:pt x="899" y="75"/>
                </a:lnTo>
                <a:lnTo>
                  <a:pt x="925" y="80"/>
                </a:lnTo>
                <a:lnTo>
                  <a:pt x="908" y="72"/>
                </a:lnTo>
                <a:lnTo>
                  <a:pt x="892" y="65"/>
                </a:lnTo>
                <a:lnTo>
                  <a:pt x="876" y="59"/>
                </a:lnTo>
                <a:lnTo>
                  <a:pt x="860" y="54"/>
                </a:lnTo>
                <a:lnTo>
                  <a:pt x="829" y="46"/>
                </a:lnTo>
                <a:lnTo>
                  <a:pt x="802" y="42"/>
                </a:lnTo>
                <a:lnTo>
                  <a:pt x="779" y="40"/>
                </a:lnTo>
                <a:lnTo>
                  <a:pt x="760" y="39"/>
                </a:lnTo>
                <a:lnTo>
                  <a:pt x="748" y="39"/>
                </a:lnTo>
                <a:lnTo>
                  <a:pt x="744" y="39"/>
                </a:lnTo>
                <a:lnTo>
                  <a:pt x="746" y="38"/>
                </a:lnTo>
                <a:lnTo>
                  <a:pt x="758" y="33"/>
                </a:lnTo>
                <a:lnTo>
                  <a:pt x="768" y="32"/>
                </a:lnTo>
                <a:lnTo>
                  <a:pt x="783" y="31"/>
                </a:lnTo>
                <a:lnTo>
                  <a:pt x="805" y="32"/>
                </a:lnTo>
                <a:lnTo>
                  <a:pt x="832" y="33"/>
                </a:lnTo>
                <a:lnTo>
                  <a:pt x="803" y="28"/>
                </a:lnTo>
                <a:lnTo>
                  <a:pt x="775" y="25"/>
                </a:lnTo>
                <a:lnTo>
                  <a:pt x="749" y="21"/>
                </a:lnTo>
                <a:lnTo>
                  <a:pt x="727" y="20"/>
                </a:lnTo>
                <a:lnTo>
                  <a:pt x="687" y="18"/>
                </a:lnTo>
                <a:lnTo>
                  <a:pt x="656" y="18"/>
                </a:lnTo>
                <a:lnTo>
                  <a:pt x="634" y="20"/>
                </a:lnTo>
                <a:lnTo>
                  <a:pt x="617" y="21"/>
                </a:lnTo>
                <a:lnTo>
                  <a:pt x="608" y="24"/>
                </a:lnTo>
                <a:lnTo>
                  <a:pt x="606" y="25"/>
                </a:lnTo>
                <a:lnTo>
                  <a:pt x="609" y="21"/>
                </a:lnTo>
                <a:lnTo>
                  <a:pt x="625" y="16"/>
                </a:lnTo>
                <a:lnTo>
                  <a:pt x="638" y="13"/>
                </a:lnTo>
                <a:lnTo>
                  <a:pt x="657" y="11"/>
                </a:lnTo>
                <a:lnTo>
                  <a:pt x="682" y="11"/>
                </a:lnTo>
                <a:lnTo>
                  <a:pt x="711" y="14"/>
                </a:lnTo>
                <a:lnTo>
                  <a:pt x="690" y="9"/>
                </a:lnTo>
                <a:lnTo>
                  <a:pt x="669" y="4"/>
                </a:lnTo>
                <a:lnTo>
                  <a:pt x="648" y="2"/>
                </a:lnTo>
                <a:lnTo>
                  <a:pt x="628" y="0"/>
                </a:lnTo>
                <a:lnTo>
                  <a:pt x="608" y="0"/>
                </a:lnTo>
                <a:lnTo>
                  <a:pt x="588" y="2"/>
                </a:lnTo>
                <a:lnTo>
                  <a:pt x="569" y="3"/>
                </a:lnTo>
                <a:lnTo>
                  <a:pt x="552" y="5"/>
                </a:lnTo>
                <a:lnTo>
                  <a:pt x="521" y="11"/>
                </a:lnTo>
                <a:lnTo>
                  <a:pt x="497" y="17"/>
                </a:lnTo>
                <a:lnTo>
                  <a:pt x="480" y="21"/>
                </a:lnTo>
                <a:lnTo>
                  <a:pt x="476" y="23"/>
                </a:lnTo>
                <a:lnTo>
                  <a:pt x="476" y="21"/>
                </a:lnTo>
                <a:lnTo>
                  <a:pt x="484" y="17"/>
                </a:lnTo>
                <a:lnTo>
                  <a:pt x="492" y="14"/>
                </a:lnTo>
                <a:lnTo>
                  <a:pt x="504" y="10"/>
                </a:lnTo>
                <a:lnTo>
                  <a:pt x="522" y="6"/>
                </a:lnTo>
                <a:lnTo>
                  <a:pt x="546" y="0"/>
                </a:lnTo>
                <a:lnTo>
                  <a:pt x="520" y="4"/>
                </a:lnTo>
                <a:lnTo>
                  <a:pt x="497" y="7"/>
                </a:lnTo>
                <a:lnTo>
                  <a:pt x="475" y="11"/>
                </a:lnTo>
                <a:lnTo>
                  <a:pt x="455" y="14"/>
                </a:lnTo>
                <a:lnTo>
                  <a:pt x="418" y="24"/>
                </a:lnTo>
                <a:lnTo>
                  <a:pt x="389" y="32"/>
                </a:lnTo>
                <a:lnTo>
                  <a:pt x="367" y="40"/>
                </a:lnTo>
                <a:lnTo>
                  <a:pt x="349" y="47"/>
                </a:lnTo>
                <a:lnTo>
                  <a:pt x="339" y="51"/>
                </a:lnTo>
                <a:lnTo>
                  <a:pt x="334" y="53"/>
                </a:lnTo>
                <a:lnTo>
                  <a:pt x="333" y="52"/>
                </a:lnTo>
                <a:lnTo>
                  <a:pt x="333" y="51"/>
                </a:lnTo>
                <a:lnTo>
                  <a:pt x="335" y="48"/>
                </a:lnTo>
                <a:lnTo>
                  <a:pt x="339" y="45"/>
                </a:lnTo>
                <a:lnTo>
                  <a:pt x="355" y="32"/>
                </a:lnTo>
                <a:lnTo>
                  <a:pt x="385" y="12"/>
                </a:lnTo>
                <a:lnTo>
                  <a:pt x="363" y="23"/>
                </a:lnTo>
                <a:lnTo>
                  <a:pt x="341" y="34"/>
                </a:lnTo>
                <a:lnTo>
                  <a:pt x="321" y="47"/>
                </a:lnTo>
                <a:lnTo>
                  <a:pt x="304" y="59"/>
                </a:lnTo>
                <a:lnTo>
                  <a:pt x="276" y="79"/>
                </a:lnTo>
                <a:lnTo>
                  <a:pt x="265" y="87"/>
                </a:lnTo>
                <a:lnTo>
                  <a:pt x="259" y="90"/>
                </a:lnTo>
                <a:lnTo>
                  <a:pt x="252" y="94"/>
                </a:lnTo>
                <a:lnTo>
                  <a:pt x="248" y="96"/>
                </a:lnTo>
                <a:lnTo>
                  <a:pt x="243" y="100"/>
                </a:lnTo>
                <a:lnTo>
                  <a:pt x="235" y="103"/>
                </a:lnTo>
                <a:lnTo>
                  <a:pt x="228" y="107"/>
                </a:lnTo>
                <a:lnTo>
                  <a:pt x="220" y="110"/>
                </a:lnTo>
                <a:lnTo>
                  <a:pt x="211" y="111"/>
                </a:lnTo>
                <a:lnTo>
                  <a:pt x="208" y="111"/>
                </a:lnTo>
                <a:lnTo>
                  <a:pt x="204" y="111"/>
                </a:lnTo>
                <a:lnTo>
                  <a:pt x="201" y="111"/>
                </a:lnTo>
                <a:lnTo>
                  <a:pt x="199" y="114"/>
                </a:lnTo>
                <a:lnTo>
                  <a:pt x="197" y="115"/>
                </a:lnTo>
                <a:lnTo>
                  <a:pt x="197" y="115"/>
                </a:lnTo>
                <a:lnTo>
                  <a:pt x="189" y="116"/>
                </a:lnTo>
                <a:lnTo>
                  <a:pt x="181" y="117"/>
                </a:lnTo>
                <a:lnTo>
                  <a:pt x="178" y="119"/>
                </a:lnTo>
                <a:lnTo>
                  <a:pt x="174" y="121"/>
                </a:lnTo>
                <a:lnTo>
                  <a:pt x="171" y="124"/>
                </a:lnTo>
                <a:lnTo>
                  <a:pt x="168" y="128"/>
                </a:lnTo>
                <a:lnTo>
                  <a:pt x="166" y="130"/>
                </a:lnTo>
                <a:lnTo>
                  <a:pt x="163" y="132"/>
                </a:lnTo>
                <a:lnTo>
                  <a:pt x="159" y="133"/>
                </a:lnTo>
                <a:lnTo>
                  <a:pt x="154" y="135"/>
                </a:lnTo>
                <a:lnTo>
                  <a:pt x="146" y="136"/>
                </a:lnTo>
                <a:lnTo>
                  <a:pt x="139" y="139"/>
                </a:lnTo>
                <a:lnTo>
                  <a:pt x="132" y="143"/>
                </a:lnTo>
                <a:lnTo>
                  <a:pt x="125" y="149"/>
                </a:lnTo>
                <a:lnTo>
                  <a:pt x="125" y="149"/>
                </a:lnTo>
                <a:lnTo>
                  <a:pt x="121" y="149"/>
                </a:lnTo>
                <a:lnTo>
                  <a:pt x="119" y="150"/>
                </a:lnTo>
                <a:lnTo>
                  <a:pt x="117" y="152"/>
                </a:lnTo>
                <a:lnTo>
                  <a:pt x="116" y="153"/>
                </a:lnTo>
                <a:lnTo>
                  <a:pt x="114" y="154"/>
                </a:lnTo>
                <a:lnTo>
                  <a:pt x="111" y="156"/>
                </a:lnTo>
                <a:lnTo>
                  <a:pt x="106" y="157"/>
                </a:lnTo>
                <a:lnTo>
                  <a:pt x="103" y="160"/>
                </a:lnTo>
                <a:lnTo>
                  <a:pt x="100" y="164"/>
                </a:lnTo>
                <a:lnTo>
                  <a:pt x="92" y="168"/>
                </a:lnTo>
                <a:lnTo>
                  <a:pt x="85" y="174"/>
                </a:lnTo>
                <a:lnTo>
                  <a:pt x="73" y="184"/>
                </a:lnTo>
                <a:lnTo>
                  <a:pt x="63" y="193"/>
                </a:lnTo>
                <a:lnTo>
                  <a:pt x="58" y="198"/>
                </a:lnTo>
                <a:lnTo>
                  <a:pt x="54" y="203"/>
                </a:lnTo>
                <a:lnTo>
                  <a:pt x="50" y="209"/>
                </a:lnTo>
                <a:lnTo>
                  <a:pt x="45" y="215"/>
                </a:lnTo>
                <a:lnTo>
                  <a:pt x="47" y="216"/>
                </a:lnTo>
                <a:lnTo>
                  <a:pt x="47" y="216"/>
                </a:lnTo>
                <a:lnTo>
                  <a:pt x="47" y="216"/>
                </a:lnTo>
                <a:lnTo>
                  <a:pt x="45" y="215"/>
                </a:lnTo>
                <a:lnTo>
                  <a:pt x="45" y="216"/>
                </a:lnTo>
                <a:lnTo>
                  <a:pt x="45" y="217"/>
                </a:lnTo>
                <a:lnTo>
                  <a:pt x="38" y="227"/>
                </a:lnTo>
                <a:lnTo>
                  <a:pt x="31" y="236"/>
                </a:lnTo>
                <a:lnTo>
                  <a:pt x="27" y="247"/>
                </a:lnTo>
                <a:lnTo>
                  <a:pt x="22" y="258"/>
                </a:lnTo>
                <a:lnTo>
                  <a:pt x="22" y="259"/>
                </a:lnTo>
                <a:lnTo>
                  <a:pt x="22" y="259"/>
                </a:lnTo>
                <a:lnTo>
                  <a:pt x="20" y="262"/>
                </a:lnTo>
                <a:lnTo>
                  <a:pt x="18" y="264"/>
                </a:lnTo>
                <a:lnTo>
                  <a:pt x="17" y="266"/>
                </a:lnTo>
                <a:lnTo>
                  <a:pt x="17" y="270"/>
                </a:lnTo>
                <a:lnTo>
                  <a:pt x="17" y="270"/>
                </a:lnTo>
                <a:lnTo>
                  <a:pt x="16" y="271"/>
                </a:lnTo>
                <a:lnTo>
                  <a:pt x="15" y="273"/>
                </a:lnTo>
                <a:lnTo>
                  <a:pt x="14" y="276"/>
                </a:lnTo>
                <a:lnTo>
                  <a:pt x="13" y="278"/>
                </a:lnTo>
                <a:lnTo>
                  <a:pt x="13" y="280"/>
                </a:lnTo>
                <a:lnTo>
                  <a:pt x="7" y="301"/>
                </a:lnTo>
                <a:lnTo>
                  <a:pt x="2" y="322"/>
                </a:lnTo>
                <a:lnTo>
                  <a:pt x="0" y="343"/>
                </a:lnTo>
                <a:lnTo>
                  <a:pt x="0" y="366"/>
                </a:lnTo>
                <a:lnTo>
                  <a:pt x="0" y="381"/>
                </a:lnTo>
                <a:lnTo>
                  <a:pt x="2" y="395"/>
                </a:lnTo>
                <a:lnTo>
                  <a:pt x="4" y="410"/>
                </a:lnTo>
                <a:lnTo>
                  <a:pt x="8" y="425"/>
                </a:lnTo>
                <a:lnTo>
                  <a:pt x="10" y="434"/>
                </a:lnTo>
                <a:lnTo>
                  <a:pt x="14" y="444"/>
                </a:lnTo>
                <a:lnTo>
                  <a:pt x="17" y="452"/>
                </a:lnTo>
                <a:lnTo>
                  <a:pt x="22" y="461"/>
                </a:lnTo>
                <a:lnTo>
                  <a:pt x="24" y="465"/>
                </a:lnTo>
                <a:lnTo>
                  <a:pt x="27" y="467"/>
                </a:lnTo>
                <a:lnTo>
                  <a:pt x="31" y="468"/>
                </a:lnTo>
                <a:lnTo>
                  <a:pt x="36" y="468"/>
                </a:lnTo>
                <a:lnTo>
                  <a:pt x="40" y="467"/>
                </a:lnTo>
                <a:lnTo>
                  <a:pt x="42" y="465"/>
                </a:lnTo>
                <a:lnTo>
                  <a:pt x="44" y="462"/>
                </a:lnTo>
                <a:lnTo>
                  <a:pt x="45" y="459"/>
                </a:lnTo>
                <a:lnTo>
                  <a:pt x="45" y="453"/>
                </a:lnTo>
                <a:lnTo>
                  <a:pt x="47" y="448"/>
                </a:lnTo>
                <a:lnTo>
                  <a:pt x="47" y="439"/>
                </a:lnTo>
                <a:lnTo>
                  <a:pt x="48" y="431"/>
                </a:lnTo>
                <a:lnTo>
                  <a:pt x="48" y="422"/>
                </a:lnTo>
                <a:lnTo>
                  <a:pt x="48" y="413"/>
                </a:lnTo>
                <a:lnTo>
                  <a:pt x="49" y="409"/>
                </a:lnTo>
                <a:lnTo>
                  <a:pt x="50" y="405"/>
                </a:lnTo>
                <a:lnTo>
                  <a:pt x="54" y="404"/>
                </a:lnTo>
                <a:lnTo>
                  <a:pt x="58" y="403"/>
                </a:lnTo>
                <a:lnTo>
                  <a:pt x="76" y="404"/>
                </a:lnTo>
                <a:lnTo>
                  <a:pt x="92" y="404"/>
                </a:lnTo>
                <a:lnTo>
                  <a:pt x="119" y="403"/>
                </a:lnTo>
                <a:lnTo>
                  <a:pt x="146" y="401"/>
                </a:lnTo>
                <a:lnTo>
                  <a:pt x="159" y="399"/>
                </a:lnTo>
                <a:lnTo>
                  <a:pt x="173" y="396"/>
                </a:lnTo>
                <a:lnTo>
                  <a:pt x="186" y="392"/>
                </a:lnTo>
                <a:lnTo>
                  <a:pt x="199" y="389"/>
                </a:lnTo>
                <a:lnTo>
                  <a:pt x="202" y="388"/>
                </a:lnTo>
                <a:lnTo>
                  <a:pt x="204" y="387"/>
                </a:lnTo>
                <a:lnTo>
                  <a:pt x="206" y="387"/>
                </a:lnTo>
                <a:lnTo>
                  <a:pt x="207" y="385"/>
                </a:lnTo>
                <a:lnTo>
                  <a:pt x="222" y="385"/>
                </a:lnTo>
                <a:lnTo>
                  <a:pt x="238" y="387"/>
                </a:lnTo>
                <a:lnTo>
                  <a:pt x="240" y="387"/>
                </a:lnTo>
                <a:lnTo>
                  <a:pt x="241" y="387"/>
                </a:lnTo>
                <a:lnTo>
                  <a:pt x="245" y="388"/>
                </a:lnTo>
                <a:lnTo>
                  <a:pt x="250" y="389"/>
                </a:lnTo>
                <a:lnTo>
                  <a:pt x="258" y="389"/>
                </a:lnTo>
                <a:lnTo>
                  <a:pt x="266" y="391"/>
                </a:lnTo>
                <a:lnTo>
                  <a:pt x="275" y="395"/>
                </a:lnTo>
                <a:lnTo>
                  <a:pt x="283" y="398"/>
                </a:lnTo>
                <a:lnTo>
                  <a:pt x="294" y="404"/>
                </a:lnTo>
                <a:lnTo>
                  <a:pt x="306" y="410"/>
                </a:lnTo>
                <a:lnTo>
                  <a:pt x="318" y="417"/>
                </a:lnTo>
                <a:lnTo>
                  <a:pt x="330" y="424"/>
                </a:lnTo>
                <a:lnTo>
                  <a:pt x="335" y="429"/>
                </a:lnTo>
                <a:lnTo>
                  <a:pt x="341" y="433"/>
                </a:lnTo>
                <a:lnTo>
                  <a:pt x="353" y="443"/>
                </a:lnTo>
                <a:lnTo>
                  <a:pt x="366" y="452"/>
                </a:lnTo>
                <a:lnTo>
                  <a:pt x="377" y="461"/>
                </a:lnTo>
                <a:lnTo>
                  <a:pt x="389" y="472"/>
                </a:lnTo>
                <a:lnTo>
                  <a:pt x="400" y="485"/>
                </a:lnTo>
                <a:lnTo>
                  <a:pt x="411" y="496"/>
                </a:lnTo>
                <a:lnTo>
                  <a:pt x="423" y="509"/>
                </a:lnTo>
                <a:lnTo>
                  <a:pt x="435" y="522"/>
                </a:lnTo>
                <a:lnTo>
                  <a:pt x="435" y="523"/>
                </a:lnTo>
                <a:lnTo>
                  <a:pt x="436" y="524"/>
                </a:lnTo>
                <a:lnTo>
                  <a:pt x="437" y="525"/>
                </a:lnTo>
                <a:lnTo>
                  <a:pt x="437" y="527"/>
                </a:lnTo>
                <a:lnTo>
                  <a:pt x="439" y="532"/>
                </a:lnTo>
                <a:lnTo>
                  <a:pt x="444" y="537"/>
                </a:lnTo>
                <a:lnTo>
                  <a:pt x="444" y="537"/>
                </a:lnTo>
                <a:lnTo>
                  <a:pt x="444" y="538"/>
                </a:lnTo>
                <a:lnTo>
                  <a:pt x="444" y="542"/>
                </a:lnTo>
                <a:lnTo>
                  <a:pt x="446" y="545"/>
                </a:lnTo>
                <a:lnTo>
                  <a:pt x="455" y="560"/>
                </a:lnTo>
                <a:lnTo>
                  <a:pt x="463" y="577"/>
                </a:lnTo>
                <a:lnTo>
                  <a:pt x="470" y="593"/>
                </a:lnTo>
                <a:lnTo>
                  <a:pt x="476" y="611"/>
                </a:lnTo>
                <a:lnTo>
                  <a:pt x="480" y="628"/>
                </a:lnTo>
                <a:lnTo>
                  <a:pt x="484" y="646"/>
                </a:lnTo>
                <a:lnTo>
                  <a:pt x="484" y="649"/>
                </a:lnTo>
                <a:lnTo>
                  <a:pt x="485" y="653"/>
                </a:lnTo>
                <a:lnTo>
                  <a:pt x="486" y="656"/>
                </a:lnTo>
                <a:lnTo>
                  <a:pt x="489" y="660"/>
                </a:lnTo>
                <a:lnTo>
                  <a:pt x="489" y="661"/>
                </a:lnTo>
                <a:lnTo>
                  <a:pt x="489" y="662"/>
                </a:lnTo>
                <a:lnTo>
                  <a:pt x="487" y="666"/>
                </a:lnTo>
                <a:lnTo>
                  <a:pt x="487" y="669"/>
                </a:lnTo>
                <a:lnTo>
                  <a:pt x="489" y="671"/>
                </a:lnTo>
                <a:lnTo>
                  <a:pt x="490" y="673"/>
                </a:lnTo>
                <a:lnTo>
                  <a:pt x="491" y="673"/>
                </a:lnTo>
                <a:lnTo>
                  <a:pt x="493" y="674"/>
                </a:lnTo>
                <a:lnTo>
                  <a:pt x="493" y="675"/>
                </a:lnTo>
                <a:lnTo>
                  <a:pt x="493" y="675"/>
                </a:lnTo>
                <a:lnTo>
                  <a:pt x="492" y="682"/>
                </a:lnTo>
                <a:lnTo>
                  <a:pt x="493" y="688"/>
                </a:lnTo>
                <a:lnTo>
                  <a:pt x="496" y="694"/>
                </a:lnTo>
                <a:lnTo>
                  <a:pt x="499" y="698"/>
                </a:lnTo>
                <a:lnTo>
                  <a:pt x="501" y="702"/>
                </a:lnTo>
                <a:lnTo>
                  <a:pt x="501" y="705"/>
                </a:lnTo>
                <a:lnTo>
                  <a:pt x="504" y="725"/>
                </a:lnTo>
                <a:lnTo>
                  <a:pt x="504" y="746"/>
                </a:lnTo>
                <a:lnTo>
                  <a:pt x="505" y="766"/>
                </a:lnTo>
                <a:lnTo>
                  <a:pt x="507" y="786"/>
                </a:lnTo>
                <a:lnTo>
                  <a:pt x="508" y="785"/>
                </a:lnTo>
                <a:lnTo>
                  <a:pt x="510" y="782"/>
                </a:lnTo>
                <a:lnTo>
                  <a:pt x="511" y="793"/>
                </a:lnTo>
                <a:lnTo>
                  <a:pt x="511" y="803"/>
                </a:lnTo>
                <a:lnTo>
                  <a:pt x="511" y="814"/>
                </a:lnTo>
                <a:lnTo>
                  <a:pt x="512" y="824"/>
                </a:lnTo>
                <a:lnTo>
                  <a:pt x="512" y="829"/>
                </a:lnTo>
                <a:lnTo>
                  <a:pt x="513" y="832"/>
                </a:lnTo>
                <a:lnTo>
                  <a:pt x="513" y="844"/>
                </a:lnTo>
                <a:lnTo>
                  <a:pt x="513" y="855"/>
                </a:lnTo>
                <a:lnTo>
                  <a:pt x="511" y="857"/>
                </a:lnTo>
                <a:lnTo>
                  <a:pt x="510" y="859"/>
                </a:lnTo>
                <a:lnTo>
                  <a:pt x="511" y="862"/>
                </a:lnTo>
                <a:lnTo>
                  <a:pt x="511" y="864"/>
                </a:lnTo>
                <a:lnTo>
                  <a:pt x="511" y="870"/>
                </a:lnTo>
                <a:lnTo>
                  <a:pt x="510" y="877"/>
                </a:lnTo>
                <a:lnTo>
                  <a:pt x="511" y="883"/>
                </a:lnTo>
                <a:lnTo>
                  <a:pt x="513" y="888"/>
                </a:lnTo>
                <a:lnTo>
                  <a:pt x="513" y="891"/>
                </a:lnTo>
                <a:lnTo>
                  <a:pt x="513" y="893"/>
                </a:lnTo>
                <a:lnTo>
                  <a:pt x="511" y="898"/>
                </a:lnTo>
                <a:lnTo>
                  <a:pt x="511" y="902"/>
                </a:lnTo>
                <a:lnTo>
                  <a:pt x="513" y="927"/>
                </a:lnTo>
                <a:lnTo>
                  <a:pt x="515" y="951"/>
                </a:lnTo>
                <a:lnTo>
                  <a:pt x="518" y="977"/>
                </a:lnTo>
                <a:lnTo>
                  <a:pt x="518" y="1002"/>
                </a:lnTo>
                <a:lnTo>
                  <a:pt x="519" y="1020"/>
                </a:lnTo>
                <a:lnTo>
                  <a:pt x="520" y="1038"/>
                </a:lnTo>
                <a:lnTo>
                  <a:pt x="521" y="1056"/>
                </a:lnTo>
                <a:lnTo>
                  <a:pt x="524" y="1075"/>
                </a:lnTo>
                <a:lnTo>
                  <a:pt x="524" y="1076"/>
                </a:lnTo>
                <a:lnTo>
                  <a:pt x="524" y="1079"/>
                </a:lnTo>
                <a:lnTo>
                  <a:pt x="524" y="1080"/>
                </a:lnTo>
                <a:lnTo>
                  <a:pt x="524" y="1081"/>
                </a:lnTo>
                <a:lnTo>
                  <a:pt x="517" y="1089"/>
                </a:lnTo>
                <a:lnTo>
                  <a:pt x="510" y="1096"/>
                </a:lnTo>
                <a:lnTo>
                  <a:pt x="493" y="1111"/>
                </a:lnTo>
                <a:lnTo>
                  <a:pt x="478" y="1129"/>
                </a:lnTo>
                <a:lnTo>
                  <a:pt x="471" y="1136"/>
                </a:lnTo>
                <a:lnTo>
                  <a:pt x="465" y="1144"/>
                </a:lnTo>
                <a:lnTo>
                  <a:pt x="456" y="1156"/>
                </a:lnTo>
                <a:lnTo>
                  <a:pt x="448" y="1167"/>
                </a:lnTo>
                <a:lnTo>
                  <a:pt x="439" y="1179"/>
                </a:lnTo>
                <a:lnTo>
                  <a:pt x="432" y="1191"/>
                </a:lnTo>
                <a:lnTo>
                  <a:pt x="425" y="1203"/>
                </a:lnTo>
                <a:lnTo>
                  <a:pt x="420" y="1216"/>
                </a:lnTo>
                <a:lnTo>
                  <a:pt x="415" y="1230"/>
                </a:lnTo>
                <a:lnTo>
                  <a:pt x="410" y="1243"/>
                </a:lnTo>
                <a:lnTo>
                  <a:pt x="407" y="1254"/>
                </a:lnTo>
                <a:lnTo>
                  <a:pt x="404" y="1264"/>
                </a:lnTo>
                <a:lnTo>
                  <a:pt x="401" y="1273"/>
                </a:lnTo>
                <a:lnTo>
                  <a:pt x="396" y="1283"/>
                </a:lnTo>
                <a:lnTo>
                  <a:pt x="393" y="1289"/>
                </a:lnTo>
                <a:lnTo>
                  <a:pt x="389" y="1296"/>
                </a:lnTo>
                <a:lnTo>
                  <a:pt x="387" y="1301"/>
                </a:lnTo>
                <a:lnTo>
                  <a:pt x="386" y="1308"/>
                </a:lnTo>
                <a:lnTo>
                  <a:pt x="386" y="1310"/>
                </a:lnTo>
                <a:lnTo>
                  <a:pt x="385" y="1311"/>
                </a:lnTo>
                <a:lnTo>
                  <a:pt x="383" y="1313"/>
                </a:lnTo>
                <a:lnTo>
                  <a:pt x="382" y="1314"/>
                </a:lnTo>
                <a:lnTo>
                  <a:pt x="381" y="1317"/>
                </a:lnTo>
                <a:lnTo>
                  <a:pt x="381" y="1320"/>
                </a:lnTo>
                <a:lnTo>
                  <a:pt x="375" y="1334"/>
                </a:lnTo>
                <a:lnTo>
                  <a:pt x="370" y="1349"/>
                </a:lnTo>
                <a:lnTo>
                  <a:pt x="365" y="1366"/>
                </a:lnTo>
                <a:lnTo>
                  <a:pt x="359" y="1383"/>
                </a:lnTo>
                <a:lnTo>
                  <a:pt x="354" y="1400"/>
                </a:lnTo>
                <a:lnTo>
                  <a:pt x="347" y="1417"/>
                </a:lnTo>
                <a:lnTo>
                  <a:pt x="345" y="1424"/>
                </a:lnTo>
                <a:lnTo>
                  <a:pt x="341" y="1432"/>
                </a:lnTo>
                <a:lnTo>
                  <a:pt x="1974" y="1432"/>
                </a:lnTo>
                <a:lnTo>
                  <a:pt x="1974" y="1422"/>
                </a:lnTo>
                <a:lnTo>
                  <a:pt x="1974" y="1411"/>
                </a:lnTo>
                <a:lnTo>
                  <a:pt x="1974" y="1395"/>
                </a:lnTo>
                <a:lnTo>
                  <a:pt x="1974" y="1377"/>
                </a:lnTo>
                <a:lnTo>
                  <a:pt x="1974" y="1361"/>
                </a:lnTo>
                <a:lnTo>
                  <a:pt x="1974" y="1345"/>
                </a:lnTo>
                <a:lnTo>
                  <a:pt x="1974" y="1339"/>
                </a:lnTo>
                <a:lnTo>
                  <a:pt x="1974" y="1333"/>
                </a:lnTo>
                <a:lnTo>
                  <a:pt x="1974" y="1322"/>
                </a:lnTo>
                <a:lnTo>
                  <a:pt x="1974" y="1313"/>
                </a:lnTo>
                <a:lnTo>
                  <a:pt x="1974" y="1304"/>
                </a:lnTo>
                <a:lnTo>
                  <a:pt x="1974" y="1293"/>
                </a:lnTo>
                <a:lnTo>
                  <a:pt x="1974" y="1271"/>
                </a:lnTo>
                <a:lnTo>
                  <a:pt x="1974" y="1248"/>
                </a:lnTo>
                <a:lnTo>
                  <a:pt x="1974" y="1224"/>
                </a:lnTo>
                <a:lnTo>
                  <a:pt x="1974" y="1202"/>
                </a:lnTo>
                <a:lnTo>
                  <a:pt x="1974" y="1200"/>
                </a:lnTo>
                <a:lnTo>
                  <a:pt x="1974" y="1199"/>
                </a:lnTo>
                <a:lnTo>
                  <a:pt x="1974" y="1194"/>
                </a:lnTo>
                <a:lnTo>
                  <a:pt x="1974" y="1188"/>
                </a:lnTo>
                <a:lnTo>
                  <a:pt x="1974" y="1188"/>
                </a:lnTo>
                <a:lnTo>
                  <a:pt x="1974" y="1187"/>
                </a:lnTo>
                <a:lnTo>
                  <a:pt x="1974" y="1184"/>
                </a:lnTo>
                <a:lnTo>
                  <a:pt x="1974" y="1179"/>
                </a:lnTo>
                <a:lnTo>
                  <a:pt x="1974" y="1170"/>
                </a:lnTo>
                <a:lnTo>
                  <a:pt x="1974" y="1159"/>
                </a:lnTo>
                <a:lnTo>
                  <a:pt x="1974" y="1151"/>
                </a:lnTo>
                <a:lnTo>
                  <a:pt x="1974" y="1143"/>
                </a:lnTo>
                <a:lnTo>
                  <a:pt x="1974" y="1131"/>
                </a:lnTo>
                <a:lnTo>
                  <a:pt x="1974" y="1121"/>
                </a:lnTo>
                <a:lnTo>
                  <a:pt x="1974" y="1107"/>
                </a:lnTo>
                <a:lnTo>
                  <a:pt x="1974" y="1093"/>
                </a:lnTo>
                <a:lnTo>
                  <a:pt x="1974" y="1084"/>
                </a:lnTo>
                <a:lnTo>
                  <a:pt x="1974" y="1077"/>
                </a:lnTo>
                <a:lnTo>
                  <a:pt x="1974" y="1074"/>
                </a:lnTo>
                <a:lnTo>
                  <a:pt x="1974" y="1072"/>
                </a:lnTo>
                <a:lnTo>
                  <a:pt x="1974" y="1054"/>
                </a:lnTo>
                <a:lnTo>
                  <a:pt x="1974" y="1037"/>
                </a:lnTo>
                <a:lnTo>
                  <a:pt x="1974" y="1030"/>
                </a:lnTo>
                <a:lnTo>
                  <a:pt x="1974" y="1023"/>
                </a:lnTo>
                <a:lnTo>
                  <a:pt x="1974" y="1014"/>
                </a:lnTo>
                <a:lnTo>
                  <a:pt x="1974" y="1007"/>
                </a:lnTo>
                <a:lnTo>
                  <a:pt x="1974" y="1005"/>
                </a:lnTo>
                <a:lnTo>
                  <a:pt x="1974" y="1003"/>
                </a:lnTo>
                <a:lnTo>
                  <a:pt x="1974" y="997"/>
                </a:lnTo>
                <a:lnTo>
                  <a:pt x="1974" y="991"/>
                </a:lnTo>
                <a:lnTo>
                  <a:pt x="1971" y="992"/>
                </a:lnTo>
                <a:lnTo>
                  <a:pt x="1970" y="991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799" b="1" dirty="0"/>
            </a:lvl1pPr>
          </a:lstStyle>
          <a:p>
            <a:pPr lvl="0" algn="ctr"/>
            <a:r>
              <a:rPr lang="en-US" sz="4799" dirty="0" err="1"/>
              <a:t>sadsa</a:t>
            </a:r>
            <a:endParaRPr lang="en-US" sz="4799" dirty="0"/>
          </a:p>
        </p:txBody>
      </p:sp>
    </p:spTree>
    <p:extLst>
      <p:ext uri="{BB962C8B-B14F-4D97-AF65-F5344CB8AC3E}">
        <p14:creationId xmlns:p14="http://schemas.microsoft.com/office/powerpoint/2010/main" val="3983330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1">
            <a:extLst>
              <a:ext uri="{FF2B5EF4-FFF2-40B4-BE49-F238E27FC236}">
                <a16:creationId xmlns:a16="http://schemas.microsoft.com/office/drawing/2014/main" id="{B25C1E14-A79C-1348-921F-771FBDBCB043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444108" y="2097006"/>
            <a:ext cx="6049218" cy="4580995"/>
          </a:xfrm>
          <a:custGeom>
            <a:avLst/>
            <a:gdLst>
              <a:gd name="T0" fmla="*/ 14437 w 26312"/>
              <a:gd name="T1" fmla="*/ 2313 h 17531"/>
              <a:gd name="T2" fmla="*/ 10719 w 26312"/>
              <a:gd name="T3" fmla="*/ 1813 h 17531"/>
              <a:gd name="T4" fmla="*/ 15312 w 26312"/>
              <a:gd name="T5" fmla="*/ 938 h 17531"/>
              <a:gd name="T6" fmla="*/ 12625 w 26312"/>
              <a:gd name="T7" fmla="*/ 1281 h 17531"/>
              <a:gd name="T8" fmla="*/ 4906 w 26312"/>
              <a:gd name="T9" fmla="*/ 3281 h 17531"/>
              <a:gd name="T10" fmla="*/ 3000 w 26312"/>
              <a:gd name="T11" fmla="*/ 3188 h 17531"/>
              <a:gd name="T12" fmla="*/ 9781 w 26312"/>
              <a:gd name="T13" fmla="*/ 1875 h 17531"/>
              <a:gd name="T14" fmla="*/ 15469 w 26312"/>
              <a:gd name="T15" fmla="*/ 1344 h 17531"/>
              <a:gd name="T16" fmla="*/ 14906 w 26312"/>
              <a:gd name="T17" fmla="*/ 938 h 17531"/>
              <a:gd name="T18" fmla="*/ 6687 w 26312"/>
              <a:gd name="T19" fmla="*/ 2344 h 17531"/>
              <a:gd name="T20" fmla="*/ 7500 w 26312"/>
              <a:gd name="T21" fmla="*/ 2875 h 17531"/>
              <a:gd name="T22" fmla="*/ 14781 w 26312"/>
              <a:gd name="T23" fmla="*/ 1094 h 17531"/>
              <a:gd name="T24" fmla="*/ 5406 w 26312"/>
              <a:gd name="T25" fmla="*/ 3594 h 17531"/>
              <a:gd name="T26" fmla="*/ 5750 w 26312"/>
              <a:gd name="T27" fmla="*/ 3563 h 17531"/>
              <a:gd name="T28" fmla="*/ 5156 w 26312"/>
              <a:gd name="T29" fmla="*/ 2781 h 17531"/>
              <a:gd name="T30" fmla="*/ 6437 w 26312"/>
              <a:gd name="T31" fmla="*/ 3094 h 17531"/>
              <a:gd name="T32" fmla="*/ 8812 w 26312"/>
              <a:gd name="T33" fmla="*/ 3781 h 17531"/>
              <a:gd name="T34" fmla="*/ 9062 w 26312"/>
              <a:gd name="T35" fmla="*/ 3063 h 17531"/>
              <a:gd name="T36" fmla="*/ 9719 w 26312"/>
              <a:gd name="T37" fmla="*/ 2813 h 17531"/>
              <a:gd name="T38" fmla="*/ 10937 w 26312"/>
              <a:gd name="T39" fmla="*/ 3281 h 17531"/>
              <a:gd name="T40" fmla="*/ 11594 w 26312"/>
              <a:gd name="T41" fmla="*/ 3188 h 17531"/>
              <a:gd name="T42" fmla="*/ 12125 w 26312"/>
              <a:gd name="T43" fmla="*/ 3531 h 17531"/>
              <a:gd name="T44" fmla="*/ 12937 w 26312"/>
              <a:gd name="T45" fmla="*/ 3563 h 17531"/>
              <a:gd name="T46" fmla="*/ 13531 w 26312"/>
              <a:gd name="T47" fmla="*/ 3281 h 17531"/>
              <a:gd name="T48" fmla="*/ 14187 w 26312"/>
              <a:gd name="T49" fmla="*/ 2406 h 17531"/>
              <a:gd name="T50" fmla="*/ 14406 w 26312"/>
              <a:gd name="T51" fmla="*/ 1469 h 17531"/>
              <a:gd name="T52" fmla="*/ 15781 w 26312"/>
              <a:gd name="T53" fmla="*/ 2625 h 17531"/>
              <a:gd name="T54" fmla="*/ 16687 w 26312"/>
              <a:gd name="T55" fmla="*/ 2031 h 17531"/>
              <a:gd name="T56" fmla="*/ 17125 w 26312"/>
              <a:gd name="T57" fmla="*/ 594 h 17531"/>
              <a:gd name="T58" fmla="*/ 19875 w 26312"/>
              <a:gd name="T59" fmla="*/ 2219 h 17531"/>
              <a:gd name="T60" fmla="*/ 21156 w 26312"/>
              <a:gd name="T61" fmla="*/ 3594 h 17531"/>
              <a:gd name="T62" fmla="*/ 21875 w 26312"/>
              <a:gd name="T63" fmla="*/ 5219 h 17531"/>
              <a:gd name="T64" fmla="*/ 23375 w 26312"/>
              <a:gd name="T65" fmla="*/ 3906 h 17531"/>
              <a:gd name="T66" fmla="*/ 24000 w 26312"/>
              <a:gd name="T67" fmla="*/ 3625 h 17531"/>
              <a:gd name="T68" fmla="*/ 24000 w 26312"/>
              <a:gd name="T69" fmla="*/ 2344 h 17531"/>
              <a:gd name="T70" fmla="*/ 24500 w 26312"/>
              <a:gd name="T71" fmla="*/ 719 h 17531"/>
              <a:gd name="T72" fmla="*/ 25469 w 26312"/>
              <a:gd name="T73" fmla="*/ 906 h 17531"/>
              <a:gd name="T74" fmla="*/ 20906 w 26312"/>
              <a:gd name="T75" fmla="*/ 6969 h 17531"/>
              <a:gd name="T76" fmla="*/ 16437 w 26312"/>
              <a:gd name="T77" fmla="*/ 14344 h 17531"/>
              <a:gd name="T78" fmla="*/ 16500 w 26312"/>
              <a:gd name="T79" fmla="*/ 15531 h 17531"/>
              <a:gd name="T80" fmla="*/ 15625 w 26312"/>
              <a:gd name="T81" fmla="*/ 16875 h 17531"/>
              <a:gd name="T82" fmla="*/ 12437 w 26312"/>
              <a:gd name="T83" fmla="*/ 16719 h 17531"/>
              <a:gd name="T84" fmla="*/ 11125 w 26312"/>
              <a:gd name="T85" fmla="*/ 11500 h 17531"/>
              <a:gd name="T86" fmla="*/ 5437 w 26312"/>
              <a:gd name="T87" fmla="*/ 12594 h 17531"/>
              <a:gd name="T88" fmla="*/ 4437 w 26312"/>
              <a:gd name="T89" fmla="*/ 17500 h 17531"/>
              <a:gd name="T90" fmla="*/ 2625 w 26312"/>
              <a:gd name="T91" fmla="*/ 15031 h 17531"/>
              <a:gd name="T92" fmla="*/ 219 w 26312"/>
              <a:gd name="T93" fmla="*/ 16875 h 17531"/>
              <a:gd name="T94" fmla="*/ 531 w 26312"/>
              <a:gd name="T95" fmla="*/ 14906 h 17531"/>
              <a:gd name="T96" fmla="*/ 344 w 26312"/>
              <a:gd name="T97" fmla="*/ 9438 h 17531"/>
              <a:gd name="T98" fmla="*/ 3375 w 26312"/>
              <a:gd name="T99" fmla="*/ 1750 h 17531"/>
              <a:gd name="T100" fmla="*/ 1937 w 26312"/>
              <a:gd name="T101" fmla="*/ 3375 h 17531"/>
              <a:gd name="T102" fmla="*/ 2062 w 26312"/>
              <a:gd name="T103" fmla="*/ 4344 h 17531"/>
              <a:gd name="T104" fmla="*/ 3781 w 26312"/>
              <a:gd name="T105" fmla="*/ 4188 h 17531"/>
              <a:gd name="T106" fmla="*/ 4094 w 26312"/>
              <a:gd name="T107" fmla="*/ 3969 h 17531"/>
              <a:gd name="T108" fmla="*/ 3844 w 26312"/>
              <a:gd name="T109" fmla="*/ 3219 h 17531"/>
              <a:gd name="T110" fmla="*/ 21719 w 26312"/>
              <a:gd name="T111" fmla="*/ 4906 h 17531"/>
              <a:gd name="T112" fmla="*/ 7875 w 26312"/>
              <a:gd name="T113" fmla="*/ 1406 h 17531"/>
              <a:gd name="T114" fmla="*/ 10312 w 26312"/>
              <a:gd name="T115" fmla="*/ 1781 h 17531"/>
              <a:gd name="T116" fmla="*/ 11844 w 26312"/>
              <a:gd name="T117" fmla="*/ 1406 h 17531"/>
              <a:gd name="T118" fmla="*/ 12719 w 26312"/>
              <a:gd name="T119" fmla="*/ 1031 h 17531"/>
              <a:gd name="T120" fmla="*/ 6812 w 26312"/>
              <a:gd name="T121" fmla="*/ 406 h 17531"/>
              <a:gd name="T122" fmla="*/ 8562 w 26312"/>
              <a:gd name="T123" fmla="*/ 3188 h 17531"/>
              <a:gd name="T124" fmla="*/ 18406 w 26312"/>
              <a:gd name="T125" fmla="*/ 1000 h 17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312" h="17531">
                <a:moveTo>
                  <a:pt x="14406" y="2250"/>
                </a:move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375" y="2219"/>
                  <a:pt x="14375" y="2219"/>
                </a:cubicBezTo>
                <a:cubicBezTo>
                  <a:pt x="14375" y="2219"/>
                  <a:pt x="14375" y="2250"/>
                  <a:pt x="14375" y="2250"/>
                </a:cubicBezTo>
                <a:cubicBezTo>
                  <a:pt x="14375" y="2250"/>
                  <a:pt x="14375" y="2250"/>
                  <a:pt x="14375" y="2250"/>
                </a:cubicBezTo>
                <a:cubicBezTo>
                  <a:pt x="14375" y="2250"/>
                  <a:pt x="14406" y="2250"/>
                  <a:pt x="14406" y="2250"/>
                </a:cubicBezTo>
                <a:cubicBezTo>
                  <a:pt x="14406" y="2250"/>
                  <a:pt x="14406" y="2250"/>
                  <a:pt x="14406" y="2250"/>
                </a:cubicBezTo>
                <a:close/>
                <a:moveTo>
                  <a:pt x="3969" y="4125"/>
                </a:moveTo>
                <a:lnTo>
                  <a:pt x="4000" y="4125"/>
                </a:lnTo>
                <a:lnTo>
                  <a:pt x="4000" y="4125"/>
                </a:lnTo>
                <a:lnTo>
                  <a:pt x="3969" y="4125"/>
                </a:lnTo>
                <a:close/>
                <a:moveTo>
                  <a:pt x="24656" y="531"/>
                </a:moveTo>
                <a:lnTo>
                  <a:pt x="24656" y="531"/>
                </a:lnTo>
                <a:lnTo>
                  <a:pt x="24656" y="531"/>
                </a:lnTo>
                <a:close/>
                <a:moveTo>
                  <a:pt x="17656" y="1281"/>
                </a:moveTo>
                <a:cubicBezTo>
                  <a:pt x="17719" y="1250"/>
                  <a:pt x="17750" y="1188"/>
                  <a:pt x="17750" y="1156"/>
                </a:cubicBezTo>
                <a:cubicBezTo>
                  <a:pt x="17719" y="1156"/>
                  <a:pt x="17687" y="1156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88"/>
                  <a:pt x="17656" y="1219"/>
                  <a:pt x="17656" y="1281"/>
                </a:cubicBezTo>
                <a:close/>
                <a:moveTo>
                  <a:pt x="17656" y="1125"/>
                </a:moveTo>
                <a:cubicBezTo>
                  <a:pt x="17656" y="1125"/>
                  <a:pt x="17656" y="1125"/>
                  <a:pt x="17656" y="1125"/>
                </a:cubicBezTo>
                <a:lnTo>
                  <a:pt x="17656" y="1125"/>
                </a:ln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lose/>
                <a:moveTo>
                  <a:pt x="14437" y="2313"/>
                </a:moveTo>
                <a:cubicBezTo>
                  <a:pt x="14406" y="2313"/>
                  <a:pt x="14406" y="2313"/>
                  <a:pt x="14406" y="2313"/>
                </a:cubicBezTo>
                <a:cubicBezTo>
                  <a:pt x="14406" y="2313"/>
                  <a:pt x="14406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lose/>
                <a:moveTo>
                  <a:pt x="21625" y="4156"/>
                </a:moveTo>
                <a:cubicBezTo>
                  <a:pt x="21656" y="4188"/>
                  <a:pt x="21531" y="4219"/>
                  <a:pt x="21625" y="4281"/>
                </a:cubicBezTo>
                <a:cubicBezTo>
                  <a:pt x="21656" y="4281"/>
                  <a:pt x="21687" y="4281"/>
                  <a:pt x="21687" y="4250"/>
                </a:cubicBezTo>
                <a:cubicBezTo>
                  <a:pt x="21719" y="4219"/>
                  <a:pt x="21750" y="4188"/>
                  <a:pt x="21719" y="4125"/>
                </a:cubicBezTo>
                <a:cubicBezTo>
                  <a:pt x="21719" y="4125"/>
                  <a:pt x="21719" y="4125"/>
                  <a:pt x="21719" y="4125"/>
                </a:cubicBezTo>
                <a:cubicBezTo>
                  <a:pt x="21719" y="4125"/>
                  <a:pt x="21687" y="4156"/>
                  <a:pt x="21656" y="4156"/>
                </a:cubicBezTo>
                <a:cubicBezTo>
                  <a:pt x="21656" y="4156"/>
                  <a:pt x="21656" y="4156"/>
                  <a:pt x="21656" y="4156"/>
                </a:cubicBezTo>
                <a:cubicBezTo>
                  <a:pt x="21656" y="4156"/>
                  <a:pt x="21625" y="4125"/>
                  <a:pt x="21625" y="4125"/>
                </a:cubicBezTo>
                <a:cubicBezTo>
                  <a:pt x="21625" y="4156"/>
                  <a:pt x="21625" y="4156"/>
                  <a:pt x="21625" y="4156"/>
                </a:cubicBezTo>
                <a:close/>
                <a:moveTo>
                  <a:pt x="8687" y="2906"/>
                </a:moveTo>
                <a:lnTo>
                  <a:pt x="8719" y="2875"/>
                </a:lnTo>
                <a:lnTo>
                  <a:pt x="8687" y="2875"/>
                </a:lnTo>
                <a:lnTo>
                  <a:pt x="8687" y="2906"/>
                </a:lnTo>
                <a:close/>
                <a:moveTo>
                  <a:pt x="10781" y="1750"/>
                </a:moveTo>
                <a:lnTo>
                  <a:pt x="10781" y="1750"/>
                </a:lnTo>
                <a:lnTo>
                  <a:pt x="10781" y="1750"/>
                </a:lnTo>
                <a:close/>
                <a:moveTo>
                  <a:pt x="17531" y="875"/>
                </a:moveTo>
                <a:cubicBezTo>
                  <a:pt x="17531" y="875"/>
                  <a:pt x="17500" y="875"/>
                  <a:pt x="17500" y="875"/>
                </a:cubicBezTo>
                <a:cubicBezTo>
                  <a:pt x="17500" y="875"/>
                  <a:pt x="17500" y="875"/>
                  <a:pt x="17500" y="906"/>
                </a:cubicBezTo>
                <a:cubicBezTo>
                  <a:pt x="17500" y="906"/>
                  <a:pt x="17531" y="906"/>
                  <a:pt x="17531" y="906"/>
                </a:cubicBezTo>
                <a:cubicBezTo>
                  <a:pt x="17531" y="906"/>
                  <a:pt x="17531" y="875"/>
                  <a:pt x="17531" y="875"/>
                </a:cubicBezTo>
                <a:close/>
                <a:moveTo>
                  <a:pt x="23719" y="3844"/>
                </a:moveTo>
                <a:cubicBezTo>
                  <a:pt x="23719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13"/>
                </a:cubicBezTo>
                <a:cubicBezTo>
                  <a:pt x="23719" y="3813"/>
                  <a:pt x="23719" y="3813"/>
                  <a:pt x="23687" y="3813"/>
                </a:cubicBezTo>
                <a:cubicBezTo>
                  <a:pt x="23687" y="3813"/>
                  <a:pt x="23687" y="3844"/>
                  <a:pt x="23687" y="3844"/>
                </a:cubicBezTo>
                <a:cubicBezTo>
                  <a:pt x="23687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44"/>
                </a:cubicBezTo>
                <a:close/>
                <a:moveTo>
                  <a:pt x="10750" y="1844"/>
                </a:moveTo>
                <a:lnTo>
                  <a:pt x="10719" y="1813"/>
                </a:lnTo>
                <a:lnTo>
                  <a:pt x="10750" y="1844"/>
                </a:lnTo>
                <a:close/>
                <a:moveTo>
                  <a:pt x="21500" y="4500"/>
                </a:moveTo>
                <a:cubicBezTo>
                  <a:pt x="21500" y="4500"/>
                  <a:pt x="21500" y="4500"/>
                  <a:pt x="21500" y="4469"/>
                </a:cubicBezTo>
                <a:cubicBezTo>
                  <a:pt x="21500" y="4469"/>
                  <a:pt x="21500" y="4469"/>
                  <a:pt x="21500" y="4438"/>
                </a:cubicBezTo>
                <a:cubicBezTo>
                  <a:pt x="21500" y="4469"/>
                  <a:pt x="21500" y="4469"/>
                  <a:pt x="21500" y="4469"/>
                </a:cubicBezTo>
                <a:cubicBezTo>
                  <a:pt x="21500" y="4469"/>
                  <a:pt x="21500" y="4500"/>
                  <a:pt x="21500" y="4500"/>
                </a:cubicBezTo>
                <a:close/>
                <a:moveTo>
                  <a:pt x="4937" y="3531"/>
                </a:moveTo>
                <a:cubicBezTo>
                  <a:pt x="4937" y="3500"/>
                  <a:pt x="4937" y="3500"/>
                  <a:pt x="4906" y="3500"/>
                </a:cubicBezTo>
                <a:cubicBezTo>
                  <a:pt x="4906" y="3500"/>
                  <a:pt x="4906" y="3500"/>
                  <a:pt x="4906" y="3500"/>
                </a:cubicBezTo>
                <a:cubicBezTo>
                  <a:pt x="4906" y="3500"/>
                  <a:pt x="4906" y="3500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lose/>
                <a:moveTo>
                  <a:pt x="5250" y="2094"/>
                </a:moveTo>
                <a:cubicBezTo>
                  <a:pt x="5250" y="2094"/>
                  <a:pt x="5281" y="2094"/>
                  <a:pt x="5281" y="2094"/>
                </a:cubicBezTo>
                <a:cubicBezTo>
                  <a:pt x="5281" y="2094"/>
                  <a:pt x="5281" y="2094"/>
                  <a:pt x="5281" y="2094"/>
                </a:cubicBezTo>
                <a:cubicBezTo>
                  <a:pt x="5281" y="2094"/>
                  <a:pt x="5281" y="2063"/>
                  <a:pt x="5250" y="2063"/>
                </a:cubicBezTo>
                <a:cubicBezTo>
                  <a:pt x="5250" y="2094"/>
                  <a:pt x="5250" y="2094"/>
                  <a:pt x="5250" y="2094"/>
                </a:cubicBezTo>
                <a:close/>
                <a:moveTo>
                  <a:pt x="15312" y="938"/>
                </a:move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1000"/>
                  <a:pt x="15312" y="1031"/>
                  <a:pt x="15375" y="1063"/>
                </a:cubicBezTo>
                <a:cubicBezTo>
                  <a:pt x="15375" y="1063"/>
                  <a:pt x="15375" y="1031"/>
                  <a:pt x="15375" y="1031"/>
                </a:cubicBezTo>
                <a:cubicBezTo>
                  <a:pt x="15344" y="1000"/>
                  <a:pt x="15344" y="969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281" y="938"/>
                  <a:pt x="15312" y="906"/>
                  <a:pt x="15281" y="906"/>
                </a:cubicBezTo>
                <a:cubicBezTo>
                  <a:pt x="15281" y="906"/>
                  <a:pt x="15281" y="875"/>
                  <a:pt x="15250" y="875"/>
                </a:cubicBezTo>
                <a:cubicBezTo>
                  <a:pt x="15281" y="906"/>
                  <a:pt x="15281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lose/>
                <a:moveTo>
                  <a:pt x="15156" y="813"/>
                </a:moveTo>
                <a:cubicBezTo>
                  <a:pt x="15156" y="813"/>
                  <a:pt x="15156" y="813"/>
                  <a:pt x="15156" y="813"/>
                </a:cubicBezTo>
                <a:cubicBezTo>
                  <a:pt x="15125" y="813"/>
                  <a:pt x="15125" y="813"/>
                  <a:pt x="15125" y="813"/>
                </a:cubicBezTo>
                <a:cubicBezTo>
                  <a:pt x="15125" y="844"/>
                  <a:pt x="15125" y="844"/>
                  <a:pt x="15125" y="875"/>
                </a:cubicBezTo>
                <a:cubicBezTo>
                  <a:pt x="15156" y="844"/>
                  <a:pt x="15156" y="844"/>
                  <a:pt x="15156" y="813"/>
                </a:cubicBezTo>
                <a:close/>
                <a:moveTo>
                  <a:pt x="3531" y="2844"/>
                </a:moveTo>
                <a:cubicBezTo>
                  <a:pt x="3531" y="2875"/>
                  <a:pt x="3562" y="2875"/>
                  <a:pt x="3562" y="2875"/>
                </a:cubicBezTo>
                <a:cubicBezTo>
                  <a:pt x="3562" y="2875"/>
                  <a:pt x="3594" y="2844"/>
                  <a:pt x="3594" y="2844"/>
                </a:cubicBezTo>
                <a:cubicBezTo>
                  <a:pt x="3562" y="2844"/>
                  <a:pt x="3562" y="2813"/>
                  <a:pt x="3562" y="2813"/>
                </a:cubicBezTo>
                <a:cubicBezTo>
                  <a:pt x="3531" y="2813"/>
                  <a:pt x="3531" y="2844"/>
                  <a:pt x="3531" y="2844"/>
                </a:cubicBezTo>
                <a:close/>
                <a:moveTo>
                  <a:pt x="1906" y="3813"/>
                </a:moveTo>
                <a:cubicBezTo>
                  <a:pt x="1906" y="3813"/>
                  <a:pt x="1937" y="3781"/>
                  <a:pt x="1969" y="3781"/>
                </a:cubicBezTo>
                <a:cubicBezTo>
                  <a:pt x="1937" y="3781"/>
                  <a:pt x="1937" y="3750"/>
                  <a:pt x="1906" y="3750"/>
                </a:cubicBezTo>
                <a:cubicBezTo>
                  <a:pt x="1906" y="3750"/>
                  <a:pt x="1875" y="3781"/>
                  <a:pt x="1875" y="3781"/>
                </a:cubicBezTo>
                <a:cubicBezTo>
                  <a:pt x="1875" y="3813"/>
                  <a:pt x="1875" y="3813"/>
                  <a:pt x="1906" y="3813"/>
                </a:cubicBezTo>
                <a:close/>
                <a:moveTo>
                  <a:pt x="1062" y="14469"/>
                </a:moveTo>
                <a:cubicBezTo>
                  <a:pt x="1062" y="14500"/>
                  <a:pt x="1062" y="14500"/>
                  <a:pt x="1094" y="14500"/>
                </a:cubicBezTo>
                <a:cubicBezTo>
                  <a:pt x="1094" y="14500"/>
                  <a:pt x="1125" y="14500"/>
                  <a:pt x="1125" y="14469"/>
                </a:cubicBezTo>
                <a:cubicBezTo>
                  <a:pt x="1125" y="14469"/>
                  <a:pt x="1125" y="14469"/>
                  <a:pt x="1094" y="14438"/>
                </a:cubicBezTo>
                <a:cubicBezTo>
                  <a:pt x="1062" y="14438"/>
                  <a:pt x="1062" y="14469"/>
                  <a:pt x="1062" y="14469"/>
                </a:cubicBezTo>
                <a:close/>
                <a:moveTo>
                  <a:pt x="12625" y="1281"/>
                </a:moveTo>
                <a:cubicBezTo>
                  <a:pt x="12594" y="1313"/>
                  <a:pt x="12625" y="1344"/>
                  <a:pt x="12625" y="1375"/>
                </a:cubicBezTo>
                <a:cubicBezTo>
                  <a:pt x="12625" y="1344"/>
                  <a:pt x="12687" y="1313"/>
                  <a:pt x="12656" y="1281"/>
                </a:cubicBezTo>
                <a:cubicBezTo>
                  <a:pt x="12656" y="1281"/>
                  <a:pt x="12625" y="1281"/>
                  <a:pt x="12625" y="1281"/>
                </a:cubicBezTo>
                <a:close/>
                <a:moveTo>
                  <a:pt x="21937" y="4406"/>
                </a:moveTo>
                <a:cubicBezTo>
                  <a:pt x="21937" y="4406"/>
                  <a:pt x="21937" y="4438"/>
                  <a:pt x="21937" y="4469"/>
                </a:cubicBezTo>
                <a:cubicBezTo>
                  <a:pt x="21937" y="4469"/>
                  <a:pt x="21969" y="4469"/>
                  <a:pt x="21969" y="4469"/>
                </a:cubicBezTo>
                <a:cubicBezTo>
                  <a:pt x="21969" y="4375"/>
                  <a:pt x="21969" y="4281"/>
                  <a:pt x="21969" y="4219"/>
                </a:cubicBezTo>
                <a:cubicBezTo>
                  <a:pt x="22000" y="4156"/>
                  <a:pt x="22031" y="4094"/>
                  <a:pt x="22031" y="4063"/>
                </a:cubicBezTo>
                <a:cubicBezTo>
                  <a:pt x="22062" y="4031"/>
                  <a:pt x="22031" y="3969"/>
                  <a:pt x="22000" y="3969"/>
                </a:cubicBezTo>
                <a:cubicBezTo>
                  <a:pt x="21937" y="3969"/>
                  <a:pt x="21969" y="4000"/>
                  <a:pt x="21969" y="4031"/>
                </a:cubicBezTo>
                <a:cubicBezTo>
                  <a:pt x="21969" y="4094"/>
                  <a:pt x="21969" y="4125"/>
                  <a:pt x="21969" y="4188"/>
                </a:cubicBezTo>
                <a:cubicBezTo>
                  <a:pt x="21969" y="4188"/>
                  <a:pt x="21969" y="4188"/>
                  <a:pt x="21969" y="4188"/>
                </a:cubicBezTo>
                <a:cubicBezTo>
                  <a:pt x="21937" y="4250"/>
                  <a:pt x="21937" y="4313"/>
                  <a:pt x="21937" y="4406"/>
                </a:cubicBezTo>
                <a:close/>
                <a:moveTo>
                  <a:pt x="8656" y="1969"/>
                </a:moveTo>
                <a:cubicBezTo>
                  <a:pt x="8656" y="1938"/>
                  <a:pt x="8625" y="1938"/>
                  <a:pt x="8625" y="1938"/>
                </a:cubicBezTo>
                <a:cubicBezTo>
                  <a:pt x="8594" y="1938"/>
                  <a:pt x="8562" y="1938"/>
                  <a:pt x="8562" y="1969"/>
                </a:cubicBezTo>
                <a:cubicBezTo>
                  <a:pt x="8562" y="1969"/>
                  <a:pt x="8594" y="2000"/>
                  <a:pt x="8594" y="2000"/>
                </a:cubicBezTo>
                <a:cubicBezTo>
                  <a:pt x="8625" y="2000"/>
                  <a:pt x="8656" y="2000"/>
                  <a:pt x="8656" y="1969"/>
                </a:cubicBezTo>
                <a:close/>
                <a:moveTo>
                  <a:pt x="11844" y="2688"/>
                </a:moveTo>
                <a:cubicBezTo>
                  <a:pt x="11719" y="2750"/>
                  <a:pt x="11750" y="2844"/>
                  <a:pt x="11812" y="2906"/>
                </a:cubicBezTo>
                <a:cubicBezTo>
                  <a:pt x="11781" y="2844"/>
                  <a:pt x="11844" y="2781"/>
                  <a:pt x="11844" y="2688"/>
                </a:cubicBezTo>
                <a:close/>
                <a:moveTo>
                  <a:pt x="5062" y="3438"/>
                </a:moveTo>
                <a:cubicBezTo>
                  <a:pt x="5062" y="3438"/>
                  <a:pt x="5062" y="3438"/>
                  <a:pt x="5062" y="3406"/>
                </a:cubicBezTo>
                <a:cubicBezTo>
                  <a:pt x="5031" y="3406"/>
                  <a:pt x="5031" y="3375"/>
                  <a:pt x="5000" y="3375"/>
                </a:cubicBezTo>
                <a:cubicBezTo>
                  <a:pt x="5000" y="3375"/>
                  <a:pt x="5000" y="3375"/>
                  <a:pt x="5000" y="3344"/>
                </a:cubicBezTo>
                <a:cubicBezTo>
                  <a:pt x="4969" y="3344"/>
                  <a:pt x="4906" y="3313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50"/>
                  <a:pt x="4875" y="3250"/>
                </a:cubicBezTo>
                <a:cubicBezTo>
                  <a:pt x="4875" y="3250"/>
                  <a:pt x="4875" y="3250"/>
                  <a:pt x="4875" y="3250"/>
                </a:cubicBezTo>
                <a:cubicBezTo>
                  <a:pt x="4875" y="3250"/>
                  <a:pt x="4875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344"/>
                  <a:pt x="4906" y="3375"/>
                  <a:pt x="4937" y="3406"/>
                </a:cubicBezTo>
                <a:cubicBezTo>
                  <a:pt x="4969" y="3406"/>
                  <a:pt x="5000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69"/>
                  <a:pt x="5062" y="3469"/>
                  <a:pt x="5094" y="3469"/>
                </a:cubicBezTo>
                <a:cubicBezTo>
                  <a:pt x="5094" y="3500"/>
                  <a:pt x="5094" y="3500"/>
                  <a:pt x="5125" y="3500"/>
                </a:cubicBezTo>
                <a:cubicBezTo>
                  <a:pt x="5125" y="3438"/>
                  <a:pt x="5094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lose/>
                <a:moveTo>
                  <a:pt x="3500" y="2969"/>
                </a:moveTo>
                <a:cubicBezTo>
                  <a:pt x="3406" y="2906"/>
                  <a:pt x="3406" y="2813"/>
                  <a:pt x="3281" y="2844"/>
                </a:cubicBezTo>
                <a:cubicBezTo>
                  <a:pt x="3344" y="2875"/>
                  <a:pt x="3344" y="3000"/>
                  <a:pt x="3500" y="2969"/>
                </a:cubicBezTo>
                <a:close/>
                <a:moveTo>
                  <a:pt x="8250" y="2000"/>
                </a:moveTo>
                <a:cubicBezTo>
                  <a:pt x="8219" y="2000"/>
                  <a:pt x="8250" y="2031"/>
                  <a:pt x="8250" y="2063"/>
                </a:cubicBezTo>
                <a:cubicBezTo>
                  <a:pt x="8312" y="2094"/>
                  <a:pt x="8344" y="2031"/>
                  <a:pt x="8406" y="2031"/>
                </a:cubicBezTo>
                <a:cubicBezTo>
                  <a:pt x="8344" y="2031"/>
                  <a:pt x="8312" y="1969"/>
                  <a:pt x="8250" y="2000"/>
                </a:cubicBezTo>
                <a:close/>
                <a:moveTo>
                  <a:pt x="3156" y="3219"/>
                </a:moveTo>
                <a:cubicBezTo>
                  <a:pt x="3187" y="3188"/>
                  <a:pt x="3219" y="3188"/>
                  <a:pt x="3250" y="3219"/>
                </a:cubicBezTo>
                <a:cubicBezTo>
                  <a:pt x="3250" y="3219"/>
                  <a:pt x="3250" y="3219"/>
                  <a:pt x="3250" y="3219"/>
                </a:cubicBezTo>
                <a:cubicBezTo>
                  <a:pt x="3281" y="3219"/>
                  <a:pt x="3281" y="3219"/>
                  <a:pt x="3281" y="3219"/>
                </a:cubicBezTo>
                <a:cubicBezTo>
                  <a:pt x="3312" y="3219"/>
                  <a:pt x="3312" y="3219"/>
                  <a:pt x="3312" y="3219"/>
                </a:cubicBezTo>
                <a:cubicBezTo>
                  <a:pt x="3312" y="3219"/>
                  <a:pt x="3344" y="3219"/>
                  <a:pt x="3344" y="3219"/>
                </a:cubicBezTo>
                <a:cubicBezTo>
                  <a:pt x="3312" y="3156"/>
                  <a:pt x="3281" y="3125"/>
                  <a:pt x="3219" y="3125"/>
                </a:cubicBezTo>
                <a:cubicBezTo>
                  <a:pt x="3156" y="3125"/>
                  <a:pt x="3156" y="3188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25" y="3219"/>
                  <a:pt x="3125" y="3219"/>
                  <a:pt x="3094" y="3219"/>
                </a:cubicBezTo>
                <a:cubicBezTo>
                  <a:pt x="3062" y="3188"/>
                  <a:pt x="3031" y="3156"/>
                  <a:pt x="3000" y="3188"/>
                </a:cubicBezTo>
                <a:cubicBezTo>
                  <a:pt x="3000" y="3250"/>
                  <a:pt x="2937" y="3281"/>
                  <a:pt x="2969" y="3344"/>
                </a:cubicBezTo>
                <a:cubicBezTo>
                  <a:pt x="2969" y="3375"/>
                  <a:pt x="3031" y="3375"/>
                  <a:pt x="3062" y="3375"/>
                </a:cubicBezTo>
                <a:cubicBezTo>
                  <a:pt x="3094" y="3375"/>
                  <a:pt x="3125" y="3344"/>
                  <a:pt x="3156" y="3344"/>
                </a:cubicBezTo>
                <a:cubicBezTo>
                  <a:pt x="3187" y="3313"/>
                  <a:pt x="3187" y="3281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lose/>
                <a:moveTo>
                  <a:pt x="13875" y="2969"/>
                </a:moveTo>
                <a:cubicBezTo>
                  <a:pt x="13875" y="3031"/>
                  <a:pt x="13906" y="3031"/>
                  <a:pt x="13937" y="3031"/>
                </a:cubicBezTo>
                <a:cubicBezTo>
                  <a:pt x="13969" y="3031"/>
                  <a:pt x="14000" y="3031"/>
                  <a:pt x="14000" y="3000"/>
                </a:cubicBezTo>
                <a:cubicBezTo>
                  <a:pt x="14000" y="2938"/>
                  <a:pt x="13937" y="2938"/>
                  <a:pt x="13906" y="2906"/>
                </a:cubicBezTo>
                <a:cubicBezTo>
                  <a:pt x="13875" y="2906"/>
                  <a:pt x="13875" y="2938"/>
                  <a:pt x="13875" y="2969"/>
                </a:cubicBezTo>
                <a:close/>
                <a:moveTo>
                  <a:pt x="8594" y="2156"/>
                </a:moveTo>
                <a:cubicBezTo>
                  <a:pt x="8531" y="2094"/>
                  <a:pt x="8469" y="2063"/>
                  <a:pt x="8406" y="2094"/>
                </a:cubicBezTo>
                <a:cubicBezTo>
                  <a:pt x="8375" y="2094"/>
                  <a:pt x="8375" y="2156"/>
                  <a:pt x="8406" y="2156"/>
                </a:cubicBezTo>
                <a:cubicBezTo>
                  <a:pt x="8469" y="2219"/>
                  <a:pt x="8500" y="2156"/>
                  <a:pt x="8594" y="2156"/>
                </a:cubicBezTo>
                <a:close/>
                <a:moveTo>
                  <a:pt x="12781" y="1250"/>
                </a:moveTo>
                <a:cubicBezTo>
                  <a:pt x="12781" y="1250"/>
                  <a:pt x="12781" y="1250"/>
                  <a:pt x="12781" y="1250"/>
                </a:cubicBezTo>
                <a:cubicBezTo>
                  <a:pt x="12781" y="1281"/>
                  <a:pt x="12750" y="1313"/>
                  <a:pt x="12750" y="1344"/>
                </a:cubicBezTo>
                <a:cubicBezTo>
                  <a:pt x="12750" y="1344"/>
                  <a:pt x="12750" y="1375"/>
                  <a:pt x="12781" y="1406"/>
                </a:cubicBezTo>
                <a:cubicBezTo>
                  <a:pt x="12781" y="1344"/>
                  <a:pt x="12781" y="1281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844" y="1250"/>
                  <a:pt x="12844" y="1281"/>
                  <a:pt x="12844" y="1313"/>
                </a:cubicBezTo>
                <a:cubicBezTo>
                  <a:pt x="12875" y="1344"/>
                  <a:pt x="12906" y="1313"/>
                  <a:pt x="12906" y="1281"/>
                </a:cubicBezTo>
                <a:cubicBezTo>
                  <a:pt x="12906" y="1281"/>
                  <a:pt x="12969" y="1281"/>
                  <a:pt x="12906" y="1250"/>
                </a:cubicBezTo>
                <a:cubicBezTo>
                  <a:pt x="12844" y="1250"/>
                  <a:pt x="12844" y="1156"/>
                  <a:pt x="12812" y="1125"/>
                </a:cubicBezTo>
                <a:cubicBezTo>
                  <a:pt x="12812" y="1125"/>
                  <a:pt x="12812" y="1125"/>
                  <a:pt x="12781" y="1125"/>
                </a:cubicBezTo>
                <a:cubicBezTo>
                  <a:pt x="12781" y="1156"/>
                  <a:pt x="12781" y="1219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lose/>
                <a:moveTo>
                  <a:pt x="9906" y="1750"/>
                </a:moveTo>
                <a:cubicBezTo>
                  <a:pt x="9750" y="1719"/>
                  <a:pt x="9781" y="1813"/>
                  <a:pt x="9781" y="1875"/>
                </a:cubicBezTo>
                <a:cubicBezTo>
                  <a:pt x="9781" y="1906"/>
                  <a:pt x="9812" y="1938"/>
                  <a:pt x="9844" y="1938"/>
                </a:cubicBezTo>
                <a:cubicBezTo>
                  <a:pt x="9875" y="1938"/>
                  <a:pt x="9875" y="1906"/>
                  <a:pt x="9875" y="1875"/>
                </a:cubicBezTo>
                <a:cubicBezTo>
                  <a:pt x="9844" y="1813"/>
                  <a:pt x="9844" y="1781"/>
                  <a:pt x="9906" y="1750"/>
                </a:cubicBezTo>
                <a:close/>
                <a:moveTo>
                  <a:pt x="8187" y="3219"/>
                </a:moveTo>
                <a:cubicBezTo>
                  <a:pt x="8250" y="3281"/>
                  <a:pt x="8312" y="3344"/>
                  <a:pt x="8375" y="3344"/>
                </a:cubicBezTo>
                <a:cubicBezTo>
                  <a:pt x="8406" y="3344"/>
                  <a:pt x="8406" y="3313"/>
                  <a:pt x="8406" y="3281"/>
                </a:cubicBezTo>
                <a:cubicBezTo>
                  <a:pt x="8344" y="3188"/>
                  <a:pt x="8281" y="3250"/>
                  <a:pt x="8187" y="3219"/>
                </a:cubicBezTo>
                <a:close/>
                <a:moveTo>
                  <a:pt x="7844" y="1531"/>
                </a:moveTo>
                <a:cubicBezTo>
                  <a:pt x="7844" y="1531"/>
                  <a:pt x="7875" y="1531"/>
                  <a:pt x="7906" y="1500"/>
                </a:cubicBezTo>
                <a:cubicBezTo>
                  <a:pt x="7812" y="1500"/>
                  <a:pt x="7750" y="1500"/>
                  <a:pt x="7719" y="1500"/>
                </a:cubicBezTo>
                <a:cubicBezTo>
                  <a:pt x="7687" y="1500"/>
                  <a:pt x="7656" y="1500"/>
                  <a:pt x="7656" y="1531"/>
                </a:cubicBezTo>
                <a:cubicBezTo>
                  <a:pt x="7656" y="1563"/>
                  <a:pt x="7687" y="1594"/>
                  <a:pt x="7687" y="1594"/>
                </a:cubicBezTo>
                <a:cubicBezTo>
                  <a:pt x="7719" y="1563"/>
                  <a:pt x="7812" y="1688"/>
                  <a:pt x="7844" y="1531"/>
                </a:cubicBezTo>
                <a:close/>
                <a:moveTo>
                  <a:pt x="21687" y="4094"/>
                </a:moveTo>
                <a:cubicBezTo>
                  <a:pt x="21687" y="4094"/>
                  <a:pt x="21719" y="4094"/>
                  <a:pt x="21719" y="4063"/>
                </a:cubicBezTo>
                <a:cubicBezTo>
                  <a:pt x="21781" y="3969"/>
                  <a:pt x="21812" y="3875"/>
                  <a:pt x="21844" y="3750"/>
                </a:cubicBezTo>
                <a:cubicBezTo>
                  <a:pt x="21750" y="3844"/>
                  <a:pt x="21719" y="3938"/>
                  <a:pt x="21656" y="4031"/>
                </a:cubicBezTo>
                <a:cubicBezTo>
                  <a:pt x="21656" y="4063"/>
                  <a:pt x="21656" y="4063"/>
                  <a:pt x="21687" y="4094"/>
                </a:cubicBezTo>
                <a:close/>
                <a:moveTo>
                  <a:pt x="5375" y="1906"/>
                </a:moveTo>
                <a:cubicBezTo>
                  <a:pt x="5375" y="1906"/>
                  <a:pt x="5344" y="1875"/>
                  <a:pt x="5375" y="1875"/>
                </a:cubicBezTo>
                <a:cubicBezTo>
                  <a:pt x="5437" y="1750"/>
                  <a:pt x="5344" y="1750"/>
                  <a:pt x="5281" y="1750"/>
                </a:cubicBezTo>
                <a:cubicBezTo>
                  <a:pt x="5219" y="1750"/>
                  <a:pt x="5187" y="1750"/>
                  <a:pt x="5156" y="1719"/>
                </a:cubicBezTo>
                <a:cubicBezTo>
                  <a:pt x="5125" y="1875"/>
                  <a:pt x="5187" y="1938"/>
                  <a:pt x="5375" y="1906"/>
                </a:cubicBezTo>
                <a:close/>
                <a:moveTo>
                  <a:pt x="15562" y="1438"/>
                </a:moveTo>
                <a:cubicBezTo>
                  <a:pt x="15625" y="1406"/>
                  <a:pt x="15625" y="1375"/>
                  <a:pt x="15625" y="1313"/>
                </a:cubicBezTo>
                <a:cubicBezTo>
                  <a:pt x="15594" y="1125"/>
                  <a:pt x="15500" y="906"/>
                  <a:pt x="15656" y="719"/>
                </a:cubicBezTo>
                <a:cubicBezTo>
                  <a:pt x="15594" y="719"/>
                  <a:pt x="15562" y="688"/>
                  <a:pt x="15500" y="719"/>
                </a:cubicBezTo>
                <a:cubicBezTo>
                  <a:pt x="15531" y="781"/>
                  <a:pt x="15531" y="1156"/>
                  <a:pt x="15469" y="1188"/>
                </a:cubicBezTo>
                <a:cubicBezTo>
                  <a:pt x="15469" y="1156"/>
                  <a:pt x="15437" y="1156"/>
                  <a:pt x="15406" y="1125"/>
                </a:cubicBezTo>
                <a:cubicBezTo>
                  <a:pt x="15406" y="1125"/>
                  <a:pt x="15406" y="1125"/>
                  <a:pt x="15375" y="1125"/>
                </a:cubicBezTo>
                <a:cubicBezTo>
                  <a:pt x="15406" y="1219"/>
                  <a:pt x="15437" y="1281"/>
                  <a:pt x="15469" y="1344"/>
                </a:cubicBezTo>
                <a:cubicBezTo>
                  <a:pt x="15500" y="1406"/>
                  <a:pt x="15531" y="1438"/>
                  <a:pt x="15562" y="1438"/>
                </a:cubicBezTo>
                <a:close/>
                <a:moveTo>
                  <a:pt x="8844" y="2406"/>
                </a:moveTo>
                <a:cubicBezTo>
                  <a:pt x="8937" y="2469"/>
                  <a:pt x="8937" y="2438"/>
                  <a:pt x="9031" y="2406"/>
                </a:cubicBezTo>
                <a:cubicBezTo>
                  <a:pt x="9281" y="2375"/>
                  <a:pt x="9062" y="2313"/>
                  <a:pt x="9062" y="2281"/>
                </a:cubicBezTo>
                <a:cubicBezTo>
                  <a:pt x="9031" y="2250"/>
                  <a:pt x="9031" y="2250"/>
                  <a:pt x="9031" y="2250"/>
                </a:cubicBezTo>
                <a:cubicBezTo>
                  <a:pt x="9000" y="2219"/>
                  <a:pt x="9000" y="2188"/>
                  <a:pt x="8969" y="2156"/>
                </a:cubicBezTo>
                <a:cubicBezTo>
                  <a:pt x="8969" y="2125"/>
                  <a:pt x="8969" y="2125"/>
                  <a:pt x="8937" y="2125"/>
                </a:cubicBezTo>
                <a:cubicBezTo>
                  <a:pt x="8937" y="2094"/>
                  <a:pt x="8937" y="2094"/>
                  <a:pt x="8937" y="2094"/>
                </a:cubicBezTo>
                <a:cubicBezTo>
                  <a:pt x="8875" y="2063"/>
                  <a:pt x="8812" y="2031"/>
                  <a:pt x="8719" y="2094"/>
                </a:cubicBezTo>
                <a:cubicBezTo>
                  <a:pt x="8719" y="2063"/>
                  <a:pt x="8719" y="2063"/>
                  <a:pt x="8719" y="2063"/>
                </a:cubicBezTo>
                <a:lnTo>
                  <a:pt x="8719" y="2063"/>
                </a:lnTo>
                <a:cubicBezTo>
                  <a:pt x="8719" y="2063"/>
                  <a:pt x="8719" y="2063"/>
                  <a:pt x="8719" y="2063"/>
                </a:cubicBezTo>
                <a:cubicBezTo>
                  <a:pt x="8719" y="2063"/>
                  <a:pt x="8719" y="2063"/>
                  <a:pt x="8687" y="2063"/>
                </a:cubicBezTo>
                <a:cubicBezTo>
                  <a:pt x="8719" y="2063"/>
                  <a:pt x="8719" y="2063"/>
                  <a:pt x="8719" y="2094"/>
                </a:cubicBezTo>
                <a:cubicBezTo>
                  <a:pt x="8719" y="2125"/>
                  <a:pt x="8750" y="2125"/>
                  <a:pt x="8781" y="2156"/>
                </a:cubicBezTo>
                <a:cubicBezTo>
                  <a:pt x="8781" y="2250"/>
                  <a:pt x="8937" y="2281"/>
                  <a:pt x="8812" y="2375"/>
                </a:cubicBezTo>
                <a:cubicBezTo>
                  <a:pt x="8812" y="2375"/>
                  <a:pt x="8844" y="2406"/>
                  <a:pt x="8844" y="2406"/>
                </a:cubicBezTo>
                <a:close/>
                <a:moveTo>
                  <a:pt x="15031" y="1094"/>
                </a:moveTo>
                <a:cubicBezTo>
                  <a:pt x="15000" y="1094"/>
                  <a:pt x="14969" y="1063"/>
                  <a:pt x="14969" y="1031"/>
                </a:cubicBezTo>
                <a:cubicBezTo>
                  <a:pt x="14969" y="1031"/>
                  <a:pt x="14969" y="1000"/>
                  <a:pt x="14969" y="1000"/>
                </a:cubicBezTo>
                <a:cubicBezTo>
                  <a:pt x="14937" y="969"/>
                  <a:pt x="14937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06"/>
                  <a:pt x="14906" y="875"/>
                  <a:pt x="14875" y="844"/>
                </a:cubicBezTo>
                <a:cubicBezTo>
                  <a:pt x="14875" y="844"/>
                  <a:pt x="14844" y="813"/>
                  <a:pt x="14812" y="813"/>
                </a:cubicBezTo>
                <a:cubicBezTo>
                  <a:pt x="14844" y="875"/>
                  <a:pt x="14844" y="906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37" y="1125"/>
                  <a:pt x="15062" y="1281"/>
                  <a:pt x="15125" y="1438"/>
                </a:cubicBezTo>
                <a:cubicBezTo>
                  <a:pt x="15125" y="1469"/>
                  <a:pt x="15156" y="1531"/>
                  <a:pt x="15187" y="1500"/>
                </a:cubicBezTo>
                <a:cubicBezTo>
                  <a:pt x="15219" y="1438"/>
                  <a:pt x="15344" y="1438"/>
                  <a:pt x="15281" y="1344"/>
                </a:cubicBezTo>
                <a:cubicBezTo>
                  <a:pt x="15219" y="1219"/>
                  <a:pt x="15156" y="1094"/>
                  <a:pt x="15125" y="938"/>
                </a:cubicBezTo>
                <a:cubicBezTo>
                  <a:pt x="15062" y="969"/>
                  <a:pt x="15062" y="1000"/>
                  <a:pt x="15062" y="1031"/>
                </a:cubicBezTo>
                <a:cubicBezTo>
                  <a:pt x="15062" y="1031"/>
                  <a:pt x="15062" y="1094"/>
                  <a:pt x="15031" y="1094"/>
                </a:cubicBezTo>
                <a:close/>
                <a:moveTo>
                  <a:pt x="8156" y="2875"/>
                </a:moveTo>
                <a:cubicBezTo>
                  <a:pt x="8094" y="2844"/>
                  <a:pt x="8031" y="2781"/>
                  <a:pt x="7937" y="2750"/>
                </a:cubicBezTo>
                <a:cubicBezTo>
                  <a:pt x="7812" y="2719"/>
                  <a:pt x="7719" y="2563"/>
                  <a:pt x="7594" y="2563"/>
                </a:cubicBezTo>
                <a:cubicBezTo>
                  <a:pt x="7562" y="2563"/>
                  <a:pt x="7562" y="2563"/>
                  <a:pt x="7531" y="2563"/>
                </a:cubicBezTo>
                <a:cubicBezTo>
                  <a:pt x="7469" y="2563"/>
                  <a:pt x="7406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12" y="2531"/>
                  <a:pt x="7281" y="2531"/>
                  <a:pt x="7250" y="2500"/>
                </a:cubicBezTo>
                <a:cubicBezTo>
                  <a:pt x="7125" y="2500"/>
                  <a:pt x="7031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06" y="2469"/>
                  <a:pt x="6875" y="2438"/>
                  <a:pt x="6844" y="2406"/>
                </a:cubicBezTo>
                <a:cubicBezTo>
                  <a:pt x="6812" y="2375"/>
                  <a:pt x="6750" y="2375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13"/>
                  <a:pt x="6687" y="2313"/>
                  <a:pt x="6656" y="2281"/>
                </a:cubicBezTo>
                <a:cubicBezTo>
                  <a:pt x="6656" y="2281"/>
                  <a:pt x="6656" y="2281"/>
                  <a:pt x="6656" y="2313"/>
                </a:cubicBezTo>
                <a:cubicBezTo>
                  <a:pt x="6656" y="2313"/>
                  <a:pt x="6656" y="2313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719" y="2375"/>
                  <a:pt x="6750" y="2406"/>
                  <a:pt x="6750" y="2406"/>
                </a:cubicBezTo>
                <a:cubicBezTo>
                  <a:pt x="6812" y="2438"/>
                  <a:pt x="6875" y="2469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69" y="2531"/>
                  <a:pt x="6969" y="2594"/>
                  <a:pt x="7000" y="2625"/>
                </a:cubicBezTo>
                <a:cubicBezTo>
                  <a:pt x="7062" y="2656"/>
                  <a:pt x="7094" y="2688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25" y="2656"/>
                  <a:pt x="7062" y="2656"/>
                  <a:pt x="7031" y="2594"/>
                </a:cubicBezTo>
                <a:cubicBezTo>
                  <a:pt x="7156" y="2563"/>
                  <a:pt x="7250" y="2594"/>
                  <a:pt x="7344" y="2656"/>
                </a:cubicBezTo>
                <a:cubicBezTo>
                  <a:pt x="7437" y="2688"/>
                  <a:pt x="7500" y="2719"/>
                  <a:pt x="7625" y="2688"/>
                </a:cubicBezTo>
                <a:cubicBezTo>
                  <a:pt x="7687" y="2688"/>
                  <a:pt x="7812" y="2719"/>
                  <a:pt x="7812" y="2781"/>
                </a:cubicBezTo>
                <a:cubicBezTo>
                  <a:pt x="7812" y="2875"/>
                  <a:pt x="7687" y="2813"/>
                  <a:pt x="7625" y="2813"/>
                </a:cubicBezTo>
                <a:cubicBezTo>
                  <a:pt x="7594" y="2813"/>
                  <a:pt x="7594" y="2813"/>
                  <a:pt x="7594" y="2813"/>
                </a:cubicBezTo>
                <a:cubicBezTo>
                  <a:pt x="7531" y="2813"/>
                  <a:pt x="7500" y="2813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437" y="2844"/>
                  <a:pt x="7375" y="2781"/>
                  <a:pt x="7344" y="2781"/>
                </a:cubicBezTo>
                <a:cubicBezTo>
                  <a:pt x="7312" y="2781"/>
                  <a:pt x="7281" y="2813"/>
                  <a:pt x="7250" y="2813"/>
                </a:cubicBezTo>
                <a:cubicBezTo>
                  <a:pt x="7187" y="2906"/>
                  <a:pt x="7281" y="3000"/>
                  <a:pt x="7344" y="3063"/>
                </a:cubicBezTo>
                <a:cubicBezTo>
                  <a:pt x="7281" y="3063"/>
                  <a:pt x="7219" y="3125"/>
                  <a:pt x="7156" y="3094"/>
                </a:cubicBezTo>
                <a:cubicBezTo>
                  <a:pt x="7219" y="3156"/>
                  <a:pt x="7281" y="3156"/>
                  <a:pt x="7375" y="3125"/>
                </a:cubicBezTo>
                <a:cubicBezTo>
                  <a:pt x="7437" y="3125"/>
                  <a:pt x="7406" y="3031"/>
                  <a:pt x="7406" y="3000"/>
                </a:cubicBezTo>
                <a:cubicBezTo>
                  <a:pt x="7437" y="2938"/>
                  <a:pt x="7469" y="2906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719" y="2844"/>
                  <a:pt x="7937" y="2844"/>
                  <a:pt x="8125" y="2938"/>
                </a:cubicBezTo>
                <a:cubicBezTo>
                  <a:pt x="8281" y="3031"/>
                  <a:pt x="8437" y="3031"/>
                  <a:pt x="8625" y="3063"/>
                </a:cubicBezTo>
                <a:cubicBezTo>
                  <a:pt x="8469" y="2938"/>
                  <a:pt x="8281" y="3000"/>
                  <a:pt x="8156" y="2875"/>
                </a:cubicBezTo>
                <a:close/>
                <a:moveTo>
                  <a:pt x="13812" y="813"/>
                </a:moveTo>
                <a:cubicBezTo>
                  <a:pt x="13812" y="813"/>
                  <a:pt x="13844" y="781"/>
                  <a:pt x="13844" y="781"/>
                </a:cubicBezTo>
                <a:cubicBezTo>
                  <a:pt x="13906" y="656"/>
                  <a:pt x="13969" y="656"/>
                  <a:pt x="14031" y="750"/>
                </a:cubicBezTo>
                <a:cubicBezTo>
                  <a:pt x="14125" y="813"/>
                  <a:pt x="14250" y="875"/>
                  <a:pt x="14312" y="1000"/>
                </a:cubicBezTo>
                <a:cubicBezTo>
                  <a:pt x="14344" y="938"/>
                  <a:pt x="14312" y="906"/>
                  <a:pt x="14312" y="875"/>
                </a:cubicBezTo>
                <a:cubicBezTo>
                  <a:pt x="14312" y="813"/>
                  <a:pt x="14312" y="750"/>
                  <a:pt x="14344" y="719"/>
                </a:cubicBezTo>
                <a:cubicBezTo>
                  <a:pt x="14406" y="719"/>
                  <a:pt x="14500" y="719"/>
                  <a:pt x="14562" y="813"/>
                </a:cubicBezTo>
                <a:cubicBezTo>
                  <a:pt x="14562" y="813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94" y="844"/>
                  <a:pt x="14594" y="844"/>
                </a:cubicBezTo>
                <a:cubicBezTo>
                  <a:pt x="14594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781"/>
                  <a:pt x="14531" y="719"/>
                  <a:pt x="14594" y="719"/>
                </a:cubicBezTo>
                <a:cubicBezTo>
                  <a:pt x="14687" y="719"/>
                  <a:pt x="14656" y="813"/>
                  <a:pt x="14656" y="844"/>
                </a:cubicBezTo>
                <a:cubicBezTo>
                  <a:pt x="14656" y="875"/>
                  <a:pt x="14656" y="906"/>
                  <a:pt x="14656" y="906"/>
                </a:cubicBezTo>
                <a:cubicBezTo>
                  <a:pt x="14656" y="938"/>
                  <a:pt x="14656" y="938"/>
                  <a:pt x="14656" y="938"/>
                </a:cubicBezTo>
                <a:cubicBezTo>
                  <a:pt x="14656" y="1031"/>
                  <a:pt x="14687" y="1063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125"/>
                  <a:pt x="14781" y="1156"/>
                  <a:pt x="14844" y="1188"/>
                </a:cubicBezTo>
                <a:cubicBezTo>
                  <a:pt x="14812" y="1125"/>
                  <a:pt x="14812" y="1125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63"/>
                  <a:pt x="14750" y="1031"/>
                  <a:pt x="14719" y="969"/>
                </a:cubicBezTo>
                <a:cubicBezTo>
                  <a:pt x="14687" y="813"/>
                  <a:pt x="14750" y="719"/>
                  <a:pt x="14906" y="750"/>
                </a:cubicBezTo>
                <a:cubicBezTo>
                  <a:pt x="14969" y="750"/>
                  <a:pt x="15000" y="750"/>
                  <a:pt x="15062" y="719"/>
                </a:cubicBezTo>
                <a:cubicBezTo>
                  <a:pt x="14969" y="719"/>
                  <a:pt x="14844" y="719"/>
                  <a:pt x="14750" y="688"/>
                </a:cubicBezTo>
                <a:cubicBezTo>
                  <a:pt x="14375" y="656"/>
                  <a:pt x="14000" y="594"/>
                  <a:pt x="13594" y="594"/>
                </a:cubicBezTo>
                <a:cubicBezTo>
                  <a:pt x="13594" y="594"/>
                  <a:pt x="13562" y="594"/>
                  <a:pt x="13562" y="625"/>
                </a:cubicBezTo>
                <a:cubicBezTo>
                  <a:pt x="13531" y="656"/>
                  <a:pt x="13562" y="656"/>
                  <a:pt x="13562" y="688"/>
                </a:cubicBezTo>
                <a:cubicBezTo>
                  <a:pt x="13625" y="750"/>
                  <a:pt x="13781" y="688"/>
                  <a:pt x="13812" y="813"/>
                </a:cubicBezTo>
                <a:close/>
                <a:moveTo>
                  <a:pt x="5312" y="3688"/>
                </a:moveTo>
                <a:cubicBezTo>
                  <a:pt x="5344" y="3719"/>
                  <a:pt x="5375" y="3750"/>
                  <a:pt x="5375" y="3781"/>
                </a:cubicBezTo>
                <a:cubicBezTo>
                  <a:pt x="5437" y="3781"/>
                  <a:pt x="5469" y="3781"/>
                  <a:pt x="5500" y="3813"/>
                </a:cubicBezTo>
                <a:cubicBezTo>
                  <a:pt x="5500" y="3813"/>
                  <a:pt x="5531" y="3844"/>
                  <a:pt x="5531" y="3844"/>
                </a:cubicBezTo>
                <a:cubicBezTo>
                  <a:pt x="5687" y="4031"/>
                  <a:pt x="5844" y="4188"/>
                  <a:pt x="6062" y="4281"/>
                </a:cubicBezTo>
                <a:cubicBezTo>
                  <a:pt x="6125" y="4313"/>
                  <a:pt x="6187" y="4281"/>
                  <a:pt x="6219" y="4250"/>
                </a:cubicBezTo>
                <a:cubicBezTo>
                  <a:pt x="6281" y="4219"/>
                  <a:pt x="6187" y="4156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094"/>
                  <a:pt x="6156" y="4094"/>
                  <a:pt x="6125" y="4094"/>
                </a:cubicBezTo>
                <a:cubicBezTo>
                  <a:pt x="6125" y="4063"/>
                  <a:pt x="6125" y="4063"/>
                  <a:pt x="6125" y="4063"/>
                </a:cubicBezTo>
                <a:cubicBezTo>
                  <a:pt x="6125" y="4063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062" y="4031"/>
                  <a:pt x="6000" y="4000"/>
                  <a:pt x="5969" y="3969"/>
                </a:cubicBezTo>
                <a:cubicBezTo>
                  <a:pt x="5969" y="3938"/>
                  <a:pt x="5969" y="3938"/>
                  <a:pt x="5969" y="3938"/>
                </a:cubicBezTo>
                <a:cubicBezTo>
                  <a:pt x="5969" y="3906"/>
                  <a:pt x="5969" y="3906"/>
                  <a:pt x="5969" y="3906"/>
                </a:cubicBezTo>
                <a:cubicBezTo>
                  <a:pt x="5969" y="3906"/>
                  <a:pt x="5969" y="3875"/>
                  <a:pt x="5969" y="3875"/>
                </a:cubicBezTo>
                <a:cubicBezTo>
                  <a:pt x="5969" y="3875"/>
                  <a:pt x="5969" y="3875"/>
                  <a:pt x="5937" y="3875"/>
                </a:cubicBezTo>
                <a:cubicBezTo>
                  <a:pt x="5937" y="3875"/>
                  <a:pt x="5937" y="3875"/>
                  <a:pt x="5969" y="3875"/>
                </a:cubicBezTo>
                <a:cubicBezTo>
                  <a:pt x="5812" y="3813"/>
                  <a:pt x="5687" y="3719"/>
                  <a:pt x="5531" y="3656"/>
                </a:cubicBezTo>
                <a:cubicBezTo>
                  <a:pt x="5500" y="3625"/>
                  <a:pt x="5437" y="3625"/>
                  <a:pt x="5406" y="3594"/>
                </a:cubicBezTo>
                <a:cubicBezTo>
                  <a:pt x="5344" y="3563"/>
                  <a:pt x="5312" y="3531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281" y="3469"/>
                  <a:pt x="5250" y="3438"/>
                  <a:pt x="5250" y="3438"/>
                </a:cubicBezTo>
                <a:cubicBezTo>
                  <a:pt x="5250" y="3438"/>
                  <a:pt x="5250" y="3406"/>
                  <a:pt x="5219" y="3406"/>
                </a:cubicBezTo>
                <a:cubicBezTo>
                  <a:pt x="5219" y="3406"/>
                  <a:pt x="5219" y="3406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44"/>
                  <a:pt x="5187" y="3344"/>
                  <a:pt x="5187" y="3344"/>
                </a:cubicBezTo>
                <a:cubicBezTo>
                  <a:pt x="5187" y="3344"/>
                  <a:pt x="5187" y="3313"/>
                  <a:pt x="5187" y="3313"/>
                </a:cubicBezTo>
                <a:cubicBezTo>
                  <a:pt x="5187" y="3313"/>
                  <a:pt x="5219" y="3344"/>
                  <a:pt x="5219" y="3344"/>
                </a:cubicBezTo>
                <a:cubicBezTo>
                  <a:pt x="5219" y="3344"/>
                  <a:pt x="5219" y="3344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50" y="3375"/>
                  <a:pt x="5250" y="3375"/>
                  <a:pt x="5281" y="3406"/>
                </a:cubicBezTo>
                <a:cubicBezTo>
                  <a:pt x="5281" y="3406"/>
                  <a:pt x="5312" y="3438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44" y="3500"/>
                  <a:pt x="5406" y="3500"/>
                  <a:pt x="5469" y="3531"/>
                </a:cubicBezTo>
                <a:cubicBezTo>
                  <a:pt x="5500" y="3563"/>
                  <a:pt x="5531" y="3594"/>
                  <a:pt x="5562" y="3625"/>
                </a:cubicBezTo>
                <a:cubicBezTo>
                  <a:pt x="5562" y="3625"/>
                  <a:pt x="5562" y="3625"/>
                  <a:pt x="5562" y="3625"/>
                </a:cubicBezTo>
                <a:cubicBezTo>
                  <a:pt x="5594" y="3625"/>
                  <a:pt x="5625" y="3625"/>
                  <a:pt x="5656" y="3625"/>
                </a:cubicBezTo>
                <a:cubicBezTo>
                  <a:pt x="5687" y="3625"/>
                  <a:pt x="5687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594"/>
                  <a:pt x="5656" y="3563"/>
                  <a:pt x="5719" y="3563"/>
                </a:cubicBezTo>
                <a:cubicBezTo>
                  <a:pt x="5750" y="3563"/>
                  <a:pt x="5750" y="3563"/>
                  <a:pt x="5750" y="3563"/>
                </a:cubicBezTo>
                <a:cubicBezTo>
                  <a:pt x="5750" y="3594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812" y="3750"/>
                  <a:pt x="5937" y="3750"/>
                  <a:pt x="6031" y="3781"/>
                </a:cubicBezTo>
                <a:cubicBezTo>
                  <a:pt x="6062" y="3813"/>
                  <a:pt x="6094" y="3813"/>
                  <a:pt x="6156" y="3844"/>
                </a:cubicBezTo>
                <a:cubicBezTo>
                  <a:pt x="6156" y="3844"/>
                  <a:pt x="6187" y="3844"/>
                  <a:pt x="6187" y="3813"/>
                </a:cubicBezTo>
                <a:cubicBezTo>
                  <a:pt x="6187" y="3813"/>
                  <a:pt x="6187" y="3781"/>
                  <a:pt x="6156" y="3781"/>
                </a:cubicBezTo>
                <a:cubicBezTo>
                  <a:pt x="6000" y="3688"/>
                  <a:pt x="5875" y="3563"/>
                  <a:pt x="5687" y="3469"/>
                </a:cubicBezTo>
                <a:cubicBezTo>
                  <a:pt x="5469" y="3313"/>
                  <a:pt x="5250" y="3156"/>
                  <a:pt x="5062" y="2938"/>
                </a:cubicBezTo>
                <a:cubicBezTo>
                  <a:pt x="5062" y="2906"/>
                  <a:pt x="5062" y="2906"/>
                  <a:pt x="5062" y="2906"/>
                </a:cubicBezTo>
                <a:cubicBezTo>
                  <a:pt x="5062" y="2906"/>
                  <a:pt x="5062" y="2875"/>
                  <a:pt x="5062" y="2875"/>
                </a:cubicBezTo>
                <a:cubicBezTo>
                  <a:pt x="5031" y="2875"/>
                  <a:pt x="5031" y="2875"/>
                  <a:pt x="5031" y="2844"/>
                </a:cubicBezTo>
                <a:cubicBezTo>
                  <a:pt x="5000" y="2844"/>
                  <a:pt x="5000" y="2844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31" y="2813"/>
                  <a:pt x="5062" y="2844"/>
                  <a:pt x="5062" y="2875"/>
                </a:cubicBezTo>
                <a:cubicBezTo>
                  <a:pt x="5125" y="2906"/>
                  <a:pt x="5156" y="2938"/>
                  <a:pt x="5219" y="2969"/>
                </a:cubicBezTo>
                <a:cubicBezTo>
                  <a:pt x="5219" y="2969"/>
                  <a:pt x="5219" y="2969"/>
                  <a:pt x="5219" y="2938"/>
                </a:cubicBezTo>
                <a:cubicBezTo>
                  <a:pt x="5219" y="2906"/>
                  <a:pt x="5187" y="2844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87" y="2781"/>
                  <a:pt x="5219" y="2781"/>
                  <a:pt x="5250" y="2813"/>
                </a:cubicBezTo>
                <a:cubicBezTo>
                  <a:pt x="5250" y="2813"/>
                  <a:pt x="5281" y="2813"/>
                  <a:pt x="5312" y="2813"/>
                </a:cubicBezTo>
                <a:cubicBezTo>
                  <a:pt x="5312" y="2813"/>
                  <a:pt x="5312" y="2813"/>
                  <a:pt x="5312" y="2813"/>
                </a:cubicBezTo>
                <a:cubicBezTo>
                  <a:pt x="5312" y="2750"/>
                  <a:pt x="5219" y="2719"/>
                  <a:pt x="5219" y="2656"/>
                </a:cubicBezTo>
                <a:cubicBezTo>
                  <a:pt x="5187" y="2656"/>
                  <a:pt x="5156" y="2625"/>
                  <a:pt x="5156" y="2563"/>
                </a:cubicBezTo>
                <a:cubicBezTo>
                  <a:pt x="5156" y="2563"/>
                  <a:pt x="5156" y="2563"/>
                  <a:pt x="5156" y="2563"/>
                </a:cubicBezTo>
                <a:cubicBezTo>
                  <a:pt x="5219" y="2563"/>
                  <a:pt x="5219" y="2625"/>
                  <a:pt x="5219" y="2656"/>
                </a:cubicBezTo>
                <a:cubicBezTo>
                  <a:pt x="5219" y="2656"/>
                  <a:pt x="5219" y="2656"/>
                  <a:pt x="5219" y="2656"/>
                </a:cubicBezTo>
                <a:cubicBezTo>
                  <a:pt x="5250" y="2656"/>
                  <a:pt x="5250" y="2656"/>
                  <a:pt x="5250" y="2656"/>
                </a:cubicBezTo>
                <a:cubicBezTo>
                  <a:pt x="5312" y="2656"/>
                  <a:pt x="5344" y="2781"/>
                  <a:pt x="5406" y="2688"/>
                </a:cubicBezTo>
                <a:cubicBezTo>
                  <a:pt x="5437" y="2625"/>
                  <a:pt x="5344" y="2531"/>
                  <a:pt x="5312" y="2531"/>
                </a:cubicBezTo>
                <a:cubicBezTo>
                  <a:pt x="5250" y="2500"/>
                  <a:pt x="5219" y="2469"/>
                  <a:pt x="5187" y="2406"/>
                </a:cubicBezTo>
                <a:cubicBezTo>
                  <a:pt x="5094" y="2281"/>
                  <a:pt x="5000" y="2125"/>
                  <a:pt x="4844" y="2031"/>
                </a:cubicBezTo>
                <a:cubicBezTo>
                  <a:pt x="4906" y="2000"/>
                  <a:pt x="4906" y="2000"/>
                  <a:pt x="4937" y="2031"/>
                </a:cubicBezTo>
                <a:cubicBezTo>
                  <a:pt x="5000" y="2094"/>
                  <a:pt x="5094" y="2156"/>
                  <a:pt x="5156" y="2250"/>
                </a:cubicBezTo>
                <a:cubicBezTo>
                  <a:pt x="5219" y="2344"/>
                  <a:pt x="5375" y="2313"/>
                  <a:pt x="5437" y="2438"/>
                </a:cubicBezTo>
                <a:cubicBezTo>
                  <a:pt x="5437" y="2469"/>
                  <a:pt x="5469" y="2469"/>
                  <a:pt x="5500" y="2438"/>
                </a:cubicBezTo>
                <a:cubicBezTo>
                  <a:pt x="5500" y="2438"/>
                  <a:pt x="5500" y="2406"/>
                  <a:pt x="5500" y="2406"/>
                </a:cubicBezTo>
                <a:cubicBezTo>
                  <a:pt x="5469" y="2344"/>
                  <a:pt x="5406" y="2313"/>
                  <a:pt x="5406" y="2281"/>
                </a:cubicBezTo>
                <a:cubicBezTo>
                  <a:pt x="5375" y="2250"/>
                  <a:pt x="5312" y="2219"/>
                  <a:pt x="5312" y="2156"/>
                </a:cubicBezTo>
                <a:cubicBezTo>
                  <a:pt x="5406" y="2219"/>
                  <a:pt x="5531" y="2250"/>
                  <a:pt x="5625" y="2281"/>
                </a:cubicBezTo>
                <a:cubicBezTo>
                  <a:pt x="5750" y="2344"/>
                  <a:pt x="5844" y="2469"/>
                  <a:pt x="5937" y="2531"/>
                </a:cubicBezTo>
                <a:cubicBezTo>
                  <a:pt x="5969" y="2563"/>
                  <a:pt x="6031" y="2563"/>
                  <a:pt x="5937" y="2594"/>
                </a:cubicBezTo>
                <a:cubicBezTo>
                  <a:pt x="5875" y="2625"/>
                  <a:pt x="5969" y="2656"/>
                  <a:pt x="5937" y="2688"/>
                </a:cubicBezTo>
                <a:cubicBezTo>
                  <a:pt x="5812" y="2844"/>
                  <a:pt x="6000" y="2844"/>
                  <a:pt x="6062" y="2906"/>
                </a:cubicBezTo>
                <a:cubicBezTo>
                  <a:pt x="6094" y="2938"/>
                  <a:pt x="6125" y="2938"/>
                  <a:pt x="6125" y="2969"/>
                </a:cubicBezTo>
                <a:cubicBezTo>
                  <a:pt x="6125" y="3031"/>
                  <a:pt x="6062" y="2969"/>
                  <a:pt x="6031" y="3031"/>
                </a:cubicBezTo>
                <a:cubicBezTo>
                  <a:pt x="6062" y="3063"/>
                  <a:pt x="6094" y="3094"/>
                  <a:pt x="6125" y="3094"/>
                </a:cubicBezTo>
                <a:cubicBezTo>
                  <a:pt x="6187" y="3125"/>
                  <a:pt x="6281" y="3125"/>
                  <a:pt x="6375" y="3125"/>
                </a:cubicBezTo>
                <a:cubicBezTo>
                  <a:pt x="6375" y="3125"/>
                  <a:pt x="6375" y="3125"/>
                  <a:pt x="6375" y="3125"/>
                </a:cubicBezTo>
                <a:cubicBezTo>
                  <a:pt x="6375" y="3094"/>
                  <a:pt x="6375" y="3063"/>
                  <a:pt x="6437" y="3094"/>
                </a:cubicBezTo>
                <a:cubicBezTo>
                  <a:pt x="6500" y="3125"/>
                  <a:pt x="6594" y="3156"/>
                  <a:pt x="6687" y="3219"/>
                </a:cubicBezTo>
                <a:cubicBezTo>
                  <a:pt x="6812" y="3344"/>
                  <a:pt x="6969" y="3406"/>
                  <a:pt x="7125" y="3406"/>
                </a:cubicBezTo>
                <a:cubicBezTo>
                  <a:pt x="7187" y="3375"/>
                  <a:pt x="7219" y="3438"/>
                  <a:pt x="7281" y="3406"/>
                </a:cubicBezTo>
                <a:cubicBezTo>
                  <a:pt x="7219" y="3344"/>
                  <a:pt x="7187" y="3313"/>
                  <a:pt x="7094" y="3313"/>
                </a:cubicBezTo>
                <a:cubicBezTo>
                  <a:pt x="7031" y="3313"/>
                  <a:pt x="7000" y="3313"/>
                  <a:pt x="7000" y="3250"/>
                </a:cubicBezTo>
                <a:cubicBezTo>
                  <a:pt x="6906" y="3219"/>
                  <a:pt x="6812" y="3250"/>
                  <a:pt x="6781" y="3156"/>
                </a:cubicBezTo>
                <a:cubicBezTo>
                  <a:pt x="6781" y="3156"/>
                  <a:pt x="6781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25"/>
                  <a:pt x="6687" y="3125"/>
                  <a:pt x="6687" y="3063"/>
                </a:cubicBezTo>
                <a:cubicBezTo>
                  <a:pt x="6719" y="3063"/>
                  <a:pt x="6719" y="3063"/>
                  <a:pt x="6750" y="3094"/>
                </a:cubicBezTo>
                <a:cubicBezTo>
                  <a:pt x="6750" y="3094"/>
                  <a:pt x="6750" y="3125"/>
                  <a:pt x="6750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812" y="3156"/>
                  <a:pt x="6875" y="3125"/>
                  <a:pt x="6906" y="3156"/>
                </a:cubicBezTo>
                <a:cubicBezTo>
                  <a:pt x="6937" y="3156"/>
                  <a:pt x="7000" y="3188"/>
                  <a:pt x="7031" y="3219"/>
                </a:cubicBezTo>
                <a:cubicBezTo>
                  <a:pt x="7031" y="3219"/>
                  <a:pt x="7031" y="3219"/>
                  <a:pt x="7031" y="3219"/>
                </a:cubicBezTo>
                <a:cubicBezTo>
                  <a:pt x="7125" y="3219"/>
                  <a:pt x="7219" y="3281"/>
                  <a:pt x="7281" y="3313"/>
                </a:cubicBezTo>
                <a:cubicBezTo>
                  <a:pt x="7312" y="3313"/>
                  <a:pt x="7344" y="3344"/>
                  <a:pt x="7344" y="3344"/>
                </a:cubicBezTo>
                <a:cubicBezTo>
                  <a:pt x="7375" y="3344"/>
                  <a:pt x="7375" y="3344"/>
                  <a:pt x="7375" y="3344"/>
                </a:cubicBezTo>
                <a:cubicBezTo>
                  <a:pt x="7375" y="3344"/>
                  <a:pt x="7375" y="3344"/>
                  <a:pt x="7375" y="3375"/>
                </a:cubicBezTo>
                <a:cubicBezTo>
                  <a:pt x="7406" y="3344"/>
                  <a:pt x="7406" y="3313"/>
                  <a:pt x="7437" y="3313"/>
                </a:cubicBezTo>
                <a:cubicBezTo>
                  <a:pt x="7469" y="3344"/>
                  <a:pt x="7500" y="3375"/>
                  <a:pt x="7531" y="3375"/>
                </a:cubicBezTo>
                <a:cubicBezTo>
                  <a:pt x="7594" y="3375"/>
                  <a:pt x="7625" y="3406"/>
                  <a:pt x="7656" y="3406"/>
                </a:cubicBezTo>
                <a:cubicBezTo>
                  <a:pt x="7687" y="3438"/>
                  <a:pt x="7687" y="3469"/>
                  <a:pt x="7656" y="3563"/>
                </a:cubicBezTo>
                <a:cubicBezTo>
                  <a:pt x="7719" y="3563"/>
                  <a:pt x="7750" y="3563"/>
                  <a:pt x="7781" y="3594"/>
                </a:cubicBezTo>
                <a:cubicBezTo>
                  <a:pt x="7875" y="3688"/>
                  <a:pt x="7875" y="3688"/>
                  <a:pt x="7906" y="3563"/>
                </a:cubicBezTo>
                <a:cubicBezTo>
                  <a:pt x="7937" y="3531"/>
                  <a:pt x="8000" y="3531"/>
                  <a:pt x="8000" y="3563"/>
                </a:cubicBezTo>
                <a:cubicBezTo>
                  <a:pt x="8125" y="3656"/>
                  <a:pt x="8281" y="3625"/>
                  <a:pt x="8406" y="3656"/>
                </a:cubicBezTo>
                <a:cubicBezTo>
                  <a:pt x="8531" y="3719"/>
                  <a:pt x="8625" y="3719"/>
                  <a:pt x="8719" y="3781"/>
                </a:cubicBezTo>
                <a:cubicBezTo>
                  <a:pt x="8750" y="3781"/>
                  <a:pt x="8781" y="3813"/>
                  <a:pt x="8812" y="3781"/>
                </a:cubicBezTo>
                <a:cubicBezTo>
                  <a:pt x="8844" y="3750"/>
                  <a:pt x="8812" y="3719"/>
                  <a:pt x="8781" y="3688"/>
                </a:cubicBezTo>
                <a:cubicBezTo>
                  <a:pt x="8750" y="3656"/>
                  <a:pt x="8687" y="3594"/>
                  <a:pt x="8656" y="3531"/>
                </a:cubicBezTo>
                <a:cubicBezTo>
                  <a:pt x="8719" y="3531"/>
                  <a:pt x="8750" y="3563"/>
                  <a:pt x="8781" y="3594"/>
                </a:cubicBezTo>
                <a:cubicBezTo>
                  <a:pt x="8812" y="3625"/>
                  <a:pt x="8875" y="3719"/>
                  <a:pt x="8906" y="3563"/>
                </a:cubicBezTo>
                <a:cubicBezTo>
                  <a:pt x="8906" y="3531"/>
                  <a:pt x="8937" y="3563"/>
                  <a:pt x="8937" y="3563"/>
                </a:cubicBezTo>
                <a:cubicBezTo>
                  <a:pt x="8969" y="3594"/>
                  <a:pt x="8969" y="3594"/>
                  <a:pt x="9000" y="3625"/>
                </a:cubicBezTo>
                <a:cubicBezTo>
                  <a:pt x="9031" y="3656"/>
                  <a:pt x="9125" y="3625"/>
                  <a:pt x="9156" y="3594"/>
                </a:cubicBezTo>
                <a:cubicBezTo>
                  <a:pt x="9187" y="3563"/>
                  <a:pt x="9125" y="3531"/>
                  <a:pt x="9094" y="3500"/>
                </a:cubicBezTo>
                <a:cubicBezTo>
                  <a:pt x="9062" y="3469"/>
                  <a:pt x="9031" y="3469"/>
                  <a:pt x="9000" y="3438"/>
                </a:cubicBezTo>
                <a:cubicBezTo>
                  <a:pt x="8969" y="3406"/>
                  <a:pt x="8875" y="3406"/>
                  <a:pt x="8969" y="3344"/>
                </a:cubicBezTo>
                <a:cubicBezTo>
                  <a:pt x="9000" y="3313"/>
                  <a:pt x="8969" y="3250"/>
                  <a:pt x="8937" y="3250"/>
                </a:cubicBezTo>
                <a:cubicBezTo>
                  <a:pt x="8875" y="3219"/>
                  <a:pt x="8812" y="3188"/>
                  <a:pt x="8750" y="3250"/>
                </a:cubicBezTo>
                <a:cubicBezTo>
                  <a:pt x="8719" y="3313"/>
                  <a:pt x="8656" y="3313"/>
                  <a:pt x="8594" y="3250"/>
                </a:cubicBezTo>
                <a:cubicBezTo>
                  <a:pt x="8656" y="3281"/>
                  <a:pt x="8719" y="3281"/>
                  <a:pt x="8719" y="3188"/>
                </a:cubicBezTo>
                <a:cubicBezTo>
                  <a:pt x="8719" y="3188"/>
                  <a:pt x="8719" y="3156"/>
                  <a:pt x="8750" y="3156"/>
                </a:cubicBezTo>
                <a:cubicBezTo>
                  <a:pt x="8844" y="3219"/>
                  <a:pt x="9000" y="3156"/>
                  <a:pt x="9031" y="3250"/>
                </a:cubicBezTo>
                <a:cubicBezTo>
                  <a:pt x="9094" y="3406"/>
                  <a:pt x="9219" y="3406"/>
                  <a:pt x="9344" y="3469"/>
                </a:cubicBezTo>
                <a:cubicBezTo>
                  <a:pt x="9406" y="3531"/>
                  <a:pt x="9437" y="3500"/>
                  <a:pt x="9469" y="3406"/>
                </a:cubicBezTo>
                <a:cubicBezTo>
                  <a:pt x="9500" y="3438"/>
                  <a:pt x="9500" y="3500"/>
                  <a:pt x="9531" y="3531"/>
                </a:cubicBezTo>
                <a:cubicBezTo>
                  <a:pt x="9562" y="3594"/>
                  <a:pt x="9625" y="3594"/>
                  <a:pt x="9656" y="3531"/>
                </a:cubicBezTo>
                <a:cubicBezTo>
                  <a:pt x="9687" y="3500"/>
                  <a:pt x="9719" y="3469"/>
                  <a:pt x="9750" y="3531"/>
                </a:cubicBezTo>
                <a:cubicBezTo>
                  <a:pt x="9781" y="3563"/>
                  <a:pt x="9781" y="3531"/>
                  <a:pt x="9812" y="3531"/>
                </a:cubicBezTo>
                <a:cubicBezTo>
                  <a:pt x="9844" y="3469"/>
                  <a:pt x="9844" y="3438"/>
                  <a:pt x="9812" y="3406"/>
                </a:cubicBezTo>
                <a:cubicBezTo>
                  <a:pt x="9781" y="3344"/>
                  <a:pt x="9687" y="3344"/>
                  <a:pt x="9719" y="3250"/>
                </a:cubicBezTo>
                <a:cubicBezTo>
                  <a:pt x="9750" y="3219"/>
                  <a:pt x="9687" y="3188"/>
                  <a:pt x="9656" y="3219"/>
                </a:cubicBezTo>
                <a:cubicBezTo>
                  <a:pt x="9594" y="3281"/>
                  <a:pt x="9531" y="3281"/>
                  <a:pt x="9469" y="3281"/>
                </a:cubicBezTo>
                <a:cubicBezTo>
                  <a:pt x="9437" y="3281"/>
                  <a:pt x="9437" y="3344"/>
                  <a:pt x="9406" y="3313"/>
                </a:cubicBezTo>
                <a:cubicBezTo>
                  <a:pt x="9406" y="3313"/>
                  <a:pt x="9375" y="3281"/>
                  <a:pt x="9406" y="3250"/>
                </a:cubicBezTo>
                <a:cubicBezTo>
                  <a:pt x="9469" y="3156"/>
                  <a:pt x="9375" y="3156"/>
                  <a:pt x="9344" y="3156"/>
                </a:cubicBezTo>
                <a:cubicBezTo>
                  <a:pt x="9250" y="3125"/>
                  <a:pt x="9156" y="3156"/>
                  <a:pt x="9125" y="3063"/>
                </a:cubicBezTo>
                <a:cubicBezTo>
                  <a:pt x="9094" y="3063"/>
                  <a:pt x="9094" y="3063"/>
                  <a:pt x="9062" y="3063"/>
                </a:cubicBezTo>
                <a:cubicBezTo>
                  <a:pt x="9031" y="3063"/>
                  <a:pt x="9000" y="3063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875" y="3031"/>
                  <a:pt x="8812" y="3000"/>
                  <a:pt x="8781" y="2938"/>
                </a:cubicBezTo>
                <a:cubicBezTo>
                  <a:pt x="8781" y="2938"/>
                  <a:pt x="8750" y="2906"/>
                  <a:pt x="8750" y="2906"/>
                </a:cubicBezTo>
                <a:cubicBezTo>
                  <a:pt x="8781" y="2906"/>
                  <a:pt x="8812" y="2938"/>
                  <a:pt x="8844" y="2938"/>
                </a:cubicBezTo>
                <a:cubicBezTo>
                  <a:pt x="8906" y="2969"/>
                  <a:pt x="8937" y="2969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9031" y="3031"/>
                  <a:pt x="9062" y="3031"/>
                  <a:pt x="9125" y="3063"/>
                </a:cubicBezTo>
                <a:cubicBezTo>
                  <a:pt x="9125" y="3063"/>
                  <a:pt x="9125" y="3063"/>
                  <a:pt x="9125" y="3063"/>
                </a:cubicBezTo>
                <a:cubicBezTo>
                  <a:pt x="9156" y="3063"/>
                  <a:pt x="9219" y="3063"/>
                  <a:pt x="9250" y="3031"/>
                </a:cubicBezTo>
                <a:cubicBezTo>
                  <a:pt x="9250" y="3031"/>
                  <a:pt x="9250" y="3031"/>
                  <a:pt x="9281" y="3031"/>
                </a:cubicBezTo>
                <a:cubicBezTo>
                  <a:pt x="9281" y="2969"/>
                  <a:pt x="9344" y="3000"/>
                  <a:pt x="9375" y="3031"/>
                </a:cubicBezTo>
                <a:cubicBezTo>
                  <a:pt x="9406" y="3094"/>
                  <a:pt x="9469" y="3125"/>
                  <a:pt x="9531" y="3125"/>
                </a:cubicBezTo>
                <a:cubicBezTo>
                  <a:pt x="9594" y="3125"/>
                  <a:pt x="9656" y="3156"/>
                  <a:pt x="9625" y="3063"/>
                </a:cubicBezTo>
                <a:cubicBezTo>
                  <a:pt x="9625" y="3031"/>
                  <a:pt x="9625" y="3031"/>
                  <a:pt x="9656" y="3031"/>
                </a:cubicBezTo>
                <a:cubicBezTo>
                  <a:pt x="9687" y="3031"/>
                  <a:pt x="9750" y="3063"/>
                  <a:pt x="9719" y="3000"/>
                </a:cubicBezTo>
                <a:cubicBezTo>
                  <a:pt x="9719" y="2938"/>
                  <a:pt x="9656" y="2906"/>
                  <a:pt x="9594" y="2906"/>
                </a:cubicBezTo>
                <a:cubicBezTo>
                  <a:pt x="9469" y="2875"/>
                  <a:pt x="9375" y="2781"/>
                  <a:pt x="9375" y="2656"/>
                </a:cubicBezTo>
                <a:cubicBezTo>
                  <a:pt x="9312" y="2625"/>
                  <a:pt x="9281" y="2594"/>
                  <a:pt x="9219" y="2531"/>
                </a:cubicBezTo>
                <a:cubicBezTo>
                  <a:pt x="9219" y="2500"/>
                  <a:pt x="9187" y="2500"/>
                  <a:pt x="9187" y="2469"/>
                </a:cubicBezTo>
                <a:cubicBezTo>
                  <a:pt x="9187" y="2625"/>
                  <a:pt x="9250" y="2656"/>
                  <a:pt x="9375" y="2656"/>
                </a:cubicBezTo>
                <a:cubicBezTo>
                  <a:pt x="9406" y="2625"/>
                  <a:pt x="9375" y="2563"/>
                  <a:pt x="9375" y="2531"/>
                </a:cubicBezTo>
                <a:cubicBezTo>
                  <a:pt x="9375" y="2531"/>
                  <a:pt x="9375" y="2500"/>
                  <a:pt x="9375" y="2500"/>
                </a:cubicBezTo>
                <a:cubicBezTo>
                  <a:pt x="9281" y="2500"/>
                  <a:pt x="9250" y="2406"/>
                  <a:pt x="9219" y="2375"/>
                </a:cubicBezTo>
                <a:cubicBezTo>
                  <a:pt x="9219" y="2375"/>
                  <a:pt x="9250" y="2375"/>
                  <a:pt x="9281" y="2375"/>
                </a:cubicBezTo>
                <a:cubicBezTo>
                  <a:pt x="9281" y="2375"/>
                  <a:pt x="9281" y="2375"/>
                  <a:pt x="9281" y="2375"/>
                </a:cubicBezTo>
                <a:cubicBezTo>
                  <a:pt x="9312" y="2375"/>
                  <a:pt x="9312" y="2375"/>
                  <a:pt x="9344" y="2406"/>
                </a:cubicBezTo>
                <a:cubicBezTo>
                  <a:pt x="9375" y="2406"/>
                  <a:pt x="9375" y="2438"/>
                  <a:pt x="9375" y="2500"/>
                </a:cubicBezTo>
                <a:cubicBezTo>
                  <a:pt x="9469" y="2625"/>
                  <a:pt x="9594" y="2719"/>
                  <a:pt x="9719" y="2813"/>
                </a:cubicBezTo>
                <a:cubicBezTo>
                  <a:pt x="9781" y="2875"/>
                  <a:pt x="9875" y="2906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69" y="2969"/>
                  <a:pt x="10000" y="3000"/>
                  <a:pt x="10031" y="3031"/>
                </a:cubicBezTo>
                <a:cubicBezTo>
                  <a:pt x="10062" y="3031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125" y="3063"/>
                  <a:pt x="10125" y="3063"/>
                </a:cubicBezTo>
                <a:cubicBezTo>
                  <a:pt x="10156" y="3063"/>
                  <a:pt x="10156" y="3063"/>
                  <a:pt x="10156" y="3031"/>
                </a:cubicBezTo>
                <a:cubicBezTo>
                  <a:pt x="10187" y="3031"/>
                  <a:pt x="10187" y="3031"/>
                  <a:pt x="10156" y="3000"/>
                </a:cubicBezTo>
                <a:cubicBezTo>
                  <a:pt x="10031" y="2906"/>
                  <a:pt x="10156" y="2813"/>
                  <a:pt x="10156" y="2719"/>
                </a:cubicBezTo>
                <a:cubicBezTo>
                  <a:pt x="10187" y="2844"/>
                  <a:pt x="10187" y="2938"/>
                  <a:pt x="10250" y="3063"/>
                </a:cubicBezTo>
                <a:cubicBezTo>
                  <a:pt x="10344" y="3000"/>
                  <a:pt x="10406" y="2938"/>
                  <a:pt x="10406" y="2813"/>
                </a:cubicBezTo>
                <a:cubicBezTo>
                  <a:pt x="10469" y="2875"/>
                  <a:pt x="10500" y="2938"/>
                  <a:pt x="10406" y="3000"/>
                </a:cubicBezTo>
                <a:cubicBezTo>
                  <a:pt x="10375" y="3031"/>
                  <a:pt x="10375" y="3094"/>
                  <a:pt x="10406" y="3125"/>
                </a:cubicBezTo>
                <a:cubicBezTo>
                  <a:pt x="10406" y="3156"/>
                  <a:pt x="10437" y="3156"/>
                  <a:pt x="10469" y="3156"/>
                </a:cubicBezTo>
                <a:cubicBezTo>
                  <a:pt x="10500" y="3094"/>
                  <a:pt x="10625" y="3094"/>
                  <a:pt x="10594" y="3031"/>
                </a:cubicBezTo>
                <a:cubicBezTo>
                  <a:pt x="10594" y="2938"/>
                  <a:pt x="10625" y="2875"/>
                  <a:pt x="10656" y="2813"/>
                </a:cubicBezTo>
                <a:cubicBezTo>
                  <a:pt x="10625" y="2813"/>
                  <a:pt x="10625" y="2813"/>
                  <a:pt x="10625" y="2813"/>
                </a:cubicBezTo>
                <a:cubicBezTo>
                  <a:pt x="10594" y="2688"/>
                  <a:pt x="10562" y="2594"/>
                  <a:pt x="10531" y="2500"/>
                </a:cubicBezTo>
                <a:cubicBezTo>
                  <a:pt x="10594" y="2531"/>
                  <a:pt x="10625" y="2563"/>
                  <a:pt x="10625" y="2625"/>
                </a:cubicBezTo>
                <a:cubicBezTo>
                  <a:pt x="10656" y="2656"/>
                  <a:pt x="10656" y="2688"/>
                  <a:pt x="10656" y="2719"/>
                </a:cubicBezTo>
                <a:cubicBezTo>
                  <a:pt x="10656" y="2719"/>
                  <a:pt x="10656" y="2719"/>
                  <a:pt x="10656" y="2719"/>
                </a:cubicBezTo>
                <a:cubicBezTo>
                  <a:pt x="10656" y="2750"/>
                  <a:pt x="10656" y="2781"/>
                  <a:pt x="10656" y="2813"/>
                </a:cubicBezTo>
                <a:cubicBezTo>
                  <a:pt x="10656" y="2844"/>
                  <a:pt x="10656" y="2844"/>
                  <a:pt x="10656" y="2875"/>
                </a:cubicBezTo>
                <a:cubicBezTo>
                  <a:pt x="10687" y="2875"/>
                  <a:pt x="10687" y="2906"/>
                  <a:pt x="10687" y="2906"/>
                </a:cubicBezTo>
                <a:cubicBezTo>
                  <a:pt x="10719" y="2938"/>
                  <a:pt x="10719" y="2938"/>
                  <a:pt x="10750" y="2969"/>
                </a:cubicBezTo>
                <a:cubicBezTo>
                  <a:pt x="10750" y="3000"/>
                  <a:pt x="10781" y="3031"/>
                  <a:pt x="10812" y="3031"/>
                </a:cubicBezTo>
                <a:cubicBezTo>
                  <a:pt x="10906" y="2969"/>
                  <a:pt x="10875" y="2844"/>
                  <a:pt x="10937" y="2750"/>
                </a:cubicBezTo>
                <a:cubicBezTo>
                  <a:pt x="10969" y="2844"/>
                  <a:pt x="10937" y="2938"/>
                  <a:pt x="10906" y="3031"/>
                </a:cubicBezTo>
                <a:cubicBezTo>
                  <a:pt x="10875" y="3125"/>
                  <a:pt x="10906" y="3188"/>
                  <a:pt x="10937" y="3281"/>
                </a:cubicBezTo>
                <a:cubicBezTo>
                  <a:pt x="11000" y="3344"/>
                  <a:pt x="11031" y="3375"/>
                  <a:pt x="11062" y="3250"/>
                </a:cubicBezTo>
                <a:cubicBezTo>
                  <a:pt x="11062" y="3250"/>
                  <a:pt x="11062" y="3281"/>
                  <a:pt x="11062" y="3281"/>
                </a:cubicBezTo>
                <a:cubicBezTo>
                  <a:pt x="11062" y="3281"/>
                  <a:pt x="11062" y="3313"/>
                  <a:pt x="11062" y="3313"/>
                </a:cubicBezTo>
                <a:cubicBezTo>
                  <a:pt x="11094" y="3344"/>
                  <a:pt x="11062" y="3375"/>
                  <a:pt x="11094" y="3406"/>
                </a:cubicBezTo>
                <a:cubicBezTo>
                  <a:pt x="11156" y="3375"/>
                  <a:pt x="11219" y="3313"/>
                  <a:pt x="11281" y="3250"/>
                </a:cubicBezTo>
                <a:cubicBezTo>
                  <a:pt x="11281" y="3250"/>
                  <a:pt x="11312" y="3250"/>
                  <a:pt x="11312" y="3219"/>
                </a:cubicBezTo>
                <a:cubicBezTo>
                  <a:pt x="11312" y="3219"/>
                  <a:pt x="11312" y="3219"/>
                  <a:pt x="11312" y="3219"/>
                </a:cubicBezTo>
                <a:cubicBezTo>
                  <a:pt x="11312" y="3156"/>
                  <a:pt x="11375" y="3094"/>
                  <a:pt x="11312" y="3031"/>
                </a:cubicBezTo>
                <a:cubicBezTo>
                  <a:pt x="11312" y="3000"/>
                  <a:pt x="11312" y="3000"/>
                  <a:pt x="11312" y="3000"/>
                </a:cubicBezTo>
                <a:cubicBezTo>
                  <a:pt x="11437" y="2969"/>
                  <a:pt x="11437" y="2844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781"/>
                  <a:pt x="11562" y="2750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688"/>
                  <a:pt x="11625" y="2688"/>
                  <a:pt x="11625" y="2656"/>
                </a:cubicBezTo>
                <a:cubicBezTo>
                  <a:pt x="11625" y="2688"/>
                  <a:pt x="11625" y="2688"/>
                  <a:pt x="11625" y="2688"/>
                </a:cubicBezTo>
                <a:cubicBezTo>
                  <a:pt x="11594" y="2688"/>
                  <a:pt x="11594" y="2688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62" y="2750"/>
                  <a:pt x="11562" y="2781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00" y="2906"/>
                  <a:pt x="11437" y="2969"/>
                  <a:pt x="11437" y="3063"/>
                </a:cubicBezTo>
                <a:cubicBezTo>
                  <a:pt x="11437" y="3063"/>
                  <a:pt x="11437" y="3094"/>
                  <a:pt x="11437" y="3094"/>
                </a:cubicBezTo>
                <a:cubicBezTo>
                  <a:pt x="11437" y="3125"/>
                  <a:pt x="11469" y="3125"/>
                  <a:pt x="11469" y="3156"/>
                </a:cubicBezTo>
                <a:cubicBezTo>
                  <a:pt x="11500" y="3188"/>
                  <a:pt x="11469" y="3250"/>
                  <a:pt x="11531" y="3281"/>
                </a:cubicBezTo>
                <a:cubicBezTo>
                  <a:pt x="11562" y="3281"/>
                  <a:pt x="11562" y="3219"/>
                  <a:pt x="11594" y="3188"/>
                </a:cubicBezTo>
                <a:cubicBezTo>
                  <a:pt x="11625" y="3188"/>
                  <a:pt x="11625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88"/>
                  <a:pt x="11656" y="3219"/>
                  <a:pt x="11656" y="3250"/>
                </a:cubicBezTo>
                <a:cubicBezTo>
                  <a:pt x="11656" y="3281"/>
                  <a:pt x="11625" y="3313"/>
                  <a:pt x="11687" y="3313"/>
                </a:cubicBezTo>
                <a:cubicBezTo>
                  <a:pt x="11719" y="3313"/>
                  <a:pt x="11687" y="3281"/>
                  <a:pt x="11719" y="3250"/>
                </a:cubicBezTo>
                <a:cubicBezTo>
                  <a:pt x="11719" y="3188"/>
                  <a:pt x="11750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094"/>
                  <a:pt x="11844" y="3063"/>
                  <a:pt x="11844" y="3000"/>
                </a:cubicBezTo>
                <a:cubicBezTo>
                  <a:pt x="11875" y="3031"/>
                  <a:pt x="11875" y="3063"/>
                  <a:pt x="11875" y="3063"/>
                </a:cubicBezTo>
                <a:cubicBezTo>
                  <a:pt x="11875" y="3094"/>
                  <a:pt x="11875" y="3125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719" y="3313"/>
                  <a:pt x="11844" y="3375"/>
                  <a:pt x="11906" y="3469"/>
                </a:cubicBezTo>
                <a:cubicBezTo>
                  <a:pt x="11906" y="3500"/>
                  <a:pt x="11969" y="3500"/>
                  <a:pt x="11937" y="3531"/>
                </a:cubicBezTo>
                <a:cubicBezTo>
                  <a:pt x="11906" y="3563"/>
                  <a:pt x="11875" y="3594"/>
                  <a:pt x="11937" y="3625"/>
                </a:cubicBezTo>
                <a:cubicBezTo>
                  <a:pt x="11969" y="3656"/>
                  <a:pt x="12031" y="3625"/>
                  <a:pt x="12062" y="3563"/>
                </a:cubicBezTo>
                <a:cubicBezTo>
                  <a:pt x="12062" y="3531"/>
                  <a:pt x="12094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00"/>
                  <a:pt x="12125" y="3500"/>
                  <a:pt x="12125" y="3469"/>
                </a:cubicBezTo>
                <a:cubicBezTo>
                  <a:pt x="12156" y="3438"/>
                  <a:pt x="12156" y="3438"/>
                  <a:pt x="12156" y="3406"/>
                </a:cubicBezTo>
                <a:cubicBezTo>
                  <a:pt x="12156" y="3438"/>
                  <a:pt x="12187" y="3438"/>
                  <a:pt x="12156" y="3469"/>
                </a:cubicBezTo>
                <a:cubicBezTo>
                  <a:pt x="12156" y="3500"/>
                  <a:pt x="12156" y="3500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63"/>
                  <a:pt x="12125" y="3594"/>
                  <a:pt x="12094" y="3625"/>
                </a:cubicBezTo>
                <a:cubicBezTo>
                  <a:pt x="12094" y="3688"/>
                  <a:pt x="12125" y="3719"/>
                  <a:pt x="12187" y="3719"/>
                </a:cubicBezTo>
                <a:cubicBezTo>
                  <a:pt x="12219" y="3719"/>
                  <a:pt x="12219" y="3656"/>
                  <a:pt x="12219" y="3625"/>
                </a:cubicBezTo>
                <a:cubicBezTo>
                  <a:pt x="12156" y="3563"/>
                  <a:pt x="12250" y="3500"/>
                  <a:pt x="12250" y="3438"/>
                </a:cubicBezTo>
                <a:cubicBezTo>
                  <a:pt x="12281" y="3313"/>
                  <a:pt x="12281" y="3188"/>
                  <a:pt x="12312" y="3063"/>
                </a:cubicBezTo>
                <a:cubicBezTo>
                  <a:pt x="12312" y="3188"/>
                  <a:pt x="12312" y="3281"/>
                  <a:pt x="12344" y="3375"/>
                </a:cubicBezTo>
                <a:cubicBezTo>
                  <a:pt x="12344" y="3438"/>
                  <a:pt x="12344" y="3563"/>
                  <a:pt x="12500" y="3531"/>
                </a:cubicBezTo>
                <a:cubicBezTo>
                  <a:pt x="12531" y="3531"/>
                  <a:pt x="12531" y="3594"/>
                  <a:pt x="12531" y="3625"/>
                </a:cubicBezTo>
                <a:cubicBezTo>
                  <a:pt x="12531" y="3719"/>
                  <a:pt x="12531" y="3813"/>
                  <a:pt x="12531" y="3938"/>
                </a:cubicBezTo>
                <a:cubicBezTo>
                  <a:pt x="12531" y="4031"/>
                  <a:pt x="12594" y="3938"/>
                  <a:pt x="12594" y="3938"/>
                </a:cubicBezTo>
                <a:cubicBezTo>
                  <a:pt x="12625" y="3906"/>
                  <a:pt x="12625" y="3906"/>
                  <a:pt x="12625" y="3875"/>
                </a:cubicBezTo>
                <a:cubicBezTo>
                  <a:pt x="12656" y="3844"/>
                  <a:pt x="12656" y="3844"/>
                  <a:pt x="12687" y="3844"/>
                </a:cubicBezTo>
                <a:cubicBezTo>
                  <a:pt x="12687" y="3844"/>
                  <a:pt x="12687" y="3844"/>
                  <a:pt x="12687" y="3844"/>
                </a:cubicBezTo>
                <a:cubicBezTo>
                  <a:pt x="12687" y="3813"/>
                  <a:pt x="12719" y="3781"/>
                  <a:pt x="12750" y="3781"/>
                </a:cubicBezTo>
                <a:cubicBezTo>
                  <a:pt x="12750" y="3781"/>
                  <a:pt x="12750" y="3750"/>
                  <a:pt x="12781" y="3750"/>
                </a:cubicBezTo>
                <a:cubicBezTo>
                  <a:pt x="12781" y="3750"/>
                  <a:pt x="12781" y="3750"/>
                  <a:pt x="12781" y="3750"/>
                </a:cubicBezTo>
                <a:cubicBezTo>
                  <a:pt x="12781" y="3750"/>
                  <a:pt x="12781" y="3719"/>
                  <a:pt x="12812" y="3719"/>
                </a:cubicBezTo>
                <a:cubicBezTo>
                  <a:pt x="12812" y="3719"/>
                  <a:pt x="12812" y="3719"/>
                  <a:pt x="12812" y="3719"/>
                </a:cubicBezTo>
                <a:cubicBezTo>
                  <a:pt x="12812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25"/>
                  <a:pt x="12875" y="3594"/>
                  <a:pt x="12937" y="3563"/>
                </a:cubicBezTo>
                <a:cubicBezTo>
                  <a:pt x="12937" y="3563"/>
                  <a:pt x="12937" y="3563"/>
                  <a:pt x="12969" y="3531"/>
                </a:cubicBezTo>
                <a:cubicBezTo>
                  <a:pt x="12937" y="3688"/>
                  <a:pt x="12969" y="3688"/>
                  <a:pt x="13062" y="3625"/>
                </a:cubicBezTo>
                <a:cubicBezTo>
                  <a:pt x="13094" y="3594"/>
                  <a:pt x="13125" y="3594"/>
                  <a:pt x="13187" y="3594"/>
                </a:cubicBezTo>
                <a:cubicBezTo>
                  <a:pt x="13219" y="3500"/>
                  <a:pt x="13281" y="3531"/>
                  <a:pt x="13375" y="3531"/>
                </a:cubicBezTo>
                <a:cubicBezTo>
                  <a:pt x="13312" y="3563"/>
                  <a:pt x="13250" y="3594"/>
                  <a:pt x="13187" y="3625"/>
                </a:cubicBezTo>
                <a:cubicBezTo>
                  <a:pt x="13187" y="3625"/>
                  <a:pt x="13187" y="3625"/>
                  <a:pt x="13187" y="3625"/>
                </a:cubicBezTo>
                <a:cubicBezTo>
                  <a:pt x="13156" y="3688"/>
                  <a:pt x="13187" y="3781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44"/>
                  <a:pt x="13125" y="3844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219" y="3813"/>
                  <a:pt x="13312" y="3813"/>
                  <a:pt x="13375" y="3781"/>
                </a:cubicBezTo>
                <a:cubicBezTo>
                  <a:pt x="13469" y="3688"/>
                  <a:pt x="13594" y="3625"/>
                  <a:pt x="13750" y="3656"/>
                </a:cubicBezTo>
                <a:cubicBezTo>
                  <a:pt x="13625" y="3719"/>
                  <a:pt x="13594" y="3781"/>
                  <a:pt x="13562" y="3938"/>
                </a:cubicBezTo>
                <a:cubicBezTo>
                  <a:pt x="13656" y="3844"/>
                  <a:pt x="13687" y="3781"/>
                  <a:pt x="13750" y="3906"/>
                </a:cubicBezTo>
                <a:cubicBezTo>
                  <a:pt x="13781" y="3969"/>
                  <a:pt x="13812" y="3938"/>
                  <a:pt x="13812" y="3875"/>
                </a:cubicBezTo>
                <a:cubicBezTo>
                  <a:pt x="13812" y="3844"/>
                  <a:pt x="13781" y="3844"/>
                  <a:pt x="13812" y="3813"/>
                </a:cubicBezTo>
                <a:cubicBezTo>
                  <a:pt x="13812" y="3813"/>
                  <a:pt x="13812" y="3813"/>
                  <a:pt x="13812" y="3813"/>
                </a:cubicBezTo>
                <a:cubicBezTo>
                  <a:pt x="13844" y="3781"/>
                  <a:pt x="13844" y="3813"/>
                  <a:pt x="13844" y="3844"/>
                </a:cubicBezTo>
                <a:cubicBezTo>
                  <a:pt x="13844" y="3844"/>
                  <a:pt x="13844" y="3844"/>
                  <a:pt x="13844" y="3844"/>
                </a:cubicBezTo>
                <a:cubicBezTo>
                  <a:pt x="13906" y="3844"/>
                  <a:pt x="13937" y="3844"/>
                  <a:pt x="13969" y="3844"/>
                </a:cubicBezTo>
                <a:cubicBezTo>
                  <a:pt x="13969" y="3813"/>
                  <a:pt x="13969" y="3813"/>
                  <a:pt x="13969" y="3781"/>
                </a:cubicBezTo>
                <a:cubicBezTo>
                  <a:pt x="13969" y="3781"/>
                  <a:pt x="13969" y="3750"/>
                  <a:pt x="13937" y="3750"/>
                </a:cubicBezTo>
                <a:cubicBezTo>
                  <a:pt x="13906" y="3656"/>
                  <a:pt x="13937" y="3531"/>
                  <a:pt x="13781" y="3594"/>
                </a:cubicBezTo>
                <a:cubicBezTo>
                  <a:pt x="13750" y="3594"/>
                  <a:pt x="13750" y="3531"/>
                  <a:pt x="13719" y="3531"/>
                </a:cubicBezTo>
                <a:cubicBezTo>
                  <a:pt x="13719" y="3469"/>
                  <a:pt x="13656" y="3438"/>
                  <a:pt x="13625" y="3500"/>
                </a:cubicBezTo>
                <a:cubicBezTo>
                  <a:pt x="13562" y="3531"/>
                  <a:pt x="13531" y="3531"/>
                  <a:pt x="13500" y="3531"/>
                </a:cubicBezTo>
                <a:cubicBezTo>
                  <a:pt x="13406" y="3500"/>
                  <a:pt x="13312" y="3469"/>
                  <a:pt x="13187" y="3438"/>
                </a:cubicBezTo>
                <a:cubicBezTo>
                  <a:pt x="13312" y="3406"/>
                  <a:pt x="13406" y="3313"/>
                  <a:pt x="13500" y="3375"/>
                </a:cubicBezTo>
                <a:cubicBezTo>
                  <a:pt x="13531" y="3375"/>
                  <a:pt x="13562" y="3375"/>
                  <a:pt x="13562" y="3344"/>
                </a:cubicBezTo>
                <a:cubicBezTo>
                  <a:pt x="13562" y="3344"/>
                  <a:pt x="13562" y="3313"/>
                  <a:pt x="13531" y="3281"/>
                </a:cubicBezTo>
                <a:cubicBezTo>
                  <a:pt x="13531" y="3281"/>
                  <a:pt x="13500" y="3281"/>
                  <a:pt x="13437" y="3250"/>
                </a:cubicBezTo>
                <a:cubicBezTo>
                  <a:pt x="13500" y="3219"/>
                  <a:pt x="13562" y="3250"/>
                  <a:pt x="13594" y="3156"/>
                </a:cubicBezTo>
                <a:cubicBezTo>
                  <a:pt x="13594" y="3250"/>
                  <a:pt x="13562" y="3313"/>
                  <a:pt x="13656" y="3344"/>
                </a:cubicBezTo>
                <a:cubicBezTo>
                  <a:pt x="13687" y="3188"/>
                  <a:pt x="13656" y="3156"/>
                  <a:pt x="13469" y="3094"/>
                </a:cubicBezTo>
                <a:cubicBezTo>
                  <a:pt x="13531" y="3000"/>
                  <a:pt x="13500" y="3000"/>
                  <a:pt x="13625" y="3063"/>
                </a:cubicBezTo>
                <a:cubicBezTo>
                  <a:pt x="13656" y="3063"/>
                  <a:pt x="13687" y="3063"/>
                  <a:pt x="13719" y="3063"/>
                </a:cubicBezTo>
                <a:cubicBezTo>
                  <a:pt x="13687" y="3156"/>
                  <a:pt x="13750" y="3344"/>
                  <a:pt x="13875" y="3375"/>
                </a:cubicBezTo>
                <a:cubicBezTo>
                  <a:pt x="13875" y="3375"/>
                  <a:pt x="13906" y="3375"/>
                  <a:pt x="13906" y="3344"/>
                </a:cubicBezTo>
                <a:cubicBezTo>
                  <a:pt x="13937" y="3313"/>
                  <a:pt x="13906" y="3313"/>
                  <a:pt x="13906" y="3313"/>
                </a:cubicBezTo>
                <a:cubicBezTo>
                  <a:pt x="13875" y="3313"/>
                  <a:pt x="13844" y="3313"/>
                  <a:pt x="13844" y="3250"/>
                </a:cubicBezTo>
                <a:cubicBezTo>
                  <a:pt x="13844" y="3219"/>
                  <a:pt x="13906" y="3250"/>
                  <a:pt x="13906" y="3250"/>
                </a:cubicBezTo>
                <a:cubicBezTo>
                  <a:pt x="13906" y="3156"/>
                  <a:pt x="13969" y="3219"/>
                  <a:pt x="14031" y="3219"/>
                </a:cubicBezTo>
                <a:cubicBezTo>
                  <a:pt x="14031" y="3219"/>
                  <a:pt x="14062" y="3219"/>
                  <a:pt x="14062" y="3219"/>
                </a:cubicBezTo>
                <a:cubicBezTo>
                  <a:pt x="14000" y="3094"/>
                  <a:pt x="14250" y="3156"/>
                  <a:pt x="14187" y="3000"/>
                </a:cubicBezTo>
                <a:cubicBezTo>
                  <a:pt x="14125" y="2906"/>
                  <a:pt x="14062" y="2781"/>
                  <a:pt x="14062" y="2656"/>
                </a:cubicBezTo>
                <a:cubicBezTo>
                  <a:pt x="14062" y="2625"/>
                  <a:pt x="14062" y="2625"/>
                  <a:pt x="14062" y="2563"/>
                </a:cubicBezTo>
                <a:cubicBezTo>
                  <a:pt x="14094" y="2656"/>
                  <a:pt x="14125" y="2688"/>
                  <a:pt x="14156" y="2750"/>
                </a:cubicBezTo>
                <a:cubicBezTo>
                  <a:pt x="14187" y="2563"/>
                  <a:pt x="14250" y="2781"/>
                  <a:pt x="14312" y="2719"/>
                </a:cubicBezTo>
                <a:cubicBezTo>
                  <a:pt x="14281" y="2719"/>
                  <a:pt x="14281" y="2688"/>
                  <a:pt x="14281" y="2688"/>
                </a:cubicBezTo>
                <a:cubicBezTo>
                  <a:pt x="14250" y="2688"/>
                  <a:pt x="14250" y="2688"/>
                  <a:pt x="14250" y="2656"/>
                </a:cubicBezTo>
                <a:cubicBezTo>
                  <a:pt x="14250" y="2656"/>
                  <a:pt x="14250" y="2656"/>
                  <a:pt x="14250" y="2656"/>
                </a:cubicBezTo>
                <a:cubicBezTo>
                  <a:pt x="14250" y="2594"/>
                  <a:pt x="14312" y="2531"/>
                  <a:pt x="14250" y="2469"/>
                </a:cubicBezTo>
                <a:cubicBezTo>
                  <a:pt x="14219" y="2469"/>
                  <a:pt x="14187" y="2469"/>
                  <a:pt x="14187" y="2438"/>
                </a:cubicBezTo>
                <a:cubicBezTo>
                  <a:pt x="14156" y="2438"/>
                  <a:pt x="14156" y="2438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25" y="2406"/>
                  <a:pt x="14125" y="2406"/>
                  <a:pt x="14094" y="2375"/>
                </a:cubicBezTo>
                <a:cubicBezTo>
                  <a:pt x="14094" y="2375"/>
                  <a:pt x="14094" y="2375"/>
                  <a:pt x="14094" y="2344"/>
                </a:cubicBezTo>
                <a:cubicBezTo>
                  <a:pt x="14094" y="2344"/>
                  <a:pt x="14125" y="2344"/>
                  <a:pt x="14125" y="2344"/>
                </a:cubicBezTo>
                <a:cubicBezTo>
                  <a:pt x="14156" y="2344"/>
                  <a:pt x="14156" y="2375"/>
                  <a:pt x="14187" y="2406"/>
                </a:cubicBezTo>
                <a:cubicBezTo>
                  <a:pt x="14187" y="2406"/>
                  <a:pt x="14187" y="2406"/>
                  <a:pt x="14187" y="2406"/>
                </a:cubicBezTo>
                <a:cubicBezTo>
                  <a:pt x="14219" y="2406"/>
                  <a:pt x="14250" y="2438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344" y="2469"/>
                  <a:pt x="14406" y="2469"/>
                  <a:pt x="14437" y="2563"/>
                </a:cubicBezTo>
                <a:cubicBezTo>
                  <a:pt x="14437" y="2531"/>
                  <a:pt x="14437" y="2500"/>
                  <a:pt x="14437" y="2469"/>
                </a:cubicBezTo>
                <a:cubicBezTo>
                  <a:pt x="14437" y="2406"/>
                  <a:pt x="14469" y="2344"/>
                  <a:pt x="14531" y="2281"/>
                </a:cubicBezTo>
                <a:cubicBezTo>
                  <a:pt x="14531" y="2281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00" y="2281"/>
                  <a:pt x="14500" y="2250"/>
                  <a:pt x="14500" y="2188"/>
                </a:cubicBezTo>
                <a:cubicBezTo>
                  <a:pt x="14500" y="2188"/>
                  <a:pt x="14500" y="2188"/>
                  <a:pt x="14500" y="2188"/>
                </a:cubicBezTo>
                <a:cubicBezTo>
                  <a:pt x="14531" y="2188"/>
                  <a:pt x="14562" y="2219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94" y="2250"/>
                  <a:pt x="14625" y="2250"/>
                  <a:pt x="14625" y="2219"/>
                </a:cubicBezTo>
                <a:cubicBezTo>
                  <a:pt x="14656" y="2219"/>
                  <a:pt x="14656" y="2219"/>
                  <a:pt x="14656" y="2188"/>
                </a:cubicBezTo>
                <a:cubicBezTo>
                  <a:pt x="14656" y="2188"/>
                  <a:pt x="14656" y="2188"/>
                  <a:pt x="14656" y="2156"/>
                </a:cubicBezTo>
                <a:cubicBezTo>
                  <a:pt x="14656" y="2156"/>
                  <a:pt x="14656" y="2156"/>
                  <a:pt x="14656" y="2156"/>
                </a:cubicBezTo>
                <a:cubicBezTo>
                  <a:pt x="14625" y="2156"/>
                  <a:pt x="14594" y="2156"/>
                  <a:pt x="14594" y="2125"/>
                </a:cubicBezTo>
                <a:cubicBezTo>
                  <a:pt x="14594" y="2125"/>
                  <a:pt x="14594" y="2094"/>
                  <a:pt x="14562" y="2094"/>
                </a:cubicBezTo>
                <a:cubicBezTo>
                  <a:pt x="14500" y="1906"/>
                  <a:pt x="14406" y="1750"/>
                  <a:pt x="14219" y="1625"/>
                </a:cubicBezTo>
                <a:cubicBezTo>
                  <a:pt x="14250" y="1625"/>
                  <a:pt x="14250" y="1625"/>
                  <a:pt x="14281" y="1656"/>
                </a:cubicBezTo>
                <a:cubicBezTo>
                  <a:pt x="14312" y="1656"/>
                  <a:pt x="14312" y="1688"/>
                  <a:pt x="14375" y="1688"/>
                </a:cubicBezTo>
                <a:cubicBezTo>
                  <a:pt x="14344" y="1656"/>
                  <a:pt x="14375" y="1594"/>
                  <a:pt x="14375" y="1563"/>
                </a:cubicBezTo>
                <a:cubicBezTo>
                  <a:pt x="14375" y="1531"/>
                  <a:pt x="14406" y="1500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375" y="1438"/>
                  <a:pt x="14344" y="1438"/>
                  <a:pt x="14344" y="1406"/>
                </a:cubicBezTo>
                <a:cubicBezTo>
                  <a:pt x="14344" y="1406"/>
                  <a:pt x="14375" y="1406"/>
                  <a:pt x="14375" y="1406"/>
                </a:cubicBezTo>
                <a:cubicBezTo>
                  <a:pt x="14406" y="1406"/>
                  <a:pt x="14406" y="1438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500" y="1500"/>
                  <a:pt x="14531" y="1594"/>
                  <a:pt x="14594" y="1688"/>
                </a:cubicBezTo>
                <a:cubicBezTo>
                  <a:pt x="14594" y="1688"/>
                  <a:pt x="14625" y="1719"/>
                  <a:pt x="14625" y="1719"/>
                </a:cubicBezTo>
                <a:cubicBezTo>
                  <a:pt x="14656" y="1719"/>
                  <a:pt x="14656" y="1750"/>
                  <a:pt x="14656" y="1750"/>
                </a:cubicBezTo>
                <a:cubicBezTo>
                  <a:pt x="14687" y="1813"/>
                  <a:pt x="14719" y="1844"/>
                  <a:pt x="14781" y="1844"/>
                </a:cubicBezTo>
                <a:cubicBezTo>
                  <a:pt x="14875" y="1813"/>
                  <a:pt x="14781" y="1750"/>
                  <a:pt x="14844" y="1688"/>
                </a:cubicBezTo>
                <a:cubicBezTo>
                  <a:pt x="14875" y="1719"/>
                  <a:pt x="14937" y="1781"/>
                  <a:pt x="15000" y="1688"/>
                </a:cubicBezTo>
                <a:cubicBezTo>
                  <a:pt x="15031" y="1656"/>
                  <a:pt x="15062" y="1688"/>
                  <a:pt x="15062" y="1719"/>
                </a:cubicBezTo>
                <a:cubicBezTo>
                  <a:pt x="15062" y="1781"/>
                  <a:pt x="15187" y="1813"/>
                  <a:pt x="15094" y="1906"/>
                </a:cubicBezTo>
                <a:cubicBezTo>
                  <a:pt x="15062" y="1938"/>
                  <a:pt x="15062" y="1938"/>
                  <a:pt x="15062" y="1969"/>
                </a:cubicBezTo>
                <a:cubicBezTo>
                  <a:pt x="15094" y="1969"/>
                  <a:pt x="15125" y="1969"/>
                  <a:pt x="15156" y="1969"/>
                </a:cubicBezTo>
                <a:cubicBezTo>
                  <a:pt x="15156" y="1969"/>
                  <a:pt x="15156" y="1938"/>
                  <a:pt x="15187" y="1938"/>
                </a:cubicBezTo>
                <a:cubicBezTo>
                  <a:pt x="15187" y="1938"/>
                  <a:pt x="15219" y="1938"/>
                  <a:pt x="15250" y="1969"/>
                </a:cubicBezTo>
                <a:cubicBezTo>
                  <a:pt x="15281" y="2000"/>
                  <a:pt x="15250" y="2031"/>
                  <a:pt x="15219" y="2063"/>
                </a:cubicBezTo>
                <a:cubicBezTo>
                  <a:pt x="15094" y="2156"/>
                  <a:pt x="15000" y="2281"/>
                  <a:pt x="15094" y="2469"/>
                </a:cubicBezTo>
                <a:cubicBezTo>
                  <a:pt x="15094" y="2500"/>
                  <a:pt x="15031" y="2531"/>
                  <a:pt x="15000" y="2563"/>
                </a:cubicBezTo>
                <a:cubicBezTo>
                  <a:pt x="15062" y="2594"/>
                  <a:pt x="15062" y="2625"/>
                  <a:pt x="15031" y="2656"/>
                </a:cubicBezTo>
                <a:cubicBezTo>
                  <a:pt x="15156" y="2750"/>
                  <a:pt x="15312" y="2813"/>
                  <a:pt x="15437" y="2844"/>
                </a:cubicBezTo>
                <a:cubicBezTo>
                  <a:pt x="15437" y="2844"/>
                  <a:pt x="15469" y="2875"/>
                  <a:pt x="15469" y="2844"/>
                </a:cubicBezTo>
                <a:cubicBezTo>
                  <a:pt x="15625" y="2719"/>
                  <a:pt x="15625" y="2906"/>
                  <a:pt x="15656" y="2969"/>
                </a:cubicBezTo>
                <a:cubicBezTo>
                  <a:pt x="15719" y="3031"/>
                  <a:pt x="15750" y="3188"/>
                  <a:pt x="15906" y="3156"/>
                </a:cubicBezTo>
                <a:cubicBezTo>
                  <a:pt x="16000" y="3156"/>
                  <a:pt x="16062" y="3219"/>
                  <a:pt x="16094" y="3313"/>
                </a:cubicBezTo>
                <a:cubicBezTo>
                  <a:pt x="16125" y="3375"/>
                  <a:pt x="16156" y="3469"/>
                  <a:pt x="16250" y="3438"/>
                </a:cubicBezTo>
                <a:cubicBezTo>
                  <a:pt x="16344" y="3406"/>
                  <a:pt x="16281" y="3313"/>
                  <a:pt x="16250" y="3219"/>
                </a:cubicBezTo>
                <a:cubicBezTo>
                  <a:pt x="16219" y="3094"/>
                  <a:pt x="16156" y="2969"/>
                  <a:pt x="16094" y="2844"/>
                </a:cubicBezTo>
                <a:cubicBezTo>
                  <a:pt x="16062" y="2750"/>
                  <a:pt x="16000" y="2719"/>
                  <a:pt x="15906" y="2719"/>
                </a:cubicBezTo>
                <a:cubicBezTo>
                  <a:pt x="15844" y="2750"/>
                  <a:pt x="15781" y="2719"/>
                  <a:pt x="15781" y="2625"/>
                </a:cubicBezTo>
                <a:cubicBezTo>
                  <a:pt x="15781" y="2563"/>
                  <a:pt x="15750" y="2563"/>
                  <a:pt x="15719" y="2625"/>
                </a:cubicBezTo>
                <a:cubicBezTo>
                  <a:pt x="15687" y="2625"/>
                  <a:pt x="15656" y="2656"/>
                  <a:pt x="15656" y="2625"/>
                </a:cubicBezTo>
                <a:cubicBezTo>
                  <a:pt x="15656" y="2625"/>
                  <a:pt x="15625" y="2594"/>
                  <a:pt x="15656" y="2594"/>
                </a:cubicBezTo>
                <a:cubicBezTo>
                  <a:pt x="15719" y="2531"/>
                  <a:pt x="15719" y="2438"/>
                  <a:pt x="15812" y="2406"/>
                </a:cubicBezTo>
                <a:cubicBezTo>
                  <a:pt x="15906" y="2375"/>
                  <a:pt x="16000" y="2250"/>
                  <a:pt x="16125" y="2219"/>
                </a:cubicBezTo>
                <a:cubicBezTo>
                  <a:pt x="16187" y="2219"/>
                  <a:pt x="16219" y="2219"/>
                  <a:pt x="16250" y="2250"/>
                </a:cubicBezTo>
                <a:cubicBezTo>
                  <a:pt x="16312" y="2281"/>
                  <a:pt x="16375" y="2313"/>
                  <a:pt x="16469" y="2344"/>
                </a:cubicBezTo>
                <a:cubicBezTo>
                  <a:pt x="16531" y="2375"/>
                  <a:pt x="16594" y="2406"/>
                  <a:pt x="16625" y="2281"/>
                </a:cubicBezTo>
                <a:cubicBezTo>
                  <a:pt x="16625" y="2250"/>
                  <a:pt x="16656" y="2250"/>
                  <a:pt x="16687" y="2281"/>
                </a:cubicBezTo>
                <a:cubicBezTo>
                  <a:pt x="16719" y="2313"/>
                  <a:pt x="16719" y="2313"/>
                  <a:pt x="16750" y="2344"/>
                </a:cubicBezTo>
                <a:cubicBezTo>
                  <a:pt x="16781" y="2406"/>
                  <a:pt x="16781" y="2500"/>
                  <a:pt x="16781" y="2563"/>
                </a:cubicBezTo>
                <a:cubicBezTo>
                  <a:pt x="16781" y="2563"/>
                  <a:pt x="16781" y="2563"/>
                  <a:pt x="16781" y="2563"/>
                </a:cubicBezTo>
                <a:cubicBezTo>
                  <a:pt x="16812" y="2563"/>
                  <a:pt x="16812" y="2563"/>
                  <a:pt x="16812" y="2563"/>
                </a:cubicBezTo>
                <a:cubicBezTo>
                  <a:pt x="16812" y="2563"/>
                  <a:pt x="16844" y="2563"/>
                  <a:pt x="16844" y="2563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625"/>
                  <a:pt x="16844" y="2625"/>
                </a:cubicBezTo>
                <a:cubicBezTo>
                  <a:pt x="16906" y="2656"/>
                  <a:pt x="16937" y="2656"/>
                  <a:pt x="16969" y="2625"/>
                </a:cubicBezTo>
                <a:cubicBezTo>
                  <a:pt x="16969" y="2625"/>
                  <a:pt x="16969" y="2594"/>
                  <a:pt x="16969" y="2563"/>
                </a:cubicBezTo>
                <a:cubicBezTo>
                  <a:pt x="16969" y="2500"/>
                  <a:pt x="16969" y="2438"/>
                  <a:pt x="16937" y="2375"/>
                </a:cubicBezTo>
                <a:cubicBezTo>
                  <a:pt x="16937" y="2375"/>
                  <a:pt x="16906" y="2344"/>
                  <a:pt x="16906" y="2313"/>
                </a:cubicBezTo>
                <a:cubicBezTo>
                  <a:pt x="16906" y="2281"/>
                  <a:pt x="16875" y="2250"/>
                  <a:pt x="16875" y="2250"/>
                </a:cubicBezTo>
                <a:cubicBezTo>
                  <a:pt x="16875" y="2219"/>
                  <a:pt x="16844" y="2219"/>
                  <a:pt x="16844" y="2219"/>
                </a:cubicBezTo>
                <a:cubicBezTo>
                  <a:pt x="16844" y="2188"/>
                  <a:pt x="16844" y="2188"/>
                  <a:pt x="16844" y="2188"/>
                </a:cubicBezTo>
                <a:cubicBezTo>
                  <a:pt x="16812" y="2188"/>
                  <a:pt x="16812" y="2156"/>
                  <a:pt x="16781" y="2156"/>
                </a:cubicBezTo>
                <a:cubicBezTo>
                  <a:pt x="16750" y="2156"/>
                  <a:pt x="16750" y="2156"/>
                  <a:pt x="16750" y="2156"/>
                </a:cubicBezTo>
                <a:cubicBezTo>
                  <a:pt x="16750" y="2156"/>
                  <a:pt x="16719" y="2125"/>
                  <a:pt x="16719" y="2125"/>
                </a:cubicBezTo>
                <a:cubicBezTo>
                  <a:pt x="16719" y="2125"/>
                  <a:pt x="16719" y="2125"/>
                  <a:pt x="16719" y="2094"/>
                </a:cubicBezTo>
                <a:cubicBezTo>
                  <a:pt x="16719" y="2094"/>
                  <a:pt x="16719" y="2094"/>
                  <a:pt x="16687" y="2063"/>
                </a:cubicBezTo>
                <a:cubicBezTo>
                  <a:pt x="16687" y="2063"/>
                  <a:pt x="16687" y="2063"/>
                  <a:pt x="16687" y="2063"/>
                </a:cubicBezTo>
                <a:cubicBezTo>
                  <a:pt x="16687" y="2063"/>
                  <a:pt x="16687" y="2031"/>
                  <a:pt x="16687" y="2031"/>
                </a:cubicBezTo>
                <a:cubicBezTo>
                  <a:pt x="16687" y="2000"/>
                  <a:pt x="16687" y="2000"/>
                  <a:pt x="16687" y="1969"/>
                </a:cubicBezTo>
                <a:cubicBezTo>
                  <a:pt x="16687" y="1969"/>
                  <a:pt x="16656" y="1969"/>
                  <a:pt x="16656" y="1938"/>
                </a:cubicBezTo>
                <a:cubicBezTo>
                  <a:pt x="16656" y="1938"/>
                  <a:pt x="16656" y="1938"/>
                  <a:pt x="16656" y="1938"/>
                </a:cubicBezTo>
                <a:cubicBezTo>
                  <a:pt x="16656" y="1938"/>
                  <a:pt x="16656" y="1906"/>
                  <a:pt x="16656" y="1875"/>
                </a:cubicBezTo>
                <a:cubicBezTo>
                  <a:pt x="16656" y="1875"/>
                  <a:pt x="16656" y="1844"/>
                  <a:pt x="16656" y="1844"/>
                </a:cubicBezTo>
                <a:cubicBezTo>
                  <a:pt x="16656" y="1844"/>
                  <a:pt x="16656" y="1844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25" y="1813"/>
                  <a:pt x="16625" y="1813"/>
                  <a:pt x="16625" y="1813"/>
                </a:cubicBezTo>
                <a:cubicBezTo>
                  <a:pt x="16687" y="1594"/>
                  <a:pt x="16469" y="1563"/>
                  <a:pt x="16375" y="1500"/>
                </a:cubicBezTo>
                <a:cubicBezTo>
                  <a:pt x="16219" y="1469"/>
                  <a:pt x="16094" y="1344"/>
                  <a:pt x="15906" y="1406"/>
                </a:cubicBezTo>
                <a:cubicBezTo>
                  <a:pt x="15875" y="1406"/>
                  <a:pt x="15812" y="1438"/>
                  <a:pt x="15812" y="1375"/>
                </a:cubicBezTo>
                <a:cubicBezTo>
                  <a:pt x="15781" y="1344"/>
                  <a:pt x="15750" y="1250"/>
                  <a:pt x="15781" y="1250"/>
                </a:cubicBezTo>
                <a:cubicBezTo>
                  <a:pt x="15906" y="1156"/>
                  <a:pt x="15844" y="1063"/>
                  <a:pt x="15875" y="969"/>
                </a:cubicBezTo>
                <a:cubicBezTo>
                  <a:pt x="15937" y="1031"/>
                  <a:pt x="15937" y="1125"/>
                  <a:pt x="15969" y="1188"/>
                </a:cubicBezTo>
                <a:cubicBezTo>
                  <a:pt x="16000" y="1219"/>
                  <a:pt x="15937" y="1406"/>
                  <a:pt x="16125" y="1281"/>
                </a:cubicBezTo>
                <a:cubicBezTo>
                  <a:pt x="16156" y="1250"/>
                  <a:pt x="16156" y="1313"/>
                  <a:pt x="16187" y="1344"/>
                </a:cubicBezTo>
                <a:cubicBezTo>
                  <a:pt x="16187" y="1375"/>
                  <a:pt x="16219" y="1375"/>
                  <a:pt x="16250" y="1375"/>
                </a:cubicBezTo>
                <a:cubicBezTo>
                  <a:pt x="16281" y="1375"/>
                  <a:pt x="16281" y="1344"/>
                  <a:pt x="16281" y="1313"/>
                </a:cubicBezTo>
                <a:cubicBezTo>
                  <a:pt x="16281" y="1219"/>
                  <a:pt x="16250" y="1125"/>
                  <a:pt x="16281" y="1031"/>
                </a:cubicBezTo>
                <a:cubicBezTo>
                  <a:pt x="16281" y="1031"/>
                  <a:pt x="16312" y="1031"/>
                  <a:pt x="16312" y="1031"/>
                </a:cubicBezTo>
                <a:cubicBezTo>
                  <a:pt x="16344" y="1063"/>
                  <a:pt x="16344" y="1125"/>
                  <a:pt x="16344" y="1156"/>
                </a:cubicBezTo>
                <a:cubicBezTo>
                  <a:pt x="16375" y="1063"/>
                  <a:pt x="16344" y="969"/>
                  <a:pt x="16344" y="875"/>
                </a:cubicBezTo>
                <a:cubicBezTo>
                  <a:pt x="16344" y="875"/>
                  <a:pt x="16344" y="844"/>
                  <a:pt x="16344" y="813"/>
                </a:cubicBezTo>
                <a:cubicBezTo>
                  <a:pt x="16375" y="750"/>
                  <a:pt x="16406" y="719"/>
                  <a:pt x="16437" y="656"/>
                </a:cubicBezTo>
                <a:cubicBezTo>
                  <a:pt x="16437" y="625"/>
                  <a:pt x="16531" y="531"/>
                  <a:pt x="16594" y="625"/>
                </a:cubicBezTo>
                <a:cubicBezTo>
                  <a:pt x="16656" y="688"/>
                  <a:pt x="16750" y="688"/>
                  <a:pt x="16781" y="750"/>
                </a:cubicBezTo>
                <a:cubicBezTo>
                  <a:pt x="16812" y="813"/>
                  <a:pt x="16906" y="781"/>
                  <a:pt x="16906" y="750"/>
                </a:cubicBezTo>
                <a:cubicBezTo>
                  <a:pt x="16906" y="594"/>
                  <a:pt x="17062" y="688"/>
                  <a:pt x="17094" y="594"/>
                </a:cubicBezTo>
                <a:cubicBezTo>
                  <a:pt x="17094" y="594"/>
                  <a:pt x="17125" y="594"/>
                  <a:pt x="17125" y="594"/>
                </a:cubicBezTo>
                <a:cubicBezTo>
                  <a:pt x="17219" y="719"/>
                  <a:pt x="17250" y="688"/>
                  <a:pt x="17281" y="563"/>
                </a:cubicBezTo>
                <a:cubicBezTo>
                  <a:pt x="17281" y="563"/>
                  <a:pt x="17312" y="531"/>
                  <a:pt x="17312" y="531"/>
                </a:cubicBezTo>
                <a:cubicBezTo>
                  <a:pt x="17344" y="563"/>
                  <a:pt x="17344" y="563"/>
                  <a:pt x="17344" y="594"/>
                </a:cubicBezTo>
                <a:cubicBezTo>
                  <a:pt x="17281" y="688"/>
                  <a:pt x="17344" y="781"/>
                  <a:pt x="17406" y="844"/>
                </a:cubicBezTo>
                <a:cubicBezTo>
                  <a:pt x="17437" y="875"/>
                  <a:pt x="17437" y="906"/>
                  <a:pt x="17437" y="938"/>
                </a:cubicBezTo>
                <a:cubicBezTo>
                  <a:pt x="17406" y="969"/>
                  <a:pt x="17437" y="1000"/>
                  <a:pt x="17469" y="1031"/>
                </a:cubicBezTo>
                <a:cubicBezTo>
                  <a:pt x="17625" y="1094"/>
                  <a:pt x="17625" y="1219"/>
                  <a:pt x="17500" y="1344"/>
                </a:cubicBezTo>
                <a:cubicBezTo>
                  <a:pt x="17469" y="1406"/>
                  <a:pt x="17469" y="1438"/>
                  <a:pt x="17469" y="1469"/>
                </a:cubicBezTo>
                <a:cubicBezTo>
                  <a:pt x="17469" y="1625"/>
                  <a:pt x="17531" y="1750"/>
                  <a:pt x="17594" y="1875"/>
                </a:cubicBezTo>
                <a:cubicBezTo>
                  <a:pt x="17625" y="1969"/>
                  <a:pt x="17719" y="1969"/>
                  <a:pt x="17781" y="1938"/>
                </a:cubicBezTo>
                <a:cubicBezTo>
                  <a:pt x="17875" y="1813"/>
                  <a:pt x="18000" y="1844"/>
                  <a:pt x="18094" y="1813"/>
                </a:cubicBezTo>
                <a:cubicBezTo>
                  <a:pt x="18156" y="1813"/>
                  <a:pt x="18219" y="1813"/>
                  <a:pt x="18281" y="1781"/>
                </a:cubicBezTo>
                <a:cubicBezTo>
                  <a:pt x="18344" y="1750"/>
                  <a:pt x="18406" y="1719"/>
                  <a:pt x="18469" y="1813"/>
                </a:cubicBezTo>
                <a:cubicBezTo>
                  <a:pt x="18469" y="1844"/>
                  <a:pt x="18531" y="1875"/>
                  <a:pt x="18594" y="1844"/>
                </a:cubicBezTo>
                <a:cubicBezTo>
                  <a:pt x="18625" y="1844"/>
                  <a:pt x="18656" y="1813"/>
                  <a:pt x="18687" y="1781"/>
                </a:cubicBezTo>
                <a:cubicBezTo>
                  <a:pt x="18750" y="1750"/>
                  <a:pt x="18844" y="1719"/>
                  <a:pt x="18875" y="1656"/>
                </a:cubicBezTo>
                <a:cubicBezTo>
                  <a:pt x="18969" y="1531"/>
                  <a:pt x="19000" y="1688"/>
                  <a:pt x="19062" y="1719"/>
                </a:cubicBezTo>
                <a:cubicBezTo>
                  <a:pt x="19125" y="1750"/>
                  <a:pt x="19187" y="1750"/>
                  <a:pt x="19250" y="1813"/>
                </a:cubicBezTo>
                <a:cubicBezTo>
                  <a:pt x="19312" y="1875"/>
                  <a:pt x="19437" y="1875"/>
                  <a:pt x="19500" y="1938"/>
                </a:cubicBezTo>
                <a:cubicBezTo>
                  <a:pt x="19500" y="1969"/>
                  <a:pt x="19531" y="1969"/>
                  <a:pt x="19562" y="2000"/>
                </a:cubicBezTo>
                <a:cubicBezTo>
                  <a:pt x="19562" y="2031"/>
                  <a:pt x="19594" y="2094"/>
                  <a:pt x="19625" y="2063"/>
                </a:cubicBezTo>
                <a:cubicBezTo>
                  <a:pt x="19656" y="2031"/>
                  <a:pt x="19750" y="1938"/>
                  <a:pt x="19656" y="1875"/>
                </a:cubicBezTo>
                <a:cubicBezTo>
                  <a:pt x="19562" y="1781"/>
                  <a:pt x="19469" y="1719"/>
                  <a:pt x="19406" y="1594"/>
                </a:cubicBezTo>
                <a:cubicBezTo>
                  <a:pt x="19375" y="1531"/>
                  <a:pt x="19281" y="1469"/>
                  <a:pt x="19187" y="1469"/>
                </a:cubicBezTo>
                <a:cubicBezTo>
                  <a:pt x="19219" y="1375"/>
                  <a:pt x="19219" y="1375"/>
                  <a:pt x="19156" y="1156"/>
                </a:cubicBezTo>
                <a:cubicBezTo>
                  <a:pt x="19406" y="1375"/>
                  <a:pt x="19594" y="1594"/>
                  <a:pt x="19812" y="1781"/>
                </a:cubicBezTo>
                <a:cubicBezTo>
                  <a:pt x="20000" y="2000"/>
                  <a:pt x="20219" y="2188"/>
                  <a:pt x="20500" y="2313"/>
                </a:cubicBezTo>
                <a:cubicBezTo>
                  <a:pt x="20437" y="2344"/>
                  <a:pt x="20406" y="2344"/>
                  <a:pt x="20375" y="2313"/>
                </a:cubicBezTo>
                <a:cubicBezTo>
                  <a:pt x="20281" y="2250"/>
                  <a:pt x="20219" y="2250"/>
                  <a:pt x="20125" y="2344"/>
                </a:cubicBezTo>
                <a:cubicBezTo>
                  <a:pt x="20062" y="2438"/>
                  <a:pt x="20000" y="2281"/>
                  <a:pt x="19906" y="2313"/>
                </a:cubicBezTo>
                <a:cubicBezTo>
                  <a:pt x="19844" y="2313"/>
                  <a:pt x="19875" y="2250"/>
                  <a:pt x="19875" y="2219"/>
                </a:cubicBezTo>
                <a:cubicBezTo>
                  <a:pt x="19875" y="2188"/>
                  <a:pt x="19875" y="2156"/>
                  <a:pt x="19844" y="2156"/>
                </a:cubicBezTo>
                <a:cubicBezTo>
                  <a:pt x="19812" y="2156"/>
                  <a:pt x="19781" y="2156"/>
                  <a:pt x="19781" y="2219"/>
                </a:cubicBezTo>
                <a:cubicBezTo>
                  <a:pt x="19781" y="2250"/>
                  <a:pt x="19750" y="2281"/>
                  <a:pt x="19719" y="2313"/>
                </a:cubicBezTo>
                <a:cubicBezTo>
                  <a:pt x="19656" y="2375"/>
                  <a:pt x="19625" y="2469"/>
                  <a:pt x="19750" y="2500"/>
                </a:cubicBezTo>
                <a:cubicBezTo>
                  <a:pt x="19781" y="2500"/>
                  <a:pt x="19781" y="2500"/>
                  <a:pt x="19812" y="2531"/>
                </a:cubicBezTo>
                <a:cubicBezTo>
                  <a:pt x="19719" y="2563"/>
                  <a:pt x="19844" y="2688"/>
                  <a:pt x="19687" y="2750"/>
                </a:cubicBezTo>
                <a:cubicBezTo>
                  <a:pt x="19656" y="2750"/>
                  <a:pt x="19594" y="2813"/>
                  <a:pt x="19562" y="2875"/>
                </a:cubicBezTo>
                <a:cubicBezTo>
                  <a:pt x="19406" y="3000"/>
                  <a:pt x="19406" y="3000"/>
                  <a:pt x="19562" y="3125"/>
                </a:cubicBezTo>
                <a:cubicBezTo>
                  <a:pt x="19594" y="3125"/>
                  <a:pt x="19625" y="3156"/>
                  <a:pt x="19656" y="3156"/>
                </a:cubicBezTo>
                <a:cubicBezTo>
                  <a:pt x="19594" y="3219"/>
                  <a:pt x="19531" y="3219"/>
                  <a:pt x="19500" y="3281"/>
                </a:cubicBezTo>
                <a:cubicBezTo>
                  <a:pt x="19531" y="3344"/>
                  <a:pt x="19594" y="3313"/>
                  <a:pt x="19625" y="3281"/>
                </a:cubicBezTo>
                <a:cubicBezTo>
                  <a:pt x="19750" y="3125"/>
                  <a:pt x="20000" y="3188"/>
                  <a:pt x="20156" y="3094"/>
                </a:cubicBezTo>
                <a:cubicBezTo>
                  <a:pt x="20250" y="3031"/>
                  <a:pt x="20500" y="3125"/>
                  <a:pt x="20562" y="3188"/>
                </a:cubicBezTo>
                <a:cubicBezTo>
                  <a:pt x="20594" y="3219"/>
                  <a:pt x="20625" y="3281"/>
                  <a:pt x="20719" y="3250"/>
                </a:cubicBezTo>
                <a:cubicBezTo>
                  <a:pt x="20719" y="3250"/>
                  <a:pt x="20719" y="3250"/>
                  <a:pt x="20750" y="3281"/>
                </a:cubicBezTo>
                <a:cubicBezTo>
                  <a:pt x="20750" y="3281"/>
                  <a:pt x="20750" y="3281"/>
                  <a:pt x="20750" y="3281"/>
                </a:cubicBezTo>
                <a:cubicBezTo>
                  <a:pt x="20781" y="3313"/>
                  <a:pt x="20781" y="3313"/>
                  <a:pt x="20781" y="3313"/>
                </a:cubicBezTo>
                <a:cubicBezTo>
                  <a:pt x="20781" y="3344"/>
                  <a:pt x="20781" y="3344"/>
                  <a:pt x="20781" y="3344"/>
                </a:cubicBezTo>
                <a:cubicBezTo>
                  <a:pt x="20781" y="3344"/>
                  <a:pt x="20812" y="3375"/>
                  <a:pt x="20812" y="3375"/>
                </a:cubicBezTo>
                <a:cubicBezTo>
                  <a:pt x="20812" y="3375"/>
                  <a:pt x="20812" y="3375"/>
                  <a:pt x="20812" y="3375"/>
                </a:cubicBezTo>
                <a:cubicBezTo>
                  <a:pt x="20812" y="3375"/>
                  <a:pt x="20844" y="3375"/>
                  <a:pt x="20875" y="3375"/>
                </a:cubicBezTo>
                <a:cubicBezTo>
                  <a:pt x="20875" y="3344"/>
                  <a:pt x="20875" y="3281"/>
                  <a:pt x="20906" y="3281"/>
                </a:cubicBezTo>
                <a:cubicBezTo>
                  <a:pt x="20906" y="3281"/>
                  <a:pt x="20906" y="3281"/>
                  <a:pt x="20906" y="3313"/>
                </a:cubicBezTo>
                <a:cubicBezTo>
                  <a:pt x="20969" y="3313"/>
                  <a:pt x="20969" y="3406"/>
                  <a:pt x="20969" y="3438"/>
                </a:cubicBezTo>
                <a:cubicBezTo>
                  <a:pt x="20969" y="3438"/>
                  <a:pt x="20969" y="3438"/>
                  <a:pt x="20969" y="3438"/>
                </a:cubicBezTo>
                <a:cubicBezTo>
                  <a:pt x="21000" y="3438"/>
                  <a:pt x="21000" y="3438"/>
                  <a:pt x="21000" y="3438"/>
                </a:cubicBezTo>
                <a:cubicBezTo>
                  <a:pt x="21000" y="3438"/>
                  <a:pt x="21031" y="3406"/>
                  <a:pt x="21031" y="3406"/>
                </a:cubicBezTo>
                <a:cubicBezTo>
                  <a:pt x="21031" y="3406"/>
                  <a:pt x="21062" y="3406"/>
                  <a:pt x="21062" y="3406"/>
                </a:cubicBezTo>
                <a:cubicBezTo>
                  <a:pt x="21094" y="3406"/>
                  <a:pt x="21062" y="3438"/>
                  <a:pt x="21031" y="3438"/>
                </a:cubicBezTo>
                <a:cubicBezTo>
                  <a:pt x="21031" y="3469"/>
                  <a:pt x="21031" y="3500"/>
                  <a:pt x="21031" y="3531"/>
                </a:cubicBezTo>
                <a:cubicBezTo>
                  <a:pt x="21094" y="3469"/>
                  <a:pt x="21156" y="3438"/>
                  <a:pt x="21156" y="3594"/>
                </a:cubicBezTo>
                <a:cubicBezTo>
                  <a:pt x="21156" y="3625"/>
                  <a:pt x="21187" y="3688"/>
                  <a:pt x="21250" y="3656"/>
                </a:cubicBezTo>
                <a:cubicBezTo>
                  <a:pt x="21344" y="3594"/>
                  <a:pt x="21344" y="3719"/>
                  <a:pt x="21406" y="3719"/>
                </a:cubicBezTo>
                <a:cubicBezTo>
                  <a:pt x="21437" y="3875"/>
                  <a:pt x="21469" y="3750"/>
                  <a:pt x="21531" y="3719"/>
                </a:cubicBezTo>
                <a:cubicBezTo>
                  <a:pt x="21531" y="3719"/>
                  <a:pt x="21562" y="3688"/>
                  <a:pt x="21562" y="3688"/>
                </a:cubicBezTo>
                <a:cubicBezTo>
                  <a:pt x="21594" y="3656"/>
                  <a:pt x="21594" y="3625"/>
                  <a:pt x="21625" y="3656"/>
                </a:cubicBezTo>
                <a:cubicBezTo>
                  <a:pt x="21625" y="3656"/>
                  <a:pt x="21656" y="3688"/>
                  <a:pt x="21625" y="3688"/>
                </a:cubicBezTo>
                <a:cubicBezTo>
                  <a:pt x="21594" y="3813"/>
                  <a:pt x="21719" y="3969"/>
                  <a:pt x="21531" y="4063"/>
                </a:cubicBezTo>
                <a:cubicBezTo>
                  <a:pt x="21500" y="4063"/>
                  <a:pt x="21500" y="4094"/>
                  <a:pt x="21500" y="4156"/>
                </a:cubicBezTo>
                <a:cubicBezTo>
                  <a:pt x="21469" y="4281"/>
                  <a:pt x="21437" y="4438"/>
                  <a:pt x="21406" y="4594"/>
                </a:cubicBezTo>
                <a:cubicBezTo>
                  <a:pt x="21406" y="4656"/>
                  <a:pt x="21406" y="4719"/>
                  <a:pt x="21469" y="4781"/>
                </a:cubicBezTo>
                <a:cubicBezTo>
                  <a:pt x="21500" y="4844"/>
                  <a:pt x="21531" y="4813"/>
                  <a:pt x="21594" y="4781"/>
                </a:cubicBezTo>
                <a:cubicBezTo>
                  <a:pt x="21687" y="4750"/>
                  <a:pt x="21687" y="4875"/>
                  <a:pt x="21719" y="4906"/>
                </a:cubicBezTo>
                <a:cubicBezTo>
                  <a:pt x="21719" y="4875"/>
                  <a:pt x="21719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906"/>
                  <a:pt x="21750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38"/>
                  <a:pt x="21719" y="4969"/>
                  <a:pt x="21719" y="5031"/>
                </a:cubicBezTo>
                <a:cubicBezTo>
                  <a:pt x="21687" y="5125"/>
                  <a:pt x="21625" y="5156"/>
                  <a:pt x="21562" y="5031"/>
                </a:cubicBezTo>
                <a:cubicBezTo>
                  <a:pt x="21531" y="5031"/>
                  <a:pt x="21531" y="5031"/>
                  <a:pt x="21531" y="5031"/>
                </a:cubicBezTo>
                <a:cubicBezTo>
                  <a:pt x="21531" y="5031"/>
                  <a:pt x="21531" y="5031"/>
                  <a:pt x="21500" y="5031"/>
                </a:cubicBezTo>
                <a:cubicBezTo>
                  <a:pt x="21500" y="5031"/>
                  <a:pt x="21500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531" y="5094"/>
                  <a:pt x="21562" y="5125"/>
                  <a:pt x="21562" y="5156"/>
                </a:cubicBezTo>
                <a:cubicBezTo>
                  <a:pt x="21594" y="5188"/>
                  <a:pt x="21594" y="5188"/>
                  <a:pt x="21594" y="5250"/>
                </a:cubicBezTo>
                <a:cubicBezTo>
                  <a:pt x="21594" y="5250"/>
                  <a:pt x="21594" y="5281"/>
                  <a:pt x="21625" y="5281"/>
                </a:cubicBezTo>
                <a:cubicBezTo>
                  <a:pt x="21625" y="5313"/>
                  <a:pt x="21656" y="5313"/>
                  <a:pt x="21656" y="5313"/>
                </a:cubicBezTo>
                <a:cubicBezTo>
                  <a:pt x="21687" y="5250"/>
                  <a:pt x="21719" y="5219"/>
                  <a:pt x="21781" y="5250"/>
                </a:cubicBezTo>
                <a:cubicBezTo>
                  <a:pt x="21812" y="5281"/>
                  <a:pt x="21844" y="5250"/>
                  <a:pt x="21875" y="5219"/>
                </a:cubicBezTo>
                <a:cubicBezTo>
                  <a:pt x="21937" y="5125"/>
                  <a:pt x="22094" y="5156"/>
                  <a:pt x="22125" y="5000"/>
                </a:cubicBezTo>
                <a:cubicBezTo>
                  <a:pt x="22125" y="4969"/>
                  <a:pt x="22187" y="5000"/>
                  <a:pt x="22219" y="5000"/>
                </a:cubicBezTo>
                <a:cubicBezTo>
                  <a:pt x="22250" y="5000"/>
                  <a:pt x="22281" y="4969"/>
                  <a:pt x="22281" y="4906"/>
                </a:cubicBezTo>
                <a:cubicBezTo>
                  <a:pt x="22250" y="4906"/>
                  <a:pt x="22250" y="4875"/>
                  <a:pt x="22281" y="4875"/>
                </a:cubicBezTo>
                <a:cubicBezTo>
                  <a:pt x="22281" y="4875"/>
                  <a:pt x="22281" y="4844"/>
                  <a:pt x="22281" y="4875"/>
                </a:cubicBezTo>
                <a:cubicBezTo>
                  <a:pt x="22312" y="4875"/>
                  <a:pt x="22312" y="4875"/>
                  <a:pt x="22312" y="4906"/>
                </a:cubicBezTo>
                <a:cubicBezTo>
                  <a:pt x="22312" y="4875"/>
                  <a:pt x="22312" y="4875"/>
                  <a:pt x="22312" y="4844"/>
                </a:cubicBezTo>
                <a:cubicBezTo>
                  <a:pt x="22344" y="4844"/>
                  <a:pt x="22344" y="4813"/>
                  <a:pt x="22375" y="4844"/>
                </a:cubicBezTo>
                <a:cubicBezTo>
                  <a:pt x="22375" y="4844"/>
                  <a:pt x="22375" y="4844"/>
                  <a:pt x="22406" y="4844"/>
                </a:cubicBezTo>
                <a:cubicBezTo>
                  <a:pt x="22469" y="4906"/>
                  <a:pt x="22469" y="4844"/>
                  <a:pt x="22469" y="4781"/>
                </a:cubicBezTo>
                <a:cubicBezTo>
                  <a:pt x="22469" y="4719"/>
                  <a:pt x="22437" y="4625"/>
                  <a:pt x="22437" y="4531"/>
                </a:cubicBezTo>
                <a:cubicBezTo>
                  <a:pt x="22500" y="4563"/>
                  <a:pt x="22562" y="4656"/>
                  <a:pt x="22625" y="4625"/>
                </a:cubicBezTo>
                <a:cubicBezTo>
                  <a:pt x="22625" y="4531"/>
                  <a:pt x="22625" y="4438"/>
                  <a:pt x="22625" y="4344"/>
                </a:cubicBezTo>
                <a:cubicBezTo>
                  <a:pt x="22625" y="4313"/>
                  <a:pt x="22625" y="4250"/>
                  <a:pt x="22687" y="4250"/>
                </a:cubicBezTo>
                <a:cubicBezTo>
                  <a:pt x="22812" y="4281"/>
                  <a:pt x="22812" y="4188"/>
                  <a:pt x="22781" y="4094"/>
                </a:cubicBezTo>
                <a:cubicBezTo>
                  <a:pt x="22781" y="4063"/>
                  <a:pt x="22781" y="4031"/>
                  <a:pt x="22781" y="3969"/>
                </a:cubicBezTo>
                <a:cubicBezTo>
                  <a:pt x="22875" y="4063"/>
                  <a:pt x="22906" y="4094"/>
                  <a:pt x="22969" y="4156"/>
                </a:cubicBezTo>
                <a:cubicBezTo>
                  <a:pt x="23000" y="4094"/>
                  <a:pt x="23000" y="4031"/>
                  <a:pt x="22969" y="3969"/>
                </a:cubicBezTo>
                <a:cubicBezTo>
                  <a:pt x="23000" y="4000"/>
                  <a:pt x="23062" y="4063"/>
                  <a:pt x="23094" y="4125"/>
                </a:cubicBezTo>
                <a:cubicBezTo>
                  <a:pt x="23094" y="4125"/>
                  <a:pt x="23094" y="4125"/>
                  <a:pt x="23094" y="4125"/>
                </a:cubicBezTo>
                <a:cubicBezTo>
                  <a:pt x="23094" y="4094"/>
                  <a:pt x="23125" y="4094"/>
                  <a:pt x="23125" y="4094"/>
                </a:cubicBezTo>
                <a:cubicBezTo>
                  <a:pt x="23125" y="4094"/>
                  <a:pt x="23125" y="4063"/>
                  <a:pt x="23125" y="4063"/>
                </a:cubicBezTo>
                <a:cubicBezTo>
                  <a:pt x="23125" y="4063"/>
                  <a:pt x="23125" y="4063"/>
                  <a:pt x="23125" y="4031"/>
                </a:cubicBezTo>
                <a:cubicBezTo>
                  <a:pt x="23125" y="4031"/>
                  <a:pt x="23094" y="4000"/>
                  <a:pt x="23125" y="3969"/>
                </a:cubicBezTo>
                <a:cubicBezTo>
                  <a:pt x="23187" y="4031"/>
                  <a:pt x="23187" y="4125"/>
                  <a:pt x="23250" y="4156"/>
                </a:cubicBezTo>
                <a:cubicBezTo>
                  <a:pt x="23250" y="4188"/>
                  <a:pt x="23281" y="4219"/>
                  <a:pt x="23312" y="4188"/>
                </a:cubicBezTo>
                <a:cubicBezTo>
                  <a:pt x="23375" y="4188"/>
                  <a:pt x="23344" y="4156"/>
                  <a:pt x="23312" y="4125"/>
                </a:cubicBezTo>
                <a:cubicBezTo>
                  <a:pt x="23281" y="4063"/>
                  <a:pt x="23250" y="3969"/>
                  <a:pt x="23250" y="3875"/>
                </a:cubicBezTo>
                <a:cubicBezTo>
                  <a:pt x="23281" y="3906"/>
                  <a:pt x="23312" y="3938"/>
                  <a:pt x="23375" y="3938"/>
                </a:cubicBezTo>
                <a:cubicBezTo>
                  <a:pt x="23375" y="3938"/>
                  <a:pt x="23375" y="3938"/>
                  <a:pt x="23375" y="3906"/>
                </a:cubicBezTo>
                <a:cubicBezTo>
                  <a:pt x="23375" y="3906"/>
                  <a:pt x="23375" y="3906"/>
                  <a:pt x="23375" y="3906"/>
                </a:cubicBezTo>
                <a:cubicBezTo>
                  <a:pt x="23375" y="3875"/>
                  <a:pt x="23312" y="3844"/>
                  <a:pt x="23312" y="3813"/>
                </a:cubicBezTo>
                <a:cubicBezTo>
                  <a:pt x="23312" y="3781"/>
                  <a:pt x="23344" y="3781"/>
                  <a:pt x="23344" y="3750"/>
                </a:cubicBezTo>
                <a:cubicBezTo>
                  <a:pt x="23406" y="3813"/>
                  <a:pt x="23469" y="3875"/>
                  <a:pt x="23500" y="3938"/>
                </a:cubicBezTo>
                <a:cubicBezTo>
                  <a:pt x="23500" y="3969"/>
                  <a:pt x="23531" y="3969"/>
                  <a:pt x="23531" y="3969"/>
                </a:cubicBezTo>
                <a:cubicBezTo>
                  <a:pt x="23531" y="4000"/>
                  <a:pt x="23531" y="4000"/>
                  <a:pt x="23531" y="4000"/>
                </a:cubicBezTo>
                <a:cubicBezTo>
                  <a:pt x="23531" y="4000"/>
                  <a:pt x="23562" y="4000"/>
                  <a:pt x="23562" y="4000"/>
                </a:cubicBezTo>
                <a:cubicBezTo>
                  <a:pt x="23562" y="3969"/>
                  <a:pt x="23562" y="3969"/>
                  <a:pt x="23562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38"/>
                  <a:pt x="23594" y="3906"/>
                  <a:pt x="23594" y="3875"/>
                </a:cubicBezTo>
                <a:cubicBezTo>
                  <a:pt x="23562" y="3875"/>
                  <a:pt x="23531" y="3844"/>
                  <a:pt x="23531" y="3813"/>
                </a:cubicBezTo>
                <a:cubicBezTo>
                  <a:pt x="23531" y="3813"/>
                  <a:pt x="23562" y="3813"/>
                  <a:pt x="23562" y="3813"/>
                </a:cubicBezTo>
                <a:cubicBezTo>
                  <a:pt x="23594" y="3813"/>
                  <a:pt x="23594" y="3844"/>
                  <a:pt x="23594" y="3875"/>
                </a:cubicBezTo>
                <a:cubicBezTo>
                  <a:pt x="23594" y="3875"/>
                  <a:pt x="23594" y="3875"/>
                  <a:pt x="23594" y="3875"/>
                </a:cubicBezTo>
                <a:cubicBezTo>
                  <a:pt x="23656" y="3875"/>
                  <a:pt x="23656" y="3906"/>
                  <a:pt x="23687" y="3938"/>
                </a:cubicBezTo>
                <a:cubicBezTo>
                  <a:pt x="23687" y="3938"/>
                  <a:pt x="23687" y="3938"/>
                  <a:pt x="23687" y="3938"/>
                </a:cubicBezTo>
                <a:cubicBezTo>
                  <a:pt x="23719" y="3969"/>
                  <a:pt x="23719" y="3969"/>
                  <a:pt x="23750" y="4000"/>
                </a:cubicBezTo>
                <a:cubicBezTo>
                  <a:pt x="23750" y="4000"/>
                  <a:pt x="23750" y="4031"/>
                  <a:pt x="23781" y="4000"/>
                </a:cubicBezTo>
                <a:cubicBezTo>
                  <a:pt x="23812" y="3969"/>
                  <a:pt x="23812" y="3969"/>
                  <a:pt x="23781" y="3938"/>
                </a:cubicBezTo>
                <a:cubicBezTo>
                  <a:pt x="23750" y="3938"/>
                  <a:pt x="23719" y="3906"/>
                  <a:pt x="23750" y="3875"/>
                </a:cubicBezTo>
                <a:cubicBezTo>
                  <a:pt x="23781" y="3875"/>
                  <a:pt x="23812" y="3875"/>
                  <a:pt x="23812" y="3875"/>
                </a:cubicBezTo>
                <a:cubicBezTo>
                  <a:pt x="23812" y="3906"/>
                  <a:pt x="23844" y="3906"/>
                  <a:pt x="23844" y="3906"/>
                </a:cubicBezTo>
                <a:cubicBezTo>
                  <a:pt x="23906" y="3938"/>
                  <a:pt x="23937" y="3875"/>
                  <a:pt x="23969" y="3875"/>
                </a:cubicBezTo>
                <a:cubicBezTo>
                  <a:pt x="23969" y="3844"/>
                  <a:pt x="23906" y="3813"/>
                  <a:pt x="23906" y="3781"/>
                </a:cubicBezTo>
                <a:cubicBezTo>
                  <a:pt x="23906" y="3781"/>
                  <a:pt x="23906" y="3750"/>
                  <a:pt x="23906" y="3750"/>
                </a:cubicBezTo>
                <a:cubicBezTo>
                  <a:pt x="23906" y="3750"/>
                  <a:pt x="23906" y="3750"/>
                  <a:pt x="23906" y="3781"/>
                </a:cubicBezTo>
                <a:cubicBezTo>
                  <a:pt x="23906" y="3781"/>
                  <a:pt x="23906" y="3781"/>
                  <a:pt x="23906" y="3781"/>
                </a:cubicBezTo>
                <a:cubicBezTo>
                  <a:pt x="23969" y="3750"/>
                  <a:pt x="24000" y="3781"/>
                  <a:pt x="24031" y="3781"/>
                </a:cubicBezTo>
                <a:cubicBezTo>
                  <a:pt x="24062" y="3781"/>
                  <a:pt x="24062" y="3813"/>
                  <a:pt x="24094" y="3781"/>
                </a:cubicBezTo>
                <a:cubicBezTo>
                  <a:pt x="24031" y="3750"/>
                  <a:pt x="23969" y="3688"/>
                  <a:pt x="24000" y="3625"/>
                </a:cubicBezTo>
                <a:cubicBezTo>
                  <a:pt x="23969" y="3625"/>
                  <a:pt x="23906" y="3625"/>
                  <a:pt x="23937" y="3563"/>
                </a:cubicBezTo>
                <a:cubicBezTo>
                  <a:pt x="23937" y="3563"/>
                  <a:pt x="23969" y="3563"/>
                  <a:pt x="23969" y="3563"/>
                </a:cubicBezTo>
                <a:cubicBezTo>
                  <a:pt x="23969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31"/>
                  <a:pt x="24000" y="3531"/>
                  <a:pt x="24000" y="3531"/>
                </a:cubicBezTo>
                <a:cubicBezTo>
                  <a:pt x="23969" y="3469"/>
                  <a:pt x="23906" y="3469"/>
                  <a:pt x="23875" y="3438"/>
                </a:cubicBezTo>
                <a:cubicBezTo>
                  <a:pt x="23875" y="3406"/>
                  <a:pt x="23844" y="3406"/>
                  <a:pt x="23844" y="3375"/>
                </a:cubicBezTo>
                <a:cubicBezTo>
                  <a:pt x="23937" y="3344"/>
                  <a:pt x="24031" y="3406"/>
                  <a:pt x="24125" y="3406"/>
                </a:cubicBezTo>
                <a:cubicBezTo>
                  <a:pt x="24062" y="3375"/>
                  <a:pt x="24000" y="3344"/>
                  <a:pt x="23969" y="3313"/>
                </a:cubicBezTo>
                <a:cubicBezTo>
                  <a:pt x="23937" y="3281"/>
                  <a:pt x="23844" y="3281"/>
                  <a:pt x="23875" y="3219"/>
                </a:cubicBezTo>
                <a:cubicBezTo>
                  <a:pt x="23875" y="3219"/>
                  <a:pt x="23875" y="3219"/>
                  <a:pt x="23906" y="3188"/>
                </a:cubicBezTo>
                <a:cubicBezTo>
                  <a:pt x="23906" y="3188"/>
                  <a:pt x="23906" y="3188"/>
                  <a:pt x="23906" y="3188"/>
                </a:cubicBezTo>
                <a:cubicBezTo>
                  <a:pt x="23937" y="3188"/>
                  <a:pt x="23969" y="3219"/>
                  <a:pt x="24000" y="3219"/>
                </a:cubicBezTo>
                <a:cubicBezTo>
                  <a:pt x="24000" y="3156"/>
                  <a:pt x="23906" y="3156"/>
                  <a:pt x="23875" y="3094"/>
                </a:cubicBezTo>
                <a:cubicBezTo>
                  <a:pt x="23906" y="3031"/>
                  <a:pt x="23969" y="3094"/>
                  <a:pt x="24031" y="3063"/>
                </a:cubicBezTo>
                <a:cubicBezTo>
                  <a:pt x="23969" y="3031"/>
                  <a:pt x="23906" y="3063"/>
                  <a:pt x="23906" y="3000"/>
                </a:cubicBezTo>
                <a:cubicBezTo>
                  <a:pt x="23906" y="3000"/>
                  <a:pt x="23906" y="2969"/>
                  <a:pt x="23906" y="2969"/>
                </a:cubicBezTo>
                <a:cubicBezTo>
                  <a:pt x="23906" y="2969"/>
                  <a:pt x="23906" y="2969"/>
                  <a:pt x="23937" y="2969"/>
                </a:cubicBezTo>
                <a:cubicBezTo>
                  <a:pt x="23937" y="2969"/>
                  <a:pt x="23937" y="2969"/>
                  <a:pt x="23937" y="2969"/>
                </a:cubicBezTo>
                <a:cubicBezTo>
                  <a:pt x="23937" y="2969"/>
                  <a:pt x="23969" y="2969"/>
                  <a:pt x="24000" y="2969"/>
                </a:cubicBezTo>
                <a:cubicBezTo>
                  <a:pt x="24000" y="2938"/>
                  <a:pt x="24000" y="2938"/>
                  <a:pt x="24031" y="2938"/>
                </a:cubicBezTo>
                <a:cubicBezTo>
                  <a:pt x="24031" y="2938"/>
                  <a:pt x="24031" y="2938"/>
                  <a:pt x="24031" y="2938"/>
                </a:cubicBezTo>
                <a:cubicBezTo>
                  <a:pt x="23969" y="2906"/>
                  <a:pt x="23937" y="2906"/>
                  <a:pt x="23969" y="2813"/>
                </a:cubicBezTo>
                <a:cubicBezTo>
                  <a:pt x="24000" y="2688"/>
                  <a:pt x="24000" y="2531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375"/>
                  <a:pt x="24000" y="2344"/>
                  <a:pt x="24000" y="2344"/>
                </a:cubicBezTo>
                <a:cubicBezTo>
                  <a:pt x="24000" y="2281"/>
                  <a:pt x="24000" y="2250"/>
                  <a:pt x="24000" y="2188"/>
                </a:cubicBezTo>
                <a:cubicBezTo>
                  <a:pt x="24000" y="2188"/>
                  <a:pt x="24000" y="2156"/>
                  <a:pt x="24000" y="2156"/>
                </a:cubicBezTo>
                <a:cubicBezTo>
                  <a:pt x="24000" y="2125"/>
                  <a:pt x="24000" y="2094"/>
                  <a:pt x="24031" y="2094"/>
                </a:cubicBezTo>
                <a:cubicBezTo>
                  <a:pt x="24000" y="2063"/>
                  <a:pt x="24000" y="2031"/>
                  <a:pt x="24000" y="2031"/>
                </a:cubicBezTo>
                <a:cubicBezTo>
                  <a:pt x="24000" y="2000"/>
                  <a:pt x="24000" y="1969"/>
                  <a:pt x="24031" y="1969"/>
                </a:cubicBezTo>
                <a:cubicBezTo>
                  <a:pt x="24031" y="1938"/>
                  <a:pt x="24031" y="1875"/>
                  <a:pt x="24000" y="1844"/>
                </a:cubicBezTo>
                <a:cubicBezTo>
                  <a:pt x="24000" y="1781"/>
                  <a:pt x="24000" y="1688"/>
                  <a:pt x="24000" y="1625"/>
                </a:cubicBezTo>
                <a:cubicBezTo>
                  <a:pt x="24031" y="1531"/>
                  <a:pt x="24062" y="1406"/>
                  <a:pt x="24094" y="1313"/>
                </a:cubicBezTo>
                <a:cubicBezTo>
                  <a:pt x="24125" y="1250"/>
                  <a:pt x="24125" y="1188"/>
                  <a:pt x="24156" y="1125"/>
                </a:cubicBezTo>
                <a:cubicBezTo>
                  <a:pt x="24187" y="1094"/>
                  <a:pt x="24187" y="1063"/>
                  <a:pt x="24187" y="1031"/>
                </a:cubicBezTo>
                <a:cubicBezTo>
                  <a:pt x="24187" y="1031"/>
                  <a:pt x="24156" y="1031"/>
                  <a:pt x="24187" y="1031"/>
                </a:cubicBezTo>
                <a:cubicBezTo>
                  <a:pt x="24187" y="1000"/>
                  <a:pt x="24187" y="1000"/>
                  <a:pt x="24187" y="1031"/>
                </a:cubicBezTo>
                <a:cubicBezTo>
                  <a:pt x="24187" y="1031"/>
                  <a:pt x="24187" y="1031"/>
                  <a:pt x="24187" y="1031"/>
                </a:cubicBezTo>
                <a:cubicBezTo>
                  <a:pt x="24281" y="1000"/>
                  <a:pt x="24312" y="969"/>
                  <a:pt x="24344" y="938"/>
                </a:cubicBezTo>
                <a:cubicBezTo>
                  <a:pt x="24375" y="906"/>
                  <a:pt x="24375" y="906"/>
                  <a:pt x="24406" y="875"/>
                </a:cubicBezTo>
                <a:cubicBezTo>
                  <a:pt x="24406" y="875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375" y="813"/>
                </a:cubicBezTo>
                <a:cubicBezTo>
                  <a:pt x="24406" y="813"/>
                  <a:pt x="24406" y="813"/>
                  <a:pt x="24406" y="813"/>
                </a:cubicBezTo>
                <a:cubicBezTo>
                  <a:pt x="24406" y="813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37" y="844"/>
                  <a:pt x="24469" y="813"/>
                  <a:pt x="24469" y="813"/>
                </a:cubicBezTo>
                <a:cubicBezTo>
                  <a:pt x="24469" y="813"/>
                  <a:pt x="24500" y="813"/>
                  <a:pt x="24500" y="813"/>
                </a:cubicBezTo>
                <a:cubicBezTo>
                  <a:pt x="24500" y="813"/>
                  <a:pt x="24531" y="813"/>
                  <a:pt x="24531" y="813"/>
                </a:cubicBezTo>
                <a:cubicBezTo>
                  <a:pt x="24531" y="813"/>
                  <a:pt x="24562" y="813"/>
                  <a:pt x="24562" y="813"/>
                </a:cubicBezTo>
                <a:cubicBezTo>
                  <a:pt x="24594" y="750"/>
                  <a:pt x="24500" y="750"/>
                  <a:pt x="24500" y="719"/>
                </a:cubicBezTo>
                <a:cubicBezTo>
                  <a:pt x="24500" y="719"/>
                  <a:pt x="24500" y="688"/>
                  <a:pt x="24500" y="688"/>
                </a:cubicBezTo>
                <a:cubicBezTo>
                  <a:pt x="24500" y="688"/>
                  <a:pt x="24500" y="688"/>
                  <a:pt x="24500" y="688"/>
                </a:cubicBezTo>
                <a:cubicBezTo>
                  <a:pt x="24500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62" y="688"/>
                  <a:pt x="24594" y="719"/>
                  <a:pt x="24625" y="688"/>
                </a:cubicBezTo>
                <a:cubicBezTo>
                  <a:pt x="24625" y="688"/>
                  <a:pt x="24625" y="688"/>
                  <a:pt x="24656" y="688"/>
                </a:cubicBezTo>
                <a:cubicBezTo>
                  <a:pt x="24656" y="688"/>
                  <a:pt x="24656" y="688"/>
                  <a:pt x="24656" y="688"/>
                </a:cubicBezTo>
                <a:cubicBezTo>
                  <a:pt x="24656" y="688"/>
                  <a:pt x="24656" y="656"/>
                  <a:pt x="24656" y="656"/>
                </a:cubicBezTo>
                <a:cubicBezTo>
                  <a:pt x="24656" y="656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87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50" y="531"/>
                  <a:pt x="24906" y="469"/>
                  <a:pt x="25000" y="563"/>
                </a:cubicBezTo>
                <a:cubicBezTo>
                  <a:pt x="25125" y="625"/>
                  <a:pt x="25187" y="594"/>
                  <a:pt x="25281" y="531"/>
                </a:cubicBezTo>
                <a:cubicBezTo>
                  <a:pt x="25312" y="469"/>
                  <a:pt x="25375" y="406"/>
                  <a:pt x="25250" y="375"/>
                </a:cubicBezTo>
                <a:cubicBezTo>
                  <a:pt x="25219" y="375"/>
                  <a:pt x="25187" y="344"/>
                  <a:pt x="25219" y="281"/>
                </a:cubicBezTo>
                <a:cubicBezTo>
                  <a:pt x="25250" y="219"/>
                  <a:pt x="25375" y="156"/>
                  <a:pt x="25469" y="156"/>
                </a:cubicBezTo>
                <a:cubicBezTo>
                  <a:pt x="25562" y="156"/>
                  <a:pt x="25625" y="94"/>
                  <a:pt x="25719" y="125"/>
                </a:cubicBezTo>
                <a:cubicBezTo>
                  <a:pt x="25844" y="219"/>
                  <a:pt x="26031" y="125"/>
                  <a:pt x="26125" y="281"/>
                </a:cubicBezTo>
                <a:lnTo>
                  <a:pt x="26125" y="281"/>
                </a:lnTo>
                <a:cubicBezTo>
                  <a:pt x="26281" y="438"/>
                  <a:pt x="26312" y="625"/>
                  <a:pt x="26281" y="844"/>
                </a:cubicBezTo>
                <a:cubicBezTo>
                  <a:pt x="26250" y="1031"/>
                  <a:pt x="26094" y="1125"/>
                  <a:pt x="25906" y="1063"/>
                </a:cubicBezTo>
                <a:cubicBezTo>
                  <a:pt x="25781" y="1000"/>
                  <a:pt x="25625" y="1031"/>
                  <a:pt x="25562" y="875"/>
                </a:cubicBezTo>
                <a:cubicBezTo>
                  <a:pt x="25531" y="844"/>
                  <a:pt x="25469" y="875"/>
                  <a:pt x="25469" y="906"/>
                </a:cubicBezTo>
                <a:cubicBezTo>
                  <a:pt x="25406" y="1000"/>
                  <a:pt x="25312" y="1094"/>
                  <a:pt x="25312" y="1219"/>
                </a:cubicBezTo>
                <a:cubicBezTo>
                  <a:pt x="25312" y="1250"/>
                  <a:pt x="25281" y="1250"/>
                  <a:pt x="25281" y="1281"/>
                </a:cubicBezTo>
                <a:cubicBezTo>
                  <a:pt x="25187" y="1344"/>
                  <a:pt x="25156" y="1469"/>
                  <a:pt x="25125" y="1594"/>
                </a:cubicBezTo>
                <a:cubicBezTo>
                  <a:pt x="25094" y="1844"/>
                  <a:pt x="25062" y="2094"/>
                  <a:pt x="25094" y="2344"/>
                </a:cubicBezTo>
                <a:cubicBezTo>
                  <a:pt x="25125" y="2406"/>
                  <a:pt x="25125" y="2500"/>
                  <a:pt x="25125" y="2563"/>
                </a:cubicBezTo>
                <a:cubicBezTo>
                  <a:pt x="25125" y="2594"/>
                  <a:pt x="25125" y="2656"/>
                  <a:pt x="25125" y="2688"/>
                </a:cubicBezTo>
                <a:cubicBezTo>
                  <a:pt x="25094" y="2875"/>
                  <a:pt x="25062" y="3031"/>
                  <a:pt x="25062" y="3219"/>
                </a:cubicBezTo>
                <a:cubicBezTo>
                  <a:pt x="25062" y="3250"/>
                  <a:pt x="25062" y="3250"/>
                  <a:pt x="25062" y="3250"/>
                </a:cubicBezTo>
                <a:cubicBezTo>
                  <a:pt x="25062" y="3250"/>
                  <a:pt x="25062" y="3250"/>
                  <a:pt x="25031" y="3250"/>
                </a:cubicBezTo>
                <a:cubicBezTo>
                  <a:pt x="25031" y="3281"/>
                  <a:pt x="25031" y="3281"/>
                  <a:pt x="25031" y="3281"/>
                </a:cubicBezTo>
                <a:cubicBezTo>
                  <a:pt x="25031" y="3281"/>
                  <a:pt x="25031" y="3313"/>
                  <a:pt x="25000" y="3313"/>
                </a:cubicBezTo>
                <a:cubicBezTo>
                  <a:pt x="24969" y="3375"/>
                  <a:pt x="24969" y="3469"/>
                  <a:pt x="24937" y="3563"/>
                </a:cubicBezTo>
                <a:cubicBezTo>
                  <a:pt x="24937" y="3594"/>
                  <a:pt x="24937" y="3594"/>
                  <a:pt x="24937" y="3625"/>
                </a:cubicBezTo>
                <a:cubicBezTo>
                  <a:pt x="24937" y="3625"/>
                  <a:pt x="24937" y="3656"/>
                  <a:pt x="24937" y="3656"/>
                </a:cubicBezTo>
                <a:cubicBezTo>
                  <a:pt x="24719" y="4281"/>
                  <a:pt x="24344" y="4781"/>
                  <a:pt x="23812" y="5125"/>
                </a:cubicBezTo>
                <a:cubicBezTo>
                  <a:pt x="23594" y="5281"/>
                  <a:pt x="23344" y="5406"/>
                  <a:pt x="23094" y="5500"/>
                </a:cubicBezTo>
                <a:cubicBezTo>
                  <a:pt x="22906" y="5563"/>
                  <a:pt x="22750" y="5625"/>
                  <a:pt x="22562" y="5688"/>
                </a:cubicBezTo>
                <a:cubicBezTo>
                  <a:pt x="22500" y="5719"/>
                  <a:pt x="22437" y="5750"/>
                  <a:pt x="22344" y="5750"/>
                </a:cubicBezTo>
                <a:cubicBezTo>
                  <a:pt x="22250" y="5750"/>
                  <a:pt x="22094" y="5813"/>
                  <a:pt x="22031" y="5875"/>
                </a:cubicBezTo>
                <a:cubicBezTo>
                  <a:pt x="22000" y="5906"/>
                  <a:pt x="21969" y="5906"/>
                  <a:pt x="21969" y="5906"/>
                </a:cubicBezTo>
                <a:cubicBezTo>
                  <a:pt x="21719" y="5844"/>
                  <a:pt x="21469" y="5938"/>
                  <a:pt x="21250" y="5844"/>
                </a:cubicBezTo>
                <a:cubicBezTo>
                  <a:pt x="21187" y="5813"/>
                  <a:pt x="21187" y="5875"/>
                  <a:pt x="21187" y="5906"/>
                </a:cubicBezTo>
                <a:cubicBezTo>
                  <a:pt x="21250" y="5969"/>
                  <a:pt x="21281" y="6063"/>
                  <a:pt x="21344" y="6125"/>
                </a:cubicBezTo>
                <a:cubicBezTo>
                  <a:pt x="21469" y="6250"/>
                  <a:pt x="21594" y="6406"/>
                  <a:pt x="21719" y="6531"/>
                </a:cubicBezTo>
                <a:cubicBezTo>
                  <a:pt x="21906" y="6688"/>
                  <a:pt x="21969" y="6938"/>
                  <a:pt x="22094" y="7125"/>
                </a:cubicBezTo>
                <a:cubicBezTo>
                  <a:pt x="22156" y="7188"/>
                  <a:pt x="22094" y="7219"/>
                  <a:pt x="22031" y="7250"/>
                </a:cubicBezTo>
                <a:cubicBezTo>
                  <a:pt x="22000" y="7281"/>
                  <a:pt x="21937" y="7250"/>
                  <a:pt x="21906" y="7250"/>
                </a:cubicBezTo>
                <a:cubicBezTo>
                  <a:pt x="21781" y="7188"/>
                  <a:pt x="21687" y="7125"/>
                  <a:pt x="21531" y="7094"/>
                </a:cubicBezTo>
                <a:cubicBezTo>
                  <a:pt x="21469" y="7094"/>
                  <a:pt x="21406" y="7031"/>
                  <a:pt x="21375" y="6969"/>
                </a:cubicBezTo>
                <a:cubicBezTo>
                  <a:pt x="21312" y="6844"/>
                  <a:pt x="21219" y="6813"/>
                  <a:pt x="21125" y="6906"/>
                </a:cubicBezTo>
                <a:cubicBezTo>
                  <a:pt x="21062" y="6969"/>
                  <a:pt x="21000" y="7000"/>
                  <a:pt x="20906" y="6969"/>
                </a:cubicBezTo>
                <a:cubicBezTo>
                  <a:pt x="20844" y="6969"/>
                  <a:pt x="20781" y="6969"/>
                  <a:pt x="20719" y="7000"/>
                </a:cubicBezTo>
                <a:cubicBezTo>
                  <a:pt x="20594" y="7031"/>
                  <a:pt x="20469" y="7063"/>
                  <a:pt x="20344" y="7031"/>
                </a:cubicBezTo>
                <a:cubicBezTo>
                  <a:pt x="20094" y="6969"/>
                  <a:pt x="19844" y="7063"/>
                  <a:pt x="19594" y="7125"/>
                </a:cubicBezTo>
                <a:cubicBezTo>
                  <a:pt x="19406" y="7188"/>
                  <a:pt x="19219" y="7219"/>
                  <a:pt x="19000" y="7188"/>
                </a:cubicBezTo>
                <a:cubicBezTo>
                  <a:pt x="18687" y="7188"/>
                  <a:pt x="18375" y="7094"/>
                  <a:pt x="18094" y="6969"/>
                </a:cubicBezTo>
                <a:cubicBezTo>
                  <a:pt x="18000" y="6906"/>
                  <a:pt x="17875" y="6844"/>
                  <a:pt x="17812" y="6750"/>
                </a:cubicBezTo>
                <a:cubicBezTo>
                  <a:pt x="17719" y="6688"/>
                  <a:pt x="17656" y="6688"/>
                  <a:pt x="17562" y="6719"/>
                </a:cubicBezTo>
                <a:cubicBezTo>
                  <a:pt x="17531" y="6719"/>
                  <a:pt x="17500" y="6719"/>
                  <a:pt x="17500" y="6719"/>
                </a:cubicBezTo>
                <a:cubicBezTo>
                  <a:pt x="17156" y="6719"/>
                  <a:pt x="16812" y="6813"/>
                  <a:pt x="16469" y="6781"/>
                </a:cubicBezTo>
                <a:cubicBezTo>
                  <a:pt x="16375" y="6781"/>
                  <a:pt x="16281" y="6844"/>
                  <a:pt x="16219" y="6906"/>
                </a:cubicBezTo>
                <a:cubicBezTo>
                  <a:pt x="16094" y="6969"/>
                  <a:pt x="16000" y="7063"/>
                  <a:pt x="15906" y="7125"/>
                </a:cubicBezTo>
                <a:cubicBezTo>
                  <a:pt x="15844" y="7188"/>
                  <a:pt x="15812" y="7219"/>
                  <a:pt x="15812" y="7313"/>
                </a:cubicBezTo>
                <a:cubicBezTo>
                  <a:pt x="15844" y="7406"/>
                  <a:pt x="15812" y="7500"/>
                  <a:pt x="15781" y="7563"/>
                </a:cubicBezTo>
                <a:cubicBezTo>
                  <a:pt x="15719" y="7781"/>
                  <a:pt x="15812" y="7969"/>
                  <a:pt x="15781" y="8156"/>
                </a:cubicBezTo>
                <a:cubicBezTo>
                  <a:pt x="15875" y="8375"/>
                  <a:pt x="15969" y="8594"/>
                  <a:pt x="16062" y="8813"/>
                </a:cubicBezTo>
                <a:cubicBezTo>
                  <a:pt x="16219" y="9219"/>
                  <a:pt x="16375" y="9625"/>
                  <a:pt x="16437" y="10063"/>
                </a:cubicBezTo>
                <a:cubicBezTo>
                  <a:pt x="16500" y="10313"/>
                  <a:pt x="16500" y="10563"/>
                  <a:pt x="16531" y="10813"/>
                </a:cubicBezTo>
                <a:cubicBezTo>
                  <a:pt x="16531" y="10844"/>
                  <a:pt x="16531" y="10875"/>
                  <a:pt x="16500" y="10906"/>
                </a:cubicBezTo>
                <a:cubicBezTo>
                  <a:pt x="16531" y="10969"/>
                  <a:pt x="16531" y="11063"/>
                  <a:pt x="16531" y="11125"/>
                </a:cubicBezTo>
                <a:cubicBezTo>
                  <a:pt x="16531" y="11125"/>
                  <a:pt x="16531" y="11125"/>
                  <a:pt x="16531" y="11125"/>
                </a:cubicBezTo>
                <a:cubicBezTo>
                  <a:pt x="16531" y="11156"/>
                  <a:pt x="16531" y="11188"/>
                  <a:pt x="16531" y="11188"/>
                </a:cubicBezTo>
                <a:cubicBezTo>
                  <a:pt x="16531" y="11406"/>
                  <a:pt x="16531" y="11625"/>
                  <a:pt x="16531" y="11719"/>
                </a:cubicBezTo>
                <a:cubicBezTo>
                  <a:pt x="16531" y="11719"/>
                  <a:pt x="16531" y="11719"/>
                  <a:pt x="16531" y="11750"/>
                </a:cubicBezTo>
                <a:cubicBezTo>
                  <a:pt x="16531" y="12031"/>
                  <a:pt x="16500" y="12344"/>
                  <a:pt x="16500" y="12656"/>
                </a:cubicBezTo>
                <a:cubicBezTo>
                  <a:pt x="16531" y="13031"/>
                  <a:pt x="16437" y="13406"/>
                  <a:pt x="16469" y="13813"/>
                </a:cubicBezTo>
                <a:cubicBezTo>
                  <a:pt x="16469" y="13844"/>
                  <a:pt x="16469" y="13875"/>
                  <a:pt x="16469" y="13938"/>
                </a:cubicBezTo>
                <a:cubicBezTo>
                  <a:pt x="16469" y="13938"/>
                  <a:pt x="16469" y="13969"/>
                  <a:pt x="16469" y="13969"/>
                </a:cubicBezTo>
                <a:cubicBezTo>
                  <a:pt x="16469" y="14031"/>
                  <a:pt x="16469" y="14094"/>
                  <a:pt x="16437" y="14156"/>
                </a:cubicBezTo>
                <a:cubicBezTo>
                  <a:pt x="16437" y="14188"/>
                  <a:pt x="16437" y="14188"/>
                  <a:pt x="16437" y="14219"/>
                </a:cubicBezTo>
                <a:cubicBezTo>
                  <a:pt x="16437" y="14219"/>
                  <a:pt x="16437" y="14250"/>
                  <a:pt x="16437" y="14250"/>
                </a:cubicBezTo>
                <a:cubicBezTo>
                  <a:pt x="16437" y="14281"/>
                  <a:pt x="16437" y="14313"/>
                  <a:pt x="16437" y="14344"/>
                </a:cubicBezTo>
                <a:cubicBezTo>
                  <a:pt x="16437" y="14344"/>
                  <a:pt x="16437" y="14375"/>
                  <a:pt x="16406" y="14375"/>
                </a:cubicBezTo>
                <a:cubicBezTo>
                  <a:pt x="16437" y="14438"/>
                  <a:pt x="16437" y="14469"/>
                  <a:pt x="16437" y="14500"/>
                </a:cubicBezTo>
                <a:cubicBezTo>
                  <a:pt x="16437" y="14531"/>
                  <a:pt x="16437" y="14531"/>
                  <a:pt x="16437" y="14563"/>
                </a:cubicBezTo>
                <a:cubicBezTo>
                  <a:pt x="16437" y="14563"/>
                  <a:pt x="16437" y="14563"/>
                  <a:pt x="16406" y="14563"/>
                </a:cubicBezTo>
                <a:cubicBezTo>
                  <a:pt x="16406" y="14594"/>
                  <a:pt x="16406" y="14594"/>
                  <a:pt x="16406" y="14594"/>
                </a:cubicBezTo>
                <a:cubicBezTo>
                  <a:pt x="16375" y="14813"/>
                  <a:pt x="16219" y="14844"/>
                  <a:pt x="16031" y="14844"/>
                </a:cubicBezTo>
                <a:cubicBezTo>
                  <a:pt x="16000" y="14875"/>
                  <a:pt x="15969" y="14844"/>
                  <a:pt x="15906" y="14875"/>
                </a:cubicBezTo>
                <a:cubicBezTo>
                  <a:pt x="16062" y="15000"/>
                  <a:pt x="16219" y="14906"/>
                  <a:pt x="16375" y="14844"/>
                </a:cubicBezTo>
                <a:cubicBezTo>
                  <a:pt x="16406" y="14969"/>
                  <a:pt x="16312" y="15031"/>
                  <a:pt x="16219" y="15063"/>
                </a:cubicBezTo>
                <a:cubicBezTo>
                  <a:pt x="16094" y="15125"/>
                  <a:pt x="15969" y="15156"/>
                  <a:pt x="15844" y="15219"/>
                </a:cubicBezTo>
                <a:cubicBezTo>
                  <a:pt x="16000" y="15219"/>
                  <a:pt x="16187" y="15281"/>
                  <a:pt x="16344" y="15250"/>
                </a:cubicBezTo>
                <a:cubicBezTo>
                  <a:pt x="16312" y="15219"/>
                  <a:pt x="16187" y="15281"/>
                  <a:pt x="16156" y="15156"/>
                </a:cubicBezTo>
                <a:cubicBezTo>
                  <a:pt x="16250" y="15125"/>
                  <a:pt x="16344" y="15125"/>
                  <a:pt x="16437" y="15188"/>
                </a:cubicBezTo>
                <a:cubicBezTo>
                  <a:pt x="16469" y="15188"/>
                  <a:pt x="16437" y="15250"/>
                  <a:pt x="16375" y="15281"/>
                </a:cubicBezTo>
                <a:cubicBezTo>
                  <a:pt x="16375" y="15281"/>
                  <a:pt x="16375" y="15281"/>
                  <a:pt x="16375" y="15281"/>
                </a:cubicBezTo>
                <a:cubicBezTo>
                  <a:pt x="16344" y="15344"/>
                  <a:pt x="16281" y="15375"/>
                  <a:pt x="16219" y="15375"/>
                </a:cubicBezTo>
                <a:cubicBezTo>
                  <a:pt x="16187" y="15344"/>
                  <a:pt x="16187" y="15344"/>
                  <a:pt x="16156" y="15344"/>
                </a:cubicBezTo>
                <a:cubicBezTo>
                  <a:pt x="16125" y="15344"/>
                  <a:pt x="16125" y="15344"/>
                  <a:pt x="16125" y="15344"/>
                </a:cubicBezTo>
                <a:cubicBezTo>
                  <a:pt x="16094" y="15344"/>
                  <a:pt x="16094" y="15344"/>
                  <a:pt x="16094" y="15344"/>
                </a:cubicBezTo>
                <a:cubicBezTo>
                  <a:pt x="16062" y="15344"/>
                  <a:pt x="16062" y="15344"/>
                  <a:pt x="16031" y="15344"/>
                </a:cubicBezTo>
                <a:cubicBezTo>
                  <a:pt x="16031" y="15344"/>
                  <a:pt x="16000" y="15313"/>
                  <a:pt x="15969" y="15313"/>
                </a:cubicBezTo>
                <a:cubicBezTo>
                  <a:pt x="15906" y="15313"/>
                  <a:pt x="15875" y="15406"/>
                  <a:pt x="15812" y="15406"/>
                </a:cubicBezTo>
                <a:cubicBezTo>
                  <a:pt x="15844" y="15469"/>
                  <a:pt x="15906" y="15469"/>
                  <a:pt x="15937" y="15469"/>
                </a:cubicBezTo>
                <a:cubicBezTo>
                  <a:pt x="16062" y="15469"/>
                  <a:pt x="16156" y="15531"/>
                  <a:pt x="16281" y="15469"/>
                </a:cubicBezTo>
                <a:cubicBezTo>
                  <a:pt x="16281" y="15469"/>
                  <a:pt x="16344" y="15469"/>
                  <a:pt x="16344" y="15500"/>
                </a:cubicBezTo>
                <a:cubicBezTo>
                  <a:pt x="16344" y="15531"/>
                  <a:pt x="16312" y="15563"/>
                  <a:pt x="16281" y="15563"/>
                </a:cubicBezTo>
                <a:cubicBezTo>
                  <a:pt x="16219" y="15563"/>
                  <a:pt x="16156" y="15594"/>
                  <a:pt x="16094" y="15563"/>
                </a:cubicBezTo>
                <a:cubicBezTo>
                  <a:pt x="16000" y="15563"/>
                  <a:pt x="15906" y="15563"/>
                  <a:pt x="15812" y="15563"/>
                </a:cubicBezTo>
                <a:cubicBezTo>
                  <a:pt x="15906" y="15625"/>
                  <a:pt x="16031" y="15656"/>
                  <a:pt x="16187" y="15656"/>
                </a:cubicBezTo>
                <a:cubicBezTo>
                  <a:pt x="16312" y="15625"/>
                  <a:pt x="16406" y="15531"/>
                  <a:pt x="16500" y="15469"/>
                </a:cubicBezTo>
                <a:cubicBezTo>
                  <a:pt x="16500" y="15500"/>
                  <a:pt x="16500" y="15500"/>
                  <a:pt x="16500" y="15531"/>
                </a:cubicBezTo>
                <a:cubicBezTo>
                  <a:pt x="16500" y="15563"/>
                  <a:pt x="16437" y="15594"/>
                  <a:pt x="16437" y="15625"/>
                </a:cubicBezTo>
                <a:cubicBezTo>
                  <a:pt x="16437" y="15625"/>
                  <a:pt x="16437" y="15625"/>
                  <a:pt x="16437" y="15656"/>
                </a:cubicBezTo>
                <a:cubicBezTo>
                  <a:pt x="16531" y="15656"/>
                  <a:pt x="16594" y="15625"/>
                  <a:pt x="16656" y="15563"/>
                </a:cubicBezTo>
                <a:cubicBezTo>
                  <a:pt x="16625" y="15656"/>
                  <a:pt x="16625" y="15688"/>
                  <a:pt x="16531" y="15719"/>
                </a:cubicBezTo>
                <a:cubicBezTo>
                  <a:pt x="16375" y="15750"/>
                  <a:pt x="16344" y="15875"/>
                  <a:pt x="16250" y="15969"/>
                </a:cubicBezTo>
                <a:cubicBezTo>
                  <a:pt x="16375" y="15969"/>
                  <a:pt x="16469" y="15938"/>
                  <a:pt x="16562" y="15969"/>
                </a:cubicBezTo>
                <a:cubicBezTo>
                  <a:pt x="16562" y="16000"/>
                  <a:pt x="16500" y="16063"/>
                  <a:pt x="16531" y="16094"/>
                </a:cubicBezTo>
                <a:cubicBezTo>
                  <a:pt x="16562" y="16125"/>
                  <a:pt x="16594" y="16063"/>
                  <a:pt x="16625" y="16063"/>
                </a:cubicBezTo>
                <a:cubicBezTo>
                  <a:pt x="16687" y="16031"/>
                  <a:pt x="16719" y="16063"/>
                  <a:pt x="16781" y="16063"/>
                </a:cubicBezTo>
                <a:cubicBezTo>
                  <a:pt x="16844" y="16063"/>
                  <a:pt x="16812" y="16125"/>
                  <a:pt x="16812" y="16156"/>
                </a:cubicBezTo>
                <a:cubicBezTo>
                  <a:pt x="16812" y="16281"/>
                  <a:pt x="17000" y="16531"/>
                  <a:pt x="17156" y="16563"/>
                </a:cubicBezTo>
                <a:cubicBezTo>
                  <a:pt x="17219" y="16563"/>
                  <a:pt x="17281" y="16563"/>
                  <a:pt x="17312" y="16500"/>
                </a:cubicBezTo>
                <a:cubicBezTo>
                  <a:pt x="17344" y="16469"/>
                  <a:pt x="17344" y="16406"/>
                  <a:pt x="17312" y="16344"/>
                </a:cubicBezTo>
                <a:cubicBezTo>
                  <a:pt x="17281" y="16281"/>
                  <a:pt x="17219" y="16250"/>
                  <a:pt x="17250" y="16156"/>
                </a:cubicBezTo>
                <a:cubicBezTo>
                  <a:pt x="17344" y="16156"/>
                  <a:pt x="17344" y="16250"/>
                  <a:pt x="17375" y="16281"/>
                </a:cubicBezTo>
                <a:cubicBezTo>
                  <a:pt x="17406" y="16313"/>
                  <a:pt x="17375" y="16375"/>
                  <a:pt x="17469" y="16406"/>
                </a:cubicBezTo>
                <a:cubicBezTo>
                  <a:pt x="17531" y="16406"/>
                  <a:pt x="17500" y="16500"/>
                  <a:pt x="17437" y="16531"/>
                </a:cubicBezTo>
                <a:cubicBezTo>
                  <a:pt x="17312" y="16563"/>
                  <a:pt x="17219" y="16625"/>
                  <a:pt x="17125" y="16688"/>
                </a:cubicBezTo>
                <a:cubicBezTo>
                  <a:pt x="17094" y="16688"/>
                  <a:pt x="17094" y="16688"/>
                  <a:pt x="17094" y="16688"/>
                </a:cubicBezTo>
                <a:cubicBezTo>
                  <a:pt x="17062" y="16688"/>
                  <a:pt x="17000" y="16719"/>
                  <a:pt x="16969" y="16719"/>
                </a:cubicBezTo>
                <a:cubicBezTo>
                  <a:pt x="16844" y="16750"/>
                  <a:pt x="16750" y="16781"/>
                  <a:pt x="16625" y="16781"/>
                </a:cubicBezTo>
                <a:cubicBezTo>
                  <a:pt x="16625" y="16781"/>
                  <a:pt x="16594" y="16781"/>
                  <a:pt x="16594" y="16781"/>
                </a:cubicBezTo>
                <a:cubicBezTo>
                  <a:pt x="16594" y="16813"/>
                  <a:pt x="16562" y="16813"/>
                  <a:pt x="16562" y="16813"/>
                </a:cubicBezTo>
                <a:cubicBezTo>
                  <a:pt x="16531" y="16813"/>
                  <a:pt x="16531" y="16813"/>
                  <a:pt x="16531" y="16813"/>
                </a:cubicBezTo>
                <a:cubicBezTo>
                  <a:pt x="16531" y="16813"/>
                  <a:pt x="16500" y="16813"/>
                  <a:pt x="16500" y="16813"/>
                </a:cubicBezTo>
                <a:cubicBezTo>
                  <a:pt x="16500" y="16813"/>
                  <a:pt x="16469" y="16781"/>
                  <a:pt x="16469" y="16781"/>
                </a:cubicBezTo>
                <a:cubicBezTo>
                  <a:pt x="16281" y="16813"/>
                  <a:pt x="16094" y="16844"/>
                  <a:pt x="15906" y="16844"/>
                </a:cubicBezTo>
                <a:cubicBezTo>
                  <a:pt x="15875" y="16844"/>
                  <a:pt x="15844" y="16844"/>
                  <a:pt x="15781" y="16844"/>
                </a:cubicBezTo>
                <a:cubicBezTo>
                  <a:pt x="15781" y="16844"/>
                  <a:pt x="15750" y="16844"/>
                  <a:pt x="15750" y="16844"/>
                </a:cubicBezTo>
                <a:cubicBezTo>
                  <a:pt x="15719" y="16844"/>
                  <a:pt x="15687" y="16844"/>
                  <a:pt x="15687" y="16844"/>
                </a:cubicBezTo>
                <a:cubicBezTo>
                  <a:pt x="15656" y="16844"/>
                  <a:pt x="15656" y="16844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594" y="16875"/>
                </a:cubicBezTo>
                <a:cubicBezTo>
                  <a:pt x="15344" y="16844"/>
                  <a:pt x="15094" y="16750"/>
                  <a:pt x="14812" y="16719"/>
                </a:cubicBezTo>
                <a:cubicBezTo>
                  <a:pt x="14781" y="16688"/>
                  <a:pt x="14750" y="16688"/>
                  <a:pt x="14719" y="16625"/>
                </a:cubicBezTo>
                <a:cubicBezTo>
                  <a:pt x="14719" y="16469"/>
                  <a:pt x="14687" y="16344"/>
                  <a:pt x="14750" y="16219"/>
                </a:cubicBezTo>
                <a:cubicBezTo>
                  <a:pt x="14781" y="16156"/>
                  <a:pt x="14750" y="16063"/>
                  <a:pt x="14781" y="16000"/>
                </a:cubicBezTo>
                <a:cubicBezTo>
                  <a:pt x="14750" y="15656"/>
                  <a:pt x="14719" y="15344"/>
                  <a:pt x="14656" y="15031"/>
                </a:cubicBezTo>
                <a:cubicBezTo>
                  <a:pt x="14594" y="14813"/>
                  <a:pt x="14531" y="14563"/>
                  <a:pt x="14437" y="14344"/>
                </a:cubicBezTo>
                <a:cubicBezTo>
                  <a:pt x="14375" y="14125"/>
                  <a:pt x="14344" y="13875"/>
                  <a:pt x="14250" y="13656"/>
                </a:cubicBezTo>
                <a:cubicBezTo>
                  <a:pt x="14094" y="13250"/>
                  <a:pt x="13969" y="12844"/>
                  <a:pt x="13812" y="12469"/>
                </a:cubicBezTo>
                <a:cubicBezTo>
                  <a:pt x="13812" y="12438"/>
                  <a:pt x="13781" y="12438"/>
                  <a:pt x="13781" y="12406"/>
                </a:cubicBezTo>
                <a:cubicBezTo>
                  <a:pt x="13781" y="12375"/>
                  <a:pt x="13750" y="12344"/>
                  <a:pt x="13719" y="12344"/>
                </a:cubicBezTo>
                <a:cubicBezTo>
                  <a:pt x="13656" y="12469"/>
                  <a:pt x="13594" y="12625"/>
                  <a:pt x="13531" y="12781"/>
                </a:cubicBezTo>
                <a:cubicBezTo>
                  <a:pt x="13500" y="12844"/>
                  <a:pt x="13469" y="12938"/>
                  <a:pt x="13437" y="13031"/>
                </a:cubicBezTo>
                <a:cubicBezTo>
                  <a:pt x="13344" y="13469"/>
                  <a:pt x="13125" y="13844"/>
                  <a:pt x="13000" y="14250"/>
                </a:cubicBezTo>
                <a:cubicBezTo>
                  <a:pt x="12969" y="14438"/>
                  <a:pt x="12844" y="14563"/>
                  <a:pt x="12844" y="14750"/>
                </a:cubicBezTo>
                <a:cubicBezTo>
                  <a:pt x="12875" y="14813"/>
                  <a:pt x="12812" y="14875"/>
                  <a:pt x="12781" y="14938"/>
                </a:cubicBezTo>
                <a:cubicBezTo>
                  <a:pt x="12625" y="15063"/>
                  <a:pt x="12687" y="15281"/>
                  <a:pt x="12625" y="15438"/>
                </a:cubicBezTo>
                <a:cubicBezTo>
                  <a:pt x="12625" y="15469"/>
                  <a:pt x="12625" y="15469"/>
                  <a:pt x="12625" y="15469"/>
                </a:cubicBezTo>
                <a:cubicBezTo>
                  <a:pt x="12625" y="15500"/>
                  <a:pt x="12687" y="15531"/>
                  <a:pt x="12687" y="15594"/>
                </a:cubicBezTo>
                <a:cubicBezTo>
                  <a:pt x="12719" y="15594"/>
                  <a:pt x="12719" y="15594"/>
                  <a:pt x="12719" y="15625"/>
                </a:cubicBezTo>
                <a:cubicBezTo>
                  <a:pt x="12719" y="15625"/>
                  <a:pt x="12750" y="15625"/>
                  <a:pt x="12750" y="15656"/>
                </a:cubicBezTo>
                <a:cubicBezTo>
                  <a:pt x="12750" y="15656"/>
                  <a:pt x="12781" y="15656"/>
                  <a:pt x="12781" y="15656"/>
                </a:cubicBezTo>
                <a:cubicBezTo>
                  <a:pt x="12812" y="15750"/>
                  <a:pt x="12875" y="15781"/>
                  <a:pt x="12937" y="15844"/>
                </a:cubicBezTo>
                <a:cubicBezTo>
                  <a:pt x="13062" y="15938"/>
                  <a:pt x="13156" y="16000"/>
                  <a:pt x="13250" y="16125"/>
                </a:cubicBezTo>
                <a:cubicBezTo>
                  <a:pt x="13312" y="16219"/>
                  <a:pt x="13312" y="16281"/>
                  <a:pt x="13312" y="16344"/>
                </a:cubicBezTo>
                <a:cubicBezTo>
                  <a:pt x="13312" y="16438"/>
                  <a:pt x="13250" y="16500"/>
                  <a:pt x="13094" y="16531"/>
                </a:cubicBezTo>
                <a:cubicBezTo>
                  <a:pt x="13094" y="16563"/>
                  <a:pt x="13062" y="16594"/>
                  <a:pt x="13062" y="16594"/>
                </a:cubicBezTo>
                <a:cubicBezTo>
                  <a:pt x="13031" y="16594"/>
                  <a:pt x="13000" y="16594"/>
                  <a:pt x="12969" y="16594"/>
                </a:cubicBezTo>
                <a:cubicBezTo>
                  <a:pt x="12781" y="16625"/>
                  <a:pt x="12625" y="16656"/>
                  <a:pt x="12437" y="16719"/>
                </a:cubicBezTo>
                <a:cubicBezTo>
                  <a:pt x="12406" y="16719"/>
                  <a:pt x="12375" y="16719"/>
                  <a:pt x="12375" y="16719"/>
                </a:cubicBezTo>
                <a:cubicBezTo>
                  <a:pt x="12000" y="16656"/>
                  <a:pt x="11625" y="16688"/>
                  <a:pt x="11250" y="16688"/>
                </a:cubicBezTo>
                <a:cubicBezTo>
                  <a:pt x="11219" y="16688"/>
                  <a:pt x="11156" y="16688"/>
                  <a:pt x="11094" y="16688"/>
                </a:cubicBezTo>
                <a:cubicBezTo>
                  <a:pt x="11094" y="16688"/>
                  <a:pt x="11094" y="16688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00" y="16625"/>
                  <a:pt x="10906" y="16625"/>
                  <a:pt x="10844" y="16563"/>
                </a:cubicBezTo>
                <a:cubicBezTo>
                  <a:pt x="10844" y="16531"/>
                  <a:pt x="10844" y="16531"/>
                  <a:pt x="10812" y="16531"/>
                </a:cubicBezTo>
                <a:cubicBezTo>
                  <a:pt x="10812" y="16531"/>
                  <a:pt x="10812" y="16500"/>
                  <a:pt x="10812" y="16500"/>
                </a:cubicBezTo>
                <a:cubicBezTo>
                  <a:pt x="10812" y="16500"/>
                  <a:pt x="10812" y="16500"/>
                  <a:pt x="10812" y="16500"/>
                </a:cubicBezTo>
                <a:cubicBezTo>
                  <a:pt x="10812" y="16469"/>
                  <a:pt x="10812" y="16469"/>
                  <a:pt x="10812" y="16438"/>
                </a:cubicBezTo>
                <a:cubicBezTo>
                  <a:pt x="10781" y="16406"/>
                  <a:pt x="10750" y="16375"/>
                  <a:pt x="10750" y="16344"/>
                </a:cubicBezTo>
                <a:cubicBezTo>
                  <a:pt x="10750" y="16344"/>
                  <a:pt x="10750" y="16344"/>
                  <a:pt x="10750" y="16344"/>
                </a:cubicBezTo>
                <a:cubicBezTo>
                  <a:pt x="10750" y="16313"/>
                  <a:pt x="10750" y="16313"/>
                  <a:pt x="10750" y="16281"/>
                </a:cubicBezTo>
                <a:cubicBezTo>
                  <a:pt x="10750" y="16281"/>
                  <a:pt x="10750" y="16250"/>
                  <a:pt x="10750" y="16250"/>
                </a:cubicBezTo>
                <a:cubicBezTo>
                  <a:pt x="10750" y="16219"/>
                  <a:pt x="10781" y="16219"/>
                  <a:pt x="10781" y="16219"/>
                </a:cubicBezTo>
                <a:cubicBezTo>
                  <a:pt x="10844" y="15969"/>
                  <a:pt x="10937" y="15719"/>
                  <a:pt x="10906" y="15469"/>
                </a:cubicBezTo>
                <a:cubicBezTo>
                  <a:pt x="10906" y="15250"/>
                  <a:pt x="11000" y="15063"/>
                  <a:pt x="11000" y="14844"/>
                </a:cubicBezTo>
                <a:cubicBezTo>
                  <a:pt x="11031" y="14781"/>
                  <a:pt x="11031" y="14719"/>
                  <a:pt x="11031" y="14688"/>
                </a:cubicBezTo>
                <a:cubicBezTo>
                  <a:pt x="11062" y="13938"/>
                  <a:pt x="11125" y="13219"/>
                  <a:pt x="11094" y="12500"/>
                </a:cubicBezTo>
                <a:cubicBezTo>
                  <a:pt x="11094" y="12281"/>
                  <a:pt x="11094" y="12031"/>
                  <a:pt x="11094" y="11813"/>
                </a:cubicBezTo>
                <a:cubicBezTo>
                  <a:pt x="11094" y="11781"/>
                  <a:pt x="11094" y="11750"/>
                  <a:pt x="11094" y="11719"/>
                </a:cubicBezTo>
                <a:cubicBezTo>
                  <a:pt x="11094" y="11719"/>
                  <a:pt x="11094" y="11688"/>
                  <a:pt x="11094" y="11688"/>
                </a:cubicBezTo>
                <a:cubicBezTo>
                  <a:pt x="11094" y="11688"/>
                  <a:pt x="11125" y="11656"/>
                  <a:pt x="11125" y="11656"/>
                </a:cubicBezTo>
                <a:cubicBezTo>
                  <a:pt x="11125" y="11625"/>
                  <a:pt x="11125" y="11594"/>
                  <a:pt x="11125" y="11563"/>
                </a:cubicBezTo>
                <a:cubicBezTo>
                  <a:pt x="11125" y="11563"/>
                  <a:pt x="11125" y="11563"/>
                  <a:pt x="11125" y="11563"/>
                </a:cubicBezTo>
                <a:cubicBezTo>
                  <a:pt x="11125" y="11563"/>
                  <a:pt x="11125" y="11563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00"/>
                  <a:pt x="11125" y="11500"/>
                </a:cubicBezTo>
                <a:cubicBezTo>
                  <a:pt x="11156" y="11469"/>
                  <a:pt x="11156" y="11438"/>
                  <a:pt x="11156" y="11375"/>
                </a:cubicBezTo>
                <a:cubicBezTo>
                  <a:pt x="11156" y="11344"/>
                  <a:pt x="11187" y="11281"/>
                  <a:pt x="11187" y="11250"/>
                </a:cubicBezTo>
                <a:cubicBezTo>
                  <a:pt x="11187" y="11219"/>
                  <a:pt x="11187" y="11219"/>
                  <a:pt x="11187" y="11188"/>
                </a:cubicBezTo>
                <a:cubicBezTo>
                  <a:pt x="11219" y="11156"/>
                  <a:pt x="11219" y="11125"/>
                  <a:pt x="11219" y="11094"/>
                </a:cubicBezTo>
                <a:cubicBezTo>
                  <a:pt x="11219" y="11094"/>
                  <a:pt x="11219" y="11094"/>
                  <a:pt x="11219" y="11094"/>
                </a:cubicBezTo>
                <a:cubicBezTo>
                  <a:pt x="11219" y="11063"/>
                  <a:pt x="11219" y="11031"/>
                  <a:pt x="11250" y="11000"/>
                </a:cubicBezTo>
                <a:cubicBezTo>
                  <a:pt x="11250" y="10969"/>
                  <a:pt x="11250" y="10906"/>
                  <a:pt x="11250" y="10844"/>
                </a:cubicBezTo>
                <a:cubicBezTo>
                  <a:pt x="11250" y="10781"/>
                  <a:pt x="11250" y="10719"/>
                  <a:pt x="11250" y="10688"/>
                </a:cubicBezTo>
                <a:cubicBezTo>
                  <a:pt x="11250" y="10594"/>
                  <a:pt x="11281" y="10531"/>
                  <a:pt x="11281" y="10469"/>
                </a:cubicBezTo>
                <a:cubicBezTo>
                  <a:pt x="11281" y="10469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06"/>
                  <a:pt x="11250" y="10406"/>
                </a:cubicBezTo>
                <a:cubicBezTo>
                  <a:pt x="11250" y="10406"/>
                  <a:pt x="11250" y="10406"/>
                  <a:pt x="11250" y="10375"/>
                </a:cubicBezTo>
                <a:cubicBezTo>
                  <a:pt x="11250" y="10375"/>
                  <a:pt x="11219" y="10375"/>
                  <a:pt x="11219" y="10375"/>
                </a:cubicBezTo>
                <a:cubicBezTo>
                  <a:pt x="11219" y="10375"/>
                  <a:pt x="11219" y="10375"/>
                  <a:pt x="11187" y="10344"/>
                </a:cubicBezTo>
                <a:cubicBezTo>
                  <a:pt x="11187" y="10344"/>
                  <a:pt x="11187" y="10344"/>
                  <a:pt x="11187" y="10344"/>
                </a:cubicBezTo>
                <a:cubicBezTo>
                  <a:pt x="11156" y="10344"/>
                  <a:pt x="11156" y="10313"/>
                  <a:pt x="11156" y="10313"/>
                </a:cubicBezTo>
                <a:cubicBezTo>
                  <a:pt x="11094" y="10094"/>
                  <a:pt x="11094" y="9844"/>
                  <a:pt x="10937" y="9656"/>
                </a:cubicBezTo>
                <a:cubicBezTo>
                  <a:pt x="10937" y="9625"/>
                  <a:pt x="10906" y="9594"/>
                  <a:pt x="10844" y="9594"/>
                </a:cubicBezTo>
                <a:cubicBezTo>
                  <a:pt x="10594" y="9688"/>
                  <a:pt x="10312" y="9719"/>
                  <a:pt x="10062" y="9781"/>
                </a:cubicBezTo>
                <a:cubicBezTo>
                  <a:pt x="9812" y="9875"/>
                  <a:pt x="9562" y="10000"/>
                  <a:pt x="9312" y="10063"/>
                </a:cubicBezTo>
                <a:cubicBezTo>
                  <a:pt x="9156" y="10125"/>
                  <a:pt x="8969" y="10156"/>
                  <a:pt x="8812" y="10219"/>
                </a:cubicBezTo>
                <a:cubicBezTo>
                  <a:pt x="8375" y="10344"/>
                  <a:pt x="7906" y="10313"/>
                  <a:pt x="7469" y="10313"/>
                </a:cubicBezTo>
                <a:cubicBezTo>
                  <a:pt x="7250" y="10313"/>
                  <a:pt x="7062" y="10406"/>
                  <a:pt x="6906" y="10500"/>
                </a:cubicBezTo>
                <a:cubicBezTo>
                  <a:pt x="6781" y="10531"/>
                  <a:pt x="6594" y="10750"/>
                  <a:pt x="6531" y="10844"/>
                </a:cubicBezTo>
                <a:cubicBezTo>
                  <a:pt x="6469" y="10969"/>
                  <a:pt x="6375" y="11063"/>
                  <a:pt x="6250" y="11156"/>
                </a:cubicBezTo>
                <a:cubicBezTo>
                  <a:pt x="6031" y="11281"/>
                  <a:pt x="5875" y="11500"/>
                  <a:pt x="5687" y="11656"/>
                </a:cubicBezTo>
                <a:cubicBezTo>
                  <a:pt x="5594" y="11688"/>
                  <a:pt x="5594" y="11813"/>
                  <a:pt x="5562" y="11906"/>
                </a:cubicBezTo>
                <a:cubicBezTo>
                  <a:pt x="5500" y="12094"/>
                  <a:pt x="5437" y="12250"/>
                  <a:pt x="5437" y="12438"/>
                </a:cubicBezTo>
                <a:cubicBezTo>
                  <a:pt x="5437" y="12438"/>
                  <a:pt x="5437" y="12438"/>
                  <a:pt x="5437" y="12594"/>
                </a:cubicBezTo>
                <a:cubicBezTo>
                  <a:pt x="5437" y="12625"/>
                  <a:pt x="5437" y="12625"/>
                  <a:pt x="5469" y="12656"/>
                </a:cubicBezTo>
                <a:cubicBezTo>
                  <a:pt x="5469" y="12688"/>
                  <a:pt x="5469" y="12719"/>
                  <a:pt x="5469" y="12750"/>
                </a:cubicBezTo>
                <a:cubicBezTo>
                  <a:pt x="5469" y="12750"/>
                  <a:pt x="5469" y="12750"/>
                  <a:pt x="5562" y="14031"/>
                </a:cubicBezTo>
                <a:cubicBezTo>
                  <a:pt x="5594" y="14125"/>
                  <a:pt x="5625" y="14219"/>
                  <a:pt x="5625" y="14344"/>
                </a:cubicBezTo>
                <a:cubicBezTo>
                  <a:pt x="5656" y="14469"/>
                  <a:pt x="5687" y="14594"/>
                  <a:pt x="5719" y="14750"/>
                </a:cubicBezTo>
                <a:cubicBezTo>
                  <a:pt x="5719" y="14781"/>
                  <a:pt x="5750" y="14813"/>
                  <a:pt x="5750" y="14844"/>
                </a:cubicBezTo>
                <a:cubicBezTo>
                  <a:pt x="5750" y="14875"/>
                  <a:pt x="5750" y="14906"/>
                  <a:pt x="5750" y="14938"/>
                </a:cubicBezTo>
                <a:cubicBezTo>
                  <a:pt x="5750" y="15063"/>
                  <a:pt x="5781" y="15156"/>
                  <a:pt x="5781" y="15281"/>
                </a:cubicBezTo>
                <a:cubicBezTo>
                  <a:pt x="5812" y="15438"/>
                  <a:pt x="5875" y="15594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813"/>
                  <a:pt x="5969" y="15844"/>
                  <a:pt x="5937" y="15844"/>
                </a:cubicBezTo>
                <a:cubicBezTo>
                  <a:pt x="5937" y="15875"/>
                  <a:pt x="5937" y="15875"/>
                  <a:pt x="5937" y="15906"/>
                </a:cubicBezTo>
                <a:cubicBezTo>
                  <a:pt x="5937" y="15875"/>
                  <a:pt x="5937" y="15875"/>
                  <a:pt x="5969" y="15875"/>
                </a:cubicBezTo>
                <a:cubicBezTo>
                  <a:pt x="6000" y="15906"/>
                  <a:pt x="6000" y="15938"/>
                  <a:pt x="6000" y="15938"/>
                </a:cubicBezTo>
                <a:cubicBezTo>
                  <a:pt x="6031" y="15969"/>
                  <a:pt x="6031" y="15969"/>
                  <a:pt x="6031" y="16000"/>
                </a:cubicBezTo>
                <a:cubicBezTo>
                  <a:pt x="6125" y="16094"/>
                  <a:pt x="6187" y="16219"/>
                  <a:pt x="6281" y="16313"/>
                </a:cubicBezTo>
                <a:cubicBezTo>
                  <a:pt x="6281" y="16313"/>
                  <a:pt x="6281" y="16313"/>
                  <a:pt x="6281" y="16313"/>
                </a:cubicBezTo>
                <a:cubicBezTo>
                  <a:pt x="6281" y="16313"/>
                  <a:pt x="6281" y="16344"/>
                  <a:pt x="6312" y="16344"/>
                </a:cubicBezTo>
                <a:cubicBezTo>
                  <a:pt x="6437" y="16406"/>
                  <a:pt x="6531" y="16469"/>
                  <a:pt x="6594" y="16563"/>
                </a:cubicBezTo>
                <a:cubicBezTo>
                  <a:pt x="6625" y="16625"/>
                  <a:pt x="6656" y="16688"/>
                  <a:pt x="6687" y="16750"/>
                </a:cubicBezTo>
                <a:cubicBezTo>
                  <a:pt x="6719" y="16781"/>
                  <a:pt x="6750" y="16844"/>
                  <a:pt x="6750" y="16906"/>
                </a:cubicBezTo>
                <a:cubicBezTo>
                  <a:pt x="6781" y="17000"/>
                  <a:pt x="6781" y="17031"/>
                  <a:pt x="6781" y="17094"/>
                </a:cubicBezTo>
                <a:cubicBezTo>
                  <a:pt x="6781" y="17125"/>
                  <a:pt x="6750" y="17156"/>
                  <a:pt x="6625" y="17219"/>
                </a:cubicBezTo>
                <a:cubicBezTo>
                  <a:pt x="6406" y="17375"/>
                  <a:pt x="6156" y="17375"/>
                  <a:pt x="5906" y="17406"/>
                </a:cubicBezTo>
                <a:cubicBezTo>
                  <a:pt x="5594" y="17469"/>
                  <a:pt x="5281" y="17469"/>
                  <a:pt x="4969" y="17531"/>
                </a:cubicBezTo>
                <a:cubicBezTo>
                  <a:pt x="4969" y="17531"/>
                  <a:pt x="4937" y="17531"/>
                  <a:pt x="4906" y="17531"/>
                </a:cubicBezTo>
                <a:cubicBezTo>
                  <a:pt x="4906" y="17531"/>
                  <a:pt x="4875" y="17531"/>
                  <a:pt x="4844" y="17531"/>
                </a:cubicBezTo>
                <a:cubicBezTo>
                  <a:pt x="4844" y="17531"/>
                  <a:pt x="4812" y="17531"/>
                  <a:pt x="4781" y="17531"/>
                </a:cubicBezTo>
                <a:cubicBezTo>
                  <a:pt x="4687" y="17531"/>
                  <a:pt x="4594" y="17500"/>
                  <a:pt x="4469" y="17500"/>
                </a:cubicBezTo>
                <a:cubicBezTo>
                  <a:pt x="4469" y="17500"/>
                  <a:pt x="4469" y="17500"/>
                  <a:pt x="4437" y="17500"/>
                </a:cubicBezTo>
                <a:cubicBezTo>
                  <a:pt x="4406" y="17500"/>
                  <a:pt x="4375" y="17500"/>
                  <a:pt x="4344" y="17469"/>
                </a:cubicBezTo>
                <a:cubicBezTo>
                  <a:pt x="4312" y="17469"/>
                  <a:pt x="4281" y="17469"/>
                  <a:pt x="4250" y="17469"/>
                </a:cubicBezTo>
                <a:cubicBezTo>
                  <a:pt x="4219" y="17500"/>
                  <a:pt x="4219" y="17500"/>
                  <a:pt x="4187" y="17500"/>
                </a:cubicBezTo>
                <a:cubicBezTo>
                  <a:pt x="3937" y="17500"/>
                  <a:pt x="3719" y="17406"/>
                  <a:pt x="3594" y="17156"/>
                </a:cubicBezTo>
                <a:cubicBezTo>
                  <a:pt x="3594" y="17125"/>
                  <a:pt x="3562" y="17094"/>
                  <a:pt x="3562" y="17094"/>
                </a:cubicBezTo>
                <a:cubicBezTo>
                  <a:pt x="3531" y="17031"/>
                  <a:pt x="3500" y="17000"/>
                  <a:pt x="3500" y="16938"/>
                </a:cubicBezTo>
                <a:cubicBezTo>
                  <a:pt x="3500" y="16938"/>
                  <a:pt x="3500" y="16906"/>
                  <a:pt x="3500" y="16906"/>
                </a:cubicBezTo>
                <a:cubicBezTo>
                  <a:pt x="3469" y="16813"/>
                  <a:pt x="3469" y="16750"/>
                  <a:pt x="3469" y="16656"/>
                </a:cubicBezTo>
                <a:cubicBezTo>
                  <a:pt x="3469" y="16594"/>
                  <a:pt x="3469" y="16563"/>
                  <a:pt x="3469" y="16500"/>
                </a:cubicBezTo>
                <a:cubicBezTo>
                  <a:pt x="3469" y="16469"/>
                  <a:pt x="3469" y="16406"/>
                  <a:pt x="3469" y="16344"/>
                </a:cubicBezTo>
                <a:cubicBezTo>
                  <a:pt x="3500" y="16219"/>
                  <a:pt x="3437" y="16094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38"/>
                  <a:pt x="3406" y="15938"/>
                  <a:pt x="3406" y="15938"/>
                </a:cubicBezTo>
                <a:cubicBezTo>
                  <a:pt x="3375" y="15938"/>
                  <a:pt x="3375" y="15938"/>
                  <a:pt x="3375" y="15906"/>
                </a:cubicBezTo>
                <a:cubicBezTo>
                  <a:pt x="3375" y="15906"/>
                  <a:pt x="3344" y="15906"/>
                  <a:pt x="3344" y="15875"/>
                </a:cubicBezTo>
                <a:cubicBezTo>
                  <a:pt x="3344" y="15875"/>
                  <a:pt x="3344" y="15844"/>
                  <a:pt x="3344" y="15844"/>
                </a:cubicBezTo>
                <a:cubicBezTo>
                  <a:pt x="3344" y="15844"/>
                  <a:pt x="3344" y="15844"/>
                  <a:pt x="3344" y="15844"/>
                </a:cubicBezTo>
                <a:cubicBezTo>
                  <a:pt x="3281" y="15656"/>
                  <a:pt x="3250" y="15469"/>
                  <a:pt x="3281" y="15281"/>
                </a:cubicBezTo>
                <a:cubicBezTo>
                  <a:pt x="3312" y="15250"/>
                  <a:pt x="3312" y="15188"/>
                  <a:pt x="3312" y="15156"/>
                </a:cubicBezTo>
                <a:cubicBezTo>
                  <a:pt x="3250" y="14625"/>
                  <a:pt x="3219" y="14094"/>
                  <a:pt x="3125" y="13594"/>
                </a:cubicBezTo>
                <a:cubicBezTo>
                  <a:pt x="3125" y="13563"/>
                  <a:pt x="3125" y="13563"/>
                  <a:pt x="3125" y="13531"/>
                </a:cubicBezTo>
                <a:cubicBezTo>
                  <a:pt x="3125" y="13406"/>
                  <a:pt x="3187" y="13313"/>
                  <a:pt x="3156" y="13188"/>
                </a:cubicBezTo>
                <a:cubicBezTo>
                  <a:pt x="3125" y="13156"/>
                  <a:pt x="3125" y="13125"/>
                  <a:pt x="3125" y="13094"/>
                </a:cubicBezTo>
                <a:cubicBezTo>
                  <a:pt x="3094" y="13094"/>
                  <a:pt x="3094" y="13063"/>
                  <a:pt x="3125" y="13031"/>
                </a:cubicBezTo>
                <a:cubicBezTo>
                  <a:pt x="3094" y="13031"/>
                  <a:pt x="3062" y="13031"/>
                  <a:pt x="3062" y="13031"/>
                </a:cubicBezTo>
                <a:cubicBezTo>
                  <a:pt x="3062" y="13031"/>
                  <a:pt x="3062" y="13031"/>
                  <a:pt x="3031" y="13031"/>
                </a:cubicBezTo>
                <a:cubicBezTo>
                  <a:pt x="3031" y="13031"/>
                  <a:pt x="3031" y="13063"/>
                  <a:pt x="3031" y="13063"/>
                </a:cubicBezTo>
                <a:cubicBezTo>
                  <a:pt x="3031" y="13063"/>
                  <a:pt x="3031" y="13063"/>
                  <a:pt x="3031" y="13063"/>
                </a:cubicBezTo>
                <a:cubicBezTo>
                  <a:pt x="2969" y="13188"/>
                  <a:pt x="3000" y="13344"/>
                  <a:pt x="2937" y="13500"/>
                </a:cubicBezTo>
                <a:cubicBezTo>
                  <a:pt x="2812" y="14000"/>
                  <a:pt x="2781" y="14531"/>
                  <a:pt x="2625" y="15031"/>
                </a:cubicBezTo>
                <a:cubicBezTo>
                  <a:pt x="2594" y="15094"/>
                  <a:pt x="2562" y="15125"/>
                  <a:pt x="2531" y="15188"/>
                </a:cubicBezTo>
                <a:cubicBezTo>
                  <a:pt x="2406" y="15344"/>
                  <a:pt x="2406" y="15438"/>
                  <a:pt x="2531" y="15594"/>
                </a:cubicBezTo>
                <a:cubicBezTo>
                  <a:pt x="2531" y="15594"/>
                  <a:pt x="2562" y="15625"/>
                  <a:pt x="2562" y="15625"/>
                </a:cubicBezTo>
                <a:cubicBezTo>
                  <a:pt x="2656" y="15719"/>
                  <a:pt x="2719" y="15844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50" y="16000"/>
                  <a:pt x="2781" y="16063"/>
                  <a:pt x="2781" y="16094"/>
                </a:cubicBezTo>
                <a:cubicBezTo>
                  <a:pt x="2781" y="16094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44" y="16156"/>
                  <a:pt x="2844" y="16156"/>
                  <a:pt x="2875" y="16188"/>
                </a:cubicBezTo>
                <a:cubicBezTo>
                  <a:pt x="2906" y="16250"/>
                  <a:pt x="2969" y="16313"/>
                  <a:pt x="3000" y="16375"/>
                </a:cubicBezTo>
                <a:cubicBezTo>
                  <a:pt x="3031" y="16406"/>
                  <a:pt x="3062" y="16438"/>
                  <a:pt x="3094" y="16469"/>
                </a:cubicBezTo>
                <a:cubicBezTo>
                  <a:pt x="3125" y="16500"/>
                  <a:pt x="3125" y="16531"/>
                  <a:pt x="3125" y="16531"/>
                </a:cubicBezTo>
                <a:cubicBezTo>
                  <a:pt x="3187" y="16656"/>
                  <a:pt x="3250" y="16813"/>
                  <a:pt x="3281" y="16969"/>
                </a:cubicBezTo>
                <a:cubicBezTo>
                  <a:pt x="3281" y="17094"/>
                  <a:pt x="3156" y="17094"/>
                  <a:pt x="3094" y="17094"/>
                </a:cubicBezTo>
                <a:cubicBezTo>
                  <a:pt x="2531" y="17188"/>
                  <a:pt x="1937" y="17281"/>
                  <a:pt x="1344" y="17250"/>
                </a:cubicBezTo>
                <a:cubicBezTo>
                  <a:pt x="1281" y="17250"/>
                  <a:pt x="1187" y="17281"/>
                  <a:pt x="1125" y="17281"/>
                </a:cubicBezTo>
                <a:cubicBezTo>
                  <a:pt x="1094" y="17281"/>
                  <a:pt x="1094" y="17281"/>
                  <a:pt x="1062" y="17281"/>
                </a:cubicBezTo>
                <a:cubicBezTo>
                  <a:pt x="1031" y="17281"/>
                  <a:pt x="1000" y="17281"/>
                  <a:pt x="1000" y="17281"/>
                </a:cubicBezTo>
                <a:cubicBezTo>
                  <a:pt x="1000" y="17281"/>
                  <a:pt x="1000" y="17281"/>
                  <a:pt x="1000" y="17281"/>
                </a:cubicBezTo>
                <a:cubicBezTo>
                  <a:pt x="969" y="17250"/>
                  <a:pt x="969" y="17250"/>
                  <a:pt x="969" y="17250"/>
                </a:cubicBezTo>
                <a:cubicBezTo>
                  <a:pt x="969" y="17250"/>
                  <a:pt x="937" y="17219"/>
                  <a:pt x="937" y="17219"/>
                </a:cubicBezTo>
                <a:cubicBezTo>
                  <a:pt x="875" y="17188"/>
                  <a:pt x="781" y="17188"/>
                  <a:pt x="719" y="17156"/>
                </a:cubicBezTo>
                <a:cubicBezTo>
                  <a:pt x="750" y="17188"/>
                  <a:pt x="750" y="17188"/>
                  <a:pt x="750" y="17219"/>
                </a:cubicBezTo>
                <a:cubicBezTo>
                  <a:pt x="625" y="17188"/>
                  <a:pt x="531" y="17094"/>
                  <a:pt x="375" y="17094"/>
                </a:cubicBezTo>
                <a:cubicBezTo>
                  <a:pt x="406" y="17063"/>
                  <a:pt x="437" y="17063"/>
                  <a:pt x="437" y="17031"/>
                </a:cubicBezTo>
                <a:cubicBezTo>
                  <a:pt x="375" y="17000"/>
                  <a:pt x="344" y="16969"/>
                  <a:pt x="312" y="16938"/>
                </a:cubicBezTo>
                <a:cubicBezTo>
                  <a:pt x="250" y="16969"/>
                  <a:pt x="219" y="16906"/>
                  <a:pt x="219" y="16875"/>
                </a:cubicBezTo>
                <a:cubicBezTo>
                  <a:pt x="187" y="16813"/>
                  <a:pt x="187" y="16781"/>
                  <a:pt x="187" y="16750"/>
                </a:cubicBezTo>
                <a:cubicBezTo>
                  <a:pt x="94" y="16531"/>
                  <a:pt x="156" y="16344"/>
                  <a:pt x="156" y="16344"/>
                </a:cubicBezTo>
                <a:cubicBezTo>
                  <a:pt x="156" y="16219"/>
                  <a:pt x="187" y="16125"/>
                  <a:pt x="187" y="16031"/>
                </a:cubicBezTo>
                <a:cubicBezTo>
                  <a:pt x="219" y="15781"/>
                  <a:pt x="94" y="15594"/>
                  <a:pt x="62" y="15375"/>
                </a:cubicBezTo>
                <a:cubicBezTo>
                  <a:pt x="31" y="15219"/>
                  <a:pt x="0" y="15094"/>
                  <a:pt x="125" y="14938"/>
                </a:cubicBezTo>
                <a:cubicBezTo>
                  <a:pt x="125" y="15031"/>
                  <a:pt x="94" y="15063"/>
                  <a:pt x="94" y="15125"/>
                </a:cubicBezTo>
                <a:cubicBezTo>
                  <a:pt x="94" y="15250"/>
                  <a:pt x="219" y="15344"/>
                  <a:pt x="344" y="15313"/>
                </a:cubicBezTo>
                <a:cubicBezTo>
                  <a:pt x="406" y="15281"/>
                  <a:pt x="469" y="15281"/>
                  <a:pt x="562" y="15313"/>
                </a:cubicBezTo>
                <a:cubicBezTo>
                  <a:pt x="625" y="15313"/>
                  <a:pt x="687" y="15313"/>
                  <a:pt x="781" y="15313"/>
                </a:cubicBezTo>
                <a:cubicBezTo>
                  <a:pt x="812" y="15313"/>
                  <a:pt x="812" y="15281"/>
                  <a:pt x="812" y="15219"/>
                </a:cubicBezTo>
                <a:cubicBezTo>
                  <a:pt x="844" y="15156"/>
                  <a:pt x="906" y="15156"/>
                  <a:pt x="937" y="15156"/>
                </a:cubicBezTo>
                <a:cubicBezTo>
                  <a:pt x="1125" y="15156"/>
                  <a:pt x="1219" y="14969"/>
                  <a:pt x="1375" y="14906"/>
                </a:cubicBezTo>
                <a:cubicBezTo>
                  <a:pt x="1437" y="14875"/>
                  <a:pt x="1406" y="14750"/>
                  <a:pt x="1406" y="14688"/>
                </a:cubicBezTo>
                <a:cubicBezTo>
                  <a:pt x="1375" y="14594"/>
                  <a:pt x="1281" y="14750"/>
                  <a:pt x="1250" y="14688"/>
                </a:cubicBezTo>
                <a:cubicBezTo>
                  <a:pt x="1250" y="14625"/>
                  <a:pt x="1344" y="14625"/>
                  <a:pt x="1312" y="14563"/>
                </a:cubicBezTo>
                <a:cubicBezTo>
                  <a:pt x="1281" y="14500"/>
                  <a:pt x="1219" y="14438"/>
                  <a:pt x="1219" y="14344"/>
                </a:cubicBezTo>
                <a:cubicBezTo>
                  <a:pt x="1219" y="14313"/>
                  <a:pt x="1125" y="14313"/>
                  <a:pt x="1094" y="14344"/>
                </a:cubicBezTo>
                <a:cubicBezTo>
                  <a:pt x="1062" y="14375"/>
                  <a:pt x="969" y="14344"/>
                  <a:pt x="969" y="14438"/>
                </a:cubicBezTo>
                <a:cubicBezTo>
                  <a:pt x="1000" y="14563"/>
                  <a:pt x="969" y="14594"/>
                  <a:pt x="875" y="14531"/>
                </a:cubicBezTo>
                <a:cubicBezTo>
                  <a:pt x="844" y="14531"/>
                  <a:pt x="812" y="14500"/>
                  <a:pt x="781" y="14500"/>
                </a:cubicBezTo>
                <a:cubicBezTo>
                  <a:pt x="750" y="14500"/>
                  <a:pt x="719" y="14531"/>
                  <a:pt x="719" y="14563"/>
                </a:cubicBezTo>
                <a:cubicBezTo>
                  <a:pt x="719" y="14563"/>
                  <a:pt x="719" y="14594"/>
                  <a:pt x="750" y="14625"/>
                </a:cubicBezTo>
                <a:cubicBezTo>
                  <a:pt x="875" y="14563"/>
                  <a:pt x="812" y="14719"/>
                  <a:pt x="875" y="14750"/>
                </a:cubicBezTo>
                <a:cubicBezTo>
                  <a:pt x="969" y="14781"/>
                  <a:pt x="1062" y="14719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937" y="14844"/>
                  <a:pt x="750" y="14906"/>
                  <a:pt x="531" y="14906"/>
                </a:cubicBezTo>
                <a:cubicBezTo>
                  <a:pt x="437" y="14906"/>
                  <a:pt x="312" y="14906"/>
                  <a:pt x="219" y="14875"/>
                </a:cubicBezTo>
                <a:cubicBezTo>
                  <a:pt x="219" y="14844"/>
                  <a:pt x="219" y="14844"/>
                  <a:pt x="219" y="14813"/>
                </a:cubicBezTo>
                <a:cubicBezTo>
                  <a:pt x="281" y="14813"/>
                  <a:pt x="344" y="14813"/>
                  <a:pt x="406" y="14844"/>
                </a:cubicBezTo>
                <a:cubicBezTo>
                  <a:pt x="531" y="14875"/>
                  <a:pt x="625" y="14719"/>
                  <a:pt x="719" y="14813"/>
                </a:cubicBezTo>
                <a:cubicBezTo>
                  <a:pt x="719" y="14781"/>
                  <a:pt x="750" y="14781"/>
                  <a:pt x="750" y="14750"/>
                </a:cubicBezTo>
                <a:cubicBezTo>
                  <a:pt x="750" y="14719"/>
                  <a:pt x="719" y="14688"/>
                  <a:pt x="687" y="14688"/>
                </a:cubicBezTo>
                <a:cubicBezTo>
                  <a:pt x="625" y="14719"/>
                  <a:pt x="594" y="14688"/>
                  <a:pt x="594" y="14625"/>
                </a:cubicBezTo>
                <a:cubicBezTo>
                  <a:pt x="594" y="14594"/>
                  <a:pt x="562" y="14563"/>
                  <a:pt x="531" y="14563"/>
                </a:cubicBezTo>
                <a:cubicBezTo>
                  <a:pt x="437" y="14531"/>
                  <a:pt x="375" y="14500"/>
                  <a:pt x="375" y="14438"/>
                </a:cubicBezTo>
                <a:cubicBezTo>
                  <a:pt x="375" y="14438"/>
                  <a:pt x="375" y="14438"/>
                  <a:pt x="344" y="14438"/>
                </a:cubicBezTo>
                <a:cubicBezTo>
                  <a:pt x="344" y="14375"/>
                  <a:pt x="344" y="14344"/>
                  <a:pt x="344" y="14281"/>
                </a:cubicBezTo>
                <a:cubicBezTo>
                  <a:pt x="344" y="14281"/>
                  <a:pt x="344" y="14250"/>
                  <a:pt x="344" y="14250"/>
                </a:cubicBezTo>
                <a:cubicBezTo>
                  <a:pt x="344" y="14250"/>
                  <a:pt x="312" y="14219"/>
                  <a:pt x="312" y="14188"/>
                </a:cubicBezTo>
                <a:cubicBezTo>
                  <a:pt x="281" y="14125"/>
                  <a:pt x="250" y="14063"/>
                  <a:pt x="250" y="14000"/>
                </a:cubicBezTo>
                <a:cubicBezTo>
                  <a:pt x="250" y="14000"/>
                  <a:pt x="250" y="13969"/>
                  <a:pt x="250" y="13938"/>
                </a:cubicBezTo>
                <a:cubicBezTo>
                  <a:pt x="250" y="13906"/>
                  <a:pt x="250" y="13875"/>
                  <a:pt x="250" y="13844"/>
                </a:cubicBezTo>
                <a:cubicBezTo>
                  <a:pt x="250" y="13781"/>
                  <a:pt x="250" y="13719"/>
                  <a:pt x="250" y="13625"/>
                </a:cubicBezTo>
                <a:cubicBezTo>
                  <a:pt x="281" y="13594"/>
                  <a:pt x="281" y="13563"/>
                  <a:pt x="281" y="13531"/>
                </a:cubicBezTo>
                <a:cubicBezTo>
                  <a:pt x="344" y="13469"/>
                  <a:pt x="406" y="13375"/>
                  <a:pt x="469" y="13313"/>
                </a:cubicBezTo>
                <a:cubicBezTo>
                  <a:pt x="500" y="13250"/>
                  <a:pt x="500" y="13219"/>
                  <a:pt x="500" y="13156"/>
                </a:cubicBezTo>
                <a:cubicBezTo>
                  <a:pt x="500" y="13156"/>
                  <a:pt x="500" y="13125"/>
                  <a:pt x="500" y="13094"/>
                </a:cubicBezTo>
                <a:cubicBezTo>
                  <a:pt x="500" y="12781"/>
                  <a:pt x="406" y="12438"/>
                  <a:pt x="437" y="12125"/>
                </a:cubicBezTo>
                <a:cubicBezTo>
                  <a:pt x="437" y="12094"/>
                  <a:pt x="437" y="12063"/>
                  <a:pt x="437" y="12031"/>
                </a:cubicBezTo>
                <a:cubicBezTo>
                  <a:pt x="437" y="12031"/>
                  <a:pt x="437" y="12031"/>
                  <a:pt x="437" y="12031"/>
                </a:cubicBezTo>
                <a:cubicBezTo>
                  <a:pt x="437" y="11969"/>
                  <a:pt x="437" y="11875"/>
                  <a:pt x="437" y="11813"/>
                </a:cubicBezTo>
                <a:cubicBezTo>
                  <a:pt x="437" y="11781"/>
                  <a:pt x="437" y="11781"/>
                  <a:pt x="406" y="11750"/>
                </a:cubicBezTo>
                <a:cubicBezTo>
                  <a:pt x="406" y="11688"/>
                  <a:pt x="437" y="11625"/>
                  <a:pt x="437" y="11594"/>
                </a:cubicBezTo>
                <a:cubicBezTo>
                  <a:pt x="437" y="11500"/>
                  <a:pt x="437" y="11438"/>
                  <a:pt x="437" y="11344"/>
                </a:cubicBezTo>
                <a:cubicBezTo>
                  <a:pt x="437" y="11094"/>
                  <a:pt x="406" y="10875"/>
                  <a:pt x="406" y="10625"/>
                </a:cubicBezTo>
                <a:cubicBezTo>
                  <a:pt x="375" y="10313"/>
                  <a:pt x="375" y="10000"/>
                  <a:pt x="344" y="9688"/>
                </a:cubicBezTo>
                <a:cubicBezTo>
                  <a:pt x="344" y="9594"/>
                  <a:pt x="344" y="9531"/>
                  <a:pt x="344" y="9438"/>
                </a:cubicBezTo>
                <a:cubicBezTo>
                  <a:pt x="344" y="9344"/>
                  <a:pt x="344" y="9250"/>
                  <a:pt x="344" y="9125"/>
                </a:cubicBezTo>
                <a:cubicBezTo>
                  <a:pt x="312" y="9063"/>
                  <a:pt x="312" y="8969"/>
                  <a:pt x="312" y="8875"/>
                </a:cubicBezTo>
                <a:cubicBezTo>
                  <a:pt x="312" y="8875"/>
                  <a:pt x="312" y="8844"/>
                  <a:pt x="312" y="8844"/>
                </a:cubicBezTo>
                <a:cubicBezTo>
                  <a:pt x="312" y="8781"/>
                  <a:pt x="312" y="8750"/>
                  <a:pt x="312" y="8719"/>
                </a:cubicBezTo>
                <a:cubicBezTo>
                  <a:pt x="312" y="8688"/>
                  <a:pt x="312" y="8688"/>
                  <a:pt x="312" y="8656"/>
                </a:cubicBezTo>
                <a:cubicBezTo>
                  <a:pt x="312" y="8656"/>
                  <a:pt x="312" y="8656"/>
                  <a:pt x="312" y="8656"/>
                </a:cubicBezTo>
                <a:cubicBezTo>
                  <a:pt x="312" y="8625"/>
                  <a:pt x="312" y="8594"/>
                  <a:pt x="312" y="8563"/>
                </a:cubicBezTo>
                <a:cubicBezTo>
                  <a:pt x="312" y="8531"/>
                  <a:pt x="312" y="8500"/>
                  <a:pt x="312" y="8500"/>
                </a:cubicBezTo>
                <a:cubicBezTo>
                  <a:pt x="312" y="8500"/>
                  <a:pt x="312" y="8469"/>
                  <a:pt x="312" y="8469"/>
                </a:cubicBezTo>
                <a:cubicBezTo>
                  <a:pt x="312" y="8438"/>
                  <a:pt x="281" y="8406"/>
                  <a:pt x="312" y="8375"/>
                </a:cubicBezTo>
                <a:cubicBezTo>
                  <a:pt x="312" y="8313"/>
                  <a:pt x="312" y="8250"/>
                  <a:pt x="312" y="8219"/>
                </a:cubicBezTo>
                <a:cubicBezTo>
                  <a:pt x="312" y="8188"/>
                  <a:pt x="312" y="8188"/>
                  <a:pt x="312" y="8156"/>
                </a:cubicBezTo>
                <a:cubicBezTo>
                  <a:pt x="281" y="8094"/>
                  <a:pt x="281" y="8000"/>
                  <a:pt x="281" y="7938"/>
                </a:cubicBezTo>
                <a:cubicBezTo>
                  <a:pt x="281" y="7906"/>
                  <a:pt x="281" y="7906"/>
                  <a:pt x="281" y="7875"/>
                </a:cubicBezTo>
                <a:cubicBezTo>
                  <a:pt x="281" y="7844"/>
                  <a:pt x="281" y="7781"/>
                  <a:pt x="281" y="7719"/>
                </a:cubicBezTo>
                <a:cubicBezTo>
                  <a:pt x="281" y="7281"/>
                  <a:pt x="281" y="6813"/>
                  <a:pt x="312" y="6375"/>
                </a:cubicBezTo>
                <a:cubicBezTo>
                  <a:pt x="344" y="6156"/>
                  <a:pt x="375" y="5938"/>
                  <a:pt x="406" y="5719"/>
                </a:cubicBezTo>
                <a:cubicBezTo>
                  <a:pt x="437" y="5531"/>
                  <a:pt x="437" y="5313"/>
                  <a:pt x="500" y="5125"/>
                </a:cubicBezTo>
                <a:cubicBezTo>
                  <a:pt x="594" y="4875"/>
                  <a:pt x="687" y="4625"/>
                  <a:pt x="781" y="4375"/>
                </a:cubicBezTo>
                <a:cubicBezTo>
                  <a:pt x="906" y="4063"/>
                  <a:pt x="1094" y="3813"/>
                  <a:pt x="1250" y="3531"/>
                </a:cubicBezTo>
                <a:cubicBezTo>
                  <a:pt x="1469" y="3156"/>
                  <a:pt x="1719" y="2844"/>
                  <a:pt x="2000" y="2563"/>
                </a:cubicBezTo>
                <a:cubicBezTo>
                  <a:pt x="2187" y="2344"/>
                  <a:pt x="2375" y="2156"/>
                  <a:pt x="2594" y="1938"/>
                </a:cubicBezTo>
                <a:cubicBezTo>
                  <a:pt x="2812" y="1750"/>
                  <a:pt x="3062" y="1563"/>
                  <a:pt x="3312" y="1375"/>
                </a:cubicBezTo>
                <a:cubicBezTo>
                  <a:pt x="3344" y="1344"/>
                  <a:pt x="3344" y="1375"/>
                  <a:pt x="3375" y="1406"/>
                </a:cubicBezTo>
                <a:cubicBezTo>
                  <a:pt x="3406" y="1469"/>
                  <a:pt x="3469" y="1500"/>
                  <a:pt x="3531" y="1563"/>
                </a:cubicBezTo>
                <a:cubicBezTo>
                  <a:pt x="3594" y="1594"/>
                  <a:pt x="3531" y="1625"/>
                  <a:pt x="3531" y="1688"/>
                </a:cubicBezTo>
                <a:cubicBezTo>
                  <a:pt x="3500" y="1750"/>
                  <a:pt x="3469" y="1688"/>
                  <a:pt x="3437" y="1688"/>
                </a:cubicBezTo>
                <a:cubicBezTo>
                  <a:pt x="3375" y="1656"/>
                  <a:pt x="3344" y="1656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12" y="1750"/>
                  <a:pt x="3312" y="1781"/>
                  <a:pt x="3312" y="1781"/>
                </a:cubicBezTo>
                <a:cubicBezTo>
                  <a:pt x="3281" y="1781"/>
                  <a:pt x="3281" y="1781"/>
                  <a:pt x="3281" y="1813"/>
                </a:cubicBezTo>
                <a:cubicBezTo>
                  <a:pt x="3250" y="1844"/>
                  <a:pt x="3250" y="1875"/>
                  <a:pt x="3156" y="1844"/>
                </a:cubicBezTo>
                <a:cubicBezTo>
                  <a:pt x="3125" y="1844"/>
                  <a:pt x="3031" y="1938"/>
                  <a:pt x="2969" y="2000"/>
                </a:cubicBezTo>
                <a:cubicBezTo>
                  <a:pt x="2906" y="2063"/>
                  <a:pt x="2844" y="2125"/>
                  <a:pt x="2844" y="2250"/>
                </a:cubicBezTo>
                <a:cubicBezTo>
                  <a:pt x="2844" y="2313"/>
                  <a:pt x="2781" y="2438"/>
                  <a:pt x="2719" y="2469"/>
                </a:cubicBezTo>
                <a:cubicBezTo>
                  <a:pt x="2625" y="2531"/>
                  <a:pt x="2594" y="2625"/>
                  <a:pt x="2500" y="2656"/>
                </a:cubicBezTo>
                <a:cubicBezTo>
                  <a:pt x="2437" y="2688"/>
                  <a:pt x="2437" y="2719"/>
                  <a:pt x="2469" y="2750"/>
                </a:cubicBezTo>
                <a:cubicBezTo>
                  <a:pt x="2531" y="2781"/>
                  <a:pt x="2500" y="2844"/>
                  <a:pt x="2500" y="2875"/>
                </a:cubicBezTo>
                <a:cubicBezTo>
                  <a:pt x="2469" y="3000"/>
                  <a:pt x="2437" y="3000"/>
                  <a:pt x="2344" y="2938"/>
                </a:cubicBezTo>
                <a:cubicBezTo>
                  <a:pt x="2312" y="2938"/>
                  <a:pt x="2312" y="2906"/>
                  <a:pt x="2250" y="2938"/>
                </a:cubicBezTo>
                <a:cubicBezTo>
                  <a:pt x="2219" y="2969"/>
                  <a:pt x="2250" y="3000"/>
                  <a:pt x="2250" y="3031"/>
                </a:cubicBezTo>
                <a:cubicBezTo>
                  <a:pt x="2281" y="3125"/>
                  <a:pt x="2281" y="3125"/>
                  <a:pt x="2187" y="3125"/>
                </a:cubicBezTo>
                <a:cubicBezTo>
                  <a:pt x="2125" y="3125"/>
                  <a:pt x="2094" y="3156"/>
                  <a:pt x="2062" y="3188"/>
                </a:cubicBezTo>
                <a:cubicBezTo>
                  <a:pt x="2031" y="3188"/>
                  <a:pt x="2031" y="3219"/>
                  <a:pt x="2031" y="3250"/>
                </a:cubicBezTo>
                <a:cubicBezTo>
                  <a:pt x="2062" y="3281"/>
                  <a:pt x="2094" y="3281"/>
                  <a:pt x="2125" y="3281"/>
                </a:cubicBezTo>
                <a:cubicBezTo>
                  <a:pt x="2219" y="3250"/>
                  <a:pt x="2312" y="3281"/>
                  <a:pt x="2375" y="3375"/>
                </a:cubicBezTo>
                <a:cubicBezTo>
                  <a:pt x="2469" y="3406"/>
                  <a:pt x="2469" y="3438"/>
                  <a:pt x="2437" y="3500"/>
                </a:cubicBezTo>
                <a:lnTo>
                  <a:pt x="2437" y="3500"/>
                </a:lnTo>
                <a:cubicBezTo>
                  <a:pt x="2406" y="3500"/>
                  <a:pt x="2406" y="3469"/>
                  <a:pt x="2375" y="3438"/>
                </a:cubicBezTo>
                <a:cubicBezTo>
                  <a:pt x="2375" y="3438"/>
                  <a:pt x="2375" y="3406"/>
                  <a:pt x="2375" y="3375"/>
                </a:cubicBezTo>
                <a:cubicBezTo>
                  <a:pt x="2375" y="3375"/>
                  <a:pt x="2344" y="3375"/>
                  <a:pt x="2344" y="3375"/>
                </a:cubicBezTo>
                <a:cubicBezTo>
                  <a:pt x="2281" y="3375"/>
                  <a:pt x="2187" y="3406"/>
                  <a:pt x="2125" y="3375"/>
                </a:cubicBezTo>
                <a:cubicBezTo>
                  <a:pt x="2094" y="3375"/>
                  <a:pt x="2094" y="3375"/>
                  <a:pt x="2094" y="3375"/>
                </a:cubicBezTo>
                <a:cubicBezTo>
                  <a:pt x="2000" y="3344"/>
                  <a:pt x="2125" y="3469"/>
                  <a:pt x="2031" y="3438"/>
                </a:cubicBezTo>
                <a:cubicBezTo>
                  <a:pt x="1969" y="3438"/>
                  <a:pt x="1969" y="3375"/>
                  <a:pt x="1937" y="3375"/>
                </a:cubicBezTo>
                <a:cubicBezTo>
                  <a:pt x="1906" y="3375"/>
                  <a:pt x="1906" y="3406"/>
                  <a:pt x="1906" y="3406"/>
                </a:cubicBezTo>
                <a:cubicBezTo>
                  <a:pt x="1875" y="3438"/>
                  <a:pt x="1906" y="3438"/>
                  <a:pt x="1906" y="3469"/>
                </a:cubicBezTo>
                <a:cubicBezTo>
                  <a:pt x="1969" y="3500"/>
                  <a:pt x="2031" y="3531"/>
                  <a:pt x="2062" y="3594"/>
                </a:cubicBezTo>
                <a:cubicBezTo>
                  <a:pt x="1937" y="3625"/>
                  <a:pt x="1844" y="3688"/>
                  <a:pt x="1781" y="3813"/>
                </a:cubicBezTo>
                <a:cubicBezTo>
                  <a:pt x="1781" y="3844"/>
                  <a:pt x="1750" y="3844"/>
                  <a:pt x="1719" y="3844"/>
                </a:cubicBezTo>
                <a:cubicBezTo>
                  <a:pt x="1594" y="3906"/>
                  <a:pt x="1562" y="4000"/>
                  <a:pt x="1500" y="4125"/>
                </a:cubicBezTo>
                <a:cubicBezTo>
                  <a:pt x="1469" y="4188"/>
                  <a:pt x="1531" y="4219"/>
                  <a:pt x="1562" y="4188"/>
                </a:cubicBezTo>
                <a:cubicBezTo>
                  <a:pt x="1625" y="4156"/>
                  <a:pt x="1656" y="4188"/>
                  <a:pt x="1719" y="4250"/>
                </a:cubicBezTo>
                <a:cubicBezTo>
                  <a:pt x="1687" y="4063"/>
                  <a:pt x="1812" y="4156"/>
                  <a:pt x="1906" y="4094"/>
                </a:cubicBezTo>
                <a:cubicBezTo>
                  <a:pt x="1844" y="4094"/>
                  <a:pt x="1812" y="4094"/>
                  <a:pt x="1750" y="4063"/>
                </a:cubicBezTo>
                <a:cubicBezTo>
                  <a:pt x="1906" y="3969"/>
                  <a:pt x="2062" y="4063"/>
                  <a:pt x="2219" y="4031"/>
                </a:cubicBezTo>
                <a:cubicBezTo>
                  <a:pt x="2219" y="4031"/>
                  <a:pt x="2219" y="4063"/>
                  <a:pt x="2219" y="4063"/>
                </a:cubicBezTo>
                <a:cubicBezTo>
                  <a:pt x="2219" y="4094"/>
                  <a:pt x="2187" y="4125"/>
                  <a:pt x="2156" y="4125"/>
                </a:cubicBezTo>
                <a:cubicBezTo>
                  <a:pt x="2062" y="4094"/>
                  <a:pt x="1969" y="4094"/>
                  <a:pt x="1875" y="4188"/>
                </a:cubicBezTo>
                <a:cubicBezTo>
                  <a:pt x="1781" y="4313"/>
                  <a:pt x="1594" y="4281"/>
                  <a:pt x="1469" y="4344"/>
                </a:cubicBezTo>
                <a:cubicBezTo>
                  <a:pt x="1312" y="4438"/>
                  <a:pt x="1281" y="4625"/>
                  <a:pt x="1219" y="4781"/>
                </a:cubicBezTo>
                <a:cubicBezTo>
                  <a:pt x="1250" y="4813"/>
                  <a:pt x="1281" y="4781"/>
                  <a:pt x="1312" y="4781"/>
                </a:cubicBezTo>
                <a:cubicBezTo>
                  <a:pt x="1375" y="4750"/>
                  <a:pt x="1437" y="4719"/>
                  <a:pt x="1437" y="4750"/>
                </a:cubicBezTo>
                <a:cubicBezTo>
                  <a:pt x="1500" y="4844"/>
                  <a:pt x="1562" y="4781"/>
                  <a:pt x="1594" y="4750"/>
                </a:cubicBezTo>
                <a:cubicBezTo>
                  <a:pt x="1656" y="4688"/>
                  <a:pt x="1781" y="4719"/>
                  <a:pt x="1844" y="4719"/>
                </a:cubicBezTo>
                <a:cubicBezTo>
                  <a:pt x="1937" y="4688"/>
                  <a:pt x="1812" y="4750"/>
                  <a:pt x="1844" y="4813"/>
                </a:cubicBezTo>
                <a:cubicBezTo>
                  <a:pt x="2031" y="4750"/>
                  <a:pt x="2156" y="4594"/>
                  <a:pt x="2344" y="4500"/>
                </a:cubicBezTo>
                <a:cubicBezTo>
                  <a:pt x="2250" y="4500"/>
                  <a:pt x="2156" y="4531"/>
                  <a:pt x="2062" y="4500"/>
                </a:cubicBezTo>
                <a:cubicBezTo>
                  <a:pt x="2000" y="4469"/>
                  <a:pt x="2000" y="4500"/>
                  <a:pt x="2031" y="4625"/>
                </a:cubicBezTo>
                <a:cubicBezTo>
                  <a:pt x="1937" y="4531"/>
                  <a:pt x="1781" y="4594"/>
                  <a:pt x="1687" y="4500"/>
                </a:cubicBezTo>
                <a:cubicBezTo>
                  <a:pt x="1625" y="4469"/>
                  <a:pt x="1531" y="4531"/>
                  <a:pt x="1469" y="4594"/>
                </a:cubicBezTo>
                <a:cubicBezTo>
                  <a:pt x="1469" y="4625"/>
                  <a:pt x="1437" y="4688"/>
                  <a:pt x="1406" y="4656"/>
                </a:cubicBezTo>
                <a:cubicBezTo>
                  <a:pt x="1344" y="4625"/>
                  <a:pt x="1406" y="4594"/>
                  <a:pt x="1437" y="4563"/>
                </a:cubicBezTo>
                <a:cubicBezTo>
                  <a:pt x="1469" y="4500"/>
                  <a:pt x="1531" y="4438"/>
                  <a:pt x="1562" y="4406"/>
                </a:cubicBezTo>
                <a:cubicBezTo>
                  <a:pt x="1625" y="4344"/>
                  <a:pt x="1656" y="4375"/>
                  <a:pt x="1687" y="4406"/>
                </a:cubicBezTo>
                <a:cubicBezTo>
                  <a:pt x="1812" y="4500"/>
                  <a:pt x="1969" y="4469"/>
                  <a:pt x="2062" y="4344"/>
                </a:cubicBezTo>
                <a:cubicBezTo>
                  <a:pt x="2062" y="4313"/>
                  <a:pt x="2062" y="4313"/>
                  <a:pt x="2094" y="4313"/>
                </a:cubicBezTo>
                <a:cubicBezTo>
                  <a:pt x="2125" y="4344"/>
                  <a:pt x="2187" y="4313"/>
                  <a:pt x="2219" y="4313"/>
                </a:cubicBezTo>
                <a:cubicBezTo>
                  <a:pt x="2219" y="4375"/>
                  <a:pt x="2156" y="4344"/>
                  <a:pt x="2156" y="4406"/>
                </a:cubicBezTo>
                <a:cubicBezTo>
                  <a:pt x="2312" y="4438"/>
                  <a:pt x="2312" y="4406"/>
                  <a:pt x="2250" y="4188"/>
                </a:cubicBezTo>
                <a:cubicBezTo>
                  <a:pt x="2344" y="4250"/>
                  <a:pt x="2406" y="4250"/>
                  <a:pt x="2437" y="4156"/>
                </a:cubicBezTo>
                <a:cubicBezTo>
                  <a:pt x="2469" y="4063"/>
                  <a:pt x="2344" y="4031"/>
                  <a:pt x="2312" y="4000"/>
                </a:cubicBezTo>
                <a:cubicBezTo>
                  <a:pt x="2312" y="3938"/>
                  <a:pt x="2375" y="3938"/>
                  <a:pt x="2375" y="3969"/>
                </a:cubicBezTo>
                <a:cubicBezTo>
                  <a:pt x="2469" y="4094"/>
                  <a:pt x="2594" y="4000"/>
                  <a:pt x="2687" y="4063"/>
                </a:cubicBezTo>
                <a:cubicBezTo>
                  <a:pt x="2719" y="4094"/>
                  <a:pt x="2750" y="4063"/>
                  <a:pt x="2750" y="4031"/>
                </a:cubicBezTo>
                <a:cubicBezTo>
                  <a:pt x="2781" y="4000"/>
                  <a:pt x="2750" y="3969"/>
                  <a:pt x="2719" y="3969"/>
                </a:cubicBezTo>
                <a:cubicBezTo>
                  <a:pt x="2687" y="3938"/>
                  <a:pt x="2625" y="3906"/>
                  <a:pt x="2625" y="3781"/>
                </a:cubicBezTo>
                <a:cubicBezTo>
                  <a:pt x="2719" y="3906"/>
                  <a:pt x="2906" y="3906"/>
                  <a:pt x="2969" y="4063"/>
                </a:cubicBezTo>
                <a:cubicBezTo>
                  <a:pt x="2969" y="4094"/>
                  <a:pt x="3000" y="4094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00" y="4031"/>
                  <a:pt x="3000" y="4000"/>
                  <a:pt x="3000" y="4000"/>
                </a:cubicBezTo>
                <a:cubicBezTo>
                  <a:pt x="3000" y="4000"/>
                  <a:pt x="3000" y="4000"/>
                  <a:pt x="3031" y="4000"/>
                </a:cubicBezTo>
                <a:cubicBezTo>
                  <a:pt x="3031" y="4000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62" y="4031"/>
                  <a:pt x="3094" y="4031"/>
                  <a:pt x="3125" y="4031"/>
                </a:cubicBezTo>
                <a:cubicBezTo>
                  <a:pt x="3125" y="4031"/>
                  <a:pt x="3125" y="4031"/>
                  <a:pt x="3125" y="4031"/>
                </a:cubicBezTo>
                <a:cubicBezTo>
                  <a:pt x="3125" y="4000"/>
                  <a:pt x="3094" y="3969"/>
                  <a:pt x="3062" y="3875"/>
                </a:cubicBezTo>
                <a:cubicBezTo>
                  <a:pt x="3187" y="3969"/>
                  <a:pt x="3312" y="3906"/>
                  <a:pt x="3375" y="4000"/>
                </a:cubicBezTo>
                <a:cubicBezTo>
                  <a:pt x="3406" y="4031"/>
                  <a:pt x="3469" y="4000"/>
                  <a:pt x="3437" y="3938"/>
                </a:cubicBezTo>
                <a:cubicBezTo>
                  <a:pt x="3437" y="3906"/>
                  <a:pt x="3406" y="3875"/>
                  <a:pt x="3375" y="3781"/>
                </a:cubicBezTo>
                <a:cubicBezTo>
                  <a:pt x="3562" y="3906"/>
                  <a:pt x="3719" y="4000"/>
                  <a:pt x="3875" y="4094"/>
                </a:cubicBezTo>
                <a:cubicBezTo>
                  <a:pt x="3844" y="4156"/>
                  <a:pt x="3750" y="4094"/>
                  <a:pt x="3781" y="4188"/>
                </a:cubicBezTo>
                <a:cubicBezTo>
                  <a:pt x="3781" y="4250"/>
                  <a:pt x="3812" y="4313"/>
                  <a:pt x="3875" y="4344"/>
                </a:cubicBezTo>
                <a:cubicBezTo>
                  <a:pt x="3969" y="4375"/>
                  <a:pt x="4062" y="4375"/>
                  <a:pt x="4156" y="4375"/>
                </a:cubicBezTo>
                <a:cubicBezTo>
                  <a:pt x="4156" y="4313"/>
                  <a:pt x="4094" y="4250"/>
                  <a:pt x="4219" y="4281"/>
                </a:cubicBezTo>
                <a:cubicBezTo>
                  <a:pt x="4219" y="4281"/>
                  <a:pt x="4219" y="4281"/>
                  <a:pt x="4219" y="4281"/>
                </a:cubicBezTo>
                <a:cubicBezTo>
                  <a:pt x="4281" y="4281"/>
                  <a:pt x="4312" y="4250"/>
                  <a:pt x="4344" y="4219"/>
                </a:cubicBezTo>
                <a:cubicBezTo>
                  <a:pt x="4344" y="4188"/>
                  <a:pt x="4344" y="4188"/>
                  <a:pt x="4344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250" y="4156"/>
                  <a:pt x="4219" y="4125"/>
                  <a:pt x="4156" y="4094"/>
                </a:cubicBezTo>
                <a:cubicBezTo>
                  <a:pt x="4156" y="4094"/>
                  <a:pt x="4156" y="4063"/>
                  <a:pt x="4125" y="4063"/>
                </a:cubicBezTo>
                <a:cubicBezTo>
                  <a:pt x="4125" y="4063"/>
                  <a:pt x="4094" y="4031"/>
                  <a:pt x="4062" y="4031"/>
                </a:cubicBezTo>
                <a:cubicBezTo>
                  <a:pt x="4062" y="4031"/>
                  <a:pt x="4031" y="4031"/>
                  <a:pt x="4031" y="4000"/>
                </a:cubicBezTo>
                <a:cubicBezTo>
                  <a:pt x="4000" y="4000"/>
                  <a:pt x="3969" y="4000"/>
                  <a:pt x="3969" y="3969"/>
                </a:cubicBezTo>
                <a:cubicBezTo>
                  <a:pt x="3969" y="3969"/>
                  <a:pt x="3969" y="3969"/>
                  <a:pt x="3969" y="3969"/>
                </a:cubicBezTo>
                <a:cubicBezTo>
                  <a:pt x="3906" y="3969"/>
                  <a:pt x="3875" y="3969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781" y="3938"/>
                  <a:pt x="3750" y="3906"/>
                  <a:pt x="3750" y="3875"/>
                </a:cubicBezTo>
                <a:cubicBezTo>
                  <a:pt x="3750" y="3875"/>
                  <a:pt x="3750" y="3875"/>
                  <a:pt x="3750" y="3875"/>
                </a:cubicBezTo>
                <a:cubicBezTo>
                  <a:pt x="3719" y="3844"/>
                  <a:pt x="3687" y="3844"/>
                  <a:pt x="3687" y="3813"/>
                </a:cubicBezTo>
                <a:cubicBezTo>
                  <a:pt x="3687" y="3813"/>
                  <a:pt x="3687" y="3813"/>
                  <a:pt x="3687" y="3813"/>
                </a:cubicBezTo>
                <a:cubicBezTo>
                  <a:pt x="3687" y="3781"/>
                  <a:pt x="3687" y="3781"/>
                  <a:pt x="3719" y="3781"/>
                </a:cubicBezTo>
                <a:cubicBezTo>
                  <a:pt x="3750" y="3781"/>
                  <a:pt x="3750" y="3813"/>
                  <a:pt x="3781" y="3844"/>
                </a:cubicBezTo>
                <a:cubicBezTo>
                  <a:pt x="3781" y="3844"/>
                  <a:pt x="3781" y="3844"/>
                  <a:pt x="3781" y="3844"/>
                </a:cubicBezTo>
                <a:cubicBezTo>
                  <a:pt x="3812" y="3875"/>
                  <a:pt x="3844" y="3875"/>
                  <a:pt x="3844" y="3938"/>
                </a:cubicBezTo>
                <a:cubicBezTo>
                  <a:pt x="3875" y="3938"/>
                  <a:pt x="3906" y="3938"/>
                  <a:pt x="3906" y="3938"/>
                </a:cubicBezTo>
                <a:cubicBezTo>
                  <a:pt x="3937" y="3938"/>
                  <a:pt x="3969" y="3938"/>
                  <a:pt x="3969" y="3938"/>
                </a:cubicBezTo>
                <a:cubicBezTo>
                  <a:pt x="3969" y="3938"/>
                  <a:pt x="3969" y="3938"/>
                  <a:pt x="3969" y="3938"/>
                </a:cubicBezTo>
                <a:cubicBezTo>
                  <a:pt x="4000" y="3969"/>
                  <a:pt x="4062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62" y="3938"/>
                  <a:pt x="4062" y="3906"/>
                  <a:pt x="4031" y="3875"/>
                </a:cubicBezTo>
                <a:cubicBezTo>
                  <a:pt x="4031" y="3875"/>
                  <a:pt x="4000" y="3844"/>
                  <a:pt x="4000" y="3844"/>
                </a:cubicBezTo>
                <a:cubicBezTo>
                  <a:pt x="3969" y="3813"/>
                  <a:pt x="3937" y="3781"/>
                  <a:pt x="3906" y="3781"/>
                </a:cubicBezTo>
                <a:cubicBezTo>
                  <a:pt x="3875" y="3750"/>
                  <a:pt x="3844" y="3719"/>
                  <a:pt x="3812" y="3656"/>
                </a:cubicBezTo>
                <a:cubicBezTo>
                  <a:pt x="3812" y="3625"/>
                  <a:pt x="3781" y="3625"/>
                  <a:pt x="3750" y="3625"/>
                </a:cubicBezTo>
                <a:cubicBezTo>
                  <a:pt x="3531" y="3688"/>
                  <a:pt x="3406" y="3500"/>
                  <a:pt x="3219" y="3469"/>
                </a:cubicBezTo>
                <a:cubicBezTo>
                  <a:pt x="3187" y="3469"/>
                  <a:pt x="3187" y="3438"/>
                  <a:pt x="3187" y="3406"/>
                </a:cubicBezTo>
                <a:cubicBezTo>
                  <a:pt x="3219" y="3375"/>
                  <a:pt x="3344" y="3531"/>
                  <a:pt x="3344" y="3375"/>
                </a:cubicBezTo>
                <a:cubicBezTo>
                  <a:pt x="3312" y="3344"/>
                  <a:pt x="3312" y="3344"/>
                  <a:pt x="3312" y="3313"/>
                </a:cubicBezTo>
                <a:cubicBezTo>
                  <a:pt x="3312" y="3313"/>
                  <a:pt x="3344" y="3313"/>
                  <a:pt x="3344" y="3313"/>
                </a:cubicBezTo>
                <a:cubicBezTo>
                  <a:pt x="3344" y="3313"/>
                  <a:pt x="3344" y="3313"/>
                  <a:pt x="3344" y="3313"/>
                </a:cubicBezTo>
                <a:cubicBezTo>
                  <a:pt x="3375" y="3313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75" y="3344"/>
                </a:cubicBezTo>
                <a:cubicBezTo>
                  <a:pt x="3406" y="3375"/>
                  <a:pt x="3469" y="3406"/>
                  <a:pt x="3500" y="3438"/>
                </a:cubicBezTo>
                <a:cubicBezTo>
                  <a:pt x="3531" y="3469"/>
                  <a:pt x="3594" y="3500"/>
                  <a:pt x="3656" y="3469"/>
                </a:cubicBezTo>
                <a:cubicBezTo>
                  <a:pt x="3687" y="3438"/>
                  <a:pt x="3687" y="3469"/>
                  <a:pt x="3719" y="3500"/>
                </a:cubicBezTo>
                <a:cubicBezTo>
                  <a:pt x="3781" y="3563"/>
                  <a:pt x="3844" y="3594"/>
                  <a:pt x="3906" y="3688"/>
                </a:cubicBezTo>
                <a:cubicBezTo>
                  <a:pt x="3969" y="3750"/>
                  <a:pt x="4031" y="3813"/>
                  <a:pt x="4125" y="3813"/>
                </a:cubicBezTo>
                <a:cubicBezTo>
                  <a:pt x="4156" y="3813"/>
                  <a:pt x="4219" y="3875"/>
                  <a:pt x="4281" y="3844"/>
                </a:cubicBezTo>
                <a:cubicBezTo>
                  <a:pt x="4187" y="3781"/>
                  <a:pt x="4062" y="3719"/>
                  <a:pt x="4000" y="3625"/>
                </a:cubicBezTo>
                <a:cubicBezTo>
                  <a:pt x="3906" y="3531"/>
                  <a:pt x="3812" y="3469"/>
                  <a:pt x="3750" y="3375"/>
                </a:cubicBezTo>
                <a:cubicBezTo>
                  <a:pt x="3719" y="3344"/>
                  <a:pt x="3719" y="3313"/>
                  <a:pt x="3781" y="3313"/>
                </a:cubicBezTo>
                <a:cubicBezTo>
                  <a:pt x="3812" y="3313"/>
                  <a:pt x="3844" y="3250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75" y="3188"/>
                  <a:pt x="3875" y="3188"/>
                  <a:pt x="3875" y="3156"/>
                </a:cubicBezTo>
                <a:cubicBezTo>
                  <a:pt x="3844" y="3156"/>
                  <a:pt x="3844" y="3156"/>
                  <a:pt x="3812" y="3125"/>
                </a:cubicBezTo>
                <a:cubicBezTo>
                  <a:pt x="3750" y="3094"/>
                  <a:pt x="3687" y="3031"/>
                  <a:pt x="3656" y="3000"/>
                </a:cubicBezTo>
                <a:cubicBezTo>
                  <a:pt x="3625" y="2969"/>
                  <a:pt x="3562" y="2969"/>
                  <a:pt x="3594" y="2938"/>
                </a:cubicBezTo>
                <a:cubicBezTo>
                  <a:pt x="3625" y="2875"/>
                  <a:pt x="3656" y="2938"/>
                  <a:pt x="3687" y="2938"/>
                </a:cubicBezTo>
                <a:cubicBezTo>
                  <a:pt x="3750" y="2969"/>
                  <a:pt x="3781" y="3094"/>
                  <a:pt x="3875" y="3000"/>
                </a:cubicBezTo>
                <a:cubicBezTo>
                  <a:pt x="3875" y="3000"/>
                  <a:pt x="3937" y="3031"/>
                  <a:pt x="3937" y="3031"/>
                </a:cubicBezTo>
                <a:cubicBezTo>
                  <a:pt x="4094" y="3188"/>
                  <a:pt x="4250" y="3313"/>
                  <a:pt x="4406" y="3469"/>
                </a:cubicBezTo>
                <a:cubicBezTo>
                  <a:pt x="4437" y="3469"/>
                  <a:pt x="4406" y="3281"/>
                  <a:pt x="4500" y="3406"/>
                </a:cubicBezTo>
                <a:cubicBezTo>
                  <a:pt x="4531" y="3438"/>
                  <a:pt x="4562" y="3438"/>
                  <a:pt x="4562" y="3406"/>
                </a:cubicBezTo>
                <a:cubicBezTo>
                  <a:pt x="4594" y="3375"/>
                  <a:pt x="4625" y="3406"/>
                  <a:pt x="4656" y="3438"/>
                </a:cubicBezTo>
                <a:cubicBezTo>
                  <a:pt x="4656" y="3500"/>
                  <a:pt x="4687" y="3531"/>
                  <a:pt x="4719" y="3594"/>
                </a:cubicBezTo>
                <a:cubicBezTo>
                  <a:pt x="4719" y="3594"/>
                  <a:pt x="4750" y="3625"/>
                  <a:pt x="4750" y="3625"/>
                </a:cubicBezTo>
                <a:cubicBezTo>
                  <a:pt x="4781" y="3625"/>
                  <a:pt x="4781" y="3656"/>
                  <a:pt x="4812" y="3656"/>
                </a:cubicBezTo>
                <a:cubicBezTo>
                  <a:pt x="4812" y="3688"/>
                  <a:pt x="4844" y="3688"/>
                  <a:pt x="4844" y="3688"/>
                </a:cubicBezTo>
                <a:cubicBezTo>
                  <a:pt x="4875" y="3719"/>
                  <a:pt x="4906" y="3750"/>
                  <a:pt x="4937" y="3750"/>
                </a:cubicBezTo>
                <a:cubicBezTo>
                  <a:pt x="4937" y="3781"/>
                  <a:pt x="4969" y="3781"/>
                  <a:pt x="4969" y="3781"/>
                </a:cubicBezTo>
                <a:cubicBezTo>
                  <a:pt x="5000" y="3719"/>
                  <a:pt x="4937" y="3719"/>
                  <a:pt x="4906" y="3656"/>
                </a:cubicBezTo>
                <a:cubicBezTo>
                  <a:pt x="4969" y="3594"/>
                  <a:pt x="5031" y="3625"/>
                  <a:pt x="5094" y="3688"/>
                </a:cubicBezTo>
                <a:cubicBezTo>
                  <a:pt x="5219" y="3813"/>
                  <a:pt x="5375" y="3906"/>
                  <a:pt x="5531" y="3969"/>
                </a:cubicBezTo>
                <a:cubicBezTo>
                  <a:pt x="5531" y="3844"/>
                  <a:pt x="5437" y="3844"/>
                  <a:pt x="5375" y="3781"/>
                </a:cubicBezTo>
                <a:cubicBezTo>
                  <a:pt x="5375" y="3750"/>
                  <a:pt x="5375" y="3719"/>
                  <a:pt x="5344" y="3719"/>
                </a:cubicBezTo>
                <a:cubicBezTo>
                  <a:pt x="5344" y="3719"/>
                  <a:pt x="5344" y="3719"/>
                  <a:pt x="5312" y="3688"/>
                </a:cubicBezTo>
                <a:close/>
                <a:moveTo>
                  <a:pt x="21719" y="4906"/>
                </a:move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lose/>
                <a:moveTo>
                  <a:pt x="1312" y="17219"/>
                </a:moveTo>
                <a:cubicBezTo>
                  <a:pt x="1312" y="17219"/>
                  <a:pt x="1312" y="17219"/>
                  <a:pt x="1312" y="17219"/>
                </a:cubicBezTo>
                <a:cubicBezTo>
                  <a:pt x="1312" y="17219"/>
                  <a:pt x="1312" y="17219"/>
                  <a:pt x="1312" y="17219"/>
                </a:cubicBezTo>
                <a:close/>
                <a:moveTo>
                  <a:pt x="13094" y="3813"/>
                </a:move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lose/>
                <a:moveTo>
                  <a:pt x="6375" y="625"/>
                </a:moveTo>
                <a:cubicBezTo>
                  <a:pt x="6406" y="625"/>
                  <a:pt x="6469" y="625"/>
                  <a:pt x="6500" y="594"/>
                </a:cubicBezTo>
                <a:cubicBezTo>
                  <a:pt x="6562" y="500"/>
                  <a:pt x="6687" y="531"/>
                  <a:pt x="6750" y="563"/>
                </a:cubicBezTo>
                <a:cubicBezTo>
                  <a:pt x="6875" y="625"/>
                  <a:pt x="7000" y="625"/>
                  <a:pt x="7125" y="656"/>
                </a:cubicBezTo>
                <a:cubicBezTo>
                  <a:pt x="7125" y="656"/>
                  <a:pt x="7125" y="625"/>
                  <a:pt x="7156" y="625"/>
                </a:cubicBezTo>
                <a:cubicBezTo>
                  <a:pt x="7156" y="594"/>
                  <a:pt x="7156" y="531"/>
                  <a:pt x="7187" y="531"/>
                </a:cubicBezTo>
                <a:cubicBezTo>
                  <a:pt x="7250" y="531"/>
                  <a:pt x="7281" y="594"/>
                  <a:pt x="7250" y="688"/>
                </a:cubicBezTo>
                <a:cubicBezTo>
                  <a:pt x="7250" y="719"/>
                  <a:pt x="7250" y="750"/>
                  <a:pt x="7281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44" y="813"/>
                  <a:pt x="7312" y="844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281" y="875"/>
                  <a:pt x="7250" y="875"/>
                  <a:pt x="7250" y="906"/>
                </a:cubicBezTo>
                <a:cubicBezTo>
                  <a:pt x="7250" y="906"/>
                  <a:pt x="7250" y="938"/>
                  <a:pt x="7250" y="938"/>
                </a:cubicBezTo>
                <a:cubicBezTo>
                  <a:pt x="7250" y="938"/>
                  <a:pt x="7281" y="938"/>
                  <a:pt x="7281" y="938"/>
                </a:cubicBezTo>
                <a:cubicBezTo>
                  <a:pt x="7312" y="938"/>
                  <a:pt x="7312" y="906"/>
                  <a:pt x="7312" y="875"/>
                </a:cubicBezTo>
                <a:cubicBezTo>
                  <a:pt x="7375" y="875"/>
                  <a:pt x="7437" y="938"/>
                  <a:pt x="7469" y="969"/>
                </a:cubicBezTo>
                <a:cubicBezTo>
                  <a:pt x="7562" y="1000"/>
                  <a:pt x="7625" y="1125"/>
                  <a:pt x="7750" y="1094"/>
                </a:cubicBezTo>
                <a:cubicBezTo>
                  <a:pt x="7781" y="1094"/>
                  <a:pt x="7812" y="1125"/>
                  <a:pt x="7812" y="1156"/>
                </a:cubicBezTo>
                <a:cubicBezTo>
                  <a:pt x="7750" y="1250"/>
                  <a:pt x="7844" y="1250"/>
                  <a:pt x="7906" y="1281"/>
                </a:cubicBezTo>
                <a:cubicBezTo>
                  <a:pt x="7937" y="1281"/>
                  <a:pt x="7969" y="1313"/>
                  <a:pt x="7906" y="1344"/>
                </a:cubicBezTo>
                <a:cubicBezTo>
                  <a:pt x="7906" y="1375"/>
                  <a:pt x="7844" y="1375"/>
                  <a:pt x="7875" y="1406"/>
                </a:cubicBezTo>
                <a:cubicBezTo>
                  <a:pt x="7906" y="1438"/>
                  <a:pt x="7937" y="1438"/>
                  <a:pt x="7969" y="1438"/>
                </a:cubicBezTo>
                <a:cubicBezTo>
                  <a:pt x="8125" y="1406"/>
                  <a:pt x="8312" y="1375"/>
                  <a:pt x="8437" y="1531"/>
                </a:cubicBezTo>
                <a:cubicBezTo>
                  <a:pt x="8437" y="1531"/>
                  <a:pt x="8437" y="1531"/>
                  <a:pt x="8406" y="1531"/>
                </a:cubicBezTo>
                <a:cubicBezTo>
                  <a:pt x="8406" y="1531"/>
                  <a:pt x="8406" y="1531"/>
                  <a:pt x="8406" y="1531"/>
                </a:cubicBezTo>
                <a:cubicBezTo>
                  <a:pt x="8406" y="1531"/>
                  <a:pt x="8406" y="1563"/>
                  <a:pt x="8406" y="1563"/>
                </a:cubicBezTo>
                <a:cubicBezTo>
                  <a:pt x="8344" y="1563"/>
                  <a:pt x="8312" y="1563"/>
                  <a:pt x="8250" y="1531"/>
                </a:cubicBezTo>
                <a:cubicBezTo>
                  <a:pt x="8219" y="1531"/>
                  <a:pt x="8156" y="1500"/>
                  <a:pt x="8094" y="1500"/>
                </a:cubicBezTo>
                <a:cubicBezTo>
                  <a:pt x="8062" y="1531"/>
                  <a:pt x="8031" y="1563"/>
                  <a:pt x="8031" y="1594"/>
                </a:cubicBezTo>
                <a:cubicBezTo>
                  <a:pt x="8062" y="1656"/>
                  <a:pt x="8062" y="1688"/>
                  <a:pt x="8125" y="1688"/>
                </a:cubicBezTo>
                <a:cubicBezTo>
                  <a:pt x="8250" y="1656"/>
                  <a:pt x="8156" y="1750"/>
                  <a:pt x="8156" y="1750"/>
                </a:cubicBezTo>
                <a:cubicBezTo>
                  <a:pt x="8187" y="1781"/>
                  <a:pt x="8219" y="1781"/>
                  <a:pt x="8281" y="1781"/>
                </a:cubicBezTo>
                <a:cubicBezTo>
                  <a:pt x="8281" y="1781"/>
                  <a:pt x="8312" y="1844"/>
                  <a:pt x="8344" y="1781"/>
                </a:cubicBezTo>
                <a:cubicBezTo>
                  <a:pt x="8375" y="1781"/>
                  <a:pt x="8344" y="1750"/>
                  <a:pt x="8344" y="1719"/>
                </a:cubicBezTo>
                <a:cubicBezTo>
                  <a:pt x="8312" y="1656"/>
                  <a:pt x="8281" y="1625"/>
                  <a:pt x="8375" y="1625"/>
                </a:cubicBezTo>
                <a:cubicBezTo>
                  <a:pt x="8406" y="1656"/>
                  <a:pt x="8406" y="1594"/>
                  <a:pt x="8406" y="1563"/>
                </a:cubicBezTo>
                <a:cubicBezTo>
                  <a:pt x="8500" y="1563"/>
                  <a:pt x="8656" y="1531"/>
                  <a:pt x="8687" y="1469"/>
                </a:cubicBezTo>
                <a:cubicBezTo>
                  <a:pt x="8750" y="1344"/>
                  <a:pt x="8844" y="1406"/>
                  <a:pt x="8875" y="1406"/>
                </a:cubicBezTo>
                <a:cubicBezTo>
                  <a:pt x="9000" y="1500"/>
                  <a:pt x="9094" y="1281"/>
                  <a:pt x="9219" y="1344"/>
                </a:cubicBezTo>
                <a:cubicBezTo>
                  <a:pt x="9219" y="1188"/>
                  <a:pt x="9250" y="1281"/>
                  <a:pt x="9312" y="1344"/>
                </a:cubicBezTo>
                <a:cubicBezTo>
                  <a:pt x="9344" y="1375"/>
                  <a:pt x="9375" y="1375"/>
                  <a:pt x="9406" y="1344"/>
                </a:cubicBezTo>
                <a:cubicBezTo>
                  <a:pt x="9469" y="1344"/>
                  <a:pt x="9531" y="1344"/>
                  <a:pt x="9562" y="1375"/>
                </a:cubicBezTo>
                <a:cubicBezTo>
                  <a:pt x="9625" y="1406"/>
                  <a:pt x="9656" y="1438"/>
                  <a:pt x="9687" y="1344"/>
                </a:cubicBezTo>
                <a:cubicBezTo>
                  <a:pt x="9687" y="1281"/>
                  <a:pt x="9719" y="1281"/>
                  <a:pt x="9750" y="1313"/>
                </a:cubicBezTo>
                <a:cubicBezTo>
                  <a:pt x="9812" y="1406"/>
                  <a:pt x="9812" y="1469"/>
                  <a:pt x="9937" y="1500"/>
                </a:cubicBezTo>
                <a:cubicBezTo>
                  <a:pt x="9969" y="1500"/>
                  <a:pt x="10000" y="1563"/>
                  <a:pt x="10062" y="1531"/>
                </a:cubicBezTo>
                <a:cubicBezTo>
                  <a:pt x="10062" y="1594"/>
                  <a:pt x="10062" y="1594"/>
                  <a:pt x="10031" y="1594"/>
                </a:cubicBezTo>
                <a:cubicBezTo>
                  <a:pt x="9969" y="1594"/>
                  <a:pt x="9937" y="1625"/>
                  <a:pt x="9937" y="1688"/>
                </a:cubicBezTo>
                <a:cubicBezTo>
                  <a:pt x="9969" y="1719"/>
                  <a:pt x="10031" y="1688"/>
                  <a:pt x="10062" y="1656"/>
                </a:cubicBezTo>
                <a:cubicBezTo>
                  <a:pt x="10125" y="1625"/>
                  <a:pt x="10156" y="1531"/>
                  <a:pt x="10219" y="1563"/>
                </a:cubicBezTo>
                <a:cubicBezTo>
                  <a:pt x="10312" y="1594"/>
                  <a:pt x="10250" y="1688"/>
                  <a:pt x="10281" y="1750"/>
                </a:cubicBezTo>
                <a:cubicBezTo>
                  <a:pt x="10281" y="1750"/>
                  <a:pt x="10312" y="1781"/>
                  <a:pt x="10312" y="1781"/>
                </a:cubicBezTo>
                <a:cubicBezTo>
                  <a:pt x="10281" y="1844"/>
                  <a:pt x="10344" y="1844"/>
                  <a:pt x="10375" y="1875"/>
                </a:cubicBezTo>
                <a:cubicBezTo>
                  <a:pt x="10437" y="1875"/>
                  <a:pt x="10406" y="1813"/>
                  <a:pt x="10437" y="1781"/>
                </a:cubicBezTo>
                <a:cubicBezTo>
                  <a:pt x="10469" y="1750"/>
                  <a:pt x="10437" y="1688"/>
                  <a:pt x="10437" y="1656"/>
                </a:cubicBezTo>
                <a:cubicBezTo>
                  <a:pt x="10531" y="1688"/>
                  <a:pt x="10625" y="1656"/>
                  <a:pt x="10594" y="1813"/>
                </a:cubicBezTo>
                <a:cubicBezTo>
                  <a:pt x="10687" y="1781"/>
                  <a:pt x="10656" y="1719"/>
                  <a:pt x="10656" y="1656"/>
                </a:cubicBezTo>
                <a:cubicBezTo>
                  <a:pt x="10656" y="1563"/>
                  <a:pt x="10719" y="1688"/>
                  <a:pt x="10750" y="1625"/>
                </a:cubicBezTo>
                <a:cubicBezTo>
                  <a:pt x="10812" y="1531"/>
                  <a:pt x="11000" y="1563"/>
                  <a:pt x="11031" y="1656"/>
                </a:cubicBezTo>
                <a:cubicBezTo>
                  <a:pt x="11094" y="1719"/>
                  <a:pt x="11156" y="1719"/>
                  <a:pt x="11156" y="1656"/>
                </a:cubicBezTo>
                <a:cubicBezTo>
                  <a:pt x="11219" y="1594"/>
                  <a:pt x="11281" y="1625"/>
                  <a:pt x="11312" y="1688"/>
                </a:cubicBezTo>
                <a:cubicBezTo>
                  <a:pt x="11375" y="1625"/>
                  <a:pt x="11281" y="1563"/>
                  <a:pt x="11344" y="1531"/>
                </a:cubicBezTo>
                <a:cubicBezTo>
                  <a:pt x="11437" y="1500"/>
                  <a:pt x="11406" y="1625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25"/>
                  <a:pt x="11500" y="1594"/>
                  <a:pt x="11500" y="1594"/>
                </a:cubicBezTo>
                <a:cubicBezTo>
                  <a:pt x="11500" y="1531"/>
                  <a:pt x="11500" y="1438"/>
                  <a:pt x="11500" y="1375"/>
                </a:cubicBezTo>
                <a:cubicBezTo>
                  <a:pt x="11500" y="1344"/>
                  <a:pt x="11500" y="1313"/>
                  <a:pt x="11469" y="1313"/>
                </a:cubicBezTo>
                <a:cubicBezTo>
                  <a:pt x="11469" y="1281"/>
                  <a:pt x="11469" y="1281"/>
                  <a:pt x="11469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31" y="1281"/>
                  <a:pt x="11531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94" y="1313"/>
                </a:cubicBezTo>
                <a:cubicBezTo>
                  <a:pt x="11594" y="1313"/>
                  <a:pt x="11625" y="1313"/>
                  <a:pt x="11656" y="1313"/>
                </a:cubicBezTo>
                <a:cubicBezTo>
                  <a:pt x="11656" y="1313"/>
                  <a:pt x="11656" y="1313"/>
                  <a:pt x="11656" y="1313"/>
                </a:cubicBezTo>
                <a:cubicBezTo>
                  <a:pt x="11656" y="1313"/>
                  <a:pt x="11687" y="1281"/>
                  <a:pt x="11687" y="1281"/>
                </a:cubicBezTo>
                <a:cubicBezTo>
                  <a:pt x="11687" y="1281"/>
                  <a:pt x="11719" y="1281"/>
                  <a:pt x="11719" y="1281"/>
                </a:cubicBezTo>
                <a:cubicBezTo>
                  <a:pt x="11812" y="1250"/>
                  <a:pt x="11812" y="1344"/>
                  <a:pt x="11844" y="1406"/>
                </a:cubicBezTo>
                <a:cubicBezTo>
                  <a:pt x="11875" y="1406"/>
                  <a:pt x="11875" y="1438"/>
                  <a:pt x="11875" y="1438"/>
                </a:cubicBezTo>
                <a:cubicBezTo>
                  <a:pt x="11906" y="1344"/>
                  <a:pt x="11906" y="1219"/>
                  <a:pt x="12031" y="1313"/>
                </a:cubicBezTo>
                <a:cubicBezTo>
                  <a:pt x="12031" y="1313"/>
                  <a:pt x="12062" y="1281"/>
                  <a:pt x="12062" y="1281"/>
                </a:cubicBezTo>
                <a:cubicBezTo>
                  <a:pt x="12062" y="1219"/>
                  <a:pt x="12094" y="1250"/>
                  <a:pt x="12125" y="1250"/>
                </a:cubicBezTo>
                <a:cubicBezTo>
                  <a:pt x="12187" y="1313"/>
                  <a:pt x="12219" y="1344"/>
                  <a:pt x="12219" y="1406"/>
                </a:cubicBezTo>
                <a:cubicBezTo>
                  <a:pt x="12219" y="1531"/>
                  <a:pt x="12219" y="1625"/>
                  <a:pt x="12219" y="1750"/>
                </a:cubicBezTo>
                <a:cubicBezTo>
                  <a:pt x="12219" y="1750"/>
                  <a:pt x="12250" y="1750"/>
                  <a:pt x="12250" y="1750"/>
                </a:cubicBezTo>
                <a:cubicBezTo>
                  <a:pt x="12187" y="1469"/>
                  <a:pt x="12375" y="1250"/>
                  <a:pt x="12312" y="969"/>
                </a:cubicBezTo>
                <a:cubicBezTo>
                  <a:pt x="12312" y="1031"/>
                  <a:pt x="12344" y="1094"/>
                  <a:pt x="12406" y="1094"/>
                </a:cubicBezTo>
                <a:cubicBezTo>
                  <a:pt x="12469" y="1094"/>
                  <a:pt x="12500" y="1063"/>
                  <a:pt x="12469" y="1031"/>
                </a:cubicBezTo>
                <a:cubicBezTo>
                  <a:pt x="12469" y="969"/>
                  <a:pt x="12469" y="906"/>
                  <a:pt x="12531" y="906"/>
                </a:cubicBezTo>
                <a:cubicBezTo>
                  <a:pt x="12625" y="938"/>
                  <a:pt x="12562" y="1000"/>
                  <a:pt x="12594" y="1063"/>
                </a:cubicBezTo>
                <a:cubicBezTo>
                  <a:pt x="12594" y="1063"/>
                  <a:pt x="12562" y="1094"/>
                  <a:pt x="12562" y="1125"/>
                </a:cubicBezTo>
                <a:cubicBezTo>
                  <a:pt x="12562" y="1156"/>
                  <a:pt x="12531" y="1156"/>
                  <a:pt x="12531" y="1156"/>
                </a:cubicBezTo>
                <a:cubicBezTo>
                  <a:pt x="12531" y="1188"/>
                  <a:pt x="12531" y="1188"/>
                  <a:pt x="12500" y="1188"/>
                </a:cubicBezTo>
                <a:cubicBezTo>
                  <a:pt x="12500" y="1188"/>
                  <a:pt x="12500" y="1188"/>
                  <a:pt x="12500" y="1188"/>
                </a:cubicBezTo>
                <a:cubicBezTo>
                  <a:pt x="12500" y="1188"/>
                  <a:pt x="12500" y="1188"/>
                  <a:pt x="12469" y="1188"/>
                </a:cubicBezTo>
                <a:cubicBezTo>
                  <a:pt x="12469" y="1188"/>
                  <a:pt x="12469" y="1188"/>
                  <a:pt x="12469" y="1188"/>
                </a:cubicBezTo>
                <a:cubicBezTo>
                  <a:pt x="12437" y="1188"/>
                  <a:pt x="12437" y="1219"/>
                  <a:pt x="12437" y="1219"/>
                </a:cubicBezTo>
                <a:cubicBezTo>
                  <a:pt x="12406" y="1219"/>
                  <a:pt x="12406" y="1219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625" y="1250"/>
                  <a:pt x="12625" y="1281"/>
                  <a:pt x="12625" y="1031"/>
                </a:cubicBezTo>
                <a:cubicBezTo>
                  <a:pt x="12625" y="1000"/>
                  <a:pt x="12625" y="969"/>
                  <a:pt x="12625" y="938"/>
                </a:cubicBezTo>
                <a:cubicBezTo>
                  <a:pt x="12625" y="844"/>
                  <a:pt x="12656" y="906"/>
                  <a:pt x="12687" y="938"/>
                </a:cubicBezTo>
                <a:cubicBezTo>
                  <a:pt x="12687" y="969"/>
                  <a:pt x="12687" y="969"/>
                  <a:pt x="12719" y="1000"/>
                </a:cubicBezTo>
                <a:cubicBezTo>
                  <a:pt x="12719" y="1000"/>
                  <a:pt x="12719" y="1000"/>
                  <a:pt x="12719" y="1031"/>
                </a:cubicBezTo>
                <a:cubicBezTo>
                  <a:pt x="12750" y="1031"/>
                  <a:pt x="12750" y="1031"/>
                  <a:pt x="12781" y="1031"/>
                </a:cubicBezTo>
                <a:cubicBezTo>
                  <a:pt x="12781" y="1031"/>
                  <a:pt x="12781" y="1031"/>
                  <a:pt x="12812" y="1031"/>
                </a:cubicBezTo>
                <a:cubicBezTo>
                  <a:pt x="12875" y="1063"/>
                  <a:pt x="13000" y="969"/>
                  <a:pt x="13031" y="1063"/>
                </a:cubicBezTo>
                <a:cubicBezTo>
                  <a:pt x="13094" y="1000"/>
                  <a:pt x="13031" y="813"/>
                  <a:pt x="13219" y="875"/>
                </a:cubicBezTo>
                <a:cubicBezTo>
                  <a:pt x="13219" y="844"/>
                  <a:pt x="13219" y="781"/>
                  <a:pt x="13156" y="813"/>
                </a:cubicBezTo>
                <a:cubicBezTo>
                  <a:pt x="13062" y="844"/>
                  <a:pt x="13094" y="781"/>
                  <a:pt x="13094" y="750"/>
                </a:cubicBezTo>
                <a:cubicBezTo>
                  <a:pt x="13125" y="656"/>
                  <a:pt x="13187" y="594"/>
                  <a:pt x="13281" y="625"/>
                </a:cubicBezTo>
                <a:cubicBezTo>
                  <a:pt x="13312" y="625"/>
                  <a:pt x="13344" y="625"/>
                  <a:pt x="13344" y="594"/>
                </a:cubicBezTo>
                <a:cubicBezTo>
                  <a:pt x="13375" y="563"/>
                  <a:pt x="13344" y="563"/>
                  <a:pt x="13312" y="563"/>
                </a:cubicBezTo>
                <a:cubicBezTo>
                  <a:pt x="13281" y="563"/>
                  <a:pt x="13250" y="563"/>
                  <a:pt x="13219" y="563"/>
                </a:cubicBezTo>
                <a:cubicBezTo>
                  <a:pt x="12844" y="531"/>
                  <a:pt x="12437" y="531"/>
                  <a:pt x="12062" y="438"/>
                </a:cubicBezTo>
                <a:cubicBezTo>
                  <a:pt x="11656" y="313"/>
                  <a:pt x="11250" y="313"/>
                  <a:pt x="10844" y="219"/>
                </a:cubicBezTo>
                <a:cubicBezTo>
                  <a:pt x="10687" y="188"/>
                  <a:pt x="10531" y="156"/>
                  <a:pt x="10344" y="125"/>
                </a:cubicBezTo>
                <a:cubicBezTo>
                  <a:pt x="9844" y="31"/>
                  <a:pt x="9312" y="0"/>
                  <a:pt x="8781" y="0"/>
                </a:cubicBezTo>
                <a:cubicBezTo>
                  <a:pt x="8375" y="0"/>
                  <a:pt x="7969" y="94"/>
                  <a:pt x="7562" y="156"/>
                </a:cubicBezTo>
                <a:cubicBezTo>
                  <a:pt x="7500" y="156"/>
                  <a:pt x="7406" y="188"/>
                  <a:pt x="7375" y="219"/>
                </a:cubicBezTo>
                <a:cubicBezTo>
                  <a:pt x="7344" y="250"/>
                  <a:pt x="7344" y="250"/>
                  <a:pt x="7312" y="281"/>
                </a:cubicBezTo>
                <a:cubicBezTo>
                  <a:pt x="7281" y="281"/>
                  <a:pt x="7281" y="313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19" y="281"/>
                </a:cubicBezTo>
                <a:cubicBezTo>
                  <a:pt x="7219" y="281"/>
                  <a:pt x="7219" y="281"/>
                  <a:pt x="7219" y="281"/>
                </a:cubicBezTo>
                <a:cubicBezTo>
                  <a:pt x="7219" y="281"/>
                  <a:pt x="7187" y="281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56" y="281"/>
                  <a:pt x="7187" y="313"/>
                  <a:pt x="7156" y="344"/>
                </a:cubicBezTo>
                <a:cubicBezTo>
                  <a:pt x="7156" y="344"/>
                  <a:pt x="7156" y="344"/>
                  <a:pt x="7125" y="375"/>
                </a:cubicBezTo>
                <a:cubicBezTo>
                  <a:pt x="7094" y="375"/>
                  <a:pt x="7062" y="344"/>
                  <a:pt x="7062" y="313"/>
                </a:cubicBezTo>
                <a:cubicBezTo>
                  <a:pt x="7031" y="250"/>
                  <a:pt x="7000" y="250"/>
                  <a:pt x="6969" y="281"/>
                </a:cubicBezTo>
                <a:cubicBezTo>
                  <a:pt x="6937" y="313"/>
                  <a:pt x="6906" y="344"/>
                  <a:pt x="6875" y="344"/>
                </a:cubicBezTo>
                <a:cubicBezTo>
                  <a:pt x="6781" y="313"/>
                  <a:pt x="6812" y="375"/>
                  <a:pt x="6812" y="406"/>
                </a:cubicBezTo>
                <a:cubicBezTo>
                  <a:pt x="6812" y="438"/>
                  <a:pt x="6844" y="438"/>
                  <a:pt x="6844" y="500"/>
                </a:cubicBezTo>
                <a:cubicBezTo>
                  <a:pt x="6781" y="469"/>
                  <a:pt x="6781" y="438"/>
                  <a:pt x="6750" y="406"/>
                </a:cubicBezTo>
                <a:cubicBezTo>
                  <a:pt x="6719" y="344"/>
                  <a:pt x="6687" y="375"/>
                  <a:pt x="6687" y="438"/>
                </a:cubicBezTo>
                <a:cubicBezTo>
                  <a:pt x="6656" y="438"/>
                  <a:pt x="6625" y="406"/>
                  <a:pt x="6594" y="406"/>
                </a:cubicBezTo>
                <a:cubicBezTo>
                  <a:pt x="6594" y="406"/>
                  <a:pt x="6594" y="406"/>
                  <a:pt x="6562" y="406"/>
                </a:cubicBezTo>
                <a:cubicBezTo>
                  <a:pt x="6469" y="563"/>
                  <a:pt x="6437" y="406"/>
                  <a:pt x="6375" y="313"/>
                </a:cubicBezTo>
                <a:cubicBezTo>
                  <a:pt x="6344" y="406"/>
                  <a:pt x="6375" y="469"/>
                  <a:pt x="6375" y="531"/>
                </a:cubicBezTo>
                <a:cubicBezTo>
                  <a:pt x="6344" y="563"/>
                  <a:pt x="6344" y="594"/>
                  <a:pt x="6375" y="625"/>
                </a:cubicBezTo>
                <a:close/>
                <a:moveTo>
                  <a:pt x="3594" y="3688"/>
                </a:moveTo>
                <a:cubicBezTo>
                  <a:pt x="3594" y="3688"/>
                  <a:pt x="3594" y="3688"/>
                  <a:pt x="3594" y="3688"/>
                </a:cubicBezTo>
                <a:cubicBezTo>
                  <a:pt x="3594" y="3688"/>
                  <a:pt x="3594" y="3719"/>
                  <a:pt x="3594" y="3719"/>
                </a:cubicBezTo>
                <a:cubicBezTo>
                  <a:pt x="3594" y="3719"/>
                  <a:pt x="3594" y="3719"/>
                  <a:pt x="3625" y="3719"/>
                </a:cubicBezTo>
                <a:cubicBezTo>
                  <a:pt x="3625" y="3719"/>
                  <a:pt x="3625" y="3719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594" y="3688"/>
                  <a:pt x="3594" y="3688"/>
                  <a:pt x="3594" y="3688"/>
                </a:cubicBezTo>
                <a:close/>
                <a:moveTo>
                  <a:pt x="6031" y="4188"/>
                </a:moveTo>
                <a:cubicBezTo>
                  <a:pt x="6062" y="4188"/>
                  <a:pt x="6062" y="4188"/>
                  <a:pt x="6062" y="4188"/>
                </a:cubicBezTo>
                <a:cubicBezTo>
                  <a:pt x="6094" y="4188"/>
                  <a:pt x="6094" y="4188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5937" y="4031"/>
                  <a:pt x="5812" y="3906"/>
                  <a:pt x="5625" y="3813"/>
                </a:cubicBezTo>
                <a:cubicBezTo>
                  <a:pt x="5625" y="3813"/>
                  <a:pt x="5625" y="3844"/>
                  <a:pt x="5625" y="3844"/>
                </a:cubicBezTo>
                <a:cubicBezTo>
                  <a:pt x="5750" y="3969"/>
                  <a:pt x="5906" y="4063"/>
                  <a:pt x="6031" y="4188"/>
                </a:cubicBezTo>
                <a:close/>
                <a:moveTo>
                  <a:pt x="8562" y="3219"/>
                </a:moveTo>
                <a:cubicBezTo>
                  <a:pt x="8562" y="3219"/>
                  <a:pt x="8562" y="3219"/>
                  <a:pt x="8562" y="3219"/>
                </a:cubicBezTo>
                <a:cubicBezTo>
                  <a:pt x="8562" y="3219"/>
                  <a:pt x="8562" y="3219"/>
                  <a:pt x="8562" y="3188"/>
                </a:cubicBezTo>
                <a:cubicBezTo>
                  <a:pt x="8562" y="3188"/>
                  <a:pt x="8562" y="3156"/>
                  <a:pt x="8531" y="3156"/>
                </a:cubicBezTo>
                <a:cubicBezTo>
                  <a:pt x="8531" y="3156"/>
                  <a:pt x="8531" y="3156"/>
                  <a:pt x="8531" y="3156"/>
                </a:cubicBezTo>
                <a:cubicBezTo>
                  <a:pt x="8531" y="3188"/>
                  <a:pt x="8531" y="3188"/>
                  <a:pt x="8531" y="3188"/>
                </a:cubicBezTo>
                <a:cubicBezTo>
                  <a:pt x="8531" y="3188"/>
                  <a:pt x="8531" y="3188"/>
                  <a:pt x="8562" y="3188"/>
                </a:cubicBezTo>
                <a:cubicBezTo>
                  <a:pt x="8562" y="3219"/>
                  <a:pt x="8562" y="3219"/>
                  <a:pt x="8562" y="3219"/>
                </a:cubicBezTo>
                <a:close/>
                <a:moveTo>
                  <a:pt x="5062" y="2875"/>
                </a:move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lnTo>
                  <a:pt x="5062" y="2875"/>
                </a:ln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lose/>
                <a:moveTo>
                  <a:pt x="17969" y="719"/>
                </a:moveTo>
                <a:cubicBezTo>
                  <a:pt x="17969" y="719"/>
                  <a:pt x="18000" y="750"/>
                  <a:pt x="18000" y="750"/>
                </a:cubicBezTo>
                <a:cubicBezTo>
                  <a:pt x="18031" y="750"/>
                  <a:pt x="18031" y="781"/>
                  <a:pt x="18062" y="781"/>
                </a:cubicBezTo>
                <a:cubicBezTo>
                  <a:pt x="18062" y="781"/>
                  <a:pt x="18062" y="781"/>
                  <a:pt x="18062" y="781"/>
                </a:cubicBezTo>
                <a:cubicBezTo>
                  <a:pt x="18062" y="813"/>
                  <a:pt x="18062" y="844"/>
                  <a:pt x="18094" y="875"/>
                </a:cubicBezTo>
                <a:cubicBezTo>
                  <a:pt x="18094" y="906"/>
                  <a:pt x="18094" y="906"/>
                  <a:pt x="18094" y="906"/>
                </a:cubicBezTo>
                <a:cubicBezTo>
                  <a:pt x="18094" y="938"/>
                  <a:pt x="18094" y="969"/>
                  <a:pt x="18125" y="1000"/>
                </a:cubicBezTo>
                <a:cubicBezTo>
                  <a:pt x="18156" y="1031"/>
                  <a:pt x="18125" y="1063"/>
                  <a:pt x="18094" y="1094"/>
                </a:cubicBezTo>
                <a:cubicBezTo>
                  <a:pt x="18062" y="1125"/>
                  <a:pt x="18000" y="1219"/>
                  <a:pt x="17969" y="1188"/>
                </a:cubicBezTo>
                <a:cubicBezTo>
                  <a:pt x="17906" y="1094"/>
                  <a:pt x="17875" y="1156"/>
                  <a:pt x="17812" y="1188"/>
                </a:cubicBezTo>
                <a:cubicBezTo>
                  <a:pt x="17781" y="1219"/>
                  <a:pt x="17781" y="1281"/>
                  <a:pt x="17750" y="1344"/>
                </a:cubicBezTo>
                <a:cubicBezTo>
                  <a:pt x="17750" y="1406"/>
                  <a:pt x="17781" y="1406"/>
                  <a:pt x="17812" y="1406"/>
                </a:cubicBezTo>
                <a:cubicBezTo>
                  <a:pt x="17937" y="1438"/>
                  <a:pt x="18031" y="1313"/>
                  <a:pt x="18156" y="1313"/>
                </a:cubicBezTo>
                <a:cubicBezTo>
                  <a:pt x="18187" y="1313"/>
                  <a:pt x="18156" y="1281"/>
                  <a:pt x="18156" y="1281"/>
                </a:cubicBezTo>
                <a:cubicBezTo>
                  <a:pt x="18125" y="1219"/>
                  <a:pt x="18156" y="1219"/>
                  <a:pt x="18187" y="1188"/>
                </a:cubicBezTo>
                <a:cubicBezTo>
                  <a:pt x="18250" y="1094"/>
                  <a:pt x="18344" y="1063"/>
                  <a:pt x="18406" y="1000"/>
                </a:cubicBezTo>
                <a:cubicBezTo>
                  <a:pt x="18562" y="875"/>
                  <a:pt x="18656" y="1063"/>
                  <a:pt x="18812" y="1031"/>
                </a:cubicBezTo>
                <a:cubicBezTo>
                  <a:pt x="18719" y="938"/>
                  <a:pt x="17906" y="594"/>
                  <a:pt x="17750" y="563"/>
                </a:cubicBezTo>
                <a:cubicBezTo>
                  <a:pt x="17781" y="594"/>
                  <a:pt x="17812" y="594"/>
                  <a:pt x="17812" y="625"/>
                </a:cubicBezTo>
                <a:cubicBezTo>
                  <a:pt x="17875" y="656"/>
                  <a:pt x="17906" y="688"/>
                  <a:pt x="17969" y="719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C83D7D6-B709-2A47-B7B1-9A64F1CC3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3B3DABD-41D0-A845-AC07-A3A47DD94B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51799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558FD83E-4C7C-6248-8379-5A7FC21BDCC6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5162948" y="1127537"/>
            <a:ext cx="6696269" cy="5596644"/>
          </a:xfrm>
          <a:custGeom>
            <a:avLst/>
            <a:gdLst>
              <a:gd name="T0" fmla="*/ 1186 w 1856"/>
              <a:gd name="T1" fmla="*/ 356 h 1504"/>
              <a:gd name="T2" fmla="*/ 723 w 1856"/>
              <a:gd name="T3" fmla="*/ 607 h 1504"/>
              <a:gd name="T4" fmla="*/ 647 w 1856"/>
              <a:gd name="T5" fmla="*/ 741 h 1504"/>
              <a:gd name="T6" fmla="*/ 648 w 1856"/>
              <a:gd name="T7" fmla="*/ 1231 h 1504"/>
              <a:gd name="T8" fmla="*/ 558 w 1856"/>
              <a:gd name="T9" fmla="*/ 1182 h 1504"/>
              <a:gd name="T10" fmla="*/ 361 w 1856"/>
              <a:gd name="T11" fmla="*/ 945 h 1504"/>
              <a:gd name="T12" fmla="*/ 375 w 1856"/>
              <a:gd name="T13" fmla="*/ 903 h 1504"/>
              <a:gd name="T14" fmla="*/ 254 w 1856"/>
              <a:gd name="T15" fmla="*/ 815 h 1504"/>
              <a:gd name="T16" fmla="*/ 329 w 1856"/>
              <a:gd name="T17" fmla="*/ 713 h 1504"/>
              <a:gd name="T18" fmla="*/ 540 w 1856"/>
              <a:gd name="T19" fmla="*/ 786 h 1504"/>
              <a:gd name="T20" fmla="*/ 593 w 1856"/>
              <a:gd name="T21" fmla="*/ 800 h 1504"/>
              <a:gd name="T22" fmla="*/ 689 w 1856"/>
              <a:gd name="T23" fmla="*/ 713 h 1504"/>
              <a:gd name="T24" fmla="*/ 344 w 1856"/>
              <a:gd name="T25" fmla="*/ 882 h 1504"/>
              <a:gd name="T26" fmla="*/ 1520 w 1856"/>
              <a:gd name="T27" fmla="*/ 209 h 1504"/>
              <a:gd name="T28" fmla="*/ 1740 w 1856"/>
              <a:gd name="T29" fmla="*/ 154 h 1504"/>
              <a:gd name="T30" fmla="*/ 1244 w 1856"/>
              <a:gd name="T31" fmla="*/ 696 h 1504"/>
              <a:gd name="T32" fmla="*/ 1479 w 1856"/>
              <a:gd name="T33" fmla="*/ 769 h 1504"/>
              <a:gd name="T34" fmla="*/ 1619 w 1856"/>
              <a:gd name="T35" fmla="*/ 780 h 1504"/>
              <a:gd name="T36" fmla="*/ 979 w 1856"/>
              <a:gd name="T37" fmla="*/ 735 h 1504"/>
              <a:gd name="T38" fmla="*/ 1088 w 1856"/>
              <a:gd name="T39" fmla="*/ 691 h 1504"/>
              <a:gd name="T40" fmla="*/ 1005 w 1856"/>
              <a:gd name="T41" fmla="*/ 478 h 1504"/>
              <a:gd name="T42" fmla="*/ 1133 w 1856"/>
              <a:gd name="T43" fmla="*/ 295 h 1504"/>
              <a:gd name="T44" fmla="*/ 1261 w 1856"/>
              <a:gd name="T45" fmla="*/ 518 h 1504"/>
              <a:gd name="T46" fmla="*/ 1402 w 1856"/>
              <a:gd name="T47" fmla="*/ 461 h 1504"/>
              <a:gd name="T48" fmla="*/ 1601 w 1856"/>
              <a:gd name="T49" fmla="*/ 137 h 1504"/>
              <a:gd name="T50" fmla="*/ 110 w 1856"/>
              <a:gd name="T51" fmla="*/ 704 h 1504"/>
              <a:gd name="T52" fmla="*/ 173 w 1856"/>
              <a:gd name="T53" fmla="*/ 832 h 1504"/>
              <a:gd name="T54" fmla="*/ 719 w 1856"/>
              <a:gd name="T55" fmla="*/ 1431 h 1504"/>
              <a:gd name="T56" fmla="*/ 1521 w 1856"/>
              <a:gd name="T57" fmla="*/ 555 h 1504"/>
              <a:gd name="T58" fmla="*/ 1231 w 1856"/>
              <a:gd name="T59" fmla="*/ 700 h 1504"/>
              <a:gd name="T60" fmla="*/ 974 w 1856"/>
              <a:gd name="T61" fmla="*/ 816 h 1504"/>
              <a:gd name="T62" fmla="*/ 1133 w 1856"/>
              <a:gd name="T63" fmla="*/ 737 h 1504"/>
              <a:gd name="T64" fmla="*/ 1423 w 1856"/>
              <a:gd name="T65" fmla="*/ 748 h 1504"/>
              <a:gd name="T66" fmla="*/ 1240 w 1856"/>
              <a:gd name="T67" fmla="*/ 893 h 1504"/>
              <a:gd name="T68" fmla="*/ 1724 w 1856"/>
              <a:gd name="T69" fmla="*/ 299 h 1504"/>
              <a:gd name="T70" fmla="*/ 1672 w 1856"/>
              <a:gd name="T71" fmla="*/ 102 h 1504"/>
              <a:gd name="T72" fmla="*/ 1393 w 1856"/>
              <a:gd name="T73" fmla="*/ 329 h 1504"/>
              <a:gd name="T74" fmla="*/ 1263 w 1856"/>
              <a:gd name="T75" fmla="*/ 453 h 1504"/>
              <a:gd name="T76" fmla="*/ 1160 w 1856"/>
              <a:gd name="T77" fmla="*/ 223 h 1504"/>
              <a:gd name="T78" fmla="*/ 1125 w 1856"/>
              <a:gd name="T79" fmla="*/ 415 h 1504"/>
              <a:gd name="T80" fmla="*/ 978 w 1856"/>
              <a:gd name="T81" fmla="*/ 359 h 1504"/>
              <a:gd name="T82" fmla="*/ 1050 w 1856"/>
              <a:gd name="T83" fmla="*/ 136 h 1504"/>
              <a:gd name="T84" fmla="*/ 815 w 1856"/>
              <a:gd name="T85" fmla="*/ 1315 h 1504"/>
              <a:gd name="T86" fmla="*/ 754 w 1856"/>
              <a:gd name="T87" fmla="*/ 1401 h 1504"/>
              <a:gd name="T88" fmla="*/ 596 w 1856"/>
              <a:gd name="T89" fmla="*/ 1306 h 1504"/>
              <a:gd name="T90" fmla="*/ 515 w 1856"/>
              <a:gd name="T91" fmla="*/ 1354 h 1504"/>
              <a:gd name="T92" fmla="*/ 174 w 1856"/>
              <a:gd name="T93" fmla="*/ 615 h 1504"/>
              <a:gd name="T94" fmla="*/ 290 w 1856"/>
              <a:gd name="T95" fmla="*/ 497 h 1504"/>
              <a:gd name="T96" fmla="*/ 344 w 1856"/>
              <a:gd name="T97" fmla="*/ 523 h 1504"/>
              <a:gd name="T98" fmla="*/ 643 w 1856"/>
              <a:gd name="T99" fmla="*/ 581 h 1504"/>
              <a:gd name="T100" fmla="*/ 678 w 1856"/>
              <a:gd name="T101" fmla="*/ 646 h 1504"/>
              <a:gd name="T102" fmla="*/ 689 w 1856"/>
              <a:gd name="T103" fmla="*/ 658 h 1504"/>
              <a:gd name="T104" fmla="*/ 855 w 1856"/>
              <a:gd name="T105" fmla="*/ 580 h 1504"/>
              <a:gd name="T106" fmla="*/ 710 w 1856"/>
              <a:gd name="T107" fmla="*/ 779 h 1504"/>
              <a:gd name="T108" fmla="*/ 833 w 1856"/>
              <a:gd name="T109" fmla="*/ 865 h 1504"/>
              <a:gd name="T110" fmla="*/ 864 w 1856"/>
              <a:gd name="T111" fmla="*/ 919 h 1504"/>
              <a:gd name="T112" fmla="*/ 830 w 1856"/>
              <a:gd name="T113" fmla="*/ 817 h 1504"/>
              <a:gd name="T114" fmla="*/ 697 w 1856"/>
              <a:gd name="T115" fmla="*/ 763 h 1504"/>
              <a:gd name="T116" fmla="*/ 789 w 1856"/>
              <a:gd name="T117" fmla="*/ 1170 h 1504"/>
              <a:gd name="T118" fmla="*/ 931 w 1856"/>
              <a:gd name="T119" fmla="*/ 629 h 1504"/>
              <a:gd name="T120" fmla="*/ 1083 w 1856"/>
              <a:gd name="T121" fmla="*/ 692 h 1504"/>
              <a:gd name="T122" fmla="*/ 1682 w 1856"/>
              <a:gd name="T123" fmla="*/ 893 h 1504"/>
              <a:gd name="T124" fmla="*/ 1637 w 1856"/>
              <a:gd name="T125" fmla="*/ 823 h 15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56" h="1504">
                <a:moveTo>
                  <a:pt x="1437" y="182"/>
                </a:move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6" y="181"/>
                </a:lnTo>
                <a:lnTo>
                  <a:pt x="1436" y="180"/>
                </a:lnTo>
                <a:lnTo>
                  <a:pt x="1435" y="181"/>
                </a:lnTo>
                <a:lnTo>
                  <a:pt x="1435" y="181"/>
                </a:lnTo>
                <a:lnTo>
                  <a:pt x="1435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close/>
                <a:moveTo>
                  <a:pt x="501" y="1186"/>
                </a:moveTo>
                <a:lnTo>
                  <a:pt x="502" y="1187"/>
                </a:lnTo>
                <a:lnTo>
                  <a:pt x="503" y="1187"/>
                </a:lnTo>
                <a:lnTo>
                  <a:pt x="503" y="1187"/>
                </a:lnTo>
                <a:lnTo>
                  <a:pt x="504" y="1186"/>
                </a:lnTo>
                <a:lnTo>
                  <a:pt x="503" y="1185"/>
                </a:lnTo>
                <a:lnTo>
                  <a:pt x="502" y="1185"/>
                </a:lnTo>
                <a:lnTo>
                  <a:pt x="502" y="1186"/>
                </a:lnTo>
                <a:lnTo>
                  <a:pt x="501" y="1186"/>
                </a:lnTo>
                <a:close/>
                <a:moveTo>
                  <a:pt x="777" y="895"/>
                </a:moveTo>
                <a:lnTo>
                  <a:pt x="777" y="895"/>
                </a:lnTo>
                <a:lnTo>
                  <a:pt x="775" y="896"/>
                </a:lnTo>
                <a:lnTo>
                  <a:pt x="777" y="898"/>
                </a:lnTo>
                <a:lnTo>
                  <a:pt x="778" y="898"/>
                </a:lnTo>
                <a:lnTo>
                  <a:pt x="778" y="898"/>
                </a:lnTo>
                <a:lnTo>
                  <a:pt x="778" y="898"/>
                </a:lnTo>
                <a:lnTo>
                  <a:pt x="779" y="901"/>
                </a:lnTo>
                <a:lnTo>
                  <a:pt x="782" y="903"/>
                </a:lnTo>
                <a:lnTo>
                  <a:pt x="782" y="903"/>
                </a:lnTo>
                <a:lnTo>
                  <a:pt x="782" y="903"/>
                </a:lnTo>
                <a:lnTo>
                  <a:pt x="782" y="903"/>
                </a:lnTo>
                <a:lnTo>
                  <a:pt x="782" y="903"/>
                </a:lnTo>
                <a:lnTo>
                  <a:pt x="784" y="913"/>
                </a:lnTo>
                <a:lnTo>
                  <a:pt x="789" y="921"/>
                </a:lnTo>
                <a:lnTo>
                  <a:pt x="786" y="923"/>
                </a:lnTo>
                <a:lnTo>
                  <a:pt x="782" y="923"/>
                </a:lnTo>
                <a:lnTo>
                  <a:pt x="778" y="913"/>
                </a:lnTo>
                <a:lnTo>
                  <a:pt x="772" y="903"/>
                </a:lnTo>
                <a:lnTo>
                  <a:pt x="768" y="895"/>
                </a:lnTo>
                <a:lnTo>
                  <a:pt x="763" y="889"/>
                </a:lnTo>
                <a:lnTo>
                  <a:pt x="763" y="886"/>
                </a:lnTo>
                <a:lnTo>
                  <a:pt x="765" y="885"/>
                </a:lnTo>
                <a:lnTo>
                  <a:pt x="767" y="887"/>
                </a:lnTo>
                <a:lnTo>
                  <a:pt x="770" y="889"/>
                </a:lnTo>
                <a:lnTo>
                  <a:pt x="770" y="889"/>
                </a:lnTo>
                <a:lnTo>
                  <a:pt x="771" y="893"/>
                </a:lnTo>
                <a:lnTo>
                  <a:pt x="774" y="893"/>
                </a:lnTo>
                <a:lnTo>
                  <a:pt x="775" y="893"/>
                </a:lnTo>
                <a:lnTo>
                  <a:pt x="775" y="889"/>
                </a:lnTo>
                <a:lnTo>
                  <a:pt x="772" y="882"/>
                </a:lnTo>
                <a:lnTo>
                  <a:pt x="767" y="877"/>
                </a:lnTo>
                <a:lnTo>
                  <a:pt x="766" y="873"/>
                </a:lnTo>
                <a:lnTo>
                  <a:pt x="765" y="870"/>
                </a:lnTo>
                <a:lnTo>
                  <a:pt x="764" y="867"/>
                </a:lnTo>
                <a:lnTo>
                  <a:pt x="763" y="865"/>
                </a:lnTo>
                <a:lnTo>
                  <a:pt x="763" y="865"/>
                </a:lnTo>
                <a:lnTo>
                  <a:pt x="761" y="865"/>
                </a:lnTo>
                <a:lnTo>
                  <a:pt x="763" y="865"/>
                </a:lnTo>
                <a:lnTo>
                  <a:pt x="763" y="865"/>
                </a:lnTo>
                <a:lnTo>
                  <a:pt x="763" y="865"/>
                </a:lnTo>
                <a:lnTo>
                  <a:pt x="763" y="865"/>
                </a:lnTo>
                <a:lnTo>
                  <a:pt x="765" y="866"/>
                </a:lnTo>
                <a:lnTo>
                  <a:pt x="765" y="870"/>
                </a:lnTo>
                <a:lnTo>
                  <a:pt x="771" y="873"/>
                </a:lnTo>
                <a:lnTo>
                  <a:pt x="774" y="879"/>
                </a:lnTo>
                <a:lnTo>
                  <a:pt x="775" y="881"/>
                </a:lnTo>
                <a:lnTo>
                  <a:pt x="779" y="881"/>
                </a:lnTo>
                <a:lnTo>
                  <a:pt x="779" y="879"/>
                </a:lnTo>
                <a:lnTo>
                  <a:pt x="778" y="877"/>
                </a:lnTo>
                <a:lnTo>
                  <a:pt x="775" y="871"/>
                </a:lnTo>
                <a:lnTo>
                  <a:pt x="774" y="865"/>
                </a:lnTo>
                <a:lnTo>
                  <a:pt x="774" y="865"/>
                </a:lnTo>
                <a:lnTo>
                  <a:pt x="774" y="865"/>
                </a:lnTo>
                <a:lnTo>
                  <a:pt x="774" y="865"/>
                </a:lnTo>
                <a:lnTo>
                  <a:pt x="785" y="879"/>
                </a:lnTo>
                <a:lnTo>
                  <a:pt x="793" y="894"/>
                </a:lnTo>
                <a:lnTo>
                  <a:pt x="795" y="898"/>
                </a:lnTo>
                <a:lnTo>
                  <a:pt x="799" y="899"/>
                </a:lnTo>
                <a:lnTo>
                  <a:pt x="799" y="899"/>
                </a:lnTo>
                <a:lnTo>
                  <a:pt x="799" y="900"/>
                </a:lnTo>
                <a:lnTo>
                  <a:pt x="799" y="901"/>
                </a:lnTo>
                <a:lnTo>
                  <a:pt x="800" y="901"/>
                </a:lnTo>
                <a:lnTo>
                  <a:pt x="796" y="902"/>
                </a:lnTo>
                <a:lnTo>
                  <a:pt x="794" y="902"/>
                </a:lnTo>
                <a:lnTo>
                  <a:pt x="791" y="903"/>
                </a:lnTo>
                <a:lnTo>
                  <a:pt x="791" y="906"/>
                </a:lnTo>
                <a:lnTo>
                  <a:pt x="793" y="908"/>
                </a:lnTo>
                <a:lnTo>
                  <a:pt x="791" y="910"/>
                </a:lnTo>
                <a:lnTo>
                  <a:pt x="788" y="909"/>
                </a:lnTo>
                <a:lnTo>
                  <a:pt x="787" y="907"/>
                </a:lnTo>
                <a:lnTo>
                  <a:pt x="786" y="903"/>
                </a:lnTo>
                <a:lnTo>
                  <a:pt x="782" y="903"/>
                </a:lnTo>
                <a:lnTo>
                  <a:pt x="782" y="903"/>
                </a:lnTo>
                <a:lnTo>
                  <a:pt x="782" y="899"/>
                </a:lnTo>
                <a:lnTo>
                  <a:pt x="778" y="898"/>
                </a:lnTo>
                <a:lnTo>
                  <a:pt x="778" y="896"/>
                </a:lnTo>
                <a:lnTo>
                  <a:pt x="777" y="895"/>
                </a:lnTo>
                <a:close/>
                <a:moveTo>
                  <a:pt x="738" y="793"/>
                </a:moveTo>
                <a:lnTo>
                  <a:pt x="737" y="793"/>
                </a:lnTo>
                <a:lnTo>
                  <a:pt x="736" y="795"/>
                </a:lnTo>
                <a:lnTo>
                  <a:pt x="737" y="795"/>
                </a:lnTo>
                <a:lnTo>
                  <a:pt x="737" y="796"/>
                </a:lnTo>
                <a:lnTo>
                  <a:pt x="738" y="795"/>
                </a:lnTo>
                <a:lnTo>
                  <a:pt x="738" y="795"/>
                </a:lnTo>
                <a:lnTo>
                  <a:pt x="738" y="794"/>
                </a:lnTo>
                <a:lnTo>
                  <a:pt x="738" y="793"/>
                </a:lnTo>
                <a:close/>
                <a:moveTo>
                  <a:pt x="756" y="831"/>
                </a:moveTo>
                <a:lnTo>
                  <a:pt x="754" y="831"/>
                </a:lnTo>
                <a:lnTo>
                  <a:pt x="754" y="832"/>
                </a:lnTo>
                <a:lnTo>
                  <a:pt x="754" y="833"/>
                </a:lnTo>
                <a:lnTo>
                  <a:pt x="757" y="835"/>
                </a:lnTo>
                <a:lnTo>
                  <a:pt x="758" y="833"/>
                </a:lnTo>
                <a:lnTo>
                  <a:pt x="758" y="832"/>
                </a:lnTo>
                <a:lnTo>
                  <a:pt x="757" y="831"/>
                </a:lnTo>
                <a:lnTo>
                  <a:pt x="756" y="831"/>
                </a:lnTo>
                <a:close/>
                <a:moveTo>
                  <a:pt x="1082" y="705"/>
                </a:moveTo>
                <a:lnTo>
                  <a:pt x="1082" y="700"/>
                </a:lnTo>
                <a:lnTo>
                  <a:pt x="1081" y="697"/>
                </a:lnTo>
                <a:lnTo>
                  <a:pt x="1079" y="697"/>
                </a:lnTo>
                <a:lnTo>
                  <a:pt x="1078" y="698"/>
                </a:lnTo>
                <a:lnTo>
                  <a:pt x="1078" y="702"/>
                </a:lnTo>
                <a:lnTo>
                  <a:pt x="1082" y="705"/>
                </a:lnTo>
                <a:close/>
                <a:moveTo>
                  <a:pt x="1272" y="410"/>
                </a:move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2"/>
                </a:lnTo>
                <a:lnTo>
                  <a:pt x="1274" y="413"/>
                </a:lnTo>
                <a:lnTo>
                  <a:pt x="1276" y="412"/>
                </a:lnTo>
                <a:lnTo>
                  <a:pt x="1276" y="410"/>
                </a:lnTo>
                <a:lnTo>
                  <a:pt x="1275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close/>
                <a:moveTo>
                  <a:pt x="1271" y="410"/>
                </a:moveTo>
                <a:lnTo>
                  <a:pt x="1271" y="410"/>
                </a:lnTo>
                <a:lnTo>
                  <a:pt x="1272" y="410"/>
                </a:lnTo>
                <a:lnTo>
                  <a:pt x="1271" y="409"/>
                </a:lnTo>
                <a:lnTo>
                  <a:pt x="1271" y="410"/>
                </a:lnTo>
                <a:close/>
                <a:moveTo>
                  <a:pt x="1203" y="335"/>
                </a:moveTo>
                <a:lnTo>
                  <a:pt x="1203" y="335"/>
                </a:lnTo>
                <a:lnTo>
                  <a:pt x="1203" y="336"/>
                </a:lnTo>
                <a:lnTo>
                  <a:pt x="1205" y="335"/>
                </a:lnTo>
                <a:lnTo>
                  <a:pt x="1205" y="335"/>
                </a:lnTo>
                <a:lnTo>
                  <a:pt x="1205" y="334"/>
                </a:lnTo>
                <a:lnTo>
                  <a:pt x="1203" y="334"/>
                </a:lnTo>
                <a:lnTo>
                  <a:pt x="1203" y="334"/>
                </a:lnTo>
                <a:lnTo>
                  <a:pt x="1203" y="335"/>
                </a:lnTo>
                <a:close/>
                <a:moveTo>
                  <a:pt x="1248" y="387"/>
                </a:moveTo>
                <a:lnTo>
                  <a:pt x="1248" y="387"/>
                </a:lnTo>
                <a:lnTo>
                  <a:pt x="1249" y="388"/>
                </a:lnTo>
                <a:lnTo>
                  <a:pt x="1250" y="387"/>
                </a:lnTo>
                <a:lnTo>
                  <a:pt x="1251" y="385"/>
                </a:lnTo>
                <a:lnTo>
                  <a:pt x="1251" y="384"/>
                </a:lnTo>
                <a:lnTo>
                  <a:pt x="1247" y="381"/>
                </a:lnTo>
                <a:lnTo>
                  <a:pt x="1245" y="375"/>
                </a:lnTo>
                <a:lnTo>
                  <a:pt x="1248" y="368"/>
                </a:lnTo>
                <a:lnTo>
                  <a:pt x="1247" y="362"/>
                </a:lnTo>
                <a:lnTo>
                  <a:pt x="1247" y="360"/>
                </a:lnTo>
                <a:lnTo>
                  <a:pt x="1247" y="356"/>
                </a:lnTo>
                <a:lnTo>
                  <a:pt x="1242" y="360"/>
                </a:lnTo>
                <a:lnTo>
                  <a:pt x="1238" y="355"/>
                </a:lnTo>
                <a:lnTo>
                  <a:pt x="1235" y="360"/>
                </a:lnTo>
                <a:lnTo>
                  <a:pt x="1230" y="363"/>
                </a:lnTo>
                <a:lnTo>
                  <a:pt x="1228" y="364"/>
                </a:lnTo>
                <a:lnTo>
                  <a:pt x="1226" y="362"/>
                </a:lnTo>
                <a:lnTo>
                  <a:pt x="1227" y="361"/>
                </a:lnTo>
                <a:lnTo>
                  <a:pt x="1228" y="360"/>
                </a:lnTo>
                <a:lnTo>
                  <a:pt x="1231" y="359"/>
                </a:lnTo>
                <a:lnTo>
                  <a:pt x="1233" y="356"/>
                </a:lnTo>
                <a:lnTo>
                  <a:pt x="1231" y="350"/>
                </a:lnTo>
                <a:lnTo>
                  <a:pt x="1226" y="349"/>
                </a:lnTo>
                <a:lnTo>
                  <a:pt x="1223" y="348"/>
                </a:lnTo>
                <a:lnTo>
                  <a:pt x="1222" y="346"/>
                </a:lnTo>
                <a:lnTo>
                  <a:pt x="1221" y="337"/>
                </a:lnTo>
                <a:lnTo>
                  <a:pt x="1221" y="329"/>
                </a:lnTo>
                <a:lnTo>
                  <a:pt x="1222" y="325"/>
                </a:lnTo>
                <a:lnTo>
                  <a:pt x="1216" y="323"/>
                </a:lnTo>
                <a:lnTo>
                  <a:pt x="1214" y="321"/>
                </a:lnTo>
                <a:lnTo>
                  <a:pt x="1215" y="318"/>
                </a:lnTo>
                <a:lnTo>
                  <a:pt x="1215" y="316"/>
                </a:lnTo>
                <a:lnTo>
                  <a:pt x="1216" y="315"/>
                </a:lnTo>
                <a:lnTo>
                  <a:pt x="1216" y="314"/>
                </a:lnTo>
                <a:lnTo>
                  <a:pt x="1214" y="313"/>
                </a:lnTo>
                <a:lnTo>
                  <a:pt x="1215" y="315"/>
                </a:lnTo>
                <a:lnTo>
                  <a:pt x="1216" y="315"/>
                </a:lnTo>
                <a:lnTo>
                  <a:pt x="1215" y="316"/>
                </a:lnTo>
                <a:lnTo>
                  <a:pt x="1215" y="318"/>
                </a:lnTo>
                <a:lnTo>
                  <a:pt x="1213" y="318"/>
                </a:lnTo>
                <a:lnTo>
                  <a:pt x="1210" y="319"/>
                </a:lnTo>
                <a:lnTo>
                  <a:pt x="1210" y="322"/>
                </a:lnTo>
                <a:lnTo>
                  <a:pt x="1210" y="325"/>
                </a:lnTo>
                <a:lnTo>
                  <a:pt x="1209" y="328"/>
                </a:lnTo>
                <a:lnTo>
                  <a:pt x="1206" y="329"/>
                </a:lnTo>
                <a:lnTo>
                  <a:pt x="1200" y="329"/>
                </a:lnTo>
                <a:lnTo>
                  <a:pt x="1198" y="335"/>
                </a:lnTo>
                <a:lnTo>
                  <a:pt x="1194" y="343"/>
                </a:lnTo>
                <a:lnTo>
                  <a:pt x="1188" y="349"/>
                </a:lnTo>
                <a:lnTo>
                  <a:pt x="1187" y="353"/>
                </a:lnTo>
                <a:lnTo>
                  <a:pt x="1186" y="355"/>
                </a:lnTo>
                <a:lnTo>
                  <a:pt x="1185" y="355"/>
                </a:lnTo>
                <a:lnTo>
                  <a:pt x="1185" y="356"/>
                </a:lnTo>
                <a:lnTo>
                  <a:pt x="1185" y="357"/>
                </a:lnTo>
                <a:lnTo>
                  <a:pt x="1185" y="357"/>
                </a:lnTo>
                <a:lnTo>
                  <a:pt x="1186" y="356"/>
                </a:lnTo>
                <a:lnTo>
                  <a:pt x="1186" y="355"/>
                </a:lnTo>
                <a:lnTo>
                  <a:pt x="1189" y="353"/>
                </a:lnTo>
                <a:lnTo>
                  <a:pt x="1192" y="352"/>
                </a:lnTo>
                <a:lnTo>
                  <a:pt x="1193" y="350"/>
                </a:lnTo>
                <a:lnTo>
                  <a:pt x="1193" y="349"/>
                </a:lnTo>
                <a:lnTo>
                  <a:pt x="1194" y="348"/>
                </a:lnTo>
                <a:lnTo>
                  <a:pt x="1195" y="348"/>
                </a:lnTo>
                <a:lnTo>
                  <a:pt x="1195" y="348"/>
                </a:lnTo>
                <a:lnTo>
                  <a:pt x="1195" y="348"/>
                </a:lnTo>
                <a:lnTo>
                  <a:pt x="1195" y="349"/>
                </a:lnTo>
                <a:lnTo>
                  <a:pt x="1193" y="349"/>
                </a:lnTo>
                <a:lnTo>
                  <a:pt x="1193" y="350"/>
                </a:lnTo>
                <a:lnTo>
                  <a:pt x="1192" y="352"/>
                </a:lnTo>
                <a:lnTo>
                  <a:pt x="1192" y="352"/>
                </a:lnTo>
                <a:lnTo>
                  <a:pt x="1192" y="353"/>
                </a:lnTo>
                <a:lnTo>
                  <a:pt x="1192" y="354"/>
                </a:lnTo>
                <a:lnTo>
                  <a:pt x="1196" y="359"/>
                </a:lnTo>
                <a:lnTo>
                  <a:pt x="1193" y="363"/>
                </a:lnTo>
                <a:lnTo>
                  <a:pt x="1193" y="367"/>
                </a:lnTo>
                <a:lnTo>
                  <a:pt x="1195" y="369"/>
                </a:lnTo>
                <a:lnTo>
                  <a:pt x="1198" y="370"/>
                </a:lnTo>
                <a:lnTo>
                  <a:pt x="1199" y="368"/>
                </a:lnTo>
                <a:lnTo>
                  <a:pt x="1201" y="366"/>
                </a:lnTo>
                <a:lnTo>
                  <a:pt x="1203" y="364"/>
                </a:lnTo>
                <a:lnTo>
                  <a:pt x="1205" y="369"/>
                </a:lnTo>
                <a:lnTo>
                  <a:pt x="1205" y="374"/>
                </a:lnTo>
                <a:lnTo>
                  <a:pt x="1207" y="370"/>
                </a:lnTo>
                <a:lnTo>
                  <a:pt x="1209" y="368"/>
                </a:lnTo>
                <a:lnTo>
                  <a:pt x="1212" y="370"/>
                </a:lnTo>
                <a:lnTo>
                  <a:pt x="1212" y="374"/>
                </a:lnTo>
                <a:lnTo>
                  <a:pt x="1213" y="377"/>
                </a:lnTo>
                <a:lnTo>
                  <a:pt x="1215" y="378"/>
                </a:lnTo>
                <a:lnTo>
                  <a:pt x="1220" y="377"/>
                </a:lnTo>
                <a:lnTo>
                  <a:pt x="1221" y="373"/>
                </a:lnTo>
                <a:lnTo>
                  <a:pt x="1222" y="370"/>
                </a:lnTo>
                <a:lnTo>
                  <a:pt x="1223" y="368"/>
                </a:lnTo>
                <a:lnTo>
                  <a:pt x="1226" y="369"/>
                </a:lnTo>
                <a:lnTo>
                  <a:pt x="1228" y="371"/>
                </a:lnTo>
                <a:lnTo>
                  <a:pt x="1229" y="374"/>
                </a:lnTo>
                <a:lnTo>
                  <a:pt x="1227" y="375"/>
                </a:lnTo>
                <a:lnTo>
                  <a:pt x="1226" y="381"/>
                </a:lnTo>
                <a:lnTo>
                  <a:pt x="1227" y="387"/>
                </a:lnTo>
                <a:lnTo>
                  <a:pt x="1229" y="387"/>
                </a:lnTo>
                <a:lnTo>
                  <a:pt x="1229" y="388"/>
                </a:lnTo>
                <a:lnTo>
                  <a:pt x="1228" y="391"/>
                </a:lnTo>
                <a:lnTo>
                  <a:pt x="1224" y="392"/>
                </a:lnTo>
                <a:lnTo>
                  <a:pt x="1223" y="392"/>
                </a:lnTo>
                <a:lnTo>
                  <a:pt x="1222" y="392"/>
                </a:lnTo>
                <a:lnTo>
                  <a:pt x="1222" y="394"/>
                </a:lnTo>
                <a:lnTo>
                  <a:pt x="1222" y="396"/>
                </a:lnTo>
                <a:lnTo>
                  <a:pt x="1221" y="398"/>
                </a:lnTo>
                <a:lnTo>
                  <a:pt x="1219" y="401"/>
                </a:lnTo>
                <a:lnTo>
                  <a:pt x="1221" y="398"/>
                </a:lnTo>
                <a:lnTo>
                  <a:pt x="1222" y="396"/>
                </a:lnTo>
                <a:lnTo>
                  <a:pt x="1224" y="395"/>
                </a:lnTo>
                <a:lnTo>
                  <a:pt x="1226" y="397"/>
                </a:lnTo>
                <a:lnTo>
                  <a:pt x="1226" y="399"/>
                </a:lnTo>
                <a:lnTo>
                  <a:pt x="1223" y="402"/>
                </a:lnTo>
                <a:lnTo>
                  <a:pt x="1222" y="403"/>
                </a:lnTo>
                <a:lnTo>
                  <a:pt x="1221" y="405"/>
                </a:lnTo>
                <a:lnTo>
                  <a:pt x="1223" y="406"/>
                </a:lnTo>
                <a:lnTo>
                  <a:pt x="1226" y="405"/>
                </a:lnTo>
                <a:lnTo>
                  <a:pt x="1229" y="405"/>
                </a:lnTo>
                <a:lnTo>
                  <a:pt x="1230" y="409"/>
                </a:lnTo>
                <a:lnTo>
                  <a:pt x="1233" y="413"/>
                </a:lnTo>
                <a:lnTo>
                  <a:pt x="1238" y="415"/>
                </a:lnTo>
                <a:lnTo>
                  <a:pt x="1236" y="412"/>
                </a:lnTo>
                <a:lnTo>
                  <a:pt x="1235" y="411"/>
                </a:lnTo>
                <a:lnTo>
                  <a:pt x="1233" y="409"/>
                </a:lnTo>
                <a:lnTo>
                  <a:pt x="1234" y="405"/>
                </a:lnTo>
                <a:lnTo>
                  <a:pt x="1236" y="405"/>
                </a:lnTo>
                <a:lnTo>
                  <a:pt x="1238" y="409"/>
                </a:lnTo>
                <a:lnTo>
                  <a:pt x="1242" y="411"/>
                </a:lnTo>
                <a:lnTo>
                  <a:pt x="1244" y="408"/>
                </a:lnTo>
                <a:lnTo>
                  <a:pt x="1244" y="409"/>
                </a:lnTo>
                <a:lnTo>
                  <a:pt x="1245" y="410"/>
                </a:lnTo>
                <a:lnTo>
                  <a:pt x="1245" y="411"/>
                </a:lnTo>
                <a:lnTo>
                  <a:pt x="1245" y="413"/>
                </a:lnTo>
                <a:lnTo>
                  <a:pt x="1248" y="412"/>
                </a:lnTo>
                <a:lnTo>
                  <a:pt x="1249" y="411"/>
                </a:lnTo>
                <a:lnTo>
                  <a:pt x="1250" y="409"/>
                </a:lnTo>
                <a:lnTo>
                  <a:pt x="1248" y="409"/>
                </a:lnTo>
                <a:lnTo>
                  <a:pt x="1248" y="402"/>
                </a:lnTo>
                <a:lnTo>
                  <a:pt x="1248" y="396"/>
                </a:lnTo>
                <a:lnTo>
                  <a:pt x="1249" y="395"/>
                </a:lnTo>
                <a:lnTo>
                  <a:pt x="1250" y="395"/>
                </a:lnTo>
                <a:lnTo>
                  <a:pt x="1251" y="396"/>
                </a:lnTo>
                <a:lnTo>
                  <a:pt x="1254" y="396"/>
                </a:lnTo>
                <a:lnTo>
                  <a:pt x="1254" y="395"/>
                </a:lnTo>
                <a:lnTo>
                  <a:pt x="1252" y="394"/>
                </a:lnTo>
                <a:lnTo>
                  <a:pt x="1251" y="391"/>
                </a:lnTo>
                <a:lnTo>
                  <a:pt x="1252" y="389"/>
                </a:lnTo>
                <a:lnTo>
                  <a:pt x="1256" y="391"/>
                </a:lnTo>
                <a:lnTo>
                  <a:pt x="1257" y="395"/>
                </a:lnTo>
                <a:lnTo>
                  <a:pt x="1257" y="397"/>
                </a:lnTo>
                <a:lnTo>
                  <a:pt x="1258" y="399"/>
                </a:lnTo>
                <a:lnTo>
                  <a:pt x="1260" y="405"/>
                </a:lnTo>
                <a:lnTo>
                  <a:pt x="1257" y="411"/>
                </a:lnTo>
                <a:lnTo>
                  <a:pt x="1255" y="415"/>
                </a:lnTo>
                <a:lnTo>
                  <a:pt x="1258" y="417"/>
                </a:lnTo>
                <a:lnTo>
                  <a:pt x="1258" y="417"/>
                </a:lnTo>
                <a:lnTo>
                  <a:pt x="1258" y="418"/>
                </a:lnTo>
                <a:lnTo>
                  <a:pt x="1258" y="417"/>
                </a:lnTo>
                <a:lnTo>
                  <a:pt x="1258" y="417"/>
                </a:lnTo>
                <a:lnTo>
                  <a:pt x="1260" y="415"/>
                </a:lnTo>
                <a:lnTo>
                  <a:pt x="1262" y="417"/>
                </a:lnTo>
                <a:lnTo>
                  <a:pt x="1264" y="419"/>
                </a:lnTo>
                <a:lnTo>
                  <a:pt x="1265" y="420"/>
                </a:lnTo>
                <a:lnTo>
                  <a:pt x="1268" y="419"/>
                </a:lnTo>
                <a:lnTo>
                  <a:pt x="1268" y="422"/>
                </a:lnTo>
                <a:lnTo>
                  <a:pt x="1268" y="426"/>
                </a:lnTo>
                <a:lnTo>
                  <a:pt x="1268" y="431"/>
                </a:lnTo>
                <a:lnTo>
                  <a:pt x="1268" y="434"/>
                </a:lnTo>
                <a:lnTo>
                  <a:pt x="1267" y="437"/>
                </a:lnTo>
                <a:lnTo>
                  <a:pt x="1268" y="434"/>
                </a:lnTo>
                <a:lnTo>
                  <a:pt x="1268" y="431"/>
                </a:lnTo>
                <a:lnTo>
                  <a:pt x="1269" y="431"/>
                </a:lnTo>
                <a:lnTo>
                  <a:pt x="1269" y="431"/>
                </a:lnTo>
                <a:lnTo>
                  <a:pt x="1271" y="430"/>
                </a:lnTo>
                <a:lnTo>
                  <a:pt x="1272" y="427"/>
                </a:lnTo>
                <a:lnTo>
                  <a:pt x="1272" y="422"/>
                </a:lnTo>
                <a:lnTo>
                  <a:pt x="1274" y="418"/>
                </a:lnTo>
                <a:lnTo>
                  <a:pt x="1277" y="417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78" y="420"/>
                </a:lnTo>
                <a:lnTo>
                  <a:pt x="1279" y="424"/>
                </a:lnTo>
                <a:lnTo>
                  <a:pt x="1281" y="423"/>
                </a:lnTo>
                <a:lnTo>
                  <a:pt x="1281" y="423"/>
                </a:lnTo>
                <a:lnTo>
                  <a:pt x="1281" y="423"/>
                </a:lnTo>
                <a:lnTo>
                  <a:pt x="1281" y="418"/>
                </a:lnTo>
                <a:lnTo>
                  <a:pt x="1284" y="420"/>
                </a:lnTo>
                <a:lnTo>
                  <a:pt x="1289" y="422"/>
                </a:lnTo>
                <a:lnTo>
                  <a:pt x="1284" y="415"/>
                </a:lnTo>
                <a:lnTo>
                  <a:pt x="1276" y="410"/>
                </a:lnTo>
                <a:lnTo>
                  <a:pt x="1276" y="410"/>
                </a:lnTo>
                <a:lnTo>
                  <a:pt x="1276" y="410"/>
                </a:lnTo>
                <a:lnTo>
                  <a:pt x="1276" y="408"/>
                </a:lnTo>
                <a:lnTo>
                  <a:pt x="1276" y="406"/>
                </a:lnTo>
                <a:lnTo>
                  <a:pt x="1278" y="404"/>
                </a:lnTo>
                <a:lnTo>
                  <a:pt x="1279" y="402"/>
                </a:lnTo>
                <a:lnTo>
                  <a:pt x="1278" y="404"/>
                </a:lnTo>
                <a:lnTo>
                  <a:pt x="1276" y="406"/>
                </a:lnTo>
                <a:lnTo>
                  <a:pt x="1271" y="402"/>
                </a:lnTo>
                <a:lnTo>
                  <a:pt x="1268" y="396"/>
                </a:lnTo>
                <a:lnTo>
                  <a:pt x="1267" y="395"/>
                </a:lnTo>
                <a:lnTo>
                  <a:pt x="1267" y="392"/>
                </a:lnTo>
                <a:lnTo>
                  <a:pt x="1268" y="391"/>
                </a:lnTo>
                <a:lnTo>
                  <a:pt x="1269" y="390"/>
                </a:lnTo>
                <a:lnTo>
                  <a:pt x="1275" y="390"/>
                </a:lnTo>
                <a:lnTo>
                  <a:pt x="1278" y="385"/>
                </a:lnTo>
                <a:lnTo>
                  <a:pt x="1275" y="385"/>
                </a:lnTo>
                <a:lnTo>
                  <a:pt x="1272" y="382"/>
                </a:lnTo>
                <a:lnTo>
                  <a:pt x="1272" y="381"/>
                </a:lnTo>
                <a:lnTo>
                  <a:pt x="1270" y="382"/>
                </a:lnTo>
                <a:lnTo>
                  <a:pt x="1261" y="385"/>
                </a:lnTo>
                <a:lnTo>
                  <a:pt x="1251" y="384"/>
                </a:lnTo>
                <a:lnTo>
                  <a:pt x="1251" y="385"/>
                </a:lnTo>
                <a:lnTo>
                  <a:pt x="1251" y="385"/>
                </a:lnTo>
                <a:lnTo>
                  <a:pt x="1249" y="385"/>
                </a:lnTo>
                <a:lnTo>
                  <a:pt x="1248" y="387"/>
                </a:lnTo>
                <a:close/>
                <a:moveTo>
                  <a:pt x="1215" y="326"/>
                </a:moveTo>
                <a:lnTo>
                  <a:pt x="1214" y="326"/>
                </a:lnTo>
                <a:lnTo>
                  <a:pt x="1213" y="328"/>
                </a:lnTo>
                <a:lnTo>
                  <a:pt x="1214" y="329"/>
                </a:lnTo>
                <a:lnTo>
                  <a:pt x="1215" y="329"/>
                </a:lnTo>
                <a:lnTo>
                  <a:pt x="1217" y="329"/>
                </a:lnTo>
                <a:lnTo>
                  <a:pt x="1219" y="327"/>
                </a:lnTo>
                <a:lnTo>
                  <a:pt x="1217" y="326"/>
                </a:lnTo>
                <a:lnTo>
                  <a:pt x="1215" y="326"/>
                </a:lnTo>
                <a:close/>
                <a:moveTo>
                  <a:pt x="1271" y="410"/>
                </a:moveTo>
                <a:lnTo>
                  <a:pt x="1271" y="410"/>
                </a:lnTo>
                <a:lnTo>
                  <a:pt x="1271" y="410"/>
                </a:lnTo>
                <a:lnTo>
                  <a:pt x="1268" y="409"/>
                </a:lnTo>
                <a:lnTo>
                  <a:pt x="1264" y="406"/>
                </a:lnTo>
                <a:lnTo>
                  <a:pt x="1264" y="410"/>
                </a:lnTo>
                <a:lnTo>
                  <a:pt x="1268" y="412"/>
                </a:lnTo>
                <a:lnTo>
                  <a:pt x="1270" y="412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close/>
                <a:moveTo>
                  <a:pt x="695" y="629"/>
                </a:move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lnTo>
                  <a:pt x="691" y="633"/>
                </a:lnTo>
                <a:lnTo>
                  <a:pt x="687" y="633"/>
                </a:lnTo>
                <a:lnTo>
                  <a:pt x="687" y="634"/>
                </a:lnTo>
                <a:lnTo>
                  <a:pt x="685" y="635"/>
                </a:lnTo>
                <a:lnTo>
                  <a:pt x="687" y="634"/>
                </a:lnTo>
                <a:lnTo>
                  <a:pt x="687" y="633"/>
                </a:lnTo>
                <a:lnTo>
                  <a:pt x="687" y="633"/>
                </a:lnTo>
                <a:lnTo>
                  <a:pt x="687" y="633"/>
                </a:lnTo>
                <a:lnTo>
                  <a:pt x="690" y="630"/>
                </a:lnTo>
                <a:lnTo>
                  <a:pt x="695" y="629"/>
                </a:lnTo>
                <a:lnTo>
                  <a:pt x="698" y="623"/>
                </a:lnTo>
                <a:lnTo>
                  <a:pt x="703" y="620"/>
                </a:lnTo>
                <a:lnTo>
                  <a:pt x="709" y="618"/>
                </a:lnTo>
                <a:lnTo>
                  <a:pt x="712" y="613"/>
                </a:lnTo>
                <a:lnTo>
                  <a:pt x="723" y="607"/>
                </a:lnTo>
                <a:lnTo>
                  <a:pt x="730" y="597"/>
                </a:lnTo>
                <a:lnTo>
                  <a:pt x="734" y="591"/>
                </a:lnTo>
                <a:lnTo>
                  <a:pt x="741" y="587"/>
                </a:lnTo>
                <a:lnTo>
                  <a:pt x="738" y="592"/>
                </a:lnTo>
                <a:lnTo>
                  <a:pt x="734" y="594"/>
                </a:lnTo>
                <a:lnTo>
                  <a:pt x="732" y="597"/>
                </a:lnTo>
                <a:lnTo>
                  <a:pt x="732" y="600"/>
                </a:lnTo>
                <a:lnTo>
                  <a:pt x="732" y="602"/>
                </a:lnTo>
                <a:lnTo>
                  <a:pt x="733" y="604"/>
                </a:lnTo>
                <a:lnTo>
                  <a:pt x="737" y="604"/>
                </a:lnTo>
                <a:lnTo>
                  <a:pt x="739" y="601"/>
                </a:lnTo>
                <a:lnTo>
                  <a:pt x="741" y="599"/>
                </a:lnTo>
                <a:lnTo>
                  <a:pt x="744" y="598"/>
                </a:lnTo>
                <a:lnTo>
                  <a:pt x="744" y="598"/>
                </a:lnTo>
                <a:lnTo>
                  <a:pt x="744" y="598"/>
                </a:lnTo>
                <a:lnTo>
                  <a:pt x="741" y="604"/>
                </a:lnTo>
                <a:lnTo>
                  <a:pt x="738" y="607"/>
                </a:lnTo>
                <a:lnTo>
                  <a:pt x="736" y="608"/>
                </a:lnTo>
                <a:lnTo>
                  <a:pt x="736" y="611"/>
                </a:lnTo>
                <a:lnTo>
                  <a:pt x="738" y="611"/>
                </a:lnTo>
                <a:lnTo>
                  <a:pt x="740" y="611"/>
                </a:lnTo>
                <a:lnTo>
                  <a:pt x="743" y="608"/>
                </a:lnTo>
                <a:lnTo>
                  <a:pt x="747" y="607"/>
                </a:lnTo>
                <a:lnTo>
                  <a:pt x="747" y="608"/>
                </a:lnTo>
                <a:lnTo>
                  <a:pt x="747" y="608"/>
                </a:lnTo>
                <a:lnTo>
                  <a:pt x="744" y="611"/>
                </a:lnTo>
                <a:lnTo>
                  <a:pt x="740" y="611"/>
                </a:lnTo>
                <a:lnTo>
                  <a:pt x="732" y="615"/>
                </a:lnTo>
                <a:lnTo>
                  <a:pt x="724" y="614"/>
                </a:lnTo>
                <a:lnTo>
                  <a:pt x="726" y="612"/>
                </a:lnTo>
                <a:lnTo>
                  <a:pt x="727" y="608"/>
                </a:lnTo>
                <a:lnTo>
                  <a:pt x="719" y="613"/>
                </a:lnTo>
                <a:lnTo>
                  <a:pt x="712" y="619"/>
                </a:lnTo>
                <a:lnTo>
                  <a:pt x="710" y="620"/>
                </a:lnTo>
                <a:lnTo>
                  <a:pt x="709" y="621"/>
                </a:lnTo>
                <a:lnTo>
                  <a:pt x="708" y="621"/>
                </a:lnTo>
                <a:lnTo>
                  <a:pt x="708" y="621"/>
                </a:lnTo>
                <a:lnTo>
                  <a:pt x="706" y="622"/>
                </a:lnTo>
                <a:lnTo>
                  <a:pt x="706" y="623"/>
                </a:lnTo>
                <a:lnTo>
                  <a:pt x="705" y="623"/>
                </a:lnTo>
                <a:lnTo>
                  <a:pt x="703" y="625"/>
                </a:lnTo>
                <a:lnTo>
                  <a:pt x="699" y="627"/>
                </a:ln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close/>
                <a:moveTo>
                  <a:pt x="26" y="1196"/>
                </a:moveTo>
                <a:lnTo>
                  <a:pt x="26" y="1195"/>
                </a:lnTo>
                <a:lnTo>
                  <a:pt x="26" y="1195"/>
                </a:lnTo>
                <a:lnTo>
                  <a:pt x="25" y="1195"/>
                </a:lnTo>
                <a:lnTo>
                  <a:pt x="25" y="1196"/>
                </a:lnTo>
                <a:lnTo>
                  <a:pt x="25" y="1196"/>
                </a:lnTo>
                <a:lnTo>
                  <a:pt x="26" y="1198"/>
                </a:lnTo>
                <a:lnTo>
                  <a:pt x="26" y="1196"/>
                </a:lnTo>
                <a:lnTo>
                  <a:pt x="26" y="1196"/>
                </a:lnTo>
                <a:close/>
                <a:moveTo>
                  <a:pt x="1733" y="402"/>
                </a:moveTo>
                <a:lnTo>
                  <a:pt x="1733" y="402"/>
                </a:lnTo>
                <a:lnTo>
                  <a:pt x="1734" y="402"/>
                </a:lnTo>
                <a:lnTo>
                  <a:pt x="1733" y="402"/>
                </a:lnTo>
                <a:lnTo>
                  <a:pt x="1733" y="402"/>
                </a:lnTo>
                <a:lnTo>
                  <a:pt x="1733" y="402"/>
                </a:lnTo>
                <a:lnTo>
                  <a:pt x="1733" y="402"/>
                </a:lnTo>
                <a:close/>
                <a:moveTo>
                  <a:pt x="764" y="639"/>
                </a:moveTo>
                <a:lnTo>
                  <a:pt x="754" y="643"/>
                </a:lnTo>
                <a:lnTo>
                  <a:pt x="745" y="647"/>
                </a:lnTo>
                <a:lnTo>
                  <a:pt x="753" y="647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8"/>
                </a:lnTo>
                <a:lnTo>
                  <a:pt x="761" y="649"/>
                </a:lnTo>
                <a:lnTo>
                  <a:pt x="761" y="649"/>
                </a:lnTo>
                <a:lnTo>
                  <a:pt x="748" y="651"/>
                </a:lnTo>
                <a:lnTo>
                  <a:pt x="734" y="654"/>
                </a:lnTo>
                <a:lnTo>
                  <a:pt x="733" y="655"/>
                </a:lnTo>
                <a:lnTo>
                  <a:pt x="732" y="654"/>
                </a:lnTo>
                <a:lnTo>
                  <a:pt x="732" y="653"/>
                </a:lnTo>
                <a:lnTo>
                  <a:pt x="732" y="651"/>
                </a:lnTo>
                <a:lnTo>
                  <a:pt x="747" y="642"/>
                </a:lnTo>
                <a:lnTo>
                  <a:pt x="764" y="637"/>
                </a:lnTo>
                <a:lnTo>
                  <a:pt x="767" y="640"/>
                </a:lnTo>
                <a:lnTo>
                  <a:pt x="770" y="641"/>
                </a:lnTo>
                <a:lnTo>
                  <a:pt x="767" y="640"/>
                </a:lnTo>
                <a:lnTo>
                  <a:pt x="764" y="637"/>
                </a:lnTo>
                <a:lnTo>
                  <a:pt x="764" y="639"/>
                </a:lnTo>
                <a:lnTo>
                  <a:pt x="764" y="639"/>
                </a:lnTo>
                <a:close/>
                <a:moveTo>
                  <a:pt x="761" y="646"/>
                </a:moveTo>
                <a:lnTo>
                  <a:pt x="761" y="643"/>
                </a:lnTo>
                <a:lnTo>
                  <a:pt x="764" y="642"/>
                </a:lnTo>
                <a:lnTo>
                  <a:pt x="765" y="643"/>
                </a:lnTo>
                <a:lnTo>
                  <a:pt x="765" y="644"/>
                </a:lnTo>
                <a:lnTo>
                  <a:pt x="768" y="644"/>
                </a:lnTo>
                <a:lnTo>
                  <a:pt x="771" y="643"/>
                </a:lnTo>
                <a:lnTo>
                  <a:pt x="768" y="644"/>
                </a:lnTo>
                <a:lnTo>
                  <a:pt x="765" y="644"/>
                </a:lnTo>
                <a:lnTo>
                  <a:pt x="764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close/>
                <a:moveTo>
                  <a:pt x="694" y="637"/>
                </a:moveTo>
                <a:lnTo>
                  <a:pt x="694" y="637"/>
                </a:lnTo>
                <a:lnTo>
                  <a:pt x="695" y="636"/>
                </a:lnTo>
                <a:lnTo>
                  <a:pt x="695" y="636"/>
                </a:lnTo>
                <a:lnTo>
                  <a:pt x="696" y="636"/>
                </a:lnTo>
                <a:lnTo>
                  <a:pt x="697" y="637"/>
                </a:lnTo>
                <a:lnTo>
                  <a:pt x="695" y="637"/>
                </a:lnTo>
                <a:lnTo>
                  <a:pt x="694" y="637"/>
                </a:lnTo>
                <a:lnTo>
                  <a:pt x="694" y="637"/>
                </a:lnTo>
                <a:lnTo>
                  <a:pt x="694" y="637"/>
                </a:lnTo>
                <a:close/>
                <a:moveTo>
                  <a:pt x="694" y="637"/>
                </a:moveTo>
                <a:lnTo>
                  <a:pt x="694" y="637"/>
                </a:lnTo>
                <a:lnTo>
                  <a:pt x="694" y="637"/>
                </a:lnTo>
                <a:lnTo>
                  <a:pt x="694" y="637"/>
                </a:lnTo>
                <a:lnTo>
                  <a:pt x="692" y="640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7" y="644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4"/>
                </a:lnTo>
                <a:lnTo>
                  <a:pt x="681" y="644"/>
                </a:lnTo>
                <a:lnTo>
                  <a:pt x="681" y="644"/>
                </a:lnTo>
                <a:lnTo>
                  <a:pt x="681" y="644"/>
                </a:lnTo>
                <a:lnTo>
                  <a:pt x="683" y="643"/>
                </a:lnTo>
                <a:lnTo>
                  <a:pt x="684" y="641"/>
                </a:lnTo>
                <a:lnTo>
                  <a:pt x="684" y="641"/>
                </a:lnTo>
                <a:lnTo>
                  <a:pt x="687" y="641"/>
                </a:lnTo>
                <a:lnTo>
                  <a:pt x="689" y="641"/>
                </a:lnTo>
                <a:lnTo>
                  <a:pt x="690" y="637"/>
                </a:lnTo>
                <a:lnTo>
                  <a:pt x="694" y="637"/>
                </a:lnTo>
                <a:close/>
                <a:moveTo>
                  <a:pt x="331" y="907"/>
                </a:moveTo>
                <a:lnTo>
                  <a:pt x="330" y="907"/>
                </a:lnTo>
                <a:lnTo>
                  <a:pt x="330" y="907"/>
                </a:lnTo>
                <a:lnTo>
                  <a:pt x="323" y="906"/>
                </a:lnTo>
                <a:lnTo>
                  <a:pt x="322" y="899"/>
                </a:lnTo>
                <a:lnTo>
                  <a:pt x="322" y="899"/>
                </a:lnTo>
                <a:lnTo>
                  <a:pt x="322" y="899"/>
                </a:lnTo>
                <a:lnTo>
                  <a:pt x="322" y="899"/>
                </a:lnTo>
                <a:lnTo>
                  <a:pt x="315" y="901"/>
                </a:lnTo>
                <a:lnTo>
                  <a:pt x="311" y="894"/>
                </a:lnTo>
                <a:lnTo>
                  <a:pt x="311" y="894"/>
                </a:lnTo>
                <a:lnTo>
                  <a:pt x="309" y="893"/>
                </a:lnTo>
                <a:lnTo>
                  <a:pt x="309" y="896"/>
                </a:lnTo>
                <a:lnTo>
                  <a:pt x="308" y="899"/>
                </a:lnTo>
                <a:lnTo>
                  <a:pt x="309" y="900"/>
                </a:lnTo>
                <a:lnTo>
                  <a:pt x="309" y="900"/>
                </a:lnTo>
                <a:lnTo>
                  <a:pt x="309" y="901"/>
                </a:lnTo>
                <a:lnTo>
                  <a:pt x="309" y="901"/>
                </a:lnTo>
                <a:lnTo>
                  <a:pt x="308" y="900"/>
                </a:lnTo>
                <a:lnTo>
                  <a:pt x="308" y="899"/>
                </a:lnTo>
                <a:lnTo>
                  <a:pt x="301" y="894"/>
                </a:lnTo>
                <a:lnTo>
                  <a:pt x="296" y="886"/>
                </a:lnTo>
                <a:lnTo>
                  <a:pt x="302" y="892"/>
                </a:lnTo>
                <a:lnTo>
                  <a:pt x="309" y="893"/>
                </a:lnTo>
                <a:lnTo>
                  <a:pt x="309" y="892"/>
                </a:lnTo>
                <a:lnTo>
                  <a:pt x="310" y="889"/>
                </a:lnTo>
                <a:lnTo>
                  <a:pt x="312" y="885"/>
                </a:lnTo>
                <a:lnTo>
                  <a:pt x="308" y="882"/>
                </a:lnTo>
                <a:lnTo>
                  <a:pt x="306" y="882"/>
                </a:lnTo>
                <a:lnTo>
                  <a:pt x="306" y="880"/>
                </a:lnTo>
                <a:lnTo>
                  <a:pt x="306" y="879"/>
                </a:lnTo>
                <a:lnTo>
                  <a:pt x="309" y="879"/>
                </a:lnTo>
                <a:lnTo>
                  <a:pt x="312" y="877"/>
                </a:lnTo>
                <a:lnTo>
                  <a:pt x="312" y="873"/>
                </a:lnTo>
                <a:lnTo>
                  <a:pt x="311" y="872"/>
                </a:lnTo>
                <a:lnTo>
                  <a:pt x="312" y="871"/>
                </a:lnTo>
                <a:lnTo>
                  <a:pt x="318" y="872"/>
                </a:lnTo>
                <a:lnTo>
                  <a:pt x="322" y="878"/>
                </a:lnTo>
                <a:lnTo>
                  <a:pt x="323" y="881"/>
                </a:lnTo>
                <a:lnTo>
                  <a:pt x="328" y="881"/>
                </a:lnTo>
                <a:lnTo>
                  <a:pt x="332" y="881"/>
                </a:lnTo>
                <a:lnTo>
                  <a:pt x="335" y="886"/>
                </a:lnTo>
                <a:lnTo>
                  <a:pt x="333" y="889"/>
                </a:lnTo>
                <a:lnTo>
                  <a:pt x="336" y="893"/>
                </a:lnTo>
                <a:lnTo>
                  <a:pt x="337" y="896"/>
                </a:lnTo>
                <a:lnTo>
                  <a:pt x="337" y="901"/>
                </a:lnTo>
                <a:lnTo>
                  <a:pt x="331" y="899"/>
                </a:lnTo>
                <a:lnTo>
                  <a:pt x="329" y="893"/>
                </a:lnTo>
                <a:lnTo>
                  <a:pt x="326" y="888"/>
                </a:lnTo>
                <a:lnTo>
                  <a:pt x="322" y="886"/>
                </a:lnTo>
                <a:lnTo>
                  <a:pt x="319" y="885"/>
                </a:lnTo>
                <a:lnTo>
                  <a:pt x="317" y="881"/>
                </a:lnTo>
                <a:lnTo>
                  <a:pt x="317" y="880"/>
                </a:lnTo>
                <a:lnTo>
                  <a:pt x="315" y="880"/>
                </a:lnTo>
                <a:lnTo>
                  <a:pt x="313" y="882"/>
                </a:lnTo>
                <a:lnTo>
                  <a:pt x="313" y="885"/>
                </a:lnTo>
                <a:lnTo>
                  <a:pt x="317" y="888"/>
                </a:lnTo>
                <a:lnTo>
                  <a:pt x="319" y="891"/>
                </a:lnTo>
                <a:lnTo>
                  <a:pt x="322" y="889"/>
                </a:lnTo>
                <a:lnTo>
                  <a:pt x="322" y="892"/>
                </a:lnTo>
                <a:lnTo>
                  <a:pt x="322" y="895"/>
                </a:lnTo>
                <a:lnTo>
                  <a:pt x="322" y="899"/>
                </a:lnTo>
                <a:lnTo>
                  <a:pt x="328" y="901"/>
                </a:lnTo>
                <a:lnTo>
                  <a:pt x="331" y="907"/>
                </a:lnTo>
                <a:lnTo>
                  <a:pt x="331" y="907"/>
                </a:lnTo>
                <a:close/>
                <a:moveTo>
                  <a:pt x="668" y="728"/>
                </a:moveTo>
                <a:lnTo>
                  <a:pt x="668" y="728"/>
                </a:lnTo>
                <a:lnTo>
                  <a:pt x="668" y="728"/>
                </a:lnTo>
                <a:lnTo>
                  <a:pt x="662" y="735"/>
                </a:lnTo>
                <a:lnTo>
                  <a:pt x="654" y="738"/>
                </a:lnTo>
                <a:lnTo>
                  <a:pt x="650" y="739"/>
                </a:lnTo>
                <a:lnTo>
                  <a:pt x="647" y="741"/>
                </a:lnTo>
                <a:lnTo>
                  <a:pt x="647" y="745"/>
                </a:lnTo>
                <a:lnTo>
                  <a:pt x="648" y="748"/>
                </a:lnTo>
                <a:lnTo>
                  <a:pt x="651" y="753"/>
                </a:lnTo>
                <a:lnTo>
                  <a:pt x="648" y="758"/>
                </a:lnTo>
                <a:lnTo>
                  <a:pt x="647" y="755"/>
                </a:lnTo>
                <a:lnTo>
                  <a:pt x="646" y="752"/>
                </a:lnTo>
                <a:lnTo>
                  <a:pt x="644" y="755"/>
                </a:lnTo>
                <a:lnTo>
                  <a:pt x="644" y="759"/>
                </a:lnTo>
                <a:lnTo>
                  <a:pt x="642" y="765"/>
                </a:lnTo>
                <a:lnTo>
                  <a:pt x="643" y="769"/>
                </a:lnTo>
                <a:lnTo>
                  <a:pt x="651" y="795"/>
                </a:lnTo>
                <a:lnTo>
                  <a:pt x="656" y="822"/>
                </a:lnTo>
                <a:lnTo>
                  <a:pt x="657" y="824"/>
                </a:lnTo>
                <a:lnTo>
                  <a:pt x="660" y="826"/>
                </a:lnTo>
                <a:lnTo>
                  <a:pt x="660" y="824"/>
                </a:lnTo>
                <a:lnTo>
                  <a:pt x="661" y="822"/>
                </a:lnTo>
                <a:lnTo>
                  <a:pt x="660" y="824"/>
                </a:lnTo>
                <a:lnTo>
                  <a:pt x="660" y="826"/>
                </a:lnTo>
                <a:lnTo>
                  <a:pt x="668" y="863"/>
                </a:lnTo>
                <a:lnTo>
                  <a:pt x="679" y="898"/>
                </a:lnTo>
                <a:lnTo>
                  <a:pt x="684" y="909"/>
                </a:lnTo>
                <a:lnTo>
                  <a:pt x="692" y="917"/>
                </a:lnTo>
                <a:lnTo>
                  <a:pt x="691" y="919"/>
                </a:lnTo>
                <a:lnTo>
                  <a:pt x="690" y="921"/>
                </a:lnTo>
                <a:lnTo>
                  <a:pt x="694" y="929"/>
                </a:lnTo>
                <a:lnTo>
                  <a:pt x="698" y="936"/>
                </a:lnTo>
                <a:lnTo>
                  <a:pt x="699" y="936"/>
                </a:lnTo>
                <a:lnTo>
                  <a:pt x="701" y="936"/>
                </a:lnTo>
                <a:lnTo>
                  <a:pt x="709" y="933"/>
                </a:lnTo>
                <a:lnTo>
                  <a:pt x="717" y="930"/>
                </a:lnTo>
                <a:lnTo>
                  <a:pt x="724" y="930"/>
                </a:lnTo>
                <a:lnTo>
                  <a:pt x="724" y="935"/>
                </a:lnTo>
                <a:lnTo>
                  <a:pt x="718" y="936"/>
                </a:lnTo>
                <a:lnTo>
                  <a:pt x="715" y="942"/>
                </a:lnTo>
                <a:lnTo>
                  <a:pt x="715" y="949"/>
                </a:lnTo>
                <a:lnTo>
                  <a:pt x="718" y="954"/>
                </a:lnTo>
                <a:lnTo>
                  <a:pt x="723" y="950"/>
                </a:lnTo>
                <a:lnTo>
                  <a:pt x="723" y="944"/>
                </a:lnTo>
                <a:lnTo>
                  <a:pt x="725" y="944"/>
                </a:lnTo>
                <a:lnTo>
                  <a:pt x="727" y="944"/>
                </a:lnTo>
                <a:lnTo>
                  <a:pt x="730" y="951"/>
                </a:lnTo>
                <a:lnTo>
                  <a:pt x="732" y="958"/>
                </a:lnTo>
                <a:lnTo>
                  <a:pt x="732" y="963"/>
                </a:lnTo>
                <a:lnTo>
                  <a:pt x="727" y="963"/>
                </a:lnTo>
                <a:lnTo>
                  <a:pt x="724" y="962"/>
                </a:lnTo>
                <a:lnTo>
                  <a:pt x="720" y="964"/>
                </a:lnTo>
                <a:lnTo>
                  <a:pt x="726" y="965"/>
                </a:lnTo>
                <a:lnTo>
                  <a:pt x="731" y="970"/>
                </a:lnTo>
                <a:lnTo>
                  <a:pt x="733" y="973"/>
                </a:lnTo>
                <a:lnTo>
                  <a:pt x="737" y="973"/>
                </a:lnTo>
                <a:lnTo>
                  <a:pt x="740" y="970"/>
                </a:lnTo>
                <a:lnTo>
                  <a:pt x="744" y="966"/>
                </a:lnTo>
                <a:lnTo>
                  <a:pt x="745" y="959"/>
                </a:lnTo>
                <a:lnTo>
                  <a:pt x="744" y="952"/>
                </a:lnTo>
                <a:lnTo>
                  <a:pt x="743" y="943"/>
                </a:lnTo>
                <a:lnTo>
                  <a:pt x="740" y="933"/>
                </a:lnTo>
                <a:lnTo>
                  <a:pt x="739" y="922"/>
                </a:lnTo>
                <a:lnTo>
                  <a:pt x="737" y="913"/>
                </a:lnTo>
                <a:lnTo>
                  <a:pt x="736" y="909"/>
                </a:lnTo>
                <a:lnTo>
                  <a:pt x="737" y="907"/>
                </a:lnTo>
                <a:lnTo>
                  <a:pt x="741" y="919"/>
                </a:lnTo>
                <a:lnTo>
                  <a:pt x="745" y="929"/>
                </a:lnTo>
                <a:lnTo>
                  <a:pt x="750" y="956"/>
                </a:lnTo>
                <a:lnTo>
                  <a:pt x="756" y="982"/>
                </a:lnTo>
                <a:lnTo>
                  <a:pt x="756" y="983"/>
                </a:lnTo>
                <a:lnTo>
                  <a:pt x="754" y="985"/>
                </a:lnTo>
                <a:lnTo>
                  <a:pt x="754" y="987"/>
                </a:lnTo>
                <a:lnTo>
                  <a:pt x="756" y="989"/>
                </a:lnTo>
                <a:lnTo>
                  <a:pt x="758" y="989"/>
                </a:lnTo>
                <a:lnTo>
                  <a:pt x="760" y="987"/>
                </a:lnTo>
                <a:lnTo>
                  <a:pt x="761" y="990"/>
                </a:lnTo>
                <a:lnTo>
                  <a:pt x="759" y="992"/>
                </a:lnTo>
                <a:lnTo>
                  <a:pt x="757" y="994"/>
                </a:lnTo>
                <a:lnTo>
                  <a:pt x="757" y="997"/>
                </a:lnTo>
                <a:lnTo>
                  <a:pt x="756" y="1007"/>
                </a:lnTo>
                <a:lnTo>
                  <a:pt x="744" y="1011"/>
                </a:lnTo>
                <a:lnTo>
                  <a:pt x="748" y="1027"/>
                </a:lnTo>
                <a:lnTo>
                  <a:pt x="752" y="1045"/>
                </a:lnTo>
                <a:lnTo>
                  <a:pt x="756" y="1063"/>
                </a:lnTo>
                <a:lnTo>
                  <a:pt x="757" y="1083"/>
                </a:lnTo>
                <a:lnTo>
                  <a:pt x="757" y="1090"/>
                </a:lnTo>
                <a:lnTo>
                  <a:pt x="759" y="1097"/>
                </a:lnTo>
                <a:lnTo>
                  <a:pt x="759" y="1098"/>
                </a:lnTo>
                <a:lnTo>
                  <a:pt x="759" y="1100"/>
                </a:lnTo>
                <a:lnTo>
                  <a:pt x="758" y="1103"/>
                </a:lnTo>
                <a:lnTo>
                  <a:pt x="759" y="1105"/>
                </a:lnTo>
                <a:lnTo>
                  <a:pt x="759" y="1112"/>
                </a:lnTo>
                <a:lnTo>
                  <a:pt x="760" y="1111"/>
                </a:lnTo>
                <a:lnTo>
                  <a:pt x="761" y="1110"/>
                </a:lnTo>
                <a:lnTo>
                  <a:pt x="760" y="1111"/>
                </a:lnTo>
                <a:lnTo>
                  <a:pt x="759" y="1112"/>
                </a:lnTo>
                <a:lnTo>
                  <a:pt x="759" y="1115"/>
                </a:lnTo>
                <a:lnTo>
                  <a:pt x="759" y="1117"/>
                </a:lnTo>
                <a:lnTo>
                  <a:pt x="759" y="1139"/>
                </a:lnTo>
                <a:lnTo>
                  <a:pt x="760" y="1161"/>
                </a:lnTo>
                <a:lnTo>
                  <a:pt x="761" y="1182"/>
                </a:lnTo>
                <a:lnTo>
                  <a:pt x="761" y="1203"/>
                </a:lnTo>
                <a:lnTo>
                  <a:pt x="761" y="1230"/>
                </a:lnTo>
                <a:lnTo>
                  <a:pt x="759" y="1258"/>
                </a:lnTo>
                <a:lnTo>
                  <a:pt x="758" y="1265"/>
                </a:lnTo>
                <a:lnTo>
                  <a:pt x="759" y="1272"/>
                </a:lnTo>
                <a:lnTo>
                  <a:pt x="759" y="1273"/>
                </a:lnTo>
                <a:lnTo>
                  <a:pt x="759" y="1275"/>
                </a:lnTo>
                <a:lnTo>
                  <a:pt x="759" y="1279"/>
                </a:lnTo>
                <a:lnTo>
                  <a:pt x="760" y="1285"/>
                </a:lnTo>
                <a:lnTo>
                  <a:pt x="760" y="1290"/>
                </a:lnTo>
                <a:lnTo>
                  <a:pt x="760" y="1294"/>
                </a:lnTo>
                <a:lnTo>
                  <a:pt x="759" y="1301"/>
                </a:lnTo>
                <a:lnTo>
                  <a:pt x="761" y="1308"/>
                </a:lnTo>
                <a:lnTo>
                  <a:pt x="760" y="1311"/>
                </a:lnTo>
                <a:lnTo>
                  <a:pt x="760" y="1314"/>
                </a:lnTo>
                <a:lnTo>
                  <a:pt x="760" y="1315"/>
                </a:lnTo>
                <a:lnTo>
                  <a:pt x="760" y="1317"/>
                </a:lnTo>
                <a:lnTo>
                  <a:pt x="760" y="1319"/>
                </a:lnTo>
                <a:lnTo>
                  <a:pt x="760" y="1320"/>
                </a:lnTo>
                <a:lnTo>
                  <a:pt x="759" y="1321"/>
                </a:lnTo>
                <a:lnTo>
                  <a:pt x="759" y="1324"/>
                </a:lnTo>
                <a:lnTo>
                  <a:pt x="759" y="1326"/>
                </a:lnTo>
                <a:lnTo>
                  <a:pt x="759" y="1327"/>
                </a:lnTo>
                <a:lnTo>
                  <a:pt x="759" y="1328"/>
                </a:lnTo>
                <a:lnTo>
                  <a:pt x="759" y="1328"/>
                </a:lnTo>
                <a:lnTo>
                  <a:pt x="757" y="1332"/>
                </a:lnTo>
                <a:lnTo>
                  <a:pt x="758" y="1334"/>
                </a:lnTo>
                <a:lnTo>
                  <a:pt x="757" y="1338"/>
                </a:lnTo>
                <a:lnTo>
                  <a:pt x="757" y="1341"/>
                </a:lnTo>
                <a:lnTo>
                  <a:pt x="756" y="1357"/>
                </a:lnTo>
                <a:lnTo>
                  <a:pt x="750" y="1373"/>
                </a:lnTo>
                <a:lnTo>
                  <a:pt x="746" y="1383"/>
                </a:lnTo>
                <a:lnTo>
                  <a:pt x="740" y="1392"/>
                </a:lnTo>
                <a:lnTo>
                  <a:pt x="737" y="1389"/>
                </a:lnTo>
                <a:lnTo>
                  <a:pt x="732" y="1385"/>
                </a:lnTo>
                <a:lnTo>
                  <a:pt x="730" y="1382"/>
                </a:lnTo>
                <a:lnTo>
                  <a:pt x="727" y="1380"/>
                </a:lnTo>
                <a:lnTo>
                  <a:pt x="726" y="1376"/>
                </a:lnTo>
                <a:lnTo>
                  <a:pt x="724" y="1374"/>
                </a:lnTo>
                <a:lnTo>
                  <a:pt x="722" y="1369"/>
                </a:lnTo>
                <a:lnTo>
                  <a:pt x="719" y="1366"/>
                </a:lnTo>
                <a:lnTo>
                  <a:pt x="717" y="1356"/>
                </a:lnTo>
                <a:lnTo>
                  <a:pt x="712" y="1348"/>
                </a:lnTo>
                <a:lnTo>
                  <a:pt x="711" y="1345"/>
                </a:lnTo>
                <a:lnTo>
                  <a:pt x="710" y="1340"/>
                </a:lnTo>
                <a:lnTo>
                  <a:pt x="710" y="1339"/>
                </a:lnTo>
                <a:lnTo>
                  <a:pt x="709" y="1339"/>
                </a:lnTo>
                <a:lnTo>
                  <a:pt x="709" y="1339"/>
                </a:lnTo>
                <a:lnTo>
                  <a:pt x="705" y="1338"/>
                </a:lnTo>
                <a:lnTo>
                  <a:pt x="702" y="1338"/>
                </a:lnTo>
                <a:lnTo>
                  <a:pt x="705" y="1338"/>
                </a:lnTo>
                <a:lnTo>
                  <a:pt x="709" y="1339"/>
                </a:lnTo>
                <a:lnTo>
                  <a:pt x="703" y="1324"/>
                </a:lnTo>
                <a:lnTo>
                  <a:pt x="698" y="1310"/>
                </a:lnTo>
                <a:lnTo>
                  <a:pt x="697" y="1306"/>
                </a:lnTo>
                <a:lnTo>
                  <a:pt x="697" y="1304"/>
                </a:lnTo>
                <a:lnTo>
                  <a:pt x="691" y="1284"/>
                </a:lnTo>
                <a:lnTo>
                  <a:pt x="684" y="1265"/>
                </a:lnTo>
                <a:lnTo>
                  <a:pt x="683" y="1265"/>
                </a:lnTo>
                <a:lnTo>
                  <a:pt x="683" y="1264"/>
                </a:lnTo>
                <a:lnTo>
                  <a:pt x="675" y="1244"/>
                </a:lnTo>
                <a:lnTo>
                  <a:pt x="664" y="1227"/>
                </a:lnTo>
                <a:lnTo>
                  <a:pt x="661" y="1213"/>
                </a:lnTo>
                <a:lnTo>
                  <a:pt x="654" y="1202"/>
                </a:lnTo>
                <a:lnTo>
                  <a:pt x="646" y="1192"/>
                </a:lnTo>
                <a:lnTo>
                  <a:pt x="639" y="1181"/>
                </a:lnTo>
                <a:lnTo>
                  <a:pt x="639" y="1180"/>
                </a:lnTo>
                <a:lnTo>
                  <a:pt x="639" y="1179"/>
                </a:lnTo>
                <a:lnTo>
                  <a:pt x="634" y="1170"/>
                </a:lnTo>
                <a:lnTo>
                  <a:pt x="628" y="1161"/>
                </a:lnTo>
                <a:lnTo>
                  <a:pt x="625" y="1153"/>
                </a:lnTo>
                <a:lnTo>
                  <a:pt x="619" y="1146"/>
                </a:lnTo>
                <a:lnTo>
                  <a:pt x="614" y="1131"/>
                </a:lnTo>
                <a:lnTo>
                  <a:pt x="610" y="1115"/>
                </a:lnTo>
                <a:lnTo>
                  <a:pt x="610" y="1115"/>
                </a:lnTo>
                <a:lnTo>
                  <a:pt x="609" y="1114"/>
                </a:lnTo>
                <a:lnTo>
                  <a:pt x="605" y="1115"/>
                </a:lnTo>
                <a:lnTo>
                  <a:pt x="600" y="1118"/>
                </a:lnTo>
                <a:lnTo>
                  <a:pt x="598" y="1118"/>
                </a:lnTo>
                <a:lnTo>
                  <a:pt x="595" y="1119"/>
                </a:lnTo>
                <a:lnTo>
                  <a:pt x="598" y="1122"/>
                </a:lnTo>
                <a:lnTo>
                  <a:pt x="600" y="1123"/>
                </a:lnTo>
                <a:lnTo>
                  <a:pt x="602" y="1124"/>
                </a:lnTo>
                <a:lnTo>
                  <a:pt x="605" y="1125"/>
                </a:lnTo>
                <a:lnTo>
                  <a:pt x="608" y="1129"/>
                </a:lnTo>
                <a:lnTo>
                  <a:pt x="608" y="1135"/>
                </a:lnTo>
                <a:lnTo>
                  <a:pt x="606" y="1140"/>
                </a:lnTo>
                <a:lnTo>
                  <a:pt x="609" y="1146"/>
                </a:lnTo>
                <a:lnTo>
                  <a:pt x="612" y="1147"/>
                </a:lnTo>
                <a:lnTo>
                  <a:pt x="613" y="1151"/>
                </a:lnTo>
                <a:lnTo>
                  <a:pt x="612" y="1156"/>
                </a:lnTo>
                <a:lnTo>
                  <a:pt x="614" y="1158"/>
                </a:lnTo>
                <a:lnTo>
                  <a:pt x="618" y="1164"/>
                </a:lnTo>
                <a:lnTo>
                  <a:pt x="622" y="1167"/>
                </a:lnTo>
                <a:lnTo>
                  <a:pt x="622" y="1168"/>
                </a:lnTo>
                <a:lnTo>
                  <a:pt x="622" y="1170"/>
                </a:lnTo>
                <a:lnTo>
                  <a:pt x="625" y="1179"/>
                </a:lnTo>
                <a:lnTo>
                  <a:pt x="630" y="1186"/>
                </a:lnTo>
                <a:lnTo>
                  <a:pt x="632" y="1187"/>
                </a:lnTo>
                <a:lnTo>
                  <a:pt x="630" y="1188"/>
                </a:lnTo>
                <a:lnTo>
                  <a:pt x="626" y="1187"/>
                </a:lnTo>
                <a:lnTo>
                  <a:pt x="622" y="1184"/>
                </a:lnTo>
                <a:lnTo>
                  <a:pt x="615" y="1177"/>
                </a:lnTo>
                <a:lnTo>
                  <a:pt x="605" y="1174"/>
                </a:lnTo>
                <a:lnTo>
                  <a:pt x="605" y="1174"/>
                </a:lnTo>
                <a:lnTo>
                  <a:pt x="605" y="1174"/>
                </a:lnTo>
                <a:lnTo>
                  <a:pt x="605" y="1175"/>
                </a:lnTo>
                <a:lnTo>
                  <a:pt x="605" y="1175"/>
                </a:lnTo>
                <a:lnTo>
                  <a:pt x="614" y="1188"/>
                </a:lnTo>
                <a:lnTo>
                  <a:pt x="626" y="1196"/>
                </a:lnTo>
                <a:lnTo>
                  <a:pt x="627" y="1201"/>
                </a:lnTo>
                <a:lnTo>
                  <a:pt x="628" y="1206"/>
                </a:lnTo>
                <a:lnTo>
                  <a:pt x="622" y="1203"/>
                </a:lnTo>
                <a:lnTo>
                  <a:pt x="619" y="1203"/>
                </a:lnTo>
                <a:lnTo>
                  <a:pt x="622" y="1207"/>
                </a:lnTo>
                <a:lnTo>
                  <a:pt x="628" y="1210"/>
                </a:lnTo>
                <a:lnTo>
                  <a:pt x="639" y="1221"/>
                </a:lnTo>
                <a:lnTo>
                  <a:pt x="648" y="1231"/>
                </a:lnTo>
                <a:lnTo>
                  <a:pt x="644" y="1235"/>
                </a:lnTo>
                <a:lnTo>
                  <a:pt x="641" y="1231"/>
                </a:lnTo>
                <a:lnTo>
                  <a:pt x="632" y="1223"/>
                </a:lnTo>
                <a:lnTo>
                  <a:pt x="621" y="1222"/>
                </a:lnTo>
                <a:lnTo>
                  <a:pt x="627" y="1227"/>
                </a:lnTo>
                <a:lnTo>
                  <a:pt x="630" y="1231"/>
                </a:lnTo>
                <a:lnTo>
                  <a:pt x="632" y="1233"/>
                </a:lnTo>
                <a:lnTo>
                  <a:pt x="633" y="1234"/>
                </a:lnTo>
                <a:lnTo>
                  <a:pt x="632" y="1234"/>
                </a:lnTo>
                <a:lnTo>
                  <a:pt x="632" y="1234"/>
                </a:lnTo>
                <a:lnTo>
                  <a:pt x="630" y="1234"/>
                </a:lnTo>
                <a:lnTo>
                  <a:pt x="630" y="1233"/>
                </a:lnTo>
                <a:lnTo>
                  <a:pt x="621" y="1229"/>
                </a:lnTo>
                <a:lnTo>
                  <a:pt x="615" y="1223"/>
                </a:lnTo>
                <a:lnTo>
                  <a:pt x="610" y="1219"/>
                </a:lnTo>
                <a:lnTo>
                  <a:pt x="605" y="1217"/>
                </a:lnTo>
                <a:lnTo>
                  <a:pt x="602" y="1210"/>
                </a:lnTo>
                <a:lnTo>
                  <a:pt x="595" y="1205"/>
                </a:lnTo>
                <a:lnTo>
                  <a:pt x="599" y="1213"/>
                </a:lnTo>
                <a:lnTo>
                  <a:pt x="605" y="1217"/>
                </a:lnTo>
                <a:lnTo>
                  <a:pt x="606" y="1221"/>
                </a:lnTo>
                <a:lnTo>
                  <a:pt x="607" y="1223"/>
                </a:lnTo>
                <a:lnTo>
                  <a:pt x="613" y="1229"/>
                </a:lnTo>
                <a:lnTo>
                  <a:pt x="619" y="1236"/>
                </a:lnTo>
                <a:lnTo>
                  <a:pt x="613" y="1234"/>
                </a:lnTo>
                <a:lnTo>
                  <a:pt x="606" y="1230"/>
                </a:lnTo>
                <a:lnTo>
                  <a:pt x="616" y="1243"/>
                </a:lnTo>
                <a:lnTo>
                  <a:pt x="629" y="1251"/>
                </a:lnTo>
                <a:lnTo>
                  <a:pt x="633" y="1256"/>
                </a:lnTo>
                <a:lnTo>
                  <a:pt x="635" y="1259"/>
                </a:lnTo>
                <a:lnTo>
                  <a:pt x="637" y="1265"/>
                </a:lnTo>
                <a:lnTo>
                  <a:pt x="641" y="1269"/>
                </a:lnTo>
                <a:lnTo>
                  <a:pt x="654" y="1279"/>
                </a:lnTo>
                <a:lnTo>
                  <a:pt x="663" y="1293"/>
                </a:lnTo>
                <a:lnTo>
                  <a:pt x="664" y="1296"/>
                </a:lnTo>
                <a:lnTo>
                  <a:pt x="663" y="1298"/>
                </a:lnTo>
                <a:lnTo>
                  <a:pt x="660" y="1294"/>
                </a:lnTo>
                <a:lnTo>
                  <a:pt x="656" y="1293"/>
                </a:lnTo>
                <a:lnTo>
                  <a:pt x="654" y="1287"/>
                </a:lnTo>
                <a:lnTo>
                  <a:pt x="649" y="1283"/>
                </a:lnTo>
                <a:lnTo>
                  <a:pt x="643" y="1277"/>
                </a:lnTo>
                <a:lnTo>
                  <a:pt x="635" y="1278"/>
                </a:lnTo>
                <a:lnTo>
                  <a:pt x="633" y="1279"/>
                </a:lnTo>
                <a:lnTo>
                  <a:pt x="630" y="1277"/>
                </a:lnTo>
                <a:lnTo>
                  <a:pt x="626" y="1272"/>
                </a:lnTo>
                <a:lnTo>
                  <a:pt x="620" y="1269"/>
                </a:lnTo>
                <a:lnTo>
                  <a:pt x="619" y="1270"/>
                </a:lnTo>
                <a:lnTo>
                  <a:pt x="618" y="1271"/>
                </a:lnTo>
                <a:lnTo>
                  <a:pt x="621" y="1277"/>
                </a:lnTo>
                <a:lnTo>
                  <a:pt x="626" y="1280"/>
                </a:lnTo>
                <a:lnTo>
                  <a:pt x="629" y="1282"/>
                </a:lnTo>
                <a:lnTo>
                  <a:pt x="632" y="1283"/>
                </a:lnTo>
                <a:lnTo>
                  <a:pt x="629" y="1286"/>
                </a:lnTo>
                <a:lnTo>
                  <a:pt x="627" y="1287"/>
                </a:lnTo>
                <a:lnTo>
                  <a:pt x="625" y="1289"/>
                </a:lnTo>
                <a:lnTo>
                  <a:pt x="623" y="1290"/>
                </a:lnTo>
                <a:lnTo>
                  <a:pt x="620" y="1293"/>
                </a:lnTo>
                <a:lnTo>
                  <a:pt x="620" y="1300"/>
                </a:lnTo>
                <a:lnTo>
                  <a:pt x="622" y="1305"/>
                </a:lnTo>
                <a:lnTo>
                  <a:pt x="626" y="1307"/>
                </a:lnTo>
                <a:lnTo>
                  <a:pt x="625" y="1314"/>
                </a:lnTo>
                <a:lnTo>
                  <a:pt x="628" y="1320"/>
                </a:lnTo>
                <a:lnTo>
                  <a:pt x="630" y="1326"/>
                </a:lnTo>
                <a:lnTo>
                  <a:pt x="626" y="1331"/>
                </a:lnTo>
                <a:lnTo>
                  <a:pt x="626" y="1332"/>
                </a:lnTo>
                <a:lnTo>
                  <a:pt x="626" y="1335"/>
                </a:lnTo>
                <a:lnTo>
                  <a:pt x="629" y="1333"/>
                </a:lnTo>
                <a:lnTo>
                  <a:pt x="632" y="1333"/>
                </a:lnTo>
                <a:lnTo>
                  <a:pt x="634" y="1336"/>
                </a:lnTo>
                <a:lnTo>
                  <a:pt x="636" y="1336"/>
                </a:lnTo>
                <a:lnTo>
                  <a:pt x="634" y="1340"/>
                </a:lnTo>
                <a:lnTo>
                  <a:pt x="634" y="1343"/>
                </a:lnTo>
                <a:lnTo>
                  <a:pt x="637" y="1346"/>
                </a:lnTo>
                <a:lnTo>
                  <a:pt x="642" y="1345"/>
                </a:lnTo>
                <a:lnTo>
                  <a:pt x="643" y="1345"/>
                </a:lnTo>
                <a:lnTo>
                  <a:pt x="643" y="1345"/>
                </a:lnTo>
                <a:lnTo>
                  <a:pt x="649" y="1346"/>
                </a:lnTo>
                <a:lnTo>
                  <a:pt x="654" y="1350"/>
                </a:lnTo>
                <a:lnTo>
                  <a:pt x="654" y="1352"/>
                </a:lnTo>
                <a:lnTo>
                  <a:pt x="651" y="1352"/>
                </a:lnTo>
                <a:lnTo>
                  <a:pt x="644" y="1350"/>
                </a:lnTo>
                <a:lnTo>
                  <a:pt x="636" y="1352"/>
                </a:lnTo>
                <a:lnTo>
                  <a:pt x="644" y="1353"/>
                </a:lnTo>
                <a:lnTo>
                  <a:pt x="653" y="1356"/>
                </a:lnTo>
                <a:lnTo>
                  <a:pt x="647" y="1357"/>
                </a:lnTo>
                <a:lnTo>
                  <a:pt x="642" y="1357"/>
                </a:lnTo>
                <a:lnTo>
                  <a:pt x="637" y="1359"/>
                </a:lnTo>
                <a:lnTo>
                  <a:pt x="637" y="1363"/>
                </a:lnTo>
                <a:lnTo>
                  <a:pt x="639" y="1366"/>
                </a:lnTo>
                <a:lnTo>
                  <a:pt x="637" y="1367"/>
                </a:lnTo>
                <a:lnTo>
                  <a:pt x="639" y="1369"/>
                </a:lnTo>
                <a:lnTo>
                  <a:pt x="641" y="1370"/>
                </a:lnTo>
                <a:lnTo>
                  <a:pt x="646" y="1374"/>
                </a:lnTo>
                <a:lnTo>
                  <a:pt x="643" y="1378"/>
                </a:lnTo>
                <a:lnTo>
                  <a:pt x="641" y="1378"/>
                </a:lnTo>
                <a:lnTo>
                  <a:pt x="640" y="1378"/>
                </a:lnTo>
                <a:lnTo>
                  <a:pt x="640" y="1378"/>
                </a:lnTo>
                <a:lnTo>
                  <a:pt x="640" y="1380"/>
                </a:lnTo>
                <a:lnTo>
                  <a:pt x="642" y="1380"/>
                </a:lnTo>
                <a:lnTo>
                  <a:pt x="643" y="1378"/>
                </a:lnTo>
                <a:lnTo>
                  <a:pt x="647" y="1378"/>
                </a:lnTo>
                <a:lnTo>
                  <a:pt x="650" y="1378"/>
                </a:lnTo>
                <a:lnTo>
                  <a:pt x="654" y="1378"/>
                </a:lnTo>
                <a:lnTo>
                  <a:pt x="655" y="1380"/>
                </a:lnTo>
                <a:lnTo>
                  <a:pt x="654" y="1382"/>
                </a:lnTo>
                <a:lnTo>
                  <a:pt x="650" y="1382"/>
                </a:lnTo>
                <a:lnTo>
                  <a:pt x="649" y="1382"/>
                </a:lnTo>
                <a:lnTo>
                  <a:pt x="648" y="1382"/>
                </a:lnTo>
                <a:lnTo>
                  <a:pt x="646" y="1382"/>
                </a:lnTo>
                <a:lnTo>
                  <a:pt x="644" y="1384"/>
                </a:lnTo>
                <a:lnTo>
                  <a:pt x="646" y="1385"/>
                </a:lnTo>
                <a:lnTo>
                  <a:pt x="647" y="1387"/>
                </a:lnTo>
                <a:lnTo>
                  <a:pt x="650" y="1387"/>
                </a:lnTo>
                <a:lnTo>
                  <a:pt x="651" y="1390"/>
                </a:lnTo>
                <a:lnTo>
                  <a:pt x="649" y="1392"/>
                </a:lnTo>
                <a:lnTo>
                  <a:pt x="646" y="1392"/>
                </a:lnTo>
                <a:lnTo>
                  <a:pt x="644" y="1392"/>
                </a:lnTo>
                <a:lnTo>
                  <a:pt x="642" y="1392"/>
                </a:lnTo>
                <a:lnTo>
                  <a:pt x="641" y="1391"/>
                </a:lnTo>
                <a:lnTo>
                  <a:pt x="639" y="1390"/>
                </a:lnTo>
                <a:lnTo>
                  <a:pt x="639" y="1390"/>
                </a:lnTo>
                <a:lnTo>
                  <a:pt x="639" y="1390"/>
                </a:lnTo>
                <a:lnTo>
                  <a:pt x="639" y="1389"/>
                </a:lnTo>
                <a:lnTo>
                  <a:pt x="635" y="1383"/>
                </a:lnTo>
                <a:lnTo>
                  <a:pt x="630" y="1377"/>
                </a:lnTo>
                <a:lnTo>
                  <a:pt x="621" y="1378"/>
                </a:lnTo>
                <a:lnTo>
                  <a:pt x="612" y="1378"/>
                </a:lnTo>
                <a:lnTo>
                  <a:pt x="612" y="1380"/>
                </a:lnTo>
                <a:lnTo>
                  <a:pt x="612" y="1380"/>
                </a:lnTo>
                <a:lnTo>
                  <a:pt x="612" y="1380"/>
                </a:lnTo>
                <a:lnTo>
                  <a:pt x="612" y="1378"/>
                </a:lnTo>
                <a:lnTo>
                  <a:pt x="621" y="1378"/>
                </a:lnTo>
                <a:lnTo>
                  <a:pt x="630" y="1377"/>
                </a:lnTo>
                <a:lnTo>
                  <a:pt x="630" y="1375"/>
                </a:lnTo>
                <a:lnTo>
                  <a:pt x="628" y="1374"/>
                </a:lnTo>
                <a:lnTo>
                  <a:pt x="628" y="1374"/>
                </a:lnTo>
                <a:lnTo>
                  <a:pt x="627" y="1374"/>
                </a:lnTo>
                <a:lnTo>
                  <a:pt x="628" y="1374"/>
                </a:lnTo>
                <a:lnTo>
                  <a:pt x="628" y="1374"/>
                </a:lnTo>
                <a:lnTo>
                  <a:pt x="623" y="1366"/>
                </a:lnTo>
                <a:lnTo>
                  <a:pt x="619" y="1359"/>
                </a:lnTo>
                <a:lnTo>
                  <a:pt x="619" y="1356"/>
                </a:lnTo>
                <a:lnTo>
                  <a:pt x="618" y="1355"/>
                </a:lnTo>
                <a:lnTo>
                  <a:pt x="618" y="1350"/>
                </a:lnTo>
                <a:lnTo>
                  <a:pt x="615" y="1347"/>
                </a:lnTo>
                <a:lnTo>
                  <a:pt x="614" y="1340"/>
                </a:lnTo>
                <a:lnTo>
                  <a:pt x="610" y="1333"/>
                </a:lnTo>
                <a:lnTo>
                  <a:pt x="610" y="1328"/>
                </a:lnTo>
                <a:lnTo>
                  <a:pt x="608" y="1324"/>
                </a:lnTo>
                <a:lnTo>
                  <a:pt x="608" y="1319"/>
                </a:lnTo>
                <a:lnTo>
                  <a:pt x="606" y="1314"/>
                </a:lnTo>
                <a:lnTo>
                  <a:pt x="606" y="1313"/>
                </a:lnTo>
                <a:lnTo>
                  <a:pt x="605" y="1312"/>
                </a:lnTo>
                <a:lnTo>
                  <a:pt x="605" y="1313"/>
                </a:lnTo>
                <a:lnTo>
                  <a:pt x="603" y="1313"/>
                </a:lnTo>
                <a:lnTo>
                  <a:pt x="603" y="1314"/>
                </a:lnTo>
                <a:lnTo>
                  <a:pt x="603" y="1314"/>
                </a:lnTo>
                <a:lnTo>
                  <a:pt x="592" y="1322"/>
                </a:lnTo>
                <a:lnTo>
                  <a:pt x="580" y="1327"/>
                </a:lnTo>
                <a:lnTo>
                  <a:pt x="572" y="1334"/>
                </a:lnTo>
                <a:lnTo>
                  <a:pt x="563" y="1338"/>
                </a:lnTo>
                <a:lnTo>
                  <a:pt x="563" y="1339"/>
                </a:lnTo>
                <a:lnTo>
                  <a:pt x="563" y="1340"/>
                </a:lnTo>
                <a:lnTo>
                  <a:pt x="560" y="1340"/>
                </a:lnTo>
                <a:lnTo>
                  <a:pt x="559" y="1340"/>
                </a:lnTo>
                <a:lnTo>
                  <a:pt x="552" y="1347"/>
                </a:lnTo>
                <a:lnTo>
                  <a:pt x="544" y="1353"/>
                </a:lnTo>
                <a:lnTo>
                  <a:pt x="532" y="1357"/>
                </a:lnTo>
                <a:lnTo>
                  <a:pt x="522" y="1362"/>
                </a:lnTo>
                <a:lnTo>
                  <a:pt x="520" y="1361"/>
                </a:lnTo>
                <a:lnTo>
                  <a:pt x="520" y="1360"/>
                </a:lnTo>
                <a:lnTo>
                  <a:pt x="527" y="1356"/>
                </a:lnTo>
                <a:lnTo>
                  <a:pt x="534" y="1353"/>
                </a:lnTo>
                <a:lnTo>
                  <a:pt x="540" y="1350"/>
                </a:lnTo>
                <a:lnTo>
                  <a:pt x="546" y="1347"/>
                </a:lnTo>
                <a:lnTo>
                  <a:pt x="552" y="1343"/>
                </a:lnTo>
                <a:lnTo>
                  <a:pt x="558" y="1340"/>
                </a:lnTo>
                <a:lnTo>
                  <a:pt x="560" y="1338"/>
                </a:lnTo>
                <a:lnTo>
                  <a:pt x="563" y="1338"/>
                </a:lnTo>
                <a:lnTo>
                  <a:pt x="571" y="1331"/>
                </a:lnTo>
                <a:lnTo>
                  <a:pt x="580" y="1327"/>
                </a:lnTo>
                <a:lnTo>
                  <a:pt x="584" y="1322"/>
                </a:lnTo>
                <a:lnTo>
                  <a:pt x="589" y="1320"/>
                </a:lnTo>
                <a:lnTo>
                  <a:pt x="593" y="1319"/>
                </a:lnTo>
                <a:lnTo>
                  <a:pt x="595" y="1315"/>
                </a:lnTo>
                <a:lnTo>
                  <a:pt x="595" y="1315"/>
                </a:lnTo>
                <a:lnTo>
                  <a:pt x="595" y="1315"/>
                </a:lnTo>
                <a:lnTo>
                  <a:pt x="596" y="1315"/>
                </a:lnTo>
                <a:lnTo>
                  <a:pt x="599" y="1315"/>
                </a:lnTo>
                <a:lnTo>
                  <a:pt x="601" y="1314"/>
                </a:lnTo>
                <a:lnTo>
                  <a:pt x="599" y="1313"/>
                </a:lnTo>
                <a:lnTo>
                  <a:pt x="598" y="1311"/>
                </a:lnTo>
                <a:lnTo>
                  <a:pt x="599" y="1313"/>
                </a:lnTo>
                <a:lnTo>
                  <a:pt x="601" y="1314"/>
                </a:lnTo>
                <a:lnTo>
                  <a:pt x="602" y="1313"/>
                </a:lnTo>
                <a:lnTo>
                  <a:pt x="603" y="1313"/>
                </a:lnTo>
                <a:lnTo>
                  <a:pt x="605" y="1313"/>
                </a:lnTo>
                <a:lnTo>
                  <a:pt x="605" y="1312"/>
                </a:lnTo>
                <a:lnTo>
                  <a:pt x="605" y="1308"/>
                </a:lnTo>
                <a:lnTo>
                  <a:pt x="603" y="1305"/>
                </a:lnTo>
                <a:lnTo>
                  <a:pt x="594" y="1278"/>
                </a:lnTo>
                <a:lnTo>
                  <a:pt x="582" y="1252"/>
                </a:lnTo>
                <a:lnTo>
                  <a:pt x="577" y="1238"/>
                </a:lnTo>
                <a:lnTo>
                  <a:pt x="571" y="1224"/>
                </a:lnTo>
                <a:lnTo>
                  <a:pt x="570" y="1223"/>
                </a:lnTo>
                <a:lnTo>
                  <a:pt x="568" y="1222"/>
                </a:lnTo>
                <a:lnTo>
                  <a:pt x="568" y="1222"/>
                </a:lnTo>
                <a:lnTo>
                  <a:pt x="558" y="1194"/>
                </a:lnTo>
                <a:lnTo>
                  <a:pt x="554" y="1193"/>
                </a:lnTo>
                <a:lnTo>
                  <a:pt x="551" y="1193"/>
                </a:lnTo>
                <a:lnTo>
                  <a:pt x="554" y="1193"/>
                </a:lnTo>
                <a:lnTo>
                  <a:pt x="558" y="1194"/>
                </a:lnTo>
                <a:lnTo>
                  <a:pt x="558" y="1188"/>
                </a:lnTo>
                <a:lnTo>
                  <a:pt x="558" y="1182"/>
                </a:lnTo>
                <a:lnTo>
                  <a:pt x="553" y="1184"/>
                </a:lnTo>
                <a:lnTo>
                  <a:pt x="552" y="1182"/>
                </a:lnTo>
                <a:lnTo>
                  <a:pt x="553" y="1184"/>
                </a:lnTo>
                <a:lnTo>
                  <a:pt x="558" y="1182"/>
                </a:lnTo>
                <a:lnTo>
                  <a:pt x="558" y="1180"/>
                </a:lnTo>
                <a:lnTo>
                  <a:pt x="558" y="1177"/>
                </a:lnTo>
                <a:lnTo>
                  <a:pt x="558" y="1177"/>
                </a:lnTo>
                <a:lnTo>
                  <a:pt x="557" y="1175"/>
                </a:lnTo>
                <a:lnTo>
                  <a:pt x="557" y="1175"/>
                </a:lnTo>
                <a:lnTo>
                  <a:pt x="557" y="1173"/>
                </a:lnTo>
                <a:lnTo>
                  <a:pt x="556" y="1171"/>
                </a:lnTo>
                <a:lnTo>
                  <a:pt x="551" y="1151"/>
                </a:lnTo>
                <a:lnTo>
                  <a:pt x="547" y="1131"/>
                </a:lnTo>
                <a:lnTo>
                  <a:pt x="549" y="1130"/>
                </a:lnTo>
                <a:lnTo>
                  <a:pt x="550" y="1130"/>
                </a:lnTo>
                <a:lnTo>
                  <a:pt x="547" y="1125"/>
                </a:lnTo>
                <a:lnTo>
                  <a:pt x="546" y="1122"/>
                </a:lnTo>
                <a:lnTo>
                  <a:pt x="545" y="1122"/>
                </a:lnTo>
                <a:lnTo>
                  <a:pt x="545" y="1122"/>
                </a:lnTo>
                <a:lnTo>
                  <a:pt x="543" y="1123"/>
                </a:lnTo>
                <a:lnTo>
                  <a:pt x="540" y="1123"/>
                </a:lnTo>
                <a:lnTo>
                  <a:pt x="534" y="1124"/>
                </a:lnTo>
                <a:lnTo>
                  <a:pt x="527" y="1126"/>
                </a:lnTo>
                <a:lnTo>
                  <a:pt x="526" y="1128"/>
                </a:lnTo>
                <a:lnTo>
                  <a:pt x="524" y="1129"/>
                </a:lnTo>
                <a:lnTo>
                  <a:pt x="524" y="1128"/>
                </a:lnTo>
                <a:lnTo>
                  <a:pt x="524" y="1128"/>
                </a:lnTo>
                <a:lnTo>
                  <a:pt x="524" y="1129"/>
                </a:lnTo>
                <a:lnTo>
                  <a:pt x="524" y="1129"/>
                </a:lnTo>
                <a:lnTo>
                  <a:pt x="520" y="1131"/>
                </a:lnTo>
                <a:lnTo>
                  <a:pt x="517" y="1135"/>
                </a:lnTo>
                <a:lnTo>
                  <a:pt x="519" y="1136"/>
                </a:lnTo>
                <a:lnTo>
                  <a:pt x="520" y="1137"/>
                </a:lnTo>
                <a:lnTo>
                  <a:pt x="520" y="1143"/>
                </a:lnTo>
                <a:lnTo>
                  <a:pt x="515" y="1147"/>
                </a:lnTo>
                <a:lnTo>
                  <a:pt x="513" y="1149"/>
                </a:lnTo>
                <a:lnTo>
                  <a:pt x="512" y="1149"/>
                </a:lnTo>
                <a:lnTo>
                  <a:pt x="509" y="1151"/>
                </a:lnTo>
                <a:lnTo>
                  <a:pt x="509" y="1154"/>
                </a:lnTo>
                <a:lnTo>
                  <a:pt x="503" y="1158"/>
                </a:lnTo>
                <a:lnTo>
                  <a:pt x="496" y="1159"/>
                </a:lnTo>
                <a:lnTo>
                  <a:pt x="491" y="1154"/>
                </a:lnTo>
                <a:lnTo>
                  <a:pt x="487" y="1150"/>
                </a:lnTo>
                <a:lnTo>
                  <a:pt x="483" y="1145"/>
                </a:lnTo>
                <a:lnTo>
                  <a:pt x="485" y="1142"/>
                </a:lnTo>
                <a:lnTo>
                  <a:pt x="488" y="1137"/>
                </a:lnTo>
                <a:lnTo>
                  <a:pt x="485" y="1132"/>
                </a:lnTo>
                <a:lnTo>
                  <a:pt x="484" y="1128"/>
                </a:lnTo>
                <a:lnTo>
                  <a:pt x="480" y="1129"/>
                </a:lnTo>
                <a:lnTo>
                  <a:pt x="469" y="1131"/>
                </a:lnTo>
                <a:lnTo>
                  <a:pt x="457" y="1131"/>
                </a:lnTo>
                <a:lnTo>
                  <a:pt x="462" y="1130"/>
                </a:lnTo>
                <a:lnTo>
                  <a:pt x="465" y="1128"/>
                </a:lnTo>
                <a:lnTo>
                  <a:pt x="455" y="1125"/>
                </a:lnTo>
                <a:lnTo>
                  <a:pt x="446" y="1121"/>
                </a:lnTo>
                <a:lnTo>
                  <a:pt x="443" y="1118"/>
                </a:lnTo>
                <a:lnTo>
                  <a:pt x="440" y="1118"/>
                </a:lnTo>
                <a:lnTo>
                  <a:pt x="437" y="1117"/>
                </a:lnTo>
                <a:lnTo>
                  <a:pt x="436" y="1114"/>
                </a:lnTo>
                <a:lnTo>
                  <a:pt x="433" y="1114"/>
                </a:lnTo>
                <a:lnTo>
                  <a:pt x="430" y="1111"/>
                </a:lnTo>
                <a:lnTo>
                  <a:pt x="434" y="1111"/>
                </a:lnTo>
                <a:lnTo>
                  <a:pt x="436" y="1114"/>
                </a:lnTo>
                <a:lnTo>
                  <a:pt x="439" y="1114"/>
                </a:lnTo>
                <a:lnTo>
                  <a:pt x="440" y="1112"/>
                </a:lnTo>
                <a:lnTo>
                  <a:pt x="441" y="1112"/>
                </a:lnTo>
                <a:lnTo>
                  <a:pt x="441" y="1112"/>
                </a:lnTo>
                <a:lnTo>
                  <a:pt x="443" y="1112"/>
                </a:lnTo>
                <a:lnTo>
                  <a:pt x="444" y="1112"/>
                </a:lnTo>
                <a:lnTo>
                  <a:pt x="447" y="1116"/>
                </a:lnTo>
                <a:lnTo>
                  <a:pt x="450" y="1117"/>
                </a:lnTo>
                <a:lnTo>
                  <a:pt x="457" y="1117"/>
                </a:lnTo>
                <a:lnTo>
                  <a:pt x="462" y="1121"/>
                </a:lnTo>
                <a:lnTo>
                  <a:pt x="464" y="1122"/>
                </a:lnTo>
                <a:lnTo>
                  <a:pt x="468" y="1122"/>
                </a:lnTo>
                <a:lnTo>
                  <a:pt x="471" y="1124"/>
                </a:lnTo>
                <a:lnTo>
                  <a:pt x="473" y="1124"/>
                </a:lnTo>
                <a:lnTo>
                  <a:pt x="481" y="1121"/>
                </a:lnTo>
                <a:lnTo>
                  <a:pt x="489" y="1122"/>
                </a:lnTo>
                <a:lnTo>
                  <a:pt x="490" y="1121"/>
                </a:lnTo>
                <a:lnTo>
                  <a:pt x="491" y="1119"/>
                </a:lnTo>
                <a:lnTo>
                  <a:pt x="492" y="1118"/>
                </a:lnTo>
                <a:lnTo>
                  <a:pt x="494" y="1117"/>
                </a:lnTo>
                <a:lnTo>
                  <a:pt x="485" y="1116"/>
                </a:lnTo>
                <a:lnTo>
                  <a:pt x="478" y="1114"/>
                </a:lnTo>
                <a:lnTo>
                  <a:pt x="468" y="1110"/>
                </a:lnTo>
                <a:lnTo>
                  <a:pt x="457" y="1109"/>
                </a:lnTo>
                <a:lnTo>
                  <a:pt x="450" y="1107"/>
                </a:lnTo>
                <a:lnTo>
                  <a:pt x="443" y="1104"/>
                </a:lnTo>
                <a:lnTo>
                  <a:pt x="442" y="1104"/>
                </a:lnTo>
                <a:lnTo>
                  <a:pt x="440" y="1104"/>
                </a:lnTo>
                <a:lnTo>
                  <a:pt x="440" y="1103"/>
                </a:lnTo>
                <a:lnTo>
                  <a:pt x="440" y="1103"/>
                </a:lnTo>
                <a:lnTo>
                  <a:pt x="440" y="1103"/>
                </a:lnTo>
                <a:lnTo>
                  <a:pt x="440" y="1104"/>
                </a:lnTo>
                <a:lnTo>
                  <a:pt x="442" y="1104"/>
                </a:lnTo>
                <a:lnTo>
                  <a:pt x="443" y="1104"/>
                </a:lnTo>
                <a:lnTo>
                  <a:pt x="444" y="1102"/>
                </a:lnTo>
                <a:lnTo>
                  <a:pt x="448" y="1103"/>
                </a:lnTo>
                <a:lnTo>
                  <a:pt x="454" y="1105"/>
                </a:lnTo>
                <a:lnTo>
                  <a:pt x="461" y="1105"/>
                </a:lnTo>
                <a:lnTo>
                  <a:pt x="443" y="1095"/>
                </a:lnTo>
                <a:lnTo>
                  <a:pt x="423" y="1089"/>
                </a:lnTo>
                <a:lnTo>
                  <a:pt x="428" y="1088"/>
                </a:lnTo>
                <a:lnTo>
                  <a:pt x="432" y="1087"/>
                </a:lnTo>
                <a:lnTo>
                  <a:pt x="428" y="1082"/>
                </a:lnTo>
                <a:lnTo>
                  <a:pt x="421" y="1080"/>
                </a:lnTo>
                <a:lnTo>
                  <a:pt x="414" y="1077"/>
                </a:lnTo>
                <a:lnTo>
                  <a:pt x="412" y="1068"/>
                </a:lnTo>
                <a:lnTo>
                  <a:pt x="406" y="1059"/>
                </a:lnTo>
                <a:lnTo>
                  <a:pt x="398" y="1050"/>
                </a:lnTo>
                <a:lnTo>
                  <a:pt x="397" y="1050"/>
                </a:lnTo>
                <a:lnTo>
                  <a:pt x="397" y="1050"/>
                </a:lnTo>
                <a:lnTo>
                  <a:pt x="391" y="1046"/>
                </a:lnTo>
                <a:lnTo>
                  <a:pt x="388" y="1052"/>
                </a:lnTo>
                <a:lnTo>
                  <a:pt x="386" y="1049"/>
                </a:lnTo>
                <a:lnTo>
                  <a:pt x="385" y="1045"/>
                </a:lnTo>
                <a:lnTo>
                  <a:pt x="385" y="1043"/>
                </a:lnTo>
                <a:lnTo>
                  <a:pt x="385" y="1042"/>
                </a:lnTo>
                <a:lnTo>
                  <a:pt x="395" y="1042"/>
                </a:lnTo>
                <a:lnTo>
                  <a:pt x="402" y="1048"/>
                </a:lnTo>
                <a:lnTo>
                  <a:pt x="402" y="1048"/>
                </a:lnTo>
                <a:lnTo>
                  <a:pt x="402" y="1048"/>
                </a:lnTo>
                <a:lnTo>
                  <a:pt x="406" y="1052"/>
                </a:lnTo>
                <a:lnTo>
                  <a:pt x="409" y="1053"/>
                </a:lnTo>
                <a:lnTo>
                  <a:pt x="409" y="1049"/>
                </a:lnTo>
                <a:lnTo>
                  <a:pt x="407" y="1047"/>
                </a:lnTo>
                <a:lnTo>
                  <a:pt x="406" y="1040"/>
                </a:lnTo>
                <a:lnTo>
                  <a:pt x="404" y="1033"/>
                </a:lnTo>
                <a:lnTo>
                  <a:pt x="400" y="1032"/>
                </a:lnTo>
                <a:lnTo>
                  <a:pt x="397" y="1029"/>
                </a:lnTo>
                <a:lnTo>
                  <a:pt x="397" y="1031"/>
                </a:lnTo>
                <a:lnTo>
                  <a:pt x="397" y="1032"/>
                </a:lnTo>
                <a:lnTo>
                  <a:pt x="397" y="1033"/>
                </a:lnTo>
                <a:lnTo>
                  <a:pt x="397" y="1033"/>
                </a:lnTo>
                <a:lnTo>
                  <a:pt x="397" y="1033"/>
                </a:lnTo>
                <a:lnTo>
                  <a:pt x="397" y="1033"/>
                </a:lnTo>
                <a:lnTo>
                  <a:pt x="393" y="1033"/>
                </a:lnTo>
                <a:lnTo>
                  <a:pt x="391" y="1031"/>
                </a:lnTo>
                <a:lnTo>
                  <a:pt x="392" y="1028"/>
                </a:lnTo>
                <a:lnTo>
                  <a:pt x="395" y="1028"/>
                </a:lnTo>
                <a:lnTo>
                  <a:pt x="391" y="1024"/>
                </a:lnTo>
                <a:lnTo>
                  <a:pt x="384" y="1024"/>
                </a:lnTo>
                <a:lnTo>
                  <a:pt x="381" y="1025"/>
                </a:lnTo>
                <a:lnTo>
                  <a:pt x="381" y="1028"/>
                </a:lnTo>
                <a:lnTo>
                  <a:pt x="382" y="1031"/>
                </a:lnTo>
                <a:lnTo>
                  <a:pt x="380" y="1032"/>
                </a:lnTo>
                <a:lnTo>
                  <a:pt x="378" y="1033"/>
                </a:lnTo>
                <a:lnTo>
                  <a:pt x="375" y="1032"/>
                </a:lnTo>
                <a:lnTo>
                  <a:pt x="364" y="1024"/>
                </a:lnTo>
                <a:lnTo>
                  <a:pt x="354" y="1014"/>
                </a:lnTo>
                <a:lnTo>
                  <a:pt x="352" y="1013"/>
                </a:lnTo>
                <a:lnTo>
                  <a:pt x="350" y="1012"/>
                </a:lnTo>
                <a:lnTo>
                  <a:pt x="347" y="1011"/>
                </a:lnTo>
                <a:lnTo>
                  <a:pt x="346" y="1008"/>
                </a:lnTo>
                <a:lnTo>
                  <a:pt x="343" y="1000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3" y="999"/>
                </a:lnTo>
                <a:lnTo>
                  <a:pt x="330" y="1001"/>
                </a:lnTo>
                <a:lnTo>
                  <a:pt x="330" y="997"/>
                </a:lnTo>
                <a:lnTo>
                  <a:pt x="330" y="992"/>
                </a:lnTo>
                <a:lnTo>
                  <a:pt x="329" y="987"/>
                </a:lnTo>
                <a:lnTo>
                  <a:pt x="325" y="986"/>
                </a:lnTo>
                <a:lnTo>
                  <a:pt x="322" y="983"/>
                </a:lnTo>
                <a:lnTo>
                  <a:pt x="320" y="978"/>
                </a:lnTo>
                <a:lnTo>
                  <a:pt x="323" y="976"/>
                </a:lnTo>
                <a:lnTo>
                  <a:pt x="326" y="977"/>
                </a:lnTo>
                <a:lnTo>
                  <a:pt x="330" y="982"/>
                </a:lnTo>
                <a:lnTo>
                  <a:pt x="332" y="987"/>
                </a:lnTo>
                <a:lnTo>
                  <a:pt x="337" y="991"/>
                </a:lnTo>
                <a:lnTo>
                  <a:pt x="343" y="990"/>
                </a:lnTo>
                <a:lnTo>
                  <a:pt x="344" y="986"/>
                </a:lnTo>
                <a:lnTo>
                  <a:pt x="346" y="984"/>
                </a:lnTo>
                <a:lnTo>
                  <a:pt x="347" y="987"/>
                </a:lnTo>
                <a:lnTo>
                  <a:pt x="347" y="991"/>
                </a:lnTo>
                <a:lnTo>
                  <a:pt x="345" y="991"/>
                </a:lnTo>
                <a:lnTo>
                  <a:pt x="343" y="990"/>
                </a:lnTo>
                <a:lnTo>
                  <a:pt x="344" y="996"/>
                </a:lnTo>
                <a:lnTo>
                  <a:pt x="350" y="993"/>
                </a:lnTo>
                <a:lnTo>
                  <a:pt x="352" y="992"/>
                </a:lnTo>
                <a:lnTo>
                  <a:pt x="354" y="993"/>
                </a:lnTo>
                <a:lnTo>
                  <a:pt x="360" y="992"/>
                </a:lnTo>
                <a:lnTo>
                  <a:pt x="365" y="989"/>
                </a:lnTo>
                <a:lnTo>
                  <a:pt x="365" y="989"/>
                </a:lnTo>
                <a:lnTo>
                  <a:pt x="365" y="987"/>
                </a:lnTo>
                <a:lnTo>
                  <a:pt x="358" y="979"/>
                </a:lnTo>
                <a:lnTo>
                  <a:pt x="352" y="971"/>
                </a:lnTo>
                <a:lnTo>
                  <a:pt x="352" y="970"/>
                </a:lnTo>
                <a:lnTo>
                  <a:pt x="354" y="969"/>
                </a:lnTo>
                <a:lnTo>
                  <a:pt x="353" y="965"/>
                </a:lnTo>
                <a:lnTo>
                  <a:pt x="353" y="962"/>
                </a:lnTo>
                <a:lnTo>
                  <a:pt x="350" y="961"/>
                </a:lnTo>
                <a:lnTo>
                  <a:pt x="349" y="957"/>
                </a:lnTo>
                <a:lnTo>
                  <a:pt x="343" y="951"/>
                </a:lnTo>
                <a:lnTo>
                  <a:pt x="343" y="942"/>
                </a:lnTo>
                <a:lnTo>
                  <a:pt x="344" y="941"/>
                </a:lnTo>
                <a:lnTo>
                  <a:pt x="346" y="940"/>
                </a:lnTo>
                <a:lnTo>
                  <a:pt x="349" y="940"/>
                </a:lnTo>
                <a:lnTo>
                  <a:pt x="347" y="942"/>
                </a:lnTo>
                <a:lnTo>
                  <a:pt x="349" y="943"/>
                </a:lnTo>
                <a:lnTo>
                  <a:pt x="350" y="944"/>
                </a:lnTo>
                <a:lnTo>
                  <a:pt x="354" y="944"/>
                </a:lnTo>
                <a:lnTo>
                  <a:pt x="357" y="950"/>
                </a:lnTo>
                <a:lnTo>
                  <a:pt x="360" y="955"/>
                </a:lnTo>
                <a:lnTo>
                  <a:pt x="366" y="959"/>
                </a:lnTo>
                <a:lnTo>
                  <a:pt x="366" y="955"/>
                </a:lnTo>
                <a:lnTo>
                  <a:pt x="363" y="951"/>
                </a:lnTo>
                <a:lnTo>
                  <a:pt x="361" y="949"/>
                </a:lnTo>
                <a:lnTo>
                  <a:pt x="361" y="945"/>
                </a:lnTo>
                <a:lnTo>
                  <a:pt x="364" y="944"/>
                </a:lnTo>
                <a:lnTo>
                  <a:pt x="366" y="947"/>
                </a:lnTo>
                <a:lnTo>
                  <a:pt x="373" y="954"/>
                </a:lnTo>
                <a:lnTo>
                  <a:pt x="380" y="962"/>
                </a:lnTo>
                <a:lnTo>
                  <a:pt x="382" y="963"/>
                </a:lnTo>
                <a:lnTo>
                  <a:pt x="386" y="964"/>
                </a:lnTo>
                <a:lnTo>
                  <a:pt x="385" y="959"/>
                </a:lnTo>
                <a:lnTo>
                  <a:pt x="381" y="956"/>
                </a:lnTo>
                <a:lnTo>
                  <a:pt x="377" y="951"/>
                </a:lnTo>
                <a:lnTo>
                  <a:pt x="373" y="944"/>
                </a:lnTo>
                <a:lnTo>
                  <a:pt x="373" y="942"/>
                </a:lnTo>
                <a:lnTo>
                  <a:pt x="374" y="941"/>
                </a:lnTo>
                <a:lnTo>
                  <a:pt x="375" y="941"/>
                </a:lnTo>
                <a:lnTo>
                  <a:pt x="377" y="942"/>
                </a:lnTo>
                <a:lnTo>
                  <a:pt x="381" y="949"/>
                </a:lnTo>
                <a:lnTo>
                  <a:pt x="388" y="956"/>
                </a:lnTo>
                <a:lnTo>
                  <a:pt x="389" y="959"/>
                </a:lnTo>
                <a:lnTo>
                  <a:pt x="393" y="962"/>
                </a:lnTo>
                <a:lnTo>
                  <a:pt x="394" y="963"/>
                </a:lnTo>
                <a:lnTo>
                  <a:pt x="393" y="965"/>
                </a:lnTo>
                <a:lnTo>
                  <a:pt x="391" y="966"/>
                </a:lnTo>
                <a:lnTo>
                  <a:pt x="389" y="968"/>
                </a:lnTo>
                <a:lnTo>
                  <a:pt x="392" y="970"/>
                </a:lnTo>
                <a:lnTo>
                  <a:pt x="394" y="970"/>
                </a:lnTo>
                <a:lnTo>
                  <a:pt x="397" y="969"/>
                </a:lnTo>
                <a:lnTo>
                  <a:pt x="398" y="968"/>
                </a:lnTo>
                <a:lnTo>
                  <a:pt x="399" y="964"/>
                </a:lnTo>
                <a:lnTo>
                  <a:pt x="402" y="965"/>
                </a:lnTo>
                <a:lnTo>
                  <a:pt x="408" y="968"/>
                </a:lnTo>
                <a:lnTo>
                  <a:pt x="415" y="966"/>
                </a:lnTo>
                <a:lnTo>
                  <a:pt x="420" y="968"/>
                </a:lnTo>
                <a:lnTo>
                  <a:pt x="427" y="971"/>
                </a:lnTo>
                <a:lnTo>
                  <a:pt x="422" y="964"/>
                </a:lnTo>
                <a:lnTo>
                  <a:pt x="414" y="963"/>
                </a:lnTo>
                <a:lnTo>
                  <a:pt x="408" y="962"/>
                </a:lnTo>
                <a:lnTo>
                  <a:pt x="405" y="958"/>
                </a:lnTo>
                <a:lnTo>
                  <a:pt x="404" y="956"/>
                </a:lnTo>
                <a:lnTo>
                  <a:pt x="400" y="956"/>
                </a:lnTo>
                <a:lnTo>
                  <a:pt x="397" y="956"/>
                </a:lnTo>
                <a:lnTo>
                  <a:pt x="393" y="951"/>
                </a:lnTo>
                <a:lnTo>
                  <a:pt x="389" y="944"/>
                </a:lnTo>
                <a:lnTo>
                  <a:pt x="384" y="941"/>
                </a:lnTo>
                <a:lnTo>
                  <a:pt x="386" y="938"/>
                </a:lnTo>
                <a:lnTo>
                  <a:pt x="389" y="936"/>
                </a:lnTo>
                <a:lnTo>
                  <a:pt x="393" y="941"/>
                </a:lnTo>
                <a:lnTo>
                  <a:pt x="398" y="944"/>
                </a:lnTo>
                <a:lnTo>
                  <a:pt x="404" y="949"/>
                </a:lnTo>
                <a:lnTo>
                  <a:pt x="409" y="952"/>
                </a:lnTo>
                <a:lnTo>
                  <a:pt x="414" y="954"/>
                </a:lnTo>
                <a:lnTo>
                  <a:pt x="419" y="957"/>
                </a:lnTo>
                <a:lnTo>
                  <a:pt x="419" y="957"/>
                </a:lnTo>
                <a:lnTo>
                  <a:pt x="421" y="959"/>
                </a:lnTo>
                <a:lnTo>
                  <a:pt x="423" y="962"/>
                </a:lnTo>
                <a:lnTo>
                  <a:pt x="434" y="965"/>
                </a:lnTo>
                <a:lnTo>
                  <a:pt x="444" y="970"/>
                </a:lnTo>
                <a:lnTo>
                  <a:pt x="450" y="975"/>
                </a:lnTo>
                <a:lnTo>
                  <a:pt x="456" y="978"/>
                </a:lnTo>
                <a:lnTo>
                  <a:pt x="470" y="983"/>
                </a:lnTo>
                <a:lnTo>
                  <a:pt x="485" y="985"/>
                </a:lnTo>
                <a:lnTo>
                  <a:pt x="491" y="986"/>
                </a:lnTo>
                <a:lnTo>
                  <a:pt x="498" y="985"/>
                </a:lnTo>
                <a:lnTo>
                  <a:pt x="494" y="983"/>
                </a:lnTo>
                <a:lnTo>
                  <a:pt x="489" y="983"/>
                </a:lnTo>
                <a:lnTo>
                  <a:pt x="492" y="982"/>
                </a:lnTo>
                <a:lnTo>
                  <a:pt x="494" y="979"/>
                </a:lnTo>
                <a:lnTo>
                  <a:pt x="491" y="977"/>
                </a:lnTo>
                <a:lnTo>
                  <a:pt x="488" y="978"/>
                </a:lnTo>
                <a:lnTo>
                  <a:pt x="474" y="976"/>
                </a:lnTo>
                <a:lnTo>
                  <a:pt x="461" y="970"/>
                </a:lnTo>
                <a:lnTo>
                  <a:pt x="458" y="969"/>
                </a:lnTo>
                <a:lnTo>
                  <a:pt x="457" y="966"/>
                </a:lnTo>
                <a:lnTo>
                  <a:pt x="446" y="966"/>
                </a:lnTo>
                <a:lnTo>
                  <a:pt x="450" y="964"/>
                </a:lnTo>
                <a:lnTo>
                  <a:pt x="446" y="961"/>
                </a:lnTo>
                <a:lnTo>
                  <a:pt x="441" y="958"/>
                </a:lnTo>
                <a:lnTo>
                  <a:pt x="436" y="955"/>
                </a:lnTo>
                <a:lnTo>
                  <a:pt x="427" y="948"/>
                </a:lnTo>
                <a:lnTo>
                  <a:pt x="414" y="944"/>
                </a:lnTo>
                <a:lnTo>
                  <a:pt x="408" y="940"/>
                </a:lnTo>
                <a:lnTo>
                  <a:pt x="402" y="937"/>
                </a:lnTo>
                <a:lnTo>
                  <a:pt x="406" y="934"/>
                </a:lnTo>
                <a:lnTo>
                  <a:pt x="412" y="936"/>
                </a:lnTo>
                <a:lnTo>
                  <a:pt x="427" y="945"/>
                </a:lnTo>
                <a:lnTo>
                  <a:pt x="442" y="952"/>
                </a:lnTo>
                <a:lnTo>
                  <a:pt x="446" y="952"/>
                </a:lnTo>
                <a:lnTo>
                  <a:pt x="443" y="955"/>
                </a:lnTo>
                <a:lnTo>
                  <a:pt x="444" y="956"/>
                </a:lnTo>
                <a:lnTo>
                  <a:pt x="446" y="957"/>
                </a:lnTo>
                <a:lnTo>
                  <a:pt x="453" y="961"/>
                </a:lnTo>
                <a:lnTo>
                  <a:pt x="457" y="966"/>
                </a:lnTo>
                <a:lnTo>
                  <a:pt x="460" y="966"/>
                </a:lnTo>
                <a:lnTo>
                  <a:pt x="462" y="969"/>
                </a:lnTo>
                <a:lnTo>
                  <a:pt x="469" y="969"/>
                </a:lnTo>
                <a:lnTo>
                  <a:pt x="476" y="972"/>
                </a:lnTo>
                <a:lnTo>
                  <a:pt x="483" y="975"/>
                </a:lnTo>
                <a:lnTo>
                  <a:pt x="491" y="973"/>
                </a:lnTo>
                <a:lnTo>
                  <a:pt x="488" y="971"/>
                </a:lnTo>
                <a:lnTo>
                  <a:pt x="484" y="971"/>
                </a:lnTo>
                <a:lnTo>
                  <a:pt x="480" y="969"/>
                </a:lnTo>
                <a:lnTo>
                  <a:pt x="478" y="965"/>
                </a:lnTo>
                <a:lnTo>
                  <a:pt x="478" y="961"/>
                </a:lnTo>
                <a:lnTo>
                  <a:pt x="475" y="959"/>
                </a:lnTo>
                <a:lnTo>
                  <a:pt x="471" y="956"/>
                </a:lnTo>
                <a:lnTo>
                  <a:pt x="470" y="950"/>
                </a:lnTo>
                <a:lnTo>
                  <a:pt x="467" y="943"/>
                </a:lnTo>
                <a:lnTo>
                  <a:pt x="458" y="937"/>
                </a:lnTo>
                <a:lnTo>
                  <a:pt x="450" y="933"/>
                </a:lnTo>
                <a:lnTo>
                  <a:pt x="446" y="924"/>
                </a:lnTo>
                <a:lnTo>
                  <a:pt x="443" y="921"/>
                </a:lnTo>
                <a:lnTo>
                  <a:pt x="440" y="916"/>
                </a:lnTo>
                <a:lnTo>
                  <a:pt x="439" y="915"/>
                </a:lnTo>
                <a:lnTo>
                  <a:pt x="437" y="915"/>
                </a:lnTo>
                <a:lnTo>
                  <a:pt x="436" y="912"/>
                </a:lnTo>
                <a:lnTo>
                  <a:pt x="436" y="908"/>
                </a:lnTo>
                <a:lnTo>
                  <a:pt x="437" y="908"/>
                </a:lnTo>
                <a:lnTo>
                  <a:pt x="439" y="908"/>
                </a:lnTo>
                <a:lnTo>
                  <a:pt x="440" y="910"/>
                </a:lnTo>
                <a:lnTo>
                  <a:pt x="440" y="913"/>
                </a:lnTo>
                <a:lnTo>
                  <a:pt x="440" y="914"/>
                </a:lnTo>
                <a:lnTo>
                  <a:pt x="440" y="915"/>
                </a:lnTo>
                <a:lnTo>
                  <a:pt x="444" y="917"/>
                </a:lnTo>
                <a:lnTo>
                  <a:pt x="449" y="917"/>
                </a:lnTo>
                <a:lnTo>
                  <a:pt x="447" y="914"/>
                </a:lnTo>
                <a:lnTo>
                  <a:pt x="443" y="910"/>
                </a:lnTo>
                <a:lnTo>
                  <a:pt x="433" y="900"/>
                </a:lnTo>
                <a:lnTo>
                  <a:pt x="421" y="892"/>
                </a:lnTo>
                <a:lnTo>
                  <a:pt x="412" y="885"/>
                </a:lnTo>
                <a:lnTo>
                  <a:pt x="402" y="877"/>
                </a:lnTo>
                <a:lnTo>
                  <a:pt x="398" y="873"/>
                </a:lnTo>
                <a:lnTo>
                  <a:pt x="392" y="868"/>
                </a:lnTo>
                <a:lnTo>
                  <a:pt x="391" y="867"/>
                </a:lnTo>
                <a:lnTo>
                  <a:pt x="388" y="865"/>
                </a:lnTo>
                <a:lnTo>
                  <a:pt x="385" y="859"/>
                </a:lnTo>
                <a:lnTo>
                  <a:pt x="378" y="859"/>
                </a:lnTo>
                <a:lnTo>
                  <a:pt x="368" y="857"/>
                </a:lnTo>
                <a:lnTo>
                  <a:pt x="361" y="850"/>
                </a:lnTo>
                <a:lnTo>
                  <a:pt x="368" y="852"/>
                </a:lnTo>
                <a:lnTo>
                  <a:pt x="374" y="856"/>
                </a:lnTo>
                <a:lnTo>
                  <a:pt x="375" y="857"/>
                </a:lnTo>
                <a:lnTo>
                  <a:pt x="377" y="856"/>
                </a:lnTo>
                <a:lnTo>
                  <a:pt x="378" y="854"/>
                </a:lnTo>
                <a:lnTo>
                  <a:pt x="377" y="853"/>
                </a:lnTo>
                <a:lnTo>
                  <a:pt x="370" y="845"/>
                </a:lnTo>
                <a:lnTo>
                  <a:pt x="361" y="837"/>
                </a:lnTo>
                <a:lnTo>
                  <a:pt x="359" y="835"/>
                </a:lnTo>
                <a:lnTo>
                  <a:pt x="357" y="836"/>
                </a:lnTo>
                <a:lnTo>
                  <a:pt x="357" y="838"/>
                </a:lnTo>
                <a:lnTo>
                  <a:pt x="359" y="839"/>
                </a:lnTo>
                <a:lnTo>
                  <a:pt x="360" y="840"/>
                </a:lnTo>
                <a:lnTo>
                  <a:pt x="360" y="842"/>
                </a:lnTo>
                <a:lnTo>
                  <a:pt x="351" y="839"/>
                </a:lnTo>
                <a:lnTo>
                  <a:pt x="343" y="832"/>
                </a:lnTo>
                <a:lnTo>
                  <a:pt x="346" y="832"/>
                </a:lnTo>
                <a:lnTo>
                  <a:pt x="350" y="833"/>
                </a:lnTo>
                <a:lnTo>
                  <a:pt x="343" y="828"/>
                </a:lnTo>
                <a:lnTo>
                  <a:pt x="336" y="823"/>
                </a:lnTo>
                <a:lnTo>
                  <a:pt x="329" y="819"/>
                </a:lnTo>
                <a:lnTo>
                  <a:pt x="323" y="815"/>
                </a:lnTo>
                <a:lnTo>
                  <a:pt x="322" y="819"/>
                </a:lnTo>
                <a:lnTo>
                  <a:pt x="325" y="822"/>
                </a:lnTo>
                <a:lnTo>
                  <a:pt x="329" y="824"/>
                </a:lnTo>
                <a:lnTo>
                  <a:pt x="330" y="828"/>
                </a:lnTo>
                <a:lnTo>
                  <a:pt x="320" y="829"/>
                </a:lnTo>
                <a:lnTo>
                  <a:pt x="311" y="828"/>
                </a:lnTo>
                <a:lnTo>
                  <a:pt x="309" y="826"/>
                </a:lnTo>
                <a:lnTo>
                  <a:pt x="305" y="825"/>
                </a:lnTo>
                <a:lnTo>
                  <a:pt x="303" y="825"/>
                </a:lnTo>
                <a:lnTo>
                  <a:pt x="301" y="828"/>
                </a:lnTo>
                <a:lnTo>
                  <a:pt x="301" y="830"/>
                </a:lnTo>
                <a:lnTo>
                  <a:pt x="303" y="832"/>
                </a:lnTo>
                <a:lnTo>
                  <a:pt x="310" y="836"/>
                </a:lnTo>
                <a:lnTo>
                  <a:pt x="318" y="836"/>
                </a:lnTo>
                <a:lnTo>
                  <a:pt x="319" y="835"/>
                </a:lnTo>
                <a:lnTo>
                  <a:pt x="322" y="836"/>
                </a:lnTo>
                <a:lnTo>
                  <a:pt x="319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7" y="839"/>
                </a:lnTo>
                <a:lnTo>
                  <a:pt x="313" y="840"/>
                </a:lnTo>
                <a:lnTo>
                  <a:pt x="322" y="845"/>
                </a:lnTo>
                <a:lnTo>
                  <a:pt x="332" y="844"/>
                </a:lnTo>
                <a:lnTo>
                  <a:pt x="340" y="852"/>
                </a:lnTo>
                <a:lnTo>
                  <a:pt x="352" y="857"/>
                </a:lnTo>
                <a:lnTo>
                  <a:pt x="353" y="858"/>
                </a:lnTo>
                <a:lnTo>
                  <a:pt x="354" y="859"/>
                </a:lnTo>
                <a:lnTo>
                  <a:pt x="361" y="860"/>
                </a:lnTo>
                <a:lnTo>
                  <a:pt x="367" y="865"/>
                </a:lnTo>
                <a:lnTo>
                  <a:pt x="360" y="864"/>
                </a:lnTo>
                <a:lnTo>
                  <a:pt x="354" y="859"/>
                </a:lnTo>
                <a:lnTo>
                  <a:pt x="347" y="859"/>
                </a:lnTo>
                <a:lnTo>
                  <a:pt x="342" y="856"/>
                </a:lnTo>
                <a:lnTo>
                  <a:pt x="335" y="852"/>
                </a:lnTo>
                <a:lnTo>
                  <a:pt x="328" y="851"/>
                </a:lnTo>
                <a:lnTo>
                  <a:pt x="332" y="856"/>
                </a:lnTo>
                <a:lnTo>
                  <a:pt x="338" y="859"/>
                </a:lnTo>
                <a:lnTo>
                  <a:pt x="349" y="868"/>
                </a:lnTo>
                <a:lnTo>
                  <a:pt x="359" y="879"/>
                </a:lnTo>
                <a:lnTo>
                  <a:pt x="364" y="885"/>
                </a:lnTo>
                <a:lnTo>
                  <a:pt x="370" y="891"/>
                </a:lnTo>
                <a:lnTo>
                  <a:pt x="367" y="895"/>
                </a:lnTo>
                <a:lnTo>
                  <a:pt x="372" y="900"/>
                </a:lnTo>
                <a:lnTo>
                  <a:pt x="374" y="901"/>
                </a:lnTo>
                <a:lnTo>
                  <a:pt x="375" y="903"/>
                </a:lnTo>
                <a:lnTo>
                  <a:pt x="375" y="903"/>
                </a:lnTo>
                <a:lnTo>
                  <a:pt x="375" y="903"/>
                </a:lnTo>
                <a:lnTo>
                  <a:pt x="375" y="903"/>
                </a:lnTo>
                <a:lnTo>
                  <a:pt x="375" y="903"/>
                </a:lnTo>
                <a:lnTo>
                  <a:pt x="377" y="905"/>
                </a:lnTo>
                <a:lnTo>
                  <a:pt x="377" y="906"/>
                </a:lnTo>
                <a:lnTo>
                  <a:pt x="382" y="909"/>
                </a:lnTo>
                <a:lnTo>
                  <a:pt x="385" y="915"/>
                </a:lnTo>
                <a:lnTo>
                  <a:pt x="379" y="912"/>
                </a:lnTo>
                <a:lnTo>
                  <a:pt x="377" y="906"/>
                </a:lnTo>
                <a:lnTo>
                  <a:pt x="377" y="906"/>
                </a:lnTo>
                <a:lnTo>
                  <a:pt x="377" y="906"/>
                </a:lnTo>
                <a:lnTo>
                  <a:pt x="375" y="905"/>
                </a:lnTo>
                <a:lnTo>
                  <a:pt x="375" y="903"/>
                </a:lnTo>
                <a:lnTo>
                  <a:pt x="370" y="902"/>
                </a:lnTo>
                <a:lnTo>
                  <a:pt x="366" y="903"/>
                </a:lnTo>
                <a:lnTo>
                  <a:pt x="368" y="907"/>
                </a:lnTo>
                <a:lnTo>
                  <a:pt x="373" y="909"/>
                </a:lnTo>
                <a:lnTo>
                  <a:pt x="374" y="912"/>
                </a:lnTo>
                <a:lnTo>
                  <a:pt x="374" y="914"/>
                </a:lnTo>
                <a:lnTo>
                  <a:pt x="372" y="914"/>
                </a:lnTo>
                <a:lnTo>
                  <a:pt x="371" y="912"/>
                </a:lnTo>
                <a:lnTo>
                  <a:pt x="357" y="903"/>
                </a:lnTo>
                <a:lnTo>
                  <a:pt x="344" y="895"/>
                </a:lnTo>
                <a:lnTo>
                  <a:pt x="342" y="895"/>
                </a:lnTo>
                <a:lnTo>
                  <a:pt x="339" y="895"/>
                </a:lnTo>
                <a:lnTo>
                  <a:pt x="339" y="898"/>
                </a:lnTo>
                <a:lnTo>
                  <a:pt x="339" y="900"/>
                </a:lnTo>
                <a:lnTo>
                  <a:pt x="340" y="901"/>
                </a:lnTo>
                <a:lnTo>
                  <a:pt x="342" y="900"/>
                </a:lnTo>
                <a:lnTo>
                  <a:pt x="347" y="902"/>
                </a:lnTo>
                <a:lnTo>
                  <a:pt x="350" y="906"/>
                </a:lnTo>
                <a:lnTo>
                  <a:pt x="347" y="906"/>
                </a:lnTo>
                <a:lnTo>
                  <a:pt x="346" y="906"/>
                </a:lnTo>
                <a:lnTo>
                  <a:pt x="339" y="907"/>
                </a:lnTo>
                <a:lnTo>
                  <a:pt x="340" y="913"/>
                </a:lnTo>
                <a:lnTo>
                  <a:pt x="339" y="917"/>
                </a:lnTo>
                <a:lnTo>
                  <a:pt x="343" y="921"/>
                </a:lnTo>
                <a:lnTo>
                  <a:pt x="342" y="922"/>
                </a:lnTo>
                <a:lnTo>
                  <a:pt x="337" y="924"/>
                </a:lnTo>
                <a:lnTo>
                  <a:pt x="337" y="923"/>
                </a:lnTo>
                <a:lnTo>
                  <a:pt x="336" y="923"/>
                </a:lnTo>
                <a:lnTo>
                  <a:pt x="336" y="923"/>
                </a:lnTo>
                <a:lnTo>
                  <a:pt x="337" y="924"/>
                </a:lnTo>
                <a:lnTo>
                  <a:pt x="337" y="924"/>
                </a:lnTo>
                <a:lnTo>
                  <a:pt x="340" y="931"/>
                </a:lnTo>
                <a:lnTo>
                  <a:pt x="346" y="936"/>
                </a:lnTo>
                <a:lnTo>
                  <a:pt x="342" y="936"/>
                </a:lnTo>
                <a:lnTo>
                  <a:pt x="338" y="934"/>
                </a:lnTo>
                <a:lnTo>
                  <a:pt x="338" y="937"/>
                </a:lnTo>
                <a:lnTo>
                  <a:pt x="339" y="941"/>
                </a:lnTo>
                <a:lnTo>
                  <a:pt x="339" y="942"/>
                </a:lnTo>
                <a:lnTo>
                  <a:pt x="340" y="943"/>
                </a:lnTo>
                <a:lnTo>
                  <a:pt x="340" y="943"/>
                </a:lnTo>
                <a:lnTo>
                  <a:pt x="339" y="943"/>
                </a:lnTo>
                <a:lnTo>
                  <a:pt x="339" y="942"/>
                </a:lnTo>
                <a:lnTo>
                  <a:pt x="339" y="941"/>
                </a:lnTo>
                <a:lnTo>
                  <a:pt x="337" y="947"/>
                </a:lnTo>
                <a:lnTo>
                  <a:pt x="338" y="952"/>
                </a:lnTo>
                <a:lnTo>
                  <a:pt x="338" y="955"/>
                </a:lnTo>
                <a:lnTo>
                  <a:pt x="337" y="956"/>
                </a:lnTo>
                <a:lnTo>
                  <a:pt x="336" y="956"/>
                </a:lnTo>
                <a:lnTo>
                  <a:pt x="335" y="954"/>
                </a:lnTo>
                <a:lnTo>
                  <a:pt x="333" y="945"/>
                </a:lnTo>
                <a:lnTo>
                  <a:pt x="329" y="940"/>
                </a:lnTo>
                <a:lnTo>
                  <a:pt x="325" y="933"/>
                </a:lnTo>
                <a:lnTo>
                  <a:pt x="319" y="926"/>
                </a:lnTo>
                <a:lnTo>
                  <a:pt x="315" y="922"/>
                </a:lnTo>
                <a:lnTo>
                  <a:pt x="306" y="920"/>
                </a:lnTo>
                <a:lnTo>
                  <a:pt x="303" y="917"/>
                </a:lnTo>
                <a:lnTo>
                  <a:pt x="301" y="913"/>
                </a:lnTo>
                <a:lnTo>
                  <a:pt x="294" y="908"/>
                </a:lnTo>
                <a:lnTo>
                  <a:pt x="287" y="908"/>
                </a:lnTo>
                <a:lnTo>
                  <a:pt x="284" y="909"/>
                </a:lnTo>
                <a:lnTo>
                  <a:pt x="283" y="908"/>
                </a:lnTo>
                <a:lnTo>
                  <a:pt x="280" y="901"/>
                </a:lnTo>
                <a:lnTo>
                  <a:pt x="276" y="894"/>
                </a:lnTo>
                <a:lnTo>
                  <a:pt x="275" y="893"/>
                </a:lnTo>
                <a:lnTo>
                  <a:pt x="276" y="892"/>
                </a:lnTo>
                <a:lnTo>
                  <a:pt x="278" y="893"/>
                </a:lnTo>
                <a:lnTo>
                  <a:pt x="280" y="891"/>
                </a:lnTo>
                <a:lnTo>
                  <a:pt x="277" y="887"/>
                </a:lnTo>
                <a:lnTo>
                  <a:pt x="274" y="887"/>
                </a:lnTo>
                <a:lnTo>
                  <a:pt x="264" y="888"/>
                </a:lnTo>
                <a:lnTo>
                  <a:pt x="260" y="880"/>
                </a:lnTo>
                <a:lnTo>
                  <a:pt x="257" y="875"/>
                </a:lnTo>
                <a:lnTo>
                  <a:pt x="253" y="871"/>
                </a:lnTo>
                <a:lnTo>
                  <a:pt x="254" y="871"/>
                </a:lnTo>
                <a:lnTo>
                  <a:pt x="255" y="870"/>
                </a:lnTo>
                <a:lnTo>
                  <a:pt x="257" y="872"/>
                </a:lnTo>
                <a:lnTo>
                  <a:pt x="261" y="873"/>
                </a:lnTo>
                <a:lnTo>
                  <a:pt x="262" y="870"/>
                </a:lnTo>
                <a:lnTo>
                  <a:pt x="261" y="866"/>
                </a:lnTo>
                <a:lnTo>
                  <a:pt x="262" y="864"/>
                </a:lnTo>
                <a:lnTo>
                  <a:pt x="262" y="861"/>
                </a:lnTo>
                <a:lnTo>
                  <a:pt x="262" y="858"/>
                </a:lnTo>
                <a:lnTo>
                  <a:pt x="259" y="856"/>
                </a:lnTo>
                <a:lnTo>
                  <a:pt x="256" y="857"/>
                </a:lnTo>
                <a:lnTo>
                  <a:pt x="255" y="860"/>
                </a:lnTo>
                <a:lnTo>
                  <a:pt x="253" y="857"/>
                </a:lnTo>
                <a:lnTo>
                  <a:pt x="248" y="856"/>
                </a:lnTo>
                <a:lnTo>
                  <a:pt x="246" y="854"/>
                </a:lnTo>
                <a:lnTo>
                  <a:pt x="248" y="851"/>
                </a:lnTo>
                <a:lnTo>
                  <a:pt x="248" y="850"/>
                </a:lnTo>
                <a:lnTo>
                  <a:pt x="247" y="847"/>
                </a:lnTo>
                <a:lnTo>
                  <a:pt x="246" y="847"/>
                </a:lnTo>
                <a:lnTo>
                  <a:pt x="244" y="849"/>
                </a:lnTo>
                <a:lnTo>
                  <a:pt x="236" y="850"/>
                </a:lnTo>
                <a:lnTo>
                  <a:pt x="229" y="847"/>
                </a:lnTo>
                <a:lnTo>
                  <a:pt x="668" y="728"/>
                </a:lnTo>
                <a:close/>
                <a:moveTo>
                  <a:pt x="229" y="847"/>
                </a:moveTo>
                <a:lnTo>
                  <a:pt x="228" y="846"/>
                </a:lnTo>
                <a:lnTo>
                  <a:pt x="227" y="845"/>
                </a:lnTo>
                <a:lnTo>
                  <a:pt x="220" y="844"/>
                </a:lnTo>
                <a:lnTo>
                  <a:pt x="219" y="850"/>
                </a:lnTo>
                <a:lnTo>
                  <a:pt x="219" y="854"/>
                </a:lnTo>
                <a:lnTo>
                  <a:pt x="218" y="860"/>
                </a:lnTo>
                <a:lnTo>
                  <a:pt x="222" y="856"/>
                </a:lnTo>
                <a:lnTo>
                  <a:pt x="221" y="849"/>
                </a:lnTo>
                <a:lnTo>
                  <a:pt x="229" y="852"/>
                </a:lnTo>
                <a:lnTo>
                  <a:pt x="239" y="853"/>
                </a:lnTo>
                <a:lnTo>
                  <a:pt x="240" y="857"/>
                </a:lnTo>
                <a:lnTo>
                  <a:pt x="239" y="863"/>
                </a:lnTo>
                <a:lnTo>
                  <a:pt x="237" y="859"/>
                </a:lnTo>
                <a:lnTo>
                  <a:pt x="236" y="857"/>
                </a:lnTo>
                <a:lnTo>
                  <a:pt x="235" y="857"/>
                </a:lnTo>
                <a:lnTo>
                  <a:pt x="234" y="858"/>
                </a:lnTo>
                <a:lnTo>
                  <a:pt x="233" y="860"/>
                </a:lnTo>
                <a:lnTo>
                  <a:pt x="234" y="864"/>
                </a:lnTo>
                <a:lnTo>
                  <a:pt x="236" y="872"/>
                </a:lnTo>
                <a:lnTo>
                  <a:pt x="229" y="879"/>
                </a:lnTo>
                <a:lnTo>
                  <a:pt x="222" y="879"/>
                </a:lnTo>
                <a:lnTo>
                  <a:pt x="218" y="877"/>
                </a:lnTo>
                <a:lnTo>
                  <a:pt x="216" y="875"/>
                </a:lnTo>
                <a:lnTo>
                  <a:pt x="218" y="874"/>
                </a:lnTo>
                <a:lnTo>
                  <a:pt x="220" y="872"/>
                </a:lnTo>
                <a:lnTo>
                  <a:pt x="218" y="870"/>
                </a:lnTo>
                <a:lnTo>
                  <a:pt x="214" y="865"/>
                </a:lnTo>
                <a:lnTo>
                  <a:pt x="215" y="858"/>
                </a:lnTo>
                <a:lnTo>
                  <a:pt x="215" y="850"/>
                </a:lnTo>
                <a:lnTo>
                  <a:pt x="211" y="843"/>
                </a:lnTo>
                <a:lnTo>
                  <a:pt x="215" y="842"/>
                </a:lnTo>
                <a:lnTo>
                  <a:pt x="215" y="837"/>
                </a:lnTo>
                <a:lnTo>
                  <a:pt x="214" y="835"/>
                </a:lnTo>
                <a:lnTo>
                  <a:pt x="211" y="836"/>
                </a:lnTo>
                <a:lnTo>
                  <a:pt x="207" y="836"/>
                </a:lnTo>
                <a:lnTo>
                  <a:pt x="206" y="833"/>
                </a:lnTo>
                <a:lnTo>
                  <a:pt x="207" y="831"/>
                </a:lnTo>
                <a:lnTo>
                  <a:pt x="209" y="831"/>
                </a:lnTo>
                <a:lnTo>
                  <a:pt x="215" y="829"/>
                </a:lnTo>
                <a:lnTo>
                  <a:pt x="222" y="830"/>
                </a:lnTo>
                <a:lnTo>
                  <a:pt x="227" y="826"/>
                </a:lnTo>
                <a:lnTo>
                  <a:pt x="229" y="821"/>
                </a:lnTo>
                <a:lnTo>
                  <a:pt x="227" y="819"/>
                </a:lnTo>
                <a:lnTo>
                  <a:pt x="225" y="819"/>
                </a:lnTo>
                <a:lnTo>
                  <a:pt x="222" y="819"/>
                </a:lnTo>
                <a:lnTo>
                  <a:pt x="223" y="822"/>
                </a:lnTo>
                <a:lnTo>
                  <a:pt x="225" y="824"/>
                </a:lnTo>
                <a:lnTo>
                  <a:pt x="222" y="826"/>
                </a:lnTo>
                <a:lnTo>
                  <a:pt x="220" y="826"/>
                </a:lnTo>
                <a:lnTo>
                  <a:pt x="219" y="823"/>
                </a:lnTo>
                <a:lnTo>
                  <a:pt x="218" y="822"/>
                </a:lnTo>
                <a:lnTo>
                  <a:pt x="216" y="822"/>
                </a:lnTo>
                <a:lnTo>
                  <a:pt x="213" y="816"/>
                </a:lnTo>
                <a:lnTo>
                  <a:pt x="207" y="815"/>
                </a:lnTo>
                <a:lnTo>
                  <a:pt x="202" y="814"/>
                </a:lnTo>
                <a:lnTo>
                  <a:pt x="200" y="808"/>
                </a:lnTo>
                <a:lnTo>
                  <a:pt x="199" y="807"/>
                </a:lnTo>
                <a:lnTo>
                  <a:pt x="195" y="807"/>
                </a:lnTo>
                <a:lnTo>
                  <a:pt x="192" y="807"/>
                </a:lnTo>
                <a:lnTo>
                  <a:pt x="191" y="804"/>
                </a:lnTo>
                <a:lnTo>
                  <a:pt x="191" y="802"/>
                </a:lnTo>
                <a:lnTo>
                  <a:pt x="194" y="801"/>
                </a:lnTo>
                <a:lnTo>
                  <a:pt x="197" y="800"/>
                </a:lnTo>
                <a:lnTo>
                  <a:pt x="194" y="797"/>
                </a:lnTo>
                <a:lnTo>
                  <a:pt x="192" y="794"/>
                </a:lnTo>
                <a:lnTo>
                  <a:pt x="197" y="793"/>
                </a:lnTo>
                <a:lnTo>
                  <a:pt x="197" y="793"/>
                </a:lnTo>
                <a:lnTo>
                  <a:pt x="198" y="793"/>
                </a:lnTo>
                <a:lnTo>
                  <a:pt x="198" y="794"/>
                </a:lnTo>
                <a:lnTo>
                  <a:pt x="198" y="793"/>
                </a:lnTo>
                <a:lnTo>
                  <a:pt x="199" y="793"/>
                </a:lnTo>
                <a:lnTo>
                  <a:pt x="198" y="793"/>
                </a:lnTo>
                <a:lnTo>
                  <a:pt x="197" y="793"/>
                </a:lnTo>
                <a:lnTo>
                  <a:pt x="195" y="789"/>
                </a:lnTo>
                <a:lnTo>
                  <a:pt x="195" y="786"/>
                </a:lnTo>
                <a:lnTo>
                  <a:pt x="200" y="790"/>
                </a:lnTo>
                <a:lnTo>
                  <a:pt x="206" y="794"/>
                </a:lnTo>
                <a:lnTo>
                  <a:pt x="205" y="791"/>
                </a:lnTo>
                <a:lnTo>
                  <a:pt x="205" y="789"/>
                </a:lnTo>
                <a:lnTo>
                  <a:pt x="206" y="789"/>
                </a:lnTo>
                <a:lnTo>
                  <a:pt x="208" y="789"/>
                </a:lnTo>
                <a:lnTo>
                  <a:pt x="211" y="789"/>
                </a:lnTo>
                <a:lnTo>
                  <a:pt x="212" y="788"/>
                </a:lnTo>
                <a:lnTo>
                  <a:pt x="211" y="786"/>
                </a:lnTo>
                <a:lnTo>
                  <a:pt x="208" y="786"/>
                </a:lnTo>
                <a:lnTo>
                  <a:pt x="206" y="784"/>
                </a:lnTo>
                <a:lnTo>
                  <a:pt x="206" y="782"/>
                </a:lnTo>
                <a:lnTo>
                  <a:pt x="208" y="780"/>
                </a:lnTo>
                <a:lnTo>
                  <a:pt x="211" y="781"/>
                </a:lnTo>
                <a:lnTo>
                  <a:pt x="215" y="784"/>
                </a:lnTo>
                <a:lnTo>
                  <a:pt x="214" y="790"/>
                </a:lnTo>
                <a:lnTo>
                  <a:pt x="215" y="793"/>
                </a:lnTo>
                <a:lnTo>
                  <a:pt x="219" y="794"/>
                </a:lnTo>
                <a:lnTo>
                  <a:pt x="226" y="793"/>
                </a:lnTo>
                <a:lnTo>
                  <a:pt x="232" y="795"/>
                </a:lnTo>
                <a:lnTo>
                  <a:pt x="247" y="803"/>
                </a:lnTo>
                <a:lnTo>
                  <a:pt x="260" y="812"/>
                </a:lnTo>
                <a:lnTo>
                  <a:pt x="262" y="814"/>
                </a:lnTo>
                <a:lnTo>
                  <a:pt x="266" y="815"/>
                </a:lnTo>
                <a:lnTo>
                  <a:pt x="263" y="816"/>
                </a:lnTo>
                <a:lnTo>
                  <a:pt x="262" y="819"/>
                </a:lnTo>
                <a:lnTo>
                  <a:pt x="262" y="821"/>
                </a:lnTo>
                <a:lnTo>
                  <a:pt x="260" y="822"/>
                </a:lnTo>
                <a:lnTo>
                  <a:pt x="257" y="821"/>
                </a:lnTo>
                <a:lnTo>
                  <a:pt x="257" y="819"/>
                </a:lnTo>
                <a:lnTo>
                  <a:pt x="254" y="815"/>
                </a:lnTo>
                <a:lnTo>
                  <a:pt x="248" y="816"/>
                </a:lnTo>
                <a:lnTo>
                  <a:pt x="250" y="819"/>
                </a:lnTo>
                <a:lnTo>
                  <a:pt x="252" y="823"/>
                </a:lnTo>
                <a:lnTo>
                  <a:pt x="229" y="847"/>
                </a:lnTo>
                <a:close/>
                <a:moveTo>
                  <a:pt x="252" y="823"/>
                </a:moveTo>
                <a:lnTo>
                  <a:pt x="261" y="825"/>
                </a:lnTo>
                <a:lnTo>
                  <a:pt x="268" y="833"/>
                </a:lnTo>
                <a:lnTo>
                  <a:pt x="266" y="833"/>
                </a:lnTo>
                <a:lnTo>
                  <a:pt x="263" y="835"/>
                </a:lnTo>
                <a:lnTo>
                  <a:pt x="269" y="837"/>
                </a:lnTo>
                <a:lnTo>
                  <a:pt x="275" y="838"/>
                </a:lnTo>
                <a:lnTo>
                  <a:pt x="282" y="840"/>
                </a:lnTo>
                <a:lnTo>
                  <a:pt x="283" y="833"/>
                </a:lnTo>
                <a:lnTo>
                  <a:pt x="284" y="832"/>
                </a:lnTo>
                <a:lnTo>
                  <a:pt x="284" y="832"/>
                </a:lnTo>
                <a:lnTo>
                  <a:pt x="284" y="830"/>
                </a:lnTo>
                <a:lnTo>
                  <a:pt x="282" y="828"/>
                </a:lnTo>
                <a:lnTo>
                  <a:pt x="280" y="829"/>
                </a:lnTo>
                <a:lnTo>
                  <a:pt x="280" y="831"/>
                </a:lnTo>
                <a:lnTo>
                  <a:pt x="278" y="835"/>
                </a:lnTo>
                <a:lnTo>
                  <a:pt x="275" y="832"/>
                </a:lnTo>
                <a:lnTo>
                  <a:pt x="268" y="824"/>
                </a:lnTo>
                <a:lnTo>
                  <a:pt x="266" y="815"/>
                </a:lnTo>
                <a:lnTo>
                  <a:pt x="269" y="815"/>
                </a:lnTo>
                <a:lnTo>
                  <a:pt x="270" y="812"/>
                </a:lnTo>
                <a:lnTo>
                  <a:pt x="270" y="811"/>
                </a:lnTo>
                <a:lnTo>
                  <a:pt x="268" y="810"/>
                </a:lnTo>
                <a:lnTo>
                  <a:pt x="266" y="807"/>
                </a:lnTo>
                <a:lnTo>
                  <a:pt x="263" y="805"/>
                </a:lnTo>
                <a:lnTo>
                  <a:pt x="262" y="805"/>
                </a:lnTo>
                <a:lnTo>
                  <a:pt x="261" y="805"/>
                </a:lnTo>
                <a:lnTo>
                  <a:pt x="260" y="804"/>
                </a:lnTo>
                <a:lnTo>
                  <a:pt x="257" y="803"/>
                </a:lnTo>
                <a:lnTo>
                  <a:pt x="257" y="803"/>
                </a:lnTo>
                <a:lnTo>
                  <a:pt x="259" y="803"/>
                </a:lnTo>
                <a:lnTo>
                  <a:pt x="260" y="803"/>
                </a:lnTo>
                <a:lnTo>
                  <a:pt x="261" y="804"/>
                </a:lnTo>
                <a:lnTo>
                  <a:pt x="262" y="804"/>
                </a:lnTo>
                <a:lnTo>
                  <a:pt x="263" y="804"/>
                </a:lnTo>
                <a:lnTo>
                  <a:pt x="259" y="797"/>
                </a:lnTo>
                <a:lnTo>
                  <a:pt x="249" y="795"/>
                </a:lnTo>
                <a:lnTo>
                  <a:pt x="247" y="794"/>
                </a:lnTo>
                <a:lnTo>
                  <a:pt x="244" y="793"/>
                </a:lnTo>
                <a:lnTo>
                  <a:pt x="250" y="789"/>
                </a:lnTo>
                <a:lnTo>
                  <a:pt x="257" y="791"/>
                </a:lnTo>
                <a:lnTo>
                  <a:pt x="261" y="794"/>
                </a:lnTo>
                <a:lnTo>
                  <a:pt x="263" y="789"/>
                </a:lnTo>
                <a:lnTo>
                  <a:pt x="261" y="789"/>
                </a:lnTo>
                <a:lnTo>
                  <a:pt x="260" y="789"/>
                </a:lnTo>
                <a:lnTo>
                  <a:pt x="260" y="788"/>
                </a:lnTo>
                <a:lnTo>
                  <a:pt x="260" y="788"/>
                </a:lnTo>
                <a:lnTo>
                  <a:pt x="262" y="788"/>
                </a:lnTo>
                <a:lnTo>
                  <a:pt x="263" y="789"/>
                </a:lnTo>
                <a:lnTo>
                  <a:pt x="270" y="793"/>
                </a:lnTo>
                <a:lnTo>
                  <a:pt x="278" y="794"/>
                </a:lnTo>
                <a:lnTo>
                  <a:pt x="280" y="795"/>
                </a:lnTo>
                <a:lnTo>
                  <a:pt x="281" y="796"/>
                </a:lnTo>
                <a:lnTo>
                  <a:pt x="280" y="797"/>
                </a:lnTo>
                <a:lnTo>
                  <a:pt x="277" y="797"/>
                </a:lnTo>
                <a:lnTo>
                  <a:pt x="274" y="797"/>
                </a:lnTo>
                <a:lnTo>
                  <a:pt x="271" y="798"/>
                </a:lnTo>
                <a:lnTo>
                  <a:pt x="274" y="801"/>
                </a:lnTo>
                <a:lnTo>
                  <a:pt x="276" y="802"/>
                </a:lnTo>
                <a:lnTo>
                  <a:pt x="284" y="807"/>
                </a:lnTo>
                <a:lnTo>
                  <a:pt x="294" y="809"/>
                </a:lnTo>
                <a:lnTo>
                  <a:pt x="301" y="812"/>
                </a:lnTo>
                <a:lnTo>
                  <a:pt x="308" y="816"/>
                </a:lnTo>
                <a:lnTo>
                  <a:pt x="310" y="817"/>
                </a:lnTo>
                <a:lnTo>
                  <a:pt x="312" y="816"/>
                </a:lnTo>
                <a:lnTo>
                  <a:pt x="312" y="814"/>
                </a:lnTo>
                <a:lnTo>
                  <a:pt x="310" y="814"/>
                </a:lnTo>
                <a:lnTo>
                  <a:pt x="305" y="809"/>
                </a:lnTo>
                <a:lnTo>
                  <a:pt x="301" y="804"/>
                </a:lnTo>
                <a:lnTo>
                  <a:pt x="294" y="803"/>
                </a:lnTo>
                <a:lnTo>
                  <a:pt x="285" y="802"/>
                </a:lnTo>
                <a:lnTo>
                  <a:pt x="284" y="801"/>
                </a:lnTo>
                <a:lnTo>
                  <a:pt x="284" y="798"/>
                </a:lnTo>
                <a:lnTo>
                  <a:pt x="285" y="797"/>
                </a:lnTo>
                <a:lnTo>
                  <a:pt x="287" y="797"/>
                </a:lnTo>
                <a:lnTo>
                  <a:pt x="295" y="800"/>
                </a:lnTo>
                <a:lnTo>
                  <a:pt x="301" y="804"/>
                </a:lnTo>
                <a:lnTo>
                  <a:pt x="306" y="805"/>
                </a:lnTo>
                <a:lnTo>
                  <a:pt x="312" y="808"/>
                </a:lnTo>
                <a:lnTo>
                  <a:pt x="326" y="815"/>
                </a:lnTo>
                <a:lnTo>
                  <a:pt x="343" y="819"/>
                </a:lnTo>
                <a:lnTo>
                  <a:pt x="331" y="809"/>
                </a:lnTo>
                <a:lnTo>
                  <a:pt x="319" y="801"/>
                </a:lnTo>
                <a:lnTo>
                  <a:pt x="304" y="793"/>
                </a:lnTo>
                <a:lnTo>
                  <a:pt x="288" y="786"/>
                </a:lnTo>
                <a:lnTo>
                  <a:pt x="285" y="783"/>
                </a:lnTo>
                <a:lnTo>
                  <a:pt x="284" y="782"/>
                </a:lnTo>
                <a:lnTo>
                  <a:pt x="284" y="781"/>
                </a:lnTo>
                <a:lnTo>
                  <a:pt x="285" y="780"/>
                </a:lnTo>
                <a:lnTo>
                  <a:pt x="288" y="780"/>
                </a:lnTo>
                <a:lnTo>
                  <a:pt x="289" y="781"/>
                </a:lnTo>
                <a:lnTo>
                  <a:pt x="296" y="786"/>
                </a:lnTo>
                <a:lnTo>
                  <a:pt x="305" y="789"/>
                </a:lnTo>
                <a:lnTo>
                  <a:pt x="298" y="781"/>
                </a:lnTo>
                <a:lnTo>
                  <a:pt x="292" y="775"/>
                </a:lnTo>
                <a:lnTo>
                  <a:pt x="289" y="775"/>
                </a:lnTo>
                <a:lnTo>
                  <a:pt x="288" y="772"/>
                </a:lnTo>
                <a:lnTo>
                  <a:pt x="287" y="772"/>
                </a:lnTo>
                <a:lnTo>
                  <a:pt x="287" y="770"/>
                </a:lnTo>
                <a:lnTo>
                  <a:pt x="287" y="769"/>
                </a:lnTo>
                <a:lnTo>
                  <a:pt x="287" y="769"/>
                </a:lnTo>
                <a:lnTo>
                  <a:pt x="288" y="770"/>
                </a:lnTo>
                <a:lnTo>
                  <a:pt x="288" y="772"/>
                </a:lnTo>
                <a:lnTo>
                  <a:pt x="290" y="772"/>
                </a:lnTo>
                <a:lnTo>
                  <a:pt x="292" y="772"/>
                </a:lnTo>
                <a:lnTo>
                  <a:pt x="292" y="773"/>
                </a:lnTo>
                <a:lnTo>
                  <a:pt x="292" y="775"/>
                </a:lnTo>
                <a:lnTo>
                  <a:pt x="296" y="776"/>
                </a:lnTo>
                <a:lnTo>
                  <a:pt x="299" y="779"/>
                </a:lnTo>
                <a:lnTo>
                  <a:pt x="302" y="780"/>
                </a:lnTo>
                <a:lnTo>
                  <a:pt x="305" y="780"/>
                </a:lnTo>
                <a:lnTo>
                  <a:pt x="305" y="779"/>
                </a:lnTo>
                <a:lnTo>
                  <a:pt x="305" y="777"/>
                </a:lnTo>
                <a:lnTo>
                  <a:pt x="304" y="775"/>
                </a:lnTo>
                <a:lnTo>
                  <a:pt x="301" y="773"/>
                </a:lnTo>
                <a:lnTo>
                  <a:pt x="297" y="772"/>
                </a:lnTo>
                <a:lnTo>
                  <a:pt x="292" y="772"/>
                </a:lnTo>
                <a:lnTo>
                  <a:pt x="290" y="768"/>
                </a:lnTo>
                <a:lnTo>
                  <a:pt x="287" y="767"/>
                </a:lnTo>
                <a:lnTo>
                  <a:pt x="282" y="765"/>
                </a:lnTo>
                <a:lnTo>
                  <a:pt x="280" y="760"/>
                </a:lnTo>
                <a:lnTo>
                  <a:pt x="277" y="760"/>
                </a:lnTo>
                <a:lnTo>
                  <a:pt x="276" y="758"/>
                </a:lnTo>
                <a:lnTo>
                  <a:pt x="276" y="756"/>
                </a:lnTo>
                <a:lnTo>
                  <a:pt x="277" y="756"/>
                </a:lnTo>
                <a:lnTo>
                  <a:pt x="280" y="758"/>
                </a:lnTo>
                <a:lnTo>
                  <a:pt x="280" y="760"/>
                </a:lnTo>
                <a:lnTo>
                  <a:pt x="281" y="760"/>
                </a:lnTo>
                <a:lnTo>
                  <a:pt x="282" y="759"/>
                </a:lnTo>
                <a:lnTo>
                  <a:pt x="284" y="748"/>
                </a:lnTo>
                <a:lnTo>
                  <a:pt x="280" y="739"/>
                </a:lnTo>
                <a:lnTo>
                  <a:pt x="278" y="742"/>
                </a:lnTo>
                <a:lnTo>
                  <a:pt x="276" y="742"/>
                </a:lnTo>
                <a:lnTo>
                  <a:pt x="274" y="739"/>
                </a:lnTo>
                <a:lnTo>
                  <a:pt x="275" y="734"/>
                </a:lnTo>
                <a:lnTo>
                  <a:pt x="276" y="737"/>
                </a:lnTo>
                <a:lnTo>
                  <a:pt x="278" y="738"/>
                </a:lnTo>
                <a:lnTo>
                  <a:pt x="277" y="735"/>
                </a:lnTo>
                <a:lnTo>
                  <a:pt x="275" y="734"/>
                </a:lnTo>
                <a:lnTo>
                  <a:pt x="275" y="734"/>
                </a:lnTo>
                <a:lnTo>
                  <a:pt x="275" y="734"/>
                </a:lnTo>
                <a:lnTo>
                  <a:pt x="266" y="728"/>
                </a:lnTo>
                <a:lnTo>
                  <a:pt x="266" y="717"/>
                </a:lnTo>
                <a:lnTo>
                  <a:pt x="263" y="719"/>
                </a:lnTo>
                <a:lnTo>
                  <a:pt x="260" y="720"/>
                </a:lnTo>
                <a:lnTo>
                  <a:pt x="259" y="718"/>
                </a:lnTo>
                <a:lnTo>
                  <a:pt x="260" y="716"/>
                </a:lnTo>
                <a:lnTo>
                  <a:pt x="256" y="711"/>
                </a:lnTo>
                <a:lnTo>
                  <a:pt x="253" y="709"/>
                </a:lnTo>
                <a:lnTo>
                  <a:pt x="250" y="705"/>
                </a:lnTo>
                <a:lnTo>
                  <a:pt x="250" y="702"/>
                </a:lnTo>
                <a:lnTo>
                  <a:pt x="252" y="699"/>
                </a:lnTo>
                <a:lnTo>
                  <a:pt x="253" y="699"/>
                </a:lnTo>
                <a:lnTo>
                  <a:pt x="256" y="700"/>
                </a:lnTo>
                <a:lnTo>
                  <a:pt x="257" y="705"/>
                </a:lnTo>
                <a:lnTo>
                  <a:pt x="259" y="706"/>
                </a:lnTo>
                <a:lnTo>
                  <a:pt x="261" y="709"/>
                </a:lnTo>
                <a:lnTo>
                  <a:pt x="261" y="700"/>
                </a:lnTo>
                <a:lnTo>
                  <a:pt x="259" y="700"/>
                </a:lnTo>
                <a:lnTo>
                  <a:pt x="257" y="698"/>
                </a:lnTo>
                <a:lnTo>
                  <a:pt x="257" y="697"/>
                </a:lnTo>
                <a:lnTo>
                  <a:pt x="259" y="697"/>
                </a:lnTo>
                <a:lnTo>
                  <a:pt x="261" y="698"/>
                </a:lnTo>
                <a:lnTo>
                  <a:pt x="262" y="700"/>
                </a:lnTo>
                <a:lnTo>
                  <a:pt x="266" y="702"/>
                </a:lnTo>
                <a:lnTo>
                  <a:pt x="267" y="697"/>
                </a:lnTo>
                <a:lnTo>
                  <a:pt x="270" y="702"/>
                </a:lnTo>
                <a:lnTo>
                  <a:pt x="270" y="709"/>
                </a:lnTo>
                <a:lnTo>
                  <a:pt x="275" y="704"/>
                </a:lnTo>
                <a:lnTo>
                  <a:pt x="276" y="698"/>
                </a:lnTo>
                <a:lnTo>
                  <a:pt x="274" y="693"/>
                </a:lnTo>
                <a:lnTo>
                  <a:pt x="269" y="692"/>
                </a:lnTo>
                <a:lnTo>
                  <a:pt x="264" y="691"/>
                </a:lnTo>
                <a:lnTo>
                  <a:pt x="263" y="685"/>
                </a:lnTo>
                <a:lnTo>
                  <a:pt x="267" y="688"/>
                </a:lnTo>
                <a:lnTo>
                  <a:pt x="270" y="688"/>
                </a:lnTo>
                <a:lnTo>
                  <a:pt x="276" y="688"/>
                </a:lnTo>
                <a:lnTo>
                  <a:pt x="280" y="693"/>
                </a:lnTo>
                <a:lnTo>
                  <a:pt x="282" y="693"/>
                </a:lnTo>
                <a:lnTo>
                  <a:pt x="284" y="692"/>
                </a:lnTo>
                <a:lnTo>
                  <a:pt x="284" y="689"/>
                </a:lnTo>
                <a:lnTo>
                  <a:pt x="288" y="686"/>
                </a:lnTo>
                <a:lnTo>
                  <a:pt x="290" y="685"/>
                </a:lnTo>
                <a:lnTo>
                  <a:pt x="292" y="683"/>
                </a:lnTo>
                <a:lnTo>
                  <a:pt x="292" y="686"/>
                </a:lnTo>
                <a:lnTo>
                  <a:pt x="291" y="689"/>
                </a:lnTo>
                <a:lnTo>
                  <a:pt x="292" y="692"/>
                </a:lnTo>
                <a:lnTo>
                  <a:pt x="295" y="692"/>
                </a:lnTo>
                <a:lnTo>
                  <a:pt x="296" y="695"/>
                </a:lnTo>
                <a:lnTo>
                  <a:pt x="298" y="697"/>
                </a:lnTo>
                <a:lnTo>
                  <a:pt x="298" y="696"/>
                </a:lnTo>
                <a:lnTo>
                  <a:pt x="298" y="695"/>
                </a:lnTo>
                <a:lnTo>
                  <a:pt x="298" y="696"/>
                </a:lnTo>
                <a:lnTo>
                  <a:pt x="298" y="697"/>
                </a:lnTo>
                <a:lnTo>
                  <a:pt x="302" y="697"/>
                </a:lnTo>
                <a:lnTo>
                  <a:pt x="305" y="698"/>
                </a:lnTo>
                <a:lnTo>
                  <a:pt x="309" y="699"/>
                </a:lnTo>
                <a:lnTo>
                  <a:pt x="309" y="696"/>
                </a:lnTo>
                <a:lnTo>
                  <a:pt x="313" y="693"/>
                </a:lnTo>
                <a:lnTo>
                  <a:pt x="316" y="689"/>
                </a:lnTo>
                <a:lnTo>
                  <a:pt x="322" y="690"/>
                </a:lnTo>
                <a:lnTo>
                  <a:pt x="328" y="691"/>
                </a:lnTo>
                <a:lnTo>
                  <a:pt x="323" y="693"/>
                </a:lnTo>
                <a:lnTo>
                  <a:pt x="317" y="693"/>
                </a:lnTo>
                <a:lnTo>
                  <a:pt x="323" y="697"/>
                </a:lnTo>
                <a:lnTo>
                  <a:pt x="329" y="699"/>
                </a:lnTo>
                <a:lnTo>
                  <a:pt x="330" y="702"/>
                </a:lnTo>
                <a:lnTo>
                  <a:pt x="329" y="703"/>
                </a:lnTo>
                <a:lnTo>
                  <a:pt x="325" y="709"/>
                </a:lnTo>
                <a:lnTo>
                  <a:pt x="329" y="713"/>
                </a:lnTo>
                <a:lnTo>
                  <a:pt x="325" y="713"/>
                </a:lnTo>
                <a:lnTo>
                  <a:pt x="322" y="716"/>
                </a:lnTo>
                <a:lnTo>
                  <a:pt x="324" y="718"/>
                </a:lnTo>
                <a:lnTo>
                  <a:pt x="328" y="719"/>
                </a:lnTo>
                <a:lnTo>
                  <a:pt x="330" y="720"/>
                </a:lnTo>
                <a:lnTo>
                  <a:pt x="331" y="721"/>
                </a:lnTo>
                <a:lnTo>
                  <a:pt x="332" y="721"/>
                </a:lnTo>
                <a:lnTo>
                  <a:pt x="333" y="721"/>
                </a:lnTo>
                <a:lnTo>
                  <a:pt x="336" y="717"/>
                </a:lnTo>
                <a:lnTo>
                  <a:pt x="339" y="718"/>
                </a:lnTo>
                <a:lnTo>
                  <a:pt x="345" y="720"/>
                </a:lnTo>
                <a:lnTo>
                  <a:pt x="350" y="723"/>
                </a:lnTo>
                <a:lnTo>
                  <a:pt x="354" y="725"/>
                </a:lnTo>
                <a:lnTo>
                  <a:pt x="358" y="728"/>
                </a:lnTo>
                <a:lnTo>
                  <a:pt x="353" y="728"/>
                </a:lnTo>
                <a:lnTo>
                  <a:pt x="349" y="726"/>
                </a:lnTo>
                <a:lnTo>
                  <a:pt x="345" y="723"/>
                </a:lnTo>
                <a:lnTo>
                  <a:pt x="339" y="723"/>
                </a:lnTo>
                <a:lnTo>
                  <a:pt x="345" y="728"/>
                </a:lnTo>
                <a:lnTo>
                  <a:pt x="347" y="735"/>
                </a:lnTo>
                <a:lnTo>
                  <a:pt x="350" y="749"/>
                </a:lnTo>
                <a:lnTo>
                  <a:pt x="361" y="758"/>
                </a:lnTo>
                <a:lnTo>
                  <a:pt x="364" y="758"/>
                </a:lnTo>
                <a:lnTo>
                  <a:pt x="364" y="754"/>
                </a:lnTo>
                <a:lnTo>
                  <a:pt x="363" y="754"/>
                </a:lnTo>
                <a:lnTo>
                  <a:pt x="361" y="753"/>
                </a:lnTo>
                <a:lnTo>
                  <a:pt x="363" y="752"/>
                </a:lnTo>
                <a:lnTo>
                  <a:pt x="363" y="752"/>
                </a:lnTo>
                <a:lnTo>
                  <a:pt x="364" y="753"/>
                </a:lnTo>
                <a:lnTo>
                  <a:pt x="364" y="754"/>
                </a:lnTo>
                <a:lnTo>
                  <a:pt x="372" y="756"/>
                </a:lnTo>
                <a:lnTo>
                  <a:pt x="378" y="762"/>
                </a:lnTo>
                <a:lnTo>
                  <a:pt x="386" y="770"/>
                </a:lnTo>
                <a:lnTo>
                  <a:pt x="394" y="779"/>
                </a:lnTo>
                <a:lnTo>
                  <a:pt x="395" y="780"/>
                </a:lnTo>
                <a:lnTo>
                  <a:pt x="397" y="779"/>
                </a:lnTo>
                <a:lnTo>
                  <a:pt x="398" y="777"/>
                </a:lnTo>
                <a:lnTo>
                  <a:pt x="397" y="776"/>
                </a:lnTo>
                <a:lnTo>
                  <a:pt x="395" y="774"/>
                </a:lnTo>
                <a:lnTo>
                  <a:pt x="395" y="772"/>
                </a:lnTo>
                <a:lnTo>
                  <a:pt x="399" y="765"/>
                </a:lnTo>
                <a:lnTo>
                  <a:pt x="393" y="760"/>
                </a:lnTo>
                <a:lnTo>
                  <a:pt x="393" y="759"/>
                </a:lnTo>
                <a:lnTo>
                  <a:pt x="393" y="759"/>
                </a:lnTo>
                <a:lnTo>
                  <a:pt x="389" y="754"/>
                </a:lnTo>
                <a:lnTo>
                  <a:pt x="384" y="752"/>
                </a:lnTo>
                <a:lnTo>
                  <a:pt x="387" y="756"/>
                </a:lnTo>
                <a:lnTo>
                  <a:pt x="388" y="761"/>
                </a:lnTo>
                <a:lnTo>
                  <a:pt x="384" y="758"/>
                </a:lnTo>
                <a:lnTo>
                  <a:pt x="378" y="755"/>
                </a:lnTo>
                <a:lnTo>
                  <a:pt x="378" y="754"/>
                </a:lnTo>
                <a:lnTo>
                  <a:pt x="378" y="753"/>
                </a:lnTo>
                <a:lnTo>
                  <a:pt x="378" y="749"/>
                </a:lnTo>
                <a:lnTo>
                  <a:pt x="374" y="747"/>
                </a:lnTo>
                <a:lnTo>
                  <a:pt x="371" y="746"/>
                </a:lnTo>
                <a:lnTo>
                  <a:pt x="368" y="744"/>
                </a:lnTo>
                <a:lnTo>
                  <a:pt x="368" y="742"/>
                </a:lnTo>
                <a:lnTo>
                  <a:pt x="367" y="742"/>
                </a:lnTo>
                <a:lnTo>
                  <a:pt x="368" y="742"/>
                </a:lnTo>
                <a:lnTo>
                  <a:pt x="368" y="742"/>
                </a:lnTo>
                <a:lnTo>
                  <a:pt x="368" y="742"/>
                </a:lnTo>
                <a:lnTo>
                  <a:pt x="368" y="742"/>
                </a:lnTo>
                <a:lnTo>
                  <a:pt x="372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5"/>
                </a:lnTo>
                <a:lnTo>
                  <a:pt x="379" y="747"/>
                </a:lnTo>
                <a:lnTo>
                  <a:pt x="384" y="747"/>
                </a:lnTo>
                <a:lnTo>
                  <a:pt x="385" y="746"/>
                </a:lnTo>
                <a:lnTo>
                  <a:pt x="385" y="745"/>
                </a:lnTo>
                <a:lnTo>
                  <a:pt x="381" y="742"/>
                </a:lnTo>
                <a:lnTo>
                  <a:pt x="378" y="742"/>
                </a:lnTo>
                <a:lnTo>
                  <a:pt x="377" y="742"/>
                </a:lnTo>
                <a:lnTo>
                  <a:pt x="375" y="742"/>
                </a:lnTo>
                <a:lnTo>
                  <a:pt x="370" y="737"/>
                </a:lnTo>
                <a:lnTo>
                  <a:pt x="361" y="732"/>
                </a:lnTo>
                <a:lnTo>
                  <a:pt x="367" y="731"/>
                </a:lnTo>
                <a:lnTo>
                  <a:pt x="373" y="733"/>
                </a:lnTo>
                <a:lnTo>
                  <a:pt x="372" y="728"/>
                </a:lnTo>
                <a:lnTo>
                  <a:pt x="377" y="726"/>
                </a:lnTo>
                <a:lnTo>
                  <a:pt x="380" y="726"/>
                </a:lnTo>
                <a:lnTo>
                  <a:pt x="385" y="727"/>
                </a:lnTo>
                <a:lnTo>
                  <a:pt x="379" y="723"/>
                </a:lnTo>
                <a:lnTo>
                  <a:pt x="372" y="724"/>
                </a:lnTo>
                <a:lnTo>
                  <a:pt x="368" y="725"/>
                </a:lnTo>
                <a:lnTo>
                  <a:pt x="365" y="723"/>
                </a:lnTo>
                <a:lnTo>
                  <a:pt x="364" y="723"/>
                </a:lnTo>
                <a:lnTo>
                  <a:pt x="365" y="720"/>
                </a:lnTo>
                <a:lnTo>
                  <a:pt x="366" y="718"/>
                </a:lnTo>
                <a:lnTo>
                  <a:pt x="364" y="717"/>
                </a:lnTo>
                <a:lnTo>
                  <a:pt x="361" y="714"/>
                </a:lnTo>
                <a:lnTo>
                  <a:pt x="360" y="712"/>
                </a:lnTo>
                <a:lnTo>
                  <a:pt x="354" y="713"/>
                </a:lnTo>
                <a:lnTo>
                  <a:pt x="350" y="710"/>
                </a:lnTo>
                <a:lnTo>
                  <a:pt x="346" y="707"/>
                </a:lnTo>
                <a:lnTo>
                  <a:pt x="343" y="711"/>
                </a:lnTo>
                <a:lnTo>
                  <a:pt x="342" y="712"/>
                </a:lnTo>
                <a:lnTo>
                  <a:pt x="339" y="711"/>
                </a:lnTo>
                <a:lnTo>
                  <a:pt x="336" y="710"/>
                </a:lnTo>
                <a:lnTo>
                  <a:pt x="330" y="709"/>
                </a:lnTo>
                <a:lnTo>
                  <a:pt x="332" y="707"/>
                </a:lnTo>
                <a:lnTo>
                  <a:pt x="335" y="706"/>
                </a:lnTo>
                <a:lnTo>
                  <a:pt x="337" y="706"/>
                </a:lnTo>
                <a:lnTo>
                  <a:pt x="338" y="704"/>
                </a:lnTo>
                <a:lnTo>
                  <a:pt x="338" y="702"/>
                </a:lnTo>
                <a:lnTo>
                  <a:pt x="336" y="700"/>
                </a:lnTo>
                <a:lnTo>
                  <a:pt x="332" y="699"/>
                </a:lnTo>
                <a:lnTo>
                  <a:pt x="329" y="699"/>
                </a:lnTo>
                <a:lnTo>
                  <a:pt x="331" y="696"/>
                </a:lnTo>
                <a:lnTo>
                  <a:pt x="336" y="697"/>
                </a:lnTo>
                <a:lnTo>
                  <a:pt x="342" y="699"/>
                </a:lnTo>
                <a:lnTo>
                  <a:pt x="344" y="695"/>
                </a:lnTo>
                <a:lnTo>
                  <a:pt x="353" y="703"/>
                </a:lnTo>
                <a:lnTo>
                  <a:pt x="360" y="712"/>
                </a:lnTo>
                <a:lnTo>
                  <a:pt x="368" y="714"/>
                </a:lnTo>
                <a:lnTo>
                  <a:pt x="378" y="719"/>
                </a:lnTo>
                <a:lnTo>
                  <a:pt x="384" y="719"/>
                </a:lnTo>
                <a:lnTo>
                  <a:pt x="389" y="720"/>
                </a:lnTo>
                <a:lnTo>
                  <a:pt x="391" y="721"/>
                </a:lnTo>
                <a:lnTo>
                  <a:pt x="392" y="723"/>
                </a:lnTo>
                <a:lnTo>
                  <a:pt x="392" y="724"/>
                </a:lnTo>
                <a:lnTo>
                  <a:pt x="391" y="725"/>
                </a:lnTo>
                <a:lnTo>
                  <a:pt x="388" y="725"/>
                </a:lnTo>
                <a:lnTo>
                  <a:pt x="388" y="726"/>
                </a:lnTo>
                <a:lnTo>
                  <a:pt x="389" y="727"/>
                </a:lnTo>
                <a:lnTo>
                  <a:pt x="392" y="728"/>
                </a:lnTo>
                <a:lnTo>
                  <a:pt x="397" y="728"/>
                </a:lnTo>
                <a:lnTo>
                  <a:pt x="402" y="728"/>
                </a:lnTo>
                <a:lnTo>
                  <a:pt x="402" y="731"/>
                </a:lnTo>
                <a:lnTo>
                  <a:pt x="401" y="732"/>
                </a:lnTo>
                <a:lnTo>
                  <a:pt x="397" y="733"/>
                </a:lnTo>
                <a:lnTo>
                  <a:pt x="394" y="735"/>
                </a:lnTo>
                <a:lnTo>
                  <a:pt x="398" y="738"/>
                </a:lnTo>
                <a:lnTo>
                  <a:pt x="401" y="740"/>
                </a:lnTo>
                <a:lnTo>
                  <a:pt x="408" y="744"/>
                </a:lnTo>
                <a:lnTo>
                  <a:pt x="415" y="740"/>
                </a:lnTo>
                <a:lnTo>
                  <a:pt x="408" y="735"/>
                </a:lnTo>
                <a:lnTo>
                  <a:pt x="402" y="728"/>
                </a:lnTo>
                <a:lnTo>
                  <a:pt x="401" y="727"/>
                </a:lnTo>
                <a:lnTo>
                  <a:pt x="400" y="725"/>
                </a:lnTo>
                <a:lnTo>
                  <a:pt x="416" y="734"/>
                </a:lnTo>
                <a:lnTo>
                  <a:pt x="423" y="752"/>
                </a:lnTo>
                <a:lnTo>
                  <a:pt x="420" y="752"/>
                </a:lnTo>
                <a:lnTo>
                  <a:pt x="421" y="755"/>
                </a:lnTo>
                <a:lnTo>
                  <a:pt x="434" y="767"/>
                </a:lnTo>
                <a:lnTo>
                  <a:pt x="446" y="780"/>
                </a:lnTo>
                <a:lnTo>
                  <a:pt x="449" y="782"/>
                </a:lnTo>
                <a:lnTo>
                  <a:pt x="448" y="786"/>
                </a:lnTo>
                <a:lnTo>
                  <a:pt x="439" y="781"/>
                </a:lnTo>
                <a:lnTo>
                  <a:pt x="428" y="787"/>
                </a:lnTo>
                <a:lnTo>
                  <a:pt x="426" y="789"/>
                </a:lnTo>
                <a:lnTo>
                  <a:pt x="427" y="791"/>
                </a:lnTo>
                <a:lnTo>
                  <a:pt x="433" y="801"/>
                </a:lnTo>
                <a:lnTo>
                  <a:pt x="439" y="809"/>
                </a:lnTo>
                <a:lnTo>
                  <a:pt x="441" y="811"/>
                </a:lnTo>
                <a:lnTo>
                  <a:pt x="443" y="811"/>
                </a:lnTo>
                <a:lnTo>
                  <a:pt x="444" y="809"/>
                </a:lnTo>
                <a:lnTo>
                  <a:pt x="443" y="807"/>
                </a:lnTo>
                <a:lnTo>
                  <a:pt x="442" y="802"/>
                </a:lnTo>
                <a:lnTo>
                  <a:pt x="446" y="798"/>
                </a:lnTo>
                <a:lnTo>
                  <a:pt x="447" y="798"/>
                </a:lnTo>
                <a:lnTo>
                  <a:pt x="448" y="796"/>
                </a:lnTo>
                <a:lnTo>
                  <a:pt x="456" y="789"/>
                </a:lnTo>
                <a:lnTo>
                  <a:pt x="465" y="783"/>
                </a:lnTo>
                <a:lnTo>
                  <a:pt x="465" y="787"/>
                </a:lnTo>
                <a:lnTo>
                  <a:pt x="467" y="787"/>
                </a:lnTo>
                <a:lnTo>
                  <a:pt x="467" y="787"/>
                </a:lnTo>
                <a:lnTo>
                  <a:pt x="467" y="784"/>
                </a:lnTo>
                <a:lnTo>
                  <a:pt x="465" y="783"/>
                </a:lnTo>
                <a:lnTo>
                  <a:pt x="467" y="783"/>
                </a:lnTo>
                <a:lnTo>
                  <a:pt x="467" y="783"/>
                </a:lnTo>
                <a:lnTo>
                  <a:pt x="467" y="783"/>
                </a:lnTo>
                <a:lnTo>
                  <a:pt x="468" y="783"/>
                </a:lnTo>
                <a:lnTo>
                  <a:pt x="467" y="783"/>
                </a:lnTo>
                <a:lnTo>
                  <a:pt x="467" y="782"/>
                </a:lnTo>
                <a:lnTo>
                  <a:pt x="467" y="782"/>
                </a:lnTo>
                <a:lnTo>
                  <a:pt x="467" y="781"/>
                </a:lnTo>
                <a:lnTo>
                  <a:pt x="470" y="783"/>
                </a:lnTo>
                <a:lnTo>
                  <a:pt x="474" y="783"/>
                </a:lnTo>
                <a:lnTo>
                  <a:pt x="474" y="780"/>
                </a:lnTo>
                <a:lnTo>
                  <a:pt x="474" y="776"/>
                </a:lnTo>
                <a:lnTo>
                  <a:pt x="474" y="776"/>
                </a:lnTo>
                <a:lnTo>
                  <a:pt x="474" y="776"/>
                </a:lnTo>
                <a:lnTo>
                  <a:pt x="474" y="776"/>
                </a:lnTo>
                <a:lnTo>
                  <a:pt x="482" y="776"/>
                </a:lnTo>
                <a:lnTo>
                  <a:pt x="487" y="782"/>
                </a:lnTo>
                <a:lnTo>
                  <a:pt x="489" y="783"/>
                </a:lnTo>
                <a:lnTo>
                  <a:pt x="490" y="783"/>
                </a:lnTo>
                <a:lnTo>
                  <a:pt x="491" y="780"/>
                </a:lnTo>
                <a:lnTo>
                  <a:pt x="491" y="775"/>
                </a:lnTo>
                <a:lnTo>
                  <a:pt x="490" y="770"/>
                </a:lnTo>
                <a:lnTo>
                  <a:pt x="495" y="766"/>
                </a:lnTo>
                <a:lnTo>
                  <a:pt x="494" y="772"/>
                </a:lnTo>
                <a:lnTo>
                  <a:pt x="499" y="775"/>
                </a:lnTo>
                <a:lnTo>
                  <a:pt x="504" y="781"/>
                </a:lnTo>
                <a:lnTo>
                  <a:pt x="502" y="793"/>
                </a:lnTo>
                <a:lnTo>
                  <a:pt x="513" y="789"/>
                </a:lnTo>
                <a:lnTo>
                  <a:pt x="523" y="793"/>
                </a:lnTo>
                <a:lnTo>
                  <a:pt x="525" y="793"/>
                </a:lnTo>
                <a:lnTo>
                  <a:pt x="527" y="790"/>
                </a:lnTo>
                <a:lnTo>
                  <a:pt x="531" y="788"/>
                </a:lnTo>
                <a:lnTo>
                  <a:pt x="533" y="791"/>
                </a:lnTo>
                <a:lnTo>
                  <a:pt x="534" y="793"/>
                </a:lnTo>
                <a:lnTo>
                  <a:pt x="534" y="795"/>
                </a:lnTo>
                <a:lnTo>
                  <a:pt x="537" y="796"/>
                </a:lnTo>
                <a:lnTo>
                  <a:pt x="539" y="795"/>
                </a:lnTo>
                <a:lnTo>
                  <a:pt x="540" y="794"/>
                </a:lnTo>
                <a:lnTo>
                  <a:pt x="540" y="791"/>
                </a:lnTo>
                <a:lnTo>
                  <a:pt x="538" y="789"/>
                </a:lnTo>
                <a:lnTo>
                  <a:pt x="536" y="786"/>
                </a:lnTo>
                <a:lnTo>
                  <a:pt x="540" y="786"/>
                </a:lnTo>
                <a:lnTo>
                  <a:pt x="540" y="781"/>
                </a:lnTo>
                <a:lnTo>
                  <a:pt x="538" y="772"/>
                </a:lnTo>
                <a:lnTo>
                  <a:pt x="540" y="761"/>
                </a:lnTo>
                <a:lnTo>
                  <a:pt x="542" y="762"/>
                </a:lnTo>
                <a:lnTo>
                  <a:pt x="542" y="763"/>
                </a:lnTo>
                <a:lnTo>
                  <a:pt x="542" y="767"/>
                </a:lnTo>
                <a:lnTo>
                  <a:pt x="545" y="769"/>
                </a:lnTo>
                <a:lnTo>
                  <a:pt x="549" y="767"/>
                </a:lnTo>
                <a:lnTo>
                  <a:pt x="552" y="763"/>
                </a:lnTo>
                <a:lnTo>
                  <a:pt x="552" y="760"/>
                </a:lnTo>
                <a:lnTo>
                  <a:pt x="553" y="759"/>
                </a:lnTo>
                <a:lnTo>
                  <a:pt x="556" y="760"/>
                </a:lnTo>
                <a:lnTo>
                  <a:pt x="554" y="762"/>
                </a:lnTo>
                <a:lnTo>
                  <a:pt x="556" y="763"/>
                </a:lnTo>
                <a:lnTo>
                  <a:pt x="557" y="763"/>
                </a:lnTo>
                <a:lnTo>
                  <a:pt x="558" y="763"/>
                </a:lnTo>
                <a:lnTo>
                  <a:pt x="558" y="762"/>
                </a:lnTo>
                <a:lnTo>
                  <a:pt x="561" y="756"/>
                </a:lnTo>
                <a:lnTo>
                  <a:pt x="565" y="751"/>
                </a:lnTo>
                <a:lnTo>
                  <a:pt x="565" y="747"/>
                </a:lnTo>
                <a:lnTo>
                  <a:pt x="566" y="745"/>
                </a:lnTo>
                <a:lnTo>
                  <a:pt x="567" y="741"/>
                </a:lnTo>
                <a:lnTo>
                  <a:pt x="571" y="738"/>
                </a:lnTo>
                <a:lnTo>
                  <a:pt x="570" y="745"/>
                </a:lnTo>
                <a:lnTo>
                  <a:pt x="568" y="752"/>
                </a:lnTo>
                <a:lnTo>
                  <a:pt x="567" y="759"/>
                </a:lnTo>
                <a:lnTo>
                  <a:pt x="568" y="767"/>
                </a:lnTo>
                <a:lnTo>
                  <a:pt x="570" y="762"/>
                </a:lnTo>
                <a:lnTo>
                  <a:pt x="571" y="759"/>
                </a:lnTo>
                <a:lnTo>
                  <a:pt x="572" y="756"/>
                </a:lnTo>
                <a:lnTo>
                  <a:pt x="574" y="755"/>
                </a:lnTo>
                <a:lnTo>
                  <a:pt x="575" y="758"/>
                </a:lnTo>
                <a:lnTo>
                  <a:pt x="575" y="760"/>
                </a:lnTo>
                <a:lnTo>
                  <a:pt x="575" y="760"/>
                </a:lnTo>
                <a:lnTo>
                  <a:pt x="252" y="823"/>
                </a:lnTo>
                <a:close/>
                <a:moveTo>
                  <a:pt x="575" y="760"/>
                </a:moveTo>
                <a:lnTo>
                  <a:pt x="575" y="760"/>
                </a:lnTo>
                <a:lnTo>
                  <a:pt x="575" y="760"/>
                </a:lnTo>
                <a:lnTo>
                  <a:pt x="578" y="759"/>
                </a:lnTo>
                <a:lnTo>
                  <a:pt x="579" y="759"/>
                </a:lnTo>
                <a:lnTo>
                  <a:pt x="581" y="745"/>
                </a:lnTo>
                <a:lnTo>
                  <a:pt x="587" y="731"/>
                </a:lnTo>
                <a:lnTo>
                  <a:pt x="588" y="724"/>
                </a:lnTo>
                <a:lnTo>
                  <a:pt x="591" y="717"/>
                </a:lnTo>
                <a:lnTo>
                  <a:pt x="592" y="716"/>
                </a:lnTo>
                <a:lnTo>
                  <a:pt x="592" y="716"/>
                </a:lnTo>
                <a:lnTo>
                  <a:pt x="589" y="707"/>
                </a:lnTo>
                <a:lnTo>
                  <a:pt x="589" y="700"/>
                </a:lnTo>
                <a:lnTo>
                  <a:pt x="591" y="693"/>
                </a:lnTo>
                <a:lnTo>
                  <a:pt x="591" y="685"/>
                </a:lnTo>
                <a:lnTo>
                  <a:pt x="586" y="692"/>
                </a:lnTo>
                <a:lnTo>
                  <a:pt x="586" y="699"/>
                </a:lnTo>
                <a:lnTo>
                  <a:pt x="587" y="702"/>
                </a:lnTo>
                <a:lnTo>
                  <a:pt x="587" y="703"/>
                </a:lnTo>
                <a:lnTo>
                  <a:pt x="586" y="704"/>
                </a:lnTo>
                <a:lnTo>
                  <a:pt x="585" y="703"/>
                </a:lnTo>
                <a:lnTo>
                  <a:pt x="584" y="702"/>
                </a:lnTo>
                <a:lnTo>
                  <a:pt x="584" y="699"/>
                </a:lnTo>
                <a:lnTo>
                  <a:pt x="585" y="689"/>
                </a:lnTo>
                <a:lnTo>
                  <a:pt x="588" y="678"/>
                </a:lnTo>
                <a:lnTo>
                  <a:pt x="588" y="674"/>
                </a:lnTo>
                <a:lnTo>
                  <a:pt x="587" y="671"/>
                </a:lnTo>
                <a:lnTo>
                  <a:pt x="582" y="671"/>
                </a:lnTo>
                <a:lnTo>
                  <a:pt x="580" y="675"/>
                </a:lnTo>
                <a:lnTo>
                  <a:pt x="579" y="678"/>
                </a:lnTo>
                <a:lnTo>
                  <a:pt x="575" y="678"/>
                </a:lnTo>
                <a:lnTo>
                  <a:pt x="575" y="678"/>
                </a:lnTo>
                <a:lnTo>
                  <a:pt x="574" y="679"/>
                </a:lnTo>
                <a:lnTo>
                  <a:pt x="575" y="678"/>
                </a:lnTo>
                <a:lnTo>
                  <a:pt x="575" y="678"/>
                </a:lnTo>
                <a:lnTo>
                  <a:pt x="579" y="671"/>
                </a:lnTo>
                <a:lnTo>
                  <a:pt x="584" y="664"/>
                </a:lnTo>
                <a:lnTo>
                  <a:pt x="587" y="662"/>
                </a:lnTo>
                <a:lnTo>
                  <a:pt x="588" y="665"/>
                </a:lnTo>
                <a:lnTo>
                  <a:pt x="592" y="660"/>
                </a:lnTo>
                <a:lnTo>
                  <a:pt x="591" y="654"/>
                </a:lnTo>
                <a:lnTo>
                  <a:pt x="591" y="649"/>
                </a:lnTo>
                <a:lnTo>
                  <a:pt x="593" y="646"/>
                </a:lnTo>
                <a:lnTo>
                  <a:pt x="595" y="639"/>
                </a:lnTo>
                <a:lnTo>
                  <a:pt x="593" y="630"/>
                </a:lnTo>
                <a:lnTo>
                  <a:pt x="592" y="628"/>
                </a:lnTo>
                <a:lnTo>
                  <a:pt x="594" y="625"/>
                </a:lnTo>
                <a:lnTo>
                  <a:pt x="596" y="618"/>
                </a:lnTo>
                <a:lnTo>
                  <a:pt x="598" y="609"/>
                </a:lnTo>
                <a:lnTo>
                  <a:pt x="594" y="616"/>
                </a:lnTo>
                <a:lnTo>
                  <a:pt x="588" y="621"/>
                </a:lnTo>
                <a:lnTo>
                  <a:pt x="588" y="625"/>
                </a:lnTo>
                <a:lnTo>
                  <a:pt x="585" y="628"/>
                </a:lnTo>
                <a:lnTo>
                  <a:pt x="584" y="627"/>
                </a:lnTo>
                <a:lnTo>
                  <a:pt x="582" y="627"/>
                </a:lnTo>
                <a:lnTo>
                  <a:pt x="585" y="623"/>
                </a:lnTo>
                <a:lnTo>
                  <a:pt x="588" y="621"/>
                </a:lnTo>
                <a:lnTo>
                  <a:pt x="591" y="612"/>
                </a:lnTo>
                <a:lnTo>
                  <a:pt x="595" y="604"/>
                </a:lnTo>
                <a:lnTo>
                  <a:pt x="596" y="601"/>
                </a:lnTo>
                <a:lnTo>
                  <a:pt x="595" y="599"/>
                </a:lnTo>
                <a:lnTo>
                  <a:pt x="593" y="599"/>
                </a:lnTo>
                <a:lnTo>
                  <a:pt x="593" y="601"/>
                </a:lnTo>
                <a:lnTo>
                  <a:pt x="588" y="606"/>
                </a:lnTo>
                <a:lnTo>
                  <a:pt x="584" y="611"/>
                </a:lnTo>
                <a:lnTo>
                  <a:pt x="582" y="614"/>
                </a:lnTo>
                <a:lnTo>
                  <a:pt x="580" y="616"/>
                </a:lnTo>
                <a:lnTo>
                  <a:pt x="580" y="612"/>
                </a:lnTo>
                <a:lnTo>
                  <a:pt x="584" y="611"/>
                </a:lnTo>
                <a:lnTo>
                  <a:pt x="587" y="600"/>
                </a:lnTo>
                <a:lnTo>
                  <a:pt x="594" y="592"/>
                </a:lnTo>
                <a:lnTo>
                  <a:pt x="596" y="590"/>
                </a:lnTo>
                <a:lnTo>
                  <a:pt x="596" y="586"/>
                </a:lnTo>
                <a:lnTo>
                  <a:pt x="596" y="584"/>
                </a:lnTo>
                <a:lnTo>
                  <a:pt x="598" y="583"/>
                </a:lnTo>
                <a:lnTo>
                  <a:pt x="601" y="581"/>
                </a:lnTo>
                <a:lnTo>
                  <a:pt x="600" y="579"/>
                </a:lnTo>
                <a:lnTo>
                  <a:pt x="598" y="579"/>
                </a:lnTo>
                <a:lnTo>
                  <a:pt x="595" y="583"/>
                </a:lnTo>
                <a:lnTo>
                  <a:pt x="594" y="583"/>
                </a:lnTo>
                <a:lnTo>
                  <a:pt x="593" y="583"/>
                </a:lnTo>
                <a:lnTo>
                  <a:pt x="594" y="579"/>
                </a:lnTo>
                <a:lnTo>
                  <a:pt x="596" y="576"/>
                </a:lnTo>
                <a:lnTo>
                  <a:pt x="593" y="577"/>
                </a:lnTo>
                <a:lnTo>
                  <a:pt x="591" y="579"/>
                </a:lnTo>
                <a:lnTo>
                  <a:pt x="591" y="581"/>
                </a:lnTo>
                <a:lnTo>
                  <a:pt x="589" y="583"/>
                </a:lnTo>
                <a:lnTo>
                  <a:pt x="587" y="585"/>
                </a:lnTo>
                <a:lnTo>
                  <a:pt x="584" y="585"/>
                </a:lnTo>
                <a:lnTo>
                  <a:pt x="582" y="585"/>
                </a:lnTo>
                <a:lnTo>
                  <a:pt x="582" y="584"/>
                </a:lnTo>
                <a:lnTo>
                  <a:pt x="584" y="581"/>
                </a:lnTo>
                <a:lnTo>
                  <a:pt x="587" y="581"/>
                </a:lnTo>
                <a:lnTo>
                  <a:pt x="588" y="579"/>
                </a:lnTo>
                <a:lnTo>
                  <a:pt x="591" y="579"/>
                </a:lnTo>
                <a:lnTo>
                  <a:pt x="593" y="570"/>
                </a:lnTo>
                <a:lnTo>
                  <a:pt x="599" y="562"/>
                </a:lnTo>
                <a:lnTo>
                  <a:pt x="602" y="558"/>
                </a:lnTo>
                <a:lnTo>
                  <a:pt x="603" y="552"/>
                </a:lnTo>
                <a:lnTo>
                  <a:pt x="606" y="549"/>
                </a:lnTo>
                <a:lnTo>
                  <a:pt x="609" y="551"/>
                </a:lnTo>
                <a:lnTo>
                  <a:pt x="612" y="552"/>
                </a:lnTo>
                <a:lnTo>
                  <a:pt x="614" y="552"/>
                </a:lnTo>
                <a:lnTo>
                  <a:pt x="614" y="552"/>
                </a:lnTo>
                <a:lnTo>
                  <a:pt x="615" y="552"/>
                </a:lnTo>
                <a:lnTo>
                  <a:pt x="615" y="552"/>
                </a:lnTo>
                <a:lnTo>
                  <a:pt x="609" y="559"/>
                </a:lnTo>
                <a:lnTo>
                  <a:pt x="608" y="567"/>
                </a:lnTo>
                <a:lnTo>
                  <a:pt x="610" y="566"/>
                </a:lnTo>
                <a:lnTo>
                  <a:pt x="613" y="565"/>
                </a:lnTo>
                <a:lnTo>
                  <a:pt x="613" y="569"/>
                </a:lnTo>
                <a:lnTo>
                  <a:pt x="612" y="571"/>
                </a:lnTo>
                <a:lnTo>
                  <a:pt x="609" y="574"/>
                </a:lnTo>
                <a:lnTo>
                  <a:pt x="608" y="578"/>
                </a:lnTo>
                <a:lnTo>
                  <a:pt x="607" y="591"/>
                </a:lnTo>
                <a:lnTo>
                  <a:pt x="605" y="604"/>
                </a:lnTo>
                <a:lnTo>
                  <a:pt x="607" y="602"/>
                </a:lnTo>
                <a:lnTo>
                  <a:pt x="610" y="601"/>
                </a:lnTo>
                <a:lnTo>
                  <a:pt x="609" y="605"/>
                </a:lnTo>
                <a:lnTo>
                  <a:pt x="607" y="608"/>
                </a:lnTo>
                <a:lnTo>
                  <a:pt x="605" y="613"/>
                </a:lnTo>
                <a:lnTo>
                  <a:pt x="606" y="618"/>
                </a:lnTo>
                <a:lnTo>
                  <a:pt x="607" y="621"/>
                </a:lnTo>
                <a:lnTo>
                  <a:pt x="605" y="623"/>
                </a:lnTo>
                <a:lnTo>
                  <a:pt x="601" y="627"/>
                </a:lnTo>
                <a:lnTo>
                  <a:pt x="600" y="633"/>
                </a:lnTo>
                <a:lnTo>
                  <a:pt x="600" y="639"/>
                </a:lnTo>
                <a:lnTo>
                  <a:pt x="599" y="646"/>
                </a:lnTo>
                <a:lnTo>
                  <a:pt x="605" y="646"/>
                </a:lnTo>
                <a:lnTo>
                  <a:pt x="605" y="651"/>
                </a:lnTo>
                <a:lnTo>
                  <a:pt x="602" y="660"/>
                </a:lnTo>
                <a:lnTo>
                  <a:pt x="601" y="669"/>
                </a:lnTo>
                <a:lnTo>
                  <a:pt x="600" y="696"/>
                </a:lnTo>
                <a:lnTo>
                  <a:pt x="596" y="721"/>
                </a:lnTo>
                <a:lnTo>
                  <a:pt x="595" y="724"/>
                </a:lnTo>
                <a:lnTo>
                  <a:pt x="594" y="725"/>
                </a:lnTo>
                <a:lnTo>
                  <a:pt x="592" y="727"/>
                </a:lnTo>
                <a:lnTo>
                  <a:pt x="593" y="730"/>
                </a:lnTo>
                <a:lnTo>
                  <a:pt x="594" y="728"/>
                </a:lnTo>
                <a:lnTo>
                  <a:pt x="596" y="727"/>
                </a:lnTo>
                <a:lnTo>
                  <a:pt x="596" y="742"/>
                </a:lnTo>
                <a:lnTo>
                  <a:pt x="598" y="754"/>
                </a:lnTo>
                <a:lnTo>
                  <a:pt x="596" y="763"/>
                </a:lnTo>
                <a:lnTo>
                  <a:pt x="595" y="763"/>
                </a:lnTo>
                <a:lnTo>
                  <a:pt x="595" y="763"/>
                </a:lnTo>
                <a:lnTo>
                  <a:pt x="595" y="753"/>
                </a:lnTo>
                <a:lnTo>
                  <a:pt x="596" y="744"/>
                </a:lnTo>
                <a:lnTo>
                  <a:pt x="593" y="746"/>
                </a:lnTo>
                <a:lnTo>
                  <a:pt x="591" y="749"/>
                </a:lnTo>
                <a:lnTo>
                  <a:pt x="589" y="744"/>
                </a:lnTo>
                <a:lnTo>
                  <a:pt x="592" y="739"/>
                </a:lnTo>
                <a:lnTo>
                  <a:pt x="594" y="737"/>
                </a:lnTo>
                <a:lnTo>
                  <a:pt x="594" y="734"/>
                </a:lnTo>
                <a:lnTo>
                  <a:pt x="593" y="734"/>
                </a:lnTo>
                <a:lnTo>
                  <a:pt x="591" y="734"/>
                </a:lnTo>
                <a:lnTo>
                  <a:pt x="588" y="734"/>
                </a:lnTo>
                <a:lnTo>
                  <a:pt x="588" y="737"/>
                </a:lnTo>
                <a:lnTo>
                  <a:pt x="585" y="746"/>
                </a:lnTo>
                <a:lnTo>
                  <a:pt x="584" y="755"/>
                </a:lnTo>
                <a:lnTo>
                  <a:pt x="582" y="758"/>
                </a:lnTo>
                <a:lnTo>
                  <a:pt x="580" y="759"/>
                </a:lnTo>
                <a:lnTo>
                  <a:pt x="578" y="770"/>
                </a:lnTo>
                <a:lnTo>
                  <a:pt x="577" y="782"/>
                </a:lnTo>
                <a:lnTo>
                  <a:pt x="574" y="796"/>
                </a:lnTo>
                <a:lnTo>
                  <a:pt x="578" y="811"/>
                </a:lnTo>
                <a:lnTo>
                  <a:pt x="581" y="803"/>
                </a:lnTo>
                <a:lnTo>
                  <a:pt x="580" y="795"/>
                </a:lnTo>
                <a:lnTo>
                  <a:pt x="580" y="787"/>
                </a:lnTo>
                <a:lnTo>
                  <a:pt x="581" y="779"/>
                </a:lnTo>
                <a:lnTo>
                  <a:pt x="582" y="775"/>
                </a:lnTo>
                <a:lnTo>
                  <a:pt x="586" y="773"/>
                </a:lnTo>
                <a:lnTo>
                  <a:pt x="586" y="775"/>
                </a:lnTo>
                <a:lnTo>
                  <a:pt x="586" y="777"/>
                </a:lnTo>
                <a:lnTo>
                  <a:pt x="585" y="782"/>
                </a:lnTo>
                <a:lnTo>
                  <a:pt x="586" y="784"/>
                </a:lnTo>
                <a:lnTo>
                  <a:pt x="591" y="787"/>
                </a:lnTo>
                <a:lnTo>
                  <a:pt x="589" y="793"/>
                </a:lnTo>
                <a:lnTo>
                  <a:pt x="591" y="796"/>
                </a:lnTo>
                <a:lnTo>
                  <a:pt x="593" y="800"/>
                </a:lnTo>
                <a:lnTo>
                  <a:pt x="593" y="800"/>
                </a:lnTo>
                <a:lnTo>
                  <a:pt x="594" y="800"/>
                </a:lnTo>
                <a:lnTo>
                  <a:pt x="595" y="800"/>
                </a:lnTo>
                <a:lnTo>
                  <a:pt x="595" y="797"/>
                </a:lnTo>
                <a:lnTo>
                  <a:pt x="595" y="787"/>
                </a:lnTo>
                <a:lnTo>
                  <a:pt x="596" y="775"/>
                </a:lnTo>
                <a:lnTo>
                  <a:pt x="596" y="774"/>
                </a:lnTo>
                <a:lnTo>
                  <a:pt x="595" y="773"/>
                </a:lnTo>
                <a:lnTo>
                  <a:pt x="594" y="773"/>
                </a:lnTo>
                <a:lnTo>
                  <a:pt x="594" y="770"/>
                </a:lnTo>
                <a:lnTo>
                  <a:pt x="596" y="768"/>
                </a:lnTo>
                <a:lnTo>
                  <a:pt x="600" y="766"/>
                </a:lnTo>
                <a:lnTo>
                  <a:pt x="601" y="767"/>
                </a:lnTo>
                <a:lnTo>
                  <a:pt x="602" y="769"/>
                </a:lnTo>
                <a:lnTo>
                  <a:pt x="601" y="777"/>
                </a:lnTo>
                <a:lnTo>
                  <a:pt x="600" y="784"/>
                </a:lnTo>
                <a:lnTo>
                  <a:pt x="601" y="784"/>
                </a:lnTo>
                <a:lnTo>
                  <a:pt x="602" y="783"/>
                </a:lnTo>
                <a:lnTo>
                  <a:pt x="603" y="781"/>
                </a:lnTo>
                <a:lnTo>
                  <a:pt x="606" y="780"/>
                </a:lnTo>
                <a:lnTo>
                  <a:pt x="608" y="782"/>
                </a:lnTo>
                <a:lnTo>
                  <a:pt x="608" y="784"/>
                </a:lnTo>
                <a:lnTo>
                  <a:pt x="609" y="790"/>
                </a:lnTo>
                <a:lnTo>
                  <a:pt x="612" y="795"/>
                </a:lnTo>
                <a:lnTo>
                  <a:pt x="614" y="796"/>
                </a:lnTo>
                <a:lnTo>
                  <a:pt x="616" y="794"/>
                </a:lnTo>
                <a:lnTo>
                  <a:pt x="615" y="788"/>
                </a:lnTo>
                <a:lnTo>
                  <a:pt x="613" y="783"/>
                </a:lnTo>
                <a:lnTo>
                  <a:pt x="612" y="781"/>
                </a:lnTo>
                <a:lnTo>
                  <a:pt x="612" y="779"/>
                </a:lnTo>
                <a:lnTo>
                  <a:pt x="612" y="774"/>
                </a:lnTo>
                <a:lnTo>
                  <a:pt x="609" y="772"/>
                </a:lnTo>
                <a:lnTo>
                  <a:pt x="608" y="772"/>
                </a:lnTo>
                <a:lnTo>
                  <a:pt x="608" y="772"/>
                </a:lnTo>
                <a:lnTo>
                  <a:pt x="608" y="772"/>
                </a:lnTo>
                <a:lnTo>
                  <a:pt x="609" y="772"/>
                </a:lnTo>
                <a:lnTo>
                  <a:pt x="609" y="768"/>
                </a:lnTo>
                <a:lnTo>
                  <a:pt x="609" y="765"/>
                </a:lnTo>
                <a:lnTo>
                  <a:pt x="606" y="762"/>
                </a:lnTo>
                <a:lnTo>
                  <a:pt x="606" y="759"/>
                </a:lnTo>
                <a:lnTo>
                  <a:pt x="608" y="761"/>
                </a:lnTo>
                <a:lnTo>
                  <a:pt x="609" y="763"/>
                </a:lnTo>
                <a:lnTo>
                  <a:pt x="610" y="766"/>
                </a:lnTo>
                <a:lnTo>
                  <a:pt x="613" y="766"/>
                </a:lnTo>
                <a:lnTo>
                  <a:pt x="614" y="763"/>
                </a:lnTo>
                <a:lnTo>
                  <a:pt x="613" y="761"/>
                </a:lnTo>
                <a:lnTo>
                  <a:pt x="610" y="758"/>
                </a:lnTo>
                <a:lnTo>
                  <a:pt x="608" y="753"/>
                </a:lnTo>
                <a:lnTo>
                  <a:pt x="610" y="753"/>
                </a:lnTo>
                <a:lnTo>
                  <a:pt x="613" y="752"/>
                </a:lnTo>
                <a:lnTo>
                  <a:pt x="614" y="747"/>
                </a:lnTo>
                <a:lnTo>
                  <a:pt x="612" y="742"/>
                </a:lnTo>
                <a:lnTo>
                  <a:pt x="609" y="739"/>
                </a:lnTo>
                <a:lnTo>
                  <a:pt x="609" y="734"/>
                </a:lnTo>
                <a:lnTo>
                  <a:pt x="609" y="730"/>
                </a:lnTo>
                <a:lnTo>
                  <a:pt x="608" y="725"/>
                </a:lnTo>
                <a:lnTo>
                  <a:pt x="608" y="720"/>
                </a:lnTo>
                <a:lnTo>
                  <a:pt x="610" y="716"/>
                </a:lnTo>
                <a:lnTo>
                  <a:pt x="613" y="712"/>
                </a:lnTo>
                <a:lnTo>
                  <a:pt x="609" y="709"/>
                </a:lnTo>
                <a:lnTo>
                  <a:pt x="608" y="707"/>
                </a:lnTo>
                <a:lnTo>
                  <a:pt x="609" y="706"/>
                </a:lnTo>
                <a:lnTo>
                  <a:pt x="613" y="699"/>
                </a:lnTo>
                <a:lnTo>
                  <a:pt x="609" y="692"/>
                </a:lnTo>
                <a:lnTo>
                  <a:pt x="607" y="686"/>
                </a:lnTo>
                <a:lnTo>
                  <a:pt x="609" y="682"/>
                </a:lnTo>
                <a:lnTo>
                  <a:pt x="615" y="674"/>
                </a:lnTo>
                <a:lnTo>
                  <a:pt x="619" y="665"/>
                </a:lnTo>
                <a:lnTo>
                  <a:pt x="618" y="663"/>
                </a:lnTo>
                <a:lnTo>
                  <a:pt x="615" y="663"/>
                </a:lnTo>
                <a:lnTo>
                  <a:pt x="614" y="665"/>
                </a:lnTo>
                <a:lnTo>
                  <a:pt x="613" y="667"/>
                </a:lnTo>
                <a:lnTo>
                  <a:pt x="613" y="665"/>
                </a:lnTo>
                <a:lnTo>
                  <a:pt x="612" y="665"/>
                </a:lnTo>
                <a:lnTo>
                  <a:pt x="613" y="663"/>
                </a:lnTo>
                <a:lnTo>
                  <a:pt x="614" y="663"/>
                </a:lnTo>
                <a:lnTo>
                  <a:pt x="618" y="658"/>
                </a:lnTo>
                <a:lnTo>
                  <a:pt x="621" y="656"/>
                </a:lnTo>
                <a:lnTo>
                  <a:pt x="630" y="651"/>
                </a:lnTo>
                <a:lnTo>
                  <a:pt x="635" y="642"/>
                </a:lnTo>
                <a:lnTo>
                  <a:pt x="636" y="637"/>
                </a:lnTo>
                <a:lnTo>
                  <a:pt x="640" y="636"/>
                </a:lnTo>
                <a:lnTo>
                  <a:pt x="641" y="635"/>
                </a:lnTo>
                <a:lnTo>
                  <a:pt x="642" y="634"/>
                </a:lnTo>
                <a:lnTo>
                  <a:pt x="642" y="635"/>
                </a:lnTo>
                <a:lnTo>
                  <a:pt x="642" y="635"/>
                </a:lnTo>
                <a:lnTo>
                  <a:pt x="641" y="636"/>
                </a:lnTo>
                <a:lnTo>
                  <a:pt x="640" y="636"/>
                </a:lnTo>
                <a:lnTo>
                  <a:pt x="641" y="644"/>
                </a:lnTo>
                <a:lnTo>
                  <a:pt x="637" y="649"/>
                </a:lnTo>
                <a:lnTo>
                  <a:pt x="632" y="663"/>
                </a:lnTo>
                <a:lnTo>
                  <a:pt x="628" y="676"/>
                </a:lnTo>
                <a:lnTo>
                  <a:pt x="626" y="692"/>
                </a:lnTo>
                <a:lnTo>
                  <a:pt x="627" y="709"/>
                </a:lnTo>
                <a:lnTo>
                  <a:pt x="627" y="713"/>
                </a:lnTo>
                <a:lnTo>
                  <a:pt x="629" y="718"/>
                </a:lnTo>
                <a:lnTo>
                  <a:pt x="634" y="710"/>
                </a:lnTo>
                <a:lnTo>
                  <a:pt x="641" y="704"/>
                </a:lnTo>
                <a:lnTo>
                  <a:pt x="644" y="702"/>
                </a:lnTo>
                <a:lnTo>
                  <a:pt x="647" y="705"/>
                </a:lnTo>
                <a:lnTo>
                  <a:pt x="648" y="707"/>
                </a:lnTo>
                <a:lnTo>
                  <a:pt x="650" y="709"/>
                </a:lnTo>
                <a:lnTo>
                  <a:pt x="651" y="709"/>
                </a:lnTo>
                <a:lnTo>
                  <a:pt x="651" y="707"/>
                </a:lnTo>
                <a:lnTo>
                  <a:pt x="650" y="705"/>
                </a:lnTo>
                <a:lnTo>
                  <a:pt x="649" y="704"/>
                </a:lnTo>
                <a:lnTo>
                  <a:pt x="653" y="704"/>
                </a:lnTo>
                <a:lnTo>
                  <a:pt x="655" y="703"/>
                </a:lnTo>
                <a:lnTo>
                  <a:pt x="655" y="700"/>
                </a:lnTo>
                <a:lnTo>
                  <a:pt x="653" y="699"/>
                </a:lnTo>
                <a:lnTo>
                  <a:pt x="654" y="697"/>
                </a:lnTo>
                <a:lnTo>
                  <a:pt x="655" y="696"/>
                </a:lnTo>
                <a:lnTo>
                  <a:pt x="656" y="696"/>
                </a:lnTo>
                <a:lnTo>
                  <a:pt x="657" y="695"/>
                </a:lnTo>
                <a:lnTo>
                  <a:pt x="657" y="700"/>
                </a:lnTo>
                <a:lnTo>
                  <a:pt x="658" y="698"/>
                </a:lnTo>
                <a:lnTo>
                  <a:pt x="660" y="697"/>
                </a:lnTo>
                <a:lnTo>
                  <a:pt x="662" y="697"/>
                </a:lnTo>
                <a:lnTo>
                  <a:pt x="663" y="696"/>
                </a:lnTo>
                <a:lnTo>
                  <a:pt x="670" y="693"/>
                </a:lnTo>
                <a:lnTo>
                  <a:pt x="677" y="689"/>
                </a:lnTo>
                <a:lnTo>
                  <a:pt x="683" y="684"/>
                </a:lnTo>
                <a:lnTo>
                  <a:pt x="690" y="681"/>
                </a:lnTo>
                <a:lnTo>
                  <a:pt x="709" y="669"/>
                </a:lnTo>
                <a:lnTo>
                  <a:pt x="730" y="663"/>
                </a:lnTo>
                <a:lnTo>
                  <a:pt x="730" y="663"/>
                </a:lnTo>
                <a:lnTo>
                  <a:pt x="730" y="663"/>
                </a:lnTo>
                <a:lnTo>
                  <a:pt x="730" y="663"/>
                </a:lnTo>
                <a:lnTo>
                  <a:pt x="737" y="658"/>
                </a:lnTo>
                <a:lnTo>
                  <a:pt x="743" y="660"/>
                </a:lnTo>
                <a:lnTo>
                  <a:pt x="744" y="661"/>
                </a:lnTo>
                <a:lnTo>
                  <a:pt x="745" y="661"/>
                </a:lnTo>
                <a:lnTo>
                  <a:pt x="744" y="661"/>
                </a:lnTo>
                <a:lnTo>
                  <a:pt x="743" y="660"/>
                </a:lnTo>
                <a:lnTo>
                  <a:pt x="741" y="663"/>
                </a:lnTo>
                <a:lnTo>
                  <a:pt x="741" y="665"/>
                </a:lnTo>
                <a:lnTo>
                  <a:pt x="740" y="665"/>
                </a:lnTo>
                <a:lnTo>
                  <a:pt x="740" y="665"/>
                </a:lnTo>
                <a:lnTo>
                  <a:pt x="736" y="662"/>
                </a:lnTo>
                <a:lnTo>
                  <a:pt x="730" y="663"/>
                </a:lnTo>
                <a:lnTo>
                  <a:pt x="730" y="664"/>
                </a:lnTo>
                <a:lnTo>
                  <a:pt x="730" y="665"/>
                </a:lnTo>
                <a:lnTo>
                  <a:pt x="706" y="675"/>
                </a:lnTo>
                <a:lnTo>
                  <a:pt x="684" y="689"/>
                </a:lnTo>
                <a:lnTo>
                  <a:pt x="701" y="684"/>
                </a:lnTo>
                <a:lnTo>
                  <a:pt x="715" y="679"/>
                </a:lnTo>
                <a:lnTo>
                  <a:pt x="709" y="684"/>
                </a:lnTo>
                <a:lnTo>
                  <a:pt x="702" y="688"/>
                </a:lnTo>
                <a:lnTo>
                  <a:pt x="702" y="689"/>
                </a:lnTo>
                <a:lnTo>
                  <a:pt x="702" y="689"/>
                </a:lnTo>
                <a:lnTo>
                  <a:pt x="702" y="689"/>
                </a:lnTo>
                <a:lnTo>
                  <a:pt x="702" y="688"/>
                </a:lnTo>
                <a:lnTo>
                  <a:pt x="698" y="689"/>
                </a:lnTo>
                <a:lnTo>
                  <a:pt x="696" y="691"/>
                </a:lnTo>
                <a:lnTo>
                  <a:pt x="683" y="696"/>
                </a:lnTo>
                <a:lnTo>
                  <a:pt x="671" y="705"/>
                </a:lnTo>
                <a:lnTo>
                  <a:pt x="683" y="702"/>
                </a:lnTo>
                <a:lnTo>
                  <a:pt x="694" y="697"/>
                </a:lnTo>
                <a:lnTo>
                  <a:pt x="695" y="693"/>
                </a:lnTo>
                <a:lnTo>
                  <a:pt x="698" y="692"/>
                </a:lnTo>
                <a:lnTo>
                  <a:pt x="698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701" y="691"/>
                </a:lnTo>
                <a:lnTo>
                  <a:pt x="702" y="689"/>
                </a:lnTo>
                <a:lnTo>
                  <a:pt x="704" y="689"/>
                </a:lnTo>
                <a:lnTo>
                  <a:pt x="705" y="689"/>
                </a:lnTo>
                <a:lnTo>
                  <a:pt x="705" y="690"/>
                </a:lnTo>
                <a:lnTo>
                  <a:pt x="704" y="691"/>
                </a:lnTo>
                <a:lnTo>
                  <a:pt x="702" y="692"/>
                </a:lnTo>
                <a:lnTo>
                  <a:pt x="699" y="692"/>
                </a:lnTo>
                <a:lnTo>
                  <a:pt x="698" y="695"/>
                </a:lnTo>
                <a:lnTo>
                  <a:pt x="697" y="697"/>
                </a:lnTo>
                <a:lnTo>
                  <a:pt x="698" y="697"/>
                </a:lnTo>
                <a:lnTo>
                  <a:pt x="694" y="697"/>
                </a:lnTo>
                <a:lnTo>
                  <a:pt x="575" y="760"/>
                </a:lnTo>
                <a:close/>
                <a:moveTo>
                  <a:pt x="694" y="697"/>
                </a:moveTo>
                <a:lnTo>
                  <a:pt x="691" y="703"/>
                </a:lnTo>
                <a:lnTo>
                  <a:pt x="689" y="710"/>
                </a:lnTo>
                <a:lnTo>
                  <a:pt x="685" y="710"/>
                </a:lnTo>
                <a:lnTo>
                  <a:pt x="685" y="713"/>
                </a:lnTo>
                <a:lnTo>
                  <a:pt x="683" y="713"/>
                </a:lnTo>
                <a:lnTo>
                  <a:pt x="681" y="714"/>
                </a:lnTo>
                <a:lnTo>
                  <a:pt x="681" y="716"/>
                </a:lnTo>
                <a:lnTo>
                  <a:pt x="682" y="716"/>
                </a:lnTo>
                <a:lnTo>
                  <a:pt x="684" y="716"/>
                </a:lnTo>
                <a:lnTo>
                  <a:pt x="685" y="713"/>
                </a:lnTo>
                <a:lnTo>
                  <a:pt x="689" y="713"/>
                </a:lnTo>
                <a:lnTo>
                  <a:pt x="689" y="711"/>
                </a:lnTo>
                <a:lnTo>
                  <a:pt x="689" y="710"/>
                </a:lnTo>
                <a:lnTo>
                  <a:pt x="696" y="707"/>
                </a:lnTo>
                <a:lnTo>
                  <a:pt x="702" y="705"/>
                </a:lnTo>
                <a:lnTo>
                  <a:pt x="708" y="702"/>
                </a:lnTo>
                <a:lnTo>
                  <a:pt x="715" y="698"/>
                </a:lnTo>
                <a:lnTo>
                  <a:pt x="717" y="697"/>
                </a:lnTo>
                <a:lnTo>
                  <a:pt x="718" y="698"/>
                </a:lnTo>
                <a:lnTo>
                  <a:pt x="718" y="700"/>
                </a:lnTo>
                <a:lnTo>
                  <a:pt x="716" y="700"/>
                </a:lnTo>
                <a:lnTo>
                  <a:pt x="715" y="702"/>
                </a:lnTo>
                <a:lnTo>
                  <a:pt x="715" y="704"/>
                </a:lnTo>
                <a:lnTo>
                  <a:pt x="709" y="704"/>
                </a:lnTo>
                <a:lnTo>
                  <a:pt x="702" y="705"/>
                </a:lnTo>
                <a:lnTo>
                  <a:pt x="697" y="711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8" y="718"/>
                </a:lnTo>
                <a:lnTo>
                  <a:pt x="682" y="720"/>
                </a:lnTo>
                <a:lnTo>
                  <a:pt x="678" y="721"/>
                </a:lnTo>
                <a:lnTo>
                  <a:pt x="677" y="725"/>
                </a:lnTo>
                <a:lnTo>
                  <a:pt x="675" y="726"/>
                </a:lnTo>
                <a:lnTo>
                  <a:pt x="672" y="726"/>
                </a:lnTo>
                <a:lnTo>
                  <a:pt x="671" y="728"/>
                </a:lnTo>
                <a:lnTo>
                  <a:pt x="668" y="728"/>
                </a:lnTo>
                <a:lnTo>
                  <a:pt x="694" y="697"/>
                </a:lnTo>
                <a:close/>
                <a:moveTo>
                  <a:pt x="522" y="1041"/>
                </a:moveTo>
                <a:lnTo>
                  <a:pt x="519" y="1041"/>
                </a:lnTo>
                <a:lnTo>
                  <a:pt x="516" y="1042"/>
                </a:lnTo>
                <a:lnTo>
                  <a:pt x="519" y="1036"/>
                </a:lnTo>
                <a:lnTo>
                  <a:pt x="524" y="1032"/>
                </a:lnTo>
                <a:lnTo>
                  <a:pt x="519" y="1031"/>
                </a:lnTo>
                <a:lnTo>
                  <a:pt x="515" y="1036"/>
                </a:lnTo>
                <a:lnTo>
                  <a:pt x="515" y="1036"/>
                </a:lnTo>
                <a:lnTo>
                  <a:pt x="515" y="1038"/>
                </a:lnTo>
                <a:lnTo>
                  <a:pt x="515" y="1036"/>
                </a:lnTo>
                <a:lnTo>
                  <a:pt x="515" y="1036"/>
                </a:lnTo>
                <a:lnTo>
                  <a:pt x="510" y="1032"/>
                </a:lnTo>
                <a:lnTo>
                  <a:pt x="505" y="1034"/>
                </a:lnTo>
                <a:lnTo>
                  <a:pt x="503" y="1036"/>
                </a:lnTo>
                <a:lnTo>
                  <a:pt x="501" y="1036"/>
                </a:lnTo>
                <a:lnTo>
                  <a:pt x="496" y="1034"/>
                </a:lnTo>
                <a:lnTo>
                  <a:pt x="491" y="1033"/>
                </a:lnTo>
                <a:lnTo>
                  <a:pt x="490" y="1031"/>
                </a:lnTo>
                <a:lnTo>
                  <a:pt x="489" y="1028"/>
                </a:lnTo>
                <a:lnTo>
                  <a:pt x="482" y="1026"/>
                </a:lnTo>
                <a:lnTo>
                  <a:pt x="478" y="1020"/>
                </a:lnTo>
                <a:lnTo>
                  <a:pt x="475" y="1017"/>
                </a:lnTo>
                <a:lnTo>
                  <a:pt x="469" y="1015"/>
                </a:lnTo>
                <a:lnTo>
                  <a:pt x="465" y="1017"/>
                </a:lnTo>
                <a:lnTo>
                  <a:pt x="461" y="1013"/>
                </a:lnTo>
                <a:lnTo>
                  <a:pt x="471" y="1012"/>
                </a:lnTo>
                <a:lnTo>
                  <a:pt x="481" y="1015"/>
                </a:lnTo>
                <a:lnTo>
                  <a:pt x="484" y="1017"/>
                </a:lnTo>
                <a:lnTo>
                  <a:pt x="488" y="1017"/>
                </a:lnTo>
                <a:lnTo>
                  <a:pt x="491" y="1017"/>
                </a:lnTo>
                <a:lnTo>
                  <a:pt x="495" y="1019"/>
                </a:lnTo>
                <a:lnTo>
                  <a:pt x="503" y="1024"/>
                </a:lnTo>
                <a:lnTo>
                  <a:pt x="512" y="1021"/>
                </a:lnTo>
                <a:lnTo>
                  <a:pt x="515" y="1021"/>
                </a:lnTo>
                <a:lnTo>
                  <a:pt x="515" y="1019"/>
                </a:lnTo>
                <a:lnTo>
                  <a:pt x="515" y="1018"/>
                </a:lnTo>
                <a:lnTo>
                  <a:pt x="512" y="1017"/>
                </a:lnTo>
                <a:lnTo>
                  <a:pt x="510" y="1018"/>
                </a:lnTo>
                <a:lnTo>
                  <a:pt x="508" y="1018"/>
                </a:lnTo>
                <a:lnTo>
                  <a:pt x="510" y="1014"/>
                </a:lnTo>
                <a:lnTo>
                  <a:pt x="508" y="1012"/>
                </a:lnTo>
                <a:lnTo>
                  <a:pt x="499" y="1012"/>
                </a:lnTo>
                <a:lnTo>
                  <a:pt x="491" y="1008"/>
                </a:lnTo>
                <a:lnTo>
                  <a:pt x="485" y="1008"/>
                </a:lnTo>
                <a:lnTo>
                  <a:pt x="480" y="1007"/>
                </a:lnTo>
                <a:lnTo>
                  <a:pt x="473" y="1003"/>
                </a:lnTo>
                <a:lnTo>
                  <a:pt x="467" y="1008"/>
                </a:lnTo>
                <a:lnTo>
                  <a:pt x="465" y="1011"/>
                </a:lnTo>
                <a:lnTo>
                  <a:pt x="463" y="1011"/>
                </a:lnTo>
                <a:lnTo>
                  <a:pt x="462" y="1010"/>
                </a:lnTo>
                <a:lnTo>
                  <a:pt x="461" y="1008"/>
                </a:lnTo>
                <a:lnTo>
                  <a:pt x="458" y="1003"/>
                </a:lnTo>
                <a:lnTo>
                  <a:pt x="453" y="1003"/>
                </a:lnTo>
                <a:lnTo>
                  <a:pt x="447" y="1004"/>
                </a:lnTo>
                <a:lnTo>
                  <a:pt x="441" y="1003"/>
                </a:lnTo>
                <a:lnTo>
                  <a:pt x="439" y="1003"/>
                </a:lnTo>
                <a:lnTo>
                  <a:pt x="439" y="1001"/>
                </a:lnTo>
                <a:lnTo>
                  <a:pt x="439" y="997"/>
                </a:lnTo>
                <a:lnTo>
                  <a:pt x="435" y="993"/>
                </a:lnTo>
                <a:lnTo>
                  <a:pt x="428" y="991"/>
                </a:lnTo>
                <a:lnTo>
                  <a:pt x="427" y="984"/>
                </a:lnTo>
                <a:lnTo>
                  <a:pt x="422" y="987"/>
                </a:lnTo>
                <a:lnTo>
                  <a:pt x="416" y="990"/>
                </a:lnTo>
                <a:lnTo>
                  <a:pt x="414" y="991"/>
                </a:lnTo>
                <a:lnTo>
                  <a:pt x="412" y="991"/>
                </a:lnTo>
                <a:lnTo>
                  <a:pt x="409" y="987"/>
                </a:lnTo>
                <a:lnTo>
                  <a:pt x="409" y="984"/>
                </a:lnTo>
                <a:lnTo>
                  <a:pt x="412" y="983"/>
                </a:lnTo>
                <a:lnTo>
                  <a:pt x="415" y="983"/>
                </a:lnTo>
                <a:lnTo>
                  <a:pt x="416" y="983"/>
                </a:lnTo>
                <a:lnTo>
                  <a:pt x="418" y="984"/>
                </a:lnTo>
                <a:lnTo>
                  <a:pt x="419" y="985"/>
                </a:lnTo>
                <a:lnTo>
                  <a:pt x="421" y="984"/>
                </a:lnTo>
                <a:lnTo>
                  <a:pt x="421" y="983"/>
                </a:lnTo>
                <a:lnTo>
                  <a:pt x="421" y="982"/>
                </a:lnTo>
                <a:lnTo>
                  <a:pt x="420" y="979"/>
                </a:lnTo>
                <a:lnTo>
                  <a:pt x="418" y="980"/>
                </a:lnTo>
                <a:lnTo>
                  <a:pt x="415" y="980"/>
                </a:lnTo>
                <a:lnTo>
                  <a:pt x="414" y="978"/>
                </a:lnTo>
                <a:lnTo>
                  <a:pt x="411" y="972"/>
                </a:lnTo>
                <a:lnTo>
                  <a:pt x="404" y="973"/>
                </a:lnTo>
                <a:lnTo>
                  <a:pt x="406" y="977"/>
                </a:lnTo>
                <a:lnTo>
                  <a:pt x="406" y="982"/>
                </a:lnTo>
                <a:lnTo>
                  <a:pt x="406" y="985"/>
                </a:lnTo>
                <a:lnTo>
                  <a:pt x="405" y="986"/>
                </a:lnTo>
                <a:lnTo>
                  <a:pt x="398" y="984"/>
                </a:lnTo>
                <a:lnTo>
                  <a:pt x="392" y="982"/>
                </a:lnTo>
                <a:lnTo>
                  <a:pt x="391" y="980"/>
                </a:lnTo>
                <a:lnTo>
                  <a:pt x="391" y="978"/>
                </a:lnTo>
                <a:lnTo>
                  <a:pt x="392" y="975"/>
                </a:lnTo>
                <a:lnTo>
                  <a:pt x="388" y="975"/>
                </a:lnTo>
                <a:lnTo>
                  <a:pt x="385" y="973"/>
                </a:lnTo>
                <a:lnTo>
                  <a:pt x="379" y="975"/>
                </a:lnTo>
                <a:lnTo>
                  <a:pt x="389" y="982"/>
                </a:lnTo>
                <a:lnTo>
                  <a:pt x="398" y="989"/>
                </a:lnTo>
                <a:lnTo>
                  <a:pt x="400" y="990"/>
                </a:lnTo>
                <a:lnTo>
                  <a:pt x="401" y="990"/>
                </a:lnTo>
                <a:lnTo>
                  <a:pt x="407" y="993"/>
                </a:lnTo>
                <a:lnTo>
                  <a:pt x="414" y="996"/>
                </a:lnTo>
                <a:lnTo>
                  <a:pt x="414" y="997"/>
                </a:lnTo>
                <a:lnTo>
                  <a:pt x="414" y="998"/>
                </a:lnTo>
                <a:lnTo>
                  <a:pt x="418" y="1004"/>
                </a:lnTo>
                <a:lnTo>
                  <a:pt x="422" y="1006"/>
                </a:lnTo>
                <a:lnTo>
                  <a:pt x="428" y="1006"/>
                </a:lnTo>
                <a:lnTo>
                  <a:pt x="432" y="1010"/>
                </a:lnTo>
                <a:lnTo>
                  <a:pt x="439" y="1017"/>
                </a:lnTo>
                <a:lnTo>
                  <a:pt x="449" y="1021"/>
                </a:lnTo>
                <a:lnTo>
                  <a:pt x="455" y="1022"/>
                </a:lnTo>
                <a:lnTo>
                  <a:pt x="460" y="1025"/>
                </a:lnTo>
                <a:lnTo>
                  <a:pt x="462" y="1028"/>
                </a:lnTo>
                <a:lnTo>
                  <a:pt x="467" y="1029"/>
                </a:lnTo>
                <a:lnTo>
                  <a:pt x="478" y="1033"/>
                </a:lnTo>
                <a:lnTo>
                  <a:pt x="491" y="1033"/>
                </a:lnTo>
                <a:lnTo>
                  <a:pt x="494" y="1039"/>
                </a:lnTo>
                <a:lnTo>
                  <a:pt x="501" y="1041"/>
                </a:lnTo>
                <a:lnTo>
                  <a:pt x="509" y="1040"/>
                </a:lnTo>
                <a:lnTo>
                  <a:pt x="516" y="1042"/>
                </a:lnTo>
                <a:lnTo>
                  <a:pt x="516" y="1042"/>
                </a:lnTo>
                <a:lnTo>
                  <a:pt x="519" y="1050"/>
                </a:lnTo>
                <a:lnTo>
                  <a:pt x="529" y="1055"/>
                </a:lnTo>
                <a:lnTo>
                  <a:pt x="529" y="1050"/>
                </a:lnTo>
                <a:lnTo>
                  <a:pt x="529" y="1047"/>
                </a:lnTo>
                <a:lnTo>
                  <a:pt x="529" y="1040"/>
                </a:lnTo>
                <a:lnTo>
                  <a:pt x="522" y="1041"/>
                </a:lnTo>
                <a:close/>
                <a:moveTo>
                  <a:pt x="301" y="850"/>
                </a:moveTo>
                <a:lnTo>
                  <a:pt x="301" y="849"/>
                </a:lnTo>
                <a:lnTo>
                  <a:pt x="298" y="849"/>
                </a:lnTo>
                <a:lnTo>
                  <a:pt x="295" y="847"/>
                </a:lnTo>
                <a:lnTo>
                  <a:pt x="295" y="844"/>
                </a:lnTo>
                <a:lnTo>
                  <a:pt x="290" y="847"/>
                </a:lnTo>
                <a:lnTo>
                  <a:pt x="287" y="851"/>
                </a:lnTo>
                <a:lnTo>
                  <a:pt x="290" y="851"/>
                </a:lnTo>
                <a:lnTo>
                  <a:pt x="294" y="851"/>
                </a:lnTo>
                <a:lnTo>
                  <a:pt x="290" y="852"/>
                </a:lnTo>
                <a:lnTo>
                  <a:pt x="287" y="851"/>
                </a:lnTo>
                <a:lnTo>
                  <a:pt x="282" y="851"/>
                </a:lnTo>
                <a:lnTo>
                  <a:pt x="277" y="849"/>
                </a:lnTo>
                <a:lnTo>
                  <a:pt x="278" y="854"/>
                </a:lnTo>
                <a:lnTo>
                  <a:pt x="284" y="856"/>
                </a:lnTo>
                <a:lnTo>
                  <a:pt x="294" y="857"/>
                </a:lnTo>
                <a:lnTo>
                  <a:pt x="299" y="865"/>
                </a:lnTo>
                <a:lnTo>
                  <a:pt x="299" y="865"/>
                </a:lnTo>
                <a:lnTo>
                  <a:pt x="294" y="871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7" y="877"/>
                </a:lnTo>
                <a:lnTo>
                  <a:pt x="297" y="877"/>
                </a:lnTo>
                <a:lnTo>
                  <a:pt x="297" y="877"/>
                </a:lnTo>
                <a:lnTo>
                  <a:pt x="297" y="877"/>
                </a:lnTo>
                <a:lnTo>
                  <a:pt x="297" y="877"/>
                </a:lnTo>
                <a:lnTo>
                  <a:pt x="301" y="850"/>
                </a:lnTo>
                <a:close/>
                <a:moveTo>
                  <a:pt x="297" y="877"/>
                </a:moveTo>
                <a:lnTo>
                  <a:pt x="297" y="871"/>
                </a:lnTo>
                <a:lnTo>
                  <a:pt x="299" y="865"/>
                </a:lnTo>
                <a:lnTo>
                  <a:pt x="303" y="868"/>
                </a:lnTo>
                <a:lnTo>
                  <a:pt x="308" y="867"/>
                </a:lnTo>
                <a:lnTo>
                  <a:pt x="310" y="864"/>
                </a:lnTo>
                <a:lnTo>
                  <a:pt x="310" y="859"/>
                </a:lnTo>
                <a:lnTo>
                  <a:pt x="310" y="858"/>
                </a:lnTo>
                <a:lnTo>
                  <a:pt x="309" y="857"/>
                </a:lnTo>
                <a:lnTo>
                  <a:pt x="308" y="857"/>
                </a:lnTo>
                <a:lnTo>
                  <a:pt x="306" y="858"/>
                </a:lnTo>
                <a:lnTo>
                  <a:pt x="304" y="861"/>
                </a:lnTo>
                <a:lnTo>
                  <a:pt x="302" y="857"/>
                </a:lnTo>
                <a:lnTo>
                  <a:pt x="301" y="854"/>
                </a:lnTo>
                <a:lnTo>
                  <a:pt x="301" y="850"/>
                </a:lnTo>
                <a:lnTo>
                  <a:pt x="297" y="877"/>
                </a:lnTo>
                <a:close/>
                <a:moveTo>
                  <a:pt x="434" y="1028"/>
                </a:moveTo>
                <a:lnTo>
                  <a:pt x="440" y="1028"/>
                </a:lnTo>
                <a:lnTo>
                  <a:pt x="443" y="1026"/>
                </a:lnTo>
                <a:lnTo>
                  <a:pt x="442" y="1024"/>
                </a:lnTo>
                <a:lnTo>
                  <a:pt x="437" y="1022"/>
                </a:lnTo>
                <a:lnTo>
                  <a:pt x="436" y="1022"/>
                </a:lnTo>
                <a:lnTo>
                  <a:pt x="436" y="1021"/>
                </a:lnTo>
                <a:lnTo>
                  <a:pt x="426" y="1014"/>
                </a:lnTo>
                <a:lnTo>
                  <a:pt x="416" y="1008"/>
                </a:lnTo>
                <a:lnTo>
                  <a:pt x="415" y="1008"/>
                </a:lnTo>
                <a:lnTo>
                  <a:pt x="414" y="1007"/>
                </a:lnTo>
                <a:lnTo>
                  <a:pt x="412" y="1007"/>
                </a:lnTo>
                <a:lnTo>
                  <a:pt x="409" y="1008"/>
                </a:lnTo>
                <a:lnTo>
                  <a:pt x="409" y="1011"/>
                </a:lnTo>
                <a:lnTo>
                  <a:pt x="411" y="1013"/>
                </a:lnTo>
                <a:lnTo>
                  <a:pt x="415" y="1017"/>
                </a:lnTo>
                <a:lnTo>
                  <a:pt x="420" y="1020"/>
                </a:lnTo>
                <a:lnTo>
                  <a:pt x="422" y="1021"/>
                </a:lnTo>
                <a:lnTo>
                  <a:pt x="422" y="1024"/>
                </a:lnTo>
                <a:lnTo>
                  <a:pt x="421" y="1027"/>
                </a:lnTo>
                <a:lnTo>
                  <a:pt x="426" y="1028"/>
                </a:lnTo>
                <a:lnTo>
                  <a:pt x="429" y="1028"/>
                </a:lnTo>
                <a:lnTo>
                  <a:pt x="433" y="1028"/>
                </a:lnTo>
                <a:lnTo>
                  <a:pt x="433" y="1028"/>
                </a:lnTo>
                <a:lnTo>
                  <a:pt x="433" y="1028"/>
                </a:lnTo>
                <a:lnTo>
                  <a:pt x="433" y="1028"/>
                </a:lnTo>
                <a:lnTo>
                  <a:pt x="434" y="1028"/>
                </a:lnTo>
                <a:close/>
                <a:moveTo>
                  <a:pt x="344" y="882"/>
                </a:moveTo>
                <a:lnTo>
                  <a:pt x="346" y="885"/>
                </a:lnTo>
                <a:lnTo>
                  <a:pt x="347" y="889"/>
                </a:lnTo>
                <a:lnTo>
                  <a:pt x="344" y="887"/>
                </a:lnTo>
                <a:lnTo>
                  <a:pt x="344" y="882"/>
                </a:lnTo>
                <a:close/>
                <a:moveTo>
                  <a:pt x="349" y="894"/>
                </a:moveTo>
                <a:lnTo>
                  <a:pt x="349" y="892"/>
                </a:lnTo>
                <a:lnTo>
                  <a:pt x="347" y="889"/>
                </a:lnTo>
                <a:lnTo>
                  <a:pt x="353" y="892"/>
                </a:lnTo>
                <a:lnTo>
                  <a:pt x="360" y="894"/>
                </a:lnTo>
                <a:lnTo>
                  <a:pt x="363" y="895"/>
                </a:lnTo>
                <a:lnTo>
                  <a:pt x="365" y="893"/>
                </a:lnTo>
                <a:lnTo>
                  <a:pt x="364" y="891"/>
                </a:lnTo>
                <a:lnTo>
                  <a:pt x="360" y="891"/>
                </a:lnTo>
                <a:lnTo>
                  <a:pt x="358" y="889"/>
                </a:lnTo>
                <a:lnTo>
                  <a:pt x="359" y="887"/>
                </a:lnTo>
                <a:lnTo>
                  <a:pt x="359" y="885"/>
                </a:lnTo>
                <a:lnTo>
                  <a:pt x="358" y="884"/>
                </a:lnTo>
                <a:lnTo>
                  <a:pt x="345" y="872"/>
                </a:lnTo>
                <a:lnTo>
                  <a:pt x="331" y="861"/>
                </a:lnTo>
                <a:lnTo>
                  <a:pt x="324" y="859"/>
                </a:lnTo>
                <a:lnTo>
                  <a:pt x="316" y="856"/>
                </a:lnTo>
                <a:lnTo>
                  <a:pt x="318" y="861"/>
                </a:lnTo>
                <a:lnTo>
                  <a:pt x="322" y="864"/>
                </a:lnTo>
                <a:lnTo>
                  <a:pt x="329" y="865"/>
                </a:lnTo>
                <a:lnTo>
                  <a:pt x="335" y="870"/>
                </a:lnTo>
                <a:lnTo>
                  <a:pt x="339" y="872"/>
                </a:lnTo>
                <a:lnTo>
                  <a:pt x="340" y="877"/>
                </a:lnTo>
                <a:lnTo>
                  <a:pt x="339" y="882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40" y="892"/>
                </a:lnTo>
                <a:lnTo>
                  <a:pt x="349" y="894"/>
                </a:lnTo>
                <a:close/>
                <a:moveTo>
                  <a:pt x="456" y="1039"/>
                </a:moveTo>
                <a:lnTo>
                  <a:pt x="457" y="1036"/>
                </a:lnTo>
                <a:lnTo>
                  <a:pt x="460" y="1036"/>
                </a:lnTo>
                <a:lnTo>
                  <a:pt x="463" y="1038"/>
                </a:lnTo>
                <a:lnTo>
                  <a:pt x="464" y="1040"/>
                </a:lnTo>
                <a:lnTo>
                  <a:pt x="462" y="1042"/>
                </a:lnTo>
                <a:lnTo>
                  <a:pt x="458" y="1045"/>
                </a:lnTo>
                <a:lnTo>
                  <a:pt x="456" y="1042"/>
                </a:lnTo>
                <a:lnTo>
                  <a:pt x="456" y="1039"/>
                </a:lnTo>
                <a:close/>
                <a:moveTo>
                  <a:pt x="470" y="1075"/>
                </a:moveTo>
                <a:lnTo>
                  <a:pt x="470" y="1075"/>
                </a:lnTo>
                <a:lnTo>
                  <a:pt x="471" y="1075"/>
                </a:lnTo>
                <a:lnTo>
                  <a:pt x="471" y="1075"/>
                </a:lnTo>
                <a:lnTo>
                  <a:pt x="471" y="1076"/>
                </a:lnTo>
                <a:lnTo>
                  <a:pt x="470" y="1075"/>
                </a:lnTo>
                <a:lnTo>
                  <a:pt x="469" y="1075"/>
                </a:lnTo>
                <a:lnTo>
                  <a:pt x="468" y="1075"/>
                </a:lnTo>
                <a:lnTo>
                  <a:pt x="467" y="1076"/>
                </a:lnTo>
                <a:lnTo>
                  <a:pt x="467" y="1079"/>
                </a:lnTo>
                <a:lnTo>
                  <a:pt x="469" y="1079"/>
                </a:lnTo>
                <a:lnTo>
                  <a:pt x="474" y="1080"/>
                </a:lnTo>
                <a:lnTo>
                  <a:pt x="480" y="1080"/>
                </a:lnTo>
                <a:lnTo>
                  <a:pt x="502" y="1076"/>
                </a:lnTo>
                <a:lnTo>
                  <a:pt x="524" y="1072"/>
                </a:lnTo>
                <a:lnTo>
                  <a:pt x="527" y="1067"/>
                </a:lnTo>
                <a:lnTo>
                  <a:pt x="527" y="1060"/>
                </a:lnTo>
                <a:lnTo>
                  <a:pt x="526" y="1059"/>
                </a:lnTo>
                <a:lnTo>
                  <a:pt x="525" y="1060"/>
                </a:lnTo>
                <a:lnTo>
                  <a:pt x="523" y="1062"/>
                </a:lnTo>
                <a:lnTo>
                  <a:pt x="520" y="1060"/>
                </a:lnTo>
                <a:lnTo>
                  <a:pt x="517" y="1057"/>
                </a:lnTo>
                <a:lnTo>
                  <a:pt x="512" y="1056"/>
                </a:lnTo>
                <a:lnTo>
                  <a:pt x="512" y="1059"/>
                </a:lnTo>
                <a:lnTo>
                  <a:pt x="511" y="1062"/>
                </a:lnTo>
                <a:lnTo>
                  <a:pt x="509" y="1068"/>
                </a:lnTo>
                <a:lnTo>
                  <a:pt x="503" y="1072"/>
                </a:lnTo>
                <a:lnTo>
                  <a:pt x="498" y="1072"/>
                </a:lnTo>
                <a:lnTo>
                  <a:pt x="495" y="1068"/>
                </a:lnTo>
                <a:lnTo>
                  <a:pt x="494" y="1066"/>
                </a:lnTo>
                <a:lnTo>
                  <a:pt x="491" y="1067"/>
                </a:lnTo>
                <a:lnTo>
                  <a:pt x="484" y="1070"/>
                </a:lnTo>
                <a:lnTo>
                  <a:pt x="477" y="1067"/>
                </a:lnTo>
                <a:lnTo>
                  <a:pt x="469" y="1067"/>
                </a:lnTo>
                <a:lnTo>
                  <a:pt x="461" y="1066"/>
                </a:lnTo>
                <a:lnTo>
                  <a:pt x="461" y="1063"/>
                </a:lnTo>
                <a:lnTo>
                  <a:pt x="460" y="1060"/>
                </a:lnTo>
                <a:lnTo>
                  <a:pt x="464" y="1059"/>
                </a:lnTo>
                <a:lnTo>
                  <a:pt x="468" y="1054"/>
                </a:lnTo>
                <a:lnTo>
                  <a:pt x="470" y="1050"/>
                </a:lnTo>
                <a:lnTo>
                  <a:pt x="475" y="1052"/>
                </a:lnTo>
                <a:lnTo>
                  <a:pt x="474" y="1047"/>
                </a:lnTo>
                <a:lnTo>
                  <a:pt x="474" y="1042"/>
                </a:lnTo>
                <a:lnTo>
                  <a:pt x="478" y="1041"/>
                </a:lnTo>
                <a:lnTo>
                  <a:pt x="484" y="1042"/>
                </a:lnTo>
                <a:lnTo>
                  <a:pt x="484" y="1042"/>
                </a:lnTo>
                <a:lnTo>
                  <a:pt x="484" y="1042"/>
                </a:lnTo>
                <a:lnTo>
                  <a:pt x="488" y="1041"/>
                </a:lnTo>
                <a:lnTo>
                  <a:pt x="489" y="1039"/>
                </a:lnTo>
                <a:lnTo>
                  <a:pt x="488" y="1038"/>
                </a:lnTo>
                <a:lnTo>
                  <a:pt x="484" y="1038"/>
                </a:lnTo>
                <a:lnTo>
                  <a:pt x="474" y="1038"/>
                </a:lnTo>
                <a:lnTo>
                  <a:pt x="463" y="1035"/>
                </a:lnTo>
                <a:lnTo>
                  <a:pt x="456" y="1033"/>
                </a:lnTo>
                <a:lnTo>
                  <a:pt x="447" y="1038"/>
                </a:lnTo>
                <a:lnTo>
                  <a:pt x="443" y="1041"/>
                </a:lnTo>
                <a:lnTo>
                  <a:pt x="440" y="1041"/>
                </a:lnTo>
                <a:lnTo>
                  <a:pt x="439" y="1039"/>
                </a:lnTo>
                <a:lnTo>
                  <a:pt x="440" y="1035"/>
                </a:lnTo>
                <a:lnTo>
                  <a:pt x="440" y="1034"/>
                </a:lnTo>
                <a:lnTo>
                  <a:pt x="439" y="1033"/>
                </a:lnTo>
                <a:lnTo>
                  <a:pt x="437" y="1033"/>
                </a:lnTo>
                <a:lnTo>
                  <a:pt x="437" y="1033"/>
                </a:lnTo>
                <a:lnTo>
                  <a:pt x="433" y="1038"/>
                </a:lnTo>
                <a:lnTo>
                  <a:pt x="434" y="1045"/>
                </a:lnTo>
                <a:lnTo>
                  <a:pt x="440" y="1052"/>
                </a:lnTo>
                <a:lnTo>
                  <a:pt x="446" y="1059"/>
                </a:lnTo>
                <a:lnTo>
                  <a:pt x="451" y="1065"/>
                </a:lnTo>
                <a:lnTo>
                  <a:pt x="461" y="1066"/>
                </a:lnTo>
                <a:lnTo>
                  <a:pt x="467" y="1069"/>
                </a:lnTo>
                <a:lnTo>
                  <a:pt x="470" y="1075"/>
                </a:lnTo>
                <a:close/>
                <a:moveTo>
                  <a:pt x="402" y="1011"/>
                </a:moveTo>
                <a:lnTo>
                  <a:pt x="401" y="1010"/>
                </a:lnTo>
                <a:lnTo>
                  <a:pt x="399" y="1008"/>
                </a:lnTo>
                <a:lnTo>
                  <a:pt x="386" y="999"/>
                </a:lnTo>
                <a:lnTo>
                  <a:pt x="377" y="987"/>
                </a:lnTo>
                <a:lnTo>
                  <a:pt x="368" y="977"/>
                </a:lnTo>
                <a:lnTo>
                  <a:pt x="360" y="966"/>
                </a:lnTo>
                <a:lnTo>
                  <a:pt x="359" y="970"/>
                </a:lnTo>
                <a:lnTo>
                  <a:pt x="356" y="971"/>
                </a:lnTo>
                <a:lnTo>
                  <a:pt x="363" y="978"/>
                </a:lnTo>
                <a:lnTo>
                  <a:pt x="365" y="987"/>
                </a:lnTo>
                <a:lnTo>
                  <a:pt x="371" y="992"/>
                </a:lnTo>
                <a:lnTo>
                  <a:pt x="373" y="998"/>
                </a:lnTo>
                <a:lnTo>
                  <a:pt x="370" y="997"/>
                </a:lnTo>
                <a:lnTo>
                  <a:pt x="366" y="997"/>
                </a:lnTo>
                <a:lnTo>
                  <a:pt x="364" y="994"/>
                </a:lnTo>
                <a:lnTo>
                  <a:pt x="361" y="997"/>
                </a:lnTo>
                <a:lnTo>
                  <a:pt x="360" y="1000"/>
                </a:lnTo>
                <a:lnTo>
                  <a:pt x="361" y="1003"/>
                </a:lnTo>
                <a:lnTo>
                  <a:pt x="365" y="1005"/>
                </a:lnTo>
                <a:lnTo>
                  <a:pt x="366" y="1006"/>
                </a:lnTo>
                <a:lnTo>
                  <a:pt x="367" y="1013"/>
                </a:lnTo>
                <a:lnTo>
                  <a:pt x="372" y="1015"/>
                </a:lnTo>
                <a:lnTo>
                  <a:pt x="371" y="1012"/>
                </a:lnTo>
                <a:lnTo>
                  <a:pt x="368" y="1010"/>
                </a:lnTo>
                <a:lnTo>
                  <a:pt x="374" y="1007"/>
                </a:lnTo>
                <a:lnTo>
                  <a:pt x="378" y="1003"/>
                </a:lnTo>
                <a:lnTo>
                  <a:pt x="381" y="1005"/>
                </a:lnTo>
                <a:lnTo>
                  <a:pt x="384" y="1010"/>
                </a:lnTo>
                <a:lnTo>
                  <a:pt x="395" y="1020"/>
                </a:lnTo>
                <a:lnTo>
                  <a:pt x="404" y="1032"/>
                </a:lnTo>
                <a:lnTo>
                  <a:pt x="412" y="1029"/>
                </a:lnTo>
                <a:lnTo>
                  <a:pt x="418" y="1024"/>
                </a:lnTo>
                <a:lnTo>
                  <a:pt x="406" y="1018"/>
                </a:lnTo>
                <a:lnTo>
                  <a:pt x="394" y="1011"/>
                </a:lnTo>
                <a:lnTo>
                  <a:pt x="402" y="1011"/>
                </a:lnTo>
                <a:lnTo>
                  <a:pt x="402" y="1011"/>
                </a:lnTo>
                <a:lnTo>
                  <a:pt x="402" y="1011"/>
                </a:lnTo>
                <a:close/>
                <a:moveTo>
                  <a:pt x="1751" y="164"/>
                </a:moveTo>
                <a:lnTo>
                  <a:pt x="1751" y="164"/>
                </a:lnTo>
                <a:lnTo>
                  <a:pt x="1744" y="173"/>
                </a:lnTo>
                <a:lnTo>
                  <a:pt x="1735" y="181"/>
                </a:lnTo>
                <a:lnTo>
                  <a:pt x="1744" y="192"/>
                </a:lnTo>
                <a:lnTo>
                  <a:pt x="1749" y="203"/>
                </a:lnTo>
                <a:lnTo>
                  <a:pt x="1751" y="209"/>
                </a:lnTo>
                <a:lnTo>
                  <a:pt x="1753" y="215"/>
                </a:lnTo>
                <a:lnTo>
                  <a:pt x="1753" y="217"/>
                </a:lnTo>
                <a:lnTo>
                  <a:pt x="1754" y="218"/>
                </a:lnTo>
                <a:lnTo>
                  <a:pt x="1753" y="220"/>
                </a:lnTo>
                <a:lnTo>
                  <a:pt x="1753" y="220"/>
                </a:lnTo>
                <a:lnTo>
                  <a:pt x="1751" y="223"/>
                </a:lnTo>
                <a:lnTo>
                  <a:pt x="1751" y="228"/>
                </a:lnTo>
                <a:lnTo>
                  <a:pt x="1751" y="232"/>
                </a:lnTo>
                <a:lnTo>
                  <a:pt x="1749" y="238"/>
                </a:lnTo>
                <a:lnTo>
                  <a:pt x="1744" y="251"/>
                </a:lnTo>
                <a:lnTo>
                  <a:pt x="1737" y="263"/>
                </a:lnTo>
                <a:lnTo>
                  <a:pt x="1721" y="280"/>
                </a:lnTo>
                <a:lnTo>
                  <a:pt x="1703" y="292"/>
                </a:lnTo>
                <a:lnTo>
                  <a:pt x="1693" y="295"/>
                </a:lnTo>
                <a:lnTo>
                  <a:pt x="1685" y="299"/>
                </a:lnTo>
                <a:lnTo>
                  <a:pt x="1670" y="301"/>
                </a:lnTo>
                <a:lnTo>
                  <a:pt x="1656" y="302"/>
                </a:lnTo>
                <a:lnTo>
                  <a:pt x="1649" y="302"/>
                </a:lnTo>
                <a:lnTo>
                  <a:pt x="1641" y="302"/>
                </a:lnTo>
                <a:lnTo>
                  <a:pt x="1634" y="301"/>
                </a:lnTo>
                <a:lnTo>
                  <a:pt x="1627" y="300"/>
                </a:lnTo>
                <a:lnTo>
                  <a:pt x="1627" y="300"/>
                </a:lnTo>
                <a:lnTo>
                  <a:pt x="1626" y="300"/>
                </a:lnTo>
                <a:lnTo>
                  <a:pt x="1615" y="299"/>
                </a:lnTo>
                <a:lnTo>
                  <a:pt x="1606" y="297"/>
                </a:lnTo>
                <a:lnTo>
                  <a:pt x="1604" y="293"/>
                </a:lnTo>
                <a:lnTo>
                  <a:pt x="1602" y="292"/>
                </a:lnTo>
                <a:lnTo>
                  <a:pt x="1589" y="284"/>
                </a:lnTo>
                <a:lnTo>
                  <a:pt x="1578" y="276"/>
                </a:lnTo>
                <a:lnTo>
                  <a:pt x="1572" y="271"/>
                </a:lnTo>
                <a:lnTo>
                  <a:pt x="1565" y="271"/>
                </a:lnTo>
                <a:lnTo>
                  <a:pt x="1565" y="270"/>
                </a:lnTo>
                <a:lnTo>
                  <a:pt x="1564" y="270"/>
                </a:lnTo>
                <a:lnTo>
                  <a:pt x="1564" y="270"/>
                </a:lnTo>
                <a:lnTo>
                  <a:pt x="1562" y="266"/>
                </a:lnTo>
                <a:lnTo>
                  <a:pt x="1560" y="265"/>
                </a:lnTo>
                <a:lnTo>
                  <a:pt x="1560" y="265"/>
                </a:lnTo>
                <a:lnTo>
                  <a:pt x="1559" y="260"/>
                </a:lnTo>
                <a:lnTo>
                  <a:pt x="1561" y="257"/>
                </a:lnTo>
                <a:lnTo>
                  <a:pt x="1551" y="249"/>
                </a:lnTo>
                <a:lnTo>
                  <a:pt x="1541" y="241"/>
                </a:lnTo>
                <a:lnTo>
                  <a:pt x="1539" y="237"/>
                </a:lnTo>
                <a:lnTo>
                  <a:pt x="1538" y="234"/>
                </a:lnTo>
                <a:lnTo>
                  <a:pt x="1533" y="230"/>
                </a:lnTo>
                <a:lnTo>
                  <a:pt x="1532" y="227"/>
                </a:lnTo>
                <a:lnTo>
                  <a:pt x="1526" y="225"/>
                </a:lnTo>
                <a:lnTo>
                  <a:pt x="1523" y="221"/>
                </a:lnTo>
                <a:lnTo>
                  <a:pt x="1521" y="218"/>
                </a:lnTo>
                <a:lnTo>
                  <a:pt x="1519" y="217"/>
                </a:lnTo>
                <a:lnTo>
                  <a:pt x="1514" y="213"/>
                </a:lnTo>
                <a:lnTo>
                  <a:pt x="1513" y="208"/>
                </a:lnTo>
                <a:lnTo>
                  <a:pt x="1520" y="209"/>
                </a:lnTo>
                <a:lnTo>
                  <a:pt x="1528" y="210"/>
                </a:lnTo>
                <a:lnTo>
                  <a:pt x="1531" y="213"/>
                </a:lnTo>
                <a:lnTo>
                  <a:pt x="1532" y="215"/>
                </a:lnTo>
                <a:lnTo>
                  <a:pt x="1534" y="211"/>
                </a:lnTo>
                <a:lnTo>
                  <a:pt x="1538" y="209"/>
                </a:lnTo>
                <a:lnTo>
                  <a:pt x="1540" y="207"/>
                </a:lnTo>
                <a:lnTo>
                  <a:pt x="1544" y="206"/>
                </a:lnTo>
                <a:lnTo>
                  <a:pt x="1548" y="199"/>
                </a:lnTo>
                <a:lnTo>
                  <a:pt x="1555" y="193"/>
                </a:lnTo>
                <a:lnTo>
                  <a:pt x="1555" y="200"/>
                </a:lnTo>
                <a:lnTo>
                  <a:pt x="1558" y="197"/>
                </a:lnTo>
                <a:lnTo>
                  <a:pt x="1558" y="195"/>
                </a:lnTo>
                <a:lnTo>
                  <a:pt x="1558" y="194"/>
                </a:lnTo>
                <a:lnTo>
                  <a:pt x="1558" y="194"/>
                </a:lnTo>
                <a:lnTo>
                  <a:pt x="1558" y="194"/>
                </a:lnTo>
                <a:lnTo>
                  <a:pt x="1558" y="195"/>
                </a:lnTo>
                <a:lnTo>
                  <a:pt x="1559" y="193"/>
                </a:lnTo>
                <a:lnTo>
                  <a:pt x="1559" y="190"/>
                </a:lnTo>
                <a:lnTo>
                  <a:pt x="1558" y="190"/>
                </a:lnTo>
                <a:lnTo>
                  <a:pt x="1557" y="190"/>
                </a:lnTo>
                <a:lnTo>
                  <a:pt x="1557" y="188"/>
                </a:lnTo>
                <a:lnTo>
                  <a:pt x="1555" y="186"/>
                </a:lnTo>
                <a:lnTo>
                  <a:pt x="1557" y="188"/>
                </a:lnTo>
                <a:lnTo>
                  <a:pt x="1557" y="190"/>
                </a:lnTo>
                <a:lnTo>
                  <a:pt x="1558" y="190"/>
                </a:lnTo>
                <a:lnTo>
                  <a:pt x="1559" y="190"/>
                </a:lnTo>
                <a:lnTo>
                  <a:pt x="1561" y="188"/>
                </a:lnTo>
                <a:lnTo>
                  <a:pt x="1564" y="187"/>
                </a:lnTo>
                <a:lnTo>
                  <a:pt x="1564" y="194"/>
                </a:lnTo>
                <a:lnTo>
                  <a:pt x="1559" y="199"/>
                </a:lnTo>
                <a:lnTo>
                  <a:pt x="1558" y="200"/>
                </a:lnTo>
                <a:lnTo>
                  <a:pt x="1555" y="202"/>
                </a:lnTo>
                <a:lnTo>
                  <a:pt x="1555" y="202"/>
                </a:lnTo>
                <a:lnTo>
                  <a:pt x="1555" y="201"/>
                </a:lnTo>
                <a:lnTo>
                  <a:pt x="1555" y="200"/>
                </a:lnTo>
                <a:lnTo>
                  <a:pt x="1553" y="200"/>
                </a:lnTo>
                <a:lnTo>
                  <a:pt x="1552" y="201"/>
                </a:lnTo>
                <a:lnTo>
                  <a:pt x="1551" y="202"/>
                </a:lnTo>
                <a:lnTo>
                  <a:pt x="1551" y="203"/>
                </a:lnTo>
                <a:lnTo>
                  <a:pt x="1558" y="202"/>
                </a:lnTo>
                <a:lnTo>
                  <a:pt x="1566" y="206"/>
                </a:lnTo>
                <a:lnTo>
                  <a:pt x="1568" y="204"/>
                </a:lnTo>
                <a:lnTo>
                  <a:pt x="1571" y="206"/>
                </a:lnTo>
                <a:lnTo>
                  <a:pt x="1573" y="207"/>
                </a:lnTo>
                <a:lnTo>
                  <a:pt x="1574" y="206"/>
                </a:lnTo>
                <a:lnTo>
                  <a:pt x="1575" y="203"/>
                </a:lnTo>
                <a:lnTo>
                  <a:pt x="1574" y="201"/>
                </a:lnTo>
                <a:lnTo>
                  <a:pt x="1573" y="196"/>
                </a:lnTo>
                <a:lnTo>
                  <a:pt x="1576" y="193"/>
                </a:lnTo>
                <a:lnTo>
                  <a:pt x="1583" y="188"/>
                </a:lnTo>
                <a:lnTo>
                  <a:pt x="1590" y="185"/>
                </a:lnTo>
                <a:lnTo>
                  <a:pt x="1592" y="186"/>
                </a:lnTo>
                <a:lnTo>
                  <a:pt x="1593" y="185"/>
                </a:lnTo>
                <a:lnTo>
                  <a:pt x="1594" y="182"/>
                </a:lnTo>
                <a:lnTo>
                  <a:pt x="1597" y="182"/>
                </a:lnTo>
                <a:lnTo>
                  <a:pt x="1597" y="182"/>
                </a:lnTo>
                <a:lnTo>
                  <a:pt x="1599" y="182"/>
                </a:lnTo>
                <a:lnTo>
                  <a:pt x="1597" y="182"/>
                </a:lnTo>
                <a:lnTo>
                  <a:pt x="1597" y="182"/>
                </a:lnTo>
                <a:lnTo>
                  <a:pt x="1596" y="185"/>
                </a:lnTo>
                <a:lnTo>
                  <a:pt x="1596" y="187"/>
                </a:lnTo>
                <a:lnTo>
                  <a:pt x="1594" y="188"/>
                </a:lnTo>
                <a:lnTo>
                  <a:pt x="1593" y="190"/>
                </a:lnTo>
                <a:lnTo>
                  <a:pt x="1592" y="193"/>
                </a:lnTo>
                <a:lnTo>
                  <a:pt x="1590" y="195"/>
                </a:lnTo>
                <a:lnTo>
                  <a:pt x="1589" y="193"/>
                </a:lnTo>
                <a:lnTo>
                  <a:pt x="1587" y="192"/>
                </a:lnTo>
                <a:lnTo>
                  <a:pt x="1586" y="193"/>
                </a:lnTo>
                <a:lnTo>
                  <a:pt x="1585" y="194"/>
                </a:lnTo>
                <a:lnTo>
                  <a:pt x="1585" y="196"/>
                </a:lnTo>
                <a:lnTo>
                  <a:pt x="1587" y="197"/>
                </a:lnTo>
                <a:lnTo>
                  <a:pt x="1587" y="200"/>
                </a:lnTo>
                <a:lnTo>
                  <a:pt x="1587" y="202"/>
                </a:lnTo>
                <a:lnTo>
                  <a:pt x="1583" y="206"/>
                </a:lnTo>
                <a:lnTo>
                  <a:pt x="1581" y="211"/>
                </a:lnTo>
                <a:lnTo>
                  <a:pt x="1581" y="214"/>
                </a:lnTo>
                <a:lnTo>
                  <a:pt x="1581" y="216"/>
                </a:lnTo>
                <a:lnTo>
                  <a:pt x="1585" y="216"/>
                </a:lnTo>
                <a:lnTo>
                  <a:pt x="1586" y="214"/>
                </a:lnTo>
                <a:lnTo>
                  <a:pt x="1595" y="207"/>
                </a:lnTo>
                <a:lnTo>
                  <a:pt x="1604" y="200"/>
                </a:lnTo>
                <a:lnTo>
                  <a:pt x="1606" y="199"/>
                </a:lnTo>
                <a:lnTo>
                  <a:pt x="1606" y="199"/>
                </a:lnTo>
                <a:lnTo>
                  <a:pt x="1608" y="195"/>
                </a:lnTo>
                <a:lnTo>
                  <a:pt x="1610" y="193"/>
                </a:lnTo>
                <a:lnTo>
                  <a:pt x="1610" y="192"/>
                </a:lnTo>
                <a:lnTo>
                  <a:pt x="1610" y="190"/>
                </a:lnTo>
                <a:lnTo>
                  <a:pt x="1615" y="190"/>
                </a:lnTo>
                <a:lnTo>
                  <a:pt x="1620" y="193"/>
                </a:lnTo>
                <a:lnTo>
                  <a:pt x="1623" y="193"/>
                </a:lnTo>
                <a:lnTo>
                  <a:pt x="1626" y="189"/>
                </a:lnTo>
                <a:lnTo>
                  <a:pt x="1626" y="188"/>
                </a:lnTo>
                <a:lnTo>
                  <a:pt x="1623" y="186"/>
                </a:lnTo>
                <a:lnTo>
                  <a:pt x="1621" y="185"/>
                </a:lnTo>
                <a:lnTo>
                  <a:pt x="1619" y="182"/>
                </a:lnTo>
                <a:lnTo>
                  <a:pt x="1619" y="182"/>
                </a:lnTo>
                <a:lnTo>
                  <a:pt x="1619" y="181"/>
                </a:lnTo>
                <a:lnTo>
                  <a:pt x="1622" y="181"/>
                </a:lnTo>
                <a:lnTo>
                  <a:pt x="1624" y="179"/>
                </a:lnTo>
                <a:lnTo>
                  <a:pt x="1623" y="178"/>
                </a:lnTo>
                <a:lnTo>
                  <a:pt x="1623" y="178"/>
                </a:lnTo>
                <a:lnTo>
                  <a:pt x="1624" y="178"/>
                </a:lnTo>
                <a:lnTo>
                  <a:pt x="1624" y="178"/>
                </a:lnTo>
                <a:lnTo>
                  <a:pt x="1630" y="180"/>
                </a:lnTo>
                <a:lnTo>
                  <a:pt x="1633" y="174"/>
                </a:lnTo>
                <a:lnTo>
                  <a:pt x="1633" y="173"/>
                </a:lnTo>
                <a:lnTo>
                  <a:pt x="1634" y="173"/>
                </a:lnTo>
                <a:lnTo>
                  <a:pt x="1640" y="171"/>
                </a:lnTo>
                <a:lnTo>
                  <a:pt x="1645" y="174"/>
                </a:lnTo>
                <a:lnTo>
                  <a:pt x="1644" y="171"/>
                </a:lnTo>
                <a:lnTo>
                  <a:pt x="1644" y="167"/>
                </a:lnTo>
                <a:lnTo>
                  <a:pt x="1648" y="166"/>
                </a:lnTo>
                <a:lnTo>
                  <a:pt x="1652" y="164"/>
                </a:lnTo>
                <a:lnTo>
                  <a:pt x="1657" y="161"/>
                </a:lnTo>
                <a:lnTo>
                  <a:pt x="1654" y="157"/>
                </a:lnTo>
                <a:lnTo>
                  <a:pt x="1654" y="155"/>
                </a:lnTo>
                <a:lnTo>
                  <a:pt x="1654" y="153"/>
                </a:lnTo>
                <a:lnTo>
                  <a:pt x="1659" y="150"/>
                </a:lnTo>
                <a:lnTo>
                  <a:pt x="1664" y="144"/>
                </a:lnTo>
                <a:lnTo>
                  <a:pt x="1657" y="145"/>
                </a:lnTo>
                <a:lnTo>
                  <a:pt x="1654" y="147"/>
                </a:lnTo>
                <a:lnTo>
                  <a:pt x="1652" y="148"/>
                </a:lnTo>
                <a:lnTo>
                  <a:pt x="1650" y="148"/>
                </a:lnTo>
                <a:lnTo>
                  <a:pt x="1643" y="148"/>
                </a:lnTo>
                <a:lnTo>
                  <a:pt x="1637" y="151"/>
                </a:lnTo>
                <a:lnTo>
                  <a:pt x="1630" y="155"/>
                </a:lnTo>
                <a:lnTo>
                  <a:pt x="1623" y="158"/>
                </a:lnTo>
                <a:lnTo>
                  <a:pt x="1621" y="160"/>
                </a:lnTo>
                <a:lnTo>
                  <a:pt x="1617" y="161"/>
                </a:lnTo>
                <a:lnTo>
                  <a:pt x="1616" y="164"/>
                </a:lnTo>
                <a:lnTo>
                  <a:pt x="1614" y="165"/>
                </a:lnTo>
                <a:lnTo>
                  <a:pt x="1614" y="165"/>
                </a:lnTo>
                <a:lnTo>
                  <a:pt x="1613" y="165"/>
                </a:lnTo>
                <a:lnTo>
                  <a:pt x="1613" y="165"/>
                </a:lnTo>
                <a:lnTo>
                  <a:pt x="1613" y="165"/>
                </a:lnTo>
                <a:lnTo>
                  <a:pt x="1613" y="165"/>
                </a:lnTo>
                <a:lnTo>
                  <a:pt x="1614" y="164"/>
                </a:lnTo>
                <a:lnTo>
                  <a:pt x="1615" y="162"/>
                </a:lnTo>
                <a:lnTo>
                  <a:pt x="1617" y="161"/>
                </a:lnTo>
                <a:lnTo>
                  <a:pt x="1620" y="159"/>
                </a:lnTo>
                <a:lnTo>
                  <a:pt x="1623" y="157"/>
                </a:lnTo>
                <a:lnTo>
                  <a:pt x="1624" y="154"/>
                </a:lnTo>
                <a:lnTo>
                  <a:pt x="1628" y="152"/>
                </a:lnTo>
                <a:lnTo>
                  <a:pt x="1633" y="148"/>
                </a:lnTo>
                <a:lnTo>
                  <a:pt x="1635" y="141"/>
                </a:lnTo>
                <a:lnTo>
                  <a:pt x="1636" y="141"/>
                </a:lnTo>
                <a:lnTo>
                  <a:pt x="1637" y="141"/>
                </a:lnTo>
                <a:lnTo>
                  <a:pt x="1643" y="140"/>
                </a:lnTo>
                <a:lnTo>
                  <a:pt x="1648" y="136"/>
                </a:lnTo>
                <a:lnTo>
                  <a:pt x="1651" y="136"/>
                </a:lnTo>
                <a:lnTo>
                  <a:pt x="1654" y="133"/>
                </a:lnTo>
                <a:lnTo>
                  <a:pt x="1656" y="132"/>
                </a:lnTo>
                <a:lnTo>
                  <a:pt x="1658" y="133"/>
                </a:lnTo>
                <a:lnTo>
                  <a:pt x="1659" y="136"/>
                </a:lnTo>
                <a:lnTo>
                  <a:pt x="1662" y="138"/>
                </a:lnTo>
                <a:lnTo>
                  <a:pt x="1670" y="137"/>
                </a:lnTo>
                <a:lnTo>
                  <a:pt x="1677" y="132"/>
                </a:lnTo>
                <a:lnTo>
                  <a:pt x="1691" y="132"/>
                </a:lnTo>
                <a:lnTo>
                  <a:pt x="1705" y="132"/>
                </a:lnTo>
                <a:lnTo>
                  <a:pt x="1711" y="133"/>
                </a:lnTo>
                <a:lnTo>
                  <a:pt x="1714" y="139"/>
                </a:lnTo>
                <a:lnTo>
                  <a:pt x="1716" y="136"/>
                </a:lnTo>
                <a:lnTo>
                  <a:pt x="1717" y="133"/>
                </a:lnTo>
                <a:lnTo>
                  <a:pt x="1721" y="138"/>
                </a:lnTo>
                <a:lnTo>
                  <a:pt x="1726" y="140"/>
                </a:lnTo>
                <a:lnTo>
                  <a:pt x="1737" y="140"/>
                </a:lnTo>
                <a:lnTo>
                  <a:pt x="1747" y="144"/>
                </a:lnTo>
                <a:lnTo>
                  <a:pt x="1741" y="145"/>
                </a:lnTo>
                <a:lnTo>
                  <a:pt x="1738" y="150"/>
                </a:lnTo>
                <a:lnTo>
                  <a:pt x="1744" y="148"/>
                </a:lnTo>
                <a:lnTo>
                  <a:pt x="1749" y="148"/>
                </a:lnTo>
                <a:lnTo>
                  <a:pt x="1751" y="147"/>
                </a:lnTo>
                <a:lnTo>
                  <a:pt x="1752" y="147"/>
                </a:lnTo>
                <a:lnTo>
                  <a:pt x="1752" y="147"/>
                </a:lnTo>
                <a:lnTo>
                  <a:pt x="1752" y="148"/>
                </a:lnTo>
                <a:lnTo>
                  <a:pt x="1751" y="148"/>
                </a:lnTo>
                <a:lnTo>
                  <a:pt x="1749" y="148"/>
                </a:lnTo>
                <a:lnTo>
                  <a:pt x="1752" y="153"/>
                </a:lnTo>
                <a:lnTo>
                  <a:pt x="1758" y="155"/>
                </a:lnTo>
                <a:lnTo>
                  <a:pt x="1760" y="157"/>
                </a:lnTo>
                <a:lnTo>
                  <a:pt x="1761" y="159"/>
                </a:lnTo>
                <a:lnTo>
                  <a:pt x="1761" y="162"/>
                </a:lnTo>
                <a:lnTo>
                  <a:pt x="1765" y="165"/>
                </a:lnTo>
                <a:lnTo>
                  <a:pt x="1766" y="165"/>
                </a:lnTo>
                <a:lnTo>
                  <a:pt x="1766" y="167"/>
                </a:lnTo>
                <a:lnTo>
                  <a:pt x="1765" y="168"/>
                </a:lnTo>
                <a:lnTo>
                  <a:pt x="1762" y="167"/>
                </a:lnTo>
                <a:lnTo>
                  <a:pt x="1756" y="165"/>
                </a:lnTo>
                <a:lnTo>
                  <a:pt x="1751" y="164"/>
                </a:lnTo>
                <a:lnTo>
                  <a:pt x="1751" y="164"/>
                </a:lnTo>
                <a:lnTo>
                  <a:pt x="1751" y="164"/>
                </a:lnTo>
                <a:close/>
                <a:moveTo>
                  <a:pt x="1749" y="161"/>
                </a:moveTo>
                <a:lnTo>
                  <a:pt x="1749" y="162"/>
                </a:lnTo>
                <a:lnTo>
                  <a:pt x="1751" y="164"/>
                </a:lnTo>
                <a:lnTo>
                  <a:pt x="1751" y="162"/>
                </a:lnTo>
                <a:lnTo>
                  <a:pt x="1749" y="161"/>
                </a:lnTo>
                <a:close/>
                <a:moveTo>
                  <a:pt x="1740" y="154"/>
                </a:moveTo>
                <a:lnTo>
                  <a:pt x="1738" y="153"/>
                </a:lnTo>
                <a:lnTo>
                  <a:pt x="1735" y="154"/>
                </a:lnTo>
                <a:lnTo>
                  <a:pt x="1734" y="157"/>
                </a:lnTo>
                <a:lnTo>
                  <a:pt x="1733" y="158"/>
                </a:lnTo>
                <a:lnTo>
                  <a:pt x="1738" y="161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9" y="168"/>
                </a:lnTo>
                <a:lnTo>
                  <a:pt x="1744" y="167"/>
                </a:lnTo>
                <a:lnTo>
                  <a:pt x="1746" y="164"/>
                </a:lnTo>
                <a:lnTo>
                  <a:pt x="1749" y="161"/>
                </a:lnTo>
                <a:lnTo>
                  <a:pt x="1745" y="159"/>
                </a:lnTo>
                <a:lnTo>
                  <a:pt x="1740" y="154"/>
                </a:lnTo>
                <a:close/>
                <a:moveTo>
                  <a:pt x="1749" y="161"/>
                </a:move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close/>
                <a:moveTo>
                  <a:pt x="1638" y="448"/>
                </a:moveTo>
                <a:lnTo>
                  <a:pt x="1640" y="448"/>
                </a:lnTo>
                <a:lnTo>
                  <a:pt x="1641" y="446"/>
                </a:lnTo>
                <a:lnTo>
                  <a:pt x="1644" y="446"/>
                </a:lnTo>
                <a:lnTo>
                  <a:pt x="1657" y="439"/>
                </a:lnTo>
                <a:lnTo>
                  <a:pt x="1672" y="432"/>
                </a:lnTo>
                <a:lnTo>
                  <a:pt x="1680" y="430"/>
                </a:lnTo>
                <a:lnTo>
                  <a:pt x="1689" y="425"/>
                </a:lnTo>
                <a:lnTo>
                  <a:pt x="1704" y="417"/>
                </a:lnTo>
                <a:lnTo>
                  <a:pt x="1720" y="409"/>
                </a:lnTo>
                <a:lnTo>
                  <a:pt x="1725" y="406"/>
                </a:lnTo>
                <a:lnTo>
                  <a:pt x="1728" y="403"/>
                </a:lnTo>
                <a:lnTo>
                  <a:pt x="1731" y="401"/>
                </a:lnTo>
                <a:lnTo>
                  <a:pt x="1734" y="402"/>
                </a:lnTo>
                <a:lnTo>
                  <a:pt x="1735" y="402"/>
                </a:lnTo>
                <a:lnTo>
                  <a:pt x="1737" y="402"/>
                </a:lnTo>
                <a:lnTo>
                  <a:pt x="1738" y="396"/>
                </a:lnTo>
                <a:lnTo>
                  <a:pt x="1742" y="394"/>
                </a:lnTo>
                <a:lnTo>
                  <a:pt x="1747" y="392"/>
                </a:lnTo>
                <a:lnTo>
                  <a:pt x="1751" y="389"/>
                </a:lnTo>
                <a:lnTo>
                  <a:pt x="1747" y="392"/>
                </a:lnTo>
                <a:lnTo>
                  <a:pt x="1742" y="394"/>
                </a:lnTo>
                <a:lnTo>
                  <a:pt x="1747" y="396"/>
                </a:lnTo>
                <a:lnTo>
                  <a:pt x="1752" y="397"/>
                </a:lnTo>
                <a:lnTo>
                  <a:pt x="1734" y="408"/>
                </a:lnTo>
                <a:lnTo>
                  <a:pt x="1718" y="419"/>
                </a:lnTo>
                <a:lnTo>
                  <a:pt x="1721" y="419"/>
                </a:lnTo>
                <a:lnTo>
                  <a:pt x="1724" y="420"/>
                </a:lnTo>
                <a:lnTo>
                  <a:pt x="1723" y="422"/>
                </a:lnTo>
                <a:lnTo>
                  <a:pt x="1720" y="423"/>
                </a:lnTo>
                <a:lnTo>
                  <a:pt x="1716" y="429"/>
                </a:lnTo>
                <a:lnTo>
                  <a:pt x="1711" y="433"/>
                </a:lnTo>
                <a:lnTo>
                  <a:pt x="1696" y="439"/>
                </a:lnTo>
                <a:lnTo>
                  <a:pt x="1679" y="444"/>
                </a:lnTo>
                <a:lnTo>
                  <a:pt x="1677" y="445"/>
                </a:lnTo>
                <a:lnTo>
                  <a:pt x="1673" y="446"/>
                </a:lnTo>
                <a:lnTo>
                  <a:pt x="1670" y="447"/>
                </a:lnTo>
                <a:lnTo>
                  <a:pt x="1668" y="446"/>
                </a:lnTo>
                <a:lnTo>
                  <a:pt x="1662" y="444"/>
                </a:lnTo>
                <a:lnTo>
                  <a:pt x="1656" y="445"/>
                </a:lnTo>
                <a:lnTo>
                  <a:pt x="1644" y="448"/>
                </a:lnTo>
                <a:lnTo>
                  <a:pt x="1633" y="452"/>
                </a:lnTo>
                <a:lnTo>
                  <a:pt x="1634" y="450"/>
                </a:lnTo>
                <a:lnTo>
                  <a:pt x="1634" y="448"/>
                </a:lnTo>
                <a:lnTo>
                  <a:pt x="1636" y="448"/>
                </a:lnTo>
                <a:lnTo>
                  <a:pt x="1638" y="448"/>
                </a:lnTo>
                <a:close/>
                <a:moveTo>
                  <a:pt x="22" y="1222"/>
                </a:moveTo>
                <a:lnTo>
                  <a:pt x="22" y="1217"/>
                </a:lnTo>
                <a:lnTo>
                  <a:pt x="22" y="1214"/>
                </a:lnTo>
                <a:lnTo>
                  <a:pt x="20" y="1217"/>
                </a:lnTo>
                <a:lnTo>
                  <a:pt x="22" y="1222"/>
                </a:lnTo>
                <a:close/>
                <a:moveTo>
                  <a:pt x="23" y="1202"/>
                </a:moveTo>
                <a:lnTo>
                  <a:pt x="20" y="1205"/>
                </a:lnTo>
                <a:lnTo>
                  <a:pt x="18" y="1209"/>
                </a:lnTo>
                <a:lnTo>
                  <a:pt x="21" y="1210"/>
                </a:lnTo>
                <a:lnTo>
                  <a:pt x="22" y="1214"/>
                </a:lnTo>
                <a:lnTo>
                  <a:pt x="23" y="1212"/>
                </a:lnTo>
                <a:lnTo>
                  <a:pt x="23" y="1209"/>
                </a:lnTo>
                <a:lnTo>
                  <a:pt x="25" y="1205"/>
                </a:lnTo>
                <a:lnTo>
                  <a:pt x="23" y="1202"/>
                </a:lnTo>
                <a:close/>
                <a:moveTo>
                  <a:pt x="123" y="880"/>
                </a:moveTo>
                <a:lnTo>
                  <a:pt x="124" y="881"/>
                </a:lnTo>
                <a:lnTo>
                  <a:pt x="125" y="881"/>
                </a:lnTo>
                <a:lnTo>
                  <a:pt x="126" y="881"/>
                </a:lnTo>
                <a:lnTo>
                  <a:pt x="128" y="880"/>
                </a:lnTo>
                <a:lnTo>
                  <a:pt x="126" y="878"/>
                </a:lnTo>
                <a:lnTo>
                  <a:pt x="124" y="878"/>
                </a:lnTo>
                <a:lnTo>
                  <a:pt x="123" y="879"/>
                </a:lnTo>
                <a:lnTo>
                  <a:pt x="123" y="880"/>
                </a:lnTo>
                <a:close/>
                <a:moveTo>
                  <a:pt x="672" y="1429"/>
                </a:moveTo>
                <a:lnTo>
                  <a:pt x="672" y="1429"/>
                </a:lnTo>
                <a:lnTo>
                  <a:pt x="671" y="1433"/>
                </a:lnTo>
                <a:lnTo>
                  <a:pt x="671" y="1437"/>
                </a:lnTo>
                <a:lnTo>
                  <a:pt x="670" y="1438"/>
                </a:lnTo>
                <a:lnTo>
                  <a:pt x="668" y="1438"/>
                </a:lnTo>
                <a:lnTo>
                  <a:pt x="667" y="1436"/>
                </a:lnTo>
                <a:lnTo>
                  <a:pt x="667" y="1433"/>
                </a:lnTo>
                <a:lnTo>
                  <a:pt x="668" y="1429"/>
                </a:lnTo>
                <a:lnTo>
                  <a:pt x="672" y="1429"/>
                </a:lnTo>
                <a:lnTo>
                  <a:pt x="672" y="1429"/>
                </a:lnTo>
                <a:lnTo>
                  <a:pt x="672" y="1429"/>
                </a:lnTo>
                <a:close/>
                <a:moveTo>
                  <a:pt x="672" y="1429"/>
                </a:moveTo>
                <a:lnTo>
                  <a:pt x="672" y="1429"/>
                </a:lnTo>
                <a:lnTo>
                  <a:pt x="672" y="1429"/>
                </a:lnTo>
                <a:lnTo>
                  <a:pt x="681" y="1424"/>
                </a:lnTo>
                <a:lnTo>
                  <a:pt x="689" y="1424"/>
                </a:lnTo>
                <a:lnTo>
                  <a:pt x="694" y="1425"/>
                </a:lnTo>
                <a:lnTo>
                  <a:pt x="694" y="1429"/>
                </a:lnTo>
                <a:lnTo>
                  <a:pt x="683" y="1429"/>
                </a:lnTo>
                <a:lnTo>
                  <a:pt x="672" y="1429"/>
                </a:lnTo>
                <a:close/>
                <a:moveTo>
                  <a:pt x="843" y="1142"/>
                </a:moveTo>
                <a:lnTo>
                  <a:pt x="843" y="1142"/>
                </a:lnTo>
                <a:lnTo>
                  <a:pt x="842" y="1143"/>
                </a:lnTo>
                <a:lnTo>
                  <a:pt x="842" y="1143"/>
                </a:lnTo>
                <a:lnTo>
                  <a:pt x="842" y="1142"/>
                </a:lnTo>
                <a:lnTo>
                  <a:pt x="843" y="1142"/>
                </a:lnTo>
                <a:lnTo>
                  <a:pt x="843" y="1142"/>
                </a:lnTo>
                <a:lnTo>
                  <a:pt x="843" y="1142"/>
                </a:lnTo>
                <a:lnTo>
                  <a:pt x="848" y="1139"/>
                </a:lnTo>
                <a:lnTo>
                  <a:pt x="850" y="1133"/>
                </a:lnTo>
                <a:lnTo>
                  <a:pt x="856" y="1129"/>
                </a:lnTo>
                <a:lnTo>
                  <a:pt x="858" y="1123"/>
                </a:lnTo>
                <a:lnTo>
                  <a:pt x="858" y="1122"/>
                </a:lnTo>
                <a:lnTo>
                  <a:pt x="860" y="1121"/>
                </a:lnTo>
                <a:lnTo>
                  <a:pt x="862" y="1121"/>
                </a:lnTo>
                <a:lnTo>
                  <a:pt x="862" y="1118"/>
                </a:lnTo>
                <a:lnTo>
                  <a:pt x="861" y="1119"/>
                </a:lnTo>
                <a:lnTo>
                  <a:pt x="860" y="1121"/>
                </a:lnTo>
                <a:lnTo>
                  <a:pt x="858" y="1122"/>
                </a:lnTo>
                <a:lnTo>
                  <a:pt x="858" y="1123"/>
                </a:lnTo>
                <a:lnTo>
                  <a:pt x="857" y="1123"/>
                </a:lnTo>
                <a:lnTo>
                  <a:pt x="856" y="1123"/>
                </a:lnTo>
                <a:lnTo>
                  <a:pt x="854" y="1124"/>
                </a:lnTo>
                <a:lnTo>
                  <a:pt x="853" y="1128"/>
                </a:lnTo>
                <a:lnTo>
                  <a:pt x="850" y="1131"/>
                </a:lnTo>
                <a:lnTo>
                  <a:pt x="850" y="1131"/>
                </a:lnTo>
                <a:lnTo>
                  <a:pt x="850" y="1132"/>
                </a:lnTo>
                <a:lnTo>
                  <a:pt x="850" y="1133"/>
                </a:lnTo>
                <a:lnTo>
                  <a:pt x="848" y="1135"/>
                </a:lnTo>
                <a:lnTo>
                  <a:pt x="846" y="1136"/>
                </a:lnTo>
                <a:lnTo>
                  <a:pt x="846" y="1135"/>
                </a:lnTo>
                <a:lnTo>
                  <a:pt x="846" y="1132"/>
                </a:lnTo>
                <a:lnTo>
                  <a:pt x="846" y="1135"/>
                </a:lnTo>
                <a:lnTo>
                  <a:pt x="846" y="1136"/>
                </a:lnTo>
                <a:lnTo>
                  <a:pt x="846" y="1136"/>
                </a:lnTo>
                <a:lnTo>
                  <a:pt x="846" y="1137"/>
                </a:lnTo>
                <a:lnTo>
                  <a:pt x="844" y="1138"/>
                </a:lnTo>
                <a:lnTo>
                  <a:pt x="844" y="1138"/>
                </a:lnTo>
                <a:lnTo>
                  <a:pt x="843" y="1140"/>
                </a:lnTo>
                <a:lnTo>
                  <a:pt x="843" y="1142"/>
                </a:lnTo>
                <a:close/>
                <a:moveTo>
                  <a:pt x="774" y="851"/>
                </a:moveTo>
                <a:lnTo>
                  <a:pt x="767" y="846"/>
                </a:lnTo>
                <a:lnTo>
                  <a:pt x="765" y="838"/>
                </a:lnTo>
                <a:lnTo>
                  <a:pt x="771" y="844"/>
                </a:lnTo>
                <a:lnTo>
                  <a:pt x="774" y="851"/>
                </a:lnTo>
                <a:lnTo>
                  <a:pt x="774" y="857"/>
                </a:lnTo>
                <a:lnTo>
                  <a:pt x="778" y="859"/>
                </a:lnTo>
                <a:lnTo>
                  <a:pt x="781" y="866"/>
                </a:lnTo>
                <a:lnTo>
                  <a:pt x="787" y="871"/>
                </a:lnTo>
                <a:lnTo>
                  <a:pt x="787" y="871"/>
                </a:lnTo>
                <a:lnTo>
                  <a:pt x="786" y="867"/>
                </a:lnTo>
                <a:lnTo>
                  <a:pt x="786" y="864"/>
                </a:lnTo>
                <a:lnTo>
                  <a:pt x="786" y="863"/>
                </a:lnTo>
                <a:lnTo>
                  <a:pt x="786" y="861"/>
                </a:lnTo>
                <a:lnTo>
                  <a:pt x="784" y="861"/>
                </a:lnTo>
                <a:lnTo>
                  <a:pt x="782" y="859"/>
                </a:lnTo>
                <a:lnTo>
                  <a:pt x="782" y="859"/>
                </a:lnTo>
                <a:lnTo>
                  <a:pt x="782" y="859"/>
                </a:lnTo>
                <a:lnTo>
                  <a:pt x="782" y="859"/>
                </a:lnTo>
                <a:lnTo>
                  <a:pt x="782" y="859"/>
                </a:lnTo>
                <a:lnTo>
                  <a:pt x="780" y="859"/>
                </a:lnTo>
                <a:lnTo>
                  <a:pt x="778" y="859"/>
                </a:lnTo>
                <a:lnTo>
                  <a:pt x="778" y="856"/>
                </a:lnTo>
                <a:lnTo>
                  <a:pt x="778" y="851"/>
                </a:lnTo>
                <a:lnTo>
                  <a:pt x="778" y="851"/>
                </a:lnTo>
                <a:lnTo>
                  <a:pt x="775" y="851"/>
                </a:lnTo>
                <a:lnTo>
                  <a:pt x="774" y="851"/>
                </a:lnTo>
                <a:close/>
                <a:moveTo>
                  <a:pt x="774" y="865"/>
                </a:moveTo>
                <a:lnTo>
                  <a:pt x="774" y="865"/>
                </a:lnTo>
                <a:lnTo>
                  <a:pt x="771" y="864"/>
                </a:lnTo>
                <a:lnTo>
                  <a:pt x="770" y="861"/>
                </a:lnTo>
                <a:lnTo>
                  <a:pt x="773" y="861"/>
                </a:lnTo>
                <a:lnTo>
                  <a:pt x="774" y="865"/>
                </a:lnTo>
                <a:lnTo>
                  <a:pt x="774" y="865"/>
                </a:lnTo>
                <a:lnTo>
                  <a:pt x="774" y="865"/>
                </a:lnTo>
                <a:close/>
                <a:moveTo>
                  <a:pt x="672" y="726"/>
                </a:move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close/>
                <a:moveTo>
                  <a:pt x="389" y="920"/>
                </a:moveTo>
                <a:lnTo>
                  <a:pt x="389" y="920"/>
                </a:lnTo>
                <a:lnTo>
                  <a:pt x="386" y="919"/>
                </a:lnTo>
                <a:lnTo>
                  <a:pt x="385" y="915"/>
                </a:lnTo>
                <a:lnTo>
                  <a:pt x="387" y="917"/>
                </a:lnTo>
                <a:lnTo>
                  <a:pt x="389" y="920"/>
                </a:lnTo>
                <a:lnTo>
                  <a:pt x="389" y="920"/>
                </a:lnTo>
                <a:lnTo>
                  <a:pt x="389" y="920"/>
                </a:lnTo>
                <a:close/>
                <a:moveTo>
                  <a:pt x="389" y="920"/>
                </a:moveTo>
                <a:lnTo>
                  <a:pt x="389" y="920"/>
                </a:lnTo>
                <a:lnTo>
                  <a:pt x="389" y="920"/>
                </a:lnTo>
                <a:lnTo>
                  <a:pt x="389" y="920"/>
                </a:lnTo>
                <a:lnTo>
                  <a:pt x="394" y="922"/>
                </a:lnTo>
                <a:lnTo>
                  <a:pt x="398" y="924"/>
                </a:lnTo>
                <a:lnTo>
                  <a:pt x="398" y="927"/>
                </a:lnTo>
                <a:lnTo>
                  <a:pt x="398" y="928"/>
                </a:lnTo>
                <a:lnTo>
                  <a:pt x="397" y="928"/>
                </a:lnTo>
                <a:lnTo>
                  <a:pt x="395" y="928"/>
                </a:lnTo>
                <a:lnTo>
                  <a:pt x="394" y="927"/>
                </a:lnTo>
                <a:lnTo>
                  <a:pt x="394" y="927"/>
                </a:lnTo>
                <a:lnTo>
                  <a:pt x="392" y="927"/>
                </a:lnTo>
                <a:lnTo>
                  <a:pt x="391" y="927"/>
                </a:lnTo>
                <a:lnTo>
                  <a:pt x="392" y="927"/>
                </a:lnTo>
                <a:lnTo>
                  <a:pt x="394" y="927"/>
                </a:lnTo>
                <a:lnTo>
                  <a:pt x="392" y="924"/>
                </a:lnTo>
                <a:lnTo>
                  <a:pt x="389" y="924"/>
                </a:lnTo>
                <a:lnTo>
                  <a:pt x="389" y="920"/>
                </a:lnTo>
                <a:close/>
                <a:moveTo>
                  <a:pt x="1242" y="692"/>
                </a:moveTo>
                <a:lnTo>
                  <a:pt x="1242" y="692"/>
                </a:lnTo>
                <a:lnTo>
                  <a:pt x="1242" y="692"/>
                </a:lnTo>
                <a:lnTo>
                  <a:pt x="1242" y="692"/>
                </a:lnTo>
                <a:lnTo>
                  <a:pt x="1243" y="692"/>
                </a:lnTo>
                <a:lnTo>
                  <a:pt x="1244" y="696"/>
                </a:lnTo>
                <a:lnTo>
                  <a:pt x="1248" y="697"/>
                </a:lnTo>
                <a:lnTo>
                  <a:pt x="1248" y="699"/>
                </a:lnTo>
                <a:lnTo>
                  <a:pt x="1245" y="700"/>
                </a:lnTo>
                <a:lnTo>
                  <a:pt x="1244" y="700"/>
                </a:lnTo>
                <a:lnTo>
                  <a:pt x="1243" y="699"/>
                </a:lnTo>
                <a:lnTo>
                  <a:pt x="1241" y="703"/>
                </a:lnTo>
                <a:lnTo>
                  <a:pt x="1241" y="706"/>
                </a:lnTo>
                <a:lnTo>
                  <a:pt x="1242" y="711"/>
                </a:lnTo>
                <a:lnTo>
                  <a:pt x="1240" y="713"/>
                </a:lnTo>
                <a:lnTo>
                  <a:pt x="1229" y="723"/>
                </a:lnTo>
                <a:lnTo>
                  <a:pt x="1217" y="731"/>
                </a:lnTo>
                <a:lnTo>
                  <a:pt x="1206" y="740"/>
                </a:lnTo>
                <a:lnTo>
                  <a:pt x="1195" y="751"/>
                </a:lnTo>
                <a:lnTo>
                  <a:pt x="1186" y="758"/>
                </a:lnTo>
                <a:lnTo>
                  <a:pt x="1174" y="762"/>
                </a:lnTo>
                <a:lnTo>
                  <a:pt x="1172" y="763"/>
                </a:lnTo>
                <a:lnTo>
                  <a:pt x="1171" y="766"/>
                </a:lnTo>
                <a:lnTo>
                  <a:pt x="1172" y="768"/>
                </a:lnTo>
                <a:lnTo>
                  <a:pt x="1175" y="768"/>
                </a:lnTo>
                <a:lnTo>
                  <a:pt x="1179" y="768"/>
                </a:lnTo>
                <a:lnTo>
                  <a:pt x="1183" y="769"/>
                </a:lnTo>
                <a:lnTo>
                  <a:pt x="1179" y="772"/>
                </a:lnTo>
                <a:lnTo>
                  <a:pt x="1175" y="772"/>
                </a:lnTo>
                <a:lnTo>
                  <a:pt x="1173" y="772"/>
                </a:lnTo>
                <a:lnTo>
                  <a:pt x="1173" y="772"/>
                </a:lnTo>
                <a:lnTo>
                  <a:pt x="1173" y="776"/>
                </a:lnTo>
                <a:lnTo>
                  <a:pt x="1169" y="776"/>
                </a:lnTo>
                <a:lnTo>
                  <a:pt x="1168" y="777"/>
                </a:lnTo>
                <a:lnTo>
                  <a:pt x="1167" y="779"/>
                </a:lnTo>
                <a:lnTo>
                  <a:pt x="1168" y="781"/>
                </a:lnTo>
                <a:lnTo>
                  <a:pt x="1171" y="780"/>
                </a:lnTo>
                <a:lnTo>
                  <a:pt x="1175" y="780"/>
                </a:lnTo>
                <a:lnTo>
                  <a:pt x="1180" y="781"/>
                </a:lnTo>
                <a:lnTo>
                  <a:pt x="1182" y="781"/>
                </a:lnTo>
                <a:lnTo>
                  <a:pt x="1183" y="782"/>
                </a:lnTo>
                <a:lnTo>
                  <a:pt x="1183" y="784"/>
                </a:lnTo>
                <a:lnTo>
                  <a:pt x="1181" y="784"/>
                </a:lnTo>
                <a:lnTo>
                  <a:pt x="1179" y="786"/>
                </a:lnTo>
                <a:lnTo>
                  <a:pt x="1178" y="783"/>
                </a:lnTo>
                <a:lnTo>
                  <a:pt x="1176" y="781"/>
                </a:lnTo>
                <a:lnTo>
                  <a:pt x="1175" y="782"/>
                </a:lnTo>
                <a:lnTo>
                  <a:pt x="1171" y="786"/>
                </a:lnTo>
                <a:lnTo>
                  <a:pt x="1166" y="784"/>
                </a:lnTo>
                <a:lnTo>
                  <a:pt x="1162" y="784"/>
                </a:lnTo>
                <a:lnTo>
                  <a:pt x="1160" y="787"/>
                </a:lnTo>
                <a:lnTo>
                  <a:pt x="1166" y="788"/>
                </a:lnTo>
                <a:lnTo>
                  <a:pt x="1171" y="788"/>
                </a:lnTo>
                <a:lnTo>
                  <a:pt x="1175" y="789"/>
                </a:lnTo>
                <a:lnTo>
                  <a:pt x="1181" y="788"/>
                </a:lnTo>
                <a:lnTo>
                  <a:pt x="1186" y="788"/>
                </a:lnTo>
                <a:lnTo>
                  <a:pt x="1189" y="793"/>
                </a:lnTo>
                <a:lnTo>
                  <a:pt x="1183" y="791"/>
                </a:lnTo>
                <a:lnTo>
                  <a:pt x="1179" y="793"/>
                </a:lnTo>
                <a:lnTo>
                  <a:pt x="1173" y="795"/>
                </a:lnTo>
                <a:lnTo>
                  <a:pt x="1169" y="801"/>
                </a:lnTo>
                <a:lnTo>
                  <a:pt x="1173" y="804"/>
                </a:lnTo>
                <a:lnTo>
                  <a:pt x="1172" y="809"/>
                </a:lnTo>
                <a:lnTo>
                  <a:pt x="1173" y="808"/>
                </a:lnTo>
                <a:lnTo>
                  <a:pt x="1175" y="807"/>
                </a:lnTo>
                <a:lnTo>
                  <a:pt x="1175" y="803"/>
                </a:lnTo>
                <a:lnTo>
                  <a:pt x="1175" y="798"/>
                </a:lnTo>
                <a:lnTo>
                  <a:pt x="1175" y="797"/>
                </a:lnTo>
                <a:lnTo>
                  <a:pt x="1178" y="796"/>
                </a:lnTo>
                <a:lnTo>
                  <a:pt x="1179" y="796"/>
                </a:lnTo>
                <a:lnTo>
                  <a:pt x="1179" y="797"/>
                </a:lnTo>
                <a:lnTo>
                  <a:pt x="1180" y="801"/>
                </a:lnTo>
                <a:lnTo>
                  <a:pt x="1182" y="801"/>
                </a:lnTo>
                <a:lnTo>
                  <a:pt x="1195" y="802"/>
                </a:lnTo>
                <a:lnTo>
                  <a:pt x="1207" y="801"/>
                </a:lnTo>
                <a:lnTo>
                  <a:pt x="1213" y="800"/>
                </a:lnTo>
                <a:lnTo>
                  <a:pt x="1219" y="795"/>
                </a:lnTo>
                <a:lnTo>
                  <a:pt x="1219" y="796"/>
                </a:lnTo>
                <a:lnTo>
                  <a:pt x="1220" y="798"/>
                </a:lnTo>
                <a:lnTo>
                  <a:pt x="1219" y="801"/>
                </a:lnTo>
                <a:lnTo>
                  <a:pt x="1220" y="802"/>
                </a:lnTo>
                <a:lnTo>
                  <a:pt x="1222" y="802"/>
                </a:lnTo>
                <a:lnTo>
                  <a:pt x="1226" y="800"/>
                </a:lnTo>
                <a:lnTo>
                  <a:pt x="1226" y="798"/>
                </a:lnTo>
                <a:lnTo>
                  <a:pt x="1227" y="797"/>
                </a:lnTo>
                <a:lnTo>
                  <a:pt x="1237" y="787"/>
                </a:lnTo>
                <a:lnTo>
                  <a:pt x="1251" y="779"/>
                </a:lnTo>
                <a:lnTo>
                  <a:pt x="1257" y="775"/>
                </a:lnTo>
                <a:lnTo>
                  <a:pt x="1260" y="768"/>
                </a:lnTo>
                <a:lnTo>
                  <a:pt x="1260" y="768"/>
                </a:lnTo>
                <a:lnTo>
                  <a:pt x="1264" y="762"/>
                </a:lnTo>
                <a:lnTo>
                  <a:pt x="1264" y="755"/>
                </a:lnTo>
                <a:lnTo>
                  <a:pt x="1262" y="762"/>
                </a:lnTo>
                <a:lnTo>
                  <a:pt x="1260" y="768"/>
                </a:lnTo>
                <a:lnTo>
                  <a:pt x="1257" y="769"/>
                </a:lnTo>
                <a:lnTo>
                  <a:pt x="1256" y="769"/>
                </a:lnTo>
                <a:lnTo>
                  <a:pt x="1255" y="767"/>
                </a:lnTo>
                <a:lnTo>
                  <a:pt x="1256" y="765"/>
                </a:lnTo>
                <a:lnTo>
                  <a:pt x="1258" y="758"/>
                </a:lnTo>
                <a:lnTo>
                  <a:pt x="1260" y="749"/>
                </a:lnTo>
                <a:lnTo>
                  <a:pt x="1260" y="748"/>
                </a:lnTo>
                <a:lnTo>
                  <a:pt x="1257" y="748"/>
                </a:lnTo>
                <a:lnTo>
                  <a:pt x="1254" y="746"/>
                </a:lnTo>
                <a:lnTo>
                  <a:pt x="1255" y="742"/>
                </a:lnTo>
                <a:lnTo>
                  <a:pt x="1258" y="739"/>
                </a:lnTo>
                <a:lnTo>
                  <a:pt x="1260" y="735"/>
                </a:lnTo>
                <a:lnTo>
                  <a:pt x="1251" y="739"/>
                </a:lnTo>
                <a:lnTo>
                  <a:pt x="1243" y="744"/>
                </a:lnTo>
                <a:lnTo>
                  <a:pt x="1248" y="738"/>
                </a:lnTo>
                <a:lnTo>
                  <a:pt x="1249" y="731"/>
                </a:lnTo>
                <a:lnTo>
                  <a:pt x="1244" y="733"/>
                </a:lnTo>
                <a:lnTo>
                  <a:pt x="1240" y="734"/>
                </a:lnTo>
                <a:lnTo>
                  <a:pt x="1240" y="737"/>
                </a:lnTo>
                <a:lnTo>
                  <a:pt x="1238" y="737"/>
                </a:lnTo>
                <a:lnTo>
                  <a:pt x="1237" y="737"/>
                </a:lnTo>
                <a:lnTo>
                  <a:pt x="1237" y="737"/>
                </a:lnTo>
                <a:lnTo>
                  <a:pt x="1238" y="735"/>
                </a:lnTo>
                <a:lnTo>
                  <a:pt x="1240" y="734"/>
                </a:lnTo>
                <a:lnTo>
                  <a:pt x="1249" y="724"/>
                </a:lnTo>
                <a:lnTo>
                  <a:pt x="1258" y="713"/>
                </a:lnTo>
                <a:lnTo>
                  <a:pt x="1268" y="700"/>
                </a:lnTo>
                <a:lnTo>
                  <a:pt x="1279" y="688"/>
                </a:lnTo>
                <a:lnTo>
                  <a:pt x="1281" y="684"/>
                </a:lnTo>
                <a:lnTo>
                  <a:pt x="1284" y="683"/>
                </a:lnTo>
                <a:lnTo>
                  <a:pt x="1288" y="685"/>
                </a:lnTo>
                <a:lnTo>
                  <a:pt x="1290" y="691"/>
                </a:lnTo>
                <a:lnTo>
                  <a:pt x="1295" y="688"/>
                </a:lnTo>
                <a:lnTo>
                  <a:pt x="1299" y="689"/>
                </a:lnTo>
                <a:lnTo>
                  <a:pt x="1302" y="693"/>
                </a:lnTo>
                <a:lnTo>
                  <a:pt x="1302" y="699"/>
                </a:lnTo>
                <a:lnTo>
                  <a:pt x="1298" y="703"/>
                </a:lnTo>
                <a:lnTo>
                  <a:pt x="1299" y="706"/>
                </a:lnTo>
                <a:lnTo>
                  <a:pt x="1303" y="705"/>
                </a:lnTo>
                <a:lnTo>
                  <a:pt x="1305" y="703"/>
                </a:lnTo>
                <a:lnTo>
                  <a:pt x="1306" y="702"/>
                </a:lnTo>
                <a:lnTo>
                  <a:pt x="1307" y="703"/>
                </a:lnTo>
                <a:lnTo>
                  <a:pt x="1306" y="707"/>
                </a:lnTo>
                <a:lnTo>
                  <a:pt x="1305" y="712"/>
                </a:lnTo>
                <a:lnTo>
                  <a:pt x="1310" y="704"/>
                </a:lnTo>
                <a:lnTo>
                  <a:pt x="1318" y="699"/>
                </a:lnTo>
                <a:lnTo>
                  <a:pt x="1318" y="699"/>
                </a:lnTo>
                <a:lnTo>
                  <a:pt x="1319" y="698"/>
                </a:lnTo>
                <a:lnTo>
                  <a:pt x="1321" y="697"/>
                </a:lnTo>
                <a:lnTo>
                  <a:pt x="1324" y="697"/>
                </a:lnTo>
                <a:lnTo>
                  <a:pt x="1323" y="703"/>
                </a:lnTo>
                <a:lnTo>
                  <a:pt x="1325" y="706"/>
                </a:lnTo>
                <a:lnTo>
                  <a:pt x="1331" y="709"/>
                </a:lnTo>
                <a:lnTo>
                  <a:pt x="1337" y="705"/>
                </a:lnTo>
                <a:lnTo>
                  <a:pt x="1338" y="704"/>
                </a:lnTo>
                <a:lnTo>
                  <a:pt x="1339" y="704"/>
                </a:lnTo>
                <a:lnTo>
                  <a:pt x="1339" y="705"/>
                </a:lnTo>
                <a:lnTo>
                  <a:pt x="1339" y="706"/>
                </a:lnTo>
                <a:lnTo>
                  <a:pt x="1338" y="707"/>
                </a:lnTo>
                <a:lnTo>
                  <a:pt x="1340" y="710"/>
                </a:lnTo>
                <a:lnTo>
                  <a:pt x="1343" y="710"/>
                </a:lnTo>
                <a:lnTo>
                  <a:pt x="1344" y="707"/>
                </a:lnTo>
                <a:lnTo>
                  <a:pt x="1346" y="704"/>
                </a:lnTo>
                <a:lnTo>
                  <a:pt x="1350" y="700"/>
                </a:lnTo>
                <a:lnTo>
                  <a:pt x="1348" y="709"/>
                </a:lnTo>
                <a:lnTo>
                  <a:pt x="1347" y="717"/>
                </a:lnTo>
                <a:lnTo>
                  <a:pt x="1350" y="714"/>
                </a:lnTo>
                <a:lnTo>
                  <a:pt x="1351" y="711"/>
                </a:lnTo>
                <a:lnTo>
                  <a:pt x="1352" y="709"/>
                </a:lnTo>
                <a:lnTo>
                  <a:pt x="1355" y="709"/>
                </a:lnTo>
                <a:lnTo>
                  <a:pt x="1362" y="710"/>
                </a:lnTo>
                <a:lnTo>
                  <a:pt x="1368" y="704"/>
                </a:lnTo>
                <a:lnTo>
                  <a:pt x="1368" y="704"/>
                </a:lnTo>
                <a:lnTo>
                  <a:pt x="1368" y="704"/>
                </a:lnTo>
                <a:lnTo>
                  <a:pt x="1368" y="709"/>
                </a:lnTo>
                <a:lnTo>
                  <a:pt x="1368" y="713"/>
                </a:lnTo>
                <a:lnTo>
                  <a:pt x="1373" y="711"/>
                </a:lnTo>
                <a:lnTo>
                  <a:pt x="1378" y="711"/>
                </a:lnTo>
                <a:lnTo>
                  <a:pt x="1382" y="709"/>
                </a:lnTo>
                <a:lnTo>
                  <a:pt x="1386" y="712"/>
                </a:lnTo>
                <a:lnTo>
                  <a:pt x="1386" y="712"/>
                </a:lnTo>
                <a:lnTo>
                  <a:pt x="1386" y="712"/>
                </a:lnTo>
                <a:lnTo>
                  <a:pt x="1386" y="713"/>
                </a:lnTo>
                <a:lnTo>
                  <a:pt x="1386" y="712"/>
                </a:lnTo>
                <a:lnTo>
                  <a:pt x="1386" y="712"/>
                </a:lnTo>
                <a:lnTo>
                  <a:pt x="1389" y="712"/>
                </a:lnTo>
                <a:lnTo>
                  <a:pt x="1393" y="713"/>
                </a:lnTo>
                <a:lnTo>
                  <a:pt x="1397" y="716"/>
                </a:lnTo>
                <a:lnTo>
                  <a:pt x="1402" y="714"/>
                </a:lnTo>
                <a:lnTo>
                  <a:pt x="1406" y="714"/>
                </a:lnTo>
                <a:lnTo>
                  <a:pt x="1408" y="717"/>
                </a:lnTo>
                <a:lnTo>
                  <a:pt x="1412" y="719"/>
                </a:lnTo>
                <a:lnTo>
                  <a:pt x="1415" y="717"/>
                </a:lnTo>
                <a:lnTo>
                  <a:pt x="1420" y="714"/>
                </a:lnTo>
                <a:lnTo>
                  <a:pt x="1424" y="716"/>
                </a:lnTo>
                <a:lnTo>
                  <a:pt x="1427" y="717"/>
                </a:lnTo>
                <a:lnTo>
                  <a:pt x="1428" y="718"/>
                </a:lnTo>
                <a:lnTo>
                  <a:pt x="1435" y="718"/>
                </a:lnTo>
                <a:lnTo>
                  <a:pt x="1442" y="718"/>
                </a:lnTo>
                <a:lnTo>
                  <a:pt x="1445" y="719"/>
                </a:lnTo>
                <a:lnTo>
                  <a:pt x="1450" y="717"/>
                </a:lnTo>
                <a:lnTo>
                  <a:pt x="1454" y="719"/>
                </a:lnTo>
                <a:lnTo>
                  <a:pt x="1458" y="718"/>
                </a:lnTo>
                <a:lnTo>
                  <a:pt x="1459" y="724"/>
                </a:lnTo>
                <a:lnTo>
                  <a:pt x="1462" y="728"/>
                </a:lnTo>
                <a:lnTo>
                  <a:pt x="1463" y="737"/>
                </a:lnTo>
                <a:lnTo>
                  <a:pt x="1462" y="746"/>
                </a:lnTo>
                <a:lnTo>
                  <a:pt x="1462" y="748"/>
                </a:lnTo>
                <a:lnTo>
                  <a:pt x="1463" y="749"/>
                </a:lnTo>
                <a:lnTo>
                  <a:pt x="1468" y="754"/>
                </a:lnTo>
                <a:lnTo>
                  <a:pt x="1466" y="759"/>
                </a:lnTo>
                <a:lnTo>
                  <a:pt x="1470" y="756"/>
                </a:lnTo>
                <a:lnTo>
                  <a:pt x="1471" y="753"/>
                </a:lnTo>
                <a:lnTo>
                  <a:pt x="1472" y="749"/>
                </a:lnTo>
                <a:lnTo>
                  <a:pt x="1475" y="746"/>
                </a:lnTo>
                <a:lnTo>
                  <a:pt x="1482" y="747"/>
                </a:lnTo>
                <a:lnTo>
                  <a:pt x="1488" y="749"/>
                </a:lnTo>
                <a:lnTo>
                  <a:pt x="1491" y="755"/>
                </a:lnTo>
                <a:lnTo>
                  <a:pt x="1489" y="761"/>
                </a:lnTo>
                <a:lnTo>
                  <a:pt x="1486" y="765"/>
                </a:lnTo>
                <a:lnTo>
                  <a:pt x="1485" y="769"/>
                </a:lnTo>
                <a:lnTo>
                  <a:pt x="1482" y="779"/>
                </a:lnTo>
                <a:lnTo>
                  <a:pt x="1478" y="782"/>
                </a:lnTo>
                <a:lnTo>
                  <a:pt x="1481" y="775"/>
                </a:lnTo>
                <a:lnTo>
                  <a:pt x="1479" y="767"/>
                </a:lnTo>
                <a:lnTo>
                  <a:pt x="1479" y="769"/>
                </a:lnTo>
                <a:lnTo>
                  <a:pt x="1478" y="772"/>
                </a:lnTo>
                <a:lnTo>
                  <a:pt x="1475" y="768"/>
                </a:lnTo>
                <a:lnTo>
                  <a:pt x="1471" y="768"/>
                </a:lnTo>
                <a:lnTo>
                  <a:pt x="1470" y="772"/>
                </a:lnTo>
                <a:lnTo>
                  <a:pt x="1469" y="775"/>
                </a:lnTo>
                <a:lnTo>
                  <a:pt x="1463" y="773"/>
                </a:lnTo>
                <a:lnTo>
                  <a:pt x="1457" y="775"/>
                </a:lnTo>
                <a:lnTo>
                  <a:pt x="1455" y="776"/>
                </a:lnTo>
                <a:lnTo>
                  <a:pt x="1454" y="777"/>
                </a:lnTo>
                <a:lnTo>
                  <a:pt x="1455" y="780"/>
                </a:lnTo>
                <a:lnTo>
                  <a:pt x="1456" y="781"/>
                </a:lnTo>
                <a:lnTo>
                  <a:pt x="1462" y="784"/>
                </a:lnTo>
                <a:lnTo>
                  <a:pt x="1463" y="790"/>
                </a:lnTo>
                <a:lnTo>
                  <a:pt x="1463" y="791"/>
                </a:lnTo>
                <a:lnTo>
                  <a:pt x="1464" y="791"/>
                </a:lnTo>
                <a:lnTo>
                  <a:pt x="1466" y="794"/>
                </a:lnTo>
                <a:lnTo>
                  <a:pt x="1465" y="795"/>
                </a:lnTo>
                <a:lnTo>
                  <a:pt x="1463" y="796"/>
                </a:lnTo>
                <a:lnTo>
                  <a:pt x="1462" y="795"/>
                </a:lnTo>
                <a:lnTo>
                  <a:pt x="1458" y="793"/>
                </a:lnTo>
                <a:lnTo>
                  <a:pt x="1455" y="794"/>
                </a:lnTo>
                <a:lnTo>
                  <a:pt x="1451" y="797"/>
                </a:lnTo>
                <a:lnTo>
                  <a:pt x="1450" y="801"/>
                </a:lnTo>
                <a:lnTo>
                  <a:pt x="1451" y="809"/>
                </a:lnTo>
                <a:lnTo>
                  <a:pt x="1450" y="817"/>
                </a:lnTo>
                <a:lnTo>
                  <a:pt x="1459" y="815"/>
                </a:lnTo>
                <a:lnTo>
                  <a:pt x="1466" y="811"/>
                </a:lnTo>
                <a:lnTo>
                  <a:pt x="1468" y="810"/>
                </a:lnTo>
                <a:lnTo>
                  <a:pt x="1470" y="810"/>
                </a:lnTo>
                <a:lnTo>
                  <a:pt x="1471" y="808"/>
                </a:lnTo>
                <a:lnTo>
                  <a:pt x="1475" y="805"/>
                </a:lnTo>
                <a:lnTo>
                  <a:pt x="1473" y="809"/>
                </a:lnTo>
                <a:lnTo>
                  <a:pt x="1471" y="810"/>
                </a:lnTo>
                <a:lnTo>
                  <a:pt x="1471" y="812"/>
                </a:lnTo>
                <a:lnTo>
                  <a:pt x="1471" y="815"/>
                </a:lnTo>
                <a:lnTo>
                  <a:pt x="1465" y="815"/>
                </a:lnTo>
                <a:lnTo>
                  <a:pt x="1463" y="819"/>
                </a:lnTo>
                <a:lnTo>
                  <a:pt x="1463" y="821"/>
                </a:lnTo>
                <a:lnTo>
                  <a:pt x="1464" y="822"/>
                </a:lnTo>
                <a:lnTo>
                  <a:pt x="1468" y="819"/>
                </a:lnTo>
                <a:lnTo>
                  <a:pt x="1470" y="817"/>
                </a:lnTo>
                <a:lnTo>
                  <a:pt x="1470" y="816"/>
                </a:lnTo>
                <a:lnTo>
                  <a:pt x="1471" y="815"/>
                </a:lnTo>
                <a:lnTo>
                  <a:pt x="1471" y="815"/>
                </a:lnTo>
                <a:lnTo>
                  <a:pt x="1471" y="815"/>
                </a:lnTo>
                <a:lnTo>
                  <a:pt x="1481" y="809"/>
                </a:lnTo>
                <a:lnTo>
                  <a:pt x="1490" y="804"/>
                </a:lnTo>
                <a:lnTo>
                  <a:pt x="1491" y="803"/>
                </a:lnTo>
                <a:lnTo>
                  <a:pt x="1492" y="801"/>
                </a:lnTo>
                <a:lnTo>
                  <a:pt x="1496" y="793"/>
                </a:lnTo>
                <a:lnTo>
                  <a:pt x="1499" y="784"/>
                </a:lnTo>
                <a:lnTo>
                  <a:pt x="1500" y="782"/>
                </a:lnTo>
                <a:lnTo>
                  <a:pt x="1503" y="781"/>
                </a:lnTo>
                <a:lnTo>
                  <a:pt x="1504" y="783"/>
                </a:lnTo>
                <a:lnTo>
                  <a:pt x="1504" y="786"/>
                </a:lnTo>
                <a:lnTo>
                  <a:pt x="1504" y="791"/>
                </a:lnTo>
                <a:lnTo>
                  <a:pt x="1509" y="790"/>
                </a:lnTo>
                <a:lnTo>
                  <a:pt x="1509" y="793"/>
                </a:lnTo>
                <a:lnTo>
                  <a:pt x="1509" y="795"/>
                </a:lnTo>
                <a:lnTo>
                  <a:pt x="1507" y="797"/>
                </a:lnTo>
                <a:lnTo>
                  <a:pt x="1507" y="800"/>
                </a:lnTo>
                <a:lnTo>
                  <a:pt x="1510" y="801"/>
                </a:lnTo>
                <a:lnTo>
                  <a:pt x="1513" y="798"/>
                </a:lnTo>
                <a:lnTo>
                  <a:pt x="1517" y="797"/>
                </a:lnTo>
                <a:lnTo>
                  <a:pt x="1521" y="800"/>
                </a:lnTo>
                <a:lnTo>
                  <a:pt x="1517" y="801"/>
                </a:lnTo>
                <a:lnTo>
                  <a:pt x="1513" y="804"/>
                </a:lnTo>
                <a:lnTo>
                  <a:pt x="1517" y="804"/>
                </a:lnTo>
                <a:lnTo>
                  <a:pt x="1520" y="805"/>
                </a:lnTo>
                <a:lnTo>
                  <a:pt x="1516" y="809"/>
                </a:lnTo>
                <a:lnTo>
                  <a:pt x="1513" y="814"/>
                </a:lnTo>
                <a:lnTo>
                  <a:pt x="1511" y="816"/>
                </a:lnTo>
                <a:lnTo>
                  <a:pt x="1513" y="817"/>
                </a:lnTo>
                <a:lnTo>
                  <a:pt x="1520" y="819"/>
                </a:lnTo>
                <a:lnTo>
                  <a:pt x="1527" y="819"/>
                </a:lnTo>
                <a:lnTo>
                  <a:pt x="1525" y="823"/>
                </a:lnTo>
                <a:lnTo>
                  <a:pt x="1524" y="825"/>
                </a:lnTo>
                <a:lnTo>
                  <a:pt x="1530" y="830"/>
                </a:lnTo>
                <a:lnTo>
                  <a:pt x="1527" y="838"/>
                </a:lnTo>
                <a:lnTo>
                  <a:pt x="1531" y="837"/>
                </a:lnTo>
                <a:lnTo>
                  <a:pt x="1534" y="836"/>
                </a:lnTo>
                <a:lnTo>
                  <a:pt x="1534" y="835"/>
                </a:lnTo>
                <a:lnTo>
                  <a:pt x="1535" y="835"/>
                </a:lnTo>
                <a:lnTo>
                  <a:pt x="1535" y="832"/>
                </a:lnTo>
                <a:lnTo>
                  <a:pt x="1537" y="832"/>
                </a:lnTo>
                <a:lnTo>
                  <a:pt x="1538" y="832"/>
                </a:lnTo>
                <a:lnTo>
                  <a:pt x="1538" y="832"/>
                </a:lnTo>
                <a:lnTo>
                  <a:pt x="1537" y="833"/>
                </a:lnTo>
                <a:lnTo>
                  <a:pt x="1535" y="835"/>
                </a:lnTo>
                <a:lnTo>
                  <a:pt x="1534" y="835"/>
                </a:lnTo>
                <a:lnTo>
                  <a:pt x="1534" y="836"/>
                </a:lnTo>
                <a:lnTo>
                  <a:pt x="1537" y="844"/>
                </a:lnTo>
                <a:lnTo>
                  <a:pt x="1545" y="843"/>
                </a:lnTo>
                <a:lnTo>
                  <a:pt x="1544" y="846"/>
                </a:lnTo>
                <a:lnTo>
                  <a:pt x="1541" y="851"/>
                </a:lnTo>
                <a:lnTo>
                  <a:pt x="1546" y="849"/>
                </a:lnTo>
                <a:lnTo>
                  <a:pt x="1551" y="846"/>
                </a:lnTo>
                <a:lnTo>
                  <a:pt x="1555" y="842"/>
                </a:lnTo>
                <a:lnTo>
                  <a:pt x="1562" y="838"/>
                </a:lnTo>
                <a:lnTo>
                  <a:pt x="1562" y="838"/>
                </a:lnTo>
                <a:lnTo>
                  <a:pt x="1562" y="840"/>
                </a:lnTo>
                <a:lnTo>
                  <a:pt x="1561" y="843"/>
                </a:lnTo>
                <a:lnTo>
                  <a:pt x="1554" y="845"/>
                </a:lnTo>
                <a:lnTo>
                  <a:pt x="1553" y="852"/>
                </a:lnTo>
                <a:lnTo>
                  <a:pt x="1552" y="858"/>
                </a:lnTo>
                <a:lnTo>
                  <a:pt x="1547" y="863"/>
                </a:lnTo>
                <a:lnTo>
                  <a:pt x="1551" y="877"/>
                </a:lnTo>
                <a:lnTo>
                  <a:pt x="1559" y="889"/>
                </a:lnTo>
                <a:lnTo>
                  <a:pt x="1565" y="888"/>
                </a:lnTo>
                <a:lnTo>
                  <a:pt x="1569" y="885"/>
                </a:lnTo>
                <a:lnTo>
                  <a:pt x="1573" y="882"/>
                </a:lnTo>
                <a:lnTo>
                  <a:pt x="1576" y="882"/>
                </a:lnTo>
                <a:lnTo>
                  <a:pt x="1576" y="880"/>
                </a:lnTo>
                <a:lnTo>
                  <a:pt x="1576" y="878"/>
                </a:lnTo>
                <a:lnTo>
                  <a:pt x="1579" y="878"/>
                </a:lnTo>
                <a:lnTo>
                  <a:pt x="1580" y="878"/>
                </a:lnTo>
                <a:lnTo>
                  <a:pt x="1583" y="874"/>
                </a:lnTo>
                <a:lnTo>
                  <a:pt x="1589" y="873"/>
                </a:lnTo>
                <a:lnTo>
                  <a:pt x="1592" y="872"/>
                </a:lnTo>
                <a:lnTo>
                  <a:pt x="1594" y="872"/>
                </a:lnTo>
                <a:lnTo>
                  <a:pt x="1592" y="872"/>
                </a:lnTo>
                <a:lnTo>
                  <a:pt x="1589" y="873"/>
                </a:lnTo>
                <a:lnTo>
                  <a:pt x="1583" y="874"/>
                </a:lnTo>
                <a:lnTo>
                  <a:pt x="1580" y="878"/>
                </a:lnTo>
                <a:lnTo>
                  <a:pt x="1580" y="881"/>
                </a:lnTo>
                <a:lnTo>
                  <a:pt x="1576" y="882"/>
                </a:lnTo>
                <a:lnTo>
                  <a:pt x="1572" y="888"/>
                </a:lnTo>
                <a:lnTo>
                  <a:pt x="1567" y="893"/>
                </a:lnTo>
                <a:lnTo>
                  <a:pt x="1565" y="893"/>
                </a:lnTo>
                <a:lnTo>
                  <a:pt x="1565" y="895"/>
                </a:lnTo>
                <a:lnTo>
                  <a:pt x="1567" y="896"/>
                </a:lnTo>
                <a:lnTo>
                  <a:pt x="1569" y="896"/>
                </a:lnTo>
                <a:lnTo>
                  <a:pt x="1572" y="895"/>
                </a:lnTo>
                <a:lnTo>
                  <a:pt x="1573" y="898"/>
                </a:lnTo>
                <a:lnTo>
                  <a:pt x="1572" y="902"/>
                </a:lnTo>
                <a:lnTo>
                  <a:pt x="1572" y="907"/>
                </a:lnTo>
                <a:lnTo>
                  <a:pt x="1571" y="909"/>
                </a:lnTo>
                <a:lnTo>
                  <a:pt x="1572" y="910"/>
                </a:lnTo>
                <a:lnTo>
                  <a:pt x="1572" y="912"/>
                </a:lnTo>
                <a:lnTo>
                  <a:pt x="1572" y="913"/>
                </a:lnTo>
                <a:lnTo>
                  <a:pt x="1569" y="914"/>
                </a:lnTo>
                <a:lnTo>
                  <a:pt x="1568" y="917"/>
                </a:lnTo>
                <a:lnTo>
                  <a:pt x="1569" y="919"/>
                </a:lnTo>
                <a:lnTo>
                  <a:pt x="1572" y="919"/>
                </a:lnTo>
                <a:lnTo>
                  <a:pt x="1572" y="921"/>
                </a:lnTo>
                <a:lnTo>
                  <a:pt x="1572" y="923"/>
                </a:lnTo>
                <a:lnTo>
                  <a:pt x="1569" y="924"/>
                </a:lnTo>
                <a:lnTo>
                  <a:pt x="1568" y="927"/>
                </a:lnTo>
                <a:lnTo>
                  <a:pt x="1569" y="931"/>
                </a:lnTo>
                <a:lnTo>
                  <a:pt x="1569" y="936"/>
                </a:lnTo>
                <a:lnTo>
                  <a:pt x="1574" y="954"/>
                </a:lnTo>
                <a:lnTo>
                  <a:pt x="1588" y="966"/>
                </a:lnTo>
                <a:lnTo>
                  <a:pt x="1594" y="970"/>
                </a:lnTo>
                <a:lnTo>
                  <a:pt x="1601" y="970"/>
                </a:lnTo>
                <a:lnTo>
                  <a:pt x="1628" y="962"/>
                </a:lnTo>
                <a:lnTo>
                  <a:pt x="1654" y="949"/>
                </a:lnTo>
                <a:lnTo>
                  <a:pt x="1663" y="945"/>
                </a:lnTo>
                <a:lnTo>
                  <a:pt x="1670" y="940"/>
                </a:lnTo>
                <a:lnTo>
                  <a:pt x="1691" y="927"/>
                </a:lnTo>
                <a:lnTo>
                  <a:pt x="1712" y="913"/>
                </a:lnTo>
                <a:lnTo>
                  <a:pt x="1720" y="907"/>
                </a:lnTo>
                <a:lnTo>
                  <a:pt x="1728" y="899"/>
                </a:lnTo>
                <a:lnTo>
                  <a:pt x="1728" y="899"/>
                </a:lnTo>
                <a:lnTo>
                  <a:pt x="1728" y="898"/>
                </a:lnTo>
                <a:lnTo>
                  <a:pt x="1728" y="898"/>
                </a:lnTo>
                <a:lnTo>
                  <a:pt x="1733" y="894"/>
                </a:lnTo>
                <a:lnTo>
                  <a:pt x="1737" y="891"/>
                </a:lnTo>
                <a:lnTo>
                  <a:pt x="1739" y="889"/>
                </a:lnTo>
                <a:lnTo>
                  <a:pt x="1741" y="887"/>
                </a:lnTo>
                <a:lnTo>
                  <a:pt x="1748" y="880"/>
                </a:lnTo>
                <a:lnTo>
                  <a:pt x="1755" y="872"/>
                </a:lnTo>
                <a:lnTo>
                  <a:pt x="1755" y="872"/>
                </a:lnTo>
                <a:lnTo>
                  <a:pt x="1754" y="872"/>
                </a:lnTo>
                <a:lnTo>
                  <a:pt x="1755" y="872"/>
                </a:lnTo>
                <a:lnTo>
                  <a:pt x="1755" y="872"/>
                </a:lnTo>
                <a:lnTo>
                  <a:pt x="1759" y="867"/>
                </a:lnTo>
                <a:lnTo>
                  <a:pt x="1755" y="863"/>
                </a:lnTo>
                <a:lnTo>
                  <a:pt x="1752" y="859"/>
                </a:lnTo>
                <a:lnTo>
                  <a:pt x="1749" y="856"/>
                </a:lnTo>
                <a:lnTo>
                  <a:pt x="1746" y="852"/>
                </a:lnTo>
                <a:lnTo>
                  <a:pt x="1740" y="853"/>
                </a:lnTo>
                <a:lnTo>
                  <a:pt x="1735" y="854"/>
                </a:lnTo>
                <a:lnTo>
                  <a:pt x="1733" y="851"/>
                </a:lnTo>
                <a:lnTo>
                  <a:pt x="1733" y="849"/>
                </a:lnTo>
                <a:lnTo>
                  <a:pt x="1732" y="847"/>
                </a:lnTo>
                <a:lnTo>
                  <a:pt x="1726" y="847"/>
                </a:lnTo>
                <a:lnTo>
                  <a:pt x="1721" y="847"/>
                </a:lnTo>
                <a:lnTo>
                  <a:pt x="1716" y="847"/>
                </a:lnTo>
                <a:lnTo>
                  <a:pt x="1712" y="844"/>
                </a:lnTo>
                <a:lnTo>
                  <a:pt x="1716" y="843"/>
                </a:lnTo>
                <a:lnTo>
                  <a:pt x="1718" y="840"/>
                </a:lnTo>
                <a:lnTo>
                  <a:pt x="1716" y="838"/>
                </a:lnTo>
                <a:lnTo>
                  <a:pt x="1713" y="838"/>
                </a:lnTo>
                <a:lnTo>
                  <a:pt x="1710" y="836"/>
                </a:lnTo>
                <a:lnTo>
                  <a:pt x="1706" y="835"/>
                </a:lnTo>
                <a:lnTo>
                  <a:pt x="1689" y="830"/>
                </a:lnTo>
                <a:lnTo>
                  <a:pt x="1673" y="823"/>
                </a:lnTo>
                <a:lnTo>
                  <a:pt x="1673" y="823"/>
                </a:lnTo>
                <a:lnTo>
                  <a:pt x="1673" y="823"/>
                </a:lnTo>
                <a:lnTo>
                  <a:pt x="1671" y="822"/>
                </a:lnTo>
                <a:lnTo>
                  <a:pt x="1669" y="822"/>
                </a:lnTo>
                <a:lnTo>
                  <a:pt x="1666" y="822"/>
                </a:lnTo>
                <a:lnTo>
                  <a:pt x="1665" y="822"/>
                </a:lnTo>
                <a:lnTo>
                  <a:pt x="1661" y="817"/>
                </a:lnTo>
                <a:lnTo>
                  <a:pt x="1656" y="815"/>
                </a:lnTo>
                <a:lnTo>
                  <a:pt x="1642" y="807"/>
                </a:lnTo>
                <a:lnTo>
                  <a:pt x="1631" y="796"/>
                </a:lnTo>
                <a:lnTo>
                  <a:pt x="1628" y="793"/>
                </a:lnTo>
                <a:lnTo>
                  <a:pt x="1624" y="789"/>
                </a:lnTo>
                <a:lnTo>
                  <a:pt x="1623" y="789"/>
                </a:lnTo>
                <a:lnTo>
                  <a:pt x="1622" y="788"/>
                </a:lnTo>
                <a:lnTo>
                  <a:pt x="1623" y="784"/>
                </a:lnTo>
                <a:lnTo>
                  <a:pt x="1621" y="781"/>
                </a:lnTo>
                <a:lnTo>
                  <a:pt x="1619" y="780"/>
                </a:lnTo>
                <a:lnTo>
                  <a:pt x="1616" y="776"/>
                </a:lnTo>
                <a:lnTo>
                  <a:pt x="1610" y="763"/>
                </a:lnTo>
                <a:lnTo>
                  <a:pt x="1601" y="752"/>
                </a:lnTo>
                <a:lnTo>
                  <a:pt x="1594" y="744"/>
                </a:lnTo>
                <a:lnTo>
                  <a:pt x="1585" y="738"/>
                </a:lnTo>
                <a:lnTo>
                  <a:pt x="1583" y="735"/>
                </a:lnTo>
                <a:lnTo>
                  <a:pt x="1581" y="734"/>
                </a:lnTo>
                <a:lnTo>
                  <a:pt x="1571" y="726"/>
                </a:lnTo>
                <a:lnTo>
                  <a:pt x="1559" y="718"/>
                </a:lnTo>
                <a:lnTo>
                  <a:pt x="1541" y="707"/>
                </a:lnTo>
                <a:lnTo>
                  <a:pt x="1524" y="700"/>
                </a:lnTo>
                <a:lnTo>
                  <a:pt x="1506" y="696"/>
                </a:lnTo>
                <a:lnTo>
                  <a:pt x="1488" y="693"/>
                </a:lnTo>
                <a:lnTo>
                  <a:pt x="1463" y="692"/>
                </a:lnTo>
                <a:lnTo>
                  <a:pt x="1438" y="692"/>
                </a:lnTo>
                <a:lnTo>
                  <a:pt x="1419" y="692"/>
                </a:lnTo>
                <a:lnTo>
                  <a:pt x="1399" y="691"/>
                </a:lnTo>
                <a:lnTo>
                  <a:pt x="1392" y="690"/>
                </a:lnTo>
                <a:lnTo>
                  <a:pt x="1385" y="691"/>
                </a:lnTo>
                <a:lnTo>
                  <a:pt x="1378" y="690"/>
                </a:lnTo>
                <a:lnTo>
                  <a:pt x="1369" y="689"/>
                </a:lnTo>
                <a:lnTo>
                  <a:pt x="1367" y="689"/>
                </a:lnTo>
                <a:lnTo>
                  <a:pt x="1365" y="689"/>
                </a:lnTo>
                <a:lnTo>
                  <a:pt x="1365" y="691"/>
                </a:lnTo>
                <a:lnTo>
                  <a:pt x="1365" y="692"/>
                </a:lnTo>
                <a:lnTo>
                  <a:pt x="1364" y="695"/>
                </a:lnTo>
                <a:lnTo>
                  <a:pt x="1364" y="698"/>
                </a:lnTo>
                <a:lnTo>
                  <a:pt x="1364" y="695"/>
                </a:lnTo>
                <a:lnTo>
                  <a:pt x="1365" y="692"/>
                </a:lnTo>
                <a:lnTo>
                  <a:pt x="1365" y="691"/>
                </a:lnTo>
                <a:lnTo>
                  <a:pt x="1365" y="689"/>
                </a:lnTo>
                <a:lnTo>
                  <a:pt x="1362" y="689"/>
                </a:lnTo>
                <a:lnTo>
                  <a:pt x="1361" y="689"/>
                </a:lnTo>
                <a:lnTo>
                  <a:pt x="1361" y="690"/>
                </a:lnTo>
                <a:lnTo>
                  <a:pt x="1361" y="690"/>
                </a:lnTo>
                <a:lnTo>
                  <a:pt x="1361" y="690"/>
                </a:lnTo>
                <a:lnTo>
                  <a:pt x="1361" y="689"/>
                </a:lnTo>
                <a:lnTo>
                  <a:pt x="1352" y="685"/>
                </a:lnTo>
                <a:lnTo>
                  <a:pt x="1341" y="684"/>
                </a:lnTo>
                <a:lnTo>
                  <a:pt x="1340" y="683"/>
                </a:lnTo>
                <a:lnTo>
                  <a:pt x="1340" y="683"/>
                </a:lnTo>
                <a:lnTo>
                  <a:pt x="1338" y="677"/>
                </a:lnTo>
                <a:lnTo>
                  <a:pt x="1331" y="676"/>
                </a:lnTo>
                <a:lnTo>
                  <a:pt x="1326" y="676"/>
                </a:lnTo>
                <a:lnTo>
                  <a:pt x="1321" y="676"/>
                </a:lnTo>
                <a:lnTo>
                  <a:pt x="1321" y="676"/>
                </a:lnTo>
                <a:lnTo>
                  <a:pt x="1321" y="672"/>
                </a:lnTo>
                <a:lnTo>
                  <a:pt x="1319" y="671"/>
                </a:lnTo>
                <a:lnTo>
                  <a:pt x="1310" y="667"/>
                </a:lnTo>
                <a:lnTo>
                  <a:pt x="1303" y="660"/>
                </a:lnTo>
                <a:lnTo>
                  <a:pt x="1298" y="655"/>
                </a:lnTo>
                <a:lnTo>
                  <a:pt x="1293" y="650"/>
                </a:lnTo>
                <a:lnTo>
                  <a:pt x="1292" y="647"/>
                </a:lnTo>
                <a:lnTo>
                  <a:pt x="1289" y="646"/>
                </a:lnTo>
                <a:lnTo>
                  <a:pt x="1286" y="644"/>
                </a:lnTo>
                <a:lnTo>
                  <a:pt x="1285" y="642"/>
                </a:lnTo>
                <a:lnTo>
                  <a:pt x="1279" y="632"/>
                </a:lnTo>
                <a:lnTo>
                  <a:pt x="1272" y="622"/>
                </a:lnTo>
                <a:lnTo>
                  <a:pt x="1274" y="628"/>
                </a:lnTo>
                <a:lnTo>
                  <a:pt x="1274" y="634"/>
                </a:lnTo>
                <a:lnTo>
                  <a:pt x="1275" y="635"/>
                </a:lnTo>
                <a:lnTo>
                  <a:pt x="1275" y="636"/>
                </a:lnTo>
                <a:lnTo>
                  <a:pt x="1275" y="635"/>
                </a:lnTo>
                <a:lnTo>
                  <a:pt x="1274" y="634"/>
                </a:lnTo>
                <a:lnTo>
                  <a:pt x="1274" y="628"/>
                </a:lnTo>
                <a:lnTo>
                  <a:pt x="1272" y="622"/>
                </a:lnTo>
                <a:lnTo>
                  <a:pt x="1271" y="616"/>
                </a:lnTo>
                <a:lnTo>
                  <a:pt x="1268" y="611"/>
                </a:lnTo>
                <a:lnTo>
                  <a:pt x="1267" y="618"/>
                </a:lnTo>
                <a:lnTo>
                  <a:pt x="1268" y="623"/>
                </a:lnTo>
                <a:lnTo>
                  <a:pt x="1265" y="623"/>
                </a:lnTo>
                <a:lnTo>
                  <a:pt x="1263" y="626"/>
                </a:lnTo>
                <a:lnTo>
                  <a:pt x="1264" y="628"/>
                </a:lnTo>
                <a:lnTo>
                  <a:pt x="1268" y="628"/>
                </a:lnTo>
                <a:lnTo>
                  <a:pt x="1271" y="629"/>
                </a:lnTo>
                <a:lnTo>
                  <a:pt x="1270" y="632"/>
                </a:lnTo>
                <a:lnTo>
                  <a:pt x="1268" y="635"/>
                </a:lnTo>
                <a:lnTo>
                  <a:pt x="1264" y="632"/>
                </a:lnTo>
                <a:lnTo>
                  <a:pt x="1263" y="635"/>
                </a:lnTo>
                <a:lnTo>
                  <a:pt x="1263" y="636"/>
                </a:lnTo>
                <a:lnTo>
                  <a:pt x="1262" y="641"/>
                </a:lnTo>
                <a:lnTo>
                  <a:pt x="1267" y="642"/>
                </a:lnTo>
                <a:lnTo>
                  <a:pt x="1268" y="643"/>
                </a:lnTo>
                <a:lnTo>
                  <a:pt x="1268" y="644"/>
                </a:lnTo>
                <a:lnTo>
                  <a:pt x="1269" y="648"/>
                </a:lnTo>
                <a:lnTo>
                  <a:pt x="1267" y="653"/>
                </a:lnTo>
                <a:lnTo>
                  <a:pt x="1263" y="655"/>
                </a:lnTo>
                <a:lnTo>
                  <a:pt x="1265" y="658"/>
                </a:lnTo>
                <a:lnTo>
                  <a:pt x="1263" y="662"/>
                </a:lnTo>
                <a:lnTo>
                  <a:pt x="1265" y="665"/>
                </a:lnTo>
                <a:lnTo>
                  <a:pt x="1265" y="667"/>
                </a:lnTo>
                <a:lnTo>
                  <a:pt x="1265" y="667"/>
                </a:lnTo>
                <a:lnTo>
                  <a:pt x="1260" y="675"/>
                </a:lnTo>
                <a:lnTo>
                  <a:pt x="1258" y="683"/>
                </a:lnTo>
                <a:lnTo>
                  <a:pt x="1256" y="685"/>
                </a:lnTo>
                <a:lnTo>
                  <a:pt x="1256" y="688"/>
                </a:lnTo>
                <a:lnTo>
                  <a:pt x="1256" y="688"/>
                </a:lnTo>
                <a:lnTo>
                  <a:pt x="1251" y="688"/>
                </a:lnTo>
                <a:lnTo>
                  <a:pt x="1248" y="690"/>
                </a:lnTo>
                <a:lnTo>
                  <a:pt x="1245" y="692"/>
                </a:lnTo>
                <a:lnTo>
                  <a:pt x="1243" y="692"/>
                </a:lnTo>
                <a:lnTo>
                  <a:pt x="1242" y="692"/>
                </a:lnTo>
                <a:lnTo>
                  <a:pt x="1242" y="692"/>
                </a:lnTo>
                <a:lnTo>
                  <a:pt x="1242" y="692"/>
                </a:lnTo>
                <a:lnTo>
                  <a:pt x="1242" y="692"/>
                </a:lnTo>
                <a:close/>
                <a:moveTo>
                  <a:pt x="1095" y="684"/>
                </a:moveTo>
                <a:lnTo>
                  <a:pt x="1095" y="684"/>
                </a:lnTo>
                <a:lnTo>
                  <a:pt x="1095" y="684"/>
                </a:lnTo>
                <a:lnTo>
                  <a:pt x="1091" y="685"/>
                </a:lnTo>
                <a:lnTo>
                  <a:pt x="1091" y="689"/>
                </a:lnTo>
                <a:lnTo>
                  <a:pt x="1093" y="690"/>
                </a:lnTo>
                <a:lnTo>
                  <a:pt x="1097" y="690"/>
                </a:lnTo>
                <a:lnTo>
                  <a:pt x="1106" y="686"/>
                </a:lnTo>
                <a:lnTo>
                  <a:pt x="1117" y="685"/>
                </a:lnTo>
                <a:lnTo>
                  <a:pt x="1106" y="683"/>
                </a:lnTo>
                <a:lnTo>
                  <a:pt x="1096" y="684"/>
                </a:lnTo>
                <a:lnTo>
                  <a:pt x="1096" y="683"/>
                </a:lnTo>
                <a:lnTo>
                  <a:pt x="1095" y="684"/>
                </a:lnTo>
                <a:close/>
                <a:moveTo>
                  <a:pt x="1095" y="684"/>
                </a:moveTo>
                <a:lnTo>
                  <a:pt x="1095" y="684"/>
                </a:lnTo>
                <a:lnTo>
                  <a:pt x="1095" y="684"/>
                </a:lnTo>
                <a:lnTo>
                  <a:pt x="1096" y="684"/>
                </a:lnTo>
                <a:lnTo>
                  <a:pt x="1096" y="684"/>
                </a:lnTo>
                <a:lnTo>
                  <a:pt x="1096" y="684"/>
                </a:lnTo>
                <a:lnTo>
                  <a:pt x="1096" y="685"/>
                </a:lnTo>
                <a:lnTo>
                  <a:pt x="1095" y="684"/>
                </a:lnTo>
                <a:close/>
                <a:moveTo>
                  <a:pt x="934" y="823"/>
                </a:moveTo>
                <a:lnTo>
                  <a:pt x="934" y="823"/>
                </a:lnTo>
                <a:lnTo>
                  <a:pt x="934" y="823"/>
                </a:lnTo>
                <a:lnTo>
                  <a:pt x="934" y="823"/>
                </a:lnTo>
                <a:lnTo>
                  <a:pt x="925" y="816"/>
                </a:lnTo>
                <a:lnTo>
                  <a:pt x="929" y="804"/>
                </a:lnTo>
                <a:lnTo>
                  <a:pt x="930" y="803"/>
                </a:lnTo>
                <a:lnTo>
                  <a:pt x="930" y="802"/>
                </a:lnTo>
                <a:lnTo>
                  <a:pt x="926" y="795"/>
                </a:lnTo>
                <a:lnTo>
                  <a:pt x="927" y="788"/>
                </a:lnTo>
                <a:lnTo>
                  <a:pt x="927" y="786"/>
                </a:lnTo>
                <a:lnTo>
                  <a:pt x="931" y="784"/>
                </a:lnTo>
                <a:lnTo>
                  <a:pt x="932" y="786"/>
                </a:lnTo>
                <a:lnTo>
                  <a:pt x="931" y="789"/>
                </a:lnTo>
                <a:lnTo>
                  <a:pt x="930" y="790"/>
                </a:lnTo>
                <a:lnTo>
                  <a:pt x="931" y="793"/>
                </a:lnTo>
                <a:lnTo>
                  <a:pt x="932" y="793"/>
                </a:lnTo>
                <a:lnTo>
                  <a:pt x="933" y="793"/>
                </a:lnTo>
                <a:lnTo>
                  <a:pt x="934" y="791"/>
                </a:lnTo>
                <a:lnTo>
                  <a:pt x="934" y="790"/>
                </a:lnTo>
                <a:lnTo>
                  <a:pt x="936" y="777"/>
                </a:lnTo>
                <a:lnTo>
                  <a:pt x="938" y="766"/>
                </a:lnTo>
                <a:lnTo>
                  <a:pt x="939" y="763"/>
                </a:lnTo>
                <a:lnTo>
                  <a:pt x="938" y="762"/>
                </a:lnTo>
                <a:lnTo>
                  <a:pt x="934" y="755"/>
                </a:lnTo>
                <a:lnTo>
                  <a:pt x="937" y="747"/>
                </a:lnTo>
                <a:lnTo>
                  <a:pt x="937" y="747"/>
                </a:lnTo>
                <a:lnTo>
                  <a:pt x="937" y="746"/>
                </a:lnTo>
                <a:lnTo>
                  <a:pt x="934" y="744"/>
                </a:lnTo>
                <a:lnTo>
                  <a:pt x="936" y="740"/>
                </a:lnTo>
                <a:lnTo>
                  <a:pt x="938" y="731"/>
                </a:lnTo>
                <a:lnTo>
                  <a:pt x="939" y="720"/>
                </a:lnTo>
                <a:lnTo>
                  <a:pt x="941" y="718"/>
                </a:lnTo>
                <a:lnTo>
                  <a:pt x="943" y="717"/>
                </a:lnTo>
                <a:lnTo>
                  <a:pt x="944" y="717"/>
                </a:lnTo>
                <a:lnTo>
                  <a:pt x="945" y="717"/>
                </a:lnTo>
                <a:lnTo>
                  <a:pt x="947" y="712"/>
                </a:lnTo>
                <a:lnTo>
                  <a:pt x="950" y="707"/>
                </a:lnTo>
                <a:lnTo>
                  <a:pt x="950" y="705"/>
                </a:lnTo>
                <a:lnTo>
                  <a:pt x="951" y="703"/>
                </a:lnTo>
                <a:lnTo>
                  <a:pt x="948" y="702"/>
                </a:lnTo>
                <a:lnTo>
                  <a:pt x="948" y="700"/>
                </a:lnTo>
                <a:lnTo>
                  <a:pt x="948" y="702"/>
                </a:lnTo>
                <a:lnTo>
                  <a:pt x="951" y="703"/>
                </a:lnTo>
                <a:lnTo>
                  <a:pt x="950" y="705"/>
                </a:lnTo>
                <a:lnTo>
                  <a:pt x="950" y="707"/>
                </a:lnTo>
                <a:lnTo>
                  <a:pt x="947" y="712"/>
                </a:lnTo>
                <a:lnTo>
                  <a:pt x="945" y="717"/>
                </a:lnTo>
                <a:lnTo>
                  <a:pt x="945" y="719"/>
                </a:lnTo>
                <a:lnTo>
                  <a:pt x="947" y="721"/>
                </a:lnTo>
                <a:lnTo>
                  <a:pt x="950" y="724"/>
                </a:lnTo>
                <a:lnTo>
                  <a:pt x="948" y="726"/>
                </a:lnTo>
                <a:lnTo>
                  <a:pt x="947" y="728"/>
                </a:lnTo>
                <a:lnTo>
                  <a:pt x="948" y="730"/>
                </a:lnTo>
                <a:lnTo>
                  <a:pt x="950" y="732"/>
                </a:lnTo>
                <a:lnTo>
                  <a:pt x="947" y="734"/>
                </a:lnTo>
                <a:lnTo>
                  <a:pt x="946" y="738"/>
                </a:lnTo>
                <a:lnTo>
                  <a:pt x="950" y="740"/>
                </a:lnTo>
                <a:lnTo>
                  <a:pt x="950" y="745"/>
                </a:lnTo>
                <a:lnTo>
                  <a:pt x="951" y="749"/>
                </a:lnTo>
                <a:lnTo>
                  <a:pt x="951" y="752"/>
                </a:lnTo>
                <a:lnTo>
                  <a:pt x="951" y="755"/>
                </a:lnTo>
                <a:lnTo>
                  <a:pt x="951" y="755"/>
                </a:lnTo>
                <a:lnTo>
                  <a:pt x="952" y="755"/>
                </a:lnTo>
                <a:lnTo>
                  <a:pt x="953" y="752"/>
                </a:lnTo>
                <a:lnTo>
                  <a:pt x="954" y="748"/>
                </a:lnTo>
                <a:lnTo>
                  <a:pt x="957" y="748"/>
                </a:lnTo>
                <a:lnTo>
                  <a:pt x="958" y="746"/>
                </a:lnTo>
                <a:lnTo>
                  <a:pt x="960" y="747"/>
                </a:lnTo>
                <a:lnTo>
                  <a:pt x="961" y="749"/>
                </a:lnTo>
                <a:lnTo>
                  <a:pt x="960" y="751"/>
                </a:lnTo>
                <a:lnTo>
                  <a:pt x="958" y="751"/>
                </a:lnTo>
                <a:lnTo>
                  <a:pt x="957" y="752"/>
                </a:lnTo>
                <a:lnTo>
                  <a:pt x="955" y="753"/>
                </a:lnTo>
                <a:lnTo>
                  <a:pt x="954" y="759"/>
                </a:lnTo>
                <a:lnTo>
                  <a:pt x="954" y="766"/>
                </a:lnTo>
                <a:lnTo>
                  <a:pt x="957" y="763"/>
                </a:lnTo>
                <a:lnTo>
                  <a:pt x="959" y="762"/>
                </a:lnTo>
                <a:lnTo>
                  <a:pt x="960" y="765"/>
                </a:lnTo>
                <a:lnTo>
                  <a:pt x="962" y="766"/>
                </a:lnTo>
                <a:lnTo>
                  <a:pt x="969" y="765"/>
                </a:lnTo>
                <a:lnTo>
                  <a:pt x="975" y="760"/>
                </a:lnTo>
                <a:lnTo>
                  <a:pt x="978" y="753"/>
                </a:lnTo>
                <a:lnTo>
                  <a:pt x="977" y="746"/>
                </a:lnTo>
                <a:lnTo>
                  <a:pt x="977" y="744"/>
                </a:lnTo>
                <a:lnTo>
                  <a:pt x="977" y="741"/>
                </a:lnTo>
                <a:lnTo>
                  <a:pt x="977" y="738"/>
                </a:lnTo>
                <a:lnTo>
                  <a:pt x="979" y="735"/>
                </a:lnTo>
                <a:lnTo>
                  <a:pt x="980" y="738"/>
                </a:lnTo>
                <a:lnTo>
                  <a:pt x="980" y="741"/>
                </a:lnTo>
                <a:lnTo>
                  <a:pt x="980" y="741"/>
                </a:lnTo>
                <a:lnTo>
                  <a:pt x="981" y="742"/>
                </a:lnTo>
                <a:lnTo>
                  <a:pt x="985" y="739"/>
                </a:lnTo>
                <a:lnTo>
                  <a:pt x="989" y="738"/>
                </a:lnTo>
                <a:lnTo>
                  <a:pt x="989" y="737"/>
                </a:lnTo>
                <a:lnTo>
                  <a:pt x="989" y="735"/>
                </a:lnTo>
                <a:lnTo>
                  <a:pt x="989" y="735"/>
                </a:lnTo>
                <a:lnTo>
                  <a:pt x="991" y="737"/>
                </a:lnTo>
                <a:lnTo>
                  <a:pt x="989" y="737"/>
                </a:lnTo>
                <a:lnTo>
                  <a:pt x="989" y="738"/>
                </a:lnTo>
                <a:lnTo>
                  <a:pt x="989" y="746"/>
                </a:lnTo>
                <a:lnTo>
                  <a:pt x="995" y="752"/>
                </a:lnTo>
                <a:lnTo>
                  <a:pt x="995" y="753"/>
                </a:lnTo>
                <a:lnTo>
                  <a:pt x="995" y="753"/>
                </a:lnTo>
                <a:lnTo>
                  <a:pt x="995" y="753"/>
                </a:lnTo>
                <a:lnTo>
                  <a:pt x="991" y="760"/>
                </a:lnTo>
                <a:lnTo>
                  <a:pt x="988" y="768"/>
                </a:lnTo>
                <a:lnTo>
                  <a:pt x="982" y="774"/>
                </a:lnTo>
                <a:lnTo>
                  <a:pt x="984" y="782"/>
                </a:lnTo>
                <a:lnTo>
                  <a:pt x="982" y="783"/>
                </a:lnTo>
                <a:lnTo>
                  <a:pt x="981" y="783"/>
                </a:lnTo>
                <a:lnTo>
                  <a:pt x="975" y="788"/>
                </a:lnTo>
                <a:lnTo>
                  <a:pt x="969" y="793"/>
                </a:lnTo>
                <a:lnTo>
                  <a:pt x="968" y="796"/>
                </a:lnTo>
                <a:lnTo>
                  <a:pt x="967" y="800"/>
                </a:lnTo>
                <a:lnTo>
                  <a:pt x="965" y="804"/>
                </a:lnTo>
                <a:lnTo>
                  <a:pt x="968" y="807"/>
                </a:lnTo>
                <a:lnTo>
                  <a:pt x="968" y="807"/>
                </a:lnTo>
                <a:lnTo>
                  <a:pt x="968" y="807"/>
                </a:lnTo>
                <a:lnTo>
                  <a:pt x="962" y="809"/>
                </a:lnTo>
                <a:lnTo>
                  <a:pt x="957" y="810"/>
                </a:lnTo>
                <a:lnTo>
                  <a:pt x="958" y="816"/>
                </a:lnTo>
                <a:lnTo>
                  <a:pt x="960" y="822"/>
                </a:lnTo>
                <a:lnTo>
                  <a:pt x="965" y="815"/>
                </a:lnTo>
                <a:lnTo>
                  <a:pt x="968" y="807"/>
                </a:lnTo>
                <a:lnTo>
                  <a:pt x="968" y="807"/>
                </a:lnTo>
                <a:lnTo>
                  <a:pt x="968" y="807"/>
                </a:lnTo>
                <a:lnTo>
                  <a:pt x="968" y="807"/>
                </a:lnTo>
                <a:lnTo>
                  <a:pt x="969" y="805"/>
                </a:lnTo>
                <a:lnTo>
                  <a:pt x="971" y="804"/>
                </a:lnTo>
                <a:lnTo>
                  <a:pt x="980" y="801"/>
                </a:lnTo>
                <a:lnTo>
                  <a:pt x="985" y="793"/>
                </a:lnTo>
                <a:lnTo>
                  <a:pt x="989" y="788"/>
                </a:lnTo>
                <a:lnTo>
                  <a:pt x="993" y="784"/>
                </a:lnTo>
                <a:lnTo>
                  <a:pt x="992" y="791"/>
                </a:lnTo>
                <a:lnTo>
                  <a:pt x="987" y="797"/>
                </a:lnTo>
                <a:lnTo>
                  <a:pt x="991" y="800"/>
                </a:lnTo>
                <a:lnTo>
                  <a:pt x="993" y="802"/>
                </a:lnTo>
                <a:lnTo>
                  <a:pt x="992" y="803"/>
                </a:lnTo>
                <a:lnTo>
                  <a:pt x="991" y="804"/>
                </a:lnTo>
                <a:lnTo>
                  <a:pt x="988" y="805"/>
                </a:lnTo>
                <a:lnTo>
                  <a:pt x="987" y="808"/>
                </a:lnTo>
                <a:lnTo>
                  <a:pt x="987" y="809"/>
                </a:lnTo>
                <a:lnTo>
                  <a:pt x="988" y="809"/>
                </a:lnTo>
                <a:lnTo>
                  <a:pt x="991" y="808"/>
                </a:lnTo>
                <a:lnTo>
                  <a:pt x="993" y="805"/>
                </a:lnTo>
                <a:lnTo>
                  <a:pt x="993" y="804"/>
                </a:lnTo>
                <a:lnTo>
                  <a:pt x="993" y="802"/>
                </a:lnTo>
                <a:lnTo>
                  <a:pt x="1002" y="798"/>
                </a:lnTo>
                <a:lnTo>
                  <a:pt x="1010" y="790"/>
                </a:lnTo>
                <a:lnTo>
                  <a:pt x="1003" y="790"/>
                </a:lnTo>
                <a:lnTo>
                  <a:pt x="996" y="791"/>
                </a:lnTo>
                <a:lnTo>
                  <a:pt x="1013" y="781"/>
                </a:lnTo>
                <a:lnTo>
                  <a:pt x="1029" y="772"/>
                </a:lnTo>
                <a:lnTo>
                  <a:pt x="1033" y="769"/>
                </a:lnTo>
                <a:lnTo>
                  <a:pt x="1036" y="770"/>
                </a:lnTo>
                <a:lnTo>
                  <a:pt x="1038" y="770"/>
                </a:lnTo>
                <a:lnTo>
                  <a:pt x="1040" y="770"/>
                </a:lnTo>
                <a:lnTo>
                  <a:pt x="1041" y="767"/>
                </a:lnTo>
                <a:lnTo>
                  <a:pt x="1040" y="765"/>
                </a:lnTo>
                <a:lnTo>
                  <a:pt x="1038" y="763"/>
                </a:lnTo>
                <a:lnTo>
                  <a:pt x="1037" y="765"/>
                </a:lnTo>
                <a:lnTo>
                  <a:pt x="1033" y="765"/>
                </a:lnTo>
                <a:lnTo>
                  <a:pt x="1031" y="761"/>
                </a:lnTo>
                <a:lnTo>
                  <a:pt x="1035" y="760"/>
                </a:lnTo>
                <a:lnTo>
                  <a:pt x="1037" y="759"/>
                </a:lnTo>
                <a:lnTo>
                  <a:pt x="1040" y="758"/>
                </a:lnTo>
                <a:lnTo>
                  <a:pt x="1040" y="755"/>
                </a:lnTo>
                <a:lnTo>
                  <a:pt x="1040" y="755"/>
                </a:lnTo>
                <a:lnTo>
                  <a:pt x="1042" y="755"/>
                </a:lnTo>
                <a:lnTo>
                  <a:pt x="1044" y="753"/>
                </a:lnTo>
                <a:lnTo>
                  <a:pt x="1049" y="754"/>
                </a:lnTo>
                <a:lnTo>
                  <a:pt x="1053" y="752"/>
                </a:lnTo>
                <a:lnTo>
                  <a:pt x="1055" y="751"/>
                </a:lnTo>
                <a:lnTo>
                  <a:pt x="1057" y="752"/>
                </a:lnTo>
                <a:lnTo>
                  <a:pt x="1057" y="753"/>
                </a:lnTo>
                <a:lnTo>
                  <a:pt x="1057" y="754"/>
                </a:lnTo>
                <a:lnTo>
                  <a:pt x="1057" y="754"/>
                </a:lnTo>
                <a:lnTo>
                  <a:pt x="1057" y="754"/>
                </a:lnTo>
                <a:lnTo>
                  <a:pt x="1057" y="754"/>
                </a:lnTo>
                <a:lnTo>
                  <a:pt x="1057" y="754"/>
                </a:lnTo>
                <a:lnTo>
                  <a:pt x="1060" y="754"/>
                </a:lnTo>
                <a:lnTo>
                  <a:pt x="1061" y="752"/>
                </a:lnTo>
                <a:lnTo>
                  <a:pt x="1061" y="752"/>
                </a:lnTo>
                <a:lnTo>
                  <a:pt x="1061" y="752"/>
                </a:lnTo>
                <a:lnTo>
                  <a:pt x="1062" y="754"/>
                </a:lnTo>
                <a:lnTo>
                  <a:pt x="1062" y="758"/>
                </a:lnTo>
                <a:lnTo>
                  <a:pt x="1065" y="755"/>
                </a:lnTo>
                <a:lnTo>
                  <a:pt x="1069" y="754"/>
                </a:lnTo>
                <a:lnTo>
                  <a:pt x="1070" y="758"/>
                </a:lnTo>
                <a:lnTo>
                  <a:pt x="1074" y="758"/>
                </a:lnTo>
                <a:lnTo>
                  <a:pt x="1081" y="753"/>
                </a:lnTo>
                <a:lnTo>
                  <a:pt x="1086" y="744"/>
                </a:lnTo>
                <a:lnTo>
                  <a:pt x="1085" y="744"/>
                </a:lnTo>
                <a:lnTo>
                  <a:pt x="1085" y="742"/>
                </a:lnTo>
                <a:lnTo>
                  <a:pt x="1079" y="747"/>
                </a:lnTo>
                <a:lnTo>
                  <a:pt x="1072" y="746"/>
                </a:lnTo>
                <a:lnTo>
                  <a:pt x="1071" y="747"/>
                </a:lnTo>
                <a:lnTo>
                  <a:pt x="1069" y="747"/>
                </a:lnTo>
                <a:lnTo>
                  <a:pt x="1069" y="748"/>
                </a:lnTo>
                <a:lnTo>
                  <a:pt x="1069" y="749"/>
                </a:lnTo>
                <a:lnTo>
                  <a:pt x="1068" y="749"/>
                </a:lnTo>
                <a:lnTo>
                  <a:pt x="1067" y="747"/>
                </a:lnTo>
                <a:lnTo>
                  <a:pt x="1068" y="747"/>
                </a:lnTo>
                <a:lnTo>
                  <a:pt x="1069" y="747"/>
                </a:lnTo>
                <a:lnTo>
                  <a:pt x="1071" y="747"/>
                </a:lnTo>
                <a:lnTo>
                  <a:pt x="1072" y="746"/>
                </a:lnTo>
                <a:lnTo>
                  <a:pt x="1074" y="745"/>
                </a:lnTo>
                <a:lnTo>
                  <a:pt x="1074" y="744"/>
                </a:lnTo>
                <a:lnTo>
                  <a:pt x="1074" y="742"/>
                </a:lnTo>
                <a:lnTo>
                  <a:pt x="1077" y="741"/>
                </a:lnTo>
                <a:lnTo>
                  <a:pt x="1079" y="738"/>
                </a:lnTo>
                <a:lnTo>
                  <a:pt x="1081" y="738"/>
                </a:lnTo>
                <a:lnTo>
                  <a:pt x="1082" y="737"/>
                </a:lnTo>
                <a:lnTo>
                  <a:pt x="1082" y="737"/>
                </a:lnTo>
                <a:lnTo>
                  <a:pt x="1081" y="735"/>
                </a:lnTo>
                <a:lnTo>
                  <a:pt x="1085" y="734"/>
                </a:lnTo>
                <a:lnTo>
                  <a:pt x="1089" y="733"/>
                </a:lnTo>
                <a:lnTo>
                  <a:pt x="1092" y="732"/>
                </a:lnTo>
                <a:lnTo>
                  <a:pt x="1092" y="730"/>
                </a:lnTo>
                <a:lnTo>
                  <a:pt x="1090" y="726"/>
                </a:lnTo>
                <a:lnTo>
                  <a:pt x="1086" y="727"/>
                </a:lnTo>
                <a:lnTo>
                  <a:pt x="1084" y="727"/>
                </a:lnTo>
                <a:lnTo>
                  <a:pt x="1083" y="725"/>
                </a:lnTo>
                <a:lnTo>
                  <a:pt x="1082" y="725"/>
                </a:lnTo>
                <a:lnTo>
                  <a:pt x="1081" y="726"/>
                </a:lnTo>
                <a:lnTo>
                  <a:pt x="1082" y="725"/>
                </a:lnTo>
                <a:lnTo>
                  <a:pt x="1083" y="725"/>
                </a:lnTo>
                <a:lnTo>
                  <a:pt x="1084" y="724"/>
                </a:lnTo>
                <a:lnTo>
                  <a:pt x="1084" y="723"/>
                </a:lnTo>
                <a:lnTo>
                  <a:pt x="1089" y="719"/>
                </a:lnTo>
                <a:lnTo>
                  <a:pt x="1095" y="718"/>
                </a:lnTo>
                <a:lnTo>
                  <a:pt x="1097" y="720"/>
                </a:lnTo>
                <a:lnTo>
                  <a:pt x="1099" y="721"/>
                </a:lnTo>
                <a:lnTo>
                  <a:pt x="1099" y="724"/>
                </a:lnTo>
                <a:lnTo>
                  <a:pt x="1100" y="724"/>
                </a:lnTo>
                <a:lnTo>
                  <a:pt x="1102" y="724"/>
                </a:lnTo>
                <a:lnTo>
                  <a:pt x="1102" y="723"/>
                </a:lnTo>
                <a:lnTo>
                  <a:pt x="1105" y="721"/>
                </a:lnTo>
                <a:lnTo>
                  <a:pt x="1109" y="720"/>
                </a:lnTo>
                <a:lnTo>
                  <a:pt x="1109" y="720"/>
                </a:lnTo>
                <a:lnTo>
                  <a:pt x="1109" y="720"/>
                </a:lnTo>
                <a:lnTo>
                  <a:pt x="1109" y="720"/>
                </a:lnTo>
                <a:lnTo>
                  <a:pt x="1109" y="720"/>
                </a:lnTo>
                <a:lnTo>
                  <a:pt x="1113" y="719"/>
                </a:lnTo>
                <a:lnTo>
                  <a:pt x="1118" y="717"/>
                </a:lnTo>
                <a:lnTo>
                  <a:pt x="1115" y="716"/>
                </a:lnTo>
                <a:lnTo>
                  <a:pt x="1113" y="713"/>
                </a:lnTo>
                <a:lnTo>
                  <a:pt x="1117" y="711"/>
                </a:lnTo>
                <a:lnTo>
                  <a:pt x="1119" y="711"/>
                </a:lnTo>
                <a:lnTo>
                  <a:pt x="1124" y="712"/>
                </a:lnTo>
                <a:lnTo>
                  <a:pt x="1127" y="712"/>
                </a:lnTo>
                <a:lnTo>
                  <a:pt x="1129" y="707"/>
                </a:lnTo>
                <a:lnTo>
                  <a:pt x="1127" y="704"/>
                </a:lnTo>
                <a:lnTo>
                  <a:pt x="1125" y="706"/>
                </a:lnTo>
                <a:lnTo>
                  <a:pt x="1123" y="706"/>
                </a:lnTo>
                <a:lnTo>
                  <a:pt x="1117" y="707"/>
                </a:lnTo>
                <a:lnTo>
                  <a:pt x="1113" y="713"/>
                </a:lnTo>
                <a:lnTo>
                  <a:pt x="1110" y="717"/>
                </a:lnTo>
                <a:lnTo>
                  <a:pt x="1109" y="720"/>
                </a:lnTo>
                <a:lnTo>
                  <a:pt x="1102" y="717"/>
                </a:lnTo>
                <a:lnTo>
                  <a:pt x="1095" y="718"/>
                </a:lnTo>
                <a:lnTo>
                  <a:pt x="1100" y="712"/>
                </a:lnTo>
                <a:lnTo>
                  <a:pt x="1107" y="709"/>
                </a:lnTo>
                <a:lnTo>
                  <a:pt x="1109" y="709"/>
                </a:lnTo>
                <a:lnTo>
                  <a:pt x="1109" y="706"/>
                </a:lnTo>
                <a:lnTo>
                  <a:pt x="1109" y="704"/>
                </a:lnTo>
                <a:lnTo>
                  <a:pt x="1111" y="704"/>
                </a:lnTo>
                <a:lnTo>
                  <a:pt x="1111" y="704"/>
                </a:lnTo>
                <a:lnTo>
                  <a:pt x="1111" y="704"/>
                </a:lnTo>
                <a:lnTo>
                  <a:pt x="1112" y="705"/>
                </a:lnTo>
                <a:lnTo>
                  <a:pt x="1115" y="705"/>
                </a:lnTo>
                <a:lnTo>
                  <a:pt x="1115" y="705"/>
                </a:lnTo>
                <a:lnTo>
                  <a:pt x="1115" y="704"/>
                </a:lnTo>
                <a:lnTo>
                  <a:pt x="1113" y="704"/>
                </a:lnTo>
                <a:lnTo>
                  <a:pt x="1111" y="704"/>
                </a:lnTo>
                <a:lnTo>
                  <a:pt x="1112" y="702"/>
                </a:lnTo>
                <a:lnTo>
                  <a:pt x="1112" y="699"/>
                </a:lnTo>
                <a:lnTo>
                  <a:pt x="1116" y="700"/>
                </a:lnTo>
                <a:lnTo>
                  <a:pt x="1120" y="700"/>
                </a:lnTo>
                <a:lnTo>
                  <a:pt x="1123" y="700"/>
                </a:lnTo>
                <a:lnTo>
                  <a:pt x="1124" y="698"/>
                </a:lnTo>
                <a:lnTo>
                  <a:pt x="1123" y="696"/>
                </a:lnTo>
                <a:lnTo>
                  <a:pt x="1120" y="696"/>
                </a:lnTo>
                <a:lnTo>
                  <a:pt x="1119" y="696"/>
                </a:lnTo>
                <a:lnTo>
                  <a:pt x="1119" y="696"/>
                </a:lnTo>
                <a:lnTo>
                  <a:pt x="1118" y="697"/>
                </a:lnTo>
                <a:lnTo>
                  <a:pt x="1116" y="696"/>
                </a:lnTo>
                <a:lnTo>
                  <a:pt x="1117" y="696"/>
                </a:lnTo>
                <a:lnTo>
                  <a:pt x="1119" y="696"/>
                </a:lnTo>
                <a:lnTo>
                  <a:pt x="1119" y="696"/>
                </a:lnTo>
                <a:lnTo>
                  <a:pt x="1120" y="696"/>
                </a:lnTo>
                <a:lnTo>
                  <a:pt x="1117" y="692"/>
                </a:lnTo>
                <a:lnTo>
                  <a:pt x="1112" y="696"/>
                </a:lnTo>
                <a:lnTo>
                  <a:pt x="1109" y="695"/>
                </a:lnTo>
                <a:lnTo>
                  <a:pt x="1107" y="691"/>
                </a:lnTo>
                <a:lnTo>
                  <a:pt x="1106" y="689"/>
                </a:lnTo>
                <a:lnTo>
                  <a:pt x="1104" y="689"/>
                </a:lnTo>
                <a:lnTo>
                  <a:pt x="1098" y="692"/>
                </a:lnTo>
                <a:lnTo>
                  <a:pt x="1091" y="693"/>
                </a:lnTo>
                <a:lnTo>
                  <a:pt x="1089" y="693"/>
                </a:lnTo>
                <a:lnTo>
                  <a:pt x="1088" y="691"/>
                </a:lnTo>
                <a:lnTo>
                  <a:pt x="1088" y="688"/>
                </a:lnTo>
                <a:lnTo>
                  <a:pt x="1084" y="686"/>
                </a:lnTo>
                <a:lnTo>
                  <a:pt x="1082" y="684"/>
                </a:lnTo>
                <a:lnTo>
                  <a:pt x="1078" y="681"/>
                </a:lnTo>
                <a:lnTo>
                  <a:pt x="1092" y="677"/>
                </a:lnTo>
                <a:lnTo>
                  <a:pt x="1109" y="668"/>
                </a:lnTo>
                <a:lnTo>
                  <a:pt x="1105" y="667"/>
                </a:lnTo>
                <a:lnTo>
                  <a:pt x="1103" y="667"/>
                </a:lnTo>
                <a:lnTo>
                  <a:pt x="1095" y="665"/>
                </a:lnTo>
                <a:lnTo>
                  <a:pt x="1091" y="661"/>
                </a:lnTo>
                <a:lnTo>
                  <a:pt x="1085" y="656"/>
                </a:lnTo>
                <a:lnTo>
                  <a:pt x="1082" y="662"/>
                </a:lnTo>
                <a:lnTo>
                  <a:pt x="1081" y="657"/>
                </a:lnTo>
                <a:lnTo>
                  <a:pt x="1081" y="654"/>
                </a:lnTo>
                <a:lnTo>
                  <a:pt x="1082" y="651"/>
                </a:lnTo>
                <a:lnTo>
                  <a:pt x="1081" y="650"/>
                </a:lnTo>
                <a:lnTo>
                  <a:pt x="1072" y="649"/>
                </a:lnTo>
                <a:lnTo>
                  <a:pt x="1065" y="646"/>
                </a:lnTo>
                <a:lnTo>
                  <a:pt x="1067" y="644"/>
                </a:lnTo>
                <a:lnTo>
                  <a:pt x="1068" y="642"/>
                </a:lnTo>
                <a:lnTo>
                  <a:pt x="1074" y="636"/>
                </a:lnTo>
                <a:lnTo>
                  <a:pt x="1076" y="628"/>
                </a:lnTo>
                <a:lnTo>
                  <a:pt x="1076" y="626"/>
                </a:lnTo>
                <a:lnTo>
                  <a:pt x="1074" y="626"/>
                </a:lnTo>
                <a:lnTo>
                  <a:pt x="1071" y="627"/>
                </a:lnTo>
                <a:lnTo>
                  <a:pt x="1069" y="626"/>
                </a:lnTo>
                <a:lnTo>
                  <a:pt x="1069" y="622"/>
                </a:lnTo>
                <a:lnTo>
                  <a:pt x="1074" y="621"/>
                </a:lnTo>
                <a:lnTo>
                  <a:pt x="1076" y="620"/>
                </a:lnTo>
                <a:lnTo>
                  <a:pt x="1077" y="618"/>
                </a:lnTo>
                <a:lnTo>
                  <a:pt x="1075" y="616"/>
                </a:lnTo>
                <a:lnTo>
                  <a:pt x="1072" y="616"/>
                </a:lnTo>
                <a:lnTo>
                  <a:pt x="1072" y="616"/>
                </a:lnTo>
                <a:lnTo>
                  <a:pt x="1072" y="614"/>
                </a:lnTo>
                <a:lnTo>
                  <a:pt x="1075" y="612"/>
                </a:lnTo>
                <a:lnTo>
                  <a:pt x="1083" y="609"/>
                </a:lnTo>
                <a:lnTo>
                  <a:pt x="1088" y="602"/>
                </a:lnTo>
                <a:lnTo>
                  <a:pt x="1091" y="600"/>
                </a:lnTo>
                <a:lnTo>
                  <a:pt x="1095" y="601"/>
                </a:lnTo>
                <a:lnTo>
                  <a:pt x="1096" y="602"/>
                </a:lnTo>
                <a:lnTo>
                  <a:pt x="1097" y="601"/>
                </a:lnTo>
                <a:lnTo>
                  <a:pt x="1099" y="598"/>
                </a:lnTo>
                <a:lnTo>
                  <a:pt x="1097" y="593"/>
                </a:lnTo>
                <a:lnTo>
                  <a:pt x="1095" y="590"/>
                </a:lnTo>
                <a:lnTo>
                  <a:pt x="1098" y="586"/>
                </a:lnTo>
                <a:lnTo>
                  <a:pt x="1100" y="586"/>
                </a:lnTo>
                <a:lnTo>
                  <a:pt x="1103" y="585"/>
                </a:lnTo>
                <a:lnTo>
                  <a:pt x="1100" y="583"/>
                </a:lnTo>
                <a:lnTo>
                  <a:pt x="1098" y="581"/>
                </a:lnTo>
                <a:lnTo>
                  <a:pt x="1095" y="580"/>
                </a:lnTo>
                <a:lnTo>
                  <a:pt x="1096" y="577"/>
                </a:lnTo>
                <a:lnTo>
                  <a:pt x="1096" y="574"/>
                </a:lnTo>
                <a:lnTo>
                  <a:pt x="1098" y="574"/>
                </a:lnTo>
                <a:lnTo>
                  <a:pt x="1100" y="576"/>
                </a:lnTo>
                <a:lnTo>
                  <a:pt x="1103" y="576"/>
                </a:lnTo>
                <a:lnTo>
                  <a:pt x="1099" y="570"/>
                </a:lnTo>
                <a:lnTo>
                  <a:pt x="1100" y="563"/>
                </a:lnTo>
                <a:lnTo>
                  <a:pt x="1102" y="569"/>
                </a:lnTo>
                <a:lnTo>
                  <a:pt x="1107" y="569"/>
                </a:lnTo>
                <a:lnTo>
                  <a:pt x="1109" y="569"/>
                </a:lnTo>
                <a:lnTo>
                  <a:pt x="1110" y="567"/>
                </a:lnTo>
                <a:lnTo>
                  <a:pt x="1109" y="566"/>
                </a:lnTo>
                <a:lnTo>
                  <a:pt x="1109" y="565"/>
                </a:lnTo>
                <a:lnTo>
                  <a:pt x="1104" y="564"/>
                </a:lnTo>
                <a:lnTo>
                  <a:pt x="1102" y="559"/>
                </a:lnTo>
                <a:lnTo>
                  <a:pt x="1099" y="556"/>
                </a:lnTo>
                <a:lnTo>
                  <a:pt x="1096" y="552"/>
                </a:lnTo>
                <a:lnTo>
                  <a:pt x="1096" y="564"/>
                </a:lnTo>
                <a:lnTo>
                  <a:pt x="1086" y="571"/>
                </a:lnTo>
                <a:lnTo>
                  <a:pt x="1085" y="572"/>
                </a:lnTo>
                <a:lnTo>
                  <a:pt x="1083" y="573"/>
                </a:lnTo>
                <a:lnTo>
                  <a:pt x="1084" y="579"/>
                </a:lnTo>
                <a:lnTo>
                  <a:pt x="1081" y="583"/>
                </a:lnTo>
                <a:lnTo>
                  <a:pt x="1077" y="581"/>
                </a:lnTo>
                <a:lnTo>
                  <a:pt x="1077" y="577"/>
                </a:lnTo>
                <a:lnTo>
                  <a:pt x="1077" y="576"/>
                </a:lnTo>
                <a:lnTo>
                  <a:pt x="1076" y="574"/>
                </a:lnTo>
                <a:lnTo>
                  <a:pt x="1075" y="574"/>
                </a:lnTo>
                <a:lnTo>
                  <a:pt x="1075" y="576"/>
                </a:lnTo>
                <a:lnTo>
                  <a:pt x="1071" y="579"/>
                </a:lnTo>
                <a:lnTo>
                  <a:pt x="1065" y="579"/>
                </a:lnTo>
                <a:lnTo>
                  <a:pt x="1067" y="583"/>
                </a:lnTo>
                <a:lnTo>
                  <a:pt x="1068" y="585"/>
                </a:lnTo>
                <a:lnTo>
                  <a:pt x="1069" y="591"/>
                </a:lnTo>
                <a:lnTo>
                  <a:pt x="1063" y="592"/>
                </a:lnTo>
                <a:lnTo>
                  <a:pt x="1061" y="592"/>
                </a:lnTo>
                <a:lnTo>
                  <a:pt x="1060" y="593"/>
                </a:lnTo>
                <a:lnTo>
                  <a:pt x="1056" y="597"/>
                </a:lnTo>
                <a:lnTo>
                  <a:pt x="1055" y="592"/>
                </a:lnTo>
                <a:lnTo>
                  <a:pt x="1054" y="591"/>
                </a:lnTo>
                <a:lnTo>
                  <a:pt x="1053" y="591"/>
                </a:lnTo>
                <a:lnTo>
                  <a:pt x="1048" y="594"/>
                </a:lnTo>
                <a:lnTo>
                  <a:pt x="1044" y="600"/>
                </a:lnTo>
                <a:lnTo>
                  <a:pt x="1042" y="600"/>
                </a:lnTo>
                <a:lnTo>
                  <a:pt x="1040" y="600"/>
                </a:lnTo>
                <a:lnTo>
                  <a:pt x="1038" y="595"/>
                </a:lnTo>
                <a:lnTo>
                  <a:pt x="1038" y="591"/>
                </a:lnTo>
                <a:lnTo>
                  <a:pt x="1042" y="586"/>
                </a:lnTo>
                <a:lnTo>
                  <a:pt x="1042" y="583"/>
                </a:lnTo>
                <a:lnTo>
                  <a:pt x="1041" y="578"/>
                </a:lnTo>
                <a:lnTo>
                  <a:pt x="1041" y="574"/>
                </a:lnTo>
                <a:lnTo>
                  <a:pt x="1044" y="573"/>
                </a:lnTo>
                <a:lnTo>
                  <a:pt x="1048" y="573"/>
                </a:lnTo>
                <a:lnTo>
                  <a:pt x="1049" y="574"/>
                </a:lnTo>
                <a:lnTo>
                  <a:pt x="1051" y="574"/>
                </a:lnTo>
                <a:lnTo>
                  <a:pt x="1051" y="574"/>
                </a:lnTo>
                <a:lnTo>
                  <a:pt x="1051" y="573"/>
                </a:lnTo>
                <a:lnTo>
                  <a:pt x="1050" y="573"/>
                </a:lnTo>
                <a:lnTo>
                  <a:pt x="1048" y="573"/>
                </a:lnTo>
                <a:lnTo>
                  <a:pt x="1048" y="570"/>
                </a:lnTo>
                <a:lnTo>
                  <a:pt x="1044" y="569"/>
                </a:lnTo>
                <a:lnTo>
                  <a:pt x="1041" y="571"/>
                </a:lnTo>
                <a:lnTo>
                  <a:pt x="1041" y="574"/>
                </a:lnTo>
                <a:lnTo>
                  <a:pt x="1036" y="573"/>
                </a:lnTo>
                <a:lnTo>
                  <a:pt x="1035" y="569"/>
                </a:lnTo>
                <a:lnTo>
                  <a:pt x="1036" y="563"/>
                </a:lnTo>
                <a:lnTo>
                  <a:pt x="1041" y="558"/>
                </a:lnTo>
                <a:lnTo>
                  <a:pt x="1043" y="559"/>
                </a:lnTo>
                <a:lnTo>
                  <a:pt x="1046" y="562"/>
                </a:lnTo>
                <a:lnTo>
                  <a:pt x="1047" y="558"/>
                </a:lnTo>
                <a:lnTo>
                  <a:pt x="1048" y="555"/>
                </a:lnTo>
                <a:lnTo>
                  <a:pt x="1043" y="556"/>
                </a:lnTo>
                <a:lnTo>
                  <a:pt x="1038" y="555"/>
                </a:lnTo>
                <a:lnTo>
                  <a:pt x="1034" y="552"/>
                </a:lnTo>
                <a:lnTo>
                  <a:pt x="1030" y="550"/>
                </a:lnTo>
                <a:lnTo>
                  <a:pt x="1029" y="542"/>
                </a:lnTo>
                <a:lnTo>
                  <a:pt x="1031" y="535"/>
                </a:lnTo>
                <a:lnTo>
                  <a:pt x="1031" y="534"/>
                </a:lnTo>
                <a:lnTo>
                  <a:pt x="1030" y="534"/>
                </a:lnTo>
                <a:lnTo>
                  <a:pt x="1027" y="530"/>
                </a:lnTo>
                <a:lnTo>
                  <a:pt x="1027" y="525"/>
                </a:lnTo>
                <a:lnTo>
                  <a:pt x="1020" y="523"/>
                </a:lnTo>
                <a:lnTo>
                  <a:pt x="1020" y="515"/>
                </a:lnTo>
                <a:lnTo>
                  <a:pt x="1017" y="523"/>
                </a:lnTo>
                <a:lnTo>
                  <a:pt x="1017" y="530"/>
                </a:lnTo>
                <a:lnTo>
                  <a:pt x="1015" y="525"/>
                </a:lnTo>
                <a:lnTo>
                  <a:pt x="1010" y="524"/>
                </a:lnTo>
                <a:lnTo>
                  <a:pt x="1009" y="527"/>
                </a:lnTo>
                <a:lnTo>
                  <a:pt x="1007" y="530"/>
                </a:lnTo>
                <a:lnTo>
                  <a:pt x="1006" y="525"/>
                </a:lnTo>
                <a:lnTo>
                  <a:pt x="1010" y="524"/>
                </a:lnTo>
                <a:lnTo>
                  <a:pt x="1009" y="516"/>
                </a:lnTo>
                <a:lnTo>
                  <a:pt x="1008" y="508"/>
                </a:lnTo>
                <a:lnTo>
                  <a:pt x="1003" y="511"/>
                </a:lnTo>
                <a:lnTo>
                  <a:pt x="1002" y="516"/>
                </a:lnTo>
                <a:lnTo>
                  <a:pt x="1000" y="515"/>
                </a:lnTo>
                <a:lnTo>
                  <a:pt x="999" y="514"/>
                </a:lnTo>
                <a:lnTo>
                  <a:pt x="996" y="510"/>
                </a:lnTo>
                <a:lnTo>
                  <a:pt x="994" y="507"/>
                </a:lnTo>
                <a:lnTo>
                  <a:pt x="993" y="503"/>
                </a:lnTo>
                <a:lnTo>
                  <a:pt x="994" y="500"/>
                </a:lnTo>
                <a:lnTo>
                  <a:pt x="996" y="500"/>
                </a:lnTo>
                <a:lnTo>
                  <a:pt x="999" y="502"/>
                </a:lnTo>
                <a:lnTo>
                  <a:pt x="1000" y="502"/>
                </a:lnTo>
                <a:lnTo>
                  <a:pt x="1001" y="502"/>
                </a:lnTo>
                <a:lnTo>
                  <a:pt x="1002" y="503"/>
                </a:lnTo>
                <a:lnTo>
                  <a:pt x="1002" y="504"/>
                </a:lnTo>
                <a:lnTo>
                  <a:pt x="1002" y="504"/>
                </a:lnTo>
                <a:lnTo>
                  <a:pt x="1002" y="506"/>
                </a:lnTo>
                <a:lnTo>
                  <a:pt x="1002" y="504"/>
                </a:lnTo>
                <a:lnTo>
                  <a:pt x="1002" y="504"/>
                </a:lnTo>
                <a:lnTo>
                  <a:pt x="1005" y="503"/>
                </a:lnTo>
                <a:lnTo>
                  <a:pt x="1002" y="501"/>
                </a:lnTo>
                <a:lnTo>
                  <a:pt x="1002" y="500"/>
                </a:lnTo>
                <a:lnTo>
                  <a:pt x="1003" y="497"/>
                </a:lnTo>
                <a:lnTo>
                  <a:pt x="1005" y="497"/>
                </a:lnTo>
                <a:lnTo>
                  <a:pt x="1005" y="497"/>
                </a:lnTo>
                <a:lnTo>
                  <a:pt x="1007" y="493"/>
                </a:lnTo>
                <a:lnTo>
                  <a:pt x="1010" y="495"/>
                </a:lnTo>
                <a:lnTo>
                  <a:pt x="1014" y="497"/>
                </a:lnTo>
                <a:lnTo>
                  <a:pt x="1019" y="499"/>
                </a:lnTo>
                <a:lnTo>
                  <a:pt x="1021" y="499"/>
                </a:lnTo>
                <a:lnTo>
                  <a:pt x="1023" y="496"/>
                </a:lnTo>
                <a:lnTo>
                  <a:pt x="1022" y="493"/>
                </a:lnTo>
                <a:lnTo>
                  <a:pt x="1020" y="489"/>
                </a:lnTo>
                <a:lnTo>
                  <a:pt x="1017" y="488"/>
                </a:lnTo>
                <a:lnTo>
                  <a:pt x="1015" y="490"/>
                </a:lnTo>
                <a:lnTo>
                  <a:pt x="1014" y="493"/>
                </a:lnTo>
                <a:lnTo>
                  <a:pt x="1013" y="493"/>
                </a:lnTo>
                <a:lnTo>
                  <a:pt x="1012" y="492"/>
                </a:lnTo>
                <a:lnTo>
                  <a:pt x="1012" y="489"/>
                </a:lnTo>
                <a:lnTo>
                  <a:pt x="1013" y="486"/>
                </a:lnTo>
                <a:lnTo>
                  <a:pt x="1014" y="482"/>
                </a:lnTo>
                <a:lnTo>
                  <a:pt x="1014" y="482"/>
                </a:lnTo>
                <a:lnTo>
                  <a:pt x="1014" y="482"/>
                </a:lnTo>
                <a:lnTo>
                  <a:pt x="1016" y="482"/>
                </a:lnTo>
                <a:lnTo>
                  <a:pt x="1019" y="482"/>
                </a:lnTo>
                <a:lnTo>
                  <a:pt x="1020" y="485"/>
                </a:lnTo>
                <a:lnTo>
                  <a:pt x="1022" y="486"/>
                </a:lnTo>
                <a:lnTo>
                  <a:pt x="1023" y="485"/>
                </a:lnTo>
                <a:lnTo>
                  <a:pt x="1023" y="483"/>
                </a:lnTo>
                <a:lnTo>
                  <a:pt x="1022" y="481"/>
                </a:lnTo>
                <a:lnTo>
                  <a:pt x="1019" y="481"/>
                </a:lnTo>
                <a:lnTo>
                  <a:pt x="1019" y="478"/>
                </a:lnTo>
                <a:lnTo>
                  <a:pt x="1020" y="475"/>
                </a:lnTo>
                <a:lnTo>
                  <a:pt x="1022" y="476"/>
                </a:lnTo>
                <a:lnTo>
                  <a:pt x="1024" y="479"/>
                </a:lnTo>
                <a:lnTo>
                  <a:pt x="1022" y="468"/>
                </a:lnTo>
                <a:lnTo>
                  <a:pt x="1014" y="465"/>
                </a:lnTo>
                <a:lnTo>
                  <a:pt x="1016" y="469"/>
                </a:lnTo>
                <a:lnTo>
                  <a:pt x="1019" y="473"/>
                </a:lnTo>
                <a:lnTo>
                  <a:pt x="1014" y="473"/>
                </a:lnTo>
                <a:lnTo>
                  <a:pt x="1010" y="471"/>
                </a:lnTo>
                <a:lnTo>
                  <a:pt x="1010" y="474"/>
                </a:lnTo>
                <a:lnTo>
                  <a:pt x="1012" y="475"/>
                </a:lnTo>
                <a:lnTo>
                  <a:pt x="1016" y="478"/>
                </a:lnTo>
                <a:lnTo>
                  <a:pt x="1014" y="482"/>
                </a:lnTo>
                <a:lnTo>
                  <a:pt x="1010" y="479"/>
                </a:lnTo>
                <a:lnTo>
                  <a:pt x="1006" y="478"/>
                </a:lnTo>
                <a:lnTo>
                  <a:pt x="1006" y="476"/>
                </a:lnTo>
                <a:lnTo>
                  <a:pt x="1006" y="474"/>
                </a:lnTo>
                <a:lnTo>
                  <a:pt x="1005" y="475"/>
                </a:lnTo>
                <a:lnTo>
                  <a:pt x="1003" y="475"/>
                </a:lnTo>
                <a:lnTo>
                  <a:pt x="1005" y="478"/>
                </a:lnTo>
                <a:lnTo>
                  <a:pt x="1006" y="478"/>
                </a:lnTo>
                <a:lnTo>
                  <a:pt x="1005" y="482"/>
                </a:lnTo>
                <a:lnTo>
                  <a:pt x="1002" y="486"/>
                </a:lnTo>
                <a:lnTo>
                  <a:pt x="1006" y="485"/>
                </a:lnTo>
                <a:lnTo>
                  <a:pt x="1009" y="482"/>
                </a:lnTo>
                <a:lnTo>
                  <a:pt x="1009" y="487"/>
                </a:lnTo>
                <a:lnTo>
                  <a:pt x="1005" y="489"/>
                </a:lnTo>
                <a:lnTo>
                  <a:pt x="1002" y="489"/>
                </a:lnTo>
                <a:lnTo>
                  <a:pt x="1002" y="486"/>
                </a:lnTo>
                <a:lnTo>
                  <a:pt x="999" y="487"/>
                </a:lnTo>
                <a:lnTo>
                  <a:pt x="995" y="486"/>
                </a:lnTo>
                <a:lnTo>
                  <a:pt x="994" y="485"/>
                </a:lnTo>
                <a:lnTo>
                  <a:pt x="992" y="485"/>
                </a:lnTo>
                <a:lnTo>
                  <a:pt x="991" y="487"/>
                </a:lnTo>
                <a:lnTo>
                  <a:pt x="993" y="489"/>
                </a:lnTo>
                <a:lnTo>
                  <a:pt x="996" y="492"/>
                </a:lnTo>
                <a:lnTo>
                  <a:pt x="998" y="496"/>
                </a:lnTo>
                <a:lnTo>
                  <a:pt x="995" y="496"/>
                </a:lnTo>
                <a:lnTo>
                  <a:pt x="993" y="495"/>
                </a:lnTo>
                <a:lnTo>
                  <a:pt x="989" y="493"/>
                </a:lnTo>
                <a:lnTo>
                  <a:pt x="985" y="493"/>
                </a:lnTo>
                <a:lnTo>
                  <a:pt x="986" y="490"/>
                </a:lnTo>
                <a:lnTo>
                  <a:pt x="984" y="488"/>
                </a:lnTo>
                <a:lnTo>
                  <a:pt x="981" y="487"/>
                </a:lnTo>
                <a:lnTo>
                  <a:pt x="981" y="485"/>
                </a:lnTo>
                <a:lnTo>
                  <a:pt x="982" y="482"/>
                </a:lnTo>
                <a:lnTo>
                  <a:pt x="980" y="481"/>
                </a:lnTo>
                <a:lnTo>
                  <a:pt x="977" y="481"/>
                </a:lnTo>
                <a:lnTo>
                  <a:pt x="972" y="481"/>
                </a:lnTo>
                <a:lnTo>
                  <a:pt x="973" y="476"/>
                </a:lnTo>
                <a:lnTo>
                  <a:pt x="968" y="474"/>
                </a:lnTo>
                <a:lnTo>
                  <a:pt x="965" y="473"/>
                </a:lnTo>
                <a:lnTo>
                  <a:pt x="961" y="472"/>
                </a:lnTo>
                <a:lnTo>
                  <a:pt x="957" y="471"/>
                </a:lnTo>
                <a:lnTo>
                  <a:pt x="955" y="474"/>
                </a:lnTo>
                <a:lnTo>
                  <a:pt x="952" y="471"/>
                </a:lnTo>
                <a:lnTo>
                  <a:pt x="946" y="468"/>
                </a:lnTo>
                <a:lnTo>
                  <a:pt x="939" y="466"/>
                </a:lnTo>
                <a:lnTo>
                  <a:pt x="936" y="460"/>
                </a:lnTo>
                <a:lnTo>
                  <a:pt x="939" y="460"/>
                </a:lnTo>
                <a:lnTo>
                  <a:pt x="943" y="460"/>
                </a:lnTo>
                <a:lnTo>
                  <a:pt x="945" y="459"/>
                </a:lnTo>
                <a:lnTo>
                  <a:pt x="946" y="460"/>
                </a:lnTo>
                <a:lnTo>
                  <a:pt x="947" y="462"/>
                </a:lnTo>
                <a:lnTo>
                  <a:pt x="950" y="462"/>
                </a:lnTo>
                <a:lnTo>
                  <a:pt x="951" y="461"/>
                </a:lnTo>
                <a:lnTo>
                  <a:pt x="951" y="459"/>
                </a:lnTo>
                <a:lnTo>
                  <a:pt x="951" y="457"/>
                </a:lnTo>
                <a:lnTo>
                  <a:pt x="948" y="455"/>
                </a:lnTo>
                <a:lnTo>
                  <a:pt x="945" y="457"/>
                </a:lnTo>
                <a:lnTo>
                  <a:pt x="943" y="457"/>
                </a:lnTo>
                <a:lnTo>
                  <a:pt x="943" y="458"/>
                </a:lnTo>
                <a:lnTo>
                  <a:pt x="943" y="459"/>
                </a:lnTo>
                <a:lnTo>
                  <a:pt x="943" y="459"/>
                </a:lnTo>
                <a:lnTo>
                  <a:pt x="941" y="458"/>
                </a:lnTo>
                <a:lnTo>
                  <a:pt x="941" y="458"/>
                </a:lnTo>
                <a:lnTo>
                  <a:pt x="941" y="457"/>
                </a:lnTo>
                <a:lnTo>
                  <a:pt x="943" y="457"/>
                </a:lnTo>
                <a:lnTo>
                  <a:pt x="943" y="453"/>
                </a:lnTo>
                <a:lnTo>
                  <a:pt x="940" y="451"/>
                </a:lnTo>
                <a:lnTo>
                  <a:pt x="938" y="447"/>
                </a:lnTo>
                <a:lnTo>
                  <a:pt x="936" y="443"/>
                </a:lnTo>
                <a:lnTo>
                  <a:pt x="938" y="440"/>
                </a:lnTo>
                <a:lnTo>
                  <a:pt x="938" y="437"/>
                </a:lnTo>
                <a:lnTo>
                  <a:pt x="933" y="437"/>
                </a:lnTo>
                <a:lnTo>
                  <a:pt x="931" y="437"/>
                </a:lnTo>
                <a:lnTo>
                  <a:pt x="926" y="438"/>
                </a:lnTo>
                <a:lnTo>
                  <a:pt x="924" y="434"/>
                </a:lnTo>
                <a:lnTo>
                  <a:pt x="926" y="433"/>
                </a:lnTo>
                <a:lnTo>
                  <a:pt x="927" y="431"/>
                </a:lnTo>
                <a:lnTo>
                  <a:pt x="929" y="431"/>
                </a:lnTo>
                <a:lnTo>
                  <a:pt x="929" y="431"/>
                </a:lnTo>
                <a:lnTo>
                  <a:pt x="929" y="431"/>
                </a:lnTo>
                <a:lnTo>
                  <a:pt x="930" y="430"/>
                </a:lnTo>
                <a:lnTo>
                  <a:pt x="934" y="425"/>
                </a:lnTo>
                <a:lnTo>
                  <a:pt x="939" y="419"/>
                </a:lnTo>
                <a:lnTo>
                  <a:pt x="932" y="418"/>
                </a:lnTo>
                <a:lnTo>
                  <a:pt x="930" y="415"/>
                </a:lnTo>
                <a:lnTo>
                  <a:pt x="929" y="410"/>
                </a:lnTo>
                <a:lnTo>
                  <a:pt x="924" y="410"/>
                </a:lnTo>
                <a:lnTo>
                  <a:pt x="924" y="401"/>
                </a:lnTo>
                <a:lnTo>
                  <a:pt x="917" y="396"/>
                </a:lnTo>
                <a:lnTo>
                  <a:pt x="911" y="392"/>
                </a:lnTo>
                <a:lnTo>
                  <a:pt x="910" y="388"/>
                </a:lnTo>
                <a:lnTo>
                  <a:pt x="910" y="388"/>
                </a:lnTo>
                <a:lnTo>
                  <a:pt x="910" y="387"/>
                </a:lnTo>
                <a:lnTo>
                  <a:pt x="910" y="388"/>
                </a:lnTo>
                <a:lnTo>
                  <a:pt x="910" y="388"/>
                </a:lnTo>
                <a:lnTo>
                  <a:pt x="912" y="388"/>
                </a:lnTo>
                <a:lnTo>
                  <a:pt x="913" y="387"/>
                </a:lnTo>
                <a:lnTo>
                  <a:pt x="916" y="387"/>
                </a:lnTo>
                <a:lnTo>
                  <a:pt x="917" y="385"/>
                </a:lnTo>
                <a:lnTo>
                  <a:pt x="919" y="384"/>
                </a:lnTo>
                <a:lnTo>
                  <a:pt x="920" y="383"/>
                </a:lnTo>
                <a:lnTo>
                  <a:pt x="925" y="384"/>
                </a:lnTo>
                <a:lnTo>
                  <a:pt x="927" y="382"/>
                </a:lnTo>
                <a:lnTo>
                  <a:pt x="929" y="376"/>
                </a:lnTo>
                <a:lnTo>
                  <a:pt x="931" y="370"/>
                </a:lnTo>
                <a:lnTo>
                  <a:pt x="932" y="373"/>
                </a:lnTo>
                <a:lnTo>
                  <a:pt x="932" y="375"/>
                </a:lnTo>
                <a:lnTo>
                  <a:pt x="932" y="377"/>
                </a:lnTo>
                <a:lnTo>
                  <a:pt x="932" y="380"/>
                </a:lnTo>
                <a:lnTo>
                  <a:pt x="930" y="382"/>
                </a:lnTo>
                <a:lnTo>
                  <a:pt x="931" y="385"/>
                </a:lnTo>
                <a:lnTo>
                  <a:pt x="930" y="389"/>
                </a:lnTo>
                <a:lnTo>
                  <a:pt x="930" y="391"/>
                </a:lnTo>
                <a:lnTo>
                  <a:pt x="929" y="397"/>
                </a:lnTo>
                <a:lnTo>
                  <a:pt x="930" y="403"/>
                </a:lnTo>
                <a:lnTo>
                  <a:pt x="936" y="404"/>
                </a:lnTo>
                <a:lnTo>
                  <a:pt x="941" y="405"/>
                </a:lnTo>
                <a:lnTo>
                  <a:pt x="954" y="408"/>
                </a:lnTo>
                <a:lnTo>
                  <a:pt x="965" y="413"/>
                </a:lnTo>
                <a:lnTo>
                  <a:pt x="968" y="416"/>
                </a:lnTo>
                <a:lnTo>
                  <a:pt x="972" y="417"/>
                </a:lnTo>
                <a:lnTo>
                  <a:pt x="973" y="418"/>
                </a:lnTo>
                <a:lnTo>
                  <a:pt x="975" y="418"/>
                </a:lnTo>
                <a:lnTo>
                  <a:pt x="979" y="422"/>
                </a:lnTo>
                <a:lnTo>
                  <a:pt x="985" y="423"/>
                </a:lnTo>
                <a:lnTo>
                  <a:pt x="989" y="425"/>
                </a:lnTo>
                <a:lnTo>
                  <a:pt x="993" y="425"/>
                </a:lnTo>
                <a:lnTo>
                  <a:pt x="996" y="430"/>
                </a:lnTo>
                <a:lnTo>
                  <a:pt x="1001" y="432"/>
                </a:lnTo>
                <a:lnTo>
                  <a:pt x="1012" y="439"/>
                </a:lnTo>
                <a:lnTo>
                  <a:pt x="1024" y="444"/>
                </a:lnTo>
                <a:lnTo>
                  <a:pt x="1028" y="446"/>
                </a:lnTo>
                <a:lnTo>
                  <a:pt x="1031" y="446"/>
                </a:lnTo>
                <a:lnTo>
                  <a:pt x="1031" y="446"/>
                </a:lnTo>
                <a:lnTo>
                  <a:pt x="1031" y="446"/>
                </a:lnTo>
                <a:lnTo>
                  <a:pt x="1034" y="448"/>
                </a:lnTo>
                <a:lnTo>
                  <a:pt x="1036" y="447"/>
                </a:lnTo>
                <a:lnTo>
                  <a:pt x="1043" y="450"/>
                </a:lnTo>
                <a:lnTo>
                  <a:pt x="1050" y="452"/>
                </a:lnTo>
                <a:lnTo>
                  <a:pt x="1058" y="458"/>
                </a:lnTo>
                <a:lnTo>
                  <a:pt x="1069" y="460"/>
                </a:lnTo>
                <a:lnTo>
                  <a:pt x="1070" y="460"/>
                </a:lnTo>
                <a:lnTo>
                  <a:pt x="1072" y="461"/>
                </a:lnTo>
                <a:lnTo>
                  <a:pt x="1075" y="464"/>
                </a:lnTo>
                <a:lnTo>
                  <a:pt x="1078" y="465"/>
                </a:lnTo>
                <a:lnTo>
                  <a:pt x="1084" y="469"/>
                </a:lnTo>
                <a:lnTo>
                  <a:pt x="1091" y="468"/>
                </a:lnTo>
                <a:lnTo>
                  <a:pt x="1092" y="469"/>
                </a:lnTo>
                <a:lnTo>
                  <a:pt x="1092" y="469"/>
                </a:lnTo>
                <a:lnTo>
                  <a:pt x="1092" y="475"/>
                </a:lnTo>
                <a:lnTo>
                  <a:pt x="1097" y="476"/>
                </a:lnTo>
                <a:lnTo>
                  <a:pt x="1104" y="483"/>
                </a:lnTo>
                <a:lnTo>
                  <a:pt x="1110" y="490"/>
                </a:lnTo>
                <a:lnTo>
                  <a:pt x="1115" y="496"/>
                </a:lnTo>
                <a:lnTo>
                  <a:pt x="1120" y="501"/>
                </a:lnTo>
                <a:lnTo>
                  <a:pt x="1120" y="501"/>
                </a:lnTo>
                <a:lnTo>
                  <a:pt x="1120" y="502"/>
                </a:lnTo>
                <a:lnTo>
                  <a:pt x="1122" y="502"/>
                </a:lnTo>
                <a:lnTo>
                  <a:pt x="1122" y="502"/>
                </a:lnTo>
                <a:lnTo>
                  <a:pt x="1122" y="502"/>
                </a:lnTo>
                <a:lnTo>
                  <a:pt x="1125" y="507"/>
                </a:lnTo>
                <a:lnTo>
                  <a:pt x="1129" y="510"/>
                </a:lnTo>
                <a:lnTo>
                  <a:pt x="1130" y="511"/>
                </a:lnTo>
                <a:lnTo>
                  <a:pt x="1132" y="511"/>
                </a:lnTo>
                <a:lnTo>
                  <a:pt x="1134" y="515"/>
                </a:lnTo>
                <a:lnTo>
                  <a:pt x="1137" y="515"/>
                </a:lnTo>
                <a:lnTo>
                  <a:pt x="1139" y="517"/>
                </a:lnTo>
                <a:lnTo>
                  <a:pt x="1141" y="518"/>
                </a:lnTo>
                <a:lnTo>
                  <a:pt x="1157" y="510"/>
                </a:lnTo>
                <a:lnTo>
                  <a:pt x="1160" y="492"/>
                </a:lnTo>
                <a:lnTo>
                  <a:pt x="1160" y="490"/>
                </a:lnTo>
                <a:lnTo>
                  <a:pt x="1159" y="490"/>
                </a:lnTo>
                <a:lnTo>
                  <a:pt x="1159" y="489"/>
                </a:lnTo>
                <a:lnTo>
                  <a:pt x="1159" y="488"/>
                </a:lnTo>
                <a:lnTo>
                  <a:pt x="1159" y="487"/>
                </a:lnTo>
                <a:lnTo>
                  <a:pt x="1159" y="486"/>
                </a:lnTo>
                <a:lnTo>
                  <a:pt x="1159" y="486"/>
                </a:lnTo>
                <a:lnTo>
                  <a:pt x="1159" y="485"/>
                </a:lnTo>
                <a:lnTo>
                  <a:pt x="1159" y="475"/>
                </a:lnTo>
                <a:lnTo>
                  <a:pt x="1160" y="465"/>
                </a:lnTo>
                <a:lnTo>
                  <a:pt x="1162" y="462"/>
                </a:lnTo>
                <a:lnTo>
                  <a:pt x="1162" y="459"/>
                </a:lnTo>
                <a:lnTo>
                  <a:pt x="1161" y="446"/>
                </a:lnTo>
                <a:lnTo>
                  <a:pt x="1159" y="434"/>
                </a:lnTo>
                <a:lnTo>
                  <a:pt x="1161" y="420"/>
                </a:lnTo>
                <a:lnTo>
                  <a:pt x="1158" y="406"/>
                </a:lnTo>
                <a:lnTo>
                  <a:pt x="1164" y="410"/>
                </a:lnTo>
                <a:lnTo>
                  <a:pt x="1167" y="406"/>
                </a:lnTo>
                <a:lnTo>
                  <a:pt x="1168" y="405"/>
                </a:lnTo>
                <a:lnTo>
                  <a:pt x="1169" y="403"/>
                </a:lnTo>
                <a:lnTo>
                  <a:pt x="1167" y="396"/>
                </a:lnTo>
                <a:lnTo>
                  <a:pt x="1171" y="388"/>
                </a:lnTo>
                <a:lnTo>
                  <a:pt x="1171" y="377"/>
                </a:lnTo>
                <a:lnTo>
                  <a:pt x="1162" y="370"/>
                </a:lnTo>
                <a:lnTo>
                  <a:pt x="1162" y="364"/>
                </a:lnTo>
                <a:lnTo>
                  <a:pt x="1159" y="359"/>
                </a:lnTo>
                <a:lnTo>
                  <a:pt x="1160" y="354"/>
                </a:lnTo>
                <a:lnTo>
                  <a:pt x="1162" y="349"/>
                </a:lnTo>
                <a:lnTo>
                  <a:pt x="1164" y="342"/>
                </a:lnTo>
                <a:lnTo>
                  <a:pt x="1161" y="334"/>
                </a:lnTo>
                <a:lnTo>
                  <a:pt x="1161" y="334"/>
                </a:lnTo>
                <a:lnTo>
                  <a:pt x="1160" y="333"/>
                </a:lnTo>
                <a:lnTo>
                  <a:pt x="1159" y="334"/>
                </a:lnTo>
                <a:lnTo>
                  <a:pt x="1158" y="335"/>
                </a:lnTo>
                <a:lnTo>
                  <a:pt x="1158" y="340"/>
                </a:lnTo>
                <a:lnTo>
                  <a:pt x="1158" y="345"/>
                </a:lnTo>
                <a:lnTo>
                  <a:pt x="1152" y="337"/>
                </a:lnTo>
                <a:lnTo>
                  <a:pt x="1151" y="329"/>
                </a:lnTo>
                <a:lnTo>
                  <a:pt x="1151" y="328"/>
                </a:lnTo>
                <a:lnTo>
                  <a:pt x="1151" y="326"/>
                </a:lnTo>
                <a:lnTo>
                  <a:pt x="1151" y="326"/>
                </a:lnTo>
                <a:lnTo>
                  <a:pt x="1150" y="325"/>
                </a:lnTo>
                <a:lnTo>
                  <a:pt x="1148" y="328"/>
                </a:lnTo>
                <a:lnTo>
                  <a:pt x="1147" y="330"/>
                </a:lnTo>
                <a:lnTo>
                  <a:pt x="1143" y="327"/>
                </a:lnTo>
                <a:lnTo>
                  <a:pt x="1140" y="322"/>
                </a:lnTo>
                <a:lnTo>
                  <a:pt x="1138" y="313"/>
                </a:lnTo>
                <a:lnTo>
                  <a:pt x="1137" y="304"/>
                </a:lnTo>
                <a:lnTo>
                  <a:pt x="1136" y="301"/>
                </a:lnTo>
                <a:lnTo>
                  <a:pt x="1133" y="300"/>
                </a:lnTo>
                <a:lnTo>
                  <a:pt x="1133" y="295"/>
                </a:lnTo>
                <a:lnTo>
                  <a:pt x="1131" y="291"/>
                </a:lnTo>
                <a:lnTo>
                  <a:pt x="1127" y="284"/>
                </a:lnTo>
                <a:lnTo>
                  <a:pt x="1127" y="277"/>
                </a:lnTo>
                <a:lnTo>
                  <a:pt x="1127" y="272"/>
                </a:lnTo>
                <a:lnTo>
                  <a:pt x="1129" y="266"/>
                </a:lnTo>
                <a:lnTo>
                  <a:pt x="1136" y="270"/>
                </a:lnTo>
                <a:lnTo>
                  <a:pt x="1143" y="274"/>
                </a:lnTo>
                <a:lnTo>
                  <a:pt x="1145" y="278"/>
                </a:lnTo>
                <a:lnTo>
                  <a:pt x="1148" y="279"/>
                </a:lnTo>
                <a:lnTo>
                  <a:pt x="1151" y="279"/>
                </a:lnTo>
                <a:lnTo>
                  <a:pt x="1153" y="278"/>
                </a:lnTo>
                <a:lnTo>
                  <a:pt x="1153" y="276"/>
                </a:lnTo>
                <a:lnTo>
                  <a:pt x="1150" y="274"/>
                </a:lnTo>
                <a:lnTo>
                  <a:pt x="1146" y="273"/>
                </a:lnTo>
                <a:lnTo>
                  <a:pt x="1143" y="272"/>
                </a:lnTo>
                <a:lnTo>
                  <a:pt x="1141" y="267"/>
                </a:lnTo>
                <a:lnTo>
                  <a:pt x="1144" y="264"/>
                </a:lnTo>
                <a:lnTo>
                  <a:pt x="1146" y="264"/>
                </a:lnTo>
                <a:lnTo>
                  <a:pt x="1148" y="266"/>
                </a:lnTo>
                <a:lnTo>
                  <a:pt x="1150" y="266"/>
                </a:lnTo>
                <a:lnTo>
                  <a:pt x="1151" y="267"/>
                </a:lnTo>
                <a:lnTo>
                  <a:pt x="1150" y="269"/>
                </a:lnTo>
                <a:lnTo>
                  <a:pt x="1151" y="272"/>
                </a:lnTo>
                <a:lnTo>
                  <a:pt x="1153" y="273"/>
                </a:lnTo>
                <a:lnTo>
                  <a:pt x="1155" y="271"/>
                </a:lnTo>
                <a:lnTo>
                  <a:pt x="1159" y="272"/>
                </a:lnTo>
                <a:lnTo>
                  <a:pt x="1161" y="276"/>
                </a:lnTo>
                <a:lnTo>
                  <a:pt x="1164" y="278"/>
                </a:lnTo>
                <a:lnTo>
                  <a:pt x="1166" y="278"/>
                </a:lnTo>
                <a:lnTo>
                  <a:pt x="1164" y="281"/>
                </a:lnTo>
                <a:lnTo>
                  <a:pt x="1159" y="283"/>
                </a:lnTo>
                <a:lnTo>
                  <a:pt x="1162" y="284"/>
                </a:lnTo>
                <a:lnTo>
                  <a:pt x="1165" y="285"/>
                </a:lnTo>
                <a:lnTo>
                  <a:pt x="1171" y="287"/>
                </a:lnTo>
                <a:lnTo>
                  <a:pt x="1174" y="286"/>
                </a:lnTo>
                <a:lnTo>
                  <a:pt x="1173" y="283"/>
                </a:lnTo>
                <a:lnTo>
                  <a:pt x="1169" y="279"/>
                </a:lnTo>
                <a:lnTo>
                  <a:pt x="1172" y="279"/>
                </a:lnTo>
                <a:lnTo>
                  <a:pt x="1174" y="279"/>
                </a:lnTo>
                <a:lnTo>
                  <a:pt x="1178" y="280"/>
                </a:lnTo>
                <a:lnTo>
                  <a:pt x="1179" y="277"/>
                </a:lnTo>
                <a:lnTo>
                  <a:pt x="1183" y="276"/>
                </a:lnTo>
                <a:lnTo>
                  <a:pt x="1185" y="273"/>
                </a:lnTo>
                <a:lnTo>
                  <a:pt x="1188" y="273"/>
                </a:lnTo>
                <a:lnTo>
                  <a:pt x="1186" y="271"/>
                </a:lnTo>
                <a:lnTo>
                  <a:pt x="1192" y="269"/>
                </a:lnTo>
                <a:lnTo>
                  <a:pt x="1196" y="266"/>
                </a:lnTo>
                <a:lnTo>
                  <a:pt x="1198" y="269"/>
                </a:lnTo>
                <a:lnTo>
                  <a:pt x="1200" y="270"/>
                </a:lnTo>
                <a:lnTo>
                  <a:pt x="1200" y="270"/>
                </a:lnTo>
                <a:lnTo>
                  <a:pt x="1201" y="270"/>
                </a:lnTo>
                <a:lnTo>
                  <a:pt x="1200" y="270"/>
                </a:lnTo>
                <a:lnTo>
                  <a:pt x="1200" y="270"/>
                </a:lnTo>
                <a:lnTo>
                  <a:pt x="1198" y="276"/>
                </a:lnTo>
                <a:lnTo>
                  <a:pt x="1196" y="284"/>
                </a:lnTo>
                <a:lnTo>
                  <a:pt x="1196" y="284"/>
                </a:lnTo>
                <a:lnTo>
                  <a:pt x="1196" y="284"/>
                </a:lnTo>
                <a:lnTo>
                  <a:pt x="1192" y="284"/>
                </a:lnTo>
                <a:lnTo>
                  <a:pt x="1191" y="286"/>
                </a:lnTo>
                <a:lnTo>
                  <a:pt x="1191" y="292"/>
                </a:lnTo>
                <a:lnTo>
                  <a:pt x="1192" y="297"/>
                </a:lnTo>
                <a:lnTo>
                  <a:pt x="1188" y="299"/>
                </a:lnTo>
                <a:lnTo>
                  <a:pt x="1188" y="302"/>
                </a:lnTo>
                <a:lnTo>
                  <a:pt x="1188" y="305"/>
                </a:lnTo>
                <a:lnTo>
                  <a:pt x="1187" y="307"/>
                </a:lnTo>
                <a:lnTo>
                  <a:pt x="1185" y="316"/>
                </a:lnTo>
                <a:lnTo>
                  <a:pt x="1186" y="326"/>
                </a:lnTo>
                <a:lnTo>
                  <a:pt x="1187" y="335"/>
                </a:lnTo>
                <a:lnTo>
                  <a:pt x="1187" y="347"/>
                </a:lnTo>
                <a:lnTo>
                  <a:pt x="1185" y="343"/>
                </a:lnTo>
                <a:lnTo>
                  <a:pt x="1182" y="346"/>
                </a:lnTo>
                <a:lnTo>
                  <a:pt x="1179" y="353"/>
                </a:lnTo>
                <a:lnTo>
                  <a:pt x="1175" y="360"/>
                </a:lnTo>
                <a:lnTo>
                  <a:pt x="1175" y="364"/>
                </a:lnTo>
                <a:lnTo>
                  <a:pt x="1179" y="368"/>
                </a:lnTo>
                <a:lnTo>
                  <a:pt x="1179" y="368"/>
                </a:lnTo>
                <a:lnTo>
                  <a:pt x="1180" y="368"/>
                </a:lnTo>
                <a:lnTo>
                  <a:pt x="1180" y="368"/>
                </a:lnTo>
                <a:lnTo>
                  <a:pt x="1180" y="368"/>
                </a:lnTo>
                <a:lnTo>
                  <a:pt x="1180" y="368"/>
                </a:lnTo>
                <a:lnTo>
                  <a:pt x="1179" y="368"/>
                </a:lnTo>
                <a:lnTo>
                  <a:pt x="1176" y="378"/>
                </a:lnTo>
                <a:lnTo>
                  <a:pt x="1175" y="389"/>
                </a:lnTo>
                <a:lnTo>
                  <a:pt x="1174" y="398"/>
                </a:lnTo>
                <a:lnTo>
                  <a:pt x="1172" y="406"/>
                </a:lnTo>
                <a:lnTo>
                  <a:pt x="1168" y="415"/>
                </a:lnTo>
                <a:lnTo>
                  <a:pt x="1166" y="423"/>
                </a:lnTo>
                <a:lnTo>
                  <a:pt x="1166" y="439"/>
                </a:lnTo>
                <a:lnTo>
                  <a:pt x="1172" y="453"/>
                </a:lnTo>
                <a:lnTo>
                  <a:pt x="1172" y="454"/>
                </a:lnTo>
                <a:lnTo>
                  <a:pt x="1172" y="454"/>
                </a:lnTo>
                <a:lnTo>
                  <a:pt x="1171" y="460"/>
                </a:lnTo>
                <a:lnTo>
                  <a:pt x="1175" y="464"/>
                </a:lnTo>
                <a:lnTo>
                  <a:pt x="1176" y="467"/>
                </a:lnTo>
                <a:lnTo>
                  <a:pt x="1176" y="469"/>
                </a:lnTo>
                <a:lnTo>
                  <a:pt x="1176" y="478"/>
                </a:lnTo>
                <a:lnTo>
                  <a:pt x="1175" y="485"/>
                </a:lnTo>
                <a:lnTo>
                  <a:pt x="1173" y="494"/>
                </a:lnTo>
                <a:lnTo>
                  <a:pt x="1178" y="503"/>
                </a:lnTo>
                <a:lnTo>
                  <a:pt x="1178" y="504"/>
                </a:lnTo>
                <a:lnTo>
                  <a:pt x="1178" y="504"/>
                </a:lnTo>
                <a:lnTo>
                  <a:pt x="1178" y="513"/>
                </a:lnTo>
                <a:lnTo>
                  <a:pt x="1181" y="520"/>
                </a:lnTo>
                <a:lnTo>
                  <a:pt x="1182" y="522"/>
                </a:lnTo>
                <a:lnTo>
                  <a:pt x="1182" y="525"/>
                </a:lnTo>
                <a:lnTo>
                  <a:pt x="1181" y="530"/>
                </a:lnTo>
                <a:lnTo>
                  <a:pt x="1180" y="535"/>
                </a:lnTo>
                <a:lnTo>
                  <a:pt x="1181" y="538"/>
                </a:lnTo>
                <a:lnTo>
                  <a:pt x="1183" y="539"/>
                </a:lnTo>
                <a:lnTo>
                  <a:pt x="1186" y="538"/>
                </a:lnTo>
                <a:lnTo>
                  <a:pt x="1187" y="537"/>
                </a:lnTo>
                <a:lnTo>
                  <a:pt x="1188" y="535"/>
                </a:lnTo>
                <a:lnTo>
                  <a:pt x="1189" y="532"/>
                </a:lnTo>
                <a:lnTo>
                  <a:pt x="1194" y="532"/>
                </a:lnTo>
                <a:lnTo>
                  <a:pt x="1196" y="536"/>
                </a:lnTo>
                <a:lnTo>
                  <a:pt x="1199" y="537"/>
                </a:lnTo>
                <a:lnTo>
                  <a:pt x="1200" y="537"/>
                </a:lnTo>
                <a:lnTo>
                  <a:pt x="1199" y="537"/>
                </a:lnTo>
                <a:lnTo>
                  <a:pt x="1196" y="536"/>
                </a:lnTo>
                <a:lnTo>
                  <a:pt x="1196" y="537"/>
                </a:lnTo>
                <a:lnTo>
                  <a:pt x="1194" y="537"/>
                </a:lnTo>
                <a:lnTo>
                  <a:pt x="1193" y="538"/>
                </a:lnTo>
                <a:lnTo>
                  <a:pt x="1194" y="539"/>
                </a:lnTo>
                <a:lnTo>
                  <a:pt x="1196" y="539"/>
                </a:lnTo>
                <a:lnTo>
                  <a:pt x="1196" y="542"/>
                </a:lnTo>
                <a:lnTo>
                  <a:pt x="1196" y="543"/>
                </a:lnTo>
                <a:lnTo>
                  <a:pt x="1199" y="546"/>
                </a:lnTo>
                <a:lnTo>
                  <a:pt x="1195" y="548"/>
                </a:lnTo>
                <a:lnTo>
                  <a:pt x="1191" y="549"/>
                </a:lnTo>
                <a:lnTo>
                  <a:pt x="1189" y="553"/>
                </a:lnTo>
                <a:lnTo>
                  <a:pt x="1192" y="556"/>
                </a:lnTo>
                <a:lnTo>
                  <a:pt x="1196" y="557"/>
                </a:lnTo>
                <a:lnTo>
                  <a:pt x="1196" y="559"/>
                </a:lnTo>
                <a:lnTo>
                  <a:pt x="1198" y="562"/>
                </a:lnTo>
                <a:lnTo>
                  <a:pt x="1209" y="571"/>
                </a:lnTo>
                <a:lnTo>
                  <a:pt x="1223" y="577"/>
                </a:lnTo>
                <a:lnTo>
                  <a:pt x="1224" y="577"/>
                </a:lnTo>
                <a:lnTo>
                  <a:pt x="1224" y="576"/>
                </a:lnTo>
                <a:lnTo>
                  <a:pt x="1224" y="573"/>
                </a:lnTo>
                <a:lnTo>
                  <a:pt x="1228" y="573"/>
                </a:lnTo>
                <a:lnTo>
                  <a:pt x="1231" y="573"/>
                </a:lnTo>
                <a:lnTo>
                  <a:pt x="1234" y="576"/>
                </a:lnTo>
                <a:lnTo>
                  <a:pt x="1235" y="578"/>
                </a:lnTo>
                <a:lnTo>
                  <a:pt x="1236" y="579"/>
                </a:lnTo>
                <a:lnTo>
                  <a:pt x="1238" y="578"/>
                </a:lnTo>
                <a:lnTo>
                  <a:pt x="1238" y="576"/>
                </a:lnTo>
                <a:lnTo>
                  <a:pt x="1240" y="573"/>
                </a:lnTo>
                <a:lnTo>
                  <a:pt x="1242" y="574"/>
                </a:lnTo>
                <a:lnTo>
                  <a:pt x="1251" y="579"/>
                </a:lnTo>
                <a:lnTo>
                  <a:pt x="1260" y="574"/>
                </a:lnTo>
                <a:lnTo>
                  <a:pt x="1261" y="573"/>
                </a:lnTo>
                <a:lnTo>
                  <a:pt x="1261" y="571"/>
                </a:lnTo>
                <a:lnTo>
                  <a:pt x="1260" y="571"/>
                </a:lnTo>
                <a:lnTo>
                  <a:pt x="1258" y="570"/>
                </a:lnTo>
                <a:lnTo>
                  <a:pt x="1248" y="567"/>
                </a:lnTo>
                <a:lnTo>
                  <a:pt x="1238" y="562"/>
                </a:lnTo>
                <a:lnTo>
                  <a:pt x="1237" y="564"/>
                </a:lnTo>
                <a:lnTo>
                  <a:pt x="1236" y="564"/>
                </a:lnTo>
                <a:lnTo>
                  <a:pt x="1235" y="564"/>
                </a:lnTo>
                <a:lnTo>
                  <a:pt x="1235" y="563"/>
                </a:lnTo>
                <a:lnTo>
                  <a:pt x="1236" y="562"/>
                </a:lnTo>
                <a:lnTo>
                  <a:pt x="1238" y="562"/>
                </a:lnTo>
                <a:lnTo>
                  <a:pt x="1234" y="557"/>
                </a:lnTo>
                <a:lnTo>
                  <a:pt x="1227" y="557"/>
                </a:lnTo>
                <a:lnTo>
                  <a:pt x="1220" y="558"/>
                </a:lnTo>
                <a:lnTo>
                  <a:pt x="1216" y="552"/>
                </a:lnTo>
                <a:lnTo>
                  <a:pt x="1212" y="556"/>
                </a:lnTo>
                <a:lnTo>
                  <a:pt x="1205" y="556"/>
                </a:lnTo>
                <a:lnTo>
                  <a:pt x="1208" y="548"/>
                </a:lnTo>
                <a:lnTo>
                  <a:pt x="1210" y="539"/>
                </a:lnTo>
                <a:lnTo>
                  <a:pt x="1213" y="538"/>
                </a:lnTo>
                <a:lnTo>
                  <a:pt x="1214" y="537"/>
                </a:lnTo>
                <a:lnTo>
                  <a:pt x="1216" y="539"/>
                </a:lnTo>
                <a:lnTo>
                  <a:pt x="1219" y="538"/>
                </a:lnTo>
                <a:lnTo>
                  <a:pt x="1220" y="535"/>
                </a:lnTo>
                <a:lnTo>
                  <a:pt x="1219" y="531"/>
                </a:lnTo>
                <a:lnTo>
                  <a:pt x="1217" y="529"/>
                </a:lnTo>
                <a:lnTo>
                  <a:pt x="1215" y="528"/>
                </a:lnTo>
                <a:lnTo>
                  <a:pt x="1219" y="524"/>
                </a:lnTo>
                <a:lnTo>
                  <a:pt x="1223" y="524"/>
                </a:lnTo>
                <a:lnTo>
                  <a:pt x="1222" y="535"/>
                </a:lnTo>
                <a:lnTo>
                  <a:pt x="1215" y="543"/>
                </a:lnTo>
                <a:lnTo>
                  <a:pt x="1236" y="543"/>
                </a:lnTo>
                <a:lnTo>
                  <a:pt x="1230" y="541"/>
                </a:lnTo>
                <a:lnTo>
                  <a:pt x="1233" y="535"/>
                </a:lnTo>
                <a:lnTo>
                  <a:pt x="1234" y="532"/>
                </a:lnTo>
                <a:lnTo>
                  <a:pt x="1234" y="529"/>
                </a:lnTo>
                <a:lnTo>
                  <a:pt x="1230" y="530"/>
                </a:lnTo>
                <a:lnTo>
                  <a:pt x="1227" y="531"/>
                </a:lnTo>
                <a:lnTo>
                  <a:pt x="1228" y="527"/>
                </a:lnTo>
                <a:lnTo>
                  <a:pt x="1231" y="525"/>
                </a:lnTo>
                <a:lnTo>
                  <a:pt x="1235" y="525"/>
                </a:lnTo>
                <a:lnTo>
                  <a:pt x="1235" y="523"/>
                </a:lnTo>
                <a:lnTo>
                  <a:pt x="1235" y="516"/>
                </a:lnTo>
                <a:lnTo>
                  <a:pt x="1238" y="510"/>
                </a:lnTo>
                <a:lnTo>
                  <a:pt x="1238" y="511"/>
                </a:lnTo>
                <a:lnTo>
                  <a:pt x="1238" y="514"/>
                </a:lnTo>
                <a:lnTo>
                  <a:pt x="1241" y="513"/>
                </a:lnTo>
                <a:lnTo>
                  <a:pt x="1242" y="514"/>
                </a:lnTo>
                <a:lnTo>
                  <a:pt x="1241" y="513"/>
                </a:lnTo>
                <a:lnTo>
                  <a:pt x="1238" y="514"/>
                </a:lnTo>
                <a:lnTo>
                  <a:pt x="1242" y="523"/>
                </a:lnTo>
                <a:lnTo>
                  <a:pt x="1249" y="530"/>
                </a:lnTo>
                <a:lnTo>
                  <a:pt x="1255" y="534"/>
                </a:lnTo>
                <a:lnTo>
                  <a:pt x="1262" y="531"/>
                </a:lnTo>
                <a:lnTo>
                  <a:pt x="1264" y="528"/>
                </a:lnTo>
                <a:lnTo>
                  <a:pt x="1268" y="527"/>
                </a:lnTo>
                <a:lnTo>
                  <a:pt x="1270" y="527"/>
                </a:lnTo>
                <a:lnTo>
                  <a:pt x="1270" y="524"/>
                </a:lnTo>
                <a:lnTo>
                  <a:pt x="1269" y="523"/>
                </a:lnTo>
                <a:lnTo>
                  <a:pt x="1267" y="523"/>
                </a:lnTo>
                <a:lnTo>
                  <a:pt x="1262" y="523"/>
                </a:lnTo>
                <a:lnTo>
                  <a:pt x="1258" y="520"/>
                </a:lnTo>
                <a:lnTo>
                  <a:pt x="1261" y="518"/>
                </a:lnTo>
                <a:lnTo>
                  <a:pt x="1263" y="516"/>
                </a:lnTo>
                <a:lnTo>
                  <a:pt x="1267" y="514"/>
                </a:lnTo>
                <a:lnTo>
                  <a:pt x="1269" y="517"/>
                </a:lnTo>
                <a:lnTo>
                  <a:pt x="1271" y="520"/>
                </a:lnTo>
                <a:lnTo>
                  <a:pt x="1274" y="524"/>
                </a:lnTo>
                <a:lnTo>
                  <a:pt x="1274" y="525"/>
                </a:lnTo>
                <a:lnTo>
                  <a:pt x="1276" y="525"/>
                </a:lnTo>
                <a:lnTo>
                  <a:pt x="1282" y="523"/>
                </a:lnTo>
                <a:lnTo>
                  <a:pt x="1285" y="528"/>
                </a:lnTo>
                <a:lnTo>
                  <a:pt x="1285" y="524"/>
                </a:lnTo>
                <a:lnTo>
                  <a:pt x="1288" y="522"/>
                </a:lnTo>
                <a:lnTo>
                  <a:pt x="1289" y="524"/>
                </a:lnTo>
                <a:lnTo>
                  <a:pt x="1289" y="528"/>
                </a:lnTo>
                <a:lnTo>
                  <a:pt x="1289" y="530"/>
                </a:lnTo>
                <a:lnTo>
                  <a:pt x="1290" y="531"/>
                </a:lnTo>
                <a:lnTo>
                  <a:pt x="1292" y="531"/>
                </a:lnTo>
                <a:lnTo>
                  <a:pt x="1293" y="529"/>
                </a:lnTo>
                <a:lnTo>
                  <a:pt x="1295" y="528"/>
                </a:lnTo>
                <a:lnTo>
                  <a:pt x="1296" y="529"/>
                </a:lnTo>
                <a:lnTo>
                  <a:pt x="1299" y="530"/>
                </a:lnTo>
                <a:lnTo>
                  <a:pt x="1302" y="528"/>
                </a:lnTo>
                <a:lnTo>
                  <a:pt x="1302" y="530"/>
                </a:lnTo>
                <a:lnTo>
                  <a:pt x="1305" y="531"/>
                </a:lnTo>
                <a:lnTo>
                  <a:pt x="1307" y="530"/>
                </a:lnTo>
                <a:lnTo>
                  <a:pt x="1309" y="528"/>
                </a:lnTo>
                <a:lnTo>
                  <a:pt x="1307" y="524"/>
                </a:lnTo>
                <a:lnTo>
                  <a:pt x="1311" y="523"/>
                </a:lnTo>
                <a:lnTo>
                  <a:pt x="1312" y="521"/>
                </a:lnTo>
                <a:lnTo>
                  <a:pt x="1312" y="520"/>
                </a:lnTo>
                <a:lnTo>
                  <a:pt x="1311" y="515"/>
                </a:lnTo>
                <a:lnTo>
                  <a:pt x="1312" y="511"/>
                </a:lnTo>
                <a:lnTo>
                  <a:pt x="1316" y="514"/>
                </a:lnTo>
                <a:lnTo>
                  <a:pt x="1320" y="516"/>
                </a:lnTo>
                <a:lnTo>
                  <a:pt x="1321" y="517"/>
                </a:lnTo>
                <a:lnTo>
                  <a:pt x="1323" y="517"/>
                </a:lnTo>
                <a:lnTo>
                  <a:pt x="1331" y="521"/>
                </a:lnTo>
                <a:lnTo>
                  <a:pt x="1339" y="522"/>
                </a:lnTo>
                <a:lnTo>
                  <a:pt x="1332" y="518"/>
                </a:lnTo>
                <a:lnTo>
                  <a:pt x="1325" y="515"/>
                </a:lnTo>
                <a:lnTo>
                  <a:pt x="1330" y="514"/>
                </a:lnTo>
                <a:lnTo>
                  <a:pt x="1333" y="515"/>
                </a:lnTo>
                <a:lnTo>
                  <a:pt x="1340" y="516"/>
                </a:lnTo>
                <a:lnTo>
                  <a:pt x="1347" y="514"/>
                </a:lnTo>
                <a:lnTo>
                  <a:pt x="1358" y="509"/>
                </a:lnTo>
                <a:lnTo>
                  <a:pt x="1369" y="506"/>
                </a:lnTo>
                <a:lnTo>
                  <a:pt x="1372" y="506"/>
                </a:lnTo>
                <a:lnTo>
                  <a:pt x="1373" y="503"/>
                </a:lnTo>
                <a:lnTo>
                  <a:pt x="1376" y="499"/>
                </a:lnTo>
                <a:lnTo>
                  <a:pt x="1382" y="499"/>
                </a:lnTo>
                <a:lnTo>
                  <a:pt x="1382" y="499"/>
                </a:lnTo>
                <a:lnTo>
                  <a:pt x="1382" y="499"/>
                </a:lnTo>
                <a:lnTo>
                  <a:pt x="1383" y="506"/>
                </a:lnTo>
                <a:lnTo>
                  <a:pt x="1392" y="507"/>
                </a:lnTo>
                <a:lnTo>
                  <a:pt x="1392" y="509"/>
                </a:lnTo>
                <a:lnTo>
                  <a:pt x="1389" y="510"/>
                </a:lnTo>
                <a:lnTo>
                  <a:pt x="1373" y="520"/>
                </a:lnTo>
                <a:lnTo>
                  <a:pt x="1355" y="529"/>
                </a:lnTo>
                <a:lnTo>
                  <a:pt x="1341" y="531"/>
                </a:lnTo>
                <a:lnTo>
                  <a:pt x="1328" y="528"/>
                </a:lnTo>
                <a:lnTo>
                  <a:pt x="1326" y="527"/>
                </a:lnTo>
                <a:lnTo>
                  <a:pt x="1325" y="528"/>
                </a:lnTo>
                <a:lnTo>
                  <a:pt x="1328" y="531"/>
                </a:lnTo>
                <a:lnTo>
                  <a:pt x="1333" y="534"/>
                </a:lnTo>
                <a:lnTo>
                  <a:pt x="1324" y="534"/>
                </a:lnTo>
                <a:lnTo>
                  <a:pt x="1316" y="535"/>
                </a:lnTo>
                <a:lnTo>
                  <a:pt x="1310" y="532"/>
                </a:lnTo>
                <a:lnTo>
                  <a:pt x="1305" y="536"/>
                </a:lnTo>
                <a:lnTo>
                  <a:pt x="1310" y="537"/>
                </a:lnTo>
                <a:lnTo>
                  <a:pt x="1312" y="541"/>
                </a:lnTo>
                <a:lnTo>
                  <a:pt x="1311" y="541"/>
                </a:lnTo>
                <a:lnTo>
                  <a:pt x="1306" y="541"/>
                </a:lnTo>
                <a:lnTo>
                  <a:pt x="1300" y="543"/>
                </a:lnTo>
                <a:lnTo>
                  <a:pt x="1300" y="543"/>
                </a:lnTo>
                <a:lnTo>
                  <a:pt x="1299" y="542"/>
                </a:lnTo>
                <a:lnTo>
                  <a:pt x="1295" y="539"/>
                </a:lnTo>
                <a:lnTo>
                  <a:pt x="1291" y="542"/>
                </a:lnTo>
                <a:lnTo>
                  <a:pt x="1296" y="543"/>
                </a:lnTo>
                <a:lnTo>
                  <a:pt x="1295" y="546"/>
                </a:lnTo>
                <a:lnTo>
                  <a:pt x="1296" y="549"/>
                </a:lnTo>
                <a:lnTo>
                  <a:pt x="1297" y="549"/>
                </a:lnTo>
                <a:lnTo>
                  <a:pt x="1305" y="546"/>
                </a:lnTo>
                <a:lnTo>
                  <a:pt x="1311" y="541"/>
                </a:lnTo>
                <a:lnTo>
                  <a:pt x="1311" y="541"/>
                </a:lnTo>
                <a:lnTo>
                  <a:pt x="1312" y="541"/>
                </a:lnTo>
                <a:lnTo>
                  <a:pt x="1317" y="541"/>
                </a:lnTo>
                <a:lnTo>
                  <a:pt x="1323" y="542"/>
                </a:lnTo>
                <a:lnTo>
                  <a:pt x="1331" y="544"/>
                </a:lnTo>
                <a:lnTo>
                  <a:pt x="1339" y="542"/>
                </a:lnTo>
                <a:lnTo>
                  <a:pt x="1341" y="542"/>
                </a:lnTo>
                <a:lnTo>
                  <a:pt x="1343" y="542"/>
                </a:lnTo>
                <a:lnTo>
                  <a:pt x="1344" y="542"/>
                </a:lnTo>
                <a:lnTo>
                  <a:pt x="1344" y="543"/>
                </a:lnTo>
                <a:lnTo>
                  <a:pt x="1343" y="544"/>
                </a:lnTo>
                <a:lnTo>
                  <a:pt x="1340" y="545"/>
                </a:lnTo>
                <a:lnTo>
                  <a:pt x="1334" y="545"/>
                </a:lnTo>
                <a:lnTo>
                  <a:pt x="1330" y="546"/>
                </a:lnTo>
                <a:lnTo>
                  <a:pt x="1331" y="548"/>
                </a:lnTo>
                <a:lnTo>
                  <a:pt x="1333" y="548"/>
                </a:lnTo>
                <a:lnTo>
                  <a:pt x="1345" y="548"/>
                </a:lnTo>
                <a:lnTo>
                  <a:pt x="1355" y="544"/>
                </a:lnTo>
                <a:lnTo>
                  <a:pt x="1364" y="544"/>
                </a:lnTo>
                <a:lnTo>
                  <a:pt x="1371" y="542"/>
                </a:lnTo>
                <a:lnTo>
                  <a:pt x="1372" y="541"/>
                </a:lnTo>
                <a:lnTo>
                  <a:pt x="1374" y="542"/>
                </a:lnTo>
                <a:lnTo>
                  <a:pt x="1374" y="545"/>
                </a:lnTo>
                <a:lnTo>
                  <a:pt x="1376" y="548"/>
                </a:lnTo>
                <a:lnTo>
                  <a:pt x="1358" y="549"/>
                </a:lnTo>
                <a:lnTo>
                  <a:pt x="1340" y="556"/>
                </a:lnTo>
                <a:lnTo>
                  <a:pt x="1344" y="556"/>
                </a:lnTo>
                <a:lnTo>
                  <a:pt x="1348" y="556"/>
                </a:lnTo>
                <a:lnTo>
                  <a:pt x="1348" y="555"/>
                </a:lnTo>
                <a:lnTo>
                  <a:pt x="1351" y="553"/>
                </a:lnTo>
                <a:lnTo>
                  <a:pt x="1351" y="555"/>
                </a:lnTo>
                <a:lnTo>
                  <a:pt x="1352" y="555"/>
                </a:lnTo>
                <a:lnTo>
                  <a:pt x="1350" y="556"/>
                </a:lnTo>
                <a:lnTo>
                  <a:pt x="1348" y="556"/>
                </a:lnTo>
                <a:lnTo>
                  <a:pt x="1348" y="559"/>
                </a:lnTo>
                <a:lnTo>
                  <a:pt x="1352" y="562"/>
                </a:lnTo>
                <a:lnTo>
                  <a:pt x="1347" y="562"/>
                </a:lnTo>
                <a:lnTo>
                  <a:pt x="1343" y="562"/>
                </a:lnTo>
                <a:lnTo>
                  <a:pt x="1341" y="562"/>
                </a:lnTo>
                <a:lnTo>
                  <a:pt x="1340" y="563"/>
                </a:lnTo>
                <a:lnTo>
                  <a:pt x="1340" y="564"/>
                </a:lnTo>
                <a:lnTo>
                  <a:pt x="1343" y="565"/>
                </a:lnTo>
                <a:lnTo>
                  <a:pt x="1355" y="564"/>
                </a:lnTo>
                <a:lnTo>
                  <a:pt x="1367" y="560"/>
                </a:lnTo>
                <a:lnTo>
                  <a:pt x="1369" y="559"/>
                </a:lnTo>
                <a:lnTo>
                  <a:pt x="1368" y="557"/>
                </a:lnTo>
                <a:lnTo>
                  <a:pt x="1367" y="555"/>
                </a:lnTo>
                <a:lnTo>
                  <a:pt x="1368" y="553"/>
                </a:lnTo>
                <a:lnTo>
                  <a:pt x="1371" y="552"/>
                </a:lnTo>
                <a:lnTo>
                  <a:pt x="1373" y="553"/>
                </a:lnTo>
                <a:lnTo>
                  <a:pt x="1375" y="556"/>
                </a:lnTo>
                <a:lnTo>
                  <a:pt x="1378" y="555"/>
                </a:lnTo>
                <a:lnTo>
                  <a:pt x="1393" y="548"/>
                </a:lnTo>
                <a:lnTo>
                  <a:pt x="1409" y="542"/>
                </a:lnTo>
                <a:lnTo>
                  <a:pt x="1413" y="538"/>
                </a:lnTo>
                <a:lnTo>
                  <a:pt x="1419" y="537"/>
                </a:lnTo>
                <a:lnTo>
                  <a:pt x="1419" y="543"/>
                </a:lnTo>
                <a:lnTo>
                  <a:pt x="1420" y="549"/>
                </a:lnTo>
                <a:lnTo>
                  <a:pt x="1424" y="544"/>
                </a:lnTo>
                <a:lnTo>
                  <a:pt x="1428" y="538"/>
                </a:lnTo>
                <a:lnTo>
                  <a:pt x="1429" y="535"/>
                </a:lnTo>
                <a:lnTo>
                  <a:pt x="1426" y="531"/>
                </a:lnTo>
                <a:lnTo>
                  <a:pt x="1422" y="529"/>
                </a:lnTo>
                <a:lnTo>
                  <a:pt x="1421" y="527"/>
                </a:lnTo>
                <a:lnTo>
                  <a:pt x="1422" y="523"/>
                </a:lnTo>
                <a:lnTo>
                  <a:pt x="1424" y="521"/>
                </a:lnTo>
                <a:lnTo>
                  <a:pt x="1429" y="520"/>
                </a:lnTo>
                <a:lnTo>
                  <a:pt x="1431" y="517"/>
                </a:lnTo>
                <a:lnTo>
                  <a:pt x="1428" y="515"/>
                </a:lnTo>
                <a:lnTo>
                  <a:pt x="1423" y="515"/>
                </a:lnTo>
                <a:lnTo>
                  <a:pt x="1420" y="515"/>
                </a:lnTo>
                <a:lnTo>
                  <a:pt x="1417" y="515"/>
                </a:lnTo>
                <a:lnTo>
                  <a:pt x="1417" y="513"/>
                </a:lnTo>
                <a:lnTo>
                  <a:pt x="1416" y="509"/>
                </a:lnTo>
                <a:lnTo>
                  <a:pt x="1413" y="508"/>
                </a:lnTo>
                <a:lnTo>
                  <a:pt x="1410" y="509"/>
                </a:lnTo>
                <a:lnTo>
                  <a:pt x="1409" y="510"/>
                </a:lnTo>
                <a:lnTo>
                  <a:pt x="1407" y="511"/>
                </a:lnTo>
                <a:lnTo>
                  <a:pt x="1408" y="507"/>
                </a:lnTo>
                <a:lnTo>
                  <a:pt x="1406" y="503"/>
                </a:lnTo>
                <a:lnTo>
                  <a:pt x="1403" y="504"/>
                </a:lnTo>
                <a:lnTo>
                  <a:pt x="1401" y="508"/>
                </a:lnTo>
                <a:lnTo>
                  <a:pt x="1400" y="510"/>
                </a:lnTo>
                <a:lnTo>
                  <a:pt x="1397" y="510"/>
                </a:lnTo>
                <a:lnTo>
                  <a:pt x="1395" y="510"/>
                </a:lnTo>
                <a:lnTo>
                  <a:pt x="1395" y="508"/>
                </a:lnTo>
                <a:lnTo>
                  <a:pt x="1397" y="504"/>
                </a:lnTo>
                <a:lnTo>
                  <a:pt x="1394" y="500"/>
                </a:lnTo>
                <a:lnTo>
                  <a:pt x="1388" y="496"/>
                </a:lnTo>
                <a:lnTo>
                  <a:pt x="1382" y="499"/>
                </a:lnTo>
                <a:lnTo>
                  <a:pt x="1382" y="495"/>
                </a:lnTo>
                <a:lnTo>
                  <a:pt x="1386" y="494"/>
                </a:lnTo>
                <a:lnTo>
                  <a:pt x="1390" y="490"/>
                </a:lnTo>
                <a:lnTo>
                  <a:pt x="1394" y="487"/>
                </a:lnTo>
                <a:lnTo>
                  <a:pt x="1389" y="486"/>
                </a:lnTo>
                <a:lnTo>
                  <a:pt x="1386" y="483"/>
                </a:lnTo>
                <a:lnTo>
                  <a:pt x="1389" y="481"/>
                </a:lnTo>
                <a:lnTo>
                  <a:pt x="1395" y="481"/>
                </a:lnTo>
                <a:lnTo>
                  <a:pt x="1396" y="481"/>
                </a:lnTo>
                <a:lnTo>
                  <a:pt x="1397" y="481"/>
                </a:lnTo>
                <a:lnTo>
                  <a:pt x="1401" y="479"/>
                </a:lnTo>
                <a:lnTo>
                  <a:pt x="1402" y="475"/>
                </a:lnTo>
                <a:lnTo>
                  <a:pt x="1401" y="473"/>
                </a:lnTo>
                <a:lnTo>
                  <a:pt x="1397" y="473"/>
                </a:lnTo>
                <a:lnTo>
                  <a:pt x="1394" y="473"/>
                </a:lnTo>
                <a:lnTo>
                  <a:pt x="1389" y="473"/>
                </a:lnTo>
                <a:lnTo>
                  <a:pt x="1387" y="473"/>
                </a:lnTo>
                <a:lnTo>
                  <a:pt x="1385" y="472"/>
                </a:lnTo>
                <a:lnTo>
                  <a:pt x="1387" y="469"/>
                </a:lnTo>
                <a:lnTo>
                  <a:pt x="1389" y="469"/>
                </a:lnTo>
                <a:lnTo>
                  <a:pt x="1392" y="468"/>
                </a:lnTo>
                <a:lnTo>
                  <a:pt x="1393" y="467"/>
                </a:lnTo>
                <a:lnTo>
                  <a:pt x="1392" y="465"/>
                </a:lnTo>
                <a:lnTo>
                  <a:pt x="1389" y="465"/>
                </a:lnTo>
                <a:lnTo>
                  <a:pt x="1387" y="465"/>
                </a:lnTo>
                <a:lnTo>
                  <a:pt x="1386" y="462"/>
                </a:lnTo>
                <a:lnTo>
                  <a:pt x="1394" y="462"/>
                </a:lnTo>
                <a:lnTo>
                  <a:pt x="1402" y="461"/>
                </a:lnTo>
                <a:lnTo>
                  <a:pt x="1399" y="457"/>
                </a:lnTo>
                <a:lnTo>
                  <a:pt x="1394" y="457"/>
                </a:lnTo>
                <a:lnTo>
                  <a:pt x="1392" y="457"/>
                </a:lnTo>
                <a:lnTo>
                  <a:pt x="1390" y="454"/>
                </a:lnTo>
                <a:lnTo>
                  <a:pt x="1393" y="452"/>
                </a:lnTo>
                <a:lnTo>
                  <a:pt x="1394" y="452"/>
                </a:lnTo>
                <a:lnTo>
                  <a:pt x="1401" y="454"/>
                </a:lnTo>
                <a:lnTo>
                  <a:pt x="1407" y="457"/>
                </a:lnTo>
                <a:lnTo>
                  <a:pt x="1407" y="457"/>
                </a:lnTo>
                <a:lnTo>
                  <a:pt x="1405" y="459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2"/>
                </a:lnTo>
                <a:lnTo>
                  <a:pt x="1405" y="464"/>
                </a:lnTo>
                <a:lnTo>
                  <a:pt x="1407" y="460"/>
                </a:lnTo>
                <a:lnTo>
                  <a:pt x="1407" y="457"/>
                </a:lnTo>
                <a:lnTo>
                  <a:pt x="1407" y="457"/>
                </a:lnTo>
                <a:lnTo>
                  <a:pt x="1407" y="457"/>
                </a:lnTo>
                <a:lnTo>
                  <a:pt x="1412" y="452"/>
                </a:lnTo>
                <a:lnTo>
                  <a:pt x="1410" y="445"/>
                </a:lnTo>
                <a:lnTo>
                  <a:pt x="1408" y="441"/>
                </a:lnTo>
                <a:lnTo>
                  <a:pt x="1403" y="443"/>
                </a:lnTo>
                <a:lnTo>
                  <a:pt x="1399" y="444"/>
                </a:lnTo>
                <a:lnTo>
                  <a:pt x="1395" y="441"/>
                </a:lnTo>
                <a:lnTo>
                  <a:pt x="1397" y="439"/>
                </a:lnTo>
                <a:lnTo>
                  <a:pt x="1401" y="439"/>
                </a:lnTo>
                <a:lnTo>
                  <a:pt x="1403" y="438"/>
                </a:lnTo>
                <a:lnTo>
                  <a:pt x="1406" y="436"/>
                </a:lnTo>
                <a:lnTo>
                  <a:pt x="1406" y="432"/>
                </a:lnTo>
                <a:lnTo>
                  <a:pt x="1409" y="434"/>
                </a:lnTo>
                <a:lnTo>
                  <a:pt x="1410" y="434"/>
                </a:lnTo>
                <a:lnTo>
                  <a:pt x="1412" y="434"/>
                </a:lnTo>
                <a:lnTo>
                  <a:pt x="1416" y="433"/>
                </a:lnTo>
                <a:lnTo>
                  <a:pt x="1417" y="437"/>
                </a:lnTo>
                <a:lnTo>
                  <a:pt x="1421" y="439"/>
                </a:lnTo>
                <a:lnTo>
                  <a:pt x="1423" y="438"/>
                </a:lnTo>
                <a:lnTo>
                  <a:pt x="1427" y="437"/>
                </a:lnTo>
                <a:lnTo>
                  <a:pt x="1428" y="440"/>
                </a:lnTo>
                <a:lnTo>
                  <a:pt x="1429" y="446"/>
                </a:lnTo>
                <a:lnTo>
                  <a:pt x="1435" y="447"/>
                </a:lnTo>
                <a:lnTo>
                  <a:pt x="1437" y="448"/>
                </a:lnTo>
                <a:lnTo>
                  <a:pt x="1438" y="448"/>
                </a:lnTo>
                <a:lnTo>
                  <a:pt x="1441" y="444"/>
                </a:lnTo>
                <a:lnTo>
                  <a:pt x="1441" y="439"/>
                </a:lnTo>
                <a:lnTo>
                  <a:pt x="1440" y="436"/>
                </a:lnTo>
                <a:lnTo>
                  <a:pt x="1440" y="431"/>
                </a:lnTo>
                <a:lnTo>
                  <a:pt x="1442" y="433"/>
                </a:lnTo>
                <a:lnTo>
                  <a:pt x="1444" y="434"/>
                </a:lnTo>
                <a:lnTo>
                  <a:pt x="1445" y="431"/>
                </a:lnTo>
                <a:lnTo>
                  <a:pt x="1447" y="426"/>
                </a:lnTo>
                <a:lnTo>
                  <a:pt x="1448" y="432"/>
                </a:lnTo>
                <a:lnTo>
                  <a:pt x="1450" y="436"/>
                </a:lnTo>
                <a:lnTo>
                  <a:pt x="1450" y="441"/>
                </a:lnTo>
                <a:lnTo>
                  <a:pt x="1449" y="446"/>
                </a:lnTo>
                <a:lnTo>
                  <a:pt x="1450" y="451"/>
                </a:lnTo>
                <a:lnTo>
                  <a:pt x="1452" y="454"/>
                </a:lnTo>
                <a:lnTo>
                  <a:pt x="1452" y="454"/>
                </a:lnTo>
                <a:lnTo>
                  <a:pt x="1454" y="454"/>
                </a:lnTo>
                <a:lnTo>
                  <a:pt x="1454" y="448"/>
                </a:lnTo>
                <a:lnTo>
                  <a:pt x="1452" y="443"/>
                </a:lnTo>
                <a:lnTo>
                  <a:pt x="1452" y="437"/>
                </a:lnTo>
                <a:lnTo>
                  <a:pt x="1454" y="431"/>
                </a:lnTo>
                <a:lnTo>
                  <a:pt x="1454" y="431"/>
                </a:lnTo>
                <a:lnTo>
                  <a:pt x="1454" y="430"/>
                </a:lnTo>
                <a:lnTo>
                  <a:pt x="1454" y="431"/>
                </a:lnTo>
                <a:lnTo>
                  <a:pt x="1454" y="431"/>
                </a:lnTo>
                <a:lnTo>
                  <a:pt x="1454" y="437"/>
                </a:lnTo>
                <a:lnTo>
                  <a:pt x="1456" y="441"/>
                </a:lnTo>
                <a:lnTo>
                  <a:pt x="1457" y="450"/>
                </a:lnTo>
                <a:lnTo>
                  <a:pt x="1462" y="457"/>
                </a:lnTo>
                <a:lnTo>
                  <a:pt x="1462" y="464"/>
                </a:lnTo>
                <a:lnTo>
                  <a:pt x="1464" y="471"/>
                </a:lnTo>
                <a:lnTo>
                  <a:pt x="1459" y="467"/>
                </a:lnTo>
                <a:lnTo>
                  <a:pt x="1457" y="461"/>
                </a:lnTo>
                <a:lnTo>
                  <a:pt x="1456" y="459"/>
                </a:lnTo>
                <a:lnTo>
                  <a:pt x="1454" y="457"/>
                </a:lnTo>
                <a:lnTo>
                  <a:pt x="1447" y="454"/>
                </a:lnTo>
                <a:lnTo>
                  <a:pt x="1444" y="446"/>
                </a:lnTo>
                <a:lnTo>
                  <a:pt x="1442" y="450"/>
                </a:lnTo>
                <a:lnTo>
                  <a:pt x="1443" y="453"/>
                </a:lnTo>
                <a:lnTo>
                  <a:pt x="1444" y="454"/>
                </a:lnTo>
                <a:lnTo>
                  <a:pt x="1444" y="455"/>
                </a:lnTo>
                <a:lnTo>
                  <a:pt x="1440" y="460"/>
                </a:lnTo>
                <a:lnTo>
                  <a:pt x="1436" y="465"/>
                </a:lnTo>
                <a:lnTo>
                  <a:pt x="1434" y="466"/>
                </a:lnTo>
                <a:lnTo>
                  <a:pt x="1434" y="468"/>
                </a:lnTo>
                <a:lnTo>
                  <a:pt x="1435" y="472"/>
                </a:lnTo>
                <a:lnTo>
                  <a:pt x="1438" y="473"/>
                </a:lnTo>
                <a:lnTo>
                  <a:pt x="1440" y="472"/>
                </a:lnTo>
                <a:lnTo>
                  <a:pt x="1441" y="473"/>
                </a:lnTo>
                <a:lnTo>
                  <a:pt x="1447" y="479"/>
                </a:lnTo>
                <a:lnTo>
                  <a:pt x="1455" y="481"/>
                </a:lnTo>
                <a:lnTo>
                  <a:pt x="1455" y="481"/>
                </a:lnTo>
                <a:lnTo>
                  <a:pt x="1456" y="482"/>
                </a:lnTo>
                <a:lnTo>
                  <a:pt x="1464" y="488"/>
                </a:lnTo>
                <a:lnTo>
                  <a:pt x="1475" y="489"/>
                </a:lnTo>
                <a:lnTo>
                  <a:pt x="1478" y="487"/>
                </a:lnTo>
                <a:lnTo>
                  <a:pt x="1476" y="485"/>
                </a:lnTo>
                <a:lnTo>
                  <a:pt x="1470" y="480"/>
                </a:lnTo>
                <a:lnTo>
                  <a:pt x="1464" y="476"/>
                </a:lnTo>
                <a:lnTo>
                  <a:pt x="1463" y="475"/>
                </a:lnTo>
                <a:lnTo>
                  <a:pt x="1464" y="473"/>
                </a:lnTo>
                <a:lnTo>
                  <a:pt x="1469" y="476"/>
                </a:lnTo>
                <a:lnTo>
                  <a:pt x="1475" y="475"/>
                </a:lnTo>
                <a:lnTo>
                  <a:pt x="1475" y="472"/>
                </a:lnTo>
                <a:lnTo>
                  <a:pt x="1473" y="467"/>
                </a:lnTo>
                <a:lnTo>
                  <a:pt x="1473" y="466"/>
                </a:lnTo>
                <a:lnTo>
                  <a:pt x="1473" y="464"/>
                </a:lnTo>
                <a:lnTo>
                  <a:pt x="1476" y="465"/>
                </a:lnTo>
                <a:lnTo>
                  <a:pt x="1477" y="466"/>
                </a:lnTo>
                <a:lnTo>
                  <a:pt x="1483" y="475"/>
                </a:lnTo>
                <a:lnTo>
                  <a:pt x="1493" y="478"/>
                </a:lnTo>
                <a:lnTo>
                  <a:pt x="1490" y="480"/>
                </a:lnTo>
                <a:lnTo>
                  <a:pt x="1486" y="480"/>
                </a:lnTo>
                <a:lnTo>
                  <a:pt x="1483" y="482"/>
                </a:lnTo>
                <a:lnTo>
                  <a:pt x="1482" y="486"/>
                </a:lnTo>
                <a:lnTo>
                  <a:pt x="1483" y="488"/>
                </a:lnTo>
                <a:lnTo>
                  <a:pt x="1485" y="487"/>
                </a:lnTo>
                <a:lnTo>
                  <a:pt x="1493" y="487"/>
                </a:lnTo>
                <a:lnTo>
                  <a:pt x="1502" y="486"/>
                </a:lnTo>
                <a:lnTo>
                  <a:pt x="1500" y="485"/>
                </a:lnTo>
                <a:lnTo>
                  <a:pt x="1499" y="483"/>
                </a:lnTo>
                <a:lnTo>
                  <a:pt x="1497" y="483"/>
                </a:lnTo>
                <a:lnTo>
                  <a:pt x="1497" y="481"/>
                </a:lnTo>
                <a:lnTo>
                  <a:pt x="1499" y="480"/>
                </a:lnTo>
                <a:lnTo>
                  <a:pt x="1502" y="481"/>
                </a:lnTo>
                <a:lnTo>
                  <a:pt x="1503" y="482"/>
                </a:lnTo>
                <a:lnTo>
                  <a:pt x="1504" y="483"/>
                </a:lnTo>
                <a:lnTo>
                  <a:pt x="1505" y="485"/>
                </a:lnTo>
                <a:lnTo>
                  <a:pt x="1507" y="485"/>
                </a:lnTo>
                <a:lnTo>
                  <a:pt x="1510" y="481"/>
                </a:lnTo>
                <a:lnTo>
                  <a:pt x="1514" y="485"/>
                </a:lnTo>
                <a:lnTo>
                  <a:pt x="1514" y="485"/>
                </a:lnTo>
                <a:lnTo>
                  <a:pt x="1516" y="485"/>
                </a:lnTo>
                <a:lnTo>
                  <a:pt x="1527" y="479"/>
                </a:lnTo>
                <a:lnTo>
                  <a:pt x="1540" y="478"/>
                </a:lnTo>
                <a:lnTo>
                  <a:pt x="1542" y="476"/>
                </a:lnTo>
                <a:lnTo>
                  <a:pt x="1542" y="474"/>
                </a:lnTo>
                <a:lnTo>
                  <a:pt x="1545" y="474"/>
                </a:lnTo>
                <a:lnTo>
                  <a:pt x="1547" y="474"/>
                </a:lnTo>
                <a:lnTo>
                  <a:pt x="1547" y="475"/>
                </a:lnTo>
                <a:lnTo>
                  <a:pt x="1548" y="475"/>
                </a:lnTo>
                <a:lnTo>
                  <a:pt x="1555" y="471"/>
                </a:lnTo>
                <a:lnTo>
                  <a:pt x="1561" y="465"/>
                </a:lnTo>
                <a:lnTo>
                  <a:pt x="1561" y="465"/>
                </a:lnTo>
                <a:lnTo>
                  <a:pt x="1566" y="465"/>
                </a:lnTo>
                <a:lnTo>
                  <a:pt x="1572" y="464"/>
                </a:lnTo>
                <a:lnTo>
                  <a:pt x="1580" y="459"/>
                </a:lnTo>
                <a:lnTo>
                  <a:pt x="1587" y="457"/>
                </a:lnTo>
                <a:lnTo>
                  <a:pt x="1596" y="455"/>
                </a:lnTo>
                <a:lnTo>
                  <a:pt x="1604" y="452"/>
                </a:lnTo>
                <a:lnTo>
                  <a:pt x="1606" y="452"/>
                </a:lnTo>
                <a:lnTo>
                  <a:pt x="1607" y="453"/>
                </a:lnTo>
                <a:lnTo>
                  <a:pt x="1613" y="454"/>
                </a:lnTo>
                <a:lnTo>
                  <a:pt x="1617" y="452"/>
                </a:lnTo>
                <a:lnTo>
                  <a:pt x="1619" y="451"/>
                </a:lnTo>
                <a:lnTo>
                  <a:pt x="1619" y="451"/>
                </a:lnTo>
                <a:lnTo>
                  <a:pt x="1623" y="451"/>
                </a:lnTo>
                <a:lnTo>
                  <a:pt x="1627" y="450"/>
                </a:lnTo>
                <a:lnTo>
                  <a:pt x="1630" y="455"/>
                </a:lnTo>
                <a:lnTo>
                  <a:pt x="1637" y="455"/>
                </a:lnTo>
                <a:lnTo>
                  <a:pt x="1641" y="455"/>
                </a:lnTo>
                <a:lnTo>
                  <a:pt x="1644" y="455"/>
                </a:lnTo>
                <a:lnTo>
                  <a:pt x="1645" y="452"/>
                </a:lnTo>
                <a:lnTo>
                  <a:pt x="1649" y="453"/>
                </a:lnTo>
                <a:lnTo>
                  <a:pt x="1647" y="455"/>
                </a:lnTo>
                <a:lnTo>
                  <a:pt x="1644" y="455"/>
                </a:lnTo>
                <a:lnTo>
                  <a:pt x="1638" y="459"/>
                </a:lnTo>
                <a:lnTo>
                  <a:pt x="1633" y="462"/>
                </a:lnTo>
                <a:lnTo>
                  <a:pt x="1640" y="461"/>
                </a:lnTo>
                <a:lnTo>
                  <a:pt x="1647" y="460"/>
                </a:lnTo>
                <a:lnTo>
                  <a:pt x="1644" y="462"/>
                </a:lnTo>
                <a:lnTo>
                  <a:pt x="1642" y="465"/>
                </a:lnTo>
                <a:lnTo>
                  <a:pt x="1638" y="466"/>
                </a:lnTo>
                <a:lnTo>
                  <a:pt x="1635" y="469"/>
                </a:lnTo>
                <a:lnTo>
                  <a:pt x="1640" y="468"/>
                </a:lnTo>
                <a:lnTo>
                  <a:pt x="1644" y="466"/>
                </a:lnTo>
                <a:lnTo>
                  <a:pt x="1662" y="459"/>
                </a:lnTo>
                <a:lnTo>
                  <a:pt x="1680" y="452"/>
                </a:lnTo>
                <a:lnTo>
                  <a:pt x="1728" y="432"/>
                </a:lnTo>
                <a:lnTo>
                  <a:pt x="1773" y="404"/>
                </a:lnTo>
                <a:lnTo>
                  <a:pt x="1782" y="396"/>
                </a:lnTo>
                <a:lnTo>
                  <a:pt x="1790" y="385"/>
                </a:lnTo>
                <a:lnTo>
                  <a:pt x="1790" y="385"/>
                </a:lnTo>
                <a:lnTo>
                  <a:pt x="1792" y="384"/>
                </a:lnTo>
                <a:lnTo>
                  <a:pt x="1806" y="371"/>
                </a:lnTo>
                <a:lnTo>
                  <a:pt x="1817" y="355"/>
                </a:lnTo>
                <a:lnTo>
                  <a:pt x="1832" y="333"/>
                </a:lnTo>
                <a:lnTo>
                  <a:pt x="1844" y="309"/>
                </a:lnTo>
                <a:lnTo>
                  <a:pt x="1843" y="308"/>
                </a:lnTo>
                <a:lnTo>
                  <a:pt x="1843" y="308"/>
                </a:lnTo>
                <a:lnTo>
                  <a:pt x="1843" y="308"/>
                </a:lnTo>
                <a:lnTo>
                  <a:pt x="1844" y="309"/>
                </a:lnTo>
                <a:lnTo>
                  <a:pt x="1849" y="297"/>
                </a:lnTo>
                <a:lnTo>
                  <a:pt x="1851" y="284"/>
                </a:lnTo>
                <a:lnTo>
                  <a:pt x="1856" y="258"/>
                </a:lnTo>
                <a:lnTo>
                  <a:pt x="1855" y="234"/>
                </a:lnTo>
                <a:lnTo>
                  <a:pt x="1855" y="231"/>
                </a:lnTo>
                <a:lnTo>
                  <a:pt x="1855" y="229"/>
                </a:lnTo>
                <a:lnTo>
                  <a:pt x="1848" y="192"/>
                </a:lnTo>
                <a:lnTo>
                  <a:pt x="1832" y="157"/>
                </a:lnTo>
                <a:lnTo>
                  <a:pt x="1797" y="118"/>
                </a:lnTo>
                <a:lnTo>
                  <a:pt x="1748" y="97"/>
                </a:lnTo>
                <a:lnTo>
                  <a:pt x="1741" y="96"/>
                </a:lnTo>
                <a:lnTo>
                  <a:pt x="1734" y="94"/>
                </a:lnTo>
                <a:lnTo>
                  <a:pt x="1716" y="94"/>
                </a:lnTo>
                <a:lnTo>
                  <a:pt x="1697" y="94"/>
                </a:lnTo>
                <a:lnTo>
                  <a:pt x="1680" y="95"/>
                </a:lnTo>
                <a:lnTo>
                  <a:pt x="1664" y="98"/>
                </a:lnTo>
                <a:lnTo>
                  <a:pt x="1654" y="101"/>
                </a:lnTo>
                <a:lnTo>
                  <a:pt x="1643" y="106"/>
                </a:lnTo>
                <a:lnTo>
                  <a:pt x="1645" y="106"/>
                </a:lnTo>
                <a:lnTo>
                  <a:pt x="1647" y="106"/>
                </a:lnTo>
                <a:lnTo>
                  <a:pt x="1645" y="106"/>
                </a:lnTo>
                <a:lnTo>
                  <a:pt x="1643" y="106"/>
                </a:lnTo>
                <a:lnTo>
                  <a:pt x="1638" y="110"/>
                </a:lnTo>
                <a:lnTo>
                  <a:pt x="1635" y="113"/>
                </a:lnTo>
                <a:lnTo>
                  <a:pt x="1634" y="115"/>
                </a:lnTo>
                <a:lnTo>
                  <a:pt x="1631" y="116"/>
                </a:lnTo>
                <a:lnTo>
                  <a:pt x="1629" y="116"/>
                </a:lnTo>
                <a:lnTo>
                  <a:pt x="1628" y="117"/>
                </a:lnTo>
                <a:lnTo>
                  <a:pt x="1614" y="126"/>
                </a:lnTo>
                <a:lnTo>
                  <a:pt x="1601" y="137"/>
                </a:lnTo>
                <a:lnTo>
                  <a:pt x="1592" y="146"/>
                </a:lnTo>
                <a:lnTo>
                  <a:pt x="1583" y="155"/>
                </a:lnTo>
                <a:lnTo>
                  <a:pt x="1578" y="165"/>
                </a:lnTo>
                <a:lnTo>
                  <a:pt x="1572" y="173"/>
                </a:lnTo>
                <a:lnTo>
                  <a:pt x="1572" y="179"/>
                </a:lnTo>
                <a:lnTo>
                  <a:pt x="1567" y="181"/>
                </a:lnTo>
                <a:lnTo>
                  <a:pt x="1568" y="178"/>
                </a:lnTo>
                <a:lnTo>
                  <a:pt x="1571" y="174"/>
                </a:lnTo>
                <a:lnTo>
                  <a:pt x="1569" y="174"/>
                </a:lnTo>
                <a:lnTo>
                  <a:pt x="1568" y="173"/>
                </a:lnTo>
                <a:lnTo>
                  <a:pt x="1547" y="160"/>
                </a:lnTo>
                <a:lnTo>
                  <a:pt x="1523" y="158"/>
                </a:lnTo>
                <a:lnTo>
                  <a:pt x="1513" y="161"/>
                </a:lnTo>
                <a:lnTo>
                  <a:pt x="1509" y="171"/>
                </a:lnTo>
                <a:lnTo>
                  <a:pt x="1521" y="167"/>
                </a:lnTo>
                <a:lnTo>
                  <a:pt x="1534" y="164"/>
                </a:lnTo>
                <a:lnTo>
                  <a:pt x="1544" y="164"/>
                </a:lnTo>
                <a:lnTo>
                  <a:pt x="1547" y="173"/>
                </a:lnTo>
                <a:lnTo>
                  <a:pt x="1547" y="180"/>
                </a:lnTo>
                <a:lnTo>
                  <a:pt x="1542" y="186"/>
                </a:lnTo>
                <a:lnTo>
                  <a:pt x="1537" y="186"/>
                </a:lnTo>
                <a:lnTo>
                  <a:pt x="1532" y="190"/>
                </a:lnTo>
                <a:lnTo>
                  <a:pt x="1527" y="195"/>
                </a:lnTo>
                <a:lnTo>
                  <a:pt x="1521" y="195"/>
                </a:lnTo>
                <a:lnTo>
                  <a:pt x="1521" y="187"/>
                </a:lnTo>
                <a:lnTo>
                  <a:pt x="1516" y="180"/>
                </a:lnTo>
                <a:lnTo>
                  <a:pt x="1513" y="182"/>
                </a:lnTo>
                <a:lnTo>
                  <a:pt x="1513" y="187"/>
                </a:lnTo>
                <a:lnTo>
                  <a:pt x="1509" y="183"/>
                </a:lnTo>
                <a:lnTo>
                  <a:pt x="1505" y="178"/>
                </a:lnTo>
                <a:lnTo>
                  <a:pt x="1502" y="185"/>
                </a:lnTo>
                <a:lnTo>
                  <a:pt x="1499" y="193"/>
                </a:lnTo>
                <a:lnTo>
                  <a:pt x="1495" y="189"/>
                </a:lnTo>
                <a:lnTo>
                  <a:pt x="1490" y="186"/>
                </a:lnTo>
                <a:lnTo>
                  <a:pt x="1488" y="183"/>
                </a:lnTo>
                <a:lnTo>
                  <a:pt x="1483" y="185"/>
                </a:lnTo>
                <a:lnTo>
                  <a:pt x="1481" y="185"/>
                </a:lnTo>
                <a:lnTo>
                  <a:pt x="1481" y="182"/>
                </a:lnTo>
                <a:lnTo>
                  <a:pt x="1482" y="180"/>
                </a:lnTo>
                <a:lnTo>
                  <a:pt x="1481" y="179"/>
                </a:lnTo>
                <a:lnTo>
                  <a:pt x="1473" y="173"/>
                </a:lnTo>
                <a:lnTo>
                  <a:pt x="1464" y="169"/>
                </a:lnTo>
                <a:lnTo>
                  <a:pt x="1463" y="169"/>
                </a:lnTo>
                <a:lnTo>
                  <a:pt x="1461" y="168"/>
                </a:lnTo>
                <a:lnTo>
                  <a:pt x="1450" y="165"/>
                </a:lnTo>
                <a:lnTo>
                  <a:pt x="1442" y="160"/>
                </a:lnTo>
                <a:lnTo>
                  <a:pt x="1438" y="159"/>
                </a:lnTo>
                <a:lnTo>
                  <a:pt x="1436" y="160"/>
                </a:lnTo>
                <a:lnTo>
                  <a:pt x="1431" y="161"/>
                </a:lnTo>
                <a:lnTo>
                  <a:pt x="1428" y="159"/>
                </a:lnTo>
                <a:lnTo>
                  <a:pt x="1427" y="158"/>
                </a:lnTo>
                <a:lnTo>
                  <a:pt x="1424" y="158"/>
                </a:lnTo>
                <a:lnTo>
                  <a:pt x="1416" y="157"/>
                </a:lnTo>
                <a:lnTo>
                  <a:pt x="1417" y="148"/>
                </a:lnTo>
                <a:lnTo>
                  <a:pt x="1423" y="151"/>
                </a:lnTo>
                <a:lnTo>
                  <a:pt x="1429" y="154"/>
                </a:lnTo>
                <a:lnTo>
                  <a:pt x="1431" y="155"/>
                </a:lnTo>
                <a:lnTo>
                  <a:pt x="1434" y="155"/>
                </a:lnTo>
                <a:lnTo>
                  <a:pt x="1434" y="153"/>
                </a:lnTo>
                <a:lnTo>
                  <a:pt x="1433" y="151"/>
                </a:lnTo>
                <a:lnTo>
                  <a:pt x="1429" y="145"/>
                </a:lnTo>
                <a:lnTo>
                  <a:pt x="1424" y="139"/>
                </a:lnTo>
                <a:lnTo>
                  <a:pt x="1409" y="117"/>
                </a:lnTo>
                <a:lnTo>
                  <a:pt x="1395" y="92"/>
                </a:lnTo>
                <a:lnTo>
                  <a:pt x="1381" y="75"/>
                </a:lnTo>
                <a:lnTo>
                  <a:pt x="1367" y="57"/>
                </a:lnTo>
                <a:lnTo>
                  <a:pt x="1359" y="49"/>
                </a:lnTo>
                <a:lnTo>
                  <a:pt x="1350" y="42"/>
                </a:lnTo>
                <a:lnTo>
                  <a:pt x="1344" y="40"/>
                </a:lnTo>
                <a:lnTo>
                  <a:pt x="1339" y="43"/>
                </a:lnTo>
                <a:lnTo>
                  <a:pt x="1334" y="48"/>
                </a:lnTo>
                <a:lnTo>
                  <a:pt x="1330" y="48"/>
                </a:lnTo>
                <a:lnTo>
                  <a:pt x="1325" y="46"/>
                </a:lnTo>
                <a:lnTo>
                  <a:pt x="1321" y="41"/>
                </a:lnTo>
                <a:lnTo>
                  <a:pt x="1321" y="39"/>
                </a:lnTo>
                <a:lnTo>
                  <a:pt x="1320" y="38"/>
                </a:lnTo>
                <a:lnTo>
                  <a:pt x="1311" y="34"/>
                </a:lnTo>
                <a:lnTo>
                  <a:pt x="1305" y="26"/>
                </a:lnTo>
                <a:lnTo>
                  <a:pt x="1303" y="21"/>
                </a:lnTo>
                <a:lnTo>
                  <a:pt x="1298" y="21"/>
                </a:lnTo>
                <a:lnTo>
                  <a:pt x="1295" y="21"/>
                </a:lnTo>
                <a:lnTo>
                  <a:pt x="1293" y="19"/>
                </a:lnTo>
                <a:lnTo>
                  <a:pt x="1292" y="17"/>
                </a:lnTo>
                <a:lnTo>
                  <a:pt x="1290" y="18"/>
                </a:lnTo>
                <a:lnTo>
                  <a:pt x="1284" y="13"/>
                </a:lnTo>
                <a:lnTo>
                  <a:pt x="1278" y="6"/>
                </a:lnTo>
                <a:lnTo>
                  <a:pt x="1277" y="5"/>
                </a:lnTo>
                <a:lnTo>
                  <a:pt x="1276" y="6"/>
                </a:lnTo>
                <a:lnTo>
                  <a:pt x="1268" y="12"/>
                </a:lnTo>
                <a:lnTo>
                  <a:pt x="1260" y="8"/>
                </a:lnTo>
                <a:lnTo>
                  <a:pt x="1252" y="6"/>
                </a:lnTo>
                <a:lnTo>
                  <a:pt x="1245" y="5"/>
                </a:lnTo>
                <a:lnTo>
                  <a:pt x="1244" y="5"/>
                </a:lnTo>
                <a:lnTo>
                  <a:pt x="1242" y="4"/>
                </a:lnTo>
                <a:lnTo>
                  <a:pt x="1227" y="0"/>
                </a:lnTo>
                <a:lnTo>
                  <a:pt x="1210" y="3"/>
                </a:lnTo>
                <a:lnTo>
                  <a:pt x="1199" y="4"/>
                </a:lnTo>
                <a:lnTo>
                  <a:pt x="1187" y="7"/>
                </a:lnTo>
                <a:lnTo>
                  <a:pt x="1175" y="10"/>
                </a:lnTo>
                <a:lnTo>
                  <a:pt x="1165" y="13"/>
                </a:lnTo>
                <a:lnTo>
                  <a:pt x="1154" y="17"/>
                </a:lnTo>
                <a:lnTo>
                  <a:pt x="1144" y="18"/>
                </a:lnTo>
                <a:lnTo>
                  <a:pt x="1140" y="19"/>
                </a:lnTo>
                <a:lnTo>
                  <a:pt x="1138" y="20"/>
                </a:lnTo>
                <a:lnTo>
                  <a:pt x="1126" y="28"/>
                </a:lnTo>
                <a:lnTo>
                  <a:pt x="1115" y="36"/>
                </a:lnTo>
                <a:lnTo>
                  <a:pt x="1104" y="43"/>
                </a:lnTo>
                <a:lnTo>
                  <a:pt x="1095" y="50"/>
                </a:lnTo>
                <a:lnTo>
                  <a:pt x="1071" y="71"/>
                </a:lnTo>
                <a:lnTo>
                  <a:pt x="1047" y="90"/>
                </a:lnTo>
                <a:lnTo>
                  <a:pt x="1028" y="102"/>
                </a:lnTo>
                <a:lnTo>
                  <a:pt x="1008" y="113"/>
                </a:lnTo>
                <a:lnTo>
                  <a:pt x="985" y="125"/>
                </a:lnTo>
                <a:lnTo>
                  <a:pt x="960" y="132"/>
                </a:lnTo>
                <a:lnTo>
                  <a:pt x="937" y="136"/>
                </a:lnTo>
                <a:lnTo>
                  <a:pt x="913" y="139"/>
                </a:lnTo>
                <a:lnTo>
                  <a:pt x="901" y="140"/>
                </a:lnTo>
                <a:lnTo>
                  <a:pt x="888" y="141"/>
                </a:lnTo>
                <a:lnTo>
                  <a:pt x="867" y="144"/>
                </a:lnTo>
                <a:lnTo>
                  <a:pt x="846" y="145"/>
                </a:lnTo>
                <a:lnTo>
                  <a:pt x="842" y="145"/>
                </a:lnTo>
                <a:lnTo>
                  <a:pt x="842" y="148"/>
                </a:lnTo>
                <a:lnTo>
                  <a:pt x="840" y="154"/>
                </a:lnTo>
                <a:lnTo>
                  <a:pt x="836" y="157"/>
                </a:lnTo>
                <a:lnTo>
                  <a:pt x="826" y="159"/>
                </a:lnTo>
                <a:lnTo>
                  <a:pt x="814" y="161"/>
                </a:lnTo>
                <a:lnTo>
                  <a:pt x="808" y="161"/>
                </a:lnTo>
                <a:lnTo>
                  <a:pt x="803" y="164"/>
                </a:lnTo>
                <a:lnTo>
                  <a:pt x="800" y="153"/>
                </a:lnTo>
                <a:lnTo>
                  <a:pt x="788" y="152"/>
                </a:lnTo>
                <a:lnTo>
                  <a:pt x="781" y="152"/>
                </a:lnTo>
                <a:lnTo>
                  <a:pt x="775" y="153"/>
                </a:lnTo>
                <a:lnTo>
                  <a:pt x="745" y="153"/>
                </a:lnTo>
                <a:lnTo>
                  <a:pt x="716" y="155"/>
                </a:lnTo>
                <a:lnTo>
                  <a:pt x="704" y="155"/>
                </a:lnTo>
                <a:lnTo>
                  <a:pt x="692" y="157"/>
                </a:lnTo>
                <a:lnTo>
                  <a:pt x="682" y="159"/>
                </a:lnTo>
                <a:lnTo>
                  <a:pt x="672" y="155"/>
                </a:lnTo>
                <a:lnTo>
                  <a:pt x="672" y="157"/>
                </a:lnTo>
                <a:lnTo>
                  <a:pt x="671" y="157"/>
                </a:lnTo>
                <a:lnTo>
                  <a:pt x="675" y="165"/>
                </a:lnTo>
                <a:lnTo>
                  <a:pt x="671" y="173"/>
                </a:lnTo>
                <a:lnTo>
                  <a:pt x="670" y="174"/>
                </a:lnTo>
                <a:lnTo>
                  <a:pt x="671" y="176"/>
                </a:lnTo>
                <a:lnTo>
                  <a:pt x="674" y="179"/>
                </a:lnTo>
                <a:lnTo>
                  <a:pt x="674" y="182"/>
                </a:lnTo>
                <a:lnTo>
                  <a:pt x="664" y="174"/>
                </a:lnTo>
                <a:lnTo>
                  <a:pt x="655" y="165"/>
                </a:lnTo>
                <a:lnTo>
                  <a:pt x="655" y="162"/>
                </a:lnTo>
                <a:lnTo>
                  <a:pt x="655" y="162"/>
                </a:lnTo>
                <a:lnTo>
                  <a:pt x="657" y="161"/>
                </a:lnTo>
                <a:lnTo>
                  <a:pt x="658" y="161"/>
                </a:lnTo>
                <a:lnTo>
                  <a:pt x="660" y="164"/>
                </a:lnTo>
                <a:lnTo>
                  <a:pt x="661" y="166"/>
                </a:lnTo>
                <a:lnTo>
                  <a:pt x="665" y="169"/>
                </a:lnTo>
                <a:lnTo>
                  <a:pt x="670" y="167"/>
                </a:lnTo>
                <a:lnTo>
                  <a:pt x="671" y="164"/>
                </a:lnTo>
                <a:lnTo>
                  <a:pt x="669" y="160"/>
                </a:lnTo>
                <a:lnTo>
                  <a:pt x="664" y="158"/>
                </a:lnTo>
                <a:lnTo>
                  <a:pt x="660" y="157"/>
                </a:lnTo>
                <a:lnTo>
                  <a:pt x="653" y="153"/>
                </a:lnTo>
                <a:lnTo>
                  <a:pt x="646" y="153"/>
                </a:lnTo>
                <a:lnTo>
                  <a:pt x="603" y="153"/>
                </a:lnTo>
                <a:lnTo>
                  <a:pt x="563" y="150"/>
                </a:lnTo>
                <a:lnTo>
                  <a:pt x="538" y="151"/>
                </a:lnTo>
                <a:lnTo>
                  <a:pt x="516" y="159"/>
                </a:lnTo>
                <a:lnTo>
                  <a:pt x="510" y="160"/>
                </a:lnTo>
                <a:lnTo>
                  <a:pt x="506" y="164"/>
                </a:lnTo>
                <a:lnTo>
                  <a:pt x="494" y="168"/>
                </a:lnTo>
                <a:lnTo>
                  <a:pt x="481" y="174"/>
                </a:lnTo>
                <a:lnTo>
                  <a:pt x="480" y="174"/>
                </a:lnTo>
                <a:lnTo>
                  <a:pt x="478" y="175"/>
                </a:lnTo>
                <a:lnTo>
                  <a:pt x="478" y="176"/>
                </a:lnTo>
                <a:lnTo>
                  <a:pt x="478" y="176"/>
                </a:lnTo>
                <a:lnTo>
                  <a:pt x="465" y="181"/>
                </a:lnTo>
                <a:lnTo>
                  <a:pt x="455" y="188"/>
                </a:lnTo>
                <a:lnTo>
                  <a:pt x="444" y="193"/>
                </a:lnTo>
                <a:lnTo>
                  <a:pt x="436" y="200"/>
                </a:lnTo>
                <a:lnTo>
                  <a:pt x="409" y="218"/>
                </a:lnTo>
                <a:lnTo>
                  <a:pt x="384" y="237"/>
                </a:lnTo>
                <a:lnTo>
                  <a:pt x="378" y="241"/>
                </a:lnTo>
                <a:lnTo>
                  <a:pt x="372" y="245"/>
                </a:lnTo>
                <a:lnTo>
                  <a:pt x="345" y="270"/>
                </a:lnTo>
                <a:lnTo>
                  <a:pt x="313" y="288"/>
                </a:lnTo>
                <a:lnTo>
                  <a:pt x="294" y="300"/>
                </a:lnTo>
                <a:lnTo>
                  <a:pt x="276" y="314"/>
                </a:lnTo>
                <a:lnTo>
                  <a:pt x="248" y="345"/>
                </a:lnTo>
                <a:lnTo>
                  <a:pt x="221" y="376"/>
                </a:lnTo>
                <a:lnTo>
                  <a:pt x="208" y="391"/>
                </a:lnTo>
                <a:lnTo>
                  <a:pt x="197" y="406"/>
                </a:lnTo>
                <a:lnTo>
                  <a:pt x="186" y="420"/>
                </a:lnTo>
                <a:lnTo>
                  <a:pt x="174" y="434"/>
                </a:lnTo>
                <a:lnTo>
                  <a:pt x="147" y="472"/>
                </a:lnTo>
                <a:lnTo>
                  <a:pt x="125" y="513"/>
                </a:lnTo>
                <a:lnTo>
                  <a:pt x="118" y="527"/>
                </a:lnTo>
                <a:lnTo>
                  <a:pt x="114" y="543"/>
                </a:lnTo>
                <a:lnTo>
                  <a:pt x="111" y="544"/>
                </a:lnTo>
                <a:lnTo>
                  <a:pt x="111" y="548"/>
                </a:lnTo>
                <a:lnTo>
                  <a:pt x="105" y="574"/>
                </a:lnTo>
                <a:lnTo>
                  <a:pt x="102" y="601"/>
                </a:lnTo>
                <a:lnTo>
                  <a:pt x="98" y="623"/>
                </a:lnTo>
                <a:lnTo>
                  <a:pt x="98" y="647"/>
                </a:lnTo>
                <a:lnTo>
                  <a:pt x="99" y="646"/>
                </a:lnTo>
                <a:lnTo>
                  <a:pt x="102" y="644"/>
                </a:lnTo>
                <a:lnTo>
                  <a:pt x="99" y="646"/>
                </a:lnTo>
                <a:lnTo>
                  <a:pt x="98" y="647"/>
                </a:lnTo>
                <a:lnTo>
                  <a:pt x="99" y="661"/>
                </a:lnTo>
                <a:lnTo>
                  <a:pt x="99" y="674"/>
                </a:lnTo>
                <a:lnTo>
                  <a:pt x="101" y="675"/>
                </a:lnTo>
                <a:lnTo>
                  <a:pt x="102" y="676"/>
                </a:lnTo>
                <a:lnTo>
                  <a:pt x="106" y="688"/>
                </a:lnTo>
                <a:lnTo>
                  <a:pt x="109" y="702"/>
                </a:lnTo>
                <a:lnTo>
                  <a:pt x="109" y="703"/>
                </a:lnTo>
                <a:lnTo>
                  <a:pt x="110" y="704"/>
                </a:lnTo>
                <a:lnTo>
                  <a:pt x="111" y="712"/>
                </a:lnTo>
                <a:lnTo>
                  <a:pt x="111" y="730"/>
                </a:lnTo>
                <a:lnTo>
                  <a:pt x="109" y="747"/>
                </a:lnTo>
                <a:lnTo>
                  <a:pt x="109" y="752"/>
                </a:lnTo>
                <a:lnTo>
                  <a:pt x="109" y="755"/>
                </a:lnTo>
                <a:lnTo>
                  <a:pt x="108" y="756"/>
                </a:lnTo>
                <a:lnTo>
                  <a:pt x="108" y="759"/>
                </a:lnTo>
                <a:lnTo>
                  <a:pt x="111" y="760"/>
                </a:lnTo>
                <a:lnTo>
                  <a:pt x="112" y="762"/>
                </a:lnTo>
                <a:lnTo>
                  <a:pt x="111" y="760"/>
                </a:lnTo>
                <a:lnTo>
                  <a:pt x="108" y="759"/>
                </a:lnTo>
                <a:lnTo>
                  <a:pt x="106" y="767"/>
                </a:lnTo>
                <a:lnTo>
                  <a:pt x="106" y="775"/>
                </a:lnTo>
                <a:lnTo>
                  <a:pt x="106" y="776"/>
                </a:lnTo>
                <a:lnTo>
                  <a:pt x="106" y="776"/>
                </a:lnTo>
                <a:lnTo>
                  <a:pt x="109" y="777"/>
                </a:lnTo>
                <a:lnTo>
                  <a:pt x="111" y="779"/>
                </a:lnTo>
                <a:lnTo>
                  <a:pt x="115" y="776"/>
                </a:lnTo>
                <a:lnTo>
                  <a:pt x="118" y="775"/>
                </a:lnTo>
                <a:lnTo>
                  <a:pt x="115" y="776"/>
                </a:lnTo>
                <a:lnTo>
                  <a:pt x="111" y="779"/>
                </a:lnTo>
                <a:lnTo>
                  <a:pt x="109" y="777"/>
                </a:lnTo>
                <a:lnTo>
                  <a:pt x="106" y="776"/>
                </a:lnTo>
                <a:lnTo>
                  <a:pt x="103" y="790"/>
                </a:lnTo>
                <a:lnTo>
                  <a:pt x="102" y="804"/>
                </a:lnTo>
                <a:lnTo>
                  <a:pt x="99" y="819"/>
                </a:lnTo>
                <a:lnTo>
                  <a:pt x="98" y="835"/>
                </a:lnTo>
                <a:lnTo>
                  <a:pt x="97" y="836"/>
                </a:lnTo>
                <a:lnTo>
                  <a:pt x="97" y="838"/>
                </a:lnTo>
                <a:lnTo>
                  <a:pt x="94" y="851"/>
                </a:lnTo>
                <a:lnTo>
                  <a:pt x="91" y="865"/>
                </a:lnTo>
                <a:lnTo>
                  <a:pt x="89" y="895"/>
                </a:lnTo>
                <a:lnTo>
                  <a:pt x="85" y="927"/>
                </a:lnTo>
                <a:lnTo>
                  <a:pt x="81" y="944"/>
                </a:lnTo>
                <a:lnTo>
                  <a:pt x="76" y="962"/>
                </a:lnTo>
                <a:lnTo>
                  <a:pt x="67" y="987"/>
                </a:lnTo>
                <a:lnTo>
                  <a:pt x="62" y="1014"/>
                </a:lnTo>
                <a:lnTo>
                  <a:pt x="57" y="1036"/>
                </a:lnTo>
                <a:lnTo>
                  <a:pt x="49" y="1057"/>
                </a:lnTo>
                <a:lnTo>
                  <a:pt x="42" y="1072"/>
                </a:lnTo>
                <a:lnTo>
                  <a:pt x="39" y="1087"/>
                </a:lnTo>
                <a:lnTo>
                  <a:pt x="40" y="1087"/>
                </a:lnTo>
                <a:lnTo>
                  <a:pt x="40" y="1087"/>
                </a:lnTo>
                <a:lnTo>
                  <a:pt x="40" y="1087"/>
                </a:lnTo>
                <a:lnTo>
                  <a:pt x="39" y="1087"/>
                </a:lnTo>
                <a:lnTo>
                  <a:pt x="38" y="1088"/>
                </a:lnTo>
                <a:lnTo>
                  <a:pt x="36" y="1089"/>
                </a:lnTo>
                <a:lnTo>
                  <a:pt x="28" y="1118"/>
                </a:lnTo>
                <a:lnTo>
                  <a:pt x="22" y="1147"/>
                </a:lnTo>
                <a:lnTo>
                  <a:pt x="22" y="1151"/>
                </a:lnTo>
                <a:lnTo>
                  <a:pt x="22" y="1154"/>
                </a:lnTo>
                <a:lnTo>
                  <a:pt x="22" y="1159"/>
                </a:lnTo>
                <a:lnTo>
                  <a:pt x="21" y="1163"/>
                </a:lnTo>
                <a:lnTo>
                  <a:pt x="20" y="1164"/>
                </a:lnTo>
                <a:lnTo>
                  <a:pt x="20" y="1166"/>
                </a:lnTo>
                <a:lnTo>
                  <a:pt x="20" y="1172"/>
                </a:lnTo>
                <a:lnTo>
                  <a:pt x="18" y="1178"/>
                </a:lnTo>
                <a:lnTo>
                  <a:pt x="13" y="1205"/>
                </a:lnTo>
                <a:lnTo>
                  <a:pt x="6" y="1233"/>
                </a:lnTo>
                <a:lnTo>
                  <a:pt x="7" y="1234"/>
                </a:lnTo>
                <a:lnTo>
                  <a:pt x="8" y="1235"/>
                </a:lnTo>
                <a:lnTo>
                  <a:pt x="9" y="1234"/>
                </a:lnTo>
                <a:lnTo>
                  <a:pt x="11" y="1233"/>
                </a:lnTo>
                <a:lnTo>
                  <a:pt x="14" y="1221"/>
                </a:lnTo>
                <a:lnTo>
                  <a:pt x="18" y="1209"/>
                </a:lnTo>
                <a:lnTo>
                  <a:pt x="16" y="1196"/>
                </a:lnTo>
                <a:lnTo>
                  <a:pt x="19" y="1185"/>
                </a:lnTo>
                <a:lnTo>
                  <a:pt x="19" y="1184"/>
                </a:lnTo>
                <a:lnTo>
                  <a:pt x="20" y="1184"/>
                </a:lnTo>
                <a:lnTo>
                  <a:pt x="21" y="1177"/>
                </a:lnTo>
                <a:lnTo>
                  <a:pt x="27" y="1175"/>
                </a:lnTo>
                <a:lnTo>
                  <a:pt x="28" y="1180"/>
                </a:lnTo>
                <a:lnTo>
                  <a:pt x="27" y="1186"/>
                </a:lnTo>
                <a:lnTo>
                  <a:pt x="27" y="1189"/>
                </a:lnTo>
                <a:lnTo>
                  <a:pt x="29" y="1193"/>
                </a:lnTo>
                <a:lnTo>
                  <a:pt x="30" y="1195"/>
                </a:lnTo>
                <a:lnTo>
                  <a:pt x="29" y="1199"/>
                </a:lnTo>
                <a:lnTo>
                  <a:pt x="28" y="1205"/>
                </a:lnTo>
                <a:lnTo>
                  <a:pt x="29" y="1210"/>
                </a:lnTo>
                <a:lnTo>
                  <a:pt x="30" y="1215"/>
                </a:lnTo>
                <a:lnTo>
                  <a:pt x="28" y="1220"/>
                </a:lnTo>
                <a:lnTo>
                  <a:pt x="25" y="1221"/>
                </a:lnTo>
                <a:lnTo>
                  <a:pt x="22" y="1222"/>
                </a:lnTo>
                <a:lnTo>
                  <a:pt x="22" y="1226"/>
                </a:lnTo>
                <a:lnTo>
                  <a:pt x="21" y="1229"/>
                </a:lnTo>
                <a:lnTo>
                  <a:pt x="20" y="1231"/>
                </a:lnTo>
                <a:lnTo>
                  <a:pt x="19" y="1234"/>
                </a:lnTo>
                <a:lnTo>
                  <a:pt x="20" y="1231"/>
                </a:lnTo>
                <a:lnTo>
                  <a:pt x="21" y="1229"/>
                </a:lnTo>
                <a:lnTo>
                  <a:pt x="20" y="1228"/>
                </a:lnTo>
                <a:lnTo>
                  <a:pt x="18" y="1228"/>
                </a:lnTo>
                <a:lnTo>
                  <a:pt x="16" y="1231"/>
                </a:lnTo>
                <a:lnTo>
                  <a:pt x="16" y="1235"/>
                </a:lnTo>
                <a:lnTo>
                  <a:pt x="12" y="1242"/>
                </a:lnTo>
                <a:lnTo>
                  <a:pt x="7" y="1248"/>
                </a:lnTo>
                <a:lnTo>
                  <a:pt x="5" y="1247"/>
                </a:lnTo>
                <a:lnTo>
                  <a:pt x="5" y="1244"/>
                </a:lnTo>
                <a:lnTo>
                  <a:pt x="2" y="1252"/>
                </a:lnTo>
                <a:lnTo>
                  <a:pt x="1" y="1259"/>
                </a:lnTo>
                <a:lnTo>
                  <a:pt x="1" y="1262"/>
                </a:lnTo>
                <a:lnTo>
                  <a:pt x="5" y="1263"/>
                </a:lnTo>
                <a:lnTo>
                  <a:pt x="0" y="1273"/>
                </a:lnTo>
                <a:lnTo>
                  <a:pt x="1" y="1285"/>
                </a:lnTo>
                <a:lnTo>
                  <a:pt x="4" y="1283"/>
                </a:lnTo>
                <a:lnTo>
                  <a:pt x="6" y="1282"/>
                </a:lnTo>
                <a:lnTo>
                  <a:pt x="12" y="1277"/>
                </a:lnTo>
                <a:lnTo>
                  <a:pt x="15" y="1270"/>
                </a:lnTo>
                <a:lnTo>
                  <a:pt x="16" y="1269"/>
                </a:lnTo>
                <a:lnTo>
                  <a:pt x="18" y="1268"/>
                </a:lnTo>
                <a:lnTo>
                  <a:pt x="21" y="1264"/>
                </a:lnTo>
                <a:lnTo>
                  <a:pt x="22" y="1261"/>
                </a:lnTo>
                <a:lnTo>
                  <a:pt x="22" y="1257"/>
                </a:lnTo>
                <a:lnTo>
                  <a:pt x="23" y="1255"/>
                </a:lnTo>
                <a:lnTo>
                  <a:pt x="29" y="1238"/>
                </a:lnTo>
                <a:lnTo>
                  <a:pt x="33" y="1222"/>
                </a:lnTo>
                <a:lnTo>
                  <a:pt x="33" y="1196"/>
                </a:lnTo>
                <a:lnTo>
                  <a:pt x="34" y="1172"/>
                </a:lnTo>
                <a:lnTo>
                  <a:pt x="35" y="1168"/>
                </a:lnTo>
                <a:lnTo>
                  <a:pt x="35" y="1166"/>
                </a:lnTo>
                <a:lnTo>
                  <a:pt x="40" y="1145"/>
                </a:lnTo>
                <a:lnTo>
                  <a:pt x="43" y="1124"/>
                </a:lnTo>
                <a:lnTo>
                  <a:pt x="45" y="1117"/>
                </a:lnTo>
                <a:lnTo>
                  <a:pt x="47" y="1111"/>
                </a:lnTo>
                <a:lnTo>
                  <a:pt x="56" y="1088"/>
                </a:lnTo>
                <a:lnTo>
                  <a:pt x="67" y="1065"/>
                </a:lnTo>
                <a:lnTo>
                  <a:pt x="75" y="1048"/>
                </a:lnTo>
                <a:lnTo>
                  <a:pt x="82" y="1031"/>
                </a:lnTo>
                <a:lnTo>
                  <a:pt x="87" y="1007"/>
                </a:lnTo>
                <a:lnTo>
                  <a:pt x="96" y="985"/>
                </a:lnTo>
                <a:lnTo>
                  <a:pt x="111" y="948"/>
                </a:lnTo>
                <a:lnTo>
                  <a:pt x="123" y="910"/>
                </a:lnTo>
                <a:lnTo>
                  <a:pt x="126" y="900"/>
                </a:lnTo>
                <a:lnTo>
                  <a:pt x="128" y="889"/>
                </a:lnTo>
                <a:lnTo>
                  <a:pt x="125" y="886"/>
                </a:lnTo>
                <a:lnTo>
                  <a:pt x="123" y="885"/>
                </a:lnTo>
                <a:lnTo>
                  <a:pt x="121" y="886"/>
                </a:lnTo>
                <a:lnTo>
                  <a:pt x="119" y="889"/>
                </a:lnTo>
                <a:lnTo>
                  <a:pt x="116" y="892"/>
                </a:lnTo>
                <a:lnTo>
                  <a:pt x="112" y="891"/>
                </a:lnTo>
                <a:lnTo>
                  <a:pt x="114" y="889"/>
                </a:lnTo>
                <a:lnTo>
                  <a:pt x="114" y="889"/>
                </a:lnTo>
                <a:lnTo>
                  <a:pt x="114" y="888"/>
                </a:lnTo>
                <a:lnTo>
                  <a:pt x="114" y="887"/>
                </a:lnTo>
                <a:lnTo>
                  <a:pt x="114" y="888"/>
                </a:lnTo>
                <a:lnTo>
                  <a:pt x="114" y="889"/>
                </a:lnTo>
                <a:lnTo>
                  <a:pt x="117" y="888"/>
                </a:lnTo>
                <a:lnTo>
                  <a:pt x="117" y="885"/>
                </a:lnTo>
                <a:lnTo>
                  <a:pt x="119" y="878"/>
                </a:lnTo>
                <a:lnTo>
                  <a:pt x="121" y="870"/>
                </a:lnTo>
                <a:lnTo>
                  <a:pt x="125" y="860"/>
                </a:lnTo>
                <a:lnTo>
                  <a:pt x="126" y="850"/>
                </a:lnTo>
                <a:lnTo>
                  <a:pt x="125" y="849"/>
                </a:lnTo>
                <a:lnTo>
                  <a:pt x="123" y="846"/>
                </a:lnTo>
                <a:lnTo>
                  <a:pt x="123" y="845"/>
                </a:lnTo>
                <a:lnTo>
                  <a:pt x="122" y="844"/>
                </a:lnTo>
                <a:lnTo>
                  <a:pt x="123" y="844"/>
                </a:lnTo>
                <a:lnTo>
                  <a:pt x="123" y="844"/>
                </a:lnTo>
                <a:lnTo>
                  <a:pt x="125" y="842"/>
                </a:lnTo>
                <a:lnTo>
                  <a:pt x="125" y="838"/>
                </a:lnTo>
                <a:lnTo>
                  <a:pt x="126" y="838"/>
                </a:lnTo>
                <a:lnTo>
                  <a:pt x="128" y="838"/>
                </a:lnTo>
                <a:lnTo>
                  <a:pt x="128" y="838"/>
                </a:lnTo>
                <a:lnTo>
                  <a:pt x="129" y="839"/>
                </a:lnTo>
                <a:lnTo>
                  <a:pt x="130" y="839"/>
                </a:lnTo>
                <a:lnTo>
                  <a:pt x="132" y="832"/>
                </a:lnTo>
                <a:lnTo>
                  <a:pt x="131" y="825"/>
                </a:lnTo>
                <a:lnTo>
                  <a:pt x="130" y="823"/>
                </a:lnTo>
                <a:lnTo>
                  <a:pt x="128" y="822"/>
                </a:lnTo>
                <a:lnTo>
                  <a:pt x="128" y="819"/>
                </a:lnTo>
                <a:lnTo>
                  <a:pt x="128" y="817"/>
                </a:lnTo>
                <a:lnTo>
                  <a:pt x="129" y="816"/>
                </a:lnTo>
                <a:lnTo>
                  <a:pt x="129" y="815"/>
                </a:lnTo>
                <a:lnTo>
                  <a:pt x="128" y="812"/>
                </a:lnTo>
                <a:lnTo>
                  <a:pt x="130" y="810"/>
                </a:lnTo>
                <a:lnTo>
                  <a:pt x="132" y="808"/>
                </a:lnTo>
                <a:lnTo>
                  <a:pt x="131" y="804"/>
                </a:lnTo>
                <a:lnTo>
                  <a:pt x="129" y="802"/>
                </a:lnTo>
                <a:lnTo>
                  <a:pt x="126" y="802"/>
                </a:lnTo>
                <a:lnTo>
                  <a:pt x="122" y="802"/>
                </a:lnTo>
                <a:lnTo>
                  <a:pt x="117" y="801"/>
                </a:lnTo>
                <a:lnTo>
                  <a:pt x="118" y="801"/>
                </a:lnTo>
                <a:lnTo>
                  <a:pt x="119" y="801"/>
                </a:lnTo>
                <a:lnTo>
                  <a:pt x="119" y="798"/>
                </a:lnTo>
                <a:lnTo>
                  <a:pt x="121" y="797"/>
                </a:lnTo>
                <a:lnTo>
                  <a:pt x="119" y="798"/>
                </a:lnTo>
                <a:lnTo>
                  <a:pt x="119" y="801"/>
                </a:lnTo>
                <a:lnTo>
                  <a:pt x="124" y="801"/>
                </a:lnTo>
                <a:lnTo>
                  <a:pt x="130" y="801"/>
                </a:lnTo>
                <a:lnTo>
                  <a:pt x="132" y="800"/>
                </a:lnTo>
                <a:lnTo>
                  <a:pt x="135" y="797"/>
                </a:lnTo>
                <a:lnTo>
                  <a:pt x="131" y="795"/>
                </a:lnTo>
                <a:lnTo>
                  <a:pt x="130" y="790"/>
                </a:lnTo>
                <a:lnTo>
                  <a:pt x="131" y="790"/>
                </a:lnTo>
                <a:lnTo>
                  <a:pt x="131" y="789"/>
                </a:lnTo>
                <a:lnTo>
                  <a:pt x="136" y="786"/>
                </a:lnTo>
                <a:lnTo>
                  <a:pt x="132" y="781"/>
                </a:lnTo>
                <a:lnTo>
                  <a:pt x="135" y="781"/>
                </a:lnTo>
                <a:lnTo>
                  <a:pt x="133" y="779"/>
                </a:lnTo>
                <a:lnTo>
                  <a:pt x="132" y="777"/>
                </a:lnTo>
                <a:lnTo>
                  <a:pt x="133" y="775"/>
                </a:lnTo>
                <a:lnTo>
                  <a:pt x="133" y="775"/>
                </a:lnTo>
                <a:lnTo>
                  <a:pt x="133" y="775"/>
                </a:lnTo>
                <a:lnTo>
                  <a:pt x="135" y="775"/>
                </a:lnTo>
                <a:lnTo>
                  <a:pt x="136" y="775"/>
                </a:lnTo>
                <a:lnTo>
                  <a:pt x="143" y="786"/>
                </a:lnTo>
                <a:lnTo>
                  <a:pt x="149" y="795"/>
                </a:lnTo>
                <a:lnTo>
                  <a:pt x="150" y="798"/>
                </a:lnTo>
                <a:lnTo>
                  <a:pt x="153" y="801"/>
                </a:lnTo>
                <a:lnTo>
                  <a:pt x="153" y="803"/>
                </a:lnTo>
                <a:lnTo>
                  <a:pt x="153" y="805"/>
                </a:lnTo>
                <a:lnTo>
                  <a:pt x="158" y="807"/>
                </a:lnTo>
                <a:lnTo>
                  <a:pt x="161" y="811"/>
                </a:lnTo>
                <a:lnTo>
                  <a:pt x="167" y="822"/>
                </a:lnTo>
                <a:lnTo>
                  <a:pt x="173" y="832"/>
                </a:lnTo>
                <a:lnTo>
                  <a:pt x="174" y="833"/>
                </a:lnTo>
                <a:lnTo>
                  <a:pt x="175" y="835"/>
                </a:lnTo>
                <a:lnTo>
                  <a:pt x="192" y="863"/>
                </a:lnTo>
                <a:lnTo>
                  <a:pt x="209" y="889"/>
                </a:lnTo>
                <a:lnTo>
                  <a:pt x="223" y="913"/>
                </a:lnTo>
                <a:lnTo>
                  <a:pt x="240" y="935"/>
                </a:lnTo>
                <a:lnTo>
                  <a:pt x="240" y="931"/>
                </a:lnTo>
                <a:lnTo>
                  <a:pt x="241" y="928"/>
                </a:lnTo>
                <a:lnTo>
                  <a:pt x="248" y="928"/>
                </a:lnTo>
                <a:lnTo>
                  <a:pt x="254" y="930"/>
                </a:lnTo>
                <a:lnTo>
                  <a:pt x="256" y="931"/>
                </a:lnTo>
                <a:lnTo>
                  <a:pt x="260" y="929"/>
                </a:lnTo>
                <a:lnTo>
                  <a:pt x="264" y="928"/>
                </a:lnTo>
                <a:lnTo>
                  <a:pt x="269" y="929"/>
                </a:lnTo>
                <a:lnTo>
                  <a:pt x="270" y="929"/>
                </a:lnTo>
                <a:lnTo>
                  <a:pt x="271" y="930"/>
                </a:lnTo>
                <a:lnTo>
                  <a:pt x="270" y="931"/>
                </a:lnTo>
                <a:lnTo>
                  <a:pt x="269" y="933"/>
                </a:lnTo>
                <a:lnTo>
                  <a:pt x="259" y="937"/>
                </a:lnTo>
                <a:lnTo>
                  <a:pt x="247" y="937"/>
                </a:lnTo>
                <a:lnTo>
                  <a:pt x="244" y="937"/>
                </a:lnTo>
                <a:lnTo>
                  <a:pt x="242" y="937"/>
                </a:lnTo>
                <a:lnTo>
                  <a:pt x="242" y="940"/>
                </a:lnTo>
                <a:lnTo>
                  <a:pt x="244" y="941"/>
                </a:lnTo>
                <a:lnTo>
                  <a:pt x="248" y="945"/>
                </a:lnTo>
                <a:lnTo>
                  <a:pt x="253" y="951"/>
                </a:lnTo>
                <a:lnTo>
                  <a:pt x="257" y="957"/>
                </a:lnTo>
                <a:lnTo>
                  <a:pt x="261" y="962"/>
                </a:lnTo>
                <a:lnTo>
                  <a:pt x="261" y="963"/>
                </a:lnTo>
                <a:lnTo>
                  <a:pt x="264" y="966"/>
                </a:lnTo>
                <a:lnTo>
                  <a:pt x="268" y="969"/>
                </a:lnTo>
                <a:lnTo>
                  <a:pt x="268" y="971"/>
                </a:lnTo>
                <a:lnTo>
                  <a:pt x="269" y="973"/>
                </a:lnTo>
                <a:lnTo>
                  <a:pt x="289" y="994"/>
                </a:lnTo>
                <a:lnTo>
                  <a:pt x="309" y="1015"/>
                </a:lnTo>
                <a:lnTo>
                  <a:pt x="310" y="1015"/>
                </a:lnTo>
                <a:lnTo>
                  <a:pt x="309" y="1017"/>
                </a:lnTo>
                <a:lnTo>
                  <a:pt x="310" y="1019"/>
                </a:lnTo>
                <a:lnTo>
                  <a:pt x="312" y="1020"/>
                </a:lnTo>
                <a:lnTo>
                  <a:pt x="313" y="1017"/>
                </a:lnTo>
                <a:lnTo>
                  <a:pt x="317" y="1017"/>
                </a:lnTo>
                <a:lnTo>
                  <a:pt x="318" y="1018"/>
                </a:lnTo>
                <a:lnTo>
                  <a:pt x="317" y="1020"/>
                </a:lnTo>
                <a:lnTo>
                  <a:pt x="318" y="1022"/>
                </a:lnTo>
                <a:lnTo>
                  <a:pt x="319" y="1024"/>
                </a:lnTo>
                <a:lnTo>
                  <a:pt x="322" y="1024"/>
                </a:lnTo>
                <a:lnTo>
                  <a:pt x="323" y="1022"/>
                </a:lnTo>
                <a:lnTo>
                  <a:pt x="325" y="1020"/>
                </a:lnTo>
                <a:lnTo>
                  <a:pt x="329" y="1020"/>
                </a:lnTo>
                <a:lnTo>
                  <a:pt x="329" y="1020"/>
                </a:lnTo>
                <a:lnTo>
                  <a:pt x="330" y="1020"/>
                </a:lnTo>
                <a:lnTo>
                  <a:pt x="329" y="1020"/>
                </a:lnTo>
                <a:lnTo>
                  <a:pt x="329" y="1020"/>
                </a:lnTo>
                <a:lnTo>
                  <a:pt x="329" y="1015"/>
                </a:lnTo>
                <a:lnTo>
                  <a:pt x="329" y="1011"/>
                </a:lnTo>
                <a:lnTo>
                  <a:pt x="324" y="1011"/>
                </a:lnTo>
                <a:lnTo>
                  <a:pt x="317" y="1007"/>
                </a:lnTo>
                <a:lnTo>
                  <a:pt x="324" y="1007"/>
                </a:lnTo>
                <a:lnTo>
                  <a:pt x="329" y="1011"/>
                </a:lnTo>
                <a:lnTo>
                  <a:pt x="336" y="1014"/>
                </a:lnTo>
                <a:lnTo>
                  <a:pt x="339" y="1021"/>
                </a:lnTo>
                <a:lnTo>
                  <a:pt x="340" y="1025"/>
                </a:lnTo>
                <a:lnTo>
                  <a:pt x="344" y="1027"/>
                </a:lnTo>
                <a:lnTo>
                  <a:pt x="344" y="1025"/>
                </a:lnTo>
                <a:lnTo>
                  <a:pt x="344" y="1024"/>
                </a:lnTo>
                <a:lnTo>
                  <a:pt x="343" y="1021"/>
                </a:lnTo>
                <a:lnTo>
                  <a:pt x="344" y="1020"/>
                </a:lnTo>
                <a:lnTo>
                  <a:pt x="345" y="1020"/>
                </a:lnTo>
                <a:lnTo>
                  <a:pt x="346" y="1021"/>
                </a:lnTo>
                <a:lnTo>
                  <a:pt x="352" y="1025"/>
                </a:lnTo>
                <a:lnTo>
                  <a:pt x="357" y="1029"/>
                </a:lnTo>
                <a:lnTo>
                  <a:pt x="359" y="1029"/>
                </a:lnTo>
                <a:lnTo>
                  <a:pt x="359" y="1032"/>
                </a:lnTo>
                <a:lnTo>
                  <a:pt x="358" y="1033"/>
                </a:lnTo>
                <a:lnTo>
                  <a:pt x="356" y="1033"/>
                </a:lnTo>
                <a:lnTo>
                  <a:pt x="351" y="1033"/>
                </a:lnTo>
                <a:lnTo>
                  <a:pt x="346" y="1032"/>
                </a:lnTo>
                <a:lnTo>
                  <a:pt x="339" y="1033"/>
                </a:lnTo>
                <a:lnTo>
                  <a:pt x="332" y="1036"/>
                </a:lnTo>
                <a:lnTo>
                  <a:pt x="346" y="1059"/>
                </a:lnTo>
                <a:lnTo>
                  <a:pt x="364" y="1077"/>
                </a:lnTo>
                <a:lnTo>
                  <a:pt x="381" y="1093"/>
                </a:lnTo>
                <a:lnTo>
                  <a:pt x="399" y="1109"/>
                </a:lnTo>
                <a:lnTo>
                  <a:pt x="408" y="1126"/>
                </a:lnTo>
                <a:lnTo>
                  <a:pt x="414" y="1144"/>
                </a:lnTo>
                <a:lnTo>
                  <a:pt x="420" y="1159"/>
                </a:lnTo>
                <a:lnTo>
                  <a:pt x="427" y="1174"/>
                </a:lnTo>
                <a:lnTo>
                  <a:pt x="430" y="1187"/>
                </a:lnTo>
                <a:lnTo>
                  <a:pt x="436" y="1200"/>
                </a:lnTo>
                <a:lnTo>
                  <a:pt x="439" y="1206"/>
                </a:lnTo>
                <a:lnTo>
                  <a:pt x="441" y="1210"/>
                </a:lnTo>
                <a:lnTo>
                  <a:pt x="443" y="1219"/>
                </a:lnTo>
                <a:lnTo>
                  <a:pt x="447" y="1227"/>
                </a:lnTo>
                <a:lnTo>
                  <a:pt x="453" y="1249"/>
                </a:lnTo>
                <a:lnTo>
                  <a:pt x="460" y="1271"/>
                </a:lnTo>
                <a:lnTo>
                  <a:pt x="464" y="1289"/>
                </a:lnTo>
                <a:lnTo>
                  <a:pt x="469" y="1306"/>
                </a:lnTo>
                <a:lnTo>
                  <a:pt x="469" y="1307"/>
                </a:lnTo>
                <a:lnTo>
                  <a:pt x="470" y="1310"/>
                </a:lnTo>
                <a:lnTo>
                  <a:pt x="470" y="1313"/>
                </a:lnTo>
                <a:lnTo>
                  <a:pt x="471" y="1317"/>
                </a:lnTo>
                <a:lnTo>
                  <a:pt x="473" y="1321"/>
                </a:lnTo>
                <a:lnTo>
                  <a:pt x="474" y="1325"/>
                </a:lnTo>
                <a:lnTo>
                  <a:pt x="476" y="1339"/>
                </a:lnTo>
                <a:lnTo>
                  <a:pt x="481" y="1353"/>
                </a:lnTo>
                <a:lnTo>
                  <a:pt x="490" y="1346"/>
                </a:lnTo>
                <a:lnTo>
                  <a:pt x="499" y="1338"/>
                </a:lnTo>
                <a:lnTo>
                  <a:pt x="505" y="1333"/>
                </a:lnTo>
                <a:lnTo>
                  <a:pt x="508" y="1327"/>
                </a:lnTo>
                <a:lnTo>
                  <a:pt x="511" y="1317"/>
                </a:lnTo>
                <a:lnTo>
                  <a:pt x="520" y="1311"/>
                </a:lnTo>
                <a:lnTo>
                  <a:pt x="518" y="1318"/>
                </a:lnTo>
                <a:lnTo>
                  <a:pt x="516" y="1325"/>
                </a:lnTo>
                <a:lnTo>
                  <a:pt x="517" y="1326"/>
                </a:lnTo>
                <a:lnTo>
                  <a:pt x="518" y="1327"/>
                </a:lnTo>
                <a:lnTo>
                  <a:pt x="517" y="1326"/>
                </a:lnTo>
                <a:lnTo>
                  <a:pt x="516" y="1325"/>
                </a:lnTo>
                <a:lnTo>
                  <a:pt x="511" y="1331"/>
                </a:lnTo>
                <a:lnTo>
                  <a:pt x="513" y="1338"/>
                </a:lnTo>
                <a:lnTo>
                  <a:pt x="502" y="1345"/>
                </a:lnTo>
                <a:lnTo>
                  <a:pt x="491" y="1352"/>
                </a:lnTo>
                <a:lnTo>
                  <a:pt x="487" y="1354"/>
                </a:lnTo>
                <a:lnTo>
                  <a:pt x="481" y="1354"/>
                </a:lnTo>
                <a:lnTo>
                  <a:pt x="484" y="1364"/>
                </a:lnTo>
                <a:lnTo>
                  <a:pt x="489" y="1375"/>
                </a:lnTo>
                <a:lnTo>
                  <a:pt x="490" y="1376"/>
                </a:lnTo>
                <a:lnTo>
                  <a:pt x="491" y="1378"/>
                </a:lnTo>
                <a:lnTo>
                  <a:pt x="491" y="1382"/>
                </a:lnTo>
                <a:lnTo>
                  <a:pt x="491" y="1385"/>
                </a:lnTo>
                <a:lnTo>
                  <a:pt x="485" y="1392"/>
                </a:lnTo>
                <a:lnTo>
                  <a:pt x="483" y="1402"/>
                </a:lnTo>
                <a:lnTo>
                  <a:pt x="483" y="1405"/>
                </a:lnTo>
                <a:lnTo>
                  <a:pt x="484" y="1408"/>
                </a:lnTo>
                <a:lnTo>
                  <a:pt x="485" y="1409"/>
                </a:lnTo>
                <a:lnTo>
                  <a:pt x="485" y="1410"/>
                </a:lnTo>
                <a:lnTo>
                  <a:pt x="483" y="1413"/>
                </a:lnTo>
                <a:lnTo>
                  <a:pt x="482" y="1418"/>
                </a:lnTo>
                <a:lnTo>
                  <a:pt x="482" y="1425"/>
                </a:lnTo>
                <a:lnTo>
                  <a:pt x="482" y="1433"/>
                </a:lnTo>
                <a:lnTo>
                  <a:pt x="482" y="1441"/>
                </a:lnTo>
                <a:lnTo>
                  <a:pt x="485" y="1450"/>
                </a:lnTo>
                <a:lnTo>
                  <a:pt x="488" y="1452"/>
                </a:lnTo>
                <a:lnTo>
                  <a:pt x="490" y="1454"/>
                </a:lnTo>
                <a:lnTo>
                  <a:pt x="490" y="1454"/>
                </a:lnTo>
                <a:lnTo>
                  <a:pt x="490" y="1454"/>
                </a:lnTo>
                <a:lnTo>
                  <a:pt x="490" y="1454"/>
                </a:lnTo>
                <a:lnTo>
                  <a:pt x="490" y="1454"/>
                </a:lnTo>
                <a:lnTo>
                  <a:pt x="495" y="1461"/>
                </a:lnTo>
                <a:lnTo>
                  <a:pt x="503" y="1462"/>
                </a:lnTo>
                <a:lnTo>
                  <a:pt x="522" y="1462"/>
                </a:lnTo>
                <a:lnTo>
                  <a:pt x="539" y="1461"/>
                </a:lnTo>
                <a:lnTo>
                  <a:pt x="543" y="1462"/>
                </a:lnTo>
                <a:lnTo>
                  <a:pt x="547" y="1462"/>
                </a:lnTo>
                <a:lnTo>
                  <a:pt x="547" y="1464"/>
                </a:lnTo>
                <a:lnTo>
                  <a:pt x="549" y="1462"/>
                </a:lnTo>
                <a:lnTo>
                  <a:pt x="550" y="1462"/>
                </a:lnTo>
                <a:lnTo>
                  <a:pt x="551" y="1462"/>
                </a:lnTo>
                <a:lnTo>
                  <a:pt x="554" y="1465"/>
                </a:lnTo>
                <a:lnTo>
                  <a:pt x="558" y="1464"/>
                </a:lnTo>
                <a:lnTo>
                  <a:pt x="564" y="1464"/>
                </a:lnTo>
                <a:lnTo>
                  <a:pt x="568" y="1464"/>
                </a:lnTo>
                <a:lnTo>
                  <a:pt x="581" y="1464"/>
                </a:lnTo>
                <a:lnTo>
                  <a:pt x="593" y="1465"/>
                </a:lnTo>
                <a:lnTo>
                  <a:pt x="599" y="1465"/>
                </a:lnTo>
                <a:lnTo>
                  <a:pt x="605" y="1464"/>
                </a:lnTo>
                <a:lnTo>
                  <a:pt x="606" y="1464"/>
                </a:lnTo>
                <a:lnTo>
                  <a:pt x="607" y="1465"/>
                </a:lnTo>
                <a:lnTo>
                  <a:pt x="608" y="1465"/>
                </a:lnTo>
                <a:lnTo>
                  <a:pt x="609" y="1465"/>
                </a:lnTo>
                <a:lnTo>
                  <a:pt x="610" y="1465"/>
                </a:lnTo>
                <a:lnTo>
                  <a:pt x="612" y="1465"/>
                </a:lnTo>
                <a:lnTo>
                  <a:pt x="613" y="1465"/>
                </a:lnTo>
                <a:lnTo>
                  <a:pt x="613" y="1464"/>
                </a:lnTo>
                <a:lnTo>
                  <a:pt x="613" y="1464"/>
                </a:lnTo>
                <a:lnTo>
                  <a:pt x="619" y="1464"/>
                </a:lnTo>
                <a:lnTo>
                  <a:pt x="623" y="1461"/>
                </a:lnTo>
                <a:lnTo>
                  <a:pt x="629" y="1462"/>
                </a:lnTo>
                <a:lnTo>
                  <a:pt x="635" y="1461"/>
                </a:lnTo>
                <a:lnTo>
                  <a:pt x="649" y="1459"/>
                </a:lnTo>
                <a:lnTo>
                  <a:pt x="664" y="1458"/>
                </a:lnTo>
                <a:lnTo>
                  <a:pt x="664" y="1455"/>
                </a:lnTo>
                <a:lnTo>
                  <a:pt x="667" y="1453"/>
                </a:lnTo>
                <a:lnTo>
                  <a:pt x="668" y="1453"/>
                </a:lnTo>
                <a:lnTo>
                  <a:pt x="668" y="1453"/>
                </a:lnTo>
                <a:lnTo>
                  <a:pt x="668" y="1452"/>
                </a:lnTo>
                <a:lnTo>
                  <a:pt x="668" y="1451"/>
                </a:lnTo>
                <a:lnTo>
                  <a:pt x="669" y="1450"/>
                </a:lnTo>
                <a:lnTo>
                  <a:pt x="670" y="1450"/>
                </a:lnTo>
                <a:lnTo>
                  <a:pt x="670" y="1450"/>
                </a:lnTo>
                <a:lnTo>
                  <a:pt x="674" y="1450"/>
                </a:lnTo>
                <a:lnTo>
                  <a:pt x="677" y="1450"/>
                </a:lnTo>
                <a:lnTo>
                  <a:pt x="684" y="1451"/>
                </a:lnTo>
                <a:lnTo>
                  <a:pt x="692" y="1451"/>
                </a:lnTo>
                <a:lnTo>
                  <a:pt x="702" y="1448"/>
                </a:lnTo>
                <a:lnTo>
                  <a:pt x="701" y="1437"/>
                </a:lnTo>
                <a:lnTo>
                  <a:pt x="699" y="1434"/>
                </a:lnTo>
                <a:lnTo>
                  <a:pt x="697" y="1432"/>
                </a:lnTo>
                <a:lnTo>
                  <a:pt x="695" y="1431"/>
                </a:lnTo>
                <a:lnTo>
                  <a:pt x="694" y="1429"/>
                </a:lnTo>
                <a:lnTo>
                  <a:pt x="699" y="1429"/>
                </a:lnTo>
                <a:lnTo>
                  <a:pt x="704" y="1423"/>
                </a:lnTo>
                <a:lnTo>
                  <a:pt x="705" y="1422"/>
                </a:lnTo>
                <a:lnTo>
                  <a:pt x="708" y="1423"/>
                </a:lnTo>
                <a:lnTo>
                  <a:pt x="715" y="1425"/>
                </a:lnTo>
                <a:lnTo>
                  <a:pt x="720" y="1419"/>
                </a:lnTo>
                <a:lnTo>
                  <a:pt x="723" y="1416"/>
                </a:lnTo>
                <a:lnTo>
                  <a:pt x="727" y="1415"/>
                </a:lnTo>
                <a:lnTo>
                  <a:pt x="724" y="1419"/>
                </a:lnTo>
                <a:lnTo>
                  <a:pt x="723" y="1424"/>
                </a:lnTo>
                <a:lnTo>
                  <a:pt x="724" y="1424"/>
                </a:lnTo>
                <a:lnTo>
                  <a:pt x="725" y="1424"/>
                </a:lnTo>
                <a:lnTo>
                  <a:pt x="724" y="1424"/>
                </a:lnTo>
                <a:lnTo>
                  <a:pt x="723" y="1424"/>
                </a:lnTo>
                <a:lnTo>
                  <a:pt x="719" y="1431"/>
                </a:lnTo>
                <a:lnTo>
                  <a:pt x="718" y="1438"/>
                </a:lnTo>
                <a:lnTo>
                  <a:pt x="715" y="1438"/>
                </a:lnTo>
                <a:lnTo>
                  <a:pt x="710" y="1436"/>
                </a:lnTo>
                <a:lnTo>
                  <a:pt x="711" y="1440"/>
                </a:lnTo>
                <a:lnTo>
                  <a:pt x="708" y="1443"/>
                </a:lnTo>
                <a:lnTo>
                  <a:pt x="706" y="1445"/>
                </a:lnTo>
                <a:lnTo>
                  <a:pt x="708" y="1447"/>
                </a:lnTo>
                <a:lnTo>
                  <a:pt x="712" y="1451"/>
                </a:lnTo>
                <a:lnTo>
                  <a:pt x="718" y="1450"/>
                </a:lnTo>
                <a:lnTo>
                  <a:pt x="719" y="1451"/>
                </a:lnTo>
                <a:lnTo>
                  <a:pt x="719" y="1451"/>
                </a:lnTo>
                <a:lnTo>
                  <a:pt x="720" y="1454"/>
                </a:lnTo>
                <a:lnTo>
                  <a:pt x="722" y="1458"/>
                </a:lnTo>
                <a:lnTo>
                  <a:pt x="724" y="1461"/>
                </a:lnTo>
                <a:lnTo>
                  <a:pt x="727" y="1465"/>
                </a:lnTo>
                <a:lnTo>
                  <a:pt x="733" y="1472"/>
                </a:lnTo>
                <a:lnTo>
                  <a:pt x="743" y="1473"/>
                </a:lnTo>
                <a:lnTo>
                  <a:pt x="750" y="1478"/>
                </a:lnTo>
                <a:lnTo>
                  <a:pt x="758" y="1481"/>
                </a:lnTo>
                <a:lnTo>
                  <a:pt x="767" y="1485"/>
                </a:lnTo>
                <a:lnTo>
                  <a:pt x="778" y="1487"/>
                </a:lnTo>
                <a:lnTo>
                  <a:pt x="785" y="1489"/>
                </a:lnTo>
                <a:lnTo>
                  <a:pt x="792" y="1489"/>
                </a:lnTo>
                <a:lnTo>
                  <a:pt x="795" y="1489"/>
                </a:lnTo>
                <a:lnTo>
                  <a:pt x="799" y="1489"/>
                </a:lnTo>
                <a:lnTo>
                  <a:pt x="800" y="1489"/>
                </a:lnTo>
                <a:lnTo>
                  <a:pt x="802" y="1489"/>
                </a:lnTo>
                <a:lnTo>
                  <a:pt x="800" y="1489"/>
                </a:lnTo>
                <a:lnTo>
                  <a:pt x="799" y="1489"/>
                </a:lnTo>
                <a:lnTo>
                  <a:pt x="800" y="1492"/>
                </a:lnTo>
                <a:lnTo>
                  <a:pt x="802" y="1489"/>
                </a:lnTo>
                <a:lnTo>
                  <a:pt x="805" y="1489"/>
                </a:lnTo>
                <a:lnTo>
                  <a:pt x="806" y="1489"/>
                </a:lnTo>
                <a:lnTo>
                  <a:pt x="807" y="1489"/>
                </a:lnTo>
                <a:lnTo>
                  <a:pt x="807" y="1489"/>
                </a:lnTo>
                <a:lnTo>
                  <a:pt x="808" y="1489"/>
                </a:lnTo>
                <a:lnTo>
                  <a:pt x="810" y="1489"/>
                </a:lnTo>
                <a:lnTo>
                  <a:pt x="812" y="1492"/>
                </a:lnTo>
                <a:lnTo>
                  <a:pt x="813" y="1492"/>
                </a:lnTo>
                <a:lnTo>
                  <a:pt x="822" y="1494"/>
                </a:lnTo>
                <a:lnTo>
                  <a:pt x="832" y="1497"/>
                </a:lnTo>
                <a:lnTo>
                  <a:pt x="836" y="1501"/>
                </a:lnTo>
                <a:lnTo>
                  <a:pt x="843" y="1502"/>
                </a:lnTo>
                <a:lnTo>
                  <a:pt x="858" y="1504"/>
                </a:lnTo>
                <a:lnTo>
                  <a:pt x="875" y="1504"/>
                </a:lnTo>
                <a:lnTo>
                  <a:pt x="889" y="1502"/>
                </a:lnTo>
                <a:lnTo>
                  <a:pt x="896" y="1492"/>
                </a:lnTo>
                <a:lnTo>
                  <a:pt x="902" y="1492"/>
                </a:lnTo>
                <a:lnTo>
                  <a:pt x="908" y="1492"/>
                </a:lnTo>
                <a:lnTo>
                  <a:pt x="919" y="1490"/>
                </a:lnTo>
                <a:lnTo>
                  <a:pt x="932" y="1487"/>
                </a:lnTo>
                <a:lnTo>
                  <a:pt x="938" y="1482"/>
                </a:lnTo>
                <a:lnTo>
                  <a:pt x="938" y="1475"/>
                </a:lnTo>
                <a:lnTo>
                  <a:pt x="934" y="1464"/>
                </a:lnTo>
                <a:lnTo>
                  <a:pt x="932" y="1451"/>
                </a:lnTo>
                <a:lnTo>
                  <a:pt x="931" y="1450"/>
                </a:lnTo>
                <a:lnTo>
                  <a:pt x="931" y="1447"/>
                </a:lnTo>
                <a:lnTo>
                  <a:pt x="931" y="1446"/>
                </a:lnTo>
                <a:lnTo>
                  <a:pt x="930" y="1445"/>
                </a:lnTo>
                <a:lnTo>
                  <a:pt x="930" y="1444"/>
                </a:lnTo>
                <a:lnTo>
                  <a:pt x="929" y="1443"/>
                </a:lnTo>
                <a:lnTo>
                  <a:pt x="926" y="1437"/>
                </a:lnTo>
                <a:lnTo>
                  <a:pt x="922" y="1433"/>
                </a:lnTo>
                <a:lnTo>
                  <a:pt x="922" y="1433"/>
                </a:lnTo>
                <a:lnTo>
                  <a:pt x="922" y="1431"/>
                </a:lnTo>
                <a:lnTo>
                  <a:pt x="920" y="1430"/>
                </a:lnTo>
                <a:lnTo>
                  <a:pt x="911" y="1422"/>
                </a:lnTo>
                <a:lnTo>
                  <a:pt x="902" y="1412"/>
                </a:lnTo>
                <a:lnTo>
                  <a:pt x="898" y="1408"/>
                </a:lnTo>
                <a:lnTo>
                  <a:pt x="892" y="1404"/>
                </a:lnTo>
                <a:lnTo>
                  <a:pt x="881" y="1388"/>
                </a:lnTo>
                <a:lnTo>
                  <a:pt x="874" y="1369"/>
                </a:lnTo>
                <a:lnTo>
                  <a:pt x="872" y="1359"/>
                </a:lnTo>
                <a:lnTo>
                  <a:pt x="871" y="1348"/>
                </a:lnTo>
                <a:lnTo>
                  <a:pt x="876" y="1329"/>
                </a:lnTo>
                <a:lnTo>
                  <a:pt x="881" y="1311"/>
                </a:lnTo>
                <a:lnTo>
                  <a:pt x="883" y="1308"/>
                </a:lnTo>
                <a:lnTo>
                  <a:pt x="883" y="1305"/>
                </a:lnTo>
                <a:lnTo>
                  <a:pt x="886" y="1296"/>
                </a:lnTo>
                <a:lnTo>
                  <a:pt x="890" y="1287"/>
                </a:lnTo>
                <a:lnTo>
                  <a:pt x="891" y="1279"/>
                </a:lnTo>
                <a:lnTo>
                  <a:pt x="893" y="1272"/>
                </a:lnTo>
                <a:lnTo>
                  <a:pt x="902" y="1251"/>
                </a:lnTo>
                <a:lnTo>
                  <a:pt x="905" y="1228"/>
                </a:lnTo>
                <a:lnTo>
                  <a:pt x="910" y="1188"/>
                </a:lnTo>
                <a:lnTo>
                  <a:pt x="913" y="1147"/>
                </a:lnTo>
                <a:lnTo>
                  <a:pt x="911" y="1147"/>
                </a:lnTo>
                <a:lnTo>
                  <a:pt x="910" y="1147"/>
                </a:lnTo>
                <a:lnTo>
                  <a:pt x="911" y="1147"/>
                </a:lnTo>
                <a:lnTo>
                  <a:pt x="913" y="1147"/>
                </a:lnTo>
                <a:lnTo>
                  <a:pt x="913" y="1144"/>
                </a:lnTo>
                <a:lnTo>
                  <a:pt x="913" y="1140"/>
                </a:lnTo>
                <a:lnTo>
                  <a:pt x="913" y="1138"/>
                </a:lnTo>
                <a:lnTo>
                  <a:pt x="913" y="1137"/>
                </a:lnTo>
                <a:lnTo>
                  <a:pt x="915" y="1135"/>
                </a:lnTo>
                <a:lnTo>
                  <a:pt x="916" y="1132"/>
                </a:lnTo>
                <a:lnTo>
                  <a:pt x="918" y="1114"/>
                </a:lnTo>
                <a:lnTo>
                  <a:pt x="920" y="1096"/>
                </a:lnTo>
                <a:lnTo>
                  <a:pt x="925" y="1077"/>
                </a:lnTo>
                <a:lnTo>
                  <a:pt x="927" y="1057"/>
                </a:lnTo>
                <a:lnTo>
                  <a:pt x="927" y="1056"/>
                </a:lnTo>
                <a:lnTo>
                  <a:pt x="927" y="1054"/>
                </a:lnTo>
                <a:lnTo>
                  <a:pt x="930" y="1050"/>
                </a:lnTo>
                <a:lnTo>
                  <a:pt x="930" y="1047"/>
                </a:lnTo>
                <a:lnTo>
                  <a:pt x="932" y="1032"/>
                </a:lnTo>
                <a:lnTo>
                  <a:pt x="933" y="1017"/>
                </a:lnTo>
                <a:lnTo>
                  <a:pt x="937" y="997"/>
                </a:lnTo>
                <a:lnTo>
                  <a:pt x="939" y="977"/>
                </a:lnTo>
                <a:lnTo>
                  <a:pt x="940" y="968"/>
                </a:lnTo>
                <a:lnTo>
                  <a:pt x="940" y="957"/>
                </a:lnTo>
                <a:lnTo>
                  <a:pt x="940" y="956"/>
                </a:lnTo>
                <a:lnTo>
                  <a:pt x="940" y="956"/>
                </a:lnTo>
                <a:lnTo>
                  <a:pt x="943" y="952"/>
                </a:lnTo>
                <a:lnTo>
                  <a:pt x="943" y="949"/>
                </a:lnTo>
                <a:lnTo>
                  <a:pt x="943" y="930"/>
                </a:lnTo>
                <a:lnTo>
                  <a:pt x="943" y="910"/>
                </a:lnTo>
                <a:lnTo>
                  <a:pt x="944" y="900"/>
                </a:lnTo>
                <a:lnTo>
                  <a:pt x="945" y="888"/>
                </a:lnTo>
                <a:lnTo>
                  <a:pt x="947" y="870"/>
                </a:lnTo>
                <a:lnTo>
                  <a:pt x="948" y="851"/>
                </a:lnTo>
                <a:lnTo>
                  <a:pt x="945" y="842"/>
                </a:lnTo>
                <a:lnTo>
                  <a:pt x="940" y="831"/>
                </a:lnTo>
                <a:lnTo>
                  <a:pt x="941" y="830"/>
                </a:lnTo>
                <a:lnTo>
                  <a:pt x="941" y="829"/>
                </a:lnTo>
                <a:lnTo>
                  <a:pt x="944" y="831"/>
                </a:lnTo>
                <a:lnTo>
                  <a:pt x="947" y="831"/>
                </a:lnTo>
                <a:lnTo>
                  <a:pt x="950" y="829"/>
                </a:lnTo>
                <a:lnTo>
                  <a:pt x="948" y="825"/>
                </a:lnTo>
                <a:lnTo>
                  <a:pt x="948" y="824"/>
                </a:lnTo>
                <a:lnTo>
                  <a:pt x="951" y="822"/>
                </a:lnTo>
                <a:lnTo>
                  <a:pt x="952" y="818"/>
                </a:lnTo>
                <a:lnTo>
                  <a:pt x="951" y="815"/>
                </a:lnTo>
                <a:lnTo>
                  <a:pt x="943" y="822"/>
                </a:lnTo>
                <a:lnTo>
                  <a:pt x="934" y="830"/>
                </a:lnTo>
                <a:lnTo>
                  <a:pt x="934" y="826"/>
                </a:lnTo>
                <a:lnTo>
                  <a:pt x="934" y="823"/>
                </a:lnTo>
                <a:lnTo>
                  <a:pt x="934" y="823"/>
                </a:lnTo>
                <a:lnTo>
                  <a:pt x="934" y="823"/>
                </a:lnTo>
                <a:close/>
                <a:moveTo>
                  <a:pt x="1009" y="460"/>
                </a:moveTo>
                <a:lnTo>
                  <a:pt x="1005" y="462"/>
                </a:lnTo>
                <a:lnTo>
                  <a:pt x="1000" y="460"/>
                </a:lnTo>
                <a:lnTo>
                  <a:pt x="998" y="461"/>
                </a:lnTo>
                <a:lnTo>
                  <a:pt x="996" y="465"/>
                </a:lnTo>
                <a:lnTo>
                  <a:pt x="998" y="469"/>
                </a:lnTo>
                <a:lnTo>
                  <a:pt x="998" y="473"/>
                </a:lnTo>
                <a:lnTo>
                  <a:pt x="993" y="475"/>
                </a:lnTo>
                <a:lnTo>
                  <a:pt x="989" y="478"/>
                </a:lnTo>
                <a:lnTo>
                  <a:pt x="988" y="479"/>
                </a:lnTo>
                <a:lnTo>
                  <a:pt x="988" y="480"/>
                </a:lnTo>
                <a:lnTo>
                  <a:pt x="989" y="481"/>
                </a:lnTo>
                <a:lnTo>
                  <a:pt x="991" y="481"/>
                </a:lnTo>
                <a:lnTo>
                  <a:pt x="996" y="480"/>
                </a:lnTo>
                <a:lnTo>
                  <a:pt x="998" y="473"/>
                </a:lnTo>
                <a:lnTo>
                  <a:pt x="1000" y="471"/>
                </a:lnTo>
                <a:lnTo>
                  <a:pt x="1002" y="469"/>
                </a:lnTo>
                <a:lnTo>
                  <a:pt x="1006" y="471"/>
                </a:lnTo>
                <a:lnTo>
                  <a:pt x="1007" y="467"/>
                </a:lnTo>
                <a:lnTo>
                  <a:pt x="1008" y="464"/>
                </a:lnTo>
                <a:lnTo>
                  <a:pt x="1009" y="461"/>
                </a:lnTo>
                <a:lnTo>
                  <a:pt x="1009" y="460"/>
                </a:lnTo>
                <a:lnTo>
                  <a:pt x="1009" y="460"/>
                </a:lnTo>
                <a:lnTo>
                  <a:pt x="1009" y="460"/>
                </a:lnTo>
                <a:lnTo>
                  <a:pt x="1009" y="460"/>
                </a:lnTo>
                <a:close/>
                <a:moveTo>
                  <a:pt x="1368" y="510"/>
                </a:moveTo>
                <a:lnTo>
                  <a:pt x="1368" y="511"/>
                </a:lnTo>
                <a:lnTo>
                  <a:pt x="1368" y="511"/>
                </a:lnTo>
                <a:lnTo>
                  <a:pt x="1365" y="513"/>
                </a:lnTo>
                <a:lnTo>
                  <a:pt x="1365" y="515"/>
                </a:lnTo>
                <a:lnTo>
                  <a:pt x="1368" y="516"/>
                </a:lnTo>
                <a:lnTo>
                  <a:pt x="1373" y="517"/>
                </a:lnTo>
                <a:lnTo>
                  <a:pt x="1373" y="516"/>
                </a:lnTo>
                <a:lnTo>
                  <a:pt x="1373" y="514"/>
                </a:lnTo>
                <a:lnTo>
                  <a:pt x="1379" y="510"/>
                </a:lnTo>
                <a:lnTo>
                  <a:pt x="1381" y="504"/>
                </a:lnTo>
                <a:lnTo>
                  <a:pt x="1380" y="503"/>
                </a:lnTo>
                <a:lnTo>
                  <a:pt x="1378" y="504"/>
                </a:lnTo>
                <a:lnTo>
                  <a:pt x="1374" y="509"/>
                </a:lnTo>
                <a:lnTo>
                  <a:pt x="1373" y="514"/>
                </a:lnTo>
                <a:lnTo>
                  <a:pt x="1369" y="514"/>
                </a:lnTo>
                <a:lnTo>
                  <a:pt x="1368" y="511"/>
                </a:lnTo>
                <a:lnTo>
                  <a:pt x="1368" y="511"/>
                </a:lnTo>
                <a:lnTo>
                  <a:pt x="1368" y="511"/>
                </a:lnTo>
                <a:lnTo>
                  <a:pt x="1368" y="510"/>
                </a:lnTo>
                <a:close/>
                <a:moveTo>
                  <a:pt x="1285" y="577"/>
                </a:moveTo>
                <a:lnTo>
                  <a:pt x="1285" y="576"/>
                </a:lnTo>
                <a:lnTo>
                  <a:pt x="1285" y="576"/>
                </a:lnTo>
                <a:lnTo>
                  <a:pt x="1284" y="576"/>
                </a:lnTo>
                <a:lnTo>
                  <a:pt x="1284" y="576"/>
                </a:lnTo>
                <a:lnTo>
                  <a:pt x="1284" y="576"/>
                </a:lnTo>
                <a:lnTo>
                  <a:pt x="1285" y="576"/>
                </a:lnTo>
                <a:lnTo>
                  <a:pt x="1285" y="576"/>
                </a:lnTo>
                <a:lnTo>
                  <a:pt x="1285" y="576"/>
                </a:lnTo>
                <a:lnTo>
                  <a:pt x="1285" y="576"/>
                </a:lnTo>
                <a:lnTo>
                  <a:pt x="1285" y="577"/>
                </a:lnTo>
                <a:close/>
                <a:moveTo>
                  <a:pt x="1520" y="556"/>
                </a:moveTo>
                <a:lnTo>
                  <a:pt x="1520" y="556"/>
                </a:lnTo>
                <a:lnTo>
                  <a:pt x="1520" y="556"/>
                </a:lnTo>
                <a:lnTo>
                  <a:pt x="1520" y="556"/>
                </a:lnTo>
                <a:lnTo>
                  <a:pt x="1517" y="556"/>
                </a:lnTo>
                <a:lnTo>
                  <a:pt x="1513" y="555"/>
                </a:lnTo>
                <a:lnTo>
                  <a:pt x="1511" y="553"/>
                </a:lnTo>
                <a:lnTo>
                  <a:pt x="1509" y="556"/>
                </a:lnTo>
                <a:lnTo>
                  <a:pt x="1506" y="559"/>
                </a:lnTo>
                <a:lnTo>
                  <a:pt x="1507" y="563"/>
                </a:lnTo>
                <a:lnTo>
                  <a:pt x="1510" y="564"/>
                </a:lnTo>
                <a:lnTo>
                  <a:pt x="1512" y="562"/>
                </a:lnTo>
                <a:lnTo>
                  <a:pt x="1514" y="560"/>
                </a:lnTo>
                <a:lnTo>
                  <a:pt x="1517" y="562"/>
                </a:lnTo>
                <a:lnTo>
                  <a:pt x="1520" y="560"/>
                </a:lnTo>
                <a:lnTo>
                  <a:pt x="1520" y="556"/>
                </a:lnTo>
                <a:lnTo>
                  <a:pt x="1520" y="556"/>
                </a:lnTo>
                <a:lnTo>
                  <a:pt x="1520" y="556"/>
                </a:lnTo>
                <a:lnTo>
                  <a:pt x="1520" y="556"/>
                </a:lnTo>
                <a:lnTo>
                  <a:pt x="1521" y="555"/>
                </a:lnTo>
                <a:lnTo>
                  <a:pt x="1521" y="553"/>
                </a:lnTo>
                <a:lnTo>
                  <a:pt x="1528" y="557"/>
                </a:lnTo>
                <a:lnTo>
                  <a:pt x="1535" y="558"/>
                </a:lnTo>
                <a:lnTo>
                  <a:pt x="1538" y="559"/>
                </a:lnTo>
                <a:lnTo>
                  <a:pt x="1535" y="563"/>
                </a:lnTo>
                <a:lnTo>
                  <a:pt x="1534" y="567"/>
                </a:lnTo>
                <a:lnTo>
                  <a:pt x="1538" y="570"/>
                </a:lnTo>
                <a:lnTo>
                  <a:pt x="1538" y="572"/>
                </a:lnTo>
                <a:lnTo>
                  <a:pt x="1538" y="573"/>
                </a:lnTo>
                <a:lnTo>
                  <a:pt x="1537" y="573"/>
                </a:lnTo>
                <a:lnTo>
                  <a:pt x="1534" y="573"/>
                </a:lnTo>
                <a:lnTo>
                  <a:pt x="1534" y="573"/>
                </a:lnTo>
                <a:lnTo>
                  <a:pt x="1534" y="574"/>
                </a:lnTo>
                <a:lnTo>
                  <a:pt x="1537" y="574"/>
                </a:lnTo>
                <a:lnTo>
                  <a:pt x="1538" y="574"/>
                </a:lnTo>
                <a:lnTo>
                  <a:pt x="1538" y="574"/>
                </a:lnTo>
                <a:lnTo>
                  <a:pt x="1540" y="577"/>
                </a:lnTo>
                <a:lnTo>
                  <a:pt x="1542" y="577"/>
                </a:lnTo>
                <a:lnTo>
                  <a:pt x="1545" y="580"/>
                </a:lnTo>
                <a:lnTo>
                  <a:pt x="1547" y="581"/>
                </a:lnTo>
                <a:lnTo>
                  <a:pt x="1551" y="571"/>
                </a:lnTo>
                <a:lnTo>
                  <a:pt x="1550" y="560"/>
                </a:lnTo>
                <a:lnTo>
                  <a:pt x="1547" y="545"/>
                </a:lnTo>
                <a:lnTo>
                  <a:pt x="1538" y="532"/>
                </a:lnTo>
                <a:lnTo>
                  <a:pt x="1539" y="535"/>
                </a:lnTo>
                <a:lnTo>
                  <a:pt x="1538" y="536"/>
                </a:lnTo>
                <a:lnTo>
                  <a:pt x="1537" y="535"/>
                </a:lnTo>
                <a:lnTo>
                  <a:pt x="1535" y="534"/>
                </a:lnTo>
                <a:lnTo>
                  <a:pt x="1534" y="532"/>
                </a:lnTo>
                <a:lnTo>
                  <a:pt x="1532" y="531"/>
                </a:lnTo>
                <a:lnTo>
                  <a:pt x="1531" y="534"/>
                </a:lnTo>
                <a:lnTo>
                  <a:pt x="1532" y="537"/>
                </a:lnTo>
                <a:lnTo>
                  <a:pt x="1533" y="538"/>
                </a:lnTo>
                <a:lnTo>
                  <a:pt x="1535" y="539"/>
                </a:lnTo>
                <a:lnTo>
                  <a:pt x="1535" y="541"/>
                </a:lnTo>
                <a:lnTo>
                  <a:pt x="1535" y="542"/>
                </a:lnTo>
                <a:lnTo>
                  <a:pt x="1531" y="549"/>
                </a:lnTo>
                <a:lnTo>
                  <a:pt x="1523" y="550"/>
                </a:lnTo>
                <a:lnTo>
                  <a:pt x="1521" y="551"/>
                </a:lnTo>
                <a:lnTo>
                  <a:pt x="1521" y="553"/>
                </a:lnTo>
                <a:lnTo>
                  <a:pt x="1520" y="555"/>
                </a:lnTo>
                <a:lnTo>
                  <a:pt x="1520" y="556"/>
                </a:lnTo>
                <a:close/>
                <a:moveTo>
                  <a:pt x="1145" y="521"/>
                </a:moveTo>
                <a:lnTo>
                  <a:pt x="1145" y="521"/>
                </a:lnTo>
                <a:lnTo>
                  <a:pt x="1145" y="521"/>
                </a:lnTo>
                <a:lnTo>
                  <a:pt x="1145" y="521"/>
                </a:lnTo>
                <a:lnTo>
                  <a:pt x="1145" y="522"/>
                </a:lnTo>
                <a:lnTo>
                  <a:pt x="1145" y="521"/>
                </a:lnTo>
                <a:lnTo>
                  <a:pt x="1145" y="521"/>
                </a:lnTo>
                <a:lnTo>
                  <a:pt x="1145" y="521"/>
                </a:lnTo>
                <a:lnTo>
                  <a:pt x="1145" y="521"/>
                </a:lnTo>
                <a:close/>
                <a:moveTo>
                  <a:pt x="1517" y="564"/>
                </a:moveTo>
                <a:lnTo>
                  <a:pt x="1517" y="563"/>
                </a:lnTo>
                <a:lnTo>
                  <a:pt x="1517" y="562"/>
                </a:lnTo>
                <a:lnTo>
                  <a:pt x="1517" y="563"/>
                </a:lnTo>
                <a:lnTo>
                  <a:pt x="1516" y="563"/>
                </a:lnTo>
                <a:lnTo>
                  <a:pt x="1517" y="564"/>
                </a:lnTo>
                <a:lnTo>
                  <a:pt x="1517" y="564"/>
                </a:lnTo>
                <a:close/>
                <a:moveTo>
                  <a:pt x="1105" y="600"/>
                </a:moveTo>
                <a:lnTo>
                  <a:pt x="1105" y="599"/>
                </a:lnTo>
                <a:lnTo>
                  <a:pt x="1106" y="599"/>
                </a:lnTo>
                <a:lnTo>
                  <a:pt x="1106" y="599"/>
                </a:lnTo>
                <a:lnTo>
                  <a:pt x="1106" y="599"/>
                </a:lnTo>
                <a:lnTo>
                  <a:pt x="1105" y="599"/>
                </a:lnTo>
                <a:lnTo>
                  <a:pt x="1105" y="600"/>
                </a:lnTo>
                <a:lnTo>
                  <a:pt x="1103" y="600"/>
                </a:lnTo>
                <a:lnTo>
                  <a:pt x="1102" y="601"/>
                </a:lnTo>
                <a:lnTo>
                  <a:pt x="1102" y="601"/>
                </a:lnTo>
                <a:lnTo>
                  <a:pt x="1102" y="602"/>
                </a:lnTo>
                <a:lnTo>
                  <a:pt x="1104" y="601"/>
                </a:lnTo>
                <a:lnTo>
                  <a:pt x="1105" y="600"/>
                </a:lnTo>
                <a:close/>
                <a:moveTo>
                  <a:pt x="1267" y="859"/>
                </a:moveTo>
                <a:lnTo>
                  <a:pt x="1267" y="859"/>
                </a:lnTo>
                <a:lnTo>
                  <a:pt x="1268" y="860"/>
                </a:lnTo>
                <a:lnTo>
                  <a:pt x="1268" y="859"/>
                </a:lnTo>
                <a:lnTo>
                  <a:pt x="1268" y="859"/>
                </a:lnTo>
                <a:lnTo>
                  <a:pt x="1268" y="858"/>
                </a:lnTo>
                <a:lnTo>
                  <a:pt x="1267" y="858"/>
                </a:lnTo>
                <a:lnTo>
                  <a:pt x="1267" y="859"/>
                </a:lnTo>
                <a:lnTo>
                  <a:pt x="1267" y="859"/>
                </a:lnTo>
                <a:close/>
                <a:moveTo>
                  <a:pt x="1054" y="587"/>
                </a:moveTo>
                <a:lnTo>
                  <a:pt x="1055" y="587"/>
                </a:lnTo>
                <a:lnTo>
                  <a:pt x="1055" y="587"/>
                </a:lnTo>
                <a:lnTo>
                  <a:pt x="1055" y="586"/>
                </a:lnTo>
                <a:lnTo>
                  <a:pt x="1056" y="586"/>
                </a:lnTo>
                <a:lnTo>
                  <a:pt x="1055" y="586"/>
                </a:lnTo>
                <a:lnTo>
                  <a:pt x="1054" y="586"/>
                </a:lnTo>
                <a:lnTo>
                  <a:pt x="1054" y="586"/>
                </a:lnTo>
                <a:lnTo>
                  <a:pt x="1054" y="587"/>
                </a:lnTo>
                <a:close/>
                <a:moveTo>
                  <a:pt x="1051" y="550"/>
                </a:moveTo>
                <a:lnTo>
                  <a:pt x="1051" y="550"/>
                </a:lnTo>
                <a:lnTo>
                  <a:pt x="1051" y="550"/>
                </a:lnTo>
                <a:lnTo>
                  <a:pt x="1053" y="550"/>
                </a:lnTo>
                <a:lnTo>
                  <a:pt x="1053" y="550"/>
                </a:lnTo>
                <a:lnTo>
                  <a:pt x="1053" y="550"/>
                </a:lnTo>
                <a:lnTo>
                  <a:pt x="1051" y="550"/>
                </a:lnTo>
                <a:lnTo>
                  <a:pt x="1051" y="550"/>
                </a:lnTo>
                <a:lnTo>
                  <a:pt x="1051" y="550"/>
                </a:lnTo>
                <a:close/>
                <a:moveTo>
                  <a:pt x="1036" y="518"/>
                </a:moveTo>
                <a:lnTo>
                  <a:pt x="1036" y="518"/>
                </a:lnTo>
                <a:lnTo>
                  <a:pt x="1036" y="518"/>
                </a:lnTo>
                <a:lnTo>
                  <a:pt x="1037" y="517"/>
                </a:lnTo>
                <a:lnTo>
                  <a:pt x="1037" y="516"/>
                </a:lnTo>
                <a:lnTo>
                  <a:pt x="1040" y="514"/>
                </a:lnTo>
                <a:lnTo>
                  <a:pt x="1038" y="511"/>
                </a:lnTo>
                <a:lnTo>
                  <a:pt x="1037" y="510"/>
                </a:lnTo>
                <a:lnTo>
                  <a:pt x="1036" y="510"/>
                </a:lnTo>
                <a:lnTo>
                  <a:pt x="1036" y="513"/>
                </a:lnTo>
                <a:lnTo>
                  <a:pt x="1037" y="515"/>
                </a:lnTo>
                <a:lnTo>
                  <a:pt x="1037" y="515"/>
                </a:lnTo>
                <a:lnTo>
                  <a:pt x="1036" y="517"/>
                </a:lnTo>
                <a:lnTo>
                  <a:pt x="1036" y="518"/>
                </a:lnTo>
                <a:close/>
                <a:moveTo>
                  <a:pt x="1058" y="572"/>
                </a:moveTo>
                <a:lnTo>
                  <a:pt x="1058" y="571"/>
                </a:lnTo>
                <a:lnTo>
                  <a:pt x="1057" y="570"/>
                </a:lnTo>
                <a:lnTo>
                  <a:pt x="1057" y="570"/>
                </a:lnTo>
                <a:lnTo>
                  <a:pt x="1057" y="571"/>
                </a:lnTo>
                <a:lnTo>
                  <a:pt x="1057" y="572"/>
                </a:lnTo>
                <a:lnTo>
                  <a:pt x="1057" y="572"/>
                </a:lnTo>
                <a:lnTo>
                  <a:pt x="1058" y="572"/>
                </a:lnTo>
                <a:lnTo>
                  <a:pt x="1058" y="572"/>
                </a:lnTo>
                <a:close/>
                <a:moveTo>
                  <a:pt x="1192" y="707"/>
                </a:moveTo>
                <a:lnTo>
                  <a:pt x="1192" y="707"/>
                </a:lnTo>
                <a:lnTo>
                  <a:pt x="1192" y="707"/>
                </a:lnTo>
                <a:lnTo>
                  <a:pt x="1192" y="707"/>
                </a:lnTo>
                <a:lnTo>
                  <a:pt x="1192" y="707"/>
                </a:lnTo>
                <a:lnTo>
                  <a:pt x="1189" y="709"/>
                </a:lnTo>
                <a:lnTo>
                  <a:pt x="1188" y="711"/>
                </a:lnTo>
                <a:lnTo>
                  <a:pt x="1188" y="711"/>
                </a:lnTo>
                <a:lnTo>
                  <a:pt x="1189" y="712"/>
                </a:lnTo>
                <a:lnTo>
                  <a:pt x="1192" y="711"/>
                </a:lnTo>
                <a:lnTo>
                  <a:pt x="1192" y="709"/>
                </a:lnTo>
                <a:lnTo>
                  <a:pt x="1194" y="707"/>
                </a:lnTo>
                <a:lnTo>
                  <a:pt x="1195" y="705"/>
                </a:lnTo>
                <a:lnTo>
                  <a:pt x="1196" y="705"/>
                </a:lnTo>
                <a:lnTo>
                  <a:pt x="1198" y="703"/>
                </a:lnTo>
                <a:lnTo>
                  <a:pt x="1198" y="702"/>
                </a:lnTo>
                <a:lnTo>
                  <a:pt x="1196" y="702"/>
                </a:lnTo>
                <a:lnTo>
                  <a:pt x="1195" y="703"/>
                </a:lnTo>
                <a:lnTo>
                  <a:pt x="1194" y="705"/>
                </a:lnTo>
                <a:lnTo>
                  <a:pt x="1193" y="705"/>
                </a:lnTo>
                <a:lnTo>
                  <a:pt x="1192" y="707"/>
                </a:lnTo>
                <a:close/>
                <a:moveTo>
                  <a:pt x="1199" y="731"/>
                </a:moveTo>
                <a:lnTo>
                  <a:pt x="1199" y="732"/>
                </a:lnTo>
                <a:lnTo>
                  <a:pt x="1199" y="733"/>
                </a:lnTo>
                <a:lnTo>
                  <a:pt x="1200" y="732"/>
                </a:lnTo>
                <a:lnTo>
                  <a:pt x="1200" y="732"/>
                </a:lnTo>
                <a:lnTo>
                  <a:pt x="1200" y="732"/>
                </a:lnTo>
                <a:lnTo>
                  <a:pt x="1200" y="731"/>
                </a:lnTo>
                <a:lnTo>
                  <a:pt x="1199" y="731"/>
                </a:lnTo>
                <a:lnTo>
                  <a:pt x="1199" y="731"/>
                </a:lnTo>
                <a:close/>
                <a:moveTo>
                  <a:pt x="1201" y="850"/>
                </a:moveTo>
                <a:lnTo>
                  <a:pt x="1201" y="850"/>
                </a:lnTo>
                <a:lnTo>
                  <a:pt x="1201" y="849"/>
                </a:lnTo>
                <a:lnTo>
                  <a:pt x="1200" y="849"/>
                </a:lnTo>
                <a:lnTo>
                  <a:pt x="1200" y="850"/>
                </a:lnTo>
                <a:lnTo>
                  <a:pt x="1200" y="850"/>
                </a:lnTo>
                <a:lnTo>
                  <a:pt x="1200" y="851"/>
                </a:lnTo>
                <a:lnTo>
                  <a:pt x="1201" y="851"/>
                </a:lnTo>
                <a:lnTo>
                  <a:pt x="1201" y="850"/>
                </a:lnTo>
                <a:close/>
                <a:moveTo>
                  <a:pt x="1261" y="565"/>
                </a:moveTo>
                <a:lnTo>
                  <a:pt x="1260" y="566"/>
                </a:lnTo>
                <a:lnTo>
                  <a:pt x="1260" y="566"/>
                </a:lnTo>
                <a:lnTo>
                  <a:pt x="1260" y="567"/>
                </a:lnTo>
                <a:lnTo>
                  <a:pt x="1261" y="567"/>
                </a:lnTo>
                <a:lnTo>
                  <a:pt x="1262" y="567"/>
                </a:lnTo>
                <a:lnTo>
                  <a:pt x="1262" y="566"/>
                </a:lnTo>
                <a:lnTo>
                  <a:pt x="1262" y="565"/>
                </a:lnTo>
                <a:lnTo>
                  <a:pt x="1261" y="565"/>
                </a:lnTo>
                <a:close/>
                <a:moveTo>
                  <a:pt x="1198" y="676"/>
                </a:moveTo>
                <a:lnTo>
                  <a:pt x="1196" y="676"/>
                </a:lnTo>
                <a:lnTo>
                  <a:pt x="1196" y="677"/>
                </a:lnTo>
                <a:lnTo>
                  <a:pt x="1196" y="678"/>
                </a:lnTo>
                <a:lnTo>
                  <a:pt x="1196" y="679"/>
                </a:lnTo>
                <a:lnTo>
                  <a:pt x="1198" y="678"/>
                </a:lnTo>
                <a:lnTo>
                  <a:pt x="1199" y="677"/>
                </a:lnTo>
                <a:lnTo>
                  <a:pt x="1199" y="676"/>
                </a:lnTo>
                <a:lnTo>
                  <a:pt x="1198" y="676"/>
                </a:lnTo>
                <a:close/>
                <a:moveTo>
                  <a:pt x="1272" y="761"/>
                </a:moveTo>
                <a:lnTo>
                  <a:pt x="1271" y="761"/>
                </a:lnTo>
                <a:lnTo>
                  <a:pt x="1270" y="760"/>
                </a:lnTo>
                <a:lnTo>
                  <a:pt x="1269" y="760"/>
                </a:lnTo>
                <a:lnTo>
                  <a:pt x="1269" y="761"/>
                </a:lnTo>
                <a:lnTo>
                  <a:pt x="1269" y="762"/>
                </a:lnTo>
                <a:lnTo>
                  <a:pt x="1270" y="762"/>
                </a:lnTo>
                <a:lnTo>
                  <a:pt x="1271" y="762"/>
                </a:lnTo>
                <a:lnTo>
                  <a:pt x="1272" y="761"/>
                </a:lnTo>
                <a:close/>
                <a:moveTo>
                  <a:pt x="1097" y="726"/>
                </a:moveTo>
                <a:lnTo>
                  <a:pt x="1096" y="727"/>
                </a:lnTo>
                <a:lnTo>
                  <a:pt x="1096" y="727"/>
                </a:lnTo>
                <a:lnTo>
                  <a:pt x="1097" y="728"/>
                </a:lnTo>
                <a:lnTo>
                  <a:pt x="1099" y="730"/>
                </a:lnTo>
                <a:lnTo>
                  <a:pt x="1099" y="730"/>
                </a:lnTo>
                <a:lnTo>
                  <a:pt x="1099" y="730"/>
                </a:lnTo>
                <a:lnTo>
                  <a:pt x="1098" y="733"/>
                </a:lnTo>
                <a:lnTo>
                  <a:pt x="1099" y="737"/>
                </a:lnTo>
                <a:lnTo>
                  <a:pt x="1102" y="732"/>
                </a:lnTo>
                <a:lnTo>
                  <a:pt x="1106" y="728"/>
                </a:lnTo>
                <a:lnTo>
                  <a:pt x="1099" y="728"/>
                </a:lnTo>
                <a:lnTo>
                  <a:pt x="1098" y="727"/>
                </a:lnTo>
                <a:lnTo>
                  <a:pt x="1097" y="726"/>
                </a:lnTo>
                <a:close/>
                <a:moveTo>
                  <a:pt x="1186" y="702"/>
                </a:moveTo>
                <a:lnTo>
                  <a:pt x="1183" y="702"/>
                </a:lnTo>
                <a:lnTo>
                  <a:pt x="1182" y="705"/>
                </a:lnTo>
                <a:lnTo>
                  <a:pt x="1186" y="704"/>
                </a:lnTo>
                <a:lnTo>
                  <a:pt x="1187" y="703"/>
                </a:lnTo>
                <a:lnTo>
                  <a:pt x="1187" y="702"/>
                </a:lnTo>
                <a:lnTo>
                  <a:pt x="1186" y="702"/>
                </a:lnTo>
                <a:close/>
                <a:moveTo>
                  <a:pt x="1236" y="698"/>
                </a:moveTo>
                <a:lnTo>
                  <a:pt x="1236" y="697"/>
                </a:lnTo>
                <a:lnTo>
                  <a:pt x="1235" y="697"/>
                </a:lnTo>
                <a:lnTo>
                  <a:pt x="1235" y="698"/>
                </a:lnTo>
                <a:lnTo>
                  <a:pt x="1234" y="699"/>
                </a:lnTo>
                <a:lnTo>
                  <a:pt x="1231" y="700"/>
                </a:lnTo>
                <a:lnTo>
                  <a:pt x="1230" y="702"/>
                </a:lnTo>
                <a:lnTo>
                  <a:pt x="1230" y="703"/>
                </a:lnTo>
                <a:lnTo>
                  <a:pt x="1233" y="704"/>
                </a:lnTo>
                <a:lnTo>
                  <a:pt x="1234" y="702"/>
                </a:lnTo>
                <a:lnTo>
                  <a:pt x="1234" y="699"/>
                </a:lnTo>
                <a:lnTo>
                  <a:pt x="1234" y="699"/>
                </a:lnTo>
                <a:lnTo>
                  <a:pt x="1234" y="699"/>
                </a:lnTo>
                <a:lnTo>
                  <a:pt x="1234" y="699"/>
                </a:lnTo>
                <a:lnTo>
                  <a:pt x="1236" y="699"/>
                </a:lnTo>
                <a:lnTo>
                  <a:pt x="1236" y="698"/>
                </a:lnTo>
                <a:close/>
                <a:moveTo>
                  <a:pt x="1289" y="695"/>
                </a:moveTo>
                <a:lnTo>
                  <a:pt x="1289" y="693"/>
                </a:lnTo>
                <a:lnTo>
                  <a:pt x="1288" y="692"/>
                </a:lnTo>
                <a:lnTo>
                  <a:pt x="1286" y="693"/>
                </a:lnTo>
                <a:lnTo>
                  <a:pt x="1285" y="695"/>
                </a:lnTo>
                <a:lnTo>
                  <a:pt x="1285" y="696"/>
                </a:lnTo>
                <a:lnTo>
                  <a:pt x="1286" y="696"/>
                </a:lnTo>
                <a:lnTo>
                  <a:pt x="1288" y="696"/>
                </a:lnTo>
                <a:lnTo>
                  <a:pt x="1289" y="695"/>
                </a:lnTo>
                <a:close/>
                <a:moveTo>
                  <a:pt x="1102" y="510"/>
                </a:moveTo>
                <a:lnTo>
                  <a:pt x="1098" y="511"/>
                </a:lnTo>
                <a:lnTo>
                  <a:pt x="1097" y="515"/>
                </a:lnTo>
                <a:lnTo>
                  <a:pt x="1098" y="515"/>
                </a:lnTo>
                <a:lnTo>
                  <a:pt x="1097" y="515"/>
                </a:lnTo>
                <a:lnTo>
                  <a:pt x="1097" y="515"/>
                </a:lnTo>
                <a:lnTo>
                  <a:pt x="1095" y="516"/>
                </a:lnTo>
                <a:lnTo>
                  <a:pt x="1093" y="517"/>
                </a:lnTo>
                <a:lnTo>
                  <a:pt x="1095" y="520"/>
                </a:lnTo>
                <a:lnTo>
                  <a:pt x="1097" y="520"/>
                </a:lnTo>
                <a:lnTo>
                  <a:pt x="1098" y="517"/>
                </a:lnTo>
                <a:lnTo>
                  <a:pt x="1098" y="516"/>
                </a:lnTo>
                <a:lnTo>
                  <a:pt x="1100" y="514"/>
                </a:lnTo>
                <a:lnTo>
                  <a:pt x="1102" y="510"/>
                </a:lnTo>
                <a:close/>
                <a:moveTo>
                  <a:pt x="1145" y="812"/>
                </a:moveTo>
                <a:lnTo>
                  <a:pt x="1144" y="811"/>
                </a:lnTo>
                <a:lnTo>
                  <a:pt x="1141" y="811"/>
                </a:lnTo>
                <a:lnTo>
                  <a:pt x="1140" y="812"/>
                </a:lnTo>
                <a:lnTo>
                  <a:pt x="1141" y="815"/>
                </a:lnTo>
                <a:lnTo>
                  <a:pt x="1133" y="821"/>
                </a:lnTo>
                <a:lnTo>
                  <a:pt x="1136" y="831"/>
                </a:lnTo>
                <a:lnTo>
                  <a:pt x="1137" y="833"/>
                </a:lnTo>
                <a:lnTo>
                  <a:pt x="1133" y="835"/>
                </a:lnTo>
                <a:lnTo>
                  <a:pt x="1133" y="835"/>
                </a:lnTo>
                <a:lnTo>
                  <a:pt x="1132" y="832"/>
                </a:lnTo>
                <a:lnTo>
                  <a:pt x="1131" y="832"/>
                </a:lnTo>
                <a:lnTo>
                  <a:pt x="1131" y="832"/>
                </a:lnTo>
                <a:lnTo>
                  <a:pt x="1131" y="832"/>
                </a:lnTo>
                <a:lnTo>
                  <a:pt x="1131" y="833"/>
                </a:lnTo>
                <a:lnTo>
                  <a:pt x="1133" y="835"/>
                </a:lnTo>
                <a:lnTo>
                  <a:pt x="1136" y="839"/>
                </a:lnTo>
                <a:lnTo>
                  <a:pt x="1133" y="844"/>
                </a:lnTo>
                <a:lnTo>
                  <a:pt x="1132" y="849"/>
                </a:lnTo>
                <a:lnTo>
                  <a:pt x="1138" y="850"/>
                </a:lnTo>
                <a:lnTo>
                  <a:pt x="1144" y="850"/>
                </a:lnTo>
                <a:lnTo>
                  <a:pt x="1150" y="854"/>
                </a:lnTo>
                <a:lnTo>
                  <a:pt x="1151" y="857"/>
                </a:lnTo>
                <a:lnTo>
                  <a:pt x="1153" y="858"/>
                </a:lnTo>
                <a:lnTo>
                  <a:pt x="1154" y="854"/>
                </a:lnTo>
                <a:lnTo>
                  <a:pt x="1154" y="851"/>
                </a:lnTo>
                <a:lnTo>
                  <a:pt x="1155" y="847"/>
                </a:lnTo>
                <a:lnTo>
                  <a:pt x="1159" y="847"/>
                </a:lnTo>
                <a:lnTo>
                  <a:pt x="1168" y="849"/>
                </a:lnTo>
                <a:lnTo>
                  <a:pt x="1178" y="846"/>
                </a:lnTo>
                <a:lnTo>
                  <a:pt x="1181" y="845"/>
                </a:lnTo>
                <a:lnTo>
                  <a:pt x="1183" y="842"/>
                </a:lnTo>
                <a:lnTo>
                  <a:pt x="1182" y="839"/>
                </a:lnTo>
                <a:lnTo>
                  <a:pt x="1179" y="837"/>
                </a:lnTo>
                <a:lnTo>
                  <a:pt x="1171" y="831"/>
                </a:lnTo>
                <a:lnTo>
                  <a:pt x="1167" y="822"/>
                </a:lnTo>
                <a:lnTo>
                  <a:pt x="1166" y="818"/>
                </a:lnTo>
                <a:lnTo>
                  <a:pt x="1164" y="816"/>
                </a:lnTo>
                <a:lnTo>
                  <a:pt x="1160" y="816"/>
                </a:lnTo>
                <a:lnTo>
                  <a:pt x="1158" y="817"/>
                </a:lnTo>
                <a:lnTo>
                  <a:pt x="1154" y="818"/>
                </a:lnTo>
                <a:lnTo>
                  <a:pt x="1153" y="822"/>
                </a:lnTo>
                <a:lnTo>
                  <a:pt x="1151" y="823"/>
                </a:lnTo>
                <a:lnTo>
                  <a:pt x="1148" y="822"/>
                </a:lnTo>
                <a:lnTo>
                  <a:pt x="1145" y="818"/>
                </a:lnTo>
                <a:lnTo>
                  <a:pt x="1141" y="815"/>
                </a:lnTo>
                <a:lnTo>
                  <a:pt x="1141" y="815"/>
                </a:lnTo>
                <a:lnTo>
                  <a:pt x="1141" y="815"/>
                </a:lnTo>
                <a:lnTo>
                  <a:pt x="1144" y="815"/>
                </a:lnTo>
                <a:lnTo>
                  <a:pt x="1145" y="812"/>
                </a:lnTo>
                <a:close/>
                <a:moveTo>
                  <a:pt x="1019" y="481"/>
                </a:moveTo>
                <a:lnTo>
                  <a:pt x="1019" y="481"/>
                </a:lnTo>
                <a:lnTo>
                  <a:pt x="1019" y="482"/>
                </a:lnTo>
                <a:lnTo>
                  <a:pt x="1019" y="481"/>
                </a:lnTo>
                <a:lnTo>
                  <a:pt x="1019" y="481"/>
                </a:lnTo>
                <a:close/>
                <a:moveTo>
                  <a:pt x="1100" y="604"/>
                </a:moveTo>
                <a:lnTo>
                  <a:pt x="1099" y="605"/>
                </a:lnTo>
                <a:lnTo>
                  <a:pt x="1098" y="606"/>
                </a:lnTo>
                <a:lnTo>
                  <a:pt x="1099" y="607"/>
                </a:lnTo>
                <a:lnTo>
                  <a:pt x="1102" y="608"/>
                </a:lnTo>
                <a:lnTo>
                  <a:pt x="1103" y="607"/>
                </a:lnTo>
                <a:lnTo>
                  <a:pt x="1103" y="606"/>
                </a:lnTo>
                <a:lnTo>
                  <a:pt x="1102" y="605"/>
                </a:lnTo>
                <a:lnTo>
                  <a:pt x="1100" y="604"/>
                </a:lnTo>
                <a:close/>
                <a:moveTo>
                  <a:pt x="1062" y="573"/>
                </a:moveTo>
                <a:lnTo>
                  <a:pt x="1064" y="572"/>
                </a:lnTo>
                <a:lnTo>
                  <a:pt x="1065" y="571"/>
                </a:lnTo>
                <a:lnTo>
                  <a:pt x="1064" y="570"/>
                </a:lnTo>
                <a:lnTo>
                  <a:pt x="1063" y="569"/>
                </a:lnTo>
                <a:lnTo>
                  <a:pt x="1062" y="570"/>
                </a:lnTo>
                <a:lnTo>
                  <a:pt x="1061" y="572"/>
                </a:lnTo>
                <a:lnTo>
                  <a:pt x="1061" y="573"/>
                </a:lnTo>
                <a:lnTo>
                  <a:pt x="1062" y="573"/>
                </a:lnTo>
                <a:close/>
                <a:moveTo>
                  <a:pt x="1238" y="542"/>
                </a:moveTo>
                <a:lnTo>
                  <a:pt x="1242" y="544"/>
                </a:lnTo>
                <a:lnTo>
                  <a:pt x="1244" y="542"/>
                </a:lnTo>
                <a:lnTo>
                  <a:pt x="1242" y="541"/>
                </a:lnTo>
                <a:lnTo>
                  <a:pt x="1238" y="541"/>
                </a:lnTo>
                <a:lnTo>
                  <a:pt x="1238" y="542"/>
                </a:lnTo>
                <a:lnTo>
                  <a:pt x="1238" y="542"/>
                </a:lnTo>
                <a:close/>
                <a:moveTo>
                  <a:pt x="1074" y="541"/>
                </a:moveTo>
                <a:lnTo>
                  <a:pt x="1074" y="538"/>
                </a:lnTo>
                <a:lnTo>
                  <a:pt x="1071" y="535"/>
                </a:lnTo>
                <a:lnTo>
                  <a:pt x="1071" y="539"/>
                </a:lnTo>
                <a:lnTo>
                  <a:pt x="1069" y="543"/>
                </a:lnTo>
                <a:lnTo>
                  <a:pt x="1074" y="541"/>
                </a:lnTo>
                <a:lnTo>
                  <a:pt x="1075" y="543"/>
                </a:lnTo>
                <a:lnTo>
                  <a:pt x="1076" y="543"/>
                </a:lnTo>
                <a:lnTo>
                  <a:pt x="1077" y="543"/>
                </a:lnTo>
                <a:lnTo>
                  <a:pt x="1078" y="541"/>
                </a:lnTo>
                <a:lnTo>
                  <a:pt x="1083" y="541"/>
                </a:lnTo>
                <a:lnTo>
                  <a:pt x="1083" y="546"/>
                </a:lnTo>
                <a:lnTo>
                  <a:pt x="1083" y="548"/>
                </a:lnTo>
                <a:lnTo>
                  <a:pt x="1083" y="548"/>
                </a:lnTo>
                <a:lnTo>
                  <a:pt x="1088" y="550"/>
                </a:lnTo>
                <a:lnTo>
                  <a:pt x="1093" y="549"/>
                </a:lnTo>
                <a:lnTo>
                  <a:pt x="1093" y="545"/>
                </a:lnTo>
                <a:lnTo>
                  <a:pt x="1091" y="542"/>
                </a:lnTo>
                <a:lnTo>
                  <a:pt x="1091" y="545"/>
                </a:lnTo>
                <a:lnTo>
                  <a:pt x="1089" y="546"/>
                </a:lnTo>
                <a:lnTo>
                  <a:pt x="1086" y="545"/>
                </a:lnTo>
                <a:lnTo>
                  <a:pt x="1088" y="542"/>
                </a:lnTo>
                <a:lnTo>
                  <a:pt x="1088" y="539"/>
                </a:lnTo>
                <a:lnTo>
                  <a:pt x="1088" y="538"/>
                </a:lnTo>
                <a:lnTo>
                  <a:pt x="1090" y="535"/>
                </a:lnTo>
                <a:lnTo>
                  <a:pt x="1089" y="532"/>
                </a:lnTo>
                <a:lnTo>
                  <a:pt x="1086" y="535"/>
                </a:lnTo>
                <a:lnTo>
                  <a:pt x="1086" y="538"/>
                </a:lnTo>
                <a:lnTo>
                  <a:pt x="1085" y="538"/>
                </a:lnTo>
                <a:lnTo>
                  <a:pt x="1085" y="538"/>
                </a:lnTo>
                <a:lnTo>
                  <a:pt x="1083" y="536"/>
                </a:lnTo>
                <a:lnTo>
                  <a:pt x="1081" y="534"/>
                </a:lnTo>
                <a:lnTo>
                  <a:pt x="1078" y="536"/>
                </a:lnTo>
                <a:lnTo>
                  <a:pt x="1078" y="541"/>
                </a:lnTo>
                <a:lnTo>
                  <a:pt x="1078" y="541"/>
                </a:lnTo>
                <a:lnTo>
                  <a:pt x="1076" y="541"/>
                </a:lnTo>
                <a:lnTo>
                  <a:pt x="1074" y="541"/>
                </a:lnTo>
                <a:close/>
                <a:moveTo>
                  <a:pt x="1033" y="788"/>
                </a:moveTo>
                <a:lnTo>
                  <a:pt x="1029" y="789"/>
                </a:lnTo>
                <a:lnTo>
                  <a:pt x="1027" y="789"/>
                </a:lnTo>
                <a:lnTo>
                  <a:pt x="1027" y="787"/>
                </a:lnTo>
                <a:lnTo>
                  <a:pt x="1027" y="784"/>
                </a:lnTo>
                <a:lnTo>
                  <a:pt x="1024" y="788"/>
                </a:lnTo>
                <a:lnTo>
                  <a:pt x="1027" y="789"/>
                </a:lnTo>
                <a:lnTo>
                  <a:pt x="1027" y="791"/>
                </a:lnTo>
                <a:lnTo>
                  <a:pt x="1027" y="794"/>
                </a:lnTo>
                <a:lnTo>
                  <a:pt x="1022" y="796"/>
                </a:lnTo>
                <a:lnTo>
                  <a:pt x="1020" y="801"/>
                </a:lnTo>
                <a:lnTo>
                  <a:pt x="1026" y="800"/>
                </a:lnTo>
                <a:lnTo>
                  <a:pt x="1031" y="801"/>
                </a:lnTo>
                <a:lnTo>
                  <a:pt x="1030" y="798"/>
                </a:lnTo>
                <a:lnTo>
                  <a:pt x="1029" y="798"/>
                </a:lnTo>
                <a:lnTo>
                  <a:pt x="1026" y="797"/>
                </a:lnTo>
                <a:lnTo>
                  <a:pt x="1027" y="794"/>
                </a:lnTo>
                <a:lnTo>
                  <a:pt x="1030" y="793"/>
                </a:lnTo>
                <a:lnTo>
                  <a:pt x="1033" y="788"/>
                </a:lnTo>
                <a:close/>
                <a:moveTo>
                  <a:pt x="1228" y="898"/>
                </a:moveTo>
                <a:lnTo>
                  <a:pt x="1228" y="896"/>
                </a:lnTo>
                <a:lnTo>
                  <a:pt x="1228" y="896"/>
                </a:lnTo>
                <a:lnTo>
                  <a:pt x="1224" y="896"/>
                </a:lnTo>
                <a:lnTo>
                  <a:pt x="1221" y="899"/>
                </a:lnTo>
                <a:lnTo>
                  <a:pt x="1224" y="899"/>
                </a:lnTo>
                <a:lnTo>
                  <a:pt x="1228" y="898"/>
                </a:lnTo>
                <a:close/>
                <a:moveTo>
                  <a:pt x="1231" y="907"/>
                </a:moveTo>
                <a:lnTo>
                  <a:pt x="1226" y="907"/>
                </a:lnTo>
                <a:lnTo>
                  <a:pt x="1222" y="910"/>
                </a:lnTo>
                <a:lnTo>
                  <a:pt x="1222" y="910"/>
                </a:lnTo>
                <a:lnTo>
                  <a:pt x="1222" y="912"/>
                </a:lnTo>
                <a:lnTo>
                  <a:pt x="1229" y="908"/>
                </a:lnTo>
                <a:lnTo>
                  <a:pt x="1235" y="906"/>
                </a:lnTo>
                <a:lnTo>
                  <a:pt x="1234" y="905"/>
                </a:lnTo>
                <a:lnTo>
                  <a:pt x="1231" y="903"/>
                </a:lnTo>
                <a:lnTo>
                  <a:pt x="1231" y="906"/>
                </a:lnTo>
                <a:lnTo>
                  <a:pt x="1231" y="907"/>
                </a:lnTo>
                <a:close/>
                <a:moveTo>
                  <a:pt x="1210" y="847"/>
                </a:moveTo>
                <a:lnTo>
                  <a:pt x="1207" y="844"/>
                </a:lnTo>
                <a:lnTo>
                  <a:pt x="1202" y="845"/>
                </a:lnTo>
                <a:lnTo>
                  <a:pt x="1207" y="847"/>
                </a:lnTo>
                <a:lnTo>
                  <a:pt x="1210" y="847"/>
                </a:lnTo>
                <a:close/>
                <a:moveTo>
                  <a:pt x="1628" y="458"/>
                </a:moveTo>
                <a:lnTo>
                  <a:pt x="1623" y="458"/>
                </a:lnTo>
                <a:lnTo>
                  <a:pt x="1621" y="460"/>
                </a:lnTo>
                <a:lnTo>
                  <a:pt x="1626" y="460"/>
                </a:lnTo>
                <a:lnTo>
                  <a:pt x="1628" y="458"/>
                </a:lnTo>
                <a:close/>
                <a:moveTo>
                  <a:pt x="1203" y="679"/>
                </a:moveTo>
                <a:lnTo>
                  <a:pt x="1201" y="679"/>
                </a:lnTo>
                <a:lnTo>
                  <a:pt x="1200" y="682"/>
                </a:lnTo>
                <a:lnTo>
                  <a:pt x="1200" y="683"/>
                </a:lnTo>
                <a:lnTo>
                  <a:pt x="1202" y="683"/>
                </a:lnTo>
                <a:lnTo>
                  <a:pt x="1203" y="683"/>
                </a:lnTo>
                <a:lnTo>
                  <a:pt x="1205" y="681"/>
                </a:lnTo>
                <a:lnTo>
                  <a:pt x="1205" y="679"/>
                </a:lnTo>
                <a:lnTo>
                  <a:pt x="1203" y="679"/>
                </a:lnTo>
                <a:close/>
                <a:moveTo>
                  <a:pt x="974" y="810"/>
                </a:moveTo>
                <a:lnTo>
                  <a:pt x="973" y="811"/>
                </a:lnTo>
                <a:lnTo>
                  <a:pt x="972" y="815"/>
                </a:lnTo>
                <a:lnTo>
                  <a:pt x="968" y="819"/>
                </a:lnTo>
                <a:lnTo>
                  <a:pt x="969" y="825"/>
                </a:lnTo>
                <a:lnTo>
                  <a:pt x="972" y="821"/>
                </a:lnTo>
                <a:lnTo>
                  <a:pt x="972" y="815"/>
                </a:lnTo>
                <a:lnTo>
                  <a:pt x="974" y="816"/>
                </a:lnTo>
                <a:lnTo>
                  <a:pt x="977" y="814"/>
                </a:lnTo>
                <a:lnTo>
                  <a:pt x="977" y="811"/>
                </a:lnTo>
                <a:lnTo>
                  <a:pt x="974" y="810"/>
                </a:lnTo>
                <a:close/>
                <a:moveTo>
                  <a:pt x="1062" y="551"/>
                </a:moveTo>
                <a:lnTo>
                  <a:pt x="1061" y="549"/>
                </a:lnTo>
                <a:lnTo>
                  <a:pt x="1057" y="549"/>
                </a:lnTo>
                <a:lnTo>
                  <a:pt x="1056" y="549"/>
                </a:lnTo>
                <a:lnTo>
                  <a:pt x="1056" y="550"/>
                </a:lnTo>
                <a:lnTo>
                  <a:pt x="1057" y="552"/>
                </a:lnTo>
                <a:lnTo>
                  <a:pt x="1060" y="553"/>
                </a:lnTo>
                <a:lnTo>
                  <a:pt x="1062" y="552"/>
                </a:lnTo>
                <a:lnTo>
                  <a:pt x="1062" y="551"/>
                </a:lnTo>
                <a:close/>
                <a:moveTo>
                  <a:pt x="1033" y="775"/>
                </a:moveTo>
                <a:lnTo>
                  <a:pt x="1031" y="774"/>
                </a:lnTo>
                <a:lnTo>
                  <a:pt x="1029" y="773"/>
                </a:lnTo>
                <a:lnTo>
                  <a:pt x="1028" y="775"/>
                </a:lnTo>
                <a:lnTo>
                  <a:pt x="1028" y="776"/>
                </a:lnTo>
                <a:lnTo>
                  <a:pt x="1028" y="779"/>
                </a:lnTo>
                <a:lnTo>
                  <a:pt x="1029" y="780"/>
                </a:lnTo>
                <a:lnTo>
                  <a:pt x="1031" y="779"/>
                </a:lnTo>
                <a:lnTo>
                  <a:pt x="1033" y="775"/>
                </a:lnTo>
                <a:close/>
                <a:moveTo>
                  <a:pt x="1047" y="507"/>
                </a:moveTo>
                <a:lnTo>
                  <a:pt x="1046" y="507"/>
                </a:lnTo>
                <a:lnTo>
                  <a:pt x="1043" y="509"/>
                </a:lnTo>
                <a:lnTo>
                  <a:pt x="1044" y="511"/>
                </a:lnTo>
                <a:lnTo>
                  <a:pt x="1047" y="513"/>
                </a:lnTo>
                <a:lnTo>
                  <a:pt x="1048" y="513"/>
                </a:lnTo>
                <a:lnTo>
                  <a:pt x="1049" y="511"/>
                </a:lnTo>
                <a:lnTo>
                  <a:pt x="1049" y="508"/>
                </a:lnTo>
                <a:lnTo>
                  <a:pt x="1047" y="507"/>
                </a:lnTo>
                <a:close/>
                <a:moveTo>
                  <a:pt x="1175" y="733"/>
                </a:moveTo>
                <a:lnTo>
                  <a:pt x="1173" y="733"/>
                </a:lnTo>
                <a:lnTo>
                  <a:pt x="1171" y="735"/>
                </a:lnTo>
                <a:lnTo>
                  <a:pt x="1172" y="737"/>
                </a:lnTo>
                <a:lnTo>
                  <a:pt x="1172" y="737"/>
                </a:lnTo>
                <a:lnTo>
                  <a:pt x="1174" y="738"/>
                </a:lnTo>
                <a:lnTo>
                  <a:pt x="1176" y="737"/>
                </a:lnTo>
                <a:lnTo>
                  <a:pt x="1178" y="735"/>
                </a:lnTo>
                <a:lnTo>
                  <a:pt x="1178" y="733"/>
                </a:lnTo>
                <a:lnTo>
                  <a:pt x="1178" y="733"/>
                </a:lnTo>
                <a:lnTo>
                  <a:pt x="1181" y="733"/>
                </a:lnTo>
                <a:lnTo>
                  <a:pt x="1183" y="734"/>
                </a:lnTo>
                <a:lnTo>
                  <a:pt x="1183" y="734"/>
                </a:lnTo>
                <a:lnTo>
                  <a:pt x="1183" y="734"/>
                </a:lnTo>
                <a:lnTo>
                  <a:pt x="1183" y="734"/>
                </a:lnTo>
                <a:lnTo>
                  <a:pt x="1182" y="735"/>
                </a:lnTo>
                <a:lnTo>
                  <a:pt x="1181" y="735"/>
                </a:lnTo>
                <a:lnTo>
                  <a:pt x="1181" y="737"/>
                </a:lnTo>
                <a:lnTo>
                  <a:pt x="1182" y="737"/>
                </a:lnTo>
                <a:lnTo>
                  <a:pt x="1183" y="735"/>
                </a:lnTo>
                <a:lnTo>
                  <a:pt x="1183" y="734"/>
                </a:lnTo>
                <a:lnTo>
                  <a:pt x="1188" y="739"/>
                </a:lnTo>
                <a:lnTo>
                  <a:pt x="1194" y="735"/>
                </a:lnTo>
                <a:lnTo>
                  <a:pt x="1195" y="735"/>
                </a:lnTo>
                <a:lnTo>
                  <a:pt x="1196" y="734"/>
                </a:lnTo>
                <a:lnTo>
                  <a:pt x="1196" y="737"/>
                </a:lnTo>
                <a:lnTo>
                  <a:pt x="1199" y="737"/>
                </a:lnTo>
                <a:lnTo>
                  <a:pt x="1199" y="737"/>
                </a:lnTo>
                <a:lnTo>
                  <a:pt x="1200" y="735"/>
                </a:lnTo>
                <a:lnTo>
                  <a:pt x="1198" y="734"/>
                </a:lnTo>
                <a:lnTo>
                  <a:pt x="1196" y="734"/>
                </a:lnTo>
                <a:lnTo>
                  <a:pt x="1195" y="733"/>
                </a:lnTo>
                <a:lnTo>
                  <a:pt x="1193" y="733"/>
                </a:lnTo>
                <a:lnTo>
                  <a:pt x="1187" y="733"/>
                </a:lnTo>
                <a:lnTo>
                  <a:pt x="1185" y="727"/>
                </a:lnTo>
                <a:lnTo>
                  <a:pt x="1180" y="730"/>
                </a:lnTo>
                <a:lnTo>
                  <a:pt x="1178" y="733"/>
                </a:lnTo>
                <a:lnTo>
                  <a:pt x="1176" y="733"/>
                </a:lnTo>
                <a:lnTo>
                  <a:pt x="1175" y="733"/>
                </a:lnTo>
                <a:close/>
                <a:moveTo>
                  <a:pt x="930" y="810"/>
                </a:moveTo>
                <a:lnTo>
                  <a:pt x="927" y="810"/>
                </a:lnTo>
                <a:lnTo>
                  <a:pt x="927" y="812"/>
                </a:lnTo>
                <a:lnTo>
                  <a:pt x="929" y="814"/>
                </a:lnTo>
                <a:lnTo>
                  <a:pt x="931" y="815"/>
                </a:lnTo>
                <a:lnTo>
                  <a:pt x="933" y="814"/>
                </a:lnTo>
                <a:lnTo>
                  <a:pt x="934" y="811"/>
                </a:lnTo>
                <a:lnTo>
                  <a:pt x="932" y="810"/>
                </a:lnTo>
                <a:lnTo>
                  <a:pt x="930" y="810"/>
                </a:lnTo>
                <a:close/>
                <a:moveTo>
                  <a:pt x="1196" y="888"/>
                </a:moveTo>
                <a:lnTo>
                  <a:pt x="1194" y="884"/>
                </a:lnTo>
                <a:lnTo>
                  <a:pt x="1193" y="879"/>
                </a:lnTo>
                <a:lnTo>
                  <a:pt x="1192" y="887"/>
                </a:lnTo>
                <a:lnTo>
                  <a:pt x="1196" y="888"/>
                </a:lnTo>
                <a:close/>
                <a:moveTo>
                  <a:pt x="1050" y="494"/>
                </a:moveTo>
                <a:lnTo>
                  <a:pt x="1053" y="493"/>
                </a:lnTo>
                <a:lnTo>
                  <a:pt x="1053" y="489"/>
                </a:lnTo>
                <a:lnTo>
                  <a:pt x="1053" y="487"/>
                </a:lnTo>
                <a:lnTo>
                  <a:pt x="1050" y="487"/>
                </a:lnTo>
                <a:lnTo>
                  <a:pt x="1049" y="488"/>
                </a:lnTo>
                <a:lnTo>
                  <a:pt x="1048" y="492"/>
                </a:lnTo>
                <a:lnTo>
                  <a:pt x="1049" y="493"/>
                </a:lnTo>
                <a:lnTo>
                  <a:pt x="1050" y="494"/>
                </a:lnTo>
                <a:close/>
                <a:moveTo>
                  <a:pt x="1186" y="724"/>
                </a:moveTo>
                <a:lnTo>
                  <a:pt x="1191" y="720"/>
                </a:lnTo>
                <a:lnTo>
                  <a:pt x="1192" y="716"/>
                </a:lnTo>
                <a:lnTo>
                  <a:pt x="1191" y="714"/>
                </a:lnTo>
                <a:lnTo>
                  <a:pt x="1191" y="714"/>
                </a:lnTo>
                <a:lnTo>
                  <a:pt x="1188" y="717"/>
                </a:lnTo>
                <a:lnTo>
                  <a:pt x="1187" y="720"/>
                </a:lnTo>
                <a:lnTo>
                  <a:pt x="1186" y="721"/>
                </a:lnTo>
                <a:lnTo>
                  <a:pt x="1186" y="724"/>
                </a:lnTo>
                <a:close/>
                <a:moveTo>
                  <a:pt x="1185" y="818"/>
                </a:moveTo>
                <a:lnTo>
                  <a:pt x="1188" y="818"/>
                </a:lnTo>
                <a:lnTo>
                  <a:pt x="1191" y="815"/>
                </a:lnTo>
                <a:lnTo>
                  <a:pt x="1187" y="814"/>
                </a:lnTo>
                <a:lnTo>
                  <a:pt x="1183" y="815"/>
                </a:lnTo>
                <a:lnTo>
                  <a:pt x="1183" y="816"/>
                </a:lnTo>
                <a:lnTo>
                  <a:pt x="1185" y="818"/>
                </a:lnTo>
                <a:close/>
                <a:moveTo>
                  <a:pt x="1361" y="521"/>
                </a:moveTo>
                <a:lnTo>
                  <a:pt x="1355" y="520"/>
                </a:lnTo>
                <a:lnTo>
                  <a:pt x="1350" y="521"/>
                </a:lnTo>
                <a:lnTo>
                  <a:pt x="1355" y="522"/>
                </a:lnTo>
                <a:lnTo>
                  <a:pt x="1361" y="521"/>
                </a:lnTo>
                <a:close/>
                <a:moveTo>
                  <a:pt x="1250" y="850"/>
                </a:moveTo>
                <a:lnTo>
                  <a:pt x="1249" y="847"/>
                </a:lnTo>
                <a:lnTo>
                  <a:pt x="1245" y="847"/>
                </a:lnTo>
                <a:lnTo>
                  <a:pt x="1243" y="847"/>
                </a:lnTo>
                <a:lnTo>
                  <a:pt x="1242" y="849"/>
                </a:lnTo>
                <a:lnTo>
                  <a:pt x="1243" y="851"/>
                </a:lnTo>
                <a:lnTo>
                  <a:pt x="1247" y="851"/>
                </a:lnTo>
                <a:lnTo>
                  <a:pt x="1249" y="851"/>
                </a:lnTo>
                <a:lnTo>
                  <a:pt x="1250" y="850"/>
                </a:lnTo>
                <a:close/>
                <a:moveTo>
                  <a:pt x="1044" y="541"/>
                </a:moveTo>
                <a:lnTo>
                  <a:pt x="1048" y="541"/>
                </a:lnTo>
                <a:lnTo>
                  <a:pt x="1051" y="541"/>
                </a:lnTo>
                <a:lnTo>
                  <a:pt x="1054" y="543"/>
                </a:lnTo>
                <a:lnTo>
                  <a:pt x="1055" y="541"/>
                </a:lnTo>
                <a:lnTo>
                  <a:pt x="1057" y="537"/>
                </a:lnTo>
                <a:lnTo>
                  <a:pt x="1056" y="534"/>
                </a:lnTo>
                <a:lnTo>
                  <a:pt x="1054" y="532"/>
                </a:lnTo>
                <a:lnTo>
                  <a:pt x="1051" y="535"/>
                </a:lnTo>
                <a:lnTo>
                  <a:pt x="1048" y="537"/>
                </a:lnTo>
                <a:lnTo>
                  <a:pt x="1044" y="539"/>
                </a:lnTo>
                <a:lnTo>
                  <a:pt x="1040" y="536"/>
                </a:lnTo>
                <a:lnTo>
                  <a:pt x="1034" y="542"/>
                </a:lnTo>
                <a:lnTo>
                  <a:pt x="1040" y="541"/>
                </a:lnTo>
                <a:lnTo>
                  <a:pt x="1044" y="541"/>
                </a:lnTo>
                <a:close/>
                <a:moveTo>
                  <a:pt x="1260" y="854"/>
                </a:moveTo>
                <a:lnTo>
                  <a:pt x="1257" y="856"/>
                </a:lnTo>
                <a:lnTo>
                  <a:pt x="1256" y="858"/>
                </a:lnTo>
                <a:lnTo>
                  <a:pt x="1258" y="860"/>
                </a:lnTo>
                <a:lnTo>
                  <a:pt x="1261" y="860"/>
                </a:lnTo>
                <a:lnTo>
                  <a:pt x="1263" y="860"/>
                </a:lnTo>
                <a:lnTo>
                  <a:pt x="1263" y="859"/>
                </a:lnTo>
                <a:lnTo>
                  <a:pt x="1262" y="856"/>
                </a:lnTo>
                <a:lnTo>
                  <a:pt x="1260" y="854"/>
                </a:lnTo>
                <a:close/>
                <a:moveTo>
                  <a:pt x="1046" y="762"/>
                </a:moveTo>
                <a:lnTo>
                  <a:pt x="1044" y="765"/>
                </a:lnTo>
                <a:lnTo>
                  <a:pt x="1046" y="767"/>
                </a:lnTo>
                <a:lnTo>
                  <a:pt x="1050" y="768"/>
                </a:lnTo>
                <a:lnTo>
                  <a:pt x="1055" y="768"/>
                </a:lnTo>
                <a:lnTo>
                  <a:pt x="1057" y="765"/>
                </a:lnTo>
                <a:lnTo>
                  <a:pt x="1056" y="760"/>
                </a:lnTo>
                <a:lnTo>
                  <a:pt x="1053" y="763"/>
                </a:lnTo>
                <a:lnTo>
                  <a:pt x="1048" y="762"/>
                </a:lnTo>
                <a:lnTo>
                  <a:pt x="1053" y="759"/>
                </a:lnTo>
                <a:lnTo>
                  <a:pt x="1057" y="754"/>
                </a:lnTo>
                <a:lnTo>
                  <a:pt x="1050" y="756"/>
                </a:lnTo>
                <a:lnTo>
                  <a:pt x="1046" y="762"/>
                </a:lnTo>
                <a:close/>
                <a:moveTo>
                  <a:pt x="1172" y="739"/>
                </a:moveTo>
                <a:lnTo>
                  <a:pt x="1172" y="744"/>
                </a:lnTo>
                <a:lnTo>
                  <a:pt x="1175" y="745"/>
                </a:lnTo>
                <a:lnTo>
                  <a:pt x="1180" y="744"/>
                </a:lnTo>
                <a:lnTo>
                  <a:pt x="1183" y="739"/>
                </a:lnTo>
                <a:lnTo>
                  <a:pt x="1178" y="741"/>
                </a:lnTo>
                <a:lnTo>
                  <a:pt x="1172" y="739"/>
                </a:lnTo>
                <a:close/>
                <a:moveTo>
                  <a:pt x="1318" y="560"/>
                </a:moveTo>
                <a:lnTo>
                  <a:pt x="1326" y="562"/>
                </a:lnTo>
                <a:lnTo>
                  <a:pt x="1333" y="559"/>
                </a:lnTo>
                <a:lnTo>
                  <a:pt x="1326" y="558"/>
                </a:lnTo>
                <a:lnTo>
                  <a:pt x="1318" y="560"/>
                </a:lnTo>
                <a:close/>
                <a:moveTo>
                  <a:pt x="943" y="457"/>
                </a:moveTo>
                <a:lnTo>
                  <a:pt x="943" y="457"/>
                </a:lnTo>
                <a:lnTo>
                  <a:pt x="943" y="457"/>
                </a:lnTo>
                <a:lnTo>
                  <a:pt x="943" y="457"/>
                </a:lnTo>
                <a:lnTo>
                  <a:pt x="943" y="457"/>
                </a:lnTo>
                <a:close/>
                <a:moveTo>
                  <a:pt x="1139" y="739"/>
                </a:moveTo>
                <a:lnTo>
                  <a:pt x="1139" y="741"/>
                </a:lnTo>
                <a:lnTo>
                  <a:pt x="1141" y="741"/>
                </a:lnTo>
                <a:lnTo>
                  <a:pt x="1146" y="738"/>
                </a:lnTo>
                <a:lnTo>
                  <a:pt x="1150" y="735"/>
                </a:lnTo>
                <a:lnTo>
                  <a:pt x="1155" y="734"/>
                </a:lnTo>
                <a:lnTo>
                  <a:pt x="1160" y="731"/>
                </a:lnTo>
                <a:lnTo>
                  <a:pt x="1168" y="726"/>
                </a:lnTo>
                <a:lnTo>
                  <a:pt x="1175" y="721"/>
                </a:lnTo>
                <a:lnTo>
                  <a:pt x="1181" y="717"/>
                </a:lnTo>
                <a:lnTo>
                  <a:pt x="1183" y="710"/>
                </a:lnTo>
                <a:lnTo>
                  <a:pt x="1182" y="707"/>
                </a:lnTo>
                <a:lnTo>
                  <a:pt x="1182" y="709"/>
                </a:lnTo>
                <a:lnTo>
                  <a:pt x="1178" y="713"/>
                </a:lnTo>
                <a:lnTo>
                  <a:pt x="1173" y="717"/>
                </a:lnTo>
                <a:lnTo>
                  <a:pt x="1167" y="723"/>
                </a:lnTo>
                <a:lnTo>
                  <a:pt x="1159" y="726"/>
                </a:lnTo>
                <a:lnTo>
                  <a:pt x="1159" y="728"/>
                </a:lnTo>
                <a:lnTo>
                  <a:pt x="1159" y="731"/>
                </a:lnTo>
                <a:lnTo>
                  <a:pt x="1159" y="731"/>
                </a:lnTo>
                <a:lnTo>
                  <a:pt x="1160" y="731"/>
                </a:lnTo>
                <a:lnTo>
                  <a:pt x="1159" y="731"/>
                </a:lnTo>
                <a:lnTo>
                  <a:pt x="1159" y="731"/>
                </a:lnTo>
                <a:lnTo>
                  <a:pt x="1153" y="727"/>
                </a:lnTo>
                <a:lnTo>
                  <a:pt x="1150" y="733"/>
                </a:lnTo>
                <a:lnTo>
                  <a:pt x="1150" y="734"/>
                </a:lnTo>
                <a:lnTo>
                  <a:pt x="1150" y="734"/>
                </a:lnTo>
                <a:lnTo>
                  <a:pt x="1145" y="734"/>
                </a:lnTo>
                <a:lnTo>
                  <a:pt x="1141" y="734"/>
                </a:lnTo>
                <a:lnTo>
                  <a:pt x="1141" y="731"/>
                </a:lnTo>
                <a:lnTo>
                  <a:pt x="1139" y="731"/>
                </a:lnTo>
                <a:lnTo>
                  <a:pt x="1134" y="733"/>
                </a:lnTo>
                <a:lnTo>
                  <a:pt x="1131" y="735"/>
                </a:lnTo>
                <a:lnTo>
                  <a:pt x="1125" y="738"/>
                </a:lnTo>
                <a:lnTo>
                  <a:pt x="1122" y="742"/>
                </a:lnTo>
                <a:lnTo>
                  <a:pt x="1124" y="742"/>
                </a:lnTo>
                <a:lnTo>
                  <a:pt x="1126" y="741"/>
                </a:lnTo>
                <a:lnTo>
                  <a:pt x="1133" y="737"/>
                </a:lnTo>
                <a:lnTo>
                  <a:pt x="1141" y="734"/>
                </a:lnTo>
                <a:lnTo>
                  <a:pt x="1140" y="737"/>
                </a:lnTo>
                <a:lnTo>
                  <a:pt x="1139" y="739"/>
                </a:lnTo>
                <a:close/>
                <a:moveTo>
                  <a:pt x="1150" y="734"/>
                </a:moveTo>
                <a:lnTo>
                  <a:pt x="1150" y="734"/>
                </a:lnTo>
                <a:lnTo>
                  <a:pt x="1150" y="734"/>
                </a:lnTo>
                <a:lnTo>
                  <a:pt x="1150" y="734"/>
                </a:lnTo>
                <a:close/>
                <a:moveTo>
                  <a:pt x="1401" y="490"/>
                </a:moveTo>
                <a:lnTo>
                  <a:pt x="1397" y="494"/>
                </a:lnTo>
                <a:lnTo>
                  <a:pt x="1395" y="496"/>
                </a:lnTo>
                <a:lnTo>
                  <a:pt x="1395" y="499"/>
                </a:lnTo>
                <a:lnTo>
                  <a:pt x="1397" y="499"/>
                </a:lnTo>
                <a:lnTo>
                  <a:pt x="1401" y="496"/>
                </a:lnTo>
                <a:lnTo>
                  <a:pt x="1403" y="494"/>
                </a:lnTo>
                <a:lnTo>
                  <a:pt x="1402" y="492"/>
                </a:lnTo>
                <a:lnTo>
                  <a:pt x="1401" y="490"/>
                </a:lnTo>
                <a:close/>
                <a:moveTo>
                  <a:pt x="1026" y="499"/>
                </a:moveTo>
                <a:lnTo>
                  <a:pt x="1026" y="501"/>
                </a:lnTo>
                <a:lnTo>
                  <a:pt x="1029" y="502"/>
                </a:lnTo>
                <a:lnTo>
                  <a:pt x="1031" y="502"/>
                </a:lnTo>
                <a:lnTo>
                  <a:pt x="1031" y="499"/>
                </a:lnTo>
                <a:lnTo>
                  <a:pt x="1031" y="496"/>
                </a:lnTo>
                <a:lnTo>
                  <a:pt x="1029" y="495"/>
                </a:lnTo>
                <a:lnTo>
                  <a:pt x="1027" y="496"/>
                </a:lnTo>
                <a:lnTo>
                  <a:pt x="1026" y="499"/>
                </a:lnTo>
                <a:close/>
                <a:moveTo>
                  <a:pt x="1097" y="751"/>
                </a:moveTo>
                <a:lnTo>
                  <a:pt x="1093" y="753"/>
                </a:lnTo>
                <a:lnTo>
                  <a:pt x="1091" y="756"/>
                </a:lnTo>
                <a:lnTo>
                  <a:pt x="1091" y="758"/>
                </a:lnTo>
                <a:lnTo>
                  <a:pt x="1093" y="759"/>
                </a:lnTo>
                <a:lnTo>
                  <a:pt x="1097" y="756"/>
                </a:lnTo>
                <a:lnTo>
                  <a:pt x="1099" y="753"/>
                </a:lnTo>
                <a:lnTo>
                  <a:pt x="1098" y="751"/>
                </a:lnTo>
                <a:lnTo>
                  <a:pt x="1097" y="751"/>
                </a:lnTo>
                <a:close/>
                <a:moveTo>
                  <a:pt x="1049" y="562"/>
                </a:moveTo>
                <a:lnTo>
                  <a:pt x="1048" y="563"/>
                </a:lnTo>
                <a:lnTo>
                  <a:pt x="1047" y="564"/>
                </a:lnTo>
                <a:lnTo>
                  <a:pt x="1048" y="565"/>
                </a:lnTo>
                <a:lnTo>
                  <a:pt x="1049" y="565"/>
                </a:lnTo>
                <a:lnTo>
                  <a:pt x="1053" y="566"/>
                </a:lnTo>
                <a:lnTo>
                  <a:pt x="1054" y="570"/>
                </a:lnTo>
                <a:lnTo>
                  <a:pt x="1056" y="566"/>
                </a:lnTo>
                <a:lnTo>
                  <a:pt x="1058" y="562"/>
                </a:lnTo>
                <a:lnTo>
                  <a:pt x="1054" y="562"/>
                </a:lnTo>
                <a:lnTo>
                  <a:pt x="1049" y="562"/>
                </a:lnTo>
                <a:close/>
                <a:moveTo>
                  <a:pt x="1105" y="747"/>
                </a:moveTo>
                <a:lnTo>
                  <a:pt x="1102" y="748"/>
                </a:lnTo>
                <a:lnTo>
                  <a:pt x="1100" y="751"/>
                </a:lnTo>
                <a:lnTo>
                  <a:pt x="1100" y="753"/>
                </a:lnTo>
                <a:lnTo>
                  <a:pt x="1103" y="755"/>
                </a:lnTo>
                <a:lnTo>
                  <a:pt x="1106" y="754"/>
                </a:lnTo>
                <a:lnTo>
                  <a:pt x="1109" y="752"/>
                </a:lnTo>
                <a:lnTo>
                  <a:pt x="1107" y="749"/>
                </a:lnTo>
                <a:lnTo>
                  <a:pt x="1105" y="747"/>
                </a:lnTo>
                <a:close/>
                <a:moveTo>
                  <a:pt x="1093" y="503"/>
                </a:moveTo>
                <a:lnTo>
                  <a:pt x="1091" y="504"/>
                </a:lnTo>
                <a:lnTo>
                  <a:pt x="1090" y="508"/>
                </a:lnTo>
                <a:lnTo>
                  <a:pt x="1092" y="510"/>
                </a:lnTo>
                <a:lnTo>
                  <a:pt x="1093" y="510"/>
                </a:lnTo>
                <a:lnTo>
                  <a:pt x="1097" y="508"/>
                </a:lnTo>
                <a:lnTo>
                  <a:pt x="1098" y="506"/>
                </a:lnTo>
                <a:lnTo>
                  <a:pt x="1099" y="501"/>
                </a:lnTo>
                <a:lnTo>
                  <a:pt x="1098" y="497"/>
                </a:lnTo>
                <a:lnTo>
                  <a:pt x="1097" y="496"/>
                </a:lnTo>
                <a:lnTo>
                  <a:pt x="1096" y="495"/>
                </a:lnTo>
                <a:lnTo>
                  <a:pt x="1096" y="495"/>
                </a:lnTo>
                <a:lnTo>
                  <a:pt x="1096" y="495"/>
                </a:lnTo>
                <a:lnTo>
                  <a:pt x="1096" y="497"/>
                </a:lnTo>
                <a:lnTo>
                  <a:pt x="1097" y="497"/>
                </a:lnTo>
                <a:lnTo>
                  <a:pt x="1097" y="501"/>
                </a:lnTo>
                <a:lnTo>
                  <a:pt x="1093" y="503"/>
                </a:lnTo>
                <a:close/>
                <a:moveTo>
                  <a:pt x="1340" y="569"/>
                </a:moveTo>
                <a:lnTo>
                  <a:pt x="1330" y="573"/>
                </a:lnTo>
                <a:lnTo>
                  <a:pt x="1318" y="573"/>
                </a:lnTo>
                <a:lnTo>
                  <a:pt x="1330" y="577"/>
                </a:lnTo>
                <a:lnTo>
                  <a:pt x="1340" y="569"/>
                </a:lnTo>
                <a:close/>
                <a:moveTo>
                  <a:pt x="1506" y="808"/>
                </a:moveTo>
                <a:lnTo>
                  <a:pt x="1503" y="815"/>
                </a:lnTo>
                <a:lnTo>
                  <a:pt x="1499" y="823"/>
                </a:lnTo>
                <a:lnTo>
                  <a:pt x="1503" y="823"/>
                </a:lnTo>
                <a:lnTo>
                  <a:pt x="1504" y="821"/>
                </a:lnTo>
                <a:lnTo>
                  <a:pt x="1506" y="815"/>
                </a:lnTo>
                <a:lnTo>
                  <a:pt x="1510" y="810"/>
                </a:lnTo>
                <a:lnTo>
                  <a:pt x="1511" y="808"/>
                </a:lnTo>
                <a:lnTo>
                  <a:pt x="1511" y="805"/>
                </a:lnTo>
                <a:lnTo>
                  <a:pt x="1509" y="805"/>
                </a:lnTo>
                <a:lnTo>
                  <a:pt x="1506" y="808"/>
                </a:lnTo>
                <a:close/>
                <a:moveTo>
                  <a:pt x="1174" y="334"/>
                </a:moveTo>
                <a:lnTo>
                  <a:pt x="1176" y="334"/>
                </a:lnTo>
                <a:lnTo>
                  <a:pt x="1178" y="332"/>
                </a:lnTo>
                <a:lnTo>
                  <a:pt x="1173" y="327"/>
                </a:lnTo>
                <a:lnTo>
                  <a:pt x="1167" y="321"/>
                </a:lnTo>
                <a:lnTo>
                  <a:pt x="1165" y="322"/>
                </a:lnTo>
                <a:lnTo>
                  <a:pt x="1165" y="323"/>
                </a:lnTo>
                <a:lnTo>
                  <a:pt x="1169" y="329"/>
                </a:lnTo>
                <a:lnTo>
                  <a:pt x="1174" y="334"/>
                </a:lnTo>
                <a:close/>
                <a:moveTo>
                  <a:pt x="1042" y="516"/>
                </a:moveTo>
                <a:lnTo>
                  <a:pt x="1042" y="516"/>
                </a:lnTo>
                <a:lnTo>
                  <a:pt x="1042" y="517"/>
                </a:lnTo>
                <a:lnTo>
                  <a:pt x="1042" y="518"/>
                </a:lnTo>
                <a:lnTo>
                  <a:pt x="1044" y="520"/>
                </a:lnTo>
                <a:lnTo>
                  <a:pt x="1053" y="517"/>
                </a:lnTo>
                <a:lnTo>
                  <a:pt x="1057" y="507"/>
                </a:lnTo>
                <a:lnTo>
                  <a:pt x="1057" y="503"/>
                </a:lnTo>
                <a:lnTo>
                  <a:pt x="1055" y="501"/>
                </a:lnTo>
                <a:lnTo>
                  <a:pt x="1053" y="503"/>
                </a:lnTo>
                <a:lnTo>
                  <a:pt x="1053" y="507"/>
                </a:lnTo>
                <a:lnTo>
                  <a:pt x="1053" y="510"/>
                </a:lnTo>
                <a:lnTo>
                  <a:pt x="1053" y="514"/>
                </a:lnTo>
                <a:lnTo>
                  <a:pt x="1049" y="517"/>
                </a:lnTo>
                <a:lnTo>
                  <a:pt x="1044" y="517"/>
                </a:lnTo>
                <a:lnTo>
                  <a:pt x="1044" y="516"/>
                </a:lnTo>
                <a:lnTo>
                  <a:pt x="1042" y="516"/>
                </a:lnTo>
                <a:close/>
                <a:moveTo>
                  <a:pt x="1206" y="732"/>
                </a:moveTo>
                <a:lnTo>
                  <a:pt x="1208" y="732"/>
                </a:lnTo>
                <a:lnTo>
                  <a:pt x="1212" y="731"/>
                </a:lnTo>
                <a:lnTo>
                  <a:pt x="1214" y="730"/>
                </a:lnTo>
                <a:lnTo>
                  <a:pt x="1214" y="727"/>
                </a:lnTo>
                <a:lnTo>
                  <a:pt x="1213" y="724"/>
                </a:lnTo>
                <a:lnTo>
                  <a:pt x="1209" y="721"/>
                </a:lnTo>
                <a:lnTo>
                  <a:pt x="1207" y="721"/>
                </a:lnTo>
                <a:lnTo>
                  <a:pt x="1206" y="724"/>
                </a:lnTo>
                <a:lnTo>
                  <a:pt x="1203" y="725"/>
                </a:lnTo>
                <a:lnTo>
                  <a:pt x="1201" y="723"/>
                </a:lnTo>
                <a:lnTo>
                  <a:pt x="1202" y="728"/>
                </a:lnTo>
                <a:lnTo>
                  <a:pt x="1208" y="727"/>
                </a:lnTo>
                <a:lnTo>
                  <a:pt x="1207" y="730"/>
                </a:lnTo>
                <a:lnTo>
                  <a:pt x="1206" y="732"/>
                </a:lnTo>
                <a:close/>
                <a:moveTo>
                  <a:pt x="1143" y="723"/>
                </a:moveTo>
                <a:lnTo>
                  <a:pt x="1143" y="721"/>
                </a:lnTo>
                <a:lnTo>
                  <a:pt x="1148" y="721"/>
                </a:lnTo>
                <a:lnTo>
                  <a:pt x="1152" y="717"/>
                </a:lnTo>
                <a:lnTo>
                  <a:pt x="1154" y="716"/>
                </a:lnTo>
                <a:lnTo>
                  <a:pt x="1154" y="713"/>
                </a:lnTo>
                <a:lnTo>
                  <a:pt x="1152" y="712"/>
                </a:lnTo>
                <a:lnTo>
                  <a:pt x="1150" y="712"/>
                </a:lnTo>
                <a:lnTo>
                  <a:pt x="1151" y="709"/>
                </a:lnTo>
                <a:lnTo>
                  <a:pt x="1155" y="709"/>
                </a:lnTo>
                <a:lnTo>
                  <a:pt x="1159" y="711"/>
                </a:lnTo>
                <a:lnTo>
                  <a:pt x="1164" y="709"/>
                </a:lnTo>
                <a:lnTo>
                  <a:pt x="1166" y="709"/>
                </a:lnTo>
                <a:lnTo>
                  <a:pt x="1166" y="712"/>
                </a:lnTo>
                <a:lnTo>
                  <a:pt x="1166" y="712"/>
                </a:lnTo>
                <a:lnTo>
                  <a:pt x="1166" y="712"/>
                </a:lnTo>
                <a:lnTo>
                  <a:pt x="1166" y="712"/>
                </a:lnTo>
                <a:lnTo>
                  <a:pt x="1164" y="713"/>
                </a:lnTo>
                <a:lnTo>
                  <a:pt x="1162" y="714"/>
                </a:lnTo>
                <a:lnTo>
                  <a:pt x="1164" y="716"/>
                </a:lnTo>
                <a:lnTo>
                  <a:pt x="1165" y="716"/>
                </a:lnTo>
                <a:lnTo>
                  <a:pt x="1166" y="714"/>
                </a:lnTo>
                <a:lnTo>
                  <a:pt x="1167" y="712"/>
                </a:lnTo>
                <a:lnTo>
                  <a:pt x="1169" y="712"/>
                </a:lnTo>
                <a:lnTo>
                  <a:pt x="1169" y="709"/>
                </a:lnTo>
                <a:lnTo>
                  <a:pt x="1169" y="705"/>
                </a:lnTo>
                <a:lnTo>
                  <a:pt x="1165" y="704"/>
                </a:lnTo>
                <a:lnTo>
                  <a:pt x="1158" y="704"/>
                </a:lnTo>
                <a:lnTo>
                  <a:pt x="1154" y="698"/>
                </a:lnTo>
                <a:lnTo>
                  <a:pt x="1155" y="697"/>
                </a:lnTo>
                <a:lnTo>
                  <a:pt x="1154" y="695"/>
                </a:lnTo>
                <a:lnTo>
                  <a:pt x="1152" y="696"/>
                </a:lnTo>
                <a:lnTo>
                  <a:pt x="1150" y="697"/>
                </a:lnTo>
                <a:lnTo>
                  <a:pt x="1148" y="702"/>
                </a:lnTo>
                <a:lnTo>
                  <a:pt x="1148" y="705"/>
                </a:lnTo>
                <a:lnTo>
                  <a:pt x="1140" y="714"/>
                </a:lnTo>
                <a:lnTo>
                  <a:pt x="1130" y="716"/>
                </a:lnTo>
                <a:lnTo>
                  <a:pt x="1130" y="716"/>
                </a:lnTo>
                <a:lnTo>
                  <a:pt x="1130" y="714"/>
                </a:lnTo>
                <a:lnTo>
                  <a:pt x="1129" y="714"/>
                </a:lnTo>
                <a:lnTo>
                  <a:pt x="1129" y="714"/>
                </a:lnTo>
                <a:lnTo>
                  <a:pt x="1130" y="716"/>
                </a:lnTo>
                <a:lnTo>
                  <a:pt x="1130" y="717"/>
                </a:lnTo>
                <a:lnTo>
                  <a:pt x="1133" y="721"/>
                </a:lnTo>
                <a:lnTo>
                  <a:pt x="1138" y="721"/>
                </a:lnTo>
                <a:lnTo>
                  <a:pt x="1134" y="725"/>
                </a:lnTo>
                <a:lnTo>
                  <a:pt x="1129" y="726"/>
                </a:lnTo>
                <a:lnTo>
                  <a:pt x="1127" y="726"/>
                </a:lnTo>
                <a:lnTo>
                  <a:pt x="1127" y="725"/>
                </a:lnTo>
                <a:lnTo>
                  <a:pt x="1127" y="725"/>
                </a:lnTo>
                <a:lnTo>
                  <a:pt x="1126" y="726"/>
                </a:lnTo>
                <a:lnTo>
                  <a:pt x="1127" y="726"/>
                </a:lnTo>
                <a:lnTo>
                  <a:pt x="1129" y="726"/>
                </a:lnTo>
                <a:lnTo>
                  <a:pt x="1129" y="728"/>
                </a:lnTo>
                <a:lnTo>
                  <a:pt x="1127" y="730"/>
                </a:lnTo>
                <a:lnTo>
                  <a:pt x="1122" y="733"/>
                </a:lnTo>
                <a:lnTo>
                  <a:pt x="1116" y="735"/>
                </a:lnTo>
                <a:lnTo>
                  <a:pt x="1111" y="738"/>
                </a:lnTo>
                <a:lnTo>
                  <a:pt x="1107" y="739"/>
                </a:lnTo>
                <a:lnTo>
                  <a:pt x="1106" y="740"/>
                </a:lnTo>
                <a:lnTo>
                  <a:pt x="1105" y="742"/>
                </a:lnTo>
                <a:lnTo>
                  <a:pt x="1106" y="742"/>
                </a:lnTo>
                <a:lnTo>
                  <a:pt x="1107" y="742"/>
                </a:lnTo>
                <a:lnTo>
                  <a:pt x="1112" y="744"/>
                </a:lnTo>
                <a:lnTo>
                  <a:pt x="1111" y="748"/>
                </a:lnTo>
                <a:lnTo>
                  <a:pt x="1110" y="749"/>
                </a:lnTo>
                <a:lnTo>
                  <a:pt x="1111" y="751"/>
                </a:lnTo>
                <a:lnTo>
                  <a:pt x="1112" y="751"/>
                </a:lnTo>
                <a:lnTo>
                  <a:pt x="1113" y="751"/>
                </a:lnTo>
                <a:lnTo>
                  <a:pt x="1116" y="747"/>
                </a:lnTo>
                <a:lnTo>
                  <a:pt x="1116" y="742"/>
                </a:lnTo>
                <a:lnTo>
                  <a:pt x="1116" y="740"/>
                </a:lnTo>
                <a:lnTo>
                  <a:pt x="1117" y="738"/>
                </a:lnTo>
                <a:lnTo>
                  <a:pt x="1124" y="737"/>
                </a:lnTo>
                <a:lnTo>
                  <a:pt x="1129" y="732"/>
                </a:lnTo>
                <a:lnTo>
                  <a:pt x="1137" y="728"/>
                </a:lnTo>
                <a:lnTo>
                  <a:pt x="1143" y="723"/>
                </a:lnTo>
                <a:close/>
                <a:moveTo>
                  <a:pt x="1434" y="738"/>
                </a:moveTo>
                <a:lnTo>
                  <a:pt x="1436" y="737"/>
                </a:lnTo>
                <a:lnTo>
                  <a:pt x="1437" y="733"/>
                </a:lnTo>
                <a:lnTo>
                  <a:pt x="1436" y="731"/>
                </a:lnTo>
                <a:lnTo>
                  <a:pt x="1434" y="731"/>
                </a:lnTo>
                <a:lnTo>
                  <a:pt x="1423" y="733"/>
                </a:lnTo>
                <a:lnTo>
                  <a:pt x="1420" y="742"/>
                </a:lnTo>
                <a:lnTo>
                  <a:pt x="1420" y="746"/>
                </a:lnTo>
                <a:lnTo>
                  <a:pt x="1423" y="748"/>
                </a:lnTo>
                <a:lnTo>
                  <a:pt x="1427" y="747"/>
                </a:lnTo>
                <a:lnTo>
                  <a:pt x="1427" y="744"/>
                </a:lnTo>
                <a:lnTo>
                  <a:pt x="1429" y="739"/>
                </a:lnTo>
                <a:lnTo>
                  <a:pt x="1434" y="738"/>
                </a:lnTo>
                <a:close/>
                <a:moveTo>
                  <a:pt x="1444" y="746"/>
                </a:moveTo>
                <a:lnTo>
                  <a:pt x="1441" y="747"/>
                </a:lnTo>
                <a:lnTo>
                  <a:pt x="1440" y="751"/>
                </a:lnTo>
                <a:lnTo>
                  <a:pt x="1438" y="755"/>
                </a:lnTo>
                <a:lnTo>
                  <a:pt x="1434" y="758"/>
                </a:lnTo>
                <a:lnTo>
                  <a:pt x="1430" y="759"/>
                </a:lnTo>
                <a:lnTo>
                  <a:pt x="1430" y="762"/>
                </a:lnTo>
                <a:lnTo>
                  <a:pt x="1431" y="765"/>
                </a:lnTo>
                <a:lnTo>
                  <a:pt x="1435" y="765"/>
                </a:lnTo>
                <a:lnTo>
                  <a:pt x="1444" y="761"/>
                </a:lnTo>
                <a:lnTo>
                  <a:pt x="1448" y="751"/>
                </a:lnTo>
                <a:lnTo>
                  <a:pt x="1448" y="748"/>
                </a:lnTo>
                <a:lnTo>
                  <a:pt x="1444" y="746"/>
                </a:lnTo>
                <a:close/>
                <a:moveTo>
                  <a:pt x="1070" y="514"/>
                </a:moveTo>
                <a:lnTo>
                  <a:pt x="1074" y="511"/>
                </a:lnTo>
                <a:lnTo>
                  <a:pt x="1077" y="510"/>
                </a:lnTo>
                <a:lnTo>
                  <a:pt x="1076" y="514"/>
                </a:lnTo>
                <a:lnTo>
                  <a:pt x="1074" y="517"/>
                </a:lnTo>
                <a:lnTo>
                  <a:pt x="1079" y="516"/>
                </a:lnTo>
                <a:lnTo>
                  <a:pt x="1085" y="520"/>
                </a:lnTo>
                <a:lnTo>
                  <a:pt x="1085" y="520"/>
                </a:lnTo>
                <a:lnTo>
                  <a:pt x="1085" y="520"/>
                </a:lnTo>
                <a:lnTo>
                  <a:pt x="1085" y="520"/>
                </a:lnTo>
                <a:lnTo>
                  <a:pt x="1081" y="521"/>
                </a:lnTo>
                <a:lnTo>
                  <a:pt x="1077" y="521"/>
                </a:lnTo>
                <a:lnTo>
                  <a:pt x="1076" y="522"/>
                </a:lnTo>
                <a:lnTo>
                  <a:pt x="1075" y="523"/>
                </a:lnTo>
                <a:lnTo>
                  <a:pt x="1078" y="527"/>
                </a:lnTo>
                <a:lnTo>
                  <a:pt x="1082" y="528"/>
                </a:lnTo>
                <a:lnTo>
                  <a:pt x="1082" y="529"/>
                </a:lnTo>
                <a:lnTo>
                  <a:pt x="1083" y="530"/>
                </a:lnTo>
                <a:lnTo>
                  <a:pt x="1083" y="529"/>
                </a:lnTo>
                <a:lnTo>
                  <a:pt x="1082" y="528"/>
                </a:lnTo>
                <a:lnTo>
                  <a:pt x="1083" y="524"/>
                </a:lnTo>
                <a:lnTo>
                  <a:pt x="1085" y="520"/>
                </a:lnTo>
                <a:lnTo>
                  <a:pt x="1086" y="516"/>
                </a:lnTo>
                <a:lnTo>
                  <a:pt x="1085" y="511"/>
                </a:lnTo>
                <a:lnTo>
                  <a:pt x="1083" y="511"/>
                </a:lnTo>
                <a:lnTo>
                  <a:pt x="1079" y="514"/>
                </a:lnTo>
                <a:lnTo>
                  <a:pt x="1079" y="508"/>
                </a:lnTo>
                <a:lnTo>
                  <a:pt x="1077" y="502"/>
                </a:lnTo>
                <a:lnTo>
                  <a:pt x="1074" y="497"/>
                </a:lnTo>
                <a:lnTo>
                  <a:pt x="1070" y="499"/>
                </a:lnTo>
                <a:lnTo>
                  <a:pt x="1068" y="503"/>
                </a:lnTo>
                <a:lnTo>
                  <a:pt x="1064" y="499"/>
                </a:lnTo>
                <a:lnTo>
                  <a:pt x="1063" y="497"/>
                </a:lnTo>
                <a:lnTo>
                  <a:pt x="1061" y="496"/>
                </a:lnTo>
                <a:lnTo>
                  <a:pt x="1060" y="495"/>
                </a:lnTo>
                <a:lnTo>
                  <a:pt x="1057" y="495"/>
                </a:lnTo>
                <a:lnTo>
                  <a:pt x="1057" y="497"/>
                </a:lnTo>
                <a:lnTo>
                  <a:pt x="1058" y="499"/>
                </a:lnTo>
                <a:lnTo>
                  <a:pt x="1067" y="504"/>
                </a:lnTo>
                <a:lnTo>
                  <a:pt x="1070" y="514"/>
                </a:lnTo>
                <a:close/>
                <a:moveTo>
                  <a:pt x="1165" y="315"/>
                </a:moveTo>
                <a:lnTo>
                  <a:pt x="1160" y="307"/>
                </a:lnTo>
                <a:lnTo>
                  <a:pt x="1154" y="300"/>
                </a:lnTo>
                <a:lnTo>
                  <a:pt x="1147" y="295"/>
                </a:lnTo>
                <a:lnTo>
                  <a:pt x="1141" y="288"/>
                </a:lnTo>
                <a:lnTo>
                  <a:pt x="1139" y="286"/>
                </a:lnTo>
                <a:lnTo>
                  <a:pt x="1137" y="284"/>
                </a:lnTo>
                <a:lnTo>
                  <a:pt x="1136" y="286"/>
                </a:lnTo>
                <a:lnTo>
                  <a:pt x="1137" y="288"/>
                </a:lnTo>
                <a:lnTo>
                  <a:pt x="1141" y="294"/>
                </a:lnTo>
                <a:lnTo>
                  <a:pt x="1144" y="301"/>
                </a:lnTo>
                <a:lnTo>
                  <a:pt x="1145" y="308"/>
                </a:lnTo>
                <a:lnTo>
                  <a:pt x="1151" y="312"/>
                </a:lnTo>
                <a:lnTo>
                  <a:pt x="1157" y="314"/>
                </a:lnTo>
                <a:lnTo>
                  <a:pt x="1162" y="318"/>
                </a:lnTo>
                <a:lnTo>
                  <a:pt x="1165" y="316"/>
                </a:lnTo>
                <a:lnTo>
                  <a:pt x="1165" y="315"/>
                </a:lnTo>
                <a:close/>
                <a:moveTo>
                  <a:pt x="1284" y="741"/>
                </a:moveTo>
                <a:lnTo>
                  <a:pt x="1284" y="745"/>
                </a:lnTo>
                <a:lnTo>
                  <a:pt x="1283" y="746"/>
                </a:lnTo>
                <a:lnTo>
                  <a:pt x="1277" y="756"/>
                </a:lnTo>
                <a:lnTo>
                  <a:pt x="1275" y="767"/>
                </a:lnTo>
                <a:lnTo>
                  <a:pt x="1274" y="769"/>
                </a:lnTo>
                <a:lnTo>
                  <a:pt x="1271" y="770"/>
                </a:lnTo>
                <a:lnTo>
                  <a:pt x="1270" y="767"/>
                </a:lnTo>
                <a:lnTo>
                  <a:pt x="1267" y="766"/>
                </a:lnTo>
                <a:lnTo>
                  <a:pt x="1264" y="768"/>
                </a:lnTo>
                <a:lnTo>
                  <a:pt x="1262" y="772"/>
                </a:lnTo>
                <a:lnTo>
                  <a:pt x="1261" y="774"/>
                </a:lnTo>
                <a:lnTo>
                  <a:pt x="1260" y="776"/>
                </a:lnTo>
                <a:lnTo>
                  <a:pt x="1260" y="779"/>
                </a:lnTo>
                <a:lnTo>
                  <a:pt x="1261" y="780"/>
                </a:lnTo>
                <a:lnTo>
                  <a:pt x="1262" y="780"/>
                </a:lnTo>
                <a:lnTo>
                  <a:pt x="1264" y="779"/>
                </a:lnTo>
                <a:lnTo>
                  <a:pt x="1267" y="777"/>
                </a:lnTo>
                <a:lnTo>
                  <a:pt x="1268" y="780"/>
                </a:lnTo>
                <a:lnTo>
                  <a:pt x="1268" y="782"/>
                </a:lnTo>
                <a:lnTo>
                  <a:pt x="1269" y="783"/>
                </a:lnTo>
                <a:lnTo>
                  <a:pt x="1271" y="783"/>
                </a:lnTo>
                <a:lnTo>
                  <a:pt x="1272" y="781"/>
                </a:lnTo>
                <a:lnTo>
                  <a:pt x="1277" y="773"/>
                </a:lnTo>
                <a:lnTo>
                  <a:pt x="1281" y="765"/>
                </a:lnTo>
                <a:lnTo>
                  <a:pt x="1288" y="745"/>
                </a:lnTo>
                <a:lnTo>
                  <a:pt x="1292" y="724"/>
                </a:lnTo>
                <a:lnTo>
                  <a:pt x="1283" y="730"/>
                </a:lnTo>
                <a:lnTo>
                  <a:pt x="1284" y="741"/>
                </a:lnTo>
                <a:close/>
                <a:moveTo>
                  <a:pt x="1284" y="572"/>
                </a:moveTo>
                <a:lnTo>
                  <a:pt x="1286" y="571"/>
                </a:lnTo>
                <a:lnTo>
                  <a:pt x="1289" y="572"/>
                </a:lnTo>
                <a:lnTo>
                  <a:pt x="1291" y="573"/>
                </a:lnTo>
                <a:lnTo>
                  <a:pt x="1293" y="572"/>
                </a:lnTo>
                <a:lnTo>
                  <a:pt x="1296" y="570"/>
                </a:lnTo>
                <a:lnTo>
                  <a:pt x="1296" y="566"/>
                </a:lnTo>
                <a:lnTo>
                  <a:pt x="1293" y="565"/>
                </a:lnTo>
                <a:lnTo>
                  <a:pt x="1291" y="565"/>
                </a:lnTo>
                <a:lnTo>
                  <a:pt x="1290" y="565"/>
                </a:lnTo>
                <a:lnTo>
                  <a:pt x="1290" y="565"/>
                </a:lnTo>
                <a:lnTo>
                  <a:pt x="1290" y="565"/>
                </a:lnTo>
                <a:lnTo>
                  <a:pt x="1290" y="565"/>
                </a:lnTo>
                <a:lnTo>
                  <a:pt x="1296" y="560"/>
                </a:lnTo>
                <a:lnTo>
                  <a:pt x="1302" y="555"/>
                </a:lnTo>
                <a:lnTo>
                  <a:pt x="1303" y="555"/>
                </a:lnTo>
                <a:lnTo>
                  <a:pt x="1304" y="555"/>
                </a:lnTo>
                <a:lnTo>
                  <a:pt x="1304" y="556"/>
                </a:lnTo>
                <a:lnTo>
                  <a:pt x="1303" y="557"/>
                </a:lnTo>
                <a:lnTo>
                  <a:pt x="1300" y="558"/>
                </a:lnTo>
                <a:lnTo>
                  <a:pt x="1300" y="559"/>
                </a:lnTo>
                <a:lnTo>
                  <a:pt x="1302" y="562"/>
                </a:lnTo>
                <a:lnTo>
                  <a:pt x="1304" y="562"/>
                </a:lnTo>
                <a:lnTo>
                  <a:pt x="1311" y="559"/>
                </a:lnTo>
                <a:lnTo>
                  <a:pt x="1319" y="560"/>
                </a:lnTo>
                <a:lnTo>
                  <a:pt x="1319" y="557"/>
                </a:lnTo>
                <a:lnTo>
                  <a:pt x="1323" y="556"/>
                </a:lnTo>
                <a:lnTo>
                  <a:pt x="1325" y="556"/>
                </a:lnTo>
                <a:lnTo>
                  <a:pt x="1325" y="553"/>
                </a:lnTo>
                <a:lnTo>
                  <a:pt x="1325" y="551"/>
                </a:lnTo>
                <a:lnTo>
                  <a:pt x="1323" y="551"/>
                </a:lnTo>
                <a:lnTo>
                  <a:pt x="1320" y="551"/>
                </a:lnTo>
                <a:lnTo>
                  <a:pt x="1320" y="549"/>
                </a:lnTo>
                <a:lnTo>
                  <a:pt x="1318" y="545"/>
                </a:lnTo>
                <a:lnTo>
                  <a:pt x="1314" y="546"/>
                </a:lnTo>
                <a:lnTo>
                  <a:pt x="1305" y="551"/>
                </a:lnTo>
                <a:lnTo>
                  <a:pt x="1295" y="552"/>
                </a:lnTo>
                <a:lnTo>
                  <a:pt x="1293" y="552"/>
                </a:lnTo>
                <a:lnTo>
                  <a:pt x="1292" y="553"/>
                </a:lnTo>
                <a:lnTo>
                  <a:pt x="1290" y="558"/>
                </a:lnTo>
                <a:lnTo>
                  <a:pt x="1285" y="562"/>
                </a:lnTo>
                <a:lnTo>
                  <a:pt x="1281" y="562"/>
                </a:lnTo>
                <a:lnTo>
                  <a:pt x="1277" y="559"/>
                </a:lnTo>
                <a:lnTo>
                  <a:pt x="1275" y="557"/>
                </a:lnTo>
                <a:lnTo>
                  <a:pt x="1270" y="558"/>
                </a:lnTo>
                <a:lnTo>
                  <a:pt x="1270" y="559"/>
                </a:lnTo>
                <a:lnTo>
                  <a:pt x="1270" y="560"/>
                </a:lnTo>
                <a:lnTo>
                  <a:pt x="1272" y="560"/>
                </a:lnTo>
                <a:lnTo>
                  <a:pt x="1276" y="560"/>
                </a:lnTo>
                <a:lnTo>
                  <a:pt x="1272" y="565"/>
                </a:lnTo>
                <a:lnTo>
                  <a:pt x="1275" y="570"/>
                </a:lnTo>
                <a:lnTo>
                  <a:pt x="1268" y="571"/>
                </a:lnTo>
                <a:lnTo>
                  <a:pt x="1264" y="572"/>
                </a:lnTo>
                <a:lnTo>
                  <a:pt x="1276" y="573"/>
                </a:lnTo>
                <a:lnTo>
                  <a:pt x="1284" y="572"/>
                </a:lnTo>
                <a:close/>
                <a:moveTo>
                  <a:pt x="1215" y="889"/>
                </a:moveTo>
                <a:lnTo>
                  <a:pt x="1214" y="886"/>
                </a:lnTo>
                <a:lnTo>
                  <a:pt x="1209" y="885"/>
                </a:lnTo>
                <a:lnTo>
                  <a:pt x="1214" y="885"/>
                </a:lnTo>
                <a:lnTo>
                  <a:pt x="1217" y="886"/>
                </a:lnTo>
                <a:lnTo>
                  <a:pt x="1217" y="888"/>
                </a:lnTo>
                <a:lnTo>
                  <a:pt x="1215" y="889"/>
                </a:lnTo>
                <a:close/>
                <a:moveTo>
                  <a:pt x="1258" y="864"/>
                </a:moveTo>
                <a:lnTo>
                  <a:pt x="1255" y="865"/>
                </a:lnTo>
                <a:lnTo>
                  <a:pt x="1254" y="868"/>
                </a:lnTo>
                <a:lnTo>
                  <a:pt x="1254" y="871"/>
                </a:lnTo>
                <a:lnTo>
                  <a:pt x="1251" y="872"/>
                </a:lnTo>
                <a:lnTo>
                  <a:pt x="1250" y="870"/>
                </a:lnTo>
                <a:lnTo>
                  <a:pt x="1250" y="867"/>
                </a:lnTo>
                <a:lnTo>
                  <a:pt x="1250" y="866"/>
                </a:lnTo>
                <a:lnTo>
                  <a:pt x="1250" y="866"/>
                </a:lnTo>
                <a:lnTo>
                  <a:pt x="1249" y="859"/>
                </a:lnTo>
                <a:lnTo>
                  <a:pt x="1245" y="853"/>
                </a:lnTo>
                <a:lnTo>
                  <a:pt x="1240" y="852"/>
                </a:lnTo>
                <a:lnTo>
                  <a:pt x="1234" y="856"/>
                </a:lnTo>
                <a:lnTo>
                  <a:pt x="1233" y="856"/>
                </a:lnTo>
                <a:lnTo>
                  <a:pt x="1231" y="857"/>
                </a:lnTo>
                <a:lnTo>
                  <a:pt x="1233" y="851"/>
                </a:lnTo>
                <a:lnTo>
                  <a:pt x="1229" y="849"/>
                </a:lnTo>
                <a:lnTo>
                  <a:pt x="1222" y="849"/>
                </a:lnTo>
                <a:lnTo>
                  <a:pt x="1216" y="847"/>
                </a:lnTo>
                <a:lnTo>
                  <a:pt x="1215" y="847"/>
                </a:lnTo>
                <a:lnTo>
                  <a:pt x="1214" y="849"/>
                </a:lnTo>
                <a:lnTo>
                  <a:pt x="1208" y="852"/>
                </a:lnTo>
                <a:lnTo>
                  <a:pt x="1203" y="858"/>
                </a:lnTo>
                <a:lnTo>
                  <a:pt x="1201" y="859"/>
                </a:lnTo>
                <a:lnTo>
                  <a:pt x="1199" y="858"/>
                </a:lnTo>
                <a:lnTo>
                  <a:pt x="1196" y="852"/>
                </a:lnTo>
                <a:lnTo>
                  <a:pt x="1192" y="850"/>
                </a:lnTo>
                <a:lnTo>
                  <a:pt x="1187" y="850"/>
                </a:lnTo>
                <a:lnTo>
                  <a:pt x="1185" y="853"/>
                </a:lnTo>
                <a:lnTo>
                  <a:pt x="1185" y="854"/>
                </a:lnTo>
                <a:lnTo>
                  <a:pt x="1186" y="856"/>
                </a:lnTo>
                <a:lnTo>
                  <a:pt x="1192" y="859"/>
                </a:lnTo>
                <a:lnTo>
                  <a:pt x="1193" y="867"/>
                </a:lnTo>
                <a:lnTo>
                  <a:pt x="1189" y="866"/>
                </a:lnTo>
                <a:lnTo>
                  <a:pt x="1186" y="866"/>
                </a:lnTo>
                <a:lnTo>
                  <a:pt x="1189" y="871"/>
                </a:lnTo>
                <a:lnTo>
                  <a:pt x="1191" y="875"/>
                </a:lnTo>
                <a:lnTo>
                  <a:pt x="1192" y="872"/>
                </a:lnTo>
                <a:lnTo>
                  <a:pt x="1194" y="870"/>
                </a:lnTo>
                <a:lnTo>
                  <a:pt x="1198" y="872"/>
                </a:lnTo>
                <a:lnTo>
                  <a:pt x="1200" y="875"/>
                </a:lnTo>
                <a:lnTo>
                  <a:pt x="1200" y="881"/>
                </a:lnTo>
                <a:lnTo>
                  <a:pt x="1200" y="886"/>
                </a:lnTo>
                <a:lnTo>
                  <a:pt x="1201" y="889"/>
                </a:lnTo>
                <a:lnTo>
                  <a:pt x="1202" y="889"/>
                </a:lnTo>
                <a:lnTo>
                  <a:pt x="1210" y="891"/>
                </a:lnTo>
                <a:lnTo>
                  <a:pt x="1217" y="893"/>
                </a:lnTo>
                <a:lnTo>
                  <a:pt x="1228" y="894"/>
                </a:lnTo>
                <a:lnTo>
                  <a:pt x="1240" y="893"/>
                </a:lnTo>
                <a:lnTo>
                  <a:pt x="1240" y="895"/>
                </a:lnTo>
                <a:lnTo>
                  <a:pt x="1240" y="896"/>
                </a:lnTo>
                <a:lnTo>
                  <a:pt x="1240" y="896"/>
                </a:lnTo>
                <a:lnTo>
                  <a:pt x="1240" y="898"/>
                </a:lnTo>
                <a:lnTo>
                  <a:pt x="1241" y="899"/>
                </a:lnTo>
                <a:lnTo>
                  <a:pt x="1241" y="900"/>
                </a:lnTo>
                <a:lnTo>
                  <a:pt x="1241" y="901"/>
                </a:lnTo>
                <a:lnTo>
                  <a:pt x="1241" y="902"/>
                </a:lnTo>
                <a:lnTo>
                  <a:pt x="1243" y="899"/>
                </a:lnTo>
                <a:lnTo>
                  <a:pt x="1245" y="895"/>
                </a:lnTo>
                <a:lnTo>
                  <a:pt x="1244" y="894"/>
                </a:lnTo>
                <a:lnTo>
                  <a:pt x="1243" y="893"/>
                </a:lnTo>
                <a:lnTo>
                  <a:pt x="1242" y="891"/>
                </a:lnTo>
                <a:lnTo>
                  <a:pt x="1240" y="891"/>
                </a:lnTo>
                <a:lnTo>
                  <a:pt x="1235" y="891"/>
                </a:lnTo>
                <a:lnTo>
                  <a:pt x="1231" y="891"/>
                </a:lnTo>
                <a:lnTo>
                  <a:pt x="1228" y="889"/>
                </a:lnTo>
                <a:lnTo>
                  <a:pt x="1226" y="886"/>
                </a:lnTo>
                <a:lnTo>
                  <a:pt x="1226" y="885"/>
                </a:lnTo>
                <a:lnTo>
                  <a:pt x="1227" y="884"/>
                </a:lnTo>
                <a:lnTo>
                  <a:pt x="1229" y="884"/>
                </a:lnTo>
                <a:lnTo>
                  <a:pt x="1231" y="886"/>
                </a:lnTo>
                <a:lnTo>
                  <a:pt x="1233" y="886"/>
                </a:lnTo>
                <a:lnTo>
                  <a:pt x="1234" y="886"/>
                </a:lnTo>
                <a:lnTo>
                  <a:pt x="1241" y="886"/>
                </a:lnTo>
                <a:lnTo>
                  <a:pt x="1245" y="881"/>
                </a:lnTo>
                <a:lnTo>
                  <a:pt x="1248" y="878"/>
                </a:lnTo>
                <a:lnTo>
                  <a:pt x="1250" y="878"/>
                </a:lnTo>
                <a:lnTo>
                  <a:pt x="1252" y="881"/>
                </a:lnTo>
                <a:lnTo>
                  <a:pt x="1254" y="881"/>
                </a:lnTo>
                <a:lnTo>
                  <a:pt x="1256" y="879"/>
                </a:lnTo>
                <a:lnTo>
                  <a:pt x="1257" y="875"/>
                </a:lnTo>
                <a:lnTo>
                  <a:pt x="1258" y="873"/>
                </a:lnTo>
                <a:lnTo>
                  <a:pt x="1261" y="871"/>
                </a:lnTo>
                <a:lnTo>
                  <a:pt x="1261" y="870"/>
                </a:lnTo>
                <a:lnTo>
                  <a:pt x="1260" y="868"/>
                </a:lnTo>
                <a:lnTo>
                  <a:pt x="1261" y="866"/>
                </a:lnTo>
                <a:lnTo>
                  <a:pt x="1258" y="864"/>
                </a:lnTo>
                <a:close/>
                <a:moveTo>
                  <a:pt x="1400" y="517"/>
                </a:moveTo>
                <a:lnTo>
                  <a:pt x="1403" y="514"/>
                </a:lnTo>
                <a:lnTo>
                  <a:pt x="1407" y="511"/>
                </a:lnTo>
                <a:lnTo>
                  <a:pt x="1407" y="517"/>
                </a:lnTo>
                <a:lnTo>
                  <a:pt x="1403" y="521"/>
                </a:lnTo>
                <a:lnTo>
                  <a:pt x="1402" y="521"/>
                </a:lnTo>
                <a:lnTo>
                  <a:pt x="1401" y="521"/>
                </a:lnTo>
                <a:lnTo>
                  <a:pt x="1400" y="520"/>
                </a:lnTo>
                <a:lnTo>
                  <a:pt x="1400" y="517"/>
                </a:lnTo>
                <a:close/>
                <a:moveTo>
                  <a:pt x="951" y="847"/>
                </a:moveTo>
                <a:lnTo>
                  <a:pt x="951" y="847"/>
                </a:lnTo>
                <a:lnTo>
                  <a:pt x="950" y="849"/>
                </a:lnTo>
                <a:lnTo>
                  <a:pt x="951" y="847"/>
                </a:lnTo>
                <a:lnTo>
                  <a:pt x="951" y="847"/>
                </a:lnTo>
                <a:close/>
                <a:moveTo>
                  <a:pt x="1511" y="488"/>
                </a:moveTo>
                <a:lnTo>
                  <a:pt x="1510" y="490"/>
                </a:lnTo>
                <a:lnTo>
                  <a:pt x="1511" y="492"/>
                </a:lnTo>
                <a:lnTo>
                  <a:pt x="1511" y="490"/>
                </a:lnTo>
                <a:lnTo>
                  <a:pt x="1511" y="488"/>
                </a:lnTo>
                <a:close/>
                <a:moveTo>
                  <a:pt x="129" y="882"/>
                </a:moveTo>
                <a:lnTo>
                  <a:pt x="131" y="880"/>
                </a:lnTo>
                <a:lnTo>
                  <a:pt x="132" y="877"/>
                </a:lnTo>
                <a:lnTo>
                  <a:pt x="129" y="879"/>
                </a:lnTo>
                <a:lnTo>
                  <a:pt x="129" y="882"/>
                </a:lnTo>
                <a:close/>
                <a:moveTo>
                  <a:pt x="1283" y="10"/>
                </a:moveTo>
                <a:lnTo>
                  <a:pt x="1285" y="8"/>
                </a:lnTo>
                <a:lnTo>
                  <a:pt x="1285" y="7"/>
                </a:lnTo>
                <a:lnTo>
                  <a:pt x="1285" y="6"/>
                </a:lnTo>
                <a:lnTo>
                  <a:pt x="1283" y="5"/>
                </a:lnTo>
                <a:lnTo>
                  <a:pt x="1282" y="6"/>
                </a:lnTo>
                <a:lnTo>
                  <a:pt x="1281" y="7"/>
                </a:lnTo>
                <a:lnTo>
                  <a:pt x="1282" y="10"/>
                </a:lnTo>
                <a:lnTo>
                  <a:pt x="1283" y="10"/>
                </a:lnTo>
                <a:close/>
                <a:moveTo>
                  <a:pt x="1511" y="488"/>
                </a:moveTo>
                <a:lnTo>
                  <a:pt x="1520" y="488"/>
                </a:lnTo>
                <a:lnTo>
                  <a:pt x="1528" y="488"/>
                </a:lnTo>
                <a:lnTo>
                  <a:pt x="1520" y="486"/>
                </a:lnTo>
                <a:lnTo>
                  <a:pt x="1511" y="488"/>
                </a:lnTo>
                <a:close/>
                <a:moveTo>
                  <a:pt x="522" y="1095"/>
                </a:moveTo>
                <a:lnTo>
                  <a:pt x="518" y="1097"/>
                </a:lnTo>
                <a:lnTo>
                  <a:pt x="513" y="1094"/>
                </a:lnTo>
                <a:lnTo>
                  <a:pt x="512" y="1089"/>
                </a:lnTo>
                <a:lnTo>
                  <a:pt x="508" y="1088"/>
                </a:lnTo>
                <a:lnTo>
                  <a:pt x="506" y="1084"/>
                </a:lnTo>
                <a:lnTo>
                  <a:pt x="504" y="1083"/>
                </a:lnTo>
                <a:lnTo>
                  <a:pt x="497" y="1084"/>
                </a:lnTo>
                <a:lnTo>
                  <a:pt x="492" y="1089"/>
                </a:lnTo>
                <a:lnTo>
                  <a:pt x="491" y="1091"/>
                </a:lnTo>
                <a:lnTo>
                  <a:pt x="490" y="1091"/>
                </a:lnTo>
                <a:lnTo>
                  <a:pt x="483" y="1087"/>
                </a:lnTo>
                <a:lnTo>
                  <a:pt x="475" y="1084"/>
                </a:lnTo>
                <a:lnTo>
                  <a:pt x="473" y="1084"/>
                </a:lnTo>
                <a:lnTo>
                  <a:pt x="470" y="1086"/>
                </a:lnTo>
                <a:lnTo>
                  <a:pt x="470" y="1090"/>
                </a:lnTo>
                <a:lnTo>
                  <a:pt x="470" y="1094"/>
                </a:lnTo>
                <a:lnTo>
                  <a:pt x="471" y="1096"/>
                </a:lnTo>
                <a:lnTo>
                  <a:pt x="474" y="1095"/>
                </a:lnTo>
                <a:lnTo>
                  <a:pt x="478" y="1095"/>
                </a:lnTo>
                <a:lnTo>
                  <a:pt x="481" y="1097"/>
                </a:lnTo>
                <a:lnTo>
                  <a:pt x="483" y="1098"/>
                </a:lnTo>
                <a:lnTo>
                  <a:pt x="485" y="1100"/>
                </a:lnTo>
                <a:lnTo>
                  <a:pt x="496" y="1097"/>
                </a:lnTo>
                <a:lnTo>
                  <a:pt x="505" y="1096"/>
                </a:lnTo>
                <a:lnTo>
                  <a:pt x="506" y="1098"/>
                </a:lnTo>
                <a:lnTo>
                  <a:pt x="508" y="1100"/>
                </a:lnTo>
                <a:lnTo>
                  <a:pt x="505" y="1100"/>
                </a:lnTo>
                <a:lnTo>
                  <a:pt x="502" y="1101"/>
                </a:lnTo>
                <a:lnTo>
                  <a:pt x="484" y="1104"/>
                </a:lnTo>
                <a:lnTo>
                  <a:pt x="467" y="1100"/>
                </a:lnTo>
                <a:lnTo>
                  <a:pt x="464" y="1098"/>
                </a:lnTo>
                <a:lnTo>
                  <a:pt x="462" y="1097"/>
                </a:lnTo>
                <a:lnTo>
                  <a:pt x="462" y="1101"/>
                </a:lnTo>
                <a:lnTo>
                  <a:pt x="463" y="1103"/>
                </a:lnTo>
                <a:lnTo>
                  <a:pt x="464" y="1104"/>
                </a:lnTo>
                <a:lnTo>
                  <a:pt x="465" y="1105"/>
                </a:lnTo>
                <a:lnTo>
                  <a:pt x="480" y="1109"/>
                </a:lnTo>
                <a:lnTo>
                  <a:pt x="494" y="1111"/>
                </a:lnTo>
                <a:lnTo>
                  <a:pt x="497" y="1110"/>
                </a:lnTo>
                <a:lnTo>
                  <a:pt x="498" y="1109"/>
                </a:lnTo>
                <a:lnTo>
                  <a:pt x="498" y="1105"/>
                </a:lnTo>
                <a:lnTo>
                  <a:pt x="502" y="1105"/>
                </a:lnTo>
                <a:lnTo>
                  <a:pt x="503" y="1105"/>
                </a:lnTo>
                <a:lnTo>
                  <a:pt x="505" y="1105"/>
                </a:lnTo>
                <a:lnTo>
                  <a:pt x="506" y="1104"/>
                </a:lnTo>
                <a:lnTo>
                  <a:pt x="508" y="1104"/>
                </a:lnTo>
                <a:lnTo>
                  <a:pt x="518" y="1098"/>
                </a:lnTo>
                <a:lnTo>
                  <a:pt x="529" y="1096"/>
                </a:lnTo>
                <a:lnTo>
                  <a:pt x="529" y="1095"/>
                </a:lnTo>
                <a:lnTo>
                  <a:pt x="529" y="1095"/>
                </a:lnTo>
                <a:lnTo>
                  <a:pt x="525" y="1094"/>
                </a:lnTo>
                <a:lnTo>
                  <a:pt x="522" y="1095"/>
                </a:lnTo>
                <a:close/>
                <a:moveTo>
                  <a:pt x="1804" y="204"/>
                </a:moveTo>
                <a:lnTo>
                  <a:pt x="1804" y="202"/>
                </a:lnTo>
                <a:lnTo>
                  <a:pt x="1804" y="200"/>
                </a:lnTo>
                <a:lnTo>
                  <a:pt x="1804" y="202"/>
                </a:lnTo>
                <a:lnTo>
                  <a:pt x="1804" y="206"/>
                </a:lnTo>
                <a:lnTo>
                  <a:pt x="1807" y="207"/>
                </a:lnTo>
                <a:lnTo>
                  <a:pt x="1809" y="209"/>
                </a:lnTo>
                <a:lnTo>
                  <a:pt x="1807" y="207"/>
                </a:lnTo>
                <a:lnTo>
                  <a:pt x="1804" y="204"/>
                </a:lnTo>
                <a:close/>
                <a:moveTo>
                  <a:pt x="1806" y="316"/>
                </a:moveTo>
                <a:lnTo>
                  <a:pt x="1807" y="318"/>
                </a:lnTo>
                <a:lnTo>
                  <a:pt x="1808" y="318"/>
                </a:lnTo>
                <a:lnTo>
                  <a:pt x="1807" y="318"/>
                </a:lnTo>
                <a:lnTo>
                  <a:pt x="1806" y="316"/>
                </a:lnTo>
                <a:close/>
                <a:moveTo>
                  <a:pt x="1776" y="169"/>
                </a:moveTo>
                <a:lnTo>
                  <a:pt x="1775" y="167"/>
                </a:lnTo>
                <a:lnTo>
                  <a:pt x="1773" y="165"/>
                </a:lnTo>
                <a:lnTo>
                  <a:pt x="1775" y="167"/>
                </a:lnTo>
                <a:lnTo>
                  <a:pt x="1776" y="169"/>
                </a:lnTo>
                <a:lnTo>
                  <a:pt x="1776" y="169"/>
                </a:lnTo>
                <a:lnTo>
                  <a:pt x="1778" y="169"/>
                </a:lnTo>
                <a:lnTo>
                  <a:pt x="1776" y="169"/>
                </a:lnTo>
                <a:lnTo>
                  <a:pt x="1776" y="169"/>
                </a:lnTo>
                <a:close/>
                <a:moveTo>
                  <a:pt x="1772" y="313"/>
                </a:moveTo>
                <a:lnTo>
                  <a:pt x="1772" y="313"/>
                </a:lnTo>
                <a:lnTo>
                  <a:pt x="1772" y="312"/>
                </a:lnTo>
                <a:lnTo>
                  <a:pt x="1772" y="313"/>
                </a:lnTo>
                <a:lnTo>
                  <a:pt x="1772" y="313"/>
                </a:lnTo>
                <a:lnTo>
                  <a:pt x="1772" y="315"/>
                </a:lnTo>
                <a:lnTo>
                  <a:pt x="1773" y="318"/>
                </a:lnTo>
                <a:lnTo>
                  <a:pt x="1772" y="315"/>
                </a:lnTo>
                <a:lnTo>
                  <a:pt x="1772" y="313"/>
                </a:lnTo>
                <a:close/>
                <a:moveTo>
                  <a:pt x="1562" y="201"/>
                </a:moveTo>
                <a:lnTo>
                  <a:pt x="1561" y="201"/>
                </a:lnTo>
                <a:lnTo>
                  <a:pt x="1561" y="200"/>
                </a:lnTo>
                <a:lnTo>
                  <a:pt x="1562" y="200"/>
                </a:lnTo>
                <a:lnTo>
                  <a:pt x="1562" y="201"/>
                </a:lnTo>
                <a:close/>
                <a:moveTo>
                  <a:pt x="1762" y="276"/>
                </a:moveTo>
                <a:lnTo>
                  <a:pt x="1756" y="276"/>
                </a:lnTo>
                <a:lnTo>
                  <a:pt x="1753" y="273"/>
                </a:lnTo>
                <a:lnTo>
                  <a:pt x="1756" y="276"/>
                </a:lnTo>
                <a:lnTo>
                  <a:pt x="1762" y="276"/>
                </a:lnTo>
                <a:lnTo>
                  <a:pt x="1762" y="277"/>
                </a:lnTo>
                <a:lnTo>
                  <a:pt x="1764" y="279"/>
                </a:lnTo>
                <a:lnTo>
                  <a:pt x="1762" y="277"/>
                </a:lnTo>
                <a:lnTo>
                  <a:pt x="1762" y="276"/>
                </a:lnTo>
                <a:close/>
                <a:moveTo>
                  <a:pt x="1754" y="286"/>
                </a:moveTo>
                <a:lnTo>
                  <a:pt x="1755" y="287"/>
                </a:lnTo>
                <a:lnTo>
                  <a:pt x="1758" y="287"/>
                </a:lnTo>
                <a:lnTo>
                  <a:pt x="1755" y="287"/>
                </a:lnTo>
                <a:lnTo>
                  <a:pt x="1754" y="286"/>
                </a:lnTo>
                <a:close/>
                <a:moveTo>
                  <a:pt x="1758" y="292"/>
                </a:moveTo>
                <a:lnTo>
                  <a:pt x="1755" y="292"/>
                </a:lnTo>
                <a:lnTo>
                  <a:pt x="1754" y="292"/>
                </a:lnTo>
                <a:lnTo>
                  <a:pt x="1753" y="294"/>
                </a:lnTo>
                <a:lnTo>
                  <a:pt x="1752" y="295"/>
                </a:lnTo>
                <a:lnTo>
                  <a:pt x="1753" y="294"/>
                </a:lnTo>
                <a:lnTo>
                  <a:pt x="1754" y="292"/>
                </a:lnTo>
                <a:lnTo>
                  <a:pt x="1755" y="292"/>
                </a:lnTo>
                <a:lnTo>
                  <a:pt x="1758" y="292"/>
                </a:lnTo>
                <a:close/>
                <a:moveTo>
                  <a:pt x="1740" y="277"/>
                </a:moveTo>
                <a:lnTo>
                  <a:pt x="1740" y="276"/>
                </a:lnTo>
                <a:lnTo>
                  <a:pt x="1741" y="276"/>
                </a:lnTo>
                <a:lnTo>
                  <a:pt x="1741" y="276"/>
                </a:lnTo>
                <a:lnTo>
                  <a:pt x="1742" y="277"/>
                </a:lnTo>
                <a:lnTo>
                  <a:pt x="1741" y="276"/>
                </a:lnTo>
                <a:lnTo>
                  <a:pt x="1741" y="276"/>
                </a:lnTo>
                <a:lnTo>
                  <a:pt x="1740" y="276"/>
                </a:lnTo>
                <a:lnTo>
                  <a:pt x="1740" y="277"/>
                </a:lnTo>
                <a:close/>
                <a:moveTo>
                  <a:pt x="1738" y="308"/>
                </a:moveTo>
                <a:lnTo>
                  <a:pt x="1738" y="302"/>
                </a:lnTo>
                <a:lnTo>
                  <a:pt x="1733" y="298"/>
                </a:lnTo>
                <a:lnTo>
                  <a:pt x="1735" y="297"/>
                </a:lnTo>
                <a:lnTo>
                  <a:pt x="1737" y="295"/>
                </a:lnTo>
                <a:lnTo>
                  <a:pt x="1738" y="295"/>
                </a:lnTo>
                <a:lnTo>
                  <a:pt x="1739" y="294"/>
                </a:lnTo>
                <a:lnTo>
                  <a:pt x="1738" y="295"/>
                </a:lnTo>
                <a:lnTo>
                  <a:pt x="1737" y="295"/>
                </a:lnTo>
                <a:lnTo>
                  <a:pt x="1735" y="297"/>
                </a:lnTo>
                <a:lnTo>
                  <a:pt x="1733" y="298"/>
                </a:lnTo>
                <a:lnTo>
                  <a:pt x="1738" y="302"/>
                </a:lnTo>
                <a:lnTo>
                  <a:pt x="1738" y="308"/>
                </a:lnTo>
                <a:close/>
                <a:moveTo>
                  <a:pt x="1726" y="300"/>
                </a:moveTo>
                <a:lnTo>
                  <a:pt x="1725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5" y="299"/>
                </a:lnTo>
                <a:lnTo>
                  <a:pt x="1726" y="300"/>
                </a:lnTo>
                <a:close/>
                <a:moveTo>
                  <a:pt x="1720" y="401"/>
                </a:moveTo>
                <a:lnTo>
                  <a:pt x="1733" y="391"/>
                </a:lnTo>
                <a:lnTo>
                  <a:pt x="1746" y="383"/>
                </a:lnTo>
                <a:lnTo>
                  <a:pt x="1748" y="384"/>
                </a:lnTo>
                <a:lnTo>
                  <a:pt x="1748" y="385"/>
                </a:lnTo>
                <a:lnTo>
                  <a:pt x="1738" y="392"/>
                </a:lnTo>
                <a:lnTo>
                  <a:pt x="1728" y="399"/>
                </a:lnTo>
                <a:lnTo>
                  <a:pt x="1724" y="402"/>
                </a:lnTo>
                <a:lnTo>
                  <a:pt x="1719" y="403"/>
                </a:lnTo>
                <a:lnTo>
                  <a:pt x="1720" y="402"/>
                </a:lnTo>
                <a:lnTo>
                  <a:pt x="1720" y="401"/>
                </a:lnTo>
                <a:close/>
                <a:moveTo>
                  <a:pt x="1712" y="315"/>
                </a:moveTo>
                <a:lnTo>
                  <a:pt x="1711" y="316"/>
                </a:lnTo>
                <a:lnTo>
                  <a:pt x="1711" y="316"/>
                </a:lnTo>
                <a:lnTo>
                  <a:pt x="1712" y="315"/>
                </a:lnTo>
                <a:lnTo>
                  <a:pt x="1713" y="313"/>
                </a:lnTo>
                <a:lnTo>
                  <a:pt x="1714" y="311"/>
                </a:lnTo>
                <a:lnTo>
                  <a:pt x="1713" y="313"/>
                </a:lnTo>
                <a:lnTo>
                  <a:pt x="1712" y="315"/>
                </a:lnTo>
                <a:close/>
                <a:moveTo>
                  <a:pt x="1695" y="301"/>
                </a:moveTo>
                <a:lnTo>
                  <a:pt x="1698" y="302"/>
                </a:lnTo>
                <a:lnTo>
                  <a:pt x="1702" y="304"/>
                </a:lnTo>
                <a:lnTo>
                  <a:pt x="1698" y="302"/>
                </a:lnTo>
                <a:lnTo>
                  <a:pt x="1695" y="301"/>
                </a:lnTo>
                <a:close/>
                <a:moveTo>
                  <a:pt x="1684" y="349"/>
                </a:moveTo>
                <a:lnTo>
                  <a:pt x="1687" y="347"/>
                </a:lnTo>
                <a:lnTo>
                  <a:pt x="1690" y="345"/>
                </a:lnTo>
                <a:lnTo>
                  <a:pt x="1687" y="347"/>
                </a:lnTo>
                <a:lnTo>
                  <a:pt x="1684" y="349"/>
                </a:lnTo>
                <a:close/>
                <a:moveTo>
                  <a:pt x="1689" y="390"/>
                </a:moveTo>
                <a:lnTo>
                  <a:pt x="1690" y="391"/>
                </a:lnTo>
                <a:lnTo>
                  <a:pt x="1690" y="392"/>
                </a:lnTo>
                <a:lnTo>
                  <a:pt x="1690" y="394"/>
                </a:lnTo>
                <a:lnTo>
                  <a:pt x="1689" y="395"/>
                </a:lnTo>
                <a:lnTo>
                  <a:pt x="1690" y="394"/>
                </a:lnTo>
                <a:lnTo>
                  <a:pt x="1690" y="392"/>
                </a:lnTo>
                <a:lnTo>
                  <a:pt x="1690" y="391"/>
                </a:lnTo>
                <a:lnTo>
                  <a:pt x="1689" y="390"/>
                </a:lnTo>
                <a:close/>
                <a:moveTo>
                  <a:pt x="1682" y="401"/>
                </a:moveTo>
                <a:lnTo>
                  <a:pt x="1683" y="401"/>
                </a:lnTo>
                <a:lnTo>
                  <a:pt x="1684" y="401"/>
                </a:lnTo>
                <a:lnTo>
                  <a:pt x="1685" y="402"/>
                </a:lnTo>
                <a:lnTo>
                  <a:pt x="1685" y="403"/>
                </a:lnTo>
                <a:lnTo>
                  <a:pt x="1685" y="402"/>
                </a:lnTo>
                <a:lnTo>
                  <a:pt x="1684" y="401"/>
                </a:lnTo>
                <a:lnTo>
                  <a:pt x="1683" y="401"/>
                </a:lnTo>
                <a:lnTo>
                  <a:pt x="1682" y="401"/>
                </a:lnTo>
                <a:lnTo>
                  <a:pt x="1682" y="403"/>
                </a:lnTo>
                <a:lnTo>
                  <a:pt x="1679" y="405"/>
                </a:lnTo>
                <a:lnTo>
                  <a:pt x="1682" y="403"/>
                </a:lnTo>
                <a:lnTo>
                  <a:pt x="1682" y="401"/>
                </a:lnTo>
                <a:close/>
                <a:moveTo>
                  <a:pt x="1662" y="323"/>
                </a:moveTo>
                <a:lnTo>
                  <a:pt x="1663" y="319"/>
                </a:lnTo>
                <a:lnTo>
                  <a:pt x="1665" y="316"/>
                </a:lnTo>
                <a:lnTo>
                  <a:pt x="1665" y="316"/>
                </a:lnTo>
                <a:lnTo>
                  <a:pt x="1663" y="319"/>
                </a:lnTo>
                <a:lnTo>
                  <a:pt x="1662" y="323"/>
                </a:lnTo>
                <a:close/>
                <a:moveTo>
                  <a:pt x="1649" y="314"/>
                </a:moveTo>
                <a:lnTo>
                  <a:pt x="1648" y="318"/>
                </a:lnTo>
                <a:lnTo>
                  <a:pt x="1648" y="320"/>
                </a:lnTo>
                <a:lnTo>
                  <a:pt x="1648" y="318"/>
                </a:lnTo>
                <a:lnTo>
                  <a:pt x="1649" y="314"/>
                </a:lnTo>
                <a:lnTo>
                  <a:pt x="1650" y="313"/>
                </a:lnTo>
                <a:lnTo>
                  <a:pt x="1651" y="312"/>
                </a:lnTo>
                <a:lnTo>
                  <a:pt x="1650" y="313"/>
                </a:lnTo>
                <a:lnTo>
                  <a:pt x="1649" y="314"/>
                </a:lnTo>
                <a:close/>
                <a:moveTo>
                  <a:pt x="1745" y="409"/>
                </a:moveTo>
                <a:lnTo>
                  <a:pt x="1746" y="408"/>
                </a:lnTo>
                <a:lnTo>
                  <a:pt x="1747" y="406"/>
                </a:lnTo>
                <a:lnTo>
                  <a:pt x="1747" y="406"/>
                </a:lnTo>
                <a:lnTo>
                  <a:pt x="1747" y="406"/>
                </a:lnTo>
                <a:lnTo>
                  <a:pt x="1747" y="409"/>
                </a:lnTo>
                <a:lnTo>
                  <a:pt x="1745" y="409"/>
                </a:lnTo>
                <a:close/>
                <a:moveTo>
                  <a:pt x="1732" y="415"/>
                </a:moveTo>
                <a:lnTo>
                  <a:pt x="1732" y="416"/>
                </a:lnTo>
                <a:lnTo>
                  <a:pt x="1730" y="416"/>
                </a:lnTo>
                <a:lnTo>
                  <a:pt x="1730" y="416"/>
                </a:lnTo>
                <a:lnTo>
                  <a:pt x="1730" y="415"/>
                </a:lnTo>
                <a:lnTo>
                  <a:pt x="1731" y="415"/>
                </a:lnTo>
                <a:lnTo>
                  <a:pt x="1732" y="415"/>
                </a:lnTo>
                <a:lnTo>
                  <a:pt x="1738" y="410"/>
                </a:lnTo>
                <a:lnTo>
                  <a:pt x="1745" y="409"/>
                </a:lnTo>
                <a:lnTo>
                  <a:pt x="1740" y="416"/>
                </a:lnTo>
                <a:lnTo>
                  <a:pt x="1732" y="415"/>
                </a:lnTo>
                <a:close/>
                <a:moveTo>
                  <a:pt x="1610" y="360"/>
                </a:moveTo>
                <a:lnTo>
                  <a:pt x="1608" y="359"/>
                </a:lnTo>
                <a:lnTo>
                  <a:pt x="1607" y="357"/>
                </a:lnTo>
                <a:lnTo>
                  <a:pt x="1608" y="359"/>
                </a:lnTo>
                <a:lnTo>
                  <a:pt x="1610" y="360"/>
                </a:lnTo>
                <a:close/>
                <a:moveTo>
                  <a:pt x="1553" y="292"/>
                </a:moveTo>
                <a:lnTo>
                  <a:pt x="1552" y="292"/>
                </a:lnTo>
                <a:lnTo>
                  <a:pt x="1552" y="291"/>
                </a:lnTo>
                <a:lnTo>
                  <a:pt x="1552" y="292"/>
                </a:lnTo>
                <a:lnTo>
                  <a:pt x="1553" y="292"/>
                </a:lnTo>
                <a:lnTo>
                  <a:pt x="1553" y="292"/>
                </a:lnTo>
                <a:lnTo>
                  <a:pt x="1554" y="291"/>
                </a:lnTo>
                <a:lnTo>
                  <a:pt x="1553" y="292"/>
                </a:lnTo>
                <a:lnTo>
                  <a:pt x="1553" y="292"/>
                </a:lnTo>
                <a:close/>
                <a:moveTo>
                  <a:pt x="1545" y="280"/>
                </a:moveTo>
                <a:lnTo>
                  <a:pt x="1546" y="278"/>
                </a:lnTo>
                <a:lnTo>
                  <a:pt x="1545" y="276"/>
                </a:lnTo>
                <a:lnTo>
                  <a:pt x="1537" y="272"/>
                </a:lnTo>
                <a:lnTo>
                  <a:pt x="1530" y="266"/>
                </a:lnTo>
                <a:lnTo>
                  <a:pt x="1537" y="272"/>
                </a:lnTo>
                <a:lnTo>
                  <a:pt x="1545" y="276"/>
                </a:lnTo>
                <a:lnTo>
                  <a:pt x="1546" y="278"/>
                </a:lnTo>
                <a:lnTo>
                  <a:pt x="1545" y="280"/>
                </a:lnTo>
                <a:close/>
                <a:moveTo>
                  <a:pt x="1544" y="308"/>
                </a:moveTo>
                <a:lnTo>
                  <a:pt x="1545" y="309"/>
                </a:lnTo>
                <a:lnTo>
                  <a:pt x="1545" y="308"/>
                </a:lnTo>
                <a:lnTo>
                  <a:pt x="1545" y="309"/>
                </a:lnTo>
                <a:lnTo>
                  <a:pt x="1544" y="308"/>
                </a:lnTo>
                <a:close/>
                <a:moveTo>
                  <a:pt x="1540" y="309"/>
                </a:moveTo>
                <a:lnTo>
                  <a:pt x="1538" y="308"/>
                </a:lnTo>
                <a:lnTo>
                  <a:pt x="1535" y="307"/>
                </a:lnTo>
                <a:lnTo>
                  <a:pt x="1538" y="308"/>
                </a:lnTo>
                <a:lnTo>
                  <a:pt x="1540" y="309"/>
                </a:lnTo>
                <a:close/>
                <a:moveTo>
                  <a:pt x="1537" y="297"/>
                </a:moveTo>
                <a:lnTo>
                  <a:pt x="1538" y="292"/>
                </a:lnTo>
                <a:lnTo>
                  <a:pt x="1540" y="288"/>
                </a:lnTo>
                <a:lnTo>
                  <a:pt x="1538" y="292"/>
                </a:lnTo>
                <a:lnTo>
                  <a:pt x="1537" y="297"/>
                </a:lnTo>
                <a:close/>
                <a:moveTo>
                  <a:pt x="1533" y="300"/>
                </a:moveTo>
                <a:lnTo>
                  <a:pt x="1534" y="298"/>
                </a:lnTo>
                <a:lnTo>
                  <a:pt x="1535" y="297"/>
                </a:lnTo>
                <a:lnTo>
                  <a:pt x="1534" y="298"/>
                </a:lnTo>
                <a:lnTo>
                  <a:pt x="1533" y="300"/>
                </a:lnTo>
                <a:close/>
                <a:moveTo>
                  <a:pt x="1530" y="286"/>
                </a:moveTo>
                <a:lnTo>
                  <a:pt x="1531" y="287"/>
                </a:lnTo>
                <a:lnTo>
                  <a:pt x="1531" y="287"/>
                </a:lnTo>
                <a:lnTo>
                  <a:pt x="1533" y="288"/>
                </a:lnTo>
                <a:lnTo>
                  <a:pt x="1534" y="290"/>
                </a:lnTo>
                <a:lnTo>
                  <a:pt x="1533" y="288"/>
                </a:lnTo>
                <a:lnTo>
                  <a:pt x="1531" y="287"/>
                </a:lnTo>
                <a:lnTo>
                  <a:pt x="1531" y="287"/>
                </a:lnTo>
                <a:lnTo>
                  <a:pt x="1530" y="286"/>
                </a:lnTo>
                <a:close/>
                <a:moveTo>
                  <a:pt x="1521" y="417"/>
                </a:moveTo>
                <a:lnTo>
                  <a:pt x="1521" y="427"/>
                </a:lnTo>
                <a:lnTo>
                  <a:pt x="1525" y="438"/>
                </a:lnTo>
                <a:lnTo>
                  <a:pt x="1521" y="427"/>
                </a:lnTo>
                <a:lnTo>
                  <a:pt x="1521" y="417"/>
                </a:lnTo>
                <a:close/>
                <a:moveTo>
                  <a:pt x="1520" y="339"/>
                </a:moveTo>
                <a:lnTo>
                  <a:pt x="1519" y="337"/>
                </a:lnTo>
                <a:lnTo>
                  <a:pt x="1519" y="335"/>
                </a:lnTo>
                <a:lnTo>
                  <a:pt x="1519" y="337"/>
                </a:lnTo>
                <a:lnTo>
                  <a:pt x="1520" y="339"/>
                </a:lnTo>
                <a:lnTo>
                  <a:pt x="1520" y="339"/>
                </a:lnTo>
                <a:lnTo>
                  <a:pt x="1520" y="340"/>
                </a:lnTo>
                <a:lnTo>
                  <a:pt x="1520" y="339"/>
                </a:lnTo>
                <a:lnTo>
                  <a:pt x="1520" y="339"/>
                </a:lnTo>
                <a:close/>
                <a:moveTo>
                  <a:pt x="1525" y="279"/>
                </a:moveTo>
                <a:lnTo>
                  <a:pt x="1523" y="280"/>
                </a:lnTo>
                <a:lnTo>
                  <a:pt x="1520" y="281"/>
                </a:lnTo>
                <a:lnTo>
                  <a:pt x="1523" y="280"/>
                </a:lnTo>
                <a:lnTo>
                  <a:pt x="1525" y="279"/>
                </a:lnTo>
                <a:close/>
                <a:moveTo>
                  <a:pt x="1517" y="347"/>
                </a:moveTo>
                <a:lnTo>
                  <a:pt x="1513" y="346"/>
                </a:lnTo>
                <a:lnTo>
                  <a:pt x="1513" y="343"/>
                </a:lnTo>
                <a:lnTo>
                  <a:pt x="1513" y="346"/>
                </a:lnTo>
                <a:lnTo>
                  <a:pt x="1517" y="347"/>
                </a:lnTo>
                <a:close/>
                <a:moveTo>
                  <a:pt x="1509" y="225"/>
                </a:moveTo>
                <a:lnTo>
                  <a:pt x="1506" y="228"/>
                </a:lnTo>
                <a:lnTo>
                  <a:pt x="1504" y="230"/>
                </a:lnTo>
                <a:lnTo>
                  <a:pt x="1506" y="228"/>
                </a:lnTo>
                <a:lnTo>
                  <a:pt x="1509" y="225"/>
                </a:lnTo>
                <a:lnTo>
                  <a:pt x="1511" y="223"/>
                </a:lnTo>
                <a:lnTo>
                  <a:pt x="1512" y="221"/>
                </a:lnTo>
                <a:lnTo>
                  <a:pt x="1511" y="223"/>
                </a:lnTo>
                <a:lnTo>
                  <a:pt x="1509" y="225"/>
                </a:lnTo>
                <a:close/>
                <a:moveTo>
                  <a:pt x="1504" y="262"/>
                </a:moveTo>
                <a:lnTo>
                  <a:pt x="1503" y="260"/>
                </a:lnTo>
                <a:lnTo>
                  <a:pt x="1502" y="260"/>
                </a:lnTo>
                <a:lnTo>
                  <a:pt x="1503" y="260"/>
                </a:lnTo>
                <a:lnTo>
                  <a:pt x="1504" y="262"/>
                </a:lnTo>
                <a:close/>
                <a:moveTo>
                  <a:pt x="1511" y="203"/>
                </a:moveTo>
                <a:lnTo>
                  <a:pt x="1511" y="204"/>
                </a:lnTo>
                <a:lnTo>
                  <a:pt x="1512" y="204"/>
                </a:lnTo>
                <a:lnTo>
                  <a:pt x="1511" y="204"/>
                </a:lnTo>
                <a:lnTo>
                  <a:pt x="1511" y="204"/>
                </a:lnTo>
                <a:lnTo>
                  <a:pt x="1510" y="207"/>
                </a:lnTo>
                <a:lnTo>
                  <a:pt x="1511" y="207"/>
                </a:lnTo>
                <a:lnTo>
                  <a:pt x="1510" y="207"/>
                </a:lnTo>
                <a:lnTo>
                  <a:pt x="1511" y="204"/>
                </a:lnTo>
                <a:lnTo>
                  <a:pt x="1510" y="204"/>
                </a:lnTo>
                <a:lnTo>
                  <a:pt x="1511" y="203"/>
                </a:lnTo>
                <a:close/>
                <a:moveTo>
                  <a:pt x="1535" y="203"/>
                </a:moveTo>
                <a:lnTo>
                  <a:pt x="1539" y="202"/>
                </a:lnTo>
                <a:lnTo>
                  <a:pt x="1542" y="200"/>
                </a:lnTo>
                <a:lnTo>
                  <a:pt x="1539" y="202"/>
                </a:lnTo>
                <a:lnTo>
                  <a:pt x="1535" y="203"/>
                </a:lnTo>
                <a:close/>
                <a:moveTo>
                  <a:pt x="1555" y="185"/>
                </a:moveTo>
                <a:lnTo>
                  <a:pt x="1554" y="181"/>
                </a:lnTo>
                <a:lnTo>
                  <a:pt x="1553" y="179"/>
                </a:lnTo>
                <a:lnTo>
                  <a:pt x="1554" y="181"/>
                </a:lnTo>
                <a:lnTo>
                  <a:pt x="1555" y="185"/>
                </a:lnTo>
                <a:close/>
                <a:moveTo>
                  <a:pt x="1635" y="139"/>
                </a:moveTo>
                <a:lnTo>
                  <a:pt x="1635" y="134"/>
                </a:lnTo>
                <a:lnTo>
                  <a:pt x="1634" y="132"/>
                </a:lnTo>
                <a:lnTo>
                  <a:pt x="1635" y="134"/>
                </a:lnTo>
                <a:lnTo>
                  <a:pt x="1635" y="139"/>
                </a:lnTo>
                <a:close/>
                <a:moveTo>
                  <a:pt x="1671" y="103"/>
                </a:moveTo>
                <a:lnTo>
                  <a:pt x="1672" y="102"/>
                </a:lnTo>
                <a:lnTo>
                  <a:pt x="1675" y="102"/>
                </a:lnTo>
                <a:lnTo>
                  <a:pt x="1675" y="99"/>
                </a:lnTo>
                <a:lnTo>
                  <a:pt x="1677" y="98"/>
                </a:lnTo>
                <a:lnTo>
                  <a:pt x="1675" y="99"/>
                </a:lnTo>
                <a:lnTo>
                  <a:pt x="1675" y="102"/>
                </a:lnTo>
                <a:lnTo>
                  <a:pt x="1672" y="102"/>
                </a:lnTo>
                <a:lnTo>
                  <a:pt x="1671" y="103"/>
                </a:lnTo>
                <a:lnTo>
                  <a:pt x="1669" y="103"/>
                </a:lnTo>
                <a:lnTo>
                  <a:pt x="1668" y="104"/>
                </a:lnTo>
                <a:lnTo>
                  <a:pt x="1669" y="103"/>
                </a:lnTo>
                <a:lnTo>
                  <a:pt x="1671" y="103"/>
                </a:lnTo>
                <a:close/>
                <a:moveTo>
                  <a:pt x="1682" y="103"/>
                </a:moveTo>
                <a:lnTo>
                  <a:pt x="1683" y="101"/>
                </a:lnTo>
                <a:lnTo>
                  <a:pt x="1684" y="99"/>
                </a:lnTo>
                <a:lnTo>
                  <a:pt x="1683" y="101"/>
                </a:lnTo>
                <a:lnTo>
                  <a:pt x="1682" y="103"/>
                </a:lnTo>
                <a:lnTo>
                  <a:pt x="1682" y="104"/>
                </a:lnTo>
                <a:lnTo>
                  <a:pt x="1680" y="105"/>
                </a:lnTo>
                <a:lnTo>
                  <a:pt x="1682" y="104"/>
                </a:lnTo>
                <a:lnTo>
                  <a:pt x="1682" y="103"/>
                </a:lnTo>
                <a:close/>
                <a:moveTo>
                  <a:pt x="1689" y="123"/>
                </a:moveTo>
                <a:lnTo>
                  <a:pt x="1691" y="125"/>
                </a:lnTo>
                <a:lnTo>
                  <a:pt x="1693" y="126"/>
                </a:lnTo>
                <a:lnTo>
                  <a:pt x="1691" y="125"/>
                </a:lnTo>
                <a:lnTo>
                  <a:pt x="1689" y="123"/>
                </a:lnTo>
                <a:lnTo>
                  <a:pt x="1689" y="122"/>
                </a:lnTo>
                <a:lnTo>
                  <a:pt x="1687" y="120"/>
                </a:lnTo>
                <a:lnTo>
                  <a:pt x="1689" y="122"/>
                </a:lnTo>
                <a:lnTo>
                  <a:pt x="1689" y="123"/>
                </a:lnTo>
                <a:close/>
                <a:moveTo>
                  <a:pt x="1726" y="115"/>
                </a:moveTo>
                <a:lnTo>
                  <a:pt x="1726" y="115"/>
                </a:lnTo>
                <a:lnTo>
                  <a:pt x="1723" y="115"/>
                </a:lnTo>
                <a:lnTo>
                  <a:pt x="1718" y="113"/>
                </a:lnTo>
                <a:lnTo>
                  <a:pt x="1723" y="115"/>
                </a:lnTo>
                <a:lnTo>
                  <a:pt x="1726" y="115"/>
                </a:lnTo>
                <a:close/>
                <a:moveTo>
                  <a:pt x="1492" y="292"/>
                </a:moveTo>
                <a:lnTo>
                  <a:pt x="1496" y="293"/>
                </a:lnTo>
                <a:lnTo>
                  <a:pt x="1497" y="295"/>
                </a:lnTo>
                <a:lnTo>
                  <a:pt x="1496" y="293"/>
                </a:lnTo>
                <a:lnTo>
                  <a:pt x="1492" y="292"/>
                </a:lnTo>
                <a:close/>
                <a:moveTo>
                  <a:pt x="1486" y="274"/>
                </a:moveTo>
                <a:lnTo>
                  <a:pt x="1484" y="271"/>
                </a:lnTo>
                <a:lnTo>
                  <a:pt x="1483" y="267"/>
                </a:lnTo>
                <a:lnTo>
                  <a:pt x="1484" y="271"/>
                </a:lnTo>
                <a:lnTo>
                  <a:pt x="1486" y="274"/>
                </a:lnTo>
                <a:lnTo>
                  <a:pt x="1489" y="276"/>
                </a:lnTo>
                <a:lnTo>
                  <a:pt x="1490" y="278"/>
                </a:lnTo>
                <a:lnTo>
                  <a:pt x="1489" y="276"/>
                </a:lnTo>
                <a:lnTo>
                  <a:pt x="1486" y="274"/>
                </a:lnTo>
                <a:close/>
                <a:moveTo>
                  <a:pt x="1462" y="328"/>
                </a:moveTo>
                <a:lnTo>
                  <a:pt x="1463" y="327"/>
                </a:lnTo>
                <a:lnTo>
                  <a:pt x="1464" y="326"/>
                </a:lnTo>
                <a:lnTo>
                  <a:pt x="1463" y="327"/>
                </a:lnTo>
                <a:lnTo>
                  <a:pt x="1462" y="328"/>
                </a:lnTo>
                <a:lnTo>
                  <a:pt x="1462" y="328"/>
                </a:lnTo>
                <a:lnTo>
                  <a:pt x="1461" y="328"/>
                </a:lnTo>
                <a:lnTo>
                  <a:pt x="1462" y="328"/>
                </a:lnTo>
                <a:lnTo>
                  <a:pt x="1462" y="328"/>
                </a:lnTo>
                <a:close/>
                <a:moveTo>
                  <a:pt x="1450" y="462"/>
                </a:moveTo>
                <a:lnTo>
                  <a:pt x="1450" y="462"/>
                </a:lnTo>
                <a:lnTo>
                  <a:pt x="1450" y="461"/>
                </a:lnTo>
                <a:lnTo>
                  <a:pt x="1450" y="460"/>
                </a:lnTo>
                <a:lnTo>
                  <a:pt x="1451" y="460"/>
                </a:lnTo>
                <a:lnTo>
                  <a:pt x="1451" y="461"/>
                </a:lnTo>
                <a:lnTo>
                  <a:pt x="1452" y="462"/>
                </a:lnTo>
                <a:lnTo>
                  <a:pt x="1451" y="462"/>
                </a:lnTo>
                <a:lnTo>
                  <a:pt x="1450" y="462"/>
                </a:lnTo>
                <a:close/>
                <a:moveTo>
                  <a:pt x="1455" y="332"/>
                </a:moveTo>
                <a:lnTo>
                  <a:pt x="1455" y="332"/>
                </a:lnTo>
                <a:lnTo>
                  <a:pt x="1455" y="332"/>
                </a:lnTo>
                <a:lnTo>
                  <a:pt x="1455" y="332"/>
                </a:lnTo>
                <a:lnTo>
                  <a:pt x="1455" y="332"/>
                </a:lnTo>
                <a:lnTo>
                  <a:pt x="1456" y="329"/>
                </a:lnTo>
                <a:lnTo>
                  <a:pt x="1458" y="329"/>
                </a:lnTo>
                <a:lnTo>
                  <a:pt x="1456" y="329"/>
                </a:lnTo>
                <a:lnTo>
                  <a:pt x="1455" y="332"/>
                </a:lnTo>
                <a:close/>
                <a:moveTo>
                  <a:pt x="1442" y="401"/>
                </a:moveTo>
                <a:lnTo>
                  <a:pt x="1440" y="402"/>
                </a:lnTo>
                <a:lnTo>
                  <a:pt x="1436" y="402"/>
                </a:lnTo>
                <a:lnTo>
                  <a:pt x="1433" y="402"/>
                </a:lnTo>
                <a:lnTo>
                  <a:pt x="1431" y="405"/>
                </a:lnTo>
                <a:lnTo>
                  <a:pt x="1433" y="408"/>
                </a:lnTo>
                <a:lnTo>
                  <a:pt x="1433" y="409"/>
                </a:lnTo>
                <a:lnTo>
                  <a:pt x="1433" y="409"/>
                </a:lnTo>
                <a:lnTo>
                  <a:pt x="1431" y="409"/>
                </a:lnTo>
                <a:lnTo>
                  <a:pt x="1431" y="408"/>
                </a:lnTo>
                <a:lnTo>
                  <a:pt x="1431" y="406"/>
                </a:lnTo>
                <a:lnTo>
                  <a:pt x="1422" y="403"/>
                </a:lnTo>
                <a:lnTo>
                  <a:pt x="1414" y="398"/>
                </a:lnTo>
                <a:lnTo>
                  <a:pt x="1409" y="396"/>
                </a:lnTo>
                <a:lnTo>
                  <a:pt x="1405" y="398"/>
                </a:lnTo>
                <a:lnTo>
                  <a:pt x="1403" y="399"/>
                </a:lnTo>
                <a:lnTo>
                  <a:pt x="1401" y="399"/>
                </a:lnTo>
                <a:lnTo>
                  <a:pt x="1394" y="399"/>
                </a:lnTo>
                <a:lnTo>
                  <a:pt x="1388" y="401"/>
                </a:lnTo>
                <a:lnTo>
                  <a:pt x="1387" y="401"/>
                </a:lnTo>
                <a:lnTo>
                  <a:pt x="1387" y="401"/>
                </a:lnTo>
                <a:lnTo>
                  <a:pt x="1387" y="401"/>
                </a:lnTo>
                <a:lnTo>
                  <a:pt x="1387" y="401"/>
                </a:lnTo>
                <a:lnTo>
                  <a:pt x="1383" y="397"/>
                </a:lnTo>
                <a:lnTo>
                  <a:pt x="1381" y="392"/>
                </a:lnTo>
                <a:lnTo>
                  <a:pt x="1381" y="392"/>
                </a:lnTo>
                <a:lnTo>
                  <a:pt x="1381" y="392"/>
                </a:lnTo>
                <a:lnTo>
                  <a:pt x="1381" y="392"/>
                </a:lnTo>
                <a:lnTo>
                  <a:pt x="1383" y="394"/>
                </a:lnTo>
                <a:lnTo>
                  <a:pt x="1385" y="392"/>
                </a:lnTo>
                <a:lnTo>
                  <a:pt x="1385" y="391"/>
                </a:lnTo>
                <a:lnTo>
                  <a:pt x="1383" y="390"/>
                </a:lnTo>
                <a:lnTo>
                  <a:pt x="1381" y="385"/>
                </a:lnTo>
                <a:lnTo>
                  <a:pt x="1375" y="384"/>
                </a:lnTo>
                <a:lnTo>
                  <a:pt x="1371" y="385"/>
                </a:lnTo>
                <a:lnTo>
                  <a:pt x="1367" y="382"/>
                </a:lnTo>
                <a:lnTo>
                  <a:pt x="1364" y="377"/>
                </a:lnTo>
                <a:lnTo>
                  <a:pt x="1360" y="374"/>
                </a:lnTo>
                <a:lnTo>
                  <a:pt x="1358" y="370"/>
                </a:lnTo>
                <a:lnTo>
                  <a:pt x="1359" y="367"/>
                </a:lnTo>
                <a:lnTo>
                  <a:pt x="1364" y="362"/>
                </a:lnTo>
                <a:lnTo>
                  <a:pt x="1371" y="363"/>
                </a:lnTo>
                <a:lnTo>
                  <a:pt x="1375" y="370"/>
                </a:lnTo>
                <a:lnTo>
                  <a:pt x="1381" y="377"/>
                </a:lnTo>
                <a:lnTo>
                  <a:pt x="1388" y="381"/>
                </a:lnTo>
                <a:lnTo>
                  <a:pt x="1396" y="378"/>
                </a:lnTo>
                <a:lnTo>
                  <a:pt x="1400" y="376"/>
                </a:lnTo>
                <a:lnTo>
                  <a:pt x="1400" y="371"/>
                </a:lnTo>
                <a:lnTo>
                  <a:pt x="1396" y="369"/>
                </a:lnTo>
                <a:lnTo>
                  <a:pt x="1393" y="370"/>
                </a:lnTo>
                <a:lnTo>
                  <a:pt x="1389" y="371"/>
                </a:lnTo>
                <a:lnTo>
                  <a:pt x="1386" y="368"/>
                </a:lnTo>
                <a:lnTo>
                  <a:pt x="1392" y="364"/>
                </a:lnTo>
                <a:lnTo>
                  <a:pt x="1399" y="363"/>
                </a:lnTo>
                <a:lnTo>
                  <a:pt x="1406" y="367"/>
                </a:lnTo>
                <a:lnTo>
                  <a:pt x="1413" y="366"/>
                </a:lnTo>
                <a:lnTo>
                  <a:pt x="1417" y="368"/>
                </a:lnTo>
                <a:lnTo>
                  <a:pt x="1421" y="366"/>
                </a:lnTo>
                <a:lnTo>
                  <a:pt x="1421" y="369"/>
                </a:lnTo>
                <a:lnTo>
                  <a:pt x="1423" y="371"/>
                </a:lnTo>
                <a:lnTo>
                  <a:pt x="1426" y="369"/>
                </a:lnTo>
                <a:lnTo>
                  <a:pt x="1429" y="367"/>
                </a:lnTo>
                <a:lnTo>
                  <a:pt x="1429" y="367"/>
                </a:lnTo>
                <a:lnTo>
                  <a:pt x="1430" y="367"/>
                </a:lnTo>
                <a:lnTo>
                  <a:pt x="1428" y="371"/>
                </a:lnTo>
                <a:lnTo>
                  <a:pt x="1429" y="376"/>
                </a:lnTo>
                <a:lnTo>
                  <a:pt x="1434" y="380"/>
                </a:lnTo>
                <a:lnTo>
                  <a:pt x="1438" y="383"/>
                </a:lnTo>
                <a:lnTo>
                  <a:pt x="1441" y="384"/>
                </a:lnTo>
                <a:lnTo>
                  <a:pt x="1442" y="387"/>
                </a:lnTo>
                <a:lnTo>
                  <a:pt x="1443" y="388"/>
                </a:lnTo>
                <a:lnTo>
                  <a:pt x="1447" y="387"/>
                </a:lnTo>
                <a:lnTo>
                  <a:pt x="1445" y="394"/>
                </a:lnTo>
                <a:lnTo>
                  <a:pt x="1442" y="401"/>
                </a:lnTo>
                <a:close/>
                <a:moveTo>
                  <a:pt x="1379" y="474"/>
                </a:moveTo>
                <a:lnTo>
                  <a:pt x="1378" y="474"/>
                </a:lnTo>
                <a:lnTo>
                  <a:pt x="1378" y="473"/>
                </a:lnTo>
                <a:lnTo>
                  <a:pt x="1378" y="472"/>
                </a:lnTo>
                <a:lnTo>
                  <a:pt x="1380" y="472"/>
                </a:lnTo>
                <a:lnTo>
                  <a:pt x="1381" y="472"/>
                </a:lnTo>
                <a:lnTo>
                  <a:pt x="1381" y="474"/>
                </a:lnTo>
                <a:lnTo>
                  <a:pt x="1380" y="474"/>
                </a:lnTo>
                <a:lnTo>
                  <a:pt x="1379" y="474"/>
                </a:lnTo>
                <a:close/>
                <a:moveTo>
                  <a:pt x="1374" y="471"/>
                </a:moveTo>
                <a:lnTo>
                  <a:pt x="1374" y="469"/>
                </a:lnTo>
                <a:lnTo>
                  <a:pt x="1373" y="469"/>
                </a:lnTo>
                <a:lnTo>
                  <a:pt x="1373" y="469"/>
                </a:lnTo>
                <a:lnTo>
                  <a:pt x="1374" y="468"/>
                </a:lnTo>
                <a:lnTo>
                  <a:pt x="1374" y="468"/>
                </a:lnTo>
                <a:lnTo>
                  <a:pt x="1375" y="468"/>
                </a:lnTo>
                <a:lnTo>
                  <a:pt x="1375" y="469"/>
                </a:lnTo>
                <a:lnTo>
                  <a:pt x="1374" y="471"/>
                </a:lnTo>
                <a:close/>
                <a:moveTo>
                  <a:pt x="1352" y="258"/>
                </a:moveTo>
                <a:lnTo>
                  <a:pt x="1355" y="258"/>
                </a:lnTo>
                <a:lnTo>
                  <a:pt x="1357" y="255"/>
                </a:lnTo>
                <a:lnTo>
                  <a:pt x="1355" y="258"/>
                </a:lnTo>
                <a:lnTo>
                  <a:pt x="1352" y="258"/>
                </a:lnTo>
                <a:close/>
                <a:moveTo>
                  <a:pt x="1352" y="264"/>
                </a:moveTo>
                <a:lnTo>
                  <a:pt x="1352" y="262"/>
                </a:lnTo>
                <a:lnTo>
                  <a:pt x="1351" y="258"/>
                </a:lnTo>
                <a:lnTo>
                  <a:pt x="1351" y="258"/>
                </a:lnTo>
                <a:lnTo>
                  <a:pt x="1352" y="262"/>
                </a:lnTo>
                <a:lnTo>
                  <a:pt x="1352" y="264"/>
                </a:lnTo>
                <a:close/>
                <a:moveTo>
                  <a:pt x="1347" y="376"/>
                </a:moveTo>
                <a:lnTo>
                  <a:pt x="1346" y="376"/>
                </a:lnTo>
                <a:lnTo>
                  <a:pt x="1346" y="376"/>
                </a:lnTo>
                <a:lnTo>
                  <a:pt x="1346" y="376"/>
                </a:lnTo>
                <a:lnTo>
                  <a:pt x="1347" y="376"/>
                </a:lnTo>
                <a:lnTo>
                  <a:pt x="1348" y="376"/>
                </a:lnTo>
                <a:lnTo>
                  <a:pt x="1351" y="376"/>
                </a:lnTo>
                <a:lnTo>
                  <a:pt x="1348" y="376"/>
                </a:lnTo>
                <a:lnTo>
                  <a:pt x="1347" y="376"/>
                </a:lnTo>
                <a:close/>
                <a:moveTo>
                  <a:pt x="1372" y="290"/>
                </a:moveTo>
                <a:lnTo>
                  <a:pt x="1367" y="293"/>
                </a:lnTo>
                <a:lnTo>
                  <a:pt x="1364" y="297"/>
                </a:lnTo>
                <a:lnTo>
                  <a:pt x="1367" y="293"/>
                </a:lnTo>
                <a:lnTo>
                  <a:pt x="1372" y="290"/>
                </a:lnTo>
                <a:close/>
                <a:moveTo>
                  <a:pt x="1371" y="271"/>
                </a:moveTo>
                <a:lnTo>
                  <a:pt x="1368" y="271"/>
                </a:lnTo>
                <a:lnTo>
                  <a:pt x="1366" y="271"/>
                </a:lnTo>
                <a:lnTo>
                  <a:pt x="1368" y="271"/>
                </a:lnTo>
                <a:lnTo>
                  <a:pt x="1371" y="271"/>
                </a:lnTo>
                <a:lnTo>
                  <a:pt x="1368" y="265"/>
                </a:lnTo>
                <a:lnTo>
                  <a:pt x="1366" y="260"/>
                </a:lnTo>
                <a:lnTo>
                  <a:pt x="1368" y="265"/>
                </a:lnTo>
                <a:lnTo>
                  <a:pt x="1371" y="271"/>
                </a:lnTo>
                <a:close/>
                <a:moveTo>
                  <a:pt x="1386" y="368"/>
                </a:moveTo>
                <a:lnTo>
                  <a:pt x="1383" y="367"/>
                </a:lnTo>
                <a:lnTo>
                  <a:pt x="1381" y="363"/>
                </a:lnTo>
                <a:lnTo>
                  <a:pt x="1386" y="364"/>
                </a:lnTo>
                <a:lnTo>
                  <a:pt x="1386" y="368"/>
                </a:lnTo>
                <a:close/>
                <a:moveTo>
                  <a:pt x="1394" y="340"/>
                </a:moveTo>
                <a:lnTo>
                  <a:pt x="1394" y="341"/>
                </a:lnTo>
                <a:lnTo>
                  <a:pt x="1393" y="343"/>
                </a:lnTo>
                <a:lnTo>
                  <a:pt x="1394" y="341"/>
                </a:lnTo>
                <a:lnTo>
                  <a:pt x="1394" y="340"/>
                </a:lnTo>
                <a:lnTo>
                  <a:pt x="1396" y="336"/>
                </a:lnTo>
                <a:lnTo>
                  <a:pt x="1397" y="335"/>
                </a:lnTo>
                <a:lnTo>
                  <a:pt x="1396" y="336"/>
                </a:lnTo>
                <a:lnTo>
                  <a:pt x="1394" y="340"/>
                </a:lnTo>
                <a:close/>
                <a:moveTo>
                  <a:pt x="1399" y="326"/>
                </a:moveTo>
                <a:lnTo>
                  <a:pt x="1393" y="329"/>
                </a:lnTo>
                <a:lnTo>
                  <a:pt x="1388" y="333"/>
                </a:lnTo>
                <a:lnTo>
                  <a:pt x="1393" y="329"/>
                </a:lnTo>
                <a:lnTo>
                  <a:pt x="1399" y="326"/>
                </a:lnTo>
                <a:lnTo>
                  <a:pt x="1400" y="325"/>
                </a:lnTo>
                <a:lnTo>
                  <a:pt x="1401" y="325"/>
                </a:lnTo>
                <a:lnTo>
                  <a:pt x="1400" y="325"/>
                </a:lnTo>
                <a:lnTo>
                  <a:pt x="1399" y="326"/>
                </a:lnTo>
                <a:close/>
                <a:moveTo>
                  <a:pt x="1378" y="297"/>
                </a:moveTo>
                <a:lnTo>
                  <a:pt x="1378" y="294"/>
                </a:lnTo>
                <a:lnTo>
                  <a:pt x="1380" y="293"/>
                </a:lnTo>
                <a:lnTo>
                  <a:pt x="1393" y="290"/>
                </a:lnTo>
                <a:lnTo>
                  <a:pt x="1406" y="286"/>
                </a:lnTo>
                <a:lnTo>
                  <a:pt x="1410" y="286"/>
                </a:lnTo>
                <a:lnTo>
                  <a:pt x="1414" y="286"/>
                </a:lnTo>
                <a:lnTo>
                  <a:pt x="1414" y="290"/>
                </a:lnTo>
                <a:lnTo>
                  <a:pt x="1417" y="292"/>
                </a:lnTo>
                <a:lnTo>
                  <a:pt x="1417" y="292"/>
                </a:lnTo>
                <a:lnTo>
                  <a:pt x="1417" y="292"/>
                </a:lnTo>
                <a:lnTo>
                  <a:pt x="1417" y="292"/>
                </a:lnTo>
                <a:lnTo>
                  <a:pt x="1417" y="294"/>
                </a:lnTo>
                <a:lnTo>
                  <a:pt x="1419" y="295"/>
                </a:lnTo>
                <a:lnTo>
                  <a:pt x="1405" y="298"/>
                </a:lnTo>
                <a:lnTo>
                  <a:pt x="1399" y="306"/>
                </a:lnTo>
                <a:lnTo>
                  <a:pt x="1400" y="306"/>
                </a:lnTo>
                <a:lnTo>
                  <a:pt x="1401" y="306"/>
                </a:lnTo>
                <a:lnTo>
                  <a:pt x="1400" y="306"/>
                </a:lnTo>
                <a:lnTo>
                  <a:pt x="1399" y="306"/>
                </a:lnTo>
                <a:lnTo>
                  <a:pt x="1399" y="306"/>
                </a:lnTo>
                <a:lnTo>
                  <a:pt x="1399" y="307"/>
                </a:lnTo>
                <a:lnTo>
                  <a:pt x="1399" y="308"/>
                </a:lnTo>
                <a:lnTo>
                  <a:pt x="1399" y="307"/>
                </a:lnTo>
                <a:lnTo>
                  <a:pt x="1399" y="306"/>
                </a:lnTo>
                <a:lnTo>
                  <a:pt x="1397" y="306"/>
                </a:lnTo>
                <a:lnTo>
                  <a:pt x="1396" y="308"/>
                </a:lnTo>
                <a:lnTo>
                  <a:pt x="1394" y="307"/>
                </a:lnTo>
                <a:lnTo>
                  <a:pt x="1393" y="307"/>
                </a:lnTo>
                <a:lnTo>
                  <a:pt x="1390" y="307"/>
                </a:lnTo>
                <a:lnTo>
                  <a:pt x="1393" y="307"/>
                </a:lnTo>
                <a:lnTo>
                  <a:pt x="1394" y="307"/>
                </a:lnTo>
                <a:lnTo>
                  <a:pt x="1393" y="304"/>
                </a:lnTo>
                <a:lnTo>
                  <a:pt x="1389" y="305"/>
                </a:lnTo>
                <a:lnTo>
                  <a:pt x="1385" y="304"/>
                </a:lnTo>
                <a:lnTo>
                  <a:pt x="1381" y="304"/>
                </a:lnTo>
                <a:lnTo>
                  <a:pt x="1380" y="304"/>
                </a:lnTo>
                <a:lnTo>
                  <a:pt x="1379" y="304"/>
                </a:lnTo>
                <a:lnTo>
                  <a:pt x="1380" y="304"/>
                </a:lnTo>
                <a:lnTo>
                  <a:pt x="1381" y="304"/>
                </a:lnTo>
                <a:lnTo>
                  <a:pt x="1379" y="300"/>
                </a:lnTo>
                <a:lnTo>
                  <a:pt x="1378" y="297"/>
                </a:lnTo>
                <a:close/>
                <a:moveTo>
                  <a:pt x="1412" y="278"/>
                </a:moveTo>
                <a:lnTo>
                  <a:pt x="1416" y="281"/>
                </a:lnTo>
                <a:lnTo>
                  <a:pt x="1414" y="286"/>
                </a:lnTo>
                <a:lnTo>
                  <a:pt x="1414" y="286"/>
                </a:lnTo>
                <a:lnTo>
                  <a:pt x="1414" y="286"/>
                </a:lnTo>
                <a:lnTo>
                  <a:pt x="1414" y="286"/>
                </a:lnTo>
                <a:lnTo>
                  <a:pt x="1412" y="281"/>
                </a:lnTo>
                <a:lnTo>
                  <a:pt x="1407" y="280"/>
                </a:lnTo>
                <a:lnTo>
                  <a:pt x="1402" y="281"/>
                </a:lnTo>
                <a:lnTo>
                  <a:pt x="1397" y="279"/>
                </a:lnTo>
                <a:lnTo>
                  <a:pt x="1405" y="279"/>
                </a:lnTo>
                <a:lnTo>
                  <a:pt x="1412" y="278"/>
                </a:lnTo>
                <a:close/>
                <a:moveTo>
                  <a:pt x="1401" y="153"/>
                </a:moveTo>
                <a:lnTo>
                  <a:pt x="1403" y="154"/>
                </a:lnTo>
                <a:lnTo>
                  <a:pt x="1403" y="157"/>
                </a:lnTo>
                <a:lnTo>
                  <a:pt x="1401" y="157"/>
                </a:lnTo>
                <a:lnTo>
                  <a:pt x="1400" y="155"/>
                </a:lnTo>
                <a:lnTo>
                  <a:pt x="1400" y="154"/>
                </a:lnTo>
                <a:lnTo>
                  <a:pt x="1401" y="153"/>
                </a:lnTo>
                <a:close/>
                <a:moveTo>
                  <a:pt x="1410" y="164"/>
                </a:moveTo>
                <a:lnTo>
                  <a:pt x="1410" y="165"/>
                </a:lnTo>
                <a:lnTo>
                  <a:pt x="1409" y="165"/>
                </a:lnTo>
                <a:lnTo>
                  <a:pt x="1405" y="162"/>
                </a:lnTo>
                <a:lnTo>
                  <a:pt x="1403" y="157"/>
                </a:lnTo>
                <a:lnTo>
                  <a:pt x="1408" y="158"/>
                </a:lnTo>
                <a:lnTo>
                  <a:pt x="1410" y="164"/>
                </a:lnTo>
                <a:close/>
                <a:moveTo>
                  <a:pt x="1435" y="251"/>
                </a:moveTo>
                <a:lnTo>
                  <a:pt x="1433" y="252"/>
                </a:lnTo>
                <a:lnTo>
                  <a:pt x="1431" y="255"/>
                </a:lnTo>
                <a:lnTo>
                  <a:pt x="1431" y="251"/>
                </a:lnTo>
                <a:lnTo>
                  <a:pt x="1429" y="250"/>
                </a:lnTo>
                <a:lnTo>
                  <a:pt x="1428" y="251"/>
                </a:lnTo>
                <a:lnTo>
                  <a:pt x="1427" y="252"/>
                </a:lnTo>
                <a:lnTo>
                  <a:pt x="1429" y="253"/>
                </a:lnTo>
                <a:lnTo>
                  <a:pt x="1431" y="255"/>
                </a:lnTo>
                <a:lnTo>
                  <a:pt x="1431" y="257"/>
                </a:lnTo>
                <a:lnTo>
                  <a:pt x="1433" y="259"/>
                </a:lnTo>
                <a:lnTo>
                  <a:pt x="1430" y="259"/>
                </a:lnTo>
                <a:lnTo>
                  <a:pt x="1429" y="258"/>
                </a:lnTo>
                <a:lnTo>
                  <a:pt x="1422" y="260"/>
                </a:lnTo>
                <a:lnTo>
                  <a:pt x="1415" y="257"/>
                </a:lnTo>
                <a:lnTo>
                  <a:pt x="1414" y="256"/>
                </a:lnTo>
                <a:lnTo>
                  <a:pt x="1413" y="255"/>
                </a:lnTo>
                <a:lnTo>
                  <a:pt x="1414" y="251"/>
                </a:lnTo>
                <a:lnTo>
                  <a:pt x="1416" y="249"/>
                </a:lnTo>
                <a:lnTo>
                  <a:pt x="1419" y="246"/>
                </a:lnTo>
                <a:lnTo>
                  <a:pt x="1420" y="243"/>
                </a:lnTo>
                <a:lnTo>
                  <a:pt x="1420" y="243"/>
                </a:lnTo>
                <a:lnTo>
                  <a:pt x="1421" y="243"/>
                </a:lnTo>
                <a:lnTo>
                  <a:pt x="1423" y="243"/>
                </a:lnTo>
                <a:lnTo>
                  <a:pt x="1423" y="239"/>
                </a:lnTo>
                <a:lnTo>
                  <a:pt x="1424" y="238"/>
                </a:lnTo>
                <a:lnTo>
                  <a:pt x="1423" y="239"/>
                </a:lnTo>
                <a:lnTo>
                  <a:pt x="1423" y="243"/>
                </a:lnTo>
                <a:lnTo>
                  <a:pt x="1423" y="245"/>
                </a:lnTo>
                <a:lnTo>
                  <a:pt x="1424" y="248"/>
                </a:lnTo>
                <a:lnTo>
                  <a:pt x="1429" y="246"/>
                </a:lnTo>
                <a:lnTo>
                  <a:pt x="1433" y="249"/>
                </a:lnTo>
                <a:lnTo>
                  <a:pt x="1434" y="249"/>
                </a:lnTo>
                <a:lnTo>
                  <a:pt x="1435" y="250"/>
                </a:lnTo>
                <a:lnTo>
                  <a:pt x="1435" y="250"/>
                </a:lnTo>
                <a:lnTo>
                  <a:pt x="1435" y="251"/>
                </a:lnTo>
                <a:lnTo>
                  <a:pt x="1436" y="251"/>
                </a:lnTo>
                <a:lnTo>
                  <a:pt x="1437" y="252"/>
                </a:lnTo>
                <a:lnTo>
                  <a:pt x="1437" y="252"/>
                </a:lnTo>
                <a:lnTo>
                  <a:pt x="1437" y="253"/>
                </a:lnTo>
                <a:lnTo>
                  <a:pt x="1437" y="252"/>
                </a:lnTo>
                <a:lnTo>
                  <a:pt x="1437" y="252"/>
                </a:lnTo>
                <a:lnTo>
                  <a:pt x="1436" y="251"/>
                </a:lnTo>
                <a:lnTo>
                  <a:pt x="1435" y="251"/>
                </a:lnTo>
                <a:close/>
                <a:moveTo>
                  <a:pt x="1428" y="305"/>
                </a:moveTo>
                <a:lnTo>
                  <a:pt x="1431" y="301"/>
                </a:lnTo>
                <a:lnTo>
                  <a:pt x="1434" y="299"/>
                </a:lnTo>
                <a:lnTo>
                  <a:pt x="1435" y="298"/>
                </a:lnTo>
                <a:lnTo>
                  <a:pt x="1436" y="297"/>
                </a:lnTo>
                <a:lnTo>
                  <a:pt x="1435" y="298"/>
                </a:lnTo>
                <a:lnTo>
                  <a:pt x="1434" y="299"/>
                </a:lnTo>
                <a:lnTo>
                  <a:pt x="1431" y="301"/>
                </a:lnTo>
                <a:lnTo>
                  <a:pt x="1428" y="305"/>
                </a:lnTo>
                <a:close/>
                <a:moveTo>
                  <a:pt x="1413" y="169"/>
                </a:moveTo>
                <a:lnTo>
                  <a:pt x="1416" y="166"/>
                </a:lnTo>
                <a:lnTo>
                  <a:pt x="1421" y="167"/>
                </a:lnTo>
                <a:lnTo>
                  <a:pt x="1426" y="169"/>
                </a:lnTo>
                <a:lnTo>
                  <a:pt x="1431" y="169"/>
                </a:lnTo>
                <a:lnTo>
                  <a:pt x="1437" y="173"/>
                </a:lnTo>
                <a:lnTo>
                  <a:pt x="1441" y="178"/>
                </a:lnTo>
                <a:lnTo>
                  <a:pt x="1441" y="181"/>
                </a:lnTo>
                <a:lnTo>
                  <a:pt x="1437" y="182"/>
                </a:lnTo>
                <a:lnTo>
                  <a:pt x="1437" y="188"/>
                </a:lnTo>
                <a:lnTo>
                  <a:pt x="1435" y="192"/>
                </a:lnTo>
                <a:lnTo>
                  <a:pt x="1430" y="190"/>
                </a:lnTo>
                <a:lnTo>
                  <a:pt x="1427" y="187"/>
                </a:lnTo>
                <a:lnTo>
                  <a:pt x="1420" y="181"/>
                </a:lnTo>
                <a:lnTo>
                  <a:pt x="1414" y="174"/>
                </a:lnTo>
                <a:lnTo>
                  <a:pt x="1413" y="172"/>
                </a:lnTo>
                <a:lnTo>
                  <a:pt x="1413" y="169"/>
                </a:lnTo>
                <a:close/>
                <a:moveTo>
                  <a:pt x="1445" y="288"/>
                </a:moveTo>
                <a:lnTo>
                  <a:pt x="1443" y="290"/>
                </a:lnTo>
                <a:lnTo>
                  <a:pt x="1440" y="291"/>
                </a:lnTo>
                <a:lnTo>
                  <a:pt x="1443" y="290"/>
                </a:lnTo>
                <a:lnTo>
                  <a:pt x="1445" y="288"/>
                </a:lnTo>
                <a:close/>
                <a:moveTo>
                  <a:pt x="1314" y="509"/>
                </a:moveTo>
                <a:lnTo>
                  <a:pt x="1305" y="503"/>
                </a:lnTo>
                <a:lnTo>
                  <a:pt x="1298" y="494"/>
                </a:lnTo>
                <a:lnTo>
                  <a:pt x="1304" y="497"/>
                </a:lnTo>
                <a:lnTo>
                  <a:pt x="1310" y="502"/>
                </a:lnTo>
                <a:lnTo>
                  <a:pt x="1319" y="504"/>
                </a:lnTo>
                <a:lnTo>
                  <a:pt x="1326" y="508"/>
                </a:lnTo>
                <a:lnTo>
                  <a:pt x="1333" y="509"/>
                </a:lnTo>
                <a:lnTo>
                  <a:pt x="1340" y="511"/>
                </a:lnTo>
                <a:lnTo>
                  <a:pt x="1327" y="511"/>
                </a:lnTo>
                <a:lnTo>
                  <a:pt x="1314" y="509"/>
                </a:lnTo>
                <a:close/>
                <a:moveTo>
                  <a:pt x="1291" y="493"/>
                </a:moveTo>
                <a:lnTo>
                  <a:pt x="1291" y="490"/>
                </a:lnTo>
                <a:lnTo>
                  <a:pt x="1293" y="490"/>
                </a:lnTo>
                <a:lnTo>
                  <a:pt x="1296" y="490"/>
                </a:lnTo>
                <a:lnTo>
                  <a:pt x="1297" y="490"/>
                </a:lnTo>
                <a:lnTo>
                  <a:pt x="1297" y="493"/>
                </a:lnTo>
                <a:lnTo>
                  <a:pt x="1297" y="494"/>
                </a:lnTo>
                <a:lnTo>
                  <a:pt x="1293" y="495"/>
                </a:lnTo>
                <a:lnTo>
                  <a:pt x="1291" y="493"/>
                </a:lnTo>
                <a:close/>
                <a:moveTo>
                  <a:pt x="1288" y="368"/>
                </a:moveTo>
                <a:lnTo>
                  <a:pt x="1286" y="368"/>
                </a:lnTo>
                <a:lnTo>
                  <a:pt x="1285" y="368"/>
                </a:lnTo>
                <a:lnTo>
                  <a:pt x="1286" y="368"/>
                </a:lnTo>
                <a:lnTo>
                  <a:pt x="1288" y="368"/>
                </a:lnTo>
                <a:lnTo>
                  <a:pt x="1289" y="370"/>
                </a:lnTo>
                <a:lnTo>
                  <a:pt x="1291" y="371"/>
                </a:lnTo>
                <a:lnTo>
                  <a:pt x="1289" y="370"/>
                </a:lnTo>
                <a:lnTo>
                  <a:pt x="1288" y="368"/>
                </a:lnTo>
                <a:close/>
                <a:moveTo>
                  <a:pt x="1281" y="423"/>
                </a:moveTo>
                <a:lnTo>
                  <a:pt x="1283" y="423"/>
                </a:lnTo>
                <a:lnTo>
                  <a:pt x="1284" y="424"/>
                </a:lnTo>
                <a:lnTo>
                  <a:pt x="1283" y="423"/>
                </a:lnTo>
                <a:lnTo>
                  <a:pt x="1281" y="423"/>
                </a:lnTo>
                <a:close/>
                <a:moveTo>
                  <a:pt x="1268" y="468"/>
                </a:moveTo>
                <a:lnTo>
                  <a:pt x="1268" y="468"/>
                </a:lnTo>
                <a:lnTo>
                  <a:pt x="1268" y="468"/>
                </a:lnTo>
                <a:lnTo>
                  <a:pt x="1268" y="468"/>
                </a:lnTo>
                <a:lnTo>
                  <a:pt x="1268" y="468"/>
                </a:lnTo>
                <a:lnTo>
                  <a:pt x="1267" y="468"/>
                </a:lnTo>
                <a:lnTo>
                  <a:pt x="1265" y="467"/>
                </a:lnTo>
                <a:lnTo>
                  <a:pt x="1267" y="468"/>
                </a:lnTo>
                <a:lnTo>
                  <a:pt x="1268" y="468"/>
                </a:lnTo>
                <a:lnTo>
                  <a:pt x="1268" y="466"/>
                </a:lnTo>
                <a:lnTo>
                  <a:pt x="1269" y="465"/>
                </a:lnTo>
                <a:lnTo>
                  <a:pt x="1268" y="466"/>
                </a:lnTo>
                <a:lnTo>
                  <a:pt x="1268" y="468"/>
                </a:lnTo>
                <a:close/>
                <a:moveTo>
                  <a:pt x="1260" y="452"/>
                </a:moveTo>
                <a:lnTo>
                  <a:pt x="1258" y="452"/>
                </a:lnTo>
                <a:lnTo>
                  <a:pt x="1257" y="451"/>
                </a:lnTo>
                <a:lnTo>
                  <a:pt x="1257" y="452"/>
                </a:lnTo>
                <a:lnTo>
                  <a:pt x="1257" y="452"/>
                </a:lnTo>
                <a:lnTo>
                  <a:pt x="1257" y="453"/>
                </a:lnTo>
                <a:lnTo>
                  <a:pt x="1257" y="455"/>
                </a:lnTo>
                <a:lnTo>
                  <a:pt x="1258" y="455"/>
                </a:lnTo>
                <a:lnTo>
                  <a:pt x="1258" y="455"/>
                </a:lnTo>
                <a:lnTo>
                  <a:pt x="1258" y="455"/>
                </a:lnTo>
                <a:lnTo>
                  <a:pt x="1257" y="455"/>
                </a:lnTo>
                <a:lnTo>
                  <a:pt x="1257" y="453"/>
                </a:lnTo>
                <a:lnTo>
                  <a:pt x="1257" y="452"/>
                </a:lnTo>
                <a:lnTo>
                  <a:pt x="1257" y="452"/>
                </a:lnTo>
                <a:lnTo>
                  <a:pt x="1257" y="451"/>
                </a:lnTo>
                <a:lnTo>
                  <a:pt x="1258" y="452"/>
                </a:lnTo>
                <a:lnTo>
                  <a:pt x="1260" y="452"/>
                </a:lnTo>
                <a:lnTo>
                  <a:pt x="1262" y="452"/>
                </a:lnTo>
                <a:lnTo>
                  <a:pt x="1263" y="453"/>
                </a:lnTo>
                <a:lnTo>
                  <a:pt x="1262" y="452"/>
                </a:lnTo>
                <a:lnTo>
                  <a:pt x="1260" y="452"/>
                </a:lnTo>
                <a:close/>
                <a:moveTo>
                  <a:pt x="1203" y="269"/>
                </a:moveTo>
                <a:lnTo>
                  <a:pt x="1202" y="269"/>
                </a:lnTo>
                <a:lnTo>
                  <a:pt x="1201" y="270"/>
                </a:lnTo>
                <a:lnTo>
                  <a:pt x="1202" y="269"/>
                </a:lnTo>
                <a:lnTo>
                  <a:pt x="1203" y="269"/>
                </a:lnTo>
                <a:close/>
                <a:moveTo>
                  <a:pt x="1220" y="249"/>
                </a:moveTo>
                <a:lnTo>
                  <a:pt x="1221" y="248"/>
                </a:lnTo>
                <a:lnTo>
                  <a:pt x="1221" y="246"/>
                </a:lnTo>
                <a:lnTo>
                  <a:pt x="1221" y="248"/>
                </a:lnTo>
                <a:lnTo>
                  <a:pt x="1220" y="249"/>
                </a:lnTo>
                <a:lnTo>
                  <a:pt x="1217" y="248"/>
                </a:lnTo>
                <a:lnTo>
                  <a:pt x="1215" y="249"/>
                </a:lnTo>
                <a:lnTo>
                  <a:pt x="1217" y="248"/>
                </a:lnTo>
                <a:lnTo>
                  <a:pt x="1220" y="249"/>
                </a:lnTo>
                <a:close/>
                <a:moveTo>
                  <a:pt x="1231" y="343"/>
                </a:moveTo>
                <a:lnTo>
                  <a:pt x="1233" y="342"/>
                </a:lnTo>
                <a:lnTo>
                  <a:pt x="1235" y="339"/>
                </a:lnTo>
                <a:lnTo>
                  <a:pt x="1233" y="339"/>
                </a:lnTo>
                <a:lnTo>
                  <a:pt x="1230" y="336"/>
                </a:lnTo>
                <a:lnTo>
                  <a:pt x="1233" y="339"/>
                </a:lnTo>
                <a:lnTo>
                  <a:pt x="1235" y="339"/>
                </a:lnTo>
                <a:lnTo>
                  <a:pt x="1233" y="342"/>
                </a:lnTo>
                <a:lnTo>
                  <a:pt x="1231" y="343"/>
                </a:lnTo>
                <a:close/>
                <a:moveTo>
                  <a:pt x="1238" y="334"/>
                </a:moveTo>
                <a:lnTo>
                  <a:pt x="1237" y="334"/>
                </a:lnTo>
                <a:lnTo>
                  <a:pt x="1237" y="334"/>
                </a:lnTo>
                <a:lnTo>
                  <a:pt x="1237" y="334"/>
                </a:lnTo>
                <a:lnTo>
                  <a:pt x="1238" y="334"/>
                </a:lnTo>
                <a:lnTo>
                  <a:pt x="1238" y="332"/>
                </a:lnTo>
                <a:lnTo>
                  <a:pt x="1238" y="330"/>
                </a:lnTo>
                <a:lnTo>
                  <a:pt x="1238" y="332"/>
                </a:lnTo>
                <a:lnTo>
                  <a:pt x="1238" y="334"/>
                </a:lnTo>
                <a:lnTo>
                  <a:pt x="1240" y="334"/>
                </a:lnTo>
                <a:lnTo>
                  <a:pt x="1240" y="335"/>
                </a:lnTo>
                <a:lnTo>
                  <a:pt x="1240" y="334"/>
                </a:lnTo>
                <a:lnTo>
                  <a:pt x="1238" y="334"/>
                </a:lnTo>
                <a:close/>
                <a:moveTo>
                  <a:pt x="1241" y="339"/>
                </a:moveTo>
                <a:lnTo>
                  <a:pt x="1241" y="340"/>
                </a:lnTo>
                <a:lnTo>
                  <a:pt x="1241" y="341"/>
                </a:lnTo>
                <a:lnTo>
                  <a:pt x="1241" y="342"/>
                </a:lnTo>
                <a:lnTo>
                  <a:pt x="1241" y="343"/>
                </a:lnTo>
                <a:lnTo>
                  <a:pt x="1241" y="342"/>
                </a:lnTo>
                <a:lnTo>
                  <a:pt x="1241" y="341"/>
                </a:lnTo>
                <a:lnTo>
                  <a:pt x="1241" y="340"/>
                </a:lnTo>
                <a:lnTo>
                  <a:pt x="1241" y="339"/>
                </a:lnTo>
                <a:close/>
                <a:moveTo>
                  <a:pt x="1248" y="266"/>
                </a:moveTo>
                <a:lnTo>
                  <a:pt x="1247" y="269"/>
                </a:lnTo>
                <a:lnTo>
                  <a:pt x="1244" y="270"/>
                </a:lnTo>
                <a:lnTo>
                  <a:pt x="1247" y="269"/>
                </a:lnTo>
                <a:lnTo>
                  <a:pt x="1248" y="266"/>
                </a:lnTo>
                <a:close/>
                <a:moveTo>
                  <a:pt x="1251" y="375"/>
                </a:moveTo>
                <a:lnTo>
                  <a:pt x="1251" y="377"/>
                </a:lnTo>
                <a:lnTo>
                  <a:pt x="1251" y="380"/>
                </a:lnTo>
                <a:lnTo>
                  <a:pt x="1250" y="377"/>
                </a:lnTo>
                <a:lnTo>
                  <a:pt x="1251" y="375"/>
                </a:lnTo>
                <a:close/>
                <a:moveTo>
                  <a:pt x="1257" y="367"/>
                </a:moveTo>
                <a:lnTo>
                  <a:pt x="1257" y="367"/>
                </a:lnTo>
                <a:lnTo>
                  <a:pt x="1257" y="373"/>
                </a:lnTo>
                <a:lnTo>
                  <a:pt x="1251" y="375"/>
                </a:lnTo>
                <a:lnTo>
                  <a:pt x="1251" y="373"/>
                </a:lnTo>
                <a:lnTo>
                  <a:pt x="1251" y="371"/>
                </a:lnTo>
                <a:lnTo>
                  <a:pt x="1256" y="368"/>
                </a:lnTo>
                <a:lnTo>
                  <a:pt x="1254" y="362"/>
                </a:lnTo>
                <a:lnTo>
                  <a:pt x="1255" y="362"/>
                </a:lnTo>
                <a:lnTo>
                  <a:pt x="1256" y="362"/>
                </a:lnTo>
                <a:lnTo>
                  <a:pt x="1256" y="362"/>
                </a:lnTo>
                <a:lnTo>
                  <a:pt x="1257" y="364"/>
                </a:lnTo>
                <a:lnTo>
                  <a:pt x="1257" y="367"/>
                </a:lnTo>
                <a:close/>
                <a:moveTo>
                  <a:pt x="1258" y="381"/>
                </a:moveTo>
                <a:lnTo>
                  <a:pt x="1256" y="382"/>
                </a:lnTo>
                <a:lnTo>
                  <a:pt x="1254" y="381"/>
                </a:lnTo>
                <a:lnTo>
                  <a:pt x="1252" y="380"/>
                </a:lnTo>
                <a:lnTo>
                  <a:pt x="1251" y="380"/>
                </a:lnTo>
                <a:lnTo>
                  <a:pt x="1251" y="380"/>
                </a:lnTo>
                <a:lnTo>
                  <a:pt x="1251" y="378"/>
                </a:lnTo>
                <a:lnTo>
                  <a:pt x="1252" y="378"/>
                </a:lnTo>
                <a:lnTo>
                  <a:pt x="1256" y="376"/>
                </a:lnTo>
                <a:lnTo>
                  <a:pt x="1258" y="377"/>
                </a:lnTo>
                <a:lnTo>
                  <a:pt x="1260" y="378"/>
                </a:lnTo>
                <a:lnTo>
                  <a:pt x="1258" y="381"/>
                </a:lnTo>
                <a:close/>
                <a:moveTo>
                  <a:pt x="1257" y="274"/>
                </a:moveTo>
                <a:lnTo>
                  <a:pt x="1263" y="272"/>
                </a:lnTo>
                <a:lnTo>
                  <a:pt x="1269" y="271"/>
                </a:lnTo>
                <a:lnTo>
                  <a:pt x="1263" y="272"/>
                </a:lnTo>
                <a:lnTo>
                  <a:pt x="1257" y="274"/>
                </a:lnTo>
                <a:lnTo>
                  <a:pt x="1257" y="274"/>
                </a:lnTo>
                <a:lnTo>
                  <a:pt x="1257" y="276"/>
                </a:lnTo>
                <a:lnTo>
                  <a:pt x="1257" y="276"/>
                </a:lnTo>
                <a:lnTo>
                  <a:pt x="1258" y="276"/>
                </a:lnTo>
                <a:lnTo>
                  <a:pt x="1257" y="276"/>
                </a:lnTo>
                <a:lnTo>
                  <a:pt x="1257" y="276"/>
                </a:lnTo>
                <a:lnTo>
                  <a:pt x="1257" y="274"/>
                </a:lnTo>
                <a:lnTo>
                  <a:pt x="1257" y="274"/>
                </a:lnTo>
                <a:close/>
                <a:moveTo>
                  <a:pt x="1268" y="173"/>
                </a:moveTo>
                <a:lnTo>
                  <a:pt x="1268" y="173"/>
                </a:lnTo>
                <a:lnTo>
                  <a:pt x="1272" y="173"/>
                </a:lnTo>
                <a:lnTo>
                  <a:pt x="1277" y="173"/>
                </a:lnTo>
                <a:lnTo>
                  <a:pt x="1272" y="173"/>
                </a:lnTo>
                <a:lnTo>
                  <a:pt x="1268" y="173"/>
                </a:lnTo>
                <a:lnTo>
                  <a:pt x="1268" y="173"/>
                </a:lnTo>
                <a:lnTo>
                  <a:pt x="1265" y="173"/>
                </a:lnTo>
                <a:lnTo>
                  <a:pt x="1263" y="172"/>
                </a:lnTo>
                <a:lnTo>
                  <a:pt x="1265" y="173"/>
                </a:lnTo>
                <a:lnTo>
                  <a:pt x="1268" y="173"/>
                </a:lnTo>
                <a:close/>
                <a:moveTo>
                  <a:pt x="1276" y="347"/>
                </a:moveTo>
                <a:lnTo>
                  <a:pt x="1275" y="347"/>
                </a:lnTo>
                <a:lnTo>
                  <a:pt x="1275" y="346"/>
                </a:lnTo>
                <a:lnTo>
                  <a:pt x="1275" y="347"/>
                </a:lnTo>
                <a:lnTo>
                  <a:pt x="1276" y="347"/>
                </a:lnTo>
                <a:lnTo>
                  <a:pt x="1277" y="346"/>
                </a:lnTo>
                <a:lnTo>
                  <a:pt x="1278" y="346"/>
                </a:lnTo>
                <a:lnTo>
                  <a:pt x="1278" y="346"/>
                </a:lnTo>
                <a:lnTo>
                  <a:pt x="1278" y="346"/>
                </a:lnTo>
                <a:lnTo>
                  <a:pt x="1277" y="346"/>
                </a:lnTo>
                <a:lnTo>
                  <a:pt x="1276" y="347"/>
                </a:lnTo>
                <a:close/>
                <a:moveTo>
                  <a:pt x="1284" y="266"/>
                </a:moveTo>
                <a:lnTo>
                  <a:pt x="1283" y="269"/>
                </a:lnTo>
                <a:lnTo>
                  <a:pt x="1282" y="271"/>
                </a:lnTo>
                <a:lnTo>
                  <a:pt x="1282" y="271"/>
                </a:lnTo>
                <a:lnTo>
                  <a:pt x="1282" y="271"/>
                </a:lnTo>
                <a:lnTo>
                  <a:pt x="1283" y="269"/>
                </a:lnTo>
                <a:lnTo>
                  <a:pt x="1284" y="266"/>
                </a:lnTo>
                <a:close/>
                <a:moveTo>
                  <a:pt x="1293" y="339"/>
                </a:moveTo>
                <a:lnTo>
                  <a:pt x="1292" y="341"/>
                </a:lnTo>
                <a:lnTo>
                  <a:pt x="1290" y="342"/>
                </a:lnTo>
                <a:lnTo>
                  <a:pt x="1292" y="341"/>
                </a:lnTo>
                <a:lnTo>
                  <a:pt x="1293" y="339"/>
                </a:lnTo>
                <a:close/>
                <a:moveTo>
                  <a:pt x="1299" y="276"/>
                </a:moveTo>
                <a:lnTo>
                  <a:pt x="1298" y="277"/>
                </a:lnTo>
                <a:lnTo>
                  <a:pt x="1297" y="279"/>
                </a:lnTo>
                <a:lnTo>
                  <a:pt x="1298" y="277"/>
                </a:lnTo>
                <a:lnTo>
                  <a:pt x="1299" y="276"/>
                </a:lnTo>
                <a:close/>
                <a:moveTo>
                  <a:pt x="1302" y="492"/>
                </a:moveTo>
                <a:lnTo>
                  <a:pt x="1300" y="490"/>
                </a:lnTo>
                <a:lnTo>
                  <a:pt x="1297" y="490"/>
                </a:lnTo>
                <a:lnTo>
                  <a:pt x="1297" y="489"/>
                </a:lnTo>
                <a:lnTo>
                  <a:pt x="1297" y="489"/>
                </a:lnTo>
                <a:lnTo>
                  <a:pt x="1297" y="489"/>
                </a:lnTo>
                <a:lnTo>
                  <a:pt x="1297" y="490"/>
                </a:lnTo>
                <a:lnTo>
                  <a:pt x="1300" y="490"/>
                </a:lnTo>
                <a:lnTo>
                  <a:pt x="1302" y="492"/>
                </a:lnTo>
                <a:close/>
                <a:moveTo>
                  <a:pt x="1302" y="242"/>
                </a:moveTo>
                <a:lnTo>
                  <a:pt x="1302" y="238"/>
                </a:lnTo>
                <a:lnTo>
                  <a:pt x="1300" y="236"/>
                </a:lnTo>
                <a:lnTo>
                  <a:pt x="1302" y="238"/>
                </a:lnTo>
                <a:lnTo>
                  <a:pt x="1302" y="242"/>
                </a:lnTo>
                <a:close/>
                <a:moveTo>
                  <a:pt x="1307" y="451"/>
                </a:moveTo>
                <a:lnTo>
                  <a:pt x="1309" y="451"/>
                </a:lnTo>
                <a:lnTo>
                  <a:pt x="1309" y="451"/>
                </a:lnTo>
                <a:lnTo>
                  <a:pt x="1309" y="451"/>
                </a:lnTo>
                <a:lnTo>
                  <a:pt x="1307" y="451"/>
                </a:lnTo>
                <a:lnTo>
                  <a:pt x="1307" y="453"/>
                </a:lnTo>
                <a:lnTo>
                  <a:pt x="1307" y="455"/>
                </a:lnTo>
                <a:lnTo>
                  <a:pt x="1307" y="453"/>
                </a:lnTo>
                <a:lnTo>
                  <a:pt x="1307" y="451"/>
                </a:lnTo>
                <a:close/>
                <a:moveTo>
                  <a:pt x="1321" y="199"/>
                </a:moveTo>
                <a:lnTo>
                  <a:pt x="1321" y="206"/>
                </a:lnTo>
                <a:lnTo>
                  <a:pt x="1319" y="210"/>
                </a:lnTo>
                <a:lnTo>
                  <a:pt x="1319" y="210"/>
                </a:lnTo>
                <a:lnTo>
                  <a:pt x="1321" y="206"/>
                </a:lnTo>
                <a:lnTo>
                  <a:pt x="1321" y="199"/>
                </a:lnTo>
                <a:close/>
                <a:moveTo>
                  <a:pt x="1323" y="249"/>
                </a:moveTo>
                <a:lnTo>
                  <a:pt x="1323" y="249"/>
                </a:lnTo>
                <a:lnTo>
                  <a:pt x="1323" y="250"/>
                </a:lnTo>
                <a:lnTo>
                  <a:pt x="1323" y="249"/>
                </a:lnTo>
                <a:lnTo>
                  <a:pt x="1323" y="249"/>
                </a:lnTo>
                <a:lnTo>
                  <a:pt x="1323" y="248"/>
                </a:lnTo>
                <a:lnTo>
                  <a:pt x="1321" y="246"/>
                </a:lnTo>
                <a:lnTo>
                  <a:pt x="1323" y="248"/>
                </a:lnTo>
                <a:lnTo>
                  <a:pt x="1323" y="249"/>
                </a:lnTo>
                <a:close/>
                <a:moveTo>
                  <a:pt x="1331" y="288"/>
                </a:moveTo>
                <a:lnTo>
                  <a:pt x="1328" y="291"/>
                </a:lnTo>
                <a:lnTo>
                  <a:pt x="1326" y="293"/>
                </a:lnTo>
                <a:lnTo>
                  <a:pt x="1328" y="291"/>
                </a:lnTo>
                <a:lnTo>
                  <a:pt x="1331" y="288"/>
                </a:lnTo>
                <a:close/>
                <a:moveTo>
                  <a:pt x="1337" y="239"/>
                </a:moveTo>
                <a:lnTo>
                  <a:pt x="1337" y="236"/>
                </a:lnTo>
                <a:lnTo>
                  <a:pt x="1336" y="234"/>
                </a:lnTo>
                <a:lnTo>
                  <a:pt x="1337" y="236"/>
                </a:lnTo>
                <a:lnTo>
                  <a:pt x="1337" y="239"/>
                </a:lnTo>
                <a:close/>
                <a:moveTo>
                  <a:pt x="1196" y="231"/>
                </a:moveTo>
                <a:lnTo>
                  <a:pt x="1199" y="236"/>
                </a:lnTo>
                <a:lnTo>
                  <a:pt x="1193" y="237"/>
                </a:lnTo>
                <a:lnTo>
                  <a:pt x="1191" y="238"/>
                </a:lnTo>
                <a:lnTo>
                  <a:pt x="1188" y="239"/>
                </a:lnTo>
                <a:lnTo>
                  <a:pt x="1187" y="241"/>
                </a:lnTo>
                <a:lnTo>
                  <a:pt x="1186" y="241"/>
                </a:lnTo>
                <a:lnTo>
                  <a:pt x="1180" y="238"/>
                </a:lnTo>
                <a:lnTo>
                  <a:pt x="1174" y="241"/>
                </a:lnTo>
                <a:lnTo>
                  <a:pt x="1172" y="241"/>
                </a:lnTo>
                <a:lnTo>
                  <a:pt x="1169" y="241"/>
                </a:lnTo>
                <a:lnTo>
                  <a:pt x="1158" y="236"/>
                </a:lnTo>
                <a:lnTo>
                  <a:pt x="1145" y="236"/>
                </a:lnTo>
                <a:lnTo>
                  <a:pt x="1145" y="237"/>
                </a:lnTo>
                <a:lnTo>
                  <a:pt x="1144" y="237"/>
                </a:lnTo>
                <a:lnTo>
                  <a:pt x="1144" y="237"/>
                </a:lnTo>
                <a:lnTo>
                  <a:pt x="1139" y="237"/>
                </a:lnTo>
                <a:lnTo>
                  <a:pt x="1134" y="234"/>
                </a:lnTo>
                <a:lnTo>
                  <a:pt x="1134" y="231"/>
                </a:lnTo>
                <a:lnTo>
                  <a:pt x="1137" y="231"/>
                </a:lnTo>
                <a:lnTo>
                  <a:pt x="1137" y="230"/>
                </a:lnTo>
                <a:lnTo>
                  <a:pt x="1138" y="228"/>
                </a:lnTo>
                <a:lnTo>
                  <a:pt x="1137" y="230"/>
                </a:lnTo>
                <a:lnTo>
                  <a:pt x="1137" y="231"/>
                </a:lnTo>
                <a:lnTo>
                  <a:pt x="1144" y="231"/>
                </a:lnTo>
                <a:lnTo>
                  <a:pt x="1150" y="231"/>
                </a:lnTo>
                <a:lnTo>
                  <a:pt x="1153" y="231"/>
                </a:lnTo>
                <a:lnTo>
                  <a:pt x="1153" y="229"/>
                </a:lnTo>
                <a:lnTo>
                  <a:pt x="1153" y="225"/>
                </a:lnTo>
                <a:lnTo>
                  <a:pt x="1158" y="224"/>
                </a:lnTo>
                <a:lnTo>
                  <a:pt x="1159" y="224"/>
                </a:lnTo>
                <a:lnTo>
                  <a:pt x="1160" y="223"/>
                </a:lnTo>
                <a:lnTo>
                  <a:pt x="1160" y="221"/>
                </a:lnTo>
                <a:lnTo>
                  <a:pt x="1159" y="221"/>
                </a:lnTo>
                <a:lnTo>
                  <a:pt x="1151" y="215"/>
                </a:lnTo>
                <a:lnTo>
                  <a:pt x="1143" y="213"/>
                </a:lnTo>
                <a:lnTo>
                  <a:pt x="1144" y="209"/>
                </a:lnTo>
                <a:lnTo>
                  <a:pt x="1144" y="207"/>
                </a:lnTo>
                <a:lnTo>
                  <a:pt x="1140" y="204"/>
                </a:lnTo>
                <a:lnTo>
                  <a:pt x="1136" y="206"/>
                </a:lnTo>
                <a:lnTo>
                  <a:pt x="1139" y="192"/>
                </a:lnTo>
                <a:lnTo>
                  <a:pt x="1152" y="187"/>
                </a:lnTo>
                <a:lnTo>
                  <a:pt x="1152" y="187"/>
                </a:lnTo>
                <a:lnTo>
                  <a:pt x="1152" y="187"/>
                </a:lnTo>
                <a:lnTo>
                  <a:pt x="1153" y="189"/>
                </a:lnTo>
                <a:lnTo>
                  <a:pt x="1154" y="190"/>
                </a:lnTo>
                <a:lnTo>
                  <a:pt x="1157" y="190"/>
                </a:lnTo>
                <a:lnTo>
                  <a:pt x="1158" y="188"/>
                </a:lnTo>
                <a:lnTo>
                  <a:pt x="1160" y="187"/>
                </a:lnTo>
                <a:lnTo>
                  <a:pt x="1164" y="186"/>
                </a:lnTo>
                <a:lnTo>
                  <a:pt x="1161" y="186"/>
                </a:lnTo>
                <a:lnTo>
                  <a:pt x="1160" y="185"/>
                </a:lnTo>
                <a:lnTo>
                  <a:pt x="1159" y="183"/>
                </a:lnTo>
                <a:lnTo>
                  <a:pt x="1158" y="181"/>
                </a:lnTo>
                <a:lnTo>
                  <a:pt x="1162" y="181"/>
                </a:lnTo>
                <a:lnTo>
                  <a:pt x="1167" y="181"/>
                </a:lnTo>
                <a:lnTo>
                  <a:pt x="1169" y="181"/>
                </a:lnTo>
                <a:lnTo>
                  <a:pt x="1172" y="182"/>
                </a:lnTo>
                <a:lnTo>
                  <a:pt x="1169" y="181"/>
                </a:lnTo>
                <a:lnTo>
                  <a:pt x="1167" y="181"/>
                </a:lnTo>
                <a:lnTo>
                  <a:pt x="1167" y="186"/>
                </a:lnTo>
                <a:lnTo>
                  <a:pt x="1171" y="190"/>
                </a:lnTo>
                <a:lnTo>
                  <a:pt x="1172" y="188"/>
                </a:lnTo>
                <a:lnTo>
                  <a:pt x="1173" y="187"/>
                </a:lnTo>
                <a:lnTo>
                  <a:pt x="1179" y="187"/>
                </a:lnTo>
                <a:lnTo>
                  <a:pt x="1176" y="192"/>
                </a:lnTo>
                <a:lnTo>
                  <a:pt x="1176" y="194"/>
                </a:lnTo>
                <a:lnTo>
                  <a:pt x="1179" y="195"/>
                </a:lnTo>
                <a:lnTo>
                  <a:pt x="1179" y="203"/>
                </a:lnTo>
                <a:lnTo>
                  <a:pt x="1180" y="211"/>
                </a:lnTo>
                <a:lnTo>
                  <a:pt x="1187" y="220"/>
                </a:lnTo>
                <a:lnTo>
                  <a:pt x="1196" y="224"/>
                </a:lnTo>
                <a:lnTo>
                  <a:pt x="1200" y="225"/>
                </a:lnTo>
                <a:lnTo>
                  <a:pt x="1198" y="229"/>
                </a:lnTo>
                <a:lnTo>
                  <a:pt x="1198" y="230"/>
                </a:lnTo>
                <a:lnTo>
                  <a:pt x="1196" y="231"/>
                </a:lnTo>
                <a:close/>
                <a:moveTo>
                  <a:pt x="1127" y="164"/>
                </a:moveTo>
                <a:lnTo>
                  <a:pt x="1130" y="168"/>
                </a:lnTo>
                <a:lnTo>
                  <a:pt x="1134" y="171"/>
                </a:lnTo>
                <a:lnTo>
                  <a:pt x="1130" y="168"/>
                </a:lnTo>
                <a:lnTo>
                  <a:pt x="1127" y="164"/>
                </a:lnTo>
                <a:close/>
                <a:moveTo>
                  <a:pt x="1127" y="161"/>
                </a:moveTo>
                <a:lnTo>
                  <a:pt x="1120" y="162"/>
                </a:lnTo>
                <a:lnTo>
                  <a:pt x="1115" y="167"/>
                </a:lnTo>
                <a:lnTo>
                  <a:pt x="1115" y="164"/>
                </a:lnTo>
                <a:lnTo>
                  <a:pt x="1115" y="160"/>
                </a:lnTo>
                <a:lnTo>
                  <a:pt x="1110" y="166"/>
                </a:lnTo>
                <a:lnTo>
                  <a:pt x="1105" y="172"/>
                </a:lnTo>
                <a:lnTo>
                  <a:pt x="1099" y="176"/>
                </a:lnTo>
                <a:lnTo>
                  <a:pt x="1099" y="183"/>
                </a:lnTo>
                <a:lnTo>
                  <a:pt x="1105" y="181"/>
                </a:lnTo>
                <a:lnTo>
                  <a:pt x="1111" y="178"/>
                </a:lnTo>
                <a:lnTo>
                  <a:pt x="1111" y="176"/>
                </a:lnTo>
                <a:lnTo>
                  <a:pt x="1112" y="175"/>
                </a:lnTo>
                <a:lnTo>
                  <a:pt x="1112" y="175"/>
                </a:lnTo>
                <a:lnTo>
                  <a:pt x="1113" y="175"/>
                </a:lnTo>
                <a:lnTo>
                  <a:pt x="1112" y="175"/>
                </a:lnTo>
                <a:lnTo>
                  <a:pt x="1112" y="175"/>
                </a:lnTo>
                <a:lnTo>
                  <a:pt x="1111" y="176"/>
                </a:lnTo>
                <a:lnTo>
                  <a:pt x="1111" y="178"/>
                </a:lnTo>
                <a:lnTo>
                  <a:pt x="1105" y="181"/>
                </a:lnTo>
                <a:lnTo>
                  <a:pt x="1099" y="183"/>
                </a:lnTo>
                <a:lnTo>
                  <a:pt x="1097" y="183"/>
                </a:lnTo>
                <a:lnTo>
                  <a:pt x="1095" y="183"/>
                </a:lnTo>
                <a:lnTo>
                  <a:pt x="1093" y="181"/>
                </a:lnTo>
                <a:lnTo>
                  <a:pt x="1090" y="182"/>
                </a:lnTo>
                <a:lnTo>
                  <a:pt x="1089" y="178"/>
                </a:lnTo>
                <a:lnTo>
                  <a:pt x="1090" y="173"/>
                </a:lnTo>
                <a:lnTo>
                  <a:pt x="1083" y="178"/>
                </a:lnTo>
                <a:lnTo>
                  <a:pt x="1076" y="179"/>
                </a:lnTo>
                <a:lnTo>
                  <a:pt x="1068" y="179"/>
                </a:lnTo>
                <a:lnTo>
                  <a:pt x="1064" y="186"/>
                </a:lnTo>
                <a:lnTo>
                  <a:pt x="1063" y="186"/>
                </a:lnTo>
                <a:lnTo>
                  <a:pt x="1063" y="186"/>
                </a:lnTo>
                <a:lnTo>
                  <a:pt x="1063" y="183"/>
                </a:lnTo>
                <a:lnTo>
                  <a:pt x="1062" y="181"/>
                </a:lnTo>
                <a:lnTo>
                  <a:pt x="1060" y="181"/>
                </a:lnTo>
                <a:lnTo>
                  <a:pt x="1058" y="182"/>
                </a:lnTo>
                <a:lnTo>
                  <a:pt x="1056" y="185"/>
                </a:lnTo>
                <a:lnTo>
                  <a:pt x="1054" y="183"/>
                </a:lnTo>
                <a:lnTo>
                  <a:pt x="1053" y="182"/>
                </a:lnTo>
                <a:lnTo>
                  <a:pt x="1051" y="183"/>
                </a:lnTo>
                <a:lnTo>
                  <a:pt x="1050" y="185"/>
                </a:lnTo>
                <a:lnTo>
                  <a:pt x="1051" y="187"/>
                </a:lnTo>
                <a:lnTo>
                  <a:pt x="1053" y="188"/>
                </a:lnTo>
                <a:lnTo>
                  <a:pt x="1051" y="189"/>
                </a:lnTo>
                <a:lnTo>
                  <a:pt x="1050" y="190"/>
                </a:lnTo>
                <a:lnTo>
                  <a:pt x="1049" y="189"/>
                </a:lnTo>
                <a:lnTo>
                  <a:pt x="1046" y="186"/>
                </a:lnTo>
                <a:lnTo>
                  <a:pt x="1042" y="190"/>
                </a:lnTo>
                <a:lnTo>
                  <a:pt x="1041" y="190"/>
                </a:lnTo>
                <a:lnTo>
                  <a:pt x="1040" y="190"/>
                </a:lnTo>
                <a:lnTo>
                  <a:pt x="1033" y="190"/>
                </a:lnTo>
                <a:lnTo>
                  <a:pt x="1026" y="190"/>
                </a:lnTo>
                <a:lnTo>
                  <a:pt x="1024" y="190"/>
                </a:lnTo>
                <a:lnTo>
                  <a:pt x="1022" y="190"/>
                </a:lnTo>
                <a:lnTo>
                  <a:pt x="1015" y="192"/>
                </a:lnTo>
                <a:lnTo>
                  <a:pt x="1007" y="195"/>
                </a:lnTo>
                <a:lnTo>
                  <a:pt x="998" y="201"/>
                </a:lnTo>
                <a:lnTo>
                  <a:pt x="987" y="200"/>
                </a:lnTo>
                <a:lnTo>
                  <a:pt x="978" y="206"/>
                </a:lnTo>
                <a:lnTo>
                  <a:pt x="969" y="211"/>
                </a:lnTo>
                <a:lnTo>
                  <a:pt x="964" y="217"/>
                </a:lnTo>
                <a:lnTo>
                  <a:pt x="958" y="223"/>
                </a:lnTo>
                <a:lnTo>
                  <a:pt x="955" y="227"/>
                </a:lnTo>
                <a:lnTo>
                  <a:pt x="953" y="230"/>
                </a:lnTo>
                <a:lnTo>
                  <a:pt x="951" y="235"/>
                </a:lnTo>
                <a:lnTo>
                  <a:pt x="948" y="238"/>
                </a:lnTo>
                <a:lnTo>
                  <a:pt x="951" y="235"/>
                </a:lnTo>
                <a:lnTo>
                  <a:pt x="953" y="230"/>
                </a:lnTo>
                <a:lnTo>
                  <a:pt x="952" y="230"/>
                </a:lnTo>
                <a:lnTo>
                  <a:pt x="951" y="229"/>
                </a:lnTo>
                <a:lnTo>
                  <a:pt x="957" y="218"/>
                </a:lnTo>
                <a:lnTo>
                  <a:pt x="965" y="209"/>
                </a:lnTo>
                <a:lnTo>
                  <a:pt x="974" y="201"/>
                </a:lnTo>
                <a:lnTo>
                  <a:pt x="985" y="193"/>
                </a:lnTo>
                <a:lnTo>
                  <a:pt x="986" y="193"/>
                </a:lnTo>
                <a:lnTo>
                  <a:pt x="986" y="190"/>
                </a:lnTo>
                <a:lnTo>
                  <a:pt x="986" y="190"/>
                </a:lnTo>
                <a:lnTo>
                  <a:pt x="986" y="190"/>
                </a:lnTo>
                <a:lnTo>
                  <a:pt x="998" y="188"/>
                </a:lnTo>
                <a:lnTo>
                  <a:pt x="1008" y="183"/>
                </a:lnTo>
                <a:lnTo>
                  <a:pt x="1015" y="181"/>
                </a:lnTo>
                <a:lnTo>
                  <a:pt x="1022" y="180"/>
                </a:lnTo>
                <a:lnTo>
                  <a:pt x="1028" y="180"/>
                </a:lnTo>
                <a:lnTo>
                  <a:pt x="1033" y="178"/>
                </a:lnTo>
                <a:lnTo>
                  <a:pt x="1038" y="178"/>
                </a:lnTo>
                <a:lnTo>
                  <a:pt x="1043" y="174"/>
                </a:lnTo>
                <a:lnTo>
                  <a:pt x="1043" y="174"/>
                </a:lnTo>
                <a:lnTo>
                  <a:pt x="1044" y="174"/>
                </a:lnTo>
                <a:lnTo>
                  <a:pt x="1044" y="174"/>
                </a:lnTo>
                <a:lnTo>
                  <a:pt x="1057" y="173"/>
                </a:lnTo>
                <a:lnTo>
                  <a:pt x="1069" y="167"/>
                </a:lnTo>
                <a:lnTo>
                  <a:pt x="1070" y="166"/>
                </a:lnTo>
                <a:lnTo>
                  <a:pt x="1071" y="166"/>
                </a:lnTo>
                <a:lnTo>
                  <a:pt x="1071" y="166"/>
                </a:lnTo>
                <a:lnTo>
                  <a:pt x="1074" y="166"/>
                </a:lnTo>
                <a:lnTo>
                  <a:pt x="1076" y="166"/>
                </a:lnTo>
                <a:lnTo>
                  <a:pt x="1081" y="164"/>
                </a:lnTo>
                <a:lnTo>
                  <a:pt x="1084" y="161"/>
                </a:lnTo>
                <a:lnTo>
                  <a:pt x="1088" y="160"/>
                </a:lnTo>
                <a:lnTo>
                  <a:pt x="1089" y="155"/>
                </a:lnTo>
                <a:lnTo>
                  <a:pt x="1092" y="152"/>
                </a:lnTo>
                <a:lnTo>
                  <a:pt x="1090" y="147"/>
                </a:lnTo>
                <a:lnTo>
                  <a:pt x="1089" y="145"/>
                </a:lnTo>
                <a:lnTo>
                  <a:pt x="1091" y="143"/>
                </a:lnTo>
                <a:lnTo>
                  <a:pt x="1090" y="141"/>
                </a:lnTo>
                <a:lnTo>
                  <a:pt x="1090" y="140"/>
                </a:lnTo>
                <a:lnTo>
                  <a:pt x="1090" y="141"/>
                </a:lnTo>
                <a:lnTo>
                  <a:pt x="1091" y="143"/>
                </a:lnTo>
                <a:lnTo>
                  <a:pt x="1092" y="143"/>
                </a:lnTo>
                <a:lnTo>
                  <a:pt x="1093" y="144"/>
                </a:lnTo>
                <a:lnTo>
                  <a:pt x="1092" y="145"/>
                </a:lnTo>
                <a:lnTo>
                  <a:pt x="1091" y="147"/>
                </a:lnTo>
                <a:lnTo>
                  <a:pt x="1093" y="148"/>
                </a:lnTo>
                <a:lnTo>
                  <a:pt x="1096" y="146"/>
                </a:lnTo>
                <a:lnTo>
                  <a:pt x="1098" y="145"/>
                </a:lnTo>
                <a:lnTo>
                  <a:pt x="1100" y="145"/>
                </a:lnTo>
                <a:lnTo>
                  <a:pt x="1105" y="144"/>
                </a:lnTo>
                <a:lnTo>
                  <a:pt x="1109" y="145"/>
                </a:lnTo>
                <a:lnTo>
                  <a:pt x="1116" y="147"/>
                </a:lnTo>
                <a:lnTo>
                  <a:pt x="1122" y="143"/>
                </a:lnTo>
                <a:lnTo>
                  <a:pt x="1126" y="139"/>
                </a:lnTo>
                <a:lnTo>
                  <a:pt x="1133" y="136"/>
                </a:lnTo>
                <a:lnTo>
                  <a:pt x="1134" y="136"/>
                </a:lnTo>
                <a:lnTo>
                  <a:pt x="1137" y="136"/>
                </a:lnTo>
                <a:lnTo>
                  <a:pt x="1139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7"/>
                </a:lnTo>
                <a:lnTo>
                  <a:pt x="1141" y="138"/>
                </a:lnTo>
                <a:lnTo>
                  <a:pt x="1144" y="139"/>
                </a:lnTo>
                <a:lnTo>
                  <a:pt x="1146" y="139"/>
                </a:lnTo>
                <a:lnTo>
                  <a:pt x="1144" y="139"/>
                </a:lnTo>
                <a:lnTo>
                  <a:pt x="1141" y="138"/>
                </a:lnTo>
                <a:lnTo>
                  <a:pt x="1139" y="139"/>
                </a:lnTo>
                <a:lnTo>
                  <a:pt x="1138" y="141"/>
                </a:lnTo>
                <a:lnTo>
                  <a:pt x="1133" y="143"/>
                </a:lnTo>
                <a:lnTo>
                  <a:pt x="1136" y="147"/>
                </a:lnTo>
                <a:lnTo>
                  <a:pt x="1133" y="147"/>
                </a:lnTo>
                <a:lnTo>
                  <a:pt x="1131" y="148"/>
                </a:lnTo>
                <a:lnTo>
                  <a:pt x="1126" y="151"/>
                </a:lnTo>
                <a:lnTo>
                  <a:pt x="1122" y="153"/>
                </a:lnTo>
                <a:lnTo>
                  <a:pt x="1120" y="154"/>
                </a:lnTo>
                <a:lnTo>
                  <a:pt x="1120" y="157"/>
                </a:lnTo>
                <a:lnTo>
                  <a:pt x="1122" y="158"/>
                </a:lnTo>
                <a:lnTo>
                  <a:pt x="1124" y="158"/>
                </a:lnTo>
                <a:lnTo>
                  <a:pt x="1129" y="158"/>
                </a:lnTo>
                <a:lnTo>
                  <a:pt x="1132" y="159"/>
                </a:lnTo>
                <a:lnTo>
                  <a:pt x="1132" y="160"/>
                </a:lnTo>
                <a:lnTo>
                  <a:pt x="1132" y="161"/>
                </a:lnTo>
                <a:lnTo>
                  <a:pt x="1131" y="161"/>
                </a:lnTo>
                <a:lnTo>
                  <a:pt x="1130" y="161"/>
                </a:lnTo>
                <a:lnTo>
                  <a:pt x="1129" y="161"/>
                </a:lnTo>
                <a:lnTo>
                  <a:pt x="1127" y="161"/>
                </a:lnTo>
                <a:close/>
                <a:moveTo>
                  <a:pt x="1124" y="415"/>
                </a:moveTo>
                <a:lnTo>
                  <a:pt x="1124" y="415"/>
                </a:lnTo>
                <a:lnTo>
                  <a:pt x="1124" y="415"/>
                </a:lnTo>
                <a:lnTo>
                  <a:pt x="1124" y="415"/>
                </a:lnTo>
                <a:lnTo>
                  <a:pt x="1124" y="415"/>
                </a:lnTo>
                <a:lnTo>
                  <a:pt x="1125" y="415"/>
                </a:lnTo>
                <a:lnTo>
                  <a:pt x="1126" y="415"/>
                </a:lnTo>
                <a:lnTo>
                  <a:pt x="1125" y="415"/>
                </a:lnTo>
                <a:lnTo>
                  <a:pt x="1124" y="415"/>
                </a:lnTo>
                <a:close/>
                <a:moveTo>
                  <a:pt x="1124" y="425"/>
                </a:moveTo>
                <a:lnTo>
                  <a:pt x="1125" y="422"/>
                </a:lnTo>
                <a:lnTo>
                  <a:pt x="1125" y="419"/>
                </a:lnTo>
                <a:lnTo>
                  <a:pt x="1125" y="422"/>
                </a:lnTo>
                <a:lnTo>
                  <a:pt x="1124" y="425"/>
                </a:lnTo>
                <a:close/>
                <a:moveTo>
                  <a:pt x="1117" y="223"/>
                </a:moveTo>
                <a:lnTo>
                  <a:pt x="1116" y="222"/>
                </a:lnTo>
                <a:lnTo>
                  <a:pt x="1117" y="220"/>
                </a:lnTo>
                <a:lnTo>
                  <a:pt x="1116" y="222"/>
                </a:lnTo>
                <a:lnTo>
                  <a:pt x="1117" y="223"/>
                </a:lnTo>
                <a:close/>
                <a:moveTo>
                  <a:pt x="1112" y="217"/>
                </a:moveTo>
                <a:lnTo>
                  <a:pt x="1115" y="217"/>
                </a:lnTo>
                <a:lnTo>
                  <a:pt x="1116" y="220"/>
                </a:lnTo>
                <a:lnTo>
                  <a:pt x="1115" y="217"/>
                </a:lnTo>
                <a:lnTo>
                  <a:pt x="1112" y="217"/>
                </a:lnTo>
                <a:lnTo>
                  <a:pt x="1111" y="216"/>
                </a:lnTo>
                <a:lnTo>
                  <a:pt x="1110" y="215"/>
                </a:lnTo>
                <a:lnTo>
                  <a:pt x="1111" y="216"/>
                </a:lnTo>
                <a:lnTo>
                  <a:pt x="1112" y="217"/>
                </a:lnTo>
                <a:close/>
                <a:moveTo>
                  <a:pt x="1106" y="197"/>
                </a:moveTo>
                <a:lnTo>
                  <a:pt x="1107" y="197"/>
                </a:lnTo>
                <a:lnTo>
                  <a:pt x="1107" y="196"/>
                </a:lnTo>
                <a:lnTo>
                  <a:pt x="1107" y="197"/>
                </a:lnTo>
                <a:lnTo>
                  <a:pt x="1106" y="197"/>
                </a:lnTo>
                <a:close/>
                <a:moveTo>
                  <a:pt x="1111" y="271"/>
                </a:moveTo>
                <a:lnTo>
                  <a:pt x="1107" y="271"/>
                </a:lnTo>
                <a:lnTo>
                  <a:pt x="1105" y="269"/>
                </a:lnTo>
                <a:lnTo>
                  <a:pt x="1102" y="267"/>
                </a:lnTo>
                <a:lnTo>
                  <a:pt x="1100" y="270"/>
                </a:lnTo>
                <a:lnTo>
                  <a:pt x="1102" y="277"/>
                </a:lnTo>
                <a:lnTo>
                  <a:pt x="1106" y="283"/>
                </a:lnTo>
                <a:lnTo>
                  <a:pt x="1109" y="286"/>
                </a:lnTo>
                <a:lnTo>
                  <a:pt x="1112" y="291"/>
                </a:lnTo>
                <a:lnTo>
                  <a:pt x="1106" y="291"/>
                </a:lnTo>
                <a:lnTo>
                  <a:pt x="1102" y="287"/>
                </a:lnTo>
                <a:lnTo>
                  <a:pt x="1099" y="290"/>
                </a:lnTo>
                <a:lnTo>
                  <a:pt x="1100" y="291"/>
                </a:lnTo>
                <a:lnTo>
                  <a:pt x="1102" y="292"/>
                </a:lnTo>
                <a:lnTo>
                  <a:pt x="1102" y="294"/>
                </a:lnTo>
                <a:lnTo>
                  <a:pt x="1099" y="294"/>
                </a:lnTo>
                <a:lnTo>
                  <a:pt x="1098" y="294"/>
                </a:lnTo>
                <a:lnTo>
                  <a:pt x="1091" y="285"/>
                </a:lnTo>
                <a:lnTo>
                  <a:pt x="1084" y="277"/>
                </a:lnTo>
                <a:lnTo>
                  <a:pt x="1084" y="272"/>
                </a:lnTo>
                <a:lnTo>
                  <a:pt x="1085" y="266"/>
                </a:lnTo>
                <a:lnTo>
                  <a:pt x="1086" y="264"/>
                </a:lnTo>
                <a:lnTo>
                  <a:pt x="1086" y="262"/>
                </a:lnTo>
                <a:lnTo>
                  <a:pt x="1086" y="257"/>
                </a:lnTo>
                <a:lnTo>
                  <a:pt x="1091" y="253"/>
                </a:lnTo>
                <a:lnTo>
                  <a:pt x="1092" y="252"/>
                </a:lnTo>
                <a:lnTo>
                  <a:pt x="1092" y="250"/>
                </a:lnTo>
                <a:lnTo>
                  <a:pt x="1091" y="246"/>
                </a:lnTo>
                <a:lnTo>
                  <a:pt x="1095" y="245"/>
                </a:lnTo>
                <a:lnTo>
                  <a:pt x="1098" y="245"/>
                </a:lnTo>
                <a:lnTo>
                  <a:pt x="1098" y="249"/>
                </a:lnTo>
                <a:lnTo>
                  <a:pt x="1103" y="256"/>
                </a:lnTo>
                <a:lnTo>
                  <a:pt x="1109" y="259"/>
                </a:lnTo>
                <a:lnTo>
                  <a:pt x="1117" y="259"/>
                </a:lnTo>
                <a:lnTo>
                  <a:pt x="1118" y="266"/>
                </a:lnTo>
                <a:lnTo>
                  <a:pt x="1117" y="271"/>
                </a:lnTo>
                <a:lnTo>
                  <a:pt x="1111" y="271"/>
                </a:lnTo>
                <a:close/>
                <a:moveTo>
                  <a:pt x="1109" y="391"/>
                </a:moveTo>
                <a:lnTo>
                  <a:pt x="1109" y="391"/>
                </a:lnTo>
                <a:lnTo>
                  <a:pt x="1109" y="390"/>
                </a:lnTo>
                <a:lnTo>
                  <a:pt x="1109" y="391"/>
                </a:lnTo>
                <a:lnTo>
                  <a:pt x="1109" y="391"/>
                </a:lnTo>
                <a:lnTo>
                  <a:pt x="1110" y="392"/>
                </a:lnTo>
                <a:lnTo>
                  <a:pt x="1111" y="392"/>
                </a:lnTo>
                <a:lnTo>
                  <a:pt x="1110" y="392"/>
                </a:lnTo>
                <a:lnTo>
                  <a:pt x="1109" y="391"/>
                </a:lnTo>
                <a:close/>
                <a:moveTo>
                  <a:pt x="1107" y="300"/>
                </a:moveTo>
                <a:lnTo>
                  <a:pt x="1105" y="302"/>
                </a:lnTo>
                <a:lnTo>
                  <a:pt x="1103" y="300"/>
                </a:lnTo>
                <a:lnTo>
                  <a:pt x="1103" y="297"/>
                </a:lnTo>
                <a:lnTo>
                  <a:pt x="1105" y="295"/>
                </a:lnTo>
                <a:lnTo>
                  <a:pt x="1107" y="297"/>
                </a:lnTo>
                <a:lnTo>
                  <a:pt x="1107" y="300"/>
                </a:lnTo>
                <a:close/>
                <a:moveTo>
                  <a:pt x="1095" y="388"/>
                </a:moveTo>
                <a:lnTo>
                  <a:pt x="1097" y="389"/>
                </a:lnTo>
                <a:lnTo>
                  <a:pt x="1098" y="390"/>
                </a:lnTo>
                <a:lnTo>
                  <a:pt x="1097" y="389"/>
                </a:lnTo>
                <a:lnTo>
                  <a:pt x="1095" y="388"/>
                </a:lnTo>
                <a:close/>
                <a:moveTo>
                  <a:pt x="1081" y="436"/>
                </a:moveTo>
                <a:lnTo>
                  <a:pt x="1079" y="436"/>
                </a:lnTo>
                <a:lnTo>
                  <a:pt x="1078" y="434"/>
                </a:lnTo>
                <a:lnTo>
                  <a:pt x="1079" y="436"/>
                </a:lnTo>
                <a:lnTo>
                  <a:pt x="1081" y="436"/>
                </a:lnTo>
                <a:lnTo>
                  <a:pt x="1082" y="436"/>
                </a:lnTo>
                <a:lnTo>
                  <a:pt x="1082" y="434"/>
                </a:lnTo>
                <a:lnTo>
                  <a:pt x="1082" y="436"/>
                </a:lnTo>
                <a:lnTo>
                  <a:pt x="1081" y="436"/>
                </a:lnTo>
                <a:close/>
                <a:moveTo>
                  <a:pt x="1070" y="265"/>
                </a:moveTo>
                <a:lnTo>
                  <a:pt x="1070" y="264"/>
                </a:lnTo>
                <a:lnTo>
                  <a:pt x="1071" y="263"/>
                </a:lnTo>
                <a:lnTo>
                  <a:pt x="1070" y="264"/>
                </a:lnTo>
                <a:lnTo>
                  <a:pt x="1070" y="265"/>
                </a:lnTo>
                <a:lnTo>
                  <a:pt x="1075" y="272"/>
                </a:lnTo>
                <a:lnTo>
                  <a:pt x="1078" y="279"/>
                </a:lnTo>
                <a:lnTo>
                  <a:pt x="1075" y="272"/>
                </a:lnTo>
                <a:lnTo>
                  <a:pt x="1070" y="265"/>
                </a:lnTo>
                <a:close/>
                <a:moveTo>
                  <a:pt x="1081" y="396"/>
                </a:moveTo>
                <a:lnTo>
                  <a:pt x="1081" y="397"/>
                </a:lnTo>
                <a:lnTo>
                  <a:pt x="1081" y="397"/>
                </a:lnTo>
                <a:lnTo>
                  <a:pt x="1079" y="397"/>
                </a:lnTo>
                <a:lnTo>
                  <a:pt x="1078" y="397"/>
                </a:lnTo>
                <a:lnTo>
                  <a:pt x="1079" y="397"/>
                </a:lnTo>
                <a:lnTo>
                  <a:pt x="1081" y="397"/>
                </a:lnTo>
                <a:lnTo>
                  <a:pt x="1081" y="397"/>
                </a:lnTo>
                <a:lnTo>
                  <a:pt x="1081" y="396"/>
                </a:lnTo>
                <a:close/>
                <a:moveTo>
                  <a:pt x="1088" y="189"/>
                </a:moveTo>
                <a:lnTo>
                  <a:pt x="1090" y="189"/>
                </a:lnTo>
                <a:lnTo>
                  <a:pt x="1090" y="187"/>
                </a:lnTo>
                <a:lnTo>
                  <a:pt x="1092" y="187"/>
                </a:lnTo>
                <a:lnTo>
                  <a:pt x="1095" y="188"/>
                </a:lnTo>
                <a:lnTo>
                  <a:pt x="1092" y="187"/>
                </a:lnTo>
                <a:lnTo>
                  <a:pt x="1090" y="187"/>
                </a:lnTo>
                <a:lnTo>
                  <a:pt x="1090" y="189"/>
                </a:lnTo>
                <a:lnTo>
                  <a:pt x="1088" y="189"/>
                </a:lnTo>
                <a:close/>
                <a:moveTo>
                  <a:pt x="1084" y="197"/>
                </a:moveTo>
                <a:lnTo>
                  <a:pt x="1085" y="196"/>
                </a:lnTo>
                <a:lnTo>
                  <a:pt x="1085" y="195"/>
                </a:lnTo>
                <a:lnTo>
                  <a:pt x="1085" y="196"/>
                </a:lnTo>
                <a:lnTo>
                  <a:pt x="1084" y="197"/>
                </a:lnTo>
                <a:close/>
                <a:moveTo>
                  <a:pt x="1071" y="190"/>
                </a:moveTo>
                <a:lnTo>
                  <a:pt x="1077" y="188"/>
                </a:lnTo>
                <a:lnTo>
                  <a:pt x="1082" y="192"/>
                </a:lnTo>
                <a:lnTo>
                  <a:pt x="1077" y="188"/>
                </a:lnTo>
                <a:lnTo>
                  <a:pt x="1071" y="190"/>
                </a:lnTo>
                <a:close/>
                <a:moveTo>
                  <a:pt x="1065" y="218"/>
                </a:moveTo>
                <a:lnTo>
                  <a:pt x="1070" y="220"/>
                </a:lnTo>
                <a:lnTo>
                  <a:pt x="1071" y="215"/>
                </a:lnTo>
                <a:lnTo>
                  <a:pt x="1070" y="211"/>
                </a:lnTo>
                <a:lnTo>
                  <a:pt x="1069" y="208"/>
                </a:lnTo>
                <a:lnTo>
                  <a:pt x="1074" y="209"/>
                </a:lnTo>
                <a:lnTo>
                  <a:pt x="1077" y="208"/>
                </a:lnTo>
                <a:lnTo>
                  <a:pt x="1077" y="208"/>
                </a:lnTo>
                <a:lnTo>
                  <a:pt x="1078" y="208"/>
                </a:lnTo>
                <a:lnTo>
                  <a:pt x="1079" y="208"/>
                </a:lnTo>
                <a:lnTo>
                  <a:pt x="1079" y="210"/>
                </a:lnTo>
                <a:lnTo>
                  <a:pt x="1081" y="213"/>
                </a:lnTo>
                <a:lnTo>
                  <a:pt x="1083" y="216"/>
                </a:lnTo>
                <a:lnTo>
                  <a:pt x="1088" y="216"/>
                </a:lnTo>
                <a:lnTo>
                  <a:pt x="1090" y="221"/>
                </a:lnTo>
                <a:lnTo>
                  <a:pt x="1091" y="224"/>
                </a:lnTo>
                <a:lnTo>
                  <a:pt x="1067" y="221"/>
                </a:lnTo>
                <a:lnTo>
                  <a:pt x="1065" y="220"/>
                </a:lnTo>
                <a:lnTo>
                  <a:pt x="1065" y="218"/>
                </a:lnTo>
                <a:close/>
                <a:moveTo>
                  <a:pt x="1065" y="195"/>
                </a:moveTo>
                <a:lnTo>
                  <a:pt x="1065" y="197"/>
                </a:lnTo>
                <a:lnTo>
                  <a:pt x="1065" y="200"/>
                </a:lnTo>
                <a:lnTo>
                  <a:pt x="1065" y="197"/>
                </a:lnTo>
                <a:lnTo>
                  <a:pt x="1065" y="195"/>
                </a:lnTo>
                <a:lnTo>
                  <a:pt x="1067" y="193"/>
                </a:lnTo>
                <a:lnTo>
                  <a:pt x="1069" y="190"/>
                </a:lnTo>
                <a:lnTo>
                  <a:pt x="1067" y="193"/>
                </a:lnTo>
                <a:lnTo>
                  <a:pt x="1065" y="195"/>
                </a:lnTo>
                <a:close/>
                <a:moveTo>
                  <a:pt x="1056" y="223"/>
                </a:moveTo>
                <a:lnTo>
                  <a:pt x="1056" y="223"/>
                </a:lnTo>
                <a:lnTo>
                  <a:pt x="1056" y="223"/>
                </a:lnTo>
                <a:lnTo>
                  <a:pt x="1056" y="223"/>
                </a:lnTo>
                <a:lnTo>
                  <a:pt x="1056" y="223"/>
                </a:lnTo>
                <a:lnTo>
                  <a:pt x="1061" y="222"/>
                </a:lnTo>
                <a:lnTo>
                  <a:pt x="1063" y="218"/>
                </a:lnTo>
                <a:lnTo>
                  <a:pt x="1061" y="222"/>
                </a:lnTo>
                <a:lnTo>
                  <a:pt x="1056" y="223"/>
                </a:lnTo>
                <a:close/>
                <a:moveTo>
                  <a:pt x="1048" y="339"/>
                </a:moveTo>
                <a:lnTo>
                  <a:pt x="1049" y="339"/>
                </a:lnTo>
                <a:lnTo>
                  <a:pt x="1050" y="337"/>
                </a:lnTo>
                <a:lnTo>
                  <a:pt x="1049" y="339"/>
                </a:lnTo>
                <a:lnTo>
                  <a:pt x="1048" y="339"/>
                </a:lnTo>
                <a:close/>
                <a:moveTo>
                  <a:pt x="1047" y="375"/>
                </a:moveTo>
                <a:lnTo>
                  <a:pt x="1050" y="376"/>
                </a:lnTo>
                <a:lnTo>
                  <a:pt x="1053" y="375"/>
                </a:lnTo>
                <a:lnTo>
                  <a:pt x="1050" y="376"/>
                </a:lnTo>
                <a:lnTo>
                  <a:pt x="1047" y="375"/>
                </a:lnTo>
                <a:close/>
                <a:moveTo>
                  <a:pt x="1006" y="322"/>
                </a:moveTo>
                <a:lnTo>
                  <a:pt x="1006" y="321"/>
                </a:lnTo>
                <a:lnTo>
                  <a:pt x="1005" y="321"/>
                </a:lnTo>
                <a:lnTo>
                  <a:pt x="1006" y="321"/>
                </a:lnTo>
                <a:lnTo>
                  <a:pt x="1006" y="322"/>
                </a:lnTo>
                <a:lnTo>
                  <a:pt x="1007" y="326"/>
                </a:lnTo>
                <a:lnTo>
                  <a:pt x="1008" y="330"/>
                </a:lnTo>
                <a:lnTo>
                  <a:pt x="1007" y="326"/>
                </a:lnTo>
                <a:lnTo>
                  <a:pt x="1006" y="322"/>
                </a:lnTo>
                <a:close/>
                <a:moveTo>
                  <a:pt x="998" y="373"/>
                </a:moveTo>
                <a:lnTo>
                  <a:pt x="996" y="373"/>
                </a:lnTo>
                <a:lnTo>
                  <a:pt x="995" y="373"/>
                </a:lnTo>
                <a:lnTo>
                  <a:pt x="996" y="373"/>
                </a:lnTo>
                <a:lnTo>
                  <a:pt x="998" y="373"/>
                </a:lnTo>
                <a:lnTo>
                  <a:pt x="998" y="369"/>
                </a:lnTo>
                <a:lnTo>
                  <a:pt x="999" y="367"/>
                </a:lnTo>
                <a:lnTo>
                  <a:pt x="998" y="369"/>
                </a:lnTo>
                <a:lnTo>
                  <a:pt x="998" y="373"/>
                </a:lnTo>
                <a:close/>
                <a:moveTo>
                  <a:pt x="993" y="425"/>
                </a:moveTo>
                <a:lnTo>
                  <a:pt x="993" y="422"/>
                </a:lnTo>
                <a:lnTo>
                  <a:pt x="995" y="424"/>
                </a:lnTo>
                <a:lnTo>
                  <a:pt x="993" y="425"/>
                </a:lnTo>
                <a:close/>
                <a:moveTo>
                  <a:pt x="987" y="294"/>
                </a:moveTo>
                <a:lnTo>
                  <a:pt x="987" y="294"/>
                </a:lnTo>
                <a:lnTo>
                  <a:pt x="993" y="292"/>
                </a:lnTo>
                <a:lnTo>
                  <a:pt x="998" y="292"/>
                </a:lnTo>
                <a:lnTo>
                  <a:pt x="993" y="292"/>
                </a:lnTo>
                <a:lnTo>
                  <a:pt x="987" y="294"/>
                </a:lnTo>
                <a:close/>
                <a:moveTo>
                  <a:pt x="987" y="312"/>
                </a:moveTo>
                <a:lnTo>
                  <a:pt x="986" y="314"/>
                </a:lnTo>
                <a:lnTo>
                  <a:pt x="986" y="316"/>
                </a:lnTo>
                <a:lnTo>
                  <a:pt x="986" y="314"/>
                </a:lnTo>
                <a:lnTo>
                  <a:pt x="987" y="312"/>
                </a:lnTo>
                <a:lnTo>
                  <a:pt x="988" y="312"/>
                </a:lnTo>
                <a:lnTo>
                  <a:pt x="988" y="312"/>
                </a:lnTo>
                <a:lnTo>
                  <a:pt x="988" y="312"/>
                </a:lnTo>
                <a:lnTo>
                  <a:pt x="987" y="312"/>
                </a:lnTo>
                <a:close/>
                <a:moveTo>
                  <a:pt x="978" y="359"/>
                </a:moveTo>
                <a:lnTo>
                  <a:pt x="978" y="356"/>
                </a:lnTo>
                <a:lnTo>
                  <a:pt x="979" y="355"/>
                </a:lnTo>
                <a:lnTo>
                  <a:pt x="978" y="356"/>
                </a:lnTo>
                <a:lnTo>
                  <a:pt x="978" y="359"/>
                </a:lnTo>
                <a:close/>
                <a:moveTo>
                  <a:pt x="975" y="380"/>
                </a:moveTo>
                <a:lnTo>
                  <a:pt x="975" y="381"/>
                </a:lnTo>
                <a:lnTo>
                  <a:pt x="974" y="382"/>
                </a:lnTo>
                <a:lnTo>
                  <a:pt x="975" y="381"/>
                </a:lnTo>
                <a:lnTo>
                  <a:pt x="975" y="380"/>
                </a:lnTo>
                <a:lnTo>
                  <a:pt x="974" y="374"/>
                </a:lnTo>
                <a:lnTo>
                  <a:pt x="972" y="368"/>
                </a:lnTo>
                <a:lnTo>
                  <a:pt x="972" y="369"/>
                </a:lnTo>
                <a:lnTo>
                  <a:pt x="971" y="369"/>
                </a:lnTo>
                <a:lnTo>
                  <a:pt x="972" y="369"/>
                </a:lnTo>
                <a:lnTo>
                  <a:pt x="972" y="368"/>
                </a:lnTo>
                <a:lnTo>
                  <a:pt x="974" y="374"/>
                </a:lnTo>
                <a:lnTo>
                  <a:pt x="975" y="380"/>
                </a:lnTo>
                <a:lnTo>
                  <a:pt x="977" y="380"/>
                </a:lnTo>
                <a:lnTo>
                  <a:pt x="978" y="380"/>
                </a:lnTo>
                <a:lnTo>
                  <a:pt x="977" y="380"/>
                </a:lnTo>
                <a:lnTo>
                  <a:pt x="975" y="380"/>
                </a:lnTo>
                <a:close/>
                <a:moveTo>
                  <a:pt x="973" y="383"/>
                </a:moveTo>
                <a:lnTo>
                  <a:pt x="972" y="383"/>
                </a:lnTo>
                <a:lnTo>
                  <a:pt x="972" y="382"/>
                </a:lnTo>
                <a:lnTo>
                  <a:pt x="972" y="383"/>
                </a:lnTo>
                <a:lnTo>
                  <a:pt x="973" y="383"/>
                </a:lnTo>
                <a:lnTo>
                  <a:pt x="973" y="383"/>
                </a:lnTo>
                <a:lnTo>
                  <a:pt x="974" y="383"/>
                </a:lnTo>
                <a:lnTo>
                  <a:pt x="973" y="383"/>
                </a:lnTo>
                <a:lnTo>
                  <a:pt x="973" y="383"/>
                </a:lnTo>
                <a:close/>
                <a:moveTo>
                  <a:pt x="947" y="165"/>
                </a:moveTo>
                <a:lnTo>
                  <a:pt x="948" y="165"/>
                </a:lnTo>
                <a:lnTo>
                  <a:pt x="950" y="165"/>
                </a:lnTo>
                <a:lnTo>
                  <a:pt x="951" y="165"/>
                </a:lnTo>
                <a:lnTo>
                  <a:pt x="952" y="166"/>
                </a:lnTo>
                <a:lnTo>
                  <a:pt x="951" y="165"/>
                </a:lnTo>
                <a:lnTo>
                  <a:pt x="950" y="165"/>
                </a:lnTo>
                <a:lnTo>
                  <a:pt x="948" y="165"/>
                </a:lnTo>
                <a:lnTo>
                  <a:pt x="947" y="165"/>
                </a:lnTo>
                <a:close/>
                <a:moveTo>
                  <a:pt x="934" y="277"/>
                </a:moveTo>
                <a:lnTo>
                  <a:pt x="937" y="272"/>
                </a:lnTo>
                <a:lnTo>
                  <a:pt x="939" y="266"/>
                </a:lnTo>
                <a:lnTo>
                  <a:pt x="941" y="264"/>
                </a:lnTo>
                <a:lnTo>
                  <a:pt x="941" y="260"/>
                </a:lnTo>
                <a:lnTo>
                  <a:pt x="940" y="260"/>
                </a:lnTo>
                <a:lnTo>
                  <a:pt x="939" y="260"/>
                </a:lnTo>
                <a:lnTo>
                  <a:pt x="940" y="260"/>
                </a:lnTo>
                <a:lnTo>
                  <a:pt x="941" y="260"/>
                </a:lnTo>
                <a:lnTo>
                  <a:pt x="941" y="264"/>
                </a:lnTo>
                <a:lnTo>
                  <a:pt x="939" y="266"/>
                </a:lnTo>
                <a:lnTo>
                  <a:pt x="937" y="272"/>
                </a:lnTo>
                <a:lnTo>
                  <a:pt x="934" y="277"/>
                </a:lnTo>
                <a:close/>
                <a:moveTo>
                  <a:pt x="938" y="337"/>
                </a:moveTo>
                <a:lnTo>
                  <a:pt x="938" y="332"/>
                </a:lnTo>
                <a:lnTo>
                  <a:pt x="938" y="326"/>
                </a:lnTo>
                <a:lnTo>
                  <a:pt x="933" y="326"/>
                </a:lnTo>
                <a:lnTo>
                  <a:pt x="929" y="326"/>
                </a:lnTo>
                <a:lnTo>
                  <a:pt x="933" y="326"/>
                </a:lnTo>
                <a:lnTo>
                  <a:pt x="938" y="326"/>
                </a:lnTo>
                <a:lnTo>
                  <a:pt x="938" y="332"/>
                </a:lnTo>
                <a:lnTo>
                  <a:pt x="938" y="337"/>
                </a:lnTo>
                <a:close/>
                <a:moveTo>
                  <a:pt x="930" y="329"/>
                </a:moveTo>
                <a:lnTo>
                  <a:pt x="930" y="329"/>
                </a:lnTo>
                <a:lnTo>
                  <a:pt x="930" y="329"/>
                </a:lnTo>
                <a:lnTo>
                  <a:pt x="929" y="328"/>
                </a:lnTo>
                <a:lnTo>
                  <a:pt x="929" y="327"/>
                </a:lnTo>
                <a:lnTo>
                  <a:pt x="929" y="326"/>
                </a:lnTo>
                <a:lnTo>
                  <a:pt x="929" y="327"/>
                </a:lnTo>
                <a:lnTo>
                  <a:pt x="929" y="328"/>
                </a:lnTo>
                <a:lnTo>
                  <a:pt x="930" y="329"/>
                </a:lnTo>
                <a:lnTo>
                  <a:pt x="930" y="329"/>
                </a:lnTo>
                <a:lnTo>
                  <a:pt x="930" y="329"/>
                </a:lnTo>
                <a:lnTo>
                  <a:pt x="931" y="330"/>
                </a:lnTo>
                <a:lnTo>
                  <a:pt x="931" y="330"/>
                </a:lnTo>
                <a:lnTo>
                  <a:pt x="931" y="330"/>
                </a:lnTo>
                <a:lnTo>
                  <a:pt x="930" y="329"/>
                </a:lnTo>
                <a:close/>
                <a:moveTo>
                  <a:pt x="926" y="350"/>
                </a:moveTo>
                <a:lnTo>
                  <a:pt x="927" y="347"/>
                </a:lnTo>
                <a:lnTo>
                  <a:pt x="929" y="342"/>
                </a:lnTo>
                <a:lnTo>
                  <a:pt x="927" y="342"/>
                </a:lnTo>
                <a:lnTo>
                  <a:pt x="927" y="342"/>
                </a:lnTo>
                <a:lnTo>
                  <a:pt x="927" y="342"/>
                </a:lnTo>
                <a:lnTo>
                  <a:pt x="929" y="342"/>
                </a:lnTo>
                <a:lnTo>
                  <a:pt x="927" y="347"/>
                </a:lnTo>
                <a:lnTo>
                  <a:pt x="926" y="350"/>
                </a:lnTo>
                <a:close/>
                <a:moveTo>
                  <a:pt x="927" y="258"/>
                </a:moveTo>
                <a:lnTo>
                  <a:pt x="924" y="258"/>
                </a:lnTo>
                <a:lnTo>
                  <a:pt x="923" y="259"/>
                </a:lnTo>
                <a:lnTo>
                  <a:pt x="924" y="258"/>
                </a:lnTo>
                <a:lnTo>
                  <a:pt x="927" y="258"/>
                </a:lnTo>
                <a:close/>
                <a:moveTo>
                  <a:pt x="930" y="169"/>
                </a:moveTo>
                <a:lnTo>
                  <a:pt x="930" y="168"/>
                </a:lnTo>
                <a:lnTo>
                  <a:pt x="929" y="167"/>
                </a:lnTo>
                <a:lnTo>
                  <a:pt x="930" y="168"/>
                </a:lnTo>
                <a:lnTo>
                  <a:pt x="930" y="169"/>
                </a:lnTo>
                <a:close/>
                <a:moveTo>
                  <a:pt x="931" y="169"/>
                </a:moveTo>
                <a:lnTo>
                  <a:pt x="937" y="172"/>
                </a:lnTo>
                <a:lnTo>
                  <a:pt x="941" y="174"/>
                </a:lnTo>
                <a:lnTo>
                  <a:pt x="937" y="172"/>
                </a:lnTo>
                <a:lnTo>
                  <a:pt x="931" y="169"/>
                </a:lnTo>
                <a:lnTo>
                  <a:pt x="931" y="169"/>
                </a:lnTo>
                <a:close/>
                <a:moveTo>
                  <a:pt x="937" y="155"/>
                </a:moveTo>
                <a:lnTo>
                  <a:pt x="937" y="154"/>
                </a:lnTo>
                <a:lnTo>
                  <a:pt x="937" y="153"/>
                </a:lnTo>
                <a:lnTo>
                  <a:pt x="937" y="154"/>
                </a:lnTo>
                <a:lnTo>
                  <a:pt x="937" y="155"/>
                </a:lnTo>
                <a:lnTo>
                  <a:pt x="934" y="155"/>
                </a:lnTo>
                <a:lnTo>
                  <a:pt x="933" y="155"/>
                </a:lnTo>
                <a:lnTo>
                  <a:pt x="934" y="155"/>
                </a:lnTo>
                <a:lnTo>
                  <a:pt x="937" y="155"/>
                </a:lnTo>
                <a:close/>
                <a:moveTo>
                  <a:pt x="953" y="148"/>
                </a:moveTo>
                <a:lnTo>
                  <a:pt x="952" y="148"/>
                </a:lnTo>
                <a:lnTo>
                  <a:pt x="951" y="148"/>
                </a:lnTo>
                <a:lnTo>
                  <a:pt x="951" y="150"/>
                </a:lnTo>
                <a:lnTo>
                  <a:pt x="952" y="150"/>
                </a:lnTo>
                <a:lnTo>
                  <a:pt x="951" y="150"/>
                </a:lnTo>
                <a:lnTo>
                  <a:pt x="951" y="148"/>
                </a:lnTo>
                <a:lnTo>
                  <a:pt x="952" y="148"/>
                </a:lnTo>
                <a:lnTo>
                  <a:pt x="953" y="148"/>
                </a:lnTo>
                <a:close/>
                <a:moveTo>
                  <a:pt x="962" y="165"/>
                </a:moveTo>
                <a:lnTo>
                  <a:pt x="959" y="166"/>
                </a:lnTo>
                <a:lnTo>
                  <a:pt x="955" y="166"/>
                </a:lnTo>
                <a:lnTo>
                  <a:pt x="954" y="167"/>
                </a:lnTo>
                <a:lnTo>
                  <a:pt x="953" y="167"/>
                </a:lnTo>
                <a:lnTo>
                  <a:pt x="954" y="167"/>
                </a:lnTo>
                <a:lnTo>
                  <a:pt x="955" y="166"/>
                </a:lnTo>
                <a:lnTo>
                  <a:pt x="959" y="166"/>
                </a:lnTo>
                <a:lnTo>
                  <a:pt x="962" y="165"/>
                </a:lnTo>
                <a:close/>
                <a:moveTo>
                  <a:pt x="986" y="165"/>
                </a:moveTo>
                <a:lnTo>
                  <a:pt x="987" y="165"/>
                </a:lnTo>
                <a:lnTo>
                  <a:pt x="987" y="164"/>
                </a:lnTo>
                <a:lnTo>
                  <a:pt x="987" y="165"/>
                </a:lnTo>
                <a:lnTo>
                  <a:pt x="986" y="165"/>
                </a:lnTo>
                <a:lnTo>
                  <a:pt x="984" y="166"/>
                </a:lnTo>
                <a:lnTo>
                  <a:pt x="980" y="167"/>
                </a:lnTo>
                <a:lnTo>
                  <a:pt x="984" y="166"/>
                </a:lnTo>
                <a:lnTo>
                  <a:pt x="986" y="165"/>
                </a:lnTo>
                <a:close/>
                <a:moveTo>
                  <a:pt x="988" y="162"/>
                </a:moveTo>
                <a:lnTo>
                  <a:pt x="985" y="159"/>
                </a:lnTo>
                <a:lnTo>
                  <a:pt x="982" y="155"/>
                </a:lnTo>
                <a:lnTo>
                  <a:pt x="985" y="159"/>
                </a:lnTo>
                <a:lnTo>
                  <a:pt x="988" y="162"/>
                </a:lnTo>
                <a:close/>
                <a:moveTo>
                  <a:pt x="994" y="152"/>
                </a:moveTo>
                <a:lnTo>
                  <a:pt x="994" y="151"/>
                </a:lnTo>
                <a:lnTo>
                  <a:pt x="993" y="148"/>
                </a:lnTo>
                <a:lnTo>
                  <a:pt x="993" y="148"/>
                </a:lnTo>
                <a:lnTo>
                  <a:pt x="994" y="148"/>
                </a:lnTo>
                <a:lnTo>
                  <a:pt x="993" y="148"/>
                </a:lnTo>
                <a:lnTo>
                  <a:pt x="993" y="148"/>
                </a:lnTo>
                <a:lnTo>
                  <a:pt x="994" y="151"/>
                </a:lnTo>
                <a:lnTo>
                  <a:pt x="994" y="152"/>
                </a:lnTo>
                <a:close/>
                <a:moveTo>
                  <a:pt x="1001" y="127"/>
                </a:moveTo>
                <a:lnTo>
                  <a:pt x="1002" y="127"/>
                </a:lnTo>
                <a:lnTo>
                  <a:pt x="1002" y="126"/>
                </a:lnTo>
                <a:lnTo>
                  <a:pt x="1002" y="127"/>
                </a:lnTo>
                <a:lnTo>
                  <a:pt x="1001" y="127"/>
                </a:lnTo>
                <a:lnTo>
                  <a:pt x="995" y="130"/>
                </a:lnTo>
                <a:lnTo>
                  <a:pt x="992" y="134"/>
                </a:lnTo>
                <a:lnTo>
                  <a:pt x="995" y="130"/>
                </a:lnTo>
                <a:lnTo>
                  <a:pt x="1001" y="127"/>
                </a:lnTo>
                <a:close/>
                <a:moveTo>
                  <a:pt x="1021" y="148"/>
                </a:moveTo>
                <a:lnTo>
                  <a:pt x="1021" y="147"/>
                </a:lnTo>
                <a:lnTo>
                  <a:pt x="1021" y="146"/>
                </a:lnTo>
                <a:lnTo>
                  <a:pt x="1021" y="147"/>
                </a:lnTo>
                <a:lnTo>
                  <a:pt x="1021" y="148"/>
                </a:lnTo>
                <a:lnTo>
                  <a:pt x="1015" y="152"/>
                </a:lnTo>
                <a:lnTo>
                  <a:pt x="1008" y="154"/>
                </a:lnTo>
                <a:lnTo>
                  <a:pt x="1015" y="152"/>
                </a:lnTo>
                <a:lnTo>
                  <a:pt x="1021" y="148"/>
                </a:lnTo>
                <a:close/>
                <a:moveTo>
                  <a:pt x="1049" y="161"/>
                </a:moveTo>
                <a:lnTo>
                  <a:pt x="1050" y="161"/>
                </a:lnTo>
                <a:lnTo>
                  <a:pt x="1053" y="161"/>
                </a:lnTo>
                <a:lnTo>
                  <a:pt x="1050" y="161"/>
                </a:lnTo>
                <a:lnTo>
                  <a:pt x="1049" y="161"/>
                </a:lnTo>
                <a:lnTo>
                  <a:pt x="1048" y="165"/>
                </a:lnTo>
                <a:lnTo>
                  <a:pt x="1046" y="166"/>
                </a:lnTo>
                <a:lnTo>
                  <a:pt x="1048" y="165"/>
                </a:lnTo>
                <a:lnTo>
                  <a:pt x="1049" y="161"/>
                </a:lnTo>
                <a:close/>
                <a:moveTo>
                  <a:pt x="1048" y="158"/>
                </a:moveTo>
                <a:lnTo>
                  <a:pt x="1049" y="157"/>
                </a:lnTo>
                <a:lnTo>
                  <a:pt x="1050" y="155"/>
                </a:lnTo>
                <a:lnTo>
                  <a:pt x="1049" y="157"/>
                </a:lnTo>
                <a:lnTo>
                  <a:pt x="1048" y="158"/>
                </a:lnTo>
                <a:lnTo>
                  <a:pt x="1047" y="159"/>
                </a:lnTo>
                <a:lnTo>
                  <a:pt x="1047" y="160"/>
                </a:lnTo>
                <a:lnTo>
                  <a:pt x="1047" y="159"/>
                </a:lnTo>
                <a:lnTo>
                  <a:pt x="1048" y="158"/>
                </a:lnTo>
                <a:close/>
                <a:moveTo>
                  <a:pt x="1053" y="137"/>
                </a:moveTo>
                <a:lnTo>
                  <a:pt x="1051" y="138"/>
                </a:lnTo>
                <a:lnTo>
                  <a:pt x="1051" y="138"/>
                </a:lnTo>
                <a:lnTo>
                  <a:pt x="1051" y="138"/>
                </a:lnTo>
                <a:lnTo>
                  <a:pt x="1053" y="137"/>
                </a:lnTo>
                <a:lnTo>
                  <a:pt x="1053" y="137"/>
                </a:lnTo>
                <a:lnTo>
                  <a:pt x="1053" y="137"/>
                </a:lnTo>
                <a:lnTo>
                  <a:pt x="1053" y="137"/>
                </a:lnTo>
                <a:lnTo>
                  <a:pt x="1053" y="137"/>
                </a:lnTo>
                <a:close/>
                <a:moveTo>
                  <a:pt x="1053" y="136"/>
                </a:moveTo>
                <a:lnTo>
                  <a:pt x="1054" y="133"/>
                </a:lnTo>
                <a:lnTo>
                  <a:pt x="1056" y="131"/>
                </a:lnTo>
                <a:lnTo>
                  <a:pt x="1058" y="129"/>
                </a:lnTo>
                <a:lnTo>
                  <a:pt x="1061" y="127"/>
                </a:lnTo>
                <a:lnTo>
                  <a:pt x="1063" y="125"/>
                </a:lnTo>
                <a:lnTo>
                  <a:pt x="1065" y="124"/>
                </a:lnTo>
                <a:lnTo>
                  <a:pt x="1063" y="125"/>
                </a:lnTo>
                <a:lnTo>
                  <a:pt x="1061" y="127"/>
                </a:lnTo>
                <a:lnTo>
                  <a:pt x="1061" y="127"/>
                </a:lnTo>
                <a:lnTo>
                  <a:pt x="1061" y="129"/>
                </a:lnTo>
                <a:lnTo>
                  <a:pt x="1061" y="127"/>
                </a:lnTo>
                <a:lnTo>
                  <a:pt x="1061" y="127"/>
                </a:lnTo>
                <a:lnTo>
                  <a:pt x="1058" y="129"/>
                </a:lnTo>
                <a:lnTo>
                  <a:pt x="1056" y="131"/>
                </a:lnTo>
                <a:lnTo>
                  <a:pt x="1054" y="133"/>
                </a:lnTo>
                <a:lnTo>
                  <a:pt x="1053" y="136"/>
                </a:lnTo>
                <a:lnTo>
                  <a:pt x="1050" y="136"/>
                </a:lnTo>
                <a:lnTo>
                  <a:pt x="1049" y="136"/>
                </a:lnTo>
                <a:lnTo>
                  <a:pt x="1050" y="136"/>
                </a:lnTo>
                <a:lnTo>
                  <a:pt x="1053" y="136"/>
                </a:lnTo>
                <a:close/>
                <a:moveTo>
                  <a:pt x="1069" y="147"/>
                </a:moveTo>
                <a:lnTo>
                  <a:pt x="1070" y="147"/>
                </a:lnTo>
                <a:lnTo>
                  <a:pt x="1071" y="147"/>
                </a:lnTo>
                <a:lnTo>
                  <a:pt x="1072" y="147"/>
                </a:lnTo>
                <a:lnTo>
                  <a:pt x="1074" y="147"/>
                </a:lnTo>
                <a:lnTo>
                  <a:pt x="1075" y="145"/>
                </a:lnTo>
                <a:lnTo>
                  <a:pt x="1076" y="145"/>
                </a:lnTo>
                <a:lnTo>
                  <a:pt x="1075" y="145"/>
                </a:lnTo>
                <a:lnTo>
                  <a:pt x="1074" y="147"/>
                </a:lnTo>
                <a:lnTo>
                  <a:pt x="1072" y="147"/>
                </a:lnTo>
                <a:lnTo>
                  <a:pt x="1071" y="147"/>
                </a:lnTo>
                <a:lnTo>
                  <a:pt x="1070" y="147"/>
                </a:lnTo>
                <a:lnTo>
                  <a:pt x="1069" y="147"/>
                </a:lnTo>
                <a:close/>
                <a:moveTo>
                  <a:pt x="1078" y="95"/>
                </a:moveTo>
                <a:lnTo>
                  <a:pt x="1077" y="96"/>
                </a:lnTo>
                <a:lnTo>
                  <a:pt x="1077" y="97"/>
                </a:lnTo>
                <a:lnTo>
                  <a:pt x="1077" y="96"/>
                </a:lnTo>
                <a:lnTo>
                  <a:pt x="1078" y="95"/>
                </a:lnTo>
                <a:lnTo>
                  <a:pt x="1077" y="94"/>
                </a:lnTo>
                <a:lnTo>
                  <a:pt x="1077" y="92"/>
                </a:lnTo>
                <a:lnTo>
                  <a:pt x="1077" y="94"/>
                </a:lnTo>
                <a:lnTo>
                  <a:pt x="1078" y="95"/>
                </a:lnTo>
                <a:close/>
                <a:moveTo>
                  <a:pt x="1081" y="143"/>
                </a:moveTo>
                <a:lnTo>
                  <a:pt x="1081" y="143"/>
                </a:lnTo>
                <a:lnTo>
                  <a:pt x="1081" y="141"/>
                </a:lnTo>
                <a:lnTo>
                  <a:pt x="1081" y="143"/>
                </a:lnTo>
                <a:lnTo>
                  <a:pt x="1081" y="143"/>
                </a:lnTo>
                <a:lnTo>
                  <a:pt x="1079" y="144"/>
                </a:lnTo>
                <a:lnTo>
                  <a:pt x="1078" y="145"/>
                </a:lnTo>
                <a:lnTo>
                  <a:pt x="1078" y="147"/>
                </a:lnTo>
                <a:lnTo>
                  <a:pt x="1078" y="150"/>
                </a:lnTo>
                <a:lnTo>
                  <a:pt x="1078" y="147"/>
                </a:lnTo>
                <a:lnTo>
                  <a:pt x="1078" y="145"/>
                </a:lnTo>
                <a:lnTo>
                  <a:pt x="1079" y="144"/>
                </a:lnTo>
                <a:lnTo>
                  <a:pt x="1081" y="143"/>
                </a:lnTo>
                <a:close/>
                <a:moveTo>
                  <a:pt x="1118" y="125"/>
                </a:moveTo>
                <a:lnTo>
                  <a:pt x="1123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18" y="127"/>
                </a:lnTo>
                <a:lnTo>
                  <a:pt x="1109" y="125"/>
                </a:lnTo>
                <a:lnTo>
                  <a:pt x="1113" y="125"/>
                </a:lnTo>
                <a:lnTo>
                  <a:pt x="1118" y="125"/>
                </a:lnTo>
                <a:close/>
                <a:moveTo>
                  <a:pt x="1173" y="41"/>
                </a:moveTo>
                <a:lnTo>
                  <a:pt x="1174" y="41"/>
                </a:lnTo>
                <a:lnTo>
                  <a:pt x="1175" y="42"/>
                </a:lnTo>
                <a:lnTo>
                  <a:pt x="1174" y="41"/>
                </a:lnTo>
                <a:lnTo>
                  <a:pt x="1173" y="41"/>
                </a:lnTo>
                <a:lnTo>
                  <a:pt x="1172" y="41"/>
                </a:lnTo>
                <a:lnTo>
                  <a:pt x="1172" y="42"/>
                </a:lnTo>
                <a:lnTo>
                  <a:pt x="1172" y="41"/>
                </a:lnTo>
                <a:lnTo>
                  <a:pt x="1173" y="41"/>
                </a:lnTo>
                <a:close/>
                <a:moveTo>
                  <a:pt x="1185" y="179"/>
                </a:moveTo>
                <a:lnTo>
                  <a:pt x="1183" y="181"/>
                </a:lnTo>
                <a:lnTo>
                  <a:pt x="1181" y="181"/>
                </a:lnTo>
                <a:lnTo>
                  <a:pt x="1181" y="181"/>
                </a:lnTo>
                <a:lnTo>
                  <a:pt x="1183" y="181"/>
                </a:lnTo>
                <a:lnTo>
                  <a:pt x="1185" y="179"/>
                </a:lnTo>
                <a:close/>
                <a:moveTo>
                  <a:pt x="1143" y="359"/>
                </a:moveTo>
                <a:lnTo>
                  <a:pt x="1139" y="360"/>
                </a:lnTo>
                <a:lnTo>
                  <a:pt x="1136" y="360"/>
                </a:lnTo>
                <a:lnTo>
                  <a:pt x="1139" y="360"/>
                </a:lnTo>
                <a:lnTo>
                  <a:pt x="1143" y="359"/>
                </a:lnTo>
                <a:close/>
                <a:moveTo>
                  <a:pt x="1144" y="359"/>
                </a:moveTo>
                <a:lnTo>
                  <a:pt x="1146" y="359"/>
                </a:lnTo>
                <a:lnTo>
                  <a:pt x="1148" y="360"/>
                </a:lnTo>
                <a:lnTo>
                  <a:pt x="1146" y="359"/>
                </a:lnTo>
                <a:lnTo>
                  <a:pt x="1144" y="359"/>
                </a:lnTo>
                <a:lnTo>
                  <a:pt x="1144" y="359"/>
                </a:lnTo>
                <a:close/>
                <a:moveTo>
                  <a:pt x="1153" y="469"/>
                </a:moveTo>
                <a:lnTo>
                  <a:pt x="1154" y="469"/>
                </a:lnTo>
                <a:lnTo>
                  <a:pt x="1154" y="469"/>
                </a:lnTo>
                <a:lnTo>
                  <a:pt x="1154" y="469"/>
                </a:lnTo>
                <a:lnTo>
                  <a:pt x="1153" y="469"/>
                </a:lnTo>
                <a:lnTo>
                  <a:pt x="1150" y="471"/>
                </a:lnTo>
                <a:lnTo>
                  <a:pt x="1146" y="474"/>
                </a:lnTo>
                <a:lnTo>
                  <a:pt x="1150" y="471"/>
                </a:lnTo>
                <a:lnTo>
                  <a:pt x="1153" y="469"/>
                </a:lnTo>
                <a:close/>
                <a:moveTo>
                  <a:pt x="1153" y="457"/>
                </a:moveTo>
                <a:lnTo>
                  <a:pt x="1152" y="460"/>
                </a:lnTo>
                <a:lnTo>
                  <a:pt x="1151" y="464"/>
                </a:lnTo>
                <a:lnTo>
                  <a:pt x="1152" y="460"/>
                </a:lnTo>
                <a:lnTo>
                  <a:pt x="1153" y="457"/>
                </a:lnTo>
                <a:close/>
                <a:moveTo>
                  <a:pt x="918" y="322"/>
                </a:moveTo>
                <a:lnTo>
                  <a:pt x="916" y="320"/>
                </a:lnTo>
                <a:lnTo>
                  <a:pt x="915" y="321"/>
                </a:lnTo>
                <a:lnTo>
                  <a:pt x="916" y="320"/>
                </a:lnTo>
                <a:lnTo>
                  <a:pt x="918" y="322"/>
                </a:lnTo>
                <a:close/>
                <a:moveTo>
                  <a:pt x="912" y="329"/>
                </a:moveTo>
                <a:lnTo>
                  <a:pt x="910" y="330"/>
                </a:lnTo>
                <a:lnTo>
                  <a:pt x="909" y="330"/>
                </a:lnTo>
                <a:lnTo>
                  <a:pt x="910" y="330"/>
                </a:lnTo>
                <a:lnTo>
                  <a:pt x="912" y="329"/>
                </a:lnTo>
                <a:lnTo>
                  <a:pt x="912" y="329"/>
                </a:lnTo>
                <a:lnTo>
                  <a:pt x="913" y="328"/>
                </a:lnTo>
                <a:lnTo>
                  <a:pt x="912" y="329"/>
                </a:lnTo>
                <a:lnTo>
                  <a:pt x="912" y="329"/>
                </a:lnTo>
                <a:close/>
                <a:moveTo>
                  <a:pt x="912" y="597"/>
                </a:moveTo>
                <a:lnTo>
                  <a:pt x="910" y="599"/>
                </a:lnTo>
                <a:lnTo>
                  <a:pt x="909" y="600"/>
                </a:lnTo>
                <a:lnTo>
                  <a:pt x="910" y="599"/>
                </a:lnTo>
                <a:lnTo>
                  <a:pt x="912" y="597"/>
                </a:lnTo>
                <a:close/>
                <a:moveTo>
                  <a:pt x="916" y="577"/>
                </a:moveTo>
                <a:lnTo>
                  <a:pt x="916" y="578"/>
                </a:lnTo>
                <a:lnTo>
                  <a:pt x="916" y="578"/>
                </a:lnTo>
                <a:lnTo>
                  <a:pt x="916" y="578"/>
                </a:lnTo>
                <a:lnTo>
                  <a:pt x="916" y="577"/>
                </a:lnTo>
                <a:lnTo>
                  <a:pt x="915" y="576"/>
                </a:lnTo>
                <a:lnTo>
                  <a:pt x="913" y="574"/>
                </a:lnTo>
                <a:lnTo>
                  <a:pt x="915" y="576"/>
                </a:lnTo>
                <a:lnTo>
                  <a:pt x="916" y="577"/>
                </a:lnTo>
                <a:close/>
                <a:moveTo>
                  <a:pt x="920" y="541"/>
                </a:moveTo>
                <a:lnTo>
                  <a:pt x="919" y="541"/>
                </a:lnTo>
                <a:lnTo>
                  <a:pt x="917" y="539"/>
                </a:lnTo>
                <a:lnTo>
                  <a:pt x="919" y="541"/>
                </a:lnTo>
                <a:lnTo>
                  <a:pt x="920" y="541"/>
                </a:lnTo>
                <a:close/>
                <a:moveTo>
                  <a:pt x="922" y="558"/>
                </a:moveTo>
                <a:lnTo>
                  <a:pt x="922" y="559"/>
                </a:lnTo>
                <a:lnTo>
                  <a:pt x="923" y="559"/>
                </a:lnTo>
                <a:lnTo>
                  <a:pt x="922" y="559"/>
                </a:lnTo>
                <a:lnTo>
                  <a:pt x="922" y="558"/>
                </a:lnTo>
                <a:close/>
                <a:moveTo>
                  <a:pt x="927" y="849"/>
                </a:moveTo>
                <a:lnTo>
                  <a:pt x="922" y="850"/>
                </a:lnTo>
                <a:lnTo>
                  <a:pt x="916" y="852"/>
                </a:lnTo>
                <a:lnTo>
                  <a:pt x="922" y="850"/>
                </a:lnTo>
                <a:lnTo>
                  <a:pt x="927" y="849"/>
                </a:lnTo>
                <a:close/>
                <a:moveTo>
                  <a:pt x="917" y="639"/>
                </a:moveTo>
                <a:lnTo>
                  <a:pt x="916" y="640"/>
                </a:lnTo>
                <a:lnTo>
                  <a:pt x="915" y="640"/>
                </a:lnTo>
                <a:lnTo>
                  <a:pt x="916" y="640"/>
                </a:lnTo>
                <a:lnTo>
                  <a:pt x="917" y="639"/>
                </a:lnTo>
                <a:lnTo>
                  <a:pt x="918" y="637"/>
                </a:lnTo>
                <a:lnTo>
                  <a:pt x="918" y="636"/>
                </a:lnTo>
                <a:lnTo>
                  <a:pt x="918" y="637"/>
                </a:lnTo>
                <a:lnTo>
                  <a:pt x="917" y="639"/>
                </a:lnTo>
                <a:close/>
                <a:moveTo>
                  <a:pt x="915" y="920"/>
                </a:moveTo>
                <a:lnTo>
                  <a:pt x="911" y="920"/>
                </a:lnTo>
                <a:lnTo>
                  <a:pt x="908" y="920"/>
                </a:lnTo>
                <a:lnTo>
                  <a:pt x="911" y="920"/>
                </a:lnTo>
                <a:lnTo>
                  <a:pt x="915" y="920"/>
                </a:lnTo>
                <a:lnTo>
                  <a:pt x="915" y="920"/>
                </a:lnTo>
                <a:lnTo>
                  <a:pt x="916" y="919"/>
                </a:lnTo>
                <a:lnTo>
                  <a:pt x="915" y="920"/>
                </a:lnTo>
                <a:lnTo>
                  <a:pt x="915" y="920"/>
                </a:lnTo>
                <a:close/>
                <a:moveTo>
                  <a:pt x="903" y="598"/>
                </a:moveTo>
                <a:lnTo>
                  <a:pt x="905" y="608"/>
                </a:lnTo>
                <a:lnTo>
                  <a:pt x="905" y="618"/>
                </a:lnTo>
                <a:lnTo>
                  <a:pt x="905" y="608"/>
                </a:lnTo>
                <a:lnTo>
                  <a:pt x="903" y="598"/>
                </a:lnTo>
                <a:close/>
                <a:moveTo>
                  <a:pt x="896" y="662"/>
                </a:moveTo>
                <a:lnTo>
                  <a:pt x="898" y="660"/>
                </a:lnTo>
                <a:lnTo>
                  <a:pt x="901" y="657"/>
                </a:lnTo>
                <a:lnTo>
                  <a:pt x="901" y="657"/>
                </a:lnTo>
                <a:lnTo>
                  <a:pt x="898" y="660"/>
                </a:lnTo>
                <a:lnTo>
                  <a:pt x="896" y="662"/>
                </a:lnTo>
                <a:close/>
                <a:moveTo>
                  <a:pt x="892" y="699"/>
                </a:moveTo>
                <a:lnTo>
                  <a:pt x="890" y="699"/>
                </a:lnTo>
                <a:lnTo>
                  <a:pt x="888" y="699"/>
                </a:lnTo>
                <a:lnTo>
                  <a:pt x="890" y="699"/>
                </a:lnTo>
                <a:lnTo>
                  <a:pt x="892" y="699"/>
                </a:lnTo>
                <a:lnTo>
                  <a:pt x="893" y="697"/>
                </a:lnTo>
                <a:lnTo>
                  <a:pt x="896" y="695"/>
                </a:lnTo>
                <a:lnTo>
                  <a:pt x="893" y="697"/>
                </a:lnTo>
                <a:lnTo>
                  <a:pt x="892" y="699"/>
                </a:lnTo>
                <a:close/>
                <a:moveTo>
                  <a:pt x="888" y="794"/>
                </a:moveTo>
                <a:lnTo>
                  <a:pt x="886" y="794"/>
                </a:lnTo>
                <a:lnTo>
                  <a:pt x="885" y="795"/>
                </a:lnTo>
                <a:lnTo>
                  <a:pt x="886" y="794"/>
                </a:lnTo>
                <a:lnTo>
                  <a:pt x="888" y="794"/>
                </a:lnTo>
                <a:lnTo>
                  <a:pt x="888" y="791"/>
                </a:lnTo>
                <a:lnTo>
                  <a:pt x="888" y="789"/>
                </a:lnTo>
                <a:lnTo>
                  <a:pt x="888" y="791"/>
                </a:lnTo>
                <a:lnTo>
                  <a:pt x="888" y="794"/>
                </a:lnTo>
                <a:close/>
                <a:moveTo>
                  <a:pt x="885" y="1215"/>
                </a:moveTo>
                <a:lnTo>
                  <a:pt x="884" y="1214"/>
                </a:lnTo>
                <a:lnTo>
                  <a:pt x="883" y="1214"/>
                </a:lnTo>
                <a:lnTo>
                  <a:pt x="884" y="1212"/>
                </a:lnTo>
                <a:lnTo>
                  <a:pt x="885" y="1207"/>
                </a:lnTo>
                <a:lnTo>
                  <a:pt x="885" y="1207"/>
                </a:lnTo>
                <a:lnTo>
                  <a:pt x="886" y="1207"/>
                </a:lnTo>
                <a:lnTo>
                  <a:pt x="886" y="1207"/>
                </a:lnTo>
                <a:lnTo>
                  <a:pt x="884" y="1214"/>
                </a:lnTo>
                <a:lnTo>
                  <a:pt x="885" y="1215"/>
                </a:lnTo>
                <a:close/>
                <a:moveTo>
                  <a:pt x="871" y="1272"/>
                </a:moveTo>
                <a:lnTo>
                  <a:pt x="878" y="1272"/>
                </a:lnTo>
                <a:lnTo>
                  <a:pt x="884" y="1270"/>
                </a:lnTo>
                <a:lnTo>
                  <a:pt x="878" y="1272"/>
                </a:lnTo>
                <a:lnTo>
                  <a:pt x="871" y="1272"/>
                </a:lnTo>
                <a:close/>
                <a:moveTo>
                  <a:pt x="881" y="1296"/>
                </a:moveTo>
                <a:lnTo>
                  <a:pt x="874" y="1299"/>
                </a:lnTo>
                <a:lnTo>
                  <a:pt x="865" y="1299"/>
                </a:lnTo>
                <a:lnTo>
                  <a:pt x="869" y="1298"/>
                </a:lnTo>
                <a:lnTo>
                  <a:pt x="871" y="1296"/>
                </a:lnTo>
                <a:lnTo>
                  <a:pt x="875" y="1294"/>
                </a:lnTo>
                <a:lnTo>
                  <a:pt x="879" y="1293"/>
                </a:lnTo>
                <a:lnTo>
                  <a:pt x="881" y="1293"/>
                </a:lnTo>
                <a:lnTo>
                  <a:pt x="882" y="1294"/>
                </a:lnTo>
                <a:lnTo>
                  <a:pt x="882" y="1296"/>
                </a:lnTo>
                <a:lnTo>
                  <a:pt x="881" y="1296"/>
                </a:lnTo>
                <a:close/>
                <a:moveTo>
                  <a:pt x="860" y="1324"/>
                </a:moveTo>
                <a:lnTo>
                  <a:pt x="839" y="1322"/>
                </a:lnTo>
                <a:lnTo>
                  <a:pt x="819" y="1318"/>
                </a:lnTo>
                <a:lnTo>
                  <a:pt x="817" y="1317"/>
                </a:lnTo>
                <a:lnTo>
                  <a:pt x="815" y="1315"/>
                </a:lnTo>
                <a:lnTo>
                  <a:pt x="814" y="1315"/>
                </a:lnTo>
                <a:lnTo>
                  <a:pt x="813" y="1315"/>
                </a:lnTo>
                <a:lnTo>
                  <a:pt x="814" y="1315"/>
                </a:lnTo>
                <a:lnTo>
                  <a:pt x="815" y="1315"/>
                </a:lnTo>
                <a:lnTo>
                  <a:pt x="820" y="1315"/>
                </a:lnTo>
                <a:lnTo>
                  <a:pt x="824" y="1315"/>
                </a:lnTo>
                <a:lnTo>
                  <a:pt x="824" y="1314"/>
                </a:lnTo>
                <a:lnTo>
                  <a:pt x="824" y="1314"/>
                </a:lnTo>
                <a:lnTo>
                  <a:pt x="824" y="1314"/>
                </a:lnTo>
                <a:lnTo>
                  <a:pt x="824" y="1315"/>
                </a:lnTo>
                <a:lnTo>
                  <a:pt x="826" y="1315"/>
                </a:lnTo>
                <a:lnTo>
                  <a:pt x="826" y="1315"/>
                </a:lnTo>
                <a:lnTo>
                  <a:pt x="827" y="1315"/>
                </a:lnTo>
                <a:lnTo>
                  <a:pt x="837" y="1315"/>
                </a:lnTo>
                <a:lnTo>
                  <a:pt x="848" y="1315"/>
                </a:lnTo>
                <a:lnTo>
                  <a:pt x="837" y="1315"/>
                </a:lnTo>
                <a:lnTo>
                  <a:pt x="827" y="1315"/>
                </a:lnTo>
                <a:lnTo>
                  <a:pt x="830" y="1317"/>
                </a:lnTo>
                <a:lnTo>
                  <a:pt x="834" y="1317"/>
                </a:lnTo>
                <a:lnTo>
                  <a:pt x="834" y="1317"/>
                </a:lnTo>
                <a:lnTo>
                  <a:pt x="835" y="1319"/>
                </a:lnTo>
                <a:lnTo>
                  <a:pt x="837" y="1319"/>
                </a:lnTo>
                <a:lnTo>
                  <a:pt x="856" y="1320"/>
                </a:lnTo>
                <a:lnTo>
                  <a:pt x="875" y="1319"/>
                </a:lnTo>
                <a:lnTo>
                  <a:pt x="868" y="1324"/>
                </a:lnTo>
                <a:lnTo>
                  <a:pt x="860" y="1324"/>
                </a:lnTo>
                <a:close/>
                <a:moveTo>
                  <a:pt x="883" y="1460"/>
                </a:moveTo>
                <a:lnTo>
                  <a:pt x="875" y="1458"/>
                </a:lnTo>
                <a:lnTo>
                  <a:pt x="865" y="1458"/>
                </a:lnTo>
                <a:lnTo>
                  <a:pt x="855" y="1462"/>
                </a:lnTo>
                <a:lnTo>
                  <a:pt x="846" y="1467"/>
                </a:lnTo>
                <a:lnTo>
                  <a:pt x="855" y="1462"/>
                </a:lnTo>
                <a:lnTo>
                  <a:pt x="865" y="1458"/>
                </a:lnTo>
                <a:lnTo>
                  <a:pt x="875" y="1458"/>
                </a:lnTo>
                <a:lnTo>
                  <a:pt x="883" y="1460"/>
                </a:lnTo>
                <a:close/>
                <a:moveTo>
                  <a:pt x="844" y="1427"/>
                </a:moveTo>
                <a:lnTo>
                  <a:pt x="846" y="1429"/>
                </a:lnTo>
                <a:lnTo>
                  <a:pt x="846" y="1430"/>
                </a:lnTo>
                <a:lnTo>
                  <a:pt x="846" y="1429"/>
                </a:lnTo>
                <a:lnTo>
                  <a:pt x="844" y="1427"/>
                </a:lnTo>
                <a:close/>
                <a:moveTo>
                  <a:pt x="823" y="1356"/>
                </a:moveTo>
                <a:lnTo>
                  <a:pt x="834" y="1362"/>
                </a:lnTo>
                <a:lnTo>
                  <a:pt x="846" y="1366"/>
                </a:lnTo>
                <a:lnTo>
                  <a:pt x="840" y="1367"/>
                </a:lnTo>
                <a:lnTo>
                  <a:pt x="833" y="1367"/>
                </a:lnTo>
                <a:lnTo>
                  <a:pt x="833" y="1368"/>
                </a:lnTo>
                <a:lnTo>
                  <a:pt x="833" y="1368"/>
                </a:lnTo>
                <a:lnTo>
                  <a:pt x="833" y="1368"/>
                </a:lnTo>
                <a:lnTo>
                  <a:pt x="833" y="1367"/>
                </a:lnTo>
                <a:lnTo>
                  <a:pt x="832" y="1366"/>
                </a:lnTo>
                <a:lnTo>
                  <a:pt x="828" y="1366"/>
                </a:lnTo>
                <a:lnTo>
                  <a:pt x="824" y="1363"/>
                </a:lnTo>
                <a:lnTo>
                  <a:pt x="821" y="1360"/>
                </a:lnTo>
                <a:lnTo>
                  <a:pt x="821" y="1357"/>
                </a:lnTo>
                <a:lnTo>
                  <a:pt x="823" y="1356"/>
                </a:lnTo>
                <a:close/>
                <a:moveTo>
                  <a:pt x="860" y="1345"/>
                </a:moveTo>
                <a:lnTo>
                  <a:pt x="841" y="1343"/>
                </a:lnTo>
                <a:lnTo>
                  <a:pt x="821" y="1339"/>
                </a:lnTo>
                <a:lnTo>
                  <a:pt x="844" y="1340"/>
                </a:lnTo>
                <a:lnTo>
                  <a:pt x="867" y="1334"/>
                </a:lnTo>
                <a:lnTo>
                  <a:pt x="864" y="1341"/>
                </a:lnTo>
                <a:lnTo>
                  <a:pt x="860" y="1345"/>
                </a:lnTo>
                <a:close/>
                <a:moveTo>
                  <a:pt x="850" y="1353"/>
                </a:moveTo>
                <a:lnTo>
                  <a:pt x="842" y="1353"/>
                </a:lnTo>
                <a:lnTo>
                  <a:pt x="833" y="1353"/>
                </a:lnTo>
                <a:lnTo>
                  <a:pt x="829" y="1353"/>
                </a:lnTo>
                <a:lnTo>
                  <a:pt x="826" y="1354"/>
                </a:lnTo>
                <a:lnTo>
                  <a:pt x="829" y="1353"/>
                </a:lnTo>
                <a:lnTo>
                  <a:pt x="833" y="1353"/>
                </a:lnTo>
                <a:lnTo>
                  <a:pt x="833" y="1350"/>
                </a:lnTo>
                <a:lnTo>
                  <a:pt x="833" y="1348"/>
                </a:lnTo>
                <a:lnTo>
                  <a:pt x="828" y="1348"/>
                </a:lnTo>
                <a:lnTo>
                  <a:pt x="823" y="1345"/>
                </a:lnTo>
                <a:lnTo>
                  <a:pt x="829" y="1345"/>
                </a:lnTo>
                <a:lnTo>
                  <a:pt x="833" y="1348"/>
                </a:lnTo>
                <a:lnTo>
                  <a:pt x="847" y="1349"/>
                </a:lnTo>
                <a:lnTo>
                  <a:pt x="860" y="1345"/>
                </a:lnTo>
                <a:lnTo>
                  <a:pt x="865" y="1345"/>
                </a:lnTo>
                <a:lnTo>
                  <a:pt x="858" y="1350"/>
                </a:lnTo>
                <a:lnTo>
                  <a:pt x="850" y="1353"/>
                </a:lnTo>
                <a:close/>
                <a:moveTo>
                  <a:pt x="860" y="1378"/>
                </a:moveTo>
                <a:lnTo>
                  <a:pt x="858" y="1380"/>
                </a:lnTo>
                <a:lnTo>
                  <a:pt x="856" y="1381"/>
                </a:lnTo>
                <a:lnTo>
                  <a:pt x="858" y="1380"/>
                </a:lnTo>
                <a:lnTo>
                  <a:pt x="860" y="1378"/>
                </a:lnTo>
                <a:close/>
                <a:moveTo>
                  <a:pt x="856" y="1369"/>
                </a:moveTo>
                <a:lnTo>
                  <a:pt x="855" y="1369"/>
                </a:lnTo>
                <a:lnTo>
                  <a:pt x="855" y="1368"/>
                </a:lnTo>
                <a:lnTo>
                  <a:pt x="855" y="1367"/>
                </a:lnTo>
                <a:lnTo>
                  <a:pt x="857" y="1366"/>
                </a:lnTo>
                <a:lnTo>
                  <a:pt x="857" y="1367"/>
                </a:lnTo>
                <a:lnTo>
                  <a:pt x="858" y="1367"/>
                </a:lnTo>
                <a:lnTo>
                  <a:pt x="857" y="1369"/>
                </a:lnTo>
                <a:lnTo>
                  <a:pt x="856" y="1369"/>
                </a:lnTo>
                <a:close/>
                <a:moveTo>
                  <a:pt x="854" y="1357"/>
                </a:moveTo>
                <a:lnTo>
                  <a:pt x="843" y="1361"/>
                </a:lnTo>
                <a:lnTo>
                  <a:pt x="833" y="1356"/>
                </a:lnTo>
                <a:lnTo>
                  <a:pt x="841" y="1356"/>
                </a:lnTo>
                <a:lnTo>
                  <a:pt x="850" y="1356"/>
                </a:lnTo>
                <a:lnTo>
                  <a:pt x="851" y="1356"/>
                </a:lnTo>
                <a:lnTo>
                  <a:pt x="854" y="1357"/>
                </a:lnTo>
                <a:lnTo>
                  <a:pt x="854" y="1357"/>
                </a:lnTo>
                <a:close/>
                <a:moveTo>
                  <a:pt x="854" y="1357"/>
                </a:moveTo>
                <a:lnTo>
                  <a:pt x="857" y="1354"/>
                </a:lnTo>
                <a:lnTo>
                  <a:pt x="861" y="1353"/>
                </a:lnTo>
                <a:lnTo>
                  <a:pt x="863" y="1354"/>
                </a:lnTo>
                <a:lnTo>
                  <a:pt x="863" y="1356"/>
                </a:lnTo>
                <a:lnTo>
                  <a:pt x="858" y="1357"/>
                </a:lnTo>
                <a:lnTo>
                  <a:pt x="854" y="1357"/>
                </a:lnTo>
                <a:lnTo>
                  <a:pt x="854" y="1357"/>
                </a:lnTo>
                <a:lnTo>
                  <a:pt x="854" y="1357"/>
                </a:lnTo>
                <a:close/>
                <a:moveTo>
                  <a:pt x="819" y="1374"/>
                </a:moveTo>
                <a:lnTo>
                  <a:pt x="819" y="1374"/>
                </a:lnTo>
                <a:lnTo>
                  <a:pt x="817" y="1374"/>
                </a:lnTo>
                <a:lnTo>
                  <a:pt x="817" y="1373"/>
                </a:lnTo>
                <a:lnTo>
                  <a:pt x="817" y="1373"/>
                </a:lnTo>
                <a:lnTo>
                  <a:pt x="820" y="1371"/>
                </a:lnTo>
                <a:lnTo>
                  <a:pt x="820" y="1369"/>
                </a:lnTo>
                <a:lnTo>
                  <a:pt x="821" y="1370"/>
                </a:lnTo>
                <a:lnTo>
                  <a:pt x="822" y="1369"/>
                </a:lnTo>
                <a:lnTo>
                  <a:pt x="826" y="1370"/>
                </a:lnTo>
                <a:lnTo>
                  <a:pt x="829" y="1371"/>
                </a:lnTo>
                <a:lnTo>
                  <a:pt x="833" y="1374"/>
                </a:lnTo>
                <a:lnTo>
                  <a:pt x="837" y="1371"/>
                </a:lnTo>
                <a:lnTo>
                  <a:pt x="836" y="1370"/>
                </a:lnTo>
                <a:lnTo>
                  <a:pt x="834" y="1369"/>
                </a:lnTo>
                <a:lnTo>
                  <a:pt x="834" y="1369"/>
                </a:lnTo>
                <a:lnTo>
                  <a:pt x="834" y="1369"/>
                </a:lnTo>
                <a:lnTo>
                  <a:pt x="834" y="1369"/>
                </a:lnTo>
                <a:lnTo>
                  <a:pt x="834" y="1369"/>
                </a:lnTo>
                <a:lnTo>
                  <a:pt x="836" y="1370"/>
                </a:lnTo>
                <a:lnTo>
                  <a:pt x="837" y="1371"/>
                </a:lnTo>
                <a:lnTo>
                  <a:pt x="844" y="1370"/>
                </a:lnTo>
                <a:lnTo>
                  <a:pt x="853" y="1369"/>
                </a:lnTo>
                <a:lnTo>
                  <a:pt x="849" y="1373"/>
                </a:lnTo>
                <a:lnTo>
                  <a:pt x="846" y="1374"/>
                </a:lnTo>
                <a:lnTo>
                  <a:pt x="846" y="1374"/>
                </a:lnTo>
                <a:lnTo>
                  <a:pt x="833" y="1375"/>
                </a:lnTo>
                <a:lnTo>
                  <a:pt x="819" y="1374"/>
                </a:lnTo>
                <a:close/>
                <a:moveTo>
                  <a:pt x="815" y="1481"/>
                </a:moveTo>
                <a:lnTo>
                  <a:pt x="815" y="1482"/>
                </a:lnTo>
                <a:lnTo>
                  <a:pt x="814" y="1482"/>
                </a:lnTo>
                <a:lnTo>
                  <a:pt x="810" y="1482"/>
                </a:lnTo>
                <a:lnTo>
                  <a:pt x="809" y="1486"/>
                </a:lnTo>
                <a:lnTo>
                  <a:pt x="808" y="1487"/>
                </a:lnTo>
                <a:lnTo>
                  <a:pt x="806" y="1487"/>
                </a:lnTo>
                <a:lnTo>
                  <a:pt x="805" y="1486"/>
                </a:lnTo>
                <a:lnTo>
                  <a:pt x="805" y="1483"/>
                </a:lnTo>
                <a:lnTo>
                  <a:pt x="806" y="1476"/>
                </a:lnTo>
                <a:lnTo>
                  <a:pt x="800" y="1471"/>
                </a:lnTo>
                <a:lnTo>
                  <a:pt x="796" y="1471"/>
                </a:lnTo>
                <a:lnTo>
                  <a:pt x="793" y="1471"/>
                </a:lnTo>
                <a:lnTo>
                  <a:pt x="796" y="1471"/>
                </a:lnTo>
                <a:lnTo>
                  <a:pt x="800" y="1471"/>
                </a:lnTo>
                <a:lnTo>
                  <a:pt x="800" y="1468"/>
                </a:lnTo>
                <a:lnTo>
                  <a:pt x="799" y="1467"/>
                </a:lnTo>
                <a:lnTo>
                  <a:pt x="799" y="1467"/>
                </a:lnTo>
                <a:lnTo>
                  <a:pt x="799" y="1464"/>
                </a:lnTo>
                <a:lnTo>
                  <a:pt x="799" y="1460"/>
                </a:lnTo>
                <a:lnTo>
                  <a:pt x="801" y="1461"/>
                </a:lnTo>
                <a:lnTo>
                  <a:pt x="803" y="1462"/>
                </a:lnTo>
                <a:lnTo>
                  <a:pt x="803" y="1462"/>
                </a:lnTo>
                <a:lnTo>
                  <a:pt x="805" y="1462"/>
                </a:lnTo>
                <a:lnTo>
                  <a:pt x="803" y="1462"/>
                </a:lnTo>
                <a:lnTo>
                  <a:pt x="803" y="1462"/>
                </a:lnTo>
                <a:lnTo>
                  <a:pt x="805" y="1465"/>
                </a:lnTo>
                <a:lnTo>
                  <a:pt x="808" y="1465"/>
                </a:lnTo>
                <a:lnTo>
                  <a:pt x="808" y="1466"/>
                </a:lnTo>
                <a:lnTo>
                  <a:pt x="809" y="1466"/>
                </a:lnTo>
                <a:lnTo>
                  <a:pt x="809" y="1471"/>
                </a:lnTo>
                <a:lnTo>
                  <a:pt x="813" y="1472"/>
                </a:lnTo>
                <a:lnTo>
                  <a:pt x="816" y="1476"/>
                </a:lnTo>
                <a:lnTo>
                  <a:pt x="815" y="1481"/>
                </a:lnTo>
                <a:close/>
                <a:moveTo>
                  <a:pt x="779" y="1454"/>
                </a:moveTo>
                <a:lnTo>
                  <a:pt x="780" y="1454"/>
                </a:lnTo>
                <a:lnTo>
                  <a:pt x="781" y="1454"/>
                </a:lnTo>
                <a:lnTo>
                  <a:pt x="780" y="1454"/>
                </a:lnTo>
                <a:lnTo>
                  <a:pt x="779" y="1454"/>
                </a:lnTo>
                <a:close/>
                <a:moveTo>
                  <a:pt x="784" y="1453"/>
                </a:moveTo>
                <a:lnTo>
                  <a:pt x="782" y="1453"/>
                </a:lnTo>
                <a:lnTo>
                  <a:pt x="781" y="1453"/>
                </a:lnTo>
                <a:lnTo>
                  <a:pt x="782" y="1453"/>
                </a:lnTo>
                <a:lnTo>
                  <a:pt x="784" y="1453"/>
                </a:lnTo>
                <a:lnTo>
                  <a:pt x="789" y="1457"/>
                </a:lnTo>
                <a:lnTo>
                  <a:pt x="795" y="1462"/>
                </a:lnTo>
                <a:lnTo>
                  <a:pt x="789" y="1457"/>
                </a:lnTo>
                <a:lnTo>
                  <a:pt x="784" y="1453"/>
                </a:lnTo>
                <a:close/>
                <a:moveTo>
                  <a:pt x="748" y="1460"/>
                </a:moveTo>
                <a:lnTo>
                  <a:pt x="747" y="1461"/>
                </a:lnTo>
                <a:lnTo>
                  <a:pt x="746" y="1464"/>
                </a:lnTo>
                <a:lnTo>
                  <a:pt x="746" y="1465"/>
                </a:lnTo>
                <a:lnTo>
                  <a:pt x="745" y="1466"/>
                </a:lnTo>
                <a:lnTo>
                  <a:pt x="746" y="1465"/>
                </a:lnTo>
                <a:lnTo>
                  <a:pt x="746" y="1464"/>
                </a:lnTo>
                <a:lnTo>
                  <a:pt x="744" y="1461"/>
                </a:lnTo>
                <a:lnTo>
                  <a:pt x="745" y="1458"/>
                </a:lnTo>
                <a:lnTo>
                  <a:pt x="758" y="1447"/>
                </a:lnTo>
                <a:lnTo>
                  <a:pt x="775" y="1447"/>
                </a:lnTo>
                <a:lnTo>
                  <a:pt x="780" y="1448"/>
                </a:lnTo>
                <a:lnTo>
                  <a:pt x="785" y="1450"/>
                </a:lnTo>
                <a:lnTo>
                  <a:pt x="787" y="1450"/>
                </a:lnTo>
                <a:lnTo>
                  <a:pt x="789" y="1450"/>
                </a:lnTo>
                <a:lnTo>
                  <a:pt x="787" y="1450"/>
                </a:lnTo>
                <a:lnTo>
                  <a:pt x="785" y="1450"/>
                </a:lnTo>
                <a:lnTo>
                  <a:pt x="785" y="1451"/>
                </a:lnTo>
                <a:lnTo>
                  <a:pt x="784" y="1451"/>
                </a:lnTo>
                <a:lnTo>
                  <a:pt x="780" y="1451"/>
                </a:lnTo>
                <a:lnTo>
                  <a:pt x="778" y="1451"/>
                </a:lnTo>
                <a:lnTo>
                  <a:pt x="761" y="1451"/>
                </a:lnTo>
                <a:lnTo>
                  <a:pt x="748" y="1460"/>
                </a:lnTo>
                <a:close/>
                <a:moveTo>
                  <a:pt x="744" y="1403"/>
                </a:moveTo>
                <a:lnTo>
                  <a:pt x="745" y="1402"/>
                </a:lnTo>
                <a:lnTo>
                  <a:pt x="745" y="1401"/>
                </a:lnTo>
                <a:lnTo>
                  <a:pt x="745" y="1402"/>
                </a:lnTo>
                <a:lnTo>
                  <a:pt x="744" y="1403"/>
                </a:lnTo>
                <a:close/>
                <a:moveTo>
                  <a:pt x="758" y="1399"/>
                </a:moveTo>
                <a:lnTo>
                  <a:pt x="756" y="1399"/>
                </a:lnTo>
                <a:lnTo>
                  <a:pt x="754" y="1401"/>
                </a:lnTo>
                <a:lnTo>
                  <a:pt x="756" y="1399"/>
                </a:lnTo>
                <a:lnTo>
                  <a:pt x="758" y="1399"/>
                </a:lnTo>
                <a:close/>
                <a:moveTo>
                  <a:pt x="609" y="700"/>
                </a:moveTo>
                <a:lnTo>
                  <a:pt x="609" y="700"/>
                </a:lnTo>
                <a:lnTo>
                  <a:pt x="610" y="700"/>
                </a:lnTo>
                <a:lnTo>
                  <a:pt x="610" y="700"/>
                </a:lnTo>
                <a:lnTo>
                  <a:pt x="610" y="702"/>
                </a:lnTo>
                <a:lnTo>
                  <a:pt x="610" y="702"/>
                </a:lnTo>
                <a:lnTo>
                  <a:pt x="609" y="703"/>
                </a:lnTo>
                <a:lnTo>
                  <a:pt x="609" y="702"/>
                </a:lnTo>
                <a:lnTo>
                  <a:pt x="609" y="700"/>
                </a:lnTo>
                <a:close/>
                <a:moveTo>
                  <a:pt x="608" y="744"/>
                </a:moveTo>
                <a:lnTo>
                  <a:pt x="609" y="747"/>
                </a:lnTo>
                <a:lnTo>
                  <a:pt x="608" y="749"/>
                </a:lnTo>
                <a:lnTo>
                  <a:pt x="607" y="747"/>
                </a:lnTo>
                <a:lnTo>
                  <a:pt x="608" y="744"/>
                </a:lnTo>
                <a:close/>
                <a:moveTo>
                  <a:pt x="612" y="588"/>
                </a:moveTo>
                <a:lnTo>
                  <a:pt x="612" y="590"/>
                </a:lnTo>
                <a:lnTo>
                  <a:pt x="610" y="591"/>
                </a:lnTo>
                <a:lnTo>
                  <a:pt x="609" y="591"/>
                </a:lnTo>
                <a:lnTo>
                  <a:pt x="609" y="590"/>
                </a:lnTo>
                <a:lnTo>
                  <a:pt x="609" y="588"/>
                </a:lnTo>
                <a:lnTo>
                  <a:pt x="610" y="587"/>
                </a:lnTo>
                <a:lnTo>
                  <a:pt x="612" y="588"/>
                </a:lnTo>
                <a:lnTo>
                  <a:pt x="612" y="588"/>
                </a:lnTo>
                <a:close/>
                <a:moveTo>
                  <a:pt x="580" y="620"/>
                </a:moveTo>
                <a:lnTo>
                  <a:pt x="581" y="620"/>
                </a:lnTo>
                <a:lnTo>
                  <a:pt x="581" y="620"/>
                </a:lnTo>
                <a:lnTo>
                  <a:pt x="582" y="620"/>
                </a:lnTo>
                <a:lnTo>
                  <a:pt x="582" y="620"/>
                </a:lnTo>
                <a:lnTo>
                  <a:pt x="582" y="620"/>
                </a:lnTo>
                <a:lnTo>
                  <a:pt x="581" y="621"/>
                </a:lnTo>
                <a:lnTo>
                  <a:pt x="581" y="620"/>
                </a:lnTo>
                <a:lnTo>
                  <a:pt x="580" y="620"/>
                </a:lnTo>
                <a:close/>
                <a:moveTo>
                  <a:pt x="356" y="739"/>
                </a:moveTo>
                <a:lnTo>
                  <a:pt x="357" y="739"/>
                </a:lnTo>
                <a:lnTo>
                  <a:pt x="358" y="740"/>
                </a:lnTo>
                <a:lnTo>
                  <a:pt x="358" y="741"/>
                </a:lnTo>
                <a:lnTo>
                  <a:pt x="357" y="741"/>
                </a:lnTo>
                <a:lnTo>
                  <a:pt x="356" y="740"/>
                </a:lnTo>
                <a:lnTo>
                  <a:pt x="356" y="739"/>
                </a:lnTo>
                <a:close/>
                <a:moveTo>
                  <a:pt x="352" y="738"/>
                </a:moveTo>
                <a:lnTo>
                  <a:pt x="353" y="738"/>
                </a:lnTo>
                <a:lnTo>
                  <a:pt x="353" y="738"/>
                </a:lnTo>
                <a:lnTo>
                  <a:pt x="354" y="738"/>
                </a:lnTo>
                <a:lnTo>
                  <a:pt x="356" y="739"/>
                </a:lnTo>
                <a:lnTo>
                  <a:pt x="354" y="739"/>
                </a:lnTo>
                <a:lnTo>
                  <a:pt x="352" y="738"/>
                </a:lnTo>
                <a:close/>
                <a:moveTo>
                  <a:pt x="360" y="748"/>
                </a:moveTo>
                <a:lnTo>
                  <a:pt x="360" y="749"/>
                </a:lnTo>
                <a:lnTo>
                  <a:pt x="359" y="749"/>
                </a:lnTo>
                <a:lnTo>
                  <a:pt x="356" y="748"/>
                </a:lnTo>
                <a:lnTo>
                  <a:pt x="352" y="744"/>
                </a:lnTo>
                <a:lnTo>
                  <a:pt x="357" y="745"/>
                </a:lnTo>
                <a:lnTo>
                  <a:pt x="360" y="748"/>
                </a:lnTo>
                <a:close/>
                <a:moveTo>
                  <a:pt x="292" y="795"/>
                </a:moveTo>
                <a:lnTo>
                  <a:pt x="294" y="795"/>
                </a:lnTo>
                <a:lnTo>
                  <a:pt x="294" y="794"/>
                </a:lnTo>
                <a:lnTo>
                  <a:pt x="296" y="795"/>
                </a:lnTo>
                <a:lnTo>
                  <a:pt x="296" y="796"/>
                </a:lnTo>
                <a:lnTo>
                  <a:pt x="301" y="796"/>
                </a:lnTo>
                <a:lnTo>
                  <a:pt x="304" y="798"/>
                </a:lnTo>
                <a:lnTo>
                  <a:pt x="304" y="800"/>
                </a:lnTo>
                <a:lnTo>
                  <a:pt x="303" y="801"/>
                </a:lnTo>
                <a:lnTo>
                  <a:pt x="299" y="800"/>
                </a:lnTo>
                <a:lnTo>
                  <a:pt x="296" y="796"/>
                </a:lnTo>
                <a:lnTo>
                  <a:pt x="295" y="796"/>
                </a:lnTo>
                <a:lnTo>
                  <a:pt x="292" y="795"/>
                </a:lnTo>
                <a:close/>
                <a:moveTo>
                  <a:pt x="276" y="789"/>
                </a:moveTo>
                <a:lnTo>
                  <a:pt x="276" y="788"/>
                </a:lnTo>
                <a:lnTo>
                  <a:pt x="277" y="788"/>
                </a:lnTo>
                <a:lnTo>
                  <a:pt x="278" y="788"/>
                </a:lnTo>
                <a:lnTo>
                  <a:pt x="280" y="789"/>
                </a:lnTo>
                <a:lnTo>
                  <a:pt x="285" y="789"/>
                </a:lnTo>
                <a:lnTo>
                  <a:pt x="290" y="794"/>
                </a:lnTo>
                <a:lnTo>
                  <a:pt x="284" y="793"/>
                </a:lnTo>
                <a:lnTo>
                  <a:pt x="280" y="789"/>
                </a:lnTo>
                <a:lnTo>
                  <a:pt x="278" y="789"/>
                </a:lnTo>
                <a:lnTo>
                  <a:pt x="276" y="789"/>
                </a:lnTo>
                <a:close/>
                <a:moveTo>
                  <a:pt x="204" y="818"/>
                </a:moveTo>
                <a:lnTo>
                  <a:pt x="211" y="821"/>
                </a:lnTo>
                <a:lnTo>
                  <a:pt x="216" y="822"/>
                </a:lnTo>
                <a:lnTo>
                  <a:pt x="209" y="823"/>
                </a:lnTo>
                <a:lnTo>
                  <a:pt x="204" y="818"/>
                </a:lnTo>
                <a:close/>
                <a:moveTo>
                  <a:pt x="330" y="828"/>
                </a:moveTo>
                <a:lnTo>
                  <a:pt x="331" y="828"/>
                </a:lnTo>
                <a:lnTo>
                  <a:pt x="332" y="828"/>
                </a:lnTo>
                <a:lnTo>
                  <a:pt x="336" y="826"/>
                </a:lnTo>
                <a:lnTo>
                  <a:pt x="338" y="829"/>
                </a:lnTo>
                <a:lnTo>
                  <a:pt x="339" y="830"/>
                </a:lnTo>
                <a:lnTo>
                  <a:pt x="339" y="831"/>
                </a:lnTo>
                <a:lnTo>
                  <a:pt x="336" y="831"/>
                </a:lnTo>
                <a:lnTo>
                  <a:pt x="332" y="830"/>
                </a:lnTo>
                <a:lnTo>
                  <a:pt x="331" y="830"/>
                </a:lnTo>
                <a:lnTo>
                  <a:pt x="330" y="830"/>
                </a:lnTo>
                <a:lnTo>
                  <a:pt x="330" y="829"/>
                </a:lnTo>
                <a:lnTo>
                  <a:pt x="330" y="828"/>
                </a:lnTo>
                <a:close/>
                <a:moveTo>
                  <a:pt x="332" y="844"/>
                </a:moveTo>
                <a:lnTo>
                  <a:pt x="326" y="840"/>
                </a:lnTo>
                <a:lnTo>
                  <a:pt x="322" y="836"/>
                </a:lnTo>
                <a:lnTo>
                  <a:pt x="326" y="837"/>
                </a:lnTo>
                <a:lnTo>
                  <a:pt x="330" y="838"/>
                </a:lnTo>
                <a:lnTo>
                  <a:pt x="332" y="840"/>
                </a:lnTo>
                <a:lnTo>
                  <a:pt x="335" y="842"/>
                </a:lnTo>
                <a:lnTo>
                  <a:pt x="333" y="839"/>
                </a:lnTo>
                <a:lnTo>
                  <a:pt x="330" y="838"/>
                </a:lnTo>
                <a:lnTo>
                  <a:pt x="328" y="835"/>
                </a:lnTo>
                <a:lnTo>
                  <a:pt x="324" y="830"/>
                </a:lnTo>
                <a:lnTo>
                  <a:pt x="330" y="830"/>
                </a:lnTo>
                <a:lnTo>
                  <a:pt x="330" y="832"/>
                </a:lnTo>
                <a:lnTo>
                  <a:pt x="331" y="833"/>
                </a:lnTo>
                <a:lnTo>
                  <a:pt x="338" y="838"/>
                </a:lnTo>
                <a:lnTo>
                  <a:pt x="343" y="844"/>
                </a:lnTo>
                <a:lnTo>
                  <a:pt x="344" y="845"/>
                </a:lnTo>
                <a:lnTo>
                  <a:pt x="344" y="846"/>
                </a:lnTo>
                <a:lnTo>
                  <a:pt x="343" y="847"/>
                </a:lnTo>
                <a:lnTo>
                  <a:pt x="342" y="846"/>
                </a:lnTo>
                <a:lnTo>
                  <a:pt x="337" y="845"/>
                </a:lnTo>
                <a:lnTo>
                  <a:pt x="332" y="844"/>
                </a:lnTo>
                <a:lnTo>
                  <a:pt x="332" y="844"/>
                </a:lnTo>
                <a:close/>
                <a:moveTo>
                  <a:pt x="377" y="895"/>
                </a:moveTo>
                <a:lnTo>
                  <a:pt x="372" y="894"/>
                </a:lnTo>
                <a:lnTo>
                  <a:pt x="370" y="891"/>
                </a:lnTo>
                <a:lnTo>
                  <a:pt x="374" y="892"/>
                </a:lnTo>
                <a:lnTo>
                  <a:pt x="377" y="895"/>
                </a:lnTo>
                <a:close/>
                <a:moveTo>
                  <a:pt x="380" y="896"/>
                </a:moveTo>
                <a:lnTo>
                  <a:pt x="380" y="896"/>
                </a:lnTo>
                <a:lnTo>
                  <a:pt x="379" y="898"/>
                </a:lnTo>
                <a:lnTo>
                  <a:pt x="378" y="896"/>
                </a:lnTo>
                <a:lnTo>
                  <a:pt x="377" y="895"/>
                </a:lnTo>
                <a:lnTo>
                  <a:pt x="379" y="895"/>
                </a:lnTo>
                <a:lnTo>
                  <a:pt x="380" y="896"/>
                </a:lnTo>
                <a:close/>
                <a:moveTo>
                  <a:pt x="435" y="921"/>
                </a:moveTo>
                <a:lnTo>
                  <a:pt x="430" y="917"/>
                </a:lnTo>
                <a:lnTo>
                  <a:pt x="428" y="913"/>
                </a:lnTo>
                <a:lnTo>
                  <a:pt x="428" y="912"/>
                </a:lnTo>
                <a:lnTo>
                  <a:pt x="429" y="910"/>
                </a:lnTo>
                <a:lnTo>
                  <a:pt x="430" y="912"/>
                </a:lnTo>
                <a:lnTo>
                  <a:pt x="429" y="913"/>
                </a:lnTo>
                <a:lnTo>
                  <a:pt x="433" y="916"/>
                </a:lnTo>
                <a:lnTo>
                  <a:pt x="435" y="921"/>
                </a:lnTo>
                <a:close/>
                <a:moveTo>
                  <a:pt x="419" y="905"/>
                </a:moveTo>
                <a:lnTo>
                  <a:pt x="420" y="905"/>
                </a:lnTo>
                <a:lnTo>
                  <a:pt x="420" y="903"/>
                </a:lnTo>
                <a:lnTo>
                  <a:pt x="420" y="905"/>
                </a:lnTo>
                <a:lnTo>
                  <a:pt x="421" y="906"/>
                </a:lnTo>
                <a:lnTo>
                  <a:pt x="423" y="907"/>
                </a:lnTo>
                <a:lnTo>
                  <a:pt x="426" y="909"/>
                </a:lnTo>
                <a:lnTo>
                  <a:pt x="422" y="909"/>
                </a:lnTo>
                <a:lnTo>
                  <a:pt x="420" y="906"/>
                </a:lnTo>
                <a:lnTo>
                  <a:pt x="420" y="906"/>
                </a:lnTo>
                <a:lnTo>
                  <a:pt x="419" y="905"/>
                </a:lnTo>
                <a:close/>
                <a:moveTo>
                  <a:pt x="416" y="951"/>
                </a:moveTo>
                <a:lnTo>
                  <a:pt x="418" y="954"/>
                </a:lnTo>
                <a:lnTo>
                  <a:pt x="419" y="956"/>
                </a:lnTo>
                <a:lnTo>
                  <a:pt x="418" y="954"/>
                </a:lnTo>
                <a:lnTo>
                  <a:pt x="416" y="951"/>
                </a:lnTo>
                <a:close/>
                <a:moveTo>
                  <a:pt x="405" y="908"/>
                </a:moveTo>
                <a:lnTo>
                  <a:pt x="409" y="913"/>
                </a:lnTo>
                <a:lnTo>
                  <a:pt x="414" y="917"/>
                </a:lnTo>
                <a:lnTo>
                  <a:pt x="412" y="920"/>
                </a:lnTo>
                <a:lnTo>
                  <a:pt x="411" y="922"/>
                </a:lnTo>
                <a:lnTo>
                  <a:pt x="405" y="920"/>
                </a:lnTo>
                <a:lnTo>
                  <a:pt x="400" y="916"/>
                </a:lnTo>
                <a:lnTo>
                  <a:pt x="401" y="913"/>
                </a:lnTo>
                <a:lnTo>
                  <a:pt x="405" y="908"/>
                </a:lnTo>
                <a:close/>
                <a:moveTo>
                  <a:pt x="368" y="916"/>
                </a:moveTo>
                <a:lnTo>
                  <a:pt x="367" y="915"/>
                </a:lnTo>
                <a:lnTo>
                  <a:pt x="367" y="915"/>
                </a:lnTo>
                <a:lnTo>
                  <a:pt x="368" y="915"/>
                </a:lnTo>
                <a:lnTo>
                  <a:pt x="368" y="915"/>
                </a:lnTo>
                <a:lnTo>
                  <a:pt x="370" y="916"/>
                </a:lnTo>
                <a:lnTo>
                  <a:pt x="371" y="917"/>
                </a:lnTo>
                <a:lnTo>
                  <a:pt x="371" y="917"/>
                </a:lnTo>
                <a:lnTo>
                  <a:pt x="370" y="919"/>
                </a:lnTo>
                <a:lnTo>
                  <a:pt x="368" y="917"/>
                </a:lnTo>
                <a:lnTo>
                  <a:pt x="368" y="916"/>
                </a:lnTo>
                <a:close/>
                <a:moveTo>
                  <a:pt x="350" y="906"/>
                </a:moveTo>
                <a:lnTo>
                  <a:pt x="356" y="907"/>
                </a:lnTo>
                <a:lnTo>
                  <a:pt x="360" y="912"/>
                </a:lnTo>
                <a:lnTo>
                  <a:pt x="363" y="912"/>
                </a:lnTo>
                <a:lnTo>
                  <a:pt x="365" y="913"/>
                </a:lnTo>
                <a:lnTo>
                  <a:pt x="365" y="914"/>
                </a:lnTo>
                <a:lnTo>
                  <a:pt x="364" y="914"/>
                </a:lnTo>
                <a:lnTo>
                  <a:pt x="361" y="914"/>
                </a:lnTo>
                <a:lnTo>
                  <a:pt x="359" y="912"/>
                </a:lnTo>
                <a:lnTo>
                  <a:pt x="356" y="913"/>
                </a:lnTo>
                <a:lnTo>
                  <a:pt x="352" y="912"/>
                </a:lnTo>
                <a:lnTo>
                  <a:pt x="352" y="912"/>
                </a:lnTo>
                <a:lnTo>
                  <a:pt x="350" y="909"/>
                </a:lnTo>
                <a:lnTo>
                  <a:pt x="350" y="906"/>
                </a:lnTo>
                <a:close/>
                <a:moveTo>
                  <a:pt x="352" y="915"/>
                </a:moveTo>
                <a:lnTo>
                  <a:pt x="352" y="915"/>
                </a:lnTo>
                <a:lnTo>
                  <a:pt x="352" y="914"/>
                </a:lnTo>
                <a:lnTo>
                  <a:pt x="352" y="915"/>
                </a:lnTo>
                <a:lnTo>
                  <a:pt x="352" y="915"/>
                </a:lnTo>
                <a:lnTo>
                  <a:pt x="358" y="917"/>
                </a:lnTo>
                <a:lnTo>
                  <a:pt x="364" y="920"/>
                </a:lnTo>
                <a:lnTo>
                  <a:pt x="364" y="920"/>
                </a:lnTo>
                <a:lnTo>
                  <a:pt x="365" y="922"/>
                </a:lnTo>
                <a:lnTo>
                  <a:pt x="367" y="924"/>
                </a:lnTo>
                <a:lnTo>
                  <a:pt x="367" y="926"/>
                </a:lnTo>
                <a:lnTo>
                  <a:pt x="367" y="927"/>
                </a:lnTo>
                <a:lnTo>
                  <a:pt x="360" y="924"/>
                </a:lnTo>
                <a:lnTo>
                  <a:pt x="353" y="920"/>
                </a:lnTo>
                <a:lnTo>
                  <a:pt x="352" y="920"/>
                </a:lnTo>
                <a:lnTo>
                  <a:pt x="350" y="920"/>
                </a:lnTo>
                <a:lnTo>
                  <a:pt x="345" y="919"/>
                </a:lnTo>
                <a:lnTo>
                  <a:pt x="344" y="912"/>
                </a:lnTo>
                <a:lnTo>
                  <a:pt x="347" y="915"/>
                </a:lnTo>
                <a:lnTo>
                  <a:pt x="352" y="915"/>
                </a:lnTo>
                <a:close/>
                <a:moveTo>
                  <a:pt x="593" y="1307"/>
                </a:moveTo>
                <a:lnTo>
                  <a:pt x="594" y="1307"/>
                </a:lnTo>
                <a:lnTo>
                  <a:pt x="596" y="1306"/>
                </a:lnTo>
                <a:lnTo>
                  <a:pt x="596" y="1306"/>
                </a:lnTo>
                <a:lnTo>
                  <a:pt x="598" y="1306"/>
                </a:lnTo>
                <a:lnTo>
                  <a:pt x="599" y="1305"/>
                </a:lnTo>
                <a:lnTo>
                  <a:pt x="598" y="1306"/>
                </a:lnTo>
                <a:lnTo>
                  <a:pt x="596" y="1306"/>
                </a:lnTo>
                <a:lnTo>
                  <a:pt x="596" y="1306"/>
                </a:lnTo>
                <a:lnTo>
                  <a:pt x="594" y="1307"/>
                </a:lnTo>
                <a:lnTo>
                  <a:pt x="593" y="1307"/>
                </a:lnTo>
                <a:close/>
                <a:moveTo>
                  <a:pt x="660" y="1255"/>
                </a:moveTo>
                <a:lnTo>
                  <a:pt x="660" y="1254"/>
                </a:lnTo>
                <a:lnTo>
                  <a:pt x="660" y="1251"/>
                </a:lnTo>
                <a:lnTo>
                  <a:pt x="660" y="1251"/>
                </a:lnTo>
                <a:lnTo>
                  <a:pt x="660" y="1254"/>
                </a:lnTo>
                <a:lnTo>
                  <a:pt x="660" y="1255"/>
                </a:lnTo>
                <a:close/>
                <a:moveTo>
                  <a:pt x="719" y="1382"/>
                </a:moveTo>
                <a:lnTo>
                  <a:pt x="717" y="1382"/>
                </a:lnTo>
                <a:lnTo>
                  <a:pt x="716" y="1381"/>
                </a:lnTo>
                <a:lnTo>
                  <a:pt x="717" y="1382"/>
                </a:lnTo>
                <a:lnTo>
                  <a:pt x="719" y="1382"/>
                </a:lnTo>
                <a:lnTo>
                  <a:pt x="720" y="1384"/>
                </a:lnTo>
                <a:lnTo>
                  <a:pt x="720" y="1385"/>
                </a:lnTo>
                <a:lnTo>
                  <a:pt x="720" y="1384"/>
                </a:lnTo>
                <a:lnTo>
                  <a:pt x="719" y="1382"/>
                </a:lnTo>
                <a:close/>
                <a:moveTo>
                  <a:pt x="694" y="1327"/>
                </a:moveTo>
                <a:lnTo>
                  <a:pt x="692" y="1322"/>
                </a:lnTo>
                <a:lnTo>
                  <a:pt x="691" y="1318"/>
                </a:lnTo>
                <a:lnTo>
                  <a:pt x="692" y="1322"/>
                </a:lnTo>
                <a:lnTo>
                  <a:pt x="694" y="1327"/>
                </a:lnTo>
                <a:lnTo>
                  <a:pt x="697" y="1327"/>
                </a:lnTo>
                <a:lnTo>
                  <a:pt x="699" y="1328"/>
                </a:lnTo>
                <a:lnTo>
                  <a:pt x="697" y="1327"/>
                </a:lnTo>
                <a:lnTo>
                  <a:pt x="694" y="1327"/>
                </a:lnTo>
                <a:close/>
                <a:moveTo>
                  <a:pt x="670" y="1346"/>
                </a:moveTo>
                <a:lnTo>
                  <a:pt x="675" y="1346"/>
                </a:lnTo>
                <a:lnTo>
                  <a:pt x="679" y="1346"/>
                </a:lnTo>
                <a:lnTo>
                  <a:pt x="675" y="1346"/>
                </a:lnTo>
                <a:lnTo>
                  <a:pt x="670" y="1346"/>
                </a:lnTo>
                <a:close/>
                <a:moveTo>
                  <a:pt x="678" y="1434"/>
                </a:moveTo>
                <a:lnTo>
                  <a:pt x="678" y="1438"/>
                </a:lnTo>
                <a:lnTo>
                  <a:pt x="678" y="1440"/>
                </a:lnTo>
                <a:lnTo>
                  <a:pt x="678" y="1438"/>
                </a:lnTo>
                <a:lnTo>
                  <a:pt x="678" y="1434"/>
                </a:lnTo>
                <a:lnTo>
                  <a:pt x="683" y="1434"/>
                </a:lnTo>
                <a:lnTo>
                  <a:pt x="688" y="1434"/>
                </a:lnTo>
                <a:lnTo>
                  <a:pt x="683" y="1434"/>
                </a:lnTo>
                <a:lnTo>
                  <a:pt x="678" y="1434"/>
                </a:lnTo>
                <a:close/>
                <a:moveTo>
                  <a:pt x="665" y="1450"/>
                </a:moveTo>
                <a:lnTo>
                  <a:pt x="664" y="1451"/>
                </a:lnTo>
                <a:lnTo>
                  <a:pt x="663" y="1451"/>
                </a:lnTo>
                <a:lnTo>
                  <a:pt x="664" y="1451"/>
                </a:lnTo>
                <a:lnTo>
                  <a:pt x="665" y="1450"/>
                </a:lnTo>
                <a:lnTo>
                  <a:pt x="667" y="1450"/>
                </a:lnTo>
                <a:lnTo>
                  <a:pt x="668" y="1451"/>
                </a:lnTo>
                <a:lnTo>
                  <a:pt x="667" y="1450"/>
                </a:lnTo>
                <a:lnTo>
                  <a:pt x="665" y="1450"/>
                </a:lnTo>
                <a:close/>
                <a:moveTo>
                  <a:pt x="656" y="1450"/>
                </a:moveTo>
                <a:lnTo>
                  <a:pt x="655" y="1453"/>
                </a:lnTo>
                <a:lnTo>
                  <a:pt x="653" y="1453"/>
                </a:lnTo>
                <a:lnTo>
                  <a:pt x="655" y="1453"/>
                </a:lnTo>
                <a:lnTo>
                  <a:pt x="656" y="1450"/>
                </a:lnTo>
                <a:lnTo>
                  <a:pt x="658" y="1450"/>
                </a:lnTo>
                <a:lnTo>
                  <a:pt x="661" y="1450"/>
                </a:lnTo>
                <a:lnTo>
                  <a:pt x="656" y="1450"/>
                </a:lnTo>
                <a:close/>
                <a:moveTo>
                  <a:pt x="639" y="1427"/>
                </a:moveTo>
                <a:lnTo>
                  <a:pt x="637" y="1430"/>
                </a:lnTo>
                <a:lnTo>
                  <a:pt x="635" y="1432"/>
                </a:lnTo>
                <a:lnTo>
                  <a:pt x="637" y="1430"/>
                </a:lnTo>
                <a:lnTo>
                  <a:pt x="639" y="1427"/>
                </a:lnTo>
                <a:lnTo>
                  <a:pt x="647" y="1424"/>
                </a:lnTo>
                <a:lnTo>
                  <a:pt x="654" y="1424"/>
                </a:lnTo>
                <a:lnTo>
                  <a:pt x="647" y="1424"/>
                </a:lnTo>
                <a:lnTo>
                  <a:pt x="639" y="1427"/>
                </a:lnTo>
                <a:close/>
                <a:moveTo>
                  <a:pt x="629" y="1450"/>
                </a:moveTo>
                <a:lnTo>
                  <a:pt x="628" y="1450"/>
                </a:lnTo>
                <a:lnTo>
                  <a:pt x="627" y="1450"/>
                </a:lnTo>
                <a:lnTo>
                  <a:pt x="628" y="1450"/>
                </a:lnTo>
                <a:lnTo>
                  <a:pt x="629" y="1450"/>
                </a:lnTo>
                <a:lnTo>
                  <a:pt x="630" y="1447"/>
                </a:lnTo>
                <a:lnTo>
                  <a:pt x="630" y="1446"/>
                </a:lnTo>
                <a:lnTo>
                  <a:pt x="630" y="1447"/>
                </a:lnTo>
                <a:lnTo>
                  <a:pt x="629" y="1450"/>
                </a:lnTo>
                <a:close/>
                <a:moveTo>
                  <a:pt x="626" y="1443"/>
                </a:moveTo>
                <a:lnTo>
                  <a:pt x="626" y="1436"/>
                </a:lnTo>
                <a:lnTo>
                  <a:pt x="625" y="1430"/>
                </a:lnTo>
                <a:lnTo>
                  <a:pt x="626" y="1436"/>
                </a:lnTo>
                <a:lnTo>
                  <a:pt x="626" y="1443"/>
                </a:lnTo>
                <a:close/>
                <a:moveTo>
                  <a:pt x="612" y="1362"/>
                </a:moveTo>
                <a:lnTo>
                  <a:pt x="613" y="1362"/>
                </a:lnTo>
                <a:lnTo>
                  <a:pt x="615" y="1361"/>
                </a:lnTo>
                <a:lnTo>
                  <a:pt x="613" y="1362"/>
                </a:lnTo>
                <a:lnTo>
                  <a:pt x="612" y="1362"/>
                </a:lnTo>
                <a:close/>
                <a:moveTo>
                  <a:pt x="602" y="1325"/>
                </a:moveTo>
                <a:lnTo>
                  <a:pt x="602" y="1325"/>
                </a:lnTo>
                <a:lnTo>
                  <a:pt x="601" y="1324"/>
                </a:lnTo>
                <a:lnTo>
                  <a:pt x="602" y="1325"/>
                </a:lnTo>
                <a:lnTo>
                  <a:pt x="602" y="1325"/>
                </a:lnTo>
                <a:lnTo>
                  <a:pt x="603" y="1326"/>
                </a:lnTo>
                <a:lnTo>
                  <a:pt x="603" y="1327"/>
                </a:lnTo>
                <a:lnTo>
                  <a:pt x="605" y="1331"/>
                </a:lnTo>
                <a:lnTo>
                  <a:pt x="607" y="1333"/>
                </a:lnTo>
                <a:lnTo>
                  <a:pt x="605" y="1331"/>
                </a:lnTo>
                <a:lnTo>
                  <a:pt x="603" y="1327"/>
                </a:lnTo>
                <a:lnTo>
                  <a:pt x="602" y="1327"/>
                </a:lnTo>
                <a:lnTo>
                  <a:pt x="601" y="1327"/>
                </a:lnTo>
                <a:lnTo>
                  <a:pt x="602" y="1327"/>
                </a:lnTo>
                <a:lnTo>
                  <a:pt x="603" y="1327"/>
                </a:lnTo>
                <a:lnTo>
                  <a:pt x="603" y="1326"/>
                </a:lnTo>
                <a:lnTo>
                  <a:pt x="602" y="1325"/>
                </a:lnTo>
                <a:close/>
                <a:moveTo>
                  <a:pt x="606" y="1336"/>
                </a:moveTo>
                <a:lnTo>
                  <a:pt x="600" y="1340"/>
                </a:lnTo>
                <a:lnTo>
                  <a:pt x="593" y="1343"/>
                </a:lnTo>
                <a:lnTo>
                  <a:pt x="600" y="1340"/>
                </a:lnTo>
                <a:lnTo>
                  <a:pt x="606" y="1336"/>
                </a:lnTo>
                <a:close/>
                <a:moveTo>
                  <a:pt x="588" y="1364"/>
                </a:moveTo>
                <a:lnTo>
                  <a:pt x="587" y="1363"/>
                </a:lnTo>
                <a:lnTo>
                  <a:pt x="586" y="1361"/>
                </a:lnTo>
                <a:lnTo>
                  <a:pt x="587" y="1363"/>
                </a:lnTo>
                <a:lnTo>
                  <a:pt x="588" y="1364"/>
                </a:lnTo>
                <a:close/>
                <a:moveTo>
                  <a:pt x="586" y="1335"/>
                </a:moveTo>
                <a:lnTo>
                  <a:pt x="589" y="1334"/>
                </a:lnTo>
                <a:lnTo>
                  <a:pt x="592" y="1331"/>
                </a:lnTo>
                <a:lnTo>
                  <a:pt x="589" y="1334"/>
                </a:lnTo>
                <a:lnTo>
                  <a:pt x="586" y="1335"/>
                </a:lnTo>
                <a:close/>
                <a:moveTo>
                  <a:pt x="601" y="1429"/>
                </a:moveTo>
                <a:lnTo>
                  <a:pt x="593" y="1429"/>
                </a:lnTo>
                <a:lnTo>
                  <a:pt x="585" y="1429"/>
                </a:lnTo>
                <a:lnTo>
                  <a:pt x="593" y="1429"/>
                </a:lnTo>
                <a:lnTo>
                  <a:pt x="601" y="1429"/>
                </a:lnTo>
                <a:close/>
                <a:moveTo>
                  <a:pt x="578" y="1380"/>
                </a:moveTo>
                <a:lnTo>
                  <a:pt x="563" y="1385"/>
                </a:lnTo>
                <a:lnTo>
                  <a:pt x="546" y="1388"/>
                </a:lnTo>
                <a:lnTo>
                  <a:pt x="543" y="1391"/>
                </a:lnTo>
                <a:lnTo>
                  <a:pt x="537" y="1390"/>
                </a:lnTo>
                <a:lnTo>
                  <a:pt x="542" y="1389"/>
                </a:lnTo>
                <a:lnTo>
                  <a:pt x="545" y="1388"/>
                </a:lnTo>
                <a:lnTo>
                  <a:pt x="558" y="1383"/>
                </a:lnTo>
                <a:lnTo>
                  <a:pt x="572" y="1378"/>
                </a:lnTo>
                <a:lnTo>
                  <a:pt x="577" y="1376"/>
                </a:lnTo>
                <a:lnTo>
                  <a:pt x="582" y="1373"/>
                </a:lnTo>
                <a:lnTo>
                  <a:pt x="584" y="1371"/>
                </a:lnTo>
                <a:lnTo>
                  <a:pt x="584" y="1371"/>
                </a:lnTo>
                <a:lnTo>
                  <a:pt x="585" y="1371"/>
                </a:lnTo>
                <a:lnTo>
                  <a:pt x="585" y="1371"/>
                </a:lnTo>
                <a:lnTo>
                  <a:pt x="585" y="1374"/>
                </a:lnTo>
                <a:lnTo>
                  <a:pt x="585" y="1375"/>
                </a:lnTo>
                <a:lnTo>
                  <a:pt x="581" y="1377"/>
                </a:lnTo>
                <a:lnTo>
                  <a:pt x="578" y="1380"/>
                </a:lnTo>
                <a:close/>
                <a:moveTo>
                  <a:pt x="550" y="1361"/>
                </a:moveTo>
                <a:lnTo>
                  <a:pt x="551" y="1360"/>
                </a:lnTo>
                <a:lnTo>
                  <a:pt x="553" y="1359"/>
                </a:lnTo>
                <a:lnTo>
                  <a:pt x="553" y="1360"/>
                </a:lnTo>
                <a:lnTo>
                  <a:pt x="553" y="1360"/>
                </a:lnTo>
                <a:lnTo>
                  <a:pt x="552" y="1361"/>
                </a:lnTo>
                <a:lnTo>
                  <a:pt x="550" y="1361"/>
                </a:lnTo>
                <a:lnTo>
                  <a:pt x="547" y="1364"/>
                </a:lnTo>
                <a:lnTo>
                  <a:pt x="544" y="1367"/>
                </a:lnTo>
                <a:lnTo>
                  <a:pt x="544" y="1367"/>
                </a:lnTo>
                <a:lnTo>
                  <a:pt x="536" y="1369"/>
                </a:lnTo>
                <a:lnTo>
                  <a:pt x="527" y="1374"/>
                </a:lnTo>
                <a:lnTo>
                  <a:pt x="525" y="1374"/>
                </a:lnTo>
                <a:lnTo>
                  <a:pt x="523" y="1374"/>
                </a:lnTo>
                <a:lnTo>
                  <a:pt x="527" y="1368"/>
                </a:lnTo>
                <a:lnTo>
                  <a:pt x="534" y="1366"/>
                </a:lnTo>
                <a:lnTo>
                  <a:pt x="538" y="1366"/>
                </a:lnTo>
                <a:lnTo>
                  <a:pt x="540" y="1363"/>
                </a:lnTo>
                <a:lnTo>
                  <a:pt x="542" y="1361"/>
                </a:lnTo>
                <a:lnTo>
                  <a:pt x="544" y="1359"/>
                </a:lnTo>
                <a:lnTo>
                  <a:pt x="542" y="1361"/>
                </a:lnTo>
                <a:lnTo>
                  <a:pt x="540" y="1363"/>
                </a:lnTo>
                <a:lnTo>
                  <a:pt x="545" y="1362"/>
                </a:lnTo>
                <a:lnTo>
                  <a:pt x="550" y="1361"/>
                </a:lnTo>
                <a:close/>
                <a:moveTo>
                  <a:pt x="519" y="1391"/>
                </a:moveTo>
                <a:lnTo>
                  <a:pt x="517" y="1392"/>
                </a:lnTo>
                <a:lnTo>
                  <a:pt x="516" y="1395"/>
                </a:lnTo>
                <a:lnTo>
                  <a:pt x="509" y="1399"/>
                </a:lnTo>
                <a:lnTo>
                  <a:pt x="502" y="1404"/>
                </a:lnTo>
                <a:lnTo>
                  <a:pt x="501" y="1403"/>
                </a:lnTo>
                <a:lnTo>
                  <a:pt x="501" y="1402"/>
                </a:lnTo>
                <a:lnTo>
                  <a:pt x="505" y="1398"/>
                </a:lnTo>
                <a:lnTo>
                  <a:pt x="510" y="1395"/>
                </a:lnTo>
                <a:lnTo>
                  <a:pt x="511" y="1392"/>
                </a:lnTo>
                <a:lnTo>
                  <a:pt x="511" y="1390"/>
                </a:lnTo>
                <a:lnTo>
                  <a:pt x="505" y="1391"/>
                </a:lnTo>
                <a:lnTo>
                  <a:pt x="501" y="1394"/>
                </a:lnTo>
                <a:lnTo>
                  <a:pt x="505" y="1391"/>
                </a:lnTo>
                <a:lnTo>
                  <a:pt x="511" y="1390"/>
                </a:lnTo>
                <a:lnTo>
                  <a:pt x="512" y="1389"/>
                </a:lnTo>
                <a:lnTo>
                  <a:pt x="515" y="1388"/>
                </a:lnTo>
                <a:lnTo>
                  <a:pt x="515" y="1388"/>
                </a:lnTo>
                <a:lnTo>
                  <a:pt x="522" y="1388"/>
                </a:lnTo>
                <a:lnTo>
                  <a:pt x="529" y="1383"/>
                </a:lnTo>
                <a:lnTo>
                  <a:pt x="539" y="1378"/>
                </a:lnTo>
                <a:lnTo>
                  <a:pt x="549" y="1370"/>
                </a:lnTo>
                <a:lnTo>
                  <a:pt x="550" y="1369"/>
                </a:lnTo>
                <a:lnTo>
                  <a:pt x="550" y="1369"/>
                </a:lnTo>
                <a:lnTo>
                  <a:pt x="551" y="1367"/>
                </a:lnTo>
                <a:lnTo>
                  <a:pt x="552" y="1366"/>
                </a:lnTo>
                <a:lnTo>
                  <a:pt x="551" y="1367"/>
                </a:lnTo>
                <a:lnTo>
                  <a:pt x="550" y="1369"/>
                </a:lnTo>
                <a:lnTo>
                  <a:pt x="553" y="1371"/>
                </a:lnTo>
                <a:lnTo>
                  <a:pt x="551" y="1375"/>
                </a:lnTo>
                <a:lnTo>
                  <a:pt x="549" y="1377"/>
                </a:lnTo>
                <a:lnTo>
                  <a:pt x="546" y="1380"/>
                </a:lnTo>
                <a:lnTo>
                  <a:pt x="532" y="1385"/>
                </a:lnTo>
                <a:lnTo>
                  <a:pt x="519" y="1391"/>
                </a:lnTo>
                <a:close/>
                <a:moveTo>
                  <a:pt x="491" y="1371"/>
                </a:moveTo>
                <a:lnTo>
                  <a:pt x="499" y="1367"/>
                </a:lnTo>
                <a:lnTo>
                  <a:pt x="505" y="1360"/>
                </a:lnTo>
                <a:lnTo>
                  <a:pt x="508" y="1357"/>
                </a:lnTo>
                <a:lnTo>
                  <a:pt x="512" y="1357"/>
                </a:lnTo>
                <a:lnTo>
                  <a:pt x="512" y="1357"/>
                </a:lnTo>
                <a:lnTo>
                  <a:pt x="512" y="1357"/>
                </a:lnTo>
                <a:lnTo>
                  <a:pt x="512" y="1357"/>
                </a:lnTo>
                <a:lnTo>
                  <a:pt x="515" y="1354"/>
                </a:lnTo>
                <a:lnTo>
                  <a:pt x="519" y="1353"/>
                </a:lnTo>
                <a:lnTo>
                  <a:pt x="519" y="1353"/>
                </a:lnTo>
                <a:lnTo>
                  <a:pt x="519" y="1353"/>
                </a:lnTo>
                <a:lnTo>
                  <a:pt x="519" y="1353"/>
                </a:lnTo>
                <a:lnTo>
                  <a:pt x="517" y="1356"/>
                </a:lnTo>
                <a:lnTo>
                  <a:pt x="512" y="1357"/>
                </a:lnTo>
                <a:lnTo>
                  <a:pt x="504" y="1367"/>
                </a:lnTo>
                <a:lnTo>
                  <a:pt x="491" y="1371"/>
                </a:lnTo>
                <a:close/>
                <a:moveTo>
                  <a:pt x="489" y="1362"/>
                </a:moveTo>
                <a:lnTo>
                  <a:pt x="488" y="1359"/>
                </a:lnTo>
                <a:lnTo>
                  <a:pt x="490" y="1357"/>
                </a:lnTo>
                <a:lnTo>
                  <a:pt x="497" y="1354"/>
                </a:lnTo>
                <a:lnTo>
                  <a:pt x="503" y="1353"/>
                </a:lnTo>
                <a:lnTo>
                  <a:pt x="505" y="1349"/>
                </a:lnTo>
                <a:lnTo>
                  <a:pt x="509" y="1348"/>
                </a:lnTo>
                <a:lnTo>
                  <a:pt x="510" y="1346"/>
                </a:lnTo>
                <a:lnTo>
                  <a:pt x="512" y="1346"/>
                </a:lnTo>
                <a:lnTo>
                  <a:pt x="512" y="1346"/>
                </a:lnTo>
                <a:lnTo>
                  <a:pt x="512" y="1346"/>
                </a:lnTo>
                <a:lnTo>
                  <a:pt x="512" y="1346"/>
                </a:lnTo>
                <a:lnTo>
                  <a:pt x="511" y="1348"/>
                </a:lnTo>
                <a:lnTo>
                  <a:pt x="509" y="1348"/>
                </a:lnTo>
                <a:lnTo>
                  <a:pt x="508" y="1352"/>
                </a:lnTo>
                <a:lnTo>
                  <a:pt x="503" y="1353"/>
                </a:lnTo>
                <a:lnTo>
                  <a:pt x="498" y="1357"/>
                </a:lnTo>
                <a:lnTo>
                  <a:pt x="492" y="1361"/>
                </a:lnTo>
                <a:lnTo>
                  <a:pt x="491" y="1362"/>
                </a:lnTo>
                <a:lnTo>
                  <a:pt x="489" y="1362"/>
                </a:lnTo>
                <a:close/>
                <a:moveTo>
                  <a:pt x="520" y="1352"/>
                </a:moveTo>
                <a:lnTo>
                  <a:pt x="519" y="1349"/>
                </a:lnTo>
                <a:lnTo>
                  <a:pt x="517" y="1348"/>
                </a:lnTo>
                <a:lnTo>
                  <a:pt x="519" y="1349"/>
                </a:lnTo>
                <a:lnTo>
                  <a:pt x="520" y="1352"/>
                </a:lnTo>
                <a:close/>
                <a:moveTo>
                  <a:pt x="520" y="1311"/>
                </a:moveTo>
                <a:lnTo>
                  <a:pt x="520" y="1308"/>
                </a:lnTo>
                <a:lnTo>
                  <a:pt x="520" y="1306"/>
                </a:lnTo>
                <a:lnTo>
                  <a:pt x="517" y="1308"/>
                </a:lnTo>
                <a:lnTo>
                  <a:pt x="512" y="1308"/>
                </a:lnTo>
                <a:lnTo>
                  <a:pt x="517" y="1308"/>
                </a:lnTo>
                <a:lnTo>
                  <a:pt x="520" y="1306"/>
                </a:lnTo>
                <a:lnTo>
                  <a:pt x="526" y="1299"/>
                </a:lnTo>
                <a:lnTo>
                  <a:pt x="533" y="1292"/>
                </a:lnTo>
                <a:lnTo>
                  <a:pt x="538" y="1290"/>
                </a:lnTo>
                <a:lnTo>
                  <a:pt x="543" y="1290"/>
                </a:lnTo>
                <a:lnTo>
                  <a:pt x="531" y="1300"/>
                </a:lnTo>
                <a:lnTo>
                  <a:pt x="520" y="1311"/>
                </a:lnTo>
                <a:close/>
                <a:moveTo>
                  <a:pt x="504" y="1192"/>
                </a:moveTo>
                <a:lnTo>
                  <a:pt x="502" y="1193"/>
                </a:lnTo>
                <a:lnTo>
                  <a:pt x="499" y="1193"/>
                </a:lnTo>
                <a:lnTo>
                  <a:pt x="495" y="1193"/>
                </a:lnTo>
                <a:lnTo>
                  <a:pt x="491" y="1193"/>
                </a:lnTo>
                <a:lnTo>
                  <a:pt x="491" y="1191"/>
                </a:lnTo>
                <a:lnTo>
                  <a:pt x="491" y="1188"/>
                </a:lnTo>
                <a:lnTo>
                  <a:pt x="491" y="1187"/>
                </a:lnTo>
                <a:lnTo>
                  <a:pt x="490" y="1187"/>
                </a:lnTo>
                <a:lnTo>
                  <a:pt x="491" y="1187"/>
                </a:lnTo>
                <a:lnTo>
                  <a:pt x="491" y="1188"/>
                </a:lnTo>
                <a:lnTo>
                  <a:pt x="497" y="1187"/>
                </a:lnTo>
                <a:lnTo>
                  <a:pt x="499" y="1180"/>
                </a:lnTo>
                <a:lnTo>
                  <a:pt x="508" y="1184"/>
                </a:lnTo>
                <a:lnTo>
                  <a:pt x="504" y="1192"/>
                </a:lnTo>
                <a:close/>
                <a:moveTo>
                  <a:pt x="481" y="1284"/>
                </a:moveTo>
                <a:lnTo>
                  <a:pt x="485" y="1279"/>
                </a:lnTo>
                <a:lnTo>
                  <a:pt x="490" y="1275"/>
                </a:lnTo>
                <a:lnTo>
                  <a:pt x="485" y="1279"/>
                </a:lnTo>
                <a:lnTo>
                  <a:pt x="481" y="1284"/>
                </a:lnTo>
                <a:close/>
                <a:moveTo>
                  <a:pt x="480" y="1290"/>
                </a:moveTo>
                <a:lnTo>
                  <a:pt x="478" y="1286"/>
                </a:lnTo>
                <a:lnTo>
                  <a:pt x="478" y="1284"/>
                </a:lnTo>
                <a:lnTo>
                  <a:pt x="478" y="1286"/>
                </a:lnTo>
                <a:lnTo>
                  <a:pt x="480" y="1290"/>
                </a:lnTo>
                <a:close/>
                <a:moveTo>
                  <a:pt x="474" y="1230"/>
                </a:moveTo>
                <a:lnTo>
                  <a:pt x="474" y="1231"/>
                </a:lnTo>
                <a:lnTo>
                  <a:pt x="474" y="1233"/>
                </a:lnTo>
                <a:lnTo>
                  <a:pt x="474" y="1231"/>
                </a:lnTo>
                <a:lnTo>
                  <a:pt x="474" y="1230"/>
                </a:lnTo>
                <a:lnTo>
                  <a:pt x="478" y="1227"/>
                </a:lnTo>
                <a:lnTo>
                  <a:pt x="482" y="1222"/>
                </a:lnTo>
                <a:lnTo>
                  <a:pt x="478" y="1227"/>
                </a:lnTo>
                <a:lnTo>
                  <a:pt x="474" y="1230"/>
                </a:lnTo>
                <a:close/>
                <a:moveTo>
                  <a:pt x="451" y="1147"/>
                </a:moveTo>
                <a:lnTo>
                  <a:pt x="453" y="1152"/>
                </a:lnTo>
                <a:lnTo>
                  <a:pt x="454" y="1157"/>
                </a:lnTo>
                <a:lnTo>
                  <a:pt x="453" y="1152"/>
                </a:lnTo>
                <a:lnTo>
                  <a:pt x="451" y="1147"/>
                </a:lnTo>
                <a:close/>
                <a:moveTo>
                  <a:pt x="432" y="1104"/>
                </a:moveTo>
                <a:lnTo>
                  <a:pt x="433" y="1102"/>
                </a:lnTo>
                <a:lnTo>
                  <a:pt x="430" y="1100"/>
                </a:lnTo>
                <a:lnTo>
                  <a:pt x="429" y="1100"/>
                </a:lnTo>
                <a:lnTo>
                  <a:pt x="429" y="1100"/>
                </a:lnTo>
                <a:lnTo>
                  <a:pt x="430" y="1100"/>
                </a:lnTo>
                <a:lnTo>
                  <a:pt x="430" y="1100"/>
                </a:lnTo>
                <a:lnTo>
                  <a:pt x="430" y="1100"/>
                </a:lnTo>
                <a:lnTo>
                  <a:pt x="430" y="1100"/>
                </a:lnTo>
                <a:lnTo>
                  <a:pt x="432" y="1100"/>
                </a:lnTo>
                <a:lnTo>
                  <a:pt x="432" y="1100"/>
                </a:lnTo>
                <a:lnTo>
                  <a:pt x="434" y="1100"/>
                </a:lnTo>
                <a:lnTo>
                  <a:pt x="436" y="1101"/>
                </a:lnTo>
                <a:lnTo>
                  <a:pt x="434" y="1100"/>
                </a:lnTo>
                <a:lnTo>
                  <a:pt x="432" y="1100"/>
                </a:lnTo>
                <a:lnTo>
                  <a:pt x="433" y="1102"/>
                </a:lnTo>
                <a:lnTo>
                  <a:pt x="432" y="1104"/>
                </a:lnTo>
                <a:close/>
                <a:moveTo>
                  <a:pt x="318" y="972"/>
                </a:moveTo>
                <a:lnTo>
                  <a:pt x="318" y="972"/>
                </a:lnTo>
                <a:lnTo>
                  <a:pt x="318" y="971"/>
                </a:lnTo>
                <a:lnTo>
                  <a:pt x="318" y="970"/>
                </a:lnTo>
                <a:lnTo>
                  <a:pt x="319" y="970"/>
                </a:lnTo>
                <a:lnTo>
                  <a:pt x="319" y="971"/>
                </a:lnTo>
                <a:lnTo>
                  <a:pt x="320" y="971"/>
                </a:lnTo>
                <a:lnTo>
                  <a:pt x="319" y="972"/>
                </a:lnTo>
                <a:lnTo>
                  <a:pt x="318" y="972"/>
                </a:lnTo>
                <a:close/>
                <a:moveTo>
                  <a:pt x="289" y="920"/>
                </a:moveTo>
                <a:lnTo>
                  <a:pt x="288" y="916"/>
                </a:lnTo>
                <a:lnTo>
                  <a:pt x="288" y="913"/>
                </a:lnTo>
                <a:lnTo>
                  <a:pt x="292" y="913"/>
                </a:lnTo>
                <a:lnTo>
                  <a:pt x="296" y="915"/>
                </a:lnTo>
                <a:lnTo>
                  <a:pt x="292" y="919"/>
                </a:lnTo>
                <a:lnTo>
                  <a:pt x="289" y="920"/>
                </a:lnTo>
                <a:close/>
                <a:moveTo>
                  <a:pt x="288" y="965"/>
                </a:moveTo>
                <a:lnTo>
                  <a:pt x="288" y="963"/>
                </a:lnTo>
                <a:lnTo>
                  <a:pt x="288" y="962"/>
                </a:lnTo>
                <a:lnTo>
                  <a:pt x="284" y="963"/>
                </a:lnTo>
                <a:lnTo>
                  <a:pt x="284" y="966"/>
                </a:lnTo>
                <a:lnTo>
                  <a:pt x="284" y="970"/>
                </a:lnTo>
                <a:lnTo>
                  <a:pt x="284" y="975"/>
                </a:lnTo>
                <a:lnTo>
                  <a:pt x="278" y="971"/>
                </a:lnTo>
                <a:lnTo>
                  <a:pt x="276" y="968"/>
                </a:lnTo>
                <a:lnTo>
                  <a:pt x="278" y="968"/>
                </a:lnTo>
                <a:lnTo>
                  <a:pt x="282" y="969"/>
                </a:lnTo>
                <a:lnTo>
                  <a:pt x="278" y="964"/>
                </a:lnTo>
                <a:lnTo>
                  <a:pt x="270" y="965"/>
                </a:lnTo>
                <a:lnTo>
                  <a:pt x="270" y="963"/>
                </a:lnTo>
                <a:lnTo>
                  <a:pt x="270" y="962"/>
                </a:lnTo>
                <a:lnTo>
                  <a:pt x="270" y="961"/>
                </a:lnTo>
                <a:lnTo>
                  <a:pt x="270" y="959"/>
                </a:lnTo>
                <a:lnTo>
                  <a:pt x="270" y="958"/>
                </a:lnTo>
                <a:lnTo>
                  <a:pt x="270" y="957"/>
                </a:lnTo>
                <a:lnTo>
                  <a:pt x="273" y="954"/>
                </a:lnTo>
                <a:lnTo>
                  <a:pt x="276" y="956"/>
                </a:lnTo>
                <a:lnTo>
                  <a:pt x="282" y="959"/>
                </a:lnTo>
                <a:lnTo>
                  <a:pt x="288" y="962"/>
                </a:lnTo>
                <a:lnTo>
                  <a:pt x="291" y="963"/>
                </a:lnTo>
                <a:lnTo>
                  <a:pt x="292" y="965"/>
                </a:lnTo>
                <a:lnTo>
                  <a:pt x="290" y="965"/>
                </a:lnTo>
                <a:lnTo>
                  <a:pt x="288" y="965"/>
                </a:lnTo>
                <a:close/>
                <a:moveTo>
                  <a:pt x="208" y="840"/>
                </a:moveTo>
                <a:lnTo>
                  <a:pt x="209" y="840"/>
                </a:lnTo>
                <a:lnTo>
                  <a:pt x="211" y="843"/>
                </a:lnTo>
                <a:lnTo>
                  <a:pt x="208" y="842"/>
                </a:lnTo>
                <a:lnTo>
                  <a:pt x="208" y="840"/>
                </a:lnTo>
                <a:close/>
                <a:moveTo>
                  <a:pt x="185" y="747"/>
                </a:moveTo>
                <a:lnTo>
                  <a:pt x="185" y="744"/>
                </a:lnTo>
                <a:lnTo>
                  <a:pt x="183" y="741"/>
                </a:lnTo>
                <a:lnTo>
                  <a:pt x="185" y="744"/>
                </a:lnTo>
                <a:lnTo>
                  <a:pt x="185" y="747"/>
                </a:lnTo>
                <a:lnTo>
                  <a:pt x="187" y="747"/>
                </a:lnTo>
                <a:lnTo>
                  <a:pt x="188" y="747"/>
                </a:lnTo>
                <a:lnTo>
                  <a:pt x="187" y="747"/>
                </a:lnTo>
                <a:lnTo>
                  <a:pt x="185" y="747"/>
                </a:lnTo>
                <a:close/>
                <a:moveTo>
                  <a:pt x="183" y="709"/>
                </a:moveTo>
                <a:lnTo>
                  <a:pt x="187" y="711"/>
                </a:lnTo>
                <a:lnTo>
                  <a:pt x="192" y="713"/>
                </a:lnTo>
                <a:lnTo>
                  <a:pt x="193" y="716"/>
                </a:lnTo>
                <a:lnTo>
                  <a:pt x="194" y="718"/>
                </a:lnTo>
                <a:lnTo>
                  <a:pt x="186" y="716"/>
                </a:lnTo>
                <a:lnTo>
                  <a:pt x="183" y="709"/>
                </a:lnTo>
                <a:close/>
                <a:moveTo>
                  <a:pt x="187" y="653"/>
                </a:moveTo>
                <a:lnTo>
                  <a:pt x="187" y="654"/>
                </a:lnTo>
                <a:lnTo>
                  <a:pt x="187" y="655"/>
                </a:lnTo>
                <a:lnTo>
                  <a:pt x="190" y="660"/>
                </a:lnTo>
                <a:lnTo>
                  <a:pt x="195" y="657"/>
                </a:lnTo>
                <a:lnTo>
                  <a:pt x="194" y="656"/>
                </a:lnTo>
                <a:lnTo>
                  <a:pt x="194" y="655"/>
                </a:lnTo>
                <a:lnTo>
                  <a:pt x="198" y="655"/>
                </a:lnTo>
                <a:lnTo>
                  <a:pt x="201" y="653"/>
                </a:lnTo>
                <a:lnTo>
                  <a:pt x="198" y="655"/>
                </a:lnTo>
                <a:lnTo>
                  <a:pt x="194" y="655"/>
                </a:lnTo>
                <a:lnTo>
                  <a:pt x="194" y="656"/>
                </a:lnTo>
                <a:lnTo>
                  <a:pt x="195" y="657"/>
                </a:lnTo>
                <a:lnTo>
                  <a:pt x="206" y="658"/>
                </a:lnTo>
                <a:lnTo>
                  <a:pt x="216" y="662"/>
                </a:lnTo>
                <a:lnTo>
                  <a:pt x="204" y="661"/>
                </a:lnTo>
                <a:lnTo>
                  <a:pt x="191" y="665"/>
                </a:lnTo>
                <a:lnTo>
                  <a:pt x="194" y="665"/>
                </a:lnTo>
                <a:lnTo>
                  <a:pt x="198" y="665"/>
                </a:lnTo>
                <a:lnTo>
                  <a:pt x="200" y="665"/>
                </a:lnTo>
                <a:lnTo>
                  <a:pt x="202" y="667"/>
                </a:lnTo>
                <a:lnTo>
                  <a:pt x="200" y="665"/>
                </a:lnTo>
                <a:lnTo>
                  <a:pt x="198" y="665"/>
                </a:lnTo>
                <a:lnTo>
                  <a:pt x="194" y="665"/>
                </a:lnTo>
                <a:lnTo>
                  <a:pt x="191" y="665"/>
                </a:lnTo>
                <a:lnTo>
                  <a:pt x="187" y="667"/>
                </a:lnTo>
                <a:lnTo>
                  <a:pt x="183" y="665"/>
                </a:lnTo>
                <a:lnTo>
                  <a:pt x="181" y="664"/>
                </a:lnTo>
                <a:lnTo>
                  <a:pt x="181" y="662"/>
                </a:lnTo>
                <a:lnTo>
                  <a:pt x="185" y="658"/>
                </a:lnTo>
                <a:lnTo>
                  <a:pt x="187" y="653"/>
                </a:lnTo>
                <a:close/>
                <a:moveTo>
                  <a:pt x="174" y="615"/>
                </a:moveTo>
                <a:lnTo>
                  <a:pt x="175" y="615"/>
                </a:lnTo>
                <a:lnTo>
                  <a:pt x="178" y="615"/>
                </a:lnTo>
                <a:lnTo>
                  <a:pt x="178" y="614"/>
                </a:lnTo>
                <a:lnTo>
                  <a:pt x="177" y="613"/>
                </a:lnTo>
                <a:lnTo>
                  <a:pt x="178" y="613"/>
                </a:lnTo>
                <a:lnTo>
                  <a:pt x="179" y="613"/>
                </a:lnTo>
                <a:lnTo>
                  <a:pt x="178" y="613"/>
                </a:lnTo>
                <a:lnTo>
                  <a:pt x="177" y="613"/>
                </a:lnTo>
                <a:lnTo>
                  <a:pt x="178" y="614"/>
                </a:lnTo>
                <a:lnTo>
                  <a:pt x="178" y="615"/>
                </a:lnTo>
                <a:lnTo>
                  <a:pt x="179" y="616"/>
                </a:lnTo>
                <a:lnTo>
                  <a:pt x="180" y="616"/>
                </a:lnTo>
                <a:lnTo>
                  <a:pt x="179" y="616"/>
                </a:lnTo>
                <a:lnTo>
                  <a:pt x="178" y="615"/>
                </a:lnTo>
                <a:lnTo>
                  <a:pt x="175" y="615"/>
                </a:lnTo>
                <a:lnTo>
                  <a:pt x="174" y="615"/>
                </a:lnTo>
                <a:close/>
                <a:moveTo>
                  <a:pt x="171" y="595"/>
                </a:moveTo>
                <a:lnTo>
                  <a:pt x="173" y="595"/>
                </a:lnTo>
                <a:lnTo>
                  <a:pt x="174" y="595"/>
                </a:lnTo>
                <a:lnTo>
                  <a:pt x="174" y="595"/>
                </a:lnTo>
                <a:lnTo>
                  <a:pt x="173" y="595"/>
                </a:lnTo>
                <a:lnTo>
                  <a:pt x="174" y="595"/>
                </a:lnTo>
                <a:lnTo>
                  <a:pt x="174" y="595"/>
                </a:lnTo>
                <a:lnTo>
                  <a:pt x="174" y="595"/>
                </a:lnTo>
                <a:lnTo>
                  <a:pt x="174" y="595"/>
                </a:lnTo>
                <a:lnTo>
                  <a:pt x="174" y="595"/>
                </a:lnTo>
                <a:lnTo>
                  <a:pt x="173" y="595"/>
                </a:lnTo>
                <a:lnTo>
                  <a:pt x="171" y="595"/>
                </a:lnTo>
                <a:close/>
                <a:moveTo>
                  <a:pt x="168" y="634"/>
                </a:moveTo>
                <a:lnTo>
                  <a:pt x="171" y="635"/>
                </a:lnTo>
                <a:lnTo>
                  <a:pt x="173" y="636"/>
                </a:lnTo>
                <a:lnTo>
                  <a:pt x="171" y="635"/>
                </a:lnTo>
                <a:lnTo>
                  <a:pt x="168" y="634"/>
                </a:lnTo>
                <a:close/>
                <a:moveTo>
                  <a:pt x="157" y="692"/>
                </a:moveTo>
                <a:lnTo>
                  <a:pt x="157" y="692"/>
                </a:lnTo>
                <a:lnTo>
                  <a:pt x="163" y="695"/>
                </a:lnTo>
                <a:lnTo>
                  <a:pt x="168" y="698"/>
                </a:lnTo>
                <a:lnTo>
                  <a:pt x="163" y="695"/>
                </a:lnTo>
                <a:lnTo>
                  <a:pt x="157" y="692"/>
                </a:lnTo>
                <a:close/>
                <a:moveTo>
                  <a:pt x="153" y="675"/>
                </a:moveTo>
                <a:lnTo>
                  <a:pt x="157" y="676"/>
                </a:lnTo>
                <a:lnTo>
                  <a:pt x="160" y="678"/>
                </a:lnTo>
                <a:lnTo>
                  <a:pt x="157" y="676"/>
                </a:lnTo>
                <a:lnTo>
                  <a:pt x="153" y="675"/>
                </a:lnTo>
                <a:close/>
                <a:moveTo>
                  <a:pt x="165" y="636"/>
                </a:moveTo>
                <a:lnTo>
                  <a:pt x="165" y="636"/>
                </a:lnTo>
                <a:lnTo>
                  <a:pt x="165" y="637"/>
                </a:lnTo>
                <a:lnTo>
                  <a:pt x="165" y="636"/>
                </a:lnTo>
                <a:lnTo>
                  <a:pt x="165" y="636"/>
                </a:lnTo>
                <a:lnTo>
                  <a:pt x="161" y="636"/>
                </a:lnTo>
                <a:lnTo>
                  <a:pt x="158" y="635"/>
                </a:lnTo>
                <a:lnTo>
                  <a:pt x="161" y="636"/>
                </a:lnTo>
                <a:lnTo>
                  <a:pt x="165" y="636"/>
                </a:lnTo>
                <a:close/>
                <a:moveTo>
                  <a:pt x="190" y="615"/>
                </a:moveTo>
                <a:lnTo>
                  <a:pt x="193" y="615"/>
                </a:lnTo>
                <a:lnTo>
                  <a:pt x="198" y="616"/>
                </a:lnTo>
                <a:lnTo>
                  <a:pt x="193" y="615"/>
                </a:lnTo>
                <a:lnTo>
                  <a:pt x="190" y="615"/>
                </a:lnTo>
                <a:lnTo>
                  <a:pt x="185" y="616"/>
                </a:lnTo>
                <a:lnTo>
                  <a:pt x="181" y="615"/>
                </a:lnTo>
                <a:lnTo>
                  <a:pt x="185" y="616"/>
                </a:lnTo>
                <a:lnTo>
                  <a:pt x="190" y="615"/>
                </a:lnTo>
                <a:close/>
                <a:moveTo>
                  <a:pt x="218" y="509"/>
                </a:moveTo>
                <a:lnTo>
                  <a:pt x="216" y="507"/>
                </a:lnTo>
                <a:lnTo>
                  <a:pt x="216" y="504"/>
                </a:lnTo>
                <a:lnTo>
                  <a:pt x="216" y="507"/>
                </a:lnTo>
                <a:lnTo>
                  <a:pt x="218" y="509"/>
                </a:lnTo>
                <a:close/>
                <a:moveTo>
                  <a:pt x="218" y="482"/>
                </a:moveTo>
                <a:lnTo>
                  <a:pt x="219" y="483"/>
                </a:lnTo>
                <a:lnTo>
                  <a:pt x="221" y="486"/>
                </a:lnTo>
                <a:lnTo>
                  <a:pt x="219" y="483"/>
                </a:lnTo>
                <a:lnTo>
                  <a:pt x="218" y="482"/>
                </a:lnTo>
                <a:close/>
                <a:moveTo>
                  <a:pt x="220" y="717"/>
                </a:moveTo>
                <a:lnTo>
                  <a:pt x="218" y="717"/>
                </a:lnTo>
                <a:lnTo>
                  <a:pt x="218" y="716"/>
                </a:lnTo>
                <a:lnTo>
                  <a:pt x="219" y="714"/>
                </a:lnTo>
                <a:lnTo>
                  <a:pt x="220" y="713"/>
                </a:lnTo>
                <a:lnTo>
                  <a:pt x="228" y="717"/>
                </a:lnTo>
                <a:lnTo>
                  <a:pt x="236" y="718"/>
                </a:lnTo>
                <a:lnTo>
                  <a:pt x="239" y="718"/>
                </a:lnTo>
                <a:lnTo>
                  <a:pt x="240" y="720"/>
                </a:lnTo>
                <a:lnTo>
                  <a:pt x="239" y="721"/>
                </a:lnTo>
                <a:lnTo>
                  <a:pt x="236" y="721"/>
                </a:lnTo>
                <a:lnTo>
                  <a:pt x="228" y="720"/>
                </a:lnTo>
                <a:lnTo>
                  <a:pt x="220" y="717"/>
                </a:lnTo>
                <a:close/>
                <a:moveTo>
                  <a:pt x="198" y="769"/>
                </a:moveTo>
                <a:lnTo>
                  <a:pt x="199" y="769"/>
                </a:lnTo>
                <a:lnTo>
                  <a:pt x="199" y="772"/>
                </a:lnTo>
                <a:lnTo>
                  <a:pt x="209" y="773"/>
                </a:lnTo>
                <a:lnTo>
                  <a:pt x="219" y="777"/>
                </a:lnTo>
                <a:lnTo>
                  <a:pt x="220" y="779"/>
                </a:lnTo>
                <a:lnTo>
                  <a:pt x="220" y="780"/>
                </a:lnTo>
                <a:lnTo>
                  <a:pt x="219" y="781"/>
                </a:lnTo>
                <a:lnTo>
                  <a:pt x="218" y="781"/>
                </a:lnTo>
                <a:lnTo>
                  <a:pt x="208" y="776"/>
                </a:lnTo>
                <a:lnTo>
                  <a:pt x="199" y="772"/>
                </a:lnTo>
                <a:lnTo>
                  <a:pt x="198" y="770"/>
                </a:lnTo>
                <a:lnTo>
                  <a:pt x="198" y="769"/>
                </a:lnTo>
                <a:lnTo>
                  <a:pt x="198" y="769"/>
                </a:lnTo>
                <a:lnTo>
                  <a:pt x="198" y="769"/>
                </a:lnTo>
                <a:close/>
                <a:moveTo>
                  <a:pt x="194" y="718"/>
                </a:moveTo>
                <a:lnTo>
                  <a:pt x="198" y="718"/>
                </a:lnTo>
                <a:lnTo>
                  <a:pt x="200" y="721"/>
                </a:lnTo>
                <a:lnTo>
                  <a:pt x="195" y="721"/>
                </a:lnTo>
                <a:lnTo>
                  <a:pt x="194" y="718"/>
                </a:lnTo>
                <a:close/>
                <a:moveTo>
                  <a:pt x="246" y="557"/>
                </a:moveTo>
                <a:lnTo>
                  <a:pt x="249" y="558"/>
                </a:lnTo>
                <a:lnTo>
                  <a:pt x="250" y="562"/>
                </a:lnTo>
                <a:lnTo>
                  <a:pt x="249" y="558"/>
                </a:lnTo>
                <a:lnTo>
                  <a:pt x="246" y="557"/>
                </a:lnTo>
                <a:lnTo>
                  <a:pt x="244" y="555"/>
                </a:lnTo>
                <a:lnTo>
                  <a:pt x="241" y="553"/>
                </a:lnTo>
                <a:lnTo>
                  <a:pt x="244" y="555"/>
                </a:lnTo>
                <a:lnTo>
                  <a:pt x="246" y="557"/>
                </a:lnTo>
                <a:close/>
                <a:moveTo>
                  <a:pt x="254" y="459"/>
                </a:moveTo>
                <a:lnTo>
                  <a:pt x="254" y="462"/>
                </a:lnTo>
                <a:lnTo>
                  <a:pt x="256" y="464"/>
                </a:lnTo>
                <a:lnTo>
                  <a:pt x="254" y="462"/>
                </a:lnTo>
                <a:lnTo>
                  <a:pt x="254" y="459"/>
                </a:lnTo>
                <a:lnTo>
                  <a:pt x="253" y="459"/>
                </a:lnTo>
                <a:lnTo>
                  <a:pt x="250" y="459"/>
                </a:lnTo>
                <a:lnTo>
                  <a:pt x="253" y="459"/>
                </a:lnTo>
                <a:lnTo>
                  <a:pt x="254" y="459"/>
                </a:lnTo>
                <a:close/>
                <a:moveTo>
                  <a:pt x="249" y="532"/>
                </a:moveTo>
                <a:lnTo>
                  <a:pt x="250" y="534"/>
                </a:lnTo>
                <a:lnTo>
                  <a:pt x="252" y="534"/>
                </a:lnTo>
                <a:lnTo>
                  <a:pt x="252" y="534"/>
                </a:lnTo>
                <a:lnTo>
                  <a:pt x="252" y="535"/>
                </a:lnTo>
                <a:lnTo>
                  <a:pt x="252" y="534"/>
                </a:lnTo>
                <a:lnTo>
                  <a:pt x="252" y="534"/>
                </a:lnTo>
                <a:lnTo>
                  <a:pt x="250" y="534"/>
                </a:lnTo>
                <a:lnTo>
                  <a:pt x="249" y="532"/>
                </a:lnTo>
                <a:close/>
                <a:moveTo>
                  <a:pt x="261" y="528"/>
                </a:moveTo>
                <a:lnTo>
                  <a:pt x="257" y="529"/>
                </a:lnTo>
                <a:lnTo>
                  <a:pt x="256" y="531"/>
                </a:lnTo>
                <a:lnTo>
                  <a:pt x="254" y="531"/>
                </a:lnTo>
                <a:lnTo>
                  <a:pt x="252" y="531"/>
                </a:lnTo>
                <a:lnTo>
                  <a:pt x="254" y="531"/>
                </a:lnTo>
                <a:lnTo>
                  <a:pt x="256" y="531"/>
                </a:lnTo>
                <a:lnTo>
                  <a:pt x="257" y="529"/>
                </a:lnTo>
                <a:lnTo>
                  <a:pt x="261" y="528"/>
                </a:lnTo>
                <a:close/>
                <a:moveTo>
                  <a:pt x="262" y="676"/>
                </a:moveTo>
                <a:lnTo>
                  <a:pt x="264" y="677"/>
                </a:lnTo>
                <a:lnTo>
                  <a:pt x="266" y="681"/>
                </a:lnTo>
                <a:lnTo>
                  <a:pt x="262" y="678"/>
                </a:lnTo>
                <a:lnTo>
                  <a:pt x="261" y="677"/>
                </a:lnTo>
                <a:lnTo>
                  <a:pt x="261" y="676"/>
                </a:lnTo>
                <a:lnTo>
                  <a:pt x="262" y="676"/>
                </a:lnTo>
                <a:close/>
                <a:moveTo>
                  <a:pt x="257" y="613"/>
                </a:moveTo>
                <a:lnTo>
                  <a:pt x="256" y="614"/>
                </a:lnTo>
                <a:lnTo>
                  <a:pt x="255" y="615"/>
                </a:lnTo>
                <a:lnTo>
                  <a:pt x="256" y="614"/>
                </a:lnTo>
                <a:lnTo>
                  <a:pt x="257" y="613"/>
                </a:lnTo>
                <a:close/>
                <a:moveTo>
                  <a:pt x="256" y="636"/>
                </a:moveTo>
                <a:lnTo>
                  <a:pt x="255" y="633"/>
                </a:lnTo>
                <a:lnTo>
                  <a:pt x="255" y="629"/>
                </a:lnTo>
                <a:lnTo>
                  <a:pt x="255" y="629"/>
                </a:lnTo>
                <a:lnTo>
                  <a:pt x="255" y="625"/>
                </a:lnTo>
                <a:lnTo>
                  <a:pt x="255" y="621"/>
                </a:lnTo>
                <a:lnTo>
                  <a:pt x="256" y="620"/>
                </a:lnTo>
                <a:lnTo>
                  <a:pt x="257" y="619"/>
                </a:lnTo>
                <a:lnTo>
                  <a:pt x="260" y="618"/>
                </a:lnTo>
                <a:lnTo>
                  <a:pt x="262" y="618"/>
                </a:lnTo>
                <a:lnTo>
                  <a:pt x="262" y="619"/>
                </a:lnTo>
                <a:lnTo>
                  <a:pt x="262" y="621"/>
                </a:lnTo>
                <a:lnTo>
                  <a:pt x="261" y="625"/>
                </a:lnTo>
                <a:lnTo>
                  <a:pt x="261" y="627"/>
                </a:lnTo>
                <a:lnTo>
                  <a:pt x="263" y="627"/>
                </a:lnTo>
                <a:lnTo>
                  <a:pt x="266" y="627"/>
                </a:lnTo>
                <a:lnTo>
                  <a:pt x="263" y="627"/>
                </a:lnTo>
                <a:lnTo>
                  <a:pt x="261" y="627"/>
                </a:lnTo>
                <a:lnTo>
                  <a:pt x="259" y="629"/>
                </a:lnTo>
                <a:lnTo>
                  <a:pt x="261" y="632"/>
                </a:lnTo>
                <a:lnTo>
                  <a:pt x="259" y="635"/>
                </a:lnTo>
                <a:lnTo>
                  <a:pt x="256" y="636"/>
                </a:lnTo>
                <a:close/>
                <a:moveTo>
                  <a:pt x="267" y="489"/>
                </a:moveTo>
                <a:lnTo>
                  <a:pt x="264" y="489"/>
                </a:lnTo>
                <a:lnTo>
                  <a:pt x="261" y="489"/>
                </a:lnTo>
                <a:lnTo>
                  <a:pt x="264" y="489"/>
                </a:lnTo>
                <a:lnTo>
                  <a:pt x="267" y="489"/>
                </a:lnTo>
                <a:close/>
                <a:moveTo>
                  <a:pt x="271" y="535"/>
                </a:moveTo>
                <a:lnTo>
                  <a:pt x="271" y="537"/>
                </a:lnTo>
                <a:lnTo>
                  <a:pt x="271" y="538"/>
                </a:lnTo>
                <a:lnTo>
                  <a:pt x="271" y="537"/>
                </a:lnTo>
                <a:lnTo>
                  <a:pt x="271" y="535"/>
                </a:lnTo>
                <a:lnTo>
                  <a:pt x="269" y="535"/>
                </a:lnTo>
                <a:lnTo>
                  <a:pt x="267" y="534"/>
                </a:lnTo>
                <a:lnTo>
                  <a:pt x="269" y="535"/>
                </a:lnTo>
                <a:lnTo>
                  <a:pt x="271" y="535"/>
                </a:lnTo>
                <a:close/>
                <a:moveTo>
                  <a:pt x="273" y="601"/>
                </a:moveTo>
                <a:lnTo>
                  <a:pt x="275" y="599"/>
                </a:lnTo>
                <a:lnTo>
                  <a:pt x="276" y="597"/>
                </a:lnTo>
                <a:lnTo>
                  <a:pt x="275" y="599"/>
                </a:lnTo>
                <a:lnTo>
                  <a:pt x="273" y="601"/>
                </a:lnTo>
                <a:lnTo>
                  <a:pt x="271" y="604"/>
                </a:lnTo>
                <a:lnTo>
                  <a:pt x="269" y="604"/>
                </a:lnTo>
                <a:lnTo>
                  <a:pt x="271" y="604"/>
                </a:lnTo>
                <a:lnTo>
                  <a:pt x="273" y="601"/>
                </a:lnTo>
                <a:close/>
                <a:moveTo>
                  <a:pt x="277" y="527"/>
                </a:moveTo>
                <a:lnTo>
                  <a:pt x="275" y="528"/>
                </a:lnTo>
                <a:lnTo>
                  <a:pt x="274" y="528"/>
                </a:lnTo>
                <a:lnTo>
                  <a:pt x="275" y="528"/>
                </a:lnTo>
                <a:lnTo>
                  <a:pt x="277" y="527"/>
                </a:lnTo>
                <a:close/>
                <a:moveTo>
                  <a:pt x="280" y="432"/>
                </a:moveTo>
                <a:lnTo>
                  <a:pt x="281" y="432"/>
                </a:lnTo>
                <a:lnTo>
                  <a:pt x="281" y="431"/>
                </a:lnTo>
                <a:lnTo>
                  <a:pt x="281" y="432"/>
                </a:lnTo>
                <a:lnTo>
                  <a:pt x="280" y="432"/>
                </a:lnTo>
                <a:lnTo>
                  <a:pt x="278" y="432"/>
                </a:lnTo>
                <a:lnTo>
                  <a:pt x="277" y="432"/>
                </a:lnTo>
                <a:lnTo>
                  <a:pt x="278" y="432"/>
                </a:lnTo>
                <a:lnTo>
                  <a:pt x="280" y="432"/>
                </a:lnTo>
                <a:close/>
                <a:moveTo>
                  <a:pt x="278" y="398"/>
                </a:moveTo>
                <a:lnTo>
                  <a:pt x="278" y="399"/>
                </a:lnTo>
                <a:lnTo>
                  <a:pt x="277" y="401"/>
                </a:lnTo>
                <a:lnTo>
                  <a:pt x="278" y="399"/>
                </a:lnTo>
                <a:lnTo>
                  <a:pt x="278" y="398"/>
                </a:lnTo>
                <a:close/>
                <a:moveTo>
                  <a:pt x="281" y="436"/>
                </a:moveTo>
                <a:lnTo>
                  <a:pt x="282" y="438"/>
                </a:lnTo>
                <a:lnTo>
                  <a:pt x="284" y="439"/>
                </a:lnTo>
                <a:lnTo>
                  <a:pt x="282" y="438"/>
                </a:lnTo>
                <a:lnTo>
                  <a:pt x="281" y="436"/>
                </a:lnTo>
                <a:close/>
                <a:moveTo>
                  <a:pt x="288" y="497"/>
                </a:moveTo>
                <a:lnTo>
                  <a:pt x="288" y="499"/>
                </a:lnTo>
                <a:lnTo>
                  <a:pt x="289" y="500"/>
                </a:lnTo>
                <a:lnTo>
                  <a:pt x="288" y="499"/>
                </a:lnTo>
                <a:lnTo>
                  <a:pt x="288" y="497"/>
                </a:lnTo>
                <a:lnTo>
                  <a:pt x="290" y="497"/>
                </a:lnTo>
                <a:lnTo>
                  <a:pt x="292" y="497"/>
                </a:lnTo>
                <a:lnTo>
                  <a:pt x="290" y="497"/>
                </a:lnTo>
                <a:lnTo>
                  <a:pt x="288" y="497"/>
                </a:lnTo>
                <a:close/>
                <a:moveTo>
                  <a:pt x="280" y="595"/>
                </a:moveTo>
                <a:lnTo>
                  <a:pt x="280" y="598"/>
                </a:lnTo>
                <a:lnTo>
                  <a:pt x="280" y="600"/>
                </a:lnTo>
                <a:lnTo>
                  <a:pt x="280" y="598"/>
                </a:lnTo>
                <a:lnTo>
                  <a:pt x="280" y="595"/>
                </a:lnTo>
                <a:lnTo>
                  <a:pt x="278" y="595"/>
                </a:lnTo>
                <a:lnTo>
                  <a:pt x="277" y="595"/>
                </a:lnTo>
                <a:lnTo>
                  <a:pt x="278" y="595"/>
                </a:lnTo>
                <a:lnTo>
                  <a:pt x="280" y="595"/>
                </a:lnTo>
                <a:close/>
                <a:moveTo>
                  <a:pt x="288" y="600"/>
                </a:moveTo>
                <a:lnTo>
                  <a:pt x="290" y="600"/>
                </a:lnTo>
                <a:lnTo>
                  <a:pt x="292" y="601"/>
                </a:lnTo>
                <a:lnTo>
                  <a:pt x="290" y="600"/>
                </a:lnTo>
                <a:lnTo>
                  <a:pt x="288" y="600"/>
                </a:lnTo>
                <a:lnTo>
                  <a:pt x="288" y="599"/>
                </a:lnTo>
                <a:lnTo>
                  <a:pt x="288" y="599"/>
                </a:lnTo>
                <a:lnTo>
                  <a:pt x="288" y="599"/>
                </a:lnTo>
                <a:lnTo>
                  <a:pt x="288" y="600"/>
                </a:lnTo>
                <a:close/>
                <a:moveTo>
                  <a:pt x="280" y="572"/>
                </a:moveTo>
                <a:lnTo>
                  <a:pt x="280" y="572"/>
                </a:lnTo>
                <a:lnTo>
                  <a:pt x="280" y="572"/>
                </a:lnTo>
                <a:lnTo>
                  <a:pt x="280" y="572"/>
                </a:lnTo>
                <a:lnTo>
                  <a:pt x="280" y="572"/>
                </a:lnTo>
                <a:lnTo>
                  <a:pt x="284" y="573"/>
                </a:lnTo>
                <a:lnTo>
                  <a:pt x="289" y="576"/>
                </a:lnTo>
                <a:lnTo>
                  <a:pt x="284" y="573"/>
                </a:lnTo>
                <a:lnTo>
                  <a:pt x="280" y="572"/>
                </a:lnTo>
                <a:close/>
                <a:moveTo>
                  <a:pt x="287" y="634"/>
                </a:moveTo>
                <a:lnTo>
                  <a:pt x="285" y="637"/>
                </a:lnTo>
                <a:lnTo>
                  <a:pt x="284" y="641"/>
                </a:lnTo>
                <a:lnTo>
                  <a:pt x="284" y="643"/>
                </a:lnTo>
                <a:lnTo>
                  <a:pt x="284" y="642"/>
                </a:lnTo>
                <a:lnTo>
                  <a:pt x="284" y="641"/>
                </a:lnTo>
                <a:lnTo>
                  <a:pt x="285" y="637"/>
                </a:lnTo>
                <a:lnTo>
                  <a:pt x="287" y="634"/>
                </a:lnTo>
                <a:close/>
                <a:moveTo>
                  <a:pt x="288" y="565"/>
                </a:moveTo>
                <a:lnTo>
                  <a:pt x="284" y="563"/>
                </a:lnTo>
                <a:lnTo>
                  <a:pt x="280" y="562"/>
                </a:lnTo>
                <a:lnTo>
                  <a:pt x="280" y="564"/>
                </a:lnTo>
                <a:lnTo>
                  <a:pt x="278" y="565"/>
                </a:lnTo>
                <a:lnTo>
                  <a:pt x="280" y="564"/>
                </a:lnTo>
                <a:lnTo>
                  <a:pt x="280" y="562"/>
                </a:lnTo>
                <a:lnTo>
                  <a:pt x="284" y="563"/>
                </a:lnTo>
                <a:lnTo>
                  <a:pt x="288" y="565"/>
                </a:lnTo>
                <a:close/>
                <a:moveTo>
                  <a:pt x="287" y="670"/>
                </a:moveTo>
                <a:lnTo>
                  <a:pt x="282" y="672"/>
                </a:lnTo>
                <a:lnTo>
                  <a:pt x="280" y="670"/>
                </a:lnTo>
                <a:lnTo>
                  <a:pt x="283" y="669"/>
                </a:lnTo>
                <a:lnTo>
                  <a:pt x="287" y="670"/>
                </a:lnTo>
                <a:close/>
                <a:moveTo>
                  <a:pt x="292" y="642"/>
                </a:moveTo>
                <a:lnTo>
                  <a:pt x="290" y="649"/>
                </a:lnTo>
                <a:lnTo>
                  <a:pt x="285" y="653"/>
                </a:lnTo>
                <a:lnTo>
                  <a:pt x="284" y="658"/>
                </a:lnTo>
                <a:lnTo>
                  <a:pt x="282" y="662"/>
                </a:lnTo>
                <a:lnTo>
                  <a:pt x="280" y="665"/>
                </a:lnTo>
                <a:lnTo>
                  <a:pt x="280" y="670"/>
                </a:lnTo>
                <a:lnTo>
                  <a:pt x="278" y="670"/>
                </a:lnTo>
                <a:lnTo>
                  <a:pt x="276" y="669"/>
                </a:lnTo>
                <a:lnTo>
                  <a:pt x="278" y="665"/>
                </a:lnTo>
                <a:lnTo>
                  <a:pt x="280" y="661"/>
                </a:lnTo>
                <a:lnTo>
                  <a:pt x="280" y="656"/>
                </a:lnTo>
                <a:lnTo>
                  <a:pt x="283" y="655"/>
                </a:lnTo>
                <a:lnTo>
                  <a:pt x="284" y="654"/>
                </a:lnTo>
                <a:lnTo>
                  <a:pt x="285" y="653"/>
                </a:lnTo>
                <a:lnTo>
                  <a:pt x="287" y="648"/>
                </a:lnTo>
                <a:lnTo>
                  <a:pt x="288" y="643"/>
                </a:lnTo>
                <a:lnTo>
                  <a:pt x="290" y="643"/>
                </a:lnTo>
                <a:lnTo>
                  <a:pt x="292" y="642"/>
                </a:lnTo>
                <a:lnTo>
                  <a:pt x="294" y="639"/>
                </a:lnTo>
                <a:lnTo>
                  <a:pt x="294" y="635"/>
                </a:lnTo>
                <a:lnTo>
                  <a:pt x="294" y="639"/>
                </a:lnTo>
                <a:lnTo>
                  <a:pt x="292" y="642"/>
                </a:lnTo>
                <a:close/>
                <a:moveTo>
                  <a:pt x="302" y="497"/>
                </a:moveTo>
                <a:lnTo>
                  <a:pt x="299" y="497"/>
                </a:lnTo>
                <a:lnTo>
                  <a:pt x="297" y="500"/>
                </a:lnTo>
                <a:lnTo>
                  <a:pt x="295" y="501"/>
                </a:lnTo>
                <a:lnTo>
                  <a:pt x="292" y="502"/>
                </a:lnTo>
                <a:lnTo>
                  <a:pt x="295" y="501"/>
                </a:lnTo>
                <a:lnTo>
                  <a:pt x="297" y="500"/>
                </a:lnTo>
                <a:lnTo>
                  <a:pt x="299" y="497"/>
                </a:lnTo>
                <a:lnTo>
                  <a:pt x="302" y="497"/>
                </a:lnTo>
                <a:close/>
                <a:moveTo>
                  <a:pt x="306" y="683"/>
                </a:moveTo>
                <a:lnTo>
                  <a:pt x="311" y="683"/>
                </a:lnTo>
                <a:lnTo>
                  <a:pt x="316" y="683"/>
                </a:lnTo>
                <a:lnTo>
                  <a:pt x="316" y="685"/>
                </a:lnTo>
                <a:lnTo>
                  <a:pt x="316" y="689"/>
                </a:lnTo>
                <a:lnTo>
                  <a:pt x="312" y="688"/>
                </a:lnTo>
                <a:lnTo>
                  <a:pt x="308" y="686"/>
                </a:lnTo>
                <a:lnTo>
                  <a:pt x="306" y="686"/>
                </a:lnTo>
                <a:lnTo>
                  <a:pt x="305" y="685"/>
                </a:lnTo>
                <a:lnTo>
                  <a:pt x="306" y="684"/>
                </a:lnTo>
                <a:lnTo>
                  <a:pt x="306" y="683"/>
                </a:lnTo>
                <a:close/>
                <a:moveTo>
                  <a:pt x="310" y="628"/>
                </a:moveTo>
                <a:lnTo>
                  <a:pt x="308" y="626"/>
                </a:lnTo>
                <a:lnTo>
                  <a:pt x="308" y="622"/>
                </a:lnTo>
                <a:lnTo>
                  <a:pt x="308" y="626"/>
                </a:lnTo>
                <a:lnTo>
                  <a:pt x="310" y="628"/>
                </a:lnTo>
                <a:lnTo>
                  <a:pt x="310" y="630"/>
                </a:lnTo>
                <a:lnTo>
                  <a:pt x="310" y="632"/>
                </a:lnTo>
                <a:lnTo>
                  <a:pt x="310" y="630"/>
                </a:lnTo>
                <a:lnTo>
                  <a:pt x="310" y="628"/>
                </a:lnTo>
                <a:close/>
                <a:moveTo>
                  <a:pt x="310" y="616"/>
                </a:moveTo>
                <a:lnTo>
                  <a:pt x="310" y="616"/>
                </a:lnTo>
                <a:lnTo>
                  <a:pt x="311" y="616"/>
                </a:lnTo>
                <a:lnTo>
                  <a:pt x="310" y="616"/>
                </a:lnTo>
                <a:lnTo>
                  <a:pt x="310" y="616"/>
                </a:lnTo>
                <a:lnTo>
                  <a:pt x="308" y="615"/>
                </a:lnTo>
                <a:lnTo>
                  <a:pt x="306" y="615"/>
                </a:lnTo>
                <a:lnTo>
                  <a:pt x="308" y="615"/>
                </a:lnTo>
                <a:lnTo>
                  <a:pt x="310" y="616"/>
                </a:lnTo>
                <a:close/>
                <a:moveTo>
                  <a:pt x="311" y="558"/>
                </a:moveTo>
                <a:lnTo>
                  <a:pt x="310" y="556"/>
                </a:lnTo>
                <a:lnTo>
                  <a:pt x="309" y="553"/>
                </a:lnTo>
                <a:lnTo>
                  <a:pt x="310" y="556"/>
                </a:lnTo>
                <a:lnTo>
                  <a:pt x="311" y="558"/>
                </a:lnTo>
                <a:close/>
                <a:moveTo>
                  <a:pt x="309" y="459"/>
                </a:moveTo>
                <a:lnTo>
                  <a:pt x="309" y="461"/>
                </a:lnTo>
                <a:lnTo>
                  <a:pt x="309" y="462"/>
                </a:lnTo>
                <a:lnTo>
                  <a:pt x="309" y="461"/>
                </a:lnTo>
                <a:lnTo>
                  <a:pt x="309" y="459"/>
                </a:lnTo>
                <a:close/>
                <a:moveTo>
                  <a:pt x="316" y="586"/>
                </a:moveTo>
                <a:lnTo>
                  <a:pt x="316" y="586"/>
                </a:lnTo>
                <a:lnTo>
                  <a:pt x="316" y="587"/>
                </a:lnTo>
                <a:lnTo>
                  <a:pt x="316" y="586"/>
                </a:lnTo>
                <a:lnTo>
                  <a:pt x="316" y="586"/>
                </a:lnTo>
                <a:lnTo>
                  <a:pt x="312" y="586"/>
                </a:lnTo>
                <a:lnTo>
                  <a:pt x="310" y="585"/>
                </a:lnTo>
                <a:lnTo>
                  <a:pt x="312" y="586"/>
                </a:lnTo>
                <a:lnTo>
                  <a:pt x="316" y="586"/>
                </a:lnTo>
                <a:close/>
                <a:moveTo>
                  <a:pt x="324" y="683"/>
                </a:moveTo>
                <a:lnTo>
                  <a:pt x="325" y="684"/>
                </a:lnTo>
                <a:lnTo>
                  <a:pt x="325" y="685"/>
                </a:lnTo>
                <a:lnTo>
                  <a:pt x="325" y="686"/>
                </a:lnTo>
                <a:lnTo>
                  <a:pt x="323" y="686"/>
                </a:lnTo>
                <a:lnTo>
                  <a:pt x="322" y="685"/>
                </a:lnTo>
                <a:lnTo>
                  <a:pt x="322" y="684"/>
                </a:lnTo>
                <a:lnTo>
                  <a:pt x="323" y="683"/>
                </a:lnTo>
                <a:lnTo>
                  <a:pt x="324" y="683"/>
                </a:lnTo>
                <a:close/>
                <a:moveTo>
                  <a:pt x="331" y="571"/>
                </a:moveTo>
                <a:lnTo>
                  <a:pt x="333" y="573"/>
                </a:lnTo>
                <a:lnTo>
                  <a:pt x="335" y="576"/>
                </a:lnTo>
                <a:lnTo>
                  <a:pt x="330" y="579"/>
                </a:lnTo>
                <a:lnTo>
                  <a:pt x="326" y="580"/>
                </a:lnTo>
                <a:lnTo>
                  <a:pt x="330" y="579"/>
                </a:lnTo>
                <a:lnTo>
                  <a:pt x="335" y="576"/>
                </a:lnTo>
                <a:lnTo>
                  <a:pt x="333" y="573"/>
                </a:lnTo>
                <a:lnTo>
                  <a:pt x="331" y="571"/>
                </a:lnTo>
                <a:lnTo>
                  <a:pt x="326" y="576"/>
                </a:lnTo>
                <a:lnTo>
                  <a:pt x="322" y="574"/>
                </a:lnTo>
                <a:lnTo>
                  <a:pt x="326" y="576"/>
                </a:lnTo>
                <a:lnTo>
                  <a:pt x="331" y="571"/>
                </a:lnTo>
                <a:close/>
                <a:moveTo>
                  <a:pt x="329" y="506"/>
                </a:moveTo>
                <a:lnTo>
                  <a:pt x="331" y="506"/>
                </a:lnTo>
                <a:lnTo>
                  <a:pt x="333" y="506"/>
                </a:lnTo>
                <a:lnTo>
                  <a:pt x="333" y="508"/>
                </a:lnTo>
                <a:lnTo>
                  <a:pt x="333" y="509"/>
                </a:lnTo>
                <a:lnTo>
                  <a:pt x="333" y="508"/>
                </a:lnTo>
                <a:lnTo>
                  <a:pt x="333" y="506"/>
                </a:lnTo>
                <a:lnTo>
                  <a:pt x="331" y="506"/>
                </a:lnTo>
                <a:lnTo>
                  <a:pt x="329" y="506"/>
                </a:lnTo>
                <a:lnTo>
                  <a:pt x="329" y="507"/>
                </a:lnTo>
                <a:lnTo>
                  <a:pt x="328" y="507"/>
                </a:lnTo>
                <a:lnTo>
                  <a:pt x="329" y="507"/>
                </a:lnTo>
                <a:lnTo>
                  <a:pt x="329" y="506"/>
                </a:lnTo>
                <a:close/>
                <a:moveTo>
                  <a:pt x="335" y="398"/>
                </a:moveTo>
                <a:lnTo>
                  <a:pt x="336" y="399"/>
                </a:lnTo>
                <a:lnTo>
                  <a:pt x="336" y="399"/>
                </a:lnTo>
                <a:lnTo>
                  <a:pt x="336" y="399"/>
                </a:lnTo>
                <a:lnTo>
                  <a:pt x="335" y="398"/>
                </a:lnTo>
                <a:lnTo>
                  <a:pt x="333" y="395"/>
                </a:lnTo>
                <a:lnTo>
                  <a:pt x="331" y="391"/>
                </a:lnTo>
                <a:lnTo>
                  <a:pt x="333" y="395"/>
                </a:lnTo>
                <a:lnTo>
                  <a:pt x="335" y="398"/>
                </a:lnTo>
                <a:close/>
                <a:moveTo>
                  <a:pt x="333" y="501"/>
                </a:moveTo>
                <a:lnTo>
                  <a:pt x="335" y="502"/>
                </a:lnTo>
                <a:lnTo>
                  <a:pt x="337" y="503"/>
                </a:lnTo>
                <a:lnTo>
                  <a:pt x="335" y="502"/>
                </a:lnTo>
                <a:lnTo>
                  <a:pt x="333" y="501"/>
                </a:lnTo>
                <a:close/>
                <a:moveTo>
                  <a:pt x="342" y="520"/>
                </a:moveTo>
                <a:lnTo>
                  <a:pt x="340" y="517"/>
                </a:lnTo>
                <a:lnTo>
                  <a:pt x="338" y="515"/>
                </a:lnTo>
                <a:lnTo>
                  <a:pt x="340" y="517"/>
                </a:lnTo>
                <a:lnTo>
                  <a:pt x="342" y="520"/>
                </a:lnTo>
                <a:close/>
                <a:moveTo>
                  <a:pt x="342" y="525"/>
                </a:moveTo>
                <a:lnTo>
                  <a:pt x="340" y="524"/>
                </a:lnTo>
                <a:lnTo>
                  <a:pt x="339" y="524"/>
                </a:lnTo>
                <a:lnTo>
                  <a:pt x="340" y="524"/>
                </a:lnTo>
                <a:lnTo>
                  <a:pt x="342" y="525"/>
                </a:lnTo>
                <a:lnTo>
                  <a:pt x="342" y="529"/>
                </a:lnTo>
                <a:lnTo>
                  <a:pt x="340" y="531"/>
                </a:lnTo>
                <a:lnTo>
                  <a:pt x="342" y="529"/>
                </a:lnTo>
                <a:lnTo>
                  <a:pt x="342" y="525"/>
                </a:lnTo>
                <a:close/>
                <a:moveTo>
                  <a:pt x="343" y="681"/>
                </a:moveTo>
                <a:lnTo>
                  <a:pt x="338" y="685"/>
                </a:lnTo>
                <a:lnTo>
                  <a:pt x="331" y="685"/>
                </a:lnTo>
                <a:lnTo>
                  <a:pt x="337" y="682"/>
                </a:lnTo>
                <a:lnTo>
                  <a:pt x="343" y="681"/>
                </a:lnTo>
                <a:close/>
                <a:moveTo>
                  <a:pt x="326" y="593"/>
                </a:moveTo>
                <a:lnTo>
                  <a:pt x="329" y="594"/>
                </a:lnTo>
                <a:lnTo>
                  <a:pt x="332" y="594"/>
                </a:lnTo>
                <a:lnTo>
                  <a:pt x="332" y="595"/>
                </a:lnTo>
                <a:lnTo>
                  <a:pt x="333" y="595"/>
                </a:lnTo>
                <a:lnTo>
                  <a:pt x="333" y="597"/>
                </a:lnTo>
                <a:lnTo>
                  <a:pt x="333" y="598"/>
                </a:lnTo>
                <a:lnTo>
                  <a:pt x="333" y="597"/>
                </a:lnTo>
                <a:lnTo>
                  <a:pt x="333" y="595"/>
                </a:lnTo>
                <a:lnTo>
                  <a:pt x="332" y="595"/>
                </a:lnTo>
                <a:lnTo>
                  <a:pt x="332" y="594"/>
                </a:lnTo>
                <a:lnTo>
                  <a:pt x="329" y="594"/>
                </a:lnTo>
                <a:lnTo>
                  <a:pt x="326" y="593"/>
                </a:lnTo>
                <a:close/>
                <a:moveTo>
                  <a:pt x="343" y="522"/>
                </a:moveTo>
                <a:lnTo>
                  <a:pt x="345" y="523"/>
                </a:lnTo>
                <a:lnTo>
                  <a:pt x="344" y="523"/>
                </a:lnTo>
                <a:lnTo>
                  <a:pt x="343" y="522"/>
                </a:lnTo>
                <a:lnTo>
                  <a:pt x="343" y="522"/>
                </a:lnTo>
                <a:lnTo>
                  <a:pt x="343" y="521"/>
                </a:lnTo>
                <a:lnTo>
                  <a:pt x="343" y="522"/>
                </a:lnTo>
                <a:lnTo>
                  <a:pt x="343" y="522"/>
                </a:lnTo>
                <a:close/>
                <a:moveTo>
                  <a:pt x="346" y="615"/>
                </a:moveTo>
                <a:lnTo>
                  <a:pt x="347" y="614"/>
                </a:lnTo>
                <a:lnTo>
                  <a:pt x="347" y="613"/>
                </a:lnTo>
                <a:lnTo>
                  <a:pt x="345" y="611"/>
                </a:lnTo>
                <a:lnTo>
                  <a:pt x="344" y="611"/>
                </a:lnTo>
                <a:lnTo>
                  <a:pt x="345" y="611"/>
                </a:lnTo>
                <a:lnTo>
                  <a:pt x="347" y="613"/>
                </a:lnTo>
                <a:lnTo>
                  <a:pt x="347" y="614"/>
                </a:lnTo>
                <a:lnTo>
                  <a:pt x="346" y="615"/>
                </a:lnTo>
                <a:close/>
                <a:moveTo>
                  <a:pt x="347" y="394"/>
                </a:moveTo>
                <a:lnTo>
                  <a:pt x="350" y="394"/>
                </a:lnTo>
                <a:lnTo>
                  <a:pt x="353" y="394"/>
                </a:lnTo>
                <a:lnTo>
                  <a:pt x="358" y="399"/>
                </a:lnTo>
                <a:lnTo>
                  <a:pt x="361" y="405"/>
                </a:lnTo>
                <a:lnTo>
                  <a:pt x="358" y="399"/>
                </a:lnTo>
                <a:lnTo>
                  <a:pt x="353" y="394"/>
                </a:lnTo>
                <a:lnTo>
                  <a:pt x="350" y="394"/>
                </a:lnTo>
                <a:lnTo>
                  <a:pt x="347" y="394"/>
                </a:lnTo>
                <a:lnTo>
                  <a:pt x="347" y="394"/>
                </a:lnTo>
                <a:lnTo>
                  <a:pt x="347" y="395"/>
                </a:lnTo>
                <a:lnTo>
                  <a:pt x="347" y="394"/>
                </a:lnTo>
                <a:lnTo>
                  <a:pt x="347" y="394"/>
                </a:lnTo>
                <a:close/>
                <a:moveTo>
                  <a:pt x="358" y="363"/>
                </a:moveTo>
                <a:lnTo>
                  <a:pt x="357" y="362"/>
                </a:lnTo>
                <a:lnTo>
                  <a:pt x="354" y="362"/>
                </a:lnTo>
                <a:lnTo>
                  <a:pt x="357" y="362"/>
                </a:lnTo>
                <a:lnTo>
                  <a:pt x="358" y="363"/>
                </a:lnTo>
                <a:close/>
                <a:moveTo>
                  <a:pt x="373" y="518"/>
                </a:moveTo>
                <a:lnTo>
                  <a:pt x="377" y="518"/>
                </a:lnTo>
                <a:lnTo>
                  <a:pt x="379" y="520"/>
                </a:lnTo>
                <a:lnTo>
                  <a:pt x="377" y="518"/>
                </a:lnTo>
                <a:lnTo>
                  <a:pt x="373" y="518"/>
                </a:lnTo>
                <a:lnTo>
                  <a:pt x="372" y="517"/>
                </a:lnTo>
                <a:lnTo>
                  <a:pt x="372" y="516"/>
                </a:lnTo>
                <a:lnTo>
                  <a:pt x="372" y="517"/>
                </a:lnTo>
                <a:lnTo>
                  <a:pt x="373" y="518"/>
                </a:lnTo>
                <a:close/>
                <a:moveTo>
                  <a:pt x="381" y="529"/>
                </a:moveTo>
                <a:lnTo>
                  <a:pt x="380" y="528"/>
                </a:lnTo>
                <a:lnTo>
                  <a:pt x="379" y="527"/>
                </a:lnTo>
                <a:lnTo>
                  <a:pt x="379" y="527"/>
                </a:lnTo>
                <a:lnTo>
                  <a:pt x="378" y="525"/>
                </a:lnTo>
                <a:lnTo>
                  <a:pt x="379" y="527"/>
                </a:lnTo>
                <a:lnTo>
                  <a:pt x="379" y="527"/>
                </a:lnTo>
                <a:lnTo>
                  <a:pt x="380" y="528"/>
                </a:lnTo>
                <a:lnTo>
                  <a:pt x="381" y="529"/>
                </a:lnTo>
                <a:close/>
                <a:moveTo>
                  <a:pt x="419" y="705"/>
                </a:moveTo>
                <a:lnTo>
                  <a:pt x="422" y="705"/>
                </a:lnTo>
                <a:lnTo>
                  <a:pt x="425" y="707"/>
                </a:lnTo>
                <a:lnTo>
                  <a:pt x="422" y="705"/>
                </a:lnTo>
                <a:lnTo>
                  <a:pt x="419" y="705"/>
                </a:lnTo>
                <a:close/>
                <a:moveTo>
                  <a:pt x="432" y="713"/>
                </a:moveTo>
                <a:lnTo>
                  <a:pt x="429" y="713"/>
                </a:lnTo>
                <a:lnTo>
                  <a:pt x="427" y="713"/>
                </a:lnTo>
                <a:lnTo>
                  <a:pt x="429" y="713"/>
                </a:lnTo>
                <a:lnTo>
                  <a:pt x="432" y="713"/>
                </a:lnTo>
                <a:close/>
                <a:moveTo>
                  <a:pt x="450" y="767"/>
                </a:moveTo>
                <a:lnTo>
                  <a:pt x="449" y="768"/>
                </a:lnTo>
                <a:lnTo>
                  <a:pt x="448" y="770"/>
                </a:lnTo>
                <a:lnTo>
                  <a:pt x="447" y="773"/>
                </a:lnTo>
                <a:lnTo>
                  <a:pt x="446" y="775"/>
                </a:lnTo>
                <a:lnTo>
                  <a:pt x="447" y="773"/>
                </a:lnTo>
                <a:lnTo>
                  <a:pt x="448" y="770"/>
                </a:lnTo>
                <a:lnTo>
                  <a:pt x="443" y="767"/>
                </a:lnTo>
                <a:lnTo>
                  <a:pt x="439" y="765"/>
                </a:lnTo>
                <a:lnTo>
                  <a:pt x="434" y="762"/>
                </a:lnTo>
                <a:lnTo>
                  <a:pt x="432" y="759"/>
                </a:lnTo>
                <a:lnTo>
                  <a:pt x="430" y="756"/>
                </a:lnTo>
                <a:lnTo>
                  <a:pt x="427" y="754"/>
                </a:lnTo>
                <a:lnTo>
                  <a:pt x="425" y="754"/>
                </a:lnTo>
                <a:lnTo>
                  <a:pt x="423" y="752"/>
                </a:lnTo>
                <a:lnTo>
                  <a:pt x="426" y="752"/>
                </a:lnTo>
                <a:lnTo>
                  <a:pt x="427" y="754"/>
                </a:lnTo>
                <a:lnTo>
                  <a:pt x="437" y="756"/>
                </a:lnTo>
                <a:lnTo>
                  <a:pt x="444" y="763"/>
                </a:lnTo>
                <a:lnTo>
                  <a:pt x="447" y="766"/>
                </a:lnTo>
                <a:lnTo>
                  <a:pt x="450" y="767"/>
                </a:lnTo>
                <a:close/>
                <a:moveTo>
                  <a:pt x="512" y="378"/>
                </a:moveTo>
                <a:lnTo>
                  <a:pt x="512" y="381"/>
                </a:lnTo>
                <a:lnTo>
                  <a:pt x="511" y="382"/>
                </a:lnTo>
                <a:lnTo>
                  <a:pt x="512" y="381"/>
                </a:lnTo>
                <a:lnTo>
                  <a:pt x="512" y="378"/>
                </a:lnTo>
                <a:close/>
                <a:moveTo>
                  <a:pt x="572" y="623"/>
                </a:moveTo>
                <a:lnTo>
                  <a:pt x="572" y="620"/>
                </a:lnTo>
                <a:lnTo>
                  <a:pt x="574" y="618"/>
                </a:lnTo>
                <a:lnTo>
                  <a:pt x="574" y="621"/>
                </a:lnTo>
                <a:lnTo>
                  <a:pt x="572" y="623"/>
                </a:lnTo>
                <a:close/>
                <a:moveTo>
                  <a:pt x="572" y="733"/>
                </a:moveTo>
                <a:lnTo>
                  <a:pt x="572" y="730"/>
                </a:lnTo>
                <a:lnTo>
                  <a:pt x="574" y="726"/>
                </a:lnTo>
                <a:lnTo>
                  <a:pt x="574" y="730"/>
                </a:lnTo>
                <a:lnTo>
                  <a:pt x="572" y="733"/>
                </a:lnTo>
                <a:close/>
                <a:moveTo>
                  <a:pt x="582" y="706"/>
                </a:moveTo>
                <a:lnTo>
                  <a:pt x="581" y="714"/>
                </a:lnTo>
                <a:lnTo>
                  <a:pt x="577" y="724"/>
                </a:lnTo>
                <a:lnTo>
                  <a:pt x="577" y="717"/>
                </a:lnTo>
                <a:lnTo>
                  <a:pt x="582" y="706"/>
                </a:lnTo>
                <a:close/>
                <a:moveTo>
                  <a:pt x="579" y="737"/>
                </a:moveTo>
                <a:lnTo>
                  <a:pt x="578" y="745"/>
                </a:lnTo>
                <a:lnTo>
                  <a:pt x="574" y="752"/>
                </a:lnTo>
                <a:lnTo>
                  <a:pt x="574" y="745"/>
                </a:lnTo>
                <a:lnTo>
                  <a:pt x="579" y="737"/>
                </a:lnTo>
                <a:close/>
                <a:moveTo>
                  <a:pt x="575" y="614"/>
                </a:moveTo>
                <a:lnTo>
                  <a:pt x="577" y="608"/>
                </a:lnTo>
                <a:lnTo>
                  <a:pt x="579" y="604"/>
                </a:lnTo>
                <a:lnTo>
                  <a:pt x="580" y="609"/>
                </a:lnTo>
                <a:lnTo>
                  <a:pt x="575" y="614"/>
                </a:lnTo>
                <a:close/>
                <a:moveTo>
                  <a:pt x="565" y="591"/>
                </a:moveTo>
                <a:lnTo>
                  <a:pt x="567" y="591"/>
                </a:lnTo>
                <a:lnTo>
                  <a:pt x="571" y="590"/>
                </a:lnTo>
                <a:lnTo>
                  <a:pt x="571" y="588"/>
                </a:lnTo>
                <a:lnTo>
                  <a:pt x="571" y="586"/>
                </a:lnTo>
                <a:lnTo>
                  <a:pt x="567" y="585"/>
                </a:lnTo>
                <a:lnTo>
                  <a:pt x="567" y="583"/>
                </a:lnTo>
                <a:lnTo>
                  <a:pt x="571" y="580"/>
                </a:lnTo>
                <a:lnTo>
                  <a:pt x="575" y="580"/>
                </a:lnTo>
                <a:lnTo>
                  <a:pt x="578" y="583"/>
                </a:lnTo>
                <a:lnTo>
                  <a:pt x="577" y="586"/>
                </a:lnTo>
                <a:lnTo>
                  <a:pt x="574" y="588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2" y="594"/>
                </a:lnTo>
                <a:lnTo>
                  <a:pt x="571" y="598"/>
                </a:lnTo>
                <a:lnTo>
                  <a:pt x="571" y="598"/>
                </a:lnTo>
                <a:lnTo>
                  <a:pt x="571" y="599"/>
                </a:lnTo>
                <a:lnTo>
                  <a:pt x="571" y="599"/>
                </a:lnTo>
                <a:lnTo>
                  <a:pt x="571" y="599"/>
                </a:lnTo>
                <a:lnTo>
                  <a:pt x="571" y="599"/>
                </a:lnTo>
                <a:lnTo>
                  <a:pt x="571" y="599"/>
                </a:lnTo>
                <a:lnTo>
                  <a:pt x="579" y="594"/>
                </a:lnTo>
                <a:lnTo>
                  <a:pt x="584" y="587"/>
                </a:lnTo>
                <a:lnTo>
                  <a:pt x="588" y="586"/>
                </a:lnTo>
                <a:lnTo>
                  <a:pt x="592" y="587"/>
                </a:lnTo>
                <a:lnTo>
                  <a:pt x="591" y="591"/>
                </a:lnTo>
                <a:lnTo>
                  <a:pt x="587" y="593"/>
                </a:lnTo>
                <a:lnTo>
                  <a:pt x="584" y="599"/>
                </a:lnTo>
                <a:lnTo>
                  <a:pt x="579" y="604"/>
                </a:lnTo>
                <a:lnTo>
                  <a:pt x="579" y="601"/>
                </a:lnTo>
                <a:lnTo>
                  <a:pt x="579" y="600"/>
                </a:lnTo>
                <a:lnTo>
                  <a:pt x="577" y="600"/>
                </a:lnTo>
                <a:lnTo>
                  <a:pt x="575" y="602"/>
                </a:lnTo>
                <a:lnTo>
                  <a:pt x="571" y="607"/>
                </a:lnTo>
                <a:lnTo>
                  <a:pt x="566" y="612"/>
                </a:lnTo>
                <a:lnTo>
                  <a:pt x="564" y="604"/>
                </a:lnTo>
                <a:lnTo>
                  <a:pt x="560" y="597"/>
                </a:lnTo>
                <a:lnTo>
                  <a:pt x="560" y="594"/>
                </a:lnTo>
                <a:lnTo>
                  <a:pt x="565" y="591"/>
                </a:lnTo>
                <a:close/>
                <a:moveTo>
                  <a:pt x="570" y="377"/>
                </a:moveTo>
                <a:lnTo>
                  <a:pt x="568" y="377"/>
                </a:lnTo>
                <a:lnTo>
                  <a:pt x="567" y="380"/>
                </a:lnTo>
                <a:lnTo>
                  <a:pt x="568" y="377"/>
                </a:lnTo>
                <a:lnTo>
                  <a:pt x="570" y="377"/>
                </a:lnTo>
                <a:close/>
                <a:moveTo>
                  <a:pt x="594" y="510"/>
                </a:moveTo>
                <a:lnTo>
                  <a:pt x="593" y="513"/>
                </a:lnTo>
                <a:lnTo>
                  <a:pt x="592" y="515"/>
                </a:lnTo>
                <a:lnTo>
                  <a:pt x="593" y="513"/>
                </a:lnTo>
                <a:lnTo>
                  <a:pt x="594" y="510"/>
                </a:lnTo>
                <a:lnTo>
                  <a:pt x="594" y="510"/>
                </a:lnTo>
                <a:close/>
                <a:moveTo>
                  <a:pt x="579" y="360"/>
                </a:moveTo>
                <a:lnTo>
                  <a:pt x="588" y="359"/>
                </a:lnTo>
                <a:lnTo>
                  <a:pt x="598" y="361"/>
                </a:lnTo>
                <a:lnTo>
                  <a:pt x="588" y="359"/>
                </a:lnTo>
                <a:lnTo>
                  <a:pt x="579" y="360"/>
                </a:lnTo>
                <a:lnTo>
                  <a:pt x="575" y="357"/>
                </a:lnTo>
                <a:lnTo>
                  <a:pt x="572" y="356"/>
                </a:lnTo>
                <a:lnTo>
                  <a:pt x="575" y="357"/>
                </a:lnTo>
                <a:lnTo>
                  <a:pt x="579" y="360"/>
                </a:lnTo>
                <a:close/>
                <a:moveTo>
                  <a:pt x="596" y="507"/>
                </a:moveTo>
                <a:lnTo>
                  <a:pt x="598" y="507"/>
                </a:lnTo>
                <a:lnTo>
                  <a:pt x="599" y="506"/>
                </a:lnTo>
                <a:lnTo>
                  <a:pt x="598" y="507"/>
                </a:lnTo>
                <a:lnTo>
                  <a:pt x="596" y="507"/>
                </a:lnTo>
                <a:close/>
                <a:moveTo>
                  <a:pt x="603" y="490"/>
                </a:moveTo>
                <a:lnTo>
                  <a:pt x="603" y="488"/>
                </a:lnTo>
                <a:lnTo>
                  <a:pt x="605" y="486"/>
                </a:lnTo>
                <a:lnTo>
                  <a:pt x="603" y="488"/>
                </a:lnTo>
                <a:lnTo>
                  <a:pt x="603" y="490"/>
                </a:lnTo>
                <a:lnTo>
                  <a:pt x="601" y="490"/>
                </a:lnTo>
                <a:lnTo>
                  <a:pt x="601" y="492"/>
                </a:lnTo>
                <a:lnTo>
                  <a:pt x="601" y="490"/>
                </a:lnTo>
                <a:lnTo>
                  <a:pt x="603" y="490"/>
                </a:lnTo>
                <a:close/>
                <a:moveTo>
                  <a:pt x="616" y="514"/>
                </a:moveTo>
                <a:lnTo>
                  <a:pt x="614" y="516"/>
                </a:lnTo>
                <a:lnTo>
                  <a:pt x="612" y="518"/>
                </a:lnTo>
                <a:lnTo>
                  <a:pt x="614" y="516"/>
                </a:lnTo>
                <a:lnTo>
                  <a:pt x="616" y="514"/>
                </a:lnTo>
                <a:close/>
                <a:moveTo>
                  <a:pt x="621" y="291"/>
                </a:moveTo>
                <a:lnTo>
                  <a:pt x="619" y="292"/>
                </a:lnTo>
                <a:lnTo>
                  <a:pt x="615" y="292"/>
                </a:lnTo>
                <a:lnTo>
                  <a:pt x="619" y="292"/>
                </a:lnTo>
                <a:lnTo>
                  <a:pt x="621" y="291"/>
                </a:lnTo>
                <a:close/>
                <a:moveTo>
                  <a:pt x="625" y="551"/>
                </a:moveTo>
                <a:lnTo>
                  <a:pt x="625" y="551"/>
                </a:lnTo>
                <a:lnTo>
                  <a:pt x="625" y="550"/>
                </a:lnTo>
                <a:lnTo>
                  <a:pt x="623" y="548"/>
                </a:lnTo>
                <a:lnTo>
                  <a:pt x="623" y="546"/>
                </a:lnTo>
                <a:lnTo>
                  <a:pt x="623" y="548"/>
                </a:lnTo>
                <a:lnTo>
                  <a:pt x="625" y="550"/>
                </a:lnTo>
                <a:lnTo>
                  <a:pt x="625" y="551"/>
                </a:lnTo>
                <a:lnTo>
                  <a:pt x="625" y="551"/>
                </a:lnTo>
                <a:lnTo>
                  <a:pt x="620" y="552"/>
                </a:lnTo>
                <a:lnTo>
                  <a:pt x="615" y="552"/>
                </a:lnTo>
                <a:lnTo>
                  <a:pt x="620" y="552"/>
                </a:lnTo>
                <a:lnTo>
                  <a:pt x="625" y="551"/>
                </a:lnTo>
                <a:close/>
                <a:moveTo>
                  <a:pt x="643" y="581"/>
                </a:moveTo>
                <a:lnTo>
                  <a:pt x="643" y="579"/>
                </a:lnTo>
                <a:lnTo>
                  <a:pt x="646" y="578"/>
                </a:lnTo>
                <a:lnTo>
                  <a:pt x="643" y="579"/>
                </a:lnTo>
                <a:lnTo>
                  <a:pt x="643" y="581"/>
                </a:lnTo>
                <a:lnTo>
                  <a:pt x="633" y="586"/>
                </a:lnTo>
                <a:lnTo>
                  <a:pt x="627" y="593"/>
                </a:lnTo>
                <a:lnTo>
                  <a:pt x="633" y="586"/>
                </a:lnTo>
                <a:lnTo>
                  <a:pt x="643" y="581"/>
                </a:lnTo>
                <a:close/>
                <a:moveTo>
                  <a:pt x="643" y="320"/>
                </a:moveTo>
                <a:lnTo>
                  <a:pt x="642" y="323"/>
                </a:lnTo>
                <a:lnTo>
                  <a:pt x="641" y="325"/>
                </a:lnTo>
                <a:lnTo>
                  <a:pt x="642" y="323"/>
                </a:lnTo>
                <a:lnTo>
                  <a:pt x="643" y="320"/>
                </a:lnTo>
                <a:close/>
                <a:moveTo>
                  <a:pt x="651" y="560"/>
                </a:moveTo>
                <a:lnTo>
                  <a:pt x="654" y="556"/>
                </a:lnTo>
                <a:lnTo>
                  <a:pt x="657" y="552"/>
                </a:lnTo>
                <a:lnTo>
                  <a:pt x="654" y="556"/>
                </a:lnTo>
                <a:lnTo>
                  <a:pt x="651" y="560"/>
                </a:lnTo>
                <a:lnTo>
                  <a:pt x="648" y="560"/>
                </a:lnTo>
                <a:lnTo>
                  <a:pt x="646" y="560"/>
                </a:lnTo>
                <a:lnTo>
                  <a:pt x="648" y="560"/>
                </a:lnTo>
                <a:lnTo>
                  <a:pt x="651" y="560"/>
                </a:lnTo>
                <a:close/>
                <a:moveTo>
                  <a:pt x="660" y="539"/>
                </a:moveTo>
                <a:lnTo>
                  <a:pt x="663" y="537"/>
                </a:lnTo>
                <a:lnTo>
                  <a:pt x="667" y="534"/>
                </a:lnTo>
                <a:lnTo>
                  <a:pt x="663" y="537"/>
                </a:lnTo>
                <a:lnTo>
                  <a:pt x="660" y="539"/>
                </a:lnTo>
                <a:close/>
                <a:moveTo>
                  <a:pt x="664" y="552"/>
                </a:moveTo>
                <a:lnTo>
                  <a:pt x="664" y="552"/>
                </a:lnTo>
                <a:lnTo>
                  <a:pt x="664" y="552"/>
                </a:lnTo>
                <a:lnTo>
                  <a:pt x="664" y="552"/>
                </a:lnTo>
                <a:lnTo>
                  <a:pt x="667" y="551"/>
                </a:lnTo>
                <a:lnTo>
                  <a:pt x="669" y="550"/>
                </a:lnTo>
                <a:lnTo>
                  <a:pt x="667" y="551"/>
                </a:lnTo>
                <a:lnTo>
                  <a:pt x="664" y="552"/>
                </a:lnTo>
                <a:close/>
                <a:moveTo>
                  <a:pt x="685" y="288"/>
                </a:move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1" y="290"/>
                </a:lnTo>
                <a:lnTo>
                  <a:pt x="677" y="291"/>
                </a:lnTo>
                <a:lnTo>
                  <a:pt x="681" y="290"/>
                </a:lnTo>
                <a:lnTo>
                  <a:pt x="685" y="288"/>
                </a:lnTo>
                <a:close/>
                <a:moveTo>
                  <a:pt x="692" y="556"/>
                </a:moveTo>
                <a:lnTo>
                  <a:pt x="689" y="559"/>
                </a:lnTo>
                <a:lnTo>
                  <a:pt x="685" y="560"/>
                </a:lnTo>
                <a:lnTo>
                  <a:pt x="684" y="562"/>
                </a:lnTo>
                <a:lnTo>
                  <a:pt x="682" y="562"/>
                </a:lnTo>
                <a:lnTo>
                  <a:pt x="684" y="562"/>
                </a:lnTo>
                <a:lnTo>
                  <a:pt x="685" y="560"/>
                </a:lnTo>
                <a:lnTo>
                  <a:pt x="689" y="559"/>
                </a:lnTo>
                <a:lnTo>
                  <a:pt x="692" y="556"/>
                </a:lnTo>
                <a:close/>
                <a:moveTo>
                  <a:pt x="711" y="549"/>
                </a:moveTo>
                <a:lnTo>
                  <a:pt x="712" y="551"/>
                </a:lnTo>
                <a:lnTo>
                  <a:pt x="712" y="552"/>
                </a:lnTo>
                <a:lnTo>
                  <a:pt x="712" y="551"/>
                </a:lnTo>
                <a:lnTo>
                  <a:pt x="711" y="549"/>
                </a:lnTo>
                <a:close/>
                <a:moveTo>
                  <a:pt x="717" y="520"/>
                </a:moveTo>
                <a:lnTo>
                  <a:pt x="712" y="523"/>
                </a:lnTo>
                <a:lnTo>
                  <a:pt x="710" y="528"/>
                </a:lnTo>
                <a:lnTo>
                  <a:pt x="710" y="528"/>
                </a:lnTo>
                <a:lnTo>
                  <a:pt x="712" y="523"/>
                </a:lnTo>
                <a:lnTo>
                  <a:pt x="717" y="520"/>
                </a:lnTo>
                <a:close/>
                <a:moveTo>
                  <a:pt x="727" y="329"/>
                </a:moveTo>
                <a:lnTo>
                  <a:pt x="725" y="329"/>
                </a:lnTo>
                <a:lnTo>
                  <a:pt x="724" y="328"/>
                </a:lnTo>
                <a:lnTo>
                  <a:pt x="725" y="329"/>
                </a:lnTo>
                <a:lnTo>
                  <a:pt x="727" y="329"/>
                </a:lnTo>
                <a:close/>
                <a:moveTo>
                  <a:pt x="729" y="481"/>
                </a:moveTo>
                <a:lnTo>
                  <a:pt x="727" y="483"/>
                </a:lnTo>
                <a:lnTo>
                  <a:pt x="727" y="486"/>
                </a:lnTo>
                <a:lnTo>
                  <a:pt x="730" y="486"/>
                </a:lnTo>
                <a:lnTo>
                  <a:pt x="732" y="486"/>
                </a:lnTo>
                <a:lnTo>
                  <a:pt x="730" y="486"/>
                </a:lnTo>
                <a:lnTo>
                  <a:pt x="727" y="486"/>
                </a:lnTo>
                <a:lnTo>
                  <a:pt x="727" y="483"/>
                </a:lnTo>
                <a:lnTo>
                  <a:pt x="729" y="481"/>
                </a:lnTo>
                <a:close/>
                <a:moveTo>
                  <a:pt x="739" y="473"/>
                </a:moveTo>
                <a:lnTo>
                  <a:pt x="736" y="473"/>
                </a:lnTo>
                <a:lnTo>
                  <a:pt x="733" y="473"/>
                </a:lnTo>
                <a:lnTo>
                  <a:pt x="736" y="473"/>
                </a:lnTo>
                <a:lnTo>
                  <a:pt x="739" y="473"/>
                </a:lnTo>
                <a:close/>
                <a:moveTo>
                  <a:pt x="724" y="546"/>
                </a:moveTo>
                <a:lnTo>
                  <a:pt x="722" y="546"/>
                </a:lnTo>
                <a:lnTo>
                  <a:pt x="719" y="545"/>
                </a:lnTo>
                <a:lnTo>
                  <a:pt x="718" y="548"/>
                </a:lnTo>
                <a:lnTo>
                  <a:pt x="716" y="549"/>
                </a:lnTo>
                <a:lnTo>
                  <a:pt x="718" y="548"/>
                </a:lnTo>
                <a:lnTo>
                  <a:pt x="719" y="545"/>
                </a:lnTo>
                <a:lnTo>
                  <a:pt x="722" y="546"/>
                </a:lnTo>
                <a:lnTo>
                  <a:pt x="724" y="546"/>
                </a:lnTo>
                <a:close/>
                <a:moveTo>
                  <a:pt x="744" y="574"/>
                </a:move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3"/>
                </a:lnTo>
                <a:lnTo>
                  <a:pt x="744" y="573"/>
                </a:lnTo>
                <a:lnTo>
                  <a:pt x="745" y="573"/>
                </a:lnTo>
                <a:lnTo>
                  <a:pt x="745" y="574"/>
                </a:lnTo>
                <a:lnTo>
                  <a:pt x="745" y="574"/>
                </a:lnTo>
                <a:lnTo>
                  <a:pt x="744" y="574"/>
                </a:lnTo>
                <a:lnTo>
                  <a:pt x="744" y="576"/>
                </a:lnTo>
                <a:lnTo>
                  <a:pt x="744" y="577"/>
                </a:lnTo>
                <a:lnTo>
                  <a:pt x="744" y="577"/>
                </a:lnTo>
                <a:lnTo>
                  <a:pt x="738" y="580"/>
                </a:lnTo>
                <a:lnTo>
                  <a:pt x="734" y="584"/>
                </a:lnTo>
                <a:lnTo>
                  <a:pt x="731" y="586"/>
                </a:lnTo>
                <a:lnTo>
                  <a:pt x="727" y="587"/>
                </a:lnTo>
                <a:lnTo>
                  <a:pt x="726" y="590"/>
                </a:lnTo>
                <a:lnTo>
                  <a:pt x="724" y="591"/>
                </a:lnTo>
                <a:lnTo>
                  <a:pt x="723" y="591"/>
                </a:lnTo>
                <a:lnTo>
                  <a:pt x="722" y="590"/>
                </a:lnTo>
                <a:lnTo>
                  <a:pt x="720" y="591"/>
                </a:lnTo>
                <a:lnTo>
                  <a:pt x="719" y="592"/>
                </a:lnTo>
                <a:lnTo>
                  <a:pt x="720" y="591"/>
                </a:lnTo>
                <a:lnTo>
                  <a:pt x="722" y="590"/>
                </a:lnTo>
                <a:lnTo>
                  <a:pt x="723" y="588"/>
                </a:lnTo>
                <a:lnTo>
                  <a:pt x="723" y="587"/>
                </a:lnTo>
                <a:lnTo>
                  <a:pt x="724" y="587"/>
                </a:lnTo>
                <a:lnTo>
                  <a:pt x="725" y="587"/>
                </a:lnTo>
                <a:lnTo>
                  <a:pt x="726" y="587"/>
                </a:lnTo>
                <a:lnTo>
                  <a:pt x="727" y="587"/>
                </a:lnTo>
                <a:lnTo>
                  <a:pt x="731" y="583"/>
                </a:lnTo>
                <a:lnTo>
                  <a:pt x="736" y="577"/>
                </a:lnTo>
                <a:lnTo>
                  <a:pt x="736" y="577"/>
                </a:lnTo>
                <a:lnTo>
                  <a:pt x="736" y="577"/>
                </a:lnTo>
                <a:lnTo>
                  <a:pt x="740" y="576"/>
                </a:lnTo>
                <a:lnTo>
                  <a:pt x="744" y="574"/>
                </a:lnTo>
                <a:close/>
                <a:moveTo>
                  <a:pt x="651" y="681"/>
                </a:moveTo>
                <a:lnTo>
                  <a:pt x="654" y="679"/>
                </a:lnTo>
                <a:lnTo>
                  <a:pt x="655" y="679"/>
                </a:lnTo>
                <a:lnTo>
                  <a:pt x="657" y="678"/>
                </a:lnTo>
                <a:lnTo>
                  <a:pt x="658" y="677"/>
                </a:lnTo>
                <a:lnTo>
                  <a:pt x="657" y="678"/>
                </a:lnTo>
                <a:lnTo>
                  <a:pt x="655" y="679"/>
                </a:lnTo>
                <a:lnTo>
                  <a:pt x="654" y="679"/>
                </a:lnTo>
                <a:lnTo>
                  <a:pt x="651" y="681"/>
                </a:lnTo>
                <a:close/>
                <a:moveTo>
                  <a:pt x="650" y="692"/>
                </a:moveTo>
                <a:lnTo>
                  <a:pt x="651" y="693"/>
                </a:lnTo>
                <a:lnTo>
                  <a:pt x="651" y="696"/>
                </a:lnTo>
                <a:lnTo>
                  <a:pt x="650" y="696"/>
                </a:lnTo>
                <a:lnTo>
                  <a:pt x="650" y="696"/>
                </a:lnTo>
                <a:lnTo>
                  <a:pt x="651" y="697"/>
                </a:lnTo>
                <a:lnTo>
                  <a:pt x="653" y="699"/>
                </a:lnTo>
                <a:lnTo>
                  <a:pt x="651" y="697"/>
                </a:lnTo>
                <a:lnTo>
                  <a:pt x="650" y="696"/>
                </a:lnTo>
                <a:lnTo>
                  <a:pt x="648" y="695"/>
                </a:lnTo>
                <a:lnTo>
                  <a:pt x="648" y="693"/>
                </a:lnTo>
                <a:lnTo>
                  <a:pt x="649" y="692"/>
                </a:lnTo>
                <a:lnTo>
                  <a:pt x="650" y="692"/>
                </a:lnTo>
                <a:close/>
                <a:moveTo>
                  <a:pt x="656" y="676"/>
                </a:moveTo>
                <a:lnTo>
                  <a:pt x="653" y="676"/>
                </a:lnTo>
                <a:lnTo>
                  <a:pt x="648" y="678"/>
                </a:lnTo>
                <a:lnTo>
                  <a:pt x="653" y="676"/>
                </a:lnTo>
                <a:lnTo>
                  <a:pt x="656" y="676"/>
                </a:lnTo>
                <a:close/>
                <a:moveTo>
                  <a:pt x="655" y="616"/>
                </a:moveTo>
                <a:lnTo>
                  <a:pt x="658" y="613"/>
                </a:lnTo>
                <a:lnTo>
                  <a:pt x="663" y="613"/>
                </a:lnTo>
                <a:lnTo>
                  <a:pt x="660" y="615"/>
                </a:lnTo>
                <a:lnTo>
                  <a:pt x="655" y="616"/>
                </a:lnTo>
                <a:close/>
                <a:moveTo>
                  <a:pt x="653" y="662"/>
                </a:moveTo>
                <a:lnTo>
                  <a:pt x="653" y="662"/>
                </a:lnTo>
                <a:lnTo>
                  <a:pt x="649" y="664"/>
                </a:lnTo>
                <a:lnTo>
                  <a:pt x="644" y="665"/>
                </a:lnTo>
                <a:lnTo>
                  <a:pt x="644" y="665"/>
                </a:lnTo>
                <a:lnTo>
                  <a:pt x="648" y="662"/>
                </a:lnTo>
                <a:lnTo>
                  <a:pt x="653" y="662"/>
                </a:lnTo>
                <a:lnTo>
                  <a:pt x="654" y="660"/>
                </a:lnTo>
                <a:lnTo>
                  <a:pt x="657" y="658"/>
                </a:lnTo>
                <a:lnTo>
                  <a:pt x="656" y="661"/>
                </a:lnTo>
                <a:lnTo>
                  <a:pt x="653" y="662"/>
                </a:lnTo>
                <a:lnTo>
                  <a:pt x="653" y="662"/>
                </a:lnTo>
                <a:lnTo>
                  <a:pt x="653" y="662"/>
                </a:lnTo>
                <a:lnTo>
                  <a:pt x="653" y="662"/>
                </a:lnTo>
                <a:close/>
                <a:moveTo>
                  <a:pt x="682" y="577"/>
                </a:moveTo>
                <a:lnTo>
                  <a:pt x="681" y="577"/>
                </a:lnTo>
                <a:lnTo>
                  <a:pt x="679" y="577"/>
                </a:lnTo>
                <a:lnTo>
                  <a:pt x="681" y="577"/>
                </a:lnTo>
                <a:lnTo>
                  <a:pt x="682" y="577"/>
                </a:lnTo>
                <a:lnTo>
                  <a:pt x="683" y="576"/>
                </a:lnTo>
                <a:lnTo>
                  <a:pt x="684" y="574"/>
                </a:lnTo>
                <a:lnTo>
                  <a:pt x="683" y="576"/>
                </a:lnTo>
                <a:lnTo>
                  <a:pt x="682" y="577"/>
                </a:lnTo>
                <a:close/>
                <a:moveTo>
                  <a:pt x="688" y="627"/>
                </a:moveTo>
                <a:lnTo>
                  <a:pt x="687" y="629"/>
                </a:lnTo>
                <a:lnTo>
                  <a:pt x="687" y="632"/>
                </a:lnTo>
                <a:lnTo>
                  <a:pt x="687" y="629"/>
                </a:lnTo>
                <a:lnTo>
                  <a:pt x="688" y="627"/>
                </a:lnTo>
                <a:close/>
                <a:moveTo>
                  <a:pt x="684" y="560"/>
                </a:moveTo>
                <a:lnTo>
                  <a:pt x="682" y="560"/>
                </a:lnTo>
                <a:lnTo>
                  <a:pt x="681" y="562"/>
                </a:lnTo>
                <a:lnTo>
                  <a:pt x="679" y="562"/>
                </a:lnTo>
                <a:lnTo>
                  <a:pt x="679" y="562"/>
                </a:lnTo>
                <a:lnTo>
                  <a:pt x="679" y="562"/>
                </a:lnTo>
                <a:lnTo>
                  <a:pt x="681" y="562"/>
                </a:lnTo>
                <a:lnTo>
                  <a:pt x="682" y="560"/>
                </a:lnTo>
                <a:lnTo>
                  <a:pt x="684" y="560"/>
                </a:lnTo>
                <a:close/>
                <a:moveTo>
                  <a:pt x="672" y="644"/>
                </a:moveTo>
                <a:lnTo>
                  <a:pt x="675" y="644"/>
                </a:lnTo>
                <a:lnTo>
                  <a:pt x="676" y="643"/>
                </a:lnTo>
                <a:lnTo>
                  <a:pt x="677" y="644"/>
                </a:lnTo>
                <a:lnTo>
                  <a:pt x="677" y="644"/>
                </a:lnTo>
                <a:lnTo>
                  <a:pt x="677" y="644"/>
                </a:lnTo>
                <a:lnTo>
                  <a:pt x="678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75" y="653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3" y="658"/>
                </a:lnTo>
                <a:lnTo>
                  <a:pt x="658" y="658"/>
                </a:lnTo>
                <a:lnTo>
                  <a:pt x="662" y="656"/>
                </a:lnTo>
                <a:lnTo>
                  <a:pt x="667" y="655"/>
                </a:lnTo>
                <a:lnTo>
                  <a:pt x="667" y="654"/>
                </a:lnTo>
                <a:lnTo>
                  <a:pt x="667" y="653"/>
                </a:lnTo>
                <a:lnTo>
                  <a:pt x="668" y="651"/>
                </a:lnTo>
                <a:lnTo>
                  <a:pt x="668" y="650"/>
                </a:lnTo>
                <a:lnTo>
                  <a:pt x="671" y="648"/>
                </a:lnTo>
                <a:lnTo>
                  <a:pt x="672" y="644"/>
                </a:lnTo>
                <a:close/>
                <a:moveTo>
                  <a:pt x="664" y="558"/>
                </a:moveTo>
                <a:lnTo>
                  <a:pt x="667" y="556"/>
                </a:lnTo>
                <a:lnTo>
                  <a:pt x="669" y="553"/>
                </a:lnTo>
                <a:lnTo>
                  <a:pt x="667" y="556"/>
                </a:lnTo>
                <a:lnTo>
                  <a:pt x="664" y="558"/>
                </a:lnTo>
                <a:lnTo>
                  <a:pt x="661" y="558"/>
                </a:lnTo>
                <a:lnTo>
                  <a:pt x="658" y="559"/>
                </a:lnTo>
                <a:lnTo>
                  <a:pt x="661" y="558"/>
                </a:lnTo>
                <a:lnTo>
                  <a:pt x="664" y="558"/>
                </a:lnTo>
                <a:close/>
                <a:moveTo>
                  <a:pt x="660" y="541"/>
                </a:moveTo>
                <a:lnTo>
                  <a:pt x="660" y="541"/>
                </a:lnTo>
                <a:lnTo>
                  <a:pt x="660" y="539"/>
                </a:lnTo>
                <a:lnTo>
                  <a:pt x="660" y="541"/>
                </a:lnTo>
                <a:lnTo>
                  <a:pt x="660" y="541"/>
                </a:lnTo>
                <a:lnTo>
                  <a:pt x="662" y="542"/>
                </a:lnTo>
                <a:lnTo>
                  <a:pt x="662" y="542"/>
                </a:lnTo>
                <a:lnTo>
                  <a:pt x="662" y="542"/>
                </a:lnTo>
                <a:lnTo>
                  <a:pt x="660" y="541"/>
                </a:lnTo>
                <a:close/>
                <a:moveTo>
                  <a:pt x="664" y="545"/>
                </a:moveTo>
                <a:lnTo>
                  <a:pt x="664" y="544"/>
                </a:lnTo>
                <a:lnTo>
                  <a:pt x="664" y="544"/>
                </a:lnTo>
                <a:lnTo>
                  <a:pt x="664" y="544"/>
                </a:lnTo>
                <a:lnTo>
                  <a:pt x="664" y="545"/>
                </a:lnTo>
                <a:lnTo>
                  <a:pt x="662" y="546"/>
                </a:lnTo>
                <a:lnTo>
                  <a:pt x="661" y="548"/>
                </a:lnTo>
                <a:lnTo>
                  <a:pt x="662" y="546"/>
                </a:lnTo>
                <a:lnTo>
                  <a:pt x="664" y="545"/>
                </a:lnTo>
                <a:close/>
                <a:moveTo>
                  <a:pt x="648" y="580"/>
                </a:moveTo>
                <a:lnTo>
                  <a:pt x="648" y="580"/>
                </a:lnTo>
                <a:lnTo>
                  <a:pt x="649" y="579"/>
                </a:lnTo>
                <a:lnTo>
                  <a:pt x="648" y="580"/>
                </a:lnTo>
                <a:lnTo>
                  <a:pt x="648" y="580"/>
                </a:lnTo>
                <a:close/>
                <a:moveTo>
                  <a:pt x="649" y="587"/>
                </a:moveTo>
                <a:lnTo>
                  <a:pt x="651" y="586"/>
                </a:lnTo>
                <a:lnTo>
                  <a:pt x="654" y="586"/>
                </a:lnTo>
                <a:lnTo>
                  <a:pt x="651" y="586"/>
                </a:lnTo>
                <a:lnTo>
                  <a:pt x="649" y="587"/>
                </a:lnTo>
                <a:lnTo>
                  <a:pt x="647" y="590"/>
                </a:lnTo>
                <a:lnTo>
                  <a:pt x="644" y="591"/>
                </a:lnTo>
                <a:lnTo>
                  <a:pt x="647" y="590"/>
                </a:lnTo>
                <a:lnTo>
                  <a:pt x="649" y="587"/>
                </a:lnTo>
                <a:close/>
                <a:moveTo>
                  <a:pt x="639" y="595"/>
                </a:moveTo>
                <a:lnTo>
                  <a:pt x="637" y="598"/>
                </a:lnTo>
                <a:lnTo>
                  <a:pt x="636" y="599"/>
                </a:lnTo>
                <a:lnTo>
                  <a:pt x="635" y="599"/>
                </a:lnTo>
                <a:lnTo>
                  <a:pt x="635" y="598"/>
                </a:lnTo>
                <a:lnTo>
                  <a:pt x="636" y="595"/>
                </a:lnTo>
                <a:lnTo>
                  <a:pt x="639" y="595"/>
                </a:lnTo>
                <a:lnTo>
                  <a:pt x="639" y="595"/>
                </a:lnTo>
                <a:lnTo>
                  <a:pt x="640" y="594"/>
                </a:lnTo>
                <a:lnTo>
                  <a:pt x="639" y="595"/>
                </a:lnTo>
                <a:lnTo>
                  <a:pt x="639" y="595"/>
                </a:lnTo>
                <a:close/>
                <a:moveTo>
                  <a:pt x="643" y="592"/>
                </a:moveTo>
                <a:lnTo>
                  <a:pt x="642" y="592"/>
                </a:lnTo>
                <a:lnTo>
                  <a:pt x="642" y="593"/>
                </a:lnTo>
                <a:lnTo>
                  <a:pt x="642" y="592"/>
                </a:lnTo>
                <a:lnTo>
                  <a:pt x="643" y="592"/>
                </a:lnTo>
                <a:close/>
                <a:moveTo>
                  <a:pt x="641" y="623"/>
                </a:moveTo>
                <a:lnTo>
                  <a:pt x="640" y="623"/>
                </a:lnTo>
                <a:lnTo>
                  <a:pt x="639" y="625"/>
                </a:lnTo>
                <a:lnTo>
                  <a:pt x="636" y="625"/>
                </a:lnTo>
                <a:lnTo>
                  <a:pt x="634" y="625"/>
                </a:lnTo>
                <a:lnTo>
                  <a:pt x="637" y="621"/>
                </a:lnTo>
                <a:lnTo>
                  <a:pt x="641" y="616"/>
                </a:lnTo>
                <a:lnTo>
                  <a:pt x="642" y="616"/>
                </a:lnTo>
                <a:lnTo>
                  <a:pt x="642" y="616"/>
                </a:lnTo>
                <a:lnTo>
                  <a:pt x="643" y="615"/>
                </a:lnTo>
                <a:lnTo>
                  <a:pt x="644" y="615"/>
                </a:lnTo>
                <a:lnTo>
                  <a:pt x="644" y="614"/>
                </a:lnTo>
                <a:lnTo>
                  <a:pt x="644" y="614"/>
                </a:lnTo>
                <a:lnTo>
                  <a:pt x="651" y="611"/>
                </a:lnTo>
                <a:lnTo>
                  <a:pt x="660" y="607"/>
                </a:lnTo>
                <a:lnTo>
                  <a:pt x="651" y="614"/>
                </a:lnTo>
                <a:lnTo>
                  <a:pt x="643" y="621"/>
                </a:lnTo>
                <a:lnTo>
                  <a:pt x="642" y="622"/>
                </a:lnTo>
                <a:lnTo>
                  <a:pt x="641" y="623"/>
                </a:lnTo>
                <a:close/>
                <a:moveTo>
                  <a:pt x="642" y="698"/>
                </a:moveTo>
                <a:lnTo>
                  <a:pt x="642" y="699"/>
                </a:lnTo>
                <a:lnTo>
                  <a:pt x="640" y="699"/>
                </a:lnTo>
                <a:lnTo>
                  <a:pt x="639" y="700"/>
                </a:lnTo>
                <a:lnTo>
                  <a:pt x="637" y="702"/>
                </a:lnTo>
                <a:lnTo>
                  <a:pt x="636" y="704"/>
                </a:lnTo>
                <a:lnTo>
                  <a:pt x="633" y="705"/>
                </a:lnTo>
                <a:lnTo>
                  <a:pt x="633" y="706"/>
                </a:lnTo>
                <a:lnTo>
                  <a:pt x="632" y="707"/>
                </a:lnTo>
                <a:lnTo>
                  <a:pt x="630" y="707"/>
                </a:lnTo>
                <a:lnTo>
                  <a:pt x="630" y="706"/>
                </a:lnTo>
                <a:lnTo>
                  <a:pt x="632" y="705"/>
                </a:lnTo>
                <a:lnTo>
                  <a:pt x="633" y="705"/>
                </a:lnTo>
                <a:lnTo>
                  <a:pt x="634" y="702"/>
                </a:lnTo>
                <a:lnTo>
                  <a:pt x="637" y="700"/>
                </a:lnTo>
                <a:lnTo>
                  <a:pt x="639" y="700"/>
                </a:lnTo>
                <a:lnTo>
                  <a:pt x="640" y="699"/>
                </a:lnTo>
                <a:lnTo>
                  <a:pt x="641" y="698"/>
                </a:lnTo>
                <a:lnTo>
                  <a:pt x="641" y="697"/>
                </a:lnTo>
                <a:lnTo>
                  <a:pt x="642" y="697"/>
                </a:lnTo>
                <a:lnTo>
                  <a:pt x="642" y="698"/>
                </a:lnTo>
                <a:close/>
                <a:moveTo>
                  <a:pt x="639" y="670"/>
                </a:moveTo>
                <a:lnTo>
                  <a:pt x="640" y="670"/>
                </a:lnTo>
                <a:lnTo>
                  <a:pt x="641" y="670"/>
                </a:lnTo>
                <a:lnTo>
                  <a:pt x="644" y="670"/>
                </a:lnTo>
                <a:lnTo>
                  <a:pt x="647" y="668"/>
                </a:lnTo>
                <a:lnTo>
                  <a:pt x="651" y="665"/>
                </a:lnTo>
                <a:lnTo>
                  <a:pt x="655" y="665"/>
                </a:lnTo>
                <a:lnTo>
                  <a:pt x="660" y="663"/>
                </a:lnTo>
                <a:lnTo>
                  <a:pt x="664" y="663"/>
                </a:lnTo>
                <a:lnTo>
                  <a:pt x="664" y="663"/>
                </a:lnTo>
                <a:lnTo>
                  <a:pt x="664" y="662"/>
                </a:lnTo>
                <a:lnTo>
                  <a:pt x="664" y="663"/>
                </a:lnTo>
                <a:lnTo>
                  <a:pt x="664" y="663"/>
                </a:lnTo>
                <a:lnTo>
                  <a:pt x="661" y="665"/>
                </a:lnTo>
                <a:lnTo>
                  <a:pt x="656" y="665"/>
                </a:lnTo>
                <a:lnTo>
                  <a:pt x="650" y="670"/>
                </a:lnTo>
                <a:lnTo>
                  <a:pt x="643" y="671"/>
                </a:lnTo>
                <a:lnTo>
                  <a:pt x="641" y="671"/>
                </a:lnTo>
                <a:lnTo>
                  <a:pt x="639" y="670"/>
                </a:lnTo>
                <a:close/>
                <a:moveTo>
                  <a:pt x="703" y="656"/>
                </a:moveTo>
                <a:lnTo>
                  <a:pt x="701" y="658"/>
                </a:lnTo>
                <a:lnTo>
                  <a:pt x="698" y="660"/>
                </a:lnTo>
                <a:lnTo>
                  <a:pt x="696" y="661"/>
                </a:lnTo>
                <a:lnTo>
                  <a:pt x="694" y="662"/>
                </a:lnTo>
                <a:lnTo>
                  <a:pt x="694" y="662"/>
                </a:lnTo>
                <a:lnTo>
                  <a:pt x="695" y="660"/>
                </a:lnTo>
                <a:lnTo>
                  <a:pt x="697" y="658"/>
                </a:lnTo>
                <a:lnTo>
                  <a:pt x="699" y="656"/>
                </a:lnTo>
                <a:lnTo>
                  <a:pt x="702" y="655"/>
                </a:lnTo>
                <a:lnTo>
                  <a:pt x="703" y="655"/>
                </a:lnTo>
                <a:lnTo>
                  <a:pt x="703" y="656"/>
                </a:lnTo>
                <a:close/>
                <a:moveTo>
                  <a:pt x="723" y="648"/>
                </a:moveTo>
                <a:lnTo>
                  <a:pt x="722" y="648"/>
                </a:lnTo>
                <a:lnTo>
                  <a:pt x="722" y="647"/>
                </a:lnTo>
                <a:lnTo>
                  <a:pt x="718" y="648"/>
                </a:lnTo>
                <a:lnTo>
                  <a:pt x="715" y="649"/>
                </a:lnTo>
                <a:lnTo>
                  <a:pt x="711" y="653"/>
                </a:lnTo>
                <a:lnTo>
                  <a:pt x="706" y="654"/>
                </a:lnTo>
                <a:lnTo>
                  <a:pt x="709" y="650"/>
                </a:lnTo>
                <a:lnTo>
                  <a:pt x="715" y="649"/>
                </a:lnTo>
                <a:lnTo>
                  <a:pt x="717" y="646"/>
                </a:lnTo>
                <a:lnTo>
                  <a:pt x="722" y="646"/>
                </a:lnTo>
                <a:lnTo>
                  <a:pt x="723" y="647"/>
                </a:lnTo>
                <a:lnTo>
                  <a:pt x="724" y="647"/>
                </a:lnTo>
                <a:lnTo>
                  <a:pt x="724" y="648"/>
                </a:lnTo>
                <a:lnTo>
                  <a:pt x="723" y="648"/>
                </a:lnTo>
                <a:close/>
                <a:moveTo>
                  <a:pt x="757" y="619"/>
                </a:moveTo>
                <a:lnTo>
                  <a:pt x="758" y="620"/>
                </a:lnTo>
                <a:lnTo>
                  <a:pt x="761" y="619"/>
                </a:lnTo>
                <a:lnTo>
                  <a:pt x="765" y="616"/>
                </a:lnTo>
                <a:lnTo>
                  <a:pt x="768" y="616"/>
                </a:lnTo>
                <a:lnTo>
                  <a:pt x="772" y="613"/>
                </a:lnTo>
                <a:lnTo>
                  <a:pt x="778" y="611"/>
                </a:lnTo>
                <a:lnTo>
                  <a:pt x="778" y="612"/>
                </a:lnTo>
                <a:lnTo>
                  <a:pt x="778" y="612"/>
                </a:lnTo>
                <a:lnTo>
                  <a:pt x="779" y="612"/>
                </a:lnTo>
                <a:lnTo>
                  <a:pt x="781" y="612"/>
                </a:lnTo>
                <a:lnTo>
                  <a:pt x="779" y="612"/>
                </a:lnTo>
                <a:lnTo>
                  <a:pt x="778" y="612"/>
                </a:lnTo>
                <a:lnTo>
                  <a:pt x="773" y="615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71" y="619"/>
                </a:lnTo>
                <a:lnTo>
                  <a:pt x="773" y="619"/>
                </a:lnTo>
                <a:lnTo>
                  <a:pt x="777" y="616"/>
                </a:lnTo>
                <a:lnTo>
                  <a:pt x="779" y="616"/>
                </a:lnTo>
                <a:lnTo>
                  <a:pt x="779" y="619"/>
                </a:lnTo>
                <a:lnTo>
                  <a:pt x="778" y="620"/>
                </a:lnTo>
                <a:lnTo>
                  <a:pt x="766" y="625"/>
                </a:lnTo>
                <a:lnTo>
                  <a:pt x="753" y="628"/>
                </a:lnTo>
                <a:lnTo>
                  <a:pt x="736" y="634"/>
                </a:lnTo>
                <a:lnTo>
                  <a:pt x="719" y="641"/>
                </a:lnTo>
                <a:lnTo>
                  <a:pt x="712" y="643"/>
                </a:lnTo>
                <a:lnTo>
                  <a:pt x="706" y="646"/>
                </a:lnTo>
                <a:lnTo>
                  <a:pt x="703" y="649"/>
                </a:lnTo>
                <a:lnTo>
                  <a:pt x="698" y="650"/>
                </a:lnTo>
                <a:lnTo>
                  <a:pt x="695" y="655"/>
                </a:lnTo>
                <a:lnTo>
                  <a:pt x="690" y="658"/>
                </a:lnTo>
                <a:lnTo>
                  <a:pt x="691" y="660"/>
                </a:lnTo>
                <a:lnTo>
                  <a:pt x="692" y="661"/>
                </a:lnTo>
                <a:lnTo>
                  <a:pt x="691" y="660"/>
                </a:lnTo>
                <a:lnTo>
                  <a:pt x="690" y="658"/>
                </a:lnTo>
                <a:lnTo>
                  <a:pt x="690" y="658"/>
                </a:lnTo>
                <a:lnTo>
                  <a:pt x="689" y="658"/>
                </a:lnTo>
                <a:lnTo>
                  <a:pt x="684" y="661"/>
                </a:lnTo>
                <a:lnTo>
                  <a:pt x="679" y="664"/>
                </a:lnTo>
                <a:lnTo>
                  <a:pt x="676" y="667"/>
                </a:lnTo>
                <a:lnTo>
                  <a:pt x="672" y="668"/>
                </a:lnTo>
                <a:lnTo>
                  <a:pt x="672" y="667"/>
                </a:lnTo>
                <a:lnTo>
                  <a:pt x="672" y="667"/>
                </a:lnTo>
                <a:lnTo>
                  <a:pt x="672" y="667"/>
                </a:lnTo>
                <a:lnTo>
                  <a:pt x="672" y="667"/>
                </a:lnTo>
                <a:lnTo>
                  <a:pt x="672" y="667"/>
                </a:lnTo>
                <a:lnTo>
                  <a:pt x="672" y="668"/>
                </a:lnTo>
                <a:lnTo>
                  <a:pt x="672" y="668"/>
                </a:lnTo>
                <a:lnTo>
                  <a:pt x="672" y="668"/>
                </a:lnTo>
                <a:lnTo>
                  <a:pt x="672" y="669"/>
                </a:lnTo>
                <a:lnTo>
                  <a:pt x="672" y="671"/>
                </a:lnTo>
                <a:lnTo>
                  <a:pt x="672" y="671"/>
                </a:lnTo>
                <a:lnTo>
                  <a:pt x="668" y="672"/>
                </a:lnTo>
                <a:lnTo>
                  <a:pt x="664" y="676"/>
                </a:lnTo>
                <a:lnTo>
                  <a:pt x="662" y="676"/>
                </a:lnTo>
                <a:lnTo>
                  <a:pt x="660" y="676"/>
                </a:lnTo>
                <a:lnTo>
                  <a:pt x="658" y="676"/>
                </a:lnTo>
                <a:lnTo>
                  <a:pt x="658" y="676"/>
                </a:lnTo>
                <a:lnTo>
                  <a:pt x="664" y="671"/>
                </a:lnTo>
                <a:lnTo>
                  <a:pt x="672" y="667"/>
                </a:lnTo>
                <a:lnTo>
                  <a:pt x="677" y="663"/>
                </a:lnTo>
                <a:lnTo>
                  <a:pt x="681" y="658"/>
                </a:lnTo>
                <a:lnTo>
                  <a:pt x="681" y="658"/>
                </a:lnTo>
                <a:lnTo>
                  <a:pt x="681" y="658"/>
                </a:lnTo>
                <a:lnTo>
                  <a:pt x="689" y="654"/>
                </a:lnTo>
                <a:lnTo>
                  <a:pt x="697" y="650"/>
                </a:lnTo>
                <a:lnTo>
                  <a:pt x="701" y="647"/>
                </a:lnTo>
                <a:lnTo>
                  <a:pt x="705" y="646"/>
                </a:lnTo>
                <a:lnTo>
                  <a:pt x="713" y="640"/>
                </a:lnTo>
                <a:lnTo>
                  <a:pt x="722" y="636"/>
                </a:lnTo>
                <a:lnTo>
                  <a:pt x="732" y="633"/>
                </a:lnTo>
                <a:lnTo>
                  <a:pt x="741" y="627"/>
                </a:lnTo>
                <a:lnTo>
                  <a:pt x="747" y="623"/>
                </a:lnTo>
                <a:lnTo>
                  <a:pt x="754" y="620"/>
                </a:lnTo>
                <a:lnTo>
                  <a:pt x="745" y="620"/>
                </a:lnTo>
                <a:lnTo>
                  <a:pt x="736" y="620"/>
                </a:lnTo>
                <a:lnTo>
                  <a:pt x="731" y="621"/>
                </a:lnTo>
                <a:lnTo>
                  <a:pt x="727" y="622"/>
                </a:lnTo>
                <a:lnTo>
                  <a:pt x="731" y="620"/>
                </a:lnTo>
                <a:lnTo>
                  <a:pt x="736" y="620"/>
                </a:lnTo>
                <a:lnTo>
                  <a:pt x="737" y="616"/>
                </a:lnTo>
                <a:lnTo>
                  <a:pt x="740" y="616"/>
                </a:lnTo>
                <a:lnTo>
                  <a:pt x="746" y="616"/>
                </a:lnTo>
                <a:lnTo>
                  <a:pt x="752" y="615"/>
                </a:lnTo>
                <a:lnTo>
                  <a:pt x="756" y="615"/>
                </a:lnTo>
                <a:lnTo>
                  <a:pt x="757" y="619"/>
                </a:lnTo>
                <a:close/>
                <a:moveTo>
                  <a:pt x="768" y="566"/>
                </a:moveTo>
                <a:lnTo>
                  <a:pt x="765" y="565"/>
                </a:lnTo>
                <a:lnTo>
                  <a:pt x="763" y="565"/>
                </a:lnTo>
                <a:lnTo>
                  <a:pt x="765" y="565"/>
                </a:lnTo>
                <a:lnTo>
                  <a:pt x="768" y="566"/>
                </a:lnTo>
                <a:close/>
                <a:moveTo>
                  <a:pt x="767" y="569"/>
                </a:moveTo>
                <a:lnTo>
                  <a:pt x="766" y="569"/>
                </a:lnTo>
                <a:lnTo>
                  <a:pt x="765" y="569"/>
                </a:lnTo>
                <a:lnTo>
                  <a:pt x="765" y="570"/>
                </a:lnTo>
                <a:lnTo>
                  <a:pt x="765" y="570"/>
                </a:lnTo>
                <a:lnTo>
                  <a:pt x="765" y="570"/>
                </a:lnTo>
                <a:lnTo>
                  <a:pt x="765" y="569"/>
                </a:lnTo>
                <a:lnTo>
                  <a:pt x="766" y="569"/>
                </a:lnTo>
                <a:lnTo>
                  <a:pt x="767" y="569"/>
                </a:lnTo>
                <a:lnTo>
                  <a:pt x="768" y="569"/>
                </a:lnTo>
                <a:lnTo>
                  <a:pt x="770" y="569"/>
                </a:lnTo>
                <a:lnTo>
                  <a:pt x="768" y="569"/>
                </a:lnTo>
                <a:lnTo>
                  <a:pt x="767" y="569"/>
                </a:lnTo>
                <a:close/>
                <a:moveTo>
                  <a:pt x="774" y="580"/>
                </a:moveTo>
                <a:lnTo>
                  <a:pt x="772" y="583"/>
                </a:lnTo>
                <a:lnTo>
                  <a:pt x="770" y="586"/>
                </a:lnTo>
                <a:lnTo>
                  <a:pt x="771" y="586"/>
                </a:lnTo>
                <a:lnTo>
                  <a:pt x="771" y="586"/>
                </a:lnTo>
                <a:lnTo>
                  <a:pt x="771" y="586"/>
                </a:lnTo>
                <a:lnTo>
                  <a:pt x="770" y="586"/>
                </a:lnTo>
                <a:lnTo>
                  <a:pt x="772" y="583"/>
                </a:lnTo>
                <a:lnTo>
                  <a:pt x="774" y="580"/>
                </a:lnTo>
                <a:close/>
                <a:moveTo>
                  <a:pt x="779" y="485"/>
                </a:moveTo>
                <a:lnTo>
                  <a:pt x="780" y="483"/>
                </a:lnTo>
                <a:lnTo>
                  <a:pt x="781" y="482"/>
                </a:lnTo>
                <a:lnTo>
                  <a:pt x="781" y="480"/>
                </a:lnTo>
                <a:lnTo>
                  <a:pt x="782" y="478"/>
                </a:lnTo>
                <a:lnTo>
                  <a:pt x="781" y="480"/>
                </a:lnTo>
                <a:lnTo>
                  <a:pt x="781" y="482"/>
                </a:lnTo>
                <a:lnTo>
                  <a:pt x="780" y="483"/>
                </a:lnTo>
                <a:lnTo>
                  <a:pt x="779" y="485"/>
                </a:lnTo>
                <a:lnTo>
                  <a:pt x="778" y="485"/>
                </a:lnTo>
                <a:lnTo>
                  <a:pt x="777" y="485"/>
                </a:lnTo>
                <a:lnTo>
                  <a:pt x="778" y="485"/>
                </a:lnTo>
                <a:lnTo>
                  <a:pt x="779" y="485"/>
                </a:lnTo>
                <a:close/>
                <a:moveTo>
                  <a:pt x="789" y="384"/>
                </a:moveTo>
                <a:lnTo>
                  <a:pt x="789" y="383"/>
                </a:lnTo>
                <a:lnTo>
                  <a:pt x="789" y="382"/>
                </a:lnTo>
                <a:lnTo>
                  <a:pt x="789" y="383"/>
                </a:lnTo>
                <a:lnTo>
                  <a:pt x="789" y="384"/>
                </a:lnTo>
                <a:lnTo>
                  <a:pt x="784" y="382"/>
                </a:lnTo>
                <a:lnTo>
                  <a:pt x="778" y="381"/>
                </a:lnTo>
                <a:lnTo>
                  <a:pt x="784" y="382"/>
                </a:lnTo>
                <a:lnTo>
                  <a:pt x="789" y="384"/>
                </a:lnTo>
                <a:close/>
                <a:moveTo>
                  <a:pt x="800" y="294"/>
                </a:moveTo>
                <a:lnTo>
                  <a:pt x="798" y="291"/>
                </a:lnTo>
                <a:lnTo>
                  <a:pt x="792" y="290"/>
                </a:lnTo>
                <a:lnTo>
                  <a:pt x="798" y="291"/>
                </a:lnTo>
                <a:lnTo>
                  <a:pt x="800" y="294"/>
                </a:lnTo>
                <a:close/>
                <a:moveTo>
                  <a:pt x="803" y="298"/>
                </a:moveTo>
                <a:lnTo>
                  <a:pt x="802" y="297"/>
                </a:lnTo>
                <a:lnTo>
                  <a:pt x="800" y="295"/>
                </a:lnTo>
                <a:lnTo>
                  <a:pt x="802" y="297"/>
                </a:lnTo>
                <a:lnTo>
                  <a:pt x="803" y="298"/>
                </a:lnTo>
                <a:close/>
                <a:moveTo>
                  <a:pt x="808" y="628"/>
                </a:moveTo>
                <a:lnTo>
                  <a:pt x="809" y="628"/>
                </a:lnTo>
                <a:lnTo>
                  <a:pt x="812" y="627"/>
                </a:lnTo>
                <a:lnTo>
                  <a:pt x="809" y="628"/>
                </a:lnTo>
                <a:lnTo>
                  <a:pt x="808" y="628"/>
                </a:lnTo>
                <a:lnTo>
                  <a:pt x="806" y="632"/>
                </a:lnTo>
                <a:lnTo>
                  <a:pt x="802" y="633"/>
                </a:lnTo>
                <a:lnTo>
                  <a:pt x="806" y="632"/>
                </a:lnTo>
                <a:lnTo>
                  <a:pt x="808" y="628"/>
                </a:lnTo>
                <a:close/>
                <a:moveTo>
                  <a:pt x="810" y="600"/>
                </a:moveTo>
                <a:lnTo>
                  <a:pt x="810" y="599"/>
                </a:lnTo>
                <a:lnTo>
                  <a:pt x="812" y="599"/>
                </a:lnTo>
                <a:lnTo>
                  <a:pt x="810" y="599"/>
                </a:lnTo>
                <a:lnTo>
                  <a:pt x="810" y="600"/>
                </a:lnTo>
                <a:lnTo>
                  <a:pt x="807" y="601"/>
                </a:lnTo>
                <a:lnTo>
                  <a:pt x="803" y="604"/>
                </a:lnTo>
                <a:lnTo>
                  <a:pt x="807" y="601"/>
                </a:lnTo>
                <a:lnTo>
                  <a:pt x="810" y="600"/>
                </a:lnTo>
                <a:close/>
                <a:moveTo>
                  <a:pt x="810" y="430"/>
                </a:moveTo>
                <a:lnTo>
                  <a:pt x="813" y="431"/>
                </a:lnTo>
                <a:lnTo>
                  <a:pt x="814" y="433"/>
                </a:lnTo>
                <a:lnTo>
                  <a:pt x="813" y="431"/>
                </a:lnTo>
                <a:lnTo>
                  <a:pt x="810" y="430"/>
                </a:lnTo>
                <a:lnTo>
                  <a:pt x="808" y="427"/>
                </a:lnTo>
                <a:lnTo>
                  <a:pt x="807" y="427"/>
                </a:lnTo>
                <a:lnTo>
                  <a:pt x="808" y="427"/>
                </a:lnTo>
                <a:lnTo>
                  <a:pt x="810" y="430"/>
                </a:lnTo>
                <a:close/>
                <a:moveTo>
                  <a:pt x="814" y="487"/>
                </a:moveTo>
                <a:lnTo>
                  <a:pt x="814" y="489"/>
                </a:lnTo>
                <a:lnTo>
                  <a:pt x="813" y="490"/>
                </a:lnTo>
                <a:lnTo>
                  <a:pt x="814" y="489"/>
                </a:lnTo>
                <a:lnTo>
                  <a:pt x="814" y="487"/>
                </a:lnTo>
                <a:close/>
                <a:moveTo>
                  <a:pt x="812" y="593"/>
                </a:moveTo>
                <a:lnTo>
                  <a:pt x="812" y="591"/>
                </a:lnTo>
                <a:lnTo>
                  <a:pt x="812" y="590"/>
                </a:lnTo>
                <a:lnTo>
                  <a:pt x="812" y="591"/>
                </a:lnTo>
                <a:lnTo>
                  <a:pt x="812" y="593"/>
                </a:lnTo>
                <a:lnTo>
                  <a:pt x="814" y="592"/>
                </a:lnTo>
                <a:lnTo>
                  <a:pt x="815" y="592"/>
                </a:lnTo>
                <a:lnTo>
                  <a:pt x="814" y="592"/>
                </a:lnTo>
                <a:lnTo>
                  <a:pt x="812" y="593"/>
                </a:lnTo>
                <a:close/>
                <a:moveTo>
                  <a:pt x="820" y="231"/>
                </a:moveTo>
                <a:lnTo>
                  <a:pt x="819" y="232"/>
                </a:lnTo>
                <a:lnTo>
                  <a:pt x="816" y="234"/>
                </a:lnTo>
                <a:lnTo>
                  <a:pt x="819" y="232"/>
                </a:lnTo>
                <a:lnTo>
                  <a:pt x="820" y="231"/>
                </a:lnTo>
                <a:close/>
                <a:moveTo>
                  <a:pt x="829" y="367"/>
                </a:moveTo>
                <a:lnTo>
                  <a:pt x="829" y="367"/>
                </a:lnTo>
                <a:lnTo>
                  <a:pt x="829" y="367"/>
                </a:lnTo>
                <a:lnTo>
                  <a:pt x="832" y="367"/>
                </a:lnTo>
                <a:lnTo>
                  <a:pt x="834" y="366"/>
                </a:lnTo>
                <a:lnTo>
                  <a:pt x="832" y="367"/>
                </a:lnTo>
                <a:lnTo>
                  <a:pt x="829" y="367"/>
                </a:lnTo>
                <a:lnTo>
                  <a:pt x="829" y="367"/>
                </a:lnTo>
                <a:lnTo>
                  <a:pt x="829" y="367"/>
                </a:lnTo>
                <a:close/>
                <a:moveTo>
                  <a:pt x="836" y="790"/>
                </a:moveTo>
                <a:lnTo>
                  <a:pt x="834" y="789"/>
                </a:lnTo>
                <a:lnTo>
                  <a:pt x="833" y="787"/>
                </a:lnTo>
                <a:lnTo>
                  <a:pt x="834" y="789"/>
                </a:lnTo>
                <a:lnTo>
                  <a:pt x="836" y="790"/>
                </a:lnTo>
                <a:close/>
                <a:moveTo>
                  <a:pt x="842" y="756"/>
                </a:moveTo>
                <a:lnTo>
                  <a:pt x="843" y="756"/>
                </a:lnTo>
                <a:lnTo>
                  <a:pt x="844" y="759"/>
                </a:lnTo>
                <a:lnTo>
                  <a:pt x="843" y="760"/>
                </a:lnTo>
                <a:lnTo>
                  <a:pt x="841" y="760"/>
                </a:lnTo>
                <a:lnTo>
                  <a:pt x="840" y="759"/>
                </a:lnTo>
                <a:lnTo>
                  <a:pt x="839" y="760"/>
                </a:lnTo>
                <a:lnTo>
                  <a:pt x="836" y="759"/>
                </a:lnTo>
                <a:lnTo>
                  <a:pt x="837" y="756"/>
                </a:lnTo>
                <a:lnTo>
                  <a:pt x="840" y="755"/>
                </a:lnTo>
                <a:lnTo>
                  <a:pt x="842" y="756"/>
                </a:lnTo>
                <a:close/>
                <a:moveTo>
                  <a:pt x="844" y="560"/>
                </a:moveTo>
                <a:lnTo>
                  <a:pt x="841" y="559"/>
                </a:lnTo>
                <a:lnTo>
                  <a:pt x="839" y="557"/>
                </a:lnTo>
                <a:lnTo>
                  <a:pt x="841" y="559"/>
                </a:lnTo>
                <a:lnTo>
                  <a:pt x="844" y="560"/>
                </a:lnTo>
                <a:close/>
                <a:moveTo>
                  <a:pt x="842" y="431"/>
                </a:moveTo>
                <a:lnTo>
                  <a:pt x="843" y="431"/>
                </a:lnTo>
                <a:lnTo>
                  <a:pt x="844" y="432"/>
                </a:lnTo>
                <a:lnTo>
                  <a:pt x="843" y="431"/>
                </a:lnTo>
                <a:lnTo>
                  <a:pt x="842" y="431"/>
                </a:lnTo>
                <a:lnTo>
                  <a:pt x="841" y="433"/>
                </a:lnTo>
                <a:lnTo>
                  <a:pt x="840" y="436"/>
                </a:lnTo>
                <a:lnTo>
                  <a:pt x="841" y="433"/>
                </a:lnTo>
                <a:lnTo>
                  <a:pt x="842" y="431"/>
                </a:lnTo>
                <a:close/>
                <a:moveTo>
                  <a:pt x="848" y="746"/>
                </a:moveTo>
                <a:lnTo>
                  <a:pt x="851" y="747"/>
                </a:lnTo>
                <a:lnTo>
                  <a:pt x="853" y="749"/>
                </a:lnTo>
                <a:lnTo>
                  <a:pt x="853" y="749"/>
                </a:lnTo>
                <a:lnTo>
                  <a:pt x="849" y="752"/>
                </a:lnTo>
                <a:lnTo>
                  <a:pt x="846" y="751"/>
                </a:lnTo>
                <a:lnTo>
                  <a:pt x="847" y="748"/>
                </a:lnTo>
                <a:lnTo>
                  <a:pt x="848" y="746"/>
                </a:lnTo>
                <a:close/>
                <a:moveTo>
                  <a:pt x="854" y="503"/>
                </a:moveTo>
                <a:lnTo>
                  <a:pt x="854" y="496"/>
                </a:lnTo>
                <a:lnTo>
                  <a:pt x="854" y="490"/>
                </a:lnTo>
                <a:lnTo>
                  <a:pt x="853" y="490"/>
                </a:lnTo>
                <a:lnTo>
                  <a:pt x="851" y="489"/>
                </a:lnTo>
                <a:lnTo>
                  <a:pt x="853" y="490"/>
                </a:lnTo>
                <a:lnTo>
                  <a:pt x="854" y="490"/>
                </a:lnTo>
                <a:lnTo>
                  <a:pt x="854" y="496"/>
                </a:lnTo>
                <a:lnTo>
                  <a:pt x="854" y="503"/>
                </a:lnTo>
                <a:close/>
                <a:moveTo>
                  <a:pt x="858" y="581"/>
                </a:moveTo>
                <a:lnTo>
                  <a:pt x="855" y="580"/>
                </a:lnTo>
                <a:lnTo>
                  <a:pt x="854" y="578"/>
                </a:lnTo>
                <a:lnTo>
                  <a:pt x="855" y="580"/>
                </a:lnTo>
                <a:lnTo>
                  <a:pt x="858" y="581"/>
                </a:lnTo>
                <a:close/>
                <a:moveTo>
                  <a:pt x="862" y="476"/>
                </a:moveTo>
                <a:lnTo>
                  <a:pt x="863" y="476"/>
                </a:lnTo>
                <a:lnTo>
                  <a:pt x="863" y="476"/>
                </a:lnTo>
                <a:lnTo>
                  <a:pt x="863" y="476"/>
                </a:lnTo>
                <a:lnTo>
                  <a:pt x="862" y="476"/>
                </a:lnTo>
                <a:lnTo>
                  <a:pt x="862" y="478"/>
                </a:lnTo>
                <a:lnTo>
                  <a:pt x="862" y="479"/>
                </a:lnTo>
                <a:lnTo>
                  <a:pt x="862" y="478"/>
                </a:lnTo>
                <a:lnTo>
                  <a:pt x="862" y="476"/>
                </a:lnTo>
                <a:close/>
                <a:moveTo>
                  <a:pt x="865" y="186"/>
                </a:moveTo>
                <a:lnTo>
                  <a:pt x="865" y="186"/>
                </a:lnTo>
                <a:lnTo>
                  <a:pt x="867" y="186"/>
                </a:lnTo>
                <a:lnTo>
                  <a:pt x="865" y="186"/>
                </a:lnTo>
                <a:lnTo>
                  <a:pt x="865" y="186"/>
                </a:lnTo>
                <a:lnTo>
                  <a:pt x="864" y="185"/>
                </a:lnTo>
                <a:lnTo>
                  <a:pt x="864" y="183"/>
                </a:lnTo>
                <a:lnTo>
                  <a:pt x="864" y="185"/>
                </a:lnTo>
                <a:lnTo>
                  <a:pt x="865" y="186"/>
                </a:lnTo>
                <a:close/>
                <a:moveTo>
                  <a:pt x="878" y="440"/>
                </a:moveTo>
                <a:lnTo>
                  <a:pt x="878" y="441"/>
                </a:lnTo>
                <a:lnTo>
                  <a:pt x="877" y="443"/>
                </a:lnTo>
                <a:lnTo>
                  <a:pt x="875" y="443"/>
                </a:lnTo>
                <a:lnTo>
                  <a:pt x="872" y="444"/>
                </a:lnTo>
                <a:lnTo>
                  <a:pt x="872" y="444"/>
                </a:lnTo>
                <a:lnTo>
                  <a:pt x="875" y="443"/>
                </a:lnTo>
                <a:lnTo>
                  <a:pt x="877" y="443"/>
                </a:lnTo>
                <a:lnTo>
                  <a:pt x="878" y="441"/>
                </a:lnTo>
                <a:lnTo>
                  <a:pt x="878" y="440"/>
                </a:lnTo>
                <a:close/>
                <a:moveTo>
                  <a:pt x="882" y="349"/>
                </a:moveTo>
                <a:lnTo>
                  <a:pt x="883" y="349"/>
                </a:lnTo>
                <a:lnTo>
                  <a:pt x="883" y="349"/>
                </a:lnTo>
                <a:lnTo>
                  <a:pt x="883" y="349"/>
                </a:lnTo>
                <a:lnTo>
                  <a:pt x="882" y="349"/>
                </a:lnTo>
                <a:lnTo>
                  <a:pt x="879" y="346"/>
                </a:lnTo>
                <a:lnTo>
                  <a:pt x="878" y="347"/>
                </a:lnTo>
                <a:lnTo>
                  <a:pt x="879" y="346"/>
                </a:lnTo>
                <a:lnTo>
                  <a:pt x="882" y="349"/>
                </a:lnTo>
                <a:close/>
                <a:moveTo>
                  <a:pt x="879" y="329"/>
                </a:moveTo>
                <a:lnTo>
                  <a:pt x="879" y="330"/>
                </a:lnTo>
                <a:lnTo>
                  <a:pt x="878" y="332"/>
                </a:lnTo>
                <a:lnTo>
                  <a:pt x="879" y="330"/>
                </a:lnTo>
                <a:lnTo>
                  <a:pt x="879" y="329"/>
                </a:lnTo>
                <a:close/>
                <a:moveTo>
                  <a:pt x="898" y="465"/>
                </a:moveTo>
                <a:lnTo>
                  <a:pt x="897" y="466"/>
                </a:lnTo>
                <a:lnTo>
                  <a:pt x="896" y="468"/>
                </a:lnTo>
                <a:lnTo>
                  <a:pt x="897" y="466"/>
                </a:lnTo>
                <a:lnTo>
                  <a:pt x="898" y="465"/>
                </a:lnTo>
                <a:close/>
                <a:moveTo>
                  <a:pt x="891" y="531"/>
                </a:moveTo>
                <a:lnTo>
                  <a:pt x="891" y="530"/>
                </a:lnTo>
                <a:lnTo>
                  <a:pt x="891" y="530"/>
                </a:lnTo>
                <a:lnTo>
                  <a:pt x="891" y="530"/>
                </a:lnTo>
                <a:lnTo>
                  <a:pt x="891" y="531"/>
                </a:lnTo>
                <a:lnTo>
                  <a:pt x="891" y="531"/>
                </a:lnTo>
                <a:lnTo>
                  <a:pt x="890" y="532"/>
                </a:lnTo>
                <a:lnTo>
                  <a:pt x="891" y="531"/>
                </a:lnTo>
                <a:lnTo>
                  <a:pt x="891" y="531"/>
                </a:lnTo>
                <a:close/>
                <a:moveTo>
                  <a:pt x="883" y="441"/>
                </a:moveTo>
                <a:lnTo>
                  <a:pt x="884" y="440"/>
                </a:lnTo>
                <a:lnTo>
                  <a:pt x="884" y="438"/>
                </a:lnTo>
                <a:lnTo>
                  <a:pt x="884" y="440"/>
                </a:lnTo>
                <a:lnTo>
                  <a:pt x="883" y="441"/>
                </a:lnTo>
                <a:close/>
                <a:moveTo>
                  <a:pt x="885" y="468"/>
                </a:moveTo>
                <a:lnTo>
                  <a:pt x="883" y="467"/>
                </a:lnTo>
                <a:lnTo>
                  <a:pt x="881" y="468"/>
                </a:lnTo>
                <a:lnTo>
                  <a:pt x="883" y="467"/>
                </a:lnTo>
                <a:lnTo>
                  <a:pt x="885" y="468"/>
                </a:lnTo>
                <a:close/>
                <a:moveTo>
                  <a:pt x="875" y="1210"/>
                </a:moveTo>
                <a:lnTo>
                  <a:pt x="875" y="1210"/>
                </a:lnTo>
                <a:lnTo>
                  <a:pt x="875" y="1209"/>
                </a:lnTo>
                <a:lnTo>
                  <a:pt x="875" y="1210"/>
                </a:lnTo>
                <a:lnTo>
                  <a:pt x="875" y="1210"/>
                </a:lnTo>
                <a:lnTo>
                  <a:pt x="870" y="1214"/>
                </a:lnTo>
                <a:lnTo>
                  <a:pt x="867" y="1219"/>
                </a:lnTo>
                <a:lnTo>
                  <a:pt x="870" y="1214"/>
                </a:lnTo>
                <a:lnTo>
                  <a:pt x="875" y="1210"/>
                </a:lnTo>
                <a:close/>
                <a:moveTo>
                  <a:pt x="874" y="1060"/>
                </a:moveTo>
                <a:lnTo>
                  <a:pt x="875" y="1060"/>
                </a:lnTo>
                <a:lnTo>
                  <a:pt x="875" y="1061"/>
                </a:lnTo>
                <a:lnTo>
                  <a:pt x="875" y="1060"/>
                </a:lnTo>
                <a:lnTo>
                  <a:pt x="874" y="1060"/>
                </a:lnTo>
                <a:close/>
                <a:moveTo>
                  <a:pt x="876" y="1178"/>
                </a:moveTo>
                <a:lnTo>
                  <a:pt x="874" y="1178"/>
                </a:lnTo>
                <a:lnTo>
                  <a:pt x="871" y="1177"/>
                </a:lnTo>
                <a:lnTo>
                  <a:pt x="874" y="1178"/>
                </a:lnTo>
                <a:lnTo>
                  <a:pt x="876" y="1178"/>
                </a:lnTo>
                <a:close/>
                <a:moveTo>
                  <a:pt x="867" y="1266"/>
                </a:moveTo>
                <a:lnTo>
                  <a:pt x="871" y="1264"/>
                </a:lnTo>
                <a:lnTo>
                  <a:pt x="876" y="1264"/>
                </a:lnTo>
                <a:lnTo>
                  <a:pt x="871" y="1264"/>
                </a:lnTo>
                <a:lnTo>
                  <a:pt x="867" y="1266"/>
                </a:lnTo>
                <a:lnTo>
                  <a:pt x="864" y="1270"/>
                </a:lnTo>
                <a:lnTo>
                  <a:pt x="862" y="1270"/>
                </a:lnTo>
                <a:lnTo>
                  <a:pt x="864" y="1270"/>
                </a:lnTo>
                <a:lnTo>
                  <a:pt x="867" y="1266"/>
                </a:lnTo>
                <a:close/>
                <a:moveTo>
                  <a:pt x="768" y="1286"/>
                </a:moveTo>
                <a:lnTo>
                  <a:pt x="770" y="1286"/>
                </a:lnTo>
                <a:lnTo>
                  <a:pt x="770" y="1287"/>
                </a:lnTo>
                <a:lnTo>
                  <a:pt x="770" y="1289"/>
                </a:lnTo>
                <a:lnTo>
                  <a:pt x="768" y="1289"/>
                </a:lnTo>
                <a:lnTo>
                  <a:pt x="770" y="1289"/>
                </a:lnTo>
                <a:lnTo>
                  <a:pt x="770" y="1287"/>
                </a:lnTo>
                <a:lnTo>
                  <a:pt x="770" y="1286"/>
                </a:lnTo>
                <a:lnTo>
                  <a:pt x="768" y="1286"/>
                </a:lnTo>
                <a:close/>
                <a:moveTo>
                  <a:pt x="773" y="964"/>
                </a:moveTo>
                <a:lnTo>
                  <a:pt x="775" y="969"/>
                </a:lnTo>
                <a:lnTo>
                  <a:pt x="778" y="971"/>
                </a:lnTo>
                <a:lnTo>
                  <a:pt x="778" y="972"/>
                </a:lnTo>
                <a:lnTo>
                  <a:pt x="778" y="973"/>
                </a:lnTo>
                <a:lnTo>
                  <a:pt x="778" y="976"/>
                </a:lnTo>
                <a:lnTo>
                  <a:pt x="778" y="978"/>
                </a:lnTo>
                <a:lnTo>
                  <a:pt x="778" y="976"/>
                </a:lnTo>
                <a:lnTo>
                  <a:pt x="778" y="973"/>
                </a:lnTo>
                <a:lnTo>
                  <a:pt x="773" y="971"/>
                </a:lnTo>
                <a:lnTo>
                  <a:pt x="773" y="964"/>
                </a:lnTo>
                <a:close/>
                <a:moveTo>
                  <a:pt x="758" y="916"/>
                </a:moveTo>
                <a:lnTo>
                  <a:pt x="760" y="919"/>
                </a:lnTo>
                <a:lnTo>
                  <a:pt x="761" y="921"/>
                </a:lnTo>
                <a:lnTo>
                  <a:pt x="768" y="940"/>
                </a:lnTo>
                <a:lnTo>
                  <a:pt x="777" y="957"/>
                </a:lnTo>
                <a:lnTo>
                  <a:pt x="778" y="959"/>
                </a:lnTo>
                <a:lnTo>
                  <a:pt x="777" y="962"/>
                </a:lnTo>
                <a:lnTo>
                  <a:pt x="774" y="961"/>
                </a:lnTo>
                <a:lnTo>
                  <a:pt x="771" y="961"/>
                </a:lnTo>
                <a:lnTo>
                  <a:pt x="764" y="938"/>
                </a:lnTo>
                <a:lnTo>
                  <a:pt x="757" y="917"/>
                </a:lnTo>
                <a:lnTo>
                  <a:pt x="758" y="917"/>
                </a:lnTo>
                <a:lnTo>
                  <a:pt x="758" y="916"/>
                </a:lnTo>
                <a:close/>
                <a:moveTo>
                  <a:pt x="760" y="860"/>
                </a:moveTo>
                <a:lnTo>
                  <a:pt x="760" y="860"/>
                </a:lnTo>
                <a:lnTo>
                  <a:pt x="760" y="860"/>
                </a:lnTo>
                <a:lnTo>
                  <a:pt x="758" y="859"/>
                </a:lnTo>
                <a:lnTo>
                  <a:pt x="758" y="859"/>
                </a:lnTo>
                <a:lnTo>
                  <a:pt x="757" y="858"/>
                </a:lnTo>
                <a:lnTo>
                  <a:pt x="758" y="858"/>
                </a:lnTo>
                <a:lnTo>
                  <a:pt x="758" y="858"/>
                </a:lnTo>
                <a:lnTo>
                  <a:pt x="758" y="859"/>
                </a:lnTo>
                <a:lnTo>
                  <a:pt x="758" y="859"/>
                </a:lnTo>
                <a:lnTo>
                  <a:pt x="759" y="860"/>
                </a:lnTo>
                <a:lnTo>
                  <a:pt x="760" y="860"/>
                </a:lnTo>
                <a:close/>
                <a:moveTo>
                  <a:pt x="723" y="836"/>
                </a:moveTo>
                <a:lnTo>
                  <a:pt x="724" y="835"/>
                </a:lnTo>
                <a:lnTo>
                  <a:pt x="726" y="832"/>
                </a:lnTo>
                <a:lnTo>
                  <a:pt x="727" y="833"/>
                </a:lnTo>
                <a:lnTo>
                  <a:pt x="727" y="835"/>
                </a:lnTo>
                <a:lnTo>
                  <a:pt x="730" y="838"/>
                </a:lnTo>
                <a:lnTo>
                  <a:pt x="730" y="842"/>
                </a:lnTo>
                <a:lnTo>
                  <a:pt x="726" y="840"/>
                </a:lnTo>
                <a:lnTo>
                  <a:pt x="723" y="836"/>
                </a:lnTo>
                <a:close/>
                <a:moveTo>
                  <a:pt x="708" y="924"/>
                </a:moveTo>
                <a:lnTo>
                  <a:pt x="715" y="920"/>
                </a:lnTo>
                <a:lnTo>
                  <a:pt x="723" y="915"/>
                </a:lnTo>
                <a:lnTo>
                  <a:pt x="724" y="915"/>
                </a:lnTo>
                <a:lnTo>
                  <a:pt x="726" y="916"/>
                </a:lnTo>
                <a:lnTo>
                  <a:pt x="725" y="921"/>
                </a:lnTo>
                <a:lnTo>
                  <a:pt x="723" y="926"/>
                </a:lnTo>
                <a:lnTo>
                  <a:pt x="720" y="927"/>
                </a:lnTo>
                <a:lnTo>
                  <a:pt x="718" y="926"/>
                </a:lnTo>
                <a:lnTo>
                  <a:pt x="717" y="926"/>
                </a:lnTo>
                <a:lnTo>
                  <a:pt x="716" y="928"/>
                </a:lnTo>
                <a:lnTo>
                  <a:pt x="712" y="929"/>
                </a:lnTo>
                <a:lnTo>
                  <a:pt x="708" y="928"/>
                </a:lnTo>
                <a:lnTo>
                  <a:pt x="706" y="928"/>
                </a:lnTo>
                <a:lnTo>
                  <a:pt x="706" y="926"/>
                </a:lnTo>
                <a:lnTo>
                  <a:pt x="706" y="926"/>
                </a:lnTo>
                <a:lnTo>
                  <a:pt x="708" y="924"/>
                </a:lnTo>
                <a:close/>
                <a:moveTo>
                  <a:pt x="709" y="843"/>
                </a:moveTo>
                <a:lnTo>
                  <a:pt x="713" y="840"/>
                </a:lnTo>
                <a:lnTo>
                  <a:pt x="715" y="836"/>
                </a:lnTo>
                <a:lnTo>
                  <a:pt x="716" y="836"/>
                </a:lnTo>
                <a:lnTo>
                  <a:pt x="716" y="836"/>
                </a:lnTo>
                <a:lnTo>
                  <a:pt x="719" y="839"/>
                </a:lnTo>
                <a:lnTo>
                  <a:pt x="717" y="843"/>
                </a:lnTo>
                <a:lnTo>
                  <a:pt x="713" y="846"/>
                </a:lnTo>
                <a:lnTo>
                  <a:pt x="708" y="846"/>
                </a:lnTo>
                <a:lnTo>
                  <a:pt x="706" y="844"/>
                </a:lnTo>
                <a:lnTo>
                  <a:pt x="709" y="843"/>
                </a:lnTo>
                <a:close/>
                <a:moveTo>
                  <a:pt x="727" y="752"/>
                </a:moveTo>
                <a:lnTo>
                  <a:pt x="730" y="753"/>
                </a:lnTo>
                <a:lnTo>
                  <a:pt x="731" y="754"/>
                </a:lnTo>
                <a:lnTo>
                  <a:pt x="731" y="754"/>
                </a:lnTo>
                <a:lnTo>
                  <a:pt x="730" y="753"/>
                </a:lnTo>
                <a:lnTo>
                  <a:pt x="727" y="752"/>
                </a:lnTo>
                <a:close/>
                <a:moveTo>
                  <a:pt x="726" y="772"/>
                </a:moveTo>
                <a:lnTo>
                  <a:pt x="731" y="774"/>
                </a:lnTo>
                <a:lnTo>
                  <a:pt x="731" y="779"/>
                </a:lnTo>
                <a:lnTo>
                  <a:pt x="727" y="776"/>
                </a:lnTo>
                <a:lnTo>
                  <a:pt x="726" y="772"/>
                </a:lnTo>
                <a:close/>
                <a:moveTo>
                  <a:pt x="719" y="775"/>
                </a:moveTo>
                <a:lnTo>
                  <a:pt x="720" y="773"/>
                </a:lnTo>
                <a:lnTo>
                  <a:pt x="723" y="773"/>
                </a:lnTo>
                <a:lnTo>
                  <a:pt x="724" y="776"/>
                </a:lnTo>
                <a:lnTo>
                  <a:pt x="726" y="780"/>
                </a:lnTo>
                <a:lnTo>
                  <a:pt x="727" y="782"/>
                </a:lnTo>
                <a:lnTo>
                  <a:pt x="726" y="784"/>
                </a:lnTo>
                <a:lnTo>
                  <a:pt x="724" y="784"/>
                </a:lnTo>
                <a:lnTo>
                  <a:pt x="723" y="782"/>
                </a:lnTo>
                <a:lnTo>
                  <a:pt x="722" y="779"/>
                </a:lnTo>
                <a:lnTo>
                  <a:pt x="719" y="775"/>
                </a:lnTo>
                <a:close/>
                <a:moveTo>
                  <a:pt x="719" y="831"/>
                </a:moveTo>
                <a:lnTo>
                  <a:pt x="722" y="832"/>
                </a:lnTo>
                <a:lnTo>
                  <a:pt x="722" y="835"/>
                </a:lnTo>
                <a:lnTo>
                  <a:pt x="719" y="833"/>
                </a:lnTo>
                <a:lnTo>
                  <a:pt x="718" y="832"/>
                </a:lnTo>
                <a:lnTo>
                  <a:pt x="719" y="831"/>
                </a:lnTo>
                <a:lnTo>
                  <a:pt x="719" y="831"/>
                </a:lnTo>
                <a:close/>
                <a:moveTo>
                  <a:pt x="711" y="781"/>
                </a:moveTo>
                <a:lnTo>
                  <a:pt x="710" y="779"/>
                </a:lnTo>
                <a:lnTo>
                  <a:pt x="710" y="775"/>
                </a:lnTo>
                <a:lnTo>
                  <a:pt x="709" y="775"/>
                </a:lnTo>
                <a:lnTo>
                  <a:pt x="708" y="774"/>
                </a:lnTo>
                <a:lnTo>
                  <a:pt x="709" y="775"/>
                </a:lnTo>
                <a:lnTo>
                  <a:pt x="710" y="775"/>
                </a:lnTo>
                <a:lnTo>
                  <a:pt x="710" y="779"/>
                </a:lnTo>
                <a:lnTo>
                  <a:pt x="711" y="781"/>
                </a:lnTo>
                <a:close/>
                <a:moveTo>
                  <a:pt x="715" y="734"/>
                </a:moveTo>
                <a:lnTo>
                  <a:pt x="713" y="734"/>
                </a:lnTo>
                <a:lnTo>
                  <a:pt x="713" y="734"/>
                </a:lnTo>
                <a:lnTo>
                  <a:pt x="711" y="733"/>
                </a:lnTo>
                <a:lnTo>
                  <a:pt x="709" y="732"/>
                </a:lnTo>
                <a:lnTo>
                  <a:pt x="715" y="731"/>
                </a:lnTo>
                <a:lnTo>
                  <a:pt x="719" y="730"/>
                </a:lnTo>
                <a:lnTo>
                  <a:pt x="722" y="730"/>
                </a:lnTo>
                <a:lnTo>
                  <a:pt x="723" y="732"/>
                </a:lnTo>
                <a:lnTo>
                  <a:pt x="726" y="740"/>
                </a:lnTo>
                <a:lnTo>
                  <a:pt x="730" y="747"/>
                </a:lnTo>
                <a:lnTo>
                  <a:pt x="725" y="744"/>
                </a:lnTo>
                <a:lnTo>
                  <a:pt x="723" y="738"/>
                </a:lnTo>
                <a:lnTo>
                  <a:pt x="720" y="733"/>
                </a:lnTo>
                <a:lnTo>
                  <a:pt x="715" y="734"/>
                </a:lnTo>
                <a:close/>
                <a:moveTo>
                  <a:pt x="713" y="825"/>
                </a:moveTo>
                <a:lnTo>
                  <a:pt x="713" y="825"/>
                </a:lnTo>
                <a:lnTo>
                  <a:pt x="713" y="826"/>
                </a:lnTo>
                <a:lnTo>
                  <a:pt x="715" y="826"/>
                </a:lnTo>
                <a:lnTo>
                  <a:pt x="716" y="826"/>
                </a:lnTo>
                <a:lnTo>
                  <a:pt x="715" y="828"/>
                </a:lnTo>
                <a:lnTo>
                  <a:pt x="713" y="829"/>
                </a:lnTo>
                <a:lnTo>
                  <a:pt x="713" y="830"/>
                </a:lnTo>
                <a:lnTo>
                  <a:pt x="713" y="831"/>
                </a:lnTo>
                <a:lnTo>
                  <a:pt x="716" y="832"/>
                </a:lnTo>
                <a:lnTo>
                  <a:pt x="716" y="833"/>
                </a:lnTo>
                <a:lnTo>
                  <a:pt x="716" y="832"/>
                </a:lnTo>
                <a:lnTo>
                  <a:pt x="713" y="831"/>
                </a:lnTo>
                <a:lnTo>
                  <a:pt x="713" y="830"/>
                </a:lnTo>
                <a:lnTo>
                  <a:pt x="713" y="829"/>
                </a:lnTo>
                <a:lnTo>
                  <a:pt x="713" y="828"/>
                </a:lnTo>
                <a:lnTo>
                  <a:pt x="713" y="826"/>
                </a:lnTo>
                <a:lnTo>
                  <a:pt x="713" y="825"/>
                </a:lnTo>
                <a:lnTo>
                  <a:pt x="713" y="825"/>
                </a:lnTo>
                <a:close/>
                <a:moveTo>
                  <a:pt x="731" y="684"/>
                </a:moveTo>
                <a:lnTo>
                  <a:pt x="731" y="686"/>
                </a:lnTo>
                <a:lnTo>
                  <a:pt x="731" y="688"/>
                </a:lnTo>
                <a:lnTo>
                  <a:pt x="727" y="690"/>
                </a:lnTo>
                <a:lnTo>
                  <a:pt x="723" y="691"/>
                </a:lnTo>
                <a:lnTo>
                  <a:pt x="725" y="688"/>
                </a:lnTo>
                <a:lnTo>
                  <a:pt x="727" y="685"/>
                </a:lnTo>
                <a:lnTo>
                  <a:pt x="730" y="685"/>
                </a:lnTo>
                <a:lnTo>
                  <a:pt x="731" y="684"/>
                </a:lnTo>
                <a:close/>
                <a:moveTo>
                  <a:pt x="734" y="746"/>
                </a:moveTo>
                <a:lnTo>
                  <a:pt x="736" y="748"/>
                </a:lnTo>
                <a:lnTo>
                  <a:pt x="736" y="749"/>
                </a:lnTo>
                <a:lnTo>
                  <a:pt x="738" y="749"/>
                </a:lnTo>
                <a:lnTo>
                  <a:pt x="740" y="751"/>
                </a:lnTo>
                <a:lnTo>
                  <a:pt x="738" y="749"/>
                </a:lnTo>
                <a:lnTo>
                  <a:pt x="736" y="749"/>
                </a:lnTo>
                <a:lnTo>
                  <a:pt x="736" y="751"/>
                </a:lnTo>
                <a:lnTo>
                  <a:pt x="736" y="751"/>
                </a:lnTo>
                <a:lnTo>
                  <a:pt x="736" y="749"/>
                </a:lnTo>
                <a:lnTo>
                  <a:pt x="736" y="748"/>
                </a:lnTo>
                <a:lnTo>
                  <a:pt x="734" y="746"/>
                </a:lnTo>
                <a:close/>
                <a:moveTo>
                  <a:pt x="745" y="712"/>
                </a:moveTo>
                <a:lnTo>
                  <a:pt x="744" y="712"/>
                </a:lnTo>
                <a:lnTo>
                  <a:pt x="744" y="712"/>
                </a:lnTo>
                <a:lnTo>
                  <a:pt x="741" y="709"/>
                </a:lnTo>
                <a:lnTo>
                  <a:pt x="741" y="706"/>
                </a:lnTo>
                <a:lnTo>
                  <a:pt x="741" y="705"/>
                </a:lnTo>
                <a:lnTo>
                  <a:pt x="743" y="705"/>
                </a:lnTo>
                <a:lnTo>
                  <a:pt x="745" y="709"/>
                </a:lnTo>
                <a:lnTo>
                  <a:pt x="745" y="712"/>
                </a:lnTo>
                <a:close/>
                <a:moveTo>
                  <a:pt x="747" y="737"/>
                </a:moveTo>
                <a:lnTo>
                  <a:pt x="746" y="734"/>
                </a:lnTo>
                <a:lnTo>
                  <a:pt x="745" y="733"/>
                </a:lnTo>
                <a:lnTo>
                  <a:pt x="746" y="734"/>
                </a:lnTo>
                <a:lnTo>
                  <a:pt x="747" y="737"/>
                </a:lnTo>
                <a:close/>
                <a:moveTo>
                  <a:pt x="774" y="628"/>
                </a:moveTo>
                <a:lnTo>
                  <a:pt x="774" y="628"/>
                </a:lnTo>
                <a:lnTo>
                  <a:pt x="773" y="629"/>
                </a:lnTo>
                <a:lnTo>
                  <a:pt x="766" y="632"/>
                </a:lnTo>
                <a:lnTo>
                  <a:pt x="757" y="632"/>
                </a:lnTo>
                <a:lnTo>
                  <a:pt x="757" y="635"/>
                </a:lnTo>
                <a:lnTo>
                  <a:pt x="753" y="636"/>
                </a:lnTo>
                <a:lnTo>
                  <a:pt x="753" y="633"/>
                </a:lnTo>
                <a:lnTo>
                  <a:pt x="757" y="632"/>
                </a:lnTo>
                <a:lnTo>
                  <a:pt x="760" y="628"/>
                </a:lnTo>
                <a:lnTo>
                  <a:pt x="765" y="628"/>
                </a:lnTo>
                <a:lnTo>
                  <a:pt x="770" y="628"/>
                </a:lnTo>
                <a:lnTo>
                  <a:pt x="774" y="628"/>
                </a:lnTo>
                <a:close/>
                <a:moveTo>
                  <a:pt x="757" y="696"/>
                </a:moveTo>
                <a:lnTo>
                  <a:pt x="758" y="693"/>
                </a:lnTo>
                <a:lnTo>
                  <a:pt x="759" y="692"/>
                </a:lnTo>
                <a:lnTo>
                  <a:pt x="760" y="693"/>
                </a:lnTo>
                <a:lnTo>
                  <a:pt x="760" y="695"/>
                </a:lnTo>
                <a:lnTo>
                  <a:pt x="759" y="696"/>
                </a:lnTo>
                <a:lnTo>
                  <a:pt x="757" y="696"/>
                </a:lnTo>
                <a:close/>
                <a:moveTo>
                  <a:pt x="839" y="782"/>
                </a:moveTo>
                <a:lnTo>
                  <a:pt x="839" y="782"/>
                </a:lnTo>
                <a:lnTo>
                  <a:pt x="840" y="782"/>
                </a:lnTo>
                <a:lnTo>
                  <a:pt x="839" y="783"/>
                </a:lnTo>
                <a:lnTo>
                  <a:pt x="837" y="783"/>
                </a:lnTo>
                <a:lnTo>
                  <a:pt x="836" y="784"/>
                </a:lnTo>
                <a:lnTo>
                  <a:pt x="836" y="784"/>
                </a:lnTo>
                <a:lnTo>
                  <a:pt x="836" y="784"/>
                </a:lnTo>
                <a:lnTo>
                  <a:pt x="837" y="784"/>
                </a:lnTo>
                <a:lnTo>
                  <a:pt x="837" y="783"/>
                </a:lnTo>
                <a:lnTo>
                  <a:pt x="837" y="782"/>
                </a:lnTo>
                <a:lnTo>
                  <a:pt x="839" y="782"/>
                </a:lnTo>
                <a:close/>
                <a:moveTo>
                  <a:pt x="854" y="683"/>
                </a:moveTo>
                <a:lnTo>
                  <a:pt x="854" y="683"/>
                </a:lnTo>
                <a:lnTo>
                  <a:pt x="853" y="684"/>
                </a:lnTo>
                <a:lnTo>
                  <a:pt x="854" y="683"/>
                </a:lnTo>
                <a:lnTo>
                  <a:pt x="854" y="683"/>
                </a:lnTo>
                <a:lnTo>
                  <a:pt x="856" y="683"/>
                </a:lnTo>
                <a:lnTo>
                  <a:pt x="857" y="684"/>
                </a:lnTo>
                <a:lnTo>
                  <a:pt x="856" y="683"/>
                </a:lnTo>
                <a:lnTo>
                  <a:pt x="854" y="683"/>
                </a:lnTo>
                <a:close/>
                <a:moveTo>
                  <a:pt x="862" y="747"/>
                </a:moveTo>
                <a:lnTo>
                  <a:pt x="862" y="749"/>
                </a:lnTo>
                <a:lnTo>
                  <a:pt x="862" y="752"/>
                </a:lnTo>
                <a:lnTo>
                  <a:pt x="860" y="753"/>
                </a:lnTo>
                <a:lnTo>
                  <a:pt x="858" y="755"/>
                </a:lnTo>
                <a:lnTo>
                  <a:pt x="856" y="754"/>
                </a:lnTo>
                <a:lnTo>
                  <a:pt x="855" y="752"/>
                </a:lnTo>
                <a:lnTo>
                  <a:pt x="858" y="748"/>
                </a:lnTo>
                <a:lnTo>
                  <a:pt x="862" y="747"/>
                </a:lnTo>
                <a:close/>
                <a:moveTo>
                  <a:pt x="861" y="480"/>
                </a:moveTo>
                <a:lnTo>
                  <a:pt x="861" y="480"/>
                </a:lnTo>
                <a:lnTo>
                  <a:pt x="861" y="480"/>
                </a:lnTo>
                <a:lnTo>
                  <a:pt x="861" y="480"/>
                </a:lnTo>
                <a:lnTo>
                  <a:pt x="861" y="480"/>
                </a:lnTo>
                <a:lnTo>
                  <a:pt x="861" y="479"/>
                </a:lnTo>
                <a:lnTo>
                  <a:pt x="862" y="476"/>
                </a:lnTo>
                <a:lnTo>
                  <a:pt x="861" y="479"/>
                </a:lnTo>
                <a:lnTo>
                  <a:pt x="861" y="480"/>
                </a:lnTo>
                <a:close/>
                <a:moveTo>
                  <a:pt x="862" y="541"/>
                </a:moveTo>
                <a:lnTo>
                  <a:pt x="863" y="539"/>
                </a:lnTo>
                <a:lnTo>
                  <a:pt x="863" y="538"/>
                </a:lnTo>
                <a:lnTo>
                  <a:pt x="863" y="539"/>
                </a:lnTo>
                <a:lnTo>
                  <a:pt x="862" y="541"/>
                </a:lnTo>
                <a:close/>
                <a:moveTo>
                  <a:pt x="867" y="747"/>
                </a:moveTo>
                <a:lnTo>
                  <a:pt x="870" y="752"/>
                </a:lnTo>
                <a:lnTo>
                  <a:pt x="867" y="755"/>
                </a:lnTo>
                <a:lnTo>
                  <a:pt x="865" y="752"/>
                </a:lnTo>
                <a:lnTo>
                  <a:pt x="867" y="747"/>
                </a:lnTo>
                <a:close/>
                <a:moveTo>
                  <a:pt x="862" y="814"/>
                </a:moveTo>
                <a:lnTo>
                  <a:pt x="862" y="805"/>
                </a:lnTo>
                <a:lnTo>
                  <a:pt x="864" y="800"/>
                </a:lnTo>
                <a:lnTo>
                  <a:pt x="867" y="797"/>
                </a:lnTo>
                <a:lnTo>
                  <a:pt x="870" y="797"/>
                </a:lnTo>
                <a:lnTo>
                  <a:pt x="870" y="800"/>
                </a:lnTo>
                <a:lnTo>
                  <a:pt x="869" y="802"/>
                </a:lnTo>
                <a:lnTo>
                  <a:pt x="864" y="808"/>
                </a:lnTo>
                <a:lnTo>
                  <a:pt x="862" y="814"/>
                </a:lnTo>
                <a:close/>
                <a:moveTo>
                  <a:pt x="864" y="872"/>
                </a:moveTo>
                <a:lnTo>
                  <a:pt x="864" y="871"/>
                </a:lnTo>
                <a:lnTo>
                  <a:pt x="864" y="870"/>
                </a:lnTo>
                <a:lnTo>
                  <a:pt x="865" y="868"/>
                </a:lnTo>
                <a:lnTo>
                  <a:pt x="867" y="868"/>
                </a:lnTo>
                <a:lnTo>
                  <a:pt x="865" y="868"/>
                </a:lnTo>
                <a:lnTo>
                  <a:pt x="864" y="870"/>
                </a:lnTo>
                <a:lnTo>
                  <a:pt x="864" y="871"/>
                </a:lnTo>
                <a:lnTo>
                  <a:pt x="864" y="872"/>
                </a:lnTo>
                <a:close/>
                <a:moveTo>
                  <a:pt x="858" y="819"/>
                </a:moveTo>
                <a:lnTo>
                  <a:pt x="857" y="818"/>
                </a:lnTo>
                <a:lnTo>
                  <a:pt x="857" y="817"/>
                </a:lnTo>
                <a:lnTo>
                  <a:pt x="858" y="815"/>
                </a:lnTo>
                <a:lnTo>
                  <a:pt x="862" y="814"/>
                </a:lnTo>
                <a:lnTo>
                  <a:pt x="862" y="817"/>
                </a:lnTo>
                <a:lnTo>
                  <a:pt x="858" y="819"/>
                </a:lnTo>
                <a:close/>
                <a:moveTo>
                  <a:pt x="847" y="1158"/>
                </a:moveTo>
                <a:lnTo>
                  <a:pt x="846" y="1158"/>
                </a:lnTo>
                <a:lnTo>
                  <a:pt x="846" y="1157"/>
                </a:lnTo>
                <a:lnTo>
                  <a:pt x="846" y="1156"/>
                </a:lnTo>
                <a:lnTo>
                  <a:pt x="847" y="1156"/>
                </a:lnTo>
                <a:lnTo>
                  <a:pt x="846" y="1156"/>
                </a:lnTo>
                <a:lnTo>
                  <a:pt x="846" y="1157"/>
                </a:lnTo>
                <a:lnTo>
                  <a:pt x="846" y="1158"/>
                </a:lnTo>
                <a:lnTo>
                  <a:pt x="847" y="1158"/>
                </a:lnTo>
                <a:close/>
                <a:moveTo>
                  <a:pt x="839" y="1146"/>
                </a:moveTo>
                <a:lnTo>
                  <a:pt x="839" y="1146"/>
                </a:lnTo>
                <a:lnTo>
                  <a:pt x="839" y="1146"/>
                </a:lnTo>
                <a:lnTo>
                  <a:pt x="839" y="1146"/>
                </a:lnTo>
                <a:lnTo>
                  <a:pt x="839" y="1146"/>
                </a:lnTo>
                <a:lnTo>
                  <a:pt x="840" y="1146"/>
                </a:lnTo>
                <a:lnTo>
                  <a:pt x="840" y="1147"/>
                </a:lnTo>
                <a:lnTo>
                  <a:pt x="839" y="1147"/>
                </a:lnTo>
                <a:lnTo>
                  <a:pt x="837" y="1147"/>
                </a:lnTo>
                <a:lnTo>
                  <a:pt x="837" y="1147"/>
                </a:lnTo>
                <a:lnTo>
                  <a:pt x="839" y="1146"/>
                </a:lnTo>
                <a:close/>
                <a:moveTo>
                  <a:pt x="835" y="1280"/>
                </a:moveTo>
                <a:lnTo>
                  <a:pt x="834" y="1282"/>
                </a:lnTo>
                <a:lnTo>
                  <a:pt x="833" y="1283"/>
                </a:lnTo>
                <a:lnTo>
                  <a:pt x="834" y="1282"/>
                </a:lnTo>
                <a:lnTo>
                  <a:pt x="835" y="1280"/>
                </a:lnTo>
                <a:close/>
                <a:moveTo>
                  <a:pt x="824" y="1003"/>
                </a:moveTo>
                <a:lnTo>
                  <a:pt x="824" y="1006"/>
                </a:lnTo>
                <a:lnTo>
                  <a:pt x="822" y="1008"/>
                </a:lnTo>
                <a:lnTo>
                  <a:pt x="824" y="1006"/>
                </a:lnTo>
                <a:lnTo>
                  <a:pt x="824" y="1003"/>
                </a:lnTo>
                <a:lnTo>
                  <a:pt x="827" y="1001"/>
                </a:lnTo>
                <a:lnTo>
                  <a:pt x="829" y="1000"/>
                </a:lnTo>
                <a:lnTo>
                  <a:pt x="827" y="1001"/>
                </a:lnTo>
                <a:lnTo>
                  <a:pt x="824" y="1003"/>
                </a:lnTo>
                <a:close/>
                <a:moveTo>
                  <a:pt x="816" y="983"/>
                </a:moveTo>
                <a:lnTo>
                  <a:pt x="817" y="983"/>
                </a:lnTo>
                <a:lnTo>
                  <a:pt x="820" y="983"/>
                </a:lnTo>
                <a:lnTo>
                  <a:pt x="817" y="983"/>
                </a:lnTo>
                <a:lnTo>
                  <a:pt x="816" y="983"/>
                </a:lnTo>
                <a:close/>
                <a:moveTo>
                  <a:pt x="844" y="1138"/>
                </a:moveTo>
                <a:lnTo>
                  <a:pt x="844" y="1137"/>
                </a:lnTo>
                <a:lnTo>
                  <a:pt x="846" y="1137"/>
                </a:lnTo>
                <a:lnTo>
                  <a:pt x="844" y="1137"/>
                </a:lnTo>
                <a:lnTo>
                  <a:pt x="844" y="1138"/>
                </a:lnTo>
                <a:close/>
                <a:moveTo>
                  <a:pt x="847" y="868"/>
                </a:moveTo>
                <a:lnTo>
                  <a:pt x="840" y="866"/>
                </a:lnTo>
                <a:lnTo>
                  <a:pt x="834" y="865"/>
                </a:lnTo>
                <a:lnTo>
                  <a:pt x="833" y="865"/>
                </a:lnTo>
                <a:lnTo>
                  <a:pt x="832" y="865"/>
                </a:lnTo>
                <a:lnTo>
                  <a:pt x="833" y="865"/>
                </a:lnTo>
                <a:lnTo>
                  <a:pt x="834" y="865"/>
                </a:lnTo>
                <a:lnTo>
                  <a:pt x="840" y="866"/>
                </a:lnTo>
                <a:lnTo>
                  <a:pt x="847" y="868"/>
                </a:lnTo>
                <a:close/>
                <a:moveTo>
                  <a:pt x="850" y="831"/>
                </a:moveTo>
                <a:lnTo>
                  <a:pt x="844" y="832"/>
                </a:lnTo>
                <a:lnTo>
                  <a:pt x="841" y="836"/>
                </a:lnTo>
                <a:lnTo>
                  <a:pt x="843" y="838"/>
                </a:lnTo>
                <a:lnTo>
                  <a:pt x="844" y="838"/>
                </a:lnTo>
                <a:lnTo>
                  <a:pt x="847" y="837"/>
                </a:lnTo>
                <a:lnTo>
                  <a:pt x="849" y="838"/>
                </a:lnTo>
                <a:lnTo>
                  <a:pt x="849" y="840"/>
                </a:lnTo>
                <a:lnTo>
                  <a:pt x="847" y="843"/>
                </a:lnTo>
                <a:lnTo>
                  <a:pt x="841" y="842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3"/>
                </a:lnTo>
                <a:lnTo>
                  <a:pt x="841" y="831"/>
                </a:lnTo>
                <a:lnTo>
                  <a:pt x="839" y="828"/>
                </a:lnTo>
                <a:lnTo>
                  <a:pt x="841" y="826"/>
                </a:lnTo>
                <a:lnTo>
                  <a:pt x="843" y="825"/>
                </a:lnTo>
                <a:lnTo>
                  <a:pt x="843" y="829"/>
                </a:lnTo>
                <a:lnTo>
                  <a:pt x="846" y="830"/>
                </a:lnTo>
                <a:lnTo>
                  <a:pt x="850" y="831"/>
                </a:lnTo>
                <a:close/>
                <a:moveTo>
                  <a:pt x="828" y="940"/>
                </a:moveTo>
                <a:lnTo>
                  <a:pt x="829" y="940"/>
                </a:lnTo>
                <a:lnTo>
                  <a:pt x="830" y="940"/>
                </a:lnTo>
                <a:lnTo>
                  <a:pt x="829" y="940"/>
                </a:lnTo>
                <a:lnTo>
                  <a:pt x="828" y="940"/>
                </a:lnTo>
                <a:lnTo>
                  <a:pt x="827" y="935"/>
                </a:lnTo>
                <a:lnTo>
                  <a:pt x="829" y="930"/>
                </a:lnTo>
                <a:lnTo>
                  <a:pt x="827" y="935"/>
                </a:lnTo>
                <a:lnTo>
                  <a:pt x="828" y="940"/>
                </a:lnTo>
                <a:close/>
                <a:moveTo>
                  <a:pt x="829" y="952"/>
                </a:moveTo>
                <a:lnTo>
                  <a:pt x="822" y="952"/>
                </a:lnTo>
                <a:lnTo>
                  <a:pt x="816" y="954"/>
                </a:lnTo>
                <a:lnTo>
                  <a:pt x="822" y="952"/>
                </a:lnTo>
                <a:lnTo>
                  <a:pt x="829" y="952"/>
                </a:lnTo>
                <a:close/>
                <a:moveTo>
                  <a:pt x="815" y="815"/>
                </a:moveTo>
                <a:lnTo>
                  <a:pt x="815" y="815"/>
                </a:lnTo>
                <a:lnTo>
                  <a:pt x="812" y="815"/>
                </a:lnTo>
                <a:lnTo>
                  <a:pt x="809" y="816"/>
                </a:lnTo>
                <a:lnTo>
                  <a:pt x="812" y="815"/>
                </a:lnTo>
                <a:lnTo>
                  <a:pt x="815" y="815"/>
                </a:lnTo>
                <a:close/>
                <a:moveTo>
                  <a:pt x="816" y="789"/>
                </a:moveTo>
                <a:lnTo>
                  <a:pt x="816" y="789"/>
                </a:lnTo>
                <a:lnTo>
                  <a:pt x="816" y="789"/>
                </a:lnTo>
                <a:lnTo>
                  <a:pt x="816" y="789"/>
                </a:lnTo>
                <a:lnTo>
                  <a:pt x="816" y="789"/>
                </a:lnTo>
                <a:lnTo>
                  <a:pt x="814" y="789"/>
                </a:lnTo>
                <a:lnTo>
                  <a:pt x="812" y="790"/>
                </a:lnTo>
                <a:lnTo>
                  <a:pt x="814" y="789"/>
                </a:lnTo>
                <a:lnTo>
                  <a:pt x="816" y="789"/>
                </a:lnTo>
                <a:close/>
                <a:moveTo>
                  <a:pt x="810" y="686"/>
                </a:moveTo>
                <a:lnTo>
                  <a:pt x="812" y="685"/>
                </a:lnTo>
                <a:lnTo>
                  <a:pt x="814" y="686"/>
                </a:lnTo>
                <a:lnTo>
                  <a:pt x="814" y="686"/>
                </a:lnTo>
                <a:lnTo>
                  <a:pt x="815" y="688"/>
                </a:lnTo>
                <a:lnTo>
                  <a:pt x="813" y="688"/>
                </a:lnTo>
                <a:lnTo>
                  <a:pt x="810" y="686"/>
                </a:lnTo>
                <a:close/>
                <a:moveTo>
                  <a:pt x="800" y="964"/>
                </a:moveTo>
                <a:lnTo>
                  <a:pt x="800" y="965"/>
                </a:lnTo>
                <a:lnTo>
                  <a:pt x="802" y="966"/>
                </a:lnTo>
                <a:lnTo>
                  <a:pt x="801" y="968"/>
                </a:lnTo>
                <a:lnTo>
                  <a:pt x="801" y="969"/>
                </a:lnTo>
                <a:lnTo>
                  <a:pt x="801" y="968"/>
                </a:lnTo>
                <a:lnTo>
                  <a:pt x="802" y="966"/>
                </a:lnTo>
                <a:lnTo>
                  <a:pt x="800" y="965"/>
                </a:lnTo>
                <a:lnTo>
                  <a:pt x="800" y="964"/>
                </a:lnTo>
                <a:close/>
                <a:moveTo>
                  <a:pt x="800" y="691"/>
                </a:moveTo>
                <a:lnTo>
                  <a:pt x="801" y="691"/>
                </a:lnTo>
                <a:lnTo>
                  <a:pt x="802" y="691"/>
                </a:lnTo>
                <a:lnTo>
                  <a:pt x="801" y="692"/>
                </a:lnTo>
                <a:lnTo>
                  <a:pt x="800" y="691"/>
                </a:lnTo>
                <a:close/>
                <a:moveTo>
                  <a:pt x="795" y="878"/>
                </a:moveTo>
                <a:lnTo>
                  <a:pt x="792" y="881"/>
                </a:lnTo>
                <a:lnTo>
                  <a:pt x="789" y="879"/>
                </a:lnTo>
                <a:lnTo>
                  <a:pt x="788" y="875"/>
                </a:lnTo>
                <a:lnTo>
                  <a:pt x="786" y="872"/>
                </a:lnTo>
                <a:lnTo>
                  <a:pt x="792" y="874"/>
                </a:lnTo>
                <a:lnTo>
                  <a:pt x="795" y="878"/>
                </a:lnTo>
                <a:close/>
                <a:moveTo>
                  <a:pt x="773" y="836"/>
                </a:moveTo>
                <a:lnTo>
                  <a:pt x="773" y="838"/>
                </a:lnTo>
                <a:lnTo>
                  <a:pt x="772" y="839"/>
                </a:lnTo>
                <a:lnTo>
                  <a:pt x="766" y="833"/>
                </a:lnTo>
                <a:lnTo>
                  <a:pt x="761" y="828"/>
                </a:lnTo>
                <a:lnTo>
                  <a:pt x="761" y="826"/>
                </a:lnTo>
                <a:lnTo>
                  <a:pt x="761" y="826"/>
                </a:lnTo>
                <a:lnTo>
                  <a:pt x="764" y="824"/>
                </a:lnTo>
                <a:lnTo>
                  <a:pt x="767" y="822"/>
                </a:lnTo>
                <a:lnTo>
                  <a:pt x="768" y="821"/>
                </a:lnTo>
                <a:lnTo>
                  <a:pt x="770" y="822"/>
                </a:lnTo>
                <a:lnTo>
                  <a:pt x="772" y="823"/>
                </a:lnTo>
                <a:lnTo>
                  <a:pt x="772" y="825"/>
                </a:lnTo>
                <a:lnTo>
                  <a:pt x="770" y="831"/>
                </a:lnTo>
                <a:lnTo>
                  <a:pt x="773" y="836"/>
                </a:lnTo>
                <a:close/>
                <a:moveTo>
                  <a:pt x="795" y="987"/>
                </a:moveTo>
                <a:lnTo>
                  <a:pt x="795" y="985"/>
                </a:lnTo>
                <a:lnTo>
                  <a:pt x="795" y="983"/>
                </a:lnTo>
                <a:lnTo>
                  <a:pt x="795" y="983"/>
                </a:lnTo>
                <a:lnTo>
                  <a:pt x="795" y="983"/>
                </a:lnTo>
                <a:lnTo>
                  <a:pt x="795" y="982"/>
                </a:lnTo>
                <a:lnTo>
                  <a:pt x="799" y="980"/>
                </a:lnTo>
                <a:lnTo>
                  <a:pt x="802" y="978"/>
                </a:lnTo>
                <a:lnTo>
                  <a:pt x="799" y="980"/>
                </a:lnTo>
                <a:lnTo>
                  <a:pt x="795" y="982"/>
                </a:lnTo>
                <a:lnTo>
                  <a:pt x="795" y="983"/>
                </a:lnTo>
                <a:lnTo>
                  <a:pt x="795" y="983"/>
                </a:lnTo>
                <a:lnTo>
                  <a:pt x="795" y="985"/>
                </a:lnTo>
                <a:lnTo>
                  <a:pt x="795" y="987"/>
                </a:lnTo>
                <a:close/>
                <a:moveTo>
                  <a:pt x="803" y="916"/>
                </a:moveTo>
                <a:lnTo>
                  <a:pt x="801" y="915"/>
                </a:lnTo>
                <a:lnTo>
                  <a:pt x="799" y="915"/>
                </a:lnTo>
                <a:lnTo>
                  <a:pt x="799" y="914"/>
                </a:lnTo>
                <a:lnTo>
                  <a:pt x="799" y="913"/>
                </a:lnTo>
                <a:lnTo>
                  <a:pt x="799" y="910"/>
                </a:lnTo>
                <a:lnTo>
                  <a:pt x="799" y="907"/>
                </a:lnTo>
                <a:lnTo>
                  <a:pt x="802" y="907"/>
                </a:lnTo>
                <a:lnTo>
                  <a:pt x="807" y="907"/>
                </a:lnTo>
                <a:lnTo>
                  <a:pt x="806" y="908"/>
                </a:lnTo>
                <a:lnTo>
                  <a:pt x="806" y="909"/>
                </a:lnTo>
                <a:lnTo>
                  <a:pt x="803" y="913"/>
                </a:lnTo>
                <a:lnTo>
                  <a:pt x="803" y="916"/>
                </a:lnTo>
                <a:close/>
                <a:moveTo>
                  <a:pt x="806" y="949"/>
                </a:moveTo>
                <a:lnTo>
                  <a:pt x="813" y="948"/>
                </a:lnTo>
                <a:lnTo>
                  <a:pt x="819" y="944"/>
                </a:lnTo>
                <a:lnTo>
                  <a:pt x="813" y="948"/>
                </a:lnTo>
                <a:lnTo>
                  <a:pt x="806" y="949"/>
                </a:lnTo>
                <a:close/>
                <a:moveTo>
                  <a:pt x="814" y="1238"/>
                </a:moveTo>
                <a:lnTo>
                  <a:pt x="815" y="1238"/>
                </a:lnTo>
                <a:lnTo>
                  <a:pt x="816" y="1240"/>
                </a:lnTo>
                <a:lnTo>
                  <a:pt x="816" y="1241"/>
                </a:lnTo>
                <a:lnTo>
                  <a:pt x="816" y="1243"/>
                </a:lnTo>
                <a:lnTo>
                  <a:pt x="816" y="1241"/>
                </a:lnTo>
                <a:lnTo>
                  <a:pt x="816" y="1240"/>
                </a:lnTo>
                <a:lnTo>
                  <a:pt x="815" y="1238"/>
                </a:lnTo>
                <a:lnTo>
                  <a:pt x="814" y="1238"/>
                </a:lnTo>
                <a:close/>
                <a:moveTo>
                  <a:pt x="821" y="1164"/>
                </a:moveTo>
                <a:lnTo>
                  <a:pt x="822" y="1164"/>
                </a:lnTo>
                <a:lnTo>
                  <a:pt x="823" y="1164"/>
                </a:lnTo>
                <a:lnTo>
                  <a:pt x="822" y="1164"/>
                </a:lnTo>
                <a:lnTo>
                  <a:pt x="821" y="1164"/>
                </a:lnTo>
                <a:close/>
                <a:moveTo>
                  <a:pt x="824" y="1117"/>
                </a:moveTo>
                <a:lnTo>
                  <a:pt x="820" y="1121"/>
                </a:lnTo>
                <a:lnTo>
                  <a:pt x="816" y="1126"/>
                </a:lnTo>
                <a:lnTo>
                  <a:pt x="813" y="1128"/>
                </a:lnTo>
                <a:lnTo>
                  <a:pt x="812" y="1130"/>
                </a:lnTo>
                <a:lnTo>
                  <a:pt x="813" y="1128"/>
                </a:lnTo>
                <a:lnTo>
                  <a:pt x="816" y="1126"/>
                </a:lnTo>
                <a:lnTo>
                  <a:pt x="820" y="1121"/>
                </a:lnTo>
                <a:lnTo>
                  <a:pt x="824" y="1117"/>
                </a:lnTo>
                <a:lnTo>
                  <a:pt x="824" y="1115"/>
                </a:lnTo>
                <a:lnTo>
                  <a:pt x="826" y="1114"/>
                </a:lnTo>
                <a:lnTo>
                  <a:pt x="824" y="1115"/>
                </a:lnTo>
                <a:lnTo>
                  <a:pt x="824" y="1117"/>
                </a:lnTo>
                <a:close/>
                <a:moveTo>
                  <a:pt x="829" y="1133"/>
                </a:moveTo>
                <a:lnTo>
                  <a:pt x="828" y="1136"/>
                </a:lnTo>
                <a:lnTo>
                  <a:pt x="827" y="1138"/>
                </a:lnTo>
                <a:lnTo>
                  <a:pt x="828" y="1136"/>
                </a:lnTo>
                <a:lnTo>
                  <a:pt x="829" y="1133"/>
                </a:lnTo>
                <a:lnTo>
                  <a:pt x="832" y="1132"/>
                </a:lnTo>
                <a:lnTo>
                  <a:pt x="833" y="1130"/>
                </a:lnTo>
                <a:lnTo>
                  <a:pt x="832" y="1132"/>
                </a:lnTo>
                <a:lnTo>
                  <a:pt x="829" y="1133"/>
                </a:lnTo>
                <a:close/>
                <a:moveTo>
                  <a:pt x="833" y="1147"/>
                </a:moveTo>
                <a:lnTo>
                  <a:pt x="835" y="1145"/>
                </a:lnTo>
                <a:lnTo>
                  <a:pt x="840" y="1142"/>
                </a:lnTo>
                <a:lnTo>
                  <a:pt x="840" y="1139"/>
                </a:lnTo>
                <a:lnTo>
                  <a:pt x="842" y="1138"/>
                </a:lnTo>
                <a:lnTo>
                  <a:pt x="840" y="1139"/>
                </a:lnTo>
                <a:lnTo>
                  <a:pt x="840" y="1142"/>
                </a:lnTo>
                <a:lnTo>
                  <a:pt x="835" y="1145"/>
                </a:lnTo>
                <a:lnTo>
                  <a:pt x="833" y="1147"/>
                </a:lnTo>
                <a:close/>
                <a:moveTo>
                  <a:pt x="851" y="1285"/>
                </a:moveTo>
                <a:lnTo>
                  <a:pt x="848" y="1285"/>
                </a:lnTo>
                <a:lnTo>
                  <a:pt x="846" y="1285"/>
                </a:lnTo>
                <a:lnTo>
                  <a:pt x="844" y="1287"/>
                </a:lnTo>
                <a:lnTo>
                  <a:pt x="843" y="1289"/>
                </a:lnTo>
                <a:lnTo>
                  <a:pt x="844" y="1287"/>
                </a:lnTo>
                <a:lnTo>
                  <a:pt x="846" y="1285"/>
                </a:lnTo>
                <a:lnTo>
                  <a:pt x="848" y="1285"/>
                </a:lnTo>
                <a:lnTo>
                  <a:pt x="851" y="1285"/>
                </a:lnTo>
                <a:close/>
                <a:moveTo>
                  <a:pt x="854" y="1241"/>
                </a:moveTo>
                <a:lnTo>
                  <a:pt x="846" y="1244"/>
                </a:lnTo>
                <a:lnTo>
                  <a:pt x="839" y="1250"/>
                </a:lnTo>
                <a:lnTo>
                  <a:pt x="846" y="1244"/>
                </a:lnTo>
                <a:lnTo>
                  <a:pt x="854" y="1241"/>
                </a:lnTo>
                <a:lnTo>
                  <a:pt x="855" y="1240"/>
                </a:lnTo>
                <a:lnTo>
                  <a:pt x="855" y="1238"/>
                </a:lnTo>
                <a:lnTo>
                  <a:pt x="855" y="1237"/>
                </a:lnTo>
                <a:lnTo>
                  <a:pt x="855" y="1235"/>
                </a:lnTo>
                <a:lnTo>
                  <a:pt x="855" y="1237"/>
                </a:lnTo>
                <a:lnTo>
                  <a:pt x="855" y="1238"/>
                </a:lnTo>
                <a:lnTo>
                  <a:pt x="855" y="1240"/>
                </a:lnTo>
                <a:lnTo>
                  <a:pt x="854" y="1241"/>
                </a:lnTo>
                <a:close/>
                <a:moveTo>
                  <a:pt x="864" y="1117"/>
                </a:moveTo>
                <a:lnTo>
                  <a:pt x="863" y="1117"/>
                </a:lnTo>
                <a:lnTo>
                  <a:pt x="863" y="1118"/>
                </a:lnTo>
                <a:lnTo>
                  <a:pt x="864" y="1117"/>
                </a:lnTo>
                <a:lnTo>
                  <a:pt x="864" y="1115"/>
                </a:lnTo>
                <a:lnTo>
                  <a:pt x="865" y="1114"/>
                </a:lnTo>
                <a:lnTo>
                  <a:pt x="867" y="1114"/>
                </a:lnTo>
                <a:lnTo>
                  <a:pt x="867" y="1115"/>
                </a:lnTo>
                <a:lnTo>
                  <a:pt x="865" y="1116"/>
                </a:lnTo>
                <a:lnTo>
                  <a:pt x="864" y="1117"/>
                </a:lnTo>
                <a:close/>
                <a:moveTo>
                  <a:pt x="867" y="917"/>
                </a:moveTo>
                <a:lnTo>
                  <a:pt x="867" y="916"/>
                </a:lnTo>
                <a:lnTo>
                  <a:pt x="867" y="914"/>
                </a:lnTo>
                <a:lnTo>
                  <a:pt x="864" y="919"/>
                </a:lnTo>
                <a:lnTo>
                  <a:pt x="862" y="923"/>
                </a:lnTo>
                <a:lnTo>
                  <a:pt x="864" y="919"/>
                </a:lnTo>
                <a:lnTo>
                  <a:pt x="867" y="914"/>
                </a:lnTo>
                <a:lnTo>
                  <a:pt x="868" y="910"/>
                </a:lnTo>
                <a:lnTo>
                  <a:pt x="868" y="906"/>
                </a:lnTo>
                <a:lnTo>
                  <a:pt x="868" y="910"/>
                </a:lnTo>
                <a:lnTo>
                  <a:pt x="867" y="914"/>
                </a:lnTo>
                <a:lnTo>
                  <a:pt x="867" y="916"/>
                </a:lnTo>
                <a:lnTo>
                  <a:pt x="867" y="917"/>
                </a:lnTo>
                <a:close/>
                <a:moveTo>
                  <a:pt x="875" y="751"/>
                </a:moveTo>
                <a:lnTo>
                  <a:pt x="874" y="749"/>
                </a:lnTo>
                <a:lnTo>
                  <a:pt x="874" y="749"/>
                </a:lnTo>
                <a:lnTo>
                  <a:pt x="875" y="748"/>
                </a:lnTo>
                <a:lnTo>
                  <a:pt x="875" y="748"/>
                </a:lnTo>
                <a:lnTo>
                  <a:pt x="875" y="748"/>
                </a:lnTo>
                <a:lnTo>
                  <a:pt x="876" y="749"/>
                </a:lnTo>
                <a:lnTo>
                  <a:pt x="875" y="749"/>
                </a:lnTo>
                <a:lnTo>
                  <a:pt x="875" y="751"/>
                </a:lnTo>
                <a:close/>
                <a:moveTo>
                  <a:pt x="878" y="601"/>
                </a:moveTo>
                <a:lnTo>
                  <a:pt x="876" y="601"/>
                </a:lnTo>
                <a:lnTo>
                  <a:pt x="874" y="600"/>
                </a:lnTo>
                <a:lnTo>
                  <a:pt x="876" y="601"/>
                </a:lnTo>
                <a:lnTo>
                  <a:pt x="878" y="601"/>
                </a:lnTo>
                <a:close/>
                <a:moveTo>
                  <a:pt x="876" y="445"/>
                </a:moveTo>
                <a:lnTo>
                  <a:pt x="877" y="444"/>
                </a:lnTo>
                <a:lnTo>
                  <a:pt x="878" y="444"/>
                </a:lnTo>
                <a:lnTo>
                  <a:pt x="878" y="444"/>
                </a:lnTo>
                <a:lnTo>
                  <a:pt x="877" y="444"/>
                </a:lnTo>
                <a:lnTo>
                  <a:pt x="876" y="445"/>
                </a:lnTo>
                <a:close/>
                <a:moveTo>
                  <a:pt x="878" y="696"/>
                </a:moveTo>
                <a:lnTo>
                  <a:pt x="870" y="702"/>
                </a:lnTo>
                <a:lnTo>
                  <a:pt x="864" y="705"/>
                </a:lnTo>
                <a:lnTo>
                  <a:pt x="870" y="702"/>
                </a:lnTo>
                <a:lnTo>
                  <a:pt x="878" y="696"/>
                </a:lnTo>
                <a:close/>
                <a:moveTo>
                  <a:pt x="871" y="453"/>
                </a:moveTo>
                <a:lnTo>
                  <a:pt x="871" y="457"/>
                </a:lnTo>
                <a:lnTo>
                  <a:pt x="871" y="460"/>
                </a:lnTo>
                <a:lnTo>
                  <a:pt x="871" y="461"/>
                </a:lnTo>
                <a:lnTo>
                  <a:pt x="870" y="461"/>
                </a:lnTo>
                <a:lnTo>
                  <a:pt x="871" y="460"/>
                </a:lnTo>
                <a:lnTo>
                  <a:pt x="871" y="460"/>
                </a:lnTo>
                <a:lnTo>
                  <a:pt x="871" y="457"/>
                </a:lnTo>
                <a:lnTo>
                  <a:pt x="871" y="453"/>
                </a:lnTo>
                <a:lnTo>
                  <a:pt x="871" y="453"/>
                </a:lnTo>
                <a:lnTo>
                  <a:pt x="872" y="452"/>
                </a:lnTo>
                <a:lnTo>
                  <a:pt x="871" y="453"/>
                </a:lnTo>
                <a:lnTo>
                  <a:pt x="871" y="453"/>
                </a:lnTo>
                <a:close/>
                <a:moveTo>
                  <a:pt x="871" y="493"/>
                </a:moveTo>
                <a:lnTo>
                  <a:pt x="871" y="492"/>
                </a:lnTo>
                <a:lnTo>
                  <a:pt x="871" y="490"/>
                </a:lnTo>
                <a:lnTo>
                  <a:pt x="870" y="488"/>
                </a:lnTo>
                <a:lnTo>
                  <a:pt x="869" y="487"/>
                </a:lnTo>
                <a:lnTo>
                  <a:pt x="870" y="488"/>
                </a:lnTo>
                <a:lnTo>
                  <a:pt x="871" y="490"/>
                </a:lnTo>
                <a:lnTo>
                  <a:pt x="871" y="492"/>
                </a:lnTo>
                <a:lnTo>
                  <a:pt x="871" y="493"/>
                </a:lnTo>
                <a:lnTo>
                  <a:pt x="872" y="494"/>
                </a:lnTo>
                <a:lnTo>
                  <a:pt x="872" y="494"/>
                </a:lnTo>
                <a:lnTo>
                  <a:pt x="872" y="494"/>
                </a:lnTo>
                <a:lnTo>
                  <a:pt x="871" y="493"/>
                </a:lnTo>
                <a:close/>
                <a:moveTo>
                  <a:pt x="868" y="443"/>
                </a:moveTo>
                <a:lnTo>
                  <a:pt x="869" y="444"/>
                </a:lnTo>
                <a:lnTo>
                  <a:pt x="870" y="444"/>
                </a:lnTo>
                <a:lnTo>
                  <a:pt x="869" y="444"/>
                </a:lnTo>
                <a:lnTo>
                  <a:pt x="868" y="443"/>
                </a:lnTo>
                <a:lnTo>
                  <a:pt x="867" y="443"/>
                </a:lnTo>
                <a:lnTo>
                  <a:pt x="865" y="443"/>
                </a:lnTo>
                <a:lnTo>
                  <a:pt x="867" y="443"/>
                </a:lnTo>
                <a:lnTo>
                  <a:pt x="868" y="443"/>
                </a:lnTo>
                <a:close/>
                <a:moveTo>
                  <a:pt x="860" y="549"/>
                </a:moveTo>
                <a:lnTo>
                  <a:pt x="858" y="548"/>
                </a:lnTo>
                <a:lnTo>
                  <a:pt x="858" y="546"/>
                </a:lnTo>
                <a:lnTo>
                  <a:pt x="858" y="548"/>
                </a:lnTo>
                <a:lnTo>
                  <a:pt x="860" y="549"/>
                </a:lnTo>
                <a:close/>
                <a:moveTo>
                  <a:pt x="843" y="518"/>
                </a:moveTo>
                <a:lnTo>
                  <a:pt x="844" y="518"/>
                </a:lnTo>
                <a:lnTo>
                  <a:pt x="846" y="518"/>
                </a:lnTo>
                <a:lnTo>
                  <a:pt x="844" y="518"/>
                </a:lnTo>
                <a:lnTo>
                  <a:pt x="843" y="518"/>
                </a:lnTo>
                <a:lnTo>
                  <a:pt x="842" y="517"/>
                </a:lnTo>
                <a:lnTo>
                  <a:pt x="841" y="515"/>
                </a:lnTo>
                <a:lnTo>
                  <a:pt x="842" y="517"/>
                </a:lnTo>
                <a:lnTo>
                  <a:pt x="843" y="518"/>
                </a:lnTo>
                <a:lnTo>
                  <a:pt x="843" y="518"/>
                </a:lnTo>
                <a:close/>
                <a:moveTo>
                  <a:pt x="839" y="760"/>
                </a:moveTo>
                <a:lnTo>
                  <a:pt x="840" y="760"/>
                </a:lnTo>
                <a:lnTo>
                  <a:pt x="841" y="760"/>
                </a:lnTo>
                <a:lnTo>
                  <a:pt x="841" y="761"/>
                </a:lnTo>
                <a:lnTo>
                  <a:pt x="840" y="762"/>
                </a:lnTo>
                <a:lnTo>
                  <a:pt x="839" y="761"/>
                </a:lnTo>
                <a:lnTo>
                  <a:pt x="839" y="760"/>
                </a:lnTo>
                <a:close/>
                <a:moveTo>
                  <a:pt x="846" y="766"/>
                </a:moveTo>
                <a:lnTo>
                  <a:pt x="848" y="762"/>
                </a:lnTo>
                <a:lnTo>
                  <a:pt x="853" y="759"/>
                </a:lnTo>
                <a:lnTo>
                  <a:pt x="855" y="760"/>
                </a:lnTo>
                <a:lnTo>
                  <a:pt x="857" y="762"/>
                </a:lnTo>
                <a:lnTo>
                  <a:pt x="855" y="763"/>
                </a:lnTo>
                <a:lnTo>
                  <a:pt x="855" y="766"/>
                </a:lnTo>
                <a:lnTo>
                  <a:pt x="855" y="767"/>
                </a:lnTo>
                <a:lnTo>
                  <a:pt x="856" y="767"/>
                </a:lnTo>
                <a:lnTo>
                  <a:pt x="858" y="765"/>
                </a:lnTo>
                <a:lnTo>
                  <a:pt x="858" y="762"/>
                </a:lnTo>
                <a:lnTo>
                  <a:pt x="858" y="761"/>
                </a:lnTo>
                <a:lnTo>
                  <a:pt x="858" y="759"/>
                </a:lnTo>
                <a:lnTo>
                  <a:pt x="861" y="758"/>
                </a:lnTo>
                <a:lnTo>
                  <a:pt x="862" y="755"/>
                </a:lnTo>
                <a:lnTo>
                  <a:pt x="863" y="766"/>
                </a:lnTo>
                <a:lnTo>
                  <a:pt x="855" y="770"/>
                </a:lnTo>
                <a:lnTo>
                  <a:pt x="851" y="773"/>
                </a:lnTo>
                <a:lnTo>
                  <a:pt x="850" y="776"/>
                </a:lnTo>
                <a:lnTo>
                  <a:pt x="851" y="773"/>
                </a:lnTo>
                <a:lnTo>
                  <a:pt x="855" y="770"/>
                </a:lnTo>
                <a:lnTo>
                  <a:pt x="854" y="769"/>
                </a:lnTo>
                <a:lnTo>
                  <a:pt x="851" y="770"/>
                </a:lnTo>
                <a:lnTo>
                  <a:pt x="847" y="775"/>
                </a:lnTo>
                <a:lnTo>
                  <a:pt x="843" y="780"/>
                </a:lnTo>
                <a:lnTo>
                  <a:pt x="841" y="780"/>
                </a:lnTo>
                <a:lnTo>
                  <a:pt x="837" y="779"/>
                </a:lnTo>
                <a:lnTo>
                  <a:pt x="843" y="773"/>
                </a:lnTo>
                <a:lnTo>
                  <a:pt x="846" y="766"/>
                </a:lnTo>
                <a:close/>
                <a:moveTo>
                  <a:pt x="829" y="783"/>
                </a:moveTo>
                <a:lnTo>
                  <a:pt x="829" y="783"/>
                </a:lnTo>
                <a:lnTo>
                  <a:pt x="829" y="783"/>
                </a:lnTo>
                <a:lnTo>
                  <a:pt x="832" y="783"/>
                </a:lnTo>
                <a:lnTo>
                  <a:pt x="833" y="786"/>
                </a:lnTo>
                <a:lnTo>
                  <a:pt x="833" y="786"/>
                </a:lnTo>
                <a:lnTo>
                  <a:pt x="830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3"/>
                </a:lnTo>
                <a:lnTo>
                  <a:pt x="829" y="783"/>
                </a:lnTo>
                <a:lnTo>
                  <a:pt x="829" y="783"/>
                </a:lnTo>
                <a:close/>
                <a:moveTo>
                  <a:pt x="829" y="566"/>
                </a:moveTo>
                <a:lnTo>
                  <a:pt x="829" y="567"/>
                </a:lnTo>
                <a:lnTo>
                  <a:pt x="829" y="569"/>
                </a:lnTo>
                <a:lnTo>
                  <a:pt x="830" y="570"/>
                </a:lnTo>
                <a:lnTo>
                  <a:pt x="830" y="570"/>
                </a:lnTo>
                <a:lnTo>
                  <a:pt x="830" y="570"/>
                </a:lnTo>
                <a:lnTo>
                  <a:pt x="829" y="569"/>
                </a:lnTo>
                <a:lnTo>
                  <a:pt x="829" y="567"/>
                </a:lnTo>
                <a:lnTo>
                  <a:pt x="829" y="566"/>
                </a:lnTo>
                <a:close/>
                <a:moveTo>
                  <a:pt x="829" y="368"/>
                </a:moveTo>
                <a:lnTo>
                  <a:pt x="829" y="367"/>
                </a:lnTo>
                <a:lnTo>
                  <a:pt x="829" y="367"/>
                </a:lnTo>
                <a:lnTo>
                  <a:pt x="829" y="367"/>
                </a:lnTo>
                <a:lnTo>
                  <a:pt x="829" y="368"/>
                </a:lnTo>
                <a:lnTo>
                  <a:pt x="832" y="368"/>
                </a:lnTo>
                <a:lnTo>
                  <a:pt x="833" y="370"/>
                </a:lnTo>
                <a:lnTo>
                  <a:pt x="832" y="368"/>
                </a:lnTo>
                <a:lnTo>
                  <a:pt x="829" y="368"/>
                </a:lnTo>
                <a:close/>
                <a:moveTo>
                  <a:pt x="839" y="796"/>
                </a:moveTo>
                <a:lnTo>
                  <a:pt x="839" y="795"/>
                </a:lnTo>
                <a:lnTo>
                  <a:pt x="837" y="794"/>
                </a:lnTo>
                <a:lnTo>
                  <a:pt x="837" y="793"/>
                </a:lnTo>
                <a:lnTo>
                  <a:pt x="837" y="793"/>
                </a:lnTo>
                <a:lnTo>
                  <a:pt x="842" y="789"/>
                </a:lnTo>
                <a:lnTo>
                  <a:pt x="841" y="784"/>
                </a:lnTo>
                <a:lnTo>
                  <a:pt x="847" y="782"/>
                </a:lnTo>
                <a:lnTo>
                  <a:pt x="850" y="777"/>
                </a:lnTo>
                <a:lnTo>
                  <a:pt x="854" y="781"/>
                </a:lnTo>
                <a:lnTo>
                  <a:pt x="849" y="786"/>
                </a:lnTo>
                <a:lnTo>
                  <a:pt x="848" y="787"/>
                </a:lnTo>
                <a:lnTo>
                  <a:pt x="848" y="789"/>
                </a:lnTo>
                <a:lnTo>
                  <a:pt x="849" y="789"/>
                </a:lnTo>
                <a:lnTo>
                  <a:pt x="851" y="789"/>
                </a:lnTo>
                <a:lnTo>
                  <a:pt x="854" y="789"/>
                </a:lnTo>
                <a:lnTo>
                  <a:pt x="856" y="788"/>
                </a:lnTo>
                <a:lnTo>
                  <a:pt x="857" y="787"/>
                </a:lnTo>
                <a:lnTo>
                  <a:pt x="858" y="788"/>
                </a:lnTo>
                <a:lnTo>
                  <a:pt x="857" y="790"/>
                </a:lnTo>
                <a:lnTo>
                  <a:pt x="855" y="789"/>
                </a:lnTo>
                <a:lnTo>
                  <a:pt x="855" y="789"/>
                </a:lnTo>
                <a:lnTo>
                  <a:pt x="854" y="791"/>
                </a:lnTo>
                <a:lnTo>
                  <a:pt x="854" y="794"/>
                </a:lnTo>
                <a:lnTo>
                  <a:pt x="851" y="794"/>
                </a:lnTo>
                <a:lnTo>
                  <a:pt x="849" y="794"/>
                </a:lnTo>
                <a:lnTo>
                  <a:pt x="846" y="796"/>
                </a:lnTo>
                <a:lnTo>
                  <a:pt x="848" y="798"/>
                </a:lnTo>
                <a:lnTo>
                  <a:pt x="849" y="800"/>
                </a:lnTo>
                <a:lnTo>
                  <a:pt x="849" y="801"/>
                </a:lnTo>
                <a:lnTo>
                  <a:pt x="848" y="802"/>
                </a:lnTo>
                <a:lnTo>
                  <a:pt x="848" y="803"/>
                </a:lnTo>
                <a:lnTo>
                  <a:pt x="850" y="803"/>
                </a:lnTo>
                <a:lnTo>
                  <a:pt x="851" y="802"/>
                </a:lnTo>
                <a:lnTo>
                  <a:pt x="850" y="807"/>
                </a:lnTo>
                <a:lnTo>
                  <a:pt x="854" y="810"/>
                </a:lnTo>
                <a:lnTo>
                  <a:pt x="855" y="812"/>
                </a:lnTo>
                <a:lnTo>
                  <a:pt x="854" y="817"/>
                </a:lnTo>
                <a:lnTo>
                  <a:pt x="854" y="817"/>
                </a:lnTo>
                <a:lnTo>
                  <a:pt x="853" y="821"/>
                </a:lnTo>
                <a:lnTo>
                  <a:pt x="854" y="825"/>
                </a:lnTo>
                <a:lnTo>
                  <a:pt x="846" y="822"/>
                </a:lnTo>
                <a:lnTo>
                  <a:pt x="837" y="822"/>
                </a:lnTo>
                <a:lnTo>
                  <a:pt x="835" y="823"/>
                </a:lnTo>
                <a:lnTo>
                  <a:pt x="834" y="821"/>
                </a:lnTo>
                <a:lnTo>
                  <a:pt x="834" y="819"/>
                </a:lnTo>
                <a:lnTo>
                  <a:pt x="836" y="818"/>
                </a:lnTo>
                <a:lnTo>
                  <a:pt x="837" y="818"/>
                </a:lnTo>
                <a:lnTo>
                  <a:pt x="839" y="818"/>
                </a:lnTo>
                <a:lnTo>
                  <a:pt x="842" y="816"/>
                </a:lnTo>
                <a:lnTo>
                  <a:pt x="843" y="812"/>
                </a:lnTo>
                <a:lnTo>
                  <a:pt x="841" y="811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4" y="816"/>
                </a:lnTo>
                <a:lnTo>
                  <a:pt x="830" y="817"/>
                </a:lnTo>
                <a:lnTo>
                  <a:pt x="833" y="814"/>
                </a:lnTo>
                <a:lnTo>
                  <a:pt x="837" y="814"/>
                </a:lnTo>
                <a:lnTo>
                  <a:pt x="837" y="809"/>
                </a:lnTo>
                <a:lnTo>
                  <a:pt x="834" y="807"/>
                </a:lnTo>
                <a:lnTo>
                  <a:pt x="830" y="809"/>
                </a:lnTo>
                <a:lnTo>
                  <a:pt x="827" y="815"/>
                </a:lnTo>
                <a:lnTo>
                  <a:pt x="827" y="815"/>
                </a:lnTo>
                <a:lnTo>
                  <a:pt x="826" y="815"/>
                </a:lnTo>
                <a:lnTo>
                  <a:pt x="824" y="815"/>
                </a:lnTo>
                <a:lnTo>
                  <a:pt x="821" y="815"/>
                </a:lnTo>
                <a:lnTo>
                  <a:pt x="820" y="812"/>
                </a:lnTo>
                <a:lnTo>
                  <a:pt x="820" y="810"/>
                </a:lnTo>
                <a:lnTo>
                  <a:pt x="823" y="809"/>
                </a:lnTo>
                <a:lnTo>
                  <a:pt x="830" y="803"/>
                </a:lnTo>
                <a:lnTo>
                  <a:pt x="839" y="796"/>
                </a:lnTo>
                <a:close/>
                <a:moveTo>
                  <a:pt x="789" y="674"/>
                </a:moveTo>
                <a:lnTo>
                  <a:pt x="792" y="675"/>
                </a:lnTo>
                <a:lnTo>
                  <a:pt x="793" y="676"/>
                </a:lnTo>
                <a:lnTo>
                  <a:pt x="791" y="677"/>
                </a:lnTo>
                <a:lnTo>
                  <a:pt x="789" y="678"/>
                </a:lnTo>
                <a:lnTo>
                  <a:pt x="786" y="678"/>
                </a:lnTo>
                <a:lnTo>
                  <a:pt x="786" y="675"/>
                </a:lnTo>
                <a:lnTo>
                  <a:pt x="788" y="672"/>
                </a:lnTo>
                <a:lnTo>
                  <a:pt x="789" y="674"/>
                </a:lnTo>
                <a:close/>
                <a:moveTo>
                  <a:pt x="775" y="625"/>
                </a:moveTo>
                <a:lnTo>
                  <a:pt x="777" y="623"/>
                </a:lnTo>
                <a:lnTo>
                  <a:pt x="778" y="621"/>
                </a:lnTo>
                <a:lnTo>
                  <a:pt x="777" y="623"/>
                </a:lnTo>
                <a:lnTo>
                  <a:pt x="775" y="625"/>
                </a:lnTo>
                <a:close/>
                <a:moveTo>
                  <a:pt x="785" y="684"/>
                </a:moveTo>
                <a:lnTo>
                  <a:pt x="788" y="684"/>
                </a:lnTo>
                <a:lnTo>
                  <a:pt x="791" y="683"/>
                </a:lnTo>
                <a:lnTo>
                  <a:pt x="803" y="678"/>
                </a:lnTo>
                <a:lnTo>
                  <a:pt x="814" y="670"/>
                </a:lnTo>
                <a:lnTo>
                  <a:pt x="817" y="668"/>
                </a:lnTo>
                <a:lnTo>
                  <a:pt x="820" y="671"/>
                </a:lnTo>
                <a:lnTo>
                  <a:pt x="813" y="677"/>
                </a:lnTo>
                <a:lnTo>
                  <a:pt x="806" y="683"/>
                </a:lnTo>
                <a:lnTo>
                  <a:pt x="802" y="686"/>
                </a:lnTo>
                <a:lnTo>
                  <a:pt x="800" y="691"/>
                </a:lnTo>
                <a:lnTo>
                  <a:pt x="795" y="692"/>
                </a:lnTo>
                <a:lnTo>
                  <a:pt x="795" y="697"/>
                </a:lnTo>
                <a:lnTo>
                  <a:pt x="795" y="700"/>
                </a:lnTo>
                <a:lnTo>
                  <a:pt x="795" y="704"/>
                </a:lnTo>
                <a:lnTo>
                  <a:pt x="789" y="702"/>
                </a:lnTo>
                <a:lnTo>
                  <a:pt x="786" y="706"/>
                </a:lnTo>
                <a:lnTo>
                  <a:pt x="785" y="707"/>
                </a:lnTo>
                <a:lnTo>
                  <a:pt x="784" y="706"/>
                </a:lnTo>
                <a:lnTo>
                  <a:pt x="781" y="707"/>
                </a:lnTo>
                <a:lnTo>
                  <a:pt x="781" y="710"/>
                </a:lnTo>
                <a:lnTo>
                  <a:pt x="780" y="710"/>
                </a:lnTo>
                <a:lnTo>
                  <a:pt x="778" y="709"/>
                </a:lnTo>
                <a:lnTo>
                  <a:pt x="773" y="709"/>
                </a:lnTo>
                <a:lnTo>
                  <a:pt x="770" y="711"/>
                </a:lnTo>
                <a:lnTo>
                  <a:pt x="766" y="713"/>
                </a:lnTo>
                <a:lnTo>
                  <a:pt x="761" y="713"/>
                </a:lnTo>
                <a:lnTo>
                  <a:pt x="761" y="712"/>
                </a:lnTo>
                <a:lnTo>
                  <a:pt x="763" y="710"/>
                </a:lnTo>
                <a:lnTo>
                  <a:pt x="765" y="709"/>
                </a:lnTo>
                <a:lnTo>
                  <a:pt x="765" y="706"/>
                </a:lnTo>
                <a:lnTo>
                  <a:pt x="763" y="705"/>
                </a:lnTo>
                <a:lnTo>
                  <a:pt x="760" y="706"/>
                </a:lnTo>
                <a:lnTo>
                  <a:pt x="756" y="707"/>
                </a:lnTo>
                <a:lnTo>
                  <a:pt x="751" y="709"/>
                </a:lnTo>
                <a:lnTo>
                  <a:pt x="750" y="709"/>
                </a:lnTo>
                <a:lnTo>
                  <a:pt x="748" y="707"/>
                </a:lnTo>
                <a:lnTo>
                  <a:pt x="750" y="705"/>
                </a:lnTo>
                <a:lnTo>
                  <a:pt x="752" y="704"/>
                </a:lnTo>
                <a:lnTo>
                  <a:pt x="763" y="703"/>
                </a:lnTo>
                <a:lnTo>
                  <a:pt x="773" y="699"/>
                </a:lnTo>
                <a:lnTo>
                  <a:pt x="785" y="695"/>
                </a:lnTo>
                <a:lnTo>
                  <a:pt x="795" y="686"/>
                </a:lnTo>
                <a:lnTo>
                  <a:pt x="782" y="689"/>
                </a:lnTo>
                <a:lnTo>
                  <a:pt x="771" y="692"/>
                </a:lnTo>
                <a:lnTo>
                  <a:pt x="770" y="695"/>
                </a:lnTo>
                <a:lnTo>
                  <a:pt x="765" y="691"/>
                </a:lnTo>
                <a:lnTo>
                  <a:pt x="767" y="691"/>
                </a:lnTo>
                <a:lnTo>
                  <a:pt x="770" y="691"/>
                </a:lnTo>
                <a:lnTo>
                  <a:pt x="777" y="686"/>
                </a:lnTo>
                <a:lnTo>
                  <a:pt x="785" y="684"/>
                </a:lnTo>
                <a:close/>
                <a:moveTo>
                  <a:pt x="731" y="643"/>
                </a:moveTo>
                <a:lnTo>
                  <a:pt x="733" y="642"/>
                </a:lnTo>
                <a:lnTo>
                  <a:pt x="736" y="642"/>
                </a:lnTo>
                <a:lnTo>
                  <a:pt x="744" y="636"/>
                </a:lnTo>
                <a:lnTo>
                  <a:pt x="752" y="636"/>
                </a:lnTo>
                <a:lnTo>
                  <a:pt x="745" y="641"/>
                </a:lnTo>
                <a:lnTo>
                  <a:pt x="736" y="642"/>
                </a:lnTo>
                <a:lnTo>
                  <a:pt x="734" y="644"/>
                </a:lnTo>
                <a:lnTo>
                  <a:pt x="731" y="643"/>
                </a:lnTo>
                <a:close/>
                <a:moveTo>
                  <a:pt x="736" y="678"/>
                </a:moveTo>
                <a:lnTo>
                  <a:pt x="737" y="677"/>
                </a:lnTo>
                <a:lnTo>
                  <a:pt x="737" y="676"/>
                </a:lnTo>
                <a:lnTo>
                  <a:pt x="740" y="676"/>
                </a:lnTo>
                <a:lnTo>
                  <a:pt x="743" y="676"/>
                </a:lnTo>
                <a:lnTo>
                  <a:pt x="740" y="676"/>
                </a:lnTo>
                <a:lnTo>
                  <a:pt x="737" y="676"/>
                </a:lnTo>
                <a:lnTo>
                  <a:pt x="737" y="677"/>
                </a:lnTo>
                <a:lnTo>
                  <a:pt x="736" y="678"/>
                </a:lnTo>
                <a:close/>
                <a:moveTo>
                  <a:pt x="738" y="698"/>
                </a:moveTo>
                <a:lnTo>
                  <a:pt x="741" y="699"/>
                </a:lnTo>
                <a:lnTo>
                  <a:pt x="744" y="699"/>
                </a:lnTo>
                <a:lnTo>
                  <a:pt x="746" y="699"/>
                </a:lnTo>
                <a:lnTo>
                  <a:pt x="748" y="699"/>
                </a:lnTo>
                <a:lnTo>
                  <a:pt x="752" y="696"/>
                </a:lnTo>
                <a:lnTo>
                  <a:pt x="757" y="696"/>
                </a:lnTo>
                <a:lnTo>
                  <a:pt x="753" y="699"/>
                </a:lnTo>
                <a:lnTo>
                  <a:pt x="748" y="699"/>
                </a:lnTo>
                <a:lnTo>
                  <a:pt x="737" y="702"/>
                </a:lnTo>
                <a:lnTo>
                  <a:pt x="724" y="704"/>
                </a:lnTo>
                <a:lnTo>
                  <a:pt x="732" y="700"/>
                </a:lnTo>
                <a:lnTo>
                  <a:pt x="738" y="698"/>
                </a:lnTo>
                <a:close/>
                <a:moveTo>
                  <a:pt x="723" y="713"/>
                </a:moveTo>
                <a:lnTo>
                  <a:pt x="725" y="712"/>
                </a:lnTo>
                <a:lnTo>
                  <a:pt x="726" y="707"/>
                </a:lnTo>
                <a:lnTo>
                  <a:pt x="731" y="713"/>
                </a:lnTo>
                <a:lnTo>
                  <a:pt x="736" y="718"/>
                </a:lnTo>
                <a:lnTo>
                  <a:pt x="729" y="718"/>
                </a:lnTo>
                <a:lnTo>
                  <a:pt x="723" y="718"/>
                </a:lnTo>
                <a:lnTo>
                  <a:pt x="720" y="718"/>
                </a:lnTo>
                <a:lnTo>
                  <a:pt x="719" y="716"/>
                </a:lnTo>
                <a:lnTo>
                  <a:pt x="720" y="714"/>
                </a:lnTo>
                <a:lnTo>
                  <a:pt x="723" y="713"/>
                </a:lnTo>
                <a:close/>
                <a:moveTo>
                  <a:pt x="719" y="692"/>
                </a:moveTo>
                <a:lnTo>
                  <a:pt x="712" y="695"/>
                </a:lnTo>
                <a:lnTo>
                  <a:pt x="705" y="698"/>
                </a:lnTo>
                <a:lnTo>
                  <a:pt x="702" y="699"/>
                </a:lnTo>
                <a:lnTo>
                  <a:pt x="699" y="697"/>
                </a:lnTo>
                <a:lnTo>
                  <a:pt x="708" y="692"/>
                </a:lnTo>
                <a:lnTo>
                  <a:pt x="717" y="690"/>
                </a:lnTo>
                <a:lnTo>
                  <a:pt x="719" y="691"/>
                </a:lnTo>
                <a:lnTo>
                  <a:pt x="719" y="692"/>
                </a:lnTo>
                <a:close/>
                <a:moveTo>
                  <a:pt x="715" y="704"/>
                </a:moveTo>
                <a:lnTo>
                  <a:pt x="718" y="706"/>
                </a:lnTo>
                <a:lnTo>
                  <a:pt x="720" y="709"/>
                </a:lnTo>
                <a:lnTo>
                  <a:pt x="715" y="710"/>
                </a:lnTo>
                <a:lnTo>
                  <a:pt x="709" y="712"/>
                </a:lnTo>
                <a:lnTo>
                  <a:pt x="705" y="713"/>
                </a:lnTo>
                <a:lnTo>
                  <a:pt x="704" y="711"/>
                </a:lnTo>
                <a:lnTo>
                  <a:pt x="705" y="710"/>
                </a:lnTo>
                <a:lnTo>
                  <a:pt x="708" y="709"/>
                </a:lnTo>
                <a:lnTo>
                  <a:pt x="710" y="707"/>
                </a:lnTo>
                <a:lnTo>
                  <a:pt x="712" y="707"/>
                </a:lnTo>
                <a:lnTo>
                  <a:pt x="715" y="706"/>
                </a:lnTo>
                <a:lnTo>
                  <a:pt x="715" y="704"/>
                </a:lnTo>
                <a:close/>
                <a:moveTo>
                  <a:pt x="653" y="746"/>
                </a:moveTo>
                <a:lnTo>
                  <a:pt x="653" y="745"/>
                </a:lnTo>
                <a:lnTo>
                  <a:pt x="651" y="745"/>
                </a:lnTo>
                <a:lnTo>
                  <a:pt x="654" y="740"/>
                </a:lnTo>
                <a:lnTo>
                  <a:pt x="661" y="740"/>
                </a:lnTo>
                <a:lnTo>
                  <a:pt x="656" y="744"/>
                </a:lnTo>
                <a:lnTo>
                  <a:pt x="653" y="746"/>
                </a:lnTo>
                <a:close/>
                <a:moveTo>
                  <a:pt x="660" y="745"/>
                </a:moveTo>
                <a:lnTo>
                  <a:pt x="663" y="742"/>
                </a:lnTo>
                <a:lnTo>
                  <a:pt x="665" y="745"/>
                </a:lnTo>
                <a:lnTo>
                  <a:pt x="665" y="746"/>
                </a:lnTo>
                <a:lnTo>
                  <a:pt x="664" y="748"/>
                </a:lnTo>
                <a:lnTo>
                  <a:pt x="661" y="751"/>
                </a:lnTo>
                <a:lnTo>
                  <a:pt x="656" y="751"/>
                </a:lnTo>
                <a:lnTo>
                  <a:pt x="658" y="747"/>
                </a:lnTo>
                <a:lnTo>
                  <a:pt x="660" y="745"/>
                </a:lnTo>
                <a:close/>
                <a:moveTo>
                  <a:pt x="672" y="781"/>
                </a:moveTo>
                <a:lnTo>
                  <a:pt x="674" y="779"/>
                </a:lnTo>
                <a:lnTo>
                  <a:pt x="675" y="776"/>
                </a:lnTo>
                <a:lnTo>
                  <a:pt x="674" y="779"/>
                </a:lnTo>
                <a:lnTo>
                  <a:pt x="672" y="781"/>
                </a:lnTo>
                <a:close/>
                <a:moveTo>
                  <a:pt x="667" y="776"/>
                </a:moveTo>
                <a:lnTo>
                  <a:pt x="668" y="775"/>
                </a:lnTo>
                <a:lnTo>
                  <a:pt x="668" y="773"/>
                </a:lnTo>
                <a:lnTo>
                  <a:pt x="669" y="773"/>
                </a:lnTo>
                <a:lnTo>
                  <a:pt x="670" y="772"/>
                </a:lnTo>
                <a:lnTo>
                  <a:pt x="669" y="773"/>
                </a:lnTo>
                <a:lnTo>
                  <a:pt x="668" y="773"/>
                </a:lnTo>
                <a:lnTo>
                  <a:pt x="668" y="775"/>
                </a:lnTo>
                <a:lnTo>
                  <a:pt x="667" y="776"/>
                </a:lnTo>
                <a:close/>
                <a:moveTo>
                  <a:pt x="676" y="753"/>
                </a:moveTo>
                <a:lnTo>
                  <a:pt x="676" y="752"/>
                </a:lnTo>
                <a:lnTo>
                  <a:pt x="677" y="752"/>
                </a:lnTo>
                <a:lnTo>
                  <a:pt x="671" y="753"/>
                </a:lnTo>
                <a:lnTo>
                  <a:pt x="667" y="754"/>
                </a:lnTo>
                <a:lnTo>
                  <a:pt x="665" y="758"/>
                </a:lnTo>
                <a:lnTo>
                  <a:pt x="664" y="760"/>
                </a:lnTo>
                <a:lnTo>
                  <a:pt x="664" y="760"/>
                </a:lnTo>
                <a:lnTo>
                  <a:pt x="662" y="761"/>
                </a:lnTo>
                <a:lnTo>
                  <a:pt x="660" y="763"/>
                </a:lnTo>
                <a:lnTo>
                  <a:pt x="661" y="756"/>
                </a:lnTo>
                <a:lnTo>
                  <a:pt x="667" y="754"/>
                </a:lnTo>
                <a:lnTo>
                  <a:pt x="667" y="754"/>
                </a:lnTo>
                <a:lnTo>
                  <a:pt x="667" y="754"/>
                </a:lnTo>
                <a:lnTo>
                  <a:pt x="667" y="754"/>
                </a:lnTo>
                <a:lnTo>
                  <a:pt x="672" y="748"/>
                </a:lnTo>
                <a:lnTo>
                  <a:pt x="681" y="751"/>
                </a:lnTo>
                <a:lnTo>
                  <a:pt x="681" y="752"/>
                </a:lnTo>
                <a:lnTo>
                  <a:pt x="681" y="753"/>
                </a:lnTo>
                <a:lnTo>
                  <a:pt x="681" y="754"/>
                </a:lnTo>
                <a:lnTo>
                  <a:pt x="682" y="755"/>
                </a:lnTo>
                <a:lnTo>
                  <a:pt x="681" y="754"/>
                </a:lnTo>
                <a:lnTo>
                  <a:pt x="681" y="753"/>
                </a:lnTo>
                <a:lnTo>
                  <a:pt x="678" y="752"/>
                </a:lnTo>
                <a:lnTo>
                  <a:pt x="677" y="752"/>
                </a:lnTo>
                <a:lnTo>
                  <a:pt x="676" y="752"/>
                </a:lnTo>
                <a:lnTo>
                  <a:pt x="676" y="753"/>
                </a:lnTo>
                <a:close/>
                <a:moveTo>
                  <a:pt x="687" y="814"/>
                </a:moveTo>
                <a:lnTo>
                  <a:pt x="685" y="812"/>
                </a:lnTo>
                <a:lnTo>
                  <a:pt x="685" y="811"/>
                </a:lnTo>
                <a:lnTo>
                  <a:pt x="685" y="812"/>
                </a:lnTo>
                <a:lnTo>
                  <a:pt x="687" y="814"/>
                </a:lnTo>
                <a:close/>
                <a:moveTo>
                  <a:pt x="685" y="762"/>
                </a:moveTo>
                <a:lnTo>
                  <a:pt x="685" y="762"/>
                </a:lnTo>
                <a:lnTo>
                  <a:pt x="685" y="762"/>
                </a:lnTo>
                <a:lnTo>
                  <a:pt x="687" y="763"/>
                </a:lnTo>
                <a:lnTo>
                  <a:pt x="689" y="763"/>
                </a:lnTo>
                <a:lnTo>
                  <a:pt x="687" y="763"/>
                </a:lnTo>
                <a:lnTo>
                  <a:pt x="685" y="762"/>
                </a:lnTo>
                <a:close/>
                <a:moveTo>
                  <a:pt x="697" y="763"/>
                </a:moveTo>
                <a:lnTo>
                  <a:pt x="696" y="763"/>
                </a:lnTo>
                <a:lnTo>
                  <a:pt x="695" y="765"/>
                </a:lnTo>
                <a:lnTo>
                  <a:pt x="695" y="766"/>
                </a:lnTo>
                <a:lnTo>
                  <a:pt x="695" y="767"/>
                </a:lnTo>
                <a:lnTo>
                  <a:pt x="695" y="766"/>
                </a:lnTo>
                <a:lnTo>
                  <a:pt x="695" y="765"/>
                </a:lnTo>
                <a:lnTo>
                  <a:pt x="696" y="763"/>
                </a:lnTo>
                <a:lnTo>
                  <a:pt x="697" y="763"/>
                </a:lnTo>
                <a:close/>
                <a:moveTo>
                  <a:pt x="689" y="814"/>
                </a:moveTo>
                <a:lnTo>
                  <a:pt x="690" y="814"/>
                </a:lnTo>
                <a:lnTo>
                  <a:pt x="690" y="815"/>
                </a:lnTo>
                <a:lnTo>
                  <a:pt x="690" y="814"/>
                </a:lnTo>
                <a:lnTo>
                  <a:pt x="689" y="814"/>
                </a:lnTo>
                <a:close/>
                <a:moveTo>
                  <a:pt x="692" y="796"/>
                </a:moveTo>
                <a:lnTo>
                  <a:pt x="694" y="795"/>
                </a:lnTo>
                <a:lnTo>
                  <a:pt x="694" y="793"/>
                </a:lnTo>
                <a:lnTo>
                  <a:pt x="691" y="790"/>
                </a:lnTo>
                <a:lnTo>
                  <a:pt x="689" y="788"/>
                </a:lnTo>
                <a:lnTo>
                  <a:pt x="691" y="790"/>
                </a:lnTo>
                <a:lnTo>
                  <a:pt x="694" y="793"/>
                </a:lnTo>
                <a:lnTo>
                  <a:pt x="694" y="795"/>
                </a:lnTo>
                <a:lnTo>
                  <a:pt x="692" y="796"/>
                </a:lnTo>
                <a:close/>
                <a:moveTo>
                  <a:pt x="694" y="821"/>
                </a:moveTo>
                <a:lnTo>
                  <a:pt x="694" y="823"/>
                </a:lnTo>
                <a:lnTo>
                  <a:pt x="694" y="825"/>
                </a:lnTo>
                <a:lnTo>
                  <a:pt x="694" y="823"/>
                </a:lnTo>
                <a:lnTo>
                  <a:pt x="694" y="821"/>
                </a:lnTo>
                <a:close/>
                <a:moveTo>
                  <a:pt x="701" y="776"/>
                </a:moveTo>
                <a:lnTo>
                  <a:pt x="695" y="776"/>
                </a:lnTo>
                <a:lnTo>
                  <a:pt x="691" y="779"/>
                </a:lnTo>
                <a:lnTo>
                  <a:pt x="695" y="776"/>
                </a:lnTo>
                <a:lnTo>
                  <a:pt x="701" y="776"/>
                </a:lnTo>
                <a:lnTo>
                  <a:pt x="699" y="774"/>
                </a:lnTo>
                <a:lnTo>
                  <a:pt x="698" y="772"/>
                </a:lnTo>
                <a:lnTo>
                  <a:pt x="699" y="774"/>
                </a:lnTo>
                <a:lnTo>
                  <a:pt x="701" y="776"/>
                </a:lnTo>
                <a:lnTo>
                  <a:pt x="701" y="776"/>
                </a:lnTo>
                <a:lnTo>
                  <a:pt x="701" y="777"/>
                </a:lnTo>
                <a:lnTo>
                  <a:pt x="701" y="777"/>
                </a:lnTo>
                <a:lnTo>
                  <a:pt x="701" y="776"/>
                </a:lnTo>
                <a:lnTo>
                  <a:pt x="701" y="776"/>
                </a:lnTo>
                <a:close/>
                <a:moveTo>
                  <a:pt x="704" y="723"/>
                </a:moveTo>
                <a:lnTo>
                  <a:pt x="697" y="725"/>
                </a:lnTo>
                <a:lnTo>
                  <a:pt x="691" y="726"/>
                </a:lnTo>
                <a:lnTo>
                  <a:pt x="691" y="727"/>
                </a:lnTo>
                <a:lnTo>
                  <a:pt x="691" y="727"/>
                </a:lnTo>
                <a:lnTo>
                  <a:pt x="691" y="727"/>
                </a:lnTo>
                <a:lnTo>
                  <a:pt x="691" y="726"/>
                </a:lnTo>
                <a:lnTo>
                  <a:pt x="688" y="726"/>
                </a:lnTo>
                <a:lnTo>
                  <a:pt x="687" y="725"/>
                </a:lnTo>
                <a:lnTo>
                  <a:pt x="685" y="725"/>
                </a:lnTo>
                <a:lnTo>
                  <a:pt x="683" y="725"/>
                </a:lnTo>
                <a:lnTo>
                  <a:pt x="682" y="730"/>
                </a:lnTo>
                <a:lnTo>
                  <a:pt x="677" y="731"/>
                </a:lnTo>
                <a:lnTo>
                  <a:pt x="675" y="733"/>
                </a:lnTo>
                <a:lnTo>
                  <a:pt x="672" y="733"/>
                </a:lnTo>
                <a:lnTo>
                  <a:pt x="672" y="735"/>
                </a:lnTo>
                <a:lnTo>
                  <a:pt x="670" y="737"/>
                </a:lnTo>
                <a:lnTo>
                  <a:pt x="669" y="737"/>
                </a:lnTo>
                <a:lnTo>
                  <a:pt x="669" y="735"/>
                </a:lnTo>
                <a:lnTo>
                  <a:pt x="670" y="733"/>
                </a:lnTo>
                <a:lnTo>
                  <a:pt x="672" y="733"/>
                </a:lnTo>
                <a:lnTo>
                  <a:pt x="674" y="731"/>
                </a:lnTo>
                <a:lnTo>
                  <a:pt x="676" y="731"/>
                </a:lnTo>
                <a:lnTo>
                  <a:pt x="679" y="728"/>
                </a:lnTo>
                <a:lnTo>
                  <a:pt x="681" y="725"/>
                </a:lnTo>
                <a:lnTo>
                  <a:pt x="682" y="725"/>
                </a:lnTo>
                <a:lnTo>
                  <a:pt x="683" y="725"/>
                </a:lnTo>
                <a:lnTo>
                  <a:pt x="685" y="725"/>
                </a:lnTo>
                <a:lnTo>
                  <a:pt x="687" y="725"/>
                </a:lnTo>
                <a:lnTo>
                  <a:pt x="696" y="721"/>
                </a:lnTo>
                <a:lnTo>
                  <a:pt x="705" y="719"/>
                </a:lnTo>
                <a:lnTo>
                  <a:pt x="706" y="718"/>
                </a:lnTo>
                <a:lnTo>
                  <a:pt x="708" y="719"/>
                </a:lnTo>
                <a:lnTo>
                  <a:pt x="706" y="721"/>
                </a:lnTo>
                <a:lnTo>
                  <a:pt x="704" y="723"/>
                </a:lnTo>
                <a:close/>
                <a:moveTo>
                  <a:pt x="736" y="891"/>
                </a:moveTo>
                <a:lnTo>
                  <a:pt x="737" y="892"/>
                </a:lnTo>
                <a:lnTo>
                  <a:pt x="739" y="894"/>
                </a:lnTo>
                <a:lnTo>
                  <a:pt x="737" y="892"/>
                </a:lnTo>
                <a:lnTo>
                  <a:pt x="736" y="891"/>
                </a:lnTo>
                <a:close/>
                <a:moveTo>
                  <a:pt x="752" y="836"/>
                </a:moveTo>
                <a:lnTo>
                  <a:pt x="751" y="835"/>
                </a:lnTo>
                <a:lnTo>
                  <a:pt x="750" y="835"/>
                </a:lnTo>
                <a:lnTo>
                  <a:pt x="748" y="836"/>
                </a:lnTo>
                <a:lnTo>
                  <a:pt x="748" y="838"/>
                </a:lnTo>
                <a:lnTo>
                  <a:pt x="748" y="843"/>
                </a:lnTo>
                <a:lnTo>
                  <a:pt x="744" y="842"/>
                </a:lnTo>
                <a:lnTo>
                  <a:pt x="743" y="842"/>
                </a:lnTo>
                <a:lnTo>
                  <a:pt x="741" y="840"/>
                </a:lnTo>
                <a:lnTo>
                  <a:pt x="743" y="838"/>
                </a:lnTo>
                <a:lnTo>
                  <a:pt x="741" y="836"/>
                </a:lnTo>
                <a:lnTo>
                  <a:pt x="740" y="840"/>
                </a:lnTo>
                <a:lnTo>
                  <a:pt x="737" y="843"/>
                </a:lnTo>
                <a:lnTo>
                  <a:pt x="734" y="837"/>
                </a:lnTo>
                <a:lnTo>
                  <a:pt x="734" y="830"/>
                </a:lnTo>
                <a:lnTo>
                  <a:pt x="740" y="826"/>
                </a:lnTo>
                <a:lnTo>
                  <a:pt x="745" y="824"/>
                </a:lnTo>
                <a:lnTo>
                  <a:pt x="741" y="819"/>
                </a:lnTo>
                <a:lnTo>
                  <a:pt x="738" y="814"/>
                </a:lnTo>
                <a:lnTo>
                  <a:pt x="739" y="814"/>
                </a:lnTo>
                <a:lnTo>
                  <a:pt x="740" y="814"/>
                </a:lnTo>
                <a:lnTo>
                  <a:pt x="743" y="816"/>
                </a:lnTo>
                <a:lnTo>
                  <a:pt x="745" y="815"/>
                </a:lnTo>
                <a:lnTo>
                  <a:pt x="745" y="812"/>
                </a:lnTo>
                <a:lnTo>
                  <a:pt x="744" y="811"/>
                </a:lnTo>
                <a:lnTo>
                  <a:pt x="743" y="810"/>
                </a:lnTo>
                <a:lnTo>
                  <a:pt x="741" y="808"/>
                </a:lnTo>
                <a:lnTo>
                  <a:pt x="740" y="807"/>
                </a:lnTo>
                <a:lnTo>
                  <a:pt x="739" y="805"/>
                </a:lnTo>
                <a:lnTo>
                  <a:pt x="740" y="801"/>
                </a:lnTo>
                <a:lnTo>
                  <a:pt x="736" y="798"/>
                </a:lnTo>
                <a:lnTo>
                  <a:pt x="732" y="795"/>
                </a:lnTo>
                <a:lnTo>
                  <a:pt x="729" y="789"/>
                </a:lnTo>
                <a:lnTo>
                  <a:pt x="733" y="788"/>
                </a:lnTo>
                <a:lnTo>
                  <a:pt x="733" y="783"/>
                </a:lnTo>
                <a:lnTo>
                  <a:pt x="738" y="788"/>
                </a:lnTo>
                <a:lnTo>
                  <a:pt x="743" y="793"/>
                </a:lnTo>
                <a:lnTo>
                  <a:pt x="743" y="793"/>
                </a:lnTo>
                <a:lnTo>
                  <a:pt x="744" y="791"/>
                </a:lnTo>
                <a:lnTo>
                  <a:pt x="743" y="793"/>
                </a:lnTo>
                <a:lnTo>
                  <a:pt x="743" y="793"/>
                </a:lnTo>
                <a:lnTo>
                  <a:pt x="744" y="794"/>
                </a:lnTo>
                <a:lnTo>
                  <a:pt x="744" y="794"/>
                </a:lnTo>
                <a:lnTo>
                  <a:pt x="744" y="795"/>
                </a:lnTo>
                <a:lnTo>
                  <a:pt x="744" y="795"/>
                </a:lnTo>
                <a:lnTo>
                  <a:pt x="745" y="796"/>
                </a:lnTo>
                <a:lnTo>
                  <a:pt x="745" y="796"/>
                </a:lnTo>
                <a:lnTo>
                  <a:pt x="745" y="796"/>
                </a:lnTo>
                <a:lnTo>
                  <a:pt x="746" y="800"/>
                </a:lnTo>
                <a:lnTo>
                  <a:pt x="748" y="801"/>
                </a:lnTo>
                <a:lnTo>
                  <a:pt x="752" y="808"/>
                </a:lnTo>
                <a:lnTo>
                  <a:pt x="757" y="814"/>
                </a:lnTo>
                <a:lnTo>
                  <a:pt x="759" y="817"/>
                </a:lnTo>
                <a:lnTo>
                  <a:pt x="761" y="822"/>
                </a:lnTo>
                <a:lnTo>
                  <a:pt x="761" y="817"/>
                </a:lnTo>
                <a:lnTo>
                  <a:pt x="758" y="814"/>
                </a:lnTo>
                <a:lnTo>
                  <a:pt x="757" y="809"/>
                </a:lnTo>
                <a:lnTo>
                  <a:pt x="756" y="805"/>
                </a:lnTo>
                <a:lnTo>
                  <a:pt x="761" y="811"/>
                </a:lnTo>
                <a:lnTo>
                  <a:pt x="765" y="819"/>
                </a:lnTo>
                <a:lnTo>
                  <a:pt x="764" y="822"/>
                </a:lnTo>
                <a:lnTo>
                  <a:pt x="761" y="822"/>
                </a:lnTo>
                <a:lnTo>
                  <a:pt x="760" y="823"/>
                </a:lnTo>
                <a:lnTo>
                  <a:pt x="758" y="823"/>
                </a:lnTo>
                <a:lnTo>
                  <a:pt x="758" y="824"/>
                </a:lnTo>
                <a:lnTo>
                  <a:pt x="758" y="826"/>
                </a:lnTo>
                <a:lnTo>
                  <a:pt x="758" y="824"/>
                </a:lnTo>
                <a:lnTo>
                  <a:pt x="758" y="823"/>
                </a:lnTo>
                <a:lnTo>
                  <a:pt x="758" y="823"/>
                </a:lnTo>
                <a:lnTo>
                  <a:pt x="757" y="823"/>
                </a:lnTo>
                <a:lnTo>
                  <a:pt x="757" y="825"/>
                </a:lnTo>
                <a:lnTo>
                  <a:pt x="758" y="826"/>
                </a:lnTo>
                <a:lnTo>
                  <a:pt x="759" y="828"/>
                </a:lnTo>
                <a:lnTo>
                  <a:pt x="761" y="828"/>
                </a:lnTo>
                <a:lnTo>
                  <a:pt x="763" y="833"/>
                </a:lnTo>
                <a:lnTo>
                  <a:pt x="765" y="838"/>
                </a:lnTo>
                <a:lnTo>
                  <a:pt x="763" y="837"/>
                </a:lnTo>
                <a:lnTo>
                  <a:pt x="759" y="837"/>
                </a:lnTo>
                <a:lnTo>
                  <a:pt x="763" y="844"/>
                </a:lnTo>
                <a:lnTo>
                  <a:pt x="765" y="852"/>
                </a:lnTo>
                <a:lnTo>
                  <a:pt x="763" y="851"/>
                </a:lnTo>
                <a:lnTo>
                  <a:pt x="761" y="849"/>
                </a:lnTo>
                <a:lnTo>
                  <a:pt x="758" y="842"/>
                </a:lnTo>
                <a:lnTo>
                  <a:pt x="752" y="836"/>
                </a:lnTo>
                <a:close/>
                <a:moveTo>
                  <a:pt x="766" y="1395"/>
                </a:moveTo>
                <a:lnTo>
                  <a:pt x="763" y="1395"/>
                </a:lnTo>
                <a:lnTo>
                  <a:pt x="759" y="1396"/>
                </a:lnTo>
                <a:lnTo>
                  <a:pt x="763" y="1395"/>
                </a:lnTo>
                <a:lnTo>
                  <a:pt x="766" y="1395"/>
                </a:lnTo>
                <a:close/>
                <a:moveTo>
                  <a:pt x="763" y="1408"/>
                </a:moveTo>
                <a:lnTo>
                  <a:pt x="761" y="1406"/>
                </a:lnTo>
                <a:lnTo>
                  <a:pt x="761" y="1405"/>
                </a:lnTo>
                <a:lnTo>
                  <a:pt x="770" y="1405"/>
                </a:lnTo>
                <a:lnTo>
                  <a:pt x="778" y="1405"/>
                </a:lnTo>
                <a:lnTo>
                  <a:pt x="770" y="1405"/>
                </a:lnTo>
                <a:lnTo>
                  <a:pt x="761" y="1405"/>
                </a:lnTo>
                <a:lnTo>
                  <a:pt x="761" y="1406"/>
                </a:lnTo>
                <a:lnTo>
                  <a:pt x="763" y="1408"/>
                </a:lnTo>
                <a:close/>
                <a:moveTo>
                  <a:pt x="789" y="1163"/>
                </a:moveTo>
                <a:lnTo>
                  <a:pt x="791" y="1164"/>
                </a:lnTo>
                <a:lnTo>
                  <a:pt x="791" y="1165"/>
                </a:lnTo>
                <a:lnTo>
                  <a:pt x="791" y="1164"/>
                </a:lnTo>
                <a:lnTo>
                  <a:pt x="789" y="1163"/>
                </a:lnTo>
                <a:close/>
                <a:moveTo>
                  <a:pt x="788" y="1161"/>
                </a:moveTo>
                <a:lnTo>
                  <a:pt x="789" y="1160"/>
                </a:lnTo>
                <a:lnTo>
                  <a:pt x="789" y="1158"/>
                </a:lnTo>
                <a:lnTo>
                  <a:pt x="789" y="1160"/>
                </a:lnTo>
                <a:lnTo>
                  <a:pt x="788" y="1161"/>
                </a:lnTo>
                <a:lnTo>
                  <a:pt x="788" y="1161"/>
                </a:lnTo>
                <a:close/>
                <a:moveTo>
                  <a:pt x="789" y="1185"/>
                </a:moveTo>
                <a:lnTo>
                  <a:pt x="789" y="1182"/>
                </a:lnTo>
                <a:lnTo>
                  <a:pt x="789" y="1180"/>
                </a:lnTo>
                <a:lnTo>
                  <a:pt x="791" y="1180"/>
                </a:lnTo>
                <a:lnTo>
                  <a:pt x="791" y="1180"/>
                </a:lnTo>
                <a:lnTo>
                  <a:pt x="791" y="1180"/>
                </a:lnTo>
                <a:lnTo>
                  <a:pt x="789" y="1180"/>
                </a:lnTo>
                <a:lnTo>
                  <a:pt x="789" y="1182"/>
                </a:lnTo>
                <a:lnTo>
                  <a:pt x="789" y="1185"/>
                </a:lnTo>
                <a:close/>
                <a:moveTo>
                  <a:pt x="796" y="1196"/>
                </a:moveTo>
                <a:lnTo>
                  <a:pt x="794" y="1198"/>
                </a:lnTo>
                <a:lnTo>
                  <a:pt x="792" y="1199"/>
                </a:lnTo>
                <a:lnTo>
                  <a:pt x="792" y="1200"/>
                </a:lnTo>
                <a:lnTo>
                  <a:pt x="792" y="1201"/>
                </a:lnTo>
                <a:lnTo>
                  <a:pt x="792" y="1200"/>
                </a:lnTo>
                <a:lnTo>
                  <a:pt x="792" y="1199"/>
                </a:lnTo>
                <a:lnTo>
                  <a:pt x="794" y="1198"/>
                </a:lnTo>
                <a:lnTo>
                  <a:pt x="796" y="1196"/>
                </a:lnTo>
                <a:close/>
                <a:moveTo>
                  <a:pt x="795" y="1164"/>
                </a:moveTo>
                <a:lnTo>
                  <a:pt x="793" y="1166"/>
                </a:lnTo>
                <a:lnTo>
                  <a:pt x="791" y="1167"/>
                </a:lnTo>
                <a:lnTo>
                  <a:pt x="789" y="1170"/>
                </a:lnTo>
                <a:lnTo>
                  <a:pt x="788" y="1172"/>
                </a:lnTo>
                <a:lnTo>
                  <a:pt x="789" y="1170"/>
                </a:lnTo>
                <a:lnTo>
                  <a:pt x="791" y="1167"/>
                </a:lnTo>
                <a:lnTo>
                  <a:pt x="793" y="1166"/>
                </a:lnTo>
                <a:lnTo>
                  <a:pt x="795" y="1164"/>
                </a:lnTo>
                <a:close/>
                <a:moveTo>
                  <a:pt x="794" y="1175"/>
                </a:moveTo>
                <a:lnTo>
                  <a:pt x="794" y="1173"/>
                </a:lnTo>
                <a:lnTo>
                  <a:pt x="795" y="1172"/>
                </a:lnTo>
                <a:lnTo>
                  <a:pt x="794" y="1173"/>
                </a:lnTo>
                <a:lnTo>
                  <a:pt x="794" y="1175"/>
                </a:lnTo>
                <a:close/>
                <a:moveTo>
                  <a:pt x="798" y="1173"/>
                </a:moveTo>
                <a:lnTo>
                  <a:pt x="796" y="1174"/>
                </a:lnTo>
                <a:lnTo>
                  <a:pt x="795" y="1175"/>
                </a:lnTo>
                <a:lnTo>
                  <a:pt x="794" y="1175"/>
                </a:lnTo>
                <a:lnTo>
                  <a:pt x="794" y="1175"/>
                </a:lnTo>
                <a:lnTo>
                  <a:pt x="794" y="1175"/>
                </a:lnTo>
                <a:lnTo>
                  <a:pt x="795" y="1175"/>
                </a:lnTo>
                <a:lnTo>
                  <a:pt x="796" y="1174"/>
                </a:lnTo>
                <a:lnTo>
                  <a:pt x="798" y="1173"/>
                </a:lnTo>
                <a:close/>
                <a:moveTo>
                  <a:pt x="791" y="1139"/>
                </a:move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86" y="1140"/>
                </a:lnTo>
                <a:lnTo>
                  <a:pt x="784" y="1145"/>
                </a:lnTo>
                <a:lnTo>
                  <a:pt x="786" y="1140"/>
                </a:lnTo>
                <a:lnTo>
                  <a:pt x="791" y="1139"/>
                </a:lnTo>
                <a:close/>
                <a:moveTo>
                  <a:pt x="780" y="1021"/>
                </a:moveTo>
                <a:lnTo>
                  <a:pt x="782" y="1019"/>
                </a:lnTo>
                <a:lnTo>
                  <a:pt x="785" y="1017"/>
                </a:lnTo>
                <a:lnTo>
                  <a:pt x="786" y="1017"/>
                </a:lnTo>
                <a:lnTo>
                  <a:pt x="786" y="1015"/>
                </a:lnTo>
                <a:lnTo>
                  <a:pt x="786" y="1017"/>
                </a:lnTo>
                <a:lnTo>
                  <a:pt x="785" y="1017"/>
                </a:lnTo>
                <a:lnTo>
                  <a:pt x="786" y="1017"/>
                </a:lnTo>
                <a:lnTo>
                  <a:pt x="786" y="1017"/>
                </a:lnTo>
                <a:lnTo>
                  <a:pt x="787" y="1017"/>
                </a:lnTo>
                <a:lnTo>
                  <a:pt x="786" y="1017"/>
                </a:lnTo>
                <a:lnTo>
                  <a:pt x="785" y="1017"/>
                </a:lnTo>
                <a:lnTo>
                  <a:pt x="782" y="1019"/>
                </a:lnTo>
                <a:lnTo>
                  <a:pt x="780" y="1021"/>
                </a:lnTo>
                <a:close/>
                <a:moveTo>
                  <a:pt x="792" y="1265"/>
                </a:moveTo>
                <a:lnTo>
                  <a:pt x="789" y="1271"/>
                </a:lnTo>
                <a:lnTo>
                  <a:pt x="787" y="1277"/>
                </a:lnTo>
                <a:lnTo>
                  <a:pt x="789" y="1271"/>
                </a:lnTo>
                <a:lnTo>
                  <a:pt x="792" y="1265"/>
                </a:lnTo>
                <a:lnTo>
                  <a:pt x="794" y="1264"/>
                </a:lnTo>
                <a:lnTo>
                  <a:pt x="796" y="1262"/>
                </a:lnTo>
                <a:lnTo>
                  <a:pt x="794" y="1264"/>
                </a:lnTo>
                <a:lnTo>
                  <a:pt x="792" y="1265"/>
                </a:lnTo>
                <a:close/>
                <a:moveTo>
                  <a:pt x="798" y="1185"/>
                </a:moveTo>
                <a:lnTo>
                  <a:pt x="796" y="1188"/>
                </a:lnTo>
                <a:lnTo>
                  <a:pt x="793" y="1191"/>
                </a:lnTo>
                <a:lnTo>
                  <a:pt x="796" y="1188"/>
                </a:lnTo>
                <a:lnTo>
                  <a:pt x="798" y="1185"/>
                </a:lnTo>
                <a:lnTo>
                  <a:pt x="801" y="1182"/>
                </a:lnTo>
                <a:lnTo>
                  <a:pt x="803" y="1182"/>
                </a:lnTo>
                <a:lnTo>
                  <a:pt x="801" y="1182"/>
                </a:lnTo>
                <a:lnTo>
                  <a:pt x="798" y="1185"/>
                </a:lnTo>
                <a:close/>
                <a:moveTo>
                  <a:pt x="807" y="982"/>
                </a:move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3" y="987"/>
                </a:lnTo>
                <a:lnTo>
                  <a:pt x="799" y="992"/>
                </a:lnTo>
                <a:lnTo>
                  <a:pt x="800" y="993"/>
                </a:lnTo>
                <a:lnTo>
                  <a:pt x="800" y="996"/>
                </a:lnTo>
                <a:lnTo>
                  <a:pt x="800" y="993"/>
                </a:lnTo>
                <a:lnTo>
                  <a:pt x="799" y="992"/>
                </a:lnTo>
                <a:lnTo>
                  <a:pt x="791" y="998"/>
                </a:lnTo>
                <a:lnTo>
                  <a:pt x="784" y="1007"/>
                </a:lnTo>
                <a:lnTo>
                  <a:pt x="778" y="1013"/>
                </a:lnTo>
                <a:lnTo>
                  <a:pt x="772" y="1018"/>
                </a:lnTo>
                <a:lnTo>
                  <a:pt x="770" y="1019"/>
                </a:lnTo>
                <a:lnTo>
                  <a:pt x="768" y="1017"/>
                </a:lnTo>
                <a:lnTo>
                  <a:pt x="768" y="1017"/>
                </a:lnTo>
                <a:lnTo>
                  <a:pt x="767" y="1017"/>
                </a:lnTo>
                <a:lnTo>
                  <a:pt x="768" y="1017"/>
                </a:lnTo>
                <a:lnTo>
                  <a:pt x="768" y="1017"/>
                </a:lnTo>
                <a:lnTo>
                  <a:pt x="775" y="1011"/>
                </a:lnTo>
                <a:lnTo>
                  <a:pt x="781" y="1004"/>
                </a:lnTo>
                <a:lnTo>
                  <a:pt x="781" y="1003"/>
                </a:lnTo>
                <a:lnTo>
                  <a:pt x="781" y="1000"/>
                </a:lnTo>
                <a:lnTo>
                  <a:pt x="781" y="1003"/>
                </a:lnTo>
                <a:lnTo>
                  <a:pt x="781" y="1004"/>
                </a:lnTo>
                <a:lnTo>
                  <a:pt x="785" y="999"/>
                </a:lnTo>
                <a:lnTo>
                  <a:pt x="786" y="994"/>
                </a:lnTo>
                <a:lnTo>
                  <a:pt x="791" y="992"/>
                </a:lnTo>
                <a:lnTo>
                  <a:pt x="794" y="987"/>
                </a:lnTo>
                <a:lnTo>
                  <a:pt x="794" y="987"/>
                </a:lnTo>
                <a:lnTo>
                  <a:pt x="795" y="987"/>
                </a:lnTo>
                <a:lnTo>
                  <a:pt x="801" y="984"/>
                </a:lnTo>
                <a:lnTo>
                  <a:pt x="807" y="982"/>
                </a:lnTo>
                <a:lnTo>
                  <a:pt x="809" y="979"/>
                </a:lnTo>
                <a:lnTo>
                  <a:pt x="812" y="979"/>
                </a:lnTo>
                <a:lnTo>
                  <a:pt x="812" y="978"/>
                </a:lnTo>
                <a:lnTo>
                  <a:pt x="812" y="978"/>
                </a:lnTo>
                <a:lnTo>
                  <a:pt x="815" y="978"/>
                </a:lnTo>
                <a:lnTo>
                  <a:pt x="815" y="978"/>
                </a:lnTo>
                <a:lnTo>
                  <a:pt x="815" y="978"/>
                </a:lnTo>
                <a:lnTo>
                  <a:pt x="813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0" y="982"/>
                </a:lnTo>
                <a:lnTo>
                  <a:pt x="807" y="982"/>
                </a:lnTo>
                <a:close/>
                <a:moveTo>
                  <a:pt x="816" y="1298"/>
                </a:moveTo>
                <a:lnTo>
                  <a:pt x="812" y="1297"/>
                </a:lnTo>
                <a:lnTo>
                  <a:pt x="808" y="1294"/>
                </a:lnTo>
                <a:lnTo>
                  <a:pt x="812" y="1297"/>
                </a:lnTo>
                <a:lnTo>
                  <a:pt x="816" y="1298"/>
                </a:lnTo>
                <a:lnTo>
                  <a:pt x="816" y="1299"/>
                </a:lnTo>
                <a:lnTo>
                  <a:pt x="815" y="1300"/>
                </a:lnTo>
                <a:lnTo>
                  <a:pt x="816" y="1299"/>
                </a:lnTo>
                <a:lnTo>
                  <a:pt x="816" y="1298"/>
                </a:lnTo>
                <a:close/>
                <a:moveTo>
                  <a:pt x="836" y="1304"/>
                </a:moveTo>
                <a:lnTo>
                  <a:pt x="826" y="1303"/>
                </a:lnTo>
                <a:lnTo>
                  <a:pt x="816" y="1298"/>
                </a:lnTo>
                <a:lnTo>
                  <a:pt x="816" y="1294"/>
                </a:lnTo>
                <a:lnTo>
                  <a:pt x="820" y="1293"/>
                </a:lnTo>
                <a:lnTo>
                  <a:pt x="822" y="1293"/>
                </a:lnTo>
                <a:lnTo>
                  <a:pt x="823" y="1292"/>
                </a:lnTo>
                <a:lnTo>
                  <a:pt x="822" y="1293"/>
                </a:lnTo>
                <a:lnTo>
                  <a:pt x="820" y="1293"/>
                </a:lnTo>
                <a:lnTo>
                  <a:pt x="828" y="1300"/>
                </a:lnTo>
                <a:lnTo>
                  <a:pt x="837" y="1301"/>
                </a:lnTo>
                <a:lnTo>
                  <a:pt x="854" y="1303"/>
                </a:lnTo>
                <a:lnTo>
                  <a:pt x="871" y="1304"/>
                </a:lnTo>
                <a:lnTo>
                  <a:pt x="872" y="1303"/>
                </a:lnTo>
                <a:lnTo>
                  <a:pt x="874" y="1303"/>
                </a:lnTo>
                <a:lnTo>
                  <a:pt x="874" y="1303"/>
                </a:lnTo>
                <a:lnTo>
                  <a:pt x="874" y="1303"/>
                </a:lnTo>
                <a:lnTo>
                  <a:pt x="872" y="1304"/>
                </a:lnTo>
                <a:lnTo>
                  <a:pt x="871" y="1304"/>
                </a:lnTo>
                <a:lnTo>
                  <a:pt x="869" y="1306"/>
                </a:lnTo>
                <a:lnTo>
                  <a:pt x="865" y="1306"/>
                </a:lnTo>
                <a:lnTo>
                  <a:pt x="854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0" y="1304"/>
                </a:lnTo>
                <a:lnTo>
                  <a:pt x="836" y="1304"/>
                </a:lnTo>
                <a:close/>
                <a:moveTo>
                  <a:pt x="862" y="940"/>
                </a:moveTo>
                <a:lnTo>
                  <a:pt x="871" y="940"/>
                </a:lnTo>
                <a:lnTo>
                  <a:pt x="881" y="937"/>
                </a:lnTo>
                <a:lnTo>
                  <a:pt x="871" y="940"/>
                </a:lnTo>
                <a:lnTo>
                  <a:pt x="862" y="940"/>
                </a:lnTo>
                <a:close/>
                <a:moveTo>
                  <a:pt x="896" y="656"/>
                </a:moveTo>
                <a:lnTo>
                  <a:pt x="896" y="655"/>
                </a:lnTo>
                <a:lnTo>
                  <a:pt x="897" y="653"/>
                </a:lnTo>
                <a:lnTo>
                  <a:pt x="896" y="655"/>
                </a:lnTo>
                <a:lnTo>
                  <a:pt x="896" y="656"/>
                </a:lnTo>
                <a:close/>
                <a:moveTo>
                  <a:pt x="901" y="347"/>
                </a:moveTo>
                <a:lnTo>
                  <a:pt x="901" y="347"/>
                </a:lnTo>
                <a:lnTo>
                  <a:pt x="899" y="347"/>
                </a:lnTo>
                <a:lnTo>
                  <a:pt x="897" y="349"/>
                </a:lnTo>
                <a:lnTo>
                  <a:pt x="895" y="352"/>
                </a:lnTo>
                <a:lnTo>
                  <a:pt x="897" y="349"/>
                </a:lnTo>
                <a:lnTo>
                  <a:pt x="899" y="347"/>
                </a:lnTo>
                <a:lnTo>
                  <a:pt x="901" y="347"/>
                </a:lnTo>
                <a:lnTo>
                  <a:pt x="901" y="347"/>
                </a:lnTo>
                <a:close/>
                <a:moveTo>
                  <a:pt x="904" y="468"/>
                </a:moveTo>
                <a:lnTo>
                  <a:pt x="904" y="468"/>
                </a:lnTo>
                <a:lnTo>
                  <a:pt x="904" y="468"/>
                </a:lnTo>
                <a:lnTo>
                  <a:pt x="903" y="468"/>
                </a:lnTo>
                <a:lnTo>
                  <a:pt x="902" y="469"/>
                </a:lnTo>
                <a:lnTo>
                  <a:pt x="903" y="468"/>
                </a:lnTo>
                <a:lnTo>
                  <a:pt x="904" y="468"/>
                </a:lnTo>
                <a:lnTo>
                  <a:pt x="904" y="468"/>
                </a:lnTo>
                <a:lnTo>
                  <a:pt x="904" y="468"/>
                </a:lnTo>
                <a:close/>
                <a:moveTo>
                  <a:pt x="908" y="355"/>
                </a:moveTo>
                <a:lnTo>
                  <a:pt x="908" y="357"/>
                </a:lnTo>
                <a:lnTo>
                  <a:pt x="909" y="360"/>
                </a:lnTo>
                <a:lnTo>
                  <a:pt x="908" y="357"/>
                </a:lnTo>
                <a:lnTo>
                  <a:pt x="908" y="355"/>
                </a:lnTo>
                <a:close/>
                <a:moveTo>
                  <a:pt x="910" y="692"/>
                </a:moveTo>
                <a:lnTo>
                  <a:pt x="910" y="692"/>
                </a:lnTo>
                <a:lnTo>
                  <a:pt x="909" y="692"/>
                </a:lnTo>
                <a:lnTo>
                  <a:pt x="909" y="693"/>
                </a:lnTo>
                <a:lnTo>
                  <a:pt x="909" y="693"/>
                </a:lnTo>
                <a:lnTo>
                  <a:pt x="909" y="693"/>
                </a:lnTo>
                <a:lnTo>
                  <a:pt x="909" y="692"/>
                </a:lnTo>
                <a:lnTo>
                  <a:pt x="910" y="692"/>
                </a:lnTo>
                <a:lnTo>
                  <a:pt x="910" y="692"/>
                </a:lnTo>
                <a:close/>
                <a:moveTo>
                  <a:pt x="911" y="551"/>
                </a:moveTo>
                <a:lnTo>
                  <a:pt x="910" y="551"/>
                </a:lnTo>
                <a:lnTo>
                  <a:pt x="910" y="550"/>
                </a:lnTo>
                <a:lnTo>
                  <a:pt x="910" y="551"/>
                </a:lnTo>
                <a:lnTo>
                  <a:pt x="911" y="551"/>
                </a:lnTo>
                <a:lnTo>
                  <a:pt x="911" y="552"/>
                </a:lnTo>
                <a:lnTo>
                  <a:pt x="910" y="553"/>
                </a:lnTo>
                <a:lnTo>
                  <a:pt x="911" y="552"/>
                </a:lnTo>
                <a:lnTo>
                  <a:pt x="911" y="551"/>
                </a:lnTo>
                <a:close/>
                <a:moveTo>
                  <a:pt x="911" y="322"/>
                </a:moveTo>
                <a:lnTo>
                  <a:pt x="909" y="325"/>
                </a:lnTo>
                <a:lnTo>
                  <a:pt x="906" y="326"/>
                </a:lnTo>
                <a:lnTo>
                  <a:pt x="909" y="325"/>
                </a:lnTo>
                <a:lnTo>
                  <a:pt x="911" y="322"/>
                </a:lnTo>
                <a:close/>
                <a:moveTo>
                  <a:pt x="932" y="632"/>
                </a:moveTo>
                <a:lnTo>
                  <a:pt x="930" y="630"/>
                </a:lnTo>
                <a:lnTo>
                  <a:pt x="931" y="629"/>
                </a:lnTo>
                <a:lnTo>
                  <a:pt x="930" y="630"/>
                </a:lnTo>
                <a:lnTo>
                  <a:pt x="932" y="632"/>
                </a:lnTo>
                <a:close/>
                <a:moveTo>
                  <a:pt x="934" y="570"/>
                </a:moveTo>
                <a:lnTo>
                  <a:pt x="932" y="570"/>
                </a:lnTo>
                <a:lnTo>
                  <a:pt x="931" y="571"/>
                </a:lnTo>
                <a:lnTo>
                  <a:pt x="932" y="570"/>
                </a:lnTo>
                <a:lnTo>
                  <a:pt x="934" y="570"/>
                </a:lnTo>
                <a:close/>
                <a:moveTo>
                  <a:pt x="937" y="562"/>
                </a:moveTo>
                <a:lnTo>
                  <a:pt x="937" y="560"/>
                </a:lnTo>
                <a:lnTo>
                  <a:pt x="937" y="559"/>
                </a:lnTo>
                <a:lnTo>
                  <a:pt x="937" y="560"/>
                </a:lnTo>
                <a:lnTo>
                  <a:pt x="937" y="562"/>
                </a:lnTo>
                <a:lnTo>
                  <a:pt x="936" y="562"/>
                </a:lnTo>
                <a:lnTo>
                  <a:pt x="934" y="562"/>
                </a:lnTo>
                <a:lnTo>
                  <a:pt x="936" y="562"/>
                </a:lnTo>
                <a:lnTo>
                  <a:pt x="937" y="562"/>
                </a:lnTo>
                <a:close/>
                <a:moveTo>
                  <a:pt x="941" y="574"/>
                </a:moveTo>
                <a:lnTo>
                  <a:pt x="941" y="573"/>
                </a:lnTo>
                <a:lnTo>
                  <a:pt x="941" y="573"/>
                </a:lnTo>
                <a:lnTo>
                  <a:pt x="941" y="573"/>
                </a:lnTo>
                <a:lnTo>
                  <a:pt x="941" y="574"/>
                </a:lnTo>
                <a:lnTo>
                  <a:pt x="938" y="574"/>
                </a:lnTo>
                <a:lnTo>
                  <a:pt x="937" y="572"/>
                </a:lnTo>
                <a:lnTo>
                  <a:pt x="938" y="574"/>
                </a:lnTo>
                <a:lnTo>
                  <a:pt x="941" y="574"/>
                </a:lnTo>
                <a:close/>
                <a:moveTo>
                  <a:pt x="938" y="566"/>
                </a:moveTo>
                <a:lnTo>
                  <a:pt x="938" y="565"/>
                </a:lnTo>
                <a:lnTo>
                  <a:pt x="938" y="565"/>
                </a:lnTo>
                <a:lnTo>
                  <a:pt x="938" y="565"/>
                </a:lnTo>
                <a:lnTo>
                  <a:pt x="938" y="566"/>
                </a:lnTo>
                <a:lnTo>
                  <a:pt x="939" y="569"/>
                </a:lnTo>
                <a:lnTo>
                  <a:pt x="940" y="570"/>
                </a:lnTo>
                <a:lnTo>
                  <a:pt x="939" y="569"/>
                </a:lnTo>
                <a:lnTo>
                  <a:pt x="938" y="566"/>
                </a:lnTo>
                <a:close/>
                <a:moveTo>
                  <a:pt x="943" y="620"/>
                </a:moveTo>
                <a:lnTo>
                  <a:pt x="941" y="620"/>
                </a:lnTo>
                <a:lnTo>
                  <a:pt x="940" y="620"/>
                </a:lnTo>
                <a:lnTo>
                  <a:pt x="940" y="620"/>
                </a:lnTo>
                <a:lnTo>
                  <a:pt x="940" y="621"/>
                </a:lnTo>
                <a:lnTo>
                  <a:pt x="940" y="620"/>
                </a:lnTo>
                <a:lnTo>
                  <a:pt x="940" y="620"/>
                </a:lnTo>
                <a:lnTo>
                  <a:pt x="941" y="620"/>
                </a:lnTo>
                <a:lnTo>
                  <a:pt x="943" y="620"/>
                </a:lnTo>
                <a:close/>
                <a:moveTo>
                  <a:pt x="932" y="632"/>
                </a:moveTo>
                <a:lnTo>
                  <a:pt x="932" y="632"/>
                </a:lnTo>
                <a:lnTo>
                  <a:pt x="933" y="633"/>
                </a:lnTo>
                <a:lnTo>
                  <a:pt x="934" y="634"/>
                </a:lnTo>
                <a:lnTo>
                  <a:pt x="933" y="633"/>
                </a:lnTo>
                <a:lnTo>
                  <a:pt x="932" y="632"/>
                </a:lnTo>
                <a:close/>
                <a:moveTo>
                  <a:pt x="955" y="593"/>
                </a:moveTo>
                <a:lnTo>
                  <a:pt x="955" y="590"/>
                </a:lnTo>
                <a:lnTo>
                  <a:pt x="957" y="587"/>
                </a:lnTo>
                <a:lnTo>
                  <a:pt x="955" y="590"/>
                </a:lnTo>
                <a:lnTo>
                  <a:pt x="955" y="593"/>
                </a:lnTo>
                <a:lnTo>
                  <a:pt x="952" y="593"/>
                </a:lnTo>
                <a:lnTo>
                  <a:pt x="948" y="595"/>
                </a:lnTo>
                <a:lnTo>
                  <a:pt x="952" y="593"/>
                </a:lnTo>
                <a:lnTo>
                  <a:pt x="955" y="593"/>
                </a:lnTo>
                <a:close/>
                <a:moveTo>
                  <a:pt x="959" y="532"/>
                </a:moveTo>
                <a:lnTo>
                  <a:pt x="959" y="532"/>
                </a:lnTo>
                <a:lnTo>
                  <a:pt x="959" y="532"/>
                </a:lnTo>
                <a:lnTo>
                  <a:pt x="958" y="536"/>
                </a:lnTo>
                <a:lnTo>
                  <a:pt x="955" y="539"/>
                </a:lnTo>
                <a:lnTo>
                  <a:pt x="958" y="536"/>
                </a:lnTo>
                <a:lnTo>
                  <a:pt x="959" y="532"/>
                </a:lnTo>
                <a:close/>
                <a:moveTo>
                  <a:pt x="957" y="571"/>
                </a:moveTo>
                <a:lnTo>
                  <a:pt x="957" y="571"/>
                </a:lnTo>
                <a:lnTo>
                  <a:pt x="955" y="572"/>
                </a:lnTo>
                <a:lnTo>
                  <a:pt x="957" y="571"/>
                </a:lnTo>
                <a:lnTo>
                  <a:pt x="957" y="571"/>
                </a:lnTo>
                <a:lnTo>
                  <a:pt x="958" y="571"/>
                </a:lnTo>
                <a:lnTo>
                  <a:pt x="958" y="572"/>
                </a:lnTo>
                <a:lnTo>
                  <a:pt x="958" y="571"/>
                </a:lnTo>
                <a:lnTo>
                  <a:pt x="957" y="571"/>
                </a:lnTo>
                <a:close/>
                <a:moveTo>
                  <a:pt x="966" y="689"/>
                </a:moveTo>
                <a:lnTo>
                  <a:pt x="965" y="688"/>
                </a:lnTo>
                <a:lnTo>
                  <a:pt x="962" y="685"/>
                </a:lnTo>
                <a:lnTo>
                  <a:pt x="965" y="688"/>
                </a:lnTo>
                <a:lnTo>
                  <a:pt x="966" y="689"/>
                </a:lnTo>
                <a:close/>
                <a:moveTo>
                  <a:pt x="967" y="670"/>
                </a:moveTo>
                <a:lnTo>
                  <a:pt x="967" y="671"/>
                </a:lnTo>
                <a:lnTo>
                  <a:pt x="967" y="674"/>
                </a:lnTo>
                <a:lnTo>
                  <a:pt x="967" y="671"/>
                </a:lnTo>
                <a:lnTo>
                  <a:pt x="967" y="670"/>
                </a:lnTo>
                <a:lnTo>
                  <a:pt x="967" y="670"/>
                </a:lnTo>
                <a:close/>
                <a:moveTo>
                  <a:pt x="969" y="669"/>
                </a:moveTo>
                <a:lnTo>
                  <a:pt x="968" y="670"/>
                </a:lnTo>
                <a:lnTo>
                  <a:pt x="967" y="670"/>
                </a:lnTo>
                <a:lnTo>
                  <a:pt x="968" y="670"/>
                </a:lnTo>
                <a:lnTo>
                  <a:pt x="969" y="669"/>
                </a:lnTo>
                <a:close/>
                <a:moveTo>
                  <a:pt x="986" y="725"/>
                </a:moveTo>
                <a:lnTo>
                  <a:pt x="989" y="725"/>
                </a:lnTo>
                <a:lnTo>
                  <a:pt x="992" y="727"/>
                </a:lnTo>
                <a:lnTo>
                  <a:pt x="991" y="731"/>
                </a:lnTo>
                <a:lnTo>
                  <a:pt x="988" y="731"/>
                </a:lnTo>
                <a:lnTo>
                  <a:pt x="984" y="730"/>
                </a:lnTo>
                <a:lnTo>
                  <a:pt x="981" y="727"/>
                </a:lnTo>
                <a:lnTo>
                  <a:pt x="982" y="725"/>
                </a:lnTo>
                <a:lnTo>
                  <a:pt x="986" y="725"/>
                </a:lnTo>
                <a:close/>
                <a:moveTo>
                  <a:pt x="999" y="727"/>
                </a:moveTo>
                <a:lnTo>
                  <a:pt x="999" y="727"/>
                </a:lnTo>
                <a:lnTo>
                  <a:pt x="999" y="728"/>
                </a:lnTo>
                <a:lnTo>
                  <a:pt x="999" y="728"/>
                </a:lnTo>
                <a:lnTo>
                  <a:pt x="999" y="730"/>
                </a:lnTo>
                <a:lnTo>
                  <a:pt x="998" y="728"/>
                </a:lnTo>
                <a:lnTo>
                  <a:pt x="998" y="728"/>
                </a:lnTo>
                <a:lnTo>
                  <a:pt x="998" y="727"/>
                </a:lnTo>
                <a:lnTo>
                  <a:pt x="999" y="727"/>
                </a:lnTo>
                <a:close/>
                <a:moveTo>
                  <a:pt x="1005" y="720"/>
                </a:moveTo>
                <a:lnTo>
                  <a:pt x="1005" y="723"/>
                </a:lnTo>
                <a:lnTo>
                  <a:pt x="1005" y="725"/>
                </a:lnTo>
                <a:lnTo>
                  <a:pt x="1002" y="725"/>
                </a:lnTo>
                <a:lnTo>
                  <a:pt x="1001" y="724"/>
                </a:lnTo>
                <a:lnTo>
                  <a:pt x="1001" y="721"/>
                </a:lnTo>
                <a:lnTo>
                  <a:pt x="1005" y="720"/>
                </a:lnTo>
                <a:close/>
                <a:moveTo>
                  <a:pt x="1007" y="726"/>
                </a:moveTo>
                <a:lnTo>
                  <a:pt x="1006" y="727"/>
                </a:lnTo>
                <a:lnTo>
                  <a:pt x="1006" y="730"/>
                </a:lnTo>
                <a:lnTo>
                  <a:pt x="1005" y="727"/>
                </a:lnTo>
                <a:lnTo>
                  <a:pt x="1007" y="726"/>
                </a:lnTo>
                <a:close/>
                <a:moveTo>
                  <a:pt x="1002" y="735"/>
                </a:moveTo>
                <a:lnTo>
                  <a:pt x="1002" y="733"/>
                </a:lnTo>
                <a:lnTo>
                  <a:pt x="1002" y="732"/>
                </a:lnTo>
                <a:lnTo>
                  <a:pt x="1003" y="732"/>
                </a:lnTo>
                <a:lnTo>
                  <a:pt x="1003" y="733"/>
                </a:lnTo>
                <a:lnTo>
                  <a:pt x="1002" y="734"/>
                </a:lnTo>
                <a:lnTo>
                  <a:pt x="1002" y="735"/>
                </a:lnTo>
                <a:close/>
                <a:moveTo>
                  <a:pt x="1002" y="737"/>
                </a:moveTo>
                <a:lnTo>
                  <a:pt x="1003" y="740"/>
                </a:lnTo>
                <a:lnTo>
                  <a:pt x="1006" y="741"/>
                </a:lnTo>
                <a:lnTo>
                  <a:pt x="1003" y="740"/>
                </a:lnTo>
                <a:lnTo>
                  <a:pt x="1002" y="737"/>
                </a:lnTo>
                <a:close/>
                <a:moveTo>
                  <a:pt x="1026" y="728"/>
                </a:moveTo>
                <a:lnTo>
                  <a:pt x="1023" y="730"/>
                </a:lnTo>
                <a:lnTo>
                  <a:pt x="1022" y="731"/>
                </a:lnTo>
                <a:lnTo>
                  <a:pt x="1023" y="730"/>
                </a:lnTo>
                <a:lnTo>
                  <a:pt x="1026" y="728"/>
                </a:lnTo>
                <a:close/>
                <a:moveTo>
                  <a:pt x="1027" y="721"/>
                </a:moveTo>
                <a:lnTo>
                  <a:pt x="1028" y="718"/>
                </a:lnTo>
                <a:lnTo>
                  <a:pt x="1031" y="718"/>
                </a:lnTo>
                <a:lnTo>
                  <a:pt x="1028" y="718"/>
                </a:lnTo>
                <a:lnTo>
                  <a:pt x="1027" y="721"/>
                </a:lnTo>
                <a:lnTo>
                  <a:pt x="1024" y="721"/>
                </a:lnTo>
                <a:lnTo>
                  <a:pt x="1022" y="721"/>
                </a:lnTo>
                <a:lnTo>
                  <a:pt x="1024" y="721"/>
                </a:lnTo>
                <a:lnTo>
                  <a:pt x="1027" y="721"/>
                </a:lnTo>
                <a:close/>
                <a:moveTo>
                  <a:pt x="1026" y="728"/>
                </a:moveTo>
                <a:lnTo>
                  <a:pt x="1026" y="726"/>
                </a:lnTo>
                <a:lnTo>
                  <a:pt x="1027" y="724"/>
                </a:lnTo>
                <a:lnTo>
                  <a:pt x="1026" y="726"/>
                </a:lnTo>
                <a:lnTo>
                  <a:pt x="1026" y="728"/>
                </a:lnTo>
                <a:close/>
                <a:moveTo>
                  <a:pt x="1041" y="612"/>
                </a:moveTo>
                <a:lnTo>
                  <a:pt x="1036" y="611"/>
                </a:lnTo>
                <a:lnTo>
                  <a:pt x="1035" y="607"/>
                </a:lnTo>
                <a:lnTo>
                  <a:pt x="1037" y="605"/>
                </a:lnTo>
                <a:lnTo>
                  <a:pt x="1040" y="602"/>
                </a:lnTo>
                <a:lnTo>
                  <a:pt x="1040" y="602"/>
                </a:lnTo>
                <a:lnTo>
                  <a:pt x="1040" y="609"/>
                </a:lnTo>
                <a:lnTo>
                  <a:pt x="1042" y="606"/>
                </a:lnTo>
                <a:lnTo>
                  <a:pt x="1044" y="602"/>
                </a:lnTo>
                <a:lnTo>
                  <a:pt x="1044" y="602"/>
                </a:lnTo>
                <a:lnTo>
                  <a:pt x="1044" y="601"/>
                </a:lnTo>
                <a:lnTo>
                  <a:pt x="1044" y="600"/>
                </a:lnTo>
                <a:lnTo>
                  <a:pt x="1048" y="599"/>
                </a:lnTo>
                <a:lnTo>
                  <a:pt x="1048" y="602"/>
                </a:lnTo>
                <a:lnTo>
                  <a:pt x="1046" y="608"/>
                </a:lnTo>
                <a:lnTo>
                  <a:pt x="1051" y="612"/>
                </a:lnTo>
                <a:lnTo>
                  <a:pt x="1054" y="613"/>
                </a:lnTo>
                <a:lnTo>
                  <a:pt x="1054" y="616"/>
                </a:lnTo>
                <a:lnTo>
                  <a:pt x="1050" y="616"/>
                </a:lnTo>
                <a:lnTo>
                  <a:pt x="1048" y="620"/>
                </a:lnTo>
                <a:lnTo>
                  <a:pt x="1047" y="625"/>
                </a:lnTo>
                <a:lnTo>
                  <a:pt x="1044" y="628"/>
                </a:lnTo>
                <a:lnTo>
                  <a:pt x="1049" y="629"/>
                </a:lnTo>
                <a:lnTo>
                  <a:pt x="1051" y="630"/>
                </a:lnTo>
                <a:lnTo>
                  <a:pt x="1051" y="632"/>
                </a:lnTo>
                <a:lnTo>
                  <a:pt x="1050" y="634"/>
                </a:lnTo>
                <a:lnTo>
                  <a:pt x="1049" y="635"/>
                </a:lnTo>
                <a:lnTo>
                  <a:pt x="1049" y="635"/>
                </a:lnTo>
                <a:lnTo>
                  <a:pt x="1044" y="636"/>
                </a:lnTo>
                <a:lnTo>
                  <a:pt x="1044" y="642"/>
                </a:lnTo>
                <a:lnTo>
                  <a:pt x="1040" y="644"/>
                </a:lnTo>
                <a:lnTo>
                  <a:pt x="1038" y="650"/>
                </a:lnTo>
                <a:lnTo>
                  <a:pt x="1035" y="648"/>
                </a:lnTo>
                <a:lnTo>
                  <a:pt x="1036" y="644"/>
                </a:lnTo>
                <a:lnTo>
                  <a:pt x="1038" y="641"/>
                </a:lnTo>
                <a:lnTo>
                  <a:pt x="1036" y="636"/>
                </a:lnTo>
                <a:lnTo>
                  <a:pt x="1035" y="627"/>
                </a:lnTo>
                <a:lnTo>
                  <a:pt x="1041" y="616"/>
                </a:lnTo>
                <a:lnTo>
                  <a:pt x="1043" y="618"/>
                </a:lnTo>
                <a:lnTo>
                  <a:pt x="1046" y="618"/>
                </a:lnTo>
                <a:lnTo>
                  <a:pt x="1044" y="614"/>
                </a:lnTo>
                <a:lnTo>
                  <a:pt x="1041" y="612"/>
                </a:lnTo>
                <a:close/>
                <a:moveTo>
                  <a:pt x="1038" y="667"/>
                </a:moveTo>
                <a:lnTo>
                  <a:pt x="1040" y="668"/>
                </a:lnTo>
                <a:lnTo>
                  <a:pt x="1040" y="670"/>
                </a:lnTo>
                <a:lnTo>
                  <a:pt x="1040" y="668"/>
                </a:lnTo>
                <a:lnTo>
                  <a:pt x="1038" y="667"/>
                </a:lnTo>
                <a:close/>
                <a:moveTo>
                  <a:pt x="1040" y="719"/>
                </a:moveTo>
                <a:lnTo>
                  <a:pt x="1038" y="723"/>
                </a:lnTo>
                <a:lnTo>
                  <a:pt x="1036" y="725"/>
                </a:lnTo>
                <a:lnTo>
                  <a:pt x="1038" y="723"/>
                </a:lnTo>
                <a:lnTo>
                  <a:pt x="1040" y="719"/>
                </a:lnTo>
                <a:lnTo>
                  <a:pt x="1042" y="718"/>
                </a:lnTo>
                <a:lnTo>
                  <a:pt x="1043" y="717"/>
                </a:lnTo>
                <a:lnTo>
                  <a:pt x="1042" y="718"/>
                </a:lnTo>
                <a:lnTo>
                  <a:pt x="1040" y="719"/>
                </a:lnTo>
                <a:close/>
                <a:moveTo>
                  <a:pt x="1065" y="686"/>
                </a:moveTo>
                <a:lnTo>
                  <a:pt x="1074" y="693"/>
                </a:lnTo>
                <a:lnTo>
                  <a:pt x="1083" y="690"/>
                </a:lnTo>
                <a:lnTo>
                  <a:pt x="1083" y="690"/>
                </a:lnTo>
                <a:lnTo>
                  <a:pt x="1083" y="690"/>
                </a:lnTo>
                <a:lnTo>
                  <a:pt x="1083" y="690"/>
                </a:lnTo>
                <a:lnTo>
                  <a:pt x="1083" y="692"/>
                </a:lnTo>
                <a:lnTo>
                  <a:pt x="1084" y="695"/>
                </a:lnTo>
                <a:lnTo>
                  <a:pt x="1083" y="698"/>
                </a:lnTo>
                <a:lnTo>
                  <a:pt x="1085" y="700"/>
                </a:lnTo>
                <a:lnTo>
                  <a:pt x="1088" y="700"/>
                </a:lnTo>
                <a:lnTo>
                  <a:pt x="1090" y="698"/>
                </a:lnTo>
                <a:lnTo>
                  <a:pt x="1095" y="696"/>
                </a:lnTo>
                <a:lnTo>
                  <a:pt x="1099" y="697"/>
                </a:lnTo>
                <a:lnTo>
                  <a:pt x="1100" y="699"/>
                </a:lnTo>
                <a:lnTo>
                  <a:pt x="1103" y="700"/>
                </a:lnTo>
                <a:lnTo>
                  <a:pt x="1103" y="700"/>
                </a:lnTo>
                <a:lnTo>
                  <a:pt x="1103" y="700"/>
                </a:lnTo>
                <a:lnTo>
                  <a:pt x="1105" y="700"/>
                </a:lnTo>
                <a:lnTo>
                  <a:pt x="1107" y="698"/>
                </a:lnTo>
                <a:lnTo>
                  <a:pt x="1105" y="700"/>
                </a:lnTo>
                <a:lnTo>
                  <a:pt x="1103" y="700"/>
                </a:lnTo>
                <a:lnTo>
                  <a:pt x="1100" y="705"/>
                </a:lnTo>
                <a:lnTo>
                  <a:pt x="1096" y="707"/>
                </a:lnTo>
                <a:lnTo>
                  <a:pt x="1096" y="706"/>
                </a:lnTo>
                <a:lnTo>
                  <a:pt x="1095" y="706"/>
                </a:lnTo>
                <a:lnTo>
                  <a:pt x="1097" y="703"/>
                </a:lnTo>
                <a:lnTo>
                  <a:pt x="1096" y="700"/>
                </a:lnTo>
                <a:lnTo>
                  <a:pt x="1093" y="702"/>
                </a:lnTo>
                <a:lnTo>
                  <a:pt x="1092" y="705"/>
                </a:lnTo>
                <a:lnTo>
                  <a:pt x="1091" y="707"/>
                </a:lnTo>
                <a:lnTo>
                  <a:pt x="1091" y="711"/>
                </a:lnTo>
                <a:lnTo>
                  <a:pt x="1090" y="714"/>
                </a:lnTo>
                <a:lnTo>
                  <a:pt x="1086" y="717"/>
                </a:lnTo>
                <a:lnTo>
                  <a:pt x="1083" y="718"/>
                </a:lnTo>
                <a:lnTo>
                  <a:pt x="1082" y="721"/>
                </a:lnTo>
                <a:lnTo>
                  <a:pt x="1081" y="721"/>
                </a:lnTo>
                <a:lnTo>
                  <a:pt x="1081" y="720"/>
                </a:lnTo>
                <a:lnTo>
                  <a:pt x="1078" y="721"/>
                </a:lnTo>
                <a:lnTo>
                  <a:pt x="1077" y="723"/>
                </a:lnTo>
                <a:lnTo>
                  <a:pt x="1078" y="721"/>
                </a:lnTo>
                <a:lnTo>
                  <a:pt x="1081" y="720"/>
                </a:lnTo>
                <a:lnTo>
                  <a:pt x="1081" y="716"/>
                </a:lnTo>
                <a:lnTo>
                  <a:pt x="1076" y="713"/>
                </a:lnTo>
                <a:lnTo>
                  <a:pt x="1072" y="709"/>
                </a:lnTo>
                <a:lnTo>
                  <a:pt x="1075" y="702"/>
                </a:lnTo>
                <a:lnTo>
                  <a:pt x="1076" y="700"/>
                </a:lnTo>
                <a:lnTo>
                  <a:pt x="1076" y="698"/>
                </a:lnTo>
                <a:lnTo>
                  <a:pt x="1074" y="697"/>
                </a:lnTo>
                <a:lnTo>
                  <a:pt x="1072" y="698"/>
                </a:lnTo>
                <a:lnTo>
                  <a:pt x="1068" y="702"/>
                </a:lnTo>
                <a:lnTo>
                  <a:pt x="1061" y="700"/>
                </a:lnTo>
                <a:lnTo>
                  <a:pt x="1067" y="696"/>
                </a:lnTo>
                <a:lnTo>
                  <a:pt x="1065" y="686"/>
                </a:lnTo>
                <a:close/>
                <a:moveTo>
                  <a:pt x="1103" y="699"/>
                </a:moveTo>
                <a:lnTo>
                  <a:pt x="1103" y="698"/>
                </a:lnTo>
                <a:lnTo>
                  <a:pt x="1102" y="697"/>
                </a:lnTo>
                <a:lnTo>
                  <a:pt x="1103" y="698"/>
                </a:lnTo>
                <a:lnTo>
                  <a:pt x="1103" y="699"/>
                </a:lnTo>
                <a:close/>
                <a:moveTo>
                  <a:pt x="1072" y="726"/>
                </a:moveTo>
                <a:lnTo>
                  <a:pt x="1072" y="725"/>
                </a:lnTo>
                <a:lnTo>
                  <a:pt x="1072" y="723"/>
                </a:lnTo>
                <a:lnTo>
                  <a:pt x="1072" y="725"/>
                </a:lnTo>
                <a:lnTo>
                  <a:pt x="1072" y="726"/>
                </a:lnTo>
                <a:close/>
                <a:moveTo>
                  <a:pt x="1070" y="751"/>
                </a:moveTo>
                <a:lnTo>
                  <a:pt x="1074" y="751"/>
                </a:lnTo>
                <a:lnTo>
                  <a:pt x="1075" y="752"/>
                </a:lnTo>
                <a:lnTo>
                  <a:pt x="1072" y="754"/>
                </a:lnTo>
                <a:lnTo>
                  <a:pt x="1069" y="754"/>
                </a:lnTo>
                <a:lnTo>
                  <a:pt x="1070" y="752"/>
                </a:lnTo>
                <a:lnTo>
                  <a:pt x="1070" y="751"/>
                </a:lnTo>
                <a:close/>
                <a:moveTo>
                  <a:pt x="898" y="1467"/>
                </a:moveTo>
                <a:lnTo>
                  <a:pt x="899" y="1465"/>
                </a:lnTo>
                <a:lnTo>
                  <a:pt x="898" y="1462"/>
                </a:lnTo>
                <a:lnTo>
                  <a:pt x="899" y="1465"/>
                </a:lnTo>
                <a:lnTo>
                  <a:pt x="898" y="1467"/>
                </a:lnTo>
                <a:lnTo>
                  <a:pt x="898" y="1468"/>
                </a:lnTo>
                <a:lnTo>
                  <a:pt x="897" y="1469"/>
                </a:lnTo>
                <a:lnTo>
                  <a:pt x="898" y="1468"/>
                </a:lnTo>
                <a:lnTo>
                  <a:pt x="898" y="1467"/>
                </a:lnTo>
                <a:close/>
                <a:moveTo>
                  <a:pt x="149" y="657"/>
                </a:moveTo>
                <a:lnTo>
                  <a:pt x="147" y="658"/>
                </a:lnTo>
                <a:lnTo>
                  <a:pt x="146" y="660"/>
                </a:lnTo>
                <a:lnTo>
                  <a:pt x="147" y="658"/>
                </a:lnTo>
                <a:lnTo>
                  <a:pt x="149" y="657"/>
                </a:lnTo>
                <a:lnTo>
                  <a:pt x="149" y="657"/>
                </a:lnTo>
                <a:lnTo>
                  <a:pt x="149" y="656"/>
                </a:lnTo>
                <a:lnTo>
                  <a:pt x="149" y="657"/>
                </a:lnTo>
                <a:lnTo>
                  <a:pt x="149" y="657"/>
                </a:lnTo>
                <a:close/>
                <a:moveTo>
                  <a:pt x="133" y="775"/>
                </a:moveTo>
                <a:lnTo>
                  <a:pt x="133" y="773"/>
                </a:lnTo>
                <a:lnTo>
                  <a:pt x="135" y="772"/>
                </a:lnTo>
                <a:lnTo>
                  <a:pt x="133" y="773"/>
                </a:lnTo>
                <a:lnTo>
                  <a:pt x="133" y="775"/>
                </a:lnTo>
                <a:close/>
                <a:moveTo>
                  <a:pt x="119" y="794"/>
                </a:moveTo>
                <a:lnTo>
                  <a:pt x="116" y="790"/>
                </a:lnTo>
                <a:lnTo>
                  <a:pt x="111" y="788"/>
                </a:lnTo>
                <a:lnTo>
                  <a:pt x="116" y="790"/>
                </a:lnTo>
                <a:lnTo>
                  <a:pt x="119" y="794"/>
                </a:lnTo>
                <a:lnTo>
                  <a:pt x="123" y="794"/>
                </a:lnTo>
                <a:lnTo>
                  <a:pt x="126" y="793"/>
                </a:lnTo>
                <a:lnTo>
                  <a:pt x="123" y="794"/>
                </a:lnTo>
                <a:lnTo>
                  <a:pt x="119" y="794"/>
                </a:lnTo>
                <a:close/>
                <a:moveTo>
                  <a:pt x="118" y="837"/>
                </a:moveTo>
                <a:lnTo>
                  <a:pt x="117" y="836"/>
                </a:lnTo>
                <a:lnTo>
                  <a:pt x="116" y="836"/>
                </a:lnTo>
                <a:lnTo>
                  <a:pt x="117" y="836"/>
                </a:lnTo>
                <a:lnTo>
                  <a:pt x="118" y="837"/>
                </a:lnTo>
                <a:close/>
                <a:moveTo>
                  <a:pt x="121" y="870"/>
                </a:moveTo>
                <a:lnTo>
                  <a:pt x="119" y="870"/>
                </a:lnTo>
                <a:lnTo>
                  <a:pt x="118" y="868"/>
                </a:lnTo>
                <a:lnTo>
                  <a:pt x="119" y="868"/>
                </a:lnTo>
                <a:lnTo>
                  <a:pt x="121" y="870"/>
                </a:lnTo>
                <a:close/>
                <a:moveTo>
                  <a:pt x="115" y="767"/>
                </a:moveTo>
                <a:lnTo>
                  <a:pt x="114" y="766"/>
                </a:lnTo>
                <a:lnTo>
                  <a:pt x="114" y="763"/>
                </a:lnTo>
                <a:lnTo>
                  <a:pt x="114" y="766"/>
                </a:lnTo>
                <a:lnTo>
                  <a:pt x="115" y="767"/>
                </a:lnTo>
                <a:lnTo>
                  <a:pt x="117" y="768"/>
                </a:lnTo>
                <a:lnTo>
                  <a:pt x="119" y="768"/>
                </a:lnTo>
                <a:lnTo>
                  <a:pt x="117" y="768"/>
                </a:lnTo>
                <a:lnTo>
                  <a:pt x="115" y="767"/>
                </a:lnTo>
                <a:close/>
                <a:moveTo>
                  <a:pt x="118" y="646"/>
                </a:moveTo>
                <a:lnTo>
                  <a:pt x="117" y="643"/>
                </a:lnTo>
                <a:lnTo>
                  <a:pt x="116" y="642"/>
                </a:lnTo>
                <a:lnTo>
                  <a:pt x="117" y="643"/>
                </a:lnTo>
                <a:lnTo>
                  <a:pt x="118" y="646"/>
                </a:lnTo>
                <a:close/>
                <a:moveTo>
                  <a:pt x="108" y="830"/>
                </a:moveTo>
                <a:lnTo>
                  <a:pt x="108" y="829"/>
                </a:lnTo>
                <a:lnTo>
                  <a:pt x="106" y="828"/>
                </a:lnTo>
                <a:lnTo>
                  <a:pt x="108" y="829"/>
                </a:lnTo>
                <a:lnTo>
                  <a:pt x="108" y="830"/>
                </a:lnTo>
                <a:close/>
                <a:moveTo>
                  <a:pt x="73" y="1031"/>
                </a:moveTo>
                <a:lnTo>
                  <a:pt x="73" y="1033"/>
                </a:lnTo>
                <a:lnTo>
                  <a:pt x="73" y="1034"/>
                </a:lnTo>
                <a:lnTo>
                  <a:pt x="73" y="1033"/>
                </a:lnTo>
                <a:lnTo>
                  <a:pt x="73" y="1031"/>
                </a:lnTo>
                <a:lnTo>
                  <a:pt x="76" y="1026"/>
                </a:lnTo>
                <a:lnTo>
                  <a:pt x="77" y="1021"/>
                </a:lnTo>
                <a:lnTo>
                  <a:pt x="76" y="1026"/>
                </a:lnTo>
                <a:lnTo>
                  <a:pt x="73" y="1031"/>
                </a:lnTo>
                <a:close/>
                <a:moveTo>
                  <a:pt x="49" y="1084"/>
                </a:moveTo>
                <a:lnTo>
                  <a:pt x="49" y="1083"/>
                </a:lnTo>
                <a:lnTo>
                  <a:pt x="49" y="1082"/>
                </a:lnTo>
                <a:lnTo>
                  <a:pt x="53" y="1077"/>
                </a:lnTo>
                <a:lnTo>
                  <a:pt x="56" y="1073"/>
                </a:lnTo>
                <a:lnTo>
                  <a:pt x="53" y="1077"/>
                </a:lnTo>
                <a:lnTo>
                  <a:pt x="49" y="1082"/>
                </a:lnTo>
                <a:lnTo>
                  <a:pt x="49" y="1083"/>
                </a:lnTo>
                <a:lnTo>
                  <a:pt x="49" y="1084"/>
                </a:lnTo>
                <a:close/>
                <a:moveTo>
                  <a:pt x="39" y="1123"/>
                </a:moveTo>
                <a:lnTo>
                  <a:pt x="40" y="1119"/>
                </a:lnTo>
                <a:lnTo>
                  <a:pt x="39" y="1117"/>
                </a:lnTo>
                <a:lnTo>
                  <a:pt x="39" y="1114"/>
                </a:lnTo>
                <a:lnTo>
                  <a:pt x="39" y="1111"/>
                </a:lnTo>
                <a:lnTo>
                  <a:pt x="39" y="1114"/>
                </a:lnTo>
                <a:lnTo>
                  <a:pt x="39" y="1117"/>
                </a:lnTo>
                <a:lnTo>
                  <a:pt x="40" y="1119"/>
                </a:lnTo>
                <a:lnTo>
                  <a:pt x="39" y="1123"/>
                </a:lnTo>
                <a:close/>
                <a:moveTo>
                  <a:pt x="32" y="1172"/>
                </a:moveTo>
                <a:lnTo>
                  <a:pt x="28" y="1168"/>
                </a:lnTo>
                <a:lnTo>
                  <a:pt x="28" y="1164"/>
                </a:lnTo>
                <a:lnTo>
                  <a:pt x="28" y="1168"/>
                </a:lnTo>
                <a:lnTo>
                  <a:pt x="32" y="1172"/>
                </a:lnTo>
                <a:lnTo>
                  <a:pt x="32" y="1172"/>
                </a:lnTo>
                <a:close/>
                <a:moveTo>
                  <a:pt x="26" y="1151"/>
                </a:moveTo>
                <a:lnTo>
                  <a:pt x="25" y="1152"/>
                </a:lnTo>
                <a:lnTo>
                  <a:pt x="25" y="1153"/>
                </a:lnTo>
                <a:lnTo>
                  <a:pt x="25" y="1152"/>
                </a:lnTo>
                <a:lnTo>
                  <a:pt x="26" y="1151"/>
                </a:lnTo>
                <a:lnTo>
                  <a:pt x="27" y="1146"/>
                </a:lnTo>
                <a:lnTo>
                  <a:pt x="28" y="1142"/>
                </a:lnTo>
                <a:lnTo>
                  <a:pt x="27" y="1146"/>
                </a:lnTo>
                <a:lnTo>
                  <a:pt x="26" y="1151"/>
                </a:lnTo>
                <a:close/>
                <a:moveTo>
                  <a:pt x="29" y="1226"/>
                </a:moveTo>
                <a:lnTo>
                  <a:pt x="27" y="1233"/>
                </a:lnTo>
                <a:lnTo>
                  <a:pt x="26" y="1241"/>
                </a:lnTo>
                <a:lnTo>
                  <a:pt x="23" y="1240"/>
                </a:lnTo>
                <a:lnTo>
                  <a:pt x="23" y="1237"/>
                </a:lnTo>
                <a:lnTo>
                  <a:pt x="26" y="1228"/>
                </a:lnTo>
                <a:lnTo>
                  <a:pt x="28" y="1220"/>
                </a:lnTo>
                <a:lnTo>
                  <a:pt x="30" y="1222"/>
                </a:lnTo>
                <a:lnTo>
                  <a:pt x="29" y="1226"/>
                </a:lnTo>
                <a:close/>
                <a:moveTo>
                  <a:pt x="25" y="1248"/>
                </a:moveTo>
                <a:lnTo>
                  <a:pt x="22" y="1247"/>
                </a:lnTo>
                <a:lnTo>
                  <a:pt x="22" y="1244"/>
                </a:lnTo>
                <a:lnTo>
                  <a:pt x="23" y="1243"/>
                </a:lnTo>
                <a:lnTo>
                  <a:pt x="26" y="1243"/>
                </a:lnTo>
                <a:lnTo>
                  <a:pt x="26" y="1245"/>
                </a:lnTo>
                <a:lnTo>
                  <a:pt x="25" y="1248"/>
                </a:lnTo>
                <a:close/>
                <a:moveTo>
                  <a:pt x="1712" y="877"/>
                </a:moveTo>
                <a:lnTo>
                  <a:pt x="1712" y="877"/>
                </a:lnTo>
                <a:lnTo>
                  <a:pt x="1711" y="878"/>
                </a:lnTo>
                <a:lnTo>
                  <a:pt x="1707" y="878"/>
                </a:lnTo>
                <a:lnTo>
                  <a:pt x="1703" y="878"/>
                </a:lnTo>
                <a:lnTo>
                  <a:pt x="1699" y="873"/>
                </a:lnTo>
                <a:lnTo>
                  <a:pt x="1692" y="873"/>
                </a:lnTo>
                <a:lnTo>
                  <a:pt x="1687" y="873"/>
                </a:lnTo>
                <a:lnTo>
                  <a:pt x="1683" y="873"/>
                </a:lnTo>
                <a:lnTo>
                  <a:pt x="1678" y="873"/>
                </a:lnTo>
                <a:lnTo>
                  <a:pt x="1676" y="877"/>
                </a:lnTo>
                <a:lnTo>
                  <a:pt x="1673" y="878"/>
                </a:lnTo>
                <a:lnTo>
                  <a:pt x="1670" y="878"/>
                </a:lnTo>
                <a:lnTo>
                  <a:pt x="1669" y="878"/>
                </a:lnTo>
                <a:lnTo>
                  <a:pt x="1668" y="877"/>
                </a:lnTo>
                <a:lnTo>
                  <a:pt x="1670" y="874"/>
                </a:lnTo>
                <a:lnTo>
                  <a:pt x="1671" y="873"/>
                </a:lnTo>
                <a:lnTo>
                  <a:pt x="1679" y="867"/>
                </a:lnTo>
                <a:lnTo>
                  <a:pt x="1689" y="864"/>
                </a:lnTo>
                <a:lnTo>
                  <a:pt x="1702" y="867"/>
                </a:lnTo>
                <a:lnTo>
                  <a:pt x="1712" y="877"/>
                </a:lnTo>
                <a:lnTo>
                  <a:pt x="1713" y="877"/>
                </a:lnTo>
                <a:lnTo>
                  <a:pt x="1713" y="877"/>
                </a:lnTo>
                <a:lnTo>
                  <a:pt x="1713" y="877"/>
                </a:lnTo>
                <a:lnTo>
                  <a:pt x="1712" y="877"/>
                </a:lnTo>
                <a:close/>
                <a:moveTo>
                  <a:pt x="1672" y="899"/>
                </a:moveTo>
                <a:lnTo>
                  <a:pt x="1671" y="900"/>
                </a:lnTo>
                <a:lnTo>
                  <a:pt x="1671" y="901"/>
                </a:lnTo>
                <a:lnTo>
                  <a:pt x="1671" y="900"/>
                </a:lnTo>
                <a:lnTo>
                  <a:pt x="1672" y="899"/>
                </a:lnTo>
                <a:lnTo>
                  <a:pt x="1682" y="893"/>
                </a:lnTo>
                <a:lnTo>
                  <a:pt x="1692" y="887"/>
                </a:lnTo>
                <a:lnTo>
                  <a:pt x="1682" y="893"/>
                </a:lnTo>
                <a:lnTo>
                  <a:pt x="1672" y="899"/>
                </a:lnTo>
                <a:close/>
                <a:moveTo>
                  <a:pt x="1666" y="902"/>
                </a:moveTo>
                <a:lnTo>
                  <a:pt x="1663" y="908"/>
                </a:lnTo>
                <a:lnTo>
                  <a:pt x="1658" y="912"/>
                </a:lnTo>
                <a:lnTo>
                  <a:pt x="1663" y="908"/>
                </a:lnTo>
                <a:lnTo>
                  <a:pt x="1666" y="902"/>
                </a:lnTo>
                <a:lnTo>
                  <a:pt x="1668" y="902"/>
                </a:lnTo>
                <a:lnTo>
                  <a:pt x="1669" y="901"/>
                </a:lnTo>
                <a:lnTo>
                  <a:pt x="1668" y="902"/>
                </a:lnTo>
                <a:lnTo>
                  <a:pt x="1666" y="902"/>
                </a:lnTo>
                <a:close/>
                <a:moveTo>
                  <a:pt x="1654" y="823"/>
                </a:moveTo>
                <a:lnTo>
                  <a:pt x="1647" y="823"/>
                </a:lnTo>
                <a:lnTo>
                  <a:pt x="1640" y="823"/>
                </a:lnTo>
                <a:lnTo>
                  <a:pt x="1647" y="823"/>
                </a:lnTo>
                <a:lnTo>
                  <a:pt x="1654" y="823"/>
                </a:lnTo>
                <a:lnTo>
                  <a:pt x="1659" y="826"/>
                </a:lnTo>
                <a:lnTo>
                  <a:pt x="1665" y="828"/>
                </a:lnTo>
                <a:lnTo>
                  <a:pt x="1659" y="826"/>
                </a:lnTo>
                <a:lnTo>
                  <a:pt x="1654" y="823"/>
                </a:lnTo>
                <a:close/>
                <a:moveTo>
                  <a:pt x="1637" y="884"/>
                </a:moveTo>
                <a:lnTo>
                  <a:pt x="1638" y="885"/>
                </a:lnTo>
                <a:lnTo>
                  <a:pt x="1640" y="885"/>
                </a:lnTo>
                <a:lnTo>
                  <a:pt x="1642" y="888"/>
                </a:lnTo>
                <a:lnTo>
                  <a:pt x="1644" y="892"/>
                </a:lnTo>
                <a:lnTo>
                  <a:pt x="1642" y="888"/>
                </a:lnTo>
                <a:lnTo>
                  <a:pt x="1640" y="885"/>
                </a:lnTo>
                <a:lnTo>
                  <a:pt x="1638" y="885"/>
                </a:lnTo>
                <a:lnTo>
                  <a:pt x="1637" y="884"/>
                </a:lnTo>
                <a:close/>
                <a:moveTo>
                  <a:pt x="1635" y="882"/>
                </a:moveTo>
                <a:lnTo>
                  <a:pt x="1635" y="882"/>
                </a:lnTo>
                <a:lnTo>
                  <a:pt x="1634" y="882"/>
                </a:lnTo>
                <a:lnTo>
                  <a:pt x="1635" y="882"/>
                </a:lnTo>
                <a:lnTo>
                  <a:pt x="1635" y="882"/>
                </a:lnTo>
                <a:lnTo>
                  <a:pt x="1635" y="882"/>
                </a:lnTo>
                <a:close/>
                <a:moveTo>
                  <a:pt x="1631" y="878"/>
                </a:moveTo>
                <a:lnTo>
                  <a:pt x="1631" y="875"/>
                </a:lnTo>
                <a:lnTo>
                  <a:pt x="1631" y="873"/>
                </a:lnTo>
                <a:lnTo>
                  <a:pt x="1631" y="873"/>
                </a:lnTo>
                <a:lnTo>
                  <a:pt x="1631" y="872"/>
                </a:lnTo>
                <a:lnTo>
                  <a:pt x="1631" y="873"/>
                </a:lnTo>
                <a:lnTo>
                  <a:pt x="1631" y="873"/>
                </a:lnTo>
                <a:lnTo>
                  <a:pt x="1631" y="875"/>
                </a:lnTo>
                <a:lnTo>
                  <a:pt x="1631" y="878"/>
                </a:lnTo>
                <a:close/>
                <a:moveTo>
                  <a:pt x="1626" y="857"/>
                </a:moveTo>
                <a:lnTo>
                  <a:pt x="1623" y="858"/>
                </a:lnTo>
                <a:lnTo>
                  <a:pt x="1622" y="859"/>
                </a:lnTo>
                <a:lnTo>
                  <a:pt x="1623" y="858"/>
                </a:lnTo>
                <a:lnTo>
                  <a:pt x="1626" y="857"/>
                </a:lnTo>
                <a:lnTo>
                  <a:pt x="1626" y="856"/>
                </a:lnTo>
                <a:lnTo>
                  <a:pt x="1626" y="856"/>
                </a:lnTo>
                <a:lnTo>
                  <a:pt x="1624" y="856"/>
                </a:lnTo>
                <a:lnTo>
                  <a:pt x="1623" y="854"/>
                </a:lnTo>
                <a:lnTo>
                  <a:pt x="1624" y="856"/>
                </a:lnTo>
                <a:lnTo>
                  <a:pt x="1626" y="856"/>
                </a:lnTo>
                <a:lnTo>
                  <a:pt x="1626" y="856"/>
                </a:lnTo>
                <a:lnTo>
                  <a:pt x="1626" y="857"/>
                </a:lnTo>
                <a:close/>
                <a:moveTo>
                  <a:pt x="1614" y="857"/>
                </a:moveTo>
                <a:lnTo>
                  <a:pt x="1616" y="857"/>
                </a:lnTo>
                <a:lnTo>
                  <a:pt x="1619" y="856"/>
                </a:lnTo>
                <a:lnTo>
                  <a:pt x="1616" y="857"/>
                </a:lnTo>
                <a:lnTo>
                  <a:pt x="1614" y="857"/>
                </a:lnTo>
                <a:close/>
                <a:moveTo>
                  <a:pt x="1610" y="861"/>
                </a:moveTo>
                <a:lnTo>
                  <a:pt x="1611" y="864"/>
                </a:lnTo>
                <a:lnTo>
                  <a:pt x="1614" y="867"/>
                </a:lnTo>
                <a:lnTo>
                  <a:pt x="1611" y="864"/>
                </a:lnTo>
                <a:lnTo>
                  <a:pt x="1610" y="861"/>
                </a:lnTo>
                <a:close/>
                <a:moveTo>
                  <a:pt x="1606" y="844"/>
                </a:moveTo>
                <a:lnTo>
                  <a:pt x="1606" y="846"/>
                </a:lnTo>
                <a:lnTo>
                  <a:pt x="1606" y="849"/>
                </a:lnTo>
                <a:lnTo>
                  <a:pt x="1606" y="846"/>
                </a:lnTo>
                <a:lnTo>
                  <a:pt x="1606" y="844"/>
                </a:lnTo>
                <a:lnTo>
                  <a:pt x="1608" y="844"/>
                </a:lnTo>
                <a:lnTo>
                  <a:pt x="1610" y="843"/>
                </a:lnTo>
                <a:lnTo>
                  <a:pt x="1608" y="844"/>
                </a:lnTo>
                <a:lnTo>
                  <a:pt x="1606" y="844"/>
                </a:lnTo>
                <a:close/>
                <a:moveTo>
                  <a:pt x="1602" y="870"/>
                </a:moveTo>
                <a:lnTo>
                  <a:pt x="1602" y="871"/>
                </a:lnTo>
                <a:lnTo>
                  <a:pt x="1601" y="873"/>
                </a:lnTo>
                <a:lnTo>
                  <a:pt x="1602" y="871"/>
                </a:lnTo>
                <a:lnTo>
                  <a:pt x="1602" y="870"/>
                </a:lnTo>
                <a:lnTo>
                  <a:pt x="1601" y="870"/>
                </a:lnTo>
                <a:lnTo>
                  <a:pt x="1601" y="870"/>
                </a:lnTo>
                <a:lnTo>
                  <a:pt x="1601" y="870"/>
                </a:lnTo>
                <a:lnTo>
                  <a:pt x="1602" y="870"/>
                </a:lnTo>
                <a:lnTo>
                  <a:pt x="1604" y="870"/>
                </a:lnTo>
                <a:lnTo>
                  <a:pt x="1607" y="867"/>
                </a:lnTo>
                <a:lnTo>
                  <a:pt x="1604" y="870"/>
                </a:lnTo>
                <a:lnTo>
                  <a:pt x="1602" y="870"/>
                </a:lnTo>
                <a:close/>
                <a:moveTo>
                  <a:pt x="1596" y="941"/>
                </a:moveTo>
                <a:lnTo>
                  <a:pt x="1595" y="942"/>
                </a:lnTo>
                <a:lnTo>
                  <a:pt x="1594" y="943"/>
                </a:lnTo>
                <a:lnTo>
                  <a:pt x="1593" y="936"/>
                </a:lnTo>
                <a:lnTo>
                  <a:pt x="1593" y="930"/>
                </a:lnTo>
                <a:lnTo>
                  <a:pt x="1594" y="928"/>
                </a:lnTo>
                <a:lnTo>
                  <a:pt x="1595" y="928"/>
                </a:lnTo>
                <a:lnTo>
                  <a:pt x="1596" y="928"/>
                </a:lnTo>
                <a:lnTo>
                  <a:pt x="1597" y="929"/>
                </a:lnTo>
                <a:lnTo>
                  <a:pt x="1599" y="931"/>
                </a:lnTo>
                <a:lnTo>
                  <a:pt x="1599" y="933"/>
                </a:lnTo>
                <a:lnTo>
                  <a:pt x="1602" y="937"/>
                </a:lnTo>
                <a:lnTo>
                  <a:pt x="1596" y="941"/>
                </a:lnTo>
                <a:close/>
                <a:moveTo>
                  <a:pt x="1590" y="797"/>
                </a:moveTo>
                <a:lnTo>
                  <a:pt x="1589" y="800"/>
                </a:lnTo>
                <a:lnTo>
                  <a:pt x="1589" y="801"/>
                </a:lnTo>
                <a:lnTo>
                  <a:pt x="1582" y="801"/>
                </a:lnTo>
                <a:lnTo>
                  <a:pt x="1576" y="803"/>
                </a:lnTo>
                <a:lnTo>
                  <a:pt x="1582" y="801"/>
                </a:lnTo>
                <a:lnTo>
                  <a:pt x="1589" y="801"/>
                </a:lnTo>
                <a:lnTo>
                  <a:pt x="1589" y="800"/>
                </a:lnTo>
                <a:lnTo>
                  <a:pt x="1590" y="797"/>
                </a:lnTo>
                <a:lnTo>
                  <a:pt x="1586" y="798"/>
                </a:lnTo>
                <a:lnTo>
                  <a:pt x="1581" y="797"/>
                </a:lnTo>
                <a:lnTo>
                  <a:pt x="1586" y="798"/>
                </a:lnTo>
                <a:lnTo>
                  <a:pt x="1590" y="797"/>
                </a:lnTo>
                <a:lnTo>
                  <a:pt x="1594" y="797"/>
                </a:lnTo>
                <a:lnTo>
                  <a:pt x="1596" y="798"/>
                </a:lnTo>
                <a:lnTo>
                  <a:pt x="1594" y="797"/>
                </a:lnTo>
                <a:lnTo>
                  <a:pt x="1590" y="797"/>
                </a:lnTo>
                <a:close/>
                <a:moveTo>
                  <a:pt x="1596" y="877"/>
                </a:moveTo>
                <a:lnTo>
                  <a:pt x="1595" y="875"/>
                </a:lnTo>
                <a:lnTo>
                  <a:pt x="1595" y="874"/>
                </a:lnTo>
                <a:lnTo>
                  <a:pt x="1596" y="873"/>
                </a:lnTo>
                <a:lnTo>
                  <a:pt x="1597" y="873"/>
                </a:lnTo>
                <a:lnTo>
                  <a:pt x="1596" y="873"/>
                </a:lnTo>
                <a:lnTo>
                  <a:pt x="1595" y="874"/>
                </a:lnTo>
                <a:lnTo>
                  <a:pt x="1595" y="875"/>
                </a:lnTo>
                <a:lnTo>
                  <a:pt x="1596" y="877"/>
                </a:lnTo>
                <a:close/>
                <a:moveTo>
                  <a:pt x="1571" y="781"/>
                </a:moveTo>
                <a:lnTo>
                  <a:pt x="1560" y="784"/>
                </a:lnTo>
                <a:lnTo>
                  <a:pt x="1550" y="787"/>
                </a:lnTo>
                <a:lnTo>
                  <a:pt x="1560" y="784"/>
                </a:lnTo>
                <a:lnTo>
                  <a:pt x="1571" y="781"/>
                </a:lnTo>
                <a:lnTo>
                  <a:pt x="1587" y="781"/>
                </a:lnTo>
                <a:lnTo>
                  <a:pt x="1603" y="781"/>
                </a:lnTo>
                <a:lnTo>
                  <a:pt x="1587" y="781"/>
                </a:lnTo>
                <a:lnTo>
                  <a:pt x="1571" y="781"/>
                </a:lnTo>
                <a:close/>
                <a:moveTo>
                  <a:pt x="1558" y="815"/>
                </a:moveTo>
                <a:lnTo>
                  <a:pt x="1564" y="814"/>
                </a:lnTo>
                <a:lnTo>
                  <a:pt x="1567" y="811"/>
                </a:lnTo>
                <a:lnTo>
                  <a:pt x="1564" y="814"/>
                </a:lnTo>
                <a:lnTo>
                  <a:pt x="1558" y="815"/>
                </a:lnTo>
                <a:close/>
                <a:moveTo>
                  <a:pt x="1544" y="733"/>
                </a:moveTo>
                <a:lnTo>
                  <a:pt x="1537" y="731"/>
                </a:lnTo>
                <a:lnTo>
                  <a:pt x="1530" y="731"/>
                </a:lnTo>
                <a:lnTo>
                  <a:pt x="1537" y="731"/>
                </a:lnTo>
                <a:lnTo>
                  <a:pt x="1544" y="733"/>
                </a:lnTo>
                <a:lnTo>
                  <a:pt x="1550" y="737"/>
                </a:lnTo>
                <a:lnTo>
                  <a:pt x="1555" y="738"/>
                </a:lnTo>
                <a:lnTo>
                  <a:pt x="1550" y="737"/>
                </a:lnTo>
                <a:lnTo>
                  <a:pt x="1544" y="733"/>
                </a:lnTo>
                <a:close/>
                <a:moveTo>
                  <a:pt x="1526" y="744"/>
                </a:moveTo>
                <a:lnTo>
                  <a:pt x="1526" y="745"/>
                </a:lnTo>
                <a:lnTo>
                  <a:pt x="1526" y="747"/>
                </a:lnTo>
                <a:lnTo>
                  <a:pt x="1526" y="745"/>
                </a:lnTo>
                <a:lnTo>
                  <a:pt x="1526" y="744"/>
                </a:lnTo>
                <a:lnTo>
                  <a:pt x="1535" y="744"/>
                </a:lnTo>
                <a:lnTo>
                  <a:pt x="1546" y="742"/>
                </a:lnTo>
                <a:lnTo>
                  <a:pt x="1535" y="744"/>
                </a:lnTo>
                <a:lnTo>
                  <a:pt x="1526" y="744"/>
                </a:lnTo>
                <a:close/>
                <a:moveTo>
                  <a:pt x="1540" y="725"/>
                </a:moveTo>
                <a:lnTo>
                  <a:pt x="1538" y="725"/>
                </a:lnTo>
                <a:lnTo>
                  <a:pt x="1535" y="726"/>
                </a:lnTo>
                <a:lnTo>
                  <a:pt x="1538" y="725"/>
                </a:lnTo>
                <a:lnTo>
                  <a:pt x="1540" y="725"/>
                </a:lnTo>
                <a:close/>
                <a:moveTo>
                  <a:pt x="1580" y="773"/>
                </a:moveTo>
                <a:lnTo>
                  <a:pt x="1581" y="775"/>
                </a:lnTo>
                <a:lnTo>
                  <a:pt x="1583" y="775"/>
                </a:lnTo>
                <a:lnTo>
                  <a:pt x="1581" y="775"/>
                </a:lnTo>
                <a:lnTo>
                  <a:pt x="1580" y="773"/>
                </a:lnTo>
                <a:lnTo>
                  <a:pt x="1573" y="772"/>
                </a:lnTo>
                <a:lnTo>
                  <a:pt x="1565" y="770"/>
                </a:lnTo>
                <a:lnTo>
                  <a:pt x="1573" y="772"/>
                </a:lnTo>
                <a:lnTo>
                  <a:pt x="1580" y="773"/>
                </a:lnTo>
                <a:close/>
                <a:moveTo>
                  <a:pt x="1607" y="773"/>
                </a:moveTo>
                <a:lnTo>
                  <a:pt x="1609" y="774"/>
                </a:lnTo>
                <a:lnTo>
                  <a:pt x="1613" y="776"/>
                </a:lnTo>
                <a:lnTo>
                  <a:pt x="1609" y="774"/>
                </a:lnTo>
                <a:lnTo>
                  <a:pt x="1607" y="773"/>
                </a:lnTo>
                <a:lnTo>
                  <a:pt x="1602" y="776"/>
                </a:lnTo>
                <a:lnTo>
                  <a:pt x="1596" y="776"/>
                </a:lnTo>
                <a:lnTo>
                  <a:pt x="1602" y="776"/>
                </a:lnTo>
                <a:lnTo>
                  <a:pt x="1607" y="773"/>
                </a:lnTo>
                <a:close/>
                <a:moveTo>
                  <a:pt x="1614" y="795"/>
                </a:moveTo>
                <a:lnTo>
                  <a:pt x="1613" y="794"/>
                </a:lnTo>
                <a:lnTo>
                  <a:pt x="1611" y="794"/>
                </a:lnTo>
                <a:lnTo>
                  <a:pt x="1613" y="794"/>
                </a:lnTo>
                <a:lnTo>
                  <a:pt x="1614" y="795"/>
                </a:lnTo>
                <a:close/>
                <a:moveTo>
                  <a:pt x="1623" y="796"/>
                </a:moveTo>
                <a:lnTo>
                  <a:pt x="1619" y="796"/>
                </a:lnTo>
                <a:lnTo>
                  <a:pt x="1614" y="796"/>
                </a:lnTo>
                <a:lnTo>
                  <a:pt x="1614" y="796"/>
                </a:lnTo>
                <a:lnTo>
                  <a:pt x="1619" y="796"/>
                </a:lnTo>
                <a:lnTo>
                  <a:pt x="1623" y="796"/>
                </a:lnTo>
                <a:close/>
                <a:moveTo>
                  <a:pt x="1604" y="860"/>
                </a:moveTo>
                <a:lnTo>
                  <a:pt x="1603" y="861"/>
                </a:lnTo>
                <a:lnTo>
                  <a:pt x="1602" y="860"/>
                </a:lnTo>
                <a:lnTo>
                  <a:pt x="1603" y="861"/>
                </a:lnTo>
                <a:lnTo>
                  <a:pt x="1604" y="860"/>
                </a:lnTo>
                <a:lnTo>
                  <a:pt x="1604" y="860"/>
                </a:lnTo>
                <a:lnTo>
                  <a:pt x="1606" y="859"/>
                </a:lnTo>
                <a:lnTo>
                  <a:pt x="1606" y="859"/>
                </a:lnTo>
                <a:lnTo>
                  <a:pt x="1604" y="860"/>
                </a:lnTo>
                <a:lnTo>
                  <a:pt x="1604" y="860"/>
                </a:lnTo>
                <a:close/>
                <a:moveTo>
                  <a:pt x="1637" y="823"/>
                </a:moveTo>
                <a:lnTo>
                  <a:pt x="1643" y="821"/>
                </a:lnTo>
                <a:lnTo>
                  <a:pt x="1648" y="819"/>
                </a:lnTo>
                <a:lnTo>
                  <a:pt x="1643" y="821"/>
                </a:lnTo>
                <a:lnTo>
                  <a:pt x="1637" y="823"/>
                </a:lnTo>
                <a:lnTo>
                  <a:pt x="1627" y="825"/>
                </a:lnTo>
                <a:lnTo>
                  <a:pt x="1615" y="829"/>
                </a:lnTo>
                <a:lnTo>
                  <a:pt x="1627" y="825"/>
                </a:lnTo>
                <a:lnTo>
                  <a:pt x="1637" y="823"/>
                </a:lnTo>
                <a:close/>
                <a:moveTo>
                  <a:pt x="1628" y="804"/>
                </a:moveTo>
                <a:lnTo>
                  <a:pt x="1630" y="805"/>
                </a:lnTo>
                <a:lnTo>
                  <a:pt x="1631" y="805"/>
                </a:lnTo>
                <a:lnTo>
                  <a:pt x="1630" y="805"/>
                </a:lnTo>
                <a:lnTo>
                  <a:pt x="1628" y="805"/>
                </a:lnTo>
                <a:lnTo>
                  <a:pt x="1628" y="804"/>
                </a:lnTo>
                <a:close/>
                <a:moveTo>
                  <a:pt x="1664" y="873"/>
                </a:moveTo>
                <a:lnTo>
                  <a:pt x="1664" y="873"/>
                </a:lnTo>
                <a:lnTo>
                  <a:pt x="1663" y="872"/>
                </a:lnTo>
                <a:lnTo>
                  <a:pt x="1663" y="872"/>
                </a:lnTo>
                <a:lnTo>
                  <a:pt x="1664" y="873"/>
                </a:lnTo>
                <a:lnTo>
                  <a:pt x="1664" y="873"/>
                </a:lnTo>
                <a:lnTo>
                  <a:pt x="1665" y="873"/>
                </a:lnTo>
                <a:lnTo>
                  <a:pt x="1665" y="872"/>
                </a:lnTo>
                <a:lnTo>
                  <a:pt x="1666" y="872"/>
                </a:lnTo>
                <a:lnTo>
                  <a:pt x="1668" y="871"/>
                </a:lnTo>
                <a:lnTo>
                  <a:pt x="1666" y="872"/>
                </a:lnTo>
                <a:lnTo>
                  <a:pt x="1665" y="872"/>
                </a:lnTo>
                <a:lnTo>
                  <a:pt x="1665" y="873"/>
                </a:lnTo>
                <a:lnTo>
                  <a:pt x="1664" y="873"/>
                </a:lnTo>
                <a:close/>
                <a:moveTo>
                  <a:pt x="1671" y="825"/>
                </a:moveTo>
                <a:lnTo>
                  <a:pt x="1669" y="826"/>
                </a:lnTo>
                <a:lnTo>
                  <a:pt x="1666" y="828"/>
                </a:lnTo>
                <a:lnTo>
                  <a:pt x="1669" y="826"/>
                </a:lnTo>
                <a:lnTo>
                  <a:pt x="1671" y="825"/>
                </a:lnTo>
                <a:close/>
                <a:moveTo>
                  <a:pt x="1586" y="882"/>
                </a:moveTo>
                <a:lnTo>
                  <a:pt x="1587" y="882"/>
                </a:lnTo>
                <a:lnTo>
                  <a:pt x="1589" y="882"/>
                </a:lnTo>
                <a:lnTo>
                  <a:pt x="1589" y="882"/>
                </a:lnTo>
                <a:lnTo>
                  <a:pt x="1587" y="882"/>
                </a:lnTo>
                <a:lnTo>
                  <a:pt x="1586" y="882"/>
                </a:lnTo>
                <a:close/>
                <a:moveTo>
                  <a:pt x="1576" y="912"/>
                </a:moveTo>
                <a:lnTo>
                  <a:pt x="1576" y="915"/>
                </a:lnTo>
                <a:lnTo>
                  <a:pt x="1576" y="920"/>
                </a:lnTo>
                <a:lnTo>
                  <a:pt x="1576" y="915"/>
                </a:lnTo>
                <a:lnTo>
                  <a:pt x="1576" y="912"/>
                </a:lnTo>
                <a:lnTo>
                  <a:pt x="1578" y="912"/>
                </a:lnTo>
                <a:lnTo>
                  <a:pt x="1579" y="912"/>
                </a:lnTo>
                <a:lnTo>
                  <a:pt x="1578" y="912"/>
                </a:lnTo>
                <a:lnTo>
                  <a:pt x="1576" y="912"/>
                </a:lnTo>
                <a:close/>
                <a:moveTo>
                  <a:pt x="1521" y="814"/>
                </a:moveTo>
                <a:lnTo>
                  <a:pt x="1521" y="816"/>
                </a:lnTo>
                <a:lnTo>
                  <a:pt x="1518" y="817"/>
                </a:lnTo>
                <a:lnTo>
                  <a:pt x="1516" y="817"/>
                </a:lnTo>
                <a:lnTo>
                  <a:pt x="1513" y="817"/>
                </a:lnTo>
                <a:lnTo>
                  <a:pt x="1513" y="816"/>
                </a:lnTo>
                <a:lnTo>
                  <a:pt x="1513" y="814"/>
                </a:lnTo>
                <a:lnTo>
                  <a:pt x="1516" y="812"/>
                </a:lnTo>
                <a:lnTo>
                  <a:pt x="1518" y="812"/>
                </a:lnTo>
                <a:lnTo>
                  <a:pt x="1519" y="811"/>
                </a:lnTo>
                <a:lnTo>
                  <a:pt x="1521" y="811"/>
                </a:lnTo>
                <a:lnTo>
                  <a:pt x="1523" y="812"/>
                </a:lnTo>
                <a:lnTo>
                  <a:pt x="1521" y="814"/>
                </a:lnTo>
                <a:close/>
                <a:moveTo>
                  <a:pt x="1507" y="731"/>
                </a:moveTo>
                <a:lnTo>
                  <a:pt x="1514" y="731"/>
                </a:lnTo>
                <a:lnTo>
                  <a:pt x="1521" y="731"/>
                </a:lnTo>
                <a:lnTo>
                  <a:pt x="1514" y="731"/>
                </a:lnTo>
                <a:lnTo>
                  <a:pt x="1507" y="731"/>
                </a:lnTo>
                <a:close/>
                <a:moveTo>
                  <a:pt x="1498" y="712"/>
                </a:moveTo>
                <a:lnTo>
                  <a:pt x="1498" y="712"/>
                </a:lnTo>
                <a:lnTo>
                  <a:pt x="1498" y="712"/>
                </a:lnTo>
                <a:lnTo>
                  <a:pt x="1498" y="712"/>
                </a:lnTo>
                <a:lnTo>
                  <a:pt x="1498" y="712"/>
                </a:lnTo>
                <a:close/>
                <a:moveTo>
                  <a:pt x="1493" y="712"/>
                </a:moveTo>
                <a:lnTo>
                  <a:pt x="1495" y="712"/>
                </a:lnTo>
                <a:lnTo>
                  <a:pt x="1496" y="712"/>
                </a:lnTo>
                <a:lnTo>
                  <a:pt x="1495" y="712"/>
                </a:lnTo>
                <a:lnTo>
                  <a:pt x="1493" y="712"/>
                </a:lnTo>
                <a:close/>
                <a:moveTo>
                  <a:pt x="1489" y="770"/>
                </a:moveTo>
                <a:lnTo>
                  <a:pt x="1489" y="770"/>
                </a:lnTo>
                <a:lnTo>
                  <a:pt x="1488" y="768"/>
                </a:lnTo>
                <a:lnTo>
                  <a:pt x="1489" y="766"/>
                </a:lnTo>
                <a:lnTo>
                  <a:pt x="1491" y="765"/>
                </a:lnTo>
                <a:lnTo>
                  <a:pt x="1493" y="765"/>
                </a:lnTo>
                <a:lnTo>
                  <a:pt x="1495" y="766"/>
                </a:lnTo>
                <a:lnTo>
                  <a:pt x="1492" y="768"/>
                </a:lnTo>
                <a:lnTo>
                  <a:pt x="1489" y="770"/>
                </a:lnTo>
                <a:close/>
                <a:moveTo>
                  <a:pt x="1488" y="710"/>
                </a:moveTo>
                <a:lnTo>
                  <a:pt x="1489" y="710"/>
                </a:lnTo>
                <a:lnTo>
                  <a:pt x="1491" y="710"/>
                </a:lnTo>
                <a:lnTo>
                  <a:pt x="1489" y="710"/>
                </a:lnTo>
                <a:lnTo>
                  <a:pt x="1488" y="710"/>
                </a:lnTo>
                <a:close/>
                <a:moveTo>
                  <a:pt x="1469" y="713"/>
                </a:moveTo>
                <a:lnTo>
                  <a:pt x="1469" y="716"/>
                </a:lnTo>
                <a:lnTo>
                  <a:pt x="1469" y="718"/>
                </a:lnTo>
                <a:lnTo>
                  <a:pt x="1469" y="716"/>
                </a:lnTo>
                <a:lnTo>
                  <a:pt x="1469" y="713"/>
                </a:lnTo>
                <a:close/>
                <a:moveTo>
                  <a:pt x="1466" y="704"/>
                </a:moveTo>
                <a:lnTo>
                  <a:pt x="1465" y="704"/>
                </a:lnTo>
                <a:lnTo>
                  <a:pt x="1465" y="704"/>
                </a:lnTo>
                <a:lnTo>
                  <a:pt x="1465" y="704"/>
                </a:lnTo>
                <a:lnTo>
                  <a:pt x="1466" y="704"/>
                </a:lnTo>
                <a:lnTo>
                  <a:pt x="1466" y="703"/>
                </a:lnTo>
                <a:lnTo>
                  <a:pt x="1468" y="702"/>
                </a:lnTo>
                <a:lnTo>
                  <a:pt x="1466" y="703"/>
                </a:lnTo>
                <a:lnTo>
                  <a:pt x="1466" y="704"/>
                </a:lnTo>
                <a:close/>
                <a:moveTo>
                  <a:pt x="1369" y="704"/>
                </a:moveTo>
                <a:lnTo>
                  <a:pt x="1368" y="704"/>
                </a:lnTo>
                <a:lnTo>
                  <a:pt x="1368" y="704"/>
                </a:lnTo>
                <a:lnTo>
                  <a:pt x="1368" y="704"/>
                </a:lnTo>
                <a:lnTo>
                  <a:pt x="1368" y="703"/>
                </a:lnTo>
                <a:lnTo>
                  <a:pt x="1368" y="700"/>
                </a:lnTo>
                <a:lnTo>
                  <a:pt x="1365" y="700"/>
                </a:lnTo>
                <a:lnTo>
                  <a:pt x="1364" y="699"/>
                </a:lnTo>
                <a:lnTo>
                  <a:pt x="1365" y="700"/>
                </a:lnTo>
                <a:lnTo>
                  <a:pt x="1368" y="700"/>
                </a:lnTo>
                <a:lnTo>
                  <a:pt x="1369" y="702"/>
                </a:lnTo>
                <a:lnTo>
                  <a:pt x="1369" y="704"/>
                </a:lnTo>
                <a:close/>
                <a:moveTo>
                  <a:pt x="1264" y="696"/>
                </a:moveTo>
                <a:lnTo>
                  <a:pt x="1267" y="690"/>
                </a:lnTo>
                <a:lnTo>
                  <a:pt x="1272" y="686"/>
                </a:lnTo>
                <a:lnTo>
                  <a:pt x="1270" y="693"/>
                </a:lnTo>
                <a:lnTo>
                  <a:pt x="1264" y="696"/>
                </a:lnTo>
                <a:close/>
                <a:moveTo>
                  <a:pt x="1265" y="658"/>
                </a:moveTo>
                <a:lnTo>
                  <a:pt x="1267" y="658"/>
                </a:lnTo>
                <a:lnTo>
                  <a:pt x="1267" y="657"/>
                </a:lnTo>
                <a:lnTo>
                  <a:pt x="1267" y="658"/>
                </a:lnTo>
                <a:lnTo>
                  <a:pt x="1265" y="658"/>
                </a:lnTo>
                <a:close/>
                <a:moveTo>
                  <a:pt x="1271" y="671"/>
                </a:moveTo>
                <a:lnTo>
                  <a:pt x="1270" y="672"/>
                </a:lnTo>
                <a:lnTo>
                  <a:pt x="1269" y="674"/>
                </a:lnTo>
                <a:lnTo>
                  <a:pt x="1270" y="672"/>
                </a:lnTo>
                <a:lnTo>
                  <a:pt x="1271" y="671"/>
                </a:lnTo>
                <a:close/>
                <a:moveTo>
                  <a:pt x="1238" y="747"/>
                </a:moveTo>
                <a:lnTo>
                  <a:pt x="1234" y="753"/>
                </a:lnTo>
                <a:lnTo>
                  <a:pt x="1228" y="752"/>
                </a:lnTo>
                <a:lnTo>
                  <a:pt x="1224" y="751"/>
                </a:lnTo>
                <a:lnTo>
                  <a:pt x="1221" y="751"/>
                </a:lnTo>
                <a:lnTo>
                  <a:pt x="1222" y="754"/>
                </a:lnTo>
                <a:lnTo>
                  <a:pt x="1221" y="759"/>
                </a:lnTo>
                <a:lnTo>
                  <a:pt x="1220" y="759"/>
                </a:lnTo>
                <a:lnTo>
                  <a:pt x="1219" y="759"/>
                </a:lnTo>
                <a:lnTo>
                  <a:pt x="1219" y="760"/>
                </a:lnTo>
                <a:lnTo>
                  <a:pt x="1219" y="760"/>
                </a:lnTo>
                <a:lnTo>
                  <a:pt x="1220" y="760"/>
                </a:lnTo>
                <a:lnTo>
                  <a:pt x="1221" y="759"/>
                </a:lnTo>
                <a:lnTo>
                  <a:pt x="1224" y="759"/>
                </a:lnTo>
                <a:lnTo>
                  <a:pt x="1227" y="761"/>
                </a:lnTo>
                <a:lnTo>
                  <a:pt x="1224" y="763"/>
                </a:lnTo>
                <a:lnTo>
                  <a:pt x="1222" y="763"/>
                </a:lnTo>
                <a:lnTo>
                  <a:pt x="1216" y="766"/>
                </a:lnTo>
                <a:lnTo>
                  <a:pt x="1210" y="769"/>
                </a:lnTo>
                <a:lnTo>
                  <a:pt x="1208" y="770"/>
                </a:lnTo>
                <a:lnTo>
                  <a:pt x="1205" y="772"/>
                </a:lnTo>
                <a:lnTo>
                  <a:pt x="1205" y="772"/>
                </a:lnTo>
                <a:lnTo>
                  <a:pt x="1203" y="772"/>
                </a:lnTo>
                <a:lnTo>
                  <a:pt x="1205" y="772"/>
                </a:lnTo>
                <a:lnTo>
                  <a:pt x="1205" y="772"/>
                </a:lnTo>
                <a:lnTo>
                  <a:pt x="1210" y="761"/>
                </a:lnTo>
                <a:lnTo>
                  <a:pt x="1217" y="752"/>
                </a:lnTo>
                <a:lnTo>
                  <a:pt x="1219" y="751"/>
                </a:lnTo>
                <a:lnTo>
                  <a:pt x="1221" y="749"/>
                </a:lnTo>
                <a:lnTo>
                  <a:pt x="1226" y="745"/>
                </a:lnTo>
                <a:lnTo>
                  <a:pt x="1231" y="740"/>
                </a:lnTo>
                <a:lnTo>
                  <a:pt x="1233" y="738"/>
                </a:lnTo>
                <a:lnTo>
                  <a:pt x="1235" y="739"/>
                </a:lnTo>
                <a:lnTo>
                  <a:pt x="1235" y="740"/>
                </a:lnTo>
                <a:lnTo>
                  <a:pt x="1234" y="742"/>
                </a:lnTo>
                <a:lnTo>
                  <a:pt x="1231" y="744"/>
                </a:lnTo>
                <a:lnTo>
                  <a:pt x="1229" y="746"/>
                </a:lnTo>
                <a:lnTo>
                  <a:pt x="1234" y="748"/>
                </a:lnTo>
                <a:lnTo>
                  <a:pt x="1238" y="747"/>
                </a:lnTo>
                <a:close/>
                <a:moveTo>
                  <a:pt x="1195" y="765"/>
                </a:moveTo>
                <a:lnTo>
                  <a:pt x="1198" y="763"/>
                </a:lnTo>
                <a:lnTo>
                  <a:pt x="1200" y="762"/>
                </a:lnTo>
                <a:lnTo>
                  <a:pt x="1200" y="762"/>
                </a:lnTo>
                <a:lnTo>
                  <a:pt x="1202" y="762"/>
                </a:lnTo>
                <a:lnTo>
                  <a:pt x="1203" y="763"/>
                </a:lnTo>
                <a:lnTo>
                  <a:pt x="1199" y="766"/>
                </a:lnTo>
                <a:lnTo>
                  <a:pt x="1195" y="765"/>
                </a:lnTo>
                <a:close/>
                <a:moveTo>
                  <a:pt x="1250" y="748"/>
                </a:moveTo>
                <a:lnTo>
                  <a:pt x="1251" y="748"/>
                </a:lnTo>
                <a:lnTo>
                  <a:pt x="1251" y="748"/>
                </a:lnTo>
                <a:lnTo>
                  <a:pt x="1251" y="749"/>
                </a:lnTo>
                <a:lnTo>
                  <a:pt x="1251" y="749"/>
                </a:lnTo>
                <a:lnTo>
                  <a:pt x="1250" y="749"/>
                </a:lnTo>
                <a:lnTo>
                  <a:pt x="1250" y="749"/>
                </a:lnTo>
                <a:lnTo>
                  <a:pt x="1250" y="748"/>
                </a:lnTo>
                <a:lnTo>
                  <a:pt x="1250" y="748"/>
                </a:lnTo>
                <a:close/>
                <a:moveTo>
                  <a:pt x="1188" y="783"/>
                </a:moveTo>
                <a:lnTo>
                  <a:pt x="1187" y="783"/>
                </a:lnTo>
                <a:lnTo>
                  <a:pt x="1187" y="782"/>
                </a:lnTo>
                <a:lnTo>
                  <a:pt x="1187" y="780"/>
                </a:lnTo>
                <a:lnTo>
                  <a:pt x="1189" y="780"/>
                </a:lnTo>
                <a:lnTo>
                  <a:pt x="1191" y="780"/>
                </a:lnTo>
                <a:lnTo>
                  <a:pt x="1191" y="781"/>
                </a:lnTo>
                <a:lnTo>
                  <a:pt x="1189" y="782"/>
                </a:lnTo>
                <a:lnTo>
                  <a:pt x="1188" y="783"/>
                </a:lnTo>
                <a:close/>
                <a:moveTo>
                  <a:pt x="1178" y="776"/>
                </a:moveTo>
                <a:lnTo>
                  <a:pt x="1182" y="773"/>
                </a:lnTo>
                <a:lnTo>
                  <a:pt x="1188" y="773"/>
                </a:lnTo>
                <a:lnTo>
                  <a:pt x="1191" y="774"/>
                </a:lnTo>
                <a:lnTo>
                  <a:pt x="1191" y="775"/>
                </a:lnTo>
                <a:lnTo>
                  <a:pt x="1189" y="777"/>
                </a:lnTo>
                <a:lnTo>
                  <a:pt x="1187" y="776"/>
                </a:lnTo>
                <a:lnTo>
                  <a:pt x="1182" y="776"/>
                </a:lnTo>
                <a:lnTo>
                  <a:pt x="1178" y="77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799" b="1" dirty="0"/>
            </a:lvl1pPr>
          </a:lstStyle>
          <a:p>
            <a:pPr lvl="0" algn="ctr"/>
            <a:r>
              <a:rPr lang="en-US" sz="4799"/>
              <a:t>wrwq</a:t>
            </a:r>
            <a:endParaRPr lang="en-US" sz="4799" dirty="0"/>
          </a:p>
        </p:txBody>
      </p:sp>
    </p:spTree>
    <p:extLst>
      <p:ext uri="{BB962C8B-B14F-4D97-AF65-F5344CB8AC3E}">
        <p14:creationId xmlns:p14="http://schemas.microsoft.com/office/powerpoint/2010/main" val="664265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C83D7D6-B709-2A47-B7B1-9A64F1CC3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3B3DABD-41D0-A845-AC07-A3A47DD94B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Freeform 22">
            <a:extLst>
              <a:ext uri="{FF2B5EF4-FFF2-40B4-BE49-F238E27FC236}">
                <a16:creationId xmlns:a16="http://schemas.microsoft.com/office/drawing/2014/main" id="{A2CEEA9B-F802-4D44-B3FA-28E4322812F7}"/>
              </a:ext>
            </a:extLst>
          </p:cNvPr>
          <p:cNvSpPr>
            <a:spLocks noGrp="1" noEditPoints="1"/>
          </p:cNvSpPr>
          <p:nvPr>
            <p:ph type="pic" sz="quarter" idx="32"/>
          </p:nvPr>
        </p:nvSpPr>
        <p:spPr bwMode="auto">
          <a:xfrm>
            <a:off x="732102" y="171015"/>
            <a:ext cx="4931906" cy="6515970"/>
          </a:xfrm>
          <a:custGeom>
            <a:avLst/>
            <a:gdLst>
              <a:gd name="T0" fmla="*/ 112 w 920"/>
              <a:gd name="T1" fmla="*/ 227 h 1464"/>
              <a:gd name="T2" fmla="*/ 533 w 920"/>
              <a:gd name="T3" fmla="*/ 230 h 1464"/>
              <a:gd name="T4" fmla="*/ 512 w 920"/>
              <a:gd name="T5" fmla="*/ 224 h 1464"/>
              <a:gd name="T6" fmla="*/ 442 w 920"/>
              <a:gd name="T7" fmla="*/ 250 h 1464"/>
              <a:gd name="T8" fmla="*/ 415 w 920"/>
              <a:gd name="T9" fmla="*/ 225 h 1464"/>
              <a:gd name="T10" fmla="*/ 394 w 920"/>
              <a:gd name="T11" fmla="*/ 252 h 1464"/>
              <a:gd name="T12" fmla="*/ 362 w 920"/>
              <a:gd name="T13" fmla="*/ 288 h 1464"/>
              <a:gd name="T14" fmla="*/ 353 w 920"/>
              <a:gd name="T15" fmla="*/ 204 h 1464"/>
              <a:gd name="T16" fmla="*/ 303 w 920"/>
              <a:gd name="T17" fmla="*/ 251 h 1464"/>
              <a:gd name="T18" fmla="*/ 172 w 920"/>
              <a:gd name="T19" fmla="*/ 238 h 1464"/>
              <a:gd name="T20" fmla="*/ 258 w 920"/>
              <a:gd name="T21" fmla="*/ 182 h 1464"/>
              <a:gd name="T22" fmla="*/ 208 w 920"/>
              <a:gd name="T23" fmla="*/ 190 h 1464"/>
              <a:gd name="T24" fmla="*/ 202 w 920"/>
              <a:gd name="T25" fmla="*/ 154 h 1464"/>
              <a:gd name="T26" fmla="*/ 105 w 920"/>
              <a:gd name="T27" fmla="*/ 112 h 1464"/>
              <a:gd name="T28" fmla="*/ 2 w 920"/>
              <a:gd name="T29" fmla="*/ 110 h 1464"/>
              <a:gd name="T30" fmla="*/ 75 w 920"/>
              <a:gd name="T31" fmla="*/ 215 h 1464"/>
              <a:gd name="T32" fmla="*/ 105 w 920"/>
              <a:gd name="T33" fmla="*/ 343 h 1464"/>
              <a:gd name="T34" fmla="*/ 52 w 920"/>
              <a:gd name="T35" fmla="*/ 506 h 1464"/>
              <a:gd name="T36" fmla="*/ 196 w 920"/>
              <a:gd name="T37" fmla="*/ 583 h 1464"/>
              <a:gd name="T38" fmla="*/ 205 w 920"/>
              <a:gd name="T39" fmla="*/ 678 h 1464"/>
              <a:gd name="T40" fmla="*/ 351 w 920"/>
              <a:gd name="T41" fmla="*/ 621 h 1464"/>
              <a:gd name="T42" fmla="*/ 407 w 920"/>
              <a:gd name="T43" fmla="*/ 921 h 1464"/>
              <a:gd name="T44" fmla="*/ 449 w 920"/>
              <a:gd name="T45" fmla="*/ 1327 h 1464"/>
              <a:gd name="T46" fmla="*/ 497 w 920"/>
              <a:gd name="T47" fmla="*/ 1369 h 1464"/>
              <a:gd name="T48" fmla="*/ 478 w 920"/>
              <a:gd name="T49" fmla="*/ 1243 h 1464"/>
              <a:gd name="T50" fmla="*/ 499 w 920"/>
              <a:gd name="T51" fmla="*/ 992 h 1464"/>
              <a:gd name="T52" fmla="*/ 574 w 920"/>
              <a:gd name="T53" fmla="*/ 988 h 1464"/>
              <a:gd name="T54" fmla="*/ 610 w 920"/>
              <a:gd name="T55" fmla="*/ 1231 h 1464"/>
              <a:gd name="T56" fmla="*/ 601 w 920"/>
              <a:gd name="T57" fmla="*/ 1460 h 1464"/>
              <a:gd name="T58" fmla="*/ 628 w 920"/>
              <a:gd name="T59" fmla="*/ 1302 h 1464"/>
              <a:gd name="T60" fmla="*/ 676 w 920"/>
              <a:gd name="T61" fmla="*/ 1034 h 1464"/>
              <a:gd name="T62" fmla="*/ 676 w 920"/>
              <a:gd name="T63" fmla="*/ 1278 h 1464"/>
              <a:gd name="T64" fmla="*/ 702 w 920"/>
              <a:gd name="T65" fmla="*/ 1183 h 1464"/>
              <a:gd name="T66" fmla="*/ 748 w 920"/>
              <a:gd name="T67" fmla="*/ 902 h 1464"/>
              <a:gd name="T68" fmla="*/ 790 w 920"/>
              <a:gd name="T69" fmla="*/ 1266 h 1464"/>
              <a:gd name="T70" fmla="*/ 835 w 920"/>
              <a:gd name="T71" fmla="*/ 1125 h 1464"/>
              <a:gd name="T72" fmla="*/ 874 w 920"/>
              <a:gd name="T73" fmla="*/ 697 h 1464"/>
              <a:gd name="T74" fmla="*/ 638 w 920"/>
              <a:gd name="T75" fmla="*/ 433 h 1464"/>
              <a:gd name="T76" fmla="*/ 458 w 920"/>
              <a:gd name="T77" fmla="*/ 394 h 1464"/>
              <a:gd name="T78" fmla="*/ 757 w 920"/>
              <a:gd name="T79" fmla="*/ 219 h 1464"/>
              <a:gd name="T80" fmla="*/ 860 w 920"/>
              <a:gd name="T81" fmla="*/ 16 h 1464"/>
              <a:gd name="T82" fmla="*/ 741 w 920"/>
              <a:gd name="T83" fmla="*/ 114 h 1464"/>
              <a:gd name="T84" fmla="*/ 652 w 920"/>
              <a:gd name="T85" fmla="*/ 79 h 1464"/>
              <a:gd name="T86" fmla="*/ 643 w 920"/>
              <a:gd name="T87" fmla="*/ 159 h 1464"/>
              <a:gd name="T88" fmla="*/ 570 w 920"/>
              <a:gd name="T89" fmla="*/ 211 h 1464"/>
              <a:gd name="T90" fmla="*/ 575 w 920"/>
              <a:gd name="T91" fmla="*/ 191 h 1464"/>
              <a:gd name="T92" fmla="*/ 536 w 920"/>
              <a:gd name="T93" fmla="*/ 177 h 1464"/>
              <a:gd name="T94" fmla="*/ 224 w 920"/>
              <a:gd name="T95" fmla="*/ 239 h 1464"/>
              <a:gd name="T96" fmla="*/ 299 w 920"/>
              <a:gd name="T97" fmla="*/ 198 h 1464"/>
              <a:gd name="T98" fmla="*/ 549 w 920"/>
              <a:gd name="T99" fmla="*/ 236 h 1464"/>
              <a:gd name="T100" fmla="*/ 518 w 920"/>
              <a:gd name="T101" fmla="*/ 439 h 1464"/>
              <a:gd name="T102" fmla="*/ 535 w 920"/>
              <a:gd name="T103" fmla="*/ 463 h 1464"/>
              <a:gd name="T104" fmla="*/ 522 w 920"/>
              <a:gd name="T105" fmla="*/ 424 h 1464"/>
              <a:gd name="T106" fmla="*/ 402 w 920"/>
              <a:gd name="T107" fmla="*/ 313 h 1464"/>
              <a:gd name="T108" fmla="*/ 362 w 920"/>
              <a:gd name="T109" fmla="*/ 308 h 1464"/>
              <a:gd name="T110" fmla="*/ 303 w 920"/>
              <a:gd name="T111" fmla="*/ 308 h 1464"/>
              <a:gd name="T112" fmla="*/ 230 w 920"/>
              <a:gd name="T113" fmla="*/ 268 h 1464"/>
              <a:gd name="T114" fmla="*/ 263 w 920"/>
              <a:gd name="T115" fmla="*/ 323 h 1464"/>
              <a:gd name="T116" fmla="*/ 186 w 920"/>
              <a:gd name="T117" fmla="*/ 219 h 1464"/>
              <a:gd name="T118" fmla="*/ 169 w 920"/>
              <a:gd name="T119" fmla="*/ 203 h 1464"/>
              <a:gd name="T120" fmla="*/ 84 w 920"/>
              <a:gd name="T121" fmla="*/ 216 h 1464"/>
              <a:gd name="T122" fmla="*/ 194 w 920"/>
              <a:gd name="T123" fmla="*/ 218 h 1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20" h="1464">
                <a:moveTo>
                  <a:pt x="858" y="52"/>
                </a:moveTo>
                <a:lnTo>
                  <a:pt x="858" y="51"/>
                </a:lnTo>
                <a:lnTo>
                  <a:pt x="857" y="51"/>
                </a:lnTo>
                <a:lnTo>
                  <a:pt x="857" y="50"/>
                </a:lnTo>
                <a:lnTo>
                  <a:pt x="857" y="48"/>
                </a:lnTo>
                <a:lnTo>
                  <a:pt x="857" y="47"/>
                </a:lnTo>
                <a:lnTo>
                  <a:pt x="858" y="44"/>
                </a:lnTo>
                <a:lnTo>
                  <a:pt x="858" y="41"/>
                </a:lnTo>
                <a:lnTo>
                  <a:pt x="859" y="38"/>
                </a:lnTo>
                <a:lnTo>
                  <a:pt x="863" y="37"/>
                </a:lnTo>
                <a:lnTo>
                  <a:pt x="865" y="37"/>
                </a:lnTo>
                <a:lnTo>
                  <a:pt x="866" y="37"/>
                </a:lnTo>
                <a:lnTo>
                  <a:pt x="866" y="38"/>
                </a:lnTo>
                <a:lnTo>
                  <a:pt x="863" y="45"/>
                </a:lnTo>
                <a:lnTo>
                  <a:pt x="858" y="52"/>
                </a:lnTo>
                <a:close/>
                <a:moveTo>
                  <a:pt x="93" y="208"/>
                </a:moveTo>
                <a:lnTo>
                  <a:pt x="93" y="210"/>
                </a:lnTo>
                <a:lnTo>
                  <a:pt x="93" y="212"/>
                </a:lnTo>
                <a:lnTo>
                  <a:pt x="93" y="215"/>
                </a:lnTo>
                <a:lnTo>
                  <a:pt x="96" y="217"/>
                </a:lnTo>
                <a:lnTo>
                  <a:pt x="98" y="215"/>
                </a:lnTo>
                <a:lnTo>
                  <a:pt x="99" y="212"/>
                </a:lnTo>
                <a:lnTo>
                  <a:pt x="99" y="210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105" y="215"/>
                </a:lnTo>
                <a:lnTo>
                  <a:pt x="113" y="222"/>
                </a:lnTo>
                <a:lnTo>
                  <a:pt x="114" y="224"/>
                </a:lnTo>
                <a:lnTo>
                  <a:pt x="114" y="225"/>
                </a:lnTo>
                <a:lnTo>
                  <a:pt x="114" y="225"/>
                </a:lnTo>
                <a:lnTo>
                  <a:pt x="113" y="226"/>
                </a:lnTo>
                <a:lnTo>
                  <a:pt x="117" y="226"/>
                </a:lnTo>
                <a:lnTo>
                  <a:pt x="118" y="226"/>
                </a:lnTo>
                <a:lnTo>
                  <a:pt x="121" y="227"/>
                </a:lnTo>
                <a:lnTo>
                  <a:pt x="125" y="229"/>
                </a:lnTo>
                <a:lnTo>
                  <a:pt x="125" y="231"/>
                </a:lnTo>
                <a:lnTo>
                  <a:pt x="124" y="232"/>
                </a:lnTo>
                <a:lnTo>
                  <a:pt x="122" y="233"/>
                </a:lnTo>
                <a:lnTo>
                  <a:pt x="120" y="234"/>
                </a:lnTo>
                <a:lnTo>
                  <a:pt x="119" y="234"/>
                </a:lnTo>
                <a:lnTo>
                  <a:pt x="117" y="233"/>
                </a:lnTo>
                <a:lnTo>
                  <a:pt x="114" y="231"/>
                </a:lnTo>
                <a:lnTo>
                  <a:pt x="112" y="227"/>
                </a:lnTo>
                <a:lnTo>
                  <a:pt x="108" y="230"/>
                </a:lnTo>
                <a:lnTo>
                  <a:pt x="106" y="230"/>
                </a:lnTo>
                <a:lnTo>
                  <a:pt x="103" y="229"/>
                </a:lnTo>
                <a:lnTo>
                  <a:pt x="100" y="226"/>
                </a:lnTo>
                <a:lnTo>
                  <a:pt x="94" y="220"/>
                </a:lnTo>
                <a:lnTo>
                  <a:pt x="90" y="213"/>
                </a:lnTo>
                <a:lnTo>
                  <a:pt x="89" y="210"/>
                </a:lnTo>
                <a:lnTo>
                  <a:pt x="89" y="205"/>
                </a:lnTo>
                <a:lnTo>
                  <a:pt x="91" y="205"/>
                </a:lnTo>
                <a:lnTo>
                  <a:pt x="93" y="204"/>
                </a:lnTo>
                <a:lnTo>
                  <a:pt x="96" y="205"/>
                </a:lnTo>
                <a:lnTo>
                  <a:pt x="97" y="208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96" y="208"/>
                </a:lnTo>
                <a:lnTo>
                  <a:pt x="93" y="208"/>
                </a:lnTo>
                <a:close/>
                <a:moveTo>
                  <a:pt x="200" y="237"/>
                </a:moveTo>
                <a:lnTo>
                  <a:pt x="204" y="236"/>
                </a:lnTo>
                <a:lnTo>
                  <a:pt x="210" y="236"/>
                </a:lnTo>
                <a:lnTo>
                  <a:pt x="210" y="234"/>
                </a:lnTo>
                <a:lnTo>
                  <a:pt x="210" y="234"/>
                </a:lnTo>
                <a:lnTo>
                  <a:pt x="204" y="234"/>
                </a:lnTo>
                <a:lnTo>
                  <a:pt x="200" y="234"/>
                </a:lnTo>
                <a:lnTo>
                  <a:pt x="200" y="236"/>
                </a:lnTo>
                <a:lnTo>
                  <a:pt x="200" y="237"/>
                </a:lnTo>
                <a:close/>
                <a:moveTo>
                  <a:pt x="533" y="217"/>
                </a:moveTo>
                <a:lnTo>
                  <a:pt x="535" y="212"/>
                </a:lnTo>
                <a:lnTo>
                  <a:pt x="538" y="208"/>
                </a:lnTo>
                <a:lnTo>
                  <a:pt x="534" y="210"/>
                </a:lnTo>
                <a:lnTo>
                  <a:pt x="533" y="211"/>
                </a:lnTo>
                <a:lnTo>
                  <a:pt x="532" y="215"/>
                </a:lnTo>
                <a:lnTo>
                  <a:pt x="533" y="217"/>
                </a:lnTo>
                <a:close/>
                <a:moveTo>
                  <a:pt x="541" y="219"/>
                </a:moveTo>
                <a:lnTo>
                  <a:pt x="539" y="222"/>
                </a:lnTo>
                <a:lnTo>
                  <a:pt x="535" y="224"/>
                </a:lnTo>
                <a:lnTo>
                  <a:pt x="533" y="226"/>
                </a:lnTo>
                <a:lnTo>
                  <a:pt x="533" y="230"/>
                </a:lnTo>
                <a:lnTo>
                  <a:pt x="535" y="227"/>
                </a:lnTo>
                <a:lnTo>
                  <a:pt x="538" y="225"/>
                </a:lnTo>
                <a:lnTo>
                  <a:pt x="540" y="223"/>
                </a:lnTo>
                <a:lnTo>
                  <a:pt x="541" y="219"/>
                </a:lnTo>
                <a:close/>
                <a:moveTo>
                  <a:pt x="533" y="230"/>
                </a:move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29" y="230"/>
                </a:lnTo>
                <a:lnTo>
                  <a:pt x="526" y="229"/>
                </a:lnTo>
                <a:lnTo>
                  <a:pt x="526" y="224"/>
                </a:lnTo>
                <a:lnTo>
                  <a:pt x="526" y="219"/>
                </a:lnTo>
                <a:lnTo>
                  <a:pt x="527" y="217"/>
                </a:lnTo>
                <a:lnTo>
                  <a:pt x="528" y="213"/>
                </a:lnTo>
                <a:lnTo>
                  <a:pt x="529" y="209"/>
                </a:lnTo>
                <a:lnTo>
                  <a:pt x="532" y="205"/>
                </a:lnTo>
                <a:lnTo>
                  <a:pt x="533" y="201"/>
                </a:lnTo>
                <a:lnTo>
                  <a:pt x="533" y="196"/>
                </a:lnTo>
                <a:lnTo>
                  <a:pt x="532" y="194"/>
                </a:lnTo>
                <a:lnTo>
                  <a:pt x="532" y="191"/>
                </a:lnTo>
                <a:lnTo>
                  <a:pt x="533" y="189"/>
                </a:lnTo>
                <a:lnTo>
                  <a:pt x="535" y="187"/>
                </a:lnTo>
                <a:lnTo>
                  <a:pt x="535" y="184"/>
                </a:lnTo>
                <a:lnTo>
                  <a:pt x="535" y="183"/>
                </a:lnTo>
                <a:lnTo>
                  <a:pt x="534" y="182"/>
                </a:lnTo>
                <a:lnTo>
                  <a:pt x="534" y="182"/>
                </a:lnTo>
                <a:lnTo>
                  <a:pt x="526" y="194"/>
                </a:lnTo>
                <a:lnTo>
                  <a:pt x="519" y="206"/>
                </a:lnTo>
                <a:lnTo>
                  <a:pt x="520" y="206"/>
                </a:lnTo>
                <a:lnTo>
                  <a:pt x="521" y="206"/>
                </a:lnTo>
                <a:lnTo>
                  <a:pt x="524" y="205"/>
                </a:lnTo>
                <a:lnTo>
                  <a:pt x="524" y="204"/>
                </a:lnTo>
                <a:lnTo>
                  <a:pt x="525" y="201"/>
                </a:lnTo>
                <a:lnTo>
                  <a:pt x="526" y="196"/>
                </a:lnTo>
                <a:lnTo>
                  <a:pt x="527" y="196"/>
                </a:lnTo>
                <a:lnTo>
                  <a:pt x="528" y="196"/>
                </a:lnTo>
                <a:lnTo>
                  <a:pt x="529" y="199"/>
                </a:lnTo>
                <a:lnTo>
                  <a:pt x="529" y="202"/>
                </a:lnTo>
                <a:lnTo>
                  <a:pt x="528" y="206"/>
                </a:lnTo>
                <a:lnTo>
                  <a:pt x="526" y="211"/>
                </a:lnTo>
                <a:lnTo>
                  <a:pt x="524" y="216"/>
                </a:lnTo>
                <a:lnTo>
                  <a:pt x="520" y="219"/>
                </a:lnTo>
                <a:lnTo>
                  <a:pt x="519" y="222"/>
                </a:lnTo>
                <a:lnTo>
                  <a:pt x="517" y="224"/>
                </a:lnTo>
                <a:lnTo>
                  <a:pt x="514" y="226"/>
                </a:lnTo>
                <a:lnTo>
                  <a:pt x="512" y="229"/>
                </a:lnTo>
                <a:lnTo>
                  <a:pt x="512" y="229"/>
                </a:lnTo>
                <a:lnTo>
                  <a:pt x="511" y="227"/>
                </a:lnTo>
                <a:lnTo>
                  <a:pt x="511" y="225"/>
                </a:lnTo>
                <a:lnTo>
                  <a:pt x="512" y="224"/>
                </a:lnTo>
                <a:lnTo>
                  <a:pt x="511" y="223"/>
                </a:lnTo>
                <a:lnTo>
                  <a:pt x="510" y="222"/>
                </a:lnTo>
                <a:lnTo>
                  <a:pt x="510" y="224"/>
                </a:lnTo>
                <a:lnTo>
                  <a:pt x="508" y="226"/>
                </a:lnTo>
                <a:lnTo>
                  <a:pt x="506" y="227"/>
                </a:lnTo>
                <a:lnTo>
                  <a:pt x="505" y="229"/>
                </a:lnTo>
                <a:lnTo>
                  <a:pt x="504" y="229"/>
                </a:lnTo>
                <a:lnTo>
                  <a:pt x="501" y="226"/>
                </a:lnTo>
                <a:lnTo>
                  <a:pt x="499" y="225"/>
                </a:lnTo>
                <a:lnTo>
                  <a:pt x="497" y="225"/>
                </a:lnTo>
                <a:lnTo>
                  <a:pt x="491" y="224"/>
                </a:lnTo>
                <a:lnTo>
                  <a:pt x="484" y="222"/>
                </a:lnTo>
                <a:lnTo>
                  <a:pt x="481" y="226"/>
                </a:lnTo>
                <a:lnTo>
                  <a:pt x="479" y="230"/>
                </a:lnTo>
                <a:lnTo>
                  <a:pt x="479" y="234"/>
                </a:lnTo>
                <a:lnTo>
                  <a:pt x="480" y="237"/>
                </a:lnTo>
                <a:lnTo>
                  <a:pt x="474" y="239"/>
                </a:lnTo>
                <a:lnTo>
                  <a:pt x="469" y="241"/>
                </a:lnTo>
                <a:lnTo>
                  <a:pt x="469" y="241"/>
                </a:lnTo>
                <a:lnTo>
                  <a:pt x="469" y="241"/>
                </a:lnTo>
                <a:lnTo>
                  <a:pt x="466" y="240"/>
                </a:lnTo>
                <a:lnTo>
                  <a:pt x="464" y="241"/>
                </a:lnTo>
                <a:lnTo>
                  <a:pt x="460" y="244"/>
                </a:lnTo>
                <a:lnTo>
                  <a:pt x="459" y="244"/>
                </a:lnTo>
                <a:lnTo>
                  <a:pt x="458" y="243"/>
                </a:lnTo>
                <a:lnTo>
                  <a:pt x="457" y="239"/>
                </a:lnTo>
                <a:lnTo>
                  <a:pt x="453" y="239"/>
                </a:lnTo>
                <a:lnTo>
                  <a:pt x="450" y="239"/>
                </a:lnTo>
                <a:lnTo>
                  <a:pt x="449" y="239"/>
                </a:lnTo>
                <a:lnTo>
                  <a:pt x="449" y="238"/>
                </a:lnTo>
                <a:lnTo>
                  <a:pt x="452" y="234"/>
                </a:lnTo>
                <a:lnTo>
                  <a:pt x="457" y="230"/>
                </a:lnTo>
                <a:lnTo>
                  <a:pt x="451" y="230"/>
                </a:lnTo>
                <a:lnTo>
                  <a:pt x="446" y="230"/>
                </a:lnTo>
                <a:lnTo>
                  <a:pt x="446" y="234"/>
                </a:lnTo>
                <a:lnTo>
                  <a:pt x="445" y="238"/>
                </a:lnTo>
                <a:lnTo>
                  <a:pt x="443" y="241"/>
                </a:lnTo>
                <a:lnTo>
                  <a:pt x="438" y="244"/>
                </a:lnTo>
                <a:lnTo>
                  <a:pt x="437" y="246"/>
                </a:lnTo>
                <a:lnTo>
                  <a:pt x="436" y="248"/>
                </a:lnTo>
                <a:lnTo>
                  <a:pt x="436" y="250"/>
                </a:lnTo>
                <a:lnTo>
                  <a:pt x="437" y="250"/>
                </a:lnTo>
                <a:lnTo>
                  <a:pt x="439" y="248"/>
                </a:lnTo>
                <a:lnTo>
                  <a:pt x="441" y="248"/>
                </a:lnTo>
                <a:lnTo>
                  <a:pt x="442" y="250"/>
                </a:lnTo>
                <a:lnTo>
                  <a:pt x="442" y="252"/>
                </a:lnTo>
                <a:lnTo>
                  <a:pt x="441" y="253"/>
                </a:lnTo>
                <a:lnTo>
                  <a:pt x="438" y="253"/>
                </a:lnTo>
                <a:lnTo>
                  <a:pt x="436" y="254"/>
                </a:lnTo>
                <a:lnTo>
                  <a:pt x="434" y="255"/>
                </a:lnTo>
                <a:lnTo>
                  <a:pt x="431" y="258"/>
                </a:lnTo>
                <a:lnTo>
                  <a:pt x="430" y="261"/>
                </a:lnTo>
                <a:lnTo>
                  <a:pt x="430" y="261"/>
                </a:lnTo>
                <a:lnTo>
                  <a:pt x="429" y="262"/>
                </a:lnTo>
                <a:lnTo>
                  <a:pt x="428" y="260"/>
                </a:lnTo>
                <a:lnTo>
                  <a:pt x="427" y="258"/>
                </a:lnTo>
                <a:lnTo>
                  <a:pt x="424" y="259"/>
                </a:lnTo>
                <a:lnTo>
                  <a:pt x="423" y="261"/>
                </a:lnTo>
                <a:lnTo>
                  <a:pt x="424" y="265"/>
                </a:lnTo>
                <a:lnTo>
                  <a:pt x="423" y="267"/>
                </a:lnTo>
                <a:lnTo>
                  <a:pt x="419" y="265"/>
                </a:lnTo>
                <a:lnTo>
                  <a:pt x="418" y="261"/>
                </a:lnTo>
                <a:lnTo>
                  <a:pt x="417" y="259"/>
                </a:lnTo>
                <a:lnTo>
                  <a:pt x="418" y="257"/>
                </a:lnTo>
                <a:lnTo>
                  <a:pt x="419" y="255"/>
                </a:lnTo>
                <a:lnTo>
                  <a:pt x="422" y="253"/>
                </a:lnTo>
                <a:lnTo>
                  <a:pt x="423" y="252"/>
                </a:lnTo>
                <a:lnTo>
                  <a:pt x="424" y="250"/>
                </a:lnTo>
                <a:lnTo>
                  <a:pt x="424" y="248"/>
                </a:lnTo>
                <a:lnTo>
                  <a:pt x="423" y="246"/>
                </a:lnTo>
                <a:lnTo>
                  <a:pt x="422" y="243"/>
                </a:lnTo>
                <a:lnTo>
                  <a:pt x="421" y="239"/>
                </a:lnTo>
                <a:lnTo>
                  <a:pt x="421" y="237"/>
                </a:lnTo>
                <a:lnTo>
                  <a:pt x="419" y="233"/>
                </a:lnTo>
                <a:lnTo>
                  <a:pt x="416" y="237"/>
                </a:lnTo>
                <a:lnTo>
                  <a:pt x="412" y="238"/>
                </a:lnTo>
                <a:lnTo>
                  <a:pt x="409" y="238"/>
                </a:lnTo>
                <a:lnTo>
                  <a:pt x="407" y="236"/>
                </a:lnTo>
                <a:lnTo>
                  <a:pt x="409" y="234"/>
                </a:lnTo>
                <a:lnTo>
                  <a:pt x="410" y="232"/>
                </a:lnTo>
                <a:lnTo>
                  <a:pt x="411" y="230"/>
                </a:lnTo>
                <a:lnTo>
                  <a:pt x="411" y="227"/>
                </a:lnTo>
                <a:lnTo>
                  <a:pt x="411" y="222"/>
                </a:lnTo>
                <a:lnTo>
                  <a:pt x="411" y="217"/>
                </a:lnTo>
                <a:lnTo>
                  <a:pt x="412" y="213"/>
                </a:lnTo>
                <a:lnTo>
                  <a:pt x="414" y="210"/>
                </a:lnTo>
                <a:lnTo>
                  <a:pt x="415" y="210"/>
                </a:lnTo>
                <a:lnTo>
                  <a:pt x="415" y="210"/>
                </a:lnTo>
                <a:lnTo>
                  <a:pt x="415" y="218"/>
                </a:lnTo>
                <a:lnTo>
                  <a:pt x="415" y="225"/>
                </a:lnTo>
                <a:lnTo>
                  <a:pt x="416" y="225"/>
                </a:lnTo>
                <a:lnTo>
                  <a:pt x="416" y="226"/>
                </a:lnTo>
                <a:lnTo>
                  <a:pt x="417" y="222"/>
                </a:lnTo>
                <a:lnTo>
                  <a:pt x="419" y="217"/>
                </a:lnTo>
                <a:lnTo>
                  <a:pt x="422" y="222"/>
                </a:lnTo>
                <a:lnTo>
                  <a:pt x="424" y="224"/>
                </a:lnTo>
                <a:lnTo>
                  <a:pt x="425" y="224"/>
                </a:lnTo>
                <a:lnTo>
                  <a:pt x="428" y="223"/>
                </a:lnTo>
                <a:lnTo>
                  <a:pt x="428" y="222"/>
                </a:lnTo>
                <a:lnTo>
                  <a:pt x="428" y="220"/>
                </a:lnTo>
                <a:lnTo>
                  <a:pt x="422" y="213"/>
                </a:lnTo>
                <a:lnTo>
                  <a:pt x="416" y="205"/>
                </a:lnTo>
                <a:lnTo>
                  <a:pt x="412" y="197"/>
                </a:lnTo>
                <a:lnTo>
                  <a:pt x="408" y="189"/>
                </a:lnTo>
                <a:lnTo>
                  <a:pt x="405" y="181"/>
                </a:lnTo>
                <a:lnTo>
                  <a:pt x="402" y="171"/>
                </a:lnTo>
                <a:lnTo>
                  <a:pt x="401" y="162"/>
                </a:lnTo>
                <a:lnTo>
                  <a:pt x="400" y="153"/>
                </a:lnTo>
                <a:lnTo>
                  <a:pt x="398" y="149"/>
                </a:lnTo>
                <a:lnTo>
                  <a:pt x="397" y="145"/>
                </a:lnTo>
                <a:lnTo>
                  <a:pt x="396" y="143"/>
                </a:lnTo>
                <a:lnTo>
                  <a:pt x="394" y="142"/>
                </a:lnTo>
                <a:lnTo>
                  <a:pt x="393" y="142"/>
                </a:lnTo>
                <a:lnTo>
                  <a:pt x="391" y="143"/>
                </a:lnTo>
                <a:lnTo>
                  <a:pt x="390" y="147"/>
                </a:lnTo>
                <a:lnTo>
                  <a:pt x="390" y="150"/>
                </a:lnTo>
                <a:lnTo>
                  <a:pt x="387" y="153"/>
                </a:lnTo>
                <a:lnTo>
                  <a:pt x="386" y="155"/>
                </a:lnTo>
                <a:lnTo>
                  <a:pt x="386" y="160"/>
                </a:lnTo>
                <a:lnTo>
                  <a:pt x="386" y="164"/>
                </a:lnTo>
                <a:lnTo>
                  <a:pt x="387" y="167"/>
                </a:lnTo>
                <a:lnTo>
                  <a:pt x="387" y="169"/>
                </a:lnTo>
                <a:lnTo>
                  <a:pt x="384" y="183"/>
                </a:lnTo>
                <a:lnTo>
                  <a:pt x="383" y="196"/>
                </a:lnTo>
                <a:lnTo>
                  <a:pt x="383" y="198"/>
                </a:lnTo>
                <a:lnTo>
                  <a:pt x="383" y="201"/>
                </a:lnTo>
                <a:lnTo>
                  <a:pt x="387" y="211"/>
                </a:lnTo>
                <a:lnTo>
                  <a:pt x="390" y="222"/>
                </a:lnTo>
                <a:lnTo>
                  <a:pt x="390" y="227"/>
                </a:lnTo>
                <a:lnTo>
                  <a:pt x="390" y="233"/>
                </a:lnTo>
                <a:lnTo>
                  <a:pt x="390" y="238"/>
                </a:lnTo>
                <a:lnTo>
                  <a:pt x="389" y="244"/>
                </a:lnTo>
                <a:lnTo>
                  <a:pt x="388" y="246"/>
                </a:lnTo>
                <a:lnTo>
                  <a:pt x="389" y="248"/>
                </a:lnTo>
                <a:lnTo>
                  <a:pt x="394" y="252"/>
                </a:lnTo>
                <a:lnTo>
                  <a:pt x="400" y="257"/>
                </a:lnTo>
                <a:lnTo>
                  <a:pt x="398" y="254"/>
                </a:lnTo>
                <a:lnTo>
                  <a:pt x="400" y="253"/>
                </a:lnTo>
                <a:lnTo>
                  <a:pt x="400" y="252"/>
                </a:lnTo>
                <a:lnTo>
                  <a:pt x="401" y="252"/>
                </a:lnTo>
                <a:lnTo>
                  <a:pt x="403" y="253"/>
                </a:lnTo>
                <a:lnTo>
                  <a:pt x="404" y="252"/>
                </a:lnTo>
                <a:lnTo>
                  <a:pt x="402" y="246"/>
                </a:lnTo>
                <a:lnTo>
                  <a:pt x="402" y="239"/>
                </a:lnTo>
                <a:lnTo>
                  <a:pt x="404" y="245"/>
                </a:lnTo>
                <a:lnTo>
                  <a:pt x="407" y="251"/>
                </a:lnTo>
                <a:lnTo>
                  <a:pt x="407" y="253"/>
                </a:lnTo>
                <a:lnTo>
                  <a:pt x="407" y="254"/>
                </a:lnTo>
                <a:lnTo>
                  <a:pt x="407" y="257"/>
                </a:lnTo>
                <a:lnTo>
                  <a:pt x="405" y="258"/>
                </a:lnTo>
                <a:lnTo>
                  <a:pt x="404" y="260"/>
                </a:lnTo>
                <a:lnTo>
                  <a:pt x="403" y="261"/>
                </a:lnTo>
                <a:lnTo>
                  <a:pt x="403" y="264"/>
                </a:lnTo>
                <a:lnTo>
                  <a:pt x="405" y="265"/>
                </a:lnTo>
                <a:lnTo>
                  <a:pt x="405" y="267"/>
                </a:lnTo>
                <a:lnTo>
                  <a:pt x="404" y="271"/>
                </a:lnTo>
                <a:lnTo>
                  <a:pt x="401" y="274"/>
                </a:lnTo>
                <a:lnTo>
                  <a:pt x="397" y="276"/>
                </a:lnTo>
                <a:lnTo>
                  <a:pt x="396" y="278"/>
                </a:lnTo>
                <a:lnTo>
                  <a:pt x="395" y="279"/>
                </a:lnTo>
                <a:lnTo>
                  <a:pt x="395" y="281"/>
                </a:lnTo>
                <a:lnTo>
                  <a:pt x="396" y="282"/>
                </a:lnTo>
                <a:lnTo>
                  <a:pt x="396" y="285"/>
                </a:lnTo>
                <a:lnTo>
                  <a:pt x="396" y="286"/>
                </a:lnTo>
                <a:lnTo>
                  <a:pt x="396" y="288"/>
                </a:lnTo>
                <a:lnTo>
                  <a:pt x="394" y="289"/>
                </a:lnTo>
                <a:lnTo>
                  <a:pt x="391" y="292"/>
                </a:lnTo>
                <a:lnTo>
                  <a:pt x="388" y="295"/>
                </a:lnTo>
                <a:lnTo>
                  <a:pt x="386" y="295"/>
                </a:lnTo>
                <a:lnTo>
                  <a:pt x="383" y="294"/>
                </a:lnTo>
                <a:lnTo>
                  <a:pt x="381" y="293"/>
                </a:lnTo>
                <a:lnTo>
                  <a:pt x="380" y="290"/>
                </a:lnTo>
                <a:lnTo>
                  <a:pt x="377" y="286"/>
                </a:lnTo>
                <a:lnTo>
                  <a:pt x="373" y="282"/>
                </a:lnTo>
                <a:lnTo>
                  <a:pt x="372" y="285"/>
                </a:lnTo>
                <a:lnTo>
                  <a:pt x="370" y="287"/>
                </a:lnTo>
                <a:lnTo>
                  <a:pt x="368" y="289"/>
                </a:lnTo>
                <a:lnTo>
                  <a:pt x="367" y="289"/>
                </a:lnTo>
                <a:lnTo>
                  <a:pt x="365" y="289"/>
                </a:lnTo>
                <a:lnTo>
                  <a:pt x="362" y="288"/>
                </a:lnTo>
                <a:lnTo>
                  <a:pt x="359" y="286"/>
                </a:lnTo>
                <a:lnTo>
                  <a:pt x="354" y="283"/>
                </a:lnTo>
                <a:lnTo>
                  <a:pt x="343" y="282"/>
                </a:lnTo>
                <a:lnTo>
                  <a:pt x="334" y="281"/>
                </a:lnTo>
                <a:lnTo>
                  <a:pt x="324" y="281"/>
                </a:lnTo>
                <a:lnTo>
                  <a:pt x="313" y="281"/>
                </a:lnTo>
                <a:lnTo>
                  <a:pt x="308" y="282"/>
                </a:lnTo>
                <a:lnTo>
                  <a:pt x="304" y="285"/>
                </a:lnTo>
                <a:lnTo>
                  <a:pt x="300" y="285"/>
                </a:lnTo>
                <a:lnTo>
                  <a:pt x="298" y="285"/>
                </a:lnTo>
                <a:lnTo>
                  <a:pt x="297" y="285"/>
                </a:lnTo>
                <a:lnTo>
                  <a:pt x="296" y="286"/>
                </a:lnTo>
                <a:lnTo>
                  <a:pt x="289" y="283"/>
                </a:lnTo>
                <a:lnTo>
                  <a:pt x="282" y="283"/>
                </a:lnTo>
                <a:lnTo>
                  <a:pt x="284" y="278"/>
                </a:lnTo>
                <a:lnTo>
                  <a:pt x="287" y="272"/>
                </a:lnTo>
                <a:lnTo>
                  <a:pt x="290" y="268"/>
                </a:lnTo>
                <a:lnTo>
                  <a:pt x="292" y="266"/>
                </a:lnTo>
                <a:lnTo>
                  <a:pt x="296" y="264"/>
                </a:lnTo>
                <a:lnTo>
                  <a:pt x="299" y="261"/>
                </a:lnTo>
                <a:lnTo>
                  <a:pt x="303" y="260"/>
                </a:lnTo>
                <a:lnTo>
                  <a:pt x="306" y="259"/>
                </a:lnTo>
                <a:lnTo>
                  <a:pt x="311" y="257"/>
                </a:lnTo>
                <a:lnTo>
                  <a:pt x="315" y="253"/>
                </a:lnTo>
                <a:lnTo>
                  <a:pt x="318" y="252"/>
                </a:lnTo>
                <a:lnTo>
                  <a:pt x="320" y="251"/>
                </a:lnTo>
                <a:lnTo>
                  <a:pt x="321" y="250"/>
                </a:lnTo>
                <a:lnTo>
                  <a:pt x="322" y="246"/>
                </a:lnTo>
                <a:lnTo>
                  <a:pt x="322" y="244"/>
                </a:lnTo>
                <a:lnTo>
                  <a:pt x="322" y="244"/>
                </a:lnTo>
                <a:lnTo>
                  <a:pt x="324" y="244"/>
                </a:lnTo>
                <a:lnTo>
                  <a:pt x="325" y="244"/>
                </a:lnTo>
                <a:lnTo>
                  <a:pt x="327" y="245"/>
                </a:lnTo>
                <a:lnTo>
                  <a:pt x="329" y="244"/>
                </a:lnTo>
                <a:lnTo>
                  <a:pt x="341" y="229"/>
                </a:lnTo>
                <a:lnTo>
                  <a:pt x="353" y="215"/>
                </a:lnTo>
                <a:lnTo>
                  <a:pt x="358" y="206"/>
                </a:lnTo>
                <a:lnTo>
                  <a:pt x="361" y="197"/>
                </a:lnTo>
                <a:lnTo>
                  <a:pt x="360" y="195"/>
                </a:lnTo>
                <a:lnTo>
                  <a:pt x="360" y="191"/>
                </a:lnTo>
                <a:lnTo>
                  <a:pt x="359" y="191"/>
                </a:lnTo>
                <a:lnTo>
                  <a:pt x="358" y="191"/>
                </a:lnTo>
                <a:lnTo>
                  <a:pt x="356" y="196"/>
                </a:lnTo>
                <a:lnTo>
                  <a:pt x="355" y="201"/>
                </a:lnTo>
                <a:lnTo>
                  <a:pt x="353" y="204"/>
                </a:lnTo>
                <a:lnTo>
                  <a:pt x="351" y="208"/>
                </a:lnTo>
                <a:lnTo>
                  <a:pt x="345" y="215"/>
                </a:lnTo>
                <a:lnTo>
                  <a:pt x="341" y="223"/>
                </a:lnTo>
                <a:lnTo>
                  <a:pt x="338" y="220"/>
                </a:lnTo>
                <a:lnTo>
                  <a:pt x="335" y="219"/>
                </a:lnTo>
                <a:lnTo>
                  <a:pt x="332" y="217"/>
                </a:lnTo>
                <a:lnTo>
                  <a:pt x="329" y="217"/>
                </a:lnTo>
                <a:lnTo>
                  <a:pt x="324" y="219"/>
                </a:lnTo>
                <a:lnTo>
                  <a:pt x="318" y="223"/>
                </a:lnTo>
                <a:lnTo>
                  <a:pt x="320" y="226"/>
                </a:lnTo>
                <a:lnTo>
                  <a:pt x="322" y="229"/>
                </a:lnTo>
                <a:lnTo>
                  <a:pt x="325" y="226"/>
                </a:lnTo>
                <a:lnTo>
                  <a:pt x="327" y="224"/>
                </a:lnTo>
                <a:lnTo>
                  <a:pt x="328" y="223"/>
                </a:lnTo>
                <a:lnTo>
                  <a:pt x="329" y="222"/>
                </a:lnTo>
                <a:lnTo>
                  <a:pt x="332" y="223"/>
                </a:lnTo>
                <a:lnTo>
                  <a:pt x="332" y="224"/>
                </a:lnTo>
                <a:lnTo>
                  <a:pt x="332" y="229"/>
                </a:lnTo>
                <a:lnTo>
                  <a:pt x="329" y="233"/>
                </a:lnTo>
                <a:lnTo>
                  <a:pt x="327" y="233"/>
                </a:lnTo>
                <a:lnTo>
                  <a:pt x="324" y="233"/>
                </a:lnTo>
                <a:lnTo>
                  <a:pt x="321" y="233"/>
                </a:lnTo>
                <a:lnTo>
                  <a:pt x="320" y="232"/>
                </a:lnTo>
                <a:lnTo>
                  <a:pt x="318" y="239"/>
                </a:lnTo>
                <a:lnTo>
                  <a:pt x="315" y="245"/>
                </a:lnTo>
                <a:lnTo>
                  <a:pt x="314" y="245"/>
                </a:lnTo>
                <a:lnTo>
                  <a:pt x="313" y="246"/>
                </a:lnTo>
                <a:lnTo>
                  <a:pt x="307" y="239"/>
                </a:lnTo>
                <a:lnTo>
                  <a:pt x="300" y="233"/>
                </a:lnTo>
                <a:lnTo>
                  <a:pt x="299" y="234"/>
                </a:lnTo>
                <a:lnTo>
                  <a:pt x="296" y="234"/>
                </a:lnTo>
                <a:lnTo>
                  <a:pt x="293" y="236"/>
                </a:lnTo>
                <a:lnTo>
                  <a:pt x="292" y="237"/>
                </a:lnTo>
                <a:lnTo>
                  <a:pt x="292" y="238"/>
                </a:lnTo>
                <a:lnTo>
                  <a:pt x="292" y="240"/>
                </a:lnTo>
                <a:lnTo>
                  <a:pt x="296" y="240"/>
                </a:lnTo>
                <a:lnTo>
                  <a:pt x="298" y="240"/>
                </a:lnTo>
                <a:lnTo>
                  <a:pt x="300" y="240"/>
                </a:lnTo>
                <a:lnTo>
                  <a:pt x="303" y="240"/>
                </a:lnTo>
                <a:lnTo>
                  <a:pt x="304" y="241"/>
                </a:lnTo>
                <a:lnTo>
                  <a:pt x="305" y="244"/>
                </a:lnTo>
                <a:lnTo>
                  <a:pt x="305" y="246"/>
                </a:lnTo>
                <a:lnTo>
                  <a:pt x="305" y="248"/>
                </a:lnTo>
                <a:lnTo>
                  <a:pt x="304" y="250"/>
                </a:lnTo>
                <a:lnTo>
                  <a:pt x="303" y="251"/>
                </a:lnTo>
                <a:lnTo>
                  <a:pt x="293" y="255"/>
                </a:lnTo>
                <a:lnTo>
                  <a:pt x="284" y="260"/>
                </a:lnTo>
                <a:lnTo>
                  <a:pt x="285" y="264"/>
                </a:lnTo>
                <a:lnTo>
                  <a:pt x="285" y="269"/>
                </a:lnTo>
                <a:lnTo>
                  <a:pt x="279" y="266"/>
                </a:lnTo>
                <a:lnTo>
                  <a:pt x="273" y="264"/>
                </a:lnTo>
                <a:lnTo>
                  <a:pt x="267" y="261"/>
                </a:lnTo>
                <a:lnTo>
                  <a:pt x="262" y="261"/>
                </a:lnTo>
                <a:lnTo>
                  <a:pt x="262" y="267"/>
                </a:lnTo>
                <a:lnTo>
                  <a:pt x="259" y="273"/>
                </a:lnTo>
                <a:lnTo>
                  <a:pt x="258" y="275"/>
                </a:lnTo>
                <a:lnTo>
                  <a:pt x="256" y="276"/>
                </a:lnTo>
                <a:lnTo>
                  <a:pt x="253" y="278"/>
                </a:lnTo>
                <a:lnTo>
                  <a:pt x="251" y="279"/>
                </a:lnTo>
                <a:lnTo>
                  <a:pt x="256" y="272"/>
                </a:lnTo>
                <a:lnTo>
                  <a:pt x="260" y="265"/>
                </a:lnTo>
                <a:lnTo>
                  <a:pt x="257" y="265"/>
                </a:lnTo>
                <a:lnTo>
                  <a:pt x="255" y="264"/>
                </a:lnTo>
                <a:lnTo>
                  <a:pt x="256" y="261"/>
                </a:lnTo>
                <a:lnTo>
                  <a:pt x="257" y="259"/>
                </a:lnTo>
                <a:lnTo>
                  <a:pt x="252" y="259"/>
                </a:lnTo>
                <a:lnTo>
                  <a:pt x="249" y="258"/>
                </a:lnTo>
                <a:lnTo>
                  <a:pt x="239" y="253"/>
                </a:lnTo>
                <a:lnTo>
                  <a:pt x="228" y="250"/>
                </a:lnTo>
                <a:lnTo>
                  <a:pt x="230" y="248"/>
                </a:lnTo>
                <a:lnTo>
                  <a:pt x="231" y="247"/>
                </a:lnTo>
                <a:lnTo>
                  <a:pt x="227" y="246"/>
                </a:lnTo>
                <a:lnTo>
                  <a:pt x="221" y="245"/>
                </a:lnTo>
                <a:lnTo>
                  <a:pt x="215" y="244"/>
                </a:lnTo>
                <a:lnTo>
                  <a:pt x="209" y="244"/>
                </a:lnTo>
                <a:lnTo>
                  <a:pt x="203" y="245"/>
                </a:lnTo>
                <a:lnTo>
                  <a:pt x="196" y="245"/>
                </a:lnTo>
                <a:lnTo>
                  <a:pt x="194" y="245"/>
                </a:lnTo>
                <a:lnTo>
                  <a:pt x="190" y="243"/>
                </a:lnTo>
                <a:lnTo>
                  <a:pt x="188" y="241"/>
                </a:lnTo>
                <a:lnTo>
                  <a:pt x="186" y="238"/>
                </a:lnTo>
                <a:lnTo>
                  <a:pt x="186" y="238"/>
                </a:lnTo>
                <a:lnTo>
                  <a:pt x="184" y="238"/>
                </a:lnTo>
                <a:lnTo>
                  <a:pt x="183" y="240"/>
                </a:lnTo>
                <a:lnTo>
                  <a:pt x="182" y="241"/>
                </a:lnTo>
                <a:lnTo>
                  <a:pt x="181" y="241"/>
                </a:lnTo>
                <a:lnTo>
                  <a:pt x="179" y="239"/>
                </a:lnTo>
                <a:lnTo>
                  <a:pt x="177" y="238"/>
                </a:lnTo>
                <a:lnTo>
                  <a:pt x="176" y="238"/>
                </a:lnTo>
                <a:lnTo>
                  <a:pt x="172" y="238"/>
                </a:lnTo>
                <a:lnTo>
                  <a:pt x="167" y="239"/>
                </a:lnTo>
                <a:lnTo>
                  <a:pt x="167" y="237"/>
                </a:lnTo>
                <a:lnTo>
                  <a:pt x="167" y="236"/>
                </a:lnTo>
                <a:lnTo>
                  <a:pt x="175" y="234"/>
                </a:lnTo>
                <a:lnTo>
                  <a:pt x="182" y="232"/>
                </a:lnTo>
                <a:lnTo>
                  <a:pt x="182" y="231"/>
                </a:lnTo>
                <a:lnTo>
                  <a:pt x="182" y="231"/>
                </a:lnTo>
                <a:lnTo>
                  <a:pt x="177" y="231"/>
                </a:lnTo>
                <a:lnTo>
                  <a:pt x="173" y="231"/>
                </a:lnTo>
                <a:lnTo>
                  <a:pt x="173" y="231"/>
                </a:lnTo>
                <a:lnTo>
                  <a:pt x="173" y="230"/>
                </a:lnTo>
                <a:lnTo>
                  <a:pt x="175" y="229"/>
                </a:lnTo>
                <a:lnTo>
                  <a:pt x="177" y="229"/>
                </a:lnTo>
                <a:lnTo>
                  <a:pt x="175" y="227"/>
                </a:lnTo>
                <a:lnTo>
                  <a:pt x="174" y="226"/>
                </a:lnTo>
                <a:lnTo>
                  <a:pt x="181" y="226"/>
                </a:lnTo>
                <a:lnTo>
                  <a:pt x="187" y="226"/>
                </a:lnTo>
                <a:lnTo>
                  <a:pt x="189" y="226"/>
                </a:lnTo>
                <a:lnTo>
                  <a:pt x="190" y="225"/>
                </a:lnTo>
                <a:lnTo>
                  <a:pt x="190" y="224"/>
                </a:lnTo>
                <a:lnTo>
                  <a:pt x="191" y="223"/>
                </a:lnTo>
                <a:lnTo>
                  <a:pt x="200" y="223"/>
                </a:lnTo>
                <a:lnTo>
                  <a:pt x="208" y="223"/>
                </a:lnTo>
                <a:lnTo>
                  <a:pt x="208" y="224"/>
                </a:lnTo>
                <a:lnTo>
                  <a:pt x="208" y="225"/>
                </a:lnTo>
                <a:lnTo>
                  <a:pt x="202" y="225"/>
                </a:lnTo>
                <a:lnTo>
                  <a:pt x="197" y="226"/>
                </a:lnTo>
                <a:lnTo>
                  <a:pt x="197" y="226"/>
                </a:lnTo>
                <a:lnTo>
                  <a:pt x="197" y="227"/>
                </a:lnTo>
                <a:lnTo>
                  <a:pt x="204" y="226"/>
                </a:lnTo>
                <a:lnTo>
                  <a:pt x="210" y="226"/>
                </a:lnTo>
                <a:lnTo>
                  <a:pt x="213" y="226"/>
                </a:lnTo>
                <a:lnTo>
                  <a:pt x="214" y="225"/>
                </a:lnTo>
                <a:lnTo>
                  <a:pt x="217" y="225"/>
                </a:lnTo>
                <a:lnTo>
                  <a:pt x="220" y="224"/>
                </a:lnTo>
                <a:lnTo>
                  <a:pt x="236" y="209"/>
                </a:lnTo>
                <a:lnTo>
                  <a:pt x="253" y="192"/>
                </a:lnTo>
                <a:lnTo>
                  <a:pt x="262" y="185"/>
                </a:lnTo>
                <a:lnTo>
                  <a:pt x="270" y="177"/>
                </a:lnTo>
                <a:lnTo>
                  <a:pt x="272" y="175"/>
                </a:lnTo>
                <a:lnTo>
                  <a:pt x="273" y="173"/>
                </a:lnTo>
                <a:lnTo>
                  <a:pt x="271" y="170"/>
                </a:lnTo>
                <a:lnTo>
                  <a:pt x="269" y="169"/>
                </a:lnTo>
                <a:lnTo>
                  <a:pt x="263" y="176"/>
                </a:lnTo>
                <a:lnTo>
                  <a:pt x="258" y="182"/>
                </a:lnTo>
                <a:lnTo>
                  <a:pt x="255" y="184"/>
                </a:lnTo>
                <a:lnTo>
                  <a:pt x="250" y="184"/>
                </a:lnTo>
                <a:lnTo>
                  <a:pt x="246" y="184"/>
                </a:lnTo>
                <a:lnTo>
                  <a:pt x="242" y="183"/>
                </a:lnTo>
                <a:lnTo>
                  <a:pt x="244" y="178"/>
                </a:lnTo>
                <a:lnTo>
                  <a:pt x="245" y="175"/>
                </a:lnTo>
                <a:lnTo>
                  <a:pt x="249" y="174"/>
                </a:lnTo>
                <a:lnTo>
                  <a:pt x="252" y="173"/>
                </a:lnTo>
                <a:lnTo>
                  <a:pt x="255" y="170"/>
                </a:lnTo>
                <a:lnTo>
                  <a:pt x="257" y="168"/>
                </a:lnTo>
                <a:lnTo>
                  <a:pt x="259" y="166"/>
                </a:lnTo>
                <a:lnTo>
                  <a:pt x="260" y="162"/>
                </a:lnTo>
                <a:lnTo>
                  <a:pt x="260" y="160"/>
                </a:lnTo>
                <a:lnTo>
                  <a:pt x="260" y="156"/>
                </a:lnTo>
                <a:lnTo>
                  <a:pt x="259" y="154"/>
                </a:lnTo>
                <a:lnTo>
                  <a:pt x="258" y="153"/>
                </a:lnTo>
                <a:lnTo>
                  <a:pt x="256" y="153"/>
                </a:lnTo>
                <a:lnTo>
                  <a:pt x="255" y="154"/>
                </a:lnTo>
                <a:lnTo>
                  <a:pt x="252" y="157"/>
                </a:lnTo>
                <a:lnTo>
                  <a:pt x="250" y="160"/>
                </a:lnTo>
                <a:lnTo>
                  <a:pt x="248" y="161"/>
                </a:lnTo>
                <a:lnTo>
                  <a:pt x="246" y="160"/>
                </a:lnTo>
                <a:lnTo>
                  <a:pt x="245" y="160"/>
                </a:lnTo>
                <a:lnTo>
                  <a:pt x="245" y="160"/>
                </a:lnTo>
                <a:lnTo>
                  <a:pt x="246" y="157"/>
                </a:lnTo>
                <a:lnTo>
                  <a:pt x="248" y="156"/>
                </a:lnTo>
                <a:lnTo>
                  <a:pt x="243" y="160"/>
                </a:lnTo>
                <a:lnTo>
                  <a:pt x="241" y="163"/>
                </a:lnTo>
                <a:lnTo>
                  <a:pt x="239" y="167"/>
                </a:lnTo>
                <a:lnTo>
                  <a:pt x="239" y="171"/>
                </a:lnTo>
                <a:lnTo>
                  <a:pt x="237" y="176"/>
                </a:lnTo>
                <a:lnTo>
                  <a:pt x="234" y="181"/>
                </a:lnTo>
                <a:lnTo>
                  <a:pt x="231" y="183"/>
                </a:lnTo>
                <a:lnTo>
                  <a:pt x="228" y="185"/>
                </a:lnTo>
                <a:lnTo>
                  <a:pt x="225" y="187"/>
                </a:lnTo>
                <a:lnTo>
                  <a:pt x="224" y="188"/>
                </a:lnTo>
                <a:lnTo>
                  <a:pt x="224" y="190"/>
                </a:lnTo>
                <a:lnTo>
                  <a:pt x="224" y="192"/>
                </a:lnTo>
                <a:lnTo>
                  <a:pt x="223" y="192"/>
                </a:lnTo>
                <a:lnTo>
                  <a:pt x="222" y="192"/>
                </a:lnTo>
                <a:lnTo>
                  <a:pt x="222" y="190"/>
                </a:lnTo>
                <a:lnTo>
                  <a:pt x="222" y="187"/>
                </a:lnTo>
                <a:lnTo>
                  <a:pt x="215" y="188"/>
                </a:lnTo>
                <a:lnTo>
                  <a:pt x="208" y="190"/>
                </a:lnTo>
                <a:lnTo>
                  <a:pt x="208" y="190"/>
                </a:lnTo>
                <a:lnTo>
                  <a:pt x="208" y="190"/>
                </a:lnTo>
                <a:lnTo>
                  <a:pt x="198" y="189"/>
                </a:lnTo>
                <a:lnTo>
                  <a:pt x="191" y="188"/>
                </a:lnTo>
                <a:lnTo>
                  <a:pt x="191" y="189"/>
                </a:lnTo>
                <a:lnTo>
                  <a:pt x="193" y="191"/>
                </a:lnTo>
                <a:lnTo>
                  <a:pt x="200" y="192"/>
                </a:lnTo>
                <a:lnTo>
                  <a:pt x="207" y="194"/>
                </a:lnTo>
                <a:lnTo>
                  <a:pt x="209" y="196"/>
                </a:lnTo>
                <a:lnTo>
                  <a:pt x="209" y="197"/>
                </a:lnTo>
                <a:lnTo>
                  <a:pt x="208" y="199"/>
                </a:lnTo>
                <a:lnTo>
                  <a:pt x="205" y="201"/>
                </a:lnTo>
                <a:lnTo>
                  <a:pt x="201" y="202"/>
                </a:lnTo>
                <a:lnTo>
                  <a:pt x="197" y="201"/>
                </a:lnTo>
                <a:lnTo>
                  <a:pt x="193" y="198"/>
                </a:lnTo>
                <a:lnTo>
                  <a:pt x="190" y="195"/>
                </a:lnTo>
                <a:lnTo>
                  <a:pt x="188" y="192"/>
                </a:lnTo>
                <a:lnTo>
                  <a:pt x="187" y="190"/>
                </a:lnTo>
                <a:lnTo>
                  <a:pt x="186" y="191"/>
                </a:lnTo>
                <a:lnTo>
                  <a:pt x="184" y="191"/>
                </a:lnTo>
                <a:lnTo>
                  <a:pt x="181" y="195"/>
                </a:lnTo>
                <a:lnTo>
                  <a:pt x="177" y="198"/>
                </a:lnTo>
                <a:lnTo>
                  <a:pt x="174" y="198"/>
                </a:lnTo>
                <a:lnTo>
                  <a:pt x="173" y="197"/>
                </a:lnTo>
                <a:lnTo>
                  <a:pt x="170" y="195"/>
                </a:lnTo>
                <a:lnTo>
                  <a:pt x="169" y="192"/>
                </a:lnTo>
                <a:lnTo>
                  <a:pt x="169" y="192"/>
                </a:lnTo>
                <a:lnTo>
                  <a:pt x="168" y="192"/>
                </a:lnTo>
                <a:lnTo>
                  <a:pt x="167" y="190"/>
                </a:lnTo>
                <a:lnTo>
                  <a:pt x="167" y="189"/>
                </a:lnTo>
                <a:lnTo>
                  <a:pt x="168" y="188"/>
                </a:lnTo>
                <a:lnTo>
                  <a:pt x="170" y="187"/>
                </a:lnTo>
                <a:lnTo>
                  <a:pt x="176" y="185"/>
                </a:lnTo>
                <a:lnTo>
                  <a:pt x="184" y="184"/>
                </a:lnTo>
                <a:lnTo>
                  <a:pt x="180" y="182"/>
                </a:lnTo>
                <a:lnTo>
                  <a:pt x="176" y="180"/>
                </a:lnTo>
                <a:lnTo>
                  <a:pt x="177" y="178"/>
                </a:lnTo>
                <a:lnTo>
                  <a:pt x="179" y="177"/>
                </a:lnTo>
                <a:lnTo>
                  <a:pt x="186" y="175"/>
                </a:lnTo>
                <a:lnTo>
                  <a:pt x="191" y="171"/>
                </a:lnTo>
                <a:lnTo>
                  <a:pt x="200" y="168"/>
                </a:lnTo>
                <a:lnTo>
                  <a:pt x="207" y="162"/>
                </a:lnTo>
                <a:lnTo>
                  <a:pt x="208" y="160"/>
                </a:lnTo>
                <a:lnTo>
                  <a:pt x="208" y="157"/>
                </a:lnTo>
                <a:lnTo>
                  <a:pt x="205" y="155"/>
                </a:lnTo>
                <a:lnTo>
                  <a:pt x="202" y="154"/>
                </a:lnTo>
                <a:lnTo>
                  <a:pt x="203" y="156"/>
                </a:lnTo>
                <a:lnTo>
                  <a:pt x="203" y="159"/>
                </a:lnTo>
                <a:lnTo>
                  <a:pt x="201" y="160"/>
                </a:lnTo>
                <a:lnTo>
                  <a:pt x="198" y="160"/>
                </a:lnTo>
                <a:lnTo>
                  <a:pt x="196" y="155"/>
                </a:lnTo>
                <a:lnTo>
                  <a:pt x="194" y="153"/>
                </a:lnTo>
                <a:lnTo>
                  <a:pt x="190" y="153"/>
                </a:lnTo>
                <a:lnTo>
                  <a:pt x="187" y="152"/>
                </a:lnTo>
                <a:lnTo>
                  <a:pt x="184" y="153"/>
                </a:lnTo>
                <a:lnTo>
                  <a:pt x="181" y="154"/>
                </a:lnTo>
                <a:lnTo>
                  <a:pt x="176" y="149"/>
                </a:lnTo>
                <a:lnTo>
                  <a:pt x="170" y="145"/>
                </a:lnTo>
                <a:lnTo>
                  <a:pt x="170" y="145"/>
                </a:lnTo>
                <a:lnTo>
                  <a:pt x="170" y="146"/>
                </a:lnTo>
                <a:lnTo>
                  <a:pt x="167" y="146"/>
                </a:lnTo>
                <a:lnTo>
                  <a:pt x="165" y="146"/>
                </a:lnTo>
                <a:lnTo>
                  <a:pt x="162" y="146"/>
                </a:lnTo>
                <a:lnTo>
                  <a:pt x="161" y="146"/>
                </a:lnTo>
                <a:lnTo>
                  <a:pt x="156" y="148"/>
                </a:lnTo>
                <a:lnTo>
                  <a:pt x="152" y="152"/>
                </a:lnTo>
                <a:lnTo>
                  <a:pt x="149" y="153"/>
                </a:lnTo>
                <a:lnTo>
                  <a:pt x="148" y="154"/>
                </a:lnTo>
                <a:lnTo>
                  <a:pt x="148" y="156"/>
                </a:lnTo>
                <a:lnTo>
                  <a:pt x="148" y="159"/>
                </a:lnTo>
                <a:lnTo>
                  <a:pt x="148" y="160"/>
                </a:lnTo>
                <a:lnTo>
                  <a:pt x="147" y="162"/>
                </a:lnTo>
                <a:lnTo>
                  <a:pt x="146" y="161"/>
                </a:lnTo>
                <a:lnTo>
                  <a:pt x="145" y="160"/>
                </a:lnTo>
                <a:lnTo>
                  <a:pt x="142" y="156"/>
                </a:lnTo>
                <a:lnTo>
                  <a:pt x="140" y="153"/>
                </a:lnTo>
                <a:lnTo>
                  <a:pt x="139" y="149"/>
                </a:lnTo>
                <a:lnTo>
                  <a:pt x="139" y="145"/>
                </a:lnTo>
                <a:lnTo>
                  <a:pt x="138" y="142"/>
                </a:lnTo>
                <a:lnTo>
                  <a:pt x="137" y="141"/>
                </a:lnTo>
                <a:lnTo>
                  <a:pt x="128" y="138"/>
                </a:lnTo>
                <a:lnTo>
                  <a:pt x="120" y="134"/>
                </a:lnTo>
                <a:lnTo>
                  <a:pt x="115" y="132"/>
                </a:lnTo>
                <a:lnTo>
                  <a:pt x="110" y="129"/>
                </a:lnTo>
                <a:lnTo>
                  <a:pt x="107" y="126"/>
                </a:lnTo>
                <a:lnTo>
                  <a:pt x="104" y="124"/>
                </a:lnTo>
                <a:lnTo>
                  <a:pt x="103" y="122"/>
                </a:lnTo>
                <a:lnTo>
                  <a:pt x="101" y="121"/>
                </a:lnTo>
                <a:lnTo>
                  <a:pt x="104" y="119"/>
                </a:lnTo>
                <a:lnTo>
                  <a:pt x="105" y="117"/>
                </a:lnTo>
                <a:lnTo>
                  <a:pt x="105" y="112"/>
                </a:lnTo>
                <a:lnTo>
                  <a:pt x="105" y="108"/>
                </a:lnTo>
                <a:lnTo>
                  <a:pt x="103" y="108"/>
                </a:lnTo>
                <a:lnTo>
                  <a:pt x="99" y="108"/>
                </a:lnTo>
                <a:lnTo>
                  <a:pt x="96" y="111"/>
                </a:lnTo>
                <a:lnTo>
                  <a:pt x="92" y="111"/>
                </a:lnTo>
                <a:lnTo>
                  <a:pt x="89" y="108"/>
                </a:lnTo>
                <a:lnTo>
                  <a:pt x="86" y="106"/>
                </a:lnTo>
                <a:lnTo>
                  <a:pt x="82" y="101"/>
                </a:lnTo>
                <a:lnTo>
                  <a:pt x="78" y="97"/>
                </a:lnTo>
                <a:lnTo>
                  <a:pt x="71" y="86"/>
                </a:lnTo>
                <a:lnTo>
                  <a:pt x="64" y="77"/>
                </a:lnTo>
                <a:lnTo>
                  <a:pt x="63" y="75"/>
                </a:lnTo>
                <a:lnTo>
                  <a:pt x="60" y="73"/>
                </a:lnTo>
                <a:lnTo>
                  <a:pt x="58" y="76"/>
                </a:lnTo>
                <a:lnTo>
                  <a:pt x="57" y="79"/>
                </a:lnTo>
                <a:lnTo>
                  <a:pt x="57" y="86"/>
                </a:lnTo>
                <a:lnTo>
                  <a:pt x="57" y="93"/>
                </a:lnTo>
                <a:lnTo>
                  <a:pt x="57" y="96"/>
                </a:lnTo>
                <a:lnTo>
                  <a:pt x="57" y="97"/>
                </a:lnTo>
                <a:lnTo>
                  <a:pt x="55" y="99"/>
                </a:lnTo>
                <a:lnTo>
                  <a:pt x="52" y="99"/>
                </a:lnTo>
                <a:lnTo>
                  <a:pt x="50" y="100"/>
                </a:lnTo>
                <a:lnTo>
                  <a:pt x="48" y="104"/>
                </a:lnTo>
                <a:lnTo>
                  <a:pt x="46" y="106"/>
                </a:lnTo>
                <a:lnTo>
                  <a:pt x="45" y="110"/>
                </a:lnTo>
                <a:lnTo>
                  <a:pt x="45" y="118"/>
                </a:lnTo>
                <a:lnTo>
                  <a:pt x="46" y="126"/>
                </a:lnTo>
                <a:lnTo>
                  <a:pt x="48" y="128"/>
                </a:lnTo>
                <a:lnTo>
                  <a:pt x="49" y="131"/>
                </a:lnTo>
                <a:lnTo>
                  <a:pt x="50" y="133"/>
                </a:lnTo>
                <a:lnTo>
                  <a:pt x="49" y="135"/>
                </a:lnTo>
                <a:lnTo>
                  <a:pt x="45" y="139"/>
                </a:lnTo>
                <a:lnTo>
                  <a:pt x="42" y="142"/>
                </a:lnTo>
                <a:lnTo>
                  <a:pt x="43" y="145"/>
                </a:lnTo>
                <a:lnTo>
                  <a:pt x="44" y="146"/>
                </a:lnTo>
                <a:lnTo>
                  <a:pt x="38" y="150"/>
                </a:lnTo>
                <a:lnTo>
                  <a:pt x="31" y="156"/>
                </a:lnTo>
                <a:lnTo>
                  <a:pt x="24" y="142"/>
                </a:lnTo>
                <a:lnTo>
                  <a:pt x="16" y="128"/>
                </a:lnTo>
                <a:lnTo>
                  <a:pt x="9" y="114"/>
                </a:lnTo>
                <a:lnTo>
                  <a:pt x="1" y="100"/>
                </a:lnTo>
                <a:lnTo>
                  <a:pt x="0" y="104"/>
                </a:lnTo>
                <a:lnTo>
                  <a:pt x="0" y="106"/>
                </a:lnTo>
                <a:lnTo>
                  <a:pt x="1" y="108"/>
                </a:lnTo>
                <a:lnTo>
                  <a:pt x="2" y="110"/>
                </a:lnTo>
                <a:lnTo>
                  <a:pt x="4" y="113"/>
                </a:lnTo>
                <a:lnTo>
                  <a:pt x="6" y="117"/>
                </a:lnTo>
                <a:lnTo>
                  <a:pt x="4" y="118"/>
                </a:lnTo>
                <a:lnTo>
                  <a:pt x="2" y="119"/>
                </a:lnTo>
                <a:lnTo>
                  <a:pt x="4" y="121"/>
                </a:lnTo>
                <a:lnTo>
                  <a:pt x="6" y="125"/>
                </a:lnTo>
                <a:lnTo>
                  <a:pt x="4" y="128"/>
                </a:lnTo>
                <a:lnTo>
                  <a:pt x="3" y="131"/>
                </a:lnTo>
                <a:lnTo>
                  <a:pt x="2" y="134"/>
                </a:lnTo>
                <a:lnTo>
                  <a:pt x="3" y="136"/>
                </a:lnTo>
                <a:lnTo>
                  <a:pt x="4" y="140"/>
                </a:lnTo>
                <a:lnTo>
                  <a:pt x="7" y="142"/>
                </a:lnTo>
                <a:lnTo>
                  <a:pt x="8" y="140"/>
                </a:lnTo>
                <a:lnTo>
                  <a:pt x="9" y="139"/>
                </a:lnTo>
                <a:lnTo>
                  <a:pt x="11" y="140"/>
                </a:lnTo>
                <a:lnTo>
                  <a:pt x="14" y="141"/>
                </a:lnTo>
                <a:lnTo>
                  <a:pt x="17" y="146"/>
                </a:lnTo>
                <a:lnTo>
                  <a:pt x="21" y="149"/>
                </a:lnTo>
                <a:lnTo>
                  <a:pt x="23" y="155"/>
                </a:lnTo>
                <a:lnTo>
                  <a:pt x="24" y="161"/>
                </a:lnTo>
                <a:lnTo>
                  <a:pt x="24" y="169"/>
                </a:lnTo>
                <a:lnTo>
                  <a:pt x="25" y="177"/>
                </a:lnTo>
                <a:lnTo>
                  <a:pt x="25" y="177"/>
                </a:lnTo>
                <a:lnTo>
                  <a:pt x="27" y="177"/>
                </a:lnTo>
                <a:lnTo>
                  <a:pt x="29" y="175"/>
                </a:lnTo>
                <a:lnTo>
                  <a:pt x="31" y="173"/>
                </a:lnTo>
                <a:lnTo>
                  <a:pt x="32" y="175"/>
                </a:lnTo>
                <a:lnTo>
                  <a:pt x="35" y="177"/>
                </a:lnTo>
                <a:lnTo>
                  <a:pt x="34" y="180"/>
                </a:lnTo>
                <a:lnTo>
                  <a:pt x="34" y="183"/>
                </a:lnTo>
                <a:lnTo>
                  <a:pt x="35" y="185"/>
                </a:lnTo>
                <a:lnTo>
                  <a:pt x="37" y="188"/>
                </a:lnTo>
                <a:lnTo>
                  <a:pt x="45" y="192"/>
                </a:lnTo>
                <a:lnTo>
                  <a:pt x="53" y="195"/>
                </a:lnTo>
                <a:lnTo>
                  <a:pt x="63" y="197"/>
                </a:lnTo>
                <a:lnTo>
                  <a:pt x="72" y="197"/>
                </a:lnTo>
                <a:lnTo>
                  <a:pt x="71" y="198"/>
                </a:lnTo>
                <a:lnTo>
                  <a:pt x="70" y="199"/>
                </a:lnTo>
                <a:lnTo>
                  <a:pt x="70" y="199"/>
                </a:lnTo>
                <a:lnTo>
                  <a:pt x="70" y="201"/>
                </a:lnTo>
                <a:lnTo>
                  <a:pt x="71" y="203"/>
                </a:lnTo>
                <a:lnTo>
                  <a:pt x="72" y="206"/>
                </a:lnTo>
                <a:lnTo>
                  <a:pt x="72" y="210"/>
                </a:lnTo>
                <a:lnTo>
                  <a:pt x="73" y="212"/>
                </a:lnTo>
                <a:lnTo>
                  <a:pt x="75" y="215"/>
                </a:lnTo>
                <a:lnTo>
                  <a:pt x="77" y="216"/>
                </a:lnTo>
                <a:lnTo>
                  <a:pt x="78" y="217"/>
                </a:lnTo>
                <a:lnTo>
                  <a:pt x="79" y="219"/>
                </a:lnTo>
                <a:lnTo>
                  <a:pt x="79" y="219"/>
                </a:lnTo>
                <a:lnTo>
                  <a:pt x="78" y="220"/>
                </a:lnTo>
                <a:lnTo>
                  <a:pt x="73" y="217"/>
                </a:lnTo>
                <a:lnTo>
                  <a:pt x="68" y="213"/>
                </a:lnTo>
                <a:lnTo>
                  <a:pt x="62" y="210"/>
                </a:lnTo>
                <a:lnTo>
                  <a:pt x="56" y="209"/>
                </a:lnTo>
                <a:lnTo>
                  <a:pt x="57" y="210"/>
                </a:lnTo>
                <a:lnTo>
                  <a:pt x="58" y="211"/>
                </a:lnTo>
                <a:lnTo>
                  <a:pt x="73" y="222"/>
                </a:lnTo>
                <a:lnTo>
                  <a:pt x="89" y="230"/>
                </a:lnTo>
                <a:lnTo>
                  <a:pt x="104" y="239"/>
                </a:lnTo>
                <a:lnTo>
                  <a:pt x="120" y="247"/>
                </a:lnTo>
                <a:lnTo>
                  <a:pt x="129" y="252"/>
                </a:lnTo>
                <a:lnTo>
                  <a:pt x="138" y="257"/>
                </a:lnTo>
                <a:lnTo>
                  <a:pt x="145" y="264"/>
                </a:lnTo>
                <a:lnTo>
                  <a:pt x="151" y="271"/>
                </a:lnTo>
                <a:lnTo>
                  <a:pt x="163" y="285"/>
                </a:lnTo>
                <a:lnTo>
                  <a:pt x="177" y="297"/>
                </a:lnTo>
                <a:lnTo>
                  <a:pt x="184" y="303"/>
                </a:lnTo>
                <a:lnTo>
                  <a:pt x="193" y="308"/>
                </a:lnTo>
                <a:lnTo>
                  <a:pt x="201" y="313"/>
                </a:lnTo>
                <a:lnTo>
                  <a:pt x="210" y="316"/>
                </a:lnTo>
                <a:lnTo>
                  <a:pt x="211" y="316"/>
                </a:lnTo>
                <a:lnTo>
                  <a:pt x="213" y="316"/>
                </a:lnTo>
                <a:lnTo>
                  <a:pt x="214" y="316"/>
                </a:lnTo>
                <a:lnTo>
                  <a:pt x="216" y="315"/>
                </a:lnTo>
                <a:lnTo>
                  <a:pt x="221" y="311"/>
                </a:lnTo>
                <a:lnTo>
                  <a:pt x="225" y="310"/>
                </a:lnTo>
                <a:lnTo>
                  <a:pt x="216" y="318"/>
                </a:lnTo>
                <a:lnTo>
                  <a:pt x="207" y="325"/>
                </a:lnTo>
                <a:lnTo>
                  <a:pt x="190" y="332"/>
                </a:lnTo>
                <a:lnTo>
                  <a:pt x="173" y="337"/>
                </a:lnTo>
                <a:lnTo>
                  <a:pt x="162" y="338"/>
                </a:lnTo>
                <a:lnTo>
                  <a:pt x="153" y="339"/>
                </a:lnTo>
                <a:lnTo>
                  <a:pt x="142" y="341"/>
                </a:lnTo>
                <a:lnTo>
                  <a:pt x="133" y="341"/>
                </a:lnTo>
                <a:lnTo>
                  <a:pt x="129" y="341"/>
                </a:lnTo>
                <a:lnTo>
                  <a:pt x="127" y="341"/>
                </a:lnTo>
                <a:lnTo>
                  <a:pt x="121" y="343"/>
                </a:lnTo>
                <a:lnTo>
                  <a:pt x="115" y="343"/>
                </a:lnTo>
                <a:lnTo>
                  <a:pt x="111" y="343"/>
                </a:lnTo>
                <a:lnTo>
                  <a:pt x="105" y="343"/>
                </a:lnTo>
                <a:lnTo>
                  <a:pt x="98" y="344"/>
                </a:lnTo>
                <a:lnTo>
                  <a:pt x="92" y="345"/>
                </a:lnTo>
                <a:lnTo>
                  <a:pt x="90" y="346"/>
                </a:lnTo>
                <a:lnTo>
                  <a:pt x="89" y="346"/>
                </a:lnTo>
                <a:lnTo>
                  <a:pt x="84" y="346"/>
                </a:lnTo>
                <a:lnTo>
                  <a:pt x="79" y="346"/>
                </a:lnTo>
                <a:lnTo>
                  <a:pt x="75" y="349"/>
                </a:lnTo>
                <a:lnTo>
                  <a:pt x="70" y="350"/>
                </a:lnTo>
                <a:lnTo>
                  <a:pt x="63" y="355"/>
                </a:lnTo>
                <a:lnTo>
                  <a:pt x="56" y="358"/>
                </a:lnTo>
                <a:lnTo>
                  <a:pt x="51" y="362"/>
                </a:lnTo>
                <a:lnTo>
                  <a:pt x="46" y="365"/>
                </a:lnTo>
                <a:lnTo>
                  <a:pt x="42" y="370"/>
                </a:lnTo>
                <a:lnTo>
                  <a:pt x="39" y="376"/>
                </a:lnTo>
                <a:lnTo>
                  <a:pt x="37" y="382"/>
                </a:lnTo>
                <a:lnTo>
                  <a:pt x="35" y="389"/>
                </a:lnTo>
                <a:lnTo>
                  <a:pt x="32" y="394"/>
                </a:lnTo>
                <a:lnTo>
                  <a:pt x="29" y="399"/>
                </a:lnTo>
                <a:lnTo>
                  <a:pt x="25" y="404"/>
                </a:lnTo>
                <a:lnTo>
                  <a:pt x="23" y="408"/>
                </a:lnTo>
                <a:lnTo>
                  <a:pt x="17" y="419"/>
                </a:lnTo>
                <a:lnTo>
                  <a:pt x="13" y="431"/>
                </a:lnTo>
                <a:lnTo>
                  <a:pt x="11" y="436"/>
                </a:lnTo>
                <a:lnTo>
                  <a:pt x="10" y="442"/>
                </a:lnTo>
                <a:lnTo>
                  <a:pt x="10" y="449"/>
                </a:lnTo>
                <a:lnTo>
                  <a:pt x="13" y="455"/>
                </a:lnTo>
                <a:lnTo>
                  <a:pt x="14" y="459"/>
                </a:lnTo>
                <a:lnTo>
                  <a:pt x="16" y="462"/>
                </a:lnTo>
                <a:lnTo>
                  <a:pt x="18" y="466"/>
                </a:lnTo>
                <a:lnTo>
                  <a:pt x="22" y="468"/>
                </a:lnTo>
                <a:lnTo>
                  <a:pt x="29" y="471"/>
                </a:lnTo>
                <a:lnTo>
                  <a:pt x="36" y="474"/>
                </a:lnTo>
                <a:lnTo>
                  <a:pt x="46" y="475"/>
                </a:lnTo>
                <a:lnTo>
                  <a:pt x="57" y="475"/>
                </a:lnTo>
                <a:lnTo>
                  <a:pt x="66" y="476"/>
                </a:lnTo>
                <a:lnTo>
                  <a:pt x="77" y="476"/>
                </a:lnTo>
                <a:lnTo>
                  <a:pt x="89" y="477"/>
                </a:lnTo>
                <a:lnTo>
                  <a:pt x="100" y="478"/>
                </a:lnTo>
                <a:lnTo>
                  <a:pt x="100" y="480"/>
                </a:lnTo>
                <a:lnTo>
                  <a:pt x="100" y="481"/>
                </a:lnTo>
                <a:lnTo>
                  <a:pt x="92" y="484"/>
                </a:lnTo>
                <a:lnTo>
                  <a:pt x="84" y="488"/>
                </a:lnTo>
                <a:lnTo>
                  <a:pt x="72" y="496"/>
                </a:lnTo>
                <a:lnTo>
                  <a:pt x="59" y="503"/>
                </a:lnTo>
                <a:lnTo>
                  <a:pt x="52" y="506"/>
                </a:lnTo>
                <a:lnTo>
                  <a:pt x="44" y="510"/>
                </a:lnTo>
                <a:lnTo>
                  <a:pt x="43" y="512"/>
                </a:lnTo>
                <a:lnTo>
                  <a:pt x="41" y="515"/>
                </a:lnTo>
                <a:lnTo>
                  <a:pt x="39" y="516"/>
                </a:lnTo>
                <a:lnTo>
                  <a:pt x="38" y="517"/>
                </a:lnTo>
                <a:lnTo>
                  <a:pt x="38" y="519"/>
                </a:lnTo>
                <a:lnTo>
                  <a:pt x="39" y="522"/>
                </a:lnTo>
                <a:lnTo>
                  <a:pt x="43" y="526"/>
                </a:lnTo>
                <a:lnTo>
                  <a:pt x="46" y="530"/>
                </a:lnTo>
                <a:lnTo>
                  <a:pt x="51" y="533"/>
                </a:lnTo>
                <a:lnTo>
                  <a:pt x="57" y="536"/>
                </a:lnTo>
                <a:lnTo>
                  <a:pt x="64" y="536"/>
                </a:lnTo>
                <a:lnTo>
                  <a:pt x="71" y="537"/>
                </a:lnTo>
                <a:lnTo>
                  <a:pt x="77" y="537"/>
                </a:lnTo>
                <a:lnTo>
                  <a:pt x="84" y="536"/>
                </a:lnTo>
                <a:lnTo>
                  <a:pt x="96" y="531"/>
                </a:lnTo>
                <a:lnTo>
                  <a:pt x="106" y="525"/>
                </a:lnTo>
                <a:lnTo>
                  <a:pt x="113" y="520"/>
                </a:lnTo>
                <a:lnTo>
                  <a:pt x="120" y="517"/>
                </a:lnTo>
                <a:lnTo>
                  <a:pt x="122" y="516"/>
                </a:lnTo>
                <a:lnTo>
                  <a:pt x="126" y="516"/>
                </a:lnTo>
                <a:lnTo>
                  <a:pt x="132" y="516"/>
                </a:lnTo>
                <a:lnTo>
                  <a:pt x="137" y="516"/>
                </a:lnTo>
                <a:lnTo>
                  <a:pt x="141" y="513"/>
                </a:lnTo>
                <a:lnTo>
                  <a:pt x="146" y="512"/>
                </a:lnTo>
                <a:lnTo>
                  <a:pt x="151" y="511"/>
                </a:lnTo>
                <a:lnTo>
                  <a:pt x="155" y="511"/>
                </a:lnTo>
                <a:lnTo>
                  <a:pt x="162" y="513"/>
                </a:lnTo>
                <a:lnTo>
                  <a:pt x="168" y="515"/>
                </a:lnTo>
                <a:lnTo>
                  <a:pt x="169" y="515"/>
                </a:lnTo>
                <a:lnTo>
                  <a:pt x="170" y="515"/>
                </a:lnTo>
                <a:lnTo>
                  <a:pt x="175" y="518"/>
                </a:lnTo>
                <a:lnTo>
                  <a:pt x="179" y="520"/>
                </a:lnTo>
                <a:lnTo>
                  <a:pt x="181" y="524"/>
                </a:lnTo>
                <a:lnTo>
                  <a:pt x="183" y="529"/>
                </a:lnTo>
                <a:lnTo>
                  <a:pt x="186" y="532"/>
                </a:lnTo>
                <a:lnTo>
                  <a:pt x="188" y="536"/>
                </a:lnTo>
                <a:lnTo>
                  <a:pt x="190" y="546"/>
                </a:lnTo>
                <a:lnTo>
                  <a:pt x="193" y="555"/>
                </a:lnTo>
                <a:lnTo>
                  <a:pt x="196" y="555"/>
                </a:lnTo>
                <a:lnTo>
                  <a:pt x="198" y="555"/>
                </a:lnTo>
                <a:lnTo>
                  <a:pt x="200" y="558"/>
                </a:lnTo>
                <a:lnTo>
                  <a:pt x="201" y="560"/>
                </a:lnTo>
                <a:lnTo>
                  <a:pt x="198" y="572"/>
                </a:lnTo>
                <a:lnTo>
                  <a:pt x="196" y="583"/>
                </a:lnTo>
                <a:lnTo>
                  <a:pt x="194" y="593"/>
                </a:lnTo>
                <a:lnTo>
                  <a:pt x="193" y="603"/>
                </a:lnTo>
                <a:lnTo>
                  <a:pt x="193" y="609"/>
                </a:lnTo>
                <a:lnTo>
                  <a:pt x="194" y="615"/>
                </a:lnTo>
                <a:lnTo>
                  <a:pt x="193" y="614"/>
                </a:lnTo>
                <a:lnTo>
                  <a:pt x="191" y="613"/>
                </a:lnTo>
                <a:lnTo>
                  <a:pt x="190" y="620"/>
                </a:lnTo>
                <a:lnTo>
                  <a:pt x="189" y="625"/>
                </a:lnTo>
                <a:lnTo>
                  <a:pt x="186" y="635"/>
                </a:lnTo>
                <a:lnTo>
                  <a:pt x="182" y="643"/>
                </a:lnTo>
                <a:lnTo>
                  <a:pt x="179" y="660"/>
                </a:lnTo>
                <a:lnTo>
                  <a:pt x="175" y="677"/>
                </a:lnTo>
                <a:lnTo>
                  <a:pt x="175" y="678"/>
                </a:lnTo>
                <a:lnTo>
                  <a:pt x="175" y="678"/>
                </a:lnTo>
                <a:lnTo>
                  <a:pt x="174" y="681"/>
                </a:lnTo>
                <a:lnTo>
                  <a:pt x="173" y="685"/>
                </a:lnTo>
                <a:lnTo>
                  <a:pt x="172" y="688"/>
                </a:lnTo>
                <a:lnTo>
                  <a:pt x="173" y="692"/>
                </a:lnTo>
                <a:lnTo>
                  <a:pt x="174" y="694"/>
                </a:lnTo>
                <a:lnTo>
                  <a:pt x="177" y="695"/>
                </a:lnTo>
                <a:lnTo>
                  <a:pt x="177" y="698"/>
                </a:lnTo>
                <a:lnTo>
                  <a:pt x="177" y="699"/>
                </a:lnTo>
                <a:lnTo>
                  <a:pt x="176" y="699"/>
                </a:lnTo>
                <a:lnTo>
                  <a:pt x="174" y="698"/>
                </a:lnTo>
                <a:lnTo>
                  <a:pt x="176" y="701"/>
                </a:lnTo>
                <a:lnTo>
                  <a:pt x="176" y="704"/>
                </a:lnTo>
                <a:lnTo>
                  <a:pt x="176" y="707"/>
                </a:lnTo>
                <a:lnTo>
                  <a:pt x="176" y="711"/>
                </a:lnTo>
                <a:lnTo>
                  <a:pt x="179" y="713"/>
                </a:lnTo>
                <a:lnTo>
                  <a:pt x="180" y="716"/>
                </a:lnTo>
                <a:lnTo>
                  <a:pt x="183" y="714"/>
                </a:lnTo>
                <a:lnTo>
                  <a:pt x="187" y="712"/>
                </a:lnTo>
                <a:lnTo>
                  <a:pt x="189" y="708"/>
                </a:lnTo>
                <a:lnTo>
                  <a:pt x="191" y="704"/>
                </a:lnTo>
                <a:lnTo>
                  <a:pt x="191" y="704"/>
                </a:lnTo>
                <a:lnTo>
                  <a:pt x="193" y="702"/>
                </a:lnTo>
                <a:lnTo>
                  <a:pt x="194" y="701"/>
                </a:lnTo>
                <a:lnTo>
                  <a:pt x="195" y="699"/>
                </a:lnTo>
                <a:lnTo>
                  <a:pt x="196" y="700"/>
                </a:lnTo>
                <a:lnTo>
                  <a:pt x="196" y="701"/>
                </a:lnTo>
                <a:lnTo>
                  <a:pt x="198" y="697"/>
                </a:lnTo>
                <a:lnTo>
                  <a:pt x="202" y="692"/>
                </a:lnTo>
                <a:lnTo>
                  <a:pt x="203" y="688"/>
                </a:lnTo>
                <a:lnTo>
                  <a:pt x="203" y="686"/>
                </a:lnTo>
                <a:lnTo>
                  <a:pt x="205" y="678"/>
                </a:lnTo>
                <a:lnTo>
                  <a:pt x="207" y="671"/>
                </a:lnTo>
                <a:lnTo>
                  <a:pt x="207" y="670"/>
                </a:lnTo>
                <a:lnTo>
                  <a:pt x="207" y="670"/>
                </a:lnTo>
                <a:lnTo>
                  <a:pt x="209" y="658"/>
                </a:lnTo>
                <a:lnTo>
                  <a:pt x="211" y="648"/>
                </a:lnTo>
                <a:lnTo>
                  <a:pt x="213" y="643"/>
                </a:lnTo>
                <a:lnTo>
                  <a:pt x="215" y="637"/>
                </a:lnTo>
                <a:lnTo>
                  <a:pt x="218" y="628"/>
                </a:lnTo>
                <a:lnTo>
                  <a:pt x="222" y="618"/>
                </a:lnTo>
                <a:lnTo>
                  <a:pt x="229" y="608"/>
                </a:lnTo>
                <a:lnTo>
                  <a:pt x="236" y="600"/>
                </a:lnTo>
                <a:lnTo>
                  <a:pt x="244" y="592"/>
                </a:lnTo>
                <a:lnTo>
                  <a:pt x="253" y="585"/>
                </a:lnTo>
                <a:lnTo>
                  <a:pt x="258" y="582"/>
                </a:lnTo>
                <a:lnTo>
                  <a:pt x="264" y="580"/>
                </a:lnTo>
                <a:lnTo>
                  <a:pt x="266" y="580"/>
                </a:lnTo>
                <a:lnTo>
                  <a:pt x="270" y="581"/>
                </a:lnTo>
                <a:lnTo>
                  <a:pt x="274" y="582"/>
                </a:lnTo>
                <a:lnTo>
                  <a:pt x="280" y="586"/>
                </a:lnTo>
                <a:lnTo>
                  <a:pt x="282" y="585"/>
                </a:lnTo>
                <a:lnTo>
                  <a:pt x="283" y="582"/>
                </a:lnTo>
                <a:lnTo>
                  <a:pt x="285" y="585"/>
                </a:lnTo>
                <a:lnTo>
                  <a:pt x="286" y="587"/>
                </a:lnTo>
                <a:lnTo>
                  <a:pt x="285" y="587"/>
                </a:lnTo>
                <a:lnTo>
                  <a:pt x="285" y="588"/>
                </a:lnTo>
                <a:lnTo>
                  <a:pt x="287" y="590"/>
                </a:lnTo>
                <a:lnTo>
                  <a:pt x="291" y="593"/>
                </a:lnTo>
                <a:lnTo>
                  <a:pt x="294" y="594"/>
                </a:lnTo>
                <a:lnTo>
                  <a:pt x="299" y="594"/>
                </a:lnTo>
                <a:lnTo>
                  <a:pt x="301" y="597"/>
                </a:lnTo>
                <a:lnTo>
                  <a:pt x="303" y="599"/>
                </a:lnTo>
                <a:lnTo>
                  <a:pt x="306" y="601"/>
                </a:lnTo>
                <a:lnTo>
                  <a:pt x="310" y="602"/>
                </a:lnTo>
                <a:lnTo>
                  <a:pt x="313" y="604"/>
                </a:lnTo>
                <a:lnTo>
                  <a:pt x="317" y="607"/>
                </a:lnTo>
                <a:lnTo>
                  <a:pt x="325" y="611"/>
                </a:lnTo>
                <a:lnTo>
                  <a:pt x="332" y="616"/>
                </a:lnTo>
                <a:lnTo>
                  <a:pt x="334" y="617"/>
                </a:lnTo>
                <a:lnTo>
                  <a:pt x="335" y="618"/>
                </a:lnTo>
                <a:lnTo>
                  <a:pt x="338" y="617"/>
                </a:lnTo>
                <a:lnTo>
                  <a:pt x="339" y="617"/>
                </a:lnTo>
                <a:lnTo>
                  <a:pt x="343" y="618"/>
                </a:lnTo>
                <a:lnTo>
                  <a:pt x="347" y="621"/>
                </a:lnTo>
                <a:lnTo>
                  <a:pt x="348" y="621"/>
                </a:lnTo>
                <a:lnTo>
                  <a:pt x="351" y="621"/>
                </a:lnTo>
                <a:lnTo>
                  <a:pt x="353" y="622"/>
                </a:lnTo>
                <a:lnTo>
                  <a:pt x="356" y="624"/>
                </a:lnTo>
                <a:lnTo>
                  <a:pt x="362" y="628"/>
                </a:lnTo>
                <a:lnTo>
                  <a:pt x="368" y="632"/>
                </a:lnTo>
                <a:lnTo>
                  <a:pt x="372" y="634"/>
                </a:lnTo>
                <a:lnTo>
                  <a:pt x="374" y="636"/>
                </a:lnTo>
                <a:lnTo>
                  <a:pt x="377" y="637"/>
                </a:lnTo>
                <a:lnTo>
                  <a:pt x="380" y="638"/>
                </a:lnTo>
                <a:lnTo>
                  <a:pt x="384" y="642"/>
                </a:lnTo>
                <a:lnTo>
                  <a:pt x="390" y="645"/>
                </a:lnTo>
                <a:lnTo>
                  <a:pt x="393" y="648"/>
                </a:lnTo>
                <a:lnTo>
                  <a:pt x="394" y="650"/>
                </a:lnTo>
                <a:lnTo>
                  <a:pt x="394" y="653"/>
                </a:lnTo>
                <a:lnTo>
                  <a:pt x="393" y="657"/>
                </a:lnTo>
                <a:lnTo>
                  <a:pt x="391" y="662"/>
                </a:lnTo>
                <a:lnTo>
                  <a:pt x="390" y="666"/>
                </a:lnTo>
                <a:lnTo>
                  <a:pt x="390" y="674"/>
                </a:lnTo>
                <a:lnTo>
                  <a:pt x="389" y="681"/>
                </a:lnTo>
                <a:lnTo>
                  <a:pt x="388" y="693"/>
                </a:lnTo>
                <a:lnTo>
                  <a:pt x="388" y="705"/>
                </a:lnTo>
                <a:lnTo>
                  <a:pt x="388" y="720"/>
                </a:lnTo>
                <a:lnTo>
                  <a:pt x="388" y="734"/>
                </a:lnTo>
                <a:lnTo>
                  <a:pt x="388" y="747"/>
                </a:lnTo>
                <a:lnTo>
                  <a:pt x="388" y="760"/>
                </a:lnTo>
                <a:lnTo>
                  <a:pt x="388" y="767"/>
                </a:lnTo>
                <a:lnTo>
                  <a:pt x="389" y="772"/>
                </a:lnTo>
                <a:lnTo>
                  <a:pt x="389" y="781"/>
                </a:lnTo>
                <a:lnTo>
                  <a:pt x="388" y="789"/>
                </a:lnTo>
                <a:lnTo>
                  <a:pt x="388" y="803"/>
                </a:lnTo>
                <a:lnTo>
                  <a:pt x="388" y="816"/>
                </a:lnTo>
                <a:lnTo>
                  <a:pt x="389" y="821"/>
                </a:lnTo>
                <a:lnTo>
                  <a:pt x="390" y="826"/>
                </a:lnTo>
                <a:lnTo>
                  <a:pt x="391" y="831"/>
                </a:lnTo>
                <a:lnTo>
                  <a:pt x="391" y="837"/>
                </a:lnTo>
                <a:lnTo>
                  <a:pt x="393" y="847"/>
                </a:lnTo>
                <a:lnTo>
                  <a:pt x="394" y="858"/>
                </a:lnTo>
                <a:lnTo>
                  <a:pt x="395" y="868"/>
                </a:lnTo>
                <a:lnTo>
                  <a:pt x="396" y="879"/>
                </a:lnTo>
                <a:lnTo>
                  <a:pt x="398" y="887"/>
                </a:lnTo>
                <a:lnTo>
                  <a:pt x="401" y="896"/>
                </a:lnTo>
                <a:lnTo>
                  <a:pt x="401" y="897"/>
                </a:lnTo>
                <a:lnTo>
                  <a:pt x="401" y="897"/>
                </a:lnTo>
                <a:lnTo>
                  <a:pt x="404" y="905"/>
                </a:lnTo>
                <a:lnTo>
                  <a:pt x="405" y="912"/>
                </a:lnTo>
                <a:lnTo>
                  <a:pt x="407" y="921"/>
                </a:lnTo>
                <a:lnTo>
                  <a:pt x="407" y="928"/>
                </a:lnTo>
                <a:lnTo>
                  <a:pt x="407" y="939"/>
                </a:lnTo>
                <a:lnTo>
                  <a:pt x="408" y="951"/>
                </a:lnTo>
                <a:lnTo>
                  <a:pt x="408" y="963"/>
                </a:lnTo>
                <a:lnTo>
                  <a:pt x="409" y="973"/>
                </a:lnTo>
                <a:lnTo>
                  <a:pt x="411" y="982"/>
                </a:lnTo>
                <a:lnTo>
                  <a:pt x="414" y="992"/>
                </a:lnTo>
                <a:lnTo>
                  <a:pt x="416" y="1001"/>
                </a:lnTo>
                <a:lnTo>
                  <a:pt x="417" y="1009"/>
                </a:lnTo>
                <a:lnTo>
                  <a:pt x="419" y="1021"/>
                </a:lnTo>
                <a:lnTo>
                  <a:pt x="422" y="1033"/>
                </a:lnTo>
                <a:lnTo>
                  <a:pt x="423" y="1042"/>
                </a:lnTo>
                <a:lnTo>
                  <a:pt x="425" y="1050"/>
                </a:lnTo>
                <a:lnTo>
                  <a:pt x="427" y="1059"/>
                </a:lnTo>
                <a:lnTo>
                  <a:pt x="428" y="1069"/>
                </a:lnTo>
                <a:lnTo>
                  <a:pt x="429" y="1079"/>
                </a:lnTo>
                <a:lnTo>
                  <a:pt x="428" y="1090"/>
                </a:lnTo>
                <a:lnTo>
                  <a:pt x="428" y="1104"/>
                </a:lnTo>
                <a:lnTo>
                  <a:pt x="428" y="1119"/>
                </a:lnTo>
                <a:lnTo>
                  <a:pt x="428" y="1123"/>
                </a:lnTo>
                <a:lnTo>
                  <a:pt x="428" y="1126"/>
                </a:lnTo>
                <a:lnTo>
                  <a:pt x="431" y="1135"/>
                </a:lnTo>
                <a:lnTo>
                  <a:pt x="434" y="1145"/>
                </a:lnTo>
                <a:lnTo>
                  <a:pt x="436" y="1148"/>
                </a:lnTo>
                <a:lnTo>
                  <a:pt x="437" y="1149"/>
                </a:lnTo>
                <a:lnTo>
                  <a:pt x="439" y="1151"/>
                </a:lnTo>
                <a:lnTo>
                  <a:pt x="441" y="1153"/>
                </a:lnTo>
                <a:lnTo>
                  <a:pt x="442" y="1155"/>
                </a:lnTo>
                <a:lnTo>
                  <a:pt x="442" y="1156"/>
                </a:lnTo>
                <a:lnTo>
                  <a:pt x="444" y="1169"/>
                </a:lnTo>
                <a:lnTo>
                  <a:pt x="445" y="1182"/>
                </a:lnTo>
                <a:lnTo>
                  <a:pt x="448" y="1195"/>
                </a:lnTo>
                <a:lnTo>
                  <a:pt x="449" y="1208"/>
                </a:lnTo>
                <a:lnTo>
                  <a:pt x="450" y="1224"/>
                </a:lnTo>
                <a:lnTo>
                  <a:pt x="451" y="1239"/>
                </a:lnTo>
                <a:lnTo>
                  <a:pt x="452" y="1254"/>
                </a:lnTo>
                <a:lnTo>
                  <a:pt x="452" y="1271"/>
                </a:lnTo>
                <a:lnTo>
                  <a:pt x="452" y="1271"/>
                </a:lnTo>
                <a:lnTo>
                  <a:pt x="452" y="1272"/>
                </a:lnTo>
                <a:lnTo>
                  <a:pt x="453" y="1277"/>
                </a:lnTo>
                <a:lnTo>
                  <a:pt x="453" y="1281"/>
                </a:lnTo>
                <a:lnTo>
                  <a:pt x="453" y="1287"/>
                </a:lnTo>
                <a:lnTo>
                  <a:pt x="452" y="1292"/>
                </a:lnTo>
                <a:lnTo>
                  <a:pt x="450" y="1309"/>
                </a:lnTo>
                <a:lnTo>
                  <a:pt x="449" y="1327"/>
                </a:lnTo>
                <a:lnTo>
                  <a:pt x="449" y="1328"/>
                </a:lnTo>
                <a:lnTo>
                  <a:pt x="449" y="1329"/>
                </a:lnTo>
                <a:lnTo>
                  <a:pt x="448" y="1334"/>
                </a:lnTo>
                <a:lnTo>
                  <a:pt x="446" y="1338"/>
                </a:lnTo>
                <a:lnTo>
                  <a:pt x="443" y="1349"/>
                </a:lnTo>
                <a:lnTo>
                  <a:pt x="438" y="1359"/>
                </a:lnTo>
                <a:lnTo>
                  <a:pt x="434" y="1370"/>
                </a:lnTo>
                <a:lnTo>
                  <a:pt x="429" y="1380"/>
                </a:lnTo>
                <a:lnTo>
                  <a:pt x="425" y="1391"/>
                </a:lnTo>
                <a:lnTo>
                  <a:pt x="422" y="1401"/>
                </a:lnTo>
                <a:lnTo>
                  <a:pt x="418" y="1412"/>
                </a:lnTo>
                <a:lnTo>
                  <a:pt x="415" y="1422"/>
                </a:lnTo>
                <a:lnTo>
                  <a:pt x="415" y="1427"/>
                </a:lnTo>
                <a:lnTo>
                  <a:pt x="416" y="1431"/>
                </a:lnTo>
                <a:lnTo>
                  <a:pt x="419" y="1434"/>
                </a:lnTo>
                <a:lnTo>
                  <a:pt x="423" y="1435"/>
                </a:lnTo>
                <a:lnTo>
                  <a:pt x="429" y="1436"/>
                </a:lnTo>
                <a:lnTo>
                  <a:pt x="435" y="1436"/>
                </a:lnTo>
                <a:lnTo>
                  <a:pt x="439" y="1436"/>
                </a:lnTo>
                <a:lnTo>
                  <a:pt x="445" y="1435"/>
                </a:lnTo>
                <a:lnTo>
                  <a:pt x="448" y="1435"/>
                </a:lnTo>
                <a:lnTo>
                  <a:pt x="450" y="1435"/>
                </a:lnTo>
                <a:lnTo>
                  <a:pt x="455" y="1439"/>
                </a:lnTo>
                <a:lnTo>
                  <a:pt x="460" y="1439"/>
                </a:lnTo>
                <a:lnTo>
                  <a:pt x="465" y="1440"/>
                </a:lnTo>
                <a:lnTo>
                  <a:pt x="471" y="1440"/>
                </a:lnTo>
                <a:lnTo>
                  <a:pt x="472" y="1440"/>
                </a:lnTo>
                <a:lnTo>
                  <a:pt x="474" y="1440"/>
                </a:lnTo>
                <a:lnTo>
                  <a:pt x="486" y="1434"/>
                </a:lnTo>
                <a:lnTo>
                  <a:pt x="499" y="1428"/>
                </a:lnTo>
                <a:lnTo>
                  <a:pt x="506" y="1424"/>
                </a:lnTo>
                <a:lnTo>
                  <a:pt x="511" y="1418"/>
                </a:lnTo>
                <a:lnTo>
                  <a:pt x="513" y="1414"/>
                </a:lnTo>
                <a:lnTo>
                  <a:pt x="514" y="1411"/>
                </a:lnTo>
                <a:lnTo>
                  <a:pt x="514" y="1407"/>
                </a:lnTo>
                <a:lnTo>
                  <a:pt x="514" y="1403"/>
                </a:lnTo>
                <a:lnTo>
                  <a:pt x="511" y="1387"/>
                </a:lnTo>
                <a:lnTo>
                  <a:pt x="507" y="1372"/>
                </a:lnTo>
                <a:lnTo>
                  <a:pt x="505" y="1369"/>
                </a:lnTo>
                <a:lnTo>
                  <a:pt x="503" y="1364"/>
                </a:lnTo>
                <a:lnTo>
                  <a:pt x="503" y="1364"/>
                </a:lnTo>
                <a:lnTo>
                  <a:pt x="501" y="1364"/>
                </a:lnTo>
                <a:lnTo>
                  <a:pt x="500" y="1368"/>
                </a:lnTo>
                <a:lnTo>
                  <a:pt x="499" y="1369"/>
                </a:lnTo>
                <a:lnTo>
                  <a:pt x="497" y="1369"/>
                </a:lnTo>
                <a:lnTo>
                  <a:pt x="494" y="1368"/>
                </a:lnTo>
                <a:lnTo>
                  <a:pt x="494" y="1370"/>
                </a:lnTo>
                <a:lnTo>
                  <a:pt x="494" y="1372"/>
                </a:lnTo>
                <a:lnTo>
                  <a:pt x="488" y="1369"/>
                </a:lnTo>
                <a:lnTo>
                  <a:pt x="486" y="1365"/>
                </a:lnTo>
                <a:lnTo>
                  <a:pt x="484" y="1362"/>
                </a:lnTo>
                <a:lnTo>
                  <a:pt x="483" y="1357"/>
                </a:lnTo>
                <a:lnTo>
                  <a:pt x="485" y="1358"/>
                </a:lnTo>
                <a:lnTo>
                  <a:pt x="486" y="1359"/>
                </a:lnTo>
                <a:lnTo>
                  <a:pt x="487" y="1358"/>
                </a:lnTo>
                <a:lnTo>
                  <a:pt x="487" y="1358"/>
                </a:lnTo>
                <a:lnTo>
                  <a:pt x="485" y="1356"/>
                </a:lnTo>
                <a:lnTo>
                  <a:pt x="483" y="1355"/>
                </a:lnTo>
                <a:lnTo>
                  <a:pt x="486" y="1354"/>
                </a:lnTo>
                <a:lnTo>
                  <a:pt x="490" y="1352"/>
                </a:lnTo>
                <a:lnTo>
                  <a:pt x="488" y="1344"/>
                </a:lnTo>
                <a:lnTo>
                  <a:pt x="487" y="1337"/>
                </a:lnTo>
                <a:lnTo>
                  <a:pt x="484" y="1336"/>
                </a:lnTo>
                <a:lnTo>
                  <a:pt x="483" y="1335"/>
                </a:lnTo>
                <a:lnTo>
                  <a:pt x="484" y="1333"/>
                </a:lnTo>
                <a:lnTo>
                  <a:pt x="485" y="1328"/>
                </a:lnTo>
                <a:lnTo>
                  <a:pt x="481" y="1320"/>
                </a:lnTo>
                <a:lnTo>
                  <a:pt x="479" y="1314"/>
                </a:lnTo>
                <a:lnTo>
                  <a:pt x="478" y="1310"/>
                </a:lnTo>
                <a:lnTo>
                  <a:pt x="477" y="1307"/>
                </a:lnTo>
                <a:lnTo>
                  <a:pt x="474" y="1302"/>
                </a:lnTo>
                <a:lnTo>
                  <a:pt x="472" y="1298"/>
                </a:lnTo>
                <a:lnTo>
                  <a:pt x="471" y="1291"/>
                </a:lnTo>
                <a:lnTo>
                  <a:pt x="470" y="1282"/>
                </a:lnTo>
                <a:lnTo>
                  <a:pt x="470" y="1280"/>
                </a:lnTo>
                <a:lnTo>
                  <a:pt x="470" y="1278"/>
                </a:lnTo>
                <a:lnTo>
                  <a:pt x="471" y="1272"/>
                </a:lnTo>
                <a:lnTo>
                  <a:pt x="473" y="1267"/>
                </a:lnTo>
                <a:lnTo>
                  <a:pt x="474" y="1267"/>
                </a:lnTo>
                <a:lnTo>
                  <a:pt x="477" y="1267"/>
                </a:lnTo>
                <a:lnTo>
                  <a:pt x="476" y="1263"/>
                </a:lnTo>
                <a:lnTo>
                  <a:pt x="474" y="1258"/>
                </a:lnTo>
                <a:lnTo>
                  <a:pt x="474" y="1256"/>
                </a:lnTo>
                <a:lnTo>
                  <a:pt x="474" y="1253"/>
                </a:lnTo>
                <a:lnTo>
                  <a:pt x="476" y="1250"/>
                </a:lnTo>
                <a:lnTo>
                  <a:pt x="476" y="1247"/>
                </a:lnTo>
                <a:lnTo>
                  <a:pt x="473" y="1244"/>
                </a:lnTo>
                <a:lnTo>
                  <a:pt x="471" y="1240"/>
                </a:lnTo>
                <a:lnTo>
                  <a:pt x="474" y="1243"/>
                </a:lnTo>
                <a:lnTo>
                  <a:pt x="478" y="1243"/>
                </a:lnTo>
                <a:lnTo>
                  <a:pt x="480" y="1242"/>
                </a:lnTo>
                <a:lnTo>
                  <a:pt x="483" y="1239"/>
                </a:lnTo>
                <a:lnTo>
                  <a:pt x="478" y="1230"/>
                </a:lnTo>
                <a:lnTo>
                  <a:pt x="473" y="1222"/>
                </a:lnTo>
                <a:lnTo>
                  <a:pt x="476" y="1219"/>
                </a:lnTo>
                <a:lnTo>
                  <a:pt x="477" y="1217"/>
                </a:lnTo>
                <a:lnTo>
                  <a:pt x="478" y="1217"/>
                </a:lnTo>
                <a:lnTo>
                  <a:pt x="479" y="1218"/>
                </a:lnTo>
                <a:lnTo>
                  <a:pt x="479" y="1215"/>
                </a:lnTo>
                <a:lnTo>
                  <a:pt x="479" y="1212"/>
                </a:lnTo>
                <a:lnTo>
                  <a:pt x="479" y="1211"/>
                </a:lnTo>
                <a:lnTo>
                  <a:pt x="479" y="1211"/>
                </a:lnTo>
                <a:lnTo>
                  <a:pt x="480" y="1212"/>
                </a:lnTo>
                <a:lnTo>
                  <a:pt x="483" y="1215"/>
                </a:lnTo>
                <a:lnTo>
                  <a:pt x="484" y="1208"/>
                </a:lnTo>
                <a:lnTo>
                  <a:pt x="484" y="1201"/>
                </a:lnTo>
                <a:lnTo>
                  <a:pt x="484" y="1201"/>
                </a:lnTo>
                <a:lnTo>
                  <a:pt x="484" y="1200"/>
                </a:lnTo>
                <a:lnTo>
                  <a:pt x="485" y="1189"/>
                </a:lnTo>
                <a:lnTo>
                  <a:pt x="485" y="1179"/>
                </a:lnTo>
                <a:lnTo>
                  <a:pt x="484" y="1168"/>
                </a:lnTo>
                <a:lnTo>
                  <a:pt x="481" y="1158"/>
                </a:lnTo>
                <a:lnTo>
                  <a:pt x="483" y="1158"/>
                </a:lnTo>
                <a:lnTo>
                  <a:pt x="483" y="1159"/>
                </a:lnTo>
                <a:lnTo>
                  <a:pt x="485" y="1156"/>
                </a:lnTo>
                <a:lnTo>
                  <a:pt x="488" y="1153"/>
                </a:lnTo>
                <a:lnTo>
                  <a:pt x="490" y="1152"/>
                </a:lnTo>
                <a:lnTo>
                  <a:pt x="491" y="1149"/>
                </a:lnTo>
                <a:lnTo>
                  <a:pt x="492" y="1146"/>
                </a:lnTo>
                <a:lnTo>
                  <a:pt x="493" y="1142"/>
                </a:lnTo>
                <a:lnTo>
                  <a:pt x="498" y="1128"/>
                </a:lnTo>
                <a:lnTo>
                  <a:pt x="501" y="1114"/>
                </a:lnTo>
                <a:lnTo>
                  <a:pt x="503" y="1109"/>
                </a:lnTo>
                <a:lnTo>
                  <a:pt x="504" y="1104"/>
                </a:lnTo>
                <a:lnTo>
                  <a:pt x="506" y="1100"/>
                </a:lnTo>
                <a:lnTo>
                  <a:pt x="505" y="1097"/>
                </a:lnTo>
                <a:lnTo>
                  <a:pt x="501" y="1083"/>
                </a:lnTo>
                <a:lnTo>
                  <a:pt x="498" y="1069"/>
                </a:lnTo>
                <a:lnTo>
                  <a:pt x="497" y="1054"/>
                </a:lnTo>
                <a:lnTo>
                  <a:pt x="497" y="1038"/>
                </a:lnTo>
                <a:lnTo>
                  <a:pt x="496" y="1029"/>
                </a:lnTo>
                <a:lnTo>
                  <a:pt x="496" y="1019"/>
                </a:lnTo>
                <a:lnTo>
                  <a:pt x="497" y="1008"/>
                </a:lnTo>
                <a:lnTo>
                  <a:pt x="499" y="996"/>
                </a:lnTo>
                <a:lnTo>
                  <a:pt x="499" y="992"/>
                </a:lnTo>
                <a:lnTo>
                  <a:pt x="500" y="986"/>
                </a:lnTo>
                <a:lnTo>
                  <a:pt x="503" y="979"/>
                </a:lnTo>
                <a:lnTo>
                  <a:pt x="505" y="972"/>
                </a:lnTo>
                <a:lnTo>
                  <a:pt x="505" y="963"/>
                </a:lnTo>
                <a:lnTo>
                  <a:pt x="507" y="953"/>
                </a:lnTo>
                <a:lnTo>
                  <a:pt x="508" y="944"/>
                </a:lnTo>
                <a:lnTo>
                  <a:pt x="507" y="935"/>
                </a:lnTo>
                <a:lnTo>
                  <a:pt x="507" y="924"/>
                </a:lnTo>
                <a:lnTo>
                  <a:pt x="507" y="914"/>
                </a:lnTo>
                <a:lnTo>
                  <a:pt x="510" y="908"/>
                </a:lnTo>
                <a:lnTo>
                  <a:pt x="512" y="902"/>
                </a:lnTo>
                <a:lnTo>
                  <a:pt x="513" y="898"/>
                </a:lnTo>
                <a:lnTo>
                  <a:pt x="517" y="895"/>
                </a:lnTo>
                <a:lnTo>
                  <a:pt x="519" y="893"/>
                </a:lnTo>
                <a:lnTo>
                  <a:pt x="522" y="890"/>
                </a:lnTo>
                <a:lnTo>
                  <a:pt x="524" y="889"/>
                </a:lnTo>
                <a:lnTo>
                  <a:pt x="525" y="889"/>
                </a:lnTo>
                <a:lnTo>
                  <a:pt x="532" y="890"/>
                </a:lnTo>
                <a:lnTo>
                  <a:pt x="539" y="891"/>
                </a:lnTo>
                <a:lnTo>
                  <a:pt x="541" y="891"/>
                </a:lnTo>
                <a:lnTo>
                  <a:pt x="543" y="891"/>
                </a:lnTo>
                <a:lnTo>
                  <a:pt x="549" y="895"/>
                </a:lnTo>
                <a:lnTo>
                  <a:pt x="556" y="897"/>
                </a:lnTo>
                <a:lnTo>
                  <a:pt x="561" y="902"/>
                </a:lnTo>
                <a:lnTo>
                  <a:pt x="564" y="907"/>
                </a:lnTo>
                <a:lnTo>
                  <a:pt x="566" y="911"/>
                </a:lnTo>
                <a:lnTo>
                  <a:pt x="567" y="916"/>
                </a:lnTo>
                <a:lnTo>
                  <a:pt x="568" y="918"/>
                </a:lnTo>
                <a:lnTo>
                  <a:pt x="569" y="919"/>
                </a:lnTo>
                <a:lnTo>
                  <a:pt x="569" y="925"/>
                </a:lnTo>
                <a:lnTo>
                  <a:pt x="569" y="931"/>
                </a:lnTo>
                <a:lnTo>
                  <a:pt x="569" y="933"/>
                </a:lnTo>
                <a:lnTo>
                  <a:pt x="569" y="935"/>
                </a:lnTo>
                <a:lnTo>
                  <a:pt x="569" y="943"/>
                </a:lnTo>
                <a:lnTo>
                  <a:pt x="568" y="950"/>
                </a:lnTo>
                <a:lnTo>
                  <a:pt x="568" y="952"/>
                </a:lnTo>
                <a:lnTo>
                  <a:pt x="567" y="954"/>
                </a:lnTo>
                <a:lnTo>
                  <a:pt x="567" y="956"/>
                </a:lnTo>
                <a:lnTo>
                  <a:pt x="567" y="956"/>
                </a:lnTo>
                <a:lnTo>
                  <a:pt x="568" y="963"/>
                </a:lnTo>
                <a:lnTo>
                  <a:pt x="570" y="970"/>
                </a:lnTo>
                <a:lnTo>
                  <a:pt x="569" y="974"/>
                </a:lnTo>
                <a:lnTo>
                  <a:pt x="570" y="979"/>
                </a:lnTo>
                <a:lnTo>
                  <a:pt x="573" y="984"/>
                </a:lnTo>
                <a:lnTo>
                  <a:pt x="574" y="988"/>
                </a:lnTo>
                <a:lnTo>
                  <a:pt x="575" y="996"/>
                </a:lnTo>
                <a:lnTo>
                  <a:pt x="579" y="1005"/>
                </a:lnTo>
                <a:lnTo>
                  <a:pt x="580" y="1005"/>
                </a:lnTo>
                <a:lnTo>
                  <a:pt x="581" y="1006"/>
                </a:lnTo>
                <a:lnTo>
                  <a:pt x="580" y="1010"/>
                </a:lnTo>
                <a:lnTo>
                  <a:pt x="580" y="1015"/>
                </a:lnTo>
                <a:lnTo>
                  <a:pt x="582" y="1023"/>
                </a:lnTo>
                <a:lnTo>
                  <a:pt x="584" y="1030"/>
                </a:lnTo>
                <a:lnTo>
                  <a:pt x="587" y="1043"/>
                </a:lnTo>
                <a:lnTo>
                  <a:pt x="588" y="1055"/>
                </a:lnTo>
                <a:lnTo>
                  <a:pt x="589" y="1062"/>
                </a:lnTo>
                <a:lnTo>
                  <a:pt x="589" y="1070"/>
                </a:lnTo>
                <a:lnTo>
                  <a:pt x="589" y="1082"/>
                </a:lnTo>
                <a:lnTo>
                  <a:pt x="589" y="1095"/>
                </a:lnTo>
                <a:lnTo>
                  <a:pt x="588" y="1106"/>
                </a:lnTo>
                <a:lnTo>
                  <a:pt x="589" y="1118"/>
                </a:lnTo>
                <a:lnTo>
                  <a:pt x="593" y="1132"/>
                </a:lnTo>
                <a:lnTo>
                  <a:pt x="597" y="1146"/>
                </a:lnTo>
                <a:lnTo>
                  <a:pt x="598" y="1149"/>
                </a:lnTo>
                <a:lnTo>
                  <a:pt x="600" y="1153"/>
                </a:lnTo>
                <a:lnTo>
                  <a:pt x="603" y="1155"/>
                </a:lnTo>
                <a:lnTo>
                  <a:pt x="607" y="1158"/>
                </a:lnTo>
                <a:lnTo>
                  <a:pt x="607" y="1160"/>
                </a:lnTo>
                <a:lnTo>
                  <a:pt x="608" y="1163"/>
                </a:lnTo>
                <a:lnTo>
                  <a:pt x="609" y="1162"/>
                </a:lnTo>
                <a:lnTo>
                  <a:pt x="609" y="1161"/>
                </a:lnTo>
                <a:lnTo>
                  <a:pt x="610" y="1165"/>
                </a:lnTo>
                <a:lnTo>
                  <a:pt x="611" y="1169"/>
                </a:lnTo>
                <a:lnTo>
                  <a:pt x="611" y="1173"/>
                </a:lnTo>
                <a:lnTo>
                  <a:pt x="609" y="1177"/>
                </a:lnTo>
                <a:lnTo>
                  <a:pt x="609" y="1177"/>
                </a:lnTo>
                <a:lnTo>
                  <a:pt x="609" y="1177"/>
                </a:lnTo>
                <a:lnTo>
                  <a:pt x="608" y="1189"/>
                </a:lnTo>
                <a:lnTo>
                  <a:pt x="607" y="1201"/>
                </a:lnTo>
                <a:lnTo>
                  <a:pt x="605" y="1203"/>
                </a:lnTo>
                <a:lnTo>
                  <a:pt x="604" y="1204"/>
                </a:lnTo>
                <a:lnTo>
                  <a:pt x="603" y="1207"/>
                </a:lnTo>
                <a:lnTo>
                  <a:pt x="603" y="1209"/>
                </a:lnTo>
                <a:lnTo>
                  <a:pt x="603" y="1211"/>
                </a:lnTo>
                <a:lnTo>
                  <a:pt x="604" y="1215"/>
                </a:lnTo>
                <a:lnTo>
                  <a:pt x="607" y="1218"/>
                </a:lnTo>
                <a:lnTo>
                  <a:pt x="609" y="1223"/>
                </a:lnTo>
                <a:lnTo>
                  <a:pt x="609" y="1228"/>
                </a:lnTo>
                <a:lnTo>
                  <a:pt x="607" y="1233"/>
                </a:lnTo>
                <a:lnTo>
                  <a:pt x="610" y="1231"/>
                </a:lnTo>
                <a:lnTo>
                  <a:pt x="612" y="1230"/>
                </a:lnTo>
                <a:lnTo>
                  <a:pt x="611" y="1235"/>
                </a:lnTo>
                <a:lnTo>
                  <a:pt x="610" y="1239"/>
                </a:lnTo>
                <a:lnTo>
                  <a:pt x="610" y="1243"/>
                </a:lnTo>
                <a:lnTo>
                  <a:pt x="610" y="1247"/>
                </a:lnTo>
                <a:lnTo>
                  <a:pt x="610" y="1251"/>
                </a:lnTo>
                <a:lnTo>
                  <a:pt x="610" y="1254"/>
                </a:lnTo>
                <a:lnTo>
                  <a:pt x="609" y="1259"/>
                </a:lnTo>
                <a:lnTo>
                  <a:pt x="607" y="1263"/>
                </a:lnTo>
                <a:lnTo>
                  <a:pt x="605" y="1266"/>
                </a:lnTo>
                <a:lnTo>
                  <a:pt x="607" y="1271"/>
                </a:lnTo>
                <a:lnTo>
                  <a:pt x="608" y="1277"/>
                </a:lnTo>
                <a:lnTo>
                  <a:pt x="609" y="1281"/>
                </a:lnTo>
                <a:lnTo>
                  <a:pt x="609" y="1292"/>
                </a:lnTo>
                <a:lnTo>
                  <a:pt x="608" y="1301"/>
                </a:lnTo>
                <a:lnTo>
                  <a:pt x="607" y="1307"/>
                </a:lnTo>
                <a:lnTo>
                  <a:pt x="608" y="1313"/>
                </a:lnTo>
                <a:lnTo>
                  <a:pt x="609" y="1315"/>
                </a:lnTo>
                <a:lnTo>
                  <a:pt x="609" y="1316"/>
                </a:lnTo>
                <a:lnTo>
                  <a:pt x="609" y="1319"/>
                </a:lnTo>
                <a:lnTo>
                  <a:pt x="608" y="1320"/>
                </a:lnTo>
                <a:lnTo>
                  <a:pt x="602" y="1329"/>
                </a:lnTo>
                <a:lnTo>
                  <a:pt x="598" y="1340"/>
                </a:lnTo>
                <a:lnTo>
                  <a:pt x="595" y="1351"/>
                </a:lnTo>
                <a:lnTo>
                  <a:pt x="591" y="1362"/>
                </a:lnTo>
                <a:lnTo>
                  <a:pt x="591" y="1363"/>
                </a:lnTo>
                <a:lnTo>
                  <a:pt x="591" y="1365"/>
                </a:lnTo>
                <a:lnTo>
                  <a:pt x="590" y="1371"/>
                </a:lnTo>
                <a:lnTo>
                  <a:pt x="589" y="1376"/>
                </a:lnTo>
                <a:lnTo>
                  <a:pt x="584" y="1385"/>
                </a:lnTo>
                <a:lnTo>
                  <a:pt x="580" y="1394"/>
                </a:lnTo>
                <a:lnTo>
                  <a:pt x="575" y="1403"/>
                </a:lnTo>
                <a:lnTo>
                  <a:pt x="572" y="1413"/>
                </a:lnTo>
                <a:lnTo>
                  <a:pt x="568" y="1422"/>
                </a:lnTo>
                <a:lnTo>
                  <a:pt x="566" y="1431"/>
                </a:lnTo>
                <a:lnTo>
                  <a:pt x="563" y="1440"/>
                </a:lnTo>
                <a:lnTo>
                  <a:pt x="564" y="1450"/>
                </a:lnTo>
                <a:lnTo>
                  <a:pt x="566" y="1453"/>
                </a:lnTo>
                <a:lnTo>
                  <a:pt x="568" y="1455"/>
                </a:lnTo>
                <a:lnTo>
                  <a:pt x="573" y="1457"/>
                </a:lnTo>
                <a:lnTo>
                  <a:pt x="579" y="1459"/>
                </a:lnTo>
                <a:lnTo>
                  <a:pt x="584" y="1459"/>
                </a:lnTo>
                <a:lnTo>
                  <a:pt x="590" y="1457"/>
                </a:lnTo>
                <a:lnTo>
                  <a:pt x="596" y="1457"/>
                </a:lnTo>
                <a:lnTo>
                  <a:pt x="601" y="1460"/>
                </a:lnTo>
                <a:lnTo>
                  <a:pt x="607" y="1462"/>
                </a:lnTo>
                <a:lnTo>
                  <a:pt x="612" y="1464"/>
                </a:lnTo>
                <a:lnTo>
                  <a:pt x="619" y="1464"/>
                </a:lnTo>
                <a:lnTo>
                  <a:pt x="625" y="1463"/>
                </a:lnTo>
                <a:lnTo>
                  <a:pt x="635" y="1460"/>
                </a:lnTo>
                <a:lnTo>
                  <a:pt x="644" y="1455"/>
                </a:lnTo>
                <a:lnTo>
                  <a:pt x="649" y="1453"/>
                </a:lnTo>
                <a:lnTo>
                  <a:pt x="653" y="1452"/>
                </a:lnTo>
                <a:lnTo>
                  <a:pt x="650" y="1445"/>
                </a:lnTo>
                <a:lnTo>
                  <a:pt x="648" y="1436"/>
                </a:lnTo>
                <a:lnTo>
                  <a:pt x="649" y="1436"/>
                </a:lnTo>
                <a:lnTo>
                  <a:pt x="650" y="1436"/>
                </a:lnTo>
                <a:lnTo>
                  <a:pt x="651" y="1438"/>
                </a:lnTo>
                <a:lnTo>
                  <a:pt x="652" y="1439"/>
                </a:lnTo>
                <a:lnTo>
                  <a:pt x="656" y="1441"/>
                </a:lnTo>
                <a:lnTo>
                  <a:pt x="659" y="1441"/>
                </a:lnTo>
                <a:lnTo>
                  <a:pt x="662" y="1439"/>
                </a:lnTo>
                <a:lnTo>
                  <a:pt x="663" y="1436"/>
                </a:lnTo>
                <a:lnTo>
                  <a:pt x="664" y="1429"/>
                </a:lnTo>
                <a:lnTo>
                  <a:pt x="663" y="1422"/>
                </a:lnTo>
                <a:lnTo>
                  <a:pt x="658" y="1406"/>
                </a:lnTo>
                <a:lnTo>
                  <a:pt x="653" y="1390"/>
                </a:lnTo>
                <a:lnTo>
                  <a:pt x="653" y="1386"/>
                </a:lnTo>
                <a:lnTo>
                  <a:pt x="651" y="1382"/>
                </a:lnTo>
                <a:lnTo>
                  <a:pt x="648" y="1377"/>
                </a:lnTo>
                <a:lnTo>
                  <a:pt x="645" y="1371"/>
                </a:lnTo>
                <a:lnTo>
                  <a:pt x="644" y="1370"/>
                </a:lnTo>
                <a:lnTo>
                  <a:pt x="643" y="1369"/>
                </a:lnTo>
                <a:lnTo>
                  <a:pt x="641" y="1369"/>
                </a:lnTo>
                <a:lnTo>
                  <a:pt x="639" y="1368"/>
                </a:lnTo>
                <a:lnTo>
                  <a:pt x="639" y="1366"/>
                </a:lnTo>
                <a:lnTo>
                  <a:pt x="638" y="1365"/>
                </a:lnTo>
                <a:lnTo>
                  <a:pt x="638" y="1363"/>
                </a:lnTo>
                <a:lnTo>
                  <a:pt x="637" y="1362"/>
                </a:lnTo>
                <a:lnTo>
                  <a:pt x="633" y="1356"/>
                </a:lnTo>
                <a:lnTo>
                  <a:pt x="632" y="1351"/>
                </a:lnTo>
                <a:lnTo>
                  <a:pt x="630" y="1345"/>
                </a:lnTo>
                <a:lnTo>
                  <a:pt x="630" y="1340"/>
                </a:lnTo>
                <a:lnTo>
                  <a:pt x="631" y="1333"/>
                </a:lnTo>
                <a:lnTo>
                  <a:pt x="632" y="1324"/>
                </a:lnTo>
                <a:lnTo>
                  <a:pt x="632" y="1320"/>
                </a:lnTo>
                <a:lnTo>
                  <a:pt x="631" y="1315"/>
                </a:lnTo>
                <a:lnTo>
                  <a:pt x="631" y="1309"/>
                </a:lnTo>
                <a:lnTo>
                  <a:pt x="628" y="1303"/>
                </a:lnTo>
                <a:lnTo>
                  <a:pt x="628" y="1302"/>
                </a:lnTo>
                <a:lnTo>
                  <a:pt x="629" y="1300"/>
                </a:lnTo>
                <a:lnTo>
                  <a:pt x="631" y="1292"/>
                </a:lnTo>
                <a:lnTo>
                  <a:pt x="632" y="1284"/>
                </a:lnTo>
                <a:lnTo>
                  <a:pt x="632" y="1277"/>
                </a:lnTo>
                <a:lnTo>
                  <a:pt x="635" y="1271"/>
                </a:lnTo>
                <a:lnTo>
                  <a:pt x="636" y="1268"/>
                </a:lnTo>
                <a:lnTo>
                  <a:pt x="636" y="1265"/>
                </a:lnTo>
                <a:lnTo>
                  <a:pt x="635" y="1256"/>
                </a:lnTo>
                <a:lnTo>
                  <a:pt x="635" y="1246"/>
                </a:lnTo>
                <a:lnTo>
                  <a:pt x="635" y="1246"/>
                </a:lnTo>
                <a:lnTo>
                  <a:pt x="635" y="1246"/>
                </a:lnTo>
                <a:lnTo>
                  <a:pt x="637" y="1251"/>
                </a:lnTo>
                <a:lnTo>
                  <a:pt x="638" y="1254"/>
                </a:lnTo>
                <a:lnTo>
                  <a:pt x="638" y="1239"/>
                </a:lnTo>
                <a:lnTo>
                  <a:pt x="638" y="1223"/>
                </a:lnTo>
                <a:lnTo>
                  <a:pt x="638" y="1226"/>
                </a:lnTo>
                <a:lnTo>
                  <a:pt x="639" y="1230"/>
                </a:lnTo>
                <a:lnTo>
                  <a:pt x="641" y="1228"/>
                </a:lnTo>
                <a:lnTo>
                  <a:pt x="642" y="1225"/>
                </a:lnTo>
                <a:lnTo>
                  <a:pt x="642" y="1221"/>
                </a:lnTo>
                <a:lnTo>
                  <a:pt x="643" y="1215"/>
                </a:lnTo>
                <a:lnTo>
                  <a:pt x="643" y="1211"/>
                </a:lnTo>
                <a:lnTo>
                  <a:pt x="643" y="1207"/>
                </a:lnTo>
                <a:lnTo>
                  <a:pt x="644" y="1203"/>
                </a:lnTo>
                <a:lnTo>
                  <a:pt x="645" y="1200"/>
                </a:lnTo>
                <a:lnTo>
                  <a:pt x="645" y="1198"/>
                </a:lnTo>
                <a:lnTo>
                  <a:pt x="645" y="1198"/>
                </a:lnTo>
                <a:lnTo>
                  <a:pt x="648" y="1190"/>
                </a:lnTo>
                <a:lnTo>
                  <a:pt x="648" y="1183"/>
                </a:lnTo>
                <a:lnTo>
                  <a:pt x="650" y="1179"/>
                </a:lnTo>
                <a:lnTo>
                  <a:pt x="652" y="1174"/>
                </a:lnTo>
                <a:lnTo>
                  <a:pt x="658" y="1161"/>
                </a:lnTo>
                <a:lnTo>
                  <a:pt x="664" y="1147"/>
                </a:lnTo>
                <a:lnTo>
                  <a:pt x="667" y="1142"/>
                </a:lnTo>
                <a:lnTo>
                  <a:pt x="669" y="1135"/>
                </a:lnTo>
                <a:lnTo>
                  <a:pt x="670" y="1125"/>
                </a:lnTo>
                <a:lnTo>
                  <a:pt x="670" y="1114"/>
                </a:lnTo>
                <a:lnTo>
                  <a:pt x="669" y="1107"/>
                </a:lnTo>
                <a:lnTo>
                  <a:pt x="667" y="1100"/>
                </a:lnTo>
                <a:lnTo>
                  <a:pt x="667" y="1091"/>
                </a:lnTo>
                <a:lnTo>
                  <a:pt x="667" y="1082"/>
                </a:lnTo>
                <a:lnTo>
                  <a:pt x="670" y="1068"/>
                </a:lnTo>
                <a:lnTo>
                  <a:pt x="672" y="1054"/>
                </a:lnTo>
                <a:lnTo>
                  <a:pt x="673" y="1043"/>
                </a:lnTo>
                <a:lnTo>
                  <a:pt x="676" y="1034"/>
                </a:lnTo>
                <a:lnTo>
                  <a:pt x="677" y="1028"/>
                </a:lnTo>
                <a:lnTo>
                  <a:pt x="678" y="1022"/>
                </a:lnTo>
                <a:lnTo>
                  <a:pt x="679" y="1009"/>
                </a:lnTo>
                <a:lnTo>
                  <a:pt x="680" y="996"/>
                </a:lnTo>
                <a:lnTo>
                  <a:pt x="683" y="1000"/>
                </a:lnTo>
                <a:lnTo>
                  <a:pt x="684" y="1003"/>
                </a:lnTo>
                <a:lnTo>
                  <a:pt x="686" y="1010"/>
                </a:lnTo>
                <a:lnTo>
                  <a:pt x="687" y="1017"/>
                </a:lnTo>
                <a:lnTo>
                  <a:pt x="688" y="1024"/>
                </a:lnTo>
                <a:lnTo>
                  <a:pt x="690" y="1031"/>
                </a:lnTo>
                <a:lnTo>
                  <a:pt x="690" y="1041"/>
                </a:lnTo>
                <a:lnTo>
                  <a:pt x="690" y="1049"/>
                </a:lnTo>
                <a:lnTo>
                  <a:pt x="690" y="1055"/>
                </a:lnTo>
                <a:lnTo>
                  <a:pt x="690" y="1061"/>
                </a:lnTo>
                <a:lnTo>
                  <a:pt x="688" y="1070"/>
                </a:lnTo>
                <a:lnTo>
                  <a:pt x="688" y="1077"/>
                </a:lnTo>
                <a:lnTo>
                  <a:pt x="690" y="1083"/>
                </a:lnTo>
                <a:lnTo>
                  <a:pt x="690" y="1088"/>
                </a:lnTo>
                <a:lnTo>
                  <a:pt x="690" y="1092"/>
                </a:lnTo>
                <a:lnTo>
                  <a:pt x="688" y="1097"/>
                </a:lnTo>
                <a:lnTo>
                  <a:pt x="688" y="1099"/>
                </a:lnTo>
                <a:lnTo>
                  <a:pt x="687" y="1103"/>
                </a:lnTo>
                <a:lnTo>
                  <a:pt x="687" y="1103"/>
                </a:lnTo>
                <a:lnTo>
                  <a:pt x="688" y="1103"/>
                </a:lnTo>
                <a:lnTo>
                  <a:pt x="687" y="1114"/>
                </a:lnTo>
                <a:lnTo>
                  <a:pt x="686" y="1126"/>
                </a:lnTo>
                <a:lnTo>
                  <a:pt x="685" y="1139"/>
                </a:lnTo>
                <a:lnTo>
                  <a:pt x="685" y="1151"/>
                </a:lnTo>
                <a:lnTo>
                  <a:pt x="684" y="1166"/>
                </a:lnTo>
                <a:lnTo>
                  <a:pt x="681" y="1180"/>
                </a:lnTo>
                <a:lnTo>
                  <a:pt x="679" y="1195"/>
                </a:lnTo>
                <a:lnTo>
                  <a:pt x="677" y="1209"/>
                </a:lnTo>
                <a:lnTo>
                  <a:pt x="674" y="1216"/>
                </a:lnTo>
                <a:lnTo>
                  <a:pt x="672" y="1223"/>
                </a:lnTo>
                <a:lnTo>
                  <a:pt x="664" y="1237"/>
                </a:lnTo>
                <a:lnTo>
                  <a:pt x="656" y="1251"/>
                </a:lnTo>
                <a:lnTo>
                  <a:pt x="655" y="1254"/>
                </a:lnTo>
                <a:lnTo>
                  <a:pt x="655" y="1258"/>
                </a:lnTo>
                <a:lnTo>
                  <a:pt x="655" y="1266"/>
                </a:lnTo>
                <a:lnTo>
                  <a:pt x="655" y="1274"/>
                </a:lnTo>
                <a:lnTo>
                  <a:pt x="655" y="1275"/>
                </a:lnTo>
                <a:lnTo>
                  <a:pt x="657" y="1277"/>
                </a:lnTo>
                <a:lnTo>
                  <a:pt x="663" y="1278"/>
                </a:lnTo>
                <a:lnTo>
                  <a:pt x="670" y="1278"/>
                </a:lnTo>
                <a:lnTo>
                  <a:pt x="676" y="1278"/>
                </a:lnTo>
                <a:lnTo>
                  <a:pt x="681" y="1279"/>
                </a:lnTo>
                <a:lnTo>
                  <a:pt x="686" y="1281"/>
                </a:lnTo>
                <a:lnTo>
                  <a:pt x="691" y="1281"/>
                </a:lnTo>
                <a:lnTo>
                  <a:pt x="704" y="1279"/>
                </a:lnTo>
                <a:lnTo>
                  <a:pt x="718" y="1277"/>
                </a:lnTo>
                <a:lnTo>
                  <a:pt x="722" y="1274"/>
                </a:lnTo>
                <a:lnTo>
                  <a:pt x="725" y="1271"/>
                </a:lnTo>
                <a:lnTo>
                  <a:pt x="727" y="1267"/>
                </a:lnTo>
                <a:lnTo>
                  <a:pt x="727" y="1263"/>
                </a:lnTo>
                <a:lnTo>
                  <a:pt x="725" y="1251"/>
                </a:lnTo>
                <a:lnTo>
                  <a:pt x="722" y="1240"/>
                </a:lnTo>
                <a:lnTo>
                  <a:pt x="721" y="1236"/>
                </a:lnTo>
                <a:lnTo>
                  <a:pt x="720" y="1231"/>
                </a:lnTo>
                <a:lnTo>
                  <a:pt x="719" y="1235"/>
                </a:lnTo>
                <a:lnTo>
                  <a:pt x="718" y="1237"/>
                </a:lnTo>
                <a:lnTo>
                  <a:pt x="714" y="1236"/>
                </a:lnTo>
                <a:lnTo>
                  <a:pt x="713" y="1235"/>
                </a:lnTo>
                <a:lnTo>
                  <a:pt x="711" y="1232"/>
                </a:lnTo>
                <a:lnTo>
                  <a:pt x="707" y="1230"/>
                </a:lnTo>
                <a:lnTo>
                  <a:pt x="706" y="1229"/>
                </a:lnTo>
                <a:lnTo>
                  <a:pt x="705" y="1228"/>
                </a:lnTo>
                <a:lnTo>
                  <a:pt x="705" y="1225"/>
                </a:lnTo>
                <a:lnTo>
                  <a:pt x="706" y="1223"/>
                </a:lnTo>
                <a:lnTo>
                  <a:pt x="705" y="1223"/>
                </a:lnTo>
                <a:lnTo>
                  <a:pt x="705" y="1222"/>
                </a:lnTo>
                <a:lnTo>
                  <a:pt x="704" y="1221"/>
                </a:lnTo>
                <a:lnTo>
                  <a:pt x="704" y="1218"/>
                </a:lnTo>
                <a:lnTo>
                  <a:pt x="702" y="1214"/>
                </a:lnTo>
                <a:lnTo>
                  <a:pt x="701" y="1210"/>
                </a:lnTo>
                <a:lnTo>
                  <a:pt x="700" y="1207"/>
                </a:lnTo>
                <a:lnTo>
                  <a:pt x="700" y="1204"/>
                </a:lnTo>
                <a:lnTo>
                  <a:pt x="701" y="1203"/>
                </a:lnTo>
                <a:lnTo>
                  <a:pt x="704" y="1201"/>
                </a:lnTo>
                <a:lnTo>
                  <a:pt x="705" y="1200"/>
                </a:lnTo>
                <a:lnTo>
                  <a:pt x="706" y="1198"/>
                </a:lnTo>
                <a:lnTo>
                  <a:pt x="706" y="1197"/>
                </a:lnTo>
                <a:lnTo>
                  <a:pt x="705" y="1195"/>
                </a:lnTo>
                <a:lnTo>
                  <a:pt x="704" y="1194"/>
                </a:lnTo>
                <a:lnTo>
                  <a:pt x="701" y="1191"/>
                </a:lnTo>
                <a:lnTo>
                  <a:pt x="704" y="1190"/>
                </a:lnTo>
                <a:lnTo>
                  <a:pt x="706" y="1190"/>
                </a:lnTo>
                <a:lnTo>
                  <a:pt x="706" y="1188"/>
                </a:lnTo>
                <a:lnTo>
                  <a:pt x="705" y="1187"/>
                </a:lnTo>
                <a:lnTo>
                  <a:pt x="704" y="1184"/>
                </a:lnTo>
                <a:lnTo>
                  <a:pt x="702" y="1183"/>
                </a:lnTo>
                <a:lnTo>
                  <a:pt x="704" y="1175"/>
                </a:lnTo>
                <a:lnTo>
                  <a:pt x="704" y="1168"/>
                </a:lnTo>
                <a:lnTo>
                  <a:pt x="706" y="1163"/>
                </a:lnTo>
                <a:lnTo>
                  <a:pt x="707" y="1159"/>
                </a:lnTo>
                <a:lnTo>
                  <a:pt x="708" y="1156"/>
                </a:lnTo>
                <a:lnTo>
                  <a:pt x="708" y="1154"/>
                </a:lnTo>
                <a:lnTo>
                  <a:pt x="708" y="1153"/>
                </a:lnTo>
                <a:lnTo>
                  <a:pt x="708" y="1152"/>
                </a:lnTo>
                <a:lnTo>
                  <a:pt x="711" y="1146"/>
                </a:lnTo>
                <a:lnTo>
                  <a:pt x="712" y="1141"/>
                </a:lnTo>
                <a:lnTo>
                  <a:pt x="715" y="1133"/>
                </a:lnTo>
                <a:lnTo>
                  <a:pt x="717" y="1125"/>
                </a:lnTo>
                <a:lnTo>
                  <a:pt x="719" y="1117"/>
                </a:lnTo>
                <a:lnTo>
                  <a:pt x="720" y="1109"/>
                </a:lnTo>
                <a:lnTo>
                  <a:pt x="720" y="1091"/>
                </a:lnTo>
                <a:lnTo>
                  <a:pt x="721" y="1076"/>
                </a:lnTo>
                <a:lnTo>
                  <a:pt x="721" y="1075"/>
                </a:lnTo>
                <a:lnTo>
                  <a:pt x="721" y="1073"/>
                </a:lnTo>
                <a:lnTo>
                  <a:pt x="722" y="1066"/>
                </a:lnTo>
                <a:lnTo>
                  <a:pt x="724" y="1061"/>
                </a:lnTo>
                <a:lnTo>
                  <a:pt x="725" y="1043"/>
                </a:lnTo>
                <a:lnTo>
                  <a:pt x="727" y="1026"/>
                </a:lnTo>
                <a:lnTo>
                  <a:pt x="728" y="1012"/>
                </a:lnTo>
                <a:lnTo>
                  <a:pt x="729" y="998"/>
                </a:lnTo>
                <a:lnTo>
                  <a:pt x="732" y="984"/>
                </a:lnTo>
                <a:lnTo>
                  <a:pt x="733" y="970"/>
                </a:lnTo>
                <a:lnTo>
                  <a:pt x="734" y="964"/>
                </a:lnTo>
                <a:lnTo>
                  <a:pt x="735" y="957"/>
                </a:lnTo>
                <a:lnTo>
                  <a:pt x="736" y="953"/>
                </a:lnTo>
                <a:lnTo>
                  <a:pt x="736" y="949"/>
                </a:lnTo>
                <a:lnTo>
                  <a:pt x="736" y="944"/>
                </a:lnTo>
                <a:lnTo>
                  <a:pt x="735" y="939"/>
                </a:lnTo>
                <a:lnTo>
                  <a:pt x="733" y="936"/>
                </a:lnTo>
                <a:lnTo>
                  <a:pt x="733" y="931"/>
                </a:lnTo>
                <a:lnTo>
                  <a:pt x="732" y="928"/>
                </a:lnTo>
                <a:lnTo>
                  <a:pt x="733" y="923"/>
                </a:lnTo>
                <a:lnTo>
                  <a:pt x="736" y="910"/>
                </a:lnTo>
                <a:lnTo>
                  <a:pt x="738" y="896"/>
                </a:lnTo>
                <a:lnTo>
                  <a:pt x="739" y="891"/>
                </a:lnTo>
                <a:lnTo>
                  <a:pt x="741" y="887"/>
                </a:lnTo>
                <a:lnTo>
                  <a:pt x="741" y="887"/>
                </a:lnTo>
                <a:lnTo>
                  <a:pt x="742" y="887"/>
                </a:lnTo>
                <a:lnTo>
                  <a:pt x="743" y="895"/>
                </a:lnTo>
                <a:lnTo>
                  <a:pt x="746" y="901"/>
                </a:lnTo>
                <a:lnTo>
                  <a:pt x="748" y="902"/>
                </a:lnTo>
                <a:lnTo>
                  <a:pt x="749" y="903"/>
                </a:lnTo>
                <a:lnTo>
                  <a:pt x="749" y="905"/>
                </a:lnTo>
                <a:lnTo>
                  <a:pt x="750" y="907"/>
                </a:lnTo>
                <a:lnTo>
                  <a:pt x="756" y="917"/>
                </a:lnTo>
                <a:lnTo>
                  <a:pt x="761" y="928"/>
                </a:lnTo>
                <a:lnTo>
                  <a:pt x="767" y="938"/>
                </a:lnTo>
                <a:lnTo>
                  <a:pt x="773" y="949"/>
                </a:lnTo>
                <a:lnTo>
                  <a:pt x="780" y="960"/>
                </a:lnTo>
                <a:lnTo>
                  <a:pt x="788" y="972"/>
                </a:lnTo>
                <a:lnTo>
                  <a:pt x="790" y="974"/>
                </a:lnTo>
                <a:lnTo>
                  <a:pt x="791" y="978"/>
                </a:lnTo>
                <a:lnTo>
                  <a:pt x="795" y="984"/>
                </a:lnTo>
                <a:lnTo>
                  <a:pt x="797" y="989"/>
                </a:lnTo>
                <a:lnTo>
                  <a:pt x="798" y="1012"/>
                </a:lnTo>
                <a:lnTo>
                  <a:pt x="800" y="1033"/>
                </a:lnTo>
                <a:lnTo>
                  <a:pt x="803" y="1054"/>
                </a:lnTo>
                <a:lnTo>
                  <a:pt x="805" y="1075"/>
                </a:lnTo>
                <a:lnTo>
                  <a:pt x="805" y="1083"/>
                </a:lnTo>
                <a:lnTo>
                  <a:pt x="805" y="1092"/>
                </a:lnTo>
                <a:lnTo>
                  <a:pt x="807" y="1104"/>
                </a:lnTo>
                <a:lnTo>
                  <a:pt x="807" y="1117"/>
                </a:lnTo>
                <a:lnTo>
                  <a:pt x="807" y="1121"/>
                </a:lnTo>
                <a:lnTo>
                  <a:pt x="808" y="1125"/>
                </a:lnTo>
                <a:lnTo>
                  <a:pt x="809" y="1131"/>
                </a:lnTo>
                <a:lnTo>
                  <a:pt x="810" y="1135"/>
                </a:lnTo>
                <a:lnTo>
                  <a:pt x="809" y="1141"/>
                </a:lnTo>
                <a:lnTo>
                  <a:pt x="808" y="1147"/>
                </a:lnTo>
                <a:lnTo>
                  <a:pt x="805" y="1152"/>
                </a:lnTo>
                <a:lnTo>
                  <a:pt x="804" y="1158"/>
                </a:lnTo>
                <a:lnTo>
                  <a:pt x="804" y="1163"/>
                </a:lnTo>
                <a:lnTo>
                  <a:pt x="805" y="1169"/>
                </a:lnTo>
                <a:lnTo>
                  <a:pt x="807" y="1177"/>
                </a:lnTo>
                <a:lnTo>
                  <a:pt x="807" y="1187"/>
                </a:lnTo>
                <a:lnTo>
                  <a:pt x="805" y="1198"/>
                </a:lnTo>
                <a:lnTo>
                  <a:pt x="804" y="1210"/>
                </a:lnTo>
                <a:lnTo>
                  <a:pt x="803" y="1222"/>
                </a:lnTo>
                <a:lnTo>
                  <a:pt x="803" y="1233"/>
                </a:lnTo>
                <a:lnTo>
                  <a:pt x="802" y="1236"/>
                </a:lnTo>
                <a:lnTo>
                  <a:pt x="802" y="1238"/>
                </a:lnTo>
                <a:lnTo>
                  <a:pt x="798" y="1245"/>
                </a:lnTo>
                <a:lnTo>
                  <a:pt x="798" y="1253"/>
                </a:lnTo>
                <a:lnTo>
                  <a:pt x="796" y="1258"/>
                </a:lnTo>
                <a:lnTo>
                  <a:pt x="794" y="1261"/>
                </a:lnTo>
                <a:lnTo>
                  <a:pt x="791" y="1264"/>
                </a:lnTo>
                <a:lnTo>
                  <a:pt x="790" y="1266"/>
                </a:lnTo>
                <a:lnTo>
                  <a:pt x="788" y="1270"/>
                </a:lnTo>
                <a:lnTo>
                  <a:pt x="786" y="1274"/>
                </a:lnTo>
                <a:lnTo>
                  <a:pt x="783" y="1281"/>
                </a:lnTo>
                <a:lnTo>
                  <a:pt x="781" y="1289"/>
                </a:lnTo>
                <a:lnTo>
                  <a:pt x="778" y="1298"/>
                </a:lnTo>
                <a:lnTo>
                  <a:pt x="778" y="1306"/>
                </a:lnTo>
                <a:lnTo>
                  <a:pt x="778" y="1308"/>
                </a:lnTo>
                <a:lnTo>
                  <a:pt x="780" y="1310"/>
                </a:lnTo>
                <a:lnTo>
                  <a:pt x="783" y="1314"/>
                </a:lnTo>
                <a:lnTo>
                  <a:pt x="788" y="1316"/>
                </a:lnTo>
                <a:lnTo>
                  <a:pt x="793" y="1316"/>
                </a:lnTo>
                <a:lnTo>
                  <a:pt x="798" y="1316"/>
                </a:lnTo>
                <a:lnTo>
                  <a:pt x="805" y="1316"/>
                </a:lnTo>
                <a:lnTo>
                  <a:pt x="812" y="1316"/>
                </a:lnTo>
                <a:lnTo>
                  <a:pt x="818" y="1317"/>
                </a:lnTo>
                <a:lnTo>
                  <a:pt x="823" y="1320"/>
                </a:lnTo>
                <a:lnTo>
                  <a:pt x="830" y="1320"/>
                </a:lnTo>
                <a:lnTo>
                  <a:pt x="836" y="1319"/>
                </a:lnTo>
                <a:lnTo>
                  <a:pt x="843" y="1315"/>
                </a:lnTo>
                <a:lnTo>
                  <a:pt x="849" y="1312"/>
                </a:lnTo>
                <a:lnTo>
                  <a:pt x="852" y="1307"/>
                </a:lnTo>
                <a:lnTo>
                  <a:pt x="855" y="1302"/>
                </a:lnTo>
                <a:lnTo>
                  <a:pt x="855" y="1292"/>
                </a:lnTo>
                <a:lnTo>
                  <a:pt x="852" y="1281"/>
                </a:lnTo>
                <a:lnTo>
                  <a:pt x="849" y="1271"/>
                </a:lnTo>
                <a:lnTo>
                  <a:pt x="844" y="1261"/>
                </a:lnTo>
                <a:lnTo>
                  <a:pt x="843" y="1259"/>
                </a:lnTo>
                <a:lnTo>
                  <a:pt x="840" y="1258"/>
                </a:lnTo>
                <a:lnTo>
                  <a:pt x="838" y="1257"/>
                </a:lnTo>
                <a:lnTo>
                  <a:pt x="836" y="1254"/>
                </a:lnTo>
                <a:lnTo>
                  <a:pt x="835" y="1252"/>
                </a:lnTo>
                <a:lnTo>
                  <a:pt x="835" y="1250"/>
                </a:lnTo>
                <a:lnTo>
                  <a:pt x="833" y="1239"/>
                </a:lnTo>
                <a:lnTo>
                  <a:pt x="833" y="1230"/>
                </a:lnTo>
                <a:lnTo>
                  <a:pt x="833" y="1214"/>
                </a:lnTo>
                <a:lnTo>
                  <a:pt x="832" y="1197"/>
                </a:lnTo>
                <a:lnTo>
                  <a:pt x="832" y="1188"/>
                </a:lnTo>
                <a:lnTo>
                  <a:pt x="831" y="1179"/>
                </a:lnTo>
                <a:lnTo>
                  <a:pt x="831" y="1172"/>
                </a:lnTo>
                <a:lnTo>
                  <a:pt x="832" y="1165"/>
                </a:lnTo>
                <a:lnTo>
                  <a:pt x="835" y="1151"/>
                </a:lnTo>
                <a:lnTo>
                  <a:pt x="836" y="1138"/>
                </a:lnTo>
                <a:lnTo>
                  <a:pt x="836" y="1137"/>
                </a:lnTo>
                <a:lnTo>
                  <a:pt x="836" y="1137"/>
                </a:lnTo>
                <a:lnTo>
                  <a:pt x="835" y="1125"/>
                </a:lnTo>
                <a:lnTo>
                  <a:pt x="835" y="1113"/>
                </a:lnTo>
                <a:lnTo>
                  <a:pt x="836" y="1104"/>
                </a:lnTo>
                <a:lnTo>
                  <a:pt x="837" y="1096"/>
                </a:lnTo>
                <a:lnTo>
                  <a:pt x="838" y="1086"/>
                </a:lnTo>
                <a:lnTo>
                  <a:pt x="839" y="1077"/>
                </a:lnTo>
                <a:lnTo>
                  <a:pt x="840" y="1070"/>
                </a:lnTo>
                <a:lnTo>
                  <a:pt x="840" y="1064"/>
                </a:lnTo>
                <a:lnTo>
                  <a:pt x="840" y="1050"/>
                </a:lnTo>
                <a:lnTo>
                  <a:pt x="843" y="1036"/>
                </a:lnTo>
                <a:lnTo>
                  <a:pt x="845" y="1024"/>
                </a:lnTo>
                <a:lnTo>
                  <a:pt x="849" y="1012"/>
                </a:lnTo>
                <a:lnTo>
                  <a:pt x="849" y="1012"/>
                </a:lnTo>
                <a:lnTo>
                  <a:pt x="849" y="1012"/>
                </a:lnTo>
                <a:lnTo>
                  <a:pt x="851" y="1001"/>
                </a:lnTo>
                <a:lnTo>
                  <a:pt x="851" y="992"/>
                </a:lnTo>
                <a:lnTo>
                  <a:pt x="851" y="982"/>
                </a:lnTo>
                <a:lnTo>
                  <a:pt x="847" y="972"/>
                </a:lnTo>
                <a:lnTo>
                  <a:pt x="847" y="971"/>
                </a:lnTo>
                <a:lnTo>
                  <a:pt x="846" y="970"/>
                </a:lnTo>
                <a:lnTo>
                  <a:pt x="850" y="954"/>
                </a:lnTo>
                <a:lnTo>
                  <a:pt x="855" y="938"/>
                </a:lnTo>
                <a:lnTo>
                  <a:pt x="856" y="936"/>
                </a:lnTo>
                <a:lnTo>
                  <a:pt x="856" y="932"/>
                </a:lnTo>
                <a:lnTo>
                  <a:pt x="860" y="917"/>
                </a:lnTo>
                <a:lnTo>
                  <a:pt x="864" y="902"/>
                </a:lnTo>
                <a:lnTo>
                  <a:pt x="864" y="890"/>
                </a:lnTo>
                <a:lnTo>
                  <a:pt x="864" y="880"/>
                </a:lnTo>
                <a:lnTo>
                  <a:pt x="864" y="870"/>
                </a:lnTo>
                <a:lnTo>
                  <a:pt x="864" y="861"/>
                </a:lnTo>
                <a:lnTo>
                  <a:pt x="864" y="852"/>
                </a:lnTo>
                <a:lnTo>
                  <a:pt x="864" y="844"/>
                </a:lnTo>
                <a:lnTo>
                  <a:pt x="864" y="827"/>
                </a:lnTo>
                <a:lnTo>
                  <a:pt x="864" y="812"/>
                </a:lnTo>
                <a:lnTo>
                  <a:pt x="866" y="797"/>
                </a:lnTo>
                <a:lnTo>
                  <a:pt x="867" y="782"/>
                </a:lnTo>
                <a:lnTo>
                  <a:pt x="869" y="767"/>
                </a:lnTo>
                <a:lnTo>
                  <a:pt x="871" y="751"/>
                </a:lnTo>
                <a:lnTo>
                  <a:pt x="871" y="746"/>
                </a:lnTo>
                <a:lnTo>
                  <a:pt x="873" y="740"/>
                </a:lnTo>
                <a:lnTo>
                  <a:pt x="873" y="739"/>
                </a:lnTo>
                <a:lnTo>
                  <a:pt x="873" y="737"/>
                </a:lnTo>
                <a:lnTo>
                  <a:pt x="873" y="727"/>
                </a:lnTo>
                <a:lnTo>
                  <a:pt x="873" y="716"/>
                </a:lnTo>
                <a:lnTo>
                  <a:pt x="874" y="706"/>
                </a:lnTo>
                <a:lnTo>
                  <a:pt x="874" y="697"/>
                </a:lnTo>
                <a:lnTo>
                  <a:pt x="873" y="686"/>
                </a:lnTo>
                <a:lnTo>
                  <a:pt x="873" y="674"/>
                </a:lnTo>
                <a:lnTo>
                  <a:pt x="873" y="664"/>
                </a:lnTo>
                <a:lnTo>
                  <a:pt x="872" y="653"/>
                </a:lnTo>
                <a:lnTo>
                  <a:pt x="870" y="642"/>
                </a:lnTo>
                <a:lnTo>
                  <a:pt x="866" y="631"/>
                </a:lnTo>
                <a:lnTo>
                  <a:pt x="863" y="620"/>
                </a:lnTo>
                <a:lnTo>
                  <a:pt x="859" y="609"/>
                </a:lnTo>
                <a:lnTo>
                  <a:pt x="853" y="595"/>
                </a:lnTo>
                <a:lnTo>
                  <a:pt x="847" y="582"/>
                </a:lnTo>
                <a:lnTo>
                  <a:pt x="842" y="572"/>
                </a:lnTo>
                <a:lnTo>
                  <a:pt x="836" y="562"/>
                </a:lnTo>
                <a:lnTo>
                  <a:pt x="832" y="557"/>
                </a:lnTo>
                <a:lnTo>
                  <a:pt x="828" y="551"/>
                </a:lnTo>
                <a:lnTo>
                  <a:pt x="821" y="546"/>
                </a:lnTo>
                <a:lnTo>
                  <a:pt x="814" y="540"/>
                </a:lnTo>
                <a:lnTo>
                  <a:pt x="802" y="532"/>
                </a:lnTo>
                <a:lnTo>
                  <a:pt x="790" y="525"/>
                </a:lnTo>
                <a:lnTo>
                  <a:pt x="782" y="520"/>
                </a:lnTo>
                <a:lnTo>
                  <a:pt x="773" y="516"/>
                </a:lnTo>
                <a:lnTo>
                  <a:pt x="763" y="512"/>
                </a:lnTo>
                <a:lnTo>
                  <a:pt x="754" y="509"/>
                </a:lnTo>
                <a:lnTo>
                  <a:pt x="750" y="508"/>
                </a:lnTo>
                <a:lnTo>
                  <a:pt x="747" y="506"/>
                </a:lnTo>
                <a:lnTo>
                  <a:pt x="741" y="503"/>
                </a:lnTo>
                <a:lnTo>
                  <a:pt x="734" y="501"/>
                </a:lnTo>
                <a:lnTo>
                  <a:pt x="727" y="499"/>
                </a:lnTo>
                <a:lnTo>
                  <a:pt x="720" y="498"/>
                </a:lnTo>
                <a:lnTo>
                  <a:pt x="709" y="496"/>
                </a:lnTo>
                <a:lnTo>
                  <a:pt x="699" y="495"/>
                </a:lnTo>
                <a:lnTo>
                  <a:pt x="688" y="494"/>
                </a:lnTo>
                <a:lnTo>
                  <a:pt x="678" y="491"/>
                </a:lnTo>
                <a:lnTo>
                  <a:pt x="674" y="488"/>
                </a:lnTo>
                <a:lnTo>
                  <a:pt x="672" y="484"/>
                </a:lnTo>
                <a:lnTo>
                  <a:pt x="667" y="478"/>
                </a:lnTo>
                <a:lnTo>
                  <a:pt x="663" y="473"/>
                </a:lnTo>
                <a:lnTo>
                  <a:pt x="662" y="469"/>
                </a:lnTo>
                <a:lnTo>
                  <a:pt x="660" y="466"/>
                </a:lnTo>
                <a:lnTo>
                  <a:pt x="655" y="459"/>
                </a:lnTo>
                <a:lnTo>
                  <a:pt x="650" y="452"/>
                </a:lnTo>
                <a:lnTo>
                  <a:pt x="648" y="449"/>
                </a:lnTo>
                <a:lnTo>
                  <a:pt x="648" y="447"/>
                </a:lnTo>
                <a:lnTo>
                  <a:pt x="645" y="442"/>
                </a:lnTo>
                <a:lnTo>
                  <a:pt x="643" y="438"/>
                </a:lnTo>
                <a:lnTo>
                  <a:pt x="638" y="433"/>
                </a:lnTo>
                <a:lnTo>
                  <a:pt x="632" y="427"/>
                </a:lnTo>
                <a:lnTo>
                  <a:pt x="626" y="420"/>
                </a:lnTo>
                <a:lnTo>
                  <a:pt x="621" y="413"/>
                </a:lnTo>
                <a:lnTo>
                  <a:pt x="618" y="411"/>
                </a:lnTo>
                <a:lnTo>
                  <a:pt x="615" y="407"/>
                </a:lnTo>
                <a:lnTo>
                  <a:pt x="612" y="405"/>
                </a:lnTo>
                <a:lnTo>
                  <a:pt x="610" y="401"/>
                </a:lnTo>
                <a:lnTo>
                  <a:pt x="608" y="399"/>
                </a:lnTo>
                <a:lnTo>
                  <a:pt x="604" y="398"/>
                </a:lnTo>
                <a:lnTo>
                  <a:pt x="602" y="397"/>
                </a:lnTo>
                <a:lnTo>
                  <a:pt x="602" y="396"/>
                </a:lnTo>
                <a:lnTo>
                  <a:pt x="600" y="391"/>
                </a:lnTo>
                <a:lnTo>
                  <a:pt x="596" y="389"/>
                </a:lnTo>
                <a:lnTo>
                  <a:pt x="593" y="386"/>
                </a:lnTo>
                <a:lnTo>
                  <a:pt x="589" y="384"/>
                </a:lnTo>
                <a:lnTo>
                  <a:pt x="583" y="382"/>
                </a:lnTo>
                <a:lnTo>
                  <a:pt x="579" y="378"/>
                </a:lnTo>
                <a:lnTo>
                  <a:pt x="572" y="375"/>
                </a:lnTo>
                <a:lnTo>
                  <a:pt x="564" y="371"/>
                </a:lnTo>
                <a:lnTo>
                  <a:pt x="557" y="369"/>
                </a:lnTo>
                <a:lnTo>
                  <a:pt x="550" y="366"/>
                </a:lnTo>
                <a:lnTo>
                  <a:pt x="543" y="363"/>
                </a:lnTo>
                <a:lnTo>
                  <a:pt x="539" y="359"/>
                </a:lnTo>
                <a:lnTo>
                  <a:pt x="538" y="357"/>
                </a:lnTo>
                <a:lnTo>
                  <a:pt x="535" y="357"/>
                </a:lnTo>
                <a:lnTo>
                  <a:pt x="534" y="356"/>
                </a:lnTo>
                <a:lnTo>
                  <a:pt x="533" y="357"/>
                </a:lnTo>
                <a:lnTo>
                  <a:pt x="532" y="356"/>
                </a:lnTo>
                <a:lnTo>
                  <a:pt x="532" y="356"/>
                </a:lnTo>
                <a:lnTo>
                  <a:pt x="533" y="355"/>
                </a:lnTo>
                <a:lnTo>
                  <a:pt x="534" y="353"/>
                </a:lnTo>
                <a:lnTo>
                  <a:pt x="534" y="353"/>
                </a:lnTo>
                <a:lnTo>
                  <a:pt x="534" y="352"/>
                </a:lnTo>
                <a:lnTo>
                  <a:pt x="525" y="355"/>
                </a:lnTo>
                <a:lnTo>
                  <a:pt x="518" y="357"/>
                </a:lnTo>
                <a:lnTo>
                  <a:pt x="507" y="363"/>
                </a:lnTo>
                <a:lnTo>
                  <a:pt x="497" y="369"/>
                </a:lnTo>
                <a:lnTo>
                  <a:pt x="493" y="369"/>
                </a:lnTo>
                <a:lnTo>
                  <a:pt x="492" y="370"/>
                </a:lnTo>
                <a:lnTo>
                  <a:pt x="484" y="376"/>
                </a:lnTo>
                <a:lnTo>
                  <a:pt x="477" y="383"/>
                </a:lnTo>
                <a:lnTo>
                  <a:pt x="473" y="386"/>
                </a:lnTo>
                <a:lnTo>
                  <a:pt x="469" y="390"/>
                </a:lnTo>
                <a:lnTo>
                  <a:pt x="464" y="392"/>
                </a:lnTo>
                <a:lnTo>
                  <a:pt x="458" y="394"/>
                </a:lnTo>
                <a:lnTo>
                  <a:pt x="451" y="396"/>
                </a:lnTo>
                <a:lnTo>
                  <a:pt x="445" y="396"/>
                </a:lnTo>
                <a:lnTo>
                  <a:pt x="442" y="394"/>
                </a:lnTo>
                <a:lnTo>
                  <a:pt x="439" y="393"/>
                </a:lnTo>
                <a:lnTo>
                  <a:pt x="437" y="392"/>
                </a:lnTo>
                <a:lnTo>
                  <a:pt x="435" y="390"/>
                </a:lnTo>
                <a:lnTo>
                  <a:pt x="428" y="378"/>
                </a:lnTo>
                <a:lnTo>
                  <a:pt x="422" y="366"/>
                </a:lnTo>
                <a:lnTo>
                  <a:pt x="419" y="363"/>
                </a:lnTo>
                <a:lnTo>
                  <a:pt x="421" y="361"/>
                </a:lnTo>
                <a:lnTo>
                  <a:pt x="423" y="359"/>
                </a:lnTo>
                <a:lnTo>
                  <a:pt x="427" y="359"/>
                </a:lnTo>
                <a:lnTo>
                  <a:pt x="429" y="359"/>
                </a:lnTo>
                <a:lnTo>
                  <a:pt x="430" y="358"/>
                </a:lnTo>
                <a:lnTo>
                  <a:pt x="444" y="351"/>
                </a:lnTo>
                <a:lnTo>
                  <a:pt x="456" y="343"/>
                </a:lnTo>
                <a:lnTo>
                  <a:pt x="464" y="335"/>
                </a:lnTo>
                <a:lnTo>
                  <a:pt x="472" y="327"/>
                </a:lnTo>
                <a:lnTo>
                  <a:pt x="479" y="318"/>
                </a:lnTo>
                <a:lnTo>
                  <a:pt x="485" y="309"/>
                </a:lnTo>
                <a:lnTo>
                  <a:pt x="490" y="302"/>
                </a:lnTo>
                <a:lnTo>
                  <a:pt x="494" y="296"/>
                </a:lnTo>
                <a:lnTo>
                  <a:pt x="501" y="292"/>
                </a:lnTo>
                <a:lnTo>
                  <a:pt x="508" y="289"/>
                </a:lnTo>
                <a:lnTo>
                  <a:pt x="517" y="286"/>
                </a:lnTo>
                <a:lnTo>
                  <a:pt x="524" y="282"/>
                </a:lnTo>
                <a:lnTo>
                  <a:pt x="541" y="274"/>
                </a:lnTo>
                <a:lnTo>
                  <a:pt x="559" y="268"/>
                </a:lnTo>
                <a:lnTo>
                  <a:pt x="576" y="264"/>
                </a:lnTo>
                <a:lnTo>
                  <a:pt x="595" y="260"/>
                </a:lnTo>
                <a:lnTo>
                  <a:pt x="604" y="258"/>
                </a:lnTo>
                <a:lnTo>
                  <a:pt x="614" y="257"/>
                </a:lnTo>
                <a:lnTo>
                  <a:pt x="623" y="254"/>
                </a:lnTo>
                <a:lnTo>
                  <a:pt x="632" y="252"/>
                </a:lnTo>
                <a:lnTo>
                  <a:pt x="643" y="251"/>
                </a:lnTo>
                <a:lnTo>
                  <a:pt x="655" y="248"/>
                </a:lnTo>
                <a:lnTo>
                  <a:pt x="665" y="246"/>
                </a:lnTo>
                <a:lnTo>
                  <a:pt x="676" y="244"/>
                </a:lnTo>
                <a:lnTo>
                  <a:pt x="690" y="241"/>
                </a:lnTo>
                <a:lnTo>
                  <a:pt x="702" y="239"/>
                </a:lnTo>
                <a:lnTo>
                  <a:pt x="712" y="237"/>
                </a:lnTo>
                <a:lnTo>
                  <a:pt x="721" y="233"/>
                </a:lnTo>
                <a:lnTo>
                  <a:pt x="733" y="229"/>
                </a:lnTo>
                <a:lnTo>
                  <a:pt x="746" y="224"/>
                </a:lnTo>
                <a:lnTo>
                  <a:pt x="757" y="219"/>
                </a:lnTo>
                <a:lnTo>
                  <a:pt x="769" y="213"/>
                </a:lnTo>
                <a:lnTo>
                  <a:pt x="787" y="204"/>
                </a:lnTo>
                <a:lnTo>
                  <a:pt x="803" y="194"/>
                </a:lnTo>
                <a:lnTo>
                  <a:pt x="818" y="182"/>
                </a:lnTo>
                <a:lnTo>
                  <a:pt x="832" y="168"/>
                </a:lnTo>
                <a:lnTo>
                  <a:pt x="838" y="162"/>
                </a:lnTo>
                <a:lnTo>
                  <a:pt x="844" y="156"/>
                </a:lnTo>
                <a:lnTo>
                  <a:pt x="851" y="150"/>
                </a:lnTo>
                <a:lnTo>
                  <a:pt x="858" y="146"/>
                </a:lnTo>
                <a:lnTo>
                  <a:pt x="863" y="143"/>
                </a:lnTo>
                <a:lnTo>
                  <a:pt x="866" y="140"/>
                </a:lnTo>
                <a:lnTo>
                  <a:pt x="870" y="135"/>
                </a:lnTo>
                <a:lnTo>
                  <a:pt x="871" y="131"/>
                </a:lnTo>
                <a:lnTo>
                  <a:pt x="872" y="125"/>
                </a:lnTo>
                <a:lnTo>
                  <a:pt x="873" y="120"/>
                </a:lnTo>
                <a:lnTo>
                  <a:pt x="874" y="111"/>
                </a:lnTo>
                <a:lnTo>
                  <a:pt x="876" y="101"/>
                </a:lnTo>
                <a:lnTo>
                  <a:pt x="874" y="98"/>
                </a:lnTo>
                <a:lnTo>
                  <a:pt x="873" y="96"/>
                </a:lnTo>
                <a:lnTo>
                  <a:pt x="871" y="94"/>
                </a:lnTo>
                <a:lnTo>
                  <a:pt x="870" y="93"/>
                </a:lnTo>
                <a:lnTo>
                  <a:pt x="870" y="91"/>
                </a:lnTo>
                <a:lnTo>
                  <a:pt x="870" y="89"/>
                </a:lnTo>
                <a:lnTo>
                  <a:pt x="872" y="86"/>
                </a:lnTo>
                <a:lnTo>
                  <a:pt x="876" y="83"/>
                </a:lnTo>
                <a:lnTo>
                  <a:pt x="885" y="78"/>
                </a:lnTo>
                <a:lnTo>
                  <a:pt x="894" y="72"/>
                </a:lnTo>
                <a:lnTo>
                  <a:pt x="905" y="68"/>
                </a:lnTo>
                <a:lnTo>
                  <a:pt x="914" y="62"/>
                </a:lnTo>
                <a:lnTo>
                  <a:pt x="918" y="61"/>
                </a:lnTo>
                <a:lnTo>
                  <a:pt x="919" y="58"/>
                </a:lnTo>
                <a:lnTo>
                  <a:pt x="920" y="54"/>
                </a:lnTo>
                <a:lnTo>
                  <a:pt x="920" y="50"/>
                </a:lnTo>
                <a:lnTo>
                  <a:pt x="918" y="49"/>
                </a:lnTo>
                <a:lnTo>
                  <a:pt x="914" y="48"/>
                </a:lnTo>
                <a:lnTo>
                  <a:pt x="905" y="49"/>
                </a:lnTo>
                <a:lnTo>
                  <a:pt x="894" y="51"/>
                </a:lnTo>
                <a:lnTo>
                  <a:pt x="888" y="52"/>
                </a:lnTo>
                <a:lnTo>
                  <a:pt x="883" y="52"/>
                </a:lnTo>
                <a:lnTo>
                  <a:pt x="878" y="50"/>
                </a:lnTo>
                <a:lnTo>
                  <a:pt x="874" y="47"/>
                </a:lnTo>
                <a:lnTo>
                  <a:pt x="872" y="43"/>
                </a:lnTo>
                <a:lnTo>
                  <a:pt x="870" y="38"/>
                </a:lnTo>
                <a:lnTo>
                  <a:pt x="865" y="28"/>
                </a:lnTo>
                <a:lnTo>
                  <a:pt x="860" y="16"/>
                </a:lnTo>
                <a:lnTo>
                  <a:pt x="859" y="12"/>
                </a:lnTo>
                <a:lnTo>
                  <a:pt x="857" y="7"/>
                </a:lnTo>
                <a:lnTo>
                  <a:pt x="855" y="3"/>
                </a:lnTo>
                <a:lnTo>
                  <a:pt x="851" y="0"/>
                </a:lnTo>
                <a:lnTo>
                  <a:pt x="846" y="6"/>
                </a:lnTo>
                <a:lnTo>
                  <a:pt x="843" y="13"/>
                </a:lnTo>
                <a:lnTo>
                  <a:pt x="842" y="9"/>
                </a:lnTo>
                <a:lnTo>
                  <a:pt x="842" y="6"/>
                </a:lnTo>
                <a:lnTo>
                  <a:pt x="837" y="13"/>
                </a:lnTo>
                <a:lnTo>
                  <a:pt x="833" y="19"/>
                </a:lnTo>
                <a:lnTo>
                  <a:pt x="830" y="24"/>
                </a:lnTo>
                <a:lnTo>
                  <a:pt x="826" y="29"/>
                </a:lnTo>
                <a:lnTo>
                  <a:pt x="822" y="34"/>
                </a:lnTo>
                <a:lnTo>
                  <a:pt x="817" y="36"/>
                </a:lnTo>
                <a:lnTo>
                  <a:pt x="811" y="38"/>
                </a:lnTo>
                <a:lnTo>
                  <a:pt x="808" y="41"/>
                </a:lnTo>
                <a:lnTo>
                  <a:pt x="805" y="45"/>
                </a:lnTo>
                <a:lnTo>
                  <a:pt x="803" y="49"/>
                </a:lnTo>
                <a:lnTo>
                  <a:pt x="801" y="55"/>
                </a:lnTo>
                <a:lnTo>
                  <a:pt x="797" y="61"/>
                </a:lnTo>
                <a:lnTo>
                  <a:pt x="793" y="71"/>
                </a:lnTo>
                <a:lnTo>
                  <a:pt x="788" y="82"/>
                </a:lnTo>
                <a:lnTo>
                  <a:pt x="788" y="82"/>
                </a:lnTo>
                <a:lnTo>
                  <a:pt x="788" y="82"/>
                </a:lnTo>
                <a:lnTo>
                  <a:pt x="787" y="79"/>
                </a:lnTo>
                <a:lnTo>
                  <a:pt x="787" y="76"/>
                </a:lnTo>
                <a:lnTo>
                  <a:pt x="777" y="92"/>
                </a:lnTo>
                <a:lnTo>
                  <a:pt x="767" y="107"/>
                </a:lnTo>
                <a:lnTo>
                  <a:pt x="766" y="104"/>
                </a:lnTo>
                <a:lnTo>
                  <a:pt x="764" y="100"/>
                </a:lnTo>
                <a:lnTo>
                  <a:pt x="761" y="105"/>
                </a:lnTo>
                <a:lnTo>
                  <a:pt x="756" y="108"/>
                </a:lnTo>
                <a:lnTo>
                  <a:pt x="756" y="108"/>
                </a:lnTo>
                <a:lnTo>
                  <a:pt x="755" y="106"/>
                </a:lnTo>
                <a:lnTo>
                  <a:pt x="753" y="108"/>
                </a:lnTo>
                <a:lnTo>
                  <a:pt x="752" y="111"/>
                </a:lnTo>
                <a:lnTo>
                  <a:pt x="749" y="113"/>
                </a:lnTo>
                <a:lnTo>
                  <a:pt x="747" y="114"/>
                </a:lnTo>
                <a:lnTo>
                  <a:pt x="746" y="119"/>
                </a:lnTo>
                <a:lnTo>
                  <a:pt x="745" y="125"/>
                </a:lnTo>
                <a:lnTo>
                  <a:pt x="743" y="125"/>
                </a:lnTo>
                <a:lnTo>
                  <a:pt x="742" y="125"/>
                </a:lnTo>
                <a:lnTo>
                  <a:pt x="742" y="119"/>
                </a:lnTo>
                <a:lnTo>
                  <a:pt x="741" y="114"/>
                </a:lnTo>
                <a:lnTo>
                  <a:pt x="741" y="114"/>
                </a:lnTo>
                <a:lnTo>
                  <a:pt x="740" y="114"/>
                </a:lnTo>
                <a:lnTo>
                  <a:pt x="739" y="119"/>
                </a:lnTo>
                <a:lnTo>
                  <a:pt x="738" y="126"/>
                </a:lnTo>
                <a:lnTo>
                  <a:pt x="735" y="121"/>
                </a:lnTo>
                <a:lnTo>
                  <a:pt x="733" y="117"/>
                </a:lnTo>
                <a:lnTo>
                  <a:pt x="731" y="120"/>
                </a:lnTo>
                <a:lnTo>
                  <a:pt x="729" y="124"/>
                </a:lnTo>
                <a:lnTo>
                  <a:pt x="727" y="120"/>
                </a:lnTo>
                <a:lnTo>
                  <a:pt x="726" y="115"/>
                </a:lnTo>
                <a:lnTo>
                  <a:pt x="725" y="118"/>
                </a:lnTo>
                <a:lnTo>
                  <a:pt x="724" y="120"/>
                </a:lnTo>
                <a:lnTo>
                  <a:pt x="724" y="124"/>
                </a:lnTo>
                <a:lnTo>
                  <a:pt x="724" y="127"/>
                </a:lnTo>
                <a:lnTo>
                  <a:pt x="722" y="129"/>
                </a:lnTo>
                <a:lnTo>
                  <a:pt x="720" y="132"/>
                </a:lnTo>
                <a:lnTo>
                  <a:pt x="717" y="138"/>
                </a:lnTo>
                <a:lnTo>
                  <a:pt x="713" y="142"/>
                </a:lnTo>
                <a:lnTo>
                  <a:pt x="711" y="143"/>
                </a:lnTo>
                <a:lnTo>
                  <a:pt x="709" y="143"/>
                </a:lnTo>
                <a:lnTo>
                  <a:pt x="708" y="142"/>
                </a:lnTo>
                <a:lnTo>
                  <a:pt x="707" y="140"/>
                </a:lnTo>
                <a:lnTo>
                  <a:pt x="707" y="134"/>
                </a:lnTo>
                <a:lnTo>
                  <a:pt x="708" y="129"/>
                </a:lnTo>
                <a:lnTo>
                  <a:pt x="709" y="126"/>
                </a:lnTo>
                <a:lnTo>
                  <a:pt x="712" y="122"/>
                </a:lnTo>
                <a:lnTo>
                  <a:pt x="705" y="121"/>
                </a:lnTo>
                <a:lnTo>
                  <a:pt x="697" y="119"/>
                </a:lnTo>
                <a:lnTo>
                  <a:pt x="686" y="113"/>
                </a:lnTo>
                <a:lnTo>
                  <a:pt x="677" y="107"/>
                </a:lnTo>
                <a:lnTo>
                  <a:pt x="671" y="99"/>
                </a:lnTo>
                <a:lnTo>
                  <a:pt x="667" y="90"/>
                </a:lnTo>
                <a:lnTo>
                  <a:pt x="665" y="80"/>
                </a:lnTo>
                <a:lnTo>
                  <a:pt x="664" y="70"/>
                </a:lnTo>
                <a:lnTo>
                  <a:pt x="664" y="63"/>
                </a:lnTo>
                <a:lnTo>
                  <a:pt x="664" y="56"/>
                </a:lnTo>
                <a:lnTo>
                  <a:pt x="663" y="51"/>
                </a:lnTo>
                <a:lnTo>
                  <a:pt x="660" y="47"/>
                </a:lnTo>
                <a:lnTo>
                  <a:pt x="660" y="51"/>
                </a:lnTo>
                <a:lnTo>
                  <a:pt x="659" y="54"/>
                </a:lnTo>
                <a:lnTo>
                  <a:pt x="656" y="57"/>
                </a:lnTo>
                <a:lnTo>
                  <a:pt x="655" y="62"/>
                </a:lnTo>
                <a:lnTo>
                  <a:pt x="655" y="66"/>
                </a:lnTo>
                <a:lnTo>
                  <a:pt x="655" y="70"/>
                </a:lnTo>
                <a:lnTo>
                  <a:pt x="653" y="76"/>
                </a:lnTo>
                <a:lnTo>
                  <a:pt x="652" y="79"/>
                </a:lnTo>
                <a:lnTo>
                  <a:pt x="650" y="83"/>
                </a:lnTo>
                <a:lnTo>
                  <a:pt x="649" y="85"/>
                </a:lnTo>
                <a:lnTo>
                  <a:pt x="649" y="87"/>
                </a:lnTo>
                <a:lnTo>
                  <a:pt x="650" y="91"/>
                </a:lnTo>
                <a:lnTo>
                  <a:pt x="650" y="91"/>
                </a:lnTo>
                <a:lnTo>
                  <a:pt x="650" y="92"/>
                </a:lnTo>
                <a:lnTo>
                  <a:pt x="646" y="90"/>
                </a:lnTo>
                <a:lnTo>
                  <a:pt x="643" y="87"/>
                </a:lnTo>
                <a:lnTo>
                  <a:pt x="644" y="100"/>
                </a:lnTo>
                <a:lnTo>
                  <a:pt x="645" y="113"/>
                </a:lnTo>
                <a:lnTo>
                  <a:pt x="646" y="111"/>
                </a:lnTo>
                <a:lnTo>
                  <a:pt x="646" y="108"/>
                </a:lnTo>
                <a:lnTo>
                  <a:pt x="646" y="104"/>
                </a:lnTo>
                <a:lnTo>
                  <a:pt x="649" y="100"/>
                </a:lnTo>
                <a:lnTo>
                  <a:pt x="651" y="98"/>
                </a:lnTo>
                <a:lnTo>
                  <a:pt x="656" y="96"/>
                </a:lnTo>
                <a:lnTo>
                  <a:pt x="660" y="97"/>
                </a:lnTo>
                <a:lnTo>
                  <a:pt x="663" y="99"/>
                </a:lnTo>
                <a:lnTo>
                  <a:pt x="669" y="103"/>
                </a:lnTo>
                <a:lnTo>
                  <a:pt x="671" y="106"/>
                </a:lnTo>
                <a:lnTo>
                  <a:pt x="673" y="112"/>
                </a:lnTo>
                <a:lnTo>
                  <a:pt x="674" y="118"/>
                </a:lnTo>
                <a:lnTo>
                  <a:pt x="674" y="122"/>
                </a:lnTo>
                <a:lnTo>
                  <a:pt x="676" y="126"/>
                </a:lnTo>
                <a:lnTo>
                  <a:pt x="676" y="129"/>
                </a:lnTo>
                <a:lnTo>
                  <a:pt x="678" y="131"/>
                </a:lnTo>
                <a:lnTo>
                  <a:pt x="679" y="132"/>
                </a:lnTo>
                <a:lnTo>
                  <a:pt x="681" y="133"/>
                </a:lnTo>
                <a:lnTo>
                  <a:pt x="683" y="134"/>
                </a:lnTo>
                <a:lnTo>
                  <a:pt x="684" y="135"/>
                </a:lnTo>
                <a:lnTo>
                  <a:pt x="684" y="136"/>
                </a:lnTo>
                <a:lnTo>
                  <a:pt x="683" y="138"/>
                </a:lnTo>
                <a:lnTo>
                  <a:pt x="677" y="138"/>
                </a:lnTo>
                <a:lnTo>
                  <a:pt x="673" y="140"/>
                </a:lnTo>
                <a:lnTo>
                  <a:pt x="670" y="141"/>
                </a:lnTo>
                <a:lnTo>
                  <a:pt x="666" y="140"/>
                </a:lnTo>
                <a:lnTo>
                  <a:pt x="664" y="139"/>
                </a:lnTo>
                <a:lnTo>
                  <a:pt x="662" y="139"/>
                </a:lnTo>
                <a:lnTo>
                  <a:pt x="660" y="142"/>
                </a:lnTo>
                <a:lnTo>
                  <a:pt x="659" y="145"/>
                </a:lnTo>
                <a:lnTo>
                  <a:pt x="659" y="148"/>
                </a:lnTo>
                <a:lnTo>
                  <a:pt x="659" y="149"/>
                </a:lnTo>
                <a:lnTo>
                  <a:pt x="655" y="153"/>
                </a:lnTo>
                <a:lnTo>
                  <a:pt x="649" y="156"/>
                </a:lnTo>
                <a:lnTo>
                  <a:pt x="643" y="159"/>
                </a:lnTo>
                <a:lnTo>
                  <a:pt x="635" y="159"/>
                </a:lnTo>
                <a:lnTo>
                  <a:pt x="636" y="161"/>
                </a:lnTo>
                <a:lnTo>
                  <a:pt x="637" y="164"/>
                </a:lnTo>
                <a:lnTo>
                  <a:pt x="636" y="167"/>
                </a:lnTo>
                <a:lnTo>
                  <a:pt x="636" y="169"/>
                </a:lnTo>
                <a:lnTo>
                  <a:pt x="633" y="174"/>
                </a:lnTo>
                <a:lnTo>
                  <a:pt x="630" y="177"/>
                </a:lnTo>
                <a:lnTo>
                  <a:pt x="626" y="177"/>
                </a:lnTo>
                <a:lnTo>
                  <a:pt x="624" y="177"/>
                </a:lnTo>
                <a:lnTo>
                  <a:pt x="623" y="178"/>
                </a:lnTo>
                <a:lnTo>
                  <a:pt x="621" y="182"/>
                </a:lnTo>
                <a:lnTo>
                  <a:pt x="623" y="182"/>
                </a:lnTo>
                <a:lnTo>
                  <a:pt x="624" y="182"/>
                </a:lnTo>
                <a:lnTo>
                  <a:pt x="624" y="183"/>
                </a:lnTo>
                <a:lnTo>
                  <a:pt x="625" y="184"/>
                </a:lnTo>
                <a:lnTo>
                  <a:pt x="618" y="184"/>
                </a:lnTo>
                <a:lnTo>
                  <a:pt x="612" y="184"/>
                </a:lnTo>
                <a:lnTo>
                  <a:pt x="612" y="184"/>
                </a:lnTo>
                <a:lnTo>
                  <a:pt x="612" y="185"/>
                </a:lnTo>
                <a:lnTo>
                  <a:pt x="615" y="188"/>
                </a:lnTo>
                <a:lnTo>
                  <a:pt x="617" y="190"/>
                </a:lnTo>
                <a:lnTo>
                  <a:pt x="615" y="191"/>
                </a:lnTo>
                <a:lnTo>
                  <a:pt x="612" y="191"/>
                </a:lnTo>
                <a:lnTo>
                  <a:pt x="610" y="191"/>
                </a:lnTo>
                <a:lnTo>
                  <a:pt x="608" y="190"/>
                </a:lnTo>
                <a:lnTo>
                  <a:pt x="605" y="190"/>
                </a:lnTo>
                <a:lnTo>
                  <a:pt x="604" y="191"/>
                </a:lnTo>
                <a:lnTo>
                  <a:pt x="601" y="197"/>
                </a:lnTo>
                <a:lnTo>
                  <a:pt x="600" y="202"/>
                </a:lnTo>
                <a:lnTo>
                  <a:pt x="598" y="204"/>
                </a:lnTo>
                <a:lnTo>
                  <a:pt x="598" y="205"/>
                </a:lnTo>
                <a:lnTo>
                  <a:pt x="594" y="209"/>
                </a:lnTo>
                <a:lnTo>
                  <a:pt x="589" y="211"/>
                </a:lnTo>
                <a:lnTo>
                  <a:pt x="588" y="210"/>
                </a:lnTo>
                <a:lnTo>
                  <a:pt x="586" y="209"/>
                </a:lnTo>
                <a:lnTo>
                  <a:pt x="582" y="211"/>
                </a:lnTo>
                <a:lnTo>
                  <a:pt x="579" y="213"/>
                </a:lnTo>
                <a:lnTo>
                  <a:pt x="580" y="215"/>
                </a:lnTo>
                <a:lnTo>
                  <a:pt x="582" y="217"/>
                </a:lnTo>
                <a:lnTo>
                  <a:pt x="576" y="217"/>
                </a:lnTo>
                <a:lnTo>
                  <a:pt x="570" y="218"/>
                </a:lnTo>
                <a:lnTo>
                  <a:pt x="573" y="216"/>
                </a:lnTo>
                <a:lnTo>
                  <a:pt x="574" y="213"/>
                </a:lnTo>
                <a:lnTo>
                  <a:pt x="573" y="212"/>
                </a:lnTo>
                <a:lnTo>
                  <a:pt x="570" y="211"/>
                </a:lnTo>
                <a:lnTo>
                  <a:pt x="569" y="213"/>
                </a:lnTo>
                <a:lnTo>
                  <a:pt x="568" y="213"/>
                </a:lnTo>
                <a:lnTo>
                  <a:pt x="563" y="213"/>
                </a:lnTo>
                <a:lnTo>
                  <a:pt x="561" y="216"/>
                </a:lnTo>
                <a:lnTo>
                  <a:pt x="557" y="218"/>
                </a:lnTo>
                <a:lnTo>
                  <a:pt x="555" y="220"/>
                </a:lnTo>
                <a:lnTo>
                  <a:pt x="554" y="223"/>
                </a:lnTo>
                <a:lnTo>
                  <a:pt x="553" y="226"/>
                </a:lnTo>
                <a:lnTo>
                  <a:pt x="550" y="227"/>
                </a:lnTo>
                <a:lnTo>
                  <a:pt x="547" y="229"/>
                </a:lnTo>
                <a:lnTo>
                  <a:pt x="546" y="230"/>
                </a:lnTo>
                <a:lnTo>
                  <a:pt x="546" y="231"/>
                </a:lnTo>
                <a:lnTo>
                  <a:pt x="545" y="236"/>
                </a:lnTo>
                <a:lnTo>
                  <a:pt x="542" y="239"/>
                </a:lnTo>
                <a:lnTo>
                  <a:pt x="540" y="241"/>
                </a:lnTo>
                <a:lnTo>
                  <a:pt x="536" y="244"/>
                </a:lnTo>
                <a:lnTo>
                  <a:pt x="532" y="244"/>
                </a:lnTo>
                <a:lnTo>
                  <a:pt x="528" y="243"/>
                </a:lnTo>
                <a:lnTo>
                  <a:pt x="528" y="239"/>
                </a:lnTo>
                <a:lnTo>
                  <a:pt x="528" y="236"/>
                </a:lnTo>
                <a:lnTo>
                  <a:pt x="531" y="233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close/>
                <a:moveTo>
                  <a:pt x="643" y="149"/>
                </a:moveTo>
                <a:lnTo>
                  <a:pt x="644" y="147"/>
                </a:lnTo>
                <a:lnTo>
                  <a:pt x="644" y="143"/>
                </a:lnTo>
                <a:lnTo>
                  <a:pt x="644" y="138"/>
                </a:lnTo>
                <a:lnTo>
                  <a:pt x="643" y="133"/>
                </a:lnTo>
                <a:lnTo>
                  <a:pt x="641" y="140"/>
                </a:lnTo>
                <a:lnTo>
                  <a:pt x="637" y="149"/>
                </a:lnTo>
                <a:lnTo>
                  <a:pt x="641" y="149"/>
                </a:lnTo>
                <a:lnTo>
                  <a:pt x="643" y="149"/>
                </a:lnTo>
                <a:close/>
                <a:moveTo>
                  <a:pt x="286" y="229"/>
                </a:moveTo>
                <a:lnTo>
                  <a:pt x="280" y="225"/>
                </a:lnTo>
                <a:lnTo>
                  <a:pt x="273" y="222"/>
                </a:lnTo>
                <a:lnTo>
                  <a:pt x="272" y="224"/>
                </a:lnTo>
                <a:lnTo>
                  <a:pt x="271" y="227"/>
                </a:lnTo>
                <a:lnTo>
                  <a:pt x="277" y="230"/>
                </a:lnTo>
                <a:lnTo>
                  <a:pt x="284" y="231"/>
                </a:lnTo>
                <a:lnTo>
                  <a:pt x="285" y="230"/>
                </a:lnTo>
                <a:lnTo>
                  <a:pt x="286" y="229"/>
                </a:lnTo>
                <a:close/>
                <a:moveTo>
                  <a:pt x="575" y="191"/>
                </a:moveTo>
                <a:lnTo>
                  <a:pt x="576" y="190"/>
                </a:lnTo>
                <a:lnTo>
                  <a:pt x="576" y="189"/>
                </a:lnTo>
                <a:lnTo>
                  <a:pt x="572" y="188"/>
                </a:lnTo>
                <a:lnTo>
                  <a:pt x="568" y="187"/>
                </a:lnTo>
                <a:lnTo>
                  <a:pt x="569" y="190"/>
                </a:lnTo>
                <a:lnTo>
                  <a:pt x="570" y="195"/>
                </a:lnTo>
                <a:lnTo>
                  <a:pt x="572" y="196"/>
                </a:lnTo>
                <a:lnTo>
                  <a:pt x="572" y="198"/>
                </a:lnTo>
                <a:lnTo>
                  <a:pt x="570" y="199"/>
                </a:lnTo>
                <a:lnTo>
                  <a:pt x="569" y="199"/>
                </a:lnTo>
                <a:lnTo>
                  <a:pt x="567" y="201"/>
                </a:lnTo>
                <a:lnTo>
                  <a:pt x="564" y="202"/>
                </a:lnTo>
                <a:lnTo>
                  <a:pt x="564" y="203"/>
                </a:lnTo>
                <a:lnTo>
                  <a:pt x="566" y="205"/>
                </a:lnTo>
                <a:lnTo>
                  <a:pt x="570" y="203"/>
                </a:lnTo>
                <a:lnTo>
                  <a:pt x="573" y="199"/>
                </a:lnTo>
                <a:lnTo>
                  <a:pt x="574" y="196"/>
                </a:lnTo>
                <a:lnTo>
                  <a:pt x="575" y="191"/>
                </a:lnTo>
                <a:close/>
                <a:moveTo>
                  <a:pt x="228" y="227"/>
                </a:moveTo>
                <a:lnTo>
                  <a:pt x="228" y="227"/>
                </a:lnTo>
                <a:lnTo>
                  <a:pt x="228" y="229"/>
                </a:lnTo>
                <a:lnTo>
                  <a:pt x="232" y="229"/>
                </a:lnTo>
                <a:lnTo>
                  <a:pt x="236" y="229"/>
                </a:lnTo>
                <a:lnTo>
                  <a:pt x="238" y="230"/>
                </a:lnTo>
                <a:lnTo>
                  <a:pt x="241" y="230"/>
                </a:lnTo>
                <a:lnTo>
                  <a:pt x="243" y="229"/>
                </a:lnTo>
                <a:lnTo>
                  <a:pt x="245" y="227"/>
                </a:lnTo>
                <a:lnTo>
                  <a:pt x="244" y="224"/>
                </a:lnTo>
                <a:lnTo>
                  <a:pt x="244" y="222"/>
                </a:lnTo>
                <a:lnTo>
                  <a:pt x="246" y="219"/>
                </a:lnTo>
                <a:lnTo>
                  <a:pt x="249" y="217"/>
                </a:lnTo>
                <a:lnTo>
                  <a:pt x="237" y="223"/>
                </a:lnTo>
                <a:lnTo>
                  <a:pt x="228" y="227"/>
                </a:lnTo>
                <a:close/>
                <a:moveTo>
                  <a:pt x="540" y="192"/>
                </a:moveTo>
                <a:lnTo>
                  <a:pt x="540" y="195"/>
                </a:lnTo>
                <a:lnTo>
                  <a:pt x="541" y="197"/>
                </a:lnTo>
                <a:lnTo>
                  <a:pt x="542" y="194"/>
                </a:lnTo>
                <a:lnTo>
                  <a:pt x="545" y="190"/>
                </a:lnTo>
                <a:lnTo>
                  <a:pt x="548" y="185"/>
                </a:lnTo>
                <a:lnTo>
                  <a:pt x="554" y="177"/>
                </a:lnTo>
                <a:lnTo>
                  <a:pt x="549" y="174"/>
                </a:lnTo>
                <a:lnTo>
                  <a:pt x="546" y="173"/>
                </a:lnTo>
                <a:lnTo>
                  <a:pt x="542" y="173"/>
                </a:lnTo>
                <a:lnTo>
                  <a:pt x="538" y="175"/>
                </a:lnTo>
                <a:lnTo>
                  <a:pt x="536" y="177"/>
                </a:lnTo>
                <a:lnTo>
                  <a:pt x="538" y="180"/>
                </a:lnTo>
                <a:lnTo>
                  <a:pt x="540" y="185"/>
                </a:lnTo>
                <a:lnTo>
                  <a:pt x="540" y="192"/>
                </a:lnTo>
                <a:close/>
                <a:moveTo>
                  <a:pt x="245" y="248"/>
                </a:moveTo>
                <a:lnTo>
                  <a:pt x="249" y="251"/>
                </a:lnTo>
                <a:lnTo>
                  <a:pt x="253" y="253"/>
                </a:lnTo>
                <a:lnTo>
                  <a:pt x="257" y="255"/>
                </a:lnTo>
                <a:lnTo>
                  <a:pt x="263" y="255"/>
                </a:lnTo>
                <a:lnTo>
                  <a:pt x="264" y="255"/>
                </a:lnTo>
                <a:lnTo>
                  <a:pt x="265" y="258"/>
                </a:lnTo>
                <a:lnTo>
                  <a:pt x="269" y="259"/>
                </a:lnTo>
                <a:lnTo>
                  <a:pt x="271" y="259"/>
                </a:lnTo>
                <a:lnTo>
                  <a:pt x="277" y="255"/>
                </a:lnTo>
                <a:lnTo>
                  <a:pt x="282" y="251"/>
                </a:lnTo>
                <a:lnTo>
                  <a:pt x="285" y="247"/>
                </a:lnTo>
                <a:lnTo>
                  <a:pt x="289" y="244"/>
                </a:lnTo>
                <a:lnTo>
                  <a:pt x="285" y="244"/>
                </a:lnTo>
                <a:lnTo>
                  <a:pt x="282" y="244"/>
                </a:lnTo>
                <a:lnTo>
                  <a:pt x="279" y="245"/>
                </a:lnTo>
                <a:lnTo>
                  <a:pt x="278" y="245"/>
                </a:lnTo>
                <a:lnTo>
                  <a:pt x="277" y="246"/>
                </a:lnTo>
                <a:lnTo>
                  <a:pt x="277" y="248"/>
                </a:lnTo>
                <a:lnTo>
                  <a:pt x="274" y="252"/>
                </a:lnTo>
                <a:lnTo>
                  <a:pt x="270" y="255"/>
                </a:lnTo>
                <a:lnTo>
                  <a:pt x="267" y="254"/>
                </a:lnTo>
                <a:lnTo>
                  <a:pt x="265" y="253"/>
                </a:lnTo>
                <a:lnTo>
                  <a:pt x="264" y="252"/>
                </a:lnTo>
                <a:lnTo>
                  <a:pt x="263" y="251"/>
                </a:lnTo>
                <a:lnTo>
                  <a:pt x="260" y="250"/>
                </a:lnTo>
                <a:lnTo>
                  <a:pt x="259" y="250"/>
                </a:lnTo>
                <a:lnTo>
                  <a:pt x="255" y="248"/>
                </a:lnTo>
                <a:lnTo>
                  <a:pt x="250" y="247"/>
                </a:lnTo>
                <a:lnTo>
                  <a:pt x="251" y="246"/>
                </a:lnTo>
                <a:lnTo>
                  <a:pt x="253" y="244"/>
                </a:lnTo>
                <a:lnTo>
                  <a:pt x="249" y="244"/>
                </a:lnTo>
                <a:lnTo>
                  <a:pt x="245" y="244"/>
                </a:lnTo>
                <a:lnTo>
                  <a:pt x="244" y="241"/>
                </a:lnTo>
                <a:lnTo>
                  <a:pt x="242" y="239"/>
                </a:lnTo>
                <a:lnTo>
                  <a:pt x="239" y="239"/>
                </a:lnTo>
                <a:lnTo>
                  <a:pt x="237" y="240"/>
                </a:lnTo>
                <a:lnTo>
                  <a:pt x="234" y="241"/>
                </a:lnTo>
                <a:lnTo>
                  <a:pt x="231" y="241"/>
                </a:lnTo>
                <a:lnTo>
                  <a:pt x="229" y="241"/>
                </a:lnTo>
                <a:lnTo>
                  <a:pt x="227" y="240"/>
                </a:lnTo>
                <a:lnTo>
                  <a:pt x="224" y="239"/>
                </a:lnTo>
                <a:lnTo>
                  <a:pt x="221" y="240"/>
                </a:lnTo>
                <a:lnTo>
                  <a:pt x="221" y="241"/>
                </a:lnTo>
                <a:lnTo>
                  <a:pt x="221" y="243"/>
                </a:lnTo>
                <a:lnTo>
                  <a:pt x="229" y="243"/>
                </a:lnTo>
                <a:lnTo>
                  <a:pt x="238" y="244"/>
                </a:lnTo>
                <a:lnTo>
                  <a:pt x="238" y="245"/>
                </a:lnTo>
                <a:lnTo>
                  <a:pt x="238" y="247"/>
                </a:lnTo>
                <a:lnTo>
                  <a:pt x="242" y="247"/>
                </a:lnTo>
                <a:lnTo>
                  <a:pt x="245" y="248"/>
                </a:lnTo>
                <a:close/>
                <a:moveTo>
                  <a:pt x="264" y="204"/>
                </a:moveTo>
                <a:lnTo>
                  <a:pt x="276" y="215"/>
                </a:lnTo>
                <a:lnTo>
                  <a:pt x="286" y="225"/>
                </a:lnTo>
                <a:lnTo>
                  <a:pt x="289" y="223"/>
                </a:lnTo>
                <a:lnTo>
                  <a:pt x="291" y="220"/>
                </a:lnTo>
                <a:lnTo>
                  <a:pt x="301" y="213"/>
                </a:lnTo>
                <a:lnTo>
                  <a:pt x="311" y="208"/>
                </a:lnTo>
                <a:lnTo>
                  <a:pt x="318" y="203"/>
                </a:lnTo>
                <a:lnTo>
                  <a:pt x="324" y="197"/>
                </a:lnTo>
                <a:lnTo>
                  <a:pt x="329" y="191"/>
                </a:lnTo>
                <a:lnTo>
                  <a:pt x="335" y="184"/>
                </a:lnTo>
                <a:lnTo>
                  <a:pt x="336" y="182"/>
                </a:lnTo>
                <a:lnTo>
                  <a:pt x="336" y="180"/>
                </a:lnTo>
                <a:lnTo>
                  <a:pt x="336" y="177"/>
                </a:lnTo>
                <a:lnTo>
                  <a:pt x="335" y="175"/>
                </a:lnTo>
                <a:lnTo>
                  <a:pt x="333" y="177"/>
                </a:lnTo>
                <a:lnTo>
                  <a:pt x="332" y="181"/>
                </a:lnTo>
                <a:lnTo>
                  <a:pt x="331" y="177"/>
                </a:lnTo>
                <a:lnTo>
                  <a:pt x="329" y="175"/>
                </a:lnTo>
                <a:lnTo>
                  <a:pt x="328" y="177"/>
                </a:lnTo>
                <a:lnTo>
                  <a:pt x="327" y="178"/>
                </a:lnTo>
                <a:lnTo>
                  <a:pt x="327" y="180"/>
                </a:lnTo>
                <a:lnTo>
                  <a:pt x="326" y="182"/>
                </a:lnTo>
                <a:lnTo>
                  <a:pt x="324" y="181"/>
                </a:lnTo>
                <a:lnTo>
                  <a:pt x="320" y="182"/>
                </a:lnTo>
                <a:lnTo>
                  <a:pt x="318" y="183"/>
                </a:lnTo>
                <a:lnTo>
                  <a:pt x="315" y="185"/>
                </a:lnTo>
                <a:lnTo>
                  <a:pt x="314" y="188"/>
                </a:lnTo>
                <a:lnTo>
                  <a:pt x="312" y="191"/>
                </a:lnTo>
                <a:lnTo>
                  <a:pt x="310" y="199"/>
                </a:lnTo>
                <a:lnTo>
                  <a:pt x="307" y="208"/>
                </a:lnTo>
                <a:lnTo>
                  <a:pt x="306" y="204"/>
                </a:lnTo>
                <a:lnTo>
                  <a:pt x="305" y="199"/>
                </a:lnTo>
                <a:lnTo>
                  <a:pt x="305" y="196"/>
                </a:lnTo>
                <a:lnTo>
                  <a:pt x="301" y="194"/>
                </a:lnTo>
                <a:lnTo>
                  <a:pt x="299" y="198"/>
                </a:lnTo>
                <a:lnTo>
                  <a:pt x="296" y="202"/>
                </a:lnTo>
                <a:lnTo>
                  <a:pt x="293" y="198"/>
                </a:lnTo>
                <a:lnTo>
                  <a:pt x="291" y="196"/>
                </a:lnTo>
                <a:lnTo>
                  <a:pt x="287" y="201"/>
                </a:lnTo>
                <a:lnTo>
                  <a:pt x="284" y="204"/>
                </a:lnTo>
                <a:lnTo>
                  <a:pt x="279" y="204"/>
                </a:lnTo>
                <a:lnTo>
                  <a:pt x="272" y="204"/>
                </a:lnTo>
                <a:lnTo>
                  <a:pt x="267" y="204"/>
                </a:lnTo>
                <a:lnTo>
                  <a:pt x="264" y="204"/>
                </a:lnTo>
                <a:close/>
                <a:moveTo>
                  <a:pt x="678" y="148"/>
                </a:moveTo>
                <a:lnTo>
                  <a:pt x="677" y="149"/>
                </a:lnTo>
                <a:lnTo>
                  <a:pt x="676" y="152"/>
                </a:lnTo>
                <a:lnTo>
                  <a:pt x="676" y="153"/>
                </a:lnTo>
                <a:lnTo>
                  <a:pt x="677" y="155"/>
                </a:lnTo>
                <a:lnTo>
                  <a:pt x="677" y="157"/>
                </a:lnTo>
                <a:lnTo>
                  <a:pt x="677" y="159"/>
                </a:lnTo>
                <a:lnTo>
                  <a:pt x="676" y="160"/>
                </a:lnTo>
                <a:lnTo>
                  <a:pt x="674" y="160"/>
                </a:lnTo>
                <a:lnTo>
                  <a:pt x="672" y="160"/>
                </a:lnTo>
                <a:lnTo>
                  <a:pt x="670" y="161"/>
                </a:lnTo>
                <a:lnTo>
                  <a:pt x="669" y="162"/>
                </a:lnTo>
                <a:lnTo>
                  <a:pt x="667" y="163"/>
                </a:lnTo>
                <a:lnTo>
                  <a:pt x="665" y="166"/>
                </a:lnTo>
                <a:lnTo>
                  <a:pt x="664" y="167"/>
                </a:lnTo>
                <a:lnTo>
                  <a:pt x="664" y="162"/>
                </a:lnTo>
                <a:lnTo>
                  <a:pt x="665" y="159"/>
                </a:lnTo>
                <a:lnTo>
                  <a:pt x="667" y="152"/>
                </a:lnTo>
                <a:lnTo>
                  <a:pt x="672" y="146"/>
                </a:lnTo>
                <a:lnTo>
                  <a:pt x="676" y="143"/>
                </a:lnTo>
                <a:lnTo>
                  <a:pt x="680" y="143"/>
                </a:lnTo>
                <a:lnTo>
                  <a:pt x="679" y="146"/>
                </a:lnTo>
                <a:lnTo>
                  <a:pt x="678" y="148"/>
                </a:lnTo>
                <a:close/>
                <a:moveTo>
                  <a:pt x="665" y="241"/>
                </a:moveTo>
                <a:lnTo>
                  <a:pt x="664" y="240"/>
                </a:lnTo>
                <a:lnTo>
                  <a:pt x="664" y="239"/>
                </a:lnTo>
                <a:lnTo>
                  <a:pt x="670" y="237"/>
                </a:lnTo>
                <a:lnTo>
                  <a:pt x="674" y="233"/>
                </a:lnTo>
                <a:lnTo>
                  <a:pt x="676" y="234"/>
                </a:lnTo>
                <a:lnTo>
                  <a:pt x="676" y="236"/>
                </a:lnTo>
                <a:lnTo>
                  <a:pt x="670" y="238"/>
                </a:lnTo>
                <a:lnTo>
                  <a:pt x="665" y="241"/>
                </a:lnTo>
                <a:close/>
                <a:moveTo>
                  <a:pt x="553" y="237"/>
                </a:moveTo>
                <a:lnTo>
                  <a:pt x="552" y="237"/>
                </a:lnTo>
                <a:lnTo>
                  <a:pt x="549" y="238"/>
                </a:lnTo>
                <a:lnTo>
                  <a:pt x="549" y="236"/>
                </a:lnTo>
                <a:lnTo>
                  <a:pt x="549" y="234"/>
                </a:lnTo>
                <a:lnTo>
                  <a:pt x="553" y="231"/>
                </a:lnTo>
                <a:lnTo>
                  <a:pt x="557" y="229"/>
                </a:lnTo>
                <a:lnTo>
                  <a:pt x="559" y="230"/>
                </a:lnTo>
                <a:lnTo>
                  <a:pt x="559" y="231"/>
                </a:lnTo>
                <a:lnTo>
                  <a:pt x="556" y="233"/>
                </a:lnTo>
                <a:lnTo>
                  <a:pt x="553" y="237"/>
                </a:lnTo>
                <a:close/>
                <a:moveTo>
                  <a:pt x="497" y="240"/>
                </a:moveTo>
                <a:lnTo>
                  <a:pt x="497" y="238"/>
                </a:lnTo>
                <a:lnTo>
                  <a:pt x="497" y="236"/>
                </a:lnTo>
                <a:lnTo>
                  <a:pt x="499" y="234"/>
                </a:lnTo>
                <a:lnTo>
                  <a:pt x="503" y="233"/>
                </a:lnTo>
                <a:lnTo>
                  <a:pt x="500" y="237"/>
                </a:lnTo>
                <a:lnTo>
                  <a:pt x="497" y="240"/>
                </a:lnTo>
                <a:close/>
                <a:moveTo>
                  <a:pt x="467" y="255"/>
                </a:moveTo>
                <a:lnTo>
                  <a:pt x="467" y="252"/>
                </a:lnTo>
                <a:lnTo>
                  <a:pt x="467" y="248"/>
                </a:lnTo>
                <a:lnTo>
                  <a:pt x="467" y="245"/>
                </a:lnTo>
                <a:lnTo>
                  <a:pt x="469" y="241"/>
                </a:lnTo>
                <a:lnTo>
                  <a:pt x="470" y="241"/>
                </a:lnTo>
                <a:lnTo>
                  <a:pt x="471" y="241"/>
                </a:lnTo>
                <a:lnTo>
                  <a:pt x="472" y="245"/>
                </a:lnTo>
                <a:lnTo>
                  <a:pt x="471" y="248"/>
                </a:lnTo>
                <a:lnTo>
                  <a:pt x="470" y="253"/>
                </a:lnTo>
                <a:lnTo>
                  <a:pt x="467" y="255"/>
                </a:lnTo>
                <a:close/>
                <a:moveTo>
                  <a:pt x="430" y="288"/>
                </a:moveTo>
                <a:lnTo>
                  <a:pt x="429" y="286"/>
                </a:lnTo>
                <a:lnTo>
                  <a:pt x="429" y="282"/>
                </a:lnTo>
                <a:lnTo>
                  <a:pt x="431" y="279"/>
                </a:lnTo>
                <a:lnTo>
                  <a:pt x="435" y="275"/>
                </a:lnTo>
                <a:lnTo>
                  <a:pt x="432" y="281"/>
                </a:lnTo>
                <a:lnTo>
                  <a:pt x="430" y="288"/>
                </a:lnTo>
                <a:close/>
                <a:moveTo>
                  <a:pt x="424" y="274"/>
                </a:moveTo>
                <a:lnTo>
                  <a:pt x="422" y="274"/>
                </a:lnTo>
                <a:lnTo>
                  <a:pt x="421" y="273"/>
                </a:lnTo>
                <a:lnTo>
                  <a:pt x="421" y="273"/>
                </a:lnTo>
                <a:lnTo>
                  <a:pt x="421" y="272"/>
                </a:lnTo>
                <a:lnTo>
                  <a:pt x="424" y="269"/>
                </a:lnTo>
                <a:lnTo>
                  <a:pt x="428" y="267"/>
                </a:lnTo>
                <a:lnTo>
                  <a:pt x="429" y="268"/>
                </a:lnTo>
                <a:lnTo>
                  <a:pt x="430" y="269"/>
                </a:lnTo>
                <a:lnTo>
                  <a:pt x="427" y="272"/>
                </a:lnTo>
                <a:lnTo>
                  <a:pt x="424" y="274"/>
                </a:lnTo>
                <a:close/>
                <a:moveTo>
                  <a:pt x="511" y="440"/>
                </a:moveTo>
                <a:lnTo>
                  <a:pt x="518" y="439"/>
                </a:lnTo>
                <a:lnTo>
                  <a:pt x="524" y="438"/>
                </a:lnTo>
                <a:lnTo>
                  <a:pt x="524" y="436"/>
                </a:lnTo>
                <a:lnTo>
                  <a:pt x="524" y="436"/>
                </a:lnTo>
                <a:lnTo>
                  <a:pt x="519" y="435"/>
                </a:lnTo>
                <a:lnTo>
                  <a:pt x="513" y="434"/>
                </a:lnTo>
                <a:lnTo>
                  <a:pt x="513" y="434"/>
                </a:lnTo>
                <a:lnTo>
                  <a:pt x="513" y="433"/>
                </a:lnTo>
                <a:lnTo>
                  <a:pt x="515" y="433"/>
                </a:lnTo>
                <a:lnTo>
                  <a:pt x="517" y="432"/>
                </a:lnTo>
                <a:lnTo>
                  <a:pt x="527" y="432"/>
                </a:lnTo>
                <a:lnTo>
                  <a:pt x="536" y="432"/>
                </a:lnTo>
                <a:lnTo>
                  <a:pt x="542" y="433"/>
                </a:lnTo>
                <a:lnTo>
                  <a:pt x="547" y="435"/>
                </a:lnTo>
                <a:lnTo>
                  <a:pt x="560" y="436"/>
                </a:lnTo>
                <a:lnTo>
                  <a:pt x="572" y="438"/>
                </a:lnTo>
                <a:lnTo>
                  <a:pt x="575" y="439"/>
                </a:lnTo>
                <a:lnTo>
                  <a:pt x="579" y="441"/>
                </a:lnTo>
                <a:lnTo>
                  <a:pt x="576" y="445"/>
                </a:lnTo>
                <a:lnTo>
                  <a:pt x="574" y="447"/>
                </a:lnTo>
                <a:lnTo>
                  <a:pt x="570" y="447"/>
                </a:lnTo>
                <a:lnTo>
                  <a:pt x="566" y="447"/>
                </a:lnTo>
                <a:lnTo>
                  <a:pt x="567" y="450"/>
                </a:lnTo>
                <a:lnTo>
                  <a:pt x="570" y="454"/>
                </a:lnTo>
                <a:lnTo>
                  <a:pt x="574" y="456"/>
                </a:lnTo>
                <a:lnTo>
                  <a:pt x="577" y="457"/>
                </a:lnTo>
                <a:lnTo>
                  <a:pt x="581" y="459"/>
                </a:lnTo>
                <a:lnTo>
                  <a:pt x="586" y="459"/>
                </a:lnTo>
                <a:lnTo>
                  <a:pt x="582" y="461"/>
                </a:lnTo>
                <a:lnTo>
                  <a:pt x="577" y="461"/>
                </a:lnTo>
                <a:lnTo>
                  <a:pt x="572" y="460"/>
                </a:lnTo>
                <a:lnTo>
                  <a:pt x="562" y="456"/>
                </a:lnTo>
                <a:lnTo>
                  <a:pt x="564" y="459"/>
                </a:lnTo>
                <a:lnTo>
                  <a:pt x="567" y="462"/>
                </a:lnTo>
                <a:lnTo>
                  <a:pt x="561" y="460"/>
                </a:lnTo>
                <a:lnTo>
                  <a:pt x="557" y="459"/>
                </a:lnTo>
                <a:lnTo>
                  <a:pt x="555" y="462"/>
                </a:lnTo>
                <a:lnTo>
                  <a:pt x="554" y="464"/>
                </a:lnTo>
                <a:lnTo>
                  <a:pt x="550" y="464"/>
                </a:lnTo>
                <a:lnTo>
                  <a:pt x="547" y="463"/>
                </a:lnTo>
                <a:lnTo>
                  <a:pt x="546" y="464"/>
                </a:lnTo>
                <a:lnTo>
                  <a:pt x="546" y="466"/>
                </a:lnTo>
                <a:lnTo>
                  <a:pt x="545" y="467"/>
                </a:lnTo>
                <a:lnTo>
                  <a:pt x="543" y="468"/>
                </a:lnTo>
                <a:lnTo>
                  <a:pt x="539" y="466"/>
                </a:lnTo>
                <a:lnTo>
                  <a:pt x="535" y="463"/>
                </a:lnTo>
                <a:lnTo>
                  <a:pt x="531" y="461"/>
                </a:lnTo>
                <a:lnTo>
                  <a:pt x="528" y="456"/>
                </a:lnTo>
                <a:lnTo>
                  <a:pt x="531" y="456"/>
                </a:lnTo>
                <a:lnTo>
                  <a:pt x="533" y="456"/>
                </a:lnTo>
                <a:lnTo>
                  <a:pt x="532" y="453"/>
                </a:lnTo>
                <a:lnTo>
                  <a:pt x="532" y="450"/>
                </a:lnTo>
                <a:lnTo>
                  <a:pt x="538" y="450"/>
                </a:lnTo>
                <a:lnTo>
                  <a:pt x="545" y="450"/>
                </a:lnTo>
                <a:lnTo>
                  <a:pt x="545" y="450"/>
                </a:lnTo>
                <a:lnTo>
                  <a:pt x="545" y="449"/>
                </a:lnTo>
                <a:lnTo>
                  <a:pt x="538" y="447"/>
                </a:lnTo>
                <a:lnTo>
                  <a:pt x="531" y="445"/>
                </a:lnTo>
                <a:lnTo>
                  <a:pt x="531" y="443"/>
                </a:lnTo>
                <a:lnTo>
                  <a:pt x="529" y="445"/>
                </a:lnTo>
                <a:lnTo>
                  <a:pt x="528" y="446"/>
                </a:lnTo>
                <a:lnTo>
                  <a:pt x="527" y="447"/>
                </a:lnTo>
                <a:lnTo>
                  <a:pt x="525" y="447"/>
                </a:lnTo>
                <a:lnTo>
                  <a:pt x="524" y="447"/>
                </a:lnTo>
                <a:lnTo>
                  <a:pt x="520" y="446"/>
                </a:lnTo>
                <a:lnTo>
                  <a:pt x="518" y="445"/>
                </a:lnTo>
                <a:lnTo>
                  <a:pt x="515" y="445"/>
                </a:lnTo>
                <a:lnTo>
                  <a:pt x="514" y="443"/>
                </a:lnTo>
                <a:lnTo>
                  <a:pt x="512" y="445"/>
                </a:lnTo>
                <a:lnTo>
                  <a:pt x="511" y="447"/>
                </a:lnTo>
                <a:lnTo>
                  <a:pt x="508" y="448"/>
                </a:lnTo>
                <a:lnTo>
                  <a:pt x="507" y="448"/>
                </a:lnTo>
                <a:lnTo>
                  <a:pt x="505" y="447"/>
                </a:lnTo>
                <a:lnTo>
                  <a:pt x="504" y="446"/>
                </a:lnTo>
                <a:lnTo>
                  <a:pt x="501" y="443"/>
                </a:lnTo>
                <a:lnTo>
                  <a:pt x="500" y="441"/>
                </a:lnTo>
                <a:lnTo>
                  <a:pt x="503" y="440"/>
                </a:lnTo>
                <a:lnTo>
                  <a:pt x="505" y="439"/>
                </a:lnTo>
                <a:lnTo>
                  <a:pt x="508" y="439"/>
                </a:lnTo>
                <a:lnTo>
                  <a:pt x="511" y="440"/>
                </a:lnTo>
                <a:close/>
                <a:moveTo>
                  <a:pt x="539" y="425"/>
                </a:moveTo>
                <a:lnTo>
                  <a:pt x="536" y="426"/>
                </a:lnTo>
                <a:lnTo>
                  <a:pt x="534" y="426"/>
                </a:lnTo>
                <a:lnTo>
                  <a:pt x="529" y="427"/>
                </a:lnTo>
                <a:lnTo>
                  <a:pt x="524" y="428"/>
                </a:lnTo>
                <a:lnTo>
                  <a:pt x="520" y="431"/>
                </a:lnTo>
                <a:lnTo>
                  <a:pt x="515" y="431"/>
                </a:lnTo>
                <a:lnTo>
                  <a:pt x="511" y="429"/>
                </a:lnTo>
                <a:lnTo>
                  <a:pt x="506" y="427"/>
                </a:lnTo>
                <a:lnTo>
                  <a:pt x="513" y="425"/>
                </a:lnTo>
                <a:lnTo>
                  <a:pt x="522" y="424"/>
                </a:lnTo>
                <a:lnTo>
                  <a:pt x="532" y="424"/>
                </a:lnTo>
                <a:lnTo>
                  <a:pt x="539" y="425"/>
                </a:lnTo>
                <a:close/>
                <a:moveTo>
                  <a:pt x="708" y="511"/>
                </a:moveTo>
                <a:lnTo>
                  <a:pt x="708" y="511"/>
                </a:lnTo>
                <a:lnTo>
                  <a:pt x="708" y="511"/>
                </a:lnTo>
                <a:lnTo>
                  <a:pt x="706" y="511"/>
                </a:lnTo>
                <a:lnTo>
                  <a:pt x="705" y="511"/>
                </a:lnTo>
                <a:lnTo>
                  <a:pt x="706" y="511"/>
                </a:lnTo>
                <a:lnTo>
                  <a:pt x="708" y="511"/>
                </a:lnTo>
                <a:close/>
                <a:moveTo>
                  <a:pt x="729" y="515"/>
                </a:moveTo>
                <a:lnTo>
                  <a:pt x="729" y="515"/>
                </a:lnTo>
                <a:lnTo>
                  <a:pt x="728" y="515"/>
                </a:lnTo>
                <a:lnTo>
                  <a:pt x="726" y="515"/>
                </a:lnTo>
                <a:lnTo>
                  <a:pt x="725" y="513"/>
                </a:lnTo>
                <a:lnTo>
                  <a:pt x="725" y="513"/>
                </a:lnTo>
                <a:lnTo>
                  <a:pt x="725" y="513"/>
                </a:lnTo>
                <a:lnTo>
                  <a:pt x="727" y="515"/>
                </a:lnTo>
                <a:lnTo>
                  <a:pt x="729" y="515"/>
                </a:lnTo>
                <a:close/>
                <a:moveTo>
                  <a:pt x="840" y="1016"/>
                </a:move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close/>
                <a:moveTo>
                  <a:pt x="417" y="288"/>
                </a:moveTo>
                <a:lnTo>
                  <a:pt x="415" y="285"/>
                </a:lnTo>
                <a:lnTo>
                  <a:pt x="412" y="281"/>
                </a:lnTo>
                <a:lnTo>
                  <a:pt x="416" y="281"/>
                </a:lnTo>
                <a:lnTo>
                  <a:pt x="418" y="281"/>
                </a:lnTo>
                <a:lnTo>
                  <a:pt x="418" y="283"/>
                </a:lnTo>
                <a:lnTo>
                  <a:pt x="417" y="288"/>
                </a:lnTo>
                <a:close/>
                <a:moveTo>
                  <a:pt x="412" y="259"/>
                </a:moveTo>
                <a:lnTo>
                  <a:pt x="414" y="259"/>
                </a:lnTo>
                <a:lnTo>
                  <a:pt x="415" y="259"/>
                </a:lnTo>
                <a:lnTo>
                  <a:pt x="415" y="264"/>
                </a:lnTo>
                <a:lnTo>
                  <a:pt x="416" y="268"/>
                </a:lnTo>
                <a:lnTo>
                  <a:pt x="415" y="268"/>
                </a:lnTo>
                <a:lnTo>
                  <a:pt x="415" y="269"/>
                </a:lnTo>
                <a:lnTo>
                  <a:pt x="414" y="268"/>
                </a:lnTo>
                <a:lnTo>
                  <a:pt x="412" y="268"/>
                </a:lnTo>
                <a:lnTo>
                  <a:pt x="412" y="264"/>
                </a:lnTo>
                <a:lnTo>
                  <a:pt x="412" y="259"/>
                </a:lnTo>
                <a:close/>
                <a:moveTo>
                  <a:pt x="398" y="318"/>
                </a:moveTo>
                <a:lnTo>
                  <a:pt x="402" y="313"/>
                </a:lnTo>
                <a:lnTo>
                  <a:pt x="404" y="307"/>
                </a:lnTo>
                <a:lnTo>
                  <a:pt x="405" y="313"/>
                </a:lnTo>
                <a:lnTo>
                  <a:pt x="405" y="316"/>
                </a:lnTo>
                <a:lnTo>
                  <a:pt x="403" y="318"/>
                </a:lnTo>
                <a:lnTo>
                  <a:pt x="398" y="318"/>
                </a:lnTo>
                <a:close/>
                <a:moveTo>
                  <a:pt x="396" y="373"/>
                </a:moveTo>
                <a:lnTo>
                  <a:pt x="400" y="369"/>
                </a:lnTo>
                <a:lnTo>
                  <a:pt x="403" y="365"/>
                </a:lnTo>
                <a:lnTo>
                  <a:pt x="404" y="370"/>
                </a:lnTo>
                <a:lnTo>
                  <a:pt x="403" y="372"/>
                </a:lnTo>
                <a:lnTo>
                  <a:pt x="400" y="373"/>
                </a:lnTo>
                <a:lnTo>
                  <a:pt x="396" y="373"/>
                </a:lnTo>
                <a:close/>
                <a:moveTo>
                  <a:pt x="393" y="318"/>
                </a:moveTo>
                <a:lnTo>
                  <a:pt x="394" y="322"/>
                </a:lnTo>
                <a:lnTo>
                  <a:pt x="394" y="324"/>
                </a:lnTo>
                <a:lnTo>
                  <a:pt x="393" y="324"/>
                </a:lnTo>
                <a:lnTo>
                  <a:pt x="393" y="324"/>
                </a:lnTo>
                <a:lnTo>
                  <a:pt x="390" y="320"/>
                </a:lnTo>
                <a:lnTo>
                  <a:pt x="388" y="316"/>
                </a:lnTo>
                <a:lnTo>
                  <a:pt x="391" y="315"/>
                </a:lnTo>
                <a:lnTo>
                  <a:pt x="397" y="314"/>
                </a:lnTo>
                <a:lnTo>
                  <a:pt x="395" y="317"/>
                </a:lnTo>
                <a:lnTo>
                  <a:pt x="393" y="318"/>
                </a:lnTo>
                <a:close/>
                <a:moveTo>
                  <a:pt x="383" y="307"/>
                </a:moveTo>
                <a:lnTo>
                  <a:pt x="380" y="307"/>
                </a:lnTo>
                <a:lnTo>
                  <a:pt x="376" y="308"/>
                </a:lnTo>
                <a:lnTo>
                  <a:pt x="377" y="304"/>
                </a:lnTo>
                <a:lnTo>
                  <a:pt x="380" y="300"/>
                </a:lnTo>
                <a:lnTo>
                  <a:pt x="382" y="303"/>
                </a:lnTo>
                <a:lnTo>
                  <a:pt x="384" y="304"/>
                </a:lnTo>
                <a:lnTo>
                  <a:pt x="383" y="306"/>
                </a:lnTo>
                <a:lnTo>
                  <a:pt x="383" y="307"/>
                </a:lnTo>
                <a:close/>
                <a:moveTo>
                  <a:pt x="369" y="311"/>
                </a:moveTo>
                <a:lnTo>
                  <a:pt x="373" y="309"/>
                </a:lnTo>
                <a:lnTo>
                  <a:pt x="376" y="308"/>
                </a:lnTo>
                <a:lnTo>
                  <a:pt x="377" y="310"/>
                </a:lnTo>
                <a:lnTo>
                  <a:pt x="380" y="314"/>
                </a:lnTo>
                <a:lnTo>
                  <a:pt x="375" y="313"/>
                </a:lnTo>
                <a:lnTo>
                  <a:pt x="369" y="311"/>
                </a:lnTo>
                <a:close/>
                <a:moveTo>
                  <a:pt x="366" y="315"/>
                </a:moveTo>
                <a:lnTo>
                  <a:pt x="363" y="317"/>
                </a:lnTo>
                <a:lnTo>
                  <a:pt x="361" y="320"/>
                </a:lnTo>
                <a:lnTo>
                  <a:pt x="360" y="315"/>
                </a:lnTo>
                <a:lnTo>
                  <a:pt x="361" y="311"/>
                </a:lnTo>
                <a:lnTo>
                  <a:pt x="362" y="308"/>
                </a:lnTo>
                <a:lnTo>
                  <a:pt x="363" y="303"/>
                </a:lnTo>
                <a:lnTo>
                  <a:pt x="365" y="301"/>
                </a:lnTo>
                <a:lnTo>
                  <a:pt x="366" y="300"/>
                </a:lnTo>
                <a:lnTo>
                  <a:pt x="368" y="297"/>
                </a:lnTo>
                <a:lnTo>
                  <a:pt x="370" y="295"/>
                </a:lnTo>
                <a:lnTo>
                  <a:pt x="372" y="297"/>
                </a:lnTo>
                <a:lnTo>
                  <a:pt x="373" y="300"/>
                </a:lnTo>
                <a:lnTo>
                  <a:pt x="370" y="303"/>
                </a:lnTo>
                <a:lnTo>
                  <a:pt x="367" y="308"/>
                </a:lnTo>
                <a:lnTo>
                  <a:pt x="368" y="309"/>
                </a:lnTo>
                <a:lnTo>
                  <a:pt x="369" y="311"/>
                </a:lnTo>
                <a:lnTo>
                  <a:pt x="369" y="311"/>
                </a:lnTo>
                <a:lnTo>
                  <a:pt x="368" y="313"/>
                </a:lnTo>
                <a:lnTo>
                  <a:pt x="366" y="315"/>
                </a:lnTo>
                <a:close/>
                <a:moveTo>
                  <a:pt x="312" y="328"/>
                </a:moveTo>
                <a:lnTo>
                  <a:pt x="306" y="327"/>
                </a:lnTo>
                <a:lnTo>
                  <a:pt x="299" y="324"/>
                </a:lnTo>
                <a:lnTo>
                  <a:pt x="299" y="324"/>
                </a:lnTo>
                <a:lnTo>
                  <a:pt x="299" y="322"/>
                </a:lnTo>
                <a:lnTo>
                  <a:pt x="297" y="323"/>
                </a:lnTo>
                <a:lnTo>
                  <a:pt x="293" y="323"/>
                </a:lnTo>
                <a:lnTo>
                  <a:pt x="291" y="323"/>
                </a:lnTo>
                <a:lnTo>
                  <a:pt x="289" y="320"/>
                </a:lnTo>
                <a:lnTo>
                  <a:pt x="286" y="323"/>
                </a:lnTo>
                <a:lnTo>
                  <a:pt x="284" y="324"/>
                </a:lnTo>
                <a:lnTo>
                  <a:pt x="280" y="325"/>
                </a:lnTo>
                <a:lnTo>
                  <a:pt x="277" y="324"/>
                </a:lnTo>
                <a:lnTo>
                  <a:pt x="274" y="323"/>
                </a:lnTo>
                <a:lnTo>
                  <a:pt x="271" y="323"/>
                </a:lnTo>
                <a:lnTo>
                  <a:pt x="269" y="323"/>
                </a:lnTo>
                <a:lnTo>
                  <a:pt x="267" y="323"/>
                </a:lnTo>
                <a:lnTo>
                  <a:pt x="266" y="321"/>
                </a:lnTo>
                <a:lnTo>
                  <a:pt x="266" y="318"/>
                </a:lnTo>
                <a:lnTo>
                  <a:pt x="266" y="318"/>
                </a:lnTo>
                <a:lnTo>
                  <a:pt x="267" y="317"/>
                </a:lnTo>
                <a:lnTo>
                  <a:pt x="273" y="315"/>
                </a:lnTo>
                <a:lnTo>
                  <a:pt x="280" y="311"/>
                </a:lnTo>
                <a:lnTo>
                  <a:pt x="286" y="309"/>
                </a:lnTo>
                <a:lnTo>
                  <a:pt x="291" y="307"/>
                </a:lnTo>
                <a:lnTo>
                  <a:pt x="293" y="307"/>
                </a:lnTo>
                <a:lnTo>
                  <a:pt x="294" y="308"/>
                </a:lnTo>
                <a:lnTo>
                  <a:pt x="297" y="309"/>
                </a:lnTo>
                <a:lnTo>
                  <a:pt x="298" y="309"/>
                </a:lnTo>
                <a:lnTo>
                  <a:pt x="300" y="309"/>
                </a:lnTo>
                <a:lnTo>
                  <a:pt x="303" y="308"/>
                </a:lnTo>
                <a:lnTo>
                  <a:pt x="307" y="311"/>
                </a:lnTo>
                <a:lnTo>
                  <a:pt x="312" y="316"/>
                </a:lnTo>
                <a:lnTo>
                  <a:pt x="313" y="322"/>
                </a:lnTo>
                <a:lnTo>
                  <a:pt x="312" y="328"/>
                </a:lnTo>
                <a:close/>
                <a:moveTo>
                  <a:pt x="255" y="361"/>
                </a:moveTo>
                <a:lnTo>
                  <a:pt x="253" y="362"/>
                </a:lnTo>
                <a:lnTo>
                  <a:pt x="251" y="363"/>
                </a:lnTo>
                <a:lnTo>
                  <a:pt x="249" y="364"/>
                </a:lnTo>
                <a:lnTo>
                  <a:pt x="246" y="365"/>
                </a:lnTo>
                <a:lnTo>
                  <a:pt x="243" y="368"/>
                </a:lnTo>
                <a:lnTo>
                  <a:pt x="241" y="371"/>
                </a:lnTo>
                <a:lnTo>
                  <a:pt x="237" y="366"/>
                </a:lnTo>
                <a:lnTo>
                  <a:pt x="237" y="363"/>
                </a:lnTo>
                <a:lnTo>
                  <a:pt x="238" y="361"/>
                </a:lnTo>
                <a:lnTo>
                  <a:pt x="242" y="357"/>
                </a:lnTo>
                <a:lnTo>
                  <a:pt x="246" y="351"/>
                </a:lnTo>
                <a:lnTo>
                  <a:pt x="251" y="344"/>
                </a:lnTo>
                <a:lnTo>
                  <a:pt x="253" y="342"/>
                </a:lnTo>
                <a:lnTo>
                  <a:pt x="257" y="341"/>
                </a:lnTo>
                <a:lnTo>
                  <a:pt x="258" y="342"/>
                </a:lnTo>
                <a:lnTo>
                  <a:pt x="260" y="345"/>
                </a:lnTo>
                <a:lnTo>
                  <a:pt x="262" y="344"/>
                </a:lnTo>
                <a:lnTo>
                  <a:pt x="264" y="345"/>
                </a:lnTo>
                <a:lnTo>
                  <a:pt x="266" y="346"/>
                </a:lnTo>
                <a:lnTo>
                  <a:pt x="267" y="349"/>
                </a:lnTo>
                <a:lnTo>
                  <a:pt x="263" y="350"/>
                </a:lnTo>
                <a:lnTo>
                  <a:pt x="259" y="352"/>
                </a:lnTo>
                <a:lnTo>
                  <a:pt x="256" y="356"/>
                </a:lnTo>
                <a:lnTo>
                  <a:pt x="255" y="361"/>
                </a:lnTo>
                <a:close/>
                <a:moveTo>
                  <a:pt x="225" y="297"/>
                </a:moveTo>
                <a:lnTo>
                  <a:pt x="225" y="297"/>
                </a:lnTo>
                <a:lnTo>
                  <a:pt x="225" y="296"/>
                </a:lnTo>
                <a:lnTo>
                  <a:pt x="231" y="297"/>
                </a:lnTo>
                <a:lnTo>
                  <a:pt x="238" y="299"/>
                </a:lnTo>
                <a:lnTo>
                  <a:pt x="237" y="300"/>
                </a:lnTo>
                <a:lnTo>
                  <a:pt x="237" y="300"/>
                </a:lnTo>
                <a:lnTo>
                  <a:pt x="231" y="299"/>
                </a:lnTo>
                <a:lnTo>
                  <a:pt x="225" y="297"/>
                </a:lnTo>
                <a:close/>
                <a:moveTo>
                  <a:pt x="244" y="269"/>
                </a:moveTo>
                <a:lnTo>
                  <a:pt x="242" y="272"/>
                </a:lnTo>
                <a:lnTo>
                  <a:pt x="239" y="273"/>
                </a:lnTo>
                <a:lnTo>
                  <a:pt x="236" y="273"/>
                </a:lnTo>
                <a:lnTo>
                  <a:pt x="235" y="272"/>
                </a:lnTo>
                <a:lnTo>
                  <a:pt x="232" y="268"/>
                </a:lnTo>
                <a:lnTo>
                  <a:pt x="230" y="268"/>
                </a:lnTo>
                <a:lnTo>
                  <a:pt x="229" y="268"/>
                </a:lnTo>
                <a:lnTo>
                  <a:pt x="225" y="271"/>
                </a:lnTo>
                <a:lnTo>
                  <a:pt x="224" y="267"/>
                </a:lnTo>
                <a:lnTo>
                  <a:pt x="222" y="264"/>
                </a:lnTo>
                <a:lnTo>
                  <a:pt x="232" y="266"/>
                </a:lnTo>
                <a:lnTo>
                  <a:pt x="244" y="269"/>
                </a:lnTo>
                <a:close/>
                <a:moveTo>
                  <a:pt x="250" y="302"/>
                </a:moveTo>
                <a:lnTo>
                  <a:pt x="246" y="304"/>
                </a:lnTo>
                <a:lnTo>
                  <a:pt x="243" y="307"/>
                </a:lnTo>
                <a:lnTo>
                  <a:pt x="242" y="304"/>
                </a:lnTo>
                <a:lnTo>
                  <a:pt x="241" y="302"/>
                </a:lnTo>
                <a:lnTo>
                  <a:pt x="245" y="302"/>
                </a:lnTo>
                <a:lnTo>
                  <a:pt x="250" y="302"/>
                </a:lnTo>
                <a:close/>
                <a:moveTo>
                  <a:pt x="237" y="281"/>
                </a:moveTo>
                <a:lnTo>
                  <a:pt x="244" y="280"/>
                </a:lnTo>
                <a:lnTo>
                  <a:pt x="250" y="279"/>
                </a:lnTo>
                <a:lnTo>
                  <a:pt x="248" y="281"/>
                </a:lnTo>
                <a:lnTo>
                  <a:pt x="245" y="282"/>
                </a:lnTo>
                <a:lnTo>
                  <a:pt x="242" y="282"/>
                </a:lnTo>
                <a:lnTo>
                  <a:pt x="237" y="281"/>
                </a:lnTo>
                <a:close/>
                <a:moveTo>
                  <a:pt x="227" y="259"/>
                </a:moveTo>
                <a:lnTo>
                  <a:pt x="228" y="259"/>
                </a:lnTo>
                <a:lnTo>
                  <a:pt x="230" y="259"/>
                </a:lnTo>
                <a:lnTo>
                  <a:pt x="230" y="257"/>
                </a:lnTo>
                <a:lnTo>
                  <a:pt x="228" y="254"/>
                </a:lnTo>
                <a:lnTo>
                  <a:pt x="229" y="254"/>
                </a:lnTo>
                <a:lnTo>
                  <a:pt x="229" y="254"/>
                </a:lnTo>
                <a:lnTo>
                  <a:pt x="237" y="257"/>
                </a:lnTo>
                <a:lnTo>
                  <a:pt x="246" y="259"/>
                </a:lnTo>
                <a:lnTo>
                  <a:pt x="245" y="262"/>
                </a:lnTo>
                <a:lnTo>
                  <a:pt x="246" y="264"/>
                </a:lnTo>
                <a:lnTo>
                  <a:pt x="249" y="265"/>
                </a:lnTo>
                <a:lnTo>
                  <a:pt x="251" y="266"/>
                </a:lnTo>
                <a:lnTo>
                  <a:pt x="251" y="267"/>
                </a:lnTo>
                <a:lnTo>
                  <a:pt x="250" y="267"/>
                </a:lnTo>
                <a:lnTo>
                  <a:pt x="235" y="264"/>
                </a:lnTo>
                <a:lnTo>
                  <a:pt x="218" y="259"/>
                </a:lnTo>
                <a:lnTo>
                  <a:pt x="223" y="259"/>
                </a:lnTo>
                <a:lnTo>
                  <a:pt x="227" y="259"/>
                </a:lnTo>
                <a:close/>
                <a:moveTo>
                  <a:pt x="264" y="322"/>
                </a:moveTo>
                <a:lnTo>
                  <a:pt x="263" y="323"/>
                </a:lnTo>
                <a:lnTo>
                  <a:pt x="262" y="324"/>
                </a:lnTo>
                <a:lnTo>
                  <a:pt x="262" y="325"/>
                </a:lnTo>
                <a:lnTo>
                  <a:pt x="262" y="325"/>
                </a:lnTo>
                <a:lnTo>
                  <a:pt x="263" y="323"/>
                </a:lnTo>
                <a:lnTo>
                  <a:pt x="264" y="322"/>
                </a:lnTo>
                <a:close/>
                <a:moveTo>
                  <a:pt x="283" y="300"/>
                </a:moveTo>
                <a:lnTo>
                  <a:pt x="283" y="301"/>
                </a:lnTo>
                <a:lnTo>
                  <a:pt x="284" y="301"/>
                </a:lnTo>
                <a:lnTo>
                  <a:pt x="284" y="302"/>
                </a:lnTo>
                <a:lnTo>
                  <a:pt x="284" y="302"/>
                </a:lnTo>
                <a:lnTo>
                  <a:pt x="283" y="301"/>
                </a:lnTo>
                <a:lnTo>
                  <a:pt x="282" y="300"/>
                </a:lnTo>
                <a:lnTo>
                  <a:pt x="282" y="300"/>
                </a:lnTo>
                <a:lnTo>
                  <a:pt x="283" y="300"/>
                </a:lnTo>
                <a:close/>
                <a:moveTo>
                  <a:pt x="167" y="279"/>
                </a:moveTo>
                <a:lnTo>
                  <a:pt x="167" y="281"/>
                </a:lnTo>
                <a:lnTo>
                  <a:pt x="167" y="283"/>
                </a:lnTo>
                <a:lnTo>
                  <a:pt x="166" y="282"/>
                </a:lnTo>
                <a:lnTo>
                  <a:pt x="166" y="282"/>
                </a:lnTo>
                <a:lnTo>
                  <a:pt x="161" y="275"/>
                </a:lnTo>
                <a:lnTo>
                  <a:pt x="156" y="268"/>
                </a:lnTo>
                <a:lnTo>
                  <a:pt x="154" y="265"/>
                </a:lnTo>
                <a:lnTo>
                  <a:pt x="152" y="262"/>
                </a:lnTo>
                <a:lnTo>
                  <a:pt x="149" y="259"/>
                </a:lnTo>
                <a:lnTo>
                  <a:pt x="147" y="258"/>
                </a:lnTo>
                <a:lnTo>
                  <a:pt x="146" y="255"/>
                </a:lnTo>
                <a:lnTo>
                  <a:pt x="145" y="253"/>
                </a:lnTo>
                <a:lnTo>
                  <a:pt x="146" y="250"/>
                </a:lnTo>
                <a:lnTo>
                  <a:pt x="147" y="248"/>
                </a:lnTo>
                <a:lnTo>
                  <a:pt x="149" y="248"/>
                </a:lnTo>
                <a:lnTo>
                  <a:pt x="152" y="250"/>
                </a:lnTo>
                <a:lnTo>
                  <a:pt x="161" y="259"/>
                </a:lnTo>
                <a:lnTo>
                  <a:pt x="169" y="269"/>
                </a:lnTo>
                <a:lnTo>
                  <a:pt x="174" y="274"/>
                </a:lnTo>
                <a:lnTo>
                  <a:pt x="179" y="280"/>
                </a:lnTo>
                <a:lnTo>
                  <a:pt x="174" y="282"/>
                </a:lnTo>
                <a:lnTo>
                  <a:pt x="172" y="282"/>
                </a:lnTo>
                <a:lnTo>
                  <a:pt x="169" y="281"/>
                </a:lnTo>
                <a:lnTo>
                  <a:pt x="167" y="279"/>
                </a:lnTo>
                <a:close/>
                <a:moveTo>
                  <a:pt x="155" y="220"/>
                </a:moveTo>
                <a:lnTo>
                  <a:pt x="159" y="223"/>
                </a:lnTo>
                <a:lnTo>
                  <a:pt x="161" y="223"/>
                </a:lnTo>
                <a:lnTo>
                  <a:pt x="165" y="223"/>
                </a:lnTo>
                <a:lnTo>
                  <a:pt x="168" y="222"/>
                </a:lnTo>
                <a:lnTo>
                  <a:pt x="174" y="219"/>
                </a:lnTo>
                <a:lnTo>
                  <a:pt x="179" y="217"/>
                </a:lnTo>
                <a:lnTo>
                  <a:pt x="180" y="217"/>
                </a:lnTo>
                <a:lnTo>
                  <a:pt x="181" y="217"/>
                </a:lnTo>
                <a:lnTo>
                  <a:pt x="186" y="219"/>
                </a:lnTo>
                <a:lnTo>
                  <a:pt x="190" y="223"/>
                </a:lnTo>
                <a:lnTo>
                  <a:pt x="188" y="224"/>
                </a:lnTo>
                <a:lnTo>
                  <a:pt x="184" y="224"/>
                </a:lnTo>
                <a:lnTo>
                  <a:pt x="181" y="224"/>
                </a:lnTo>
                <a:lnTo>
                  <a:pt x="177" y="223"/>
                </a:lnTo>
                <a:lnTo>
                  <a:pt x="175" y="224"/>
                </a:lnTo>
                <a:lnTo>
                  <a:pt x="173" y="224"/>
                </a:lnTo>
                <a:lnTo>
                  <a:pt x="162" y="225"/>
                </a:lnTo>
                <a:lnTo>
                  <a:pt x="151" y="225"/>
                </a:lnTo>
                <a:lnTo>
                  <a:pt x="149" y="225"/>
                </a:lnTo>
                <a:lnTo>
                  <a:pt x="148" y="224"/>
                </a:lnTo>
                <a:lnTo>
                  <a:pt x="152" y="222"/>
                </a:lnTo>
                <a:lnTo>
                  <a:pt x="155" y="220"/>
                </a:lnTo>
                <a:close/>
                <a:moveTo>
                  <a:pt x="158" y="190"/>
                </a:moveTo>
                <a:lnTo>
                  <a:pt x="160" y="192"/>
                </a:lnTo>
                <a:lnTo>
                  <a:pt x="162" y="194"/>
                </a:lnTo>
                <a:lnTo>
                  <a:pt x="158" y="197"/>
                </a:lnTo>
                <a:lnTo>
                  <a:pt x="153" y="199"/>
                </a:lnTo>
                <a:lnTo>
                  <a:pt x="153" y="196"/>
                </a:lnTo>
                <a:lnTo>
                  <a:pt x="154" y="194"/>
                </a:lnTo>
                <a:lnTo>
                  <a:pt x="156" y="192"/>
                </a:lnTo>
                <a:lnTo>
                  <a:pt x="158" y="190"/>
                </a:lnTo>
                <a:close/>
                <a:moveTo>
                  <a:pt x="161" y="167"/>
                </a:moveTo>
                <a:lnTo>
                  <a:pt x="166" y="167"/>
                </a:lnTo>
                <a:lnTo>
                  <a:pt x="170" y="167"/>
                </a:lnTo>
                <a:lnTo>
                  <a:pt x="172" y="173"/>
                </a:lnTo>
                <a:lnTo>
                  <a:pt x="172" y="180"/>
                </a:lnTo>
                <a:lnTo>
                  <a:pt x="167" y="181"/>
                </a:lnTo>
                <a:lnTo>
                  <a:pt x="163" y="182"/>
                </a:lnTo>
                <a:lnTo>
                  <a:pt x="162" y="180"/>
                </a:lnTo>
                <a:lnTo>
                  <a:pt x="163" y="178"/>
                </a:lnTo>
                <a:lnTo>
                  <a:pt x="166" y="177"/>
                </a:lnTo>
                <a:lnTo>
                  <a:pt x="167" y="176"/>
                </a:lnTo>
                <a:lnTo>
                  <a:pt x="163" y="175"/>
                </a:lnTo>
                <a:lnTo>
                  <a:pt x="162" y="173"/>
                </a:lnTo>
                <a:lnTo>
                  <a:pt x="161" y="170"/>
                </a:lnTo>
                <a:lnTo>
                  <a:pt x="161" y="167"/>
                </a:lnTo>
                <a:close/>
                <a:moveTo>
                  <a:pt x="172" y="204"/>
                </a:moveTo>
                <a:lnTo>
                  <a:pt x="172" y="205"/>
                </a:lnTo>
                <a:lnTo>
                  <a:pt x="170" y="206"/>
                </a:lnTo>
                <a:lnTo>
                  <a:pt x="168" y="205"/>
                </a:lnTo>
                <a:lnTo>
                  <a:pt x="166" y="203"/>
                </a:lnTo>
                <a:lnTo>
                  <a:pt x="166" y="202"/>
                </a:lnTo>
                <a:lnTo>
                  <a:pt x="167" y="201"/>
                </a:lnTo>
                <a:lnTo>
                  <a:pt x="169" y="203"/>
                </a:lnTo>
                <a:lnTo>
                  <a:pt x="172" y="204"/>
                </a:lnTo>
                <a:close/>
                <a:moveTo>
                  <a:pt x="174" y="206"/>
                </a:moveTo>
                <a:lnTo>
                  <a:pt x="177" y="206"/>
                </a:lnTo>
                <a:lnTo>
                  <a:pt x="180" y="205"/>
                </a:lnTo>
                <a:lnTo>
                  <a:pt x="181" y="203"/>
                </a:lnTo>
                <a:lnTo>
                  <a:pt x="183" y="201"/>
                </a:lnTo>
                <a:lnTo>
                  <a:pt x="186" y="201"/>
                </a:lnTo>
                <a:lnTo>
                  <a:pt x="190" y="201"/>
                </a:lnTo>
                <a:lnTo>
                  <a:pt x="187" y="205"/>
                </a:lnTo>
                <a:lnTo>
                  <a:pt x="183" y="209"/>
                </a:lnTo>
                <a:lnTo>
                  <a:pt x="180" y="211"/>
                </a:lnTo>
                <a:lnTo>
                  <a:pt x="177" y="212"/>
                </a:lnTo>
                <a:lnTo>
                  <a:pt x="174" y="212"/>
                </a:lnTo>
                <a:lnTo>
                  <a:pt x="170" y="210"/>
                </a:lnTo>
                <a:lnTo>
                  <a:pt x="173" y="210"/>
                </a:lnTo>
                <a:lnTo>
                  <a:pt x="175" y="210"/>
                </a:lnTo>
                <a:lnTo>
                  <a:pt x="174" y="208"/>
                </a:lnTo>
                <a:lnTo>
                  <a:pt x="174" y="206"/>
                </a:lnTo>
                <a:close/>
                <a:moveTo>
                  <a:pt x="129" y="204"/>
                </a:moveTo>
                <a:lnTo>
                  <a:pt x="126" y="188"/>
                </a:lnTo>
                <a:lnTo>
                  <a:pt x="122" y="173"/>
                </a:lnTo>
                <a:lnTo>
                  <a:pt x="125" y="170"/>
                </a:lnTo>
                <a:lnTo>
                  <a:pt x="125" y="167"/>
                </a:lnTo>
                <a:lnTo>
                  <a:pt x="125" y="166"/>
                </a:lnTo>
                <a:lnTo>
                  <a:pt x="125" y="164"/>
                </a:lnTo>
                <a:lnTo>
                  <a:pt x="127" y="169"/>
                </a:lnTo>
                <a:lnTo>
                  <a:pt x="129" y="174"/>
                </a:lnTo>
                <a:lnTo>
                  <a:pt x="129" y="180"/>
                </a:lnTo>
                <a:lnTo>
                  <a:pt x="131" y="184"/>
                </a:lnTo>
                <a:lnTo>
                  <a:pt x="131" y="194"/>
                </a:lnTo>
                <a:lnTo>
                  <a:pt x="132" y="203"/>
                </a:lnTo>
                <a:lnTo>
                  <a:pt x="131" y="204"/>
                </a:lnTo>
                <a:lnTo>
                  <a:pt x="129" y="204"/>
                </a:lnTo>
                <a:close/>
                <a:moveTo>
                  <a:pt x="129" y="240"/>
                </a:moveTo>
                <a:lnTo>
                  <a:pt x="129" y="241"/>
                </a:lnTo>
                <a:lnTo>
                  <a:pt x="128" y="241"/>
                </a:lnTo>
                <a:lnTo>
                  <a:pt x="127" y="239"/>
                </a:lnTo>
                <a:lnTo>
                  <a:pt x="127" y="237"/>
                </a:lnTo>
                <a:lnTo>
                  <a:pt x="128" y="234"/>
                </a:lnTo>
                <a:lnTo>
                  <a:pt x="129" y="233"/>
                </a:lnTo>
                <a:lnTo>
                  <a:pt x="129" y="233"/>
                </a:lnTo>
                <a:lnTo>
                  <a:pt x="131" y="234"/>
                </a:lnTo>
                <a:lnTo>
                  <a:pt x="131" y="238"/>
                </a:lnTo>
                <a:lnTo>
                  <a:pt x="129" y="240"/>
                </a:lnTo>
                <a:close/>
                <a:moveTo>
                  <a:pt x="84" y="216"/>
                </a:moveTo>
                <a:lnTo>
                  <a:pt x="84" y="217"/>
                </a:lnTo>
                <a:lnTo>
                  <a:pt x="84" y="220"/>
                </a:lnTo>
                <a:lnTo>
                  <a:pt x="80" y="217"/>
                </a:lnTo>
                <a:lnTo>
                  <a:pt x="78" y="213"/>
                </a:lnTo>
                <a:lnTo>
                  <a:pt x="76" y="210"/>
                </a:lnTo>
                <a:lnTo>
                  <a:pt x="75" y="206"/>
                </a:lnTo>
                <a:lnTo>
                  <a:pt x="76" y="204"/>
                </a:lnTo>
                <a:lnTo>
                  <a:pt x="77" y="202"/>
                </a:lnTo>
                <a:lnTo>
                  <a:pt x="79" y="206"/>
                </a:lnTo>
                <a:lnTo>
                  <a:pt x="80" y="210"/>
                </a:lnTo>
                <a:lnTo>
                  <a:pt x="82" y="210"/>
                </a:lnTo>
                <a:lnTo>
                  <a:pt x="82" y="210"/>
                </a:lnTo>
                <a:lnTo>
                  <a:pt x="82" y="204"/>
                </a:lnTo>
                <a:lnTo>
                  <a:pt x="82" y="199"/>
                </a:lnTo>
                <a:lnTo>
                  <a:pt x="85" y="206"/>
                </a:lnTo>
                <a:lnTo>
                  <a:pt x="87" y="215"/>
                </a:lnTo>
                <a:lnTo>
                  <a:pt x="86" y="215"/>
                </a:lnTo>
                <a:lnTo>
                  <a:pt x="84" y="216"/>
                </a:lnTo>
                <a:close/>
                <a:moveTo>
                  <a:pt x="85" y="194"/>
                </a:moveTo>
                <a:lnTo>
                  <a:pt x="86" y="195"/>
                </a:lnTo>
                <a:lnTo>
                  <a:pt x="86" y="197"/>
                </a:lnTo>
                <a:lnTo>
                  <a:pt x="86" y="198"/>
                </a:lnTo>
                <a:lnTo>
                  <a:pt x="85" y="201"/>
                </a:lnTo>
                <a:lnTo>
                  <a:pt x="84" y="201"/>
                </a:lnTo>
                <a:lnTo>
                  <a:pt x="82" y="199"/>
                </a:lnTo>
                <a:lnTo>
                  <a:pt x="82" y="198"/>
                </a:lnTo>
                <a:lnTo>
                  <a:pt x="80" y="197"/>
                </a:lnTo>
                <a:lnTo>
                  <a:pt x="83" y="196"/>
                </a:lnTo>
                <a:lnTo>
                  <a:pt x="85" y="194"/>
                </a:lnTo>
                <a:close/>
                <a:moveTo>
                  <a:pt x="64" y="182"/>
                </a:move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close/>
                <a:moveTo>
                  <a:pt x="198" y="216"/>
                </a:moveTo>
                <a:lnTo>
                  <a:pt x="201" y="216"/>
                </a:lnTo>
                <a:lnTo>
                  <a:pt x="203" y="217"/>
                </a:lnTo>
                <a:lnTo>
                  <a:pt x="202" y="218"/>
                </a:lnTo>
                <a:lnTo>
                  <a:pt x="202" y="219"/>
                </a:lnTo>
                <a:lnTo>
                  <a:pt x="198" y="219"/>
                </a:lnTo>
                <a:lnTo>
                  <a:pt x="194" y="219"/>
                </a:lnTo>
                <a:lnTo>
                  <a:pt x="194" y="218"/>
                </a:lnTo>
                <a:lnTo>
                  <a:pt x="194" y="218"/>
                </a:lnTo>
                <a:lnTo>
                  <a:pt x="196" y="217"/>
                </a:lnTo>
                <a:lnTo>
                  <a:pt x="198" y="216"/>
                </a:lnTo>
                <a:close/>
                <a:moveTo>
                  <a:pt x="208" y="190"/>
                </a:moveTo>
                <a:lnTo>
                  <a:pt x="211" y="190"/>
                </a:lnTo>
                <a:lnTo>
                  <a:pt x="215" y="190"/>
                </a:lnTo>
                <a:lnTo>
                  <a:pt x="218" y="192"/>
                </a:lnTo>
                <a:lnTo>
                  <a:pt x="221" y="195"/>
                </a:lnTo>
                <a:lnTo>
                  <a:pt x="222" y="198"/>
                </a:lnTo>
                <a:lnTo>
                  <a:pt x="222" y="202"/>
                </a:lnTo>
                <a:lnTo>
                  <a:pt x="218" y="198"/>
                </a:lnTo>
                <a:lnTo>
                  <a:pt x="215" y="195"/>
                </a:lnTo>
                <a:lnTo>
                  <a:pt x="213" y="191"/>
                </a:lnTo>
                <a:lnTo>
                  <a:pt x="208" y="190"/>
                </a:lnTo>
                <a:close/>
                <a:moveTo>
                  <a:pt x="215" y="211"/>
                </a:moveTo>
                <a:lnTo>
                  <a:pt x="213" y="212"/>
                </a:lnTo>
                <a:lnTo>
                  <a:pt x="209" y="213"/>
                </a:lnTo>
                <a:lnTo>
                  <a:pt x="210" y="211"/>
                </a:lnTo>
                <a:lnTo>
                  <a:pt x="210" y="210"/>
                </a:lnTo>
                <a:lnTo>
                  <a:pt x="211" y="206"/>
                </a:lnTo>
                <a:lnTo>
                  <a:pt x="213" y="203"/>
                </a:lnTo>
                <a:lnTo>
                  <a:pt x="215" y="205"/>
                </a:lnTo>
                <a:lnTo>
                  <a:pt x="216" y="208"/>
                </a:lnTo>
                <a:lnTo>
                  <a:pt x="216" y="210"/>
                </a:lnTo>
                <a:lnTo>
                  <a:pt x="215" y="211"/>
                </a:lnTo>
                <a:close/>
                <a:moveTo>
                  <a:pt x="234" y="189"/>
                </a:moveTo>
                <a:lnTo>
                  <a:pt x="232" y="192"/>
                </a:lnTo>
                <a:lnTo>
                  <a:pt x="231" y="196"/>
                </a:lnTo>
                <a:lnTo>
                  <a:pt x="228" y="198"/>
                </a:lnTo>
                <a:lnTo>
                  <a:pt x="224" y="199"/>
                </a:lnTo>
                <a:lnTo>
                  <a:pt x="225" y="196"/>
                </a:lnTo>
                <a:lnTo>
                  <a:pt x="228" y="192"/>
                </a:lnTo>
                <a:lnTo>
                  <a:pt x="230" y="190"/>
                </a:lnTo>
                <a:lnTo>
                  <a:pt x="234" y="189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endParaRPr lang="en-US" sz="4799" dirty="0"/>
          </a:p>
        </p:txBody>
      </p:sp>
    </p:spTree>
    <p:extLst>
      <p:ext uri="{BB962C8B-B14F-4D97-AF65-F5344CB8AC3E}">
        <p14:creationId xmlns:p14="http://schemas.microsoft.com/office/powerpoint/2010/main" val="409037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9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9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366">
            <a:extLst>
              <a:ext uri="{FF2B5EF4-FFF2-40B4-BE49-F238E27FC236}">
                <a16:creationId xmlns:a16="http://schemas.microsoft.com/office/drawing/2014/main" id="{61FEEAE9-32C2-E34F-8402-B234020CDAF4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>
            <a:off x="5479190" y="1773008"/>
            <a:ext cx="6304702" cy="4787977"/>
          </a:xfrm>
          <a:custGeom>
            <a:avLst/>
            <a:gdLst>
              <a:gd name="T0" fmla="*/ 965 w 1086"/>
              <a:gd name="T1" fmla="*/ 172 h 766"/>
              <a:gd name="T2" fmla="*/ 838 w 1086"/>
              <a:gd name="T3" fmla="*/ 234 h 766"/>
              <a:gd name="T4" fmla="*/ 506 w 1086"/>
              <a:gd name="T5" fmla="*/ 184 h 766"/>
              <a:gd name="T6" fmla="*/ 424 w 1086"/>
              <a:gd name="T7" fmla="*/ 158 h 766"/>
              <a:gd name="T8" fmla="*/ 327 w 1086"/>
              <a:gd name="T9" fmla="*/ 60 h 766"/>
              <a:gd name="T10" fmla="*/ 296 w 1086"/>
              <a:gd name="T11" fmla="*/ 3 h 766"/>
              <a:gd name="T12" fmla="*/ 168 w 1086"/>
              <a:gd name="T13" fmla="*/ 6 h 766"/>
              <a:gd name="T14" fmla="*/ 99 w 1086"/>
              <a:gd name="T15" fmla="*/ 42 h 766"/>
              <a:gd name="T16" fmla="*/ 10 w 1086"/>
              <a:gd name="T17" fmla="*/ 143 h 766"/>
              <a:gd name="T18" fmla="*/ 159 w 1086"/>
              <a:gd name="T19" fmla="*/ 150 h 766"/>
              <a:gd name="T20" fmla="*/ 51 w 1086"/>
              <a:gd name="T21" fmla="*/ 197 h 766"/>
              <a:gd name="T22" fmla="*/ 71 w 1086"/>
              <a:gd name="T23" fmla="*/ 188 h 766"/>
              <a:gd name="T24" fmla="*/ 110 w 1086"/>
              <a:gd name="T25" fmla="*/ 177 h 766"/>
              <a:gd name="T26" fmla="*/ 100 w 1086"/>
              <a:gd name="T27" fmla="*/ 211 h 766"/>
              <a:gd name="T28" fmla="*/ 90 w 1086"/>
              <a:gd name="T29" fmla="*/ 222 h 766"/>
              <a:gd name="T30" fmla="*/ 103 w 1086"/>
              <a:gd name="T31" fmla="*/ 219 h 766"/>
              <a:gd name="T32" fmla="*/ 188 w 1086"/>
              <a:gd name="T33" fmla="*/ 204 h 766"/>
              <a:gd name="T34" fmla="*/ 266 w 1086"/>
              <a:gd name="T35" fmla="*/ 393 h 766"/>
              <a:gd name="T36" fmla="*/ 177 w 1086"/>
              <a:gd name="T37" fmla="*/ 535 h 766"/>
              <a:gd name="T38" fmla="*/ 289 w 1086"/>
              <a:gd name="T39" fmla="*/ 580 h 766"/>
              <a:gd name="T40" fmla="*/ 256 w 1086"/>
              <a:gd name="T41" fmla="*/ 559 h 766"/>
              <a:gd name="T42" fmla="*/ 244 w 1086"/>
              <a:gd name="T43" fmla="*/ 503 h 766"/>
              <a:gd name="T44" fmla="*/ 356 w 1086"/>
              <a:gd name="T45" fmla="*/ 459 h 766"/>
              <a:gd name="T46" fmla="*/ 371 w 1086"/>
              <a:gd name="T47" fmla="*/ 585 h 766"/>
              <a:gd name="T48" fmla="*/ 516 w 1086"/>
              <a:gd name="T49" fmla="*/ 585 h 766"/>
              <a:gd name="T50" fmla="*/ 451 w 1086"/>
              <a:gd name="T51" fmla="*/ 545 h 766"/>
              <a:gd name="T52" fmla="*/ 451 w 1086"/>
              <a:gd name="T53" fmla="*/ 472 h 766"/>
              <a:gd name="T54" fmla="*/ 613 w 1086"/>
              <a:gd name="T55" fmla="*/ 451 h 766"/>
              <a:gd name="T56" fmla="*/ 686 w 1086"/>
              <a:gd name="T57" fmla="*/ 435 h 766"/>
              <a:gd name="T58" fmla="*/ 779 w 1086"/>
              <a:gd name="T59" fmla="*/ 575 h 766"/>
              <a:gd name="T60" fmla="*/ 818 w 1086"/>
              <a:gd name="T61" fmla="*/ 654 h 766"/>
              <a:gd name="T62" fmla="*/ 735 w 1086"/>
              <a:gd name="T63" fmla="*/ 711 h 766"/>
              <a:gd name="T64" fmla="*/ 709 w 1086"/>
              <a:gd name="T65" fmla="*/ 759 h 766"/>
              <a:gd name="T66" fmla="*/ 780 w 1086"/>
              <a:gd name="T67" fmla="*/ 758 h 766"/>
              <a:gd name="T68" fmla="*/ 895 w 1086"/>
              <a:gd name="T69" fmla="*/ 604 h 766"/>
              <a:gd name="T70" fmla="*/ 862 w 1086"/>
              <a:gd name="T71" fmla="*/ 565 h 766"/>
              <a:gd name="T72" fmla="*/ 899 w 1086"/>
              <a:gd name="T73" fmla="*/ 362 h 766"/>
              <a:gd name="T74" fmla="*/ 961 w 1086"/>
              <a:gd name="T75" fmla="*/ 233 h 766"/>
              <a:gd name="T76" fmla="*/ 1086 w 1086"/>
              <a:gd name="T77" fmla="*/ 124 h 766"/>
              <a:gd name="T78" fmla="*/ 123 w 1086"/>
              <a:gd name="T79" fmla="*/ 28 h 766"/>
              <a:gd name="T80" fmla="*/ 98 w 1086"/>
              <a:gd name="T81" fmla="*/ 79 h 766"/>
              <a:gd name="T82" fmla="*/ 112 w 1086"/>
              <a:gd name="T83" fmla="*/ 87 h 766"/>
              <a:gd name="T84" fmla="*/ 142 w 1086"/>
              <a:gd name="T85" fmla="*/ 77 h 766"/>
              <a:gd name="T86" fmla="*/ 183 w 1086"/>
              <a:gd name="T87" fmla="*/ 189 h 766"/>
              <a:gd name="T88" fmla="*/ 209 w 1086"/>
              <a:gd name="T89" fmla="*/ 33 h 766"/>
              <a:gd name="T90" fmla="*/ 256 w 1086"/>
              <a:gd name="T91" fmla="*/ 583 h 766"/>
              <a:gd name="T92" fmla="*/ 243 w 1086"/>
              <a:gd name="T93" fmla="*/ 573 h 766"/>
              <a:gd name="T94" fmla="*/ 293 w 1086"/>
              <a:gd name="T95" fmla="*/ 14 h 766"/>
              <a:gd name="T96" fmla="*/ 240 w 1086"/>
              <a:gd name="T97" fmla="*/ 320 h 766"/>
              <a:gd name="T98" fmla="*/ 308 w 1086"/>
              <a:gd name="T99" fmla="*/ 65 h 766"/>
              <a:gd name="T100" fmla="*/ 219 w 1086"/>
              <a:gd name="T101" fmla="*/ 49 h 766"/>
              <a:gd name="T102" fmla="*/ 275 w 1086"/>
              <a:gd name="T103" fmla="*/ 51 h 766"/>
              <a:gd name="T104" fmla="*/ 470 w 1086"/>
              <a:gd name="T105" fmla="*/ 209 h 766"/>
              <a:gd name="T106" fmla="*/ 638 w 1086"/>
              <a:gd name="T107" fmla="*/ 441 h 766"/>
              <a:gd name="T108" fmla="*/ 710 w 1086"/>
              <a:gd name="T109" fmla="*/ 400 h 766"/>
              <a:gd name="T110" fmla="*/ 703 w 1086"/>
              <a:gd name="T111" fmla="*/ 451 h 766"/>
              <a:gd name="T112" fmla="*/ 712 w 1086"/>
              <a:gd name="T113" fmla="*/ 458 h 766"/>
              <a:gd name="T114" fmla="*/ 724 w 1086"/>
              <a:gd name="T115" fmla="*/ 474 h 766"/>
              <a:gd name="T116" fmla="*/ 729 w 1086"/>
              <a:gd name="T117" fmla="*/ 492 h 766"/>
              <a:gd name="T118" fmla="*/ 749 w 1086"/>
              <a:gd name="T119" fmla="*/ 755 h 766"/>
              <a:gd name="T120" fmla="*/ 793 w 1086"/>
              <a:gd name="T121" fmla="*/ 756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6" h="766">
                <a:moveTo>
                  <a:pt x="1070" y="121"/>
                </a:moveTo>
                <a:cubicBezTo>
                  <a:pt x="1060" y="118"/>
                  <a:pt x="1052" y="121"/>
                  <a:pt x="1042" y="123"/>
                </a:cubicBezTo>
                <a:cubicBezTo>
                  <a:pt x="1028" y="125"/>
                  <a:pt x="1019" y="131"/>
                  <a:pt x="1008" y="136"/>
                </a:cubicBezTo>
                <a:cubicBezTo>
                  <a:pt x="999" y="141"/>
                  <a:pt x="990" y="144"/>
                  <a:pt x="983" y="151"/>
                </a:cubicBezTo>
                <a:cubicBezTo>
                  <a:pt x="977" y="157"/>
                  <a:pt x="972" y="165"/>
                  <a:pt x="965" y="172"/>
                </a:cubicBezTo>
                <a:cubicBezTo>
                  <a:pt x="952" y="186"/>
                  <a:pt x="937" y="195"/>
                  <a:pt x="923" y="208"/>
                </a:cubicBezTo>
                <a:cubicBezTo>
                  <a:pt x="915" y="215"/>
                  <a:pt x="907" y="222"/>
                  <a:pt x="897" y="227"/>
                </a:cubicBezTo>
                <a:cubicBezTo>
                  <a:pt x="892" y="229"/>
                  <a:pt x="880" y="229"/>
                  <a:pt x="878" y="234"/>
                </a:cubicBezTo>
                <a:cubicBezTo>
                  <a:pt x="880" y="234"/>
                  <a:pt x="883" y="234"/>
                  <a:pt x="886" y="233"/>
                </a:cubicBezTo>
                <a:cubicBezTo>
                  <a:pt x="870" y="239"/>
                  <a:pt x="853" y="238"/>
                  <a:pt x="838" y="234"/>
                </a:cubicBezTo>
                <a:cubicBezTo>
                  <a:pt x="822" y="230"/>
                  <a:pt x="807" y="221"/>
                  <a:pt x="789" y="215"/>
                </a:cubicBezTo>
                <a:cubicBezTo>
                  <a:pt x="743" y="201"/>
                  <a:pt x="699" y="193"/>
                  <a:pt x="651" y="193"/>
                </a:cubicBezTo>
                <a:cubicBezTo>
                  <a:pt x="625" y="193"/>
                  <a:pt x="600" y="195"/>
                  <a:pt x="575" y="197"/>
                </a:cubicBezTo>
                <a:cubicBezTo>
                  <a:pt x="564" y="198"/>
                  <a:pt x="550" y="199"/>
                  <a:pt x="539" y="196"/>
                </a:cubicBezTo>
                <a:cubicBezTo>
                  <a:pt x="527" y="192"/>
                  <a:pt x="518" y="185"/>
                  <a:pt x="506" y="184"/>
                </a:cubicBezTo>
                <a:cubicBezTo>
                  <a:pt x="495" y="182"/>
                  <a:pt x="485" y="179"/>
                  <a:pt x="476" y="173"/>
                </a:cubicBezTo>
                <a:cubicBezTo>
                  <a:pt x="472" y="170"/>
                  <a:pt x="467" y="166"/>
                  <a:pt x="461" y="165"/>
                </a:cubicBezTo>
                <a:cubicBezTo>
                  <a:pt x="456" y="164"/>
                  <a:pt x="450" y="166"/>
                  <a:pt x="444" y="164"/>
                </a:cubicBezTo>
                <a:cubicBezTo>
                  <a:pt x="442" y="163"/>
                  <a:pt x="439" y="161"/>
                  <a:pt x="437" y="160"/>
                </a:cubicBezTo>
                <a:cubicBezTo>
                  <a:pt x="433" y="159"/>
                  <a:pt x="428" y="161"/>
                  <a:pt x="424" y="158"/>
                </a:cubicBezTo>
                <a:cubicBezTo>
                  <a:pt x="418" y="155"/>
                  <a:pt x="417" y="153"/>
                  <a:pt x="408" y="151"/>
                </a:cubicBezTo>
                <a:cubicBezTo>
                  <a:pt x="387" y="148"/>
                  <a:pt x="368" y="133"/>
                  <a:pt x="357" y="116"/>
                </a:cubicBezTo>
                <a:cubicBezTo>
                  <a:pt x="351" y="105"/>
                  <a:pt x="344" y="96"/>
                  <a:pt x="334" y="86"/>
                </a:cubicBezTo>
                <a:cubicBezTo>
                  <a:pt x="328" y="81"/>
                  <a:pt x="317" y="73"/>
                  <a:pt x="317" y="64"/>
                </a:cubicBezTo>
                <a:cubicBezTo>
                  <a:pt x="321" y="66"/>
                  <a:pt x="324" y="61"/>
                  <a:pt x="327" y="60"/>
                </a:cubicBezTo>
                <a:cubicBezTo>
                  <a:pt x="331" y="59"/>
                  <a:pt x="334" y="60"/>
                  <a:pt x="337" y="59"/>
                </a:cubicBezTo>
                <a:cubicBezTo>
                  <a:pt x="350" y="55"/>
                  <a:pt x="341" y="43"/>
                  <a:pt x="339" y="33"/>
                </a:cubicBezTo>
                <a:cubicBezTo>
                  <a:pt x="336" y="18"/>
                  <a:pt x="338" y="16"/>
                  <a:pt x="322" y="13"/>
                </a:cubicBezTo>
                <a:cubicBezTo>
                  <a:pt x="319" y="13"/>
                  <a:pt x="311" y="12"/>
                  <a:pt x="309" y="11"/>
                </a:cubicBezTo>
                <a:cubicBezTo>
                  <a:pt x="304" y="8"/>
                  <a:pt x="305" y="4"/>
                  <a:pt x="296" y="3"/>
                </a:cubicBezTo>
                <a:cubicBezTo>
                  <a:pt x="283" y="2"/>
                  <a:pt x="270" y="6"/>
                  <a:pt x="257" y="4"/>
                </a:cubicBezTo>
                <a:cubicBezTo>
                  <a:pt x="246" y="2"/>
                  <a:pt x="238" y="5"/>
                  <a:pt x="228" y="5"/>
                </a:cubicBezTo>
                <a:cubicBezTo>
                  <a:pt x="224" y="5"/>
                  <a:pt x="220" y="1"/>
                  <a:pt x="215" y="0"/>
                </a:cubicBezTo>
                <a:cubicBezTo>
                  <a:pt x="213" y="0"/>
                  <a:pt x="207" y="1"/>
                  <a:pt x="204" y="1"/>
                </a:cubicBezTo>
                <a:cubicBezTo>
                  <a:pt x="192" y="2"/>
                  <a:pt x="180" y="4"/>
                  <a:pt x="168" y="6"/>
                </a:cubicBezTo>
                <a:cubicBezTo>
                  <a:pt x="152" y="8"/>
                  <a:pt x="138" y="13"/>
                  <a:pt x="124" y="21"/>
                </a:cubicBezTo>
                <a:cubicBezTo>
                  <a:pt x="117" y="26"/>
                  <a:pt x="102" y="33"/>
                  <a:pt x="98" y="42"/>
                </a:cubicBezTo>
                <a:cubicBezTo>
                  <a:pt x="98" y="42"/>
                  <a:pt x="99" y="42"/>
                  <a:pt x="99" y="42"/>
                </a:cubicBezTo>
                <a:cubicBezTo>
                  <a:pt x="100" y="41"/>
                  <a:pt x="102" y="41"/>
                  <a:pt x="104" y="42"/>
                </a:cubicBezTo>
                <a:cubicBezTo>
                  <a:pt x="102" y="42"/>
                  <a:pt x="101" y="42"/>
                  <a:pt x="99" y="42"/>
                </a:cubicBezTo>
                <a:cubicBezTo>
                  <a:pt x="93" y="43"/>
                  <a:pt x="92" y="53"/>
                  <a:pt x="90" y="58"/>
                </a:cubicBezTo>
                <a:cubicBezTo>
                  <a:pt x="86" y="67"/>
                  <a:pt x="79" y="74"/>
                  <a:pt x="72" y="80"/>
                </a:cubicBezTo>
                <a:cubicBezTo>
                  <a:pt x="56" y="92"/>
                  <a:pt x="38" y="97"/>
                  <a:pt x="20" y="106"/>
                </a:cubicBezTo>
                <a:cubicBezTo>
                  <a:pt x="16" y="108"/>
                  <a:pt x="6" y="112"/>
                  <a:pt x="4" y="116"/>
                </a:cubicBezTo>
                <a:cubicBezTo>
                  <a:pt x="0" y="123"/>
                  <a:pt x="8" y="137"/>
                  <a:pt x="10" y="143"/>
                </a:cubicBezTo>
                <a:cubicBezTo>
                  <a:pt x="14" y="156"/>
                  <a:pt x="20" y="157"/>
                  <a:pt x="33" y="158"/>
                </a:cubicBezTo>
                <a:cubicBezTo>
                  <a:pt x="40" y="159"/>
                  <a:pt x="48" y="161"/>
                  <a:pt x="55" y="161"/>
                </a:cubicBezTo>
                <a:cubicBezTo>
                  <a:pt x="64" y="161"/>
                  <a:pt x="112" y="157"/>
                  <a:pt x="109" y="145"/>
                </a:cubicBezTo>
                <a:cubicBezTo>
                  <a:pt x="107" y="154"/>
                  <a:pt x="128" y="145"/>
                  <a:pt x="133" y="144"/>
                </a:cubicBezTo>
                <a:cubicBezTo>
                  <a:pt x="140" y="143"/>
                  <a:pt x="154" y="142"/>
                  <a:pt x="159" y="150"/>
                </a:cubicBezTo>
                <a:cubicBezTo>
                  <a:pt x="157" y="152"/>
                  <a:pt x="151" y="155"/>
                  <a:pt x="140" y="157"/>
                </a:cubicBezTo>
                <a:cubicBezTo>
                  <a:pt x="120" y="160"/>
                  <a:pt x="107" y="156"/>
                  <a:pt x="94" y="167"/>
                </a:cubicBezTo>
                <a:cubicBezTo>
                  <a:pt x="86" y="173"/>
                  <a:pt x="78" y="176"/>
                  <a:pt x="71" y="179"/>
                </a:cubicBezTo>
                <a:cubicBezTo>
                  <a:pt x="71" y="179"/>
                  <a:pt x="71" y="178"/>
                  <a:pt x="71" y="178"/>
                </a:cubicBezTo>
                <a:cubicBezTo>
                  <a:pt x="64" y="182"/>
                  <a:pt x="56" y="191"/>
                  <a:pt x="51" y="197"/>
                </a:cubicBezTo>
                <a:cubicBezTo>
                  <a:pt x="46" y="205"/>
                  <a:pt x="50" y="202"/>
                  <a:pt x="59" y="201"/>
                </a:cubicBezTo>
                <a:cubicBezTo>
                  <a:pt x="57" y="194"/>
                  <a:pt x="70" y="197"/>
                  <a:pt x="68" y="189"/>
                </a:cubicBezTo>
                <a:cubicBezTo>
                  <a:pt x="68" y="195"/>
                  <a:pt x="78" y="202"/>
                  <a:pt x="78" y="195"/>
                </a:cubicBezTo>
                <a:cubicBezTo>
                  <a:pt x="82" y="201"/>
                  <a:pt x="86" y="193"/>
                  <a:pt x="85" y="188"/>
                </a:cubicBezTo>
                <a:cubicBezTo>
                  <a:pt x="83" y="189"/>
                  <a:pt x="69" y="196"/>
                  <a:pt x="71" y="188"/>
                </a:cubicBezTo>
                <a:cubicBezTo>
                  <a:pt x="70" y="190"/>
                  <a:pt x="90" y="183"/>
                  <a:pt x="92" y="181"/>
                </a:cubicBezTo>
                <a:cubicBezTo>
                  <a:pt x="89" y="185"/>
                  <a:pt x="94" y="195"/>
                  <a:pt x="97" y="190"/>
                </a:cubicBezTo>
                <a:cubicBezTo>
                  <a:pt x="97" y="190"/>
                  <a:pt x="96" y="184"/>
                  <a:pt x="96" y="183"/>
                </a:cubicBezTo>
                <a:cubicBezTo>
                  <a:pt x="97" y="181"/>
                  <a:pt x="99" y="180"/>
                  <a:pt x="101" y="179"/>
                </a:cubicBezTo>
                <a:cubicBezTo>
                  <a:pt x="103" y="179"/>
                  <a:pt x="106" y="179"/>
                  <a:pt x="110" y="177"/>
                </a:cubicBezTo>
                <a:cubicBezTo>
                  <a:pt x="123" y="171"/>
                  <a:pt x="130" y="164"/>
                  <a:pt x="145" y="162"/>
                </a:cubicBezTo>
                <a:cubicBezTo>
                  <a:pt x="151" y="161"/>
                  <a:pt x="156" y="159"/>
                  <a:pt x="160" y="157"/>
                </a:cubicBezTo>
                <a:cubicBezTo>
                  <a:pt x="156" y="169"/>
                  <a:pt x="124" y="182"/>
                  <a:pt x="132" y="191"/>
                </a:cubicBezTo>
                <a:cubicBezTo>
                  <a:pt x="126" y="194"/>
                  <a:pt x="117" y="194"/>
                  <a:pt x="112" y="199"/>
                </a:cubicBezTo>
                <a:cubicBezTo>
                  <a:pt x="108" y="203"/>
                  <a:pt x="107" y="209"/>
                  <a:pt x="100" y="211"/>
                </a:cubicBezTo>
                <a:cubicBezTo>
                  <a:pt x="97" y="212"/>
                  <a:pt x="92" y="210"/>
                  <a:pt x="90" y="212"/>
                </a:cubicBezTo>
                <a:cubicBezTo>
                  <a:pt x="87" y="216"/>
                  <a:pt x="97" y="216"/>
                  <a:pt x="99" y="218"/>
                </a:cubicBezTo>
                <a:cubicBezTo>
                  <a:pt x="96" y="219"/>
                  <a:pt x="93" y="221"/>
                  <a:pt x="91" y="222"/>
                </a:cubicBezTo>
                <a:cubicBezTo>
                  <a:pt x="91" y="222"/>
                  <a:pt x="91" y="222"/>
                  <a:pt x="91" y="222"/>
                </a:cubicBezTo>
                <a:cubicBezTo>
                  <a:pt x="90" y="222"/>
                  <a:pt x="90" y="222"/>
                  <a:pt x="90" y="222"/>
                </a:cubicBezTo>
                <a:cubicBezTo>
                  <a:pt x="88" y="223"/>
                  <a:pt x="87" y="223"/>
                  <a:pt x="85" y="223"/>
                </a:cubicBezTo>
                <a:cubicBezTo>
                  <a:pt x="87" y="223"/>
                  <a:pt x="88" y="222"/>
                  <a:pt x="90" y="222"/>
                </a:cubicBezTo>
                <a:cubicBezTo>
                  <a:pt x="90" y="222"/>
                  <a:pt x="90" y="222"/>
                  <a:pt x="91" y="222"/>
                </a:cubicBezTo>
                <a:cubicBezTo>
                  <a:pt x="81" y="220"/>
                  <a:pt x="73" y="220"/>
                  <a:pt x="64" y="217"/>
                </a:cubicBezTo>
                <a:cubicBezTo>
                  <a:pt x="68" y="232"/>
                  <a:pt x="95" y="223"/>
                  <a:pt x="103" y="219"/>
                </a:cubicBezTo>
                <a:cubicBezTo>
                  <a:pt x="118" y="211"/>
                  <a:pt x="133" y="201"/>
                  <a:pt x="149" y="199"/>
                </a:cubicBezTo>
                <a:cubicBezTo>
                  <a:pt x="155" y="198"/>
                  <a:pt x="158" y="202"/>
                  <a:pt x="162" y="202"/>
                </a:cubicBezTo>
                <a:cubicBezTo>
                  <a:pt x="167" y="202"/>
                  <a:pt x="170" y="197"/>
                  <a:pt x="174" y="198"/>
                </a:cubicBezTo>
                <a:cubicBezTo>
                  <a:pt x="176" y="198"/>
                  <a:pt x="177" y="202"/>
                  <a:pt x="179" y="203"/>
                </a:cubicBezTo>
                <a:cubicBezTo>
                  <a:pt x="181" y="204"/>
                  <a:pt x="185" y="204"/>
                  <a:pt x="188" y="204"/>
                </a:cubicBezTo>
                <a:cubicBezTo>
                  <a:pt x="199" y="203"/>
                  <a:pt x="197" y="203"/>
                  <a:pt x="205" y="210"/>
                </a:cubicBezTo>
                <a:cubicBezTo>
                  <a:pt x="214" y="217"/>
                  <a:pt x="228" y="227"/>
                  <a:pt x="227" y="241"/>
                </a:cubicBezTo>
                <a:cubicBezTo>
                  <a:pt x="238" y="246"/>
                  <a:pt x="220" y="294"/>
                  <a:pt x="220" y="305"/>
                </a:cubicBezTo>
                <a:cubicBezTo>
                  <a:pt x="221" y="327"/>
                  <a:pt x="242" y="348"/>
                  <a:pt x="252" y="367"/>
                </a:cubicBezTo>
                <a:cubicBezTo>
                  <a:pt x="257" y="374"/>
                  <a:pt x="267" y="385"/>
                  <a:pt x="266" y="393"/>
                </a:cubicBezTo>
                <a:cubicBezTo>
                  <a:pt x="265" y="400"/>
                  <a:pt x="258" y="410"/>
                  <a:pt x="253" y="414"/>
                </a:cubicBezTo>
                <a:cubicBezTo>
                  <a:pt x="240" y="428"/>
                  <a:pt x="225" y="437"/>
                  <a:pt x="209" y="447"/>
                </a:cubicBezTo>
                <a:cubicBezTo>
                  <a:pt x="198" y="453"/>
                  <a:pt x="186" y="458"/>
                  <a:pt x="179" y="469"/>
                </a:cubicBezTo>
                <a:cubicBezTo>
                  <a:pt x="174" y="476"/>
                  <a:pt x="170" y="485"/>
                  <a:pt x="167" y="492"/>
                </a:cubicBezTo>
                <a:cubicBezTo>
                  <a:pt x="163" y="506"/>
                  <a:pt x="169" y="523"/>
                  <a:pt x="177" y="535"/>
                </a:cubicBezTo>
                <a:cubicBezTo>
                  <a:pt x="184" y="545"/>
                  <a:pt x="192" y="554"/>
                  <a:pt x="198" y="565"/>
                </a:cubicBezTo>
                <a:cubicBezTo>
                  <a:pt x="203" y="576"/>
                  <a:pt x="213" y="589"/>
                  <a:pt x="222" y="595"/>
                </a:cubicBezTo>
                <a:cubicBezTo>
                  <a:pt x="234" y="603"/>
                  <a:pt x="251" y="610"/>
                  <a:pt x="266" y="611"/>
                </a:cubicBezTo>
                <a:cubicBezTo>
                  <a:pt x="280" y="612"/>
                  <a:pt x="295" y="615"/>
                  <a:pt x="295" y="597"/>
                </a:cubicBezTo>
                <a:cubicBezTo>
                  <a:pt x="295" y="590"/>
                  <a:pt x="291" y="585"/>
                  <a:pt x="289" y="580"/>
                </a:cubicBezTo>
                <a:cubicBezTo>
                  <a:pt x="287" y="576"/>
                  <a:pt x="288" y="571"/>
                  <a:pt x="285" y="569"/>
                </a:cubicBezTo>
                <a:cubicBezTo>
                  <a:pt x="279" y="564"/>
                  <a:pt x="274" y="567"/>
                  <a:pt x="269" y="562"/>
                </a:cubicBezTo>
                <a:cubicBezTo>
                  <a:pt x="267" y="560"/>
                  <a:pt x="267" y="557"/>
                  <a:pt x="264" y="556"/>
                </a:cubicBezTo>
                <a:cubicBezTo>
                  <a:pt x="262" y="555"/>
                  <a:pt x="262" y="562"/>
                  <a:pt x="258" y="558"/>
                </a:cubicBezTo>
                <a:cubicBezTo>
                  <a:pt x="258" y="559"/>
                  <a:pt x="257" y="559"/>
                  <a:pt x="256" y="559"/>
                </a:cubicBezTo>
                <a:cubicBezTo>
                  <a:pt x="261" y="555"/>
                  <a:pt x="250" y="547"/>
                  <a:pt x="247" y="544"/>
                </a:cubicBezTo>
                <a:cubicBezTo>
                  <a:pt x="241" y="538"/>
                  <a:pt x="240" y="531"/>
                  <a:pt x="234" y="525"/>
                </a:cubicBezTo>
                <a:cubicBezTo>
                  <a:pt x="232" y="522"/>
                  <a:pt x="227" y="519"/>
                  <a:pt x="228" y="515"/>
                </a:cubicBezTo>
                <a:cubicBezTo>
                  <a:pt x="229" y="509"/>
                  <a:pt x="229" y="514"/>
                  <a:pt x="233" y="511"/>
                </a:cubicBezTo>
                <a:cubicBezTo>
                  <a:pt x="237" y="508"/>
                  <a:pt x="239" y="505"/>
                  <a:pt x="244" y="503"/>
                </a:cubicBezTo>
                <a:cubicBezTo>
                  <a:pt x="251" y="498"/>
                  <a:pt x="260" y="495"/>
                  <a:pt x="270" y="492"/>
                </a:cubicBezTo>
                <a:cubicBezTo>
                  <a:pt x="280" y="488"/>
                  <a:pt x="291" y="487"/>
                  <a:pt x="301" y="483"/>
                </a:cubicBezTo>
                <a:cubicBezTo>
                  <a:pt x="311" y="479"/>
                  <a:pt x="319" y="474"/>
                  <a:pt x="329" y="470"/>
                </a:cubicBezTo>
                <a:cubicBezTo>
                  <a:pt x="337" y="467"/>
                  <a:pt x="343" y="465"/>
                  <a:pt x="350" y="461"/>
                </a:cubicBezTo>
                <a:cubicBezTo>
                  <a:pt x="352" y="460"/>
                  <a:pt x="354" y="460"/>
                  <a:pt x="356" y="459"/>
                </a:cubicBezTo>
                <a:cubicBezTo>
                  <a:pt x="358" y="458"/>
                  <a:pt x="356" y="455"/>
                  <a:pt x="359" y="454"/>
                </a:cubicBezTo>
                <a:cubicBezTo>
                  <a:pt x="369" y="451"/>
                  <a:pt x="361" y="467"/>
                  <a:pt x="359" y="470"/>
                </a:cubicBezTo>
                <a:cubicBezTo>
                  <a:pt x="354" y="481"/>
                  <a:pt x="350" y="492"/>
                  <a:pt x="346" y="502"/>
                </a:cubicBezTo>
                <a:cubicBezTo>
                  <a:pt x="339" y="518"/>
                  <a:pt x="328" y="536"/>
                  <a:pt x="334" y="554"/>
                </a:cubicBezTo>
                <a:cubicBezTo>
                  <a:pt x="339" y="569"/>
                  <a:pt x="354" y="582"/>
                  <a:pt x="371" y="585"/>
                </a:cubicBezTo>
                <a:cubicBezTo>
                  <a:pt x="384" y="588"/>
                  <a:pt x="397" y="588"/>
                  <a:pt x="410" y="591"/>
                </a:cubicBezTo>
                <a:cubicBezTo>
                  <a:pt x="422" y="593"/>
                  <a:pt x="434" y="597"/>
                  <a:pt x="447" y="598"/>
                </a:cubicBezTo>
                <a:cubicBezTo>
                  <a:pt x="460" y="599"/>
                  <a:pt x="472" y="601"/>
                  <a:pt x="485" y="603"/>
                </a:cubicBezTo>
                <a:cubicBezTo>
                  <a:pt x="490" y="604"/>
                  <a:pt x="513" y="607"/>
                  <a:pt x="510" y="601"/>
                </a:cubicBezTo>
                <a:cubicBezTo>
                  <a:pt x="516" y="599"/>
                  <a:pt x="516" y="592"/>
                  <a:pt x="516" y="585"/>
                </a:cubicBezTo>
                <a:cubicBezTo>
                  <a:pt x="515" y="586"/>
                  <a:pt x="514" y="586"/>
                  <a:pt x="513" y="586"/>
                </a:cubicBezTo>
                <a:cubicBezTo>
                  <a:pt x="519" y="586"/>
                  <a:pt x="513" y="570"/>
                  <a:pt x="512" y="567"/>
                </a:cubicBezTo>
                <a:cubicBezTo>
                  <a:pt x="508" y="557"/>
                  <a:pt x="495" y="551"/>
                  <a:pt x="484" y="549"/>
                </a:cubicBezTo>
                <a:cubicBezTo>
                  <a:pt x="478" y="548"/>
                  <a:pt x="471" y="550"/>
                  <a:pt x="464" y="549"/>
                </a:cubicBezTo>
                <a:cubicBezTo>
                  <a:pt x="459" y="549"/>
                  <a:pt x="455" y="546"/>
                  <a:pt x="451" y="545"/>
                </a:cubicBezTo>
                <a:cubicBezTo>
                  <a:pt x="446" y="544"/>
                  <a:pt x="441" y="547"/>
                  <a:pt x="436" y="548"/>
                </a:cubicBezTo>
                <a:cubicBezTo>
                  <a:pt x="429" y="549"/>
                  <a:pt x="430" y="549"/>
                  <a:pt x="423" y="547"/>
                </a:cubicBezTo>
                <a:cubicBezTo>
                  <a:pt x="409" y="543"/>
                  <a:pt x="407" y="544"/>
                  <a:pt x="415" y="530"/>
                </a:cubicBezTo>
                <a:cubicBezTo>
                  <a:pt x="421" y="519"/>
                  <a:pt x="427" y="507"/>
                  <a:pt x="433" y="497"/>
                </a:cubicBezTo>
                <a:cubicBezTo>
                  <a:pt x="436" y="491"/>
                  <a:pt x="444" y="477"/>
                  <a:pt x="451" y="472"/>
                </a:cubicBezTo>
                <a:cubicBezTo>
                  <a:pt x="464" y="466"/>
                  <a:pt x="480" y="471"/>
                  <a:pt x="494" y="470"/>
                </a:cubicBezTo>
                <a:cubicBezTo>
                  <a:pt x="505" y="469"/>
                  <a:pt x="516" y="465"/>
                  <a:pt x="527" y="463"/>
                </a:cubicBezTo>
                <a:cubicBezTo>
                  <a:pt x="541" y="460"/>
                  <a:pt x="554" y="458"/>
                  <a:pt x="567" y="456"/>
                </a:cubicBezTo>
                <a:cubicBezTo>
                  <a:pt x="579" y="454"/>
                  <a:pt x="593" y="457"/>
                  <a:pt x="604" y="454"/>
                </a:cubicBezTo>
                <a:cubicBezTo>
                  <a:pt x="608" y="454"/>
                  <a:pt x="610" y="452"/>
                  <a:pt x="613" y="451"/>
                </a:cubicBezTo>
                <a:cubicBezTo>
                  <a:pt x="618" y="448"/>
                  <a:pt x="625" y="449"/>
                  <a:pt x="631" y="447"/>
                </a:cubicBezTo>
                <a:cubicBezTo>
                  <a:pt x="641" y="444"/>
                  <a:pt x="650" y="443"/>
                  <a:pt x="660" y="440"/>
                </a:cubicBezTo>
                <a:cubicBezTo>
                  <a:pt x="662" y="439"/>
                  <a:pt x="662" y="436"/>
                  <a:pt x="666" y="436"/>
                </a:cubicBezTo>
                <a:cubicBezTo>
                  <a:pt x="668" y="435"/>
                  <a:pt x="670" y="438"/>
                  <a:pt x="672" y="438"/>
                </a:cubicBezTo>
                <a:cubicBezTo>
                  <a:pt x="675" y="438"/>
                  <a:pt x="681" y="431"/>
                  <a:pt x="686" y="435"/>
                </a:cubicBezTo>
                <a:cubicBezTo>
                  <a:pt x="689" y="438"/>
                  <a:pt x="687" y="444"/>
                  <a:pt x="688" y="448"/>
                </a:cubicBezTo>
                <a:cubicBezTo>
                  <a:pt x="689" y="454"/>
                  <a:pt x="691" y="460"/>
                  <a:pt x="694" y="466"/>
                </a:cubicBezTo>
                <a:cubicBezTo>
                  <a:pt x="700" y="480"/>
                  <a:pt x="707" y="493"/>
                  <a:pt x="715" y="506"/>
                </a:cubicBezTo>
                <a:cubicBezTo>
                  <a:pt x="723" y="520"/>
                  <a:pt x="733" y="530"/>
                  <a:pt x="745" y="541"/>
                </a:cubicBezTo>
                <a:cubicBezTo>
                  <a:pt x="757" y="552"/>
                  <a:pt x="766" y="565"/>
                  <a:pt x="779" y="575"/>
                </a:cubicBezTo>
                <a:cubicBezTo>
                  <a:pt x="790" y="585"/>
                  <a:pt x="805" y="594"/>
                  <a:pt x="813" y="609"/>
                </a:cubicBezTo>
                <a:cubicBezTo>
                  <a:pt x="817" y="616"/>
                  <a:pt x="818" y="625"/>
                  <a:pt x="822" y="632"/>
                </a:cubicBezTo>
                <a:cubicBezTo>
                  <a:pt x="823" y="633"/>
                  <a:pt x="824" y="634"/>
                  <a:pt x="825" y="636"/>
                </a:cubicBezTo>
                <a:cubicBezTo>
                  <a:pt x="824" y="635"/>
                  <a:pt x="824" y="634"/>
                  <a:pt x="823" y="633"/>
                </a:cubicBezTo>
                <a:cubicBezTo>
                  <a:pt x="823" y="641"/>
                  <a:pt x="819" y="647"/>
                  <a:pt x="818" y="654"/>
                </a:cubicBezTo>
                <a:cubicBezTo>
                  <a:pt x="819" y="654"/>
                  <a:pt x="820" y="654"/>
                  <a:pt x="821" y="654"/>
                </a:cubicBezTo>
                <a:cubicBezTo>
                  <a:pt x="815" y="654"/>
                  <a:pt x="806" y="674"/>
                  <a:pt x="801" y="679"/>
                </a:cubicBezTo>
                <a:cubicBezTo>
                  <a:pt x="795" y="687"/>
                  <a:pt x="787" y="693"/>
                  <a:pt x="779" y="701"/>
                </a:cubicBezTo>
                <a:cubicBezTo>
                  <a:pt x="770" y="710"/>
                  <a:pt x="762" y="711"/>
                  <a:pt x="748" y="711"/>
                </a:cubicBezTo>
                <a:cubicBezTo>
                  <a:pt x="743" y="710"/>
                  <a:pt x="738" y="711"/>
                  <a:pt x="735" y="711"/>
                </a:cubicBezTo>
                <a:cubicBezTo>
                  <a:pt x="735" y="711"/>
                  <a:pt x="734" y="713"/>
                  <a:pt x="732" y="713"/>
                </a:cubicBezTo>
                <a:cubicBezTo>
                  <a:pt x="730" y="713"/>
                  <a:pt x="726" y="711"/>
                  <a:pt x="725" y="710"/>
                </a:cubicBezTo>
                <a:cubicBezTo>
                  <a:pt x="732" y="714"/>
                  <a:pt x="716" y="725"/>
                  <a:pt x="713" y="730"/>
                </a:cubicBezTo>
                <a:cubicBezTo>
                  <a:pt x="710" y="736"/>
                  <a:pt x="701" y="747"/>
                  <a:pt x="701" y="754"/>
                </a:cubicBezTo>
                <a:cubicBezTo>
                  <a:pt x="707" y="750"/>
                  <a:pt x="705" y="756"/>
                  <a:pt x="709" y="759"/>
                </a:cubicBezTo>
                <a:cubicBezTo>
                  <a:pt x="714" y="762"/>
                  <a:pt x="725" y="761"/>
                  <a:pt x="731" y="761"/>
                </a:cubicBezTo>
                <a:cubicBezTo>
                  <a:pt x="741" y="761"/>
                  <a:pt x="772" y="766"/>
                  <a:pt x="780" y="758"/>
                </a:cubicBezTo>
                <a:cubicBezTo>
                  <a:pt x="780" y="758"/>
                  <a:pt x="780" y="758"/>
                  <a:pt x="780" y="758"/>
                </a:cubicBezTo>
                <a:cubicBezTo>
                  <a:pt x="780" y="758"/>
                  <a:pt x="780" y="758"/>
                  <a:pt x="780" y="758"/>
                </a:cubicBezTo>
                <a:cubicBezTo>
                  <a:pt x="780" y="758"/>
                  <a:pt x="780" y="758"/>
                  <a:pt x="780" y="758"/>
                </a:cubicBezTo>
                <a:cubicBezTo>
                  <a:pt x="791" y="762"/>
                  <a:pt x="811" y="755"/>
                  <a:pt x="815" y="746"/>
                </a:cubicBezTo>
                <a:cubicBezTo>
                  <a:pt x="820" y="737"/>
                  <a:pt x="822" y="729"/>
                  <a:pt x="830" y="721"/>
                </a:cubicBezTo>
                <a:cubicBezTo>
                  <a:pt x="833" y="716"/>
                  <a:pt x="837" y="713"/>
                  <a:pt x="840" y="710"/>
                </a:cubicBezTo>
                <a:cubicBezTo>
                  <a:pt x="859" y="691"/>
                  <a:pt x="880" y="664"/>
                  <a:pt x="893" y="636"/>
                </a:cubicBezTo>
                <a:cubicBezTo>
                  <a:pt x="898" y="627"/>
                  <a:pt x="898" y="614"/>
                  <a:pt x="895" y="604"/>
                </a:cubicBezTo>
                <a:cubicBezTo>
                  <a:pt x="892" y="593"/>
                  <a:pt x="879" y="588"/>
                  <a:pt x="877" y="576"/>
                </a:cubicBezTo>
                <a:cubicBezTo>
                  <a:pt x="876" y="577"/>
                  <a:pt x="875" y="577"/>
                  <a:pt x="874" y="578"/>
                </a:cubicBezTo>
                <a:cubicBezTo>
                  <a:pt x="873" y="572"/>
                  <a:pt x="867" y="569"/>
                  <a:pt x="862" y="565"/>
                </a:cubicBezTo>
                <a:cubicBezTo>
                  <a:pt x="864" y="568"/>
                  <a:pt x="865" y="570"/>
                  <a:pt x="866" y="573"/>
                </a:cubicBezTo>
                <a:cubicBezTo>
                  <a:pt x="865" y="570"/>
                  <a:pt x="863" y="568"/>
                  <a:pt x="862" y="565"/>
                </a:cubicBezTo>
                <a:cubicBezTo>
                  <a:pt x="862" y="565"/>
                  <a:pt x="862" y="565"/>
                  <a:pt x="862" y="565"/>
                </a:cubicBezTo>
                <a:cubicBezTo>
                  <a:pt x="850" y="534"/>
                  <a:pt x="840" y="501"/>
                  <a:pt x="858" y="469"/>
                </a:cubicBezTo>
                <a:cubicBezTo>
                  <a:pt x="867" y="452"/>
                  <a:pt x="872" y="433"/>
                  <a:pt x="881" y="415"/>
                </a:cubicBezTo>
                <a:cubicBezTo>
                  <a:pt x="886" y="406"/>
                  <a:pt x="892" y="400"/>
                  <a:pt x="894" y="389"/>
                </a:cubicBezTo>
                <a:cubicBezTo>
                  <a:pt x="897" y="381"/>
                  <a:pt x="899" y="371"/>
                  <a:pt x="899" y="362"/>
                </a:cubicBezTo>
                <a:cubicBezTo>
                  <a:pt x="901" y="343"/>
                  <a:pt x="894" y="324"/>
                  <a:pt x="892" y="305"/>
                </a:cubicBezTo>
                <a:cubicBezTo>
                  <a:pt x="891" y="286"/>
                  <a:pt x="912" y="275"/>
                  <a:pt x="926" y="264"/>
                </a:cubicBezTo>
                <a:cubicBezTo>
                  <a:pt x="933" y="258"/>
                  <a:pt x="939" y="252"/>
                  <a:pt x="946" y="246"/>
                </a:cubicBezTo>
                <a:cubicBezTo>
                  <a:pt x="951" y="242"/>
                  <a:pt x="955" y="235"/>
                  <a:pt x="960" y="232"/>
                </a:cubicBezTo>
                <a:cubicBezTo>
                  <a:pt x="960" y="232"/>
                  <a:pt x="961" y="233"/>
                  <a:pt x="961" y="233"/>
                </a:cubicBezTo>
                <a:cubicBezTo>
                  <a:pt x="963" y="232"/>
                  <a:pt x="964" y="230"/>
                  <a:pt x="966" y="229"/>
                </a:cubicBezTo>
                <a:cubicBezTo>
                  <a:pt x="970" y="227"/>
                  <a:pt x="973" y="223"/>
                  <a:pt x="977" y="220"/>
                </a:cubicBezTo>
                <a:cubicBezTo>
                  <a:pt x="983" y="214"/>
                  <a:pt x="991" y="207"/>
                  <a:pt x="996" y="201"/>
                </a:cubicBezTo>
                <a:cubicBezTo>
                  <a:pt x="1008" y="185"/>
                  <a:pt x="1021" y="167"/>
                  <a:pt x="1040" y="157"/>
                </a:cubicBezTo>
                <a:cubicBezTo>
                  <a:pt x="1056" y="148"/>
                  <a:pt x="1079" y="144"/>
                  <a:pt x="1086" y="124"/>
                </a:cubicBezTo>
                <a:cubicBezTo>
                  <a:pt x="1080" y="128"/>
                  <a:pt x="1075" y="123"/>
                  <a:pt x="1070" y="121"/>
                </a:cubicBezTo>
                <a:close/>
                <a:moveTo>
                  <a:pt x="123" y="28"/>
                </a:moveTo>
                <a:cubicBezTo>
                  <a:pt x="123" y="28"/>
                  <a:pt x="123" y="28"/>
                  <a:pt x="123" y="28"/>
                </a:cubicBezTo>
                <a:cubicBezTo>
                  <a:pt x="124" y="27"/>
                  <a:pt x="125" y="27"/>
                  <a:pt x="126" y="26"/>
                </a:cubicBezTo>
                <a:cubicBezTo>
                  <a:pt x="125" y="27"/>
                  <a:pt x="124" y="27"/>
                  <a:pt x="123" y="28"/>
                </a:cubicBezTo>
                <a:cubicBezTo>
                  <a:pt x="123" y="28"/>
                  <a:pt x="123" y="28"/>
                  <a:pt x="123" y="28"/>
                </a:cubicBezTo>
                <a:cubicBezTo>
                  <a:pt x="121" y="29"/>
                  <a:pt x="119" y="29"/>
                  <a:pt x="118" y="30"/>
                </a:cubicBezTo>
                <a:cubicBezTo>
                  <a:pt x="119" y="29"/>
                  <a:pt x="121" y="28"/>
                  <a:pt x="123" y="28"/>
                </a:cubicBezTo>
                <a:close/>
                <a:moveTo>
                  <a:pt x="112" y="87"/>
                </a:moveTo>
                <a:cubicBezTo>
                  <a:pt x="108" y="89"/>
                  <a:pt x="100" y="83"/>
                  <a:pt x="98" y="79"/>
                </a:cubicBezTo>
                <a:cubicBezTo>
                  <a:pt x="96" y="73"/>
                  <a:pt x="102" y="58"/>
                  <a:pt x="109" y="57"/>
                </a:cubicBezTo>
                <a:cubicBezTo>
                  <a:pt x="111" y="56"/>
                  <a:pt x="115" y="58"/>
                  <a:pt x="120" y="60"/>
                </a:cubicBezTo>
                <a:cubicBezTo>
                  <a:pt x="116" y="60"/>
                  <a:pt x="109" y="61"/>
                  <a:pt x="107" y="69"/>
                </a:cubicBezTo>
                <a:cubicBezTo>
                  <a:pt x="105" y="75"/>
                  <a:pt x="114" y="82"/>
                  <a:pt x="123" y="80"/>
                </a:cubicBezTo>
                <a:cubicBezTo>
                  <a:pt x="119" y="83"/>
                  <a:pt x="115" y="85"/>
                  <a:pt x="112" y="87"/>
                </a:cubicBezTo>
                <a:close/>
                <a:moveTo>
                  <a:pt x="143" y="76"/>
                </a:moveTo>
                <a:cubicBezTo>
                  <a:pt x="142" y="77"/>
                  <a:pt x="142" y="78"/>
                  <a:pt x="141" y="79"/>
                </a:cubicBezTo>
                <a:cubicBezTo>
                  <a:pt x="139" y="82"/>
                  <a:pt x="137" y="83"/>
                  <a:pt x="134" y="83"/>
                </a:cubicBezTo>
                <a:cubicBezTo>
                  <a:pt x="137" y="83"/>
                  <a:pt x="139" y="81"/>
                  <a:pt x="141" y="79"/>
                </a:cubicBezTo>
                <a:cubicBezTo>
                  <a:pt x="141" y="78"/>
                  <a:pt x="142" y="78"/>
                  <a:pt x="142" y="77"/>
                </a:cubicBezTo>
                <a:cubicBezTo>
                  <a:pt x="142" y="77"/>
                  <a:pt x="143" y="75"/>
                  <a:pt x="143" y="76"/>
                </a:cubicBezTo>
                <a:close/>
                <a:moveTo>
                  <a:pt x="180" y="190"/>
                </a:moveTo>
                <a:cubicBezTo>
                  <a:pt x="179" y="190"/>
                  <a:pt x="178" y="190"/>
                  <a:pt x="180" y="190"/>
                </a:cubicBezTo>
                <a:cubicBezTo>
                  <a:pt x="180" y="190"/>
                  <a:pt x="180" y="190"/>
                  <a:pt x="180" y="190"/>
                </a:cubicBezTo>
                <a:cubicBezTo>
                  <a:pt x="181" y="190"/>
                  <a:pt x="183" y="189"/>
                  <a:pt x="183" y="189"/>
                </a:cubicBezTo>
                <a:cubicBezTo>
                  <a:pt x="182" y="190"/>
                  <a:pt x="182" y="190"/>
                  <a:pt x="180" y="190"/>
                </a:cubicBezTo>
                <a:close/>
                <a:moveTo>
                  <a:pt x="209" y="33"/>
                </a:moveTo>
                <a:cubicBezTo>
                  <a:pt x="209" y="33"/>
                  <a:pt x="208" y="33"/>
                  <a:pt x="207" y="33"/>
                </a:cubicBezTo>
                <a:cubicBezTo>
                  <a:pt x="210" y="32"/>
                  <a:pt x="210" y="32"/>
                  <a:pt x="212" y="29"/>
                </a:cubicBezTo>
                <a:cubicBezTo>
                  <a:pt x="211" y="30"/>
                  <a:pt x="210" y="32"/>
                  <a:pt x="209" y="33"/>
                </a:cubicBezTo>
                <a:close/>
                <a:moveTo>
                  <a:pt x="268" y="595"/>
                </a:moveTo>
                <a:cubicBezTo>
                  <a:pt x="267" y="595"/>
                  <a:pt x="266" y="596"/>
                  <a:pt x="265" y="595"/>
                </a:cubicBezTo>
                <a:cubicBezTo>
                  <a:pt x="266" y="595"/>
                  <a:pt x="267" y="595"/>
                  <a:pt x="268" y="595"/>
                </a:cubicBezTo>
                <a:close/>
                <a:moveTo>
                  <a:pt x="258" y="584"/>
                </a:moveTo>
                <a:cubicBezTo>
                  <a:pt x="257" y="584"/>
                  <a:pt x="257" y="583"/>
                  <a:pt x="256" y="583"/>
                </a:cubicBezTo>
                <a:cubicBezTo>
                  <a:pt x="254" y="581"/>
                  <a:pt x="252" y="579"/>
                  <a:pt x="251" y="577"/>
                </a:cubicBezTo>
                <a:cubicBezTo>
                  <a:pt x="253" y="579"/>
                  <a:pt x="255" y="582"/>
                  <a:pt x="258" y="584"/>
                </a:cubicBezTo>
                <a:close/>
                <a:moveTo>
                  <a:pt x="241" y="570"/>
                </a:moveTo>
                <a:cubicBezTo>
                  <a:pt x="242" y="570"/>
                  <a:pt x="242" y="570"/>
                  <a:pt x="243" y="571"/>
                </a:cubicBezTo>
                <a:cubicBezTo>
                  <a:pt x="243" y="571"/>
                  <a:pt x="243" y="572"/>
                  <a:pt x="243" y="573"/>
                </a:cubicBezTo>
                <a:cubicBezTo>
                  <a:pt x="243" y="572"/>
                  <a:pt x="242" y="571"/>
                  <a:pt x="241" y="570"/>
                </a:cubicBezTo>
                <a:cubicBezTo>
                  <a:pt x="239" y="569"/>
                  <a:pt x="237" y="567"/>
                  <a:pt x="235" y="566"/>
                </a:cubicBezTo>
                <a:cubicBezTo>
                  <a:pt x="237" y="567"/>
                  <a:pt x="239" y="568"/>
                  <a:pt x="241" y="570"/>
                </a:cubicBezTo>
                <a:close/>
                <a:moveTo>
                  <a:pt x="285" y="19"/>
                </a:moveTo>
                <a:cubicBezTo>
                  <a:pt x="286" y="17"/>
                  <a:pt x="290" y="15"/>
                  <a:pt x="293" y="14"/>
                </a:cubicBezTo>
                <a:cubicBezTo>
                  <a:pt x="290" y="15"/>
                  <a:pt x="287" y="17"/>
                  <a:pt x="285" y="19"/>
                </a:cubicBezTo>
                <a:cubicBezTo>
                  <a:pt x="285" y="19"/>
                  <a:pt x="284" y="20"/>
                  <a:pt x="285" y="19"/>
                </a:cubicBezTo>
                <a:close/>
                <a:moveTo>
                  <a:pt x="239" y="324"/>
                </a:moveTo>
                <a:cubicBezTo>
                  <a:pt x="238" y="325"/>
                  <a:pt x="237" y="325"/>
                  <a:pt x="236" y="325"/>
                </a:cubicBezTo>
                <a:cubicBezTo>
                  <a:pt x="239" y="324"/>
                  <a:pt x="239" y="323"/>
                  <a:pt x="240" y="320"/>
                </a:cubicBezTo>
                <a:cubicBezTo>
                  <a:pt x="240" y="321"/>
                  <a:pt x="240" y="323"/>
                  <a:pt x="239" y="324"/>
                </a:cubicBezTo>
                <a:close/>
                <a:moveTo>
                  <a:pt x="237" y="197"/>
                </a:moveTo>
                <a:cubicBezTo>
                  <a:pt x="238" y="195"/>
                  <a:pt x="238" y="196"/>
                  <a:pt x="240" y="195"/>
                </a:cubicBezTo>
                <a:cubicBezTo>
                  <a:pt x="238" y="196"/>
                  <a:pt x="238" y="195"/>
                  <a:pt x="237" y="197"/>
                </a:cubicBezTo>
                <a:close/>
                <a:moveTo>
                  <a:pt x="308" y="65"/>
                </a:moveTo>
                <a:cubicBezTo>
                  <a:pt x="295" y="73"/>
                  <a:pt x="280" y="79"/>
                  <a:pt x="263" y="76"/>
                </a:cubicBezTo>
                <a:cubicBezTo>
                  <a:pt x="256" y="74"/>
                  <a:pt x="246" y="67"/>
                  <a:pt x="241" y="63"/>
                </a:cubicBezTo>
                <a:cubicBezTo>
                  <a:pt x="236" y="59"/>
                  <a:pt x="239" y="58"/>
                  <a:pt x="236" y="51"/>
                </a:cubicBezTo>
                <a:cubicBezTo>
                  <a:pt x="234" y="61"/>
                  <a:pt x="233" y="51"/>
                  <a:pt x="231" y="51"/>
                </a:cubicBezTo>
                <a:cubicBezTo>
                  <a:pt x="228" y="50"/>
                  <a:pt x="223" y="52"/>
                  <a:pt x="219" y="49"/>
                </a:cubicBezTo>
                <a:cubicBezTo>
                  <a:pt x="208" y="39"/>
                  <a:pt x="234" y="39"/>
                  <a:pt x="238" y="48"/>
                </a:cubicBezTo>
                <a:cubicBezTo>
                  <a:pt x="238" y="46"/>
                  <a:pt x="240" y="45"/>
                  <a:pt x="240" y="44"/>
                </a:cubicBezTo>
                <a:cubicBezTo>
                  <a:pt x="240" y="49"/>
                  <a:pt x="243" y="49"/>
                  <a:pt x="245" y="45"/>
                </a:cubicBezTo>
                <a:cubicBezTo>
                  <a:pt x="248" y="49"/>
                  <a:pt x="251" y="47"/>
                  <a:pt x="255" y="48"/>
                </a:cubicBezTo>
                <a:cubicBezTo>
                  <a:pt x="262" y="49"/>
                  <a:pt x="267" y="50"/>
                  <a:pt x="275" y="51"/>
                </a:cubicBezTo>
                <a:cubicBezTo>
                  <a:pt x="290" y="53"/>
                  <a:pt x="304" y="54"/>
                  <a:pt x="320" y="57"/>
                </a:cubicBezTo>
                <a:cubicBezTo>
                  <a:pt x="315" y="58"/>
                  <a:pt x="311" y="61"/>
                  <a:pt x="308" y="65"/>
                </a:cubicBezTo>
                <a:close/>
                <a:moveTo>
                  <a:pt x="470" y="209"/>
                </a:moveTo>
                <a:cubicBezTo>
                  <a:pt x="471" y="210"/>
                  <a:pt x="473" y="211"/>
                  <a:pt x="473" y="211"/>
                </a:cubicBezTo>
                <a:cubicBezTo>
                  <a:pt x="472" y="210"/>
                  <a:pt x="471" y="210"/>
                  <a:pt x="470" y="209"/>
                </a:cubicBezTo>
                <a:close/>
                <a:moveTo>
                  <a:pt x="513" y="364"/>
                </a:moveTo>
                <a:cubicBezTo>
                  <a:pt x="513" y="362"/>
                  <a:pt x="514" y="360"/>
                  <a:pt x="514" y="358"/>
                </a:cubicBezTo>
                <a:cubicBezTo>
                  <a:pt x="514" y="360"/>
                  <a:pt x="513" y="362"/>
                  <a:pt x="513" y="364"/>
                </a:cubicBezTo>
                <a:close/>
                <a:moveTo>
                  <a:pt x="642" y="439"/>
                </a:moveTo>
                <a:cubicBezTo>
                  <a:pt x="640" y="440"/>
                  <a:pt x="639" y="440"/>
                  <a:pt x="638" y="441"/>
                </a:cubicBezTo>
                <a:cubicBezTo>
                  <a:pt x="639" y="441"/>
                  <a:pt x="639" y="440"/>
                  <a:pt x="640" y="439"/>
                </a:cubicBezTo>
                <a:cubicBezTo>
                  <a:pt x="641" y="439"/>
                  <a:pt x="641" y="439"/>
                  <a:pt x="642" y="439"/>
                </a:cubicBezTo>
                <a:cubicBezTo>
                  <a:pt x="646" y="438"/>
                  <a:pt x="651" y="438"/>
                  <a:pt x="655" y="438"/>
                </a:cubicBezTo>
                <a:cubicBezTo>
                  <a:pt x="651" y="438"/>
                  <a:pt x="646" y="439"/>
                  <a:pt x="642" y="439"/>
                </a:cubicBezTo>
                <a:close/>
                <a:moveTo>
                  <a:pt x="710" y="400"/>
                </a:moveTo>
                <a:cubicBezTo>
                  <a:pt x="710" y="401"/>
                  <a:pt x="710" y="401"/>
                  <a:pt x="710" y="401"/>
                </a:cubicBezTo>
                <a:cubicBezTo>
                  <a:pt x="709" y="401"/>
                  <a:pt x="708" y="401"/>
                  <a:pt x="708" y="401"/>
                </a:cubicBezTo>
                <a:cubicBezTo>
                  <a:pt x="709" y="401"/>
                  <a:pt x="710" y="401"/>
                  <a:pt x="710" y="400"/>
                </a:cubicBezTo>
                <a:close/>
                <a:moveTo>
                  <a:pt x="702" y="452"/>
                </a:moveTo>
                <a:cubicBezTo>
                  <a:pt x="702" y="451"/>
                  <a:pt x="702" y="451"/>
                  <a:pt x="703" y="451"/>
                </a:cubicBezTo>
                <a:cubicBezTo>
                  <a:pt x="705" y="451"/>
                  <a:pt x="706" y="451"/>
                  <a:pt x="708" y="451"/>
                </a:cubicBezTo>
                <a:cubicBezTo>
                  <a:pt x="706" y="450"/>
                  <a:pt x="704" y="451"/>
                  <a:pt x="702" y="452"/>
                </a:cubicBezTo>
                <a:close/>
                <a:moveTo>
                  <a:pt x="709" y="459"/>
                </a:moveTo>
                <a:cubicBezTo>
                  <a:pt x="709" y="458"/>
                  <a:pt x="709" y="458"/>
                  <a:pt x="710" y="457"/>
                </a:cubicBezTo>
                <a:cubicBezTo>
                  <a:pt x="711" y="457"/>
                  <a:pt x="712" y="457"/>
                  <a:pt x="712" y="458"/>
                </a:cubicBezTo>
                <a:cubicBezTo>
                  <a:pt x="710" y="458"/>
                  <a:pt x="710" y="458"/>
                  <a:pt x="709" y="459"/>
                </a:cubicBezTo>
                <a:close/>
                <a:moveTo>
                  <a:pt x="724" y="474"/>
                </a:moveTo>
                <a:cubicBezTo>
                  <a:pt x="723" y="472"/>
                  <a:pt x="723" y="469"/>
                  <a:pt x="722" y="467"/>
                </a:cubicBezTo>
                <a:cubicBezTo>
                  <a:pt x="722" y="468"/>
                  <a:pt x="723" y="468"/>
                  <a:pt x="723" y="469"/>
                </a:cubicBezTo>
                <a:cubicBezTo>
                  <a:pt x="723" y="471"/>
                  <a:pt x="723" y="472"/>
                  <a:pt x="724" y="474"/>
                </a:cubicBezTo>
                <a:cubicBezTo>
                  <a:pt x="724" y="477"/>
                  <a:pt x="725" y="480"/>
                  <a:pt x="726" y="483"/>
                </a:cubicBezTo>
                <a:cubicBezTo>
                  <a:pt x="725" y="480"/>
                  <a:pt x="724" y="477"/>
                  <a:pt x="724" y="474"/>
                </a:cubicBezTo>
                <a:close/>
                <a:moveTo>
                  <a:pt x="734" y="504"/>
                </a:moveTo>
                <a:cubicBezTo>
                  <a:pt x="733" y="503"/>
                  <a:pt x="733" y="503"/>
                  <a:pt x="732" y="502"/>
                </a:cubicBezTo>
                <a:cubicBezTo>
                  <a:pt x="730" y="499"/>
                  <a:pt x="729" y="496"/>
                  <a:pt x="729" y="492"/>
                </a:cubicBezTo>
                <a:cubicBezTo>
                  <a:pt x="730" y="497"/>
                  <a:pt x="732" y="500"/>
                  <a:pt x="734" y="504"/>
                </a:cubicBezTo>
                <a:cubicBezTo>
                  <a:pt x="735" y="505"/>
                  <a:pt x="735" y="505"/>
                  <a:pt x="736" y="507"/>
                </a:cubicBezTo>
                <a:cubicBezTo>
                  <a:pt x="735" y="506"/>
                  <a:pt x="734" y="505"/>
                  <a:pt x="734" y="504"/>
                </a:cubicBezTo>
                <a:close/>
                <a:moveTo>
                  <a:pt x="749" y="756"/>
                </a:moveTo>
                <a:cubicBezTo>
                  <a:pt x="750" y="756"/>
                  <a:pt x="748" y="755"/>
                  <a:pt x="749" y="755"/>
                </a:cubicBezTo>
                <a:cubicBezTo>
                  <a:pt x="752" y="757"/>
                  <a:pt x="750" y="756"/>
                  <a:pt x="749" y="756"/>
                </a:cubicBezTo>
                <a:close/>
                <a:moveTo>
                  <a:pt x="793" y="756"/>
                </a:moveTo>
                <a:cubicBezTo>
                  <a:pt x="793" y="755"/>
                  <a:pt x="792" y="754"/>
                  <a:pt x="792" y="754"/>
                </a:cubicBezTo>
                <a:cubicBezTo>
                  <a:pt x="793" y="755"/>
                  <a:pt x="794" y="757"/>
                  <a:pt x="796" y="757"/>
                </a:cubicBezTo>
                <a:cubicBezTo>
                  <a:pt x="795" y="756"/>
                  <a:pt x="794" y="757"/>
                  <a:pt x="793" y="7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/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531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7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7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C83D7D6-B709-2A47-B7B1-9A64F1CC3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3B3DABD-41D0-A845-AC07-A3A47DD94B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Freeform 111">
            <a:extLst>
              <a:ext uri="{FF2B5EF4-FFF2-40B4-BE49-F238E27FC236}">
                <a16:creationId xmlns:a16="http://schemas.microsoft.com/office/drawing/2014/main" id="{A95DF223-2F01-254C-9E58-918324E951BD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480107" y="1629009"/>
            <a:ext cx="6227881" cy="5084992"/>
          </a:xfrm>
          <a:custGeom>
            <a:avLst/>
            <a:gdLst>
              <a:gd name="T0" fmla="*/ 14437 w 26312"/>
              <a:gd name="T1" fmla="*/ 2313 h 17531"/>
              <a:gd name="T2" fmla="*/ 10719 w 26312"/>
              <a:gd name="T3" fmla="*/ 1813 h 17531"/>
              <a:gd name="T4" fmla="*/ 15312 w 26312"/>
              <a:gd name="T5" fmla="*/ 938 h 17531"/>
              <a:gd name="T6" fmla="*/ 12625 w 26312"/>
              <a:gd name="T7" fmla="*/ 1281 h 17531"/>
              <a:gd name="T8" fmla="*/ 4906 w 26312"/>
              <a:gd name="T9" fmla="*/ 3281 h 17531"/>
              <a:gd name="T10" fmla="*/ 3000 w 26312"/>
              <a:gd name="T11" fmla="*/ 3188 h 17531"/>
              <a:gd name="T12" fmla="*/ 9781 w 26312"/>
              <a:gd name="T13" fmla="*/ 1875 h 17531"/>
              <a:gd name="T14" fmla="*/ 15469 w 26312"/>
              <a:gd name="T15" fmla="*/ 1344 h 17531"/>
              <a:gd name="T16" fmla="*/ 14906 w 26312"/>
              <a:gd name="T17" fmla="*/ 938 h 17531"/>
              <a:gd name="T18" fmla="*/ 6687 w 26312"/>
              <a:gd name="T19" fmla="*/ 2344 h 17531"/>
              <a:gd name="T20" fmla="*/ 7500 w 26312"/>
              <a:gd name="T21" fmla="*/ 2875 h 17531"/>
              <a:gd name="T22" fmla="*/ 14781 w 26312"/>
              <a:gd name="T23" fmla="*/ 1094 h 17531"/>
              <a:gd name="T24" fmla="*/ 5406 w 26312"/>
              <a:gd name="T25" fmla="*/ 3594 h 17531"/>
              <a:gd name="T26" fmla="*/ 5750 w 26312"/>
              <a:gd name="T27" fmla="*/ 3563 h 17531"/>
              <a:gd name="T28" fmla="*/ 5156 w 26312"/>
              <a:gd name="T29" fmla="*/ 2781 h 17531"/>
              <a:gd name="T30" fmla="*/ 6437 w 26312"/>
              <a:gd name="T31" fmla="*/ 3094 h 17531"/>
              <a:gd name="T32" fmla="*/ 8812 w 26312"/>
              <a:gd name="T33" fmla="*/ 3781 h 17531"/>
              <a:gd name="T34" fmla="*/ 9062 w 26312"/>
              <a:gd name="T35" fmla="*/ 3063 h 17531"/>
              <a:gd name="T36" fmla="*/ 9719 w 26312"/>
              <a:gd name="T37" fmla="*/ 2813 h 17531"/>
              <a:gd name="T38" fmla="*/ 10937 w 26312"/>
              <a:gd name="T39" fmla="*/ 3281 h 17531"/>
              <a:gd name="T40" fmla="*/ 11594 w 26312"/>
              <a:gd name="T41" fmla="*/ 3188 h 17531"/>
              <a:gd name="T42" fmla="*/ 12125 w 26312"/>
              <a:gd name="T43" fmla="*/ 3531 h 17531"/>
              <a:gd name="T44" fmla="*/ 12937 w 26312"/>
              <a:gd name="T45" fmla="*/ 3563 h 17531"/>
              <a:gd name="T46" fmla="*/ 13531 w 26312"/>
              <a:gd name="T47" fmla="*/ 3281 h 17531"/>
              <a:gd name="T48" fmla="*/ 14187 w 26312"/>
              <a:gd name="T49" fmla="*/ 2406 h 17531"/>
              <a:gd name="T50" fmla="*/ 14406 w 26312"/>
              <a:gd name="T51" fmla="*/ 1469 h 17531"/>
              <a:gd name="T52" fmla="*/ 15781 w 26312"/>
              <a:gd name="T53" fmla="*/ 2625 h 17531"/>
              <a:gd name="T54" fmla="*/ 16687 w 26312"/>
              <a:gd name="T55" fmla="*/ 2031 h 17531"/>
              <a:gd name="T56" fmla="*/ 17125 w 26312"/>
              <a:gd name="T57" fmla="*/ 594 h 17531"/>
              <a:gd name="T58" fmla="*/ 19875 w 26312"/>
              <a:gd name="T59" fmla="*/ 2219 h 17531"/>
              <a:gd name="T60" fmla="*/ 21156 w 26312"/>
              <a:gd name="T61" fmla="*/ 3594 h 17531"/>
              <a:gd name="T62" fmla="*/ 21875 w 26312"/>
              <a:gd name="T63" fmla="*/ 5219 h 17531"/>
              <a:gd name="T64" fmla="*/ 23375 w 26312"/>
              <a:gd name="T65" fmla="*/ 3906 h 17531"/>
              <a:gd name="T66" fmla="*/ 24000 w 26312"/>
              <a:gd name="T67" fmla="*/ 3625 h 17531"/>
              <a:gd name="T68" fmla="*/ 24000 w 26312"/>
              <a:gd name="T69" fmla="*/ 2344 h 17531"/>
              <a:gd name="T70" fmla="*/ 24500 w 26312"/>
              <a:gd name="T71" fmla="*/ 719 h 17531"/>
              <a:gd name="T72" fmla="*/ 25469 w 26312"/>
              <a:gd name="T73" fmla="*/ 906 h 17531"/>
              <a:gd name="T74" fmla="*/ 20906 w 26312"/>
              <a:gd name="T75" fmla="*/ 6969 h 17531"/>
              <a:gd name="T76" fmla="*/ 16437 w 26312"/>
              <a:gd name="T77" fmla="*/ 14344 h 17531"/>
              <a:gd name="T78" fmla="*/ 16500 w 26312"/>
              <a:gd name="T79" fmla="*/ 15531 h 17531"/>
              <a:gd name="T80" fmla="*/ 15625 w 26312"/>
              <a:gd name="T81" fmla="*/ 16875 h 17531"/>
              <a:gd name="T82" fmla="*/ 12437 w 26312"/>
              <a:gd name="T83" fmla="*/ 16719 h 17531"/>
              <a:gd name="T84" fmla="*/ 11125 w 26312"/>
              <a:gd name="T85" fmla="*/ 11500 h 17531"/>
              <a:gd name="T86" fmla="*/ 5437 w 26312"/>
              <a:gd name="T87" fmla="*/ 12594 h 17531"/>
              <a:gd name="T88" fmla="*/ 4437 w 26312"/>
              <a:gd name="T89" fmla="*/ 17500 h 17531"/>
              <a:gd name="T90" fmla="*/ 2625 w 26312"/>
              <a:gd name="T91" fmla="*/ 15031 h 17531"/>
              <a:gd name="T92" fmla="*/ 219 w 26312"/>
              <a:gd name="T93" fmla="*/ 16875 h 17531"/>
              <a:gd name="T94" fmla="*/ 531 w 26312"/>
              <a:gd name="T95" fmla="*/ 14906 h 17531"/>
              <a:gd name="T96" fmla="*/ 344 w 26312"/>
              <a:gd name="T97" fmla="*/ 9438 h 17531"/>
              <a:gd name="T98" fmla="*/ 3375 w 26312"/>
              <a:gd name="T99" fmla="*/ 1750 h 17531"/>
              <a:gd name="T100" fmla="*/ 1937 w 26312"/>
              <a:gd name="T101" fmla="*/ 3375 h 17531"/>
              <a:gd name="T102" fmla="*/ 2062 w 26312"/>
              <a:gd name="T103" fmla="*/ 4344 h 17531"/>
              <a:gd name="T104" fmla="*/ 3781 w 26312"/>
              <a:gd name="T105" fmla="*/ 4188 h 17531"/>
              <a:gd name="T106" fmla="*/ 4094 w 26312"/>
              <a:gd name="T107" fmla="*/ 3969 h 17531"/>
              <a:gd name="T108" fmla="*/ 3844 w 26312"/>
              <a:gd name="T109" fmla="*/ 3219 h 17531"/>
              <a:gd name="T110" fmla="*/ 21719 w 26312"/>
              <a:gd name="T111" fmla="*/ 4906 h 17531"/>
              <a:gd name="T112" fmla="*/ 7875 w 26312"/>
              <a:gd name="T113" fmla="*/ 1406 h 17531"/>
              <a:gd name="T114" fmla="*/ 10312 w 26312"/>
              <a:gd name="T115" fmla="*/ 1781 h 17531"/>
              <a:gd name="T116" fmla="*/ 11844 w 26312"/>
              <a:gd name="T117" fmla="*/ 1406 h 17531"/>
              <a:gd name="T118" fmla="*/ 12719 w 26312"/>
              <a:gd name="T119" fmla="*/ 1031 h 17531"/>
              <a:gd name="T120" fmla="*/ 6812 w 26312"/>
              <a:gd name="T121" fmla="*/ 406 h 17531"/>
              <a:gd name="T122" fmla="*/ 8562 w 26312"/>
              <a:gd name="T123" fmla="*/ 3188 h 17531"/>
              <a:gd name="T124" fmla="*/ 18406 w 26312"/>
              <a:gd name="T125" fmla="*/ 1000 h 17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312" h="17531">
                <a:moveTo>
                  <a:pt x="14406" y="2250"/>
                </a:move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375" y="2219"/>
                  <a:pt x="14375" y="2219"/>
                </a:cubicBezTo>
                <a:cubicBezTo>
                  <a:pt x="14375" y="2219"/>
                  <a:pt x="14375" y="2250"/>
                  <a:pt x="14375" y="2250"/>
                </a:cubicBezTo>
                <a:cubicBezTo>
                  <a:pt x="14375" y="2250"/>
                  <a:pt x="14375" y="2250"/>
                  <a:pt x="14375" y="2250"/>
                </a:cubicBezTo>
                <a:cubicBezTo>
                  <a:pt x="14375" y="2250"/>
                  <a:pt x="14406" y="2250"/>
                  <a:pt x="14406" y="2250"/>
                </a:cubicBezTo>
                <a:cubicBezTo>
                  <a:pt x="14406" y="2250"/>
                  <a:pt x="14406" y="2250"/>
                  <a:pt x="14406" y="2250"/>
                </a:cubicBezTo>
                <a:close/>
                <a:moveTo>
                  <a:pt x="3969" y="4125"/>
                </a:moveTo>
                <a:lnTo>
                  <a:pt x="4000" y="4125"/>
                </a:lnTo>
                <a:lnTo>
                  <a:pt x="4000" y="4125"/>
                </a:lnTo>
                <a:lnTo>
                  <a:pt x="3969" y="4125"/>
                </a:lnTo>
                <a:close/>
                <a:moveTo>
                  <a:pt x="24656" y="531"/>
                </a:moveTo>
                <a:lnTo>
                  <a:pt x="24656" y="531"/>
                </a:lnTo>
                <a:lnTo>
                  <a:pt x="24656" y="531"/>
                </a:lnTo>
                <a:close/>
                <a:moveTo>
                  <a:pt x="17656" y="1281"/>
                </a:moveTo>
                <a:cubicBezTo>
                  <a:pt x="17719" y="1250"/>
                  <a:pt x="17750" y="1188"/>
                  <a:pt x="17750" y="1156"/>
                </a:cubicBezTo>
                <a:cubicBezTo>
                  <a:pt x="17719" y="1156"/>
                  <a:pt x="17687" y="1156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88"/>
                  <a:pt x="17656" y="1219"/>
                  <a:pt x="17656" y="1281"/>
                </a:cubicBezTo>
                <a:close/>
                <a:moveTo>
                  <a:pt x="17656" y="1125"/>
                </a:moveTo>
                <a:cubicBezTo>
                  <a:pt x="17656" y="1125"/>
                  <a:pt x="17656" y="1125"/>
                  <a:pt x="17656" y="1125"/>
                </a:cubicBezTo>
                <a:lnTo>
                  <a:pt x="17656" y="1125"/>
                </a:ln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lose/>
                <a:moveTo>
                  <a:pt x="14437" y="2313"/>
                </a:moveTo>
                <a:cubicBezTo>
                  <a:pt x="14406" y="2313"/>
                  <a:pt x="14406" y="2313"/>
                  <a:pt x="14406" y="2313"/>
                </a:cubicBezTo>
                <a:cubicBezTo>
                  <a:pt x="14406" y="2313"/>
                  <a:pt x="14406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lose/>
                <a:moveTo>
                  <a:pt x="21625" y="4156"/>
                </a:moveTo>
                <a:cubicBezTo>
                  <a:pt x="21656" y="4188"/>
                  <a:pt x="21531" y="4219"/>
                  <a:pt x="21625" y="4281"/>
                </a:cubicBezTo>
                <a:cubicBezTo>
                  <a:pt x="21656" y="4281"/>
                  <a:pt x="21687" y="4281"/>
                  <a:pt x="21687" y="4250"/>
                </a:cubicBezTo>
                <a:cubicBezTo>
                  <a:pt x="21719" y="4219"/>
                  <a:pt x="21750" y="4188"/>
                  <a:pt x="21719" y="4125"/>
                </a:cubicBezTo>
                <a:cubicBezTo>
                  <a:pt x="21719" y="4125"/>
                  <a:pt x="21719" y="4125"/>
                  <a:pt x="21719" y="4125"/>
                </a:cubicBezTo>
                <a:cubicBezTo>
                  <a:pt x="21719" y="4125"/>
                  <a:pt x="21687" y="4156"/>
                  <a:pt x="21656" y="4156"/>
                </a:cubicBezTo>
                <a:cubicBezTo>
                  <a:pt x="21656" y="4156"/>
                  <a:pt x="21656" y="4156"/>
                  <a:pt x="21656" y="4156"/>
                </a:cubicBezTo>
                <a:cubicBezTo>
                  <a:pt x="21656" y="4156"/>
                  <a:pt x="21625" y="4125"/>
                  <a:pt x="21625" y="4125"/>
                </a:cubicBezTo>
                <a:cubicBezTo>
                  <a:pt x="21625" y="4156"/>
                  <a:pt x="21625" y="4156"/>
                  <a:pt x="21625" y="4156"/>
                </a:cubicBezTo>
                <a:close/>
                <a:moveTo>
                  <a:pt x="8687" y="2906"/>
                </a:moveTo>
                <a:lnTo>
                  <a:pt x="8719" y="2875"/>
                </a:lnTo>
                <a:lnTo>
                  <a:pt x="8687" y="2875"/>
                </a:lnTo>
                <a:lnTo>
                  <a:pt x="8687" y="2906"/>
                </a:lnTo>
                <a:close/>
                <a:moveTo>
                  <a:pt x="10781" y="1750"/>
                </a:moveTo>
                <a:lnTo>
                  <a:pt x="10781" y="1750"/>
                </a:lnTo>
                <a:lnTo>
                  <a:pt x="10781" y="1750"/>
                </a:lnTo>
                <a:close/>
                <a:moveTo>
                  <a:pt x="17531" y="875"/>
                </a:moveTo>
                <a:cubicBezTo>
                  <a:pt x="17531" y="875"/>
                  <a:pt x="17500" y="875"/>
                  <a:pt x="17500" y="875"/>
                </a:cubicBezTo>
                <a:cubicBezTo>
                  <a:pt x="17500" y="875"/>
                  <a:pt x="17500" y="875"/>
                  <a:pt x="17500" y="906"/>
                </a:cubicBezTo>
                <a:cubicBezTo>
                  <a:pt x="17500" y="906"/>
                  <a:pt x="17531" y="906"/>
                  <a:pt x="17531" y="906"/>
                </a:cubicBezTo>
                <a:cubicBezTo>
                  <a:pt x="17531" y="906"/>
                  <a:pt x="17531" y="875"/>
                  <a:pt x="17531" y="875"/>
                </a:cubicBezTo>
                <a:close/>
                <a:moveTo>
                  <a:pt x="23719" y="3844"/>
                </a:moveTo>
                <a:cubicBezTo>
                  <a:pt x="23719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13"/>
                </a:cubicBezTo>
                <a:cubicBezTo>
                  <a:pt x="23719" y="3813"/>
                  <a:pt x="23719" y="3813"/>
                  <a:pt x="23687" y="3813"/>
                </a:cubicBezTo>
                <a:cubicBezTo>
                  <a:pt x="23687" y="3813"/>
                  <a:pt x="23687" y="3844"/>
                  <a:pt x="23687" y="3844"/>
                </a:cubicBezTo>
                <a:cubicBezTo>
                  <a:pt x="23687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44"/>
                </a:cubicBezTo>
                <a:close/>
                <a:moveTo>
                  <a:pt x="10750" y="1844"/>
                </a:moveTo>
                <a:lnTo>
                  <a:pt x="10719" y="1813"/>
                </a:lnTo>
                <a:lnTo>
                  <a:pt x="10750" y="1844"/>
                </a:lnTo>
                <a:close/>
                <a:moveTo>
                  <a:pt x="21500" y="4500"/>
                </a:moveTo>
                <a:cubicBezTo>
                  <a:pt x="21500" y="4500"/>
                  <a:pt x="21500" y="4500"/>
                  <a:pt x="21500" y="4469"/>
                </a:cubicBezTo>
                <a:cubicBezTo>
                  <a:pt x="21500" y="4469"/>
                  <a:pt x="21500" y="4469"/>
                  <a:pt x="21500" y="4438"/>
                </a:cubicBezTo>
                <a:cubicBezTo>
                  <a:pt x="21500" y="4469"/>
                  <a:pt x="21500" y="4469"/>
                  <a:pt x="21500" y="4469"/>
                </a:cubicBezTo>
                <a:cubicBezTo>
                  <a:pt x="21500" y="4469"/>
                  <a:pt x="21500" y="4500"/>
                  <a:pt x="21500" y="4500"/>
                </a:cubicBezTo>
                <a:close/>
                <a:moveTo>
                  <a:pt x="4937" y="3531"/>
                </a:moveTo>
                <a:cubicBezTo>
                  <a:pt x="4937" y="3500"/>
                  <a:pt x="4937" y="3500"/>
                  <a:pt x="4906" y="3500"/>
                </a:cubicBezTo>
                <a:cubicBezTo>
                  <a:pt x="4906" y="3500"/>
                  <a:pt x="4906" y="3500"/>
                  <a:pt x="4906" y="3500"/>
                </a:cubicBezTo>
                <a:cubicBezTo>
                  <a:pt x="4906" y="3500"/>
                  <a:pt x="4906" y="3500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lose/>
                <a:moveTo>
                  <a:pt x="5250" y="2094"/>
                </a:moveTo>
                <a:cubicBezTo>
                  <a:pt x="5250" y="2094"/>
                  <a:pt x="5281" y="2094"/>
                  <a:pt x="5281" y="2094"/>
                </a:cubicBezTo>
                <a:cubicBezTo>
                  <a:pt x="5281" y="2094"/>
                  <a:pt x="5281" y="2094"/>
                  <a:pt x="5281" y="2094"/>
                </a:cubicBezTo>
                <a:cubicBezTo>
                  <a:pt x="5281" y="2094"/>
                  <a:pt x="5281" y="2063"/>
                  <a:pt x="5250" y="2063"/>
                </a:cubicBezTo>
                <a:cubicBezTo>
                  <a:pt x="5250" y="2094"/>
                  <a:pt x="5250" y="2094"/>
                  <a:pt x="5250" y="2094"/>
                </a:cubicBezTo>
                <a:close/>
                <a:moveTo>
                  <a:pt x="15312" y="938"/>
                </a:move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1000"/>
                  <a:pt x="15312" y="1031"/>
                  <a:pt x="15375" y="1063"/>
                </a:cubicBezTo>
                <a:cubicBezTo>
                  <a:pt x="15375" y="1063"/>
                  <a:pt x="15375" y="1031"/>
                  <a:pt x="15375" y="1031"/>
                </a:cubicBezTo>
                <a:cubicBezTo>
                  <a:pt x="15344" y="1000"/>
                  <a:pt x="15344" y="969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281" y="938"/>
                  <a:pt x="15312" y="906"/>
                  <a:pt x="15281" y="906"/>
                </a:cubicBezTo>
                <a:cubicBezTo>
                  <a:pt x="15281" y="906"/>
                  <a:pt x="15281" y="875"/>
                  <a:pt x="15250" y="875"/>
                </a:cubicBezTo>
                <a:cubicBezTo>
                  <a:pt x="15281" y="906"/>
                  <a:pt x="15281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lose/>
                <a:moveTo>
                  <a:pt x="15156" y="813"/>
                </a:moveTo>
                <a:cubicBezTo>
                  <a:pt x="15156" y="813"/>
                  <a:pt x="15156" y="813"/>
                  <a:pt x="15156" y="813"/>
                </a:cubicBezTo>
                <a:cubicBezTo>
                  <a:pt x="15125" y="813"/>
                  <a:pt x="15125" y="813"/>
                  <a:pt x="15125" y="813"/>
                </a:cubicBezTo>
                <a:cubicBezTo>
                  <a:pt x="15125" y="844"/>
                  <a:pt x="15125" y="844"/>
                  <a:pt x="15125" y="875"/>
                </a:cubicBezTo>
                <a:cubicBezTo>
                  <a:pt x="15156" y="844"/>
                  <a:pt x="15156" y="844"/>
                  <a:pt x="15156" y="813"/>
                </a:cubicBezTo>
                <a:close/>
                <a:moveTo>
                  <a:pt x="3531" y="2844"/>
                </a:moveTo>
                <a:cubicBezTo>
                  <a:pt x="3531" y="2875"/>
                  <a:pt x="3562" y="2875"/>
                  <a:pt x="3562" y="2875"/>
                </a:cubicBezTo>
                <a:cubicBezTo>
                  <a:pt x="3562" y="2875"/>
                  <a:pt x="3594" y="2844"/>
                  <a:pt x="3594" y="2844"/>
                </a:cubicBezTo>
                <a:cubicBezTo>
                  <a:pt x="3562" y="2844"/>
                  <a:pt x="3562" y="2813"/>
                  <a:pt x="3562" y="2813"/>
                </a:cubicBezTo>
                <a:cubicBezTo>
                  <a:pt x="3531" y="2813"/>
                  <a:pt x="3531" y="2844"/>
                  <a:pt x="3531" y="2844"/>
                </a:cubicBezTo>
                <a:close/>
                <a:moveTo>
                  <a:pt x="1906" y="3813"/>
                </a:moveTo>
                <a:cubicBezTo>
                  <a:pt x="1906" y="3813"/>
                  <a:pt x="1937" y="3781"/>
                  <a:pt x="1969" y="3781"/>
                </a:cubicBezTo>
                <a:cubicBezTo>
                  <a:pt x="1937" y="3781"/>
                  <a:pt x="1937" y="3750"/>
                  <a:pt x="1906" y="3750"/>
                </a:cubicBezTo>
                <a:cubicBezTo>
                  <a:pt x="1906" y="3750"/>
                  <a:pt x="1875" y="3781"/>
                  <a:pt x="1875" y="3781"/>
                </a:cubicBezTo>
                <a:cubicBezTo>
                  <a:pt x="1875" y="3813"/>
                  <a:pt x="1875" y="3813"/>
                  <a:pt x="1906" y="3813"/>
                </a:cubicBezTo>
                <a:close/>
                <a:moveTo>
                  <a:pt x="1062" y="14469"/>
                </a:moveTo>
                <a:cubicBezTo>
                  <a:pt x="1062" y="14500"/>
                  <a:pt x="1062" y="14500"/>
                  <a:pt x="1094" y="14500"/>
                </a:cubicBezTo>
                <a:cubicBezTo>
                  <a:pt x="1094" y="14500"/>
                  <a:pt x="1125" y="14500"/>
                  <a:pt x="1125" y="14469"/>
                </a:cubicBezTo>
                <a:cubicBezTo>
                  <a:pt x="1125" y="14469"/>
                  <a:pt x="1125" y="14469"/>
                  <a:pt x="1094" y="14438"/>
                </a:cubicBezTo>
                <a:cubicBezTo>
                  <a:pt x="1062" y="14438"/>
                  <a:pt x="1062" y="14469"/>
                  <a:pt x="1062" y="14469"/>
                </a:cubicBezTo>
                <a:close/>
                <a:moveTo>
                  <a:pt x="12625" y="1281"/>
                </a:moveTo>
                <a:cubicBezTo>
                  <a:pt x="12594" y="1313"/>
                  <a:pt x="12625" y="1344"/>
                  <a:pt x="12625" y="1375"/>
                </a:cubicBezTo>
                <a:cubicBezTo>
                  <a:pt x="12625" y="1344"/>
                  <a:pt x="12687" y="1313"/>
                  <a:pt x="12656" y="1281"/>
                </a:cubicBezTo>
                <a:cubicBezTo>
                  <a:pt x="12656" y="1281"/>
                  <a:pt x="12625" y="1281"/>
                  <a:pt x="12625" y="1281"/>
                </a:cubicBezTo>
                <a:close/>
                <a:moveTo>
                  <a:pt x="21937" y="4406"/>
                </a:moveTo>
                <a:cubicBezTo>
                  <a:pt x="21937" y="4406"/>
                  <a:pt x="21937" y="4438"/>
                  <a:pt x="21937" y="4469"/>
                </a:cubicBezTo>
                <a:cubicBezTo>
                  <a:pt x="21937" y="4469"/>
                  <a:pt x="21969" y="4469"/>
                  <a:pt x="21969" y="4469"/>
                </a:cubicBezTo>
                <a:cubicBezTo>
                  <a:pt x="21969" y="4375"/>
                  <a:pt x="21969" y="4281"/>
                  <a:pt x="21969" y="4219"/>
                </a:cubicBezTo>
                <a:cubicBezTo>
                  <a:pt x="22000" y="4156"/>
                  <a:pt x="22031" y="4094"/>
                  <a:pt x="22031" y="4063"/>
                </a:cubicBezTo>
                <a:cubicBezTo>
                  <a:pt x="22062" y="4031"/>
                  <a:pt x="22031" y="3969"/>
                  <a:pt x="22000" y="3969"/>
                </a:cubicBezTo>
                <a:cubicBezTo>
                  <a:pt x="21937" y="3969"/>
                  <a:pt x="21969" y="4000"/>
                  <a:pt x="21969" y="4031"/>
                </a:cubicBezTo>
                <a:cubicBezTo>
                  <a:pt x="21969" y="4094"/>
                  <a:pt x="21969" y="4125"/>
                  <a:pt x="21969" y="4188"/>
                </a:cubicBezTo>
                <a:cubicBezTo>
                  <a:pt x="21969" y="4188"/>
                  <a:pt x="21969" y="4188"/>
                  <a:pt x="21969" y="4188"/>
                </a:cubicBezTo>
                <a:cubicBezTo>
                  <a:pt x="21937" y="4250"/>
                  <a:pt x="21937" y="4313"/>
                  <a:pt x="21937" y="4406"/>
                </a:cubicBezTo>
                <a:close/>
                <a:moveTo>
                  <a:pt x="8656" y="1969"/>
                </a:moveTo>
                <a:cubicBezTo>
                  <a:pt x="8656" y="1938"/>
                  <a:pt x="8625" y="1938"/>
                  <a:pt x="8625" y="1938"/>
                </a:cubicBezTo>
                <a:cubicBezTo>
                  <a:pt x="8594" y="1938"/>
                  <a:pt x="8562" y="1938"/>
                  <a:pt x="8562" y="1969"/>
                </a:cubicBezTo>
                <a:cubicBezTo>
                  <a:pt x="8562" y="1969"/>
                  <a:pt x="8594" y="2000"/>
                  <a:pt x="8594" y="2000"/>
                </a:cubicBezTo>
                <a:cubicBezTo>
                  <a:pt x="8625" y="2000"/>
                  <a:pt x="8656" y="2000"/>
                  <a:pt x="8656" y="1969"/>
                </a:cubicBezTo>
                <a:close/>
                <a:moveTo>
                  <a:pt x="11844" y="2688"/>
                </a:moveTo>
                <a:cubicBezTo>
                  <a:pt x="11719" y="2750"/>
                  <a:pt x="11750" y="2844"/>
                  <a:pt x="11812" y="2906"/>
                </a:cubicBezTo>
                <a:cubicBezTo>
                  <a:pt x="11781" y="2844"/>
                  <a:pt x="11844" y="2781"/>
                  <a:pt x="11844" y="2688"/>
                </a:cubicBezTo>
                <a:close/>
                <a:moveTo>
                  <a:pt x="5062" y="3438"/>
                </a:moveTo>
                <a:cubicBezTo>
                  <a:pt x="5062" y="3438"/>
                  <a:pt x="5062" y="3438"/>
                  <a:pt x="5062" y="3406"/>
                </a:cubicBezTo>
                <a:cubicBezTo>
                  <a:pt x="5031" y="3406"/>
                  <a:pt x="5031" y="3375"/>
                  <a:pt x="5000" y="3375"/>
                </a:cubicBezTo>
                <a:cubicBezTo>
                  <a:pt x="5000" y="3375"/>
                  <a:pt x="5000" y="3375"/>
                  <a:pt x="5000" y="3344"/>
                </a:cubicBezTo>
                <a:cubicBezTo>
                  <a:pt x="4969" y="3344"/>
                  <a:pt x="4906" y="3313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50"/>
                  <a:pt x="4875" y="3250"/>
                </a:cubicBezTo>
                <a:cubicBezTo>
                  <a:pt x="4875" y="3250"/>
                  <a:pt x="4875" y="3250"/>
                  <a:pt x="4875" y="3250"/>
                </a:cubicBezTo>
                <a:cubicBezTo>
                  <a:pt x="4875" y="3250"/>
                  <a:pt x="4875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344"/>
                  <a:pt x="4906" y="3375"/>
                  <a:pt x="4937" y="3406"/>
                </a:cubicBezTo>
                <a:cubicBezTo>
                  <a:pt x="4969" y="3406"/>
                  <a:pt x="5000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69"/>
                  <a:pt x="5062" y="3469"/>
                  <a:pt x="5094" y="3469"/>
                </a:cubicBezTo>
                <a:cubicBezTo>
                  <a:pt x="5094" y="3500"/>
                  <a:pt x="5094" y="3500"/>
                  <a:pt x="5125" y="3500"/>
                </a:cubicBezTo>
                <a:cubicBezTo>
                  <a:pt x="5125" y="3438"/>
                  <a:pt x="5094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lose/>
                <a:moveTo>
                  <a:pt x="3500" y="2969"/>
                </a:moveTo>
                <a:cubicBezTo>
                  <a:pt x="3406" y="2906"/>
                  <a:pt x="3406" y="2813"/>
                  <a:pt x="3281" y="2844"/>
                </a:cubicBezTo>
                <a:cubicBezTo>
                  <a:pt x="3344" y="2875"/>
                  <a:pt x="3344" y="3000"/>
                  <a:pt x="3500" y="2969"/>
                </a:cubicBezTo>
                <a:close/>
                <a:moveTo>
                  <a:pt x="8250" y="2000"/>
                </a:moveTo>
                <a:cubicBezTo>
                  <a:pt x="8219" y="2000"/>
                  <a:pt x="8250" y="2031"/>
                  <a:pt x="8250" y="2063"/>
                </a:cubicBezTo>
                <a:cubicBezTo>
                  <a:pt x="8312" y="2094"/>
                  <a:pt x="8344" y="2031"/>
                  <a:pt x="8406" y="2031"/>
                </a:cubicBezTo>
                <a:cubicBezTo>
                  <a:pt x="8344" y="2031"/>
                  <a:pt x="8312" y="1969"/>
                  <a:pt x="8250" y="2000"/>
                </a:cubicBezTo>
                <a:close/>
                <a:moveTo>
                  <a:pt x="3156" y="3219"/>
                </a:moveTo>
                <a:cubicBezTo>
                  <a:pt x="3187" y="3188"/>
                  <a:pt x="3219" y="3188"/>
                  <a:pt x="3250" y="3219"/>
                </a:cubicBezTo>
                <a:cubicBezTo>
                  <a:pt x="3250" y="3219"/>
                  <a:pt x="3250" y="3219"/>
                  <a:pt x="3250" y="3219"/>
                </a:cubicBezTo>
                <a:cubicBezTo>
                  <a:pt x="3281" y="3219"/>
                  <a:pt x="3281" y="3219"/>
                  <a:pt x="3281" y="3219"/>
                </a:cubicBezTo>
                <a:cubicBezTo>
                  <a:pt x="3312" y="3219"/>
                  <a:pt x="3312" y="3219"/>
                  <a:pt x="3312" y="3219"/>
                </a:cubicBezTo>
                <a:cubicBezTo>
                  <a:pt x="3312" y="3219"/>
                  <a:pt x="3344" y="3219"/>
                  <a:pt x="3344" y="3219"/>
                </a:cubicBezTo>
                <a:cubicBezTo>
                  <a:pt x="3312" y="3156"/>
                  <a:pt x="3281" y="3125"/>
                  <a:pt x="3219" y="3125"/>
                </a:cubicBezTo>
                <a:cubicBezTo>
                  <a:pt x="3156" y="3125"/>
                  <a:pt x="3156" y="3188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25" y="3219"/>
                  <a:pt x="3125" y="3219"/>
                  <a:pt x="3094" y="3219"/>
                </a:cubicBezTo>
                <a:cubicBezTo>
                  <a:pt x="3062" y="3188"/>
                  <a:pt x="3031" y="3156"/>
                  <a:pt x="3000" y="3188"/>
                </a:cubicBezTo>
                <a:cubicBezTo>
                  <a:pt x="3000" y="3250"/>
                  <a:pt x="2937" y="3281"/>
                  <a:pt x="2969" y="3344"/>
                </a:cubicBezTo>
                <a:cubicBezTo>
                  <a:pt x="2969" y="3375"/>
                  <a:pt x="3031" y="3375"/>
                  <a:pt x="3062" y="3375"/>
                </a:cubicBezTo>
                <a:cubicBezTo>
                  <a:pt x="3094" y="3375"/>
                  <a:pt x="3125" y="3344"/>
                  <a:pt x="3156" y="3344"/>
                </a:cubicBezTo>
                <a:cubicBezTo>
                  <a:pt x="3187" y="3313"/>
                  <a:pt x="3187" y="3281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lose/>
                <a:moveTo>
                  <a:pt x="13875" y="2969"/>
                </a:moveTo>
                <a:cubicBezTo>
                  <a:pt x="13875" y="3031"/>
                  <a:pt x="13906" y="3031"/>
                  <a:pt x="13937" y="3031"/>
                </a:cubicBezTo>
                <a:cubicBezTo>
                  <a:pt x="13969" y="3031"/>
                  <a:pt x="14000" y="3031"/>
                  <a:pt x="14000" y="3000"/>
                </a:cubicBezTo>
                <a:cubicBezTo>
                  <a:pt x="14000" y="2938"/>
                  <a:pt x="13937" y="2938"/>
                  <a:pt x="13906" y="2906"/>
                </a:cubicBezTo>
                <a:cubicBezTo>
                  <a:pt x="13875" y="2906"/>
                  <a:pt x="13875" y="2938"/>
                  <a:pt x="13875" y="2969"/>
                </a:cubicBezTo>
                <a:close/>
                <a:moveTo>
                  <a:pt x="8594" y="2156"/>
                </a:moveTo>
                <a:cubicBezTo>
                  <a:pt x="8531" y="2094"/>
                  <a:pt x="8469" y="2063"/>
                  <a:pt x="8406" y="2094"/>
                </a:cubicBezTo>
                <a:cubicBezTo>
                  <a:pt x="8375" y="2094"/>
                  <a:pt x="8375" y="2156"/>
                  <a:pt x="8406" y="2156"/>
                </a:cubicBezTo>
                <a:cubicBezTo>
                  <a:pt x="8469" y="2219"/>
                  <a:pt x="8500" y="2156"/>
                  <a:pt x="8594" y="2156"/>
                </a:cubicBezTo>
                <a:close/>
                <a:moveTo>
                  <a:pt x="12781" y="1250"/>
                </a:moveTo>
                <a:cubicBezTo>
                  <a:pt x="12781" y="1250"/>
                  <a:pt x="12781" y="1250"/>
                  <a:pt x="12781" y="1250"/>
                </a:cubicBezTo>
                <a:cubicBezTo>
                  <a:pt x="12781" y="1281"/>
                  <a:pt x="12750" y="1313"/>
                  <a:pt x="12750" y="1344"/>
                </a:cubicBezTo>
                <a:cubicBezTo>
                  <a:pt x="12750" y="1344"/>
                  <a:pt x="12750" y="1375"/>
                  <a:pt x="12781" y="1406"/>
                </a:cubicBezTo>
                <a:cubicBezTo>
                  <a:pt x="12781" y="1344"/>
                  <a:pt x="12781" y="1281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844" y="1250"/>
                  <a:pt x="12844" y="1281"/>
                  <a:pt x="12844" y="1313"/>
                </a:cubicBezTo>
                <a:cubicBezTo>
                  <a:pt x="12875" y="1344"/>
                  <a:pt x="12906" y="1313"/>
                  <a:pt x="12906" y="1281"/>
                </a:cubicBezTo>
                <a:cubicBezTo>
                  <a:pt x="12906" y="1281"/>
                  <a:pt x="12969" y="1281"/>
                  <a:pt x="12906" y="1250"/>
                </a:cubicBezTo>
                <a:cubicBezTo>
                  <a:pt x="12844" y="1250"/>
                  <a:pt x="12844" y="1156"/>
                  <a:pt x="12812" y="1125"/>
                </a:cubicBezTo>
                <a:cubicBezTo>
                  <a:pt x="12812" y="1125"/>
                  <a:pt x="12812" y="1125"/>
                  <a:pt x="12781" y="1125"/>
                </a:cubicBezTo>
                <a:cubicBezTo>
                  <a:pt x="12781" y="1156"/>
                  <a:pt x="12781" y="1219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lose/>
                <a:moveTo>
                  <a:pt x="9906" y="1750"/>
                </a:moveTo>
                <a:cubicBezTo>
                  <a:pt x="9750" y="1719"/>
                  <a:pt x="9781" y="1813"/>
                  <a:pt x="9781" y="1875"/>
                </a:cubicBezTo>
                <a:cubicBezTo>
                  <a:pt x="9781" y="1906"/>
                  <a:pt x="9812" y="1938"/>
                  <a:pt x="9844" y="1938"/>
                </a:cubicBezTo>
                <a:cubicBezTo>
                  <a:pt x="9875" y="1938"/>
                  <a:pt x="9875" y="1906"/>
                  <a:pt x="9875" y="1875"/>
                </a:cubicBezTo>
                <a:cubicBezTo>
                  <a:pt x="9844" y="1813"/>
                  <a:pt x="9844" y="1781"/>
                  <a:pt x="9906" y="1750"/>
                </a:cubicBezTo>
                <a:close/>
                <a:moveTo>
                  <a:pt x="8187" y="3219"/>
                </a:moveTo>
                <a:cubicBezTo>
                  <a:pt x="8250" y="3281"/>
                  <a:pt x="8312" y="3344"/>
                  <a:pt x="8375" y="3344"/>
                </a:cubicBezTo>
                <a:cubicBezTo>
                  <a:pt x="8406" y="3344"/>
                  <a:pt x="8406" y="3313"/>
                  <a:pt x="8406" y="3281"/>
                </a:cubicBezTo>
                <a:cubicBezTo>
                  <a:pt x="8344" y="3188"/>
                  <a:pt x="8281" y="3250"/>
                  <a:pt x="8187" y="3219"/>
                </a:cubicBezTo>
                <a:close/>
                <a:moveTo>
                  <a:pt x="7844" y="1531"/>
                </a:moveTo>
                <a:cubicBezTo>
                  <a:pt x="7844" y="1531"/>
                  <a:pt x="7875" y="1531"/>
                  <a:pt x="7906" y="1500"/>
                </a:cubicBezTo>
                <a:cubicBezTo>
                  <a:pt x="7812" y="1500"/>
                  <a:pt x="7750" y="1500"/>
                  <a:pt x="7719" y="1500"/>
                </a:cubicBezTo>
                <a:cubicBezTo>
                  <a:pt x="7687" y="1500"/>
                  <a:pt x="7656" y="1500"/>
                  <a:pt x="7656" y="1531"/>
                </a:cubicBezTo>
                <a:cubicBezTo>
                  <a:pt x="7656" y="1563"/>
                  <a:pt x="7687" y="1594"/>
                  <a:pt x="7687" y="1594"/>
                </a:cubicBezTo>
                <a:cubicBezTo>
                  <a:pt x="7719" y="1563"/>
                  <a:pt x="7812" y="1688"/>
                  <a:pt x="7844" y="1531"/>
                </a:cubicBezTo>
                <a:close/>
                <a:moveTo>
                  <a:pt x="21687" y="4094"/>
                </a:moveTo>
                <a:cubicBezTo>
                  <a:pt x="21687" y="4094"/>
                  <a:pt x="21719" y="4094"/>
                  <a:pt x="21719" y="4063"/>
                </a:cubicBezTo>
                <a:cubicBezTo>
                  <a:pt x="21781" y="3969"/>
                  <a:pt x="21812" y="3875"/>
                  <a:pt x="21844" y="3750"/>
                </a:cubicBezTo>
                <a:cubicBezTo>
                  <a:pt x="21750" y="3844"/>
                  <a:pt x="21719" y="3938"/>
                  <a:pt x="21656" y="4031"/>
                </a:cubicBezTo>
                <a:cubicBezTo>
                  <a:pt x="21656" y="4063"/>
                  <a:pt x="21656" y="4063"/>
                  <a:pt x="21687" y="4094"/>
                </a:cubicBezTo>
                <a:close/>
                <a:moveTo>
                  <a:pt x="5375" y="1906"/>
                </a:moveTo>
                <a:cubicBezTo>
                  <a:pt x="5375" y="1906"/>
                  <a:pt x="5344" y="1875"/>
                  <a:pt x="5375" y="1875"/>
                </a:cubicBezTo>
                <a:cubicBezTo>
                  <a:pt x="5437" y="1750"/>
                  <a:pt x="5344" y="1750"/>
                  <a:pt x="5281" y="1750"/>
                </a:cubicBezTo>
                <a:cubicBezTo>
                  <a:pt x="5219" y="1750"/>
                  <a:pt x="5187" y="1750"/>
                  <a:pt x="5156" y="1719"/>
                </a:cubicBezTo>
                <a:cubicBezTo>
                  <a:pt x="5125" y="1875"/>
                  <a:pt x="5187" y="1938"/>
                  <a:pt x="5375" y="1906"/>
                </a:cubicBezTo>
                <a:close/>
                <a:moveTo>
                  <a:pt x="15562" y="1438"/>
                </a:moveTo>
                <a:cubicBezTo>
                  <a:pt x="15625" y="1406"/>
                  <a:pt x="15625" y="1375"/>
                  <a:pt x="15625" y="1313"/>
                </a:cubicBezTo>
                <a:cubicBezTo>
                  <a:pt x="15594" y="1125"/>
                  <a:pt x="15500" y="906"/>
                  <a:pt x="15656" y="719"/>
                </a:cubicBezTo>
                <a:cubicBezTo>
                  <a:pt x="15594" y="719"/>
                  <a:pt x="15562" y="688"/>
                  <a:pt x="15500" y="719"/>
                </a:cubicBezTo>
                <a:cubicBezTo>
                  <a:pt x="15531" y="781"/>
                  <a:pt x="15531" y="1156"/>
                  <a:pt x="15469" y="1188"/>
                </a:cubicBezTo>
                <a:cubicBezTo>
                  <a:pt x="15469" y="1156"/>
                  <a:pt x="15437" y="1156"/>
                  <a:pt x="15406" y="1125"/>
                </a:cubicBezTo>
                <a:cubicBezTo>
                  <a:pt x="15406" y="1125"/>
                  <a:pt x="15406" y="1125"/>
                  <a:pt x="15375" y="1125"/>
                </a:cubicBezTo>
                <a:cubicBezTo>
                  <a:pt x="15406" y="1219"/>
                  <a:pt x="15437" y="1281"/>
                  <a:pt x="15469" y="1344"/>
                </a:cubicBezTo>
                <a:cubicBezTo>
                  <a:pt x="15500" y="1406"/>
                  <a:pt x="15531" y="1438"/>
                  <a:pt x="15562" y="1438"/>
                </a:cubicBezTo>
                <a:close/>
                <a:moveTo>
                  <a:pt x="8844" y="2406"/>
                </a:moveTo>
                <a:cubicBezTo>
                  <a:pt x="8937" y="2469"/>
                  <a:pt x="8937" y="2438"/>
                  <a:pt x="9031" y="2406"/>
                </a:cubicBezTo>
                <a:cubicBezTo>
                  <a:pt x="9281" y="2375"/>
                  <a:pt x="9062" y="2313"/>
                  <a:pt x="9062" y="2281"/>
                </a:cubicBezTo>
                <a:cubicBezTo>
                  <a:pt x="9031" y="2250"/>
                  <a:pt x="9031" y="2250"/>
                  <a:pt x="9031" y="2250"/>
                </a:cubicBezTo>
                <a:cubicBezTo>
                  <a:pt x="9000" y="2219"/>
                  <a:pt x="9000" y="2188"/>
                  <a:pt x="8969" y="2156"/>
                </a:cubicBezTo>
                <a:cubicBezTo>
                  <a:pt x="8969" y="2125"/>
                  <a:pt x="8969" y="2125"/>
                  <a:pt x="8937" y="2125"/>
                </a:cubicBezTo>
                <a:cubicBezTo>
                  <a:pt x="8937" y="2094"/>
                  <a:pt x="8937" y="2094"/>
                  <a:pt x="8937" y="2094"/>
                </a:cubicBezTo>
                <a:cubicBezTo>
                  <a:pt x="8875" y="2063"/>
                  <a:pt x="8812" y="2031"/>
                  <a:pt x="8719" y="2094"/>
                </a:cubicBezTo>
                <a:cubicBezTo>
                  <a:pt x="8719" y="2063"/>
                  <a:pt x="8719" y="2063"/>
                  <a:pt x="8719" y="2063"/>
                </a:cubicBezTo>
                <a:lnTo>
                  <a:pt x="8719" y="2063"/>
                </a:lnTo>
                <a:cubicBezTo>
                  <a:pt x="8719" y="2063"/>
                  <a:pt x="8719" y="2063"/>
                  <a:pt x="8719" y="2063"/>
                </a:cubicBezTo>
                <a:cubicBezTo>
                  <a:pt x="8719" y="2063"/>
                  <a:pt x="8719" y="2063"/>
                  <a:pt x="8687" y="2063"/>
                </a:cubicBezTo>
                <a:cubicBezTo>
                  <a:pt x="8719" y="2063"/>
                  <a:pt x="8719" y="2063"/>
                  <a:pt x="8719" y="2094"/>
                </a:cubicBezTo>
                <a:cubicBezTo>
                  <a:pt x="8719" y="2125"/>
                  <a:pt x="8750" y="2125"/>
                  <a:pt x="8781" y="2156"/>
                </a:cubicBezTo>
                <a:cubicBezTo>
                  <a:pt x="8781" y="2250"/>
                  <a:pt x="8937" y="2281"/>
                  <a:pt x="8812" y="2375"/>
                </a:cubicBezTo>
                <a:cubicBezTo>
                  <a:pt x="8812" y="2375"/>
                  <a:pt x="8844" y="2406"/>
                  <a:pt x="8844" y="2406"/>
                </a:cubicBezTo>
                <a:close/>
                <a:moveTo>
                  <a:pt x="15031" y="1094"/>
                </a:moveTo>
                <a:cubicBezTo>
                  <a:pt x="15000" y="1094"/>
                  <a:pt x="14969" y="1063"/>
                  <a:pt x="14969" y="1031"/>
                </a:cubicBezTo>
                <a:cubicBezTo>
                  <a:pt x="14969" y="1031"/>
                  <a:pt x="14969" y="1000"/>
                  <a:pt x="14969" y="1000"/>
                </a:cubicBezTo>
                <a:cubicBezTo>
                  <a:pt x="14937" y="969"/>
                  <a:pt x="14937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06"/>
                  <a:pt x="14906" y="875"/>
                  <a:pt x="14875" y="844"/>
                </a:cubicBezTo>
                <a:cubicBezTo>
                  <a:pt x="14875" y="844"/>
                  <a:pt x="14844" y="813"/>
                  <a:pt x="14812" y="813"/>
                </a:cubicBezTo>
                <a:cubicBezTo>
                  <a:pt x="14844" y="875"/>
                  <a:pt x="14844" y="906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37" y="1125"/>
                  <a:pt x="15062" y="1281"/>
                  <a:pt x="15125" y="1438"/>
                </a:cubicBezTo>
                <a:cubicBezTo>
                  <a:pt x="15125" y="1469"/>
                  <a:pt x="15156" y="1531"/>
                  <a:pt x="15187" y="1500"/>
                </a:cubicBezTo>
                <a:cubicBezTo>
                  <a:pt x="15219" y="1438"/>
                  <a:pt x="15344" y="1438"/>
                  <a:pt x="15281" y="1344"/>
                </a:cubicBezTo>
                <a:cubicBezTo>
                  <a:pt x="15219" y="1219"/>
                  <a:pt x="15156" y="1094"/>
                  <a:pt x="15125" y="938"/>
                </a:cubicBezTo>
                <a:cubicBezTo>
                  <a:pt x="15062" y="969"/>
                  <a:pt x="15062" y="1000"/>
                  <a:pt x="15062" y="1031"/>
                </a:cubicBezTo>
                <a:cubicBezTo>
                  <a:pt x="15062" y="1031"/>
                  <a:pt x="15062" y="1094"/>
                  <a:pt x="15031" y="1094"/>
                </a:cubicBezTo>
                <a:close/>
                <a:moveTo>
                  <a:pt x="8156" y="2875"/>
                </a:moveTo>
                <a:cubicBezTo>
                  <a:pt x="8094" y="2844"/>
                  <a:pt x="8031" y="2781"/>
                  <a:pt x="7937" y="2750"/>
                </a:cubicBezTo>
                <a:cubicBezTo>
                  <a:pt x="7812" y="2719"/>
                  <a:pt x="7719" y="2563"/>
                  <a:pt x="7594" y="2563"/>
                </a:cubicBezTo>
                <a:cubicBezTo>
                  <a:pt x="7562" y="2563"/>
                  <a:pt x="7562" y="2563"/>
                  <a:pt x="7531" y="2563"/>
                </a:cubicBezTo>
                <a:cubicBezTo>
                  <a:pt x="7469" y="2563"/>
                  <a:pt x="7406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12" y="2531"/>
                  <a:pt x="7281" y="2531"/>
                  <a:pt x="7250" y="2500"/>
                </a:cubicBezTo>
                <a:cubicBezTo>
                  <a:pt x="7125" y="2500"/>
                  <a:pt x="7031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06" y="2469"/>
                  <a:pt x="6875" y="2438"/>
                  <a:pt x="6844" y="2406"/>
                </a:cubicBezTo>
                <a:cubicBezTo>
                  <a:pt x="6812" y="2375"/>
                  <a:pt x="6750" y="2375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13"/>
                  <a:pt x="6687" y="2313"/>
                  <a:pt x="6656" y="2281"/>
                </a:cubicBezTo>
                <a:cubicBezTo>
                  <a:pt x="6656" y="2281"/>
                  <a:pt x="6656" y="2281"/>
                  <a:pt x="6656" y="2313"/>
                </a:cubicBezTo>
                <a:cubicBezTo>
                  <a:pt x="6656" y="2313"/>
                  <a:pt x="6656" y="2313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719" y="2375"/>
                  <a:pt x="6750" y="2406"/>
                  <a:pt x="6750" y="2406"/>
                </a:cubicBezTo>
                <a:cubicBezTo>
                  <a:pt x="6812" y="2438"/>
                  <a:pt x="6875" y="2469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69" y="2531"/>
                  <a:pt x="6969" y="2594"/>
                  <a:pt x="7000" y="2625"/>
                </a:cubicBezTo>
                <a:cubicBezTo>
                  <a:pt x="7062" y="2656"/>
                  <a:pt x="7094" y="2688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25" y="2656"/>
                  <a:pt x="7062" y="2656"/>
                  <a:pt x="7031" y="2594"/>
                </a:cubicBezTo>
                <a:cubicBezTo>
                  <a:pt x="7156" y="2563"/>
                  <a:pt x="7250" y="2594"/>
                  <a:pt x="7344" y="2656"/>
                </a:cubicBezTo>
                <a:cubicBezTo>
                  <a:pt x="7437" y="2688"/>
                  <a:pt x="7500" y="2719"/>
                  <a:pt x="7625" y="2688"/>
                </a:cubicBezTo>
                <a:cubicBezTo>
                  <a:pt x="7687" y="2688"/>
                  <a:pt x="7812" y="2719"/>
                  <a:pt x="7812" y="2781"/>
                </a:cubicBezTo>
                <a:cubicBezTo>
                  <a:pt x="7812" y="2875"/>
                  <a:pt x="7687" y="2813"/>
                  <a:pt x="7625" y="2813"/>
                </a:cubicBezTo>
                <a:cubicBezTo>
                  <a:pt x="7594" y="2813"/>
                  <a:pt x="7594" y="2813"/>
                  <a:pt x="7594" y="2813"/>
                </a:cubicBezTo>
                <a:cubicBezTo>
                  <a:pt x="7531" y="2813"/>
                  <a:pt x="7500" y="2813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437" y="2844"/>
                  <a:pt x="7375" y="2781"/>
                  <a:pt x="7344" y="2781"/>
                </a:cubicBezTo>
                <a:cubicBezTo>
                  <a:pt x="7312" y="2781"/>
                  <a:pt x="7281" y="2813"/>
                  <a:pt x="7250" y="2813"/>
                </a:cubicBezTo>
                <a:cubicBezTo>
                  <a:pt x="7187" y="2906"/>
                  <a:pt x="7281" y="3000"/>
                  <a:pt x="7344" y="3063"/>
                </a:cubicBezTo>
                <a:cubicBezTo>
                  <a:pt x="7281" y="3063"/>
                  <a:pt x="7219" y="3125"/>
                  <a:pt x="7156" y="3094"/>
                </a:cubicBezTo>
                <a:cubicBezTo>
                  <a:pt x="7219" y="3156"/>
                  <a:pt x="7281" y="3156"/>
                  <a:pt x="7375" y="3125"/>
                </a:cubicBezTo>
                <a:cubicBezTo>
                  <a:pt x="7437" y="3125"/>
                  <a:pt x="7406" y="3031"/>
                  <a:pt x="7406" y="3000"/>
                </a:cubicBezTo>
                <a:cubicBezTo>
                  <a:pt x="7437" y="2938"/>
                  <a:pt x="7469" y="2906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719" y="2844"/>
                  <a:pt x="7937" y="2844"/>
                  <a:pt x="8125" y="2938"/>
                </a:cubicBezTo>
                <a:cubicBezTo>
                  <a:pt x="8281" y="3031"/>
                  <a:pt x="8437" y="3031"/>
                  <a:pt x="8625" y="3063"/>
                </a:cubicBezTo>
                <a:cubicBezTo>
                  <a:pt x="8469" y="2938"/>
                  <a:pt x="8281" y="3000"/>
                  <a:pt x="8156" y="2875"/>
                </a:cubicBezTo>
                <a:close/>
                <a:moveTo>
                  <a:pt x="13812" y="813"/>
                </a:moveTo>
                <a:cubicBezTo>
                  <a:pt x="13812" y="813"/>
                  <a:pt x="13844" y="781"/>
                  <a:pt x="13844" y="781"/>
                </a:cubicBezTo>
                <a:cubicBezTo>
                  <a:pt x="13906" y="656"/>
                  <a:pt x="13969" y="656"/>
                  <a:pt x="14031" y="750"/>
                </a:cubicBezTo>
                <a:cubicBezTo>
                  <a:pt x="14125" y="813"/>
                  <a:pt x="14250" y="875"/>
                  <a:pt x="14312" y="1000"/>
                </a:cubicBezTo>
                <a:cubicBezTo>
                  <a:pt x="14344" y="938"/>
                  <a:pt x="14312" y="906"/>
                  <a:pt x="14312" y="875"/>
                </a:cubicBezTo>
                <a:cubicBezTo>
                  <a:pt x="14312" y="813"/>
                  <a:pt x="14312" y="750"/>
                  <a:pt x="14344" y="719"/>
                </a:cubicBezTo>
                <a:cubicBezTo>
                  <a:pt x="14406" y="719"/>
                  <a:pt x="14500" y="719"/>
                  <a:pt x="14562" y="813"/>
                </a:cubicBezTo>
                <a:cubicBezTo>
                  <a:pt x="14562" y="813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94" y="844"/>
                  <a:pt x="14594" y="844"/>
                </a:cubicBezTo>
                <a:cubicBezTo>
                  <a:pt x="14594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781"/>
                  <a:pt x="14531" y="719"/>
                  <a:pt x="14594" y="719"/>
                </a:cubicBezTo>
                <a:cubicBezTo>
                  <a:pt x="14687" y="719"/>
                  <a:pt x="14656" y="813"/>
                  <a:pt x="14656" y="844"/>
                </a:cubicBezTo>
                <a:cubicBezTo>
                  <a:pt x="14656" y="875"/>
                  <a:pt x="14656" y="906"/>
                  <a:pt x="14656" y="906"/>
                </a:cubicBezTo>
                <a:cubicBezTo>
                  <a:pt x="14656" y="938"/>
                  <a:pt x="14656" y="938"/>
                  <a:pt x="14656" y="938"/>
                </a:cubicBezTo>
                <a:cubicBezTo>
                  <a:pt x="14656" y="1031"/>
                  <a:pt x="14687" y="1063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125"/>
                  <a:pt x="14781" y="1156"/>
                  <a:pt x="14844" y="1188"/>
                </a:cubicBezTo>
                <a:cubicBezTo>
                  <a:pt x="14812" y="1125"/>
                  <a:pt x="14812" y="1125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63"/>
                  <a:pt x="14750" y="1031"/>
                  <a:pt x="14719" y="969"/>
                </a:cubicBezTo>
                <a:cubicBezTo>
                  <a:pt x="14687" y="813"/>
                  <a:pt x="14750" y="719"/>
                  <a:pt x="14906" y="750"/>
                </a:cubicBezTo>
                <a:cubicBezTo>
                  <a:pt x="14969" y="750"/>
                  <a:pt x="15000" y="750"/>
                  <a:pt x="15062" y="719"/>
                </a:cubicBezTo>
                <a:cubicBezTo>
                  <a:pt x="14969" y="719"/>
                  <a:pt x="14844" y="719"/>
                  <a:pt x="14750" y="688"/>
                </a:cubicBezTo>
                <a:cubicBezTo>
                  <a:pt x="14375" y="656"/>
                  <a:pt x="14000" y="594"/>
                  <a:pt x="13594" y="594"/>
                </a:cubicBezTo>
                <a:cubicBezTo>
                  <a:pt x="13594" y="594"/>
                  <a:pt x="13562" y="594"/>
                  <a:pt x="13562" y="625"/>
                </a:cubicBezTo>
                <a:cubicBezTo>
                  <a:pt x="13531" y="656"/>
                  <a:pt x="13562" y="656"/>
                  <a:pt x="13562" y="688"/>
                </a:cubicBezTo>
                <a:cubicBezTo>
                  <a:pt x="13625" y="750"/>
                  <a:pt x="13781" y="688"/>
                  <a:pt x="13812" y="813"/>
                </a:cubicBezTo>
                <a:close/>
                <a:moveTo>
                  <a:pt x="5312" y="3688"/>
                </a:moveTo>
                <a:cubicBezTo>
                  <a:pt x="5344" y="3719"/>
                  <a:pt x="5375" y="3750"/>
                  <a:pt x="5375" y="3781"/>
                </a:cubicBezTo>
                <a:cubicBezTo>
                  <a:pt x="5437" y="3781"/>
                  <a:pt x="5469" y="3781"/>
                  <a:pt x="5500" y="3813"/>
                </a:cubicBezTo>
                <a:cubicBezTo>
                  <a:pt x="5500" y="3813"/>
                  <a:pt x="5531" y="3844"/>
                  <a:pt x="5531" y="3844"/>
                </a:cubicBezTo>
                <a:cubicBezTo>
                  <a:pt x="5687" y="4031"/>
                  <a:pt x="5844" y="4188"/>
                  <a:pt x="6062" y="4281"/>
                </a:cubicBezTo>
                <a:cubicBezTo>
                  <a:pt x="6125" y="4313"/>
                  <a:pt x="6187" y="4281"/>
                  <a:pt x="6219" y="4250"/>
                </a:cubicBezTo>
                <a:cubicBezTo>
                  <a:pt x="6281" y="4219"/>
                  <a:pt x="6187" y="4156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094"/>
                  <a:pt x="6156" y="4094"/>
                  <a:pt x="6125" y="4094"/>
                </a:cubicBezTo>
                <a:cubicBezTo>
                  <a:pt x="6125" y="4063"/>
                  <a:pt x="6125" y="4063"/>
                  <a:pt x="6125" y="4063"/>
                </a:cubicBezTo>
                <a:cubicBezTo>
                  <a:pt x="6125" y="4063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062" y="4031"/>
                  <a:pt x="6000" y="4000"/>
                  <a:pt x="5969" y="3969"/>
                </a:cubicBezTo>
                <a:cubicBezTo>
                  <a:pt x="5969" y="3938"/>
                  <a:pt x="5969" y="3938"/>
                  <a:pt x="5969" y="3938"/>
                </a:cubicBezTo>
                <a:cubicBezTo>
                  <a:pt x="5969" y="3906"/>
                  <a:pt x="5969" y="3906"/>
                  <a:pt x="5969" y="3906"/>
                </a:cubicBezTo>
                <a:cubicBezTo>
                  <a:pt x="5969" y="3906"/>
                  <a:pt x="5969" y="3875"/>
                  <a:pt x="5969" y="3875"/>
                </a:cubicBezTo>
                <a:cubicBezTo>
                  <a:pt x="5969" y="3875"/>
                  <a:pt x="5969" y="3875"/>
                  <a:pt x="5937" y="3875"/>
                </a:cubicBezTo>
                <a:cubicBezTo>
                  <a:pt x="5937" y="3875"/>
                  <a:pt x="5937" y="3875"/>
                  <a:pt x="5969" y="3875"/>
                </a:cubicBezTo>
                <a:cubicBezTo>
                  <a:pt x="5812" y="3813"/>
                  <a:pt x="5687" y="3719"/>
                  <a:pt x="5531" y="3656"/>
                </a:cubicBezTo>
                <a:cubicBezTo>
                  <a:pt x="5500" y="3625"/>
                  <a:pt x="5437" y="3625"/>
                  <a:pt x="5406" y="3594"/>
                </a:cubicBezTo>
                <a:cubicBezTo>
                  <a:pt x="5344" y="3563"/>
                  <a:pt x="5312" y="3531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281" y="3469"/>
                  <a:pt x="5250" y="3438"/>
                  <a:pt x="5250" y="3438"/>
                </a:cubicBezTo>
                <a:cubicBezTo>
                  <a:pt x="5250" y="3438"/>
                  <a:pt x="5250" y="3406"/>
                  <a:pt x="5219" y="3406"/>
                </a:cubicBezTo>
                <a:cubicBezTo>
                  <a:pt x="5219" y="3406"/>
                  <a:pt x="5219" y="3406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44"/>
                  <a:pt x="5187" y="3344"/>
                  <a:pt x="5187" y="3344"/>
                </a:cubicBezTo>
                <a:cubicBezTo>
                  <a:pt x="5187" y="3344"/>
                  <a:pt x="5187" y="3313"/>
                  <a:pt x="5187" y="3313"/>
                </a:cubicBezTo>
                <a:cubicBezTo>
                  <a:pt x="5187" y="3313"/>
                  <a:pt x="5219" y="3344"/>
                  <a:pt x="5219" y="3344"/>
                </a:cubicBezTo>
                <a:cubicBezTo>
                  <a:pt x="5219" y="3344"/>
                  <a:pt x="5219" y="3344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50" y="3375"/>
                  <a:pt x="5250" y="3375"/>
                  <a:pt x="5281" y="3406"/>
                </a:cubicBezTo>
                <a:cubicBezTo>
                  <a:pt x="5281" y="3406"/>
                  <a:pt x="5312" y="3438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44" y="3500"/>
                  <a:pt x="5406" y="3500"/>
                  <a:pt x="5469" y="3531"/>
                </a:cubicBezTo>
                <a:cubicBezTo>
                  <a:pt x="5500" y="3563"/>
                  <a:pt x="5531" y="3594"/>
                  <a:pt x="5562" y="3625"/>
                </a:cubicBezTo>
                <a:cubicBezTo>
                  <a:pt x="5562" y="3625"/>
                  <a:pt x="5562" y="3625"/>
                  <a:pt x="5562" y="3625"/>
                </a:cubicBezTo>
                <a:cubicBezTo>
                  <a:pt x="5594" y="3625"/>
                  <a:pt x="5625" y="3625"/>
                  <a:pt x="5656" y="3625"/>
                </a:cubicBezTo>
                <a:cubicBezTo>
                  <a:pt x="5687" y="3625"/>
                  <a:pt x="5687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594"/>
                  <a:pt x="5656" y="3563"/>
                  <a:pt x="5719" y="3563"/>
                </a:cubicBezTo>
                <a:cubicBezTo>
                  <a:pt x="5750" y="3563"/>
                  <a:pt x="5750" y="3563"/>
                  <a:pt x="5750" y="3563"/>
                </a:cubicBezTo>
                <a:cubicBezTo>
                  <a:pt x="5750" y="3594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812" y="3750"/>
                  <a:pt x="5937" y="3750"/>
                  <a:pt x="6031" y="3781"/>
                </a:cubicBezTo>
                <a:cubicBezTo>
                  <a:pt x="6062" y="3813"/>
                  <a:pt x="6094" y="3813"/>
                  <a:pt x="6156" y="3844"/>
                </a:cubicBezTo>
                <a:cubicBezTo>
                  <a:pt x="6156" y="3844"/>
                  <a:pt x="6187" y="3844"/>
                  <a:pt x="6187" y="3813"/>
                </a:cubicBezTo>
                <a:cubicBezTo>
                  <a:pt x="6187" y="3813"/>
                  <a:pt x="6187" y="3781"/>
                  <a:pt x="6156" y="3781"/>
                </a:cubicBezTo>
                <a:cubicBezTo>
                  <a:pt x="6000" y="3688"/>
                  <a:pt x="5875" y="3563"/>
                  <a:pt x="5687" y="3469"/>
                </a:cubicBezTo>
                <a:cubicBezTo>
                  <a:pt x="5469" y="3313"/>
                  <a:pt x="5250" y="3156"/>
                  <a:pt x="5062" y="2938"/>
                </a:cubicBezTo>
                <a:cubicBezTo>
                  <a:pt x="5062" y="2906"/>
                  <a:pt x="5062" y="2906"/>
                  <a:pt x="5062" y="2906"/>
                </a:cubicBezTo>
                <a:cubicBezTo>
                  <a:pt x="5062" y="2906"/>
                  <a:pt x="5062" y="2875"/>
                  <a:pt x="5062" y="2875"/>
                </a:cubicBezTo>
                <a:cubicBezTo>
                  <a:pt x="5031" y="2875"/>
                  <a:pt x="5031" y="2875"/>
                  <a:pt x="5031" y="2844"/>
                </a:cubicBezTo>
                <a:cubicBezTo>
                  <a:pt x="5000" y="2844"/>
                  <a:pt x="5000" y="2844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31" y="2813"/>
                  <a:pt x="5062" y="2844"/>
                  <a:pt x="5062" y="2875"/>
                </a:cubicBezTo>
                <a:cubicBezTo>
                  <a:pt x="5125" y="2906"/>
                  <a:pt x="5156" y="2938"/>
                  <a:pt x="5219" y="2969"/>
                </a:cubicBezTo>
                <a:cubicBezTo>
                  <a:pt x="5219" y="2969"/>
                  <a:pt x="5219" y="2969"/>
                  <a:pt x="5219" y="2938"/>
                </a:cubicBezTo>
                <a:cubicBezTo>
                  <a:pt x="5219" y="2906"/>
                  <a:pt x="5187" y="2844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87" y="2781"/>
                  <a:pt x="5219" y="2781"/>
                  <a:pt x="5250" y="2813"/>
                </a:cubicBezTo>
                <a:cubicBezTo>
                  <a:pt x="5250" y="2813"/>
                  <a:pt x="5281" y="2813"/>
                  <a:pt x="5312" y="2813"/>
                </a:cubicBezTo>
                <a:cubicBezTo>
                  <a:pt x="5312" y="2813"/>
                  <a:pt x="5312" y="2813"/>
                  <a:pt x="5312" y="2813"/>
                </a:cubicBezTo>
                <a:cubicBezTo>
                  <a:pt x="5312" y="2750"/>
                  <a:pt x="5219" y="2719"/>
                  <a:pt x="5219" y="2656"/>
                </a:cubicBezTo>
                <a:cubicBezTo>
                  <a:pt x="5187" y="2656"/>
                  <a:pt x="5156" y="2625"/>
                  <a:pt x="5156" y="2563"/>
                </a:cubicBezTo>
                <a:cubicBezTo>
                  <a:pt x="5156" y="2563"/>
                  <a:pt x="5156" y="2563"/>
                  <a:pt x="5156" y="2563"/>
                </a:cubicBezTo>
                <a:cubicBezTo>
                  <a:pt x="5219" y="2563"/>
                  <a:pt x="5219" y="2625"/>
                  <a:pt x="5219" y="2656"/>
                </a:cubicBezTo>
                <a:cubicBezTo>
                  <a:pt x="5219" y="2656"/>
                  <a:pt x="5219" y="2656"/>
                  <a:pt x="5219" y="2656"/>
                </a:cubicBezTo>
                <a:cubicBezTo>
                  <a:pt x="5250" y="2656"/>
                  <a:pt x="5250" y="2656"/>
                  <a:pt x="5250" y="2656"/>
                </a:cubicBezTo>
                <a:cubicBezTo>
                  <a:pt x="5312" y="2656"/>
                  <a:pt x="5344" y="2781"/>
                  <a:pt x="5406" y="2688"/>
                </a:cubicBezTo>
                <a:cubicBezTo>
                  <a:pt x="5437" y="2625"/>
                  <a:pt x="5344" y="2531"/>
                  <a:pt x="5312" y="2531"/>
                </a:cubicBezTo>
                <a:cubicBezTo>
                  <a:pt x="5250" y="2500"/>
                  <a:pt x="5219" y="2469"/>
                  <a:pt x="5187" y="2406"/>
                </a:cubicBezTo>
                <a:cubicBezTo>
                  <a:pt x="5094" y="2281"/>
                  <a:pt x="5000" y="2125"/>
                  <a:pt x="4844" y="2031"/>
                </a:cubicBezTo>
                <a:cubicBezTo>
                  <a:pt x="4906" y="2000"/>
                  <a:pt x="4906" y="2000"/>
                  <a:pt x="4937" y="2031"/>
                </a:cubicBezTo>
                <a:cubicBezTo>
                  <a:pt x="5000" y="2094"/>
                  <a:pt x="5094" y="2156"/>
                  <a:pt x="5156" y="2250"/>
                </a:cubicBezTo>
                <a:cubicBezTo>
                  <a:pt x="5219" y="2344"/>
                  <a:pt x="5375" y="2313"/>
                  <a:pt x="5437" y="2438"/>
                </a:cubicBezTo>
                <a:cubicBezTo>
                  <a:pt x="5437" y="2469"/>
                  <a:pt x="5469" y="2469"/>
                  <a:pt x="5500" y="2438"/>
                </a:cubicBezTo>
                <a:cubicBezTo>
                  <a:pt x="5500" y="2438"/>
                  <a:pt x="5500" y="2406"/>
                  <a:pt x="5500" y="2406"/>
                </a:cubicBezTo>
                <a:cubicBezTo>
                  <a:pt x="5469" y="2344"/>
                  <a:pt x="5406" y="2313"/>
                  <a:pt x="5406" y="2281"/>
                </a:cubicBezTo>
                <a:cubicBezTo>
                  <a:pt x="5375" y="2250"/>
                  <a:pt x="5312" y="2219"/>
                  <a:pt x="5312" y="2156"/>
                </a:cubicBezTo>
                <a:cubicBezTo>
                  <a:pt x="5406" y="2219"/>
                  <a:pt x="5531" y="2250"/>
                  <a:pt x="5625" y="2281"/>
                </a:cubicBezTo>
                <a:cubicBezTo>
                  <a:pt x="5750" y="2344"/>
                  <a:pt x="5844" y="2469"/>
                  <a:pt x="5937" y="2531"/>
                </a:cubicBezTo>
                <a:cubicBezTo>
                  <a:pt x="5969" y="2563"/>
                  <a:pt x="6031" y="2563"/>
                  <a:pt x="5937" y="2594"/>
                </a:cubicBezTo>
                <a:cubicBezTo>
                  <a:pt x="5875" y="2625"/>
                  <a:pt x="5969" y="2656"/>
                  <a:pt x="5937" y="2688"/>
                </a:cubicBezTo>
                <a:cubicBezTo>
                  <a:pt x="5812" y="2844"/>
                  <a:pt x="6000" y="2844"/>
                  <a:pt x="6062" y="2906"/>
                </a:cubicBezTo>
                <a:cubicBezTo>
                  <a:pt x="6094" y="2938"/>
                  <a:pt x="6125" y="2938"/>
                  <a:pt x="6125" y="2969"/>
                </a:cubicBezTo>
                <a:cubicBezTo>
                  <a:pt x="6125" y="3031"/>
                  <a:pt x="6062" y="2969"/>
                  <a:pt x="6031" y="3031"/>
                </a:cubicBezTo>
                <a:cubicBezTo>
                  <a:pt x="6062" y="3063"/>
                  <a:pt x="6094" y="3094"/>
                  <a:pt x="6125" y="3094"/>
                </a:cubicBezTo>
                <a:cubicBezTo>
                  <a:pt x="6187" y="3125"/>
                  <a:pt x="6281" y="3125"/>
                  <a:pt x="6375" y="3125"/>
                </a:cubicBezTo>
                <a:cubicBezTo>
                  <a:pt x="6375" y="3125"/>
                  <a:pt x="6375" y="3125"/>
                  <a:pt x="6375" y="3125"/>
                </a:cubicBezTo>
                <a:cubicBezTo>
                  <a:pt x="6375" y="3094"/>
                  <a:pt x="6375" y="3063"/>
                  <a:pt x="6437" y="3094"/>
                </a:cubicBezTo>
                <a:cubicBezTo>
                  <a:pt x="6500" y="3125"/>
                  <a:pt x="6594" y="3156"/>
                  <a:pt x="6687" y="3219"/>
                </a:cubicBezTo>
                <a:cubicBezTo>
                  <a:pt x="6812" y="3344"/>
                  <a:pt x="6969" y="3406"/>
                  <a:pt x="7125" y="3406"/>
                </a:cubicBezTo>
                <a:cubicBezTo>
                  <a:pt x="7187" y="3375"/>
                  <a:pt x="7219" y="3438"/>
                  <a:pt x="7281" y="3406"/>
                </a:cubicBezTo>
                <a:cubicBezTo>
                  <a:pt x="7219" y="3344"/>
                  <a:pt x="7187" y="3313"/>
                  <a:pt x="7094" y="3313"/>
                </a:cubicBezTo>
                <a:cubicBezTo>
                  <a:pt x="7031" y="3313"/>
                  <a:pt x="7000" y="3313"/>
                  <a:pt x="7000" y="3250"/>
                </a:cubicBezTo>
                <a:cubicBezTo>
                  <a:pt x="6906" y="3219"/>
                  <a:pt x="6812" y="3250"/>
                  <a:pt x="6781" y="3156"/>
                </a:cubicBezTo>
                <a:cubicBezTo>
                  <a:pt x="6781" y="3156"/>
                  <a:pt x="6781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25"/>
                  <a:pt x="6687" y="3125"/>
                  <a:pt x="6687" y="3063"/>
                </a:cubicBezTo>
                <a:cubicBezTo>
                  <a:pt x="6719" y="3063"/>
                  <a:pt x="6719" y="3063"/>
                  <a:pt x="6750" y="3094"/>
                </a:cubicBezTo>
                <a:cubicBezTo>
                  <a:pt x="6750" y="3094"/>
                  <a:pt x="6750" y="3125"/>
                  <a:pt x="6750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812" y="3156"/>
                  <a:pt x="6875" y="3125"/>
                  <a:pt x="6906" y="3156"/>
                </a:cubicBezTo>
                <a:cubicBezTo>
                  <a:pt x="6937" y="3156"/>
                  <a:pt x="7000" y="3188"/>
                  <a:pt x="7031" y="3219"/>
                </a:cubicBezTo>
                <a:cubicBezTo>
                  <a:pt x="7031" y="3219"/>
                  <a:pt x="7031" y="3219"/>
                  <a:pt x="7031" y="3219"/>
                </a:cubicBezTo>
                <a:cubicBezTo>
                  <a:pt x="7125" y="3219"/>
                  <a:pt x="7219" y="3281"/>
                  <a:pt x="7281" y="3313"/>
                </a:cubicBezTo>
                <a:cubicBezTo>
                  <a:pt x="7312" y="3313"/>
                  <a:pt x="7344" y="3344"/>
                  <a:pt x="7344" y="3344"/>
                </a:cubicBezTo>
                <a:cubicBezTo>
                  <a:pt x="7375" y="3344"/>
                  <a:pt x="7375" y="3344"/>
                  <a:pt x="7375" y="3344"/>
                </a:cubicBezTo>
                <a:cubicBezTo>
                  <a:pt x="7375" y="3344"/>
                  <a:pt x="7375" y="3344"/>
                  <a:pt x="7375" y="3375"/>
                </a:cubicBezTo>
                <a:cubicBezTo>
                  <a:pt x="7406" y="3344"/>
                  <a:pt x="7406" y="3313"/>
                  <a:pt x="7437" y="3313"/>
                </a:cubicBezTo>
                <a:cubicBezTo>
                  <a:pt x="7469" y="3344"/>
                  <a:pt x="7500" y="3375"/>
                  <a:pt x="7531" y="3375"/>
                </a:cubicBezTo>
                <a:cubicBezTo>
                  <a:pt x="7594" y="3375"/>
                  <a:pt x="7625" y="3406"/>
                  <a:pt x="7656" y="3406"/>
                </a:cubicBezTo>
                <a:cubicBezTo>
                  <a:pt x="7687" y="3438"/>
                  <a:pt x="7687" y="3469"/>
                  <a:pt x="7656" y="3563"/>
                </a:cubicBezTo>
                <a:cubicBezTo>
                  <a:pt x="7719" y="3563"/>
                  <a:pt x="7750" y="3563"/>
                  <a:pt x="7781" y="3594"/>
                </a:cubicBezTo>
                <a:cubicBezTo>
                  <a:pt x="7875" y="3688"/>
                  <a:pt x="7875" y="3688"/>
                  <a:pt x="7906" y="3563"/>
                </a:cubicBezTo>
                <a:cubicBezTo>
                  <a:pt x="7937" y="3531"/>
                  <a:pt x="8000" y="3531"/>
                  <a:pt x="8000" y="3563"/>
                </a:cubicBezTo>
                <a:cubicBezTo>
                  <a:pt x="8125" y="3656"/>
                  <a:pt x="8281" y="3625"/>
                  <a:pt x="8406" y="3656"/>
                </a:cubicBezTo>
                <a:cubicBezTo>
                  <a:pt x="8531" y="3719"/>
                  <a:pt x="8625" y="3719"/>
                  <a:pt x="8719" y="3781"/>
                </a:cubicBezTo>
                <a:cubicBezTo>
                  <a:pt x="8750" y="3781"/>
                  <a:pt x="8781" y="3813"/>
                  <a:pt x="8812" y="3781"/>
                </a:cubicBezTo>
                <a:cubicBezTo>
                  <a:pt x="8844" y="3750"/>
                  <a:pt x="8812" y="3719"/>
                  <a:pt x="8781" y="3688"/>
                </a:cubicBezTo>
                <a:cubicBezTo>
                  <a:pt x="8750" y="3656"/>
                  <a:pt x="8687" y="3594"/>
                  <a:pt x="8656" y="3531"/>
                </a:cubicBezTo>
                <a:cubicBezTo>
                  <a:pt x="8719" y="3531"/>
                  <a:pt x="8750" y="3563"/>
                  <a:pt x="8781" y="3594"/>
                </a:cubicBezTo>
                <a:cubicBezTo>
                  <a:pt x="8812" y="3625"/>
                  <a:pt x="8875" y="3719"/>
                  <a:pt x="8906" y="3563"/>
                </a:cubicBezTo>
                <a:cubicBezTo>
                  <a:pt x="8906" y="3531"/>
                  <a:pt x="8937" y="3563"/>
                  <a:pt x="8937" y="3563"/>
                </a:cubicBezTo>
                <a:cubicBezTo>
                  <a:pt x="8969" y="3594"/>
                  <a:pt x="8969" y="3594"/>
                  <a:pt x="9000" y="3625"/>
                </a:cubicBezTo>
                <a:cubicBezTo>
                  <a:pt x="9031" y="3656"/>
                  <a:pt x="9125" y="3625"/>
                  <a:pt x="9156" y="3594"/>
                </a:cubicBezTo>
                <a:cubicBezTo>
                  <a:pt x="9187" y="3563"/>
                  <a:pt x="9125" y="3531"/>
                  <a:pt x="9094" y="3500"/>
                </a:cubicBezTo>
                <a:cubicBezTo>
                  <a:pt x="9062" y="3469"/>
                  <a:pt x="9031" y="3469"/>
                  <a:pt x="9000" y="3438"/>
                </a:cubicBezTo>
                <a:cubicBezTo>
                  <a:pt x="8969" y="3406"/>
                  <a:pt x="8875" y="3406"/>
                  <a:pt x="8969" y="3344"/>
                </a:cubicBezTo>
                <a:cubicBezTo>
                  <a:pt x="9000" y="3313"/>
                  <a:pt x="8969" y="3250"/>
                  <a:pt x="8937" y="3250"/>
                </a:cubicBezTo>
                <a:cubicBezTo>
                  <a:pt x="8875" y="3219"/>
                  <a:pt x="8812" y="3188"/>
                  <a:pt x="8750" y="3250"/>
                </a:cubicBezTo>
                <a:cubicBezTo>
                  <a:pt x="8719" y="3313"/>
                  <a:pt x="8656" y="3313"/>
                  <a:pt x="8594" y="3250"/>
                </a:cubicBezTo>
                <a:cubicBezTo>
                  <a:pt x="8656" y="3281"/>
                  <a:pt x="8719" y="3281"/>
                  <a:pt x="8719" y="3188"/>
                </a:cubicBezTo>
                <a:cubicBezTo>
                  <a:pt x="8719" y="3188"/>
                  <a:pt x="8719" y="3156"/>
                  <a:pt x="8750" y="3156"/>
                </a:cubicBezTo>
                <a:cubicBezTo>
                  <a:pt x="8844" y="3219"/>
                  <a:pt x="9000" y="3156"/>
                  <a:pt x="9031" y="3250"/>
                </a:cubicBezTo>
                <a:cubicBezTo>
                  <a:pt x="9094" y="3406"/>
                  <a:pt x="9219" y="3406"/>
                  <a:pt x="9344" y="3469"/>
                </a:cubicBezTo>
                <a:cubicBezTo>
                  <a:pt x="9406" y="3531"/>
                  <a:pt x="9437" y="3500"/>
                  <a:pt x="9469" y="3406"/>
                </a:cubicBezTo>
                <a:cubicBezTo>
                  <a:pt x="9500" y="3438"/>
                  <a:pt x="9500" y="3500"/>
                  <a:pt x="9531" y="3531"/>
                </a:cubicBezTo>
                <a:cubicBezTo>
                  <a:pt x="9562" y="3594"/>
                  <a:pt x="9625" y="3594"/>
                  <a:pt x="9656" y="3531"/>
                </a:cubicBezTo>
                <a:cubicBezTo>
                  <a:pt x="9687" y="3500"/>
                  <a:pt x="9719" y="3469"/>
                  <a:pt x="9750" y="3531"/>
                </a:cubicBezTo>
                <a:cubicBezTo>
                  <a:pt x="9781" y="3563"/>
                  <a:pt x="9781" y="3531"/>
                  <a:pt x="9812" y="3531"/>
                </a:cubicBezTo>
                <a:cubicBezTo>
                  <a:pt x="9844" y="3469"/>
                  <a:pt x="9844" y="3438"/>
                  <a:pt x="9812" y="3406"/>
                </a:cubicBezTo>
                <a:cubicBezTo>
                  <a:pt x="9781" y="3344"/>
                  <a:pt x="9687" y="3344"/>
                  <a:pt x="9719" y="3250"/>
                </a:cubicBezTo>
                <a:cubicBezTo>
                  <a:pt x="9750" y="3219"/>
                  <a:pt x="9687" y="3188"/>
                  <a:pt x="9656" y="3219"/>
                </a:cubicBezTo>
                <a:cubicBezTo>
                  <a:pt x="9594" y="3281"/>
                  <a:pt x="9531" y="3281"/>
                  <a:pt x="9469" y="3281"/>
                </a:cubicBezTo>
                <a:cubicBezTo>
                  <a:pt x="9437" y="3281"/>
                  <a:pt x="9437" y="3344"/>
                  <a:pt x="9406" y="3313"/>
                </a:cubicBezTo>
                <a:cubicBezTo>
                  <a:pt x="9406" y="3313"/>
                  <a:pt x="9375" y="3281"/>
                  <a:pt x="9406" y="3250"/>
                </a:cubicBezTo>
                <a:cubicBezTo>
                  <a:pt x="9469" y="3156"/>
                  <a:pt x="9375" y="3156"/>
                  <a:pt x="9344" y="3156"/>
                </a:cubicBezTo>
                <a:cubicBezTo>
                  <a:pt x="9250" y="3125"/>
                  <a:pt x="9156" y="3156"/>
                  <a:pt x="9125" y="3063"/>
                </a:cubicBezTo>
                <a:cubicBezTo>
                  <a:pt x="9094" y="3063"/>
                  <a:pt x="9094" y="3063"/>
                  <a:pt x="9062" y="3063"/>
                </a:cubicBezTo>
                <a:cubicBezTo>
                  <a:pt x="9031" y="3063"/>
                  <a:pt x="9000" y="3063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875" y="3031"/>
                  <a:pt x="8812" y="3000"/>
                  <a:pt x="8781" y="2938"/>
                </a:cubicBezTo>
                <a:cubicBezTo>
                  <a:pt x="8781" y="2938"/>
                  <a:pt x="8750" y="2906"/>
                  <a:pt x="8750" y="2906"/>
                </a:cubicBezTo>
                <a:cubicBezTo>
                  <a:pt x="8781" y="2906"/>
                  <a:pt x="8812" y="2938"/>
                  <a:pt x="8844" y="2938"/>
                </a:cubicBezTo>
                <a:cubicBezTo>
                  <a:pt x="8906" y="2969"/>
                  <a:pt x="8937" y="2969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9031" y="3031"/>
                  <a:pt x="9062" y="3031"/>
                  <a:pt x="9125" y="3063"/>
                </a:cubicBezTo>
                <a:cubicBezTo>
                  <a:pt x="9125" y="3063"/>
                  <a:pt x="9125" y="3063"/>
                  <a:pt x="9125" y="3063"/>
                </a:cubicBezTo>
                <a:cubicBezTo>
                  <a:pt x="9156" y="3063"/>
                  <a:pt x="9219" y="3063"/>
                  <a:pt x="9250" y="3031"/>
                </a:cubicBezTo>
                <a:cubicBezTo>
                  <a:pt x="9250" y="3031"/>
                  <a:pt x="9250" y="3031"/>
                  <a:pt x="9281" y="3031"/>
                </a:cubicBezTo>
                <a:cubicBezTo>
                  <a:pt x="9281" y="2969"/>
                  <a:pt x="9344" y="3000"/>
                  <a:pt x="9375" y="3031"/>
                </a:cubicBezTo>
                <a:cubicBezTo>
                  <a:pt x="9406" y="3094"/>
                  <a:pt x="9469" y="3125"/>
                  <a:pt x="9531" y="3125"/>
                </a:cubicBezTo>
                <a:cubicBezTo>
                  <a:pt x="9594" y="3125"/>
                  <a:pt x="9656" y="3156"/>
                  <a:pt x="9625" y="3063"/>
                </a:cubicBezTo>
                <a:cubicBezTo>
                  <a:pt x="9625" y="3031"/>
                  <a:pt x="9625" y="3031"/>
                  <a:pt x="9656" y="3031"/>
                </a:cubicBezTo>
                <a:cubicBezTo>
                  <a:pt x="9687" y="3031"/>
                  <a:pt x="9750" y="3063"/>
                  <a:pt x="9719" y="3000"/>
                </a:cubicBezTo>
                <a:cubicBezTo>
                  <a:pt x="9719" y="2938"/>
                  <a:pt x="9656" y="2906"/>
                  <a:pt x="9594" y="2906"/>
                </a:cubicBezTo>
                <a:cubicBezTo>
                  <a:pt x="9469" y="2875"/>
                  <a:pt x="9375" y="2781"/>
                  <a:pt x="9375" y="2656"/>
                </a:cubicBezTo>
                <a:cubicBezTo>
                  <a:pt x="9312" y="2625"/>
                  <a:pt x="9281" y="2594"/>
                  <a:pt x="9219" y="2531"/>
                </a:cubicBezTo>
                <a:cubicBezTo>
                  <a:pt x="9219" y="2500"/>
                  <a:pt x="9187" y="2500"/>
                  <a:pt x="9187" y="2469"/>
                </a:cubicBezTo>
                <a:cubicBezTo>
                  <a:pt x="9187" y="2625"/>
                  <a:pt x="9250" y="2656"/>
                  <a:pt x="9375" y="2656"/>
                </a:cubicBezTo>
                <a:cubicBezTo>
                  <a:pt x="9406" y="2625"/>
                  <a:pt x="9375" y="2563"/>
                  <a:pt x="9375" y="2531"/>
                </a:cubicBezTo>
                <a:cubicBezTo>
                  <a:pt x="9375" y="2531"/>
                  <a:pt x="9375" y="2500"/>
                  <a:pt x="9375" y="2500"/>
                </a:cubicBezTo>
                <a:cubicBezTo>
                  <a:pt x="9281" y="2500"/>
                  <a:pt x="9250" y="2406"/>
                  <a:pt x="9219" y="2375"/>
                </a:cubicBezTo>
                <a:cubicBezTo>
                  <a:pt x="9219" y="2375"/>
                  <a:pt x="9250" y="2375"/>
                  <a:pt x="9281" y="2375"/>
                </a:cubicBezTo>
                <a:cubicBezTo>
                  <a:pt x="9281" y="2375"/>
                  <a:pt x="9281" y="2375"/>
                  <a:pt x="9281" y="2375"/>
                </a:cubicBezTo>
                <a:cubicBezTo>
                  <a:pt x="9312" y="2375"/>
                  <a:pt x="9312" y="2375"/>
                  <a:pt x="9344" y="2406"/>
                </a:cubicBezTo>
                <a:cubicBezTo>
                  <a:pt x="9375" y="2406"/>
                  <a:pt x="9375" y="2438"/>
                  <a:pt x="9375" y="2500"/>
                </a:cubicBezTo>
                <a:cubicBezTo>
                  <a:pt x="9469" y="2625"/>
                  <a:pt x="9594" y="2719"/>
                  <a:pt x="9719" y="2813"/>
                </a:cubicBezTo>
                <a:cubicBezTo>
                  <a:pt x="9781" y="2875"/>
                  <a:pt x="9875" y="2906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69" y="2969"/>
                  <a:pt x="10000" y="3000"/>
                  <a:pt x="10031" y="3031"/>
                </a:cubicBezTo>
                <a:cubicBezTo>
                  <a:pt x="10062" y="3031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125" y="3063"/>
                  <a:pt x="10125" y="3063"/>
                </a:cubicBezTo>
                <a:cubicBezTo>
                  <a:pt x="10156" y="3063"/>
                  <a:pt x="10156" y="3063"/>
                  <a:pt x="10156" y="3031"/>
                </a:cubicBezTo>
                <a:cubicBezTo>
                  <a:pt x="10187" y="3031"/>
                  <a:pt x="10187" y="3031"/>
                  <a:pt x="10156" y="3000"/>
                </a:cubicBezTo>
                <a:cubicBezTo>
                  <a:pt x="10031" y="2906"/>
                  <a:pt x="10156" y="2813"/>
                  <a:pt x="10156" y="2719"/>
                </a:cubicBezTo>
                <a:cubicBezTo>
                  <a:pt x="10187" y="2844"/>
                  <a:pt x="10187" y="2938"/>
                  <a:pt x="10250" y="3063"/>
                </a:cubicBezTo>
                <a:cubicBezTo>
                  <a:pt x="10344" y="3000"/>
                  <a:pt x="10406" y="2938"/>
                  <a:pt x="10406" y="2813"/>
                </a:cubicBezTo>
                <a:cubicBezTo>
                  <a:pt x="10469" y="2875"/>
                  <a:pt x="10500" y="2938"/>
                  <a:pt x="10406" y="3000"/>
                </a:cubicBezTo>
                <a:cubicBezTo>
                  <a:pt x="10375" y="3031"/>
                  <a:pt x="10375" y="3094"/>
                  <a:pt x="10406" y="3125"/>
                </a:cubicBezTo>
                <a:cubicBezTo>
                  <a:pt x="10406" y="3156"/>
                  <a:pt x="10437" y="3156"/>
                  <a:pt x="10469" y="3156"/>
                </a:cubicBezTo>
                <a:cubicBezTo>
                  <a:pt x="10500" y="3094"/>
                  <a:pt x="10625" y="3094"/>
                  <a:pt x="10594" y="3031"/>
                </a:cubicBezTo>
                <a:cubicBezTo>
                  <a:pt x="10594" y="2938"/>
                  <a:pt x="10625" y="2875"/>
                  <a:pt x="10656" y="2813"/>
                </a:cubicBezTo>
                <a:cubicBezTo>
                  <a:pt x="10625" y="2813"/>
                  <a:pt x="10625" y="2813"/>
                  <a:pt x="10625" y="2813"/>
                </a:cubicBezTo>
                <a:cubicBezTo>
                  <a:pt x="10594" y="2688"/>
                  <a:pt x="10562" y="2594"/>
                  <a:pt x="10531" y="2500"/>
                </a:cubicBezTo>
                <a:cubicBezTo>
                  <a:pt x="10594" y="2531"/>
                  <a:pt x="10625" y="2563"/>
                  <a:pt x="10625" y="2625"/>
                </a:cubicBezTo>
                <a:cubicBezTo>
                  <a:pt x="10656" y="2656"/>
                  <a:pt x="10656" y="2688"/>
                  <a:pt x="10656" y="2719"/>
                </a:cubicBezTo>
                <a:cubicBezTo>
                  <a:pt x="10656" y="2719"/>
                  <a:pt x="10656" y="2719"/>
                  <a:pt x="10656" y="2719"/>
                </a:cubicBezTo>
                <a:cubicBezTo>
                  <a:pt x="10656" y="2750"/>
                  <a:pt x="10656" y="2781"/>
                  <a:pt x="10656" y="2813"/>
                </a:cubicBezTo>
                <a:cubicBezTo>
                  <a:pt x="10656" y="2844"/>
                  <a:pt x="10656" y="2844"/>
                  <a:pt x="10656" y="2875"/>
                </a:cubicBezTo>
                <a:cubicBezTo>
                  <a:pt x="10687" y="2875"/>
                  <a:pt x="10687" y="2906"/>
                  <a:pt x="10687" y="2906"/>
                </a:cubicBezTo>
                <a:cubicBezTo>
                  <a:pt x="10719" y="2938"/>
                  <a:pt x="10719" y="2938"/>
                  <a:pt x="10750" y="2969"/>
                </a:cubicBezTo>
                <a:cubicBezTo>
                  <a:pt x="10750" y="3000"/>
                  <a:pt x="10781" y="3031"/>
                  <a:pt x="10812" y="3031"/>
                </a:cubicBezTo>
                <a:cubicBezTo>
                  <a:pt x="10906" y="2969"/>
                  <a:pt x="10875" y="2844"/>
                  <a:pt x="10937" y="2750"/>
                </a:cubicBezTo>
                <a:cubicBezTo>
                  <a:pt x="10969" y="2844"/>
                  <a:pt x="10937" y="2938"/>
                  <a:pt x="10906" y="3031"/>
                </a:cubicBezTo>
                <a:cubicBezTo>
                  <a:pt x="10875" y="3125"/>
                  <a:pt x="10906" y="3188"/>
                  <a:pt x="10937" y="3281"/>
                </a:cubicBezTo>
                <a:cubicBezTo>
                  <a:pt x="11000" y="3344"/>
                  <a:pt x="11031" y="3375"/>
                  <a:pt x="11062" y="3250"/>
                </a:cubicBezTo>
                <a:cubicBezTo>
                  <a:pt x="11062" y="3250"/>
                  <a:pt x="11062" y="3281"/>
                  <a:pt x="11062" y="3281"/>
                </a:cubicBezTo>
                <a:cubicBezTo>
                  <a:pt x="11062" y="3281"/>
                  <a:pt x="11062" y="3313"/>
                  <a:pt x="11062" y="3313"/>
                </a:cubicBezTo>
                <a:cubicBezTo>
                  <a:pt x="11094" y="3344"/>
                  <a:pt x="11062" y="3375"/>
                  <a:pt x="11094" y="3406"/>
                </a:cubicBezTo>
                <a:cubicBezTo>
                  <a:pt x="11156" y="3375"/>
                  <a:pt x="11219" y="3313"/>
                  <a:pt x="11281" y="3250"/>
                </a:cubicBezTo>
                <a:cubicBezTo>
                  <a:pt x="11281" y="3250"/>
                  <a:pt x="11312" y="3250"/>
                  <a:pt x="11312" y="3219"/>
                </a:cubicBezTo>
                <a:cubicBezTo>
                  <a:pt x="11312" y="3219"/>
                  <a:pt x="11312" y="3219"/>
                  <a:pt x="11312" y="3219"/>
                </a:cubicBezTo>
                <a:cubicBezTo>
                  <a:pt x="11312" y="3156"/>
                  <a:pt x="11375" y="3094"/>
                  <a:pt x="11312" y="3031"/>
                </a:cubicBezTo>
                <a:cubicBezTo>
                  <a:pt x="11312" y="3000"/>
                  <a:pt x="11312" y="3000"/>
                  <a:pt x="11312" y="3000"/>
                </a:cubicBezTo>
                <a:cubicBezTo>
                  <a:pt x="11437" y="2969"/>
                  <a:pt x="11437" y="2844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781"/>
                  <a:pt x="11562" y="2750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688"/>
                  <a:pt x="11625" y="2688"/>
                  <a:pt x="11625" y="2656"/>
                </a:cubicBezTo>
                <a:cubicBezTo>
                  <a:pt x="11625" y="2688"/>
                  <a:pt x="11625" y="2688"/>
                  <a:pt x="11625" y="2688"/>
                </a:cubicBezTo>
                <a:cubicBezTo>
                  <a:pt x="11594" y="2688"/>
                  <a:pt x="11594" y="2688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62" y="2750"/>
                  <a:pt x="11562" y="2781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00" y="2906"/>
                  <a:pt x="11437" y="2969"/>
                  <a:pt x="11437" y="3063"/>
                </a:cubicBezTo>
                <a:cubicBezTo>
                  <a:pt x="11437" y="3063"/>
                  <a:pt x="11437" y="3094"/>
                  <a:pt x="11437" y="3094"/>
                </a:cubicBezTo>
                <a:cubicBezTo>
                  <a:pt x="11437" y="3125"/>
                  <a:pt x="11469" y="3125"/>
                  <a:pt x="11469" y="3156"/>
                </a:cubicBezTo>
                <a:cubicBezTo>
                  <a:pt x="11500" y="3188"/>
                  <a:pt x="11469" y="3250"/>
                  <a:pt x="11531" y="3281"/>
                </a:cubicBezTo>
                <a:cubicBezTo>
                  <a:pt x="11562" y="3281"/>
                  <a:pt x="11562" y="3219"/>
                  <a:pt x="11594" y="3188"/>
                </a:cubicBezTo>
                <a:cubicBezTo>
                  <a:pt x="11625" y="3188"/>
                  <a:pt x="11625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88"/>
                  <a:pt x="11656" y="3219"/>
                  <a:pt x="11656" y="3250"/>
                </a:cubicBezTo>
                <a:cubicBezTo>
                  <a:pt x="11656" y="3281"/>
                  <a:pt x="11625" y="3313"/>
                  <a:pt x="11687" y="3313"/>
                </a:cubicBezTo>
                <a:cubicBezTo>
                  <a:pt x="11719" y="3313"/>
                  <a:pt x="11687" y="3281"/>
                  <a:pt x="11719" y="3250"/>
                </a:cubicBezTo>
                <a:cubicBezTo>
                  <a:pt x="11719" y="3188"/>
                  <a:pt x="11750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094"/>
                  <a:pt x="11844" y="3063"/>
                  <a:pt x="11844" y="3000"/>
                </a:cubicBezTo>
                <a:cubicBezTo>
                  <a:pt x="11875" y="3031"/>
                  <a:pt x="11875" y="3063"/>
                  <a:pt x="11875" y="3063"/>
                </a:cubicBezTo>
                <a:cubicBezTo>
                  <a:pt x="11875" y="3094"/>
                  <a:pt x="11875" y="3125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719" y="3313"/>
                  <a:pt x="11844" y="3375"/>
                  <a:pt x="11906" y="3469"/>
                </a:cubicBezTo>
                <a:cubicBezTo>
                  <a:pt x="11906" y="3500"/>
                  <a:pt x="11969" y="3500"/>
                  <a:pt x="11937" y="3531"/>
                </a:cubicBezTo>
                <a:cubicBezTo>
                  <a:pt x="11906" y="3563"/>
                  <a:pt x="11875" y="3594"/>
                  <a:pt x="11937" y="3625"/>
                </a:cubicBezTo>
                <a:cubicBezTo>
                  <a:pt x="11969" y="3656"/>
                  <a:pt x="12031" y="3625"/>
                  <a:pt x="12062" y="3563"/>
                </a:cubicBezTo>
                <a:cubicBezTo>
                  <a:pt x="12062" y="3531"/>
                  <a:pt x="12094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00"/>
                  <a:pt x="12125" y="3500"/>
                  <a:pt x="12125" y="3469"/>
                </a:cubicBezTo>
                <a:cubicBezTo>
                  <a:pt x="12156" y="3438"/>
                  <a:pt x="12156" y="3438"/>
                  <a:pt x="12156" y="3406"/>
                </a:cubicBezTo>
                <a:cubicBezTo>
                  <a:pt x="12156" y="3438"/>
                  <a:pt x="12187" y="3438"/>
                  <a:pt x="12156" y="3469"/>
                </a:cubicBezTo>
                <a:cubicBezTo>
                  <a:pt x="12156" y="3500"/>
                  <a:pt x="12156" y="3500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63"/>
                  <a:pt x="12125" y="3594"/>
                  <a:pt x="12094" y="3625"/>
                </a:cubicBezTo>
                <a:cubicBezTo>
                  <a:pt x="12094" y="3688"/>
                  <a:pt x="12125" y="3719"/>
                  <a:pt x="12187" y="3719"/>
                </a:cubicBezTo>
                <a:cubicBezTo>
                  <a:pt x="12219" y="3719"/>
                  <a:pt x="12219" y="3656"/>
                  <a:pt x="12219" y="3625"/>
                </a:cubicBezTo>
                <a:cubicBezTo>
                  <a:pt x="12156" y="3563"/>
                  <a:pt x="12250" y="3500"/>
                  <a:pt x="12250" y="3438"/>
                </a:cubicBezTo>
                <a:cubicBezTo>
                  <a:pt x="12281" y="3313"/>
                  <a:pt x="12281" y="3188"/>
                  <a:pt x="12312" y="3063"/>
                </a:cubicBezTo>
                <a:cubicBezTo>
                  <a:pt x="12312" y="3188"/>
                  <a:pt x="12312" y="3281"/>
                  <a:pt x="12344" y="3375"/>
                </a:cubicBezTo>
                <a:cubicBezTo>
                  <a:pt x="12344" y="3438"/>
                  <a:pt x="12344" y="3563"/>
                  <a:pt x="12500" y="3531"/>
                </a:cubicBezTo>
                <a:cubicBezTo>
                  <a:pt x="12531" y="3531"/>
                  <a:pt x="12531" y="3594"/>
                  <a:pt x="12531" y="3625"/>
                </a:cubicBezTo>
                <a:cubicBezTo>
                  <a:pt x="12531" y="3719"/>
                  <a:pt x="12531" y="3813"/>
                  <a:pt x="12531" y="3938"/>
                </a:cubicBezTo>
                <a:cubicBezTo>
                  <a:pt x="12531" y="4031"/>
                  <a:pt x="12594" y="3938"/>
                  <a:pt x="12594" y="3938"/>
                </a:cubicBezTo>
                <a:cubicBezTo>
                  <a:pt x="12625" y="3906"/>
                  <a:pt x="12625" y="3906"/>
                  <a:pt x="12625" y="3875"/>
                </a:cubicBezTo>
                <a:cubicBezTo>
                  <a:pt x="12656" y="3844"/>
                  <a:pt x="12656" y="3844"/>
                  <a:pt x="12687" y="3844"/>
                </a:cubicBezTo>
                <a:cubicBezTo>
                  <a:pt x="12687" y="3844"/>
                  <a:pt x="12687" y="3844"/>
                  <a:pt x="12687" y="3844"/>
                </a:cubicBezTo>
                <a:cubicBezTo>
                  <a:pt x="12687" y="3813"/>
                  <a:pt x="12719" y="3781"/>
                  <a:pt x="12750" y="3781"/>
                </a:cubicBezTo>
                <a:cubicBezTo>
                  <a:pt x="12750" y="3781"/>
                  <a:pt x="12750" y="3750"/>
                  <a:pt x="12781" y="3750"/>
                </a:cubicBezTo>
                <a:cubicBezTo>
                  <a:pt x="12781" y="3750"/>
                  <a:pt x="12781" y="3750"/>
                  <a:pt x="12781" y="3750"/>
                </a:cubicBezTo>
                <a:cubicBezTo>
                  <a:pt x="12781" y="3750"/>
                  <a:pt x="12781" y="3719"/>
                  <a:pt x="12812" y="3719"/>
                </a:cubicBezTo>
                <a:cubicBezTo>
                  <a:pt x="12812" y="3719"/>
                  <a:pt x="12812" y="3719"/>
                  <a:pt x="12812" y="3719"/>
                </a:cubicBezTo>
                <a:cubicBezTo>
                  <a:pt x="12812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25"/>
                  <a:pt x="12875" y="3594"/>
                  <a:pt x="12937" y="3563"/>
                </a:cubicBezTo>
                <a:cubicBezTo>
                  <a:pt x="12937" y="3563"/>
                  <a:pt x="12937" y="3563"/>
                  <a:pt x="12969" y="3531"/>
                </a:cubicBezTo>
                <a:cubicBezTo>
                  <a:pt x="12937" y="3688"/>
                  <a:pt x="12969" y="3688"/>
                  <a:pt x="13062" y="3625"/>
                </a:cubicBezTo>
                <a:cubicBezTo>
                  <a:pt x="13094" y="3594"/>
                  <a:pt x="13125" y="3594"/>
                  <a:pt x="13187" y="3594"/>
                </a:cubicBezTo>
                <a:cubicBezTo>
                  <a:pt x="13219" y="3500"/>
                  <a:pt x="13281" y="3531"/>
                  <a:pt x="13375" y="3531"/>
                </a:cubicBezTo>
                <a:cubicBezTo>
                  <a:pt x="13312" y="3563"/>
                  <a:pt x="13250" y="3594"/>
                  <a:pt x="13187" y="3625"/>
                </a:cubicBezTo>
                <a:cubicBezTo>
                  <a:pt x="13187" y="3625"/>
                  <a:pt x="13187" y="3625"/>
                  <a:pt x="13187" y="3625"/>
                </a:cubicBezTo>
                <a:cubicBezTo>
                  <a:pt x="13156" y="3688"/>
                  <a:pt x="13187" y="3781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44"/>
                  <a:pt x="13125" y="3844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219" y="3813"/>
                  <a:pt x="13312" y="3813"/>
                  <a:pt x="13375" y="3781"/>
                </a:cubicBezTo>
                <a:cubicBezTo>
                  <a:pt x="13469" y="3688"/>
                  <a:pt x="13594" y="3625"/>
                  <a:pt x="13750" y="3656"/>
                </a:cubicBezTo>
                <a:cubicBezTo>
                  <a:pt x="13625" y="3719"/>
                  <a:pt x="13594" y="3781"/>
                  <a:pt x="13562" y="3938"/>
                </a:cubicBezTo>
                <a:cubicBezTo>
                  <a:pt x="13656" y="3844"/>
                  <a:pt x="13687" y="3781"/>
                  <a:pt x="13750" y="3906"/>
                </a:cubicBezTo>
                <a:cubicBezTo>
                  <a:pt x="13781" y="3969"/>
                  <a:pt x="13812" y="3938"/>
                  <a:pt x="13812" y="3875"/>
                </a:cubicBezTo>
                <a:cubicBezTo>
                  <a:pt x="13812" y="3844"/>
                  <a:pt x="13781" y="3844"/>
                  <a:pt x="13812" y="3813"/>
                </a:cubicBezTo>
                <a:cubicBezTo>
                  <a:pt x="13812" y="3813"/>
                  <a:pt x="13812" y="3813"/>
                  <a:pt x="13812" y="3813"/>
                </a:cubicBezTo>
                <a:cubicBezTo>
                  <a:pt x="13844" y="3781"/>
                  <a:pt x="13844" y="3813"/>
                  <a:pt x="13844" y="3844"/>
                </a:cubicBezTo>
                <a:cubicBezTo>
                  <a:pt x="13844" y="3844"/>
                  <a:pt x="13844" y="3844"/>
                  <a:pt x="13844" y="3844"/>
                </a:cubicBezTo>
                <a:cubicBezTo>
                  <a:pt x="13906" y="3844"/>
                  <a:pt x="13937" y="3844"/>
                  <a:pt x="13969" y="3844"/>
                </a:cubicBezTo>
                <a:cubicBezTo>
                  <a:pt x="13969" y="3813"/>
                  <a:pt x="13969" y="3813"/>
                  <a:pt x="13969" y="3781"/>
                </a:cubicBezTo>
                <a:cubicBezTo>
                  <a:pt x="13969" y="3781"/>
                  <a:pt x="13969" y="3750"/>
                  <a:pt x="13937" y="3750"/>
                </a:cubicBezTo>
                <a:cubicBezTo>
                  <a:pt x="13906" y="3656"/>
                  <a:pt x="13937" y="3531"/>
                  <a:pt x="13781" y="3594"/>
                </a:cubicBezTo>
                <a:cubicBezTo>
                  <a:pt x="13750" y="3594"/>
                  <a:pt x="13750" y="3531"/>
                  <a:pt x="13719" y="3531"/>
                </a:cubicBezTo>
                <a:cubicBezTo>
                  <a:pt x="13719" y="3469"/>
                  <a:pt x="13656" y="3438"/>
                  <a:pt x="13625" y="3500"/>
                </a:cubicBezTo>
                <a:cubicBezTo>
                  <a:pt x="13562" y="3531"/>
                  <a:pt x="13531" y="3531"/>
                  <a:pt x="13500" y="3531"/>
                </a:cubicBezTo>
                <a:cubicBezTo>
                  <a:pt x="13406" y="3500"/>
                  <a:pt x="13312" y="3469"/>
                  <a:pt x="13187" y="3438"/>
                </a:cubicBezTo>
                <a:cubicBezTo>
                  <a:pt x="13312" y="3406"/>
                  <a:pt x="13406" y="3313"/>
                  <a:pt x="13500" y="3375"/>
                </a:cubicBezTo>
                <a:cubicBezTo>
                  <a:pt x="13531" y="3375"/>
                  <a:pt x="13562" y="3375"/>
                  <a:pt x="13562" y="3344"/>
                </a:cubicBezTo>
                <a:cubicBezTo>
                  <a:pt x="13562" y="3344"/>
                  <a:pt x="13562" y="3313"/>
                  <a:pt x="13531" y="3281"/>
                </a:cubicBezTo>
                <a:cubicBezTo>
                  <a:pt x="13531" y="3281"/>
                  <a:pt x="13500" y="3281"/>
                  <a:pt x="13437" y="3250"/>
                </a:cubicBezTo>
                <a:cubicBezTo>
                  <a:pt x="13500" y="3219"/>
                  <a:pt x="13562" y="3250"/>
                  <a:pt x="13594" y="3156"/>
                </a:cubicBezTo>
                <a:cubicBezTo>
                  <a:pt x="13594" y="3250"/>
                  <a:pt x="13562" y="3313"/>
                  <a:pt x="13656" y="3344"/>
                </a:cubicBezTo>
                <a:cubicBezTo>
                  <a:pt x="13687" y="3188"/>
                  <a:pt x="13656" y="3156"/>
                  <a:pt x="13469" y="3094"/>
                </a:cubicBezTo>
                <a:cubicBezTo>
                  <a:pt x="13531" y="3000"/>
                  <a:pt x="13500" y="3000"/>
                  <a:pt x="13625" y="3063"/>
                </a:cubicBezTo>
                <a:cubicBezTo>
                  <a:pt x="13656" y="3063"/>
                  <a:pt x="13687" y="3063"/>
                  <a:pt x="13719" y="3063"/>
                </a:cubicBezTo>
                <a:cubicBezTo>
                  <a:pt x="13687" y="3156"/>
                  <a:pt x="13750" y="3344"/>
                  <a:pt x="13875" y="3375"/>
                </a:cubicBezTo>
                <a:cubicBezTo>
                  <a:pt x="13875" y="3375"/>
                  <a:pt x="13906" y="3375"/>
                  <a:pt x="13906" y="3344"/>
                </a:cubicBezTo>
                <a:cubicBezTo>
                  <a:pt x="13937" y="3313"/>
                  <a:pt x="13906" y="3313"/>
                  <a:pt x="13906" y="3313"/>
                </a:cubicBezTo>
                <a:cubicBezTo>
                  <a:pt x="13875" y="3313"/>
                  <a:pt x="13844" y="3313"/>
                  <a:pt x="13844" y="3250"/>
                </a:cubicBezTo>
                <a:cubicBezTo>
                  <a:pt x="13844" y="3219"/>
                  <a:pt x="13906" y="3250"/>
                  <a:pt x="13906" y="3250"/>
                </a:cubicBezTo>
                <a:cubicBezTo>
                  <a:pt x="13906" y="3156"/>
                  <a:pt x="13969" y="3219"/>
                  <a:pt x="14031" y="3219"/>
                </a:cubicBezTo>
                <a:cubicBezTo>
                  <a:pt x="14031" y="3219"/>
                  <a:pt x="14062" y="3219"/>
                  <a:pt x="14062" y="3219"/>
                </a:cubicBezTo>
                <a:cubicBezTo>
                  <a:pt x="14000" y="3094"/>
                  <a:pt x="14250" y="3156"/>
                  <a:pt x="14187" y="3000"/>
                </a:cubicBezTo>
                <a:cubicBezTo>
                  <a:pt x="14125" y="2906"/>
                  <a:pt x="14062" y="2781"/>
                  <a:pt x="14062" y="2656"/>
                </a:cubicBezTo>
                <a:cubicBezTo>
                  <a:pt x="14062" y="2625"/>
                  <a:pt x="14062" y="2625"/>
                  <a:pt x="14062" y="2563"/>
                </a:cubicBezTo>
                <a:cubicBezTo>
                  <a:pt x="14094" y="2656"/>
                  <a:pt x="14125" y="2688"/>
                  <a:pt x="14156" y="2750"/>
                </a:cubicBezTo>
                <a:cubicBezTo>
                  <a:pt x="14187" y="2563"/>
                  <a:pt x="14250" y="2781"/>
                  <a:pt x="14312" y="2719"/>
                </a:cubicBezTo>
                <a:cubicBezTo>
                  <a:pt x="14281" y="2719"/>
                  <a:pt x="14281" y="2688"/>
                  <a:pt x="14281" y="2688"/>
                </a:cubicBezTo>
                <a:cubicBezTo>
                  <a:pt x="14250" y="2688"/>
                  <a:pt x="14250" y="2688"/>
                  <a:pt x="14250" y="2656"/>
                </a:cubicBezTo>
                <a:cubicBezTo>
                  <a:pt x="14250" y="2656"/>
                  <a:pt x="14250" y="2656"/>
                  <a:pt x="14250" y="2656"/>
                </a:cubicBezTo>
                <a:cubicBezTo>
                  <a:pt x="14250" y="2594"/>
                  <a:pt x="14312" y="2531"/>
                  <a:pt x="14250" y="2469"/>
                </a:cubicBezTo>
                <a:cubicBezTo>
                  <a:pt x="14219" y="2469"/>
                  <a:pt x="14187" y="2469"/>
                  <a:pt x="14187" y="2438"/>
                </a:cubicBezTo>
                <a:cubicBezTo>
                  <a:pt x="14156" y="2438"/>
                  <a:pt x="14156" y="2438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25" y="2406"/>
                  <a:pt x="14125" y="2406"/>
                  <a:pt x="14094" y="2375"/>
                </a:cubicBezTo>
                <a:cubicBezTo>
                  <a:pt x="14094" y="2375"/>
                  <a:pt x="14094" y="2375"/>
                  <a:pt x="14094" y="2344"/>
                </a:cubicBezTo>
                <a:cubicBezTo>
                  <a:pt x="14094" y="2344"/>
                  <a:pt x="14125" y="2344"/>
                  <a:pt x="14125" y="2344"/>
                </a:cubicBezTo>
                <a:cubicBezTo>
                  <a:pt x="14156" y="2344"/>
                  <a:pt x="14156" y="2375"/>
                  <a:pt x="14187" y="2406"/>
                </a:cubicBezTo>
                <a:cubicBezTo>
                  <a:pt x="14187" y="2406"/>
                  <a:pt x="14187" y="2406"/>
                  <a:pt x="14187" y="2406"/>
                </a:cubicBezTo>
                <a:cubicBezTo>
                  <a:pt x="14219" y="2406"/>
                  <a:pt x="14250" y="2438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344" y="2469"/>
                  <a:pt x="14406" y="2469"/>
                  <a:pt x="14437" y="2563"/>
                </a:cubicBezTo>
                <a:cubicBezTo>
                  <a:pt x="14437" y="2531"/>
                  <a:pt x="14437" y="2500"/>
                  <a:pt x="14437" y="2469"/>
                </a:cubicBezTo>
                <a:cubicBezTo>
                  <a:pt x="14437" y="2406"/>
                  <a:pt x="14469" y="2344"/>
                  <a:pt x="14531" y="2281"/>
                </a:cubicBezTo>
                <a:cubicBezTo>
                  <a:pt x="14531" y="2281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00" y="2281"/>
                  <a:pt x="14500" y="2250"/>
                  <a:pt x="14500" y="2188"/>
                </a:cubicBezTo>
                <a:cubicBezTo>
                  <a:pt x="14500" y="2188"/>
                  <a:pt x="14500" y="2188"/>
                  <a:pt x="14500" y="2188"/>
                </a:cubicBezTo>
                <a:cubicBezTo>
                  <a:pt x="14531" y="2188"/>
                  <a:pt x="14562" y="2219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94" y="2250"/>
                  <a:pt x="14625" y="2250"/>
                  <a:pt x="14625" y="2219"/>
                </a:cubicBezTo>
                <a:cubicBezTo>
                  <a:pt x="14656" y="2219"/>
                  <a:pt x="14656" y="2219"/>
                  <a:pt x="14656" y="2188"/>
                </a:cubicBezTo>
                <a:cubicBezTo>
                  <a:pt x="14656" y="2188"/>
                  <a:pt x="14656" y="2188"/>
                  <a:pt x="14656" y="2156"/>
                </a:cubicBezTo>
                <a:cubicBezTo>
                  <a:pt x="14656" y="2156"/>
                  <a:pt x="14656" y="2156"/>
                  <a:pt x="14656" y="2156"/>
                </a:cubicBezTo>
                <a:cubicBezTo>
                  <a:pt x="14625" y="2156"/>
                  <a:pt x="14594" y="2156"/>
                  <a:pt x="14594" y="2125"/>
                </a:cubicBezTo>
                <a:cubicBezTo>
                  <a:pt x="14594" y="2125"/>
                  <a:pt x="14594" y="2094"/>
                  <a:pt x="14562" y="2094"/>
                </a:cubicBezTo>
                <a:cubicBezTo>
                  <a:pt x="14500" y="1906"/>
                  <a:pt x="14406" y="1750"/>
                  <a:pt x="14219" y="1625"/>
                </a:cubicBezTo>
                <a:cubicBezTo>
                  <a:pt x="14250" y="1625"/>
                  <a:pt x="14250" y="1625"/>
                  <a:pt x="14281" y="1656"/>
                </a:cubicBezTo>
                <a:cubicBezTo>
                  <a:pt x="14312" y="1656"/>
                  <a:pt x="14312" y="1688"/>
                  <a:pt x="14375" y="1688"/>
                </a:cubicBezTo>
                <a:cubicBezTo>
                  <a:pt x="14344" y="1656"/>
                  <a:pt x="14375" y="1594"/>
                  <a:pt x="14375" y="1563"/>
                </a:cubicBezTo>
                <a:cubicBezTo>
                  <a:pt x="14375" y="1531"/>
                  <a:pt x="14406" y="1500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375" y="1438"/>
                  <a:pt x="14344" y="1438"/>
                  <a:pt x="14344" y="1406"/>
                </a:cubicBezTo>
                <a:cubicBezTo>
                  <a:pt x="14344" y="1406"/>
                  <a:pt x="14375" y="1406"/>
                  <a:pt x="14375" y="1406"/>
                </a:cubicBezTo>
                <a:cubicBezTo>
                  <a:pt x="14406" y="1406"/>
                  <a:pt x="14406" y="1438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500" y="1500"/>
                  <a:pt x="14531" y="1594"/>
                  <a:pt x="14594" y="1688"/>
                </a:cubicBezTo>
                <a:cubicBezTo>
                  <a:pt x="14594" y="1688"/>
                  <a:pt x="14625" y="1719"/>
                  <a:pt x="14625" y="1719"/>
                </a:cubicBezTo>
                <a:cubicBezTo>
                  <a:pt x="14656" y="1719"/>
                  <a:pt x="14656" y="1750"/>
                  <a:pt x="14656" y="1750"/>
                </a:cubicBezTo>
                <a:cubicBezTo>
                  <a:pt x="14687" y="1813"/>
                  <a:pt x="14719" y="1844"/>
                  <a:pt x="14781" y="1844"/>
                </a:cubicBezTo>
                <a:cubicBezTo>
                  <a:pt x="14875" y="1813"/>
                  <a:pt x="14781" y="1750"/>
                  <a:pt x="14844" y="1688"/>
                </a:cubicBezTo>
                <a:cubicBezTo>
                  <a:pt x="14875" y="1719"/>
                  <a:pt x="14937" y="1781"/>
                  <a:pt x="15000" y="1688"/>
                </a:cubicBezTo>
                <a:cubicBezTo>
                  <a:pt x="15031" y="1656"/>
                  <a:pt x="15062" y="1688"/>
                  <a:pt x="15062" y="1719"/>
                </a:cubicBezTo>
                <a:cubicBezTo>
                  <a:pt x="15062" y="1781"/>
                  <a:pt x="15187" y="1813"/>
                  <a:pt x="15094" y="1906"/>
                </a:cubicBezTo>
                <a:cubicBezTo>
                  <a:pt x="15062" y="1938"/>
                  <a:pt x="15062" y="1938"/>
                  <a:pt x="15062" y="1969"/>
                </a:cubicBezTo>
                <a:cubicBezTo>
                  <a:pt x="15094" y="1969"/>
                  <a:pt x="15125" y="1969"/>
                  <a:pt x="15156" y="1969"/>
                </a:cubicBezTo>
                <a:cubicBezTo>
                  <a:pt x="15156" y="1969"/>
                  <a:pt x="15156" y="1938"/>
                  <a:pt x="15187" y="1938"/>
                </a:cubicBezTo>
                <a:cubicBezTo>
                  <a:pt x="15187" y="1938"/>
                  <a:pt x="15219" y="1938"/>
                  <a:pt x="15250" y="1969"/>
                </a:cubicBezTo>
                <a:cubicBezTo>
                  <a:pt x="15281" y="2000"/>
                  <a:pt x="15250" y="2031"/>
                  <a:pt x="15219" y="2063"/>
                </a:cubicBezTo>
                <a:cubicBezTo>
                  <a:pt x="15094" y="2156"/>
                  <a:pt x="15000" y="2281"/>
                  <a:pt x="15094" y="2469"/>
                </a:cubicBezTo>
                <a:cubicBezTo>
                  <a:pt x="15094" y="2500"/>
                  <a:pt x="15031" y="2531"/>
                  <a:pt x="15000" y="2563"/>
                </a:cubicBezTo>
                <a:cubicBezTo>
                  <a:pt x="15062" y="2594"/>
                  <a:pt x="15062" y="2625"/>
                  <a:pt x="15031" y="2656"/>
                </a:cubicBezTo>
                <a:cubicBezTo>
                  <a:pt x="15156" y="2750"/>
                  <a:pt x="15312" y="2813"/>
                  <a:pt x="15437" y="2844"/>
                </a:cubicBezTo>
                <a:cubicBezTo>
                  <a:pt x="15437" y="2844"/>
                  <a:pt x="15469" y="2875"/>
                  <a:pt x="15469" y="2844"/>
                </a:cubicBezTo>
                <a:cubicBezTo>
                  <a:pt x="15625" y="2719"/>
                  <a:pt x="15625" y="2906"/>
                  <a:pt x="15656" y="2969"/>
                </a:cubicBezTo>
                <a:cubicBezTo>
                  <a:pt x="15719" y="3031"/>
                  <a:pt x="15750" y="3188"/>
                  <a:pt x="15906" y="3156"/>
                </a:cubicBezTo>
                <a:cubicBezTo>
                  <a:pt x="16000" y="3156"/>
                  <a:pt x="16062" y="3219"/>
                  <a:pt x="16094" y="3313"/>
                </a:cubicBezTo>
                <a:cubicBezTo>
                  <a:pt x="16125" y="3375"/>
                  <a:pt x="16156" y="3469"/>
                  <a:pt x="16250" y="3438"/>
                </a:cubicBezTo>
                <a:cubicBezTo>
                  <a:pt x="16344" y="3406"/>
                  <a:pt x="16281" y="3313"/>
                  <a:pt x="16250" y="3219"/>
                </a:cubicBezTo>
                <a:cubicBezTo>
                  <a:pt x="16219" y="3094"/>
                  <a:pt x="16156" y="2969"/>
                  <a:pt x="16094" y="2844"/>
                </a:cubicBezTo>
                <a:cubicBezTo>
                  <a:pt x="16062" y="2750"/>
                  <a:pt x="16000" y="2719"/>
                  <a:pt x="15906" y="2719"/>
                </a:cubicBezTo>
                <a:cubicBezTo>
                  <a:pt x="15844" y="2750"/>
                  <a:pt x="15781" y="2719"/>
                  <a:pt x="15781" y="2625"/>
                </a:cubicBezTo>
                <a:cubicBezTo>
                  <a:pt x="15781" y="2563"/>
                  <a:pt x="15750" y="2563"/>
                  <a:pt x="15719" y="2625"/>
                </a:cubicBezTo>
                <a:cubicBezTo>
                  <a:pt x="15687" y="2625"/>
                  <a:pt x="15656" y="2656"/>
                  <a:pt x="15656" y="2625"/>
                </a:cubicBezTo>
                <a:cubicBezTo>
                  <a:pt x="15656" y="2625"/>
                  <a:pt x="15625" y="2594"/>
                  <a:pt x="15656" y="2594"/>
                </a:cubicBezTo>
                <a:cubicBezTo>
                  <a:pt x="15719" y="2531"/>
                  <a:pt x="15719" y="2438"/>
                  <a:pt x="15812" y="2406"/>
                </a:cubicBezTo>
                <a:cubicBezTo>
                  <a:pt x="15906" y="2375"/>
                  <a:pt x="16000" y="2250"/>
                  <a:pt x="16125" y="2219"/>
                </a:cubicBezTo>
                <a:cubicBezTo>
                  <a:pt x="16187" y="2219"/>
                  <a:pt x="16219" y="2219"/>
                  <a:pt x="16250" y="2250"/>
                </a:cubicBezTo>
                <a:cubicBezTo>
                  <a:pt x="16312" y="2281"/>
                  <a:pt x="16375" y="2313"/>
                  <a:pt x="16469" y="2344"/>
                </a:cubicBezTo>
                <a:cubicBezTo>
                  <a:pt x="16531" y="2375"/>
                  <a:pt x="16594" y="2406"/>
                  <a:pt x="16625" y="2281"/>
                </a:cubicBezTo>
                <a:cubicBezTo>
                  <a:pt x="16625" y="2250"/>
                  <a:pt x="16656" y="2250"/>
                  <a:pt x="16687" y="2281"/>
                </a:cubicBezTo>
                <a:cubicBezTo>
                  <a:pt x="16719" y="2313"/>
                  <a:pt x="16719" y="2313"/>
                  <a:pt x="16750" y="2344"/>
                </a:cubicBezTo>
                <a:cubicBezTo>
                  <a:pt x="16781" y="2406"/>
                  <a:pt x="16781" y="2500"/>
                  <a:pt x="16781" y="2563"/>
                </a:cubicBezTo>
                <a:cubicBezTo>
                  <a:pt x="16781" y="2563"/>
                  <a:pt x="16781" y="2563"/>
                  <a:pt x="16781" y="2563"/>
                </a:cubicBezTo>
                <a:cubicBezTo>
                  <a:pt x="16812" y="2563"/>
                  <a:pt x="16812" y="2563"/>
                  <a:pt x="16812" y="2563"/>
                </a:cubicBezTo>
                <a:cubicBezTo>
                  <a:pt x="16812" y="2563"/>
                  <a:pt x="16844" y="2563"/>
                  <a:pt x="16844" y="2563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625"/>
                  <a:pt x="16844" y="2625"/>
                </a:cubicBezTo>
                <a:cubicBezTo>
                  <a:pt x="16906" y="2656"/>
                  <a:pt x="16937" y="2656"/>
                  <a:pt x="16969" y="2625"/>
                </a:cubicBezTo>
                <a:cubicBezTo>
                  <a:pt x="16969" y="2625"/>
                  <a:pt x="16969" y="2594"/>
                  <a:pt x="16969" y="2563"/>
                </a:cubicBezTo>
                <a:cubicBezTo>
                  <a:pt x="16969" y="2500"/>
                  <a:pt x="16969" y="2438"/>
                  <a:pt x="16937" y="2375"/>
                </a:cubicBezTo>
                <a:cubicBezTo>
                  <a:pt x="16937" y="2375"/>
                  <a:pt x="16906" y="2344"/>
                  <a:pt x="16906" y="2313"/>
                </a:cubicBezTo>
                <a:cubicBezTo>
                  <a:pt x="16906" y="2281"/>
                  <a:pt x="16875" y="2250"/>
                  <a:pt x="16875" y="2250"/>
                </a:cubicBezTo>
                <a:cubicBezTo>
                  <a:pt x="16875" y="2219"/>
                  <a:pt x="16844" y="2219"/>
                  <a:pt x="16844" y="2219"/>
                </a:cubicBezTo>
                <a:cubicBezTo>
                  <a:pt x="16844" y="2188"/>
                  <a:pt x="16844" y="2188"/>
                  <a:pt x="16844" y="2188"/>
                </a:cubicBezTo>
                <a:cubicBezTo>
                  <a:pt x="16812" y="2188"/>
                  <a:pt x="16812" y="2156"/>
                  <a:pt x="16781" y="2156"/>
                </a:cubicBezTo>
                <a:cubicBezTo>
                  <a:pt x="16750" y="2156"/>
                  <a:pt x="16750" y="2156"/>
                  <a:pt x="16750" y="2156"/>
                </a:cubicBezTo>
                <a:cubicBezTo>
                  <a:pt x="16750" y="2156"/>
                  <a:pt x="16719" y="2125"/>
                  <a:pt x="16719" y="2125"/>
                </a:cubicBezTo>
                <a:cubicBezTo>
                  <a:pt x="16719" y="2125"/>
                  <a:pt x="16719" y="2125"/>
                  <a:pt x="16719" y="2094"/>
                </a:cubicBezTo>
                <a:cubicBezTo>
                  <a:pt x="16719" y="2094"/>
                  <a:pt x="16719" y="2094"/>
                  <a:pt x="16687" y="2063"/>
                </a:cubicBezTo>
                <a:cubicBezTo>
                  <a:pt x="16687" y="2063"/>
                  <a:pt x="16687" y="2063"/>
                  <a:pt x="16687" y="2063"/>
                </a:cubicBezTo>
                <a:cubicBezTo>
                  <a:pt x="16687" y="2063"/>
                  <a:pt x="16687" y="2031"/>
                  <a:pt x="16687" y="2031"/>
                </a:cubicBezTo>
                <a:cubicBezTo>
                  <a:pt x="16687" y="2000"/>
                  <a:pt x="16687" y="2000"/>
                  <a:pt x="16687" y="1969"/>
                </a:cubicBezTo>
                <a:cubicBezTo>
                  <a:pt x="16687" y="1969"/>
                  <a:pt x="16656" y="1969"/>
                  <a:pt x="16656" y="1938"/>
                </a:cubicBezTo>
                <a:cubicBezTo>
                  <a:pt x="16656" y="1938"/>
                  <a:pt x="16656" y="1938"/>
                  <a:pt x="16656" y="1938"/>
                </a:cubicBezTo>
                <a:cubicBezTo>
                  <a:pt x="16656" y="1938"/>
                  <a:pt x="16656" y="1906"/>
                  <a:pt x="16656" y="1875"/>
                </a:cubicBezTo>
                <a:cubicBezTo>
                  <a:pt x="16656" y="1875"/>
                  <a:pt x="16656" y="1844"/>
                  <a:pt x="16656" y="1844"/>
                </a:cubicBezTo>
                <a:cubicBezTo>
                  <a:pt x="16656" y="1844"/>
                  <a:pt x="16656" y="1844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25" y="1813"/>
                  <a:pt x="16625" y="1813"/>
                  <a:pt x="16625" y="1813"/>
                </a:cubicBezTo>
                <a:cubicBezTo>
                  <a:pt x="16687" y="1594"/>
                  <a:pt x="16469" y="1563"/>
                  <a:pt x="16375" y="1500"/>
                </a:cubicBezTo>
                <a:cubicBezTo>
                  <a:pt x="16219" y="1469"/>
                  <a:pt x="16094" y="1344"/>
                  <a:pt x="15906" y="1406"/>
                </a:cubicBezTo>
                <a:cubicBezTo>
                  <a:pt x="15875" y="1406"/>
                  <a:pt x="15812" y="1438"/>
                  <a:pt x="15812" y="1375"/>
                </a:cubicBezTo>
                <a:cubicBezTo>
                  <a:pt x="15781" y="1344"/>
                  <a:pt x="15750" y="1250"/>
                  <a:pt x="15781" y="1250"/>
                </a:cubicBezTo>
                <a:cubicBezTo>
                  <a:pt x="15906" y="1156"/>
                  <a:pt x="15844" y="1063"/>
                  <a:pt x="15875" y="969"/>
                </a:cubicBezTo>
                <a:cubicBezTo>
                  <a:pt x="15937" y="1031"/>
                  <a:pt x="15937" y="1125"/>
                  <a:pt x="15969" y="1188"/>
                </a:cubicBezTo>
                <a:cubicBezTo>
                  <a:pt x="16000" y="1219"/>
                  <a:pt x="15937" y="1406"/>
                  <a:pt x="16125" y="1281"/>
                </a:cubicBezTo>
                <a:cubicBezTo>
                  <a:pt x="16156" y="1250"/>
                  <a:pt x="16156" y="1313"/>
                  <a:pt x="16187" y="1344"/>
                </a:cubicBezTo>
                <a:cubicBezTo>
                  <a:pt x="16187" y="1375"/>
                  <a:pt x="16219" y="1375"/>
                  <a:pt x="16250" y="1375"/>
                </a:cubicBezTo>
                <a:cubicBezTo>
                  <a:pt x="16281" y="1375"/>
                  <a:pt x="16281" y="1344"/>
                  <a:pt x="16281" y="1313"/>
                </a:cubicBezTo>
                <a:cubicBezTo>
                  <a:pt x="16281" y="1219"/>
                  <a:pt x="16250" y="1125"/>
                  <a:pt x="16281" y="1031"/>
                </a:cubicBezTo>
                <a:cubicBezTo>
                  <a:pt x="16281" y="1031"/>
                  <a:pt x="16312" y="1031"/>
                  <a:pt x="16312" y="1031"/>
                </a:cubicBezTo>
                <a:cubicBezTo>
                  <a:pt x="16344" y="1063"/>
                  <a:pt x="16344" y="1125"/>
                  <a:pt x="16344" y="1156"/>
                </a:cubicBezTo>
                <a:cubicBezTo>
                  <a:pt x="16375" y="1063"/>
                  <a:pt x="16344" y="969"/>
                  <a:pt x="16344" y="875"/>
                </a:cubicBezTo>
                <a:cubicBezTo>
                  <a:pt x="16344" y="875"/>
                  <a:pt x="16344" y="844"/>
                  <a:pt x="16344" y="813"/>
                </a:cubicBezTo>
                <a:cubicBezTo>
                  <a:pt x="16375" y="750"/>
                  <a:pt x="16406" y="719"/>
                  <a:pt x="16437" y="656"/>
                </a:cubicBezTo>
                <a:cubicBezTo>
                  <a:pt x="16437" y="625"/>
                  <a:pt x="16531" y="531"/>
                  <a:pt x="16594" y="625"/>
                </a:cubicBezTo>
                <a:cubicBezTo>
                  <a:pt x="16656" y="688"/>
                  <a:pt x="16750" y="688"/>
                  <a:pt x="16781" y="750"/>
                </a:cubicBezTo>
                <a:cubicBezTo>
                  <a:pt x="16812" y="813"/>
                  <a:pt x="16906" y="781"/>
                  <a:pt x="16906" y="750"/>
                </a:cubicBezTo>
                <a:cubicBezTo>
                  <a:pt x="16906" y="594"/>
                  <a:pt x="17062" y="688"/>
                  <a:pt x="17094" y="594"/>
                </a:cubicBezTo>
                <a:cubicBezTo>
                  <a:pt x="17094" y="594"/>
                  <a:pt x="17125" y="594"/>
                  <a:pt x="17125" y="594"/>
                </a:cubicBezTo>
                <a:cubicBezTo>
                  <a:pt x="17219" y="719"/>
                  <a:pt x="17250" y="688"/>
                  <a:pt x="17281" y="563"/>
                </a:cubicBezTo>
                <a:cubicBezTo>
                  <a:pt x="17281" y="563"/>
                  <a:pt x="17312" y="531"/>
                  <a:pt x="17312" y="531"/>
                </a:cubicBezTo>
                <a:cubicBezTo>
                  <a:pt x="17344" y="563"/>
                  <a:pt x="17344" y="563"/>
                  <a:pt x="17344" y="594"/>
                </a:cubicBezTo>
                <a:cubicBezTo>
                  <a:pt x="17281" y="688"/>
                  <a:pt x="17344" y="781"/>
                  <a:pt x="17406" y="844"/>
                </a:cubicBezTo>
                <a:cubicBezTo>
                  <a:pt x="17437" y="875"/>
                  <a:pt x="17437" y="906"/>
                  <a:pt x="17437" y="938"/>
                </a:cubicBezTo>
                <a:cubicBezTo>
                  <a:pt x="17406" y="969"/>
                  <a:pt x="17437" y="1000"/>
                  <a:pt x="17469" y="1031"/>
                </a:cubicBezTo>
                <a:cubicBezTo>
                  <a:pt x="17625" y="1094"/>
                  <a:pt x="17625" y="1219"/>
                  <a:pt x="17500" y="1344"/>
                </a:cubicBezTo>
                <a:cubicBezTo>
                  <a:pt x="17469" y="1406"/>
                  <a:pt x="17469" y="1438"/>
                  <a:pt x="17469" y="1469"/>
                </a:cubicBezTo>
                <a:cubicBezTo>
                  <a:pt x="17469" y="1625"/>
                  <a:pt x="17531" y="1750"/>
                  <a:pt x="17594" y="1875"/>
                </a:cubicBezTo>
                <a:cubicBezTo>
                  <a:pt x="17625" y="1969"/>
                  <a:pt x="17719" y="1969"/>
                  <a:pt x="17781" y="1938"/>
                </a:cubicBezTo>
                <a:cubicBezTo>
                  <a:pt x="17875" y="1813"/>
                  <a:pt x="18000" y="1844"/>
                  <a:pt x="18094" y="1813"/>
                </a:cubicBezTo>
                <a:cubicBezTo>
                  <a:pt x="18156" y="1813"/>
                  <a:pt x="18219" y="1813"/>
                  <a:pt x="18281" y="1781"/>
                </a:cubicBezTo>
                <a:cubicBezTo>
                  <a:pt x="18344" y="1750"/>
                  <a:pt x="18406" y="1719"/>
                  <a:pt x="18469" y="1813"/>
                </a:cubicBezTo>
                <a:cubicBezTo>
                  <a:pt x="18469" y="1844"/>
                  <a:pt x="18531" y="1875"/>
                  <a:pt x="18594" y="1844"/>
                </a:cubicBezTo>
                <a:cubicBezTo>
                  <a:pt x="18625" y="1844"/>
                  <a:pt x="18656" y="1813"/>
                  <a:pt x="18687" y="1781"/>
                </a:cubicBezTo>
                <a:cubicBezTo>
                  <a:pt x="18750" y="1750"/>
                  <a:pt x="18844" y="1719"/>
                  <a:pt x="18875" y="1656"/>
                </a:cubicBezTo>
                <a:cubicBezTo>
                  <a:pt x="18969" y="1531"/>
                  <a:pt x="19000" y="1688"/>
                  <a:pt x="19062" y="1719"/>
                </a:cubicBezTo>
                <a:cubicBezTo>
                  <a:pt x="19125" y="1750"/>
                  <a:pt x="19187" y="1750"/>
                  <a:pt x="19250" y="1813"/>
                </a:cubicBezTo>
                <a:cubicBezTo>
                  <a:pt x="19312" y="1875"/>
                  <a:pt x="19437" y="1875"/>
                  <a:pt x="19500" y="1938"/>
                </a:cubicBezTo>
                <a:cubicBezTo>
                  <a:pt x="19500" y="1969"/>
                  <a:pt x="19531" y="1969"/>
                  <a:pt x="19562" y="2000"/>
                </a:cubicBezTo>
                <a:cubicBezTo>
                  <a:pt x="19562" y="2031"/>
                  <a:pt x="19594" y="2094"/>
                  <a:pt x="19625" y="2063"/>
                </a:cubicBezTo>
                <a:cubicBezTo>
                  <a:pt x="19656" y="2031"/>
                  <a:pt x="19750" y="1938"/>
                  <a:pt x="19656" y="1875"/>
                </a:cubicBezTo>
                <a:cubicBezTo>
                  <a:pt x="19562" y="1781"/>
                  <a:pt x="19469" y="1719"/>
                  <a:pt x="19406" y="1594"/>
                </a:cubicBezTo>
                <a:cubicBezTo>
                  <a:pt x="19375" y="1531"/>
                  <a:pt x="19281" y="1469"/>
                  <a:pt x="19187" y="1469"/>
                </a:cubicBezTo>
                <a:cubicBezTo>
                  <a:pt x="19219" y="1375"/>
                  <a:pt x="19219" y="1375"/>
                  <a:pt x="19156" y="1156"/>
                </a:cubicBezTo>
                <a:cubicBezTo>
                  <a:pt x="19406" y="1375"/>
                  <a:pt x="19594" y="1594"/>
                  <a:pt x="19812" y="1781"/>
                </a:cubicBezTo>
                <a:cubicBezTo>
                  <a:pt x="20000" y="2000"/>
                  <a:pt x="20219" y="2188"/>
                  <a:pt x="20500" y="2313"/>
                </a:cubicBezTo>
                <a:cubicBezTo>
                  <a:pt x="20437" y="2344"/>
                  <a:pt x="20406" y="2344"/>
                  <a:pt x="20375" y="2313"/>
                </a:cubicBezTo>
                <a:cubicBezTo>
                  <a:pt x="20281" y="2250"/>
                  <a:pt x="20219" y="2250"/>
                  <a:pt x="20125" y="2344"/>
                </a:cubicBezTo>
                <a:cubicBezTo>
                  <a:pt x="20062" y="2438"/>
                  <a:pt x="20000" y="2281"/>
                  <a:pt x="19906" y="2313"/>
                </a:cubicBezTo>
                <a:cubicBezTo>
                  <a:pt x="19844" y="2313"/>
                  <a:pt x="19875" y="2250"/>
                  <a:pt x="19875" y="2219"/>
                </a:cubicBezTo>
                <a:cubicBezTo>
                  <a:pt x="19875" y="2188"/>
                  <a:pt x="19875" y="2156"/>
                  <a:pt x="19844" y="2156"/>
                </a:cubicBezTo>
                <a:cubicBezTo>
                  <a:pt x="19812" y="2156"/>
                  <a:pt x="19781" y="2156"/>
                  <a:pt x="19781" y="2219"/>
                </a:cubicBezTo>
                <a:cubicBezTo>
                  <a:pt x="19781" y="2250"/>
                  <a:pt x="19750" y="2281"/>
                  <a:pt x="19719" y="2313"/>
                </a:cubicBezTo>
                <a:cubicBezTo>
                  <a:pt x="19656" y="2375"/>
                  <a:pt x="19625" y="2469"/>
                  <a:pt x="19750" y="2500"/>
                </a:cubicBezTo>
                <a:cubicBezTo>
                  <a:pt x="19781" y="2500"/>
                  <a:pt x="19781" y="2500"/>
                  <a:pt x="19812" y="2531"/>
                </a:cubicBezTo>
                <a:cubicBezTo>
                  <a:pt x="19719" y="2563"/>
                  <a:pt x="19844" y="2688"/>
                  <a:pt x="19687" y="2750"/>
                </a:cubicBezTo>
                <a:cubicBezTo>
                  <a:pt x="19656" y="2750"/>
                  <a:pt x="19594" y="2813"/>
                  <a:pt x="19562" y="2875"/>
                </a:cubicBezTo>
                <a:cubicBezTo>
                  <a:pt x="19406" y="3000"/>
                  <a:pt x="19406" y="3000"/>
                  <a:pt x="19562" y="3125"/>
                </a:cubicBezTo>
                <a:cubicBezTo>
                  <a:pt x="19594" y="3125"/>
                  <a:pt x="19625" y="3156"/>
                  <a:pt x="19656" y="3156"/>
                </a:cubicBezTo>
                <a:cubicBezTo>
                  <a:pt x="19594" y="3219"/>
                  <a:pt x="19531" y="3219"/>
                  <a:pt x="19500" y="3281"/>
                </a:cubicBezTo>
                <a:cubicBezTo>
                  <a:pt x="19531" y="3344"/>
                  <a:pt x="19594" y="3313"/>
                  <a:pt x="19625" y="3281"/>
                </a:cubicBezTo>
                <a:cubicBezTo>
                  <a:pt x="19750" y="3125"/>
                  <a:pt x="20000" y="3188"/>
                  <a:pt x="20156" y="3094"/>
                </a:cubicBezTo>
                <a:cubicBezTo>
                  <a:pt x="20250" y="3031"/>
                  <a:pt x="20500" y="3125"/>
                  <a:pt x="20562" y="3188"/>
                </a:cubicBezTo>
                <a:cubicBezTo>
                  <a:pt x="20594" y="3219"/>
                  <a:pt x="20625" y="3281"/>
                  <a:pt x="20719" y="3250"/>
                </a:cubicBezTo>
                <a:cubicBezTo>
                  <a:pt x="20719" y="3250"/>
                  <a:pt x="20719" y="3250"/>
                  <a:pt x="20750" y="3281"/>
                </a:cubicBezTo>
                <a:cubicBezTo>
                  <a:pt x="20750" y="3281"/>
                  <a:pt x="20750" y="3281"/>
                  <a:pt x="20750" y="3281"/>
                </a:cubicBezTo>
                <a:cubicBezTo>
                  <a:pt x="20781" y="3313"/>
                  <a:pt x="20781" y="3313"/>
                  <a:pt x="20781" y="3313"/>
                </a:cubicBezTo>
                <a:cubicBezTo>
                  <a:pt x="20781" y="3344"/>
                  <a:pt x="20781" y="3344"/>
                  <a:pt x="20781" y="3344"/>
                </a:cubicBezTo>
                <a:cubicBezTo>
                  <a:pt x="20781" y="3344"/>
                  <a:pt x="20812" y="3375"/>
                  <a:pt x="20812" y="3375"/>
                </a:cubicBezTo>
                <a:cubicBezTo>
                  <a:pt x="20812" y="3375"/>
                  <a:pt x="20812" y="3375"/>
                  <a:pt x="20812" y="3375"/>
                </a:cubicBezTo>
                <a:cubicBezTo>
                  <a:pt x="20812" y="3375"/>
                  <a:pt x="20844" y="3375"/>
                  <a:pt x="20875" y="3375"/>
                </a:cubicBezTo>
                <a:cubicBezTo>
                  <a:pt x="20875" y="3344"/>
                  <a:pt x="20875" y="3281"/>
                  <a:pt x="20906" y="3281"/>
                </a:cubicBezTo>
                <a:cubicBezTo>
                  <a:pt x="20906" y="3281"/>
                  <a:pt x="20906" y="3281"/>
                  <a:pt x="20906" y="3313"/>
                </a:cubicBezTo>
                <a:cubicBezTo>
                  <a:pt x="20969" y="3313"/>
                  <a:pt x="20969" y="3406"/>
                  <a:pt x="20969" y="3438"/>
                </a:cubicBezTo>
                <a:cubicBezTo>
                  <a:pt x="20969" y="3438"/>
                  <a:pt x="20969" y="3438"/>
                  <a:pt x="20969" y="3438"/>
                </a:cubicBezTo>
                <a:cubicBezTo>
                  <a:pt x="21000" y="3438"/>
                  <a:pt x="21000" y="3438"/>
                  <a:pt x="21000" y="3438"/>
                </a:cubicBezTo>
                <a:cubicBezTo>
                  <a:pt x="21000" y="3438"/>
                  <a:pt x="21031" y="3406"/>
                  <a:pt x="21031" y="3406"/>
                </a:cubicBezTo>
                <a:cubicBezTo>
                  <a:pt x="21031" y="3406"/>
                  <a:pt x="21062" y="3406"/>
                  <a:pt x="21062" y="3406"/>
                </a:cubicBezTo>
                <a:cubicBezTo>
                  <a:pt x="21094" y="3406"/>
                  <a:pt x="21062" y="3438"/>
                  <a:pt x="21031" y="3438"/>
                </a:cubicBezTo>
                <a:cubicBezTo>
                  <a:pt x="21031" y="3469"/>
                  <a:pt x="21031" y="3500"/>
                  <a:pt x="21031" y="3531"/>
                </a:cubicBezTo>
                <a:cubicBezTo>
                  <a:pt x="21094" y="3469"/>
                  <a:pt x="21156" y="3438"/>
                  <a:pt x="21156" y="3594"/>
                </a:cubicBezTo>
                <a:cubicBezTo>
                  <a:pt x="21156" y="3625"/>
                  <a:pt x="21187" y="3688"/>
                  <a:pt x="21250" y="3656"/>
                </a:cubicBezTo>
                <a:cubicBezTo>
                  <a:pt x="21344" y="3594"/>
                  <a:pt x="21344" y="3719"/>
                  <a:pt x="21406" y="3719"/>
                </a:cubicBezTo>
                <a:cubicBezTo>
                  <a:pt x="21437" y="3875"/>
                  <a:pt x="21469" y="3750"/>
                  <a:pt x="21531" y="3719"/>
                </a:cubicBezTo>
                <a:cubicBezTo>
                  <a:pt x="21531" y="3719"/>
                  <a:pt x="21562" y="3688"/>
                  <a:pt x="21562" y="3688"/>
                </a:cubicBezTo>
                <a:cubicBezTo>
                  <a:pt x="21594" y="3656"/>
                  <a:pt x="21594" y="3625"/>
                  <a:pt x="21625" y="3656"/>
                </a:cubicBezTo>
                <a:cubicBezTo>
                  <a:pt x="21625" y="3656"/>
                  <a:pt x="21656" y="3688"/>
                  <a:pt x="21625" y="3688"/>
                </a:cubicBezTo>
                <a:cubicBezTo>
                  <a:pt x="21594" y="3813"/>
                  <a:pt x="21719" y="3969"/>
                  <a:pt x="21531" y="4063"/>
                </a:cubicBezTo>
                <a:cubicBezTo>
                  <a:pt x="21500" y="4063"/>
                  <a:pt x="21500" y="4094"/>
                  <a:pt x="21500" y="4156"/>
                </a:cubicBezTo>
                <a:cubicBezTo>
                  <a:pt x="21469" y="4281"/>
                  <a:pt x="21437" y="4438"/>
                  <a:pt x="21406" y="4594"/>
                </a:cubicBezTo>
                <a:cubicBezTo>
                  <a:pt x="21406" y="4656"/>
                  <a:pt x="21406" y="4719"/>
                  <a:pt x="21469" y="4781"/>
                </a:cubicBezTo>
                <a:cubicBezTo>
                  <a:pt x="21500" y="4844"/>
                  <a:pt x="21531" y="4813"/>
                  <a:pt x="21594" y="4781"/>
                </a:cubicBezTo>
                <a:cubicBezTo>
                  <a:pt x="21687" y="4750"/>
                  <a:pt x="21687" y="4875"/>
                  <a:pt x="21719" y="4906"/>
                </a:cubicBezTo>
                <a:cubicBezTo>
                  <a:pt x="21719" y="4875"/>
                  <a:pt x="21719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906"/>
                  <a:pt x="21750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38"/>
                  <a:pt x="21719" y="4969"/>
                  <a:pt x="21719" y="5031"/>
                </a:cubicBezTo>
                <a:cubicBezTo>
                  <a:pt x="21687" y="5125"/>
                  <a:pt x="21625" y="5156"/>
                  <a:pt x="21562" y="5031"/>
                </a:cubicBezTo>
                <a:cubicBezTo>
                  <a:pt x="21531" y="5031"/>
                  <a:pt x="21531" y="5031"/>
                  <a:pt x="21531" y="5031"/>
                </a:cubicBezTo>
                <a:cubicBezTo>
                  <a:pt x="21531" y="5031"/>
                  <a:pt x="21531" y="5031"/>
                  <a:pt x="21500" y="5031"/>
                </a:cubicBezTo>
                <a:cubicBezTo>
                  <a:pt x="21500" y="5031"/>
                  <a:pt x="21500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531" y="5094"/>
                  <a:pt x="21562" y="5125"/>
                  <a:pt x="21562" y="5156"/>
                </a:cubicBezTo>
                <a:cubicBezTo>
                  <a:pt x="21594" y="5188"/>
                  <a:pt x="21594" y="5188"/>
                  <a:pt x="21594" y="5250"/>
                </a:cubicBezTo>
                <a:cubicBezTo>
                  <a:pt x="21594" y="5250"/>
                  <a:pt x="21594" y="5281"/>
                  <a:pt x="21625" y="5281"/>
                </a:cubicBezTo>
                <a:cubicBezTo>
                  <a:pt x="21625" y="5313"/>
                  <a:pt x="21656" y="5313"/>
                  <a:pt x="21656" y="5313"/>
                </a:cubicBezTo>
                <a:cubicBezTo>
                  <a:pt x="21687" y="5250"/>
                  <a:pt x="21719" y="5219"/>
                  <a:pt x="21781" y="5250"/>
                </a:cubicBezTo>
                <a:cubicBezTo>
                  <a:pt x="21812" y="5281"/>
                  <a:pt x="21844" y="5250"/>
                  <a:pt x="21875" y="5219"/>
                </a:cubicBezTo>
                <a:cubicBezTo>
                  <a:pt x="21937" y="5125"/>
                  <a:pt x="22094" y="5156"/>
                  <a:pt x="22125" y="5000"/>
                </a:cubicBezTo>
                <a:cubicBezTo>
                  <a:pt x="22125" y="4969"/>
                  <a:pt x="22187" y="5000"/>
                  <a:pt x="22219" y="5000"/>
                </a:cubicBezTo>
                <a:cubicBezTo>
                  <a:pt x="22250" y="5000"/>
                  <a:pt x="22281" y="4969"/>
                  <a:pt x="22281" y="4906"/>
                </a:cubicBezTo>
                <a:cubicBezTo>
                  <a:pt x="22250" y="4906"/>
                  <a:pt x="22250" y="4875"/>
                  <a:pt x="22281" y="4875"/>
                </a:cubicBezTo>
                <a:cubicBezTo>
                  <a:pt x="22281" y="4875"/>
                  <a:pt x="22281" y="4844"/>
                  <a:pt x="22281" y="4875"/>
                </a:cubicBezTo>
                <a:cubicBezTo>
                  <a:pt x="22312" y="4875"/>
                  <a:pt x="22312" y="4875"/>
                  <a:pt x="22312" y="4906"/>
                </a:cubicBezTo>
                <a:cubicBezTo>
                  <a:pt x="22312" y="4875"/>
                  <a:pt x="22312" y="4875"/>
                  <a:pt x="22312" y="4844"/>
                </a:cubicBezTo>
                <a:cubicBezTo>
                  <a:pt x="22344" y="4844"/>
                  <a:pt x="22344" y="4813"/>
                  <a:pt x="22375" y="4844"/>
                </a:cubicBezTo>
                <a:cubicBezTo>
                  <a:pt x="22375" y="4844"/>
                  <a:pt x="22375" y="4844"/>
                  <a:pt x="22406" y="4844"/>
                </a:cubicBezTo>
                <a:cubicBezTo>
                  <a:pt x="22469" y="4906"/>
                  <a:pt x="22469" y="4844"/>
                  <a:pt x="22469" y="4781"/>
                </a:cubicBezTo>
                <a:cubicBezTo>
                  <a:pt x="22469" y="4719"/>
                  <a:pt x="22437" y="4625"/>
                  <a:pt x="22437" y="4531"/>
                </a:cubicBezTo>
                <a:cubicBezTo>
                  <a:pt x="22500" y="4563"/>
                  <a:pt x="22562" y="4656"/>
                  <a:pt x="22625" y="4625"/>
                </a:cubicBezTo>
                <a:cubicBezTo>
                  <a:pt x="22625" y="4531"/>
                  <a:pt x="22625" y="4438"/>
                  <a:pt x="22625" y="4344"/>
                </a:cubicBezTo>
                <a:cubicBezTo>
                  <a:pt x="22625" y="4313"/>
                  <a:pt x="22625" y="4250"/>
                  <a:pt x="22687" y="4250"/>
                </a:cubicBezTo>
                <a:cubicBezTo>
                  <a:pt x="22812" y="4281"/>
                  <a:pt x="22812" y="4188"/>
                  <a:pt x="22781" y="4094"/>
                </a:cubicBezTo>
                <a:cubicBezTo>
                  <a:pt x="22781" y="4063"/>
                  <a:pt x="22781" y="4031"/>
                  <a:pt x="22781" y="3969"/>
                </a:cubicBezTo>
                <a:cubicBezTo>
                  <a:pt x="22875" y="4063"/>
                  <a:pt x="22906" y="4094"/>
                  <a:pt x="22969" y="4156"/>
                </a:cubicBezTo>
                <a:cubicBezTo>
                  <a:pt x="23000" y="4094"/>
                  <a:pt x="23000" y="4031"/>
                  <a:pt x="22969" y="3969"/>
                </a:cubicBezTo>
                <a:cubicBezTo>
                  <a:pt x="23000" y="4000"/>
                  <a:pt x="23062" y="4063"/>
                  <a:pt x="23094" y="4125"/>
                </a:cubicBezTo>
                <a:cubicBezTo>
                  <a:pt x="23094" y="4125"/>
                  <a:pt x="23094" y="4125"/>
                  <a:pt x="23094" y="4125"/>
                </a:cubicBezTo>
                <a:cubicBezTo>
                  <a:pt x="23094" y="4094"/>
                  <a:pt x="23125" y="4094"/>
                  <a:pt x="23125" y="4094"/>
                </a:cubicBezTo>
                <a:cubicBezTo>
                  <a:pt x="23125" y="4094"/>
                  <a:pt x="23125" y="4063"/>
                  <a:pt x="23125" y="4063"/>
                </a:cubicBezTo>
                <a:cubicBezTo>
                  <a:pt x="23125" y="4063"/>
                  <a:pt x="23125" y="4063"/>
                  <a:pt x="23125" y="4031"/>
                </a:cubicBezTo>
                <a:cubicBezTo>
                  <a:pt x="23125" y="4031"/>
                  <a:pt x="23094" y="4000"/>
                  <a:pt x="23125" y="3969"/>
                </a:cubicBezTo>
                <a:cubicBezTo>
                  <a:pt x="23187" y="4031"/>
                  <a:pt x="23187" y="4125"/>
                  <a:pt x="23250" y="4156"/>
                </a:cubicBezTo>
                <a:cubicBezTo>
                  <a:pt x="23250" y="4188"/>
                  <a:pt x="23281" y="4219"/>
                  <a:pt x="23312" y="4188"/>
                </a:cubicBezTo>
                <a:cubicBezTo>
                  <a:pt x="23375" y="4188"/>
                  <a:pt x="23344" y="4156"/>
                  <a:pt x="23312" y="4125"/>
                </a:cubicBezTo>
                <a:cubicBezTo>
                  <a:pt x="23281" y="4063"/>
                  <a:pt x="23250" y="3969"/>
                  <a:pt x="23250" y="3875"/>
                </a:cubicBezTo>
                <a:cubicBezTo>
                  <a:pt x="23281" y="3906"/>
                  <a:pt x="23312" y="3938"/>
                  <a:pt x="23375" y="3938"/>
                </a:cubicBezTo>
                <a:cubicBezTo>
                  <a:pt x="23375" y="3938"/>
                  <a:pt x="23375" y="3938"/>
                  <a:pt x="23375" y="3906"/>
                </a:cubicBezTo>
                <a:cubicBezTo>
                  <a:pt x="23375" y="3906"/>
                  <a:pt x="23375" y="3906"/>
                  <a:pt x="23375" y="3906"/>
                </a:cubicBezTo>
                <a:cubicBezTo>
                  <a:pt x="23375" y="3875"/>
                  <a:pt x="23312" y="3844"/>
                  <a:pt x="23312" y="3813"/>
                </a:cubicBezTo>
                <a:cubicBezTo>
                  <a:pt x="23312" y="3781"/>
                  <a:pt x="23344" y="3781"/>
                  <a:pt x="23344" y="3750"/>
                </a:cubicBezTo>
                <a:cubicBezTo>
                  <a:pt x="23406" y="3813"/>
                  <a:pt x="23469" y="3875"/>
                  <a:pt x="23500" y="3938"/>
                </a:cubicBezTo>
                <a:cubicBezTo>
                  <a:pt x="23500" y="3969"/>
                  <a:pt x="23531" y="3969"/>
                  <a:pt x="23531" y="3969"/>
                </a:cubicBezTo>
                <a:cubicBezTo>
                  <a:pt x="23531" y="4000"/>
                  <a:pt x="23531" y="4000"/>
                  <a:pt x="23531" y="4000"/>
                </a:cubicBezTo>
                <a:cubicBezTo>
                  <a:pt x="23531" y="4000"/>
                  <a:pt x="23562" y="4000"/>
                  <a:pt x="23562" y="4000"/>
                </a:cubicBezTo>
                <a:cubicBezTo>
                  <a:pt x="23562" y="3969"/>
                  <a:pt x="23562" y="3969"/>
                  <a:pt x="23562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38"/>
                  <a:pt x="23594" y="3906"/>
                  <a:pt x="23594" y="3875"/>
                </a:cubicBezTo>
                <a:cubicBezTo>
                  <a:pt x="23562" y="3875"/>
                  <a:pt x="23531" y="3844"/>
                  <a:pt x="23531" y="3813"/>
                </a:cubicBezTo>
                <a:cubicBezTo>
                  <a:pt x="23531" y="3813"/>
                  <a:pt x="23562" y="3813"/>
                  <a:pt x="23562" y="3813"/>
                </a:cubicBezTo>
                <a:cubicBezTo>
                  <a:pt x="23594" y="3813"/>
                  <a:pt x="23594" y="3844"/>
                  <a:pt x="23594" y="3875"/>
                </a:cubicBezTo>
                <a:cubicBezTo>
                  <a:pt x="23594" y="3875"/>
                  <a:pt x="23594" y="3875"/>
                  <a:pt x="23594" y="3875"/>
                </a:cubicBezTo>
                <a:cubicBezTo>
                  <a:pt x="23656" y="3875"/>
                  <a:pt x="23656" y="3906"/>
                  <a:pt x="23687" y="3938"/>
                </a:cubicBezTo>
                <a:cubicBezTo>
                  <a:pt x="23687" y="3938"/>
                  <a:pt x="23687" y="3938"/>
                  <a:pt x="23687" y="3938"/>
                </a:cubicBezTo>
                <a:cubicBezTo>
                  <a:pt x="23719" y="3969"/>
                  <a:pt x="23719" y="3969"/>
                  <a:pt x="23750" y="4000"/>
                </a:cubicBezTo>
                <a:cubicBezTo>
                  <a:pt x="23750" y="4000"/>
                  <a:pt x="23750" y="4031"/>
                  <a:pt x="23781" y="4000"/>
                </a:cubicBezTo>
                <a:cubicBezTo>
                  <a:pt x="23812" y="3969"/>
                  <a:pt x="23812" y="3969"/>
                  <a:pt x="23781" y="3938"/>
                </a:cubicBezTo>
                <a:cubicBezTo>
                  <a:pt x="23750" y="3938"/>
                  <a:pt x="23719" y="3906"/>
                  <a:pt x="23750" y="3875"/>
                </a:cubicBezTo>
                <a:cubicBezTo>
                  <a:pt x="23781" y="3875"/>
                  <a:pt x="23812" y="3875"/>
                  <a:pt x="23812" y="3875"/>
                </a:cubicBezTo>
                <a:cubicBezTo>
                  <a:pt x="23812" y="3906"/>
                  <a:pt x="23844" y="3906"/>
                  <a:pt x="23844" y="3906"/>
                </a:cubicBezTo>
                <a:cubicBezTo>
                  <a:pt x="23906" y="3938"/>
                  <a:pt x="23937" y="3875"/>
                  <a:pt x="23969" y="3875"/>
                </a:cubicBezTo>
                <a:cubicBezTo>
                  <a:pt x="23969" y="3844"/>
                  <a:pt x="23906" y="3813"/>
                  <a:pt x="23906" y="3781"/>
                </a:cubicBezTo>
                <a:cubicBezTo>
                  <a:pt x="23906" y="3781"/>
                  <a:pt x="23906" y="3750"/>
                  <a:pt x="23906" y="3750"/>
                </a:cubicBezTo>
                <a:cubicBezTo>
                  <a:pt x="23906" y="3750"/>
                  <a:pt x="23906" y="3750"/>
                  <a:pt x="23906" y="3781"/>
                </a:cubicBezTo>
                <a:cubicBezTo>
                  <a:pt x="23906" y="3781"/>
                  <a:pt x="23906" y="3781"/>
                  <a:pt x="23906" y="3781"/>
                </a:cubicBezTo>
                <a:cubicBezTo>
                  <a:pt x="23969" y="3750"/>
                  <a:pt x="24000" y="3781"/>
                  <a:pt x="24031" y="3781"/>
                </a:cubicBezTo>
                <a:cubicBezTo>
                  <a:pt x="24062" y="3781"/>
                  <a:pt x="24062" y="3813"/>
                  <a:pt x="24094" y="3781"/>
                </a:cubicBezTo>
                <a:cubicBezTo>
                  <a:pt x="24031" y="3750"/>
                  <a:pt x="23969" y="3688"/>
                  <a:pt x="24000" y="3625"/>
                </a:cubicBezTo>
                <a:cubicBezTo>
                  <a:pt x="23969" y="3625"/>
                  <a:pt x="23906" y="3625"/>
                  <a:pt x="23937" y="3563"/>
                </a:cubicBezTo>
                <a:cubicBezTo>
                  <a:pt x="23937" y="3563"/>
                  <a:pt x="23969" y="3563"/>
                  <a:pt x="23969" y="3563"/>
                </a:cubicBezTo>
                <a:cubicBezTo>
                  <a:pt x="23969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31"/>
                  <a:pt x="24000" y="3531"/>
                  <a:pt x="24000" y="3531"/>
                </a:cubicBezTo>
                <a:cubicBezTo>
                  <a:pt x="23969" y="3469"/>
                  <a:pt x="23906" y="3469"/>
                  <a:pt x="23875" y="3438"/>
                </a:cubicBezTo>
                <a:cubicBezTo>
                  <a:pt x="23875" y="3406"/>
                  <a:pt x="23844" y="3406"/>
                  <a:pt x="23844" y="3375"/>
                </a:cubicBezTo>
                <a:cubicBezTo>
                  <a:pt x="23937" y="3344"/>
                  <a:pt x="24031" y="3406"/>
                  <a:pt x="24125" y="3406"/>
                </a:cubicBezTo>
                <a:cubicBezTo>
                  <a:pt x="24062" y="3375"/>
                  <a:pt x="24000" y="3344"/>
                  <a:pt x="23969" y="3313"/>
                </a:cubicBezTo>
                <a:cubicBezTo>
                  <a:pt x="23937" y="3281"/>
                  <a:pt x="23844" y="3281"/>
                  <a:pt x="23875" y="3219"/>
                </a:cubicBezTo>
                <a:cubicBezTo>
                  <a:pt x="23875" y="3219"/>
                  <a:pt x="23875" y="3219"/>
                  <a:pt x="23906" y="3188"/>
                </a:cubicBezTo>
                <a:cubicBezTo>
                  <a:pt x="23906" y="3188"/>
                  <a:pt x="23906" y="3188"/>
                  <a:pt x="23906" y="3188"/>
                </a:cubicBezTo>
                <a:cubicBezTo>
                  <a:pt x="23937" y="3188"/>
                  <a:pt x="23969" y="3219"/>
                  <a:pt x="24000" y="3219"/>
                </a:cubicBezTo>
                <a:cubicBezTo>
                  <a:pt x="24000" y="3156"/>
                  <a:pt x="23906" y="3156"/>
                  <a:pt x="23875" y="3094"/>
                </a:cubicBezTo>
                <a:cubicBezTo>
                  <a:pt x="23906" y="3031"/>
                  <a:pt x="23969" y="3094"/>
                  <a:pt x="24031" y="3063"/>
                </a:cubicBezTo>
                <a:cubicBezTo>
                  <a:pt x="23969" y="3031"/>
                  <a:pt x="23906" y="3063"/>
                  <a:pt x="23906" y="3000"/>
                </a:cubicBezTo>
                <a:cubicBezTo>
                  <a:pt x="23906" y="3000"/>
                  <a:pt x="23906" y="2969"/>
                  <a:pt x="23906" y="2969"/>
                </a:cubicBezTo>
                <a:cubicBezTo>
                  <a:pt x="23906" y="2969"/>
                  <a:pt x="23906" y="2969"/>
                  <a:pt x="23937" y="2969"/>
                </a:cubicBezTo>
                <a:cubicBezTo>
                  <a:pt x="23937" y="2969"/>
                  <a:pt x="23937" y="2969"/>
                  <a:pt x="23937" y="2969"/>
                </a:cubicBezTo>
                <a:cubicBezTo>
                  <a:pt x="23937" y="2969"/>
                  <a:pt x="23969" y="2969"/>
                  <a:pt x="24000" y="2969"/>
                </a:cubicBezTo>
                <a:cubicBezTo>
                  <a:pt x="24000" y="2938"/>
                  <a:pt x="24000" y="2938"/>
                  <a:pt x="24031" y="2938"/>
                </a:cubicBezTo>
                <a:cubicBezTo>
                  <a:pt x="24031" y="2938"/>
                  <a:pt x="24031" y="2938"/>
                  <a:pt x="24031" y="2938"/>
                </a:cubicBezTo>
                <a:cubicBezTo>
                  <a:pt x="23969" y="2906"/>
                  <a:pt x="23937" y="2906"/>
                  <a:pt x="23969" y="2813"/>
                </a:cubicBezTo>
                <a:cubicBezTo>
                  <a:pt x="24000" y="2688"/>
                  <a:pt x="24000" y="2531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375"/>
                  <a:pt x="24000" y="2344"/>
                  <a:pt x="24000" y="2344"/>
                </a:cubicBezTo>
                <a:cubicBezTo>
                  <a:pt x="24000" y="2281"/>
                  <a:pt x="24000" y="2250"/>
                  <a:pt x="24000" y="2188"/>
                </a:cubicBezTo>
                <a:cubicBezTo>
                  <a:pt x="24000" y="2188"/>
                  <a:pt x="24000" y="2156"/>
                  <a:pt x="24000" y="2156"/>
                </a:cubicBezTo>
                <a:cubicBezTo>
                  <a:pt x="24000" y="2125"/>
                  <a:pt x="24000" y="2094"/>
                  <a:pt x="24031" y="2094"/>
                </a:cubicBezTo>
                <a:cubicBezTo>
                  <a:pt x="24000" y="2063"/>
                  <a:pt x="24000" y="2031"/>
                  <a:pt x="24000" y="2031"/>
                </a:cubicBezTo>
                <a:cubicBezTo>
                  <a:pt x="24000" y="2000"/>
                  <a:pt x="24000" y="1969"/>
                  <a:pt x="24031" y="1969"/>
                </a:cubicBezTo>
                <a:cubicBezTo>
                  <a:pt x="24031" y="1938"/>
                  <a:pt x="24031" y="1875"/>
                  <a:pt x="24000" y="1844"/>
                </a:cubicBezTo>
                <a:cubicBezTo>
                  <a:pt x="24000" y="1781"/>
                  <a:pt x="24000" y="1688"/>
                  <a:pt x="24000" y="1625"/>
                </a:cubicBezTo>
                <a:cubicBezTo>
                  <a:pt x="24031" y="1531"/>
                  <a:pt x="24062" y="1406"/>
                  <a:pt x="24094" y="1313"/>
                </a:cubicBezTo>
                <a:cubicBezTo>
                  <a:pt x="24125" y="1250"/>
                  <a:pt x="24125" y="1188"/>
                  <a:pt x="24156" y="1125"/>
                </a:cubicBezTo>
                <a:cubicBezTo>
                  <a:pt x="24187" y="1094"/>
                  <a:pt x="24187" y="1063"/>
                  <a:pt x="24187" y="1031"/>
                </a:cubicBezTo>
                <a:cubicBezTo>
                  <a:pt x="24187" y="1031"/>
                  <a:pt x="24156" y="1031"/>
                  <a:pt x="24187" y="1031"/>
                </a:cubicBezTo>
                <a:cubicBezTo>
                  <a:pt x="24187" y="1000"/>
                  <a:pt x="24187" y="1000"/>
                  <a:pt x="24187" y="1031"/>
                </a:cubicBezTo>
                <a:cubicBezTo>
                  <a:pt x="24187" y="1031"/>
                  <a:pt x="24187" y="1031"/>
                  <a:pt x="24187" y="1031"/>
                </a:cubicBezTo>
                <a:cubicBezTo>
                  <a:pt x="24281" y="1000"/>
                  <a:pt x="24312" y="969"/>
                  <a:pt x="24344" y="938"/>
                </a:cubicBezTo>
                <a:cubicBezTo>
                  <a:pt x="24375" y="906"/>
                  <a:pt x="24375" y="906"/>
                  <a:pt x="24406" y="875"/>
                </a:cubicBezTo>
                <a:cubicBezTo>
                  <a:pt x="24406" y="875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375" y="813"/>
                </a:cubicBezTo>
                <a:cubicBezTo>
                  <a:pt x="24406" y="813"/>
                  <a:pt x="24406" y="813"/>
                  <a:pt x="24406" y="813"/>
                </a:cubicBezTo>
                <a:cubicBezTo>
                  <a:pt x="24406" y="813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37" y="844"/>
                  <a:pt x="24469" y="813"/>
                  <a:pt x="24469" y="813"/>
                </a:cubicBezTo>
                <a:cubicBezTo>
                  <a:pt x="24469" y="813"/>
                  <a:pt x="24500" y="813"/>
                  <a:pt x="24500" y="813"/>
                </a:cubicBezTo>
                <a:cubicBezTo>
                  <a:pt x="24500" y="813"/>
                  <a:pt x="24531" y="813"/>
                  <a:pt x="24531" y="813"/>
                </a:cubicBezTo>
                <a:cubicBezTo>
                  <a:pt x="24531" y="813"/>
                  <a:pt x="24562" y="813"/>
                  <a:pt x="24562" y="813"/>
                </a:cubicBezTo>
                <a:cubicBezTo>
                  <a:pt x="24594" y="750"/>
                  <a:pt x="24500" y="750"/>
                  <a:pt x="24500" y="719"/>
                </a:cubicBezTo>
                <a:cubicBezTo>
                  <a:pt x="24500" y="719"/>
                  <a:pt x="24500" y="688"/>
                  <a:pt x="24500" y="688"/>
                </a:cubicBezTo>
                <a:cubicBezTo>
                  <a:pt x="24500" y="688"/>
                  <a:pt x="24500" y="688"/>
                  <a:pt x="24500" y="688"/>
                </a:cubicBezTo>
                <a:cubicBezTo>
                  <a:pt x="24500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62" y="688"/>
                  <a:pt x="24594" y="719"/>
                  <a:pt x="24625" y="688"/>
                </a:cubicBezTo>
                <a:cubicBezTo>
                  <a:pt x="24625" y="688"/>
                  <a:pt x="24625" y="688"/>
                  <a:pt x="24656" y="688"/>
                </a:cubicBezTo>
                <a:cubicBezTo>
                  <a:pt x="24656" y="688"/>
                  <a:pt x="24656" y="688"/>
                  <a:pt x="24656" y="688"/>
                </a:cubicBezTo>
                <a:cubicBezTo>
                  <a:pt x="24656" y="688"/>
                  <a:pt x="24656" y="656"/>
                  <a:pt x="24656" y="656"/>
                </a:cubicBezTo>
                <a:cubicBezTo>
                  <a:pt x="24656" y="656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87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50" y="531"/>
                  <a:pt x="24906" y="469"/>
                  <a:pt x="25000" y="563"/>
                </a:cubicBezTo>
                <a:cubicBezTo>
                  <a:pt x="25125" y="625"/>
                  <a:pt x="25187" y="594"/>
                  <a:pt x="25281" y="531"/>
                </a:cubicBezTo>
                <a:cubicBezTo>
                  <a:pt x="25312" y="469"/>
                  <a:pt x="25375" y="406"/>
                  <a:pt x="25250" y="375"/>
                </a:cubicBezTo>
                <a:cubicBezTo>
                  <a:pt x="25219" y="375"/>
                  <a:pt x="25187" y="344"/>
                  <a:pt x="25219" y="281"/>
                </a:cubicBezTo>
                <a:cubicBezTo>
                  <a:pt x="25250" y="219"/>
                  <a:pt x="25375" y="156"/>
                  <a:pt x="25469" y="156"/>
                </a:cubicBezTo>
                <a:cubicBezTo>
                  <a:pt x="25562" y="156"/>
                  <a:pt x="25625" y="94"/>
                  <a:pt x="25719" y="125"/>
                </a:cubicBezTo>
                <a:cubicBezTo>
                  <a:pt x="25844" y="219"/>
                  <a:pt x="26031" y="125"/>
                  <a:pt x="26125" y="281"/>
                </a:cubicBezTo>
                <a:lnTo>
                  <a:pt x="26125" y="281"/>
                </a:lnTo>
                <a:cubicBezTo>
                  <a:pt x="26281" y="438"/>
                  <a:pt x="26312" y="625"/>
                  <a:pt x="26281" y="844"/>
                </a:cubicBezTo>
                <a:cubicBezTo>
                  <a:pt x="26250" y="1031"/>
                  <a:pt x="26094" y="1125"/>
                  <a:pt x="25906" y="1063"/>
                </a:cubicBezTo>
                <a:cubicBezTo>
                  <a:pt x="25781" y="1000"/>
                  <a:pt x="25625" y="1031"/>
                  <a:pt x="25562" y="875"/>
                </a:cubicBezTo>
                <a:cubicBezTo>
                  <a:pt x="25531" y="844"/>
                  <a:pt x="25469" y="875"/>
                  <a:pt x="25469" y="906"/>
                </a:cubicBezTo>
                <a:cubicBezTo>
                  <a:pt x="25406" y="1000"/>
                  <a:pt x="25312" y="1094"/>
                  <a:pt x="25312" y="1219"/>
                </a:cubicBezTo>
                <a:cubicBezTo>
                  <a:pt x="25312" y="1250"/>
                  <a:pt x="25281" y="1250"/>
                  <a:pt x="25281" y="1281"/>
                </a:cubicBezTo>
                <a:cubicBezTo>
                  <a:pt x="25187" y="1344"/>
                  <a:pt x="25156" y="1469"/>
                  <a:pt x="25125" y="1594"/>
                </a:cubicBezTo>
                <a:cubicBezTo>
                  <a:pt x="25094" y="1844"/>
                  <a:pt x="25062" y="2094"/>
                  <a:pt x="25094" y="2344"/>
                </a:cubicBezTo>
                <a:cubicBezTo>
                  <a:pt x="25125" y="2406"/>
                  <a:pt x="25125" y="2500"/>
                  <a:pt x="25125" y="2563"/>
                </a:cubicBezTo>
                <a:cubicBezTo>
                  <a:pt x="25125" y="2594"/>
                  <a:pt x="25125" y="2656"/>
                  <a:pt x="25125" y="2688"/>
                </a:cubicBezTo>
                <a:cubicBezTo>
                  <a:pt x="25094" y="2875"/>
                  <a:pt x="25062" y="3031"/>
                  <a:pt x="25062" y="3219"/>
                </a:cubicBezTo>
                <a:cubicBezTo>
                  <a:pt x="25062" y="3250"/>
                  <a:pt x="25062" y="3250"/>
                  <a:pt x="25062" y="3250"/>
                </a:cubicBezTo>
                <a:cubicBezTo>
                  <a:pt x="25062" y="3250"/>
                  <a:pt x="25062" y="3250"/>
                  <a:pt x="25031" y="3250"/>
                </a:cubicBezTo>
                <a:cubicBezTo>
                  <a:pt x="25031" y="3281"/>
                  <a:pt x="25031" y="3281"/>
                  <a:pt x="25031" y="3281"/>
                </a:cubicBezTo>
                <a:cubicBezTo>
                  <a:pt x="25031" y="3281"/>
                  <a:pt x="25031" y="3313"/>
                  <a:pt x="25000" y="3313"/>
                </a:cubicBezTo>
                <a:cubicBezTo>
                  <a:pt x="24969" y="3375"/>
                  <a:pt x="24969" y="3469"/>
                  <a:pt x="24937" y="3563"/>
                </a:cubicBezTo>
                <a:cubicBezTo>
                  <a:pt x="24937" y="3594"/>
                  <a:pt x="24937" y="3594"/>
                  <a:pt x="24937" y="3625"/>
                </a:cubicBezTo>
                <a:cubicBezTo>
                  <a:pt x="24937" y="3625"/>
                  <a:pt x="24937" y="3656"/>
                  <a:pt x="24937" y="3656"/>
                </a:cubicBezTo>
                <a:cubicBezTo>
                  <a:pt x="24719" y="4281"/>
                  <a:pt x="24344" y="4781"/>
                  <a:pt x="23812" y="5125"/>
                </a:cubicBezTo>
                <a:cubicBezTo>
                  <a:pt x="23594" y="5281"/>
                  <a:pt x="23344" y="5406"/>
                  <a:pt x="23094" y="5500"/>
                </a:cubicBezTo>
                <a:cubicBezTo>
                  <a:pt x="22906" y="5563"/>
                  <a:pt x="22750" y="5625"/>
                  <a:pt x="22562" y="5688"/>
                </a:cubicBezTo>
                <a:cubicBezTo>
                  <a:pt x="22500" y="5719"/>
                  <a:pt x="22437" y="5750"/>
                  <a:pt x="22344" y="5750"/>
                </a:cubicBezTo>
                <a:cubicBezTo>
                  <a:pt x="22250" y="5750"/>
                  <a:pt x="22094" y="5813"/>
                  <a:pt x="22031" y="5875"/>
                </a:cubicBezTo>
                <a:cubicBezTo>
                  <a:pt x="22000" y="5906"/>
                  <a:pt x="21969" y="5906"/>
                  <a:pt x="21969" y="5906"/>
                </a:cubicBezTo>
                <a:cubicBezTo>
                  <a:pt x="21719" y="5844"/>
                  <a:pt x="21469" y="5938"/>
                  <a:pt x="21250" y="5844"/>
                </a:cubicBezTo>
                <a:cubicBezTo>
                  <a:pt x="21187" y="5813"/>
                  <a:pt x="21187" y="5875"/>
                  <a:pt x="21187" y="5906"/>
                </a:cubicBezTo>
                <a:cubicBezTo>
                  <a:pt x="21250" y="5969"/>
                  <a:pt x="21281" y="6063"/>
                  <a:pt x="21344" y="6125"/>
                </a:cubicBezTo>
                <a:cubicBezTo>
                  <a:pt x="21469" y="6250"/>
                  <a:pt x="21594" y="6406"/>
                  <a:pt x="21719" y="6531"/>
                </a:cubicBezTo>
                <a:cubicBezTo>
                  <a:pt x="21906" y="6688"/>
                  <a:pt x="21969" y="6938"/>
                  <a:pt x="22094" y="7125"/>
                </a:cubicBezTo>
                <a:cubicBezTo>
                  <a:pt x="22156" y="7188"/>
                  <a:pt x="22094" y="7219"/>
                  <a:pt x="22031" y="7250"/>
                </a:cubicBezTo>
                <a:cubicBezTo>
                  <a:pt x="22000" y="7281"/>
                  <a:pt x="21937" y="7250"/>
                  <a:pt x="21906" y="7250"/>
                </a:cubicBezTo>
                <a:cubicBezTo>
                  <a:pt x="21781" y="7188"/>
                  <a:pt x="21687" y="7125"/>
                  <a:pt x="21531" y="7094"/>
                </a:cubicBezTo>
                <a:cubicBezTo>
                  <a:pt x="21469" y="7094"/>
                  <a:pt x="21406" y="7031"/>
                  <a:pt x="21375" y="6969"/>
                </a:cubicBezTo>
                <a:cubicBezTo>
                  <a:pt x="21312" y="6844"/>
                  <a:pt x="21219" y="6813"/>
                  <a:pt x="21125" y="6906"/>
                </a:cubicBezTo>
                <a:cubicBezTo>
                  <a:pt x="21062" y="6969"/>
                  <a:pt x="21000" y="7000"/>
                  <a:pt x="20906" y="6969"/>
                </a:cubicBezTo>
                <a:cubicBezTo>
                  <a:pt x="20844" y="6969"/>
                  <a:pt x="20781" y="6969"/>
                  <a:pt x="20719" y="7000"/>
                </a:cubicBezTo>
                <a:cubicBezTo>
                  <a:pt x="20594" y="7031"/>
                  <a:pt x="20469" y="7063"/>
                  <a:pt x="20344" y="7031"/>
                </a:cubicBezTo>
                <a:cubicBezTo>
                  <a:pt x="20094" y="6969"/>
                  <a:pt x="19844" y="7063"/>
                  <a:pt x="19594" y="7125"/>
                </a:cubicBezTo>
                <a:cubicBezTo>
                  <a:pt x="19406" y="7188"/>
                  <a:pt x="19219" y="7219"/>
                  <a:pt x="19000" y="7188"/>
                </a:cubicBezTo>
                <a:cubicBezTo>
                  <a:pt x="18687" y="7188"/>
                  <a:pt x="18375" y="7094"/>
                  <a:pt x="18094" y="6969"/>
                </a:cubicBezTo>
                <a:cubicBezTo>
                  <a:pt x="18000" y="6906"/>
                  <a:pt x="17875" y="6844"/>
                  <a:pt x="17812" y="6750"/>
                </a:cubicBezTo>
                <a:cubicBezTo>
                  <a:pt x="17719" y="6688"/>
                  <a:pt x="17656" y="6688"/>
                  <a:pt x="17562" y="6719"/>
                </a:cubicBezTo>
                <a:cubicBezTo>
                  <a:pt x="17531" y="6719"/>
                  <a:pt x="17500" y="6719"/>
                  <a:pt x="17500" y="6719"/>
                </a:cubicBezTo>
                <a:cubicBezTo>
                  <a:pt x="17156" y="6719"/>
                  <a:pt x="16812" y="6813"/>
                  <a:pt x="16469" y="6781"/>
                </a:cubicBezTo>
                <a:cubicBezTo>
                  <a:pt x="16375" y="6781"/>
                  <a:pt x="16281" y="6844"/>
                  <a:pt x="16219" y="6906"/>
                </a:cubicBezTo>
                <a:cubicBezTo>
                  <a:pt x="16094" y="6969"/>
                  <a:pt x="16000" y="7063"/>
                  <a:pt x="15906" y="7125"/>
                </a:cubicBezTo>
                <a:cubicBezTo>
                  <a:pt x="15844" y="7188"/>
                  <a:pt x="15812" y="7219"/>
                  <a:pt x="15812" y="7313"/>
                </a:cubicBezTo>
                <a:cubicBezTo>
                  <a:pt x="15844" y="7406"/>
                  <a:pt x="15812" y="7500"/>
                  <a:pt x="15781" y="7563"/>
                </a:cubicBezTo>
                <a:cubicBezTo>
                  <a:pt x="15719" y="7781"/>
                  <a:pt x="15812" y="7969"/>
                  <a:pt x="15781" y="8156"/>
                </a:cubicBezTo>
                <a:cubicBezTo>
                  <a:pt x="15875" y="8375"/>
                  <a:pt x="15969" y="8594"/>
                  <a:pt x="16062" y="8813"/>
                </a:cubicBezTo>
                <a:cubicBezTo>
                  <a:pt x="16219" y="9219"/>
                  <a:pt x="16375" y="9625"/>
                  <a:pt x="16437" y="10063"/>
                </a:cubicBezTo>
                <a:cubicBezTo>
                  <a:pt x="16500" y="10313"/>
                  <a:pt x="16500" y="10563"/>
                  <a:pt x="16531" y="10813"/>
                </a:cubicBezTo>
                <a:cubicBezTo>
                  <a:pt x="16531" y="10844"/>
                  <a:pt x="16531" y="10875"/>
                  <a:pt x="16500" y="10906"/>
                </a:cubicBezTo>
                <a:cubicBezTo>
                  <a:pt x="16531" y="10969"/>
                  <a:pt x="16531" y="11063"/>
                  <a:pt x="16531" y="11125"/>
                </a:cubicBezTo>
                <a:cubicBezTo>
                  <a:pt x="16531" y="11125"/>
                  <a:pt x="16531" y="11125"/>
                  <a:pt x="16531" y="11125"/>
                </a:cubicBezTo>
                <a:cubicBezTo>
                  <a:pt x="16531" y="11156"/>
                  <a:pt x="16531" y="11188"/>
                  <a:pt x="16531" y="11188"/>
                </a:cubicBezTo>
                <a:cubicBezTo>
                  <a:pt x="16531" y="11406"/>
                  <a:pt x="16531" y="11625"/>
                  <a:pt x="16531" y="11719"/>
                </a:cubicBezTo>
                <a:cubicBezTo>
                  <a:pt x="16531" y="11719"/>
                  <a:pt x="16531" y="11719"/>
                  <a:pt x="16531" y="11750"/>
                </a:cubicBezTo>
                <a:cubicBezTo>
                  <a:pt x="16531" y="12031"/>
                  <a:pt x="16500" y="12344"/>
                  <a:pt x="16500" y="12656"/>
                </a:cubicBezTo>
                <a:cubicBezTo>
                  <a:pt x="16531" y="13031"/>
                  <a:pt x="16437" y="13406"/>
                  <a:pt x="16469" y="13813"/>
                </a:cubicBezTo>
                <a:cubicBezTo>
                  <a:pt x="16469" y="13844"/>
                  <a:pt x="16469" y="13875"/>
                  <a:pt x="16469" y="13938"/>
                </a:cubicBezTo>
                <a:cubicBezTo>
                  <a:pt x="16469" y="13938"/>
                  <a:pt x="16469" y="13969"/>
                  <a:pt x="16469" y="13969"/>
                </a:cubicBezTo>
                <a:cubicBezTo>
                  <a:pt x="16469" y="14031"/>
                  <a:pt x="16469" y="14094"/>
                  <a:pt x="16437" y="14156"/>
                </a:cubicBezTo>
                <a:cubicBezTo>
                  <a:pt x="16437" y="14188"/>
                  <a:pt x="16437" y="14188"/>
                  <a:pt x="16437" y="14219"/>
                </a:cubicBezTo>
                <a:cubicBezTo>
                  <a:pt x="16437" y="14219"/>
                  <a:pt x="16437" y="14250"/>
                  <a:pt x="16437" y="14250"/>
                </a:cubicBezTo>
                <a:cubicBezTo>
                  <a:pt x="16437" y="14281"/>
                  <a:pt x="16437" y="14313"/>
                  <a:pt x="16437" y="14344"/>
                </a:cubicBezTo>
                <a:cubicBezTo>
                  <a:pt x="16437" y="14344"/>
                  <a:pt x="16437" y="14375"/>
                  <a:pt x="16406" y="14375"/>
                </a:cubicBezTo>
                <a:cubicBezTo>
                  <a:pt x="16437" y="14438"/>
                  <a:pt x="16437" y="14469"/>
                  <a:pt x="16437" y="14500"/>
                </a:cubicBezTo>
                <a:cubicBezTo>
                  <a:pt x="16437" y="14531"/>
                  <a:pt x="16437" y="14531"/>
                  <a:pt x="16437" y="14563"/>
                </a:cubicBezTo>
                <a:cubicBezTo>
                  <a:pt x="16437" y="14563"/>
                  <a:pt x="16437" y="14563"/>
                  <a:pt x="16406" y="14563"/>
                </a:cubicBezTo>
                <a:cubicBezTo>
                  <a:pt x="16406" y="14594"/>
                  <a:pt x="16406" y="14594"/>
                  <a:pt x="16406" y="14594"/>
                </a:cubicBezTo>
                <a:cubicBezTo>
                  <a:pt x="16375" y="14813"/>
                  <a:pt x="16219" y="14844"/>
                  <a:pt x="16031" y="14844"/>
                </a:cubicBezTo>
                <a:cubicBezTo>
                  <a:pt x="16000" y="14875"/>
                  <a:pt x="15969" y="14844"/>
                  <a:pt x="15906" y="14875"/>
                </a:cubicBezTo>
                <a:cubicBezTo>
                  <a:pt x="16062" y="15000"/>
                  <a:pt x="16219" y="14906"/>
                  <a:pt x="16375" y="14844"/>
                </a:cubicBezTo>
                <a:cubicBezTo>
                  <a:pt x="16406" y="14969"/>
                  <a:pt x="16312" y="15031"/>
                  <a:pt x="16219" y="15063"/>
                </a:cubicBezTo>
                <a:cubicBezTo>
                  <a:pt x="16094" y="15125"/>
                  <a:pt x="15969" y="15156"/>
                  <a:pt x="15844" y="15219"/>
                </a:cubicBezTo>
                <a:cubicBezTo>
                  <a:pt x="16000" y="15219"/>
                  <a:pt x="16187" y="15281"/>
                  <a:pt x="16344" y="15250"/>
                </a:cubicBezTo>
                <a:cubicBezTo>
                  <a:pt x="16312" y="15219"/>
                  <a:pt x="16187" y="15281"/>
                  <a:pt x="16156" y="15156"/>
                </a:cubicBezTo>
                <a:cubicBezTo>
                  <a:pt x="16250" y="15125"/>
                  <a:pt x="16344" y="15125"/>
                  <a:pt x="16437" y="15188"/>
                </a:cubicBezTo>
                <a:cubicBezTo>
                  <a:pt x="16469" y="15188"/>
                  <a:pt x="16437" y="15250"/>
                  <a:pt x="16375" y="15281"/>
                </a:cubicBezTo>
                <a:cubicBezTo>
                  <a:pt x="16375" y="15281"/>
                  <a:pt x="16375" y="15281"/>
                  <a:pt x="16375" y="15281"/>
                </a:cubicBezTo>
                <a:cubicBezTo>
                  <a:pt x="16344" y="15344"/>
                  <a:pt x="16281" y="15375"/>
                  <a:pt x="16219" y="15375"/>
                </a:cubicBezTo>
                <a:cubicBezTo>
                  <a:pt x="16187" y="15344"/>
                  <a:pt x="16187" y="15344"/>
                  <a:pt x="16156" y="15344"/>
                </a:cubicBezTo>
                <a:cubicBezTo>
                  <a:pt x="16125" y="15344"/>
                  <a:pt x="16125" y="15344"/>
                  <a:pt x="16125" y="15344"/>
                </a:cubicBezTo>
                <a:cubicBezTo>
                  <a:pt x="16094" y="15344"/>
                  <a:pt x="16094" y="15344"/>
                  <a:pt x="16094" y="15344"/>
                </a:cubicBezTo>
                <a:cubicBezTo>
                  <a:pt x="16062" y="15344"/>
                  <a:pt x="16062" y="15344"/>
                  <a:pt x="16031" y="15344"/>
                </a:cubicBezTo>
                <a:cubicBezTo>
                  <a:pt x="16031" y="15344"/>
                  <a:pt x="16000" y="15313"/>
                  <a:pt x="15969" y="15313"/>
                </a:cubicBezTo>
                <a:cubicBezTo>
                  <a:pt x="15906" y="15313"/>
                  <a:pt x="15875" y="15406"/>
                  <a:pt x="15812" y="15406"/>
                </a:cubicBezTo>
                <a:cubicBezTo>
                  <a:pt x="15844" y="15469"/>
                  <a:pt x="15906" y="15469"/>
                  <a:pt x="15937" y="15469"/>
                </a:cubicBezTo>
                <a:cubicBezTo>
                  <a:pt x="16062" y="15469"/>
                  <a:pt x="16156" y="15531"/>
                  <a:pt x="16281" y="15469"/>
                </a:cubicBezTo>
                <a:cubicBezTo>
                  <a:pt x="16281" y="15469"/>
                  <a:pt x="16344" y="15469"/>
                  <a:pt x="16344" y="15500"/>
                </a:cubicBezTo>
                <a:cubicBezTo>
                  <a:pt x="16344" y="15531"/>
                  <a:pt x="16312" y="15563"/>
                  <a:pt x="16281" y="15563"/>
                </a:cubicBezTo>
                <a:cubicBezTo>
                  <a:pt x="16219" y="15563"/>
                  <a:pt x="16156" y="15594"/>
                  <a:pt x="16094" y="15563"/>
                </a:cubicBezTo>
                <a:cubicBezTo>
                  <a:pt x="16000" y="15563"/>
                  <a:pt x="15906" y="15563"/>
                  <a:pt x="15812" y="15563"/>
                </a:cubicBezTo>
                <a:cubicBezTo>
                  <a:pt x="15906" y="15625"/>
                  <a:pt x="16031" y="15656"/>
                  <a:pt x="16187" y="15656"/>
                </a:cubicBezTo>
                <a:cubicBezTo>
                  <a:pt x="16312" y="15625"/>
                  <a:pt x="16406" y="15531"/>
                  <a:pt x="16500" y="15469"/>
                </a:cubicBezTo>
                <a:cubicBezTo>
                  <a:pt x="16500" y="15500"/>
                  <a:pt x="16500" y="15500"/>
                  <a:pt x="16500" y="15531"/>
                </a:cubicBezTo>
                <a:cubicBezTo>
                  <a:pt x="16500" y="15563"/>
                  <a:pt x="16437" y="15594"/>
                  <a:pt x="16437" y="15625"/>
                </a:cubicBezTo>
                <a:cubicBezTo>
                  <a:pt x="16437" y="15625"/>
                  <a:pt x="16437" y="15625"/>
                  <a:pt x="16437" y="15656"/>
                </a:cubicBezTo>
                <a:cubicBezTo>
                  <a:pt x="16531" y="15656"/>
                  <a:pt x="16594" y="15625"/>
                  <a:pt x="16656" y="15563"/>
                </a:cubicBezTo>
                <a:cubicBezTo>
                  <a:pt x="16625" y="15656"/>
                  <a:pt x="16625" y="15688"/>
                  <a:pt x="16531" y="15719"/>
                </a:cubicBezTo>
                <a:cubicBezTo>
                  <a:pt x="16375" y="15750"/>
                  <a:pt x="16344" y="15875"/>
                  <a:pt x="16250" y="15969"/>
                </a:cubicBezTo>
                <a:cubicBezTo>
                  <a:pt x="16375" y="15969"/>
                  <a:pt x="16469" y="15938"/>
                  <a:pt x="16562" y="15969"/>
                </a:cubicBezTo>
                <a:cubicBezTo>
                  <a:pt x="16562" y="16000"/>
                  <a:pt x="16500" y="16063"/>
                  <a:pt x="16531" y="16094"/>
                </a:cubicBezTo>
                <a:cubicBezTo>
                  <a:pt x="16562" y="16125"/>
                  <a:pt x="16594" y="16063"/>
                  <a:pt x="16625" y="16063"/>
                </a:cubicBezTo>
                <a:cubicBezTo>
                  <a:pt x="16687" y="16031"/>
                  <a:pt x="16719" y="16063"/>
                  <a:pt x="16781" y="16063"/>
                </a:cubicBezTo>
                <a:cubicBezTo>
                  <a:pt x="16844" y="16063"/>
                  <a:pt x="16812" y="16125"/>
                  <a:pt x="16812" y="16156"/>
                </a:cubicBezTo>
                <a:cubicBezTo>
                  <a:pt x="16812" y="16281"/>
                  <a:pt x="17000" y="16531"/>
                  <a:pt x="17156" y="16563"/>
                </a:cubicBezTo>
                <a:cubicBezTo>
                  <a:pt x="17219" y="16563"/>
                  <a:pt x="17281" y="16563"/>
                  <a:pt x="17312" y="16500"/>
                </a:cubicBezTo>
                <a:cubicBezTo>
                  <a:pt x="17344" y="16469"/>
                  <a:pt x="17344" y="16406"/>
                  <a:pt x="17312" y="16344"/>
                </a:cubicBezTo>
                <a:cubicBezTo>
                  <a:pt x="17281" y="16281"/>
                  <a:pt x="17219" y="16250"/>
                  <a:pt x="17250" y="16156"/>
                </a:cubicBezTo>
                <a:cubicBezTo>
                  <a:pt x="17344" y="16156"/>
                  <a:pt x="17344" y="16250"/>
                  <a:pt x="17375" y="16281"/>
                </a:cubicBezTo>
                <a:cubicBezTo>
                  <a:pt x="17406" y="16313"/>
                  <a:pt x="17375" y="16375"/>
                  <a:pt x="17469" y="16406"/>
                </a:cubicBezTo>
                <a:cubicBezTo>
                  <a:pt x="17531" y="16406"/>
                  <a:pt x="17500" y="16500"/>
                  <a:pt x="17437" y="16531"/>
                </a:cubicBezTo>
                <a:cubicBezTo>
                  <a:pt x="17312" y="16563"/>
                  <a:pt x="17219" y="16625"/>
                  <a:pt x="17125" y="16688"/>
                </a:cubicBezTo>
                <a:cubicBezTo>
                  <a:pt x="17094" y="16688"/>
                  <a:pt x="17094" y="16688"/>
                  <a:pt x="17094" y="16688"/>
                </a:cubicBezTo>
                <a:cubicBezTo>
                  <a:pt x="17062" y="16688"/>
                  <a:pt x="17000" y="16719"/>
                  <a:pt x="16969" y="16719"/>
                </a:cubicBezTo>
                <a:cubicBezTo>
                  <a:pt x="16844" y="16750"/>
                  <a:pt x="16750" y="16781"/>
                  <a:pt x="16625" y="16781"/>
                </a:cubicBezTo>
                <a:cubicBezTo>
                  <a:pt x="16625" y="16781"/>
                  <a:pt x="16594" y="16781"/>
                  <a:pt x="16594" y="16781"/>
                </a:cubicBezTo>
                <a:cubicBezTo>
                  <a:pt x="16594" y="16813"/>
                  <a:pt x="16562" y="16813"/>
                  <a:pt x="16562" y="16813"/>
                </a:cubicBezTo>
                <a:cubicBezTo>
                  <a:pt x="16531" y="16813"/>
                  <a:pt x="16531" y="16813"/>
                  <a:pt x="16531" y="16813"/>
                </a:cubicBezTo>
                <a:cubicBezTo>
                  <a:pt x="16531" y="16813"/>
                  <a:pt x="16500" y="16813"/>
                  <a:pt x="16500" y="16813"/>
                </a:cubicBezTo>
                <a:cubicBezTo>
                  <a:pt x="16500" y="16813"/>
                  <a:pt x="16469" y="16781"/>
                  <a:pt x="16469" y="16781"/>
                </a:cubicBezTo>
                <a:cubicBezTo>
                  <a:pt x="16281" y="16813"/>
                  <a:pt x="16094" y="16844"/>
                  <a:pt x="15906" y="16844"/>
                </a:cubicBezTo>
                <a:cubicBezTo>
                  <a:pt x="15875" y="16844"/>
                  <a:pt x="15844" y="16844"/>
                  <a:pt x="15781" y="16844"/>
                </a:cubicBezTo>
                <a:cubicBezTo>
                  <a:pt x="15781" y="16844"/>
                  <a:pt x="15750" y="16844"/>
                  <a:pt x="15750" y="16844"/>
                </a:cubicBezTo>
                <a:cubicBezTo>
                  <a:pt x="15719" y="16844"/>
                  <a:pt x="15687" y="16844"/>
                  <a:pt x="15687" y="16844"/>
                </a:cubicBezTo>
                <a:cubicBezTo>
                  <a:pt x="15656" y="16844"/>
                  <a:pt x="15656" y="16844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594" y="16875"/>
                </a:cubicBezTo>
                <a:cubicBezTo>
                  <a:pt x="15344" y="16844"/>
                  <a:pt x="15094" y="16750"/>
                  <a:pt x="14812" y="16719"/>
                </a:cubicBezTo>
                <a:cubicBezTo>
                  <a:pt x="14781" y="16688"/>
                  <a:pt x="14750" y="16688"/>
                  <a:pt x="14719" y="16625"/>
                </a:cubicBezTo>
                <a:cubicBezTo>
                  <a:pt x="14719" y="16469"/>
                  <a:pt x="14687" y="16344"/>
                  <a:pt x="14750" y="16219"/>
                </a:cubicBezTo>
                <a:cubicBezTo>
                  <a:pt x="14781" y="16156"/>
                  <a:pt x="14750" y="16063"/>
                  <a:pt x="14781" y="16000"/>
                </a:cubicBezTo>
                <a:cubicBezTo>
                  <a:pt x="14750" y="15656"/>
                  <a:pt x="14719" y="15344"/>
                  <a:pt x="14656" y="15031"/>
                </a:cubicBezTo>
                <a:cubicBezTo>
                  <a:pt x="14594" y="14813"/>
                  <a:pt x="14531" y="14563"/>
                  <a:pt x="14437" y="14344"/>
                </a:cubicBezTo>
                <a:cubicBezTo>
                  <a:pt x="14375" y="14125"/>
                  <a:pt x="14344" y="13875"/>
                  <a:pt x="14250" y="13656"/>
                </a:cubicBezTo>
                <a:cubicBezTo>
                  <a:pt x="14094" y="13250"/>
                  <a:pt x="13969" y="12844"/>
                  <a:pt x="13812" y="12469"/>
                </a:cubicBezTo>
                <a:cubicBezTo>
                  <a:pt x="13812" y="12438"/>
                  <a:pt x="13781" y="12438"/>
                  <a:pt x="13781" y="12406"/>
                </a:cubicBezTo>
                <a:cubicBezTo>
                  <a:pt x="13781" y="12375"/>
                  <a:pt x="13750" y="12344"/>
                  <a:pt x="13719" y="12344"/>
                </a:cubicBezTo>
                <a:cubicBezTo>
                  <a:pt x="13656" y="12469"/>
                  <a:pt x="13594" y="12625"/>
                  <a:pt x="13531" y="12781"/>
                </a:cubicBezTo>
                <a:cubicBezTo>
                  <a:pt x="13500" y="12844"/>
                  <a:pt x="13469" y="12938"/>
                  <a:pt x="13437" y="13031"/>
                </a:cubicBezTo>
                <a:cubicBezTo>
                  <a:pt x="13344" y="13469"/>
                  <a:pt x="13125" y="13844"/>
                  <a:pt x="13000" y="14250"/>
                </a:cubicBezTo>
                <a:cubicBezTo>
                  <a:pt x="12969" y="14438"/>
                  <a:pt x="12844" y="14563"/>
                  <a:pt x="12844" y="14750"/>
                </a:cubicBezTo>
                <a:cubicBezTo>
                  <a:pt x="12875" y="14813"/>
                  <a:pt x="12812" y="14875"/>
                  <a:pt x="12781" y="14938"/>
                </a:cubicBezTo>
                <a:cubicBezTo>
                  <a:pt x="12625" y="15063"/>
                  <a:pt x="12687" y="15281"/>
                  <a:pt x="12625" y="15438"/>
                </a:cubicBezTo>
                <a:cubicBezTo>
                  <a:pt x="12625" y="15469"/>
                  <a:pt x="12625" y="15469"/>
                  <a:pt x="12625" y="15469"/>
                </a:cubicBezTo>
                <a:cubicBezTo>
                  <a:pt x="12625" y="15500"/>
                  <a:pt x="12687" y="15531"/>
                  <a:pt x="12687" y="15594"/>
                </a:cubicBezTo>
                <a:cubicBezTo>
                  <a:pt x="12719" y="15594"/>
                  <a:pt x="12719" y="15594"/>
                  <a:pt x="12719" y="15625"/>
                </a:cubicBezTo>
                <a:cubicBezTo>
                  <a:pt x="12719" y="15625"/>
                  <a:pt x="12750" y="15625"/>
                  <a:pt x="12750" y="15656"/>
                </a:cubicBezTo>
                <a:cubicBezTo>
                  <a:pt x="12750" y="15656"/>
                  <a:pt x="12781" y="15656"/>
                  <a:pt x="12781" y="15656"/>
                </a:cubicBezTo>
                <a:cubicBezTo>
                  <a:pt x="12812" y="15750"/>
                  <a:pt x="12875" y="15781"/>
                  <a:pt x="12937" y="15844"/>
                </a:cubicBezTo>
                <a:cubicBezTo>
                  <a:pt x="13062" y="15938"/>
                  <a:pt x="13156" y="16000"/>
                  <a:pt x="13250" y="16125"/>
                </a:cubicBezTo>
                <a:cubicBezTo>
                  <a:pt x="13312" y="16219"/>
                  <a:pt x="13312" y="16281"/>
                  <a:pt x="13312" y="16344"/>
                </a:cubicBezTo>
                <a:cubicBezTo>
                  <a:pt x="13312" y="16438"/>
                  <a:pt x="13250" y="16500"/>
                  <a:pt x="13094" y="16531"/>
                </a:cubicBezTo>
                <a:cubicBezTo>
                  <a:pt x="13094" y="16563"/>
                  <a:pt x="13062" y="16594"/>
                  <a:pt x="13062" y="16594"/>
                </a:cubicBezTo>
                <a:cubicBezTo>
                  <a:pt x="13031" y="16594"/>
                  <a:pt x="13000" y="16594"/>
                  <a:pt x="12969" y="16594"/>
                </a:cubicBezTo>
                <a:cubicBezTo>
                  <a:pt x="12781" y="16625"/>
                  <a:pt x="12625" y="16656"/>
                  <a:pt x="12437" y="16719"/>
                </a:cubicBezTo>
                <a:cubicBezTo>
                  <a:pt x="12406" y="16719"/>
                  <a:pt x="12375" y="16719"/>
                  <a:pt x="12375" y="16719"/>
                </a:cubicBezTo>
                <a:cubicBezTo>
                  <a:pt x="12000" y="16656"/>
                  <a:pt x="11625" y="16688"/>
                  <a:pt x="11250" y="16688"/>
                </a:cubicBezTo>
                <a:cubicBezTo>
                  <a:pt x="11219" y="16688"/>
                  <a:pt x="11156" y="16688"/>
                  <a:pt x="11094" y="16688"/>
                </a:cubicBezTo>
                <a:cubicBezTo>
                  <a:pt x="11094" y="16688"/>
                  <a:pt x="11094" y="16688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00" y="16625"/>
                  <a:pt x="10906" y="16625"/>
                  <a:pt x="10844" y="16563"/>
                </a:cubicBezTo>
                <a:cubicBezTo>
                  <a:pt x="10844" y="16531"/>
                  <a:pt x="10844" y="16531"/>
                  <a:pt x="10812" y="16531"/>
                </a:cubicBezTo>
                <a:cubicBezTo>
                  <a:pt x="10812" y="16531"/>
                  <a:pt x="10812" y="16500"/>
                  <a:pt x="10812" y="16500"/>
                </a:cubicBezTo>
                <a:cubicBezTo>
                  <a:pt x="10812" y="16500"/>
                  <a:pt x="10812" y="16500"/>
                  <a:pt x="10812" y="16500"/>
                </a:cubicBezTo>
                <a:cubicBezTo>
                  <a:pt x="10812" y="16469"/>
                  <a:pt x="10812" y="16469"/>
                  <a:pt x="10812" y="16438"/>
                </a:cubicBezTo>
                <a:cubicBezTo>
                  <a:pt x="10781" y="16406"/>
                  <a:pt x="10750" y="16375"/>
                  <a:pt x="10750" y="16344"/>
                </a:cubicBezTo>
                <a:cubicBezTo>
                  <a:pt x="10750" y="16344"/>
                  <a:pt x="10750" y="16344"/>
                  <a:pt x="10750" y="16344"/>
                </a:cubicBezTo>
                <a:cubicBezTo>
                  <a:pt x="10750" y="16313"/>
                  <a:pt x="10750" y="16313"/>
                  <a:pt x="10750" y="16281"/>
                </a:cubicBezTo>
                <a:cubicBezTo>
                  <a:pt x="10750" y="16281"/>
                  <a:pt x="10750" y="16250"/>
                  <a:pt x="10750" y="16250"/>
                </a:cubicBezTo>
                <a:cubicBezTo>
                  <a:pt x="10750" y="16219"/>
                  <a:pt x="10781" y="16219"/>
                  <a:pt x="10781" y="16219"/>
                </a:cubicBezTo>
                <a:cubicBezTo>
                  <a:pt x="10844" y="15969"/>
                  <a:pt x="10937" y="15719"/>
                  <a:pt x="10906" y="15469"/>
                </a:cubicBezTo>
                <a:cubicBezTo>
                  <a:pt x="10906" y="15250"/>
                  <a:pt x="11000" y="15063"/>
                  <a:pt x="11000" y="14844"/>
                </a:cubicBezTo>
                <a:cubicBezTo>
                  <a:pt x="11031" y="14781"/>
                  <a:pt x="11031" y="14719"/>
                  <a:pt x="11031" y="14688"/>
                </a:cubicBezTo>
                <a:cubicBezTo>
                  <a:pt x="11062" y="13938"/>
                  <a:pt x="11125" y="13219"/>
                  <a:pt x="11094" y="12500"/>
                </a:cubicBezTo>
                <a:cubicBezTo>
                  <a:pt x="11094" y="12281"/>
                  <a:pt x="11094" y="12031"/>
                  <a:pt x="11094" y="11813"/>
                </a:cubicBezTo>
                <a:cubicBezTo>
                  <a:pt x="11094" y="11781"/>
                  <a:pt x="11094" y="11750"/>
                  <a:pt x="11094" y="11719"/>
                </a:cubicBezTo>
                <a:cubicBezTo>
                  <a:pt x="11094" y="11719"/>
                  <a:pt x="11094" y="11688"/>
                  <a:pt x="11094" y="11688"/>
                </a:cubicBezTo>
                <a:cubicBezTo>
                  <a:pt x="11094" y="11688"/>
                  <a:pt x="11125" y="11656"/>
                  <a:pt x="11125" y="11656"/>
                </a:cubicBezTo>
                <a:cubicBezTo>
                  <a:pt x="11125" y="11625"/>
                  <a:pt x="11125" y="11594"/>
                  <a:pt x="11125" y="11563"/>
                </a:cubicBezTo>
                <a:cubicBezTo>
                  <a:pt x="11125" y="11563"/>
                  <a:pt x="11125" y="11563"/>
                  <a:pt x="11125" y="11563"/>
                </a:cubicBezTo>
                <a:cubicBezTo>
                  <a:pt x="11125" y="11563"/>
                  <a:pt x="11125" y="11563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00"/>
                  <a:pt x="11125" y="11500"/>
                </a:cubicBezTo>
                <a:cubicBezTo>
                  <a:pt x="11156" y="11469"/>
                  <a:pt x="11156" y="11438"/>
                  <a:pt x="11156" y="11375"/>
                </a:cubicBezTo>
                <a:cubicBezTo>
                  <a:pt x="11156" y="11344"/>
                  <a:pt x="11187" y="11281"/>
                  <a:pt x="11187" y="11250"/>
                </a:cubicBezTo>
                <a:cubicBezTo>
                  <a:pt x="11187" y="11219"/>
                  <a:pt x="11187" y="11219"/>
                  <a:pt x="11187" y="11188"/>
                </a:cubicBezTo>
                <a:cubicBezTo>
                  <a:pt x="11219" y="11156"/>
                  <a:pt x="11219" y="11125"/>
                  <a:pt x="11219" y="11094"/>
                </a:cubicBezTo>
                <a:cubicBezTo>
                  <a:pt x="11219" y="11094"/>
                  <a:pt x="11219" y="11094"/>
                  <a:pt x="11219" y="11094"/>
                </a:cubicBezTo>
                <a:cubicBezTo>
                  <a:pt x="11219" y="11063"/>
                  <a:pt x="11219" y="11031"/>
                  <a:pt x="11250" y="11000"/>
                </a:cubicBezTo>
                <a:cubicBezTo>
                  <a:pt x="11250" y="10969"/>
                  <a:pt x="11250" y="10906"/>
                  <a:pt x="11250" y="10844"/>
                </a:cubicBezTo>
                <a:cubicBezTo>
                  <a:pt x="11250" y="10781"/>
                  <a:pt x="11250" y="10719"/>
                  <a:pt x="11250" y="10688"/>
                </a:cubicBezTo>
                <a:cubicBezTo>
                  <a:pt x="11250" y="10594"/>
                  <a:pt x="11281" y="10531"/>
                  <a:pt x="11281" y="10469"/>
                </a:cubicBezTo>
                <a:cubicBezTo>
                  <a:pt x="11281" y="10469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06"/>
                  <a:pt x="11250" y="10406"/>
                </a:cubicBezTo>
                <a:cubicBezTo>
                  <a:pt x="11250" y="10406"/>
                  <a:pt x="11250" y="10406"/>
                  <a:pt x="11250" y="10375"/>
                </a:cubicBezTo>
                <a:cubicBezTo>
                  <a:pt x="11250" y="10375"/>
                  <a:pt x="11219" y="10375"/>
                  <a:pt x="11219" y="10375"/>
                </a:cubicBezTo>
                <a:cubicBezTo>
                  <a:pt x="11219" y="10375"/>
                  <a:pt x="11219" y="10375"/>
                  <a:pt x="11187" y="10344"/>
                </a:cubicBezTo>
                <a:cubicBezTo>
                  <a:pt x="11187" y="10344"/>
                  <a:pt x="11187" y="10344"/>
                  <a:pt x="11187" y="10344"/>
                </a:cubicBezTo>
                <a:cubicBezTo>
                  <a:pt x="11156" y="10344"/>
                  <a:pt x="11156" y="10313"/>
                  <a:pt x="11156" y="10313"/>
                </a:cubicBezTo>
                <a:cubicBezTo>
                  <a:pt x="11094" y="10094"/>
                  <a:pt x="11094" y="9844"/>
                  <a:pt x="10937" y="9656"/>
                </a:cubicBezTo>
                <a:cubicBezTo>
                  <a:pt x="10937" y="9625"/>
                  <a:pt x="10906" y="9594"/>
                  <a:pt x="10844" y="9594"/>
                </a:cubicBezTo>
                <a:cubicBezTo>
                  <a:pt x="10594" y="9688"/>
                  <a:pt x="10312" y="9719"/>
                  <a:pt x="10062" y="9781"/>
                </a:cubicBezTo>
                <a:cubicBezTo>
                  <a:pt x="9812" y="9875"/>
                  <a:pt x="9562" y="10000"/>
                  <a:pt x="9312" y="10063"/>
                </a:cubicBezTo>
                <a:cubicBezTo>
                  <a:pt x="9156" y="10125"/>
                  <a:pt x="8969" y="10156"/>
                  <a:pt x="8812" y="10219"/>
                </a:cubicBezTo>
                <a:cubicBezTo>
                  <a:pt x="8375" y="10344"/>
                  <a:pt x="7906" y="10313"/>
                  <a:pt x="7469" y="10313"/>
                </a:cubicBezTo>
                <a:cubicBezTo>
                  <a:pt x="7250" y="10313"/>
                  <a:pt x="7062" y="10406"/>
                  <a:pt x="6906" y="10500"/>
                </a:cubicBezTo>
                <a:cubicBezTo>
                  <a:pt x="6781" y="10531"/>
                  <a:pt x="6594" y="10750"/>
                  <a:pt x="6531" y="10844"/>
                </a:cubicBezTo>
                <a:cubicBezTo>
                  <a:pt x="6469" y="10969"/>
                  <a:pt x="6375" y="11063"/>
                  <a:pt x="6250" y="11156"/>
                </a:cubicBezTo>
                <a:cubicBezTo>
                  <a:pt x="6031" y="11281"/>
                  <a:pt x="5875" y="11500"/>
                  <a:pt x="5687" y="11656"/>
                </a:cubicBezTo>
                <a:cubicBezTo>
                  <a:pt x="5594" y="11688"/>
                  <a:pt x="5594" y="11813"/>
                  <a:pt x="5562" y="11906"/>
                </a:cubicBezTo>
                <a:cubicBezTo>
                  <a:pt x="5500" y="12094"/>
                  <a:pt x="5437" y="12250"/>
                  <a:pt x="5437" y="12438"/>
                </a:cubicBezTo>
                <a:cubicBezTo>
                  <a:pt x="5437" y="12438"/>
                  <a:pt x="5437" y="12438"/>
                  <a:pt x="5437" y="12594"/>
                </a:cubicBezTo>
                <a:cubicBezTo>
                  <a:pt x="5437" y="12625"/>
                  <a:pt x="5437" y="12625"/>
                  <a:pt x="5469" y="12656"/>
                </a:cubicBezTo>
                <a:cubicBezTo>
                  <a:pt x="5469" y="12688"/>
                  <a:pt x="5469" y="12719"/>
                  <a:pt x="5469" y="12750"/>
                </a:cubicBezTo>
                <a:cubicBezTo>
                  <a:pt x="5469" y="12750"/>
                  <a:pt x="5469" y="12750"/>
                  <a:pt x="5562" y="14031"/>
                </a:cubicBezTo>
                <a:cubicBezTo>
                  <a:pt x="5594" y="14125"/>
                  <a:pt x="5625" y="14219"/>
                  <a:pt x="5625" y="14344"/>
                </a:cubicBezTo>
                <a:cubicBezTo>
                  <a:pt x="5656" y="14469"/>
                  <a:pt x="5687" y="14594"/>
                  <a:pt x="5719" y="14750"/>
                </a:cubicBezTo>
                <a:cubicBezTo>
                  <a:pt x="5719" y="14781"/>
                  <a:pt x="5750" y="14813"/>
                  <a:pt x="5750" y="14844"/>
                </a:cubicBezTo>
                <a:cubicBezTo>
                  <a:pt x="5750" y="14875"/>
                  <a:pt x="5750" y="14906"/>
                  <a:pt x="5750" y="14938"/>
                </a:cubicBezTo>
                <a:cubicBezTo>
                  <a:pt x="5750" y="15063"/>
                  <a:pt x="5781" y="15156"/>
                  <a:pt x="5781" y="15281"/>
                </a:cubicBezTo>
                <a:cubicBezTo>
                  <a:pt x="5812" y="15438"/>
                  <a:pt x="5875" y="15594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813"/>
                  <a:pt x="5969" y="15844"/>
                  <a:pt x="5937" y="15844"/>
                </a:cubicBezTo>
                <a:cubicBezTo>
                  <a:pt x="5937" y="15875"/>
                  <a:pt x="5937" y="15875"/>
                  <a:pt x="5937" y="15906"/>
                </a:cubicBezTo>
                <a:cubicBezTo>
                  <a:pt x="5937" y="15875"/>
                  <a:pt x="5937" y="15875"/>
                  <a:pt x="5969" y="15875"/>
                </a:cubicBezTo>
                <a:cubicBezTo>
                  <a:pt x="6000" y="15906"/>
                  <a:pt x="6000" y="15938"/>
                  <a:pt x="6000" y="15938"/>
                </a:cubicBezTo>
                <a:cubicBezTo>
                  <a:pt x="6031" y="15969"/>
                  <a:pt x="6031" y="15969"/>
                  <a:pt x="6031" y="16000"/>
                </a:cubicBezTo>
                <a:cubicBezTo>
                  <a:pt x="6125" y="16094"/>
                  <a:pt x="6187" y="16219"/>
                  <a:pt x="6281" y="16313"/>
                </a:cubicBezTo>
                <a:cubicBezTo>
                  <a:pt x="6281" y="16313"/>
                  <a:pt x="6281" y="16313"/>
                  <a:pt x="6281" y="16313"/>
                </a:cubicBezTo>
                <a:cubicBezTo>
                  <a:pt x="6281" y="16313"/>
                  <a:pt x="6281" y="16344"/>
                  <a:pt x="6312" y="16344"/>
                </a:cubicBezTo>
                <a:cubicBezTo>
                  <a:pt x="6437" y="16406"/>
                  <a:pt x="6531" y="16469"/>
                  <a:pt x="6594" y="16563"/>
                </a:cubicBezTo>
                <a:cubicBezTo>
                  <a:pt x="6625" y="16625"/>
                  <a:pt x="6656" y="16688"/>
                  <a:pt x="6687" y="16750"/>
                </a:cubicBezTo>
                <a:cubicBezTo>
                  <a:pt x="6719" y="16781"/>
                  <a:pt x="6750" y="16844"/>
                  <a:pt x="6750" y="16906"/>
                </a:cubicBezTo>
                <a:cubicBezTo>
                  <a:pt x="6781" y="17000"/>
                  <a:pt x="6781" y="17031"/>
                  <a:pt x="6781" y="17094"/>
                </a:cubicBezTo>
                <a:cubicBezTo>
                  <a:pt x="6781" y="17125"/>
                  <a:pt x="6750" y="17156"/>
                  <a:pt x="6625" y="17219"/>
                </a:cubicBezTo>
                <a:cubicBezTo>
                  <a:pt x="6406" y="17375"/>
                  <a:pt x="6156" y="17375"/>
                  <a:pt x="5906" y="17406"/>
                </a:cubicBezTo>
                <a:cubicBezTo>
                  <a:pt x="5594" y="17469"/>
                  <a:pt x="5281" y="17469"/>
                  <a:pt x="4969" y="17531"/>
                </a:cubicBezTo>
                <a:cubicBezTo>
                  <a:pt x="4969" y="17531"/>
                  <a:pt x="4937" y="17531"/>
                  <a:pt x="4906" y="17531"/>
                </a:cubicBezTo>
                <a:cubicBezTo>
                  <a:pt x="4906" y="17531"/>
                  <a:pt x="4875" y="17531"/>
                  <a:pt x="4844" y="17531"/>
                </a:cubicBezTo>
                <a:cubicBezTo>
                  <a:pt x="4844" y="17531"/>
                  <a:pt x="4812" y="17531"/>
                  <a:pt x="4781" y="17531"/>
                </a:cubicBezTo>
                <a:cubicBezTo>
                  <a:pt x="4687" y="17531"/>
                  <a:pt x="4594" y="17500"/>
                  <a:pt x="4469" y="17500"/>
                </a:cubicBezTo>
                <a:cubicBezTo>
                  <a:pt x="4469" y="17500"/>
                  <a:pt x="4469" y="17500"/>
                  <a:pt x="4437" y="17500"/>
                </a:cubicBezTo>
                <a:cubicBezTo>
                  <a:pt x="4406" y="17500"/>
                  <a:pt x="4375" y="17500"/>
                  <a:pt x="4344" y="17469"/>
                </a:cubicBezTo>
                <a:cubicBezTo>
                  <a:pt x="4312" y="17469"/>
                  <a:pt x="4281" y="17469"/>
                  <a:pt x="4250" y="17469"/>
                </a:cubicBezTo>
                <a:cubicBezTo>
                  <a:pt x="4219" y="17500"/>
                  <a:pt x="4219" y="17500"/>
                  <a:pt x="4187" y="17500"/>
                </a:cubicBezTo>
                <a:cubicBezTo>
                  <a:pt x="3937" y="17500"/>
                  <a:pt x="3719" y="17406"/>
                  <a:pt x="3594" y="17156"/>
                </a:cubicBezTo>
                <a:cubicBezTo>
                  <a:pt x="3594" y="17125"/>
                  <a:pt x="3562" y="17094"/>
                  <a:pt x="3562" y="17094"/>
                </a:cubicBezTo>
                <a:cubicBezTo>
                  <a:pt x="3531" y="17031"/>
                  <a:pt x="3500" y="17000"/>
                  <a:pt x="3500" y="16938"/>
                </a:cubicBezTo>
                <a:cubicBezTo>
                  <a:pt x="3500" y="16938"/>
                  <a:pt x="3500" y="16906"/>
                  <a:pt x="3500" y="16906"/>
                </a:cubicBezTo>
                <a:cubicBezTo>
                  <a:pt x="3469" y="16813"/>
                  <a:pt x="3469" y="16750"/>
                  <a:pt x="3469" y="16656"/>
                </a:cubicBezTo>
                <a:cubicBezTo>
                  <a:pt x="3469" y="16594"/>
                  <a:pt x="3469" y="16563"/>
                  <a:pt x="3469" y="16500"/>
                </a:cubicBezTo>
                <a:cubicBezTo>
                  <a:pt x="3469" y="16469"/>
                  <a:pt x="3469" y="16406"/>
                  <a:pt x="3469" y="16344"/>
                </a:cubicBezTo>
                <a:cubicBezTo>
                  <a:pt x="3500" y="16219"/>
                  <a:pt x="3437" y="16094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38"/>
                  <a:pt x="3406" y="15938"/>
                  <a:pt x="3406" y="15938"/>
                </a:cubicBezTo>
                <a:cubicBezTo>
                  <a:pt x="3375" y="15938"/>
                  <a:pt x="3375" y="15938"/>
                  <a:pt x="3375" y="15906"/>
                </a:cubicBezTo>
                <a:cubicBezTo>
                  <a:pt x="3375" y="15906"/>
                  <a:pt x="3344" y="15906"/>
                  <a:pt x="3344" y="15875"/>
                </a:cubicBezTo>
                <a:cubicBezTo>
                  <a:pt x="3344" y="15875"/>
                  <a:pt x="3344" y="15844"/>
                  <a:pt x="3344" y="15844"/>
                </a:cubicBezTo>
                <a:cubicBezTo>
                  <a:pt x="3344" y="15844"/>
                  <a:pt x="3344" y="15844"/>
                  <a:pt x="3344" y="15844"/>
                </a:cubicBezTo>
                <a:cubicBezTo>
                  <a:pt x="3281" y="15656"/>
                  <a:pt x="3250" y="15469"/>
                  <a:pt x="3281" y="15281"/>
                </a:cubicBezTo>
                <a:cubicBezTo>
                  <a:pt x="3312" y="15250"/>
                  <a:pt x="3312" y="15188"/>
                  <a:pt x="3312" y="15156"/>
                </a:cubicBezTo>
                <a:cubicBezTo>
                  <a:pt x="3250" y="14625"/>
                  <a:pt x="3219" y="14094"/>
                  <a:pt x="3125" y="13594"/>
                </a:cubicBezTo>
                <a:cubicBezTo>
                  <a:pt x="3125" y="13563"/>
                  <a:pt x="3125" y="13563"/>
                  <a:pt x="3125" y="13531"/>
                </a:cubicBezTo>
                <a:cubicBezTo>
                  <a:pt x="3125" y="13406"/>
                  <a:pt x="3187" y="13313"/>
                  <a:pt x="3156" y="13188"/>
                </a:cubicBezTo>
                <a:cubicBezTo>
                  <a:pt x="3125" y="13156"/>
                  <a:pt x="3125" y="13125"/>
                  <a:pt x="3125" y="13094"/>
                </a:cubicBezTo>
                <a:cubicBezTo>
                  <a:pt x="3094" y="13094"/>
                  <a:pt x="3094" y="13063"/>
                  <a:pt x="3125" y="13031"/>
                </a:cubicBezTo>
                <a:cubicBezTo>
                  <a:pt x="3094" y="13031"/>
                  <a:pt x="3062" y="13031"/>
                  <a:pt x="3062" y="13031"/>
                </a:cubicBezTo>
                <a:cubicBezTo>
                  <a:pt x="3062" y="13031"/>
                  <a:pt x="3062" y="13031"/>
                  <a:pt x="3031" y="13031"/>
                </a:cubicBezTo>
                <a:cubicBezTo>
                  <a:pt x="3031" y="13031"/>
                  <a:pt x="3031" y="13063"/>
                  <a:pt x="3031" y="13063"/>
                </a:cubicBezTo>
                <a:cubicBezTo>
                  <a:pt x="3031" y="13063"/>
                  <a:pt x="3031" y="13063"/>
                  <a:pt x="3031" y="13063"/>
                </a:cubicBezTo>
                <a:cubicBezTo>
                  <a:pt x="2969" y="13188"/>
                  <a:pt x="3000" y="13344"/>
                  <a:pt x="2937" y="13500"/>
                </a:cubicBezTo>
                <a:cubicBezTo>
                  <a:pt x="2812" y="14000"/>
                  <a:pt x="2781" y="14531"/>
                  <a:pt x="2625" y="15031"/>
                </a:cubicBezTo>
                <a:cubicBezTo>
                  <a:pt x="2594" y="15094"/>
                  <a:pt x="2562" y="15125"/>
                  <a:pt x="2531" y="15188"/>
                </a:cubicBezTo>
                <a:cubicBezTo>
                  <a:pt x="2406" y="15344"/>
                  <a:pt x="2406" y="15438"/>
                  <a:pt x="2531" y="15594"/>
                </a:cubicBezTo>
                <a:cubicBezTo>
                  <a:pt x="2531" y="15594"/>
                  <a:pt x="2562" y="15625"/>
                  <a:pt x="2562" y="15625"/>
                </a:cubicBezTo>
                <a:cubicBezTo>
                  <a:pt x="2656" y="15719"/>
                  <a:pt x="2719" y="15844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50" y="16000"/>
                  <a:pt x="2781" y="16063"/>
                  <a:pt x="2781" y="16094"/>
                </a:cubicBezTo>
                <a:cubicBezTo>
                  <a:pt x="2781" y="16094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44" y="16156"/>
                  <a:pt x="2844" y="16156"/>
                  <a:pt x="2875" y="16188"/>
                </a:cubicBezTo>
                <a:cubicBezTo>
                  <a:pt x="2906" y="16250"/>
                  <a:pt x="2969" y="16313"/>
                  <a:pt x="3000" y="16375"/>
                </a:cubicBezTo>
                <a:cubicBezTo>
                  <a:pt x="3031" y="16406"/>
                  <a:pt x="3062" y="16438"/>
                  <a:pt x="3094" y="16469"/>
                </a:cubicBezTo>
                <a:cubicBezTo>
                  <a:pt x="3125" y="16500"/>
                  <a:pt x="3125" y="16531"/>
                  <a:pt x="3125" y="16531"/>
                </a:cubicBezTo>
                <a:cubicBezTo>
                  <a:pt x="3187" y="16656"/>
                  <a:pt x="3250" y="16813"/>
                  <a:pt x="3281" y="16969"/>
                </a:cubicBezTo>
                <a:cubicBezTo>
                  <a:pt x="3281" y="17094"/>
                  <a:pt x="3156" y="17094"/>
                  <a:pt x="3094" y="17094"/>
                </a:cubicBezTo>
                <a:cubicBezTo>
                  <a:pt x="2531" y="17188"/>
                  <a:pt x="1937" y="17281"/>
                  <a:pt x="1344" y="17250"/>
                </a:cubicBezTo>
                <a:cubicBezTo>
                  <a:pt x="1281" y="17250"/>
                  <a:pt x="1187" y="17281"/>
                  <a:pt x="1125" y="17281"/>
                </a:cubicBezTo>
                <a:cubicBezTo>
                  <a:pt x="1094" y="17281"/>
                  <a:pt x="1094" y="17281"/>
                  <a:pt x="1062" y="17281"/>
                </a:cubicBezTo>
                <a:cubicBezTo>
                  <a:pt x="1031" y="17281"/>
                  <a:pt x="1000" y="17281"/>
                  <a:pt x="1000" y="17281"/>
                </a:cubicBezTo>
                <a:cubicBezTo>
                  <a:pt x="1000" y="17281"/>
                  <a:pt x="1000" y="17281"/>
                  <a:pt x="1000" y="17281"/>
                </a:cubicBezTo>
                <a:cubicBezTo>
                  <a:pt x="969" y="17250"/>
                  <a:pt x="969" y="17250"/>
                  <a:pt x="969" y="17250"/>
                </a:cubicBezTo>
                <a:cubicBezTo>
                  <a:pt x="969" y="17250"/>
                  <a:pt x="937" y="17219"/>
                  <a:pt x="937" y="17219"/>
                </a:cubicBezTo>
                <a:cubicBezTo>
                  <a:pt x="875" y="17188"/>
                  <a:pt x="781" y="17188"/>
                  <a:pt x="719" y="17156"/>
                </a:cubicBezTo>
                <a:cubicBezTo>
                  <a:pt x="750" y="17188"/>
                  <a:pt x="750" y="17188"/>
                  <a:pt x="750" y="17219"/>
                </a:cubicBezTo>
                <a:cubicBezTo>
                  <a:pt x="625" y="17188"/>
                  <a:pt x="531" y="17094"/>
                  <a:pt x="375" y="17094"/>
                </a:cubicBezTo>
                <a:cubicBezTo>
                  <a:pt x="406" y="17063"/>
                  <a:pt x="437" y="17063"/>
                  <a:pt x="437" y="17031"/>
                </a:cubicBezTo>
                <a:cubicBezTo>
                  <a:pt x="375" y="17000"/>
                  <a:pt x="344" y="16969"/>
                  <a:pt x="312" y="16938"/>
                </a:cubicBezTo>
                <a:cubicBezTo>
                  <a:pt x="250" y="16969"/>
                  <a:pt x="219" y="16906"/>
                  <a:pt x="219" y="16875"/>
                </a:cubicBezTo>
                <a:cubicBezTo>
                  <a:pt x="187" y="16813"/>
                  <a:pt x="187" y="16781"/>
                  <a:pt x="187" y="16750"/>
                </a:cubicBezTo>
                <a:cubicBezTo>
                  <a:pt x="94" y="16531"/>
                  <a:pt x="156" y="16344"/>
                  <a:pt x="156" y="16344"/>
                </a:cubicBezTo>
                <a:cubicBezTo>
                  <a:pt x="156" y="16219"/>
                  <a:pt x="187" y="16125"/>
                  <a:pt x="187" y="16031"/>
                </a:cubicBezTo>
                <a:cubicBezTo>
                  <a:pt x="219" y="15781"/>
                  <a:pt x="94" y="15594"/>
                  <a:pt x="62" y="15375"/>
                </a:cubicBezTo>
                <a:cubicBezTo>
                  <a:pt x="31" y="15219"/>
                  <a:pt x="0" y="15094"/>
                  <a:pt x="125" y="14938"/>
                </a:cubicBezTo>
                <a:cubicBezTo>
                  <a:pt x="125" y="15031"/>
                  <a:pt x="94" y="15063"/>
                  <a:pt x="94" y="15125"/>
                </a:cubicBezTo>
                <a:cubicBezTo>
                  <a:pt x="94" y="15250"/>
                  <a:pt x="219" y="15344"/>
                  <a:pt x="344" y="15313"/>
                </a:cubicBezTo>
                <a:cubicBezTo>
                  <a:pt x="406" y="15281"/>
                  <a:pt x="469" y="15281"/>
                  <a:pt x="562" y="15313"/>
                </a:cubicBezTo>
                <a:cubicBezTo>
                  <a:pt x="625" y="15313"/>
                  <a:pt x="687" y="15313"/>
                  <a:pt x="781" y="15313"/>
                </a:cubicBezTo>
                <a:cubicBezTo>
                  <a:pt x="812" y="15313"/>
                  <a:pt x="812" y="15281"/>
                  <a:pt x="812" y="15219"/>
                </a:cubicBezTo>
                <a:cubicBezTo>
                  <a:pt x="844" y="15156"/>
                  <a:pt x="906" y="15156"/>
                  <a:pt x="937" y="15156"/>
                </a:cubicBezTo>
                <a:cubicBezTo>
                  <a:pt x="1125" y="15156"/>
                  <a:pt x="1219" y="14969"/>
                  <a:pt x="1375" y="14906"/>
                </a:cubicBezTo>
                <a:cubicBezTo>
                  <a:pt x="1437" y="14875"/>
                  <a:pt x="1406" y="14750"/>
                  <a:pt x="1406" y="14688"/>
                </a:cubicBezTo>
                <a:cubicBezTo>
                  <a:pt x="1375" y="14594"/>
                  <a:pt x="1281" y="14750"/>
                  <a:pt x="1250" y="14688"/>
                </a:cubicBezTo>
                <a:cubicBezTo>
                  <a:pt x="1250" y="14625"/>
                  <a:pt x="1344" y="14625"/>
                  <a:pt x="1312" y="14563"/>
                </a:cubicBezTo>
                <a:cubicBezTo>
                  <a:pt x="1281" y="14500"/>
                  <a:pt x="1219" y="14438"/>
                  <a:pt x="1219" y="14344"/>
                </a:cubicBezTo>
                <a:cubicBezTo>
                  <a:pt x="1219" y="14313"/>
                  <a:pt x="1125" y="14313"/>
                  <a:pt x="1094" y="14344"/>
                </a:cubicBezTo>
                <a:cubicBezTo>
                  <a:pt x="1062" y="14375"/>
                  <a:pt x="969" y="14344"/>
                  <a:pt x="969" y="14438"/>
                </a:cubicBezTo>
                <a:cubicBezTo>
                  <a:pt x="1000" y="14563"/>
                  <a:pt x="969" y="14594"/>
                  <a:pt x="875" y="14531"/>
                </a:cubicBezTo>
                <a:cubicBezTo>
                  <a:pt x="844" y="14531"/>
                  <a:pt x="812" y="14500"/>
                  <a:pt x="781" y="14500"/>
                </a:cubicBezTo>
                <a:cubicBezTo>
                  <a:pt x="750" y="14500"/>
                  <a:pt x="719" y="14531"/>
                  <a:pt x="719" y="14563"/>
                </a:cubicBezTo>
                <a:cubicBezTo>
                  <a:pt x="719" y="14563"/>
                  <a:pt x="719" y="14594"/>
                  <a:pt x="750" y="14625"/>
                </a:cubicBezTo>
                <a:cubicBezTo>
                  <a:pt x="875" y="14563"/>
                  <a:pt x="812" y="14719"/>
                  <a:pt x="875" y="14750"/>
                </a:cubicBezTo>
                <a:cubicBezTo>
                  <a:pt x="969" y="14781"/>
                  <a:pt x="1062" y="14719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937" y="14844"/>
                  <a:pt x="750" y="14906"/>
                  <a:pt x="531" y="14906"/>
                </a:cubicBezTo>
                <a:cubicBezTo>
                  <a:pt x="437" y="14906"/>
                  <a:pt x="312" y="14906"/>
                  <a:pt x="219" y="14875"/>
                </a:cubicBezTo>
                <a:cubicBezTo>
                  <a:pt x="219" y="14844"/>
                  <a:pt x="219" y="14844"/>
                  <a:pt x="219" y="14813"/>
                </a:cubicBezTo>
                <a:cubicBezTo>
                  <a:pt x="281" y="14813"/>
                  <a:pt x="344" y="14813"/>
                  <a:pt x="406" y="14844"/>
                </a:cubicBezTo>
                <a:cubicBezTo>
                  <a:pt x="531" y="14875"/>
                  <a:pt x="625" y="14719"/>
                  <a:pt x="719" y="14813"/>
                </a:cubicBezTo>
                <a:cubicBezTo>
                  <a:pt x="719" y="14781"/>
                  <a:pt x="750" y="14781"/>
                  <a:pt x="750" y="14750"/>
                </a:cubicBezTo>
                <a:cubicBezTo>
                  <a:pt x="750" y="14719"/>
                  <a:pt x="719" y="14688"/>
                  <a:pt x="687" y="14688"/>
                </a:cubicBezTo>
                <a:cubicBezTo>
                  <a:pt x="625" y="14719"/>
                  <a:pt x="594" y="14688"/>
                  <a:pt x="594" y="14625"/>
                </a:cubicBezTo>
                <a:cubicBezTo>
                  <a:pt x="594" y="14594"/>
                  <a:pt x="562" y="14563"/>
                  <a:pt x="531" y="14563"/>
                </a:cubicBezTo>
                <a:cubicBezTo>
                  <a:pt x="437" y="14531"/>
                  <a:pt x="375" y="14500"/>
                  <a:pt x="375" y="14438"/>
                </a:cubicBezTo>
                <a:cubicBezTo>
                  <a:pt x="375" y="14438"/>
                  <a:pt x="375" y="14438"/>
                  <a:pt x="344" y="14438"/>
                </a:cubicBezTo>
                <a:cubicBezTo>
                  <a:pt x="344" y="14375"/>
                  <a:pt x="344" y="14344"/>
                  <a:pt x="344" y="14281"/>
                </a:cubicBezTo>
                <a:cubicBezTo>
                  <a:pt x="344" y="14281"/>
                  <a:pt x="344" y="14250"/>
                  <a:pt x="344" y="14250"/>
                </a:cubicBezTo>
                <a:cubicBezTo>
                  <a:pt x="344" y="14250"/>
                  <a:pt x="312" y="14219"/>
                  <a:pt x="312" y="14188"/>
                </a:cubicBezTo>
                <a:cubicBezTo>
                  <a:pt x="281" y="14125"/>
                  <a:pt x="250" y="14063"/>
                  <a:pt x="250" y="14000"/>
                </a:cubicBezTo>
                <a:cubicBezTo>
                  <a:pt x="250" y="14000"/>
                  <a:pt x="250" y="13969"/>
                  <a:pt x="250" y="13938"/>
                </a:cubicBezTo>
                <a:cubicBezTo>
                  <a:pt x="250" y="13906"/>
                  <a:pt x="250" y="13875"/>
                  <a:pt x="250" y="13844"/>
                </a:cubicBezTo>
                <a:cubicBezTo>
                  <a:pt x="250" y="13781"/>
                  <a:pt x="250" y="13719"/>
                  <a:pt x="250" y="13625"/>
                </a:cubicBezTo>
                <a:cubicBezTo>
                  <a:pt x="281" y="13594"/>
                  <a:pt x="281" y="13563"/>
                  <a:pt x="281" y="13531"/>
                </a:cubicBezTo>
                <a:cubicBezTo>
                  <a:pt x="344" y="13469"/>
                  <a:pt x="406" y="13375"/>
                  <a:pt x="469" y="13313"/>
                </a:cubicBezTo>
                <a:cubicBezTo>
                  <a:pt x="500" y="13250"/>
                  <a:pt x="500" y="13219"/>
                  <a:pt x="500" y="13156"/>
                </a:cubicBezTo>
                <a:cubicBezTo>
                  <a:pt x="500" y="13156"/>
                  <a:pt x="500" y="13125"/>
                  <a:pt x="500" y="13094"/>
                </a:cubicBezTo>
                <a:cubicBezTo>
                  <a:pt x="500" y="12781"/>
                  <a:pt x="406" y="12438"/>
                  <a:pt x="437" y="12125"/>
                </a:cubicBezTo>
                <a:cubicBezTo>
                  <a:pt x="437" y="12094"/>
                  <a:pt x="437" y="12063"/>
                  <a:pt x="437" y="12031"/>
                </a:cubicBezTo>
                <a:cubicBezTo>
                  <a:pt x="437" y="12031"/>
                  <a:pt x="437" y="12031"/>
                  <a:pt x="437" y="12031"/>
                </a:cubicBezTo>
                <a:cubicBezTo>
                  <a:pt x="437" y="11969"/>
                  <a:pt x="437" y="11875"/>
                  <a:pt x="437" y="11813"/>
                </a:cubicBezTo>
                <a:cubicBezTo>
                  <a:pt x="437" y="11781"/>
                  <a:pt x="437" y="11781"/>
                  <a:pt x="406" y="11750"/>
                </a:cubicBezTo>
                <a:cubicBezTo>
                  <a:pt x="406" y="11688"/>
                  <a:pt x="437" y="11625"/>
                  <a:pt x="437" y="11594"/>
                </a:cubicBezTo>
                <a:cubicBezTo>
                  <a:pt x="437" y="11500"/>
                  <a:pt x="437" y="11438"/>
                  <a:pt x="437" y="11344"/>
                </a:cubicBezTo>
                <a:cubicBezTo>
                  <a:pt x="437" y="11094"/>
                  <a:pt x="406" y="10875"/>
                  <a:pt x="406" y="10625"/>
                </a:cubicBezTo>
                <a:cubicBezTo>
                  <a:pt x="375" y="10313"/>
                  <a:pt x="375" y="10000"/>
                  <a:pt x="344" y="9688"/>
                </a:cubicBezTo>
                <a:cubicBezTo>
                  <a:pt x="344" y="9594"/>
                  <a:pt x="344" y="9531"/>
                  <a:pt x="344" y="9438"/>
                </a:cubicBezTo>
                <a:cubicBezTo>
                  <a:pt x="344" y="9344"/>
                  <a:pt x="344" y="9250"/>
                  <a:pt x="344" y="9125"/>
                </a:cubicBezTo>
                <a:cubicBezTo>
                  <a:pt x="312" y="9063"/>
                  <a:pt x="312" y="8969"/>
                  <a:pt x="312" y="8875"/>
                </a:cubicBezTo>
                <a:cubicBezTo>
                  <a:pt x="312" y="8875"/>
                  <a:pt x="312" y="8844"/>
                  <a:pt x="312" y="8844"/>
                </a:cubicBezTo>
                <a:cubicBezTo>
                  <a:pt x="312" y="8781"/>
                  <a:pt x="312" y="8750"/>
                  <a:pt x="312" y="8719"/>
                </a:cubicBezTo>
                <a:cubicBezTo>
                  <a:pt x="312" y="8688"/>
                  <a:pt x="312" y="8688"/>
                  <a:pt x="312" y="8656"/>
                </a:cubicBezTo>
                <a:cubicBezTo>
                  <a:pt x="312" y="8656"/>
                  <a:pt x="312" y="8656"/>
                  <a:pt x="312" y="8656"/>
                </a:cubicBezTo>
                <a:cubicBezTo>
                  <a:pt x="312" y="8625"/>
                  <a:pt x="312" y="8594"/>
                  <a:pt x="312" y="8563"/>
                </a:cubicBezTo>
                <a:cubicBezTo>
                  <a:pt x="312" y="8531"/>
                  <a:pt x="312" y="8500"/>
                  <a:pt x="312" y="8500"/>
                </a:cubicBezTo>
                <a:cubicBezTo>
                  <a:pt x="312" y="8500"/>
                  <a:pt x="312" y="8469"/>
                  <a:pt x="312" y="8469"/>
                </a:cubicBezTo>
                <a:cubicBezTo>
                  <a:pt x="312" y="8438"/>
                  <a:pt x="281" y="8406"/>
                  <a:pt x="312" y="8375"/>
                </a:cubicBezTo>
                <a:cubicBezTo>
                  <a:pt x="312" y="8313"/>
                  <a:pt x="312" y="8250"/>
                  <a:pt x="312" y="8219"/>
                </a:cubicBezTo>
                <a:cubicBezTo>
                  <a:pt x="312" y="8188"/>
                  <a:pt x="312" y="8188"/>
                  <a:pt x="312" y="8156"/>
                </a:cubicBezTo>
                <a:cubicBezTo>
                  <a:pt x="281" y="8094"/>
                  <a:pt x="281" y="8000"/>
                  <a:pt x="281" y="7938"/>
                </a:cubicBezTo>
                <a:cubicBezTo>
                  <a:pt x="281" y="7906"/>
                  <a:pt x="281" y="7906"/>
                  <a:pt x="281" y="7875"/>
                </a:cubicBezTo>
                <a:cubicBezTo>
                  <a:pt x="281" y="7844"/>
                  <a:pt x="281" y="7781"/>
                  <a:pt x="281" y="7719"/>
                </a:cubicBezTo>
                <a:cubicBezTo>
                  <a:pt x="281" y="7281"/>
                  <a:pt x="281" y="6813"/>
                  <a:pt x="312" y="6375"/>
                </a:cubicBezTo>
                <a:cubicBezTo>
                  <a:pt x="344" y="6156"/>
                  <a:pt x="375" y="5938"/>
                  <a:pt x="406" y="5719"/>
                </a:cubicBezTo>
                <a:cubicBezTo>
                  <a:pt x="437" y="5531"/>
                  <a:pt x="437" y="5313"/>
                  <a:pt x="500" y="5125"/>
                </a:cubicBezTo>
                <a:cubicBezTo>
                  <a:pt x="594" y="4875"/>
                  <a:pt x="687" y="4625"/>
                  <a:pt x="781" y="4375"/>
                </a:cubicBezTo>
                <a:cubicBezTo>
                  <a:pt x="906" y="4063"/>
                  <a:pt x="1094" y="3813"/>
                  <a:pt x="1250" y="3531"/>
                </a:cubicBezTo>
                <a:cubicBezTo>
                  <a:pt x="1469" y="3156"/>
                  <a:pt x="1719" y="2844"/>
                  <a:pt x="2000" y="2563"/>
                </a:cubicBezTo>
                <a:cubicBezTo>
                  <a:pt x="2187" y="2344"/>
                  <a:pt x="2375" y="2156"/>
                  <a:pt x="2594" y="1938"/>
                </a:cubicBezTo>
                <a:cubicBezTo>
                  <a:pt x="2812" y="1750"/>
                  <a:pt x="3062" y="1563"/>
                  <a:pt x="3312" y="1375"/>
                </a:cubicBezTo>
                <a:cubicBezTo>
                  <a:pt x="3344" y="1344"/>
                  <a:pt x="3344" y="1375"/>
                  <a:pt x="3375" y="1406"/>
                </a:cubicBezTo>
                <a:cubicBezTo>
                  <a:pt x="3406" y="1469"/>
                  <a:pt x="3469" y="1500"/>
                  <a:pt x="3531" y="1563"/>
                </a:cubicBezTo>
                <a:cubicBezTo>
                  <a:pt x="3594" y="1594"/>
                  <a:pt x="3531" y="1625"/>
                  <a:pt x="3531" y="1688"/>
                </a:cubicBezTo>
                <a:cubicBezTo>
                  <a:pt x="3500" y="1750"/>
                  <a:pt x="3469" y="1688"/>
                  <a:pt x="3437" y="1688"/>
                </a:cubicBezTo>
                <a:cubicBezTo>
                  <a:pt x="3375" y="1656"/>
                  <a:pt x="3344" y="1656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12" y="1750"/>
                  <a:pt x="3312" y="1781"/>
                  <a:pt x="3312" y="1781"/>
                </a:cubicBezTo>
                <a:cubicBezTo>
                  <a:pt x="3281" y="1781"/>
                  <a:pt x="3281" y="1781"/>
                  <a:pt x="3281" y="1813"/>
                </a:cubicBezTo>
                <a:cubicBezTo>
                  <a:pt x="3250" y="1844"/>
                  <a:pt x="3250" y="1875"/>
                  <a:pt x="3156" y="1844"/>
                </a:cubicBezTo>
                <a:cubicBezTo>
                  <a:pt x="3125" y="1844"/>
                  <a:pt x="3031" y="1938"/>
                  <a:pt x="2969" y="2000"/>
                </a:cubicBezTo>
                <a:cubicBezTo>
                  <a:pt x="2906" y="2063"/>
                  <a:pt x="2844" y="2125"/>
                  <a:pt x="2844" y="2250"/>
                </a:cubicBezTo>
                <a:cubicBezTo>
                  <a:pt x="2844" y="2313"/>
                  <a:pt x="2781" y="2438"/>
                  <a:pt x="2719" y="2469"/>
                </a:cubicBezTo>
                <a:cubicBezTo>
                  <a:pt x="2625" y="2531"/>
                  <a:pt x="2594" y="2625"/>
                  <a:pt x="2500" y="2656"/>
                </a:cubicBezTo>
                <a:cubicBezTo>
                  <a:pt x="2437" y="2688"/>
                  <a:pt x="2437" y="2719"/>
                  <a:pt x="2469" y="2750"/>
                </a:cubicBezTo>
                <a:cubicBezTo>
                  <a:pt x="2531" y="2781"/>
                  <a:pt x="2500" y="2844"/>
                  <a:pt x="2500" y="2875"/>
                </a:cubicBezTo>
                <a:cubicBezTo>
                  <a:pt x="2469" y="3000"/>
                  <a:pt x="2437" y="3000"/>
                  <a:pt x="2344" y="2938"/>
                </a:cubicBezTo>
                <a:cubicBezTo>
                  <a:pt x="2312" y="2938"/>
                  <a:pt x="2312" y="2906"/>
                  <a:pt x="2250" y="2938"/>
                </a:cubicBezTo>
                <a:cubicBezTo>
                  <a:pt x="2219" y="2969"/>
                  <a:pt x="2250" y="3000"/>
                  <a:pt x="2250" y="3031"/>
                </a:cubicBezTo>
                <a:cubicBezTo>
                  <a:pt x="2281" y="3125"/>
                  <a:pt x="2281" y="3125"/>
                  <a:pt x="2187" y="3125"/>
                </a:cubicBezTo>
                <a:cubicBezTo>
                  <a:pt x="2125" y="3125"/>
                  <a:pt x="2094" y="3156"/>
                  <a:pt x="2062" y="3188"/>
                </a:cubicBezTo>
                <a:cubicBezTo>
                  <a:pt x="2031" y="3188"/>
                  <a:pt x="2031" y="3219"/>
                  <a:pt x="2031" y="3250"/>
                </a:cubicBezTo>
                <a:cubicBezTo>
                  <a:pt x="2062" y="3281"/>
                  <a:pt x="2094" y="3281"/>
                  <a:pt x="2125" y="3281"/>
                </a:cubicBezTo>
                <a:cubicBezTo>
                  <a:pt x="2219" y="3250"/>
                  <a:pt x="2312" y="3281"/>
                  <a:pt x="2375" y="3375"/>
                </a:cubicBezTo>
                <a:cubicBezTo>
                  <a:pt x="2469" y="3406"/>
                  <a:pt x="2469" y="3438"/>
                  <a:pt x="2437" y="3500"/>
                </a:cubicBezTo>
                <a:lnTo>
                  <a:pt x="2437" y="3500"/>
                </a:lnTo>
                <a:cubicBezTo>
                  <a:pt x="2406" y="3500"/>
                  <a:pt x="2406" y="3469"/>
                  <a:pt x="2375" y="3438"/>
                </a:cubicBezTo>
                <a:cubicBezTo>
                  <a:pt x="2375" y="3438"/>
                  <a:pt x="2375" y="3406"/>
                  <a:pt x="2375" y="3375"/>
                </a:cubicBezTo>
                <a:cubicBezTo>
                  <a:pt x="2375" y="3375"/>
                  <a:pt x="2344" y="3375"/>
                  <a:pt x="2344" y="3375"/>
                </a:cubicBezTo>
                <a:cubicBezTo>
                  <a:pt x="2281" y="3375"/>
                  <a:pt x="2187" y="3406"/>
                  <a:pt x="2125" y="3375"/>
                </a:cubicBezTo>
                <a:cubicBezTo>
                  <a:pt x="2094" y="3375"/>
                  <a:pt x="2094" y="3375"/>
                  <a:pt x="2094" y="3375"/>
                </a:cubicBezTo>
                <a:cubicBezTo>
                  <a:pt x="2000" y="3344"/>
                  <a:pt x="2125" y="3469"/>
                  <a:pt x="2031" y="3438"/>
                </a:cubicBezTo>
                <a:cubicBezTo>
                  <a:pt x="1969" y="3438"/>
                  <a:pt x="1969" y="3375"/>
                  <a:pt x="1937" y="3375"/>
                </a:cubicBezTo>
                <a:cubicBezTo>
                  <a:pt x="1906" y="3375"/>
                  <a:pt x="1906" y="3406"/>
                  <a:pt x="1906" y="3406"/>
                </a:cubicBezTo>
                <a:cubicBezTo>
                  <a:pt x="1875" y="3438"/>
                  <a:pt x="1906" y="3438"/>
                  <a:pt x="1906" y="3469"/>
                </a:cubicBezTo>
                <a:cubicBezTo>
                  <a:pt x="1969" y="3500"/>
                  <a:pt x="2031" y="3531"/>
                  <a:pt x="2062" y="3594"/>
                </a:cubicBezTo>
                <a:cubicBezTo>
                  <a:pt x="1937" y="3625"/>
                  <a:pt x="1844" y="3688"/>
                  <a:pt x="1781" y="3813"/>
                </a:cubicBezTo>
                <a:cubicBezTo>
                  <a:pt x="1781" y="3844"/>
                  <a:pt x="1750" y="3844"/>
                  <a:pt x="1719" y="3844"/>
                </a:cubicBezTo>
                <a:cubicBezTo>
                  <a:pt x="1594" y="3906"/>
                  <a:pt x="1562" y="4000"/>
                  <a:pt x="1500" y="4125"/>
                </a:cubicBezTo>
                <a:cubicBezTo>
                  <a:pt x="1469" y="4188"/>
                  <a:pt x="1531" y="4219"/>
                  <a:pt x="1562" y="4188"/>
                </a:cubicBezTo>
                <a:cubicBezTo>
                  <a:pt x="1625" y="4156"/>
                  <a:pt x="1656" y="4188"/>
                  <a:pt x="1719" y="4250"/>
                </a:cubicBezTo>
                <a:cubicBezTo>
                  <a:pt x="1687" y="4063"/>
                  <a:pt x="1812" y="4156"/>
                  <a:pt x="1906" y="4094"/>
                </a:cubicBezTo>
                <a:cubicBezTo>
                  <a:pt x="1844" y="4094"/>
                  <a:pt x="1812" y="4094"/>
                  <a:pt x="1750" y="4063"/>
                </a:cubicBezTo>
                <a:cubicBezTo>
                  <a:pt x="1906" y="3969"/>
                  <a:pt x="2062" y="4063"/>
                  <a:pt x="2219" y="4031"/>
                </a:cubicBezTo>
                <a:cubicBezTo>
                  <a:pt x="2219" y="4031"/>
                  <a:pt x="2219" y="4063"/>
                  <a:pt x="2219" y="4063"/>
                </a:cubicBezTo>
                <a:cubicBezTo>
                  <a:pt x="2219" y="4094"/>
                  <a:pt x="2187" y="4125"/>
                  <a:pt x="2156" y="4125"/>
                </a:cubicBezTo>
                <a:cubicBezTo>
                  <a:pt x="2062" y="4094"/>
                  <a:pt x="1969" y="4094"/>
                  <a:pt x="1875" y="4188"/>
                </a:cubicBezTo>
                <a:cubicBezTo>
                  <a:pt x="1781" y="4313"/>
                  <a:pt x="1594" y="4281"/>
                  <a:pt x="1469" y="4344"/>
                </a:cubicBezTo>
                <a:cubicBezTo>
                  <a:pt x="1312" y="4438"/>
                  <a:pt x="1281" y="4625"/>
                  <a:pt x="1219" y="4781"/>
                </a:cubicBezTo>
                <a:cubicBezTo>
                  <a:pt x="1250" y="4813"/>
                  <a:pt x="1281" y="4781"/>
                  <a:pt x="1312" y="4781"/>
                </a:cubicBezTo>
                <a:cubicBezTo>
                  <a:pt x="1375" y="4750"/>
                  <a:pt x="1437" y="4719"/>
                  <a:pt x="1437" y="4750"/>
                </a:cubicBezTo>
                <a:cubicBezTo>
                  <a:pt x="1500" y="4844"/>
                  <a:pt x="1562" y="4781"/>
                  <a:pt x="1594" y="4750"/>
                </a:cubicBezTo>
                <a:cubicBezTo>
                  <a:pt x="1656" y="4688"/>
                  <a:pt x="1781" y="4719"/>
                  <a:pt x="1844" y="4719"/>
                </a:cubicBezTo>
                <a:cubicBezTo>
                  <a:pt x="1937" y="4688"/>
                  <a:pt x="1812" y="4750"/>
                  <a:pt x="1844" y="4813"/>
                </a:cubicBezTo>
                <a:cubicBezTo>
                  <a:pt x="2031" y="4750"/>
                  <a:pt x="2156" y="4594"/>
                  <a:pt x="2344" y="4500"/>
                </a:cubicBezTo>
                <a:cubicBezTo>
                  <a:pt x="2250" y="4500"/>
                  <a:pt x="2156" y="4531"/>
                  <a:pt x="2062" y="4500"/>
                </a:cubicBezTo>
                <a:cubicBezTo>
                  <a:pt x="2000" y="4469"/>
                  <a:pt x="2000" y="4500"/>
                  <a:pt x="2031" y="4625"/>
                </a:cubicBezTo>
                <a:cubicBezTo>
                  <a:pt x="1937" y="4531"/>
                  <a:pt x="1781" y="4594"/>
                  <a:pt x="1687" y="4500"/>
                </a:cubicBezTo>
                <a:cubicBezTo>
                  <a:pt x="1625" y="4469"/>
                  <a:pt x="1531" y="4531"/>
                  <a:pt x="1469" y="4594"/>
                </a:cubicBezTo>
                <a:cubicBezTo>
                  <a:pt x="1469" y="4625"/>
                  <a:pt x="1437" y="4688"/>
                  <a:pt x="1406" y="4656"/>
                </a:cubicBezTo>
                <a:cubicBezTo>
                  <a:pt x="1344" y="4625"/>
                  <a:pt x="1406" y="4594"/>
                  <a:pt x="1437" y="4563"/>
                </a:cubicBezTo>
                <a:cubicBezTo>
                  <a:pt x="1469" y="4500"/>
                  <a:pt x="1531" y="4438"/>
                  <a:pt x="1562" y="4406"/>
                </a:cubicBezTo>
                <a:cubicBezTo>
                  <a:pt x="1625" y="4344"/>
                  <a:pt x="1656" y="4375"/>
                  <a:pt x="1687" y="4406"/>
                </a:cubicBezTo>
                <a:cubicBezTo>
                  <a:pt x="1812" y="4500"/>
                  <a:pt x="1969" y="4469"/>
                  <a:pt x="2062" y="4344"/>
                </a:cubicBezTo>
                <a:cubicBezTo>
                  <a:pt x="2062" y="4313"/>
                  <a:pt x="2062" y="4313"/>
                  <a:pt x="2094" y="4313"/>
                </a:cubicBezTo>
                <a:cubicBezTo>
                  <a:pt x="2125" y="4344"/>
                  <a:pt x="2187" y="4313"/>
                  <a:pt x="2219" y="4313"/>
                </a:cubicBezTo>
                <a:cubicBezTo>
                  <a:pt x="2219" y="4375"/>
                  <a:pt x="2156" y="4344"/>
                  <a:pt x="2156" y="4406"/>
                </a:cubicBezTo>
                <a:cubicBezTo>
                  <a:pt x="2312" y="4438"/>
                  <a:pt x="2312" y="4406"/>
                  <a:pt x="2250" y="4188"/>
                </a:cubicBezTo>
                <a:cubicBezTo>
                  <a:pt x="2344" y="4250"/>
                  <a:pt x="2406" y="4250"/>
                  <a:pt x="2437" y="4156"/>
                </a:cubicBezTo>
                <a:cubicBezTo>
                  <a:pt x="2469" y="4063"/>
                  <a:pt x="2344" y="4031"/>
                  <a:pt x="2312" y="4000"/>
                </a:cubicBezTo>
                <a:cubicBezTo>
                  <a:pt x="2312" y="3938"/>
                  <a:pt x="2375" y="3938"/>
                  <a:pt x="2375" y="3969"/>
                </a:cubicBezTo>
                <a:cubicBezTo>
                  <a:pt x="2469" y="4094"/>
                  <a:pt x="2594" y="4000"/>
                  <a:pt x="2687" y="4063"/>
                </a:cubicBezTo>
                <a:cubicBezTo>
                  <a:pt x="2719" y="4094"/>
                  <a:pt x="2750" y="4063"/>
                  <a:pt x="2750" y="4031"/>
                </a:cubicBezTo>
                <a:cubicBezTo>
                  <a:pt x="2781" y="4000"/>
                  <a:pt x="2750" y="3969"/>
                  <a:pt x="2719" y="3969"/>
                </a:cubicBezTo>
                <a:cubicBezTo>
                  <a:pt x="2687" y="3938"/>
                  <a:pt x="2625" y="3906"/>
                  <a:pt x="2625" y="3781"/>
                </a:cubicBezTo>
                <a:cubicBezTo>
                  <a:pt x="2719" y="3906"/>
                  <a:pt x="2906" y="3906"/>
                  <a:pt x="2969" y="4063"/>
                </a:cubicBezTo>
                <a:cubicBezTo>
                  <a:pt x="2969" y="4094"/>
                  <a:pt x="3000" y="4094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00" y="4031"/>
                  <a:pt x="3000" y="4000"/>
                  <a:pt x="3000" y="4000"/>
                </a:cubicBezTo>
                <a:cubicBezTo>
                  <a:pt x="3000" y="4000"/>
                  <a:pt x="3000" y="4000"/>
                  <a:pt x="3031" y="4000"/>
                </a:cubicBezTo>
                <a:cubicBezTo>
                  <a:pt x="3031" y="4000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62" y="4031"/>
                  <a:pt x="3094" y="4031"/>
                  <a:pt x="3125" y="4031"/>
                </a:cubicBezTo>
                <a:cubicBezTo>
                  <a:pt x="3125" y="4031"/>
                  <a:pt x="3125" y="4031"/>
                  <a:pt x="3125" y="4031"/>
                </a:cubicBezTo>
                <a:cubicBezTo>
                  <a:pt x="3125" y="4000"/>
                  <a:pt x="3094" y="3969"/>
                  <a:pt x="3062" y="3875"/>
                </a:cubicBezTo>
                <a:cubicBezTo>
                  <a:pt x="3187" y="3969"/>
                  <a:pt x="3312" y="3906"/>
                  <a:pt x="3375" y="4000"/>
                </a:cubicBezTo>
                <a:cubicBezTo>
                  <a:pt x="3406" y="4031"/>
                  <a:pt x="3469" y="4000"/>
                  <a:pt x="3437" y="3938"/>
                </a:cubicBezTo>
                <a:cubicBezTo>
                  <a:pt x="3437" y="3906"/>
                  <a:pt x="3406" y="3875"/>
                  <a:pt x="3375" y="3781"/>
                </a:cubicBezTo>
                <a:cubicBezTo>
                  <a:pt x="3562" y="3906"/>
                  <a:pt x="3719" y="4000"/>
                  <a:pt x="3875" y="4094"/>
                </a:cubicBezTo>
                <a:cubicBezTo>
                  <a:pt x="3844" y="4156"/>
                  <a:pt x="3750" y="4094"/>
                  <a:pt x="3781" y="4188"/>
                </a:cubicBezTo>
                <a:cubicBezTo>
                  <a:pt x="3781" y="4250"/>
                  <a:pt x="3812" y="4313"/>
                  <a:pt x="3875" y="4344"/>
                </a:cubicBezTo>
                <a:cubicBezTo>
                  <a:pt x="3969" y="4375"/>
                  <a:pt x="4062" y="4375"/>
                  <a:pt x="4156" y="4375"/>
                </a:cubicBezTo>
                <a:cubicBezTo>
                  <a:pt x="4156" y="4313"/>
                  <a:pt x="4094" y="4250"/>
                  <a:pt x="4219" y="4281"/>
                </a:cubicBezTo>
                <a:cubicBezTo>
                  <a:pt x="4219" y="4281"/>
                  <a:pt x="4219" y="4281"/>
                  <a:pt x="4219" y="4281"/>
                </a:cubicBezTo>
                <a:cubicBezTo>
                  <a:pt x="4281" y="4281"/>
                  <a:pt x="4312" y="4250"/>
                  <a:pt x="4344" y="4219"/>
                </a:cubicBezTo>
                <a:cubicBezTo>
                  <a:pt x="4344" y="4188"/>
                  <a:pt x="4344" y="4188"/>
                  <a:pt x="4344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250" y="4156"/>
                  <a:pt x="4219" y="4125"/>
                  <a:pt x="4156" y="4094"/>
                </a:cubicBezTo>
                <a:cubicBezTo>
                  <a:pt x="4156" y="4094"/>
                  <a:pt x="4156" y="4063"/>
                  <a:pt x="4125" y="4063"/>
                </a:cubicBezTo>
                <a:cubicBezTo>
                  <a:pt x="4125" y="4063"/>
                  <a:pt x="4094" y="4031"/>
                  <a:pt x="4062" y="4031"/>
                </a:cubicBezTo>
                <a:cubicBezTo>
                  <a:pt x="4062" y="4031"/>
                  <a:pt x="4031" y="4031"/>
                  <a:pt x="4031" y="4000"/>
                </a:cubicBezTo>
                <a:cubicBezTo>
                  <a:pt x="4000" y="4000"/>
                  <a:pt x="3969" y="4000"/>
                  <a:pt x="3969" y="3969"/>
                </a:cubicBezTo>
                <a:cubicBezTo>
                  <a:pt x="3969" y="3969"/>
                  <a:pt x="3969" y="3969"/>
                  <a:pt x="3969" y="3969"/>
                </a:cubicBezTo>
                <a:cubicBezTo>
                  <a:pt x="3906" y="3969"/>
                  <a:pt x="3875" y="3969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781" y="3938"/>
                  <a:pt x="3750" y="3906"/>
                  <a:pt x="3750" y="3875"/>
                </a:cubicBezTo>
                <a:cubicBezTo>
                  <a:pt x="3750" y="3875"/>
                  <a:pt x="3750" y="3875"/>
                  <a:pt x="3750" y="3875"/>
                </a:cubicBezTo>
                <a:cubicBezTo>
                  <a:pt x="3719" y="3844"/>
                  <a:pt x="3687" y="3844"/>
                  <a:pt x="3687" y="3813"/>
                </a:cubicBezTo>
                <a:cubicBezTo>
                  <a:pt x="3687" y="3813"/>
                  <a:pt x="3687" y="3813"/>
                  <a:pt x="3687" y="3813"/>
                </a:cubicBezTo>
                <a:cubicBezTo>
                  <a:pt x="3687" y="3781"/>
                  <a:pt x="3687" y="3781"/>
                  <a:pt x="3719" y="3781"/>
                </a:cubicBezTo>
                <a:cubicBezTo>
                  <a:pt x="3750" y="3781"/>
                  <a:pt x="3750" y="3813"/>
                  <a:pt x="3781" y="3844"/>
                </a:cubicBezTo>
                <a:cubicBezTo>
                  <a:pt x="3781" y="3844"/>
                  <a:pt x="3781" y="3844"/>
                  <a:pt x="3781" y="3844"/>
                </a:cubicBezTo>
                <a:cubicBezTo>
                  <a:pt x="3812" y="3875"/>
                  <a:pt x="3844" y="3875"/>
                  <a:pt x="3844" y="3938"/>
                </a:cubicBezTo>
                <a:cubicBezTo>
                  <a:pt x="3875" y="3938"/>
                  <a:pt x="3906" y="3938"/>
                  <a:pt x="3906" y="3938"/>
                </a:cubicBezTo>
                <a:cubicBezTo>
                  <a:pt x="3937" y="3938"/>
                  <a:pt x="3969" y="3938"/>
                  <a:pt x="3969" y="3938"/>
                </a:cubicBezTo>
                <a:cubicBezTo>
                  <a:pt x="3969" y="3938"/>
                  <a:pt x="3969" y="3938"/>
                  <a:pt x="3969" y="3938"/>
                </a:cubicBezTo>
                <a:cubicBezTo>
                  <a:pt x="4000" y="3969"/>
                  <a:pt x="4062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62" y="3938"/>
                  <a:pt x="4062" y="3906"/>
                  <a:pt x="4031" y="3875"/>
                </a:cubicBezTo>
                <a:cubicBezTo>
                  <a:pt x="4031" y="3875"/>
                  <a:pt x="4000" y="3844"/>
                  <a:pt x="4000" y="3844"/>
                </a:cubicBezTo>
                <a:cubicBezTo>
                  <a:pt x="3969" y="3813"/>
                  <a:pt x="3937" y="3781"/>
                  <a:pt x="3906" y="3781"/>
                </a:cubicBezTo>
                <a:cubicBezTo>
                  <a:pt x="3875" y="3750"/>
                  <a:pt x="3844" y="3719"/>
                  <a:pt x="3812" y="3656"/>
                </a:cubicBezTo>
                <a:cubicBezTo>
                  <a:pt x="3812" y="3625"/>
                  <a:pt x="3781" y="3625"/>
                  <a:pt x="3750" y="3625"/>
                </a:cubicBezTo>
                <a:cubicBezTo>
                  <a:pt x="3531" y="3688"/>
                  <a:pt x="3406" y="3500"/>
                  <a:pt x="3219" y="3469"/>
                </a:cubicBezTo>
                <a:cubicBezTo>
                  <a:pt x="3187" y="3469"/>
                  <a:pt x="3187" y="3438"/>
                  <a:pt x="3187" y="3406"/>
                </a:cubicBezTo>
                <a:cubicBezTo>
                  <a:pt x="3219" y="3375"/>
                  <a:pt x="3344" y="3531"/>
                  <a:pt x="3344" y="3375"/>
                </a:cubicBezTo>
                <a:cubicBezTo>
                  <a:pt x="3312" y="3344"/>
                  <a:pt x="3312" y="3344"/>
                  <a:pt x="3312" y="3313"/>
                </a:cubicBezTo>
                <a:cubicBezTo>
                  <a:pt x="3312" y="3313"/>
                  <a:pt x="3344" y="3313"/>
                  <a:pt x="3344" y="3313"/>
                </a:cubicBezTo>
                <a:cubicBezTo>
                  <a:pt x="3344" y="3313"/>
                  <a:pt x="3344" y="3313"/>
                  <a:pt x="3344" y="3313"/>
                </a:cubicBezTo>
                <a:cubicBezTo>
                  <a:pt x="3375" y="3313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75" y="3344"/>
                </a:cubicBezTo>
                <a:cubicBezTo>
                  <a:pt x="3406" y="3375"/>
                  <a:pt x="3469" y="3406"/>
                  <a:pt x="3500" y="3438"/>
                </a:cubicBezTo>
                <a:cubicBezTo>
                  <a:pt x="3531" y="3469"/>
                  <a:pt x="3594" y="3500"/>
                  <a:pt x="3656" y="3469"/>
                </a:cubicBezTo>
                <a:cubicBezTo>
                  <a:pt x="3687" y="3438"/>
                  <a:pt x="3687" y="3469"/>
                  <a:pt x="3719" y="3500"/>
                </a:cubicBezTo>
                <a:cubicBezTo>
                  <a:pt x="3781" y="3563"/>
                  <a:pt x="3844" y="3594"/>
                  <a:pt x="3906" y="3688"/>
                </a:cubicBezTo>
                <a:cubicBezTo>
                  <a:pt x="3969" y="3750"/>
                  <a:pt x="4031" y="3813"/>
                  <a:pt x="4125" y="3813"/>
                </a:cubicBezTo>
                <a:cubicBezTo>
                  <a:pt x="4156" y="3813"/>
                  <a:pt x="4219" y="3875"/>
                  <a:pt x="4281" y="3844"/>
                </a:cubicBezTo>
                <a:cubicBezTo>
                  <a:pt x="4187" y="3781"/>
                  <a:pt x="4062" y="3719"/>
                  <a:pt x="4000" y="3625"/>
                </a:cubicBezTo>
                <a:cubicBezTo>
                  <a:pt x="3906" y="3531"/>
                  <a:pt x="3812" y="3469"/>
                  <a:pt x="3750" y="3375"/>
                </a:cubicBezTo>
                <a:cubicBezTo>
                  <a:pt x="3719" y="3344"/>
                  <a:pt x="3719" y="3313"/>
                  <a:pt x="3781" y="3313"/>
                </a:cubicBezTo>
                <a:cubicBezTo>
                  <a:pt x="3812" y="3313"/>
                  <a:pt x="3844" y="3250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75" y="3188"/>
                  <a:pt x="3875" y="3188"/>
                  <a:pt x="3875" y="3156"/>
                </a:cubicBezTo>
                <a:cubicBezTo>
                  <a:pt x="3844" y="3156"/>
                  <a:pt x="3844" y="3156"/>
                  <a:pt x="3812" y="3125"/>
                </a:cubicBezTo>
                <a:cubicBezTo>
                  <a:pt x="3750" y="3094"/>
                  <a:pt x="3687" y="3031"/>
                  <a:pt x="3656" y="3000"/>
                </a:cubicBezTo>
                <a:cubicBezTo>
                  <a:pt x="3625" y="2969"/>
                  <a:pt x="3562" y="2969"/>
                  <a:pt x="3594" y="2938"/>
                </a:cubicBezTo>
                <a:cubicBezTo>
                  <a:pt x="3625" y="2875"/>
                  <a:pt x="3656" y="2938"/>
                  <a:pt x="3687" y="2938"/>
                </a:cubicBezTo>
                <a:cubicBezTo>
                  <a:pt x="3750" y="2969"/>
                  <a:pt x="3781" y="3094"/>
                  <a:pt x="3875" y="3000"/>
                </a:cubicBezTo>
                <a:cubicBezTo>
                  <a:pt x="3875" y="3000"/>
                  <a:pt x="3937" y="3031"/>
                  <a:pt x="3937" y="3031"/>
                </a:cubicBezTo>
                <a:cubicBezTo>
                  <a:pt x="4094" y="3188"/>
                  <a:pt x="4250" y="3313"/>
                  <a:pt x="4406" y="3469"/>
                </a:cubicBezTo>
                <a:cubicBezTo>
                  <a:pt x="4437" y="3469"/>
                  <a:pt x="4406" y="3281"/>
                  <a:pt x="4500" y="3406"/>
                </a:cubicBezTo>
                <a:cubicBezTo>
                  <a:pt x="4531" y="3438"/>
                  <a:pt x="4562" y="3438"/>
                  <a:pt x="4562" y="3406"/>
                </a:cubicBezTo>
                <a:cubicBezTo>
                  <a:pt x="4594" y="3375"/>
                  <a:pt x="4625" y="3406"/>
                  <a:pt x="4656" y="3438"/>
                </a:cubicBezTo>
                <a:cubicBezTo>
                  <a:pt x="4656" y="3500"/>
                  <a:pt x="4687" y="3531"/>
                  <a:pt x="4719" y="3594"/>
                </a:cubicBezTo>
                <a:cubicBezTo>
                  <a:pt x="4719" y="3594"/>
                  <a:pt x="4750" y="3625"/>
                  <a:pt x="4750" y="3625"/>
                </a:cubicBezTo>
                <a:cubicBezTo>
                  <a:pt x="4781" y="3625"/>
                  <a:pt x="4781" y="3656"/>
                  <a:pt x="4812" y="3656"/>
                </a:cubicBezTo>
                <a:cubicBezTo>
                  <a:pt x="4812" y="3688"/>
                  <a:pt x="4844" y="3688"/>
                  <a:pt x="4844" y="3688"/>
                </a:cubicBezTo>
                <a:cubicBezTo>
                  <a:pt x="4875" y="3719"/>
                  <a:pt x="4906" y="3750"/>
                  <a:pt x="4937" y="3750"/>
                </a:cubicBezTo>
                <a:cubicBezTo>
                  <a:pt x="4937" y="3781"/>
                  <a:pt x="4969" y="3781"/>
                  <a:pt x="4969" y="3781"/>
                </a:cubicBezTo>
                <a:cubicBezTo>
                  <a:pt x="5000" y="3719"/>
                  <a:pt x="4937" y="3719"/>
                  <a:pt x="4906" y="3656"/>
                </a:cubicBezTo>
                <a:cubicBezTo>
                  <a:pt x="4969" y="3594"/>
                  <a:pt x="5031" y="3625"/>
                  <a:pt x="5094" y="3688"/>
                </a:cubicBezTo>
                <a:cubicBezTo>
                  <a:pt x="5219" y="3813"/>
                  <a:pt x="5375" y="3906"/>
                  <a:pt x="5531" y="3969"/>
                </a:cubicBezTo>
                <a:cubicBezTo>
                  <a:pt x="5531" y="3844"/>
                  <a:pt x="5437" y="3844"/>
                  <a:pt x="5375" y="3781"/>
                </a:cubicBezTo>
                <a:cubicBezTo>
                  <a:pt x="5375" y="3750"/>
                  <a:pt x="5375" y="3719"/>
                  <a:pt x="5344" y="3719"/>
                </a:cubicBezTo>
                <a:cubicBezTo>
                  <a:pt x="5344" y="3719"/>
                  <a:pt x="5344" y="3719"/>
                  <a:pt x="5312" y="3688"/>
                </a:cubicBezTo>
                <a:close/>
                <a:moveTo>
                  <a:pt x="21719" y="4906"/>
                </a:move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lose/>
                <a:moveTo>
                  <a:pt x="1312" y="17219"/>
                </a:moveTo>
                <a:cubicBezTo>
                  <a:pt x="1312" y="17219"/>
                  <a:pt x="1312" y="17219"/>
                  <a:pt x="1312" y="17219"/>
                </a:cubicBezTo>
                <a:cubicBezTo>
                  <a:pt x="1312" y="17219"/>
                  <a:pt x="1312" y="17219"/>
                  <a:pt x="1312" y="17219"/>
                </a:cubicBezTo>
                <a:close/>
                <a:moveTo>
                  <a:pt x="13094" y="3813"/>
                </a:move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lose/>
                <a:moveTo>
                  <a:pt x="6375" y="625"/>
                </a:moveTo>
                <a:cubicBezTo>
                  <a:pt x="6406" y="625"/>
                  <a:pt x="6469" y="625"/>
                  <a:pt x="6500" y="594"/>
                </a:cubicBezTo>
                <a:cubicBezTo>
                  <a:pt x="6562" y="500"/>
                  <a:pt x="6687" y="531"/>
                  <a:pt x="6750" y="563"/>
                </a:cubicBezTo>
                <a:cubicBezTo>
                  <a:pt x="6875" y="625"/>
                  <a:pt x="7000" y="625"/>
                  <a:pt x="7125" y="656"/>
                </a:cubicBezTo>
                <a:cubicBezTo>
                  <a:pt x="7125" y="656"/>
                  <a:pt x="7125" y="625"/>
                  <a:pt x="7156" y="625"/>
                </a:cubicBezTo>
                <a:cubicBezTo>
                  <a:pt x="7156" y="594"/>
                  <a:pt x="7156" y="531"/>
                  <a:pt x="7187" y="531"/>
                </a:cubicBezTo>
                <a:cubicBezTo>
                  <a:pt x="7250" y="531"/>
                  <a:pt x="7281" y="594"/>
                  <a:pt x="7250" y="688"/>
                </a:cubicBezTo>
                <a:cubicBezTo>
                  <a:pt x="7250" y="719"/>
                  <a:pt x="7250" y="750"/>
                  <a:pt x="7281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44" y="813"/>
                  <a:pt x="7312" y="844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281" y="875"/>
                  <a:pt x="7250" y="875"/>
                  <a:pt x="7250" y="906"/>
                </a:cubicBezTo>
                <a:cubicBezTo>
                  <a:pt x="7250" y="906"/>
                  <a:pt x="7250" y="938"/>
                  <a:pt x="7250" y="938"/>
                </a:cubicBezTo>
                <a:cubicBezTo>
                  <a:pt x="7250" y="938"/>
                  <a:pt x="7281" y="938"/>
                  <a:pt x="7281" y="938"/>
                </a:cubicBezTo>
                <a:cubicBezTo>
                  <a:pt x="7312" y="938"/>
                  <a:pt x="7312" y="906"/>
                  <a:pt x="7312" y="875"/>
                </a:cubicBezTo>
                <a:cubicBezTo>
                  <a:pt x="7375" y="875"/>
                  <a:pt x="7437" y="938"/>
                  <a:pt x="7469" y="969"/>
                </a:cubicBezTo>
                <a:cubicBezTo>
                  <a:pt x="7562" y="1000"/>
                  <a:pt x="7625" y="1125"/>
                  <a:pt x="7750" y="1094"/>
                </a:cubicBezTo>
                <a:cubicBezTo>
                  <a:pt x="7781" y="1094"/>
                  <a:pt x="7812" y="1125"/>
                  <a:pt x="7812" y="1156"/>
                </a:cubicBezTo>
                <a:cubicBezTo>
                  <a:pt x="7750" y="1250"/>
                  <a:pt x="7844" y="1250"/>
                  <a:pt x="7906" y="1281"/>
                </a:cubicBezTo>
                <a:cubicBezTo>
                  <a:pt x="7937" y="1281"/>
                  <a:pt x="7969" y="1313"/>
                  <a:pt x="7906" y="1344"/>
                </a:cubicBezTo>
                <a:cubicBezTo>
                  <a:pt x="7906" y="1375"/>
                  <a:pt x="7844" y="1375"/>
                  <a:pt x="7875" y="1406"/>
                </a:cubicBezTo>
                <a:cubicBezTo>
                  <a:pt x="7906" y="1438"/>
                  <a:pt x="7937" y="1438"/>
                  <a:pt x="7969" y="1438"/>
                </a:cubicBezTo>
                <a:cubicBezTo>
                  <a:pt x="8125" y="1406"/>
                  <a:pt x="8312" y="1375"/>
                  <a:pt x="8437" y="1531"/>
                </a:cubicBezTo>
                <a:cubicBezTo>
                  <a:pt x="8437" y="1531"/>
                  <a:pt x="8437" y="1531"/>
                  <a:pt x="8406" y="1531"/>
                </a:cubicBezTo>
                <a:cubicBezTo>
                  <a:pt x="8406" y="1531"/>
                  <a:pt x="8406" y="1531"/>
                  <a:pt x="8406" y="1531"/>
                </a:cubicBezTo>
                <a:cubicBezTo>
                  <a:pt x="8406" y="1531"/>
                  <a:pt x="8406" y="1563"/>
                  <a:pt x="8406" y="1563"/>
                </a:cubicBezTo>
                <a:cubicBezTo>
                  <a:pt x="8344" y="1563"/>
                  <a:pt x="8312" y="1563"/>
                  <a:pt x="8250" y="1531"/>
                </a:cubicBezTo>
                <a:cubicBezTo>
                  <a:pt x="8219" y="1531"/>
                  <a:pt x="8156" y="1500"/>
                  <a:pt x="8094" y="1500"/>
                </a:cubicBezTo>
                <a:cubicBezTo>
                  <a:pt x="8062" y="1531"/>
                  <a:pt x="8031" y="1563"/>
                  <a:pt x="8031" y="1594"/>
                </a:cubicBezTo>
                <a:cubicBezTo>
                  <a:pt x="8062" y="1656"/>
                  <a:pt x="8062" y="1688"/>
                  <a:pt x="8125" y="1688"/>
                </a:cubicBezTo>
                <a:cubicBezTo>
                  <a:pt x="8250" y="1656"/>
                  <a:pt x="8156" y="1750"/>
                  <a:pt x="8156" y="1750"/>
                </a:cubicBezTo>
                <a:cubicBezTo>
                  <a:pt x="8187" y="1781"/>
                  <a:pt x="8219" y="1781"/>
                  <a:pt x="8281" y="1781"/>
                </a:cubicBezTo>
                <a:cubicBezTo>
                  <a:pt x="8281" y="1781"/>
                  <a:pt x="8312" y="1844"/>
                  <a:pt x="8344" y="1781"/>
                </a:cubicBezTo>
                <a:cubicBezTo>
                  <a:pt x="8375" y="1781"/>
                  <a:pt x="8344" y="1750"/>
                  <a:pt x="8344" y="1719"/>
                </a:cubicBezTo>
                <a:cubicBezTo>
                  <a:pt x="8312" y="1656"/>
                  <a:pt x="8281" y="1625"/>
                  <a:pt x="8375" y="1625"/>
                </a:cubicBezTo>
                <a:cubicBezTo>
                  <a:pt x="8406" y="1656"/>
                  <a:pt x="8406" y="1594"/>
                  <a:pt x="8406" y="1563"/>
                </a:cubicBezTo>
                <a:cubicBezTo>
                  <a:pt x="8500" y="1563"/>
                  <a:pt x="8656" y="1531"/>
                  <a:pt x="8687" y="1469"/>
                </a:cubicBezTo>
                <a:cubicBezTo>
                  <a:pt x="8750" y="1344"/>
                  <a:pt x="8844" y="1406"/>
                  <a:pt x="8875" y="1406"/>
                </a:cubicBezTo>
                <a:cubicBezTo>
                  <a:pt x="9000" y="1500"/>
                  <a:pt x="9094" y="1281"/>
                  <a:pt x="9219" y="1344"/>
                </a:cubicBezTo>
                <a:cubicBezTo>
                  <a:pt x="9219" y="1188"/>
                  <a:pt x="9250" y="1281"/>
                  <a:pt x="9312" y="1344"/>
                </a:cubicBezTo>
                <a:cubicBezTo>
                  <a:pt x="9344" y="1375"/>
                  <a:pt x="9375" y="1375"/>
                  <a:pt x="9406" y="1344"/>
                </a:cubicBezTo>
                <a:cubicBezTo>
                  <a:pt x="9469" y="1344"/>
                  <a:pt x="9531" y="1344"/>
                  <a:pt x="9562" y="1375"/>
                </a:cubicBezTo>
                <a:cubicBezTo>
                  <a:pt x="9625" y="1406"/>
                  <a:pt x="9656" y="1438"/>
                  <a:pt x="9687" y="1344"/>
                </a:cubicBezTo>
                <a:cubicBezTo>
                  <a:pt x="9687" y="1281"/>
                  <a:pt x="9719" y="1281"/>
                  <a:pt x="9750" y="1313"/>
                </a:cubicBezTo>
                <a:cubicBezTo>
                  <a:pt x="9812" y="1406"/>
                  <a:pt x="9812" y="1469"/>
                  <a:pt x="9937" y="1500"/>
                </a:cubicBezTo>
                <a:cubicBezTo>
                  <a:pt x="9969" y="1500"/>
                  <a:pt x="10000" y="1563"/>
                  <a:pt x="10062" y="1531"/>
                </a:cubicBezTo>
                <a:cubicBezTo>
                  <a:pt x="10062" y="1594"/>
                  <a:pt x="10062" y="1594"/>
                  <a:pt x="10031" y="1594"/>
                </a:cubicBezTo>
                <a:cubicBezTo>
                  <a:pt x="9969" y="1594"/>
                  <a:pt x="9937" y="1625"/>
                  <a:pt x="9937" y="1688"/>
                </a:cubicBezTo>
                <a:cubicBezTo>
                  <a:pt x="9969" y="1719"/>
                  <a:pt x="10031" y="1688"/>
                  <a:pt x="10062" y="1656"/>
                </a:cubicBezTo>
                <a:cubicBezTo>
                  <a:pt x="10125" y="1625"/>
                  <a:pt x="10156" y="1531"/>
                  <a:pt x="10219" y="1563"/>
                </a:cubicBezTo>
                <a:cubicBezTo>
                  <a:pt x="10312" y="1594"/>
                  <a:pt x="10250" y="1688"/>
                  <a:pt x="10281" y="1750"/>
                </a:cubicBezTo>
                <a:cubicBezTo>
                  <a:pt x="10281" y="1750"/>
                  <a:pt x="10312" y="1781"/>
                  <a:pt x="10312" y="1781"/>
                </a:cubicBezTo>
                <a:cubicBezTo>
                  <a:pt x="10281" y="1844"/>
                  <a:pt x="10344" y="1844"/>
                  <a:pt x="10375" y="1875"/>
                </a:cubicBezTo>
                <a:cubicBezTo>
                  <a:pt x="10437" y="1875"/>
                  <a:pt x="10406" y="1813"/>
                  <a:pt x="10437" y="1781"/>
                </a:cubicBezTo>
                <a:cubicBezTo>
                  <a:pt x="10469" y="1750"/>
                  <a:pt x="10437" y="1688"/>
                  <a:pt x="10437" y="1656"/>
                </a:cubicBezTo>
                <a:cubicBezTo>
                  <a:pt x="10531" y="1688"/>
                  <a:pt x="10625" y="1656"/>
                  <a:pt x="10594" y="1813"/>
                </a:cubicBezTo>
                <a:cubicBezTo>
                  <a:pt x="10687" y="1781"/>
                  <a:pt x="10656" y="1719"/>
                  <a:pt x="10656" y="1656"/>
                </a:cubicBezTo>
                <a:cubicBezTo>
                  <a:pt x="10656" y="1563"/>
                  <a:pt x="10719" y="1688"/>
                  <a:pt x="10750" y="1625"/>
                </a:cubicBezTo>
                <a:cubicBezTo>
                  <a:pt x="10812" y="1531"/>
                  <a:pt x="11000" y="1563"/>
                  <a:pt x="11031" y="1656"/>
                </a:cubicBezTo>
                <a:cubicBezTo>
                  <a:pt x="11094" y="1719"/>
                  <a:pt x="11156" y="1719"/>
                  <a:pt x="11156" y="1656"/>
                </a:cubicBezTo>
                <a:cubicBezTo>
                  <a:pt x="11219" y="1594"/>
                  <a:pt x="11281" y="1625"/>
                  <a:pt x="11312" y="1688"/>
                </a:cubicBezTo>
                <a:cubicBezTo>
                  <a:pt x="11375" y="1625"/>
                  <a:pt x="11281" y="1563"/>
                  <a:pt x="11344" y="1531"/>
                </a:cubicBezTo>
                <a:cubicBezTo>
                  <a:pt x="11437" y="1500"/>
                  <a:pt x="11406" y="1625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25"/>
                  <a:pt x="11500" y="1594"/>
                  <a:pt x="11500" y="1594"/>
                </a:cubicBezTo>
                <a:cubicBezTo>
                  <a:pt x="11500" y="1531"/>
                  <a:pt x="11500" y="1438"/>
                  <a:pt x="11500" y="1375"/>
                </a:cubicBezTo>
                <a:cubicBezTo>
                  <a:pt x="11500" y="1344"/>
                  <a:pt x="11500" y="1313"/>
                  <a:pt x="11469" y="1313"/>
                </a:cubicBezTo>
                <a:cubicBezTo>
                  <a:pt x="11469" y="1281"/>
                  <a:pt x="11469" y="1281"/>
                  <a:pt x="11469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31" y="1281"/>
                  <a:pt x="11531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94" y="1313"/>
                </a:cubicBezTo>
                <a:cubicBezTo>
                  <a:pt x="11594" y="1313"/>
                  <a:pt x="11625" y="1313"/>
                  <a:pt x="11656" y="1313"/>
                </a:cubicBezTo>
                <a:cubicBezTo>
                  <a:pt x="11656" y="1313"/>
                  <a:pt x="11656" y="1313"/>
                  <a:pt x="11656" y="1313"/>
                </a:cubicBezTo>
                <a:cubicBezTo>
                  <a:pt x="11656" y="1313"/>
                  <a:pt x="11687" y="1281"/>
                  <a:pt x="11687" y="1281"/>
                </a:cubicBezTo>
                <a:cubicBezTo>
                  <a:pt x="11687" y="1281"/>
                  <a:pt x="11719" y="1281"/>
                  <a:pt x="11719" y="1281"/>
                </a:cubicBezTo>
                <a:cubicBezTo>
                  <a:pt x="11812" y="1250"/>
                  <a:pt x="11812" y="1344"/>
                  <a:pt x="11844" y="1406"/>
                </a:cubicBezTo>
                <a:cubicBezTo>
                  <a:pt x="11875" y="1406"/>
                  <a:pt x="11875" y="1438"/>
                  <a:pt x="11875" y="1438"/>
                </a:cubicBezTo>
                <a:cubicBezTo>
                  <a:pt x="11906" y="1344"/>
                  <a:pt x="11906" y="1219"/>
                  <a:pt x="12031" y="1313"/>
                </a:cubicBezTo>
                <a:cubicBezTo>
                  <a:pt x="12031" y="1313"/>
                  <a:pt x="12062" y="1281"/>
                  <a:pt x="12062" y="1281"/>
                </a:cubicBezTo>
                <a:cubicBezTo>
                  <a:pt x="12062" y="1219"/>
                  <a:pt x="12094" y="1250"/>
                  <a:pt x="12125" y="1250"/>
                </a:cubicBezTo>
                <a:cubicBezTo>
                  <a:pt x="12187" y="1313"/>
                  <a:pt x="12219" y="1344"/>
                  <a:pt x="12219" y="1406"/>
                </a:cubicBezTo>
                <a:cubicBezTo>
                  <a:pt x="12219" y="1531"/>
                  <a:pt x="12219" y="1625"/>
                  <a:pt x="12219" y="1750"/>
                </a:cubicBezTo>
                <a:cubicBezTo>
                  <a:pt x="12219" y="1750"/>
                  <a:pt x="12250" y="1750"/>
                  <a:pt x="12250" y="1750"/>
                </a:cubicBezTo>
                <a:cubicBezTo>
                  <a:pt x="12187" y="1469"/>
                  <a:pt x="12375" y="1250"/>
                  <a:pt x="12312" y="969"/>
                </a:cubicBezTo>
                <a:cubicBezTo>
                  <a:pt x="12312" y="1031"/>
                  <a:pt x="12344" y="1094"/>
                  <a:pt x="12406" y="1094"/>
                </a:cubicBezTo>
                <a:cubicBezTo>
                  <a:pt x="12469" y="1094"/>
                  <a:pt x="12500" y="1063"/>
                  <a:pt x="12469" y="1031"/>
                </a:cubicBezTo>
                <a:cubicBezTo>
                  <a:pt x="12469" y="969"/>
                  <a:pt x="12469" y="906"/>
                  <a:pt x="12531" y="906"/>
                </a:cubicBezTo>
                <a:cubicBezTo>
                  <a:pt x="12625" y="938"/>
                  <a:pt x="12562" y="1000"/>
                  <a:pt x="12594" y="1063"/>
                </a:cubicBezTo>
                <a:cubicBezTo>
                  <a:pt x="12594" y="1063"/>
                  <a:pt x="12562" y="1094"/>
                  <a:pt x="12562" y="1125"/>
                </a:cubicBezTo>
                <a:cubicBezTo>
                  <a:pt x="12562" y="1156"/>
                  <a:pt x="12531" y="1156"/>
                  <a:pt x="12531" y="1156"/>
                </a:cubicBezTo>
                <a:cubicBezTo>
                  <a:pt x="12531" y="1188"/>
                  <a:pt x="12531" y="1188"/>
                  <a:pt x="12500" y="1188"/>
                </a:cubicBezTo>
                <a:cubicBezTo>
                  <a:pt x="12500" y="1188"/>
                  <a:pt x="12500" y="1188"/>
                  <a:pt x="12500" y="1188"/>
                </a:cubicBezTo>
                <a:cubicBezTo>
                  <a:pt x="12500" y="1188"/>
                  <a:pt x="12500" y="1188"/>
                  <a:pt x="12469" y="1188"/>
                </a:cubicBezTo>
                <a:cubicBezTo>
                  <a:pt x="12469" y="1188"/>
                  <a:pt x="12469" y="1188"/>
                  <a:pt x="12469" y="1188"/>
                </a:cubicBezTo>
                <a:cubicBezTo>
                  <a:pt x="12437" y="1188"/>
                  <a:pt x="12437" y="1219"/>
                  <a:pt x="12437" y="1219"/>
                </a:cubicBezTo>
                <a:cubicBezTo>
                  <a:pt x="12406" y="1219"/>
                  <a:pt x="12406" y="1219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625" y="1250"/>
                  <a:pt x="12625" y="1281"/>
                  <a:pt x="12625" y="1031"/>
                </a:cubicBezTo>
                <a:cubicBezTo>
                  <a:pt x="12625" y="1000"/>
                  <a:pt x="12625" y="969"/>
                  <a:pt x="12625" y="938"/>
                </a:cubicBezTo>
                <a:cubicBezTo>
                  <a:pt x="12625" y="844"/>
                  <a:pt x="12656" y="906"/>
                  <a:pt x="12687" y="938"/>
                </a:cubicBezTo>
                <a:cubicBezTo>
                  <a:pt x="12687" y="969"/>
                  <a:pt x="12687" y="969"/>
                  <a:pt x="12719" y="1000"/>
                </a:cubicBezTo>
                <a:cubicBezTo>
                  <a:pt x="12719" y="1000"/>
                  <a:pt x="12719" y="1000"/>
                  <a:pt x="12719" y="1031"/>
                </a:cubicBezTo>
                <a:cubicBezTo>
                  <a:pt x="12750" y="1031"/>
                  <a:pt x="12750" y="1031"/>
                  <a:pt x="12781" y="1031"/>
                </a:cubicBezTo>
                <a:cubicBezTo>
                  <a:pt x="12781" y="1031"/>
                  <a:pt x="12781" y="1031"/>
                  <a:pt x="12812" y="1031"/>
                </a:cubicBezTo>
                <a:cubicBezTo>
                  <a:pt x="12875" y="1063"/>
                  <a:pt x="13000" y="969"/>
                  <a:pt x="13031" y="1063"/>
                </a:cubicBezTo>
                <a:cubicBezTo>
                  <a:pt x="13094" y="1000"/>
                  <a:pt x="13031" y="813"/>
                  <a:pt x="13219" y="875"/>
                </a:cubicBezTo>
                <a:cubicBezTo>
                  <a:pt x="13219" y="844"/>
                  <a:pt x="13219" y="781"/>
                  <a:pt x="13156" y="813"/>
                </a:cubicBezTo>
                <a:cubicBezTo>
                  <a:pt x="13062" y="844"/>
                  <a:pt x="13094" y="781"/>
                  <a:pt x="13094" y="750"/>
                </a:cubicBezTo>
                <a:cubicBezTo>
                  <a:pt x="13125" y="656"/>
                  <a:pt x="13187" y="594"/>
                  <a:pt x="13281" y="625"/>
                </a:cubicBezTo>
                <a:cubicBezTo>
                  <a:pt x="13312" y="625"/>
                  <a:pt x="13344" y="625"/>
                  <a:pt x="13344" y="594"/>
                </a:cubicBezTo>
                <a:cubicBezTo>
                  <a:pt x="13375" y="563"/>
                  <a:pt x="13344" y="563"/>
                  <a:pt x="13312" y="563"/>
                </a:cubicBezTo>
                <a:cubicBezTo>
                  <a:pt x="13281" y="563"/>
                  <a:pt x="13250" y="563"/>
                  <a:pt x="13219" y="563"/>
                </a:cubicBezTo>
                <a:cubicBezTo>
                  <a:pt x="12844" y="531"/>
                  <a:pt x="12437" y="531"/>
                  <a:pt x="12062" y="438"/>
                </a:cubicBezTo>
                <a:cubicBezTo>
                  <a:pt x="11656" y="313"/>
                  <a:pt x="11250" y="313"/>
                  <a:pt x="10844" y="219"/>
                </a:cubicBezTo>
                <a:cubicBezTo>
                  <a:pt x="10687" y="188"/>
                  <a:pt x="10531" y="156"/>
                  <a:pt x="10344" y="125"/>
                </a:cubicBezTo>
                <a:cubicBezTo>
                  <a:pt x="9844" y="31"/>
                  <a:pt x="9312" y="0"/>
                  <a:pt x="8781" y="0"/>
                </a:cubicBezTo>
                <a:cubicBezTo>
                  <a:pt x="8375" y="0"/>
                  <a:pt x="7969" y="94"/>
                  <a:pt x="7562" y="156"/>
                </a:cubicBezTo>
                <a:cubicBezTo>
                  <a:pt x="7500" y="156"/>
                  <a:pt x="7406" y="188"/>
                  <a:pt x="7375" y="219"/>
                </a:cubicBezTo>
                <a:cubicBezTo>
                  <a:pt x="7344" y="250"/>
                  <a:pt x="7344" y="250"/>
                  <a:pt x="7312" y="281"/>
                </a:cubicBezTo>
                <a:cubicBezTo>
                  <a:pt x="7281" y="281"/>
                  <a:pt x="7281" y="313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19" y="281"/>
                </a:cubicBezTo>
                <a:cubicBezTo>
                  <a:pt x="7219" y="281"/>
                  <a:pt x="7219" y="281"/>
                  <a:pt x="7219" y="281"/>
                </a:cubicBezTo>
                <a:cubicBezTo>
                  <a:pt x="7219" y="281"/>
                  <a:pt x="7187" y="281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56" y="281"/>
                  <a:pt x="7187" y="313"/>
                  <a:pt x="7156" y="344"/>
                </a:cubicBezTo>
                <a:cubicBezTo>
                  <a:pt x="7156" y="344"/>
                  <a:pt x="7156" y="344"/>
                  <a:pt x="7125" y="375"/>
                </a:cubicBezTo>
                <a:cubicBezTo>
                  <a:pt x="7094" y="375"/>
                  <a:pt x="7062" y="344"/>
                  <a:pt x="7062" y="313"/>
                </a:cubicBezTo>
                <a:cubicBezTo>
                  <a:pt x="7031" y="250"/>
                  <a:pt x="7000" y="250"/>
                  <a:pt x="6969" y="281"/>
                </a:cubicBezTo>
                <a:cubicBezTo>
                  <a:pt x="6937" y="313"/>
                  <a:pt x="6906" y="344"/>
                  <a:pt x="6875" y="344"/>
                </a:cubicBezTo>
                <a:cubicBezTo>
                  <a:pt x="6781" y="313"/>
                  <a:pt x="6812" y="375"/>
                  <a:pt x="6812" y="406"/>
                </a:cubicBezTo>
                <a:cubicBezTo>
                  <a:pt x="6812" y="438"/>
                  <a:pt x="6844" y="438"/>
                  <a:pt x="6844" y="500"/>
                </a:cubicBezTo>
                <a:cubicBezTo>
                  <a:pt x="6781" y="469"/>
                  <a:pt x="6781" y="438"/>
                  <a:pt x="6750" y="406"/>
                </a:cubicBezTo>
                <a:cubicBezTo>
                  <a:pt x="6719" y="344"/>
                  <a:pt x="6687" y="375"/>
                  <a:pt x="6687" y="438"/>
                </a:cubicBezTo>
                <a:cubicBezTo>
                  <a:pt x="6656" y="438"/>
                  <a:pt x="6625" y="406"/>
                  <a:pt x="6594" y="406"/>
                </a:cubicBezTo>
                <a:cubicBezTo>
                  <a:pt x="6594" y="406"/>
                  <a:pt x="6594" y="406"/>
                  <a:pt x="6562" y="406"/>
                </a:cubicBezTo>
                <a:cubicBezTo>
                  <a:pt x="6469" y="563"/>
                  <a:pt x="6437" y="406"/>
                  <a:pt x="6375" y="313"/>
                </a:cubicBezTo>
                <a:cubicBezTo>
                  <a:pt x="6344" y="406"/>
                  <a:pt x="6375" y="469"/>
                  <a:pt x="6375" y="531"/>
                </a:cubicBezTo>
                <a:cubicBezTo>
                  <a:pt x="6344" y="563"/>
                  <a:pt x="6344" y="594"/>
                  <a:pt x="6375" y="625"/>
                </a:cubicBezTo>
                <a:close/>
                <a:moveTo>
                  <a:pt x="3594" y="3688"/>
                </a:moveTo>
                <a:cubicBezTo>
                  <a:pt x="3594" y="3688"/>
                  <a:pt x="3594" y="3688"/>
                  <a:pt x="3594" y="3688"/>
                </a:cubicBezTo>
                <a:cubicBezTo>
                  <a:pt x="3594" y="3688"/>
                  <a:pt x="3594" y="3719"/>
                  <a:pt x="3594" y="3719"/>
                </a:cubicBezTo>
                <a:cubicBezTo>
                  <a:pt x="3594" y="3719"/>
                  <a:pt x="3594" y="3719"/>
                  <a:pt x="3625" y="3719"/>
                </a:cubicBezTo>
                <a:cubicBezTo>
                  <a:pt x="3625" y="3719"/>
                  <a:pt x="3625" y="3719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594" y="3688"/>
                  <a:pt x="3594" y="3688"/>
                  <a:pt x="3594" y="3688"/>
                </a:cubicBezTo>
                <a:close/>
                <a:moveTo>
                  <a:pt x="6031" y="4188"/>
                </a:moveTo>
                <a:cubicBezTo>
                  <a:pt x="6062" y="4188"/>
                  <a:pt x="6062" y="4188"/>
                  <a:pt x="6062" y="4188"/>
                </a:cubicBezTo>
                <a:cubicBezTo>
                  <a:pt x="6094" y="4188"/>
                  <a:pt x="6094" y="4188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5937" y="4031"/>
                  <a:pt x="5812" y="3906"/>
                  <a:pt x="5625" y="3813"/>
                </a:cubicBezTo>
                <a:cubicBezTo>
                  <a:pt x="5625" y="3813"/>
                  <a:pt x="5625" y="3844"/>
                  <a:pt x="5625" y="3844"/>
                </a:cubicBezTo>
                <a:cubicBezTo>
                  <a:pt x="5750" y="3969"/>
                  <a:pt x="5906" y="4063"/>
                  <a:pt x="6031" y="4188"/>
                </a:cubicBezTo>
                <a:close/>
                <a:moveTo>
                  <a:pt x="8562" y="3219"/>
                </a:moveTo>
                <a:cubicBezTo>
                  <a:pt x="8562" y="3219"/>
                  <a:pt x="8562" y="3219"/>
                  <a:pt x="8562" y="3219"/>
                </a:cubicBezTo>
                <a:cubicBezTo>
                  <a:pt x="8562" y="3219"/>
                  <a:pt x="8562" y="3219"/>
                  <a:pt x="8562" y="3188"/>
                </a:cubicBezTo>
                <a:cubicBezTo>
                  <a:pt x="8562" y="3188"/>
                  <a:pt x="8562" y="3156"/>
                  <a:pt x="8531" y="3156"/>
                </a:cubicBezTo>
                <a:cubicBezTo>
                  <a:pt x="8531" y="3156"/>
                  <a:pt x="8531" y="3156"/>
                  <a:pt x="8531" y="3156"/>
                </a:cubicBezTo>
                <a:cubicBezTo>
                  <a:pt x="8531" y="3188"/>
                  <a:pt x="8531" y="3188"/>
                  <a:pt x="8531" y="3188"/>
                </a:cubicBezTo>
                <a:cubicBezTo>
                  <a:pt x="8531" y="3188"/>
                  <a:pt x="8531" y="3188"/>
                  <a:pt x="8562" y="3188"/>
                </a:cubicBezTo>
                <a:cubicBezTo>
                  <a:pt x="8562" y="3219"/>
                  <a:pt x="8562" y="3219"/>
                  <a:pt x="8562" y="3219"/>
                </a:cubicBezTo>
                <a:close/>
                <a:moveTo>
                  <a:pt x="5062" y="2875"/>
                </a:move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lnTo>
                  <a:pt x="5062" y="2875"/>
                </a:ln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lose/>
                <a:moveTo>
                  <a:pt x="17969" y="719"/>
                </a:moveTo>
                <a:cubicBezTo>
                  <a:pt x="17969" y="719"/>
                  <a:pt x="18000" y="750"/>
                  <a:pt x="18000" y="750"/>
                </a:cubicBezTo>
                <a:cubicBezTo>
                  <a:pt x="18031" y="750"/>
                  <a:pt x="18031" y="781"/>
                  <a:pt x="18062" y="781"/>
                </a:cubicBezTo>
                <a:cubicBezTo>
                  <a:pt x="18062" y="781"/>
                  <a:pt x="18062" y="781"/>
                  <a:pt x="18062" y="781"/>
                </a:cubicBezTo>
                <a:cubicBezTo>
                  <a:pt x="18062" y="813"/>
                  <a:pt x="18062" y="844"/>
                  <a:pt x="18094" y="875"/>
                </a:cubicBezTo>
                <a:cubicBezTo>
                  <a:pt x="18094" y="906"/>
                  <a:pt x="18094" y="906"/>
                  <a:pt x="18094" y="906"/>
                </a:cubicBezTo>
                <a:cubicBezTo>
                  <a:pt x="18094" y="938"/>
                  <a:pt x="18094" y="969"/>
                  <a:pt x="18125" y="1000"/>
                </a:cubicBezTo>
                <a:cubicBezTo>
                  <a:pt x="18156" y="1031"/>
                  <a:pt x="18125" y="1063"/>
                  <a:pt x="18094" y="1094"/>
                </a:cubicBezTo>
                <a:cubicBezTo>
                  <a:pt x="18062" y="1125"/>
                  <a:pt x="18000" y="1219"/>
                  <a:pt x="17969" y="1188"/>
                </a:cubicBezTo>
                <a:cubicBezTo>
                  <a:pt x="17906" y="1094"/>
                  <a:pt x="17875" y="1156"/>
                  <a:pt x="17812" y="1188"/>
                </a:cubicBezTo>
                <a:cubicBezTo>
                  <a:pt x="17781" y="1219"/>
                  <a:pt x="17781" y="1281"/>
                  <a:pt x="17750" y="1344"/>
                </a:cubicBezTo>
                <a:cubicBezTo>
                  <a:pt x="17750" y="1406"/>
                  <a:pt x="17781" y="1406"/>
                  <a:pt x="17812" y="1406"/>
                </a:cubicBezTo>
                <a:cubicBezTo>
                  <a:pt x="17937" y="1438"/>
                  <a:pt x="18031" y="1313"/>
                  <a:pt x="18156" y="1313"/>
                </a:cubicBezTo>
                <a:cubicBezTo>
                  <a:pt x="18187" y="1313"/>
                  <a:pt x="18156" y="1281"/>
                  <a:pt x="18156" y="1281"/>
                </a:cubicBezTo>
                <a:cubicBezTo>
                  <a:pt x="18125" y="1219"/>
                  <a:pt x="18156" y="1219"/>
                  <a:pt x="18187" y="1188"/>
                </a:cubicBezTo>
                <a:cubicBezTo>
                  <a:pt x="18250" y="1094"/>
                  <a:pt x="18344" y="1063"/>
                  <a:pt x="18406" y="1000"/>
                </a:cubicBezTo>
                <a:cubicBezTo>
                  <a:pt x="18562" y="875"/>
                  <a:pt x="18656" y="1063"/>
                  <a:pt x="18812" y="1031"/>
                </a:cubicBezTo>
                <a:cubicBezTo>
                  <a:pt x="18719" y="938"/>
                  <a:pt x="17906" y="594"/>
                  <a:pt x="17750" y="563"/>
                </a:cubicBezTo>
                <a:cubicBezTo>
                  <a:pt x="17781" y="594"/>
                  <a:pt x="17812" y="594"/>
                  <a:pt x="17812" y="625"/>
                </a:cubicBezTo>
                <a:cubicBezTo>
                  <a:pt x="17875" y="656"/>
                  <a:pt x="17906" y="688"/>
                  <a:pt x="17969" y="719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331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65">
            <a:extLst>
              <a:ext uri="{FF2B5EF4-FFF2-40B4-BE49-F238E27FC236}">
                <a16:creationId xmlns:a16="http://schemas.microsoft.com/office/drawing/2014/main" id="{3CAB747A-BC9A-5243-8512-5E1F35006919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5448012" y="261015"/>
            <a:ext cx="6325536" cy="6454276"/>
          </a:xfrm>
          <a:custGeom>
            <a:avLst/>
            <a:gdLst>
              <a:gd name="T0" fmla="*/ 933 w 980"/>
              <a:gd name="T1" fmla="*/ 770 h 857"/>
              <a:gd name="T2" fmla="*/ 751 w 980"/>
              <a:gd name="T3" fmla="*/ 579 h 857"/>
              <a:gd name="T4" fmla="*/ 914 w 980"/>
              <a:gd name="T5" fmla="*/ 385 h 857"/>
              <a:gd name="T6" fmla="*/ 780 w 980"/>
              <a:gd name="T7" fmla="*/ 412 h 857"/>
              <a:gd name="T8" fmla="*/ 618 w 980"/>
              <a:gd name="T9" fmla="*/ 287 h 857"/>
              <a:gd name="T10" fmla="*/ 866 w 980"/>
              <a:gd name="T11" fmla="*/ 83 h 857"/>
              <a:gd name="T12" fmla="*/ 849 w 980"/>
              <a:gd name="T13" fmla="*/ 77 h 857"/>
              <a:gd name="T14" fmla="*/ 851 w 980"/>
              <a:gd name="T15" fmla="*/ 43 h 857"/>
              <a:gd name="T16" fmla="*/ 549 w 980"/>
              <a:gd name="T17" fmla="*/ 160 h 857"/>
              <a:gd name="T18" fmla="*/ 392 w 980"/>
              <a:gd name="T19" fmla="*/ 105 h 857"/>
              <a:gd name="T20" fmla="*/ 381 w 980"/>
              <a:gd name="T21" fmla="*/ 255 h 857"/>
              <a:gd name="T22" fmla="*/ 106 w 980"/>
              <a:gd name="T23" fmla="*/ 125 h 857"/>
              <a:gd name="T24" fmla="*/ 57 w 980"/>
              <a:gd name="T25" fmla="*/ 117 h 857"/>
              <a:gd name="T26" fmla="*/ 116 w 980"/>
              <a:gd name="T27" fmla="*/ 204 h 857"/>
              <a:gd name="T28" fmla="*/ 309 w 980"/>
              <a:gd name="T29" fmla="*/ 368 h 857"/>
              <a:gd name="T30" fmla="*/ 540 w 980"/>
              <a:gd name="T31" fmla="*/ 512 h 857"/>
              <a:gd name="T32" fmla="*/ 659 w 980"/>
              <a:gd name="T33" fmla="*/ 626 h 857"/>
              <a:gd name="T34" fmla="*/ 908 w 980"/>
              <a:gd name="T35" fmla="*/ 807 h 857"/>
              <a:gd name="T36" fmla="*/ 924 w 980"/>
              <a:gd name="T37" fmla="*/ 379 h 857"/>
              <a:gd name="T38" fmla="*/ 918 w 980"/>
              <a:gd name="T39" fmla="*/ 374 h 857"/>
              <a:gd name="T40" fmla="*/ 903 w 980"/>
              <a:gd name="T41" fmla="*/ 360 h 857"/>
              <a:gd name="T42" fmla="*/ 887 w 980"/>
              <a:gd name="T43" fmla="*/ 369 h 857"/>
              <a:gd name="T44" fmla="*/ 864 w 980"/>
              <a:gd name="T45" fmla="*/ 369 h 857"/>
              <a:gd name="T46" fmla="*/ 826 w 980"/>
              <a:gd name="T47" fmla="*/ 435 h 857"/>
              <a:gd name="T48" fmla="*/ 838 w 980"/>
              <a:gd name="T49" fmla="*/ 79 h 857"/>
              <a:gd name="T50" fmla="*/ 663 w 980"/>
              <a:gd name="T51" fmla="*/ 202 h 857"/>
              <a:gd name="T52" fmla="*/ 622 w 980"/>
              <a:gd name="T53" fmla="*/ 229 h 857"/>
              <a:gd name="T54" fmla="*/ 616 w 980"/>
              <a:gd name="T55" fmla="*/ 249 h 857"/>
              <a:gd name="T56" fmla="*/ 374 w 980"/>
              <a:gd name="T57" fmla="*/ 144 h 857"/>
              <a:gd name="T58" fmla="*/ 167 w 980"/>
              <a:gd name="T59" fmla="*/ 77 h 857"/>
              <a:gd name="T60" fmla="*/ 127 w 980"/>
              <a:gd name="T61" fmla="*/ 58 h 857"/>
              <a:gd name="T62" fmla="*/ 72 w 980"/>
              <a:gd name="T63" fmla="*/ 60 h 857"/>
              <a:gd name="T64" fmla="*/ 52 w 980"/>
              <a:gd name="T65" fmla="*/ 138 h 857"/>
              <a:gd name="T66" fmla="*/ 63 w 980"/>
              <a:gd name="T67" fmla="*/ 147 h 857"/>
              <a:gd name="T68" fmla="*/ 89 w 980"/>
              <a:gd name="T69" fmla="*/ 171 h 857"/>
              <a:gd name="T70" fmla="*/ 148 w 980"/>
              <a:gd name="T71" fmla="*/ 231 h 857"/>
              <a:gd name="T72" fmla="*/ 231 w 980"/>
              <a:gd name="T73" fmla="*/ 259 h 857"/>
              <a:gd name="T74" fmla="*/ 270 w 980"/>
              <a:gd name="T75" fmla="*/ 327 h 857"/>
              <a:gd name="T76" fmla="*/ 382 w 980"/>
              <a:gd name="T77" fmla="*/ 369 h 857"/>
              <a:gd name="T78" fmla="*/ 386 w 980"/>
              <a:gd name="T79" fmla="*/ 238 h 857"/>
              <a:gd name="T80" fmla="*/ 388 w 980"/>
              <a:gd name="T81" fmla="*/ 142 h 857"/>
              <a:gd name="T82" fmla="*/ 413 w 980"/>
              <a:gd name="T83" fmla="*/ 136 h 857"/>
              <a:gd name="T84" fmla="*/ 445 w 980"/>
              <a:gd name="T85" fmla="*/ 233 h 857"/>
              <a:gd name="T86" fmla="*/ 469 w 980"/>
              <a:gd name="T87" fmla="*/ 150 h 857"/>
              <a:gd name="T88" fmla="*/ 556 w 980"/>
              <a:gd name="T89" fmla="*/ 191 h 857"/>
              <a:gd name="T90" fmla="*/ 498 w 980"/>
              <a:gd name="T91" fmla="*/ 468 h 857"/>
              <a:gd name="T92" fmla="*/ 517 w 980"/>
              <a:gd name="T93" fmla="*/ 412 h 857"/>
              <a:gd name="T94" fmla="*/ 562 w 980"/>
              <a:gd name="T95" fmla="*/ 338 h 857"/>
              <a:gd name="T96" fmla="*/ 585 w 980"/>
              <a:gd name="T97" fmla="*/ 360 h 857"/>
              <a:gd name="T98" fmla="*/ 583 w 980"/>
              <a:gd name="T99" fmla="*/ 364 h 857"/>
              <a:gd name="T100" fmla="*/ 644 w 980"/>
              <a:gd name="T101" fmla="*/ 378 h 857"/>
              <a:gd name="T102" fmla="*/ 690 w 980"/>
              <a:gd name="T103" fmla="*/ 539 h 857"/>
              <a:gd name="T104" fmla="*/ 702 w 980"/>
              <a:gd name="T105" fmla="*/ 404 h 857"/>
              <a:gd name="T106" fmla="*/ 751 w 980"/>
              <a:gd name="T107" fmla="*/ 440 h 857"/>
              <a:gd name="T108" fmla="*/ 794 w 980"/>
              <a:gd name="T109" fmla="*/ 681 h 857"/>
              <a:gd name="T110" fmla="*/ 820 w 980"/>
              <a:gd name="T111" fmla="*/ 732 h 857"/>
              <a:gd name="T112" fmla="*/ 883 w 980"/>
              <a:gd name="T113" fmla="*/ 736 h 857"/>
              <a:gd name="T114" fmla="*/ 911 w 980"/>
              <a:gd name="T115" fmla="*/ 761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80" h="857">
                <a:moveTo>
                  <a:pt x="972" y="815"/>
                </a:moveTo>
                <a:cubicBezTo>
                  <a:pt x="971" y="815"/>
                  <a:pt x="970" y="819"/>
                  <a:pt x="969" y="819"/>
                </a:cubicBezTo>
                <a:cubicBezTo>
                  <a:pt x="966" y="818"/>
                  <a:pt x="965" y="816"/>
                  <a:pt x="963" y="814"/>
                </a:cubicBezTo>
                <a:cubicBezTo>
                  <a:pt x="959" y="811"/>
                  <a:pt x="955" y="803"/>
                  <a:pt x="952" y="808"/>
                </a:cubicBezTo>
                <a:cubicBezTo>
                  <a:pt x="948" y="803"/>
                  <a:pt x="942" y="799"/>
                  <a:pt x="938" y="793"/>
                </a:cubicBezTo>
                <a:cubicBezTo>
                  <a:pt x="940" y="793"/>
                  <a:pt x="941" y="791"/>
                  <a:pt x="943" y="791"/>
                </a:cubicBezTo>
                <a:cubicBezTo>
                  <a:pt x="940" y="788"/>
                  <a:pt x="936" y="790"/>
                  <a:pt x="935" y="789"/>
                </a:cubicBezTo>
                <a:cubicBezTo>
                  <a:pt x="933" y="788"/>
                  <a:pt x="933" y="785"/>
                  <a:pt x="931" y="783"/>
                </a:cubicBezTo>
                <a:cubicBezTo>
                  <a:pt x="936" y="783"/>
                  <a:pt x="940" y="784"/>
                  <a:pt x="944" y="786"/>
                </a:cubicBezTo>
                <a:cubicBezTo>
                  <a:pt x="942" y="780"/>
                  <a:pt x="936" y="775"/>
                  <a:pt x="933" y="770"/>
                </a:cubicBezTo>
                <a:cubicBezTo>
                  <a:pt x="928" y="763"/>
                  <a:pt x="924" y="756"/>
                  <a:pt x="920" y="749"/>
                </a:cubicBezTo>
                <a:cubicBezTo>
                  <a:pt x="914" y="741"/>
                  <a:pt x="897" y="721"/>
                  <a:pt x="888" y="735"/>
                </a:cubicBezTo>
                <a:cubicBezTo>
                  <a:pt x="881" y="729"/>
                  <a:pt x="874" y="727"/>
                  <a:pt x="868" y="719"/>
                </a:cubicBezTo>
                <a:cubicBezTo>
                  <a:pt x="863" y="712"/>
                  <a:pt x="859" y="704"/>
                  <a:pt x="853" y="696"/>
                </a:cubicBezTo>
                <a:cubicBezTo>
                  <a:pt x="848" y="690"/>
                  <a:pt x="841" y="685"/>
                  <a:pt x="835" y="679"/>
                </a:cubicBezTo>
                <a:cubicBezTo>
                  <a:pt x="830" y="674"/>
                  <a:pt x="825" y="667"/>
                  <a:pt x="820" y="660"/>
                </a:cubicBezTo>
                <a:cubicBezTo>
                  <a:pt x="816" y="655"/>
                  <a:pt x="812" y="649"/>
                  <a:pt x="808" y="644"/>
                </a:cubicBezTo>
                <a:cubicBezTo>
                  <a:pt x="802" y="637"/>
                  <a:pt x="794" y="631"/>
                  <a:pt x="788" y="623"/>
                </a:cubicBezTo>
                <a:cubicBezTo>
                  <a:pt x="775" y="607"/>
                  <a:pt x="766" y="590"/>
                  <a:pt x="753" y="575"/>
                </a:cubicBezTo>
                <a:cubicBezTo>
                  <a:pt x="753" y="576"/>
                  <a:pt x="752" y="578"/>
                  <a:pt x="751" y="579"/>
                </a:cubicBezTo>
                <a:cubicBezTo>
                  <a:pt x="757" y="566"/>
                  <a:pt x="755" y="553"/>
                  <a:pt x="763" y="541"/>
                </a:cubicBezTo>
                <a:cubicBezTo>
                  <a:pt x="772" y="528"/>
                  <a:pt x="785" y="518"/>
                  <a:pt x="799" y="513"/>
                </a:cubicBezTo>
                <a:cubicBezTo>
                  <a:pt x="819" y="504"/>
                  <a:pt x="841" y="502"/>
                  <a:pt x="862" y="493"/>
                </a:cubicBezTo>
                <a:cubicBezTo>
                  <a:pt x="878" y="486"/>
                  <a:pt x="890" y="482"/>
                  <a:pt x="889" y="462"/>
                </a:cubicBezTo>
                <a:cubicBezTo>
                  <a:pt x="889" y="457"/>
                  <a:pt x="887" y="452"/>
                  <a:pt x="885" y="447"/>
                </a:cubicBezTo>
                <a:cubicBezTo>
                  <a:pt x="883" y="443"/>
                  <a:pt x="877" y="436"/>
                  <a:pt x="876" y="433"/>
                </a:cubicBezTo>
                <a:cubicBezTo>
                  <a:pt x="876" y="429"/>
                  <a:pt x="880" y="424"/>
                  <a:pt x="880" y="420"/>
                </a:cubicBezTo>
                <a:cubicBezTo>
                  <a:pt x="879" y="414"/>
                  <a:pt x="876" y="409"/>
                  <a:pt x="876" y="403"/>
                </a:cubicBezTo>
                <a:cubicBezTo>
                  <a:pt x="877" y="392"/>
                  <a:pt x="881" y="397"/>
                  <a:pt x="891" y="394"/>
                </a:cubicBezTo>
                <a:cubicBezTo>
                  <a:pt x="899" y="392"/>
                  <a:pt x="906" y="387"/>
                  <a:pt x="914" y="385"/>
                </a:cubicBezTo>
                <a:cubicBezTo>
                  <a:pt x="919" y="383"/>
                  <a:pt x="925" y="381"/>
                  <a:pt x="931" y="379"/>
                </a:cubicBezTo>
                <a:cubicBezTo>
                  <a:pt x="938" y="377"/>
                  <a:pt x="947" y="379"/>
                  <a:pt x="949" y="370"/>
                </a:cubicBezTo>
                <a:cubicBezTo>
                  <a:pt x="954" y="351"/>
                  <a:pt x="922" y="342"/>
                  <a:pt x="909" y="341"/>
                </a:cubicBezTo>
                <a:cubicBezTo>
                  <a:pt x="898" y="341"/>
                  <a:pt x="886" y="343"/>
                  <a:pt x="875" y="343"/>
                </a:cubicBezTo>
                <a:cubicBezTo>
                  <a:pt x="866" y="344"/>
                  <a:pt x="856" y="343"/>
                  <a:pt x="848" y="344"/>
                </a:cubicBezTo>
                <a:cubicBezTo>
                  <a:pt x="834" y="345"/>
                  <a:pt x="811" y="362"/>
                  <a:pt x="831" y="376"/>
                </a:cubicBezTo>
                <a:cubicBezTo>
                  <a:pt x="832" y="375"/>
                  <a:pt x="832" y="374"/>
                  <a:pt x="832" y="373"/>
                </a:cubicBezTo>
                <a:cubicBezTo>
                  <a:pt x="838" y="382"/>
                  <a:pt x="836" y="384"/>
                  <a:pt x="828" y="392"/>
                </a:cubicBezTo>
                <a:cubicBezTo>
                  <a:pt x="822" y="398"/>
                  <a:pt x="815" y="408"/>
                  <a:pt x="818" y="418"/>
                </a:cubicBezTo>
                <a:cubicBezTo>
                  <a:pt x="805" y="417"/>
                  <a:pt x="792" y="414"/>
                  <a:pt x="780" y="412"/>
                </a:cubicBezTo>
                <a:cubicBezTo>
                  <a:pt x="770" y="411"/>
                  <a:pt x="759" y="411"/>
                  <a:pt x="749" y="410"/>
                </a:cubicBezTo>
                <a:cubicBezTo>
                  <a:pt x="740" y="410"/>
                  <a:pt x="730" y="414"/>
                  <a:pt x="722" y="413"/>
                </a:cubicBezTo>
                <a:cubicBezTo>
                  <a:pt x="711" y="411"/>
                  <a:pt x="705" y="400"/>
                  <a:pt x="698" y="392"/>
                </a:cubicBezTo>
                <a:cubicBezTo>
                  <a:pt x="693" y="388"/>
                  <a:pt x="684" y="383"/>
                  <a:pt x="676" y="383"/>
                </a:cubicBezTo>
                <a:cubicBezTo>
                  <a:pt x="672" y="383"/>
                  <a:pt x="664" y="386"/>
                  <a:pt x="660" y="381"/>
                </a:cubicBezTo>
                <a:cubicBezTo>
                  <a:pt x="658" y="379"/>
                  <a:pt x="659" y="375"/>
                  <a:pt x="658" y="373"/>
                </a:cubicBezTo>
                <a:cubicBezTo>
                  <a:pt x="656" y="369"/>
                  <a:pt x="652" y="368"/>
                  <a:pt x="650" y="365"/>
                </a:cubicBezTo>
                <a:cubicBezTo>
                  <a:pt x="650" y="364"/>
                  <a:pt x="648" y="359"/>
                  <a:pt x="648" y="358"/>
                </a:cubicBezTo>
                <a:cubicBezTo>
                  <a:pt x="647" y="356"/>
                  <a:pt x="645" y="352"/>
                  <a:pt x="643" y="349"/>
                </a:cubicBezTo>
                <a:cubicBezTo>
                  <a:pt x="633" y="329"/>
                  <a:pt x="625" y="309"/>
                  <a:pt x="618" y="287"/>
                </a:cubicBezTo>
                <a:cubicBezTo>
                  <a:pt x="615" y="277"/>
                  <a:pt x="610" y="268"/>
                  <a:pt x="616" y="259"/>
                </a:cubicBezTo>
                <a:cubicBezTo>
                  <a:pt x="618" y="257"/>
                  <a:pt x="623" y="253"/>
                  <a:pt x="625" y="252"/>
                </a:cubicBezTo>
                <a:cubicBezTo>
                  <a:pt x="637" y="245"/>
                  <a:pt x="648" y="242"/>
                  <a:pt x="657" y="232"/>
                </a:cubicBezTo>
                <a:cubicBezTo>
                  <a:pt x="667" y="222"/>
                  <a:pt x="676" y="215"/>
                  <a:pt x="686" y="207"/>
                </a:cubicBezTo>
                <a:cubicBezTo>
                  <a:pt x="706" y="191"/>
                  <a:pt x="729" y="180"/>
                  <a:pt x="749" y="163"/>
                </a:cubicBezTo>
                <a:cubicBezTo>
                  <a:pt x="764" y="149"/>
                  <a:pt x="779" y="134"/>
                  <a:pt x="794" y="119"/>
                </a:cubicBezTo>
                <a:cubicBezTo>
                  <a:pt x="800" y="114"/>
                  <a:pt x="806" y="108"/>
                  <a:pt x="812" y="105"/>
                </a:cubicBezTo>
                <a:cubicBezTo>
                  <a:pt x="817" y="101"/>
                  <a:pt x="824" y="100"/>
                  <a:pt x="830" y="97"/>
                </a:cubicBezTo>
                <a:cubicBezTo>
                  <a:pt x="835" y="94"/>
                  <a:pt x="840" y="91"/>
                  <a:pt x="844" y="87"/>
                </a:cubicBezTo>
                <a:cubicBezTo>
                  <a:pt x="850" y="90"/>
                  <a:pt x="871" y="97"/>
                  <a:pt x="866" y="83"/>
                </a:cubicBezTo>
                <a:cubicBezTo>
                  <a:pt x="864" y="78"/>
                  <a:pt x="855" y="81"/>
                  <a:pt x="853" y="75"/>
                </a:cubicBezTo>
                <a:cubicBezTo>
                  <a:pt x="851" y="78"/>
                  <a:pt x="850" y="81"/>
                  <a:pt x="853" y="82"/>
                </a:cubicBezTo>
                <a:cubicBezTo>
                  <a:pt x="852" y="83"/>
                  <a:pt x="851" y="84"/>
                  <a:pt x="850" y="85"/>
                </a:cubicBezTo>
                <a:cubicBezTo>
                  <a:pt x="850" y="83"/>
                  <a:pt x="849" y="82"/>
                  <a:pt x="850" y="80"/>
                </a:cubicBezTo>
                <a:cubicBezTo>
                  <a:pt x="849" y="81"/>
                  <a:pt x="848" y="82"/>
                  <a:pt x="847" y="83"/>
                </a:cubicBezTo>
                <a:cubicBezTo>
                  <a:pt x="847" y="81"/>
                  <a:pt x="848" y="80"/>
                  <a:pt x="849" y="77"/>
                </a:cubicBezTo>
                <a:cubicBezTo>
                  <a:pt x="849" y="77"/>
                  <a:pt x="849" y="77"/>
                  <a:pt x="849" y="77"/>
                </a:cubicBezTo>
                <a:cubicBezTo>
                  <a:pt x="848" y="78"/>
                  <a:pt x="847" y="79"/>
                  <a:pt x="847" y="79"/>
                </a:cubicBezTo>
                <a:cubicBezTo>
                  <a:pt x="847" y="78"/>
                  <a:pt x="848" y="77"/>
                  <a:pt x="849" y="77"/>
                </a:cubicBezTo>
                <a:cubicBezTo>
                  <a:pt x="849" y="77"/>
                  <a:pt x="849" y="77"/>
                  <a:pt x="849" y="77"/>
                </a:cubicBezTo>
                <a:cubicBezTo>
                  <a:pt x="847" y="74"/>
                  <a:pt x="851" y="71"/>
                  <a:pt x="854" y="68"/>
                </a:cubicBezTo>
                <a:cubicBezTo>
                  <a:pt x="859" y="63"/>
                  <a:pt x="859" y="63"/>
                  <a:pt x="862" y="57"/>
                </a:cubicBezTo>
                <a:cubicBezTo>
                  <a:pt x="862" y="59"/>
                  <a:pt x="863" y="61"/>
                  <a:pt x="862" y="63"/>
                </a:cubicBezTo>
                <a:cubicBezTo>
                  <a:pt x="866" y="62"/>
                  <a:pt x="868" y="60"/>
                  <a:pt x="870" y="58"/>
                </a:cubicBezTo>
                <a:cubicBezTo>
                  <a:pt x="873" y="56"/>
                  <a:pt x="874" y="53"/>
                  <a:pt x="876" y="51"/>
                </a:cubicBezTo>
                <a:cubicBezTo>
                  <a:pt x="879" y="48"/>
                  <a:pt x="894" y="42"/>
                  <a:pt x="891" y="34"/>
                </a:cubicBezTo>
                <a:cubicBezTo>
                  <a:pt x="888" y="25"/>
                  <a:pt x="868" y="41"/>
                  <a:pt x="862" y="43"/>
                </a:cubicBezTo>
                <a:cubicBezTo>
                  <a:pt x="863" y="39"/>
                  <a:pt x="868" y="34"/>
                  <a:pt x="870" y="32"/>
                </a:cubicBezTo>
                <a:cubicBezTo>
                  <a:pt x="874" y="27"/>
                  <a:pt x="879" y="23"/>
                  <a:pt x="884" y="18"/>
                </a:cubicBezTo>
                <a:cubicBezTo>
                  <a:pt x="870" y="23"/>
                  <a:pt x="863" y="36"/>
                  <a:pt x="851" y="43"/>
                </a:cubicBezTo>
                <a:cubicBezTo>
                  <a:pt x="846" y="45"/>
                  <a:pt x="840" y="48"/>
                  <a:pt x="835" y="50"/>
                </a:cubicBezTo>
                <a:cubicBezTo>
                  <a:pt x="827" y="52"/>
                  <a:pt x="822" y="56"/>
                  <a:pt x="816" y="60"/>
                </a:cubicBezTo>
                <a:cubicBezTo>
                  <a:pt x="793" y="73"/>
                  <a:pt x="768" y="89"/>
                  <a:pt x="743" y="102"/>
                </a:cubicBezTo>
                <a:cubicBezTo>
                  <a:pt x="729" y="110"/>
                  <a:pt x="714" y="115"/>
                  <a:pt x="701" y="124"/>
                </a:cubicBezTo>
                <a:cubicBezTo>
                  <a:pt x="688" y="133"/>
                  <a:pt x="678" y="144"/>
                  <a:pt x="667" y="154"/>
                </a:cubicBezTo>
                <a:cubicBezTo>
                  <a:pt x="662" y="158"/>
                  <a:pt x="656" y="162"/>
                  <a:pt x="651" y="164"/>
                </a:cubicBezTo>
                <a:cubicBezTo>
                  <a:pt x="648" y="166"/>
                  <a:pt x="643" y="169"/>
                  <a:pt x="640" y="170"/>
                </a:cubicBezTo>
                <a:cubicBezTo>
                  <a:pt x="634" y="172"/>
                  <a:pt x="636" y="171"/>
                  <a:pt x="631" y="170"/>
                </a:cubicBezTo>
                <a:cubicBezTo>
                  <a:pt x="617" y="165"/>
                  <a:pt x="607" y="151"/>
                  <a:pt x="594" y="146"/>
                </a:cubicBezTo>
                <a:cubicBezTo>
                  <a:pt x="578" y="141"/>
                  <a:pt x="562" y="152"/>
                  <a:pt x="549" y="160"/>
                </a:cubicBezTo>
                <a:cubicBezTo>
                  <a:pt x="539" y="166"/>
                  <a:pt x="510" y="183"/>
                  <a:pt x="509" y="193"/>
                </a:cubicBezTo>
                <a:cubicBezTo>
                  <a:pt x="510" y="193"/>
                  <a:pt x="509" y="193"/>
                  <a:pt x="508" y="194"/>
                </a:cubicBezTo>
                <a:cubicBezTo>
                  <a:pt x="505" y="192"/>
                  <a:pt x="503" y="175"/>
                  <a:pt x="502" y="170"/>
                </a:cubicBezTo>
                <a:cubicBezTo>
                  <a:pt x="500" y="161"/>
                  <a:pt x="501" y="150"/>
                  <a:pt x="495" y="142"/>
                </a:cubicBezTo>
                <a:cubicBezTo>
                  <a:pt x="488" y="146"/>
                  <a:pt x="495" y="151"/>
                  <a:pt x="489" y="155"/>
                </a:cubicBezTo>
                <a:cubicBezTo>
                  <a:pt x="490" y="147"/>
                  <a:pt x="479" y="142"/>
                  <a:pt x="482" y="153"/>
                </a:cubicBezTo>
                <a:cubicBezTo>
                  <a:pt x="475" y="149"/>
                  <a:pt x="484" y="143"/>
                  <a:pt x="487" y="139"/>
                </a:cubicBezTo>
                <a:cubicBezTo>
                  <a:pt x="491" y="132"/>
                  <a:pt x="489" y="130"/>
                  <a:pt x="485" y="123"/>
                </a:cubicBezTo>
                <a:cubicBezTo>
                  <a:pt x="474" y="106"/>
                  <a:pt x="453" y="99"/>
                  <a:pt x="434" y="96"/>
                </a:cubicBezTo>
                <a:cubicBezTo>
                  <a:pt x="419" y="95"/>
                  <a:pt x="406" y="97"/>
                  <a:pt x="392" y="105"/>
                </a:cubicBezTo>
                <a:cubicBezTo>
                  <a:pt x="376" y="115"/>
                  <a:pt x="370" y="129"/>
                  <a:pt x="362" y="145"/>
                </a:cubicBezTo>
                <a:cubicBezTo>
                  <a:pt x="365" y="147"/>
                  <a:pt x="358" y="151"/>
                  <a:pt x="355" y="154"/>
                </a:cubicBezTo>
                <a:cubicBezTo>
                  <a:pt x="349" y="160"/>
                  <a:pt x="349" y="161"/>
                  <a:pt x="350" y="169"/>
                </a:cubicBezTo>
                <a:cubicBezTo>
                  <a:pt x="352" y="180"/>
                  <a:pt x="355" y="191"/>
                  <a:pt x="357" y="202"/>
                </a:cubicBezTo>
                <a:cubicBezTo>
                  <a:pt x="356" y="200"/>
                  <a:pt x="356" y="200"/>
                  <a:pt x="354" y="198"/>
                </a:cubicBezTo>
                <a:cubicBezTo>
                  <a:pt x="355" y="205"/>
                  <a:pt x="350" y="206"/>
                  <a:pt x="351" y="213"/>
                </a:cubicBezTo>
                <a:cubicBezTo>
                  <a:pt x="352" y="221"/>
                  <a:pt x="356" y="220"/>
                  <a:pt x="359" y="223"/>
                </a:cubicBezTo>
                <a:cubicBezTo>
                  <a:pt x="362" y="227"/>
                  <a:pt x="367" y="239"/>
                  <a:pt x="369" y="243"/>
                </a:cubicBezTo>
                <a:cubicBezTo>
                  <a:pt x="370" y="246"/>
                  <a:pt x="367" y="252"/>
                  <a:pt x="373" y="254"/>
                </a:cubicBezTo>
                <a:cubicBezTo>
                  <a:pt x="374" y="254"/>
                  <a:pt x="383" y="248"/>
                  <a:pt x="381" y="255"/>
                </a:cubicBezTo>
                <a:cubicBezTo>
                  <a:pt x="380" y="259"/>
                  <a:pt x="373" y="257"/>
                  <a:pt x="369" y="258"/>
                </a:cubicBezTo>
                <a:cubicBezTo>
                  <a:pt x="360" y="259"/>
                  <a:pt x="352" y="265"/>
                  <a:pt x="344" y="268"/>
                </a:cubicBezTo>
                <a:cubicBezTo>
                  <a:pt x="338" y="271"/>
                  <a:pt x="330" y="276"/>
                  <a:pt x="322" y="278"/>
                </a:cubicBezTo>
                <a:cubicBezTo>
                  <a:pt x="316" y="279"/>
                  <a:pt x="313" y="277"/>
                  <a:pt x="306" y="275"/>
                </a:cubicBezTo>
                <a:cubicBezTo>
                  <a:pt x="294" y="270"/>
                  <a:pt x="280" y="270"/>
                  <a:pt x="267" y="267"/>
                </a:cubicBezTo>
                <a:cubicBezTo>
                  <a:pt x="251" y="263"/>
                  <a:pt x="240" y="243"/>
                  <a:pt x="227" y="234"/>
                </a:cubicBezTo>
                <a:cubicBezTo>
                  <a:pt x="212" y="223"/>
                  <a:pt x="194" y="217"/>
                  <a:pt x="179" y="206"/>
                </a:cubicBezTo>
                <a:cubicBezTo>
                  <a:pt x="164" y="195"/>
                  <a:pt x="144" y="185"/>
                  <a:pt x="130" y="172"/>
                </a:cubicBezTo>
                <a:cubicBezTo>
                  <a:pt x="123" y="165"/>
                  <a:pt x="124" y="156"/>
                  <a:pt x="120" y="148"/>
                </a:cubicBezTo>
                <a:cubicBezTo>
                  <a:pt x="116" y="139"/>
                  <a:pt x="108" y="135"/>
                  <a:pt x="106" y="125"/>
                </a:cubicBezTo>
                <a:cubicBezTo>
                  <a:pt x="123" y="129"/>
                  <a:pt x="144" y="126"/>
                  <a:pt x="160" y="117"/>
                </a:cubicBezTo>
                <a:cubicBezTo>
                  <a:pt x="181" y="105"/>
                  <a:pt x="176" y="82"/>
                  <a:pt x="168" y="64"/>
                </a:cubicBezTo>
                <a:cubicBezTo>
                  <a:pt x="150" y="23"/>
                  <a:pt x="106" y="0"/>
                  <a:pt x="63" y="3"/>
                </a:cubicBezTo>
                <a:cubicBezTo>
                  <a:pt x="53" y="4"/>
                  <a:pt x="8" y="14"/>
                  <a:pt x="15" y="31"/>
                </a:cubicBezTo>
                <a:cubicBezTo>
                  <a:pt x="7" y="29"/>
                  <a:pt x="25" y="72"/>
                  <a:pt x="28" y="77"/>
                </a:cubicBezTo>
                <a:cubicBezTo>
                  <a:pt x="36" y="90"/>
                  <a:pt x="47" y="100"/>
                  <a:pt x="60" y="108"/>
                </a:cubicBezTo>
                <a:cubicBezTo>
                  <a:pt x="69" y="114"/>
                  <a:pt x="80" y="116"/>
                  <a:pt x="89" y="122"/>
                </a:cubicBezTo>
                <a:cubicBezTo>
                  <a:pt x="98" y="128"/>
                  <a:pt x="87" y="134"/>
                  <a:pt x="79" y="131"/>
                </a:cubicBezTo>
                <a:cubicBezTo>
                  <a:pt x="71" y="128"/>
                  <a:pt x="71" y="116"/>
                  <a:pt x="64" y="113"/>
                </a:cubicBezTo>
                <a:cubicBezTo>
                  <a:pt x="55" y="108"/>
                  <a:pt x="58" y="117"/>
                  <a:pt x="57" y="117"/>
                </a:cubicBezTo>
                <a:cubicBezTo>
                  <a:pt x="52" y="119"/>
                  <a:pt x="39" y="106"/>
                  <a:pt x="34" y="103"/>
                </a:cubicBezTo>
                <a:cubicBezTo>
                  <a:pt x="27" y="98"/>
                  <a:pt x="20" y="92"/>
                  <a:pt x="12" y="97"/>
                </a:cubicBezTo>
                <a:cubicBezTo>
                  <a:pt x="12" y="97"/>
                  <a:pt x="12" y="98"/>
                  <a:pt x="13" y="99"/>
                </a:cubicBezTo>
                <a:cubicBezTo>
                  <a:pt x="10" y="95"/>
                  <a:pt x="4" y="91"/>
                  <a:pt x="2" y="98"/>
                </a:cubicBezTo>
                <a:cubicBezTo>
                  <a:pt x="0" y="102"/>
                  <a:pt x="8" y="106"/>
                  <a:pt x="10" y="108"/>
                </a:cubicBezTo>
                <a:cubicBezTo>
                  <a:pt x="23" y="118"/>
                  <a:pt x="39" y="128"/>
                  <a:pt x="51" y="140"/>
                </a:cubicBezTo>
                <a:cubicBezTo>
                  <a:pt x="59" y="147"/>
                  <a:pt x="66" y="155"/>
                  <a:pt x="73" y="162"/>
                </a:cubicBezTo>
                <a:cubicBezTo>
                  <a:pt x="80" y="169"/>
                  <a:pt x="90" y="175"/>
                  <a:pt x="96" y="183"/>
                </a:cubicBezTo>
                <a:cubicBezTo>
                  <a:pt x="98" y="186"/>
                  <a:pt x="100" y="189"/>
                  <a:pt x="102" y="192"/>
                </a:cubicBezTo>
                <a:cubicBezTo>
                  <a:pt x="106" y="200"/>
                  <a:pt x="108" y="200"/>
                  <a:pt x="116" y="204"/>
                </a:cubicBezTo>
                <a:cubicBezTo>
                  <a:pt x="113" y="203"/>
                  <a:pt x="111" y="202"/>
                  <a:pt x="108" y="202"/>
                </a:cubicBezTo>
                <a:cubicBezTo>
                  <a:pt x="120" y="212"/>
                  <a:pt x="131" y="220"/>
                  <a:pt x="141" y="232"/>
                </a:cubicBezTo>
                <a:cubicBezTo>
                  <a:pt x="150" y="243"/>
                  <a:pt x="159" y="254"/>
                  <a:pt x="170" y="263"/>
                </a:cubicBezTo>
                <a:cubicBezTo>
                  <a:pt x="192" y="281"/>
                  <a:pt x="216" y="299"/>
                  <a:pt x="241" y="311"/>
                </a:cubicBezTo>
                <a:cubicBezTo>
                  <a:pt x="241" y="311"/>
                  <a:pt x="241" y="310"/>
                  <a:pt x="241" y="310"/>
                </a:cubicBezTo>
                <a:cubicBezTo>
                  <a:pt x="243" y="314"/>
                  <a:pt x="249" y="314"/>
                  <a:pt x="252" y="318"/>
                </a:cubicBezTo>
                <a:cubicBezTo>
                  <a:pt x="256" y="322"/>
                  <a:pt x="257" y="324"/>
                  <a:pt x="264" y="327"/>
                </a:cubicBezTo>
                <a:cubicBezTo>
                  <a:pt x="273" y="333"/>
                  <a:pt x="285" y="339"/>
                  <a:pt x="294" y="346"/>
                </a:cubicBezTo>
                <a:cubicBezTo>
                  <a:pt x="295" y="348"/>
                  <a:pt x="308" y="370"/>
                  <a:pt x="310" y="367"/>
                </a:cubicBezTo>
                <a:cubicBezTo>
                  <a:pt x="310" y="366"/>
                  <a:pt x="310" y="368"/>
                  <a:pt x="309" y="368"/>
                </a:cubicBezTo>
                <a:cubicBezTo>
                  <a:pt x="322" y="373"/>
                  <a:pt x="329" y="379"/>
                  <a:pt x="344" y="380"/>
                </a:cubicBezTo>
                <a:cubicBezTo>
                  <a:pt x="344" y="379"/>
                  <a:pt x="344" y="379"/>
                  <a:pt x="344" y="378"/>
                </a:cubicBezTo>
                <a:cubicBezTo>
                  <a:pt x="350" y="380"/>
                  <a:pt x="357" y="383"/>
                  <a:pt x="362" y="385"/>
                </a:cubicBezTo>
                <a:cubicBezTo>
                  <a:pt x="368" y="387"/>
                  <a:pt x="376" y="387"/>
                  <a:pt x="382" y="390"/>
                </a:cubicBezTo>
                <a:cubicBezTo>
                  <a:pt x="390" y="395"/>
                  <a:pt x="397" y="401"/>
                  <a:pt x="403" y="408"/>
                </a:cubicBezTo>
                <a:cubicBezTo>
                  <a:pt x="409" y="414"/>
                  <a:pt x="416" y="418"/>
                  <a:pt x="423" y="423"/>
                </a:cubicBezTo>
                <a:cubicBezTo>
                  <a:pt x="436" y="431"/>
                  <a:pt x="453" y="439"/>
                  <a:pt x="464" y="450"/>
                </a:cubicBezTo>
                <a:cubicBezTo>
                  <a:pt x="476" y="461"/>
                  <a:pt x="494" y="470"/>
                  <a:pt x="506" y="483"/>
                </a:cubicBezTo>
                <a:cubicBezTo>
                  <a:pt x="512" y="488"/>
                  <a:pt x="514" y="497"/>
                  <a:pt x="520" y="502"/>
                </a:cubicBezTo>
                <a:cubicBezTo>
                  <a:pt x="526" y="506"/>
                  <a:pt x="534" y="511"/>
                  <a:pt x="540" y="512"/>
                </a:cubicBezTo>
                <a:cubicBezTo>
                  <a:pt x="539" y="512"/>
                  <a:pt x="539" y="512"/>
                  <a:pt x="538" y="512"/>
                </a:cubicBezTo>
                <a:cubicBezTo>
                  <a:pt x="540" y="513"/>
                  <a:pt x="544" y="514"/>
                  <a:pt x="547" y="514"/>
                </a:cubicBezTo>
                <a:cubicBezTo>
                  <a:pt x="546" y="514"/>
                  <a:pt x="546" y="514"/>
                  <a:pt x="546" y="514"/>
                </a:cubicBezTo>
                <a:cubicBezTo>
                  <a:pt x="555" y="515"/>
                  <a:pt x="559" y="528"/>
                  <a:pt x="566" y="532"/>
                </a:cubicBezTo>
                <a:cubicBezTo>
                  <a:pt x="576" y="538"/>
                  <a:pt x="578" y="544"/>
                  <a:pt x="585" y="554"/>
                </a:cubicBezTo>
                <a:cubicBezTo>
                  <a:pt x="587" y="558"/>
                  <a:pt x="590" y="561"/>
                  <a:pt x="594" y="563"/>
                </a:cubicBezTo>
                <a:cubicBezTo>
                  <a:pt x="599" y="565"/>
                  <a:pt x="604" y="563"/>
                  <a:pt x="608" y="566"/>
                </a:cubicBezTo>
                <a:cubicBezTo>
                  <a:pt x="611" y="569"/>
                  <a:pt x="616" y="579"/>
                  <a:pt x="619" y="583"/>
                </a:cubicBezTo>
                <a:cubicBezTo>
                  <a:pt x="624" y="589"/>
                  <a:pt x="628" y="594"/>
                  <a:pt x="632" y="600"/>
                </a:cubicBezTo>
                <a:cubicBezTo>
                  <a:pt x="640" y="610"/>
                  <a:pt x="651" y="616"/>
                  <a:pt x="659" y="626"/>
                </a:cubicBezTo>
                <a:cubicBezTo>
                  <a:pt x="669" y="636"/>
                  <a:pt x="674" y="647"/>
                  <a:pt x="686" y="656"/>
                </a:cubicBezTo>
                <a:cubicBezTo>
                  <a:pt x="707" y="674"/>
                  <a:pt x="730" y="691"/>
                  <a:pt x="757" y="698"/>
                </a:cubicBezTo>
                <a:cubicBezTo>
                  <a:pt x="768" y="700"/>
                  <a:pt x="776" y="707"/>
                  <a:pt x="785" y="715"/>
                </a:cubicBezTo>
                <a:cubicBezTo>
                  <a:pt x="792" y="722"/>
                  <a:pt x="802" y="734"/>
                  <a:pt x="813" y="735"/>
                </a:cubicBezTo>
                <a:cubicBezTo>
                  <a:pt x="813" y="739"/>
                  <a:pt x="840" y="748"/>
                  <a:pt x="846" y="750"/>
                </a:cubicBezTo>
                <a:cubicBezTo>
                  <a:pt x="856" y="753"/>
                  <a:pt x="865" y="758"/>
                  <a:pt x="873" y="764"/>
                </a:cubicBezTo>
                <a:cubicBezTo>
                  <a:pt x="884" y="773"/>
                  <a:pt x="881" y="786"/>
                  <a:pt x="892" y="795"/>
                </a:cubicBezTo>
                <a:cubicBezTo>
                  <a:pt x="894" y="797"/>
                  <a:pt x="900" y="800"/>
                  <a:pt x="901" y="802"/>
                </a:cubicBezTo>
                <a:cubicBezTo>
                  <a:pt x="904" y="805"/>
                  <a:pt x="905" y="809"/>
                  <a:pt x="907" y="814"/>
                </a:cubicBezTo>
                <a:cubicBezTo>
                  <a:pt x="907" y="812"/>
                  <a:pt x="908" y="809"/>
                  <a:pt x="908" y="807"/>
                </a:cubicBezTo>
                <a:cubicBezTo>
                  <a:pt x="910" y="809"/>
                  <a:pt x="912" y="810"/>
                  <a:pt x="914" y="811"/>
                </a:cubicBezTo>
                <a:cubicBezTo>
                  <a:pt x="914" y="810"/>
                  <a:pt x="914" y="810"/>
                  <a:pt x="914" y="810"/>
                </a:cubicBezTo>
                <a:cubicBezTo>
                  <a:pt x="914" y="811"/>
                  <a:pt x="915" y="811"/>
                  <a:pt x="915" y="811"/>
                </a:cubicBezTo>
                <a:cubicBezTo>
                  <a:pt x="915" y="811"/>
                  <a:pt x="914" y="811"/>
                  <a:pt x="914" y="811"/>
                </a:cubicBezTo>
                <a:cubicBezTo>
                  <a:pt x="916" y="819"/>
                  <a:pt x="931" y="831"/>
                  <a:pt x="937" y="837"/>
                </a:cubicBezTo>
                <a:cubicBezTo>
                  <a:pt x="945" y="844"/>
                  <a:pt x="961" y="857"/>
                  <a:pt x="971" y="850"/>
                </a:cubicBezTo>
                <a:cubicBezTo>
                  <a:pt x="980" y="845"/>
                  <a:pt x="980" y="819"/>
                  <a:pt x="972" y="815"/>
                </a:cubicBezTo>
                <a:close/>
                <a:moveTo>
                  <a:pt x="925" y="377"/>
                </a:moveTo>
                <a:cubicBezTo>
                  <a:pt x="926" y="377"/>
                  <a:pt x="927" y="377"/>
                  <a:pt x="928" y="377"/>
                </a:cubicBezTo>
                <a:cubicBezTo>
                  <a:pt x="926" y="377"/>
                  <a:pt x="925" y="378"/>
                  <a:pt x="924" y="379"/>
                </a:cubicBezTo>
                <a:cubicBezTo>
                  <a:pt x="924" y="378"/>
                  <a:pt x="925" y="378"/>
                  <a:pt x="925" y="377"/>
                </a:cubicBezTo>
                <a:close/>
                <a:moveTo>
                  <a:pt x="923" y="361"/>
                </a:moveTo>
                <a:cubicBezTo>
                  <a:pt x="921" y="361"/>
                  <a:pt x="920" y="360"/>
                  <a:pt x="918" y="360"/>
                </a:cubicBezTo>
                <a:cubicBezTo>
                  <a:pt x="920" y="360"/>
                  <a:pt x="921" y="361"/>
                  <a:pt x="923" y="361"/>
                </a:cubicBezTo>
                <a:cubicBezTo>
                  <a:pt x="922" y="360"/>
                  <a:pt x="923" y="358"/>
                  <a:pt x="923" y="361"/>
                </a:cubicBezTo>
                <a:close/>
                <a:moveTo>
                  <a:pt x="919" y="368"/>
                </a:moveTo>
                <a:cubicBezTo>
                  <a:pt x="919" y="370"/>
                  <a:pt x="919" y="372"/>
                  <a:pt x="919" y="373"/>
                </a:cubicBezTo>
                <a:cubicBezTo>
                  <a:pt x="919" y="370"/>
                  <a:pt x="919" y="369"/>
                  <a:pt x="918" y="366"/>
                </a:cubicBezTo>
                <a:cubicBezTo>
                  <a:pt x="918" y="367"/>
                  <a:pt x="919" y="368"/>
                  <a:pt x="919" y="368"/>
                </a:cubicBezTo>
                <a:close/>
                <a:moveTo>
                  <a:pt x="918" y="374"/>
                </a:moveTo>
                <a:cubicBezTo>
                  <a:pt x="919" y="376"/>
                  <a:pt x="918" y="375"/>
                  <a:pt x="920" y="378"/>
                </a:cubicBezTo>
                <a:cubicBezTo>
                  <a:pt x="919" y="377"/>
                  <a:pt x="918" y="376"/>
                  <a:pt x="918" y="376"/>
                </a:cubicBezTo>
                <a:cubicBezTo>
                  <a:pt x="918" y="375"/>
                  <a:pt x="917" y="374"/>
                  <a:pt x="918" y="374"/>
                </a:cubicBezTo>
                <a:close/>
                <a:moveTo>
                  <a:pt x="917" y="365"/>
                </a:moveTo>
                <a:cubicBezTo>
                  <a:pt x="917" y="365"/>
                  <a:pt x="916" y="369"/>
                  <a:pt x="916" y="370"/>
                </a:cubicBezTo>
                <a:cubicBezTo>
                  <a:pt x="916" y="368"/>
                  <a:pt x="916" y="367"/>
                  <a:pt x="917" y="365"/>
                </a:cubicBezTo>
                <a:close/>
                <a:moveTo>
                  <a:pt x="913" y="366"/>
                </a:moveTo>
                <a:cubicBezTo>
                  <a:pt x="914" y="364"/>
                  <a:pt x="912" y="367"/>
                  <a:pt x="911" y="368"/>
                </a:cubicBezTo>
                <a:cubicBezTo>
                  <a:pt x="911" y="367"/>
                  <a:pt x="912" y="367"/>
                  <a:pt x="913" y="366"/>
                </a:cubicBezTo>
                <a:close/>
                <a:moveTo>
                  <a:pt x="903" y="360"/>
                </a:moveTo>
                <a:cubicBezTo>
                  <a:pt x="903" y="361"/>
                  <a:pt x="903" y="363"/>
                  <a:pt x="903" y="363"/>
                </a:cubicBezTo>
                <a:cubicBezTo>
                  <a:pt x="903" y="362"/>
                  <a:pt x="903" y="361"/>
                  <a:pt x="903" y="360"/>
                </a:cubicBezTo>
                <a:cubicBezTo>
                  <a:pt x="901" y="360"/>
                  <a:pt x="901" y="361"/>
                  <a:pt x="899" y="359"/>
                </a:cubicBezTo>
                <a:cubicBezTo>
                  <a:pt x="902" y="360"/>
                  <a:pt x="901" y="360"/>
                  <a:pt x="903" y="360"/>
                </a:cubicBezTo>
                <a:close/>
                <a:moveTo>
                  <a:pt x="892" y="388"/>
                </a:moveTo>
                <a:cubicBezTo>
                  <a:pt x="892" y="388"/>
                  <a:pt x="892" y="390"/>
                  <a:pt x="892" y="391"/>
                </a:cubicBezTo>
                <a:cubicBezTo>
                  <a:pt x="891" y="392"/>
                  <a:pt x="890" y="392"/>
                  <a:pt x="889" y="392"/>
                </a:cubicBezTo>
                <a:cubicBezTo>
                  <a:pt x="891" y="390"/>
                  <a:pt x="891" y="391"/>
                  <a:pt x="892" y="388"/>
                </a:cubicBezTo>
                <a:close/>
                <a:moveTo>
                  <a:pt x="886" y="366"/>
                </a:moveTo>
                <a:cubicBezTo>
                  <a:pt x="887" y="367"/>
                  <a:pt x="887" y="368"/>
                  <a:pt x="887" y="369"/>
                </a:cubicBezTo>
                <a:cubicBezTo>
                  <a:pt x="884" y="366"/>
                  <a:pt x="883" y="365"/>
                  <a:pt x="880" y="362"/>
                </a:cubicBezTo>
                <a:cubicBezTo>
                  <a:pt x="882" y="364"/>
                  <a:pt x="884" y="365"/>
                  <a:pt x="886" y="366"/>
                </a:cubicBezTo>
                <a:close/>
                <a:moveTo>
                  <a:pt x="866" y="434"/>
                </a:moveTo>
                <a:cubicBezTo>
                  <a:pt x="865" y="433"/>
                  <a:pt x="866" y="434"/>
                  <a:pt x="866" y="434"/>
                </a:cubicBezTo>
                <a:close/>
                <a:moveTo>
                  <a:pt x="873" y="480"/>
                </a:moveTo>
                <a:cubicBezTo>
                  <a:pt x="872" y="479"/>
                  <a:pt x="871" y="479"/>
                  <a:pt x="873" y="480"/>
                </a:cubicBezTo>
                <a:close/>
                <a:moveTo>
                  <a:pt x="869" y="373"/>
                </a:moveTo>
                <a:cubicBezTo>
                  <a:pt x="869" y="373"/>
                  <a:pt x="869" y="373"/>
                  <a:pt x="869" y="373"/>
                </a:cubicBezTo>
                <a:cubicBezTo>
                  <a:pt x="869" y="373"/>
                  <a:pt x="869" y="373"/>
                  <a:pt x="868" y="373"/>
                </a:cubicBezTo>
                <a:cubicBezTo>
                  <a:pt x="868" y="372"/>
                  <a:pt x="866" y="370"/>
                  <a:pt x="864" y="369"/>
                </a:cubicBezTo>
                <a:cubicBezTo>
                  <a:pt x="866" y="370"/>
                  <a:pt x="867" y="372"/>
                  <a:pt x="869" y="373"/>
                </a:cubicBezTo>
                <a:close/>
                <a:moveTo>
                  <a:pt x="826" y="361"/>
                </a:moveTo>
                <a:cubicBezTo>
                  <a:pt x="829" y="360"/>
                  <a:pt x="826" y="361"/>
                  <a:pt x="826" y="361"/>
                </a:cubicBezTo>
                <a:close/>
                <a:moveTo>
                  <a:pt x="839" y="357"/>
                </a:moveTo>
                <a:cubicBezTo>
                  <a:pt x="838" y="358"/>
                  <a:pt x="838" y="358"/>
                  <a:pt x="839" y="357"/>
                </a:cubicBezTo>
                <a:close/>
                <a:moveTo>
                  <a:pt x="829" y="491"/>
                </a:moveTo>
                <a:cubicBezTo>
                  <a:pt x="829" y="491"/>
                  <a:pt x="832" y="490"/>
                  <a:pt x="830" y="491"/>
                </a:cubicBezTo>
                <a:cubicBezTo>
                  <a:pt x="829" y="491"/>
                  <a:pt x="828" y="492"/>
                  <a:pt x="829" y="491"/>
                </a:cubicBezTo>
                <a:close/>
                <a:moveTo>
                  <a:pt x="826" y="434"/>
                </a:moveTo>
                <a:cubicBezTo>
                  <a:pt x="827" y="434"/>
                  <a:pt x="826" y="434"/>
                  <a:pt x="826" y="435"/>
                </a:cubicBezTo>
                <a:cubicBezTo>
                  <a:pt x="826" y="435"/>
                  <a:pt x="826" y="434"/>
                  <a:pt x="826" y="434"/>
                </a:cubicBezTo>
                <a:close/>
                <a:moveTo>
                  <a:pt x="774" y="451"/>
                </a:moveTo>
                <a:cubicBezTo>
                  <a:pt x="775" y="453"/>
                  <a:pt x="776" y="453"/>
                  <a:pt x="778" y="455"/>
                </a:cubicBezTo>
                <a:cubicBezTo>
                  <a:pt x="776" y="454"/>
                  <a:pt x="776" y="453"/>
                  <a:pt x="774" y="452"/>
                </a:cubicBezTo>
                <a:cubicBezTo>
                  <a:pt x="774" y="452"/>
                  <a:pt x="774" y="451"/>
                  <a:pt x="774" y="451"/>
                </a:cubicBezTo>
                <a:cubicBezTo>
                  <a:pt x="774" y="451"/>
                  <a:pt x="774" y="451"/>
                  <a:pt x="774" y="451"/>
                </a:cubicBezTo>
                <a:cubicBezTo>
                  <a:pt x="774" y="450"/>
                  <a:pt x="774" y="450"/>
                  <a:pt x="774" y="451"/>
                </a:cubicBezTo>
                <a:close/>
                <a:moveTo>
                  <a:pt x="838" y="79"/>
                </a:moveTo>
                <a:cubicBezTo>
                  <a:pt x="837" y="79"/>
                  <a:pt x="837" y="78"/>
                  <a:pt x="836" y="78"/>
                </a:cubicBezTo>
                <a:cubicBezTo>
                  <a:pt x="837" y="78"/>
                  <a:pt x="837" y="78"/>
                  <a:pt x="838" y="79"/>
                </a:cubicBezTo>
                <a:close/>
                <a:moveTo>
                  <a:pt x="810" y="90"/>
                </a:moveTo>
                <a:cubicBezTo>
                  <a:pt x="811" y="90"/>
                  <a:pt x="811" y="90"/>
                  <a:pt x="812" y="90"/>
                </a:cubicBezTo>
                <a:cubicBezTo>
                  <a:pt x="813" y="90"/>
                  <a:pt x="814" y="91"/>
                  <a:pt x="814" y="92"/>
                </a:cubicBezTo>
                <a:cubicBezTo>
                  <a:pt x="813" y="91"/>
                  <a:pt x="811" y="90"/>
                  <a:pt x="810" y="90"/>
                </a:cubicBezTo>
                <a:cubicBezTo>
                  <a:pt x="808" y="91"/>
                  <a:pt x="806" y="91"/>
                  <a:pt x="804" y="92"/>
                </a:cubicBezTo>
                <a:cubicBezTo>
                  <a:pt x="806" y="91"/>
                  <a:pt x="808" y="90"/>
                  <a:pt x="810" y="90"/>
                </a:cubicBezTo>
                <a:close/>
                <a:moveTo>
                  <a:pt x="663" y="214"/>
                </a:moveTo>
                <a:cubicBezTo>
                  <a:pt x="663" y="213"/>
                  <a:pt x="663" y="212"/>
                  <a:pt x="663" y="211"/>
                </a:cubicBezTo>
                <a:cubicBezTo>
                  <a:pt x="663" y="210"/>
                  <a:pt x="664" y="211"/>
                  <a:pt x="663" y="214"/>
                </a:cubicBezTo>
                <a:close/>
                <a:moveTo>
                  <a:pt x="663" y="202"/>
                </a:moveTo>
                <a:cubicBezTo>
                  <a:pt x="664" y="206"/>
                  <a:pt x="666" y="211"/>
                  <a:pt x="666" y="215"/>
                </a:cubicBezTo>
                <a:cubicBezTo>
                  <a:pt x="665" y="207"/>
                  <a:pt x="662" y="200"/>
                  <a:pt x="657" y="194"/>
                </a:cubicBezTo>
                <a:cubicBezTo>
                  <a:pt x="659" y="196"/>
                  <a:pt x="661" y="199"/>
                  <a:pt x="663" y="202"/>
                </a:cubicBezTo>
                <a:close/>
                <a:moveTo>
                  <a:pt x="648" y="183"/>
                </a:moveTo>
                <a:cubicBezTo>
                  <a:pt x="645" y="181"/>
                  <a:pt x="641" y="179"/>
                  <a:pt x="638" y="177"/>
                </a:cubicBezTo>
                <a:cubicBezTo>
                  <a:pt x="641" y="179"/>
                  <a:pt x="645" y="181"/>
                  <a:pt x="648" y="183"/>
                </a:cubicBezTo>
                <a:close/>
                <a:moveTo>
                  <a:pt x="633" y="222"/>
                </a:moveTo>
                <a:cubicBezTo>
                  <a:pt x="634" y="223"/>
                  <a:pt x="633" y="224"/>
                  <a:pt x="633" y="225"/>
                </a:cubicBezTo>
                <a:cubicBezTo>
                  <a:pt x="633" y="225"/>
                  <a:pt x="633" y="223"/>
                  <a:pt x="633" y="222"/>
                </a:cubicBezTo>
                <a:close/>
                <a:moveTo>
                  <a:pt x="622" y="229"/>
                </a:moveTo>
                <a:cubicBezTo>
                  <a:pt x="622" y="229"/>
                  <a:pt x="622" y="229"/>
                  <a:pt x="622" y="229"/>
                </a:cubicBezTo>
                <a:cubicBezTo>
                  <a:pt x="622" y="229"/>
                  <a:pt x="623" y="228"/>
                  <a:pt x="623" y="228"/>
                </a:cubicBezTo>
                <a:cubicBezTo>
                  <a:pt x="623" y="228"/>
                  <a:pt x="623" y="229"/>
                  <a:pt x="623" y="229"/>
                </a:cubicBezTo>
                <a:cubicBezTo>
                  <a:pt x="624" y="229"/>
                  <a:pt x="624" y="229"/>
                  <a:pt x="624" y="229"/>
                </a:cubicBezTo>
                <a:cubicBezTo>
                  <a:pt x="625" y="230"/>
                  <a:pt x="624" y="229"/>
                  <a:pt x="623" y="229"/>
                </a:cubicBezTo>
                <a:cubicBezTo>
                  <a:pt x="623" y="229"/>
                  <a:pt x="622" y="229"/>
                  <a:pt x="622" y="229"/>
                </a:cubicBezTo>
                <a:cubicBezTo>
                  <a:pt x="622" y="229"/>
                  <a:pt x="621" y="230"/>
                  <a:pt x="622" y="229"/>
                </a:cubicBezTo>
                <a:close/>
                <a:moveTo>
                  <a:pt x="619" y="239"/>
                </a:moveTo>
                <a:cubicBezTo>
                  <a:pt x="619" y="240"/>
                  <a:pt x="619" y="240"/>
                  <a:pt x="618" y="241"/>
                </a:cubicBezTo>
                <a:cubicBezTo>
                  <a:pt x="617" y="243"/>
                  <a:pt x="617" y="246"/>
                  <a:pt x="616" y="249"/>
                </a:cubicBezTo>
                <a:cubicBezTo>
                  <a:pt x="617" y="245"/>
                  <a:pt x="618" y="242"/>
                  <a:pt x="619" y="239"/>
                </a:cubicBezTo>
                <a:close/>
                <a:moveTo>
                  <a:pt x="358" y="191"/>
                </a:moveTo>
                <a:cubicBezTo>
                  <a:pt x="359" y="190"/>
                  <a:pt x="360" y="190"/>
                  <a:pt x="362" y="190"/>
                </a:cubicBezTo>
                <a:cubicBezTo>
                  <a:pt x="364" y="189"/>
                  <a:pt x="359" y="191"/>
                  <a:pt x="358" y="191"/>
                </a:cubicBezTo>
                <a:close/>
                <a:moveTo>
                  <a:pt x="368" y="202"/>
                </a:moveTo>
                <a:cubicBezTo>
                  <a:pt x="368" y="202"/>
                  <a:pt x="368" y="202"/>
                  <a:pt x="369" y="202"/>
                </a:cubicBezTo>
                <a:cubicBezTo>
                  <a:pt x="370" y="203"/>
                  <a:pt x="371" y="202"/>
                  <a:pt x="372" y="204"/>
                </a:cubicBezTo>
                <a:cubicBezTo>
                  <a:pt x="371" y="203"/>
                  <a:pt x="370" y="202"/>
                  <a:pt x="368" y="202"/>
                </a:cubicBezTo>
                <a:close/>
                <a:moveTo>
                  <a:pt x="374" y="144"/>
                </a:moveTo>
                <a:cubicBezTo>
                  <a:pt x="373" y="145"/>
                  <a:pt x="376" y="142"/>
                  <a:pt x="374" y="144"/>
                </a:cubicBezTo>
                <a:close/>
                <a:moveTo>
                  <a:pt x="374" y="215"/>
                </a:moveTo>
                <a:cubicBezTo>
                  <a:pt x="374" y="215"/>
                  <a:pt x="374" y="215"/>
                  <a:pt x="374" y="214"/>
                </a:cubicBezTo>
                <a:cubicBezTo>
                  <a:pt x="374" y="214"/>
                  <a:pt x="374" y="214"/>
                  <a:pt x="374" y="214"/>
                </a:cubicBezTo>
                <a:cubicBezTo>
                  <a:pt x="373" y="213"/>
                  <a:pt x="373" y="214"/>
                  <a:pt x="374" y="214"/>
                </a:cubicBezTo>
                <a:cubicBezTo>
                  <a:pt x="374" y="215"/>
                  <a:pt x="375" y="216"/>
                  <a:pt x="376" y="217"/>
                </a:cubicBezTo>
                <a:cubicBezTo>
                  <a:pt x="375" y="217"/>
                  <a:pt x="375" y="216"/>
                  <a:pt x="374" y="215"/>
                </a:cubicBezTo>
                <a:close/>
                <a:moveTo>
                  <a:pt x="377" y="249"/>
                </a:moveTo>
                <a:cubicBezTo>
                  <a:pt x="376" y="250"/>
                  <a:pt x="376" y="250"/>
                  <a:pt x="377" y="249"/>
                </a:cubicBezTo>
                <a:close/>
                <a:moveTo>
                  <a:pt x="164" y="88"/>
                </a:moveTo>
                <a:cubicBezTo>
                  <a:pt x="166" y="85"/>
                  <a:pt x="167" y="81"/>
                  <a:pt x="167" y="77"/>
                </a:cubicBezTo>
                <a:cubicBezTo>
                  <a:pt x="167" y="87"/>
                  <a:pt x="161" y="99"/>
                  <a:pt x="156" y="107"/>
                </a:cubicBezTo>
                <a:cubicBezTo>
                  <a:pt x="160" y="101"/>
                  <a:pt x="162" y="95"/>
                  <a:pt x="164" y="88"/>
                </a:cubicBezTo>
                <a:close/>
                <a:moveTo>
                  <a:pt x="138" y="71"/>
                </a:moveTo>
                <a:cubicBezTo>
                  <a:pt x="138" y="70"/>
                  <a:pt x="139" y="70"/>
                  <a:pt x="139" y="69"/>
                </a:cubicBezTo>
                <a:cubicBezTo>
                  <a:pt x="141" y="68"/>
                  <a:pt x="139" y="69"/>
                  <a:pt x="138" y="71"/>
                </a:cubicBezTo>
                <a:cubicBezTo>
                  <a:pt x="137" y="72"/>
                  <a:pt x="136" y="73"/>
                  <a:pt x="134" y="74"/>
                </a:cubicBezTo>
                <a:cubicBezTo>
                  <a:pt x="135" y="73"/>
                  <a:pt x="137" y="72"/>
                  <a:pt x="138" y="71"/>
                </a:cubicBezTo>
                <a:close/>
                <a:moveTo>
                  <a:pt x="131" y="58"/>
                </a:moveTo>
                <a:cubicBezTo>
                  <a:pt x="132" y="59"/>
                  <a:pt x="133" y="59"/>
                  <a:pt x="134" y="60"/>
                </a:cubicBezTo>
                <a:cubicBezTo>
                  <a:pt x="131" y="58"/>
                  <a:pt x="130" y="58"/>
                  <a:pt x="127" y="58"/>
                </a:cubicBezTo>
                <a:cubicBezTo>
                  <a:pt x="128" y="58"/>
                  <a:pt x="129" y="58"/>
                  <a:pt x="131" y="58"/>
                </a:cubicBezTo>
                <a:close/>
                <a:moveTo>
                  <a:pt x="44" y="65"/>
                </a:moveTo>
                <a:cubicBezTo>
                  <a:pt x="44" y="65"/>
                  <a:pt x="43" y="65"/>
                  <a:pt x="43" y="65"/>
                </a:cubicBezTo>
                <a:cubicBezTo>
                  <a:pt x="44" y="65"/>
                  <a:pt x="44" y="65"/>
                  <a:pt x="44" y="65"/>
                </a:cubicBezTo>
                <a:cubicBezTo>
                  <a:pt x="44" y="65"/>
                  <a:pt x="44" y="65"/>
                  <a:pt x="44" y="65"/>
                </a:cubicBezTo>
                <a:close/>
                <a:moveTo>
                  <a:pt x="53" y="8"/>
                </a:moveTo>
                <a:cubicBezTo>
                  <a:pt x="52" y="8"/>
                  <a:pt x="51" y="8"/>
                  <a:pt x="49" y="8"/>
                </a:cubicBezTo>
                <a:cubicBezTo>
                  <a:pt x="52" y="8"/>
                  <a:pt x="53" y="8"/>
                  <a:pt x="55" y="7"/>
                </a:cubicBezTo>
                <a:cubicBezTo>
                  <a:pt x="55" y="7"/>
                  <a:pt x="54" y="8"/>
                  <a:pt x="53" y="8"/>
                </a:cubicBezTo>
                <a:close/>
                <a:moveTo>
                  <a:pt x="72" y="60"/>
                </a:moveTo>
                <a:cubicBezTo>
                  <a:pt x="70" y="63"/>
                  <a:pt x="69" y="65"/>
                  <a:pt x="67" y="68"/>
                </a:cubicBezTo>
                <a:cubicBezTo>
                  <a:pt x="69" y="65"/>
                  <a:pt x="70" y="62"/>
                  <a:pt x="72" y="60"/>
                </a:cubicBezTo>
                <a:cubicBezTo>
                  <a:pt x="72" y="60"/>
                  <a:pt x="72" y="60"/>
                  <a:pt x="72" y="60"/>
                </a:cubicBezTo>
                <a:close/>
                <a:moveTo>
                  <a:pt x="87" y="99"/>
                </a:moveTo>
                <a:cubicBezTo>
                  <a:pt x="88" y="100"/>
                  <a:pt x="89" y="100"/>
                  <a:pt x="89" y="101"/>
                </a:cubicBezTo>
                <a:cubicBezTo>
                  <a:pt x="88" y="101"/>
                  <a:pt x="85" y="98"/>
                  <a:pt x="87" y="99"/>
                </a:cubicBezTo>
                <a:close/>
                <a:moveTo>
                  <a:pt x="44" y="133"/>
                </a:moveTo>
                <a:cubicBezTo>
                  <a:pt x="46" y="134"/>
                  <a:pt x="51" y="136"/>
                  <a:pt x="51" y="136"/>
                </a:cubicBezTo>
                <a:cubicBezTo>
                  <a:pt x="49" y="135"/>
                  <a:pt x="46" y="134"/>
                  <a:pt x="44" y="133"/>
                </a:cubicBezTo>
                <a:close/>
                <a:moveTo>
                  <a:pt x="52" y="138"/>
                </a:moveTo>
                <a:cubicBezTo>
                  <a:pt x="52" y="138"/>
                  <a:pt x="52" y="138"/>
                  <a:pt x="52" y="137"/>
                </a:cubicBezTo>
                <a:cubicBezTo>
                  <a:pt x="52" y="137"/>
                  <a:pt x="52" y="138"/>
                  <a:pt x="52" y="138"/>
                </a:cubicBezTo>
                <a:cubicBezTo>
                  <a:pt x="53" y="138"/>
                  <a:pt x="53" y="138"/>
                  <a:pt x="53" y="138"/>
                </a:cubicBezTo>
                <a:cubicBezTo>
                  <a:pt x="54" y="138"/>
                  <a:pt x="54" y="139"/>
                  <a:pt x="55" y="140"/>
                </a:cubicBezTo>
                <a:cubicBezTo>
                  <a:pt x="54" y="139"/>
                  <a:pt x="53" y="138"/>
                  <a:pt x="52" y="138"/>
                </a:cubicBezTo>
                <a:close/>
                <a:moveTo>
                  <a:pt x="62" y="130"/>
                </a:moveTo>
                <a:cubicBezTo>
                  <a:pt x="63" y="128"/>
                  <a:pt x="63" y="128"/>
                  <a:pt x="62" y="130"/>
                </a:cubicBezTo>
                <a:close/>
                <a:moveTo>
                  <a:pt x="63" y="147"/>
                </a:moveTo>
                <a:cubicBezTo>
                  <a:pt x="63" y="147"/>
                  <a:pt x="61" y="144"/>
                  <a:pt x="62" y="146"/>
                </a:cubicBezTo>
                <a:cubicBezTo>
                  <a:pt x="64" y="149"/>
                  <a:pt x="62" y="147"/>
                  <a:pt x="63" y="147"/>
                </a:cubicBezTo>
                <a:close/>
                <a:moveTo>
                  <a:pt x="71" y="154"/>
                </a:moveTo>
                <a:cubicBezTo>
                  <a:pt x="70" y="154"/>
                  <a:pt x="70" y="154"/>
                  <a:pt x="70" y="154"/>
                </a:cubicBezTo>
                <a:cubicBezTo>
                  <a:pt x="70" y="155"/>
                  <a:pt x="71" y="155"/>
                  <a:pt x="69" y="155"/>
                </a:cubicBezTo>
                <a:cubicBezTo>
                  <a:pt x="70" y="154"/>
                  <a:pt x="70" y="155"/>
                  <a:pt x="70" y="154"/>
                </a:cubicBezTo>
                <a:cubicBezTo>
                  <a:pt x="70" y="154"/>
                  <a:pt x="70" y="154"/>
                  <a:pt x="71" y="154"/>
                </a:cubicBezTo>
                <a:cubicBezTo>
                  <a:pt x="72" y="155"/>
                  <a:pt x="74" y="157"/>
                  <a:pt x="74" y="159"/>
                </a:cubicBezTo>
                <a:cubicBezTo>
                  <a:pt x="73" y="157"/>
                  <a:pt x="72" y="156"/>
                  <a:pt x="71" y="154"/>
                </a:cubicBezTo>
                <a:close/>
                <a:moveTo>
                  <a:pt x="88" y="170"/>
                </a:moveTo>
                <a:cubicBezTo>
                  <a:pt x="88" y="170"/>
                  <a:pt x="88" y="170"/>
                  <a:pt x="89" y="171"/>
                </a:cubicBezTo>
                <a:cubicBezTo>
                  <a:pt x="89" y="171"/>
                  <a:pt x="89" y="171"/>
                  <a:pt x="89" y="171"/>
                </a:cubicBezTo>
                <a:cubicBezTo>
                  <a:pt x="89" y="171"/>
                  <a:pt x="88" y="170"/>
                  <a:pt x="88" y="170"/>
                </a:cubicBezTo>
                <a:close/>
                <a:moveTo>
                  <a:pt x="109" y="152"/>
                </a:moveTo>
                <a:cubicBezTo>
                  <a:pt x="108" y="151"/>
                  <a:pt x="106" y="149"/>
                  <a:pt x="103" y="148"/>
                </a:cubicBezTo>
                <a:cubicBezTo>
                  <a:pt x="105" y="149"/>
                  <a:pt x="106" y="150"/>
                  <a:pt x="108" y="151"/>
                </a:cubicBezTo>
                <a:cubicBezTo>
                  <a:pt x="109" y="151"/>
                  <a:pt x="109" y="152"/>
                  <a:pt x="109" y="152"/>
                </a:cubicBezTo>
                <a:cubicBezTo>
                  <a:pt x="111" y="153"/>
                  <a:pt x="112" y="154"/>
                  <a:pt x="114" y="155"/>
                </a:cubicBezTo>
                <a:cubicBezTo>
                  <a:pt x="112" y="155"/>
                  <a:pt x="111" y="154"/>
                  <a:pt x="109" y="152"/>
                </a:cubicBezTo>
                <a:close/>
                <a:moveTo>
                  <a:pt x="149" y="232"/>
                </a:moveTo>
                <a:cubicBezTo>
                  <a:pt x="148" y="231"/>
                  <a:pt x="147" y="231"/>
                  <a:pt x="146" y="231"/>
                </a:cubicBezTo>
                <a:cubicBezTo>
                  <a:pt x="146" y="231"/>
                  <a:pt x="148" y="231"/>
                  <a:pt x="148" y="231"/>
                </a:cubicBezTo>
                <a:cubicBezTo>
                  <a:pt x="148" y="231"/>
                  <a:pt x="148" y="231"/>
                  <a:pt x="149" y="232"/>
                </a:cubicBezTo>
                <a:cubicBezTo>
                  <a:pt x="149" y="232"/>
                  <a:pt x="149" y="232"/>
                  <a:pt x="149" y="232"/>
                </a:cubicBezTo>
                <a:cubicBezTo>
                  <a:pt x="150" y="232"/>
                  <a:pt x="150" y="232"/>
                  <a:pt x="149" y="232"/>
                </a:cubicBezTo>
                <a:close/>
                <a:moveTo>
                  <a:pt x="167" y="249"/>
                </a:moveTo>
                <a:cubicBezTo>
                  <a:pt x="166" y="248"/>
                  <a:pt x="165" y="247"/>
                  <a:pt x="167" y="249"/>
                </a:cubicBezTo>
                <a:close/>
                <a:moveTo>
                  <a:pt x="225" y="253"/>
                </a:moveTo>
                <a:cubicBezTo>
                  <a:pt x="224" y="253"/>
                  <a:pt x="224" y="252"/>
                  <a:pt x="224" y="252"/>
                </a:cubicBezTo>
                <a:cubicBezTo>
                  <a:pt x="224" y="252"/>
                  <a:pt x="223" y="251"/>
                  <a:pt x="223" y="251"/>
                </a:cubicBezTo>
                <a:cubicBezTo>
                  <a:pt x="224" y="251"/>
                  <a:pt x="224" y="252"/>
                  <a:pt x="224" y="252"/>
                </a:cubicBezTo>
                <a:cubicBezTo>
                  <a:pt x="226" y="254"/>
                  <a:pt x="228" y="257"/>
                  <a:pt x="231" y="259"/>
                </a:cubicBezTo>
                <a:cubicBezTo>
                  <a:pt x="229" y="257"/>
                  <a:pt x="227" y="255"/>
                  <a:pt x="225" y="253"/>
                </a:cubicBezTo>
                <a:close/>
                <a:moveTo>
                  <a:pt x="237" y="265"/>
                </a:moveTo>
                <a:cubicBezTo>
                  <a:pt x="238" y="266"/>
                  <a:pt x="239" y="266"/>
                  <a:pt x="240" y="267"/>
                </a:cubicBezTo>
                <a:cubicBezTo>
                  <a:pt x="243" y="267"/>
                  <a:pt x="246" y="270"/>
                  <a:pt x="250" y="271"/>
                </a:cubicBezTo>
                <a:cubicBezTo>
                  <a:pt x="246" y="269"/>
                  <a:pt x="241" y="268"/>
                  <a:pt x="237" y="265"/>
                </a:cubicBezTo>
                <a:close/>
                <a:moveTo>
                  <a:pt x="268" y="325"/>
                </a:moveTo>
                <a:cubicBezTo>
                  <a:pt x="267" y="325"/>
                  <a:pt x="267" y="324"/>
                  <a:pt x="267" y="324"/>
                </a:cubicBezTo>
                <a:cubicBezTo>
                  <a:pt x="267" y="324"/>
                  <a:pt x="267" y="324"/>
                  <a:pt x="268" y="325"/>
                </a:cubicBezTo>
                <a:cubicBezTo>
                  <a:pt x="268" y="325"/>
                  <a:pt x="269" y="324"/>
                  <a:pt x="269" y="325"/>
                </a:cubicBezTo>
                <a:cubicBezTo>
                  <a:pt x="269" y="326"/>
                  <a:pt x="269" y="326"/>
                  <a:pt x="270" y="327"/>
                </a:cubicBezTo>
                <a:cubicBezTo>
                  <a:pt x="269" y="326"/>
                  <a:pt x="268" y="325"/>
                  <a:pt x="268" y="325"/>
                </a:cubicBezTo>
                <a:close/>
                <a:moveTo>
                  <a:pt x="294" y="331"/>
                </a:moveTo>
                <a:cubicBezTo>
                  <a:pt x="293" y="330"/>
                  <a:pt x="294" y="331"/>
                  <a:pt x="295" y="331"/>
                </a:cubicBezTo>
                <a:cubicBezTo>
                  <a:pt x="297" y="333"/>
                  <a:pt x="294" y="331"/>
                  <a:pt x="294" y="331"/>
                </a:cubicBezTo>
                <a:close/>
                <a:moveTo>
                  <a:pt x="367" y="274"/>
                </a:moveTo>
                <a:cubicBezTo>
                  <a:pt x="367" y="275"/>
                  <a:pt x="366" y="275"/>
                  <a:pt x="366" y="275"/>
                </a:cubicBezTo>
                <a:cubicBezTo>
                  <a:pt x="367" y="274"/>
                  <a:pt x="368" y="273"/>
                  <a:pt x="369" y="271"/>
                </a:cubicBezTo>
                <a:cubicBezTo>
                  <a:pt x="369" y="272"/>
                  <a:pt x="370" y="272"/>
                  <a:pt x="367" y="274"/>
                </a:cubicBezTo>
                <a:close/>
                <a:moveTo>
                  <a:pt x="376" y="377"/>
                </a:moveTo>
                <a:cubicBezTo>
                  <a:pt x="377" y="374"/>
                  <a:pt x="379" y="371"/>
                  <a:pt x="382" y="369"/>
                </a:cubicBezTo>
                <a:cubicBezTo>
                  <a:pt x="379" y="371"/>
                  <a:pt x="377" y="374"/>
                  <a:pt x="376" y="377"/>
                </a:cubicBezTo>
                <a:close/>
                <a:moveTo>
                  <a:pt x="385" y="383"/>
                </a:moveTo>
                <a:cubicBezTo>
                  <a:pt x="384" y="385"/>
                  <a:pt x="385" y="382"/>
                  <a:pt x="385" y="382"/>
                </a:cubicBezTo>
                <a:cubicBezTo>
                  <a:pt x="386" y="381"/>
                  <a:pt x="385" y="383"/>
                  <a:pt x="385" y="383"/>
                </a:cubicBezTo>
                <a:close/>
                <a:moveTo>
                  <a:pt x="386" y="238"/>
                </a:moveTo>
                <a:cubicBezTo>
                  <a:pt x="386" y="238"/>
                  <a:pt x="386" y="239"/>
                  <a:pt x="386" y="239"/>
                </a:cubicBezTo>
                <a:cubicBezTo>
                  <a:pt x="386" y="239"/>
                  <a:pt x="383" y="240"/>
                  <a:pt x="385" y="239"/>
                </a:cubicBezTo>
                <a:cubicBezTo>
                  <a:pt x="385" y="239"/>
                  <a:pt x="386" y="239"/>
                  <a:pt x="386" y="238"/>
                </a:cubicBezTo>
                <a:cubicBezTo>
                  <a:pt x="387" y="238"/>
                  <a:pt x="387" y="237"/>
                  <a:pt x="388" y="237"/>
                </a:cubicBezTo>
                <a:cubicBezTo>
                  <a:pt x="388" y="237"/>
                  <a:pt x="387" y="238"/>
                  <a:pt x="386" y="238"/>
                </a:cubicBezTo>
                <a:close/>
                <a:moveTo>
                  <a:pt x="384" y="219"/>
                </a:moveTo>
                <a:cubicBezTo>
                  <a:pt x="387" y="217"/>
                  <a:pt x="389" y="215"/>
                  <a:pt x="391" y="213"/>
                </a:cubicBezTo>
                <a:cubicBezTo>
                  <a:pt x="389" y="215"/>
                  <a:pt x="387" y="217"/>
                  <a:pt x="384" y="219"/>
                </a:cubicBezTo>
                <a:close/>
                <a:moveTo>
                  <a:pt x="394" y="251"/>
                </a:moveTo>
                <a:cubicBezTo>
                  <a:pt x="394" y="250"/>
                  <a:pt x="395" y="249"/>
                  <a:pt x="395" y="248"/>
                </a:cubicBezTo>
                <a:cubicBezTo>
                  <a:pt x="394" y="247"/>
                  <a:pt x="394" y="246"/>
                  <a:pt x="394" y="245"/>
                </a:cubicBezTo>
                <a:cubicBezTo>
                  <a:pt x="394" y="245"/>
                  <a:pt x="393" y="242"/>
                  <a:pt x="394" y="244"/>
                </a:cubicBezTo>
                <a:cubicBezTo>
                  <a:pt x="394" y="246"/>
                  <a:pt x="395" y="247"/>
                  <a:pt x="395" y="248"/>
                </a:cubicBezTo>
                <a:cubicBezTo>
                  <a:pt x="395" y="249"/>
                  <a:pt x="395" y="250"/>
                  <a:pt x="394" y="251"/>
                </a:cubicBezTo>
                <a:close/>
                <a:moveTo>
                  <a:pt x="388" y="142"/>
                </a:moveTo>
                <a:cubicBezTo>
                  <a:pt x="391" y="140"/>
                  <a:pt x="395" y="139"/>
                  <a:pt x="399" y="138"/>
                </a:cubicBezTo>
                <a:cubicBezTo>
                  <a:pt x="395" y="139"/>
                  <a:pt x="391" y="140"/>
                  <a:pt x="388" y="142"/>
                </a:cubicBezTo>
                <a:close/>
                <a:moveTo>
                  <a:pt x="403" y="308"/>
                </a:moveTo>
                <a:cubicBezTo>
                  <a:pt x="403" y="307"/>
                  <a:pt x="403" y="306"/>
                  <a:pt x="403" y="306"/>
                </a:cubicBezTo>
                <a:cubicBezTo>
                  <a:pt x="403" y="306"/>
                  <a:pt x="403" y="309"/>
                  <a:pt x="403" y="308"/>
                </a:cubicBezTo>
                <a:close/>
                <a:moveTo>
                  <a:pt x="413" y="140"/>
                </a:moveTo>
                <a:cubicBezTo>
                  <a:pt x="412" y="139"/>
                  <a:pt x="412" y="138"/>
                  <a:pt x="412" y="136"/>
                </a:cubicBezTo>
                <a:cubicBezTo>
                  <a:pt x="412" y="136"/>
                  <a:pt x="413" y="136"/>
                  <a:pt x="413" y="136"/>
                </a:cubicBezTo>
                <a:cubicBezTo>
                  <a:pt x="413" y="136"/>
                  <a:pt x="413" y="135"/>
                  <a:pt x="413" y="135"/>
                </a:cubicBezTo>
                <a:cubicBezTo>
                  <a:pt x="414" y="136"/>
                  <a:pt x="413" y="136"/>
                  <a:pt x="413" y="136"/>
                </a:cubicBezTo>
                <a:cubicBezTo>
                  <a:pt x="413" y="137"/>
                  <a:pt x="413" y="137"/>
                  <a:pt x="413" y="140"/>
                </a:cubicBezTo>
                <a:close/>
                <a:moveTo>
                  <a:pt x="426" y="413"/>
                </a:moveTo>
                <a:cubicBezTo>
                  <a:pt x="426" y="413"/>
                  <a:pt x="425" y="415"/>
                  <a:pt x="426" y="414"/>
                </a:cubicBezTo>
                <a:cubicBezTo>
                  <a:pt x="426" y="413"/>
                  <a:pt x="426" y="413"/>
                  <a:pt x="426" y="413"/>
                </a:cubicBezTo>
                <a:cubicBezTo>
                  <a:pt x="426" y="414"/>
                  <a:pt x="426" y="415"/>
                  <a:pt x="427" y="416"/>
                </a:cubicBezTo>
                <a:cubicBezTo>
                  <a:pt x="426" y="415"/>
                  <a:pt x="426" y="414"/>
                  <a:pt x="426" y="413"/>
                </a:cubicBezTo>
                <a:close/>
                <a:moveTo>
                  <a:pt x="445" y="233"/>
                </a:moveTo>
                <a:cubicBezTo>
                  <a:pt x="446" y="234"/>
                  <a:pt x="446" y="235"/>
                  <a:pt x="447" y="236"/>
                </a:cubicBezTo>
                <a:cubicBezTo>
                  <a:pt x="447" y="237"/>
                  <a:pt x="448" y="239"/>
                  <a:pt x="448" y="240"/>
                </a:cubicBezTo>
                <a:cubicBezTo>
                  <a:pt x="447" y="238"/>
                  <a:pt x="446" y="236"/>
                  <a:pt x="445" y="233"/>
                </a:cubicBezTo>
                <a:close/>
                <a:moveTo>
                  <a:pt x="452" y="155"/>
                </a:moveTo>
                <a:cubicBezTo>
                  <a:pt x="452" y="155"/>
                  <a:pt x="452" y="154"/>
                  <a:pt x="452" y="153"/>
                </a:cubicBezTo>
                <a:cubicBezTo>
                  <a:pt x="453" y="155"/>
                  <a:pt x="453" y="156"/>
                  <a:pt x="455" y="156"/>
                </a:cubicBezTo>
                <a:cubicBezTo>
                  <a:pt x="454" y="156"/>
                  <a:pt x="453" y="156"/>
                  <a:pt x="452" y="155"/>
                </a:cubicBezTo>
                <a:close/>
                <a:moveTo>
                  <a:pt x="463" y="138"/>
                </a:moveTo>
                <a:cubicBezTo>
                  <a:pt x="463" y="137"/>
                  <a:pt x="463" y="136"/>
                  <a:pt x="462" y="136"/>
                </a:cubicBezTo>
                <a:cubicBezTo>
                  <a:pt x="464" y="139"/>
                  <a:pt x="466" y="142"/>
                  <a:pt x="468" y="146"/>
                </a:cubicBezTo>
                <a:cubicBezTo>
                  <a:pt x="466" y="143"/>
                  <a:pt x="464" y="141"/>
                  <a:pt x="463" y="138"/>
                </a:cubicBezTo>
                <a:close/>
                <a:moveTo>
                  <a:pt x="469" y="148"/>
                </a:moveTo>
                <a:cubicBezTo>
                  <a:pt x="469" y="148"/>
                  <a:pt x="469" y="149"/>
                  <a:pt x="469" y="150"/>
                </a:cubicBezTo>
                <a:cubicBezTo>
                  <a:pt x="469" y="149"/>
                  <a:pt x="469" y="148"/>
                  <a:pt x="469" y="148"/>
                </a:cubicBezTo>
                <a:close/>
                <a:moveTo>
                  <a:pt x="470" y="122"/>
                </a:moveTo>
                <a:cubicBezTo>
                  <a:pt x="470" y="119"/>
                  <a:pt x="470" y="118"/>
                  <a:pt x="470" y="116"/>
                </a:cubicBezTo>
                <a:cubicBezTo>
                  <a:pt x="470" y="118"/>
                  <a:pt x="470" y="119"/>
                  <a:pt x="470" y="122"/>
                </a:cubicBezTo>
                <a:close/>
                <a:moveTo>
                  <a:pt x="599" y="218"/>
                </a:moveTo>
                <a:cubicBezTo>
                  <a:pt x="598" y="217"/>
                  <a:pt x="598" y="216"/>
                  <a:pt x="597" y="216"/>
                </a:cubicBezTo>
                <a:cubicBezTo>
                  <a:pt x="598" y="217"/>
                  <a:pt x="598" y="218"/>
                  <a:pt x="599" y="218"/>
                </a:cubicBezTo>
                <a:close/>
                <a:moveTo>
                  <a:pt x="556" y="191"/>
                </a:moveTo>
                <a:cubicBezTo>
                  <a:pt x="556" y="192"/>
                  <a:pt x="556" y="193"/>
                  <a:pt x="555" y="194"/>
                </a:cubicBezTo>
                <a:cubicBezTo>
                  <a:pt x="555" y="193"/>
                  <a:pt x="556" y="192"/>
                  <a:pt x="556" y="191"/>
                </a:cubicBezTo>
                <a:close/>
                <a:moveTo>
                  <a:pt x="546" y="307"/>
                </a:moveTo>
                <a:cubicBezTo>
                  <a:pt x="546" y="307"/>
                  <a:pt x="545" y="308"/>
                  <a:pt x="544" y="308"/>
                </a:cubicBezTo>
                <a:cubicBezTo>
                  <a:pt x="543" y="308"/>
                  <a:pt x="546" y="307"/>
                  <a:pt x="546" y="307"/>
                </a:cubicBezTo>
                <a:close/>
                <a:moveTo>
                  <a:pt x="496" y="332"/>
                </a:moveTo>
                <a:cubicBezTo>
                  <a:pt x="492" y="336"/>
                  <a:pt x="488" y="340"/>
                  <a:pt x="486" y="346"/>
                </a:cubicBezTo>
                <a:cubicBezTo>
                  <a:pt x="488" y="339"/>
                  <a:pt x="492" y="336"/>
                  <a:pt x="496" y="332"/>
                </a:cubicBezTo>
                <a:close/>
                <a:moveTo>
                  <a:pt x="498" y="468"/>
                </a:moveTo>
                <a:cubicBezTo>
                  <a:pt x="498" y="467"/>
                  <a:pt x="497" y="466"/>
                  <a:pt x="497" y="465"/>
                </a:cubicBezTo>
                <a:cubicBezTo>
                  <a:pt x="497" y="467"/>
                  <a:pt x="498" y="468"/>
                  <a:pt x="499" y="470"/>
                </a:cubicBezTo>
                <a:cubicBezTo>
                  <a:pt x="499" y="469"/>
                  <a:pt x="498" y="469"/>
                  <a:pt x="498" y="468"/>
                </a:cubicBezTo>
                <a:close/>
                <a:moveTo>
                  <a:pt x="587" y="546"/>
                </a:moveTo>
                <a:cubicBezTo>
                  <a:pt x="587" y="548"/>
                  <a:pt x="588" y="549"/>
                  <a:pt x="587" y="550"/>
                </a:cubicBezTo>
                <a:cubicBezTo>
                  <a:pt x="587" y="549"/>
                  <a:pt x="587" y="548"/>
                  <a:pt x="587" y="546"/>
                </a:cubicBezTo>
                <a:cubicBezTo>
                  <a:pt x="588" y="546"/>
                  <a:pt x="589" y="546"/>
                  <a:pt x="590" y="546"/>
                </a:cubicBezTo>
                <a:cubicBezTo>
                  <a:pt x="589" y="546"/>
                  <a:pt x="588" y="546"/>
                  <a:pt x="587" y="546"/>
                </a:cubicBezTo>
                <a:close/>
                <a:moveTo>
                  <a:pt x="595" y="413"/>
                </a:moveTo>
                <a:cubicBezTo>
                  <a:pt x="587" y="420"/>
                  <a:pt x="579" y="430"/>
                  <a:pt x="568" y="435"/>
                </a:cubicBezTo>
                <a:cubicBezTo>
                  <a:pt x="561" y="438"/>
                  <a:pt x="556" y="438"/>
                  <a:pt x="549" y="439"/>
                </a:cubicBezTo>
                <a:cubicBezTo>
                  <a:pt x="542" y="439"/>
                  <a:pt x="545" y="440"/>
                  <a:pt x="540" y="438"/>
                </a:cubicBezTo>
                <a:cubicBezTo>
                  <a:pt x="530" y="433"/>
                  <a:pt x="523" y="422"/>
                  <a:pt x="517" y="412"/>
                </a:cubicBezTo>
                <a:cubicBezTo>
                  <a:pt x="513" y="405"/>
                  <a:pt x="505" y="388"/>
                  <a:pt x="499" y="384"/>
                </a:cubicBezTo>
                <a:cubicBezTo>
                  <a:pt x="500" y="385"/>
                  <a:pt x="501" y="385"/>
                  <a:pt x="502" y="385"/>
                </a:cubicBezTo>
                <a:cubicBezTo>
                  <a:pt x="502" y="382"/>
                  <a:pt x="497" y="368"/>
                  <a:pt x="494" y="376"/>
                </a:cubicBezTo>
                <a:cubicBezTo>
                  <a:pt x="498" y="371"/>
                  <a:pt x="492" y="365"/>
                  <a:pt x="490" y="359"/>
                </a:cubicBezTo>
                <a:cubicBezTo>
                  <a:pt x="489" y="353"/>
                  <a:pt x="489" y="346"/>
                  <a:pt x="493" y="340"/>
                </a:cubicBezTo>
                <a:cubicBezTo>
                  <a:pt x="501" y="330"/>
                  <a:pt x="520" y="323"/>
                  <a:pt x="531" y="318"/>
                </a:cubicBezTo>
                <a:cubicBezTo>
                  <a:pt x="542" y="313"/>
                  <a:pt x="550" y="310"/>
                  <a:pt x="562" y="307"/>
                </a:cubicBezTo>
                <a:cubicBezTo>
                  <a:pt x="569" y="305"/>
                  <a:pt x="576" y="301"/>
                  <a:pt x="581" y="312"/>
                </a:cubicBezTo>
                <a:cubicBezTo>
                  <a:pt x="573" y="313"/>
                  <a:pt x="581" y="324"/>
                  <a:pt x="578" y="329"/>
                </a:cubicBezTo>
                <a:cubicBezTo>
                  <a:pt x="577" y="330"/>
                  <a:pt x="564" y="338"/>
                  <a:pt x="562" y="338"/>
                </a:cubicBezTo>
                <a:cubicBezTo>
                  <a:pt x="557" y="338"/>
                  <a:pt x="561" y="335"/>
                  <a:pt x="557" y="333"/>
                </a:cubicBezTo>
                <a:cubicBezTo>
                  <a:pt x="551" y="329"/>
                  <a:pt x="548" y="333"/>
                  <a:pt x="544" y="336"/>
                </a:cubicBezTo>
                <a:cubicBezTo>
                  <a:pt x="544" y="336"/>
                  <a:pt x="544" y="336"/>
                  <a:pt x="544" y="335"/>
                </a:cubicBezTo>
                <a:cubicBezTo>
                  <a:pt x="539" y="338"/>
                  <a:pt x="539" y="343"/>
                  <a:pt x="532" y="346"/>
                </a:cubicBezTo>
                <a:cubicBezTo>
                  <a:pt x="523" y="349"/>
                  <a:pt x="521" y="348"/>
                  <a:pt x="521" y="356"/>
                </a:cubicBezTo>
                <a:cubicBezTo>
                  <a:pt x="522" y="368"/>
                  <a:pt x="529" y="362"/>
                  <a:pt x="537" y="359"/>
                </a:cubicBezTo>
                <a:cubicBezTo>
                  <a:pt x="546" y="354"/>
                  <a:pt x="556" y="350"/>
                  <a:pt x="565" y="346"/>
                </a:cubicBezTo>
                <a:cubicBezTo>
                  <a:pt x="580" y="340"/>
                  <a:pt x="583" y="350"/>
                  <a:pt x="587" y="360"/>
                </a:cubicBezTo>
                <a:cubicBezTo>
                  <a:pt x="587" y="360"/>
                  <a:pt x="586" y="360"/>
                  <a:pt x="585" y="360"/>
                </a:cubicBezTo>
                <a:cubicBezTo>
                  <a:pt x="585" y="360"/>
                  <a:pt x="585" y="360"/>
                  <a:pt x="585" y="360"/>
                </a:cubicBezTo>
                <a:cubicBezTo>
                  <a:pt x="580" y="358"/>
                  <a:pt x="579" y="362"/>
                  <a:pt x="580" y="368"/>
                </a:cubicBezTo>
                <a:cubicBezTo>
                  <a:pt x="582" y="378"/>
                  <a:pt x="569" y="381"/>
                  <a:pt x="570" y="376"/>
                </a:cubicBezTo>
                <a:cubicBezTo>
                  <a:pt x="571" y="371"/>
                  <a:pt x="560" y="360"/>
                  <a:pt x="566" y="370"/>
                </a:cubicBezTo>
                <a:cubicBezTo>
                  <a:pt x="567" y="373"/>
                  <a:pt x="567" y="375"/>
                  <a:pt x="566" y="377"/>
                </a:cubicBezTo>
                <a:cubicBezTo>
                  <a:pt x="563" y="376"/>
                  <a:pt x="550" y="382"/>
                  <a:pt x="546" y="384"/>
                </a:cubicBezTo>
                <a:cubicBezTo>
                  <a:pt x="538" y="388"/>
                  <a:pt x="535" y="395"/>
                  <a:pt x="544" y="402"/>
                </a:cubicBezTo>
                <a:cubicBezTo>
                  <a:pt x="551" y="407"/>
                  <a:pt x="557" y="401"/>
                  <a:pt x="564" y="396"/>
                </a:cubicBezTo>
                <a:cubicBezTo>
                  <a:pt x="574" y="390"/>
                  <a:pt x="572" y="388"/>
                  <a:pt x="567" y="379"/>
                </a:cubicBezTo>
                <a:cubicBezTo>
                  <a:pt x="570" y="373"/>
                  <a:pt x="568" y="375"/>
                  <a:pt x="571" y="380"/>
                </a:cubicBezTo>
                <a:cubicBezTo>
                  <a:pt x="575" y="385"/>
                  <a:pt x="584" y="377"/>
                  <a:pt x="583" y="364"/>
                </a:cubicBezTo>
                <a:cubicBezTo>
                  <a:pt x="583" y="362"/>
                  <a:pt x="584" y="361"/>
                  <a:pt x="585" y="360"/>
                </a:cubicBezTo>
                <a:cubicBezTo>
                  <a:pt x="586" y="360"/>
                  <a:pt x="587" y="361"/>
                  <a:pt x="588" y="361"/>
                </a:cubicBezTo>
                <a:cubicBezTo>
                  <a:pt x="589" y="364"/>
                  <a:pt x="591" y="368"/>
                  <a:pt x="593" y="371"/>
                </a:cubicBezTo>
                <a:cubicBezTo>
                  <a:pt x="595" y="374"/>
                  <a:pt x="597" y="374"/>
                  <a:pt x="599" y="377"/>
                </a:cubicBezTo>
                <a:cubicBezTo>
                  <a:pt x="600" y="380"/>
                  <a:pt x="602" y="387"/>
                  <a:pt x="602" y="391"/>
                </a:cubicBezTo>
                <a:cubicBezTo>
                  <a:pt x="604" y="399"/>
                  <a:pt x="604" y="408"/>
                  <a:pt x="595" y="413"/>
                </a:cubicBezTo>
                <a:close/>
                <a:moveTo>
                  <a:pt x="629" y="579"/>
                </a:moveTo>
                <a:cubicBezTo>
                  <a:pt x="629" y="577"/>
                  <a:pt x="629" y="578"/>
                  <a:pt x="629" y="579"/>
                </a:cubicBezTo>
                <a:close/>
                <a:moveTo>
                  <a:pt x="643" y="374"/>
                </a:moveTo>
                <a:cubicBezTo>
                  <a:pt x="643" y="375"/>
                  <a:pt x="643" y="377"/>
                  <a:pt x="644" y="378"/>
                </a:cubicBezTo>
                <a:cubicBezTo>
                  <a:pt x="642" y="377"/>
                  <a:pt x="643" y="376"/>
                  <a:pt x="643" y="374"/>
                </a:cubicBezTo>
                <a:close/>
                <a:moveTo>
                  <a:pt x="670" y="565"/>
                </a:moveTo>
                <a:cubicBezTo>
                  <a:pt x="669" y="566"/>
                  <a:pt x="672" y="562"/>
                  <a:pt x="673" y="561"/>
                </a:cubicBezTo>
                <a:cubicBezTo>
                  <a:pt x="673" y="563"/>
                  <a:pt x="672" y="563"/>
                  <a:pt x="670" y="565"/>
                </a:cubicBezTo>
                <a:close/>
                <a:moveTo>
                  <a:pt x="673" y="385"/>
                </a:moveTo>
                <a:cubicBezTo>
                  <a:pt x="673" y="387"/>
                  <a:pt x="673" y="387"/>
                  <a:pt x="673" y="385"/>
                </a:cubicBezTo>
                <a:close/>
                <a:moveTo>
                  <a:pt x="685" y="644"/>
                </a:moveTo>
                <a:cubicBezTo>
                  <a:pt x="684" y="641"/>
                  <a:pt x="685" y="646"/>
                  <a:pt x="686" y="647"/>
                </a:cubicBezTo>
                <a:cubicBezTo>
                  <a:pt x="685" y="646"/>
                  <a:pt x="685" y="645"/>
                  <a:pt x="685" y="644"/>
                </a:cubicBezTo>
                <a:close/>
                <a:moveTo>
                  <a:pt x="690" y="539"/>
                </a:moveTo>
                <a:cubicBezTo>
                  <a:pt x="689" y="539"/>
                  <a:pt x="689" y="538"/>
                  <a:pt x="688" y="538"/>
                </a:cubicBezTo>
                <a:cubicBezTo>
                  <a:pt x="688" y="537"/>
                  <a:pt x="688" y="537"/>
                  <a:pt x="688" y="537"/>
                </a:cubicBezTo>
                <a:cubicBezTo>
                  <a:pt x="688" y="536"/>
                  <a:pt x="687" y="535"/>
                  <a:pt x="686" y="534"/>
                </a:cubicBezTo>
                <a:cubicBezTo>
                  <a:pt x="688" y="535"/>
                  <a:pt x="688" y="536"/>
                  <a:pt x="688" y="537"/>
                </a:cubicBezTo>
                <a:cubicBezTo>
                  <a:pt x="689" y="538"/>
                  <a:pt x="690" y="538"/>
                  <a:pt x="690" y="539"/>
                </a:cubicBezTo>
                <a:cubicBezTo>
                  <a:pt x="691" y="540"/>
                  <a:pt x="692" y="540"/>
                  <a:pt x="692" y="542"/>
                </a:cubicBezTo>
                <a:cubicBezTo>
                  <a:pt x="692" y="541"/>
                  <a:pt x="691" y="540"/>
                  <a:pt x="690" y="539"/>
                </a:cubicBezTo>
                <a:close/>
                <a:moveTo>
                  <a:pt x="702" y="404"/>
                </a:moveTo>
                <a:cubicBezTo>
                  <a:pt x="704" y="405"/>
                  <a:pt x="704" y="406"/>
                  <a:pt x="705" y="407"/>
                </a:cubicBezTo>
                <a:cubicBezTo>
                  <a:pt x="704" y="406"/>
                  <a:pt x="703" y="405"/>
                  <a:pt x="702" y="404"/>
                </a:cubicBezTo>
                <a:close/>
                <a:moveTo>
                  <a:pt x="732" y="423"/>
                </a:moveTo>
                <a:cubicBezTo>
                  <a:pt x="734" y="426"/>
                  <a:pt x="735" y="428"/>
                  <a:pt x="736" y="431"/>
                </a:cubicBezTo>
                <a:cubicBezTo>
                  <a:pt x="737" y="431"/>
                  <a:pt x="737" y="432"/>
                  <a:pt x="737" y="433"/>
                </a:cubicBezTo>
                <a:cubicBezTo>
                  <a:pt x="736" y="430"/>
                  <a:pt x="734" y="427"/>
                  <a:pt x="732" y="423"/>
                </a:cubicBezTo>
                <a:close/>
                <a:moveTo>
                  <a:pt x="742" y="598"/>
                </a:moveTo>
                <a:cubicBezTo>
                  <a:pt x="743" y="596"/>
                  <a:pt x="744" y="593"/>
                  <a:pt x="745" y="590"/>
                </a:cubicBezTo>
                <a:cubicBezTo>
                  <a:pt x="744" y="593"/>
                  <a:pt x="743" y="596"/>
                  <a:pt x="742" y="598"/>
                </a:cubicBezTo>
                <a:close/>
                <a:moveTo>
                  <a:pt x="752" y="440"/>
                </a:moveTo>
                <a:cubicBezTo>
                  <a:pt x="752" y="441"/>
                  <a:pt x="753" y="441"/>
                  <a:pt x="753" y="441"/>
                </a:cubicBezTo>
                <a:cubicBezTo>
                  <a:pt x="752" y="441"/>
                  <a:pt x="751" y="440"/>
                  <a:pt x="751" y="440"/>
                </a:cubicBezTo>
                <a:cubicBezTo>
                  <a:pt x="751" y="440"/>
                  <a:pt x="752" y="440"/>
                  <a:pt x="752" y="440"/>
                </a:cubicBezTo>
                <a:close/>
                <a:moveTo>
                  <a:pt x="754" y="692"/>
                </a:moveTo>
                <a:cubicBezTo>
                  <a:pt x="754" y="692"/>
                  <a:pt x="754" y="692"/>
                  <a:pt x="758" y="690"/>
                </a:cubicBezTo>
                <a:cubicBezTo>
                  <a:pt x="756" y="690"/>
                  <a:pt x="755" y="691"/>
                  <a:pt x="754" y="692"/>
                </a:cubicBezTo>
                <a:close/>
                <a:moveTo>
                  <a:pt x="771" y="696"/>
                </a:moveTo>
                <a:cubicBezTo>
                  <a:pt x="771" y="696"/>
                  <a:pt x="767" y="697"/>
                  <a:pt x="770" y="696"/>
                </a:cubicBezTo>
                <a:cubicBezTo>
                  <a:pt x="770" y="696"/>
                  <a:pt x="772" y="695"/>
                  <a:pt x="771" y="696"/>
                </a:cubicBezTo>
                <a:close/>
                <a:moveTo>
                  <a:pt x="794" y="681"/>
                </a:moveTo>
                <a:cubicBezTo>
                  <a:pt x="794" y="681"/>
                  <a:pt x="794" y="680"/>
                  <a:pt x="794" y="680"/>
                </a:cubicBezTo>
                <a:cubicBezTo>
                  <a:pt x="793" y="678"/>
                  <a:pt x="794" y="680"/>
                  <a:pt x="794" y="681"/>
                </a:cubicBezTo>
                <a:cubicBezTo>
                  <a:pt x="794" y="681"/>
                  <a:pt x="795" y="683"/>
                  <a:pt x="794" y="681"/>
                </a:cubicBezTo>
                <a:close/>
                <a:moveTo>
                  <a:pt x="825" y="701"/>
                </a:moveTo>
                <a:cubicBezTo>
                  <a:pt x="827" y="700"/>
                  <a:pt x="826" y="702"/>
                  <a:pt x="826" y="700"/>
                </a:cubicBezTo>
                <a:cubicBezTo>
                  <a:pt x="827" y="701"/>
                  <a:pt x="826" y="701"/>
                  <a:pt x="825" y="701"/>
                </a:cubicBezTo>
                <a:cubicBezTo>
                  <a:pt x="825" y="701"/>
                  <a:pt x="826" y="701"/>
                  <a:pt x="825" y="702"/>
                </a:cubicBezTo>
                <a:cubicBezTo>
                  <a:pt x="824" y="704"/>
                  <a:pt x="825" y="702"/>
                  <a:pt x="825" y="701"/>
                </a:cubicBezTo>
                <a:close/>
                <a:moveTo>
                  <a:pt x="815" y="718"/>
                </a:moveTo>
                <a:cubicBezTo>
                  <a:pt x="819" y="715"/>
                  <a:pt x="823" y="711"/>
                  <a:pt x="825" y="706"/>
                </a:cubicBezTo>
                <a:cubicBezTo>
                  <a:pt x="823" y="711"/>
                  <a:pt x="819" y="715"/>
                  <a:pt x="815" y="718"/>
                </a:cubicBezTo>
                <a:close/>
                <a:moveTo>
                  <a:pt x="820" y="732"/>
                </a:moveTo>
                <a:cubicBezTo>
                  <a:pt x="830" y="729"/>
                  <a:pt x="838" y="719"/>
                  <a:pt x="838" y="708"/>
                </a:cubicBezTo>
                <a:cubicBezTo>
                  <a:pt x="838" y="719"/>
                  <a:pt x="830" y="729"/>
                  <a:pt x="820" y="732"/>
                </a:cubicBezTo>
                <a:close/>
                <a:moveTo>
                  <a:pt x="880" y="750"/>
                </a:moveTo>
                <a:cubicBezTo>
                  <a:pt x="882" y="747"/>
                  <a:pt x="882" y="744"/>
                  <a:pt x="882" y="741"/>
                </a:cubicBezTo>
                <a:cubicBezTo>
                  <a:pt x="882" y="740"/>
                  <a:pt x="882" y="738"/>
                  <a:pt x="882" y="737"/>
                </a:cubicBezTo>
                <a:cubicBezTo>
                  <a:pt x="881" y="737"/>
                  <a:pt x="881" y="737"/>
                  <a:pt x="881" y="737"/>
                </a:cubicBezTo>
                <a:cubicBezTo>
                  <a:pt x="881" y="735"/>
                  <a:pt x="880" y="733"/>
                  <a:pt x="880" y="731"/>
                </a:cubicBezTo>
                <a:cubicBezTo>
                  <a:pt x="880" y="733"/>
                  <a:pt x="881" y="735"/>
                  <a:pt x="882" y="737"/>
                </a:cubicBezTo>
                <a:cubicBezTo>
                  <a:pt x="882" y="737"/>
                  <a:pt x="882" y="737"/>
                  <a:pt x="882" y="737"/>
                </a:cubicBezTo>
                <a:cubicBezTo>
                  <a:pt x="882" y="737"/>
                  <a:pt x="882" y="736"/>
                  <a:pt x="883" y="736"/>
                </a:cubicBezTo>
                <a:cubicBezTo>
                  <a:pt x="883" y="737"/>
                  <a:pt x="882" y="739"/>
                  <a:pt x="882" y="741"/>
                </a:cubicBezTo>
                <a:cubicBezTo>
                  <a:pt x="883" y="744"/>
                  <a:pt x="882" y="747"/>
                  <a:pt x="880" y="750"/>
                </a:cubicBezTo>
                <a:close/>
                <a:moveTo>
                  <a:pt x="900" y="786"/>
                </a:moveTo>
                <a:cubicBezTo>
                  <a:pt x="900" y="786"/>
                  <a:pt x="899" y="786"/>
                  <a:pt x="898" y="786"/>
                </a:cubicBezTo>
                <a:cubicBezTo>
                  <a:pt x="900" y="785"/>
                  <a:pt x="901" y="785"/>
                  <a:pt x="903" y="784"/>
                </a:cubicBezTo>
                <a:cubicBezTo>
                  <a:pt x="902" y="784"/>
                  <a:pt x="901" y="785"/>
                  <a:pt x="900" y="786"/>
                </a:cubicBezTo>
                <a:close/>
                <a:moveTo>
                  <a:pt x="910" y="778"/>
                </a:moveTo>
                <a:cubicBezTo>
                  <a:pt x="911" y="777"/>
                  <a:pt x="911" y="776"/>
                  <a:pt x="913" y="777"/>
                </a:cubicBezTo>
                <a:cubicBezTo>
                  <a:pt x="912" y="777"/>
                  <a:pt x="911" y="777"/>
                  <a:pt x="910" y="778"/>
                </a:cubicBezTo>
                <a:close/>
                <a:moveTo>
                  <a:pt x="911" y="761"/>
                </a:moveTo>
                <a:cubicBezTo>
                  <a:pt x="911" y="762"/>
                  <a:pt x="912" y="763"/>
                  <a:pt x="912" y="764"/>
                </a:cubicBezTo>
                <a:cubicBezTo>
                  <a:pt x="912" y="767"/>
                  <a:pt x="913" y="769"/>
                  <a:pt x="914" y="772"/>
                </a:cubicBezTo>
                <a:cubicBezTo>
                  <a:pt x="913" y="768"/>
                  <a:pt x="912" y="765"/>
                  <a:pt x="911" y="761"/>
                </a:cubicBezTo>
                <a:close/>
                <a:moveTo>
                  <a:pt x="940" y="801"/>
                </a:moveTo>
                <a:cubicBezTo>
                  <a:pt x="939" y="800"/>
                  <a:pt x="938" y="801"/>
                  <a:pt x="938" y="801"/>
                </a:cubicBezTo>
                <a:cubicBezTo>
                  <a:pt x="939" y="800"/>
                  <a:pt x="939" y="799"/>
                  <a:pt x="940" y="798"/>
                </a:cubicBezTo>
                <a:cubicBezTo>
                  <a:pt x="940" y="799"/>
                  <a:pt x="939" y="800"/>
                  <a:pt x="940" y="80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/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6081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73036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110DE0FD-A3D3-1944-913D-260DAFF6FB81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862460" y="369014"/>
            <a:ext cx="5233540" cy="6488986"/>
          </a:xfrm>
          <a:custGeom>
            <a:avLst/>
            <a:gdLst>
              <a:gd name="T0" fmla="*/ 955 w 1123"/>
              <a:gd name="T1" fmla="*/ 1447 h 1594"/>
              <a:gd name="T2" fmla="*/ 857 w 1123"/>
              <a:gd name="T3" fmla="*/ 1356 h 1594"/>
              <a:gd name="T4" fmla="*/ 725 w 1123"/>
              <a:gd name="T5" fmla="*/ 1438 h 1594"/>
              <a:gd name="T6" fmla="*/ 698 w 1123"/>
              <a:gd name="T7" fmla="*/ 1336 h 1594"/>
              <a:gd name="T8" fmla="*/ 576 w 1123"/>
              <a:gd name="T9" fmla="*/ 1452 h 1594"/>
              <a:gd name="T10" fmla="*/ 867 w 1123"/>
              <a:gd name="T11" fmla="*/ 1323 h 1594"/>
              <a:gd name="T12" fmla="*/ 513 w 1123"/>
              <a:gd name="T13" fmla="*/ 1409 h 1594"/>
              <a:gd name="T14" fmla="*/ 493 w 1123"/>
              <a:gd name="T15" fmla="*/ 1451 h 1594"/>
              <a:gd name="T16" fmla="*/ 547 w 1123"/>
              <a:gd name="T17" fmla="*/ 1432 h 1594"/>
              <a:gd name="T18" fmla="*/ 939 w 1123"/>
              <a:gd name="T19" fmla="*/ 1551 h 1594"/>
              <a:gd name="T20" fmla="*/ 723 w 1123"/>
              <a:gd name="T21" fmla="*/ 781 h 1594"/>
              <a:gd name="T22" fmla="*/ 1024 w 1123"/>
              <a:gd name="T23" fmla="*/ 780 h 1594"/>
              <a:gd name="T24" fmla="*/ 922 w 1123"/>
              <a:gd name="T25" fmla="*/ 669 h 1594"/>
              <a:gd name="T26" fmla="*/ 802 w 1123"/>
              <a:gd name="T27" fmla="*/ 642 h 1594"/>
              <a:gd name="T28" fmla="*/ 775 w 1123"/>
              <a:gd name="T29" fmla="*/ 611 h 1594"/>
              <a:gd name="T30" fmla="*/ 880 w 1123"/>
              <a:gd name="T31" fmla="*/ 565 h 1594"/>
              <a:gd name="T32" fmla="*/ 595 w 1123"/>
              <a:gd name="T33" fmla="*/ 587 h 1594"/>
              <a:gd name="T34" fmla="*/ 518 w 1123"/>
              <a:gd name="T35" fmla="*/ 601 h 1594"/>
              <a:gd name="T36" fmla="*/ 467 w 1123"/>
              <a:gd name="T37" fmla="*/ 638 h 1594"/>
              <a:gd name="T38" fmla="*/ 458 w 1123"/>
              <a:gd name="T39" fmla="*/ 469 h 1594"/>
              <a:gd name="T40" fmla="*/ 322 w 1123"/>
              <a:gd name="T41" fmla="*/ 482 h 1594"/>
              <a:gd name="T42" fmla="*/ 445 w 1123"/>
              <a:gd name="T43" fmla="*/ 550 h 1594"/>
              <a:gd name="T44" fmla="*/ 465 w 1123"/>
              <a:gd name="T45" fmla="*/ 739 h 1594"/>
              <a:gd name="T46" fmla="*/ 518 w 1123"/>
              <a:gd name="T47" fmla="*/ 874 h 1594"/>
              <a:gd name="T48" fmla="*/ 488 w 1123"/>
              <a:gd name="T49" fmla="*/ 969 h 1594"/>
              <a:gd name="T50" fmla="*/ 507 w 1123"/>
              <a:gd name="T51" fmla="*/ 1053 h 1594"/>
              <a:gd name="T52" fmla="*/ 540 w 1123"/>
              <a:gd name="T53" fmla="*/ 1198 h 1594"/>
              <a:gd name="T54" fmla="*/ 599 w 1123"/>
              <a:gd name="T55" fmla="*/ 1279 h 1594"/>
              <a:gd name="T56" fmla="*/ 927 w 1123"/>
              <a:gd name="T57" fmla="*/ 1212 h 1594"/>
              <a:gd name="T58" fmla="*/ 914 w 1123"/>
              <a:gd name="T59" fmla="*/ 953 h 1594"/>
              <a:gd name="T60" fmla="*/ 1037 w 1123"/>
              <a:gd name="T61" fmla="*/ 1418 h 1594"/>
              <a:gd name="T62" fmla="*/ 1119 w 1123"/>
              <a:gd name="T63" fmla="*/ 1518 h 1594"/>
              <a:gd name="T64" fmla="*/ 472 w 1123"/>
              <a:gd name="T65" fmla="*/ 1324 h 1594"/>
              <a:gd name="T66" fmla="*/ 463 w 1123"/>
              <a:gd name="T67" fmla="*/ 1361 h 1594"/>
              <a:gd name="T68" fmla="*/ 457 w 1123"/>
              <a:gd name="T69" fmla="*/ 504 h 1594"/>
              <a:gd name="T70" fmla="*/ 356 w 1123"/>
              <a:gd name="T71" fmla="*/ 643 h 1594"/>
              <a:gd name="T72" fmla="*/ 456 w 1123"/>
              <a:gd name="T73" fmla="*/ 922 h 1594"/>
              <a:gd name="T74" fmla="*/ 479 w 1123"/>
              <a:gd name="T75" fmla="*/ 941 h 1594"/>
              <a:gd name="T76" fmla="*/ 1023 w 1123"/>
              <a:gd name="T77" fmla="*/ 1549 h 1594"/>
              <a:gd name="T78" fmla="*/ 964 w 1123"/>
              <a:gd name="T79" fmla="*/ 927 h 1594"/>
              <a:gd name="T80" fmla="*/ 824 w 1123"/>
              <a:gd name="T81" fmla="*/ 763 h 1594"/>
              <a:gd name="T82" fmla="*/ 900 w 1123"/>
              <a:gd name="T83" fmla="*/ 795 h 1594"/>
              <a:gd name="T84" fmla="*/ 846 w 1123"/>
              <a:gd name="T85" fmla="*/ 797 h 1594"/>
              <a:gd name="T86" fmla="*/ 801 w 1123"/>
              <a:gd name="T87" fmla="*/ 1169 h 1594"/>
              <a:gd name="T88" fmla="*/ 702 w 1123"/>
              <a:gd name="T89" fmla="*/ 1174 h 1594"/>
              <a:gd name="T90" fmla="*/ 574 w 1123"/>
              <a:gd name="T91" fmla="*/ 629 h 1594"/>
              <a:gd name="T92" fmla="*/ 605 w 1123"/>
              <a:gd name="T93" fmla="*/ 610 h 1594"/>
              <a:gd name="T94" fmla="*/ 620 w 1123"/>
              <a:gd name="T95" fmla="*/ 935 h 1594"/>
              <a:gd name="T96" fmla="*/ 615 w 1123"/>
              <a:gd name="T97" fmla="*/ 575 h 1594"/>
              <a:gd name="T98" fmla="*/ 754 w 1123"/>
              <a:gd name="T99" fmla="*/ 990 h 1594"/>
              <a:gd name="T100" fmla="*/ 818 w 1123"/>
              <a:gd name="T101" fmla="*/ 1043 h 1594"/>
              <a:gd name="T102" fmla="*/ 965 w 1123"/>
              <a:gd name="T103" fmla="*/ 657 h 1594"/>
              <a:gd name="T104" fmla="*/ 497 w 1123"/>
              <a:gd name="T105" fmla="*/ 795 h 1594"/>
              <a:gd name="T106" fmla="*/ 922 w 1123"/>
              <a:gd name="T107" fmla="*/ 309 h 1594"/>
              <a:gd name="T108" fmla="*/ 714 w 1123"/>
              <a:gd name="T109" fmla="*/ 204 h 1594"/>
              <a:gd name="T110" fmla="*/ 675 w 1123"/>
              <a:gd name="T111" fmla="*/ 369 h 1594"/>
              <a:gd name="T112" fmla="*/ 460 w 1123"/>
              <a:gd name="T113" fmla="*/ 1222 h 1594"/>
              <a:gd name="T114" fmla="*/ 675 w 1123"/>
              <a:gd name="T115" fmla="*/ 342 h 1594"/>
              <a:gd name="T116" fmla="*/ 266 w 1123"/>
              <a:gd name="T117" fmla="*/ 439 h 1594"/>
              <a:gd name="T118" fmla="*/ 307 w 1123"/>
              <a:gd name="T119" fmla="*/ 470 h 1594"/>
              <a:gd name="T120" fmla="*/ 249 w 1123"/>
              <a:gd name="T121" fmla="*/ 579 h 1594"/>
              <a:gd name="T122" fmla="*/ 346 w 1123"/>
              <a:gd name="T123" fmla="*/ 60 h 1594"/>
              <a:gd name="T124" fmla="*/ 139 w 1123"/>
              <a:gd name="T125" fmla="*/ 559 h 15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23" h="1594">
                <a:moveTo>
                  <a:pt x="232" y="601"/>
                </a:moveTo>
                <a:lnTo>
                  <a:pt x="232" y="606"/>
                </a:lnTo>
                <a:lnTo>
                  <a:pt x="231" y="611"/>
                </a:lnTo>
                <a:lnTo>
                  <a:pt x="229" y="608"/>
                </a:lnTo>
                <a:lnTo>
                  <a:pt x="228" y="604"/>
                </a:lnTo>
                <a:lnTo>
                  <a:pt x="228" y="600"/>
                </a:lnTo>
                <a:lnTo>
                  <a:pt x="228" y="596"/>
                </a:lnTo>
                <a:lnTo>
                  <a:pt x="228" y="586"/>
                </a:lnTo>
                <a:lnTo>
                  <a:pt x="228" y="574"/>
                </a:lnTo>
                <a:lnTo>
                  <a:pt x="229" y="564"/>
                </a:lnTo>
                <a:lnTo>
                  <a:pt x="229" y="552"/>
                </a:lnTo>
                <a:lnTo>
                  <a:pt x="229" y="550"/>
                </a:lnTo>
                <a:lnTo>
                  <a:pt x="229" y="546"/>
                </a:lnTo>
                <a:lnTo>
                  <a:pt x="229" y="544"/>
                </a:lnTo>
                <a:lnTo>
                  <a:pt x="228" y="543"/>
                </a:lnTo>
                <a:lnTo>
                  <a:pt x="224" y="545"/>
                </a:lnTo>
                <a:lnTo>
                  <a:pt x="219" y="545"/>
                </a:lnTo>
                <a:lnTo>
                  <a:pt x="218" y="543"/>
                </a:lnTo>
                <a:lnTo>
                  <a:pt x="217" y="543"/>
                </a:lnTo>
                <a:lnTo>
                  <a:pt x="217" y="543"/>
                </a:lnTo>
                <a:lnTo>
                  <a:pt x="216" y="544"/>
                </a:lnTo>
                <a:lnTo>
                  <a:pt x="215" y="546"/>
                </a:lnTo>
                <a:lnTo>
                  <a:pt x="214" y="547"/>
                </a:lnTo>
                <a:lnTo>
                  <a:pt x="212" y="545"/>
                </a:lnTo>
                <a:lnTo>
                  <a:pt x="211" y="543"/>
                </a:lnTo>
                <a:lnTo>
                  <a:pt x="211" y="541"/>
                </a:lnTo>
                <a:lnTo>
                  <a:pt x="212" y="539"/>
                </a:lnTo>
                <a:lnTo>
                  <a:pt x="214" y="538"/>
                </a:lnTo>
                <a:lnTo>
                  <a:pt x="215" y="538"/>
                </a:lnTo>
                <a:lnTo>
                  <a:pt x="216" y="539"/>
                </a:lnTo>
                <a:lnTo>
                  <a:pt x="218" y="540"/>
                </a:lnTo>
                <a:lnTo>
                  <a:pt x="221" y="540"/>
                </a:lnTo>
                <a:lnTo>
                  <a:pt x="224" y="538"/>
                </a:lnTo>
                <a:lnTo>
                  <a:pt x="226" y="534"/>
                </a:lnTo>
                <a:lnTo>
                  <a:pt x="226" y="532"/>
                </a:lnTo>
                <a:lnTo>
                  <a:pt x="226" y="530"/>
                </a:lnTo>
                <a:lnTo>
                  <a:pt x="224" y="527"/>
                </a:lnTo>
                <a:lnTo>
                  <a:pt x="222" y="526"/>
                </a:lnTo>
                <a:lnTo>
                  <a:pt x="219" y="526"/>
                </a:lnTo>
                <a:lnTo>
                  <a:pt x="218" y="526"/>
                </a:lnTo>
                <a:lnTo>
                  <a:pt x="217" y="526"/>
                </a:lnTo>
                <a:lnTo>
                  <a:pt x="215" y="526"/>
                </a:lnTo>
                <a:lnTo>
                  <a:pt x="215" y="525"/>
                </a:lnTo>
                <a:lnTo>
                  <a:pt x="215" y="523"/>
                </a:lnTo>
                <a:lnTo>
                  <a:pt x="216" y="520"/>
                </a:lnTo>
                <a:lnTo>
                  <a:pt x="217" y="518"/>
                </a:lnTo>
                <a:lnTo>
                  <a:pt x="219" y="517"/>
                </a:lnTo>
                <a:lnTo>
                  <a:pt x="222" y="516"/>
                </a:lnTo>
                <a:lnTo>
                  <a:pt x="224" y="516"/>
                </a:lnTo>
                <a:lnTo>
                  <a:pt x="224" y="516"/>
                </a:lnTo>
                <a:lnTo>
                  <a:pt x="224" y="517"/>
                </a:lnTo>
                <a:lnTo>
                  <a:pt x="224" y="518"/>
                </a:lnTo>
                <a:lnTo>
                  <a:pt x="223" y="520"/>
                </a:lnTo>
                <a:lnTo>
                  <a:pt x="223" y="523"/>
                </a:lnTo>
                <a:lnTo>
                  <a:pt x="224" y="524"/>
                </a:lnTo>
                <a:lnTo>
                  <a:pt x="226" y="524"/>
                </a:lnTo>
                <a:lnTo>
                  <a:pt x="228" y="522"/>
                </a:lnTo>
                <a:lnTo>
                  <a:pt x="228" y="520"/>
                </a:lnTo>
                <a:lnTo>
                  <a:pt x="229" y="518"/>
                </a:lnTo>
                <a:lnTo>
                  <a:pt x="230" y="516"/>
                </a:lnTo>
                <a:lnTo>
                  <a:pt x="230" y="513"/>
                </a:lnTo>
                <a:lnTo>
                  <a:pt x="231" y="508"/>
                </a:lnTo>
                <a:lnTo>
                  <a:pt x="235" y="502"/>
                </a:lnTo>
                <a:lnTo>
                  <a:pt x="240" y="494"/>
                </a:lnTo>
                <a:lnTo>
                  <a:pt x="245" y="484"/>
                </a:lnTo>
                <a:lnTo>
                  <a:pt x="250" y="469"/>
                </a:lnTo>
                <a:lnTo>
                  <a:pt x="256" y="453"/>
                </a:lnTo>
                <a:lnTo>
                  <a:pt x="257" y="450"/>
                </a:lnTo>
                <a:lnTo>
                  <a:pt x="259" y="448"/>
                </a:lnTo>
                <a:lnTo>
                  <a:pt x="259" y="447"/>
                </a:lnTo>
                <a:lnTo>
                  <a:pt x="260" y="446"/>
                </a:lnTo>
                <a:lnTo>
                  <a:pt x="259" y="447"/>
                </a:lnTo>
                <a:lnTo>
                  <a:pt x="259" y="448"/>
                </a:lnTo>
                <a:lnTo>
                  <a:pt x="260" y="449"/>
                </a:lnTo>
                <a:lnTo>
                  <a:pt x="261" y="452"/>
                </a:lnTo>
                <a:lnTo>
                  <a:pt x="259" y="456"/>
                </a:lnTo>
                <a:lnTo>
                  <a:pt x="258" y="461"/>
                </a:lnTo>
                <a:lnTo>
                  <a:pt x="257" y="462"/>
                </a:lnTo>
                <a:lnTo>
                  <a:pt x="256" y="464"/>
                </a:lnTo>
                <a:lnTo>
                  <a:pt x="254" y="467"/>
                </a:lnTo>
                <a:lnTo>
                  <a:pt x="254" y="469"/>
                </a:lnTo>
                <a:lnTo>
                  <a:pt x="251" y="482"/>
                </a:lnTo>
                <a:lnTo>
                  <a:pt x="246" y="496"/>
                </a:lnTo>
                <a:lnTo>
                  <a:pt x="243" y="509"/>
                </a:lnTo>
                <a:lnTo>
                  <a:pt x="239" y="523"/>
                </a:lnTo>
                <a:lnTo>
                  <a:pt x="236" y="541"/>
                </a:lnTo>
                <a:lnTo>
                  <a:pt x="233" y="561"/>
                </a:lnTo>
                <a:lnTo>
                  <a:pt x="232" y="581"/>
                </a:lnTo>
                <a:lnTo>
                  <a:pt x="232" y="601"/>
                </a:lnTo>
                <a:close/>
                <a:moveTo>
                  <a:pt x="955" y="1445"/>
                </a:moveTo>
                <a:lnTo>
                  <a:pt x="955" y="1447"/>
                </a:lnTo>
                <a:lnTo>
                  <a:pt x="956" y="1448"/>
                </a:lnTo>
                <a:lnTo>
                  <a:pt x="955" y="1447"/>
                </a:lnTo>
                <a:lnTo>
                  <a:pt x="955" y="1445"/>
                </a:lnTo>
                <a:close/>
                <a:moveTo>
                  <a:pt x="946" y="1451"/>
                </a:moveTo>
                <a:lnTo>
                  <a:pt x="947" y="1454"/>
                </a:lnTo>
                <a:lnTo>
                  <a:pt x="947" y="1456"/>
                </a:lnTo>
                <a:lnTo>
                  <a:pt x="947" y="1454"/>
                </a:lnTo>
                <a:lnTo>
                  <a:pt x="946" y="1451"/>
                </a:lnTo>
                <a:lnTo>
                  <a:pt x="944" y="1445"/>
                </a:lnTo>
                <a:lnTo>
                  <a:pt x="944" y="1439"/>
                </a:lnTo>
                <a:lnTo>
                  <a:pt x="944" y="1423"/>
                </a:lnTo>
                <a:lnTo>
                  <a:pt x="944" y="1406"/>
                </a:lnTo>
                <a:lnTo>
                  <a:pt x="947" y="1410"/>
                </a:lnTo>
                <a:lnTo>
                  <a:pt x="947" y="1413"/>
                </a:lnTo>
                <a:lnTo>
                  <a:pt x="947" y="1423"/>
                </a:lnTo>
                <a:lnTo>
                  <a:pt x="947" y="1432"/>
                </a:lnTo>
                <a:lnTo>
                  <a:pt x="947" y="1441"/>
                </a:lnTo>
                <a:lnTo>
                  <a:pt x="946" y="1451"/>
                </a:lnTo>
                <a:close/>
                <a:moveTo>
                  <a:pt x="927" y="1447"/>
                </a:moveTo>
                <a:lnTo>
                  <a:pt x="926" y="1449"/>
                </a:lnTo>
                <a:lnTo>
                  <a:pt x="925" y="1452"/>
                </a:lnTo>
                <a:lnTo>
                  <a:pt x="926" y="1455"/>
                </a:lnTo>
                <a:lnTo>
                  <a:pt x="926" y="1458"/>
                </a:lnTo>
                <a:lnTo>
                  <a:pt x="926" y="1455"/>
                </a:lnTo>
                <a:lnTo>
                  <a:pt x="925" y="1452"/>
                </a:lnTo>
                <a:lnTo>
                  <a:pt x="926" y="1449"/>
                </a:lnTo>
                <a:lnTo>
                  <a:pt x="927" y="1447"/>
                </a:lnTo>
                <a:lnTo>
                  <a:pt x="927" y="1444"/>
                </a:lnTo>
                <a:lnTo>
                  <a:pt x="926" y="1440"/>
                </a:lnTo>
                <a:lnTo>
                  <a:pt x="922" y="1430"/>
                </a:lnTo>
                <a:lnTo>
                  <a:pt x="920" y="1420"/>
                </a:lnTo>
                <a:lnTo>
                  <a:pt x="922" y="1430"/>
                </a:lnTo>
                <a:lnTo>
                  <a:pt x="926" y="1440"/>
                </a:lnTo>
                <a:lnTo>
                  <a:pt x="925" y="1425"/>
                </a:lnTo>
                <a:lnTo>
                  <a:pt x="922" y="1411"/>
                </a:lnTo>
                <a:lnTo>
                  <a:pt x="921" y="1410"/>
                </a:lnTo>
                <a:lnTo>
                  <a:pt x="920" y="1409"/>
                </a:lnTo>
                <a:lnTo>
                  <a:pt x="919" y="1406"/>
                </a:lnTo>
                <a:lnTo>
                  <a:pt x="919" y="1403"/>
                </a:lnTo>
                <a:lnTo>
                  <a:pt x="919" y="1403"/>
                </a:lnTo>
                <a:lnTo>
                  <a:pt x="919" y="1400"/>
                </a:lnTo>
                <a:lnTo>
                  <a:pt x="919" y="1397"/>
                </a:lnTo>
                <a:lnTo>
                  <a:pt x="919" y="1393"/>
                </a:lnTo>
                <a:lnTo>
                  <a:pt x="920" y="1388"/>
                </a:lnTo>
                <a:lnTo>
                  <a:pt x="920" y="1392"/>
                </a:lnTo>
                <a:lnTo>
                  <a:pt x="920" y="1397"/>
                </a:lnTo>
                <a:lnTo>
                  <a:pt x="921" y="1398"/>
                </a:lnTo>
                <a:lnTo>
                  <a:pt x="922" y="1398"/>
                </a:lnTo>
                <a:lnTo>
                  <a:pt x="926" y="1413"/>
                </a:lnTo>
                <a:lnTo>
                  <a:pt x="928" y="1430"/>
                </a:lnTo>
                <a:lnTo>
                  <a:pt x="929" y="1441"/>
                </a:lnTo>
                <a:lnTo>
                  <a:pt x="930" y="1453"/>
                </a:lnTo>
                <a:lnTo>
                  <a:pt x="928" y="1449"/>
                </a:lnTo>
                <a:lnTo>
                  <a:pt x="927" y="1447"/>
                </a:lnTo>
                <a:close/>
                <a:moveTo>
                  <a:pt x="910" y="1454"/>
                </a:moveTo>
                <a:lnTo>
                  <a:pt x="908" y="1453"/>
                </a:lnTo>
                <a:lnTo>
                  <a:pt x="907" y="1451"/>
                </a:lnTo>
                <a:lnTo>
                  <a:pt x="907" y="1448"/>
                </a:lnTo>
                <a:lnTo>
                  <a:pt x="907" y="1446"/>
                </a:lnTo>
                <a:lnTo>
                  <a:pt x="907" y="1448"/>
                </a:lnTo>
                <a:lnTo>
                  <a:pt x="907" y="1451"/>
                </a:lnTo>
                <a:lnTo>
                  <a:pt x="908" y="1453"/>
                </a:lnTo>
                <a:lnTo>
                  <a:pt x="910" y="1454"/>
                </a:lnTo>
                <a:lnTo>
                  <a:pt x="910" y="1458"/>
                </a:lnTo>
                <a:lnTo>
                  <a:pt x="910" y="1460"/>
                </a:lnTo>
                <a:lnTo>
                  <a:pt x="910" y="1458"/>
                </a:lnTo>
                <a:lnTo>
                  <a:pt x="910" y="1454"/>
                </a:lnTo>
                <a:close/>
                <a:moveTo>
                  <a:pt x="901" y="1430"/>
                </a:moveTo>
                <a:lnTo>
                  <a:pt x="901" y="1427"/>
                </a:lnTo>
                <a:lnTo>
                  <a:pt x="902" y="1426"/>
                </a:lnTo>
                <a:lnTo>
                  <a:pt x="901" y="1427"/>
                </a:lnTo>
                <a:lnTo>
                  <a:pt x="901" y="1430"/>
                </a:lnTo>
                <a:close/>
                <a:moveTo>
                  <a:pt x="879" y="1511"/>
                </a:moveTo>
                <a:lnTo>
                  <a:pt x="879" y="1519"/>
                </a:lnTo>
                <a:lnTo>
                  <a:pt x="879" y="1528"/>
                </a:lnTo>
                <a:lnTo>
                  <a:pt x="879" y="1519"/>
                </a:lnTo>
                <a:lnTo>
                  <a:pt x="879" y="1511"/>
                </a:lnTo>
                <a:close/>
                <a:moveTo>
                  <a:pt x="867" y="1395"/>
                </a:moveTo>
                <a:lnTo>
                  <a:pt x="867" y="1396"/>
                </a:lnTo>
                <a:lnTo>
                  <a:pt x="868" y="1396"/>
                </a:lnTo>
                <a:lnTo>
                  <a:pt x="867" y="1396"/>
                </a:lnTo>
                <a:lnTo>
                  <a:pt x="867" y="1395"/>
                </a:lnTo>
                <a:close/>
                <a:moveTo>
                  <a:pt x="861" y="1327"/>
                </a:moveTo>
                <a:lnTo>
                  <a:pt x="863" y="1329"/>
                </a:lnTo>
                <a:lnTo>
                  <a:pt x="863" y="1331"/>
                </a:lnTo>
                <a:lnTo>
                  <a:pt x="863" y="1329"/>
                </a:lnTo>
                <a:lnTo>
                  <a:pt x="861" y="1327"/>
                </a:lnTo>
                <a:close/>
                <a:moveTo>
                  <a:pt x="860" y="1361"/>
                </a:moveTo>
                <a:lnTo>
                  <a:pt x="858" y="1359"/>
                </a:lnTo>
                <a:lnTo>
                  <a:pt x="857" y="1357"/>
                </a:lnTo>
                <a:lnTo>
                  <a:pt x="857" y="1356"/>
                </a:lnTo>
                <a:lnTo>
                  <a:pt x="856" y="1356"/>
                </a:lnTo>
                <a:lnTo>
                  <a:pt x="857" y="1356"/>
                </a:lnTo>
                <a:lnTo>
                  <a:pt x="857" y="1357"/>
                </a:lnTo>
                <a:lnTo>
                  <a:pt x="858" y="1359"/>
                </a:lnTo>
                <a:lnTo>
                  <a:pt x="860" y="1361"/>
                </a:lnTo>
                <a:lnTo>
                  <a:pt x="860" y="1368"/>
                </a:lnTo>
                <a:lnTo>
                  <a:pt x="863" y="1374"/>
                </a:lnTo>
                <a:lnTo>
                  <a:pt x="860" y="1368"/>
                </a:lnTo>
                <a:lnTo>
                  <a:pt x="860" y="1361"/>
                </a:lnTo>
                <a:close/>
                <a:moveTo>
                  <a:pt x="852" y="1338"/>
                </a:moveTo>
                <a:lnTo>
                  <a:pt x="853" y="1341"/>
                </a:lnTo>
                <a:lnTo>
                  <a:pt x="856" y="1343"/>
                </a:lnTo>
                <a:lnTo>
                  <a:pt x="856" y="1348"/>
                </a:lnTo>
                <a:lnTo>
                  <a:pt x="856" y="1351"/>
                </a:lnTo>
                <a:lnTo>
                  <a:pt x="856" y="1348"/>
                </a:lnTo>
                <a:lnTo>
                  <a:pt x="856" y="1343"/>
                </a:lnTo>
                <a:lnTo>
                  <a:pt x="853" y="1341"/>
                </a:lnTo>
                <a:lnTo>
                  <a:pt x="852" y="1338"/>
                </a:lnTo>
                <a:close/>
                <a:moveTo>
                  <a:pt x="849" y="1328"/>
                </a:moveTo>
                <a:lnTo>
                  <a:pt x="850" y="1329"/>
                </a:lnTo>
                <a:lnTo>
                  <a:pt x="851" y="1329"/>
                </a:lnTo>
                <a:lnTo>
                  <a:pt x="850" y="1329"/>
                </a:lnTo>
                <a:lnTo>
                  <a:pt x="849" y="1328"/>
                </a:lnTo>
                <a:close/>
                <a:moveTo>
                  <a:pt x="853" y="1327"/>
                </a:moveTo>
                <a:lnTo>
                  <a:pt x="853" y="1326"/>
                </a:lnTo>
                <a:lnTo>
                  <a:pt x="852" y="1326"/>
                </a:lnTo>
                <a:lnTo>
                  <a:pt x="853" y="1326"/>
                </a:lnTo>
                <a:lnTo>
                  <a:pt x="853" y="1327"/>
                </a:lnTo>
                <a:close/>
                <a:moveTo>
                  <a:pt x="816" y="1453"/>
                </a:moveTo>
                <a:lnTo>
                  <a:pt x="816" y="1451"/>
                </a:lnTo>
                <a:lnTo>
                  <a:pt x="816" y="1449"/>
                </a:lnTo>
                <a:lnTo>
                  <a:pt x="816" y="1451"/>
                </a:lnTo>
                <a:lnTo>
                  <a:pt x="816" y="1453"/>
                </a:lnTo>
                <a:lnTo>
                  <a:pt x="817" y="1453"/>
                </a:lnTo>
                <a:lnTo>
                  <a:pt x="818" y="1454"/>
                </a:lnTo>
                <a:lnTo>
                  <a:pt x="817" y="1453"/>
                </a:lnTo>
                <a:lnTo>
                  <a:pt x="816" y="1453"/>
                </a:lnTo>
                <a:close/>
                <a:moveTo>
                  <a:pt x="815" y="1439"/>
                </a:moveTo>
                <a:lnTo>
                  <a:pt x="815" y="1439"/>
                </a:lnTo>
                <a:lnTo>
                  <a:pt x="815" y="1440"/>
                </a:lnTo>
                <a:lnTo>
                  <a:pt x="815" y="1439"/>
                </a:lnTo>
                <a:lnTo>
                  <a:pt x="815" y="1439"/>
                </a:lnTo>
                <a:close/>
                <a:moveTo>
                  <a:pt x="805" y="1330"/>
                </a:moveTo>
                <a:lnTo>
                  <a:pt x="809" y="1329"/>
                </a:lnTo>
                <a:lnTo>
                  <a:pt x="811" y="1329"/>
                </a:lnTo>
                <a:lnTo>
                  <a:pt x="809" y="1329"/>
                </a:lnTo>
                <a:lnTo>
                  <a:pt x="805" y="1330"/>
                </a:lnTo>
                <a:close/>
                <a:moveTo>
                  <a:pt x="808" y="1427"/>
                </a:moveTo>
                <a:lnTo>
                  <a:pt x="809" y="1427"/>
                </a:lnTo>
                <a:lnTo>
                  <a:pt x="809" y="1426"/>
                </a:lnTo>
                <a:lnTo>
                  <a:pt x="809" y="1427"/>
                </a:lnTo>
                <a:lnTo>
                  <a:pt x="808" y="1427"/>
                </a:lnTo>
                <a:close/>
                <a:moveTo>
                  <a:pt x="739" y="1382"/>
                </a:moveTo>
                <a:lnTo>
                  <a:pt x="739" y="1384"/>
                </a:lnTo>
                <a:lnTo>
                  <a:pt x="739" y="1386"/>
                </a:lnTo>
                <a:lnTo>
                  <a:pt x="737" y="1388"/>
                </a:lnTo>
                <a:lnTo>
                  <a:pt x="736" y="1389"/>
                </a:lnTo>
                <a:lnTo>
                  <a:pt x="737" y="1390"/>
                </a:lnTo>
                <a:lnTo>
                  <a:pt x="737" y="1391"/>
                </a:lnTo>
                <a:lnTo>
                  <a:pt x="737" y="1391"/>
                </a:lnTo>
                <a:lnTo>
                  <a:pt x="737" y="1392"/>
                </a:lnTo>
                <a:lnTo>
                  <a:pt x="736" y="1395"/>
                </a:lnTo>
                <a:lnTo>
                  <a:pt x="735" y="1397"/>
                </a:lnTo>
                <a:lnTo>
                  <a:pt x="734" y="1414"/>
                </a:lnTo>
                <a:lnTo>
                  <a:pt x="734" y="1432"/>
                </a:lnTo>
                <a:lnTo>
                  <a:pt x="734" y="1433"/>
                </a:lnTo>
                <a:lnTo>
                  <a:pt x="733" y="1435"/>
                </a:lnTo>
                <a:lnTo>
                  <a:pt x="732" y="1437"/>
                </a:lnTo>
                <a:lnTo>
                  <a:pt x="730" y="1437"/>
                </a:lnTo>
                <a:lnTo>
                  <a:pt x="729" y="1439"/>
                </a:lnTo>
                <a:lnTo>
                  <a:pt x="729" y="1441"/>
                </a:lnTo>
                <a:lnTo>
                  <a:pt x="729" y="1442"/>
                </a:lnTo>
                <a:lnTo>
                  <a:pt x="729" y="1445"/>
                </a:lnTo>
                <a:lnTo>
                  <a:pt x="726" y="1453"/>
                </a:lnTo>
                <a:lnTo>
                  <a:pt x="725" y="1460"/>
                </a:lnTo>
                <a:lnTo>
                  <a:pt x="725" y="1461"/>
                </a:lnTo>
                <a:lnTo>
                  <a:pt x="725" y="1463"/>
                </a:lnTo>
                <a:lnTo>
                  <a:pt x="725" y="1465"/>
                </a:lnTo>
                <a:lnTo>
                  <a:pt x="725" y="1466"/>
                </a:lnTo>
                <a:lnTo>
                  <a:pt x="725" y="1465"/>
                </a:lnTo>
                <a:lnTo>
                  <a:pt x="725" y="1463"/>
                </a:lnTo>
                <a:lnTo>
                  <a:pt x="721" y="1463"/>
                </a:lnTo>
                <a:lnTo>
                  <a:pt x="720" y="1463"/>
                </a:lnTo>
                <a:lnTo>
                  <a:pt x="719" y="1461"/>
                </a:lnTo>
                <a:lnTo>
                  <a:pt x="719" y="1459"/>
                </a:lnTo>
                <a:lnTo>
                  <a:pt x="720" y="1452"/>
                </a:lnTo>
                <a:lnTo>
                  <a:pt x="720" y="1445"/>
                </a:lnTo>
                <a:lnTo>
                  <a:pt x="720" y="1445"/>
                </a:lnTo>
                <a:lnTo>
                  <a:pt x="721" y="1444"/>
                </a:lnTo>
                <a:lnTo>
                  <a:pt x="723" y="1441"/>
                </a:lnTo>
                <a:lnTo>
                  <a:pt x="725" y="1438"/>
                </a:lnTo>
                <a:lnTo>
                  <a:pt x="725" y="1435"/>
                </a:lnTo>
                <a:lnTo>
                  <a:pt x="725" y="1431"/>
                </a:lnTo>
                <a:lnTo>
                  <a:pt x="725" y="1427"/>
                </a:lnTo>
                <a:lnTo>
                  <a:pt x="726" y="1424"/>
                </a:lnTo>
                <a:lnTo>
                  <a:pt x="727" y="1424"/>
                </a:lnTo>
                <a:lnTo>
                  <a:pt x="727" y="1424"/>
                </a:lnTo>
                <a:lnTo>
                  <a:pt x="727" y="1423"/>
                </a:lnTo>
                <a:lnTo>
                  <a:pt x="727" y="1421"/>
                </a:lnTo>
                <a:lnTo>
                  <a:pt x="729" y="1411"/>
                </a:lnTo>
                <a:lnTo>
                  <a:pt x="729" y="1402"/>
                </a:lnTo>
                <a:lnTo>
                  <a:pt x="729" y="1391"/>
                </a:lnTo>
                <a:lnTo>
                  <a:pt x="729" y="1381"/>
                </a:lnTo>
                <a:lnTo>
                  <a:pt x="729" y="1364"/>
                </a:lnTo>
                <a:lnTo>
                  <a:pt x="729" y="1348"/>
                </a:lnTo>
                <a:lnTo>
                  <a:pt x="729" y="1341"/>
                </a:lnTo>
                <a:lnTo>
                  <a:pt x="732" y="1337"/>
                </a:lnTo>
                <a:lnTo>
                  <a:pt x="735" y="1335"/>
                </a:lnTo>
                <a:lnTo>
                  <a:pt x="743" y="1335"/>
                </a:lnTo>
                <a:lnTo>
                  <a:pt x="741" y="1347"/>
                </a:lnTo>
                <a:lnTo>
                  <a:pt x="739" y="1358"/>
                </a:lnTo>
                <a:lnTo>
                  <a:pt x="739" y="1370"/>
                </a:lnTo>
                <a:lnTo>
                  <a:pt x="739" y="1382"/>
                </a:lnTo>
                <a:close/>
                <a:moveTo>
                  <a:pt x="732" y="1449"/>
                </a:moveTo>
                <a:lnTo>
                  <a:pt x="730" y="1460"/>
                </a:lnTo>
                <a:lnTo>
                  <a:pt x="728" y="1470"/>
                </a:lnTo>
                <a:lnTo>
                  <a:pt x="730" y="1460"/>
                </a:lnTo>
                <a:lnTo>
                  <a:pt x="732" y="1449"/>
                </a:lnTo>
                <a:lnTo>
                  <a:pt x="732" y="1448"/>
                </a:lnTo>
                <a:lnTo>
                  <a:pt x="732" y="1447"/>
                </a:lnTo>
                <a:lnTo>
                  <a:pt x="732" y="1448"/>
                </a:lnTo>
                <a:lnTo>
                  <a:pt x="732" y="1449"/>
                </a:lnTo>
                <a:close/>
                <a:moveTo>
                  <a:pt x="709" y="1426"/>
                </a:moveTo>
                <a:lnTo>
                  <a:pt x="707" y="1427"/>
                </a:lnTo>
                <a:lnTo>
                  <a:pt x="707" y="1428"/>
                </a:lnTo>
                <a:lnTo>
                  <a:pt x="707" y="1430"/>
                </a:lnTo>
                <a:lnTo>
                  <a:pt x="707" y="1432"/>
                </a:lnTo>
                <a:lnTo>
                  <a:pt x="707" y="1437"/>
                </a:lnTo>
                <a:lnTo>
                  <a:pt x="707" y="1440"/>
                </a:lnTo>
                <a:lnTo>
                  <a:pt x="706" y="1439"/>
                </a:lnTo>
                <a:lnTo>
                  <a:pt x="705" y="1435"/>
                </a:lnTo>
                <a:lnTo>
                  <a:pt x="702" y="1437"/>
                </a:lnTo>
                <a:lnTo>
                  <a:pt x="702" y="1439"/>
                </a:lnTo>
                <a:lnTo>
                  <a:pt x="702" y="1437"/>
                </a:lnTo>
                <a:lnTo>
                  <a:pt x="705" y="1435"/>
                </a:lnTo>
                <a:lnTo>
                  <a:pt x="705" y="1428"/>
                </a:lnTo>
                <a:lnTo>
                  <a:pt x="705" y="1421"/>
                </a:lnTo>
                <a:lnTo>
                  <a:pt x="702" y="1419"/>
                </a:lnTo>
                <a:lnTo>
                  <a:pt x="702" y="1417"/>
                </a:lnTo>
                <a:lnTo>
                  <a:pt x="702" y="1414"/>
                </a:lnTo>
                <a:lnTo>
                  <a:pt x="702" y="1411"/>
                </a:lnTo>
                <a:lnTo>
                  <a:pt x="702" y="1414"/>
                </a:lnTo>
                <a:lnTo>
                  <a:pt x="702" y="1417"/>
                </a:lnTo>
                <a:lnTo>
                  <a:pt x="702" y="1419"/>
                </a:lnTo>
                <a:lnTo>
                  <a:pt x="705" y="1421"/>
                </a:lnTo>
                <a:lnTo>
                  <a:pt x="705" y="1418"/>
                </a:lnTo>
                <a:lnTo>
                  <a:pt x="706" y="1414"/>
                </a:lnTo>
                <a:lnTo>
                  <a:pt x="705" y="1411"/>
                </a:lnTo>
                <a:lnTo>
                  <a:pt x="702" y="1407"/>
                </a:lnTo>
                <a:lnTo>
                  <a:pt x="702" y="1400"/>
                </a:lnTo>
                <a:lnTo>
                  <a:pt x="702" y="1392"/>
                </a:lnTo>
                <a:lnTo>
                  <a:pt x="700" y="1391"/>
                </a:lnTo>
                <a:lnTo>
                  <a:pt x="699" y="1389"/>
                </a:lnTo>
                <a:lnTo>
                  <a:pt x="700" y="1391"/>
                </a:lnTo>
                <a:lnTo>
                  <a:pt x="702" y="1392"/>
                </a:lnTo>
                <a:lnTo>
                  <a:pt x="701" y="1382"/>
                </a:lnTo>
                <a:lnTo>
                  <a:pt x="699" y="1370"/>
                </a:lnTo>
                <a:lnTo>
                  <a:pt x="698" y="1367"/>
                </a:lnTo>
                <a:lnTo>
                  <a:pt x="696" y="1364"/>
                </a:lnTo>
                <a:lnTo>
                  <a:pt x="693" y="1362"/>
                </a:lnTo>
                <a:lnTo>
                  <a:pt x="688" y="1362"/>
                </a:lnTo>
                <a:lnTo>
                  <a:pt x="688" y="1359"/>
                </a:lnTo>
                <a:lnTo>
                  <a:pt x="688" y="1357"/>
                </a:lnTo>
                <a:lnTo>
                  <a:pt x="689" y="1351"/>
                </a:lnTo>
                <a:lnTo>
                  <a:pt x="688" y="1344"/>
                </a:lnTo>
                <a:lnTo>
                  <a:pt x="688" y="1341"/>
                </a:lnTo>
                <a:lnTo>
                  <a:pt x="688" y="1338"/>
                </a:lnTo>
                <a:lnTo>
                  <a:pt x="687" y="1338"/>
                </a:lnTo>
                <a:lnTo>
                  <a:pt x="686" y="1337"/>
                </a:lnTo>
                <a:lnTo>
                  <a:pt x="687" y="1338"/>
                </a:lnTo>
                <a:lnTo>
                  <a:pt x="688" y="1338"/>
                </a:lnTo>
                <a:lnTo>
                  <a:pt x="688" y="1336"/>
                </a:lnTo>
                <a:lnTo>
                  <a:pt x="688" y="1335"/>
                </a:lnTo>
                <a:lnTo>
                  <a:pt x="691" y="1331"/>
                </a:lnTo>
                <a:lnTo>
                  <a:pt x="693" y="1330"/>
                </a:lnTo>
                <a:lnTo>
                  <a:pt x="695" y="1330"/>
                </a:lnTo>
                <a:lnTo>
                  <a:pt x="698" y="1334"/>
                </a:lnTo>
                <a:lnTo>
                  <a:pt x="701" y="1335"/>
                </a:lnTo>
                <a:lnTo>
                  <a:pt x="702" y="1338"/>
                </a:lnTo>
                <a:lnTo>
                  <a:pt x="701" y="1335"/>
                </a:lnTo>
                <a:lnTo>
                  <a:pt x="698" y="1334"/>
                </a:lnTo>
                <a:lnTo>
                  <a:pt x="698" y="1336"/>
                </a:lnTo>
                <a:lnTo>
                  <a:pt x="699" y="1338"/>
                </a:lnTo>
                <a:lnTo>
                  <a:pt x="700" y="1340"/>
                </a:lnTo>
                <a:lnTo>
                  <a:pt x="702" y="1342"/>
                </a:lnTo>
                <a:lnTo>
                  <a:pt x="702" y="1343"/>
                </a:lnTo>
                <a:lnTo>
                  <a:pt x="702" y="1344"/>
                </a:lnTo>
                <a:lnTo>
                  <a:pt x="701" y="1345"/>
                </a:lnTo>
                <a:lnTo>
                  <a:pt x="701" y="1347"/>
                </a:lnTo>
                <a:lnTo>
                  <a:pt x="702" y="1358"/>
                </a:lnTo>
                <a:lnTo>
                  <a:pt x="705" y="1369"/>
                </a:lnTo>
                <a:lnTo>
                  <a:pt x="706" y="1381"/>
                </a:lnTo>
                <a:lnTo>
                  <a:pt x="707" y="1392"/>
                </a:lnTo>
                <a:lnTo>
                  <a:pt x="707" y="1405"/>
                </a:lnTo>
                <a:lnTo>
                  <a:pt x="709" y="1418"/>
                </a:lnTo>
                <a:lnTo>
                  <a:pt x="709" y="1423"/>
                </a:lnTo>
                <a:lnTo>
                  <a:pt x="709" y="1426"/>
                </a:lnTo>
                <a:close/>
                <a:moveTo>
                  <a:pt x="695" y="1584"/>
                </a:moveTo>
                <a:lnTo>
                  <a:pt x="694" y="1584"/>
                </a:lnTo>
                <a:lnTo>
                  <a:pt x="694" y="1584"/>
                </a:lnTo>
                <a:lnTo>
                  <a:pt x="695" y="1584"/>
                </a:lnTo>
                <a:lnTo>
                  <a:pt x="698" y="1582"/>
                </a:lnTo>
                <a:lnTo>
                  <a:pt x="695" y="1584"/>
                </a:lnTo>
                <a:lnTo>
                  <a:pt x="694" y="1584"/>
                </a:lnTo>
                <a:lnTo>
                  <a:pt x="694" y="1584"/>
                </a:lnTo>
                <a:lnTo>
                  <a:pt x="695" y="1584"/>
                </a:lnTo>
                <a:close/>
                <a:moveTo>
                  <a:pt x="645" y="1341"/>
                </a:moveTo>
                <a:lnTo>
                  <a:pt x="642" y="1344"/>
                </a:lnTo>
                <a:lnTo>
                  <a:pt x="638" y="1349"/>
                </a:lnTo>
                <a:lnTo>
                  <a:pt x="637" y="1351"/>
                </a:lnTo>
                <a:lnTo>
                  <a:pt x="636" y="1351"/>
                </a:lnTo>
                <a:lnTo>
                  <a:pt x="635" y="1350"/>
                </a:lnTo>
                <a:lnTo>
                  <a:pt x="635" y="1349"/>
                </a:lnTo>
                <a:lnTo>
                  <a:pt x="632" y="1349"/>
                </a:lnTo>
                <a:lnTo>
                  <a:pt x="632" y="1350"/>
                </a:lnTo>
                <a:lnTo>
                  <a:pt x="632" y="1349"/>
                </a:lnTo>
                <a:lnTo>
                  <a:pt x="635" y="1349"/>
                </a:lnTo>
                <a:lnTo>
                  <a:pt x="635" y="1348"/>
                </a:lnTo>
                <a:lnTo>
                  <a:pt x="635" y="1345"/>
                </a:lnTo>
                <a:lnTo>
                  <a:pt x="637" y="1344"/>
                </a:lnTo>
                <a:lnTo>
                  <a:pt x="638" y="1342"/>
                </a:lnTo>
                <a:lnTo>
                  <a:pt x="639" y="1340"/>
                </a:lnTo>
                <a:lnTo>
                  <a:pt x="639" y="1337"/>
                </a:lnTo>
                <a:lnTo>
                  <a:pt x="639" y="1333"/>
                </a:lnTo>
                <a:lnTo>
                  <a:pt x="642" y="1329"/>
                </a:lnTo>
                <a:lnTo>
                  <a:pt x="645" y="1327"/>
                </a:lnTo>
                <a:lnTo>
                  <a:pt x="650" y="1326"/>
                </a:lnTo>
                <a:lnTo>
                  <a:pt x="650" y="1326"/>
                </a:lnTo>
                <a:lnTo>
                  <a:pt x="650" y="1324"/>
                </a:lnTo>
                <a:lnTo>
                  <a:pt x="650" y="1326"/>
                </a:lnTo>
                <a:lnTo>
                  <a:pt x="650" y="1326"/>
                </a:lnTo>
                <a:lnTo>
                  <a:pt x="651" y="1326"/>
                </a:lnTo>
                <a:lnTo>
                  <a:pt x="652" y="1326"/>
                </a:lnTo>
                <a:lnTo>
                  <a:pt x="653" y="1330"/>
                </a:lnTo>
                <a:lnTo>
                  <a:pt x="652" y="1335"/>
                </a:lnTo>
                <a:lnTo>
                  <a:pt x="650" y="1338"/>
                </a:lnTo>
                <a:lnTo>
                  <a:pt x="645" y="1341"/>
                </a:lnTo>
                <a:close/>
                <a:moveTo>
                  <a:pt x="629" y="1331"/>
                </a:moveTo>
                <a:lnTo>
                  <a:pt x="622" y="1348"/>
                </a:lnTo>
                <a:lnTo>
                  <a:pt x="617" y="1365"/>
                </a:lnTo>
                <a:lnTo>
                  <a:pt x="616" y="1368"/>
                </a:lnTo>
                <a:lnTo>
                  <a:pt x="617" y="1370"/>
                </a:lnTo>
                <a:lnTo>
                  <a:pt x="616" y="1372"/>
                </a:lnTo>
                <a:lnTo>
                  <a:pt x="616" y="1375"/>
                </a:lnTo>
                <a:lnTo>
                  <a:pt x="612" y="1379"/>
                </a:lnTo>
                <a:lnTo>
                  <a:pt x="608" y="1385"/>
                </a:lnTo>
                <a:lnTo>
                  <a:pt x="604" y="1392"/>
                </a:lnTo>
                <a:lnTo>
                  <a:pt x="603" y="1399"/>
                </a:lnTo>
                <a:lnTo>
                  <a:pt x="601" y="1406"/>
                </a:lnTo>
                <a:lnTo>
                  <a:pt x="597" y="1413"/>
                </a:lnTo>
                <a:lnTo>
                  <a:pt x="595" y="1423"/>
                </a:lnTo>
                <a:lnTo>
                  <a:pt x="594" y="1431"/>
                </a:lnTo>
                <a:lnTo>
                  <a:pt x="594" y="1440"/>
                </a:lnTo>
                <a:lnTo>
                  <a:pt x="594" y="1448"/>
                </a:lnTo>
                <a:lnTo>
                  <a:pt x="594" y="1463"/>
                </a:lnTo>
                <a:lnTo>
                  <a:pt x="594" y="1477"/>
                </a:lnTo>
                <a:lnTo>
                  <a:pt x="594" y="1481"/>
                </a:lnTo>
                <a:lnTo>
                  <a:pt x="594" y="1483"/>
                </a:lnTo>
                <a:lnTo>
                  <a:pt x="594" y="1484"/>
                </a:lnTo>
                <a:lnTo>
                  <a:pt x="594" y="1486"/>
                </a:lnTo>
                <a:lnTo>
                  <a:pt x="592" y="1487"/>
                </a:lnTo>
                <a:lnTo>
                  <a:pt x="590" y="1487"/>
                </a:lnTo>
                <a:lnTo>
                  <a:pt x="588" y="1486"/>
                </a:lnTo>
                <a:lnTo>
                  <a:pt x="587" y="1483"/>
                </a:lnTo>
                <a:lnTo>
                  <a:pt x="585" y="1481"/>
                </a:lnTo>
                <a:lnTo>
                  <a:pt x="585" y="1479"/>
                </a:lnTo>
                <a:lnTo>
                  <a:pt x="584" y="1463"/>
                </a:lnTo>
                <a:lnTo>
                  <a:pt x="583" y="1448"/>
                </a:lnTo>
                <a:lnTo>
                  <a:pt x="583" y="1445"/>
                </a:lnTo>
                <a:lnTo>
                  <a:pt x="582" y="1441"/>
                </a:lnTo>
                <a:lnTo>
                  <a:pt x="580" y="1439"/>
                </a:lnTo>
                <a:lnTo>
                  <a:pt x="576" y="1438"/>
                </a:lnTo>
                <a:lnTo>
                  <a:pt x="576" y="1452"/>
                </a:lnTo>
                <a:lnTo>
                  <a:pt x="576" y="1466"/>
                </a:lnTo>
                <a:lnTo>
                  <a:pt x="576" y="1452"/>
                </a:lnTo>
                <a:lnTo>
                  <a:pt x="576" y="1438"/>
                </a:lnTo>
                <a:lnTo>
                  <a:pt x="575" y="1424"/>
                </a:lnTo>
                <a:lnTo>
                  <a:pt x="575" y="1411"/>
                </a:lnTo>
                <a:lnTo>
                  <a:pt x="571" y="1403"/>
                </a:lnTo>
                <a:lnTo>
                  <a:pt x="571" y="1393"/>
                </a:lnTo>
                <a:lnTo>
                  <a:pt x="574" y="1381"/>
                </a:lnTo>
                <a:lnTo>
                  <a:pt x="575" y="1368"/>
                </a:lnTo>
                <a:lnTo>
                  <a:pt x="577" y="1354"/>
                </a:lnTo>
                <a:lnTo>
                  <a:pt x="580" y="1341"/>
                </a:lnTo>
                <a:lnTo>
                  <a:pt x="584" y="1338"/>
                </a:lnTo>
                <a:lnTo>
                  <a:pt x="588" y="1334"/>
                </a:lnTo>
                <a:lnTo>
                  <a:pt x="590" y="1329"/>
                </a:lnTo>
                <a:lnTo>
                  <a:pt x="591" y="1324"/>
                </a:lnTo>
                <a:lnTo>
                  <a:pt x="595" y="1321"/>
                </a:lnTo>
                <a:lnTo>
                  <a:pt x="601" y="1319"/>
                </a:lnTo>
                <a:lnTo>
                  <a:pt x="603" y="1317"/>
                </a:lnTo>
                <a:lnTo>
                  <a:pt x="605" y="1319"/>
                </a:lnTo>
                <a:lnTo>
                  <a:pt x="608" y="1319"/>
                </a:lnTo>
                <a:lnTo>
                  <a:pt x="610" y="1320"/>
                </a:lnTo>
                <a:lnTo>
                  <a:pt x="611" y="1322"/>
                </a:lnTo>
                <a:lnTo>
                  <a:pt x="613" y="1323"/>
                </a:lnTo>
                <a:lnTo>
                  <a:pt x="616" y="1323"/>
                </a:lnTo>
                <a:lnTo>
                  <a:pt x="618" y="1323"/>
                </a:lnTo>
                <a:lnTo>
                  <a:pt x="620" y="1322"/>
                </a:lnTo>
                <a:lnTo>
                  <a:pt x="623" y="1322"/>
                </a:lnTo>
                <a:lnTo>
                  <a:pt x="627" y="1322"/>
                </a:lnTo>
                <a:lnTo>
                  <a:pt x="630" y="1324"/>
                </a:lnTo>
                <a:lnTo>
                  <a:pt x="631" y="1327"/>
                </a:lnTo>
                <a:lnTo>
                  <a:pt x="629" y="1331"/>
                </a:lnTo>
                <a:close/>
                <a:moveTo>
                  <a:pt x="580" y="1335"/>
                </a:moveTo>
                <a:lnTo>
                  <a:pt x="581" y="1336"/>
                </a:lnTo>
                <a:lnTo>
                  <a:pt x="580" y="1338"/>
                </a:lnTo>
                <a:lnTo>
                  <a:pt x="581" y="1336"/>
                </a:lnTo>
                <a:lnTo>
                  <a:pt x="580" y="1335"/>
                </a:lnTo>
                <a:close/>
                <a:moveTo>
                  <a:pt x="962" y="1454"/>
                </a:moveTo>
                <a:lnTo>
                  <a:pt x="962" y="1453"/>
                </a:lnTo>
                <a:lnTo>
                  <a:pt x="962" y="1452"/>
                </a:lnTo>
                <a:lnTo>
                  <a:pt x="962" y="1451"/>
                </a:lnTo>
                <a:lnTo>
                  <a:pt x="962" y="1449"/>
                </a:lnTo>
                <a:lnTo>
                  <a:pt x="958" y="1435"/>
                </a:lnTo>
                <a:lnTo>
                  <a:pt x="955" y="1420"/>
                </a:lnTo>
                <a:lnTo>
                  <a:pt x="953" y="1407"/>
                </a:lnTo>
                <a:lnTo>
                  <a:pt x="950" y="1395"/>
                </a:lnTo>
                <a:lnTo>
                  <a:pt x="947" y="1383"/>
                </a:lnTo>
                <a:lnTo>
                  <a:pt x="943" y="1370"/>
                </a:lnTo>
                <a:lnTo>
                  <a:pt x="942" y="1372"/>
                </a:lnTo>
                <a:lnTo>
                  <a:pt x="942" y="1376"/>
                </a:lnTo>
                <a:lnTo>
                  <a:pt x="942" y="1377"/>
                </a:lnTo>
                <a:lnTo>
                  <a:pt x="941" y="1378"/>
                </a:lnTo>
                <a:lnTo>
                  <a:pt x="940" y="1378"/>
                </a:lnTo>
                <a:lnTo>
                  <a:pt x="937" y="1378"/>
                </a:lnTo>
                <a:lnTo>
                  <a:pt x="937" y="1377"/>
                </a:lnTo>
                <a:lnTo>
                  <a:pt x="937" y="1375"/>
                </a:lnTo>
                <a:lnTo>
                  <a:pt x="937" y="1371"/>
                </a:lnTo>
                <a:lnTo>
                  <a:pt x="939" y="1368"/>
                </a:lnTo>
                <a:lnTo>
                  <a:pt x="940" y="1365"/>
                </a:lnTo>
                <a:lnTo>
                  <a:pt x="942" y="1362"/>
                </a:lnTo>
                <a:lnTo>
                  <a:pt x="942" y="1357"/>
                </a:lnTo>
                <a:lnTo>
                  <a:pt x="941" y="1352"/>
                </a:lnTo>
                <a:lnTo>
                  <a:pt x="939" y="1343"/>
                </a:lnTo>
                <a:lnTo>
                  <a:pt x="937" y="1333"/>
                </a:lnTo>
                <a:lnTo>
                  <a:pt x="936" y="1322"/>
                </a:lnTo>
                <a:lnTo>
                  <a:pt x="933" y="1312"/>
                </a:lnTo>
                <a:lnTo>
                  <a:pt x="930" y="1305"/>
                </a:lnTo>
                <a:lnTo>
                  <a:pt x="927" y="1300"/>
                </a:lnTo>
                <a:lnTo>
                  <a:pt x="926" y="1299"/>
                </a:lnTo>
                <a:lnTo>
                  <a:pt x="925" y="1299"/>
                </a:lnTo>
                <a:lnTo>
                  <a:pt x="923" y="1300"/>
                </a:lnTo>
                <a:lnTo>
                  <a:pt x="922" y="1301"/>
                </a:lnTo>
                <a:lnTo>
                  <a:pt x="919" y="1303"/>
                </a:lnTo>
                <a:lnTo>
                  <a:pt x="916" y="1305"/>
                </a:lnTo>
                <a:lnTo>
                  <a:pt x="914" y="1306"/>
                </a:lnTo>
                <a:lnTo>
                  <a:pt x="910" y="1308"/>
                </a:lnTo>
                <a:lnTo>
                  <a:pt x="909" y="1309"/>
                </a:lnTo>
                <a:lnTo>
                  <a:pt x="908" y="1309"/>
                </a:lnTo>
                <a:lnTo>
                  <a:pt x="905" y="1310"/>
                </a:lnTo>
                <a:lnTo>
                  <a:pt x="902" y="1312"/>
                </a:lnTo>
                <a:lnTo>
                  <a:pt x="899" y="1313"/>
                </a:lnTo>
                <a:lnTo>
                  <a:pt x="896" y="1314"/>
                </a:lnTo>
                <a:lnTo>
                  <a:pt x="892" y="1315"/>
                </a:lnTo>
                <a:lnTo>
                  <a:pt x="887" y="1317"/>
                </a:lnTo>
                <a:lnTo>
                  <a:pt x="888" y="1317"/>
                </a:lnTo>
                <a:lnTo>
                  <a:pt x="888" y="1317"/>
                </a:lnTo>
                <a:lnTo>
                  <a:pt x="888" y="1317"/>
                </a:lnTo>
                <a:lnTo>
                  <a:pt x="887" y="1317"/>
                </a:lnTo>
                <a:lnTo>
                  <a:pt x="886" y="1317"/>
                </a:lnTo>
                <a:lnTo>
                  <a:pt x="885" y="1319"/>
                </a:lnTo>
                <a:lnTo>
                  <a:pt x="875" y="1320"/>
                </a:lnTo>
                <a:lnTo>
                  <a:pt x="867" y="1323"/>
                </a:lnTo>
                <a:lnTo>
                  <a:pt x="866" y="1323"/>
                </a:lnTo>
                <a:lnTo>
                  <a:pt x="865" y="1323"/>
                </a:lnTo>
                <a:lnTo>
                  <a:pt x="859" y="1323"/>
                </a:lnTo>
                <a:lnTo>
                  <a:pt x="853" y="1324"/>
                </a:lnTo>
                <a:lnTo>
                  <a:pt x="850" y="1324"/>
                </a:lnTo>
                <a:lnTo>
                  <a:pt x="846" y="1326"/>
                </a:lnTo>
                <a:lnTo>
                  <a:pt x="845" y="1326"/>
                </a:lnTo>
                <a:lnTo>
                  <a:pt x="843" y="1326"/>
                </a:lnTo>
                <a:lnTo>
                  <a:pt x="839" y="1324"/>
                </a:lnTo>
                <a:lnTo>
                  <a:pt x="836" y="1324"/>
                </a:lnTo>
                <a:lnTo>
                  <a:pt x="833" y="1324"/>
                </a:lnTo>
                <a:lnTo>
                  <a:pt x="830" y="1328"/>
                </a:lnTo>
                <a:lnTo>
                  <a:pt x="830" y="1328"/>
                </a:lnTo>
                <a:lnTo>
                  <a:pt x="829" y="1328"/>
                </a:lnTo>
                <a:lnTo>
                  <a:pt x="824" y="1328"/>
                </a:lnTo>
                <a:lnTo>
                  <a:pt x="819" y="1328"/>
                </a:lnTo>
                <a:lnTo>
                  <a:pt x="808" y="1328"/>
                </a:lnTo>
                <a:lnTo>
                  <a:pt x="797" y="1329"/>
                </a:lnTo>
                <a:lnTo>
                  <a:pt x="795" y="1329"/>
                </a:lnTo>
                <a:lnTo>
                  <a:pt x="792" y="1330"/>
                </a:lnTo>
                <a:lnTo>
                  <a:pt x="787" y="1329"/>
                </a:lnTo>
                <a:lnTo>
                  <a:pt x="780" y="1329"/>
                </a:lnTo>
                <a:lnTo>
                  <a:pt x="769" y="1329"/>
                </a:lnTo>
                <a:lnTo>
                  <a:pt x="758" y="1329"/>
                </a:lnTo>
                <a:lnTo>
                  <a:pt x="748" y="1329"/>
                </a:lnTo>
                <a:lnTo>
                  <a:pt x="736" y="1330"/>
                </a:lnTo>
                <a:lnTo>
                  <a:pt x="735" y="1330"/>
                </a:lnTo>
                <a:lnTo>
                  <a:pt x="734" y="1330"/>
                </a:lnTo>
                <a:lnTo>
                  <a:pt x="733" y="1329"/>
                </a:lnTo>
                <a:lnTo>
                  <a:pt x="732" y="1330"/>
                </a:lnTo>
                <a:lnTo>
                  <a:pt x="730" y="1329"/>
                </a:lnTo>
                <a:lnTo>
                  <a:pt x="728" y="1329"/>
                </a:lnTo>
                <a:lnTo>
                  <a:pt x="726" y="1329"/>
                </a:lnTo>
                <a:lnTo>
                  <a:pt x="723" y="1329"/>
                </a:lnTo>
                <a:lnTo>
                  <a:pt x="713" y="1328"/>
                </a:lnTo>
                <a:lnTo>
                  <a:pt x="702" y="1327"/>
                </a:lnTo>
                <a:lnTo>
                  <a:pt x="692" y="1327"/>
                </a:lnTo>
                <a:lnTo>
                  <a:pt x="682" y="1326"/>
                </a:lnTo>
                <a:lnTo>
                  <a:pt x="667" y="1323"/>
                </a:lnTo>
                <a:lnTo>
                  <a:pt x="653" y="1323"/>
                </a:lnTo>
                <a:lnTo>
                  <a:pt x="652" y="1323"/>
                </a:lnTo>
                <a:lnTo>
                  <a:pt x="651" y="1323"/>
                </a:lnTo>
                <a:lnTo>
                  <a:pt x="652" y="1323"/>
                </a:lnTo>
                <a:lnTo>
                  <a:pt x="653" y="1323"/>
                </a:lnTo>
                <a:lnTo>
                  <a:pt x="650" y="1321"/>
                </a:lnTo>
                <a:lnTo>
                  <a:pt x="646" y="1321"/>
                </a:lnTo>
                <a:lnTo>
                  <a:pt x="632" y="1320"/>
                </a:lnTo>
                <a:lnTo>
                  <a:pt x="619" y="1317"/>
                </a:lnTo>
                <a:lnTo>
                  <a:pt x="606" y="1315"/>
                </a:lnTo>
                <a:lnTo>
                  <a:pt x="592" y="1313"/>
                </a:lnTo>
                <a:lnTo>
                  <a:pt x="578" y="1310"/>
                </a:lnTo>
                <a:lnTo>
                  <a:pt x="564" y="1308"/>
                </a:lnTo>
                <a:lnTo>
                  <a:pt x="560" y="1320"/>
                </a:lnTo>
                <a:lnTo>
                  <a:pt x="555" y="1333"/>
                </a:lnTo>
                <a:lnTo>
                  <a:pt x="550" y="1344"/>
                </a:lnTo>
                <a:lnTo>
                  <a:pt x="549" y="1357"/>
                </a:lnTo>
                <a:lnTo>
                  <a:pt x="547" y="1371"/>
                </a:lnTo>
                <a:lnTo>
                  <a:pt x="546" y="1385"/>
                </a:lnTo>
                <a:lnTo>
                  <a:pt x="544" y="1399"/>
                </a:lnTo>
                <a:lnTo>
                  <a:pt x="543" y="1413"/>
                </a:lnTo>
                <a:lnTo>
                  <a:pt x="543" y="1416"/>
                </a:lnTo>
                <a:lnTo>
                  <a:pt x="542" y="1417"/>
                </a:lnTo>
                <a:lnTo>
                  <a:pt x="541" y="1417"/>
                </a:lnTo>
                <a:lnTo>
                  <a:pt x="540" y="1416"/>
                </a:lnTo>
                <a:lnTo>
                  <a:pt x="540" y="1414"/>
                </a:lnTo>
                <a:lnTo>
                  <a:pt x="540" y="1413"/>
                </a:lnTo>
                <a:lnTo>
                  <a:pt x="537" y="1400"/>
                </a:lnTo>
                <a:lnTo>
                  <a:pt x="534" y="1388"/>
                </a:lnTo>
                <a:lnTo>
                  <a:pt x="534" y="1385"/>
                </a:lnTo>
                <a:lnTo>
                  <a:pt x="532" y="1384"/>
                </a:lnTo>
                <a:lnTo>
                  <a:pt x="530" y="1392"/>
                </a:lnTo>
                <a:lnTo>
                  <a:pt x="530" y="1402"/>
                </a:lnTo>
                <a:lnTo>
                  <a:pt x="529" y="1410"/>
                </a:lnTo>
                <a:lnTo>
                  <a:pt x="527" y="1419"/>
                </a:lnTo>
                <a:lnTo>
                  <a:pt x="525" y="1409"/>
                </a:lnTo>
                <a:lnTo>
                  <a:pt x="522" y="1399"/>
                </a:lnTo>
                <a:lnTo>
                  <a:pt x="522" y="1398"/>
                </a:lnTo>
                <a:lnTo>
                  <a:pt x="522" y="1396"/>
                </a:lnTo>
                <a:lnTo>
                  <a:pt x="521" y="1395"/>
                </a:lnTo>
                <a:lnTo>
                  <a:pt x="519" y="1395"/>
                </a:lnTo>
                <a:lnTo>
                  <a:pt x="518" y="1396"/>
                </a:lnTo>
                <a:lnTo>
                  <a:pt x="516" y="1397"/>
                </a:lnTo>
                <a:lnTo>
                  <a:pt x="516" y="1399"/>
                </a:lnTo>
                <a:lnTo>
                  <a:pt x="516" y="1400"/>
                </a:lnTo>
                <a:lnTo>
                  <a:pt x="516" y="1402"/>
                </a:lnTo>
                <a:lnTo>
                  <a:pt x="516" y="1402"/>
                </a:lnTo>
                <a:lnTo>
                  <a:pt x="518" y="1405"/>
                </a:lnTo>
                <a:lnTo>
                  <a:pt x="518" y="1406"/>
                </a:lnTo>
                <a:lnTo>
                  <a:pt x="518" y="1407"/>
                </a:lnTo>
                <a:lnTo>
                  <a:pt x="516" y="1409"/>
                </a:lnTo>
                <a:lnTo>
                  <a:pt x="513" y="1409"/>
                </a:lnTo>
                <a:lnTo>
                  <a:pt x="509" y="1407"/>
                </a:lnTo>
                <a:lnTo>
                  <a:pt x="509" y="1407"/>
                </a:lnTo>
                <a:lnTo>
                  <a:pt x="512" y="1396"/>
                </a:lnTo>
                <a:lnTo>
                  <a:pt x="513" y="1384"/>
                </a:lnTo>
                <a:lnTo>
                  <a:pt x="514" y="1372"/>
                </a:lnTo>
                <a:lnTo>
                  <a:pt x="516" y="1361"/>
                </a:lnTo>
                <a:lnTo>
                  <a:pt x="521" y="1348"/>
                </a:lnTo>
                <a:lnTo>
                  <a:pt x="526" y="1335"/>
                </a:lnTo>
                <a:lnTo>
                  <a:pt x="526" y="1335"/>
                </a:lnTo>
                <a:lnTo>
                  <a:pt x="528" y="1334"/>
                </a:lnTo>
                <a:lnTo>
                  <a:pt x="529" y="1333"/>
                </a:lnTo>
                <a:lnTo>
                  <a:pt x="530" y="1330"/>
                </a:lnTo>
                <a:lnTo>
                  <a:pt x="530" y="1328"/>
                </a:lnTo>
                <a:lnTo>
                  <a:pt x="530" y="1326"/>
                </a:lnTo>
                <a:lnTo>
                  <a:pt x="530" y="1324"/>
                </a:lnTo>
                <a:lnTo>
                  <a:pt x="534" y="1321"/>
                </a:lnTo>
                <a:lnTo>
                  <a:pt x="536" y="1315"/>
                </a:lnTo>
                <a:lnTo>
                  <a:pt x="539" y="1314"/>
                </a:lnTo>
                <a:lnTo>
                  <a:pt x="540" y="1313"/>
                </a:lnTo>
                <a:lnTo>
                  <a:pt x="541" y="1310"/>
                </a:lnTo>
                <a:lnTo>
                  <a:pt x="542" y="1307"/>
                </a:lnTo>
                <a:lnTo>
                  <a:pt x="543" y="1306"/>
                </a:lnTo>
                <a:lnTo>
                  <a:pt x="546" y="1306"/>
                </a:lnTo>
                <a:lnTo>
                  <a:pt x="547" y="1306"/>
                </a:lnTo>
                <a:lnTo>
                  <a:pt x="548" y="1307"/>
                </a:lnTo>
                <a:lnTo>
                  <a:pt x="547" y="1308"/>
                </a:lnTo>
                <a:lnTo>
                  <a:pt x="546" y="1309"/>
                </a:lnTo>
                <a:lnTo>
                  <a:pt x="543" y="1315"/>
                </a:lnTo>
                <a:lnTo>
                  <a:pt x="541" y="1321"/>
                </a:lnTo>
                <a:lnTo>
                  <a:pt x="540" y="1327"/>
                </a:lnTo>
                <a:lnTo>
                  <a:pt x="539" y="1333"/>
                </a:lnTo>
                <a:lnTo>
                  <a:pt x="537" y="1344"/>
                </a:lnTo>
                <a:lnTo>
                  <a:pt x="535" y="1356"/>
                </a:lnTo>
                <a:lnTo>
                  <a:pt x="535" y="1358"/>
                </a:lnTo>
                <a:lnTo>
                  <a:pt x="536" y="1358"/>
                </a:lnTo>
                <a:lnTo>
                  <a:pt x="539" y="1358"/>
                </a:lnTo>
                <a:lnTo>
                  <a:pt x="539" y="1357"/>
                </a:lnTo>
                <a:lnTo>
                  <a:pt x="542" y="1349"/>
                </a:lnTo>
                <a:lnTo>
                  <a:pt x="544" y="1340"/>
                </a:lnTo>
                <a:lnTo>
                  <a:pt x="546" y="1333"/>
                </a:lnTo>
                <a:lnTo>
                  <a:pt x="547" y="1324"/>
                </a:lnTo>
                <a:lnTo>
                  <a:pt x="549" y="1316"/>
                </a:lnTo>
                <a:lnTo>
                  <a:pt x="553" y="1309"/>
                </a:lnTo>
                <a:lnTo>
                  <a:pt x="555" y="1312"/>
                </a:lnTo>
                <a:lnTo>
                  <a:pt x="556" y="1313"/>
                </a:lnTo>
                <a:lnTo>
                  <a:pt x="559" y="1310"/>
                </a:lnTo>
                <a:lnTo>
                  <a:pt x="561" y="1307"/>
                </a:lnTo>
                <a:lnTo>
                  <a:pt x="560" y="1306"/>
                </a:lnTo>
                <a:lnTo>
                  <a:pt x="559" y="1306"/>
                </a:lnTo>
                <a:lnTo>
                  <a:pt x="542" y="1301"/>
                </a:lnTo>
                <a:lnTo>
                  <a:pt x="526" y="1298"/>
                </a:lnTo>
                <a:lnTo>
                  <a:pt x="509" y="1292"/>
                </a:lnTo>
                <a:lnTo>
                  <a:pt x="493" y="1286"/>
                </a:lnTo>
                <a:lnTo>
                  <a:pt x="490" y="1289"/>
                </a:lnTo>
                <a:lnTo>
                  <a:pt x="485" y="1293"/>
                </a:lnTo>
                <a:lnTo>
                  <a:pt x="482" y="1295"/>
                </a:lnTo>
                <a:lnTo>
                  <a:pt x="481" y="1298"/>
                </a:lnTo>
                <a:lnTo>
                  <a:pt x="480" y="1300"/>
                </a:lnTo>
                <a:lnTo>
                  <a:pt x="479" y="1302"/>
                </a:lnTo>
                <a:lnTo>
                  <a:pt x="487" y="1300"/>
                </a:lnTo>
                <a:lnTo>
                  <a:pt x="495" y="1296"/>
                </a:lnTo>
                <a:lnTo>
                  <a:pt x="499" y="1295"/>
                </a:lnTo>
                <a:lnTo>
                  <a:pt x="504" y="1295"/>
                </a:lnTo>
                <a:lnTo>
                  <a:pt x="507" y="1295"/>
                </a:lnTo>
                <a:lnTo>
                  <a:pt x="512" y="1296"/>
                </a:lnTo>
                <a:lnTo>
                  <a:pt x="512" y="1296"/>
                </a:lnTo>
                <a:lnTo>
                  <a:pt x="512" y="1296"/>
                </a:lnTo>
                <a:lnTo>
                  <a:pt x="509" y="1298"/>
                </a:lnTo>
                <a:lnTo>
                  <a:pt x="508" y="1300"/>
                </a:lnTo>
                <a:lnTo>
                  <a:pt x="515" y="1300"/>
                </a:lnTo>
                <a:lnTo>
                  <a:pt x="522" y="1300"/>
                </a:lnTo>
                <a:lnTo>
                  <a:pt x="529" y="1301"/>
                </a:lnTo>
                <a:lnTo>
                  <a:pt x="536" y="1305"/>
                </a:lnTo>
                <a:lnTo>
                  <a:pt x="533" y="1306"/>
                </a:lnTo>
                <a:lnTo>
                  <a:pt x="529" y="1308"/>
                </a:lnTo>
                <a:lnTo>
                  <a:pt x="527" y="1310"/>
                </a:lnTo>
                <a:lnTo>
                  <a:pt x="526" y="1314"/>
                </a:lnTo>
                <a:lnTo>
                  <a:pt x="520" y="1324"/>
                </a:lnTo>
                <a:lnTo>
                  <a:pt x="516" y="1337"/>
                </a:lnTo>
                <a:lnTo>
                  <a:pt x="511" y="1352"/>
                </a:lnTo>
                <a:lnTo>
                  <a:pt x="505" y="1369"/>
                </a:lnTo>
                <a:lnTo>
                  <a:pt x="500" y="1385"/>
                </a:lnTo>
                <a:lnTo>
                  <a:pt x="498" y="1403"/>
                </a:lnTo>
                <a:lnTo>
                  <a:pt x="497" y="1404"/>
                </a:lnTo>
                <a:lnTo>
                  <a:pt x="495" y="1405"/>
                </a:lnTo>
                <a:lnTo>
                  <a:pt x="494" y="1416"/>
                </a:lnTo>
                <a:lnTo>
                  <a:pt x="494" y="1427"/>
                </a:lnTo>
                <a:lnTo>
                  <a:pt x="493" y="1438"/>
                </a:lnTo>
                <a:lnTo>
                  <a:pt x="493" y="1448"/>
                </a:lnTo>
                <a:lnTo>
                  <a:pt x="493" y="1449"/>
                </a:lnTo>
                <a:lnTo>
                  <a:pt x="493" y="1451"/>
                </a:lnTo>
                <a:lnTo>
                  <a:pt x="494" y="1462"/>
                </a:lnTo>
                <a:lnTo>
                  <a:pt x="494" y="1473"/>
                </a:lnTo>
                <a:lnTo>
                  <a:pt x="495" y="1484"/>
                </a:lnTo>
                <a:lnTo>
                  <a:pt x="495" y="1495"/>
                </a:lnTo>
                <a:lnTo>
                  <a:pt x="495" y="1484"/>
                </a:lnTo>
                <a:lnTo>
                  <a:pt x="494" y="1473"/>
                </a:lnTo>
                <a:lnTo>
                  <a:pt x="494" y="1462"/>
                </a:lnTo>
                <a:lnTo>
                  <a:pt x="493" y="1451"/>
                </a:lnTo>
                <a:lnTo>
                  <a:pt x="491" y="1460"/>
                </a:lnTo>
                <a:lnTo>
                  <a:pt x="488" y="1468"/>
                </a:lnTo>
                <a:lnTo>
                  <a:pt x="488" y="1476"/>
                </a:lnTo>
                <a:lnTo>
                  <a:pt x="488" y="1486"/>
                </a:lnTo>
                <a:lnTo>
                  <a:pt x="490" y="1501"/>
                </a:lnTo>
                <a:lnTo>
                  <a:pt x="490" y="1517"/>
                </a:lnTo>
                <a:lnTo>
                  <a:pt x="490" y="1533"/>
                </a:lnTo>
                <a:lnTo>
                  <a:pt x="490" y="1550"/>
                </a:lnTo>
                <a:lnTo>
                  <a:pt x="490" y="1554"/>
                </a:lnTo>
                <a:lnTo>
                  <a:pt x="488" y="1560"/>
                </a:lnTo>
                <a:lnTo>
                  <a:pt x="485" y="1577"/>
                </a:lnTo>
                <a:lnTo>
                  <a:pt x="484" y="1594"/>
                </a:lnTo>
                <a:lnTo>
                  <a:pt x="470" y="1594"/>
                </a:lnTo>
                <a:lnTo>
                  <a:pt x="457" y="1594"/>
                </a:lnTo>
                <a:lnTo>
                  <a:pt x="458" y="1582"/>
                </a:lnTo>
                <a:lnTo>
                  <a:pt x="460" y="1572"/>
                </a:lnTo>
                <a:lnTo>
                  <a:pt x="464" y="1559"/>
                </a:lnTo>
                <a:lnTo>
                  <a:pt x="467" y="1546"/>
                </a:lnTo>
                <a:lnTo>
                  <a:pt x="471" y="1533"/>
                </a:lnTo>
                <a:lnTo>
                  <a:pt x="474" y="1521"/>
                </a:lnTo>
                <a:lnTo>
                  <a:pt x="475" y="1505"/>
                </a:lnTo>
                <a:lnTo>
                  <a:pt x="478" y="1490"/>
                </a:lnTo>
                <a:lnTo>
                  <a:pt x="479" y="1475"/>
                </a:lnTo>
                <a:lnTo>
                  <a:pt x="481" y="1460"/>
                </a:lnTo>
                <a:lnTo>
                  <a:pt x="482" y="1459"/>
                </a:lnTo>
                <a:lnTo>
                  <a:pt x="482" y="1456"/>
                </a:lnTo>
                <a:lnTo>
                  <a:pt x="482" y="1454"/>
                </a:lnTo>
                <a:lnTo>
                  <a:pt x="480" y="1454"/>
                </a:lnTo>
                <a:lnTo>
                  <a:pt x="478" y="1454"/>
                </a:lnTo>
                <a:lnTo>
                  <a:pt x="477" y="1454"/>
                </a:lnTo>
                <a:lnTo>
                  <a:pt x="474" y="1456"/>
                </a:lnTo>
                <a:lnTo>
                  <a:pt x="473" y="1458"/>
                </a:lnTo>
                <a:lnTo>
                  <a:pt x="470" y="1470"/>
                </a:lnTo>
                <a:lnTo>
                  <a:pt x="467" y="1482"/>
                </a:lnTo>
                <a:lnTo>
                  <a:pt x="464" y="1496"/>
                </a:lnTo>
                <a:lnTo>
                  <a:pt x="461" y="1511"/>
                </a:lnTo>
                <a:lnTo>
                  <a:pt x="458" y="1526"/>
                </a:lnTo>
                <a:lnTo>
                  <a:pt x="456" y="1542"/>
                </a:lnTo>
                <a:lnTo>
                  <a:pt x="453" y="1554"/>
                </a:lnTo>
                <a:lnTo>
                  <a:pt x="450" y="1567"/>
                </a:lnTo>
                <a:lnTo>
                  <a:pt x="447" y="1580"/>
                </a:lnTo>
                <a:lnTo>
                  <a:pt x="447" y="1594"/>
                </a:lnTo>
                <a:lnTo>
                  <a:pt x="443" y="1594"/>
                </a:lnTo>
                <a:lnTo>
                  <a:pt x="438" y="1594"/>
                </a:lnTo>
                <a:lnTo>
                  <a:pt x="438" y="1588"/>
                </a:lnTo>
                <a:lnTo>
                  <a:pt x="438" y="1584"/>
                </a:lnTo>
                <a:lnTo>
                  <a:pt x="436" y="1588"/>
                </a:lnTo>
                <a:lnTo>
                  <a:pt x="436" y="1594"/>
                </a:lnTo>
                <a:lnTo>
                  <a:pt x="437" y="1594"/>
                </a:lnTo>
                <a:lnTo>
                  <a:pt x="437" y="1594"/>
                </a:lnTo>
                <a:lnTo>
                  <a:pt x="487" y="1594"/>
                </a:lnTo>
                <a:lnTo>
                  <a:pt x="487" y="1594"/>
                </a:lnTo>
                <a:lnTo>
                  <a:pt x="575" y="1594"/>
                </a:lnTo>
                <a:lnTo>
                  <a:pt x="569" y="1594"/>
                </a:lnTo>
                <a:lnTo>
                  <a:pt x="562" y="1594"/>
                </a:lnTo>
                <a:lnTo>
                  <a:pt x="560" y="1594"/>
                </a:lnTo>
                <a:lnTo>
                  <a:pt x="557" y="1594"/>
                </a:lnTo>
                <a:lnTo>
                  <a:pt x="560" y="1594"/>
                </a:lnTo>
                <a:lnTo>
                  <a:pt x="562" y="1594"/>
                </a:lnTo>
                <a:lnTo>
                  <a:pt x="562" y="1589"/>
                </a:lnTo>
                <a:lnTo>
                  <a:pt x="561" y="1586"/>
                </a:lnTo>
                <a:lnTo>
                  <a:pt x="559" y="1582"/>
                </a:lnTo>
                <a:lnTo>
                  <a:pt x="557" y="1579"/>
                </a:lnTo>
                <a:lnTo>
                  <a:pt x="555" y="1567"/>
                </a:lnTo>
                <a:lnTo>
                  <a:pt x="555" y="1557"/>
                </a:lnTo>
                <a:lnTo>
                  <a:pt x="554" y="1546"/>
                </a:lnTo>
                <a:lnTo>
                  <a:pt x="551" y="1537"/>
                </a:lnTo>
                <a:lnTo>
                  <a:pt x="549" y="1529"/>
                </a:lnTo>
                <a:lnTo>
                  <a:pt x="547" y="1519"/>
                </a:lnTo>
                <a:lnTo>
                  <a:pt x="544" y="1512"/>
                </a:lnTo>
                <a:lnTo>
                  <a:pt x="544" y="1504"/>
                </a:lnTo>
                <a:lnTo>
                  <a:pt x="544" y="1497"/>
                </a:lnTo>
                <a:lnTo>
                  <a:pt x="544" y="1489"/>
                </a:lnTo>
                <a:lnTo>
                  <a:pt x="547" y="1474"/>
                </a:lnTo>
                <a:lnTo>
                  <a:pt x="546" y="1458"/>
                </a:lnTo>
                <a:lnTo>
                  <a:pt x="546" y="1456"/>
                </a:lnTo>
                <a:lnTo>
                  <a:pt x="546" y="1456"/>
                </a:lnTo>
                <a:lnTo>
                  <a:pt x="548" y="1453"/>
                </a:lnTo>
                <a:lnTo>
                  <a:pt x="549" y="1451"/>
                </a:lnTo>
                <a:lnTo>
                  <a:pt x="549" y="1447"/>
                </a:lnTo>
                <a:lnTo>
                  <a:pt x="549" y="1445"/>
                </a:lnTo>
                <a:lnTo>
                  <a:pt x="548" y="1438"/>
                </a:lnTo>
                <a:lnTo>
                  <a:pt x="547" y="1432"/>
                </a:lnTo>
                <a:lnTo>
                  <a:pt x="549" y="1425"/>
                </a:lnTo>
                <a:lnTo>
                  <a:pt x="550" y="1418"/>
                </a:lnTo>
                <a:lnTo>
                  <a:pt x="553" y="1410"/>
                </a:lnTo>
                <a:lnTo>
                  <a:pt x="553" y="1402"/>
                </a:lnTo>
                <a:lnTo>
                  <a:pt x="553" y="1388"/>
                </a:lnTo>
                <a:lnTo>
                  <a:pt x="553" y="1374"/>
                </a:lnTo>
                <a:lnTo>
                  <a:pt x="555" y="1359"/>
                </a:lnTo>
                <a:lnTo>
                  <a:pt x="557" y="1347"/>
                </a:lnTo>
                <a:lnTo>
                  <a:pt x="563" y="1330"/>
                </a:lnTo>
                <a:lnTo>
                  <a:pt x="570" y="1315"/>
                </a:lnTo>
                <a:lnTo>
                  <a:pt x="571" y="1313"/>
                </a:lnTo>
                <a:lnTo>
                  <a:pt x="574" y="1312"/>
                </a:lnTo>
                <a:lnTo>
                  <a:pt x="575" y="1312"/>
                </a:lnTo>
                <a:lnTo>
                  <a:pt x="576" y="1312"/>
                </a:lnTo>
                <a:lnTo>
                  <a:pt x="580" y="1314"/>
                </a:lnTo>
                <a:lnTo>
                  <a:pt x="583" y="1315"/>
                </a:lnTo>
                <a:lnTo>
                  <a:pt x="584" y="1316"/>
                </a:lnTo>
                <a:lnTo>
                  <a:pt x="584" y="1317"/>
                </a:lnTo>
                <a:lnTo>
                  <a:pt x="583" y="1320"/>
                </a:lnTo>
                <a:lnTo>
                  <a:pt x="582" y="1322"/>
                </a:lnTo>
                <a:lnTo>
                  <a:pt x="577" y="1328"/>
                </a:lnTo>
                <a:lnTo>
                  <a:pt x="576" y="1335"/>
                </a:lnTo>
                <a:lnTo>
                  <a:pt x="570" y="1355"/>
                </a:lnTo>
                <a:lnTo>
                  <a:pt x="566" y="1374"/>
                </a:lnTo>
                <a:lnTo>
                  <a:pt x="563" y="1393"/>
                </a:lnTo>
                <a:lnTo>
                  <a:pt x="562" y="1413"/>
                </a:lnTo>
                <a:lnTo>
                  <a:pt x="560" y="1416"/>
                </a:lnTo>
                <a:lnTo>
                  <a:pt x="559" y="1418"/>
                </a:lnTo>
                <a:lnTo>
                  <a:pt x="559" y="1432"/>
                </a:lnTo>
                <a:lnTo>
                  <a:pt x="559" y="1446"/>
                </a:lnTo>
                <a:lnTo>
                  <a:pt x="560" y="1460"/>
                </a:lnTo>
                <a:lnTo>
                  <a:pt x="562" y="1474"/>
                </a:lnTo>
                <a:lnTo>
                  <a:pt x="563" y="1475"/>
                </a:lnTo>
                <a:lnTo>
                  <a:pt x="563" y="1477"/>
                </a:lnTo>
                <a:lnTo>
                  <a:pt x="564" y="1480"/>
                </a:lnTo>
                <a:lnTo>
                  <a:pt x="567" y="1481"/>
                </a:lnTo>
                <a:lnTo>
                  <a:pt x="568" y="1490"/>
                </a:lnTo>
                <a:lnTo>
                  <a:pt x="568" y="1500"/>
                </a:lnTo>
                <a:lnTo>
                  <a:pt x="567" y="1502"/>
                </a:lnTo>
                <a:lnTo>
                  <a:pt x="564" y="1504"/>
                </a:lnTo>
                <a:lnTo>
                  <a:pt x="563" y="1505"/>
                </a:lnTo>
                <a:lnTo>
                  <a:pt x="562" y="1507"/>
                </a:lnTo>
                <a:lnTo>
                  <a:pt x="562" y="1508"/>
                </a:lnTo>
                <a:lnTo>
                  <a:pt x="563" y="1510"/>
                </a:lnTo>
                <a:lnTo>
                  <a:pt x="566" y="1519"/>
                </a:lnTo>
                <a:lnTo>
                  <a:pt x="567" y="1529"/>
                </a:lnTo>
                <a:lnTo>
                  <a:pt x="568" y="1538"/>
                </a:lnTo>
                <a:lnTo>
                  <a:pt x="569" y="1547"/>
                </a:lnTo>
                <a:lnTo>
                  <a:pt x="571" y="1565"/>
                </a:lnTo>
                <a:lnTo>
                  <a:pt x="574" y="1581"/>
                </a:lnTo>
                <a:lnTo>
                  <a:pt x="575" y="1587"/>
                </a:lnTo>
                <a:lnTo>
                  <a:pt x="575" y="1594"/>
                </a:lnTo>
                <a:lnTo>
                  <a:pt x="937" y="1594"/>
                </a:lnTo>
                <a:lnTo>
                  <a:pt x="936" y="1584"/>
                </a:lnTo>
                <a:lnTo>
                  <a:pt x="936" y="1573"/>
                </a:lnTo>
                <a:lnTo>
                  <a:pt x="936" y="1563"/>
                </a:lnTo>
                <a:lnTo>
                  <a:pt x="935" y="1552"/>
                </a:lnTo>
                <a:lnTo>
                  <a:pt x="936" y="1549"/>
                </a:lnTo>
                <a:lnTo>
                  <a:pt x="937" y="1545"/>
                </a:lnTo>
                <a:lnTo>
                  <a:pt x="937" y="1545"/>
                </a:lnTo>
                <a:lnTo>
                  <a:pt x="939" y="1545"/>
                </a:lnTo>
                <a:lnTo>
                  <a:pt x="941" y="1544"/>
                </a:lnTo>
                <a:lnTo>
                  <a:pt x="942" y="1542"/>
                </a:lnTo>
                <a:lnTo>
                  <a:pt x="943" y="1539"/>
                </a:lnTo>
                <a:lnTo>
                  <a:pt x="944" y="1537"/>
                </a:lnTo>
                <a:lnTo>
                  <a:pt x="948" y="1529"/>
                </a:lnTo>
                <a:lnTo>
                  <a:pt x="951" y="1522"/>
                </a:lnTo>
                <a:lnTo>
                  <a:pt x="953" y="1519"/>
                </a:lnTo>
                <a:lnTo>
                  <a:pt x="953" y="1517"/>
                </a:lnTo>
                <a:lnTo>
                  <a:pt x="951" y="1515"/>
                </a:lnTo>
                <a:lnTo>
                  <a:pt x="949" y="1514"/>
                </a:lnTo>
                <a:lnTo>
                  <a:pt x="948" y="1515"/>
                </a:lnTo>
                <a:lnTo>
                  <a:pt x="947" y="1517"/>
                </a:lnTo>
                <a:lnTo>
                  <a:pt x="948" y="1515"/>
                </a:lnTo>
                <a:lnTo>
                  <a:pt x="949" y="1514"/>
                </a:lnTo>
                <a:lnTo>
                  <a:pt x="950" y="1511"/>
                </a:lnTo>
                <a:lnTo>
                  <a:pt x="951" y="1510"/>
                </a:lnTo>
                <a:lnTo>
                  <a:pt x="953" y="1512"/>
                </a:lnTo>
                <a:lnTo>
                  <a:pt x="955" y="1515"/>
                </a:lnTo>
                <a:lnTo>
                  <a:pt x="958" y="1504"/>
                </a:lnTo>
                <a:lnTo>
                  <a:pt x="962" y="1495"/>
                </a:lnTo>
                <a:lnTo>
                  <a:pt x="963" y="1486"/>
                </a:lnTo>
                <a:lnTo>
                  <a:pt x="964" y="1476"/>
                </a:lnTo>
                <a:lnTo>
                  <a:pt x="964" y="1467"/>
                </a:lnTo>
                <a:lnTo>
                  <a:pt x="962" y="1458"/>
                </a:lnTo>
                <a:lnTo>
                  <a:pt x="962" y="1455"/>
                </a:lnTo>
                <a:lnTo>
                  <a:pt x="962" y="1454"/>
                </a:lnTo>
                <a:close/>
                <a:moveTo>
                  <a:pt x="942" y="1561"/>
                </a:moveTo>
                <a:lnTo>
                  <a:pt x="942" y="1556"/>
                </a:lnTo>
                <a:lnTo>
                  <a:pt x="942" y="1547"/>
                </a:lnTo>
                <a:lnTo>
                  <a:pt x="939" y="1551"/>
                </a:lnTo>
                <a:lnTo>
                  <a:pt x="937" y="1554"/>
                </a:lnTo>
                <a:lnTo>
                  <a:pt x="937" y="1558"/>
                </a:lnTo>
                <a:lnTo>
                  <a:pt x="937" y="1560"/>
                </a:lnTo>
                <a:lnTo>
                  <a:pt x="940" y="1568"/>
                </a:lnTo>
                <a:lnTo>
                  <a:pt x="941" y="1577"/>
                </a:lnTo>
                <a:lnTo>
                  <a:pt x="940" y="1586"/>
                </a:lnTo>
                <a:lnTo>
                  <a:pt x="940" y="1594"/>
                </a:lnTo>
                <a:lnTo>
                  <a:pt x="940" y="1594"/>
                </a:lnTo>
                <a:lnTo>
                  <a:pt x="939" y="1594"/>
                </a:lnTo>
                <a:lnTo>
                  <a:pt x="947" y="1594"/>
                </a:lnTo>
                <a:lnTo>
                  <a:pt x="947" y="1582"/>
                </a:lnTo>
                <a:lnTo>
                  <a:pt x="947" y="1572"/>
                </a:lnTo>
                <a:lnTo>
                  <a:pt x="943" y="1570"/>
                </a:lnTo>
                <a:lnTo>
                  <a:pt x="942" y="1567"/>
                </a:lnTo>
                <a:lnTo>
                  <a:pt x="942" y="1565"/>
                </a:lnTo>
                <a:lnTo>
                  <a:pt x="942" y="1561"/>
                </a:lnTo>
                <a:close/>
                <a:moveTo>
                  <a:pt x="810" y="714"/>
                </a:moveTo>
                <a:lnTo>
                  <a:pt x="808" y="714"/>
                </a:lnTo>
                <a:lnTo>
                  <a:pt x="808" y="714"/>
                </a:lnTo>
                <a:lnTo>
                  <a:pt x="806" y="715"/>
                </a:lnTo>
                <a:lnTo>
                  <a:pt x="806" y="717"/>
                </a:lnTo>
                <a:lnTo>
                  <a:pt x="804" y="719"/>
                </a:lnTo>
                <a:lnTo>
                  <a:pt x="802" y="720"/>
                </a:lnTo>
                <a:lnTo>
                  <a:pt x="802" y="722"/>
                </a:lnTo>
                <a:lnTo>
                  <a:pt x="799" y="722"/>
                </a:lnTo>
                <a:lnTo>
                  <a:pt x="802" y="722"/>
                </a:lnTo>
                <a:lnTo>
                  <a:pt x="802" y="720"/>
                </a:lnTo>
                <a:lnTo>
                  <a:pt x="801" y="720"/>
                </a:lnTo>
                <a:lnTo>
                  <a:pt x="798" y="720"/>
                </a:lnTo>
                <a:lnTo>
                  <a:pt x="798" y="721"/>
                </a:lnTo>
                <a:lnTo>
                  <a:pt x="798" y="724"/>
                </a:lnTo>
                <a:lnTo>
                  <a:pt x="797" y="724"/>
                </a:lnTo>
                <a:lnTo>
                  <a:pt x="797" y="725"/>
                </a:lnTo>
                <a:lnTo>
                  <a:pt x="797" y="726"/>
                </a:lnTo>
                <a:lnTo>
                  <a:pt x="796" y="727"/>
                </a:lnTo>
                <a:lnTo>
                  <a:pt x="797" y="726"/>
                </a:lnTo>
                <a:lnTo>
                  <a:pt x="797" y="725"/>
                </a:lnTo>
                <a:lnTo>
                  <a:pt x="796" y="725"/>
                </a:lnTo>
                <a:lnTo>
                  <a:pt x="794" y="725"/>
                </a:lnTo>
                <a:lnTo>
                  <a:pt x="794" y="726"/>
                </a:lnTo>
                <a:lnTo>
                  <a:pt x="794" y="728"/>
                </a:lnTo>
                <a:lnTo>
                  <a:pt x="792" y="728"/>
                </a:lnTo>
                <a:lnTo>
                  <a:pt x="792" y="728"/>
                </a:lnTo>
                <a:lnTo>
                  <a:pt x="791" y="729"/>
                </a:lnTo>
                <a:lnTo>
                  <a:pt x="790" y="729"/>
                </a:lnTo>
                <a:lnTo>
                  <a:pt x="789" y="731"/>
                </a:lnTo>
                <a:lnTo>
                  <a:pt x="788" y="732"/>
                </a:lnTo>
                <a:lnTo>
                  <a:pt x="788" y="732"/>
                </a:lnTo>
                <a:lnTo>
                  <a:pt x="788" y="734"/>
                </a:lnTo>
                <a:lnTo>
                  <a:pt x="787" y="735"/>
                </a:lnTo>
                <a:lnTo>
                  <a:pt x="788" y="734"/>
                </a:lnTo>
                <a:lnTo>
                  <a:pt x="788" y="732"/>
                </a:lnTo>
                <a:lnTo>
                  <a:pt x="787" y="732"/>
                </a:lnTo>
                <a:lnTo>
                  <a:pt x="785" y="733"/>
                </a:lnTo>
                <a:lnTo>
                  <a:pt x="784" y="734"/>
                </a:lnTo>
                <a:lnTo>
                  <a:pt x="784" y="736"/>
                </a:lnTo>
                <a:lnTo>
                  <a:pt x="783" y="739"/>
                </a:lnTo>
                <a:lnTo>
                  <a:pt x="782" y="740"/>
                </a:lnTo>
                <a:lnTo>
                  <a:pt x="783" y="739"/>
                </a:lnTo>
                <a:lnTo>
                  <a:pt x="784" y="736"/>
                </a:lnTo>
                <a:lnTo>
                  <a:pt x="782" y="736"/>
                </a:lnTo>
                <a:lnTo>
                  <a:pt x="781" y="738"/>
                </a:lnTo>
                <a:lnTo>
                  <a:pt x="780" y="739"/>
                </a:lnTo>
                <a:lnTo>
                  <a:pt x="780" y="741"/>
                </a:lnTo>
                <a:lnTo>
                  <a:pt x="780" y="741"/>
                </a:lnTo>
                <a:lnTo>
                  <a:pt x="777" y="741"/>
                </a:lnTo>
                <a:lnTo>
                  <a:pt x="775" y="742"/>
                </a:lnTo>
                <a:lnTo>
                  <a:pt x="775" y="743"/>
                </a:lnTo>
                <a:lnTo>
                  <a:pt x="775" y="746"/>
                </a:lnTo>
                <a:lnTo>
                  <a:pt x="775" y="746"/>
                </a:lnTo>
                <a:lnTo>
                  <a:pt x="772" y="746"/>
                </a:lnTo>
                <a:lnTo>
                  <a:pt x="771" y="747"/>
                </a:lnTo>
                <a:lnTo>
                  <a:pt x="770" y="748"/>
                </a:lnTo>
                <a:lnTo>
                  <a:pt x="770" y="749"/>
                </a:lnTo>
                <a:lnTo>
                  <a:pt x="767" y="752"/>
                </a:lnTo>
                <a:lnTo>
                  <a:pt x="765" y="754"/>
                </a:lnTo>
                <a:lnTo>
                  <a:pt x="761" y="756"/>
                </a:lnTo>
                <a:lnTo>
                  <a:pt x="756" y="760"/>
                </a:lnTo>
                <a:lnTo>
                  <a:pt x="753" y="764"/>
                </a:lnTo>
                <a:lnTo>
                  <a:pt x="750" y="769"/>
                </a:lnTo>
                <a:lnTo>
                  <a:pt x="740" y="782"/>
                </a:lnTo>
                <a:lnTo>
                  <a:pt x="730" y="795"/>
                </a:lnTo>
                <a:lnTo>
                  <a:pt x="727" y="798"/>
                </a:lnTo>
                <a:lnTo>
                  <a:pt x="723" y="802"/>
                </a:lnTo>
                <a:lnTo>
                  <a:pt x="722" y="803"/>
                </a:lnTo>
                <a:lnTo>
                  <a:pt x="721" y="804"/>
                </a:lnTo>
                <a:lnTo>
                  <a:pt x="719" y="803"/>
                </a:lnTo>
                <a:lnTo>
                  <a:pt x="719" y="802"/>
                </a:lnTo>
                <a:lnTo>
                  <a:pt x="720" y="795"/>
                </a:lnTo>
                <a:lnTo>
                  <a:pt x="721" y="788"/>
                </a:lnTo>
                <a:lnTo>
                  <a:pt x="723" y="781"/>
                </a:lnTo>
                <a:lnTo>
                  <a:pt x="728" y="775"/>
                </a:lnTo>
                <a:lnTo>
                  <a:pt x="732" y="768"/>
                </a:lnTo>
                <a:lnTo>
                  <a:pt x="737" y="762"/>
                </a:lnTo>
                <a:lnTo>
                  <a:pt x="748" y="752"/>
                </a:lnTo>
                <a:lnTo>
                  <a:pt x="760" y="741"/>
                </a:lnTo>
                <a:lnTo>
                  <a:pt x="774" y="731"/>
                </a:lnTo>
                <a:lnTo>
                  <a:pt x="789" y="720"/>
                </a:lnTo>
                <a:lnTo>
                  <a:pt x="795" y="717"/>
                </a:lnTo>
                <a:lnTo>
                  <a:pt x="799" y="713"/>
                </a:lnTo>
                <a:lnTo>
                  <a:pt x="802" y="711"/>
                </a:lnTo>
                <a:lnTo>
                  <a:pt x="805" y="710"/>
                </a:lnTo>
                <a:lnTo>
                  <a:pt x="809" y="710"/>
                </a:lnTo>
                <a:lnTo>
                  <a:pt x="812" y="710"/>
                </a:lnTo>
                <a:lnTo>
                  <a:pt x="812" y="707"/>
                </a:lnTo>
                <a:lnTo>
                  <a:pt x="813" y="707"/>
                </a:lnTo>
                <a:lnTo>
                  <a:pt x="815" y="707"/>
                </a:lnTo>
                <a:lnTo>
                  <a:pt x="816" y="710"/>
                </a:lnTo>
                <a:lnTo>
                  <a:pt x="817" y="710"/>
                </a:lnTo>
                <a:lnTo>
                  <a:pt x="818" y="708"/>
                </a:lnTo>
                <a:lnTo>
                  <a:pt x="817" y="710"/>
                </a:lnTo>
                <a:lnTo>
                  <a:pt x="816" y="710"/>
                </a:lnTo>
                <a:lnTo>
                  <a:pt x="816" y="710"/>
                </a:lnTo>
                <a:lnTo>
                  <a:pt x="815" y="712"/>
                </a:lnTo>
                <a:lnTo>
                  <a:pt x="812" y="713"/>
                </a:lnTo>
                <a:lnTo>
                  <a:pt x="815" y="712"/>
                </a:lnTo>
                <a:lnTo>
                  <a:pt x="816" y="710"/>
                </a:lnTo>
                <a:lnTo>
                  <a:pt x="813" y="710"/>
                </a:lnTo>
                <a:lnTo>
                  <a:pt x="812" y="710"/>
                </a:lnTo>
                <a:lnTo>
                  <a:pt x="811" y="712"/>
                </a:lnTo>
                <a:lnTo>
                  <a:pt x="811" y="714"/>
                </a:lnTo>
                <a:lnTo>
                  <a:pt x="810" y="714"/>
                </a:lnTo>
                <a:lnTo>
                  <a:pt x="810" y="714"/>
                </a:lnTo>
                <a:lnTo>
                  <a:pt x="810" y="714"/>
                </a:lnTo>
                <a:close/>
                <a:moveTo>
                  <a:pt x="521" y="1379"/>
                </a:moveTo>
                <a:lnTo>
                  <a:pt x="522" y="1381"/>
                </a:lnTo>
                <a:lnTo>
                  <a:pt x="522" y="1381"/>
                </a:lnTo>
                <a:lnTo>
                  <a:pt x="523" y="1381"/>
                </a:lnTo>
                <a:lnTo>
                  <a:pt x="523" y="1379"/>
                </a:lnTo>
                <a:lnTo>
                  <a:pt x="523" y="1379"/>
                </a:lnTo>
                <a:lnTo>
                  <a:pt x="523" y="1378"/>
                </a:lnTo>
                <a:lnTo>
                  <a:pt x="522" y="1378"/>
                </a:lnTo>
                <a:lnTo>
                  <a:pt x="521" y="1379"/>
                </a:lnTo>
                <a:close/>
                <a:moveTo>
                  <a:pt x="1041" y="782"/>
                </a:moveTo>
                <a:lnTo>
                  <a:pt x="1041" y="782"/>
                </a:lnTo>
                <a:lnTo>
                  <a:pt x="1041" y="782"/>
                </a:lnTo>
                <a:lnTo>
                  <a:pt x="1027" y="788"/>
                </a:lnTo>
                <a:lnTo>
                  <a:pt x="1013" y="794"/>
                </a:lnTo>
                <a:lnTo>
                  <a:pt x="1008" y="795"/>
                </a:lnTo>
                <a:lnTo>
                  <a:pt x="1002" y="798"/>
                </a:lnTo>
                <a:lnTo>
                  <a:pt x="1002" y="798"/>
                </a:lnTo>
                <a:lnTo>
                  <a:pt x="997" y="799"/>
                </a:lnTo>
                <a:lnTo>
                  <a:pt x="991" y="802"/>
                </a:lnTo>
                <a:lnTo>
                  <a:pt x="983" y="804"/>
                </a:lnTo>
                <a:lnTo>
                  <a:pt x="976" y="805"/>
                </a:lnTo>
                <a:lnTo>
                  <a:pt x="968" y="806"/>
                </a:lnTo>
                <a:lnTo>
                  <a:pt x="960" y="804"/>
                </a:lnTo>
                <a:lnTo>
                  <a:pt x="970" y="802"/>
                </a:lnTo>
                <a:lnTo>
                  <a:pt x="981" y="799"/>
                </a:lnTo>
                <a:lnTo>
                  <a:pt x="983" y="798"/>
                </a:lnTo>
                <a:lnTo>
                  <a:pt x="984" y="796"/>
                </a:lnTo>
                <a:lnTo>
                  <a:pt x="985" y="795"/>
                </a:lnTo>
                <a:lnTo>
                  <a:pt x="986" y="795"/>
                </a:lnTo>
                <a:lnTo>
                  <a:pt x="989" y="792"/>
                </a:lnTo>
                <a:lnTo>
                  <a:pt x="990" y="791"/>
                </a:lnTo>
                <a:lnTo>
                  <a:pt x="989" y="792"/>
                </a:lnTo>
                <a:lnTo>
                  <a:pt x="986" y="795"/>
                </a:lnTo>
                <a:lnTo>
                  <a:pt x="990" y="795"/>
                </a:lnTo>
                <a:lnTo>
                  <a:pt x="992" y="795"/>
                </a:lnTo>
                <a:lnTo>
                  <a:pt x="995" y="794"/>
                </a:lnTo>
                <a:lnTo>
                  <a:pt x="996" y="791"/>
                </a:lnTo>
                <a:lnTo>
                  <a:pt x="997" y="790"/>
                </a:lnTo>
                <a:lnTo>
                  <a:pt x="999" y="790"/>
                </a:lnTo>
                <a:lnTo>
                  <a:pt x="999" y="789"/>
                </a:lnTo>
                <a:lnTo>
                  <a:pt x="1001" y="788"/>
                </a:lnTo>
                <a:lnTo>
                  <a:pt x="999" y="789"/>
                </a:lnTo>
                <a:lnTo>
                  <a:pt x="999" y="790"/>
                </a:lnTo>
                <a:lnTo>
                  <a:pt x="1001" y="790"/>
                </a:lnTo>
                <a:lnTo>
                  <a:pt x="1002" y="789"/>
                </a:lnTo>
                <a:lnTo>
                  <a:pt x="1005" y="787"/>
                </a:lnTo>
                <a:lnTo>
                  <a:pt x="1010" y="785"/>
                </a:lnTo>
                <a:lnTo>
                  <a:pt x="1009" y="781"/>
                </a:lnTo>
                <a:lnTo>
                  <a:pt x="1008" y="777"/>
                </a:lnTo>
                <a:lnTo>
                  <a:pt x="1005" y="774"/>
                </a:lnTo>
                <a:lnTo>
                  <a:pt x="1002" y="770"/>
                </a:lnTo>
                <a:lnTo>
                  <a:pt x="1005" y="774"/>
                </a:lnTo>
                <a:lnTo>
                  <a:pt x="1008" y="777"/>
                </a:lnTo>
                <a:lnTo>
                  <a:pt x="1009" y="781"/>
                </a:lnTo>
                <a:lnTo>
                  <a:pt x="1010" y="785"/>
                </a:lnTo>
                <a:lnTo>
                  <a:pt x="1016" y="784"/>
                </a:lnTo>
                <a:lnTo>
                  <a:pt x="1020" y="782"/>
                </a:lnTo>
                <a:lnTo>
                  <a:pt x="1024" y="780"/>
                </a:lnTo>
                <a:lnTo>
                  <a:pt x="1027" y="776"/>
                </a:lnTo>
                <a:lnTo>
                  <a:pt x="1033" y="767"/>
                </a:lnTo>
                <a:lnTo>
                  <a:pt x="1039" y="759"/>
                </a:lnTo>
                <a:lnTo>
                  <a:pt x="1040" y="757"/>
                </a:lnTo>
                <a:lnTo>
                  <a:pt x="1039" y="756"/>
                </a:lnTo>
                <a:lnTo>
                  <a:pt x="1039" y="752"/>
                </a:lnTo>
                <a:lnTo>
                  <a:pt x="1038" y="747"/>
                </a:lnTo>
                <a:lnTo>
                  <a:pt x="1038" y="745"/>
                </a:lnTo>
                <a:lnTo>
                  <a:pt x="1037" y="742"/>
                </a:lnTo>
                <a:lnTo>
                  <a:pt x="1034" y="741"/>
                </a:lnTo>
                <a:lnTo>
                  <a:pt x="1032" y="740"/>
                </a:lnTo>
                <a:lnTo>
                  <a:pt x="1031" y="738"/>
                </a:lnTo>
                <a:lnTo>
                  <a:pt x="1030" y="735"/>
                </a:lnTo>
                <a:lnTo>
                  <a:pt x="1027" y="731"/>
                </a:lnTo>
                <a:lnTo>
                  <a:pt x="1025" y="726"/>
                </a:lnTo>
                <a:lnTo>
                  <a:pt x="1020" y="722"/>
                </a:lnTo>
                <a:lnTo>
                  <a:pt x="1017" y="718"/>
                </a:lnTo>
                <a:lnTo>
                  <a:pt x="1012" y="715"/>
                </a:lnTo>
                <a:lnTo>
                  <a:pt x="1010" y="711"/>
                </a:lnTo>
                <a:lnTo>
                  <a:pt x="1013" y="711"/>
                </a:lnTo>
                <a:lnTo>
                  <a:pt x="1017" y="711"/>
                </a:lnTo>
                <a:lnTo>
                  <a:pt x="1017" y="708"/>
                </a:lnTo>
                <a:lnTo>
                  <a:pt x="1016" y="707"/>
                </a:lnTo>
                <a:lnTo>
                  <a:pt x="1015" y="706"/>
                </a:lnTo>
                <a:lnTo>
                  <a:pt x="1013" y="705"/>
                </a:lnTo>
                <a:lnTo>
                  <a:pt x="1010" y="703"/>
                </a:lnTo>
                <a:lnTo>
                  <a:pt x="1008" y="701"/>
                </a:lnTo>
                <a:lnTo>
                  <a:pt x="1004" y="700"/>
                </a:lnTo>
                <a:lnTo>
                  <a:pt x="1003" y="698"/>
                </a:lnTo>
                <a:lnTo>
                  <a:pt x="1004" y="696"/>
                </a:lnTo>
                <a:lnTo>
                  <a:pt x="1005" y="693"/>
                </a:lnTo>
                <a:lnTo>
                  <a:pt x="1006" y="693"/>
                </a:lnTo>
                <a:lnTo>
                  <a:pt x="1009" y="692"/>
                </a:lnTo>
                <a:lnTo>
                  <a:pt x="1009" y="691"/>
                </a:lnTo>
                <a:lnTo>
                  <a:pt x="1009" y="689"/>
                </a:lnTo>
                <a:lnTo>
                  <a:pt x="1006" y="686"/>
                </a:lnTo>
                <a:lnTo>
                  <a:pt x="1004" y="684"/>
                </a:lnTo>
                <a:lnTo>
                  <a:pt x="1002" y="683"/>
                </a:lnTo>
                <a:lnTo>
                  <a:pt x="999" y="683"/>
                </a:lnTo>
                <a:lnTo>
                  <a:pt x="998" y="685"/>
                </a:lnTo>
                <a:lnTo>
                  <a:pt x="996" y="685"/>
                </a:lnTo>
                <a:lnTo>
                  <a:pt x="995" y="685"/>
                </a:lnTo>
                <a:lnTo>
                  <a:pt x="994" y="685"/>
                </a:lnTo>
                <a:lnTo>
                  <a:pt x="990" y="683"/>
                </a:lnTo>
                <a:lnTo>
                  <a:pt x="988" y="682"/>
                </a:lnTo>
                <a:lnTo>
                  <a:pt x="985" y="682"/>
                </a:lnTo>
                <a:lnTo>
                  <a:pt x="984" y="680"/>
                </a:lnTo>
                <a:lnTo>
                  <a:pt x="983" y="679"/>
                </a:lnTo>
                <a:lnTo>
                  <a:pt x="983" y="678"/>
                </a:lnTo>
                <a:lnTo>
                  <a:pt x="984" y="676"/>
                </a:lnTo>
                <a:lnTo>
                  <a:pt x="986" y="676"/>
                </a:lnTo>
                <a:lnTo>
                  <a:pt x="988" y="676"/>
                </a:lnTo>
                <a:lnTo>
                  <a:pt x="989" y="677"/>
                </a:lnTo>
                <a:lnTo>
                  <a:pt x="992" y="678"/>
                </a:lnTo>
                <a:lnTo>
                  <a:pt x="996" y="678"/>
                </a:lnTo>
                <a:lnTo>
                  <a:pt x="998" y="676"/>
                </a:lnTo>
                <a:lnTo>
                  <a:pt x="1002" y="675"/>
                </a:lnTo>
                <a:lnTo>
                  <a:pt x="1005" y="675"/>
                </a:lnTo>
                <a:lnTo>
                  <a:pt x="1008" y="676"/>
                </a:lnTo>
                <a:lnTo>
                  <a:pt x="1013" y="678"/>
                </a:lnTo>
                <a:lnTo>
                  <a:pt x="1019" y="682"/>
                </a:lnTo>
                <a:lnTo>
                  <a:pt x="1019" y="677"/>
                </a:lnTo>
                <a:lnTo>
                  <a:pt x="1018" y="673"/>
                </a:lnTo>
                <a:lnTo>
                  <a:pt x="1017" y="672"/>
                </a:lnTo>
                <a:lnTo>
                  <a:pt x="1016" y="671"/>
                </a:lnTo>
                <a:lnTo>
                  <a:pt x="1010" y="664"/>
                </a:lnTo>
                <a:lnTo>
                  <a:pt x="1004" y="658"/>
                </a:lnTo>
                <a:lnTo>
                  <a:pt x="1001" y="656"/>
                </a:lnTo>
                <a:lnTo>
                  <a:pt x="997" y="655"/>
                </a:lnTo>
                <a:lnTo>
                  <a:pt x="992" y="652"/>
                </a:lnTo>
                <a:lnTo>
                  <a:pt x="988" y="652"/>
                </a:lnTo>
                <a:lnTo>
                  <a:pt x="979" y="651"/>
                </a:lnTo>
                <a:lnTo>
                  <a:pt x="972" y="652"/>
                </a:lnTo>
                <a:lnTo>
                  <a:pt x="964" y="654"/>
                </a:lnTo>
                <a:lnTo>
                  <a:pt x="956" y="657"/>
                </a:lnTo>
                <a:lnTo>
                  <a:pt x="953" y="658"/>
                </a:lnTo>
                <a:lnTo>
                  <a:pt x="948" y="658"/>
                </a:lnTo>
                <a:lnTo>
                  <a:pt x="944" y="661"/>
                </a:lnTo>
                <a:lnTo>
                  <a:pt x="942" y="664"/>
                </a:lnTo>
                <a:lnTo>
                  <a:pt x="947" y="664"/>
                </a:lnTo>
                <a:lnTo>
                  <a:pt x="951" y="663"/>
                </a:lnTo>
                <a:lnTo>
                  <a:pt x="947" y="664"/>
                </a:lnTo>
                <a:lnTo>
                  <a:pt x="942" y="664"/>
                </a:lnTo>
                <a:lnTo>
                  <a:pt x="940" y="664"/>
                </a:lnTo>
                <a:lnTo>
                  <a:pt x="937" y="664"/>
                </a:lnTo>
                <a:lnTo>
                  <a:pt x="937" y="664"/>
                </a:lnTo>
                <a:lnTo>
                  <a:pt x="934" y="664"/>
                </a:lnTo>
                <a:lnTo>
                  <a:pt x="930" y="664"/>
                </a:lnTo>
                <a:lnTo>
                  <a:pt x="927" y="665"/>
                </a:lnTo>
                <a:lnTo>
                  <a:pt x="923" y="669"/>
                </a:lnTo>
                <a:lnTo>
                  <a:pt x="922" y="669"/>
                </a:lnTo>
                <a:lnTo>
                  <a:pt x="920" y="669"/>
                </a:lnTo>
                <a:lnTo>
                  <a:pt x="918" y="669"/>
                </a:lnTo>
                <a:lnTo>
                  <a:pt x="916" y="669"/>
                </a:lnTo>
                <a:lnTo>
                  <a:pt x="915" y="668"/>
                </a:lnTo>
                <a:lnTo>
                  <a:pt x="915" y="665"/>
                </a:lnTo>
                <a:lnTo>
                  <a:pt x="934" y="661"/>
                </a:lnTo>
                <a:lnTo>
                  <a:pt x="953" y="654"/>
                </a:lnTo>
                <a:lnTo>
                  <a:pt x="970" y="647"/>
                </a:lnTo>
                <a:lnTo>
                  <a:pt x="989" y="638"/>
                </a:lnTo>
                <a:lnTo>
                  <a:pt x="981" y="636"/>
                </a:lnTo>
                <a:lnTo>
                  <a:pt x="972" y="636"/>
                </a:lnTo>
                <a:lnTo>
                  <a:pt x="957" y="638"/>
                </a:lnTo>
                <a:lnTo>
                  <a:pt x="942" y="638"/>
                </a:lnTo>
                <a:lnTo>
                  <a:pt x="928" y="638"/>
                </a:lnTo>
                <a:lnTo>
                  <a:pt x="914" y="638"/>
                </a:lnTo>
                <a:lnTo>
                  <a:pt x="900" y="638"/>
                </a:lnTo>
                <a:lnTo>
                  <a:pt x="886" y="639"/>
                </a:lnTo>
                <a:lnTo>
                  <a:pt x="877" y="641"/>
                </a:lnTo>
                <a:lnTo>
                  <a:pt x="867" y="643"/>
                </a:lnTo>
                <a:lnTo>
                  <a:pt x="858" y="645"/>
                </a:lnTo>
                <a:lnTo>
                  <a:pt x="849" y="647"/>
                </a:lnTo>
                <a:lnTo>
                  <a:pt x="845" y="648"/>
                </a:lnTo>
                <a:lnTo>
                  <a:pt x="844" y="650"/>
                </a:lnTo>
                <a:lnTo>
                  <a:pt x="843" y="650"/>
                </a:lnTo>
                <a:lnTo>
                  <a:pt x="840" y="650"/>
                </a:lnTo>
                <a:lnTo>
                  <a:pt x="839" y="650"/>
                </a:lnTo>
                <a:lnTo>
                  <a:pt x="837" y="650"/>
                </a:lnTo>
                <a:lnTo>
                  <a:pt x="823" y="655"/>
                </a:lnTo>
                <a:lnTo>
                  <a:pt x="809" y="659"/>
                </a:lnTo>
                <a:lnTo>
                  <a:pt x="795" y="664"/>
                </a:lnTo>
                <a:lnTo>
                  <a:pt x="781" y="670"/>
                </a:lnTo>
                <a:lnTo>
                  <a:pt x="777" y="671"/>
                </a:lnTo>
                <a:lnTo>
                  <a:pt x="772" y="672"/>
                </a:lnTo>
                <a:lnTo>
                  <a:pt x="769" y="675"/>
                </a:lnTo>
                <a:lnTo>
                  <a:pt x="767" y="677"/>
                </a:lnTo>
                <a:lnTo>
                  <a:pt x="765" y="678"/>
                </a:lnTo>
                <a:lnTo>
                  <a:pt x="764" y="678"/>
                </a:lnTo>
                <a:lnTo>
                  <a:pt x="762" y="678"/>
                </a:lnTo>
                <a:lnTo>
                  <a:pt x="760" y="678"/>
                </a:lnTo>
                <a:lnTo>
                  <a:pt x="757" y="679"/>
                </a:lnTo>
                <a:lnTo>
                  <a:pt x="756" y="682"/>
                </a:lnTo>
                <a:lnTo>
                  <a:pt x="754" y="683"/>
                </a:lnTo>
                <a:lnTo>
                  <a:pt x="753" y="683"/>
                </a:lnTo>
                <a:lnTo>
                  <a:pt x="739" y="686"/>
                </a:lnTo>
                <a:lnTo>
                  <a:pt x="727" y="691"/>
                </a:lnTo>
                <a:lnTo>
                  <a:pt x="726" y="687"/>
                </a:lnTo>
                <a:lnTo>
                  <a:pt x="726" y="684"/>
                </a:lnTo>
                <a:lnTo>
                  <a:pt x="726" y="682"/>
                </a:lnTo>
                <a:lnTo>
                  <a:pt x="728" y="679"/>
                </a:lnTo>
                <a:lnTo>
                  <a:pt x="735" y="675"/>
                </a:lnTo>
                <a:lnTo>
                  <a:pt x="742" y="670"/>
                </a:lnTo>
                <a:lnTo>
                  <a:pt x="753" y="662"/>
                </a:lnTo>
                <a:lnTo>
                  <a:pt x="763" y="655"/>
                </a:lnTo>
                <a:lnTo>
                  <a:pt x="772" y="648"/>
                </a:lnTo>
                <a:lnTo>
                  <a:pt x="782" y="639"/>
                </a:lnTo>
                <a:lnTo>
                  <a:pt x="790" y="631"/>
                </a:lnTo>
                <a:lnTo>
                  <a:pt x="797" y="622"/>
                </a:lnTo>
                <a:lnTo>
                  <a:pt x="794" y="622"/>
                </a:lnTo>
                <a:lnTo>
                  <a:pt x="791" y="623"/>
                </a:lnTo>
                <a:lnTo>
                  <a:pt x="794" y="622"/>
                </a:lnTo>
                <a:lnTo>
                  <a:pt x="797" y="622"/>
                </a:lnTo>
                <a:lnTo>
                  <a:pt x="799" y="620"/>
                </a:lnTo>
                <a:lnTo>
                  <a:pt x="802" y="617"/>
                </a:lnTo>
                <a:lnTo>
                  <a:pt x="804" y="617"/>
                </a:lnTo>
                <a:lnTo>
                  <a:pt x="805" y="615"/>
                </a:lnTo>
                <a:lnTo>
                  <a:pt x="805" y="615"/>
                </a:lnTo>
                <a:lnTo>
                  <a:pt x="809" y="614"/>
                </a:lnTo>
                <a:lnTo>
                  <a:pt x="812" y="611"/>
                </a:lnTo>
                <a:lnTo>
                  <a:pt x="815" y="609"/>
                </a:lnTo>
                <a:lnTo>
                  <a:pt x="817" y="606"/>
                </a:lnTo>
                <a:lnTo>
                  <a:pt x="818" y="606"/>
                </a:lnTo>
                <a:lnTo>
                  <a:pt x="818" y="606"/>
                </a:lnTo>
                <a:lnTo>
                  <a:pt x="823" y="604"/>
                </a:lnTo>
                <a:lnTo>
                  <a:pt x="827" y="602"/>
                </a:lnTo>
                <a:lnTo>
                  <a:pt x="831" y="601"/>
                </a:lnTo>
                <a:lnTo>
                  <a:pt x="833" y="601"/>
                </a:lnTo>
                <a:lnTo>
                  <a:pt x="834" y="601"/>
                </a:lnTo>
                <a:lnTo>
                  <a:pt x="836" y="601"/>
                </a:lnTo>
                <a:lnTo>
                  <a:pt x="837" y="603"/>
                </a:lnTo>
                <a:lnTo>
                  <a:pt x="838" y="606"/>
                </a:lnTo>
                <a:lnTo>
                  <a:pt x="833" y="609"/>
                </a:lnTo>
                <a:lnTo>
                  <a:pt x="829" y="613"/>
                </a:lnTo>
                <a:lnTo>
                  <a:pt x="826" y="613"/>
                </a:lnTo>
                <a:lnTo>
                  <a:pt x="825" y="614"/>
                </a:lnTo>
                <a:lnTo>
                  <a:pt x="825" y="615"/>
                </a:lnTo>
                <a:lnTo>
                  <a:pt x="824" y="617"/>
                </a:lnTo>
                <a:lnTo>
                  <a:pt x="824" y="618"/>
                </a:lnTo>
                <a:lnTo>
                  <a:pt x="823" y="618"/>
                </a:lnTo>
                <a:lnTo>
                  <a:pt x="812" y="630"/>
                </a:lnTo>
                <a:lnTo>
                  <a:pt x="802" y="642"/>
                </a:lnTo>
                <a:lnTo>
                  <a:pt x="802" y="642"/>
                </a:lnTo>
                <a:lnTo>
                  <a:pt x="802" y="644"/>
                </a:lnTo>
                <a:lnTo>
                  <a:pt x="802" y="645"/>
                </a:lnTo>
                <a:lnTo>
                  <a:pt x="804" y="645"/>
                </a:lnTo>
                <a:lnTo>
                  <a:pt x="808" y="644"/>
                </a:lnTo>
                <a:lnTo>
                  <a:pt x="812" y="643"/>
                </a:lnTo>
                <a:lnTo>
                  <a:pt x="816" y="642"/>
                </a:lnTo>
                <a:lnTo>
                  <a:pt x="818" y="638"/>
                </a:lnTo>
                <a:lnTo>
                  <a:pt x="817" y="638"/>
                </a:lnTo>
                <a:lnTo>
                  <a:pt x="816" y="637"/>
                </a:lnTo>
                <a:lnTo>
                  <a:pt x="817" y="638"/>
                </a:lnTo>
                <a:lnTo>
                  <a:pt x="818" y="638"/>
                </a:lnTo>
                <a:lnTo>
                  <a:pt x="819" y="638"/>
                </a:lnTo>
                <a:lnTo>
                  <a:pt x="822" y="637"/>
                </a:lnTo>
                <a:lnTo>
                  <a:pt x="833" y="637"/>
                </a:lnTo>
                <a:lnTo>
                  <a:pt x="845" y="636"/>
                </a:lnTo>
                <a:lnTo>
                  <a:pt x="859" y="634"/>
                </a:lnTo>
                <a:lnTo>
                  <a:pt x="873" y="634"/>
                </a:lnTo>
                <a:lnTo>
                  <a:pt x="888" y="631"/>
                </a:lnTo>
                <a:lnTo>
                  <a:pt x="902" y="629"/>
                </a:lnTo>
                <a:lnTo>
                  <a:pt x="915" y="629"/>
                </a:lnTo>
                <a:lnTo>
                  <a:pt x="929" y="629"/>
                </a:lnTo>
                <a:lnTo>
                  <a:pt x="930" y="630"/>
                </a:lnTo>
                <a:lnTo>
                  <a:pt x="932" y="630"/>
                </a:lnTo>
                <a:lnTo>
                  <a:pt x="933" y="629"/>
                </a:lnTo>
                <a:lnTo>
                  <a:pt x="934" y="627"/>
                </a:lnTo>
                <a:lnTo>
                  <a:pt x="921" y="622"/>
                </a:lnTo>
                <a:lnTo>
                  <a:pt x="907" y="617"/>
                </a:lnTo>
                <a:lnTo>
                  <a:pt x="903" y="616"/>
                </a:lnTo>
                <a:lnTo>
                  <a:pt x="899" y="617"/>
                </a:lnTo>
                <a:lnTo>
                  <a:pt x="893" y="618"/>
                </a:lnTo>
                <a:lnTo>
                  <a:pt x="888" y="618"/>
                </a:lnTo>
                <a:lnTo>
                  <a:pt x="886" y="618"/>
                </a:lnTo>
                <a:lnTo>
                  <a:pt x="885" y="617"/>
                </a:lnTo>
                <a:lnTo>
                  <a:pt x="885" y="615"/>
                </a:lnTo>
                <a:lnTo>
                  <a:pt x="887" y="615"/>
                </a:lnTo>
                <a:lnTo>
                  <a:pt x="889" y="614"/>
                </a:lnTo>
                <a:lnTo>
                  <a:pt x="891" y="613"/>
                </a:lnTo>
                <a:lnTo>
                  <a:pt x="892" y="611"/>
                </a:lnTo>
                <a:lnTo>
                  <a:pt x="892" y="610"/>
                </a:lnTo>
                <a:lnTo>
                  <a:pt x="889" y="609"/>
                </a:lnTo>
                <a:lnTo>
                  <a:pt x="887" y="607"/>
                </a:lnTo>
                <a:lnTo>
                  <a:pt x="882" y="604"/>
                </a:lnTo>
                <a:lnTo>
                  <a:pt x="879" y="602"/>
                </a:lnTo>
                <a:lnTo>
                  <a:pt x="880" y="602"/>
                </a:lnTo>
                <a:lnTo>
                  <a:pt x="880" y="601"/>
                </a:lnTo>
                <a:lnTo>
                  <a:pt x="889" y="602"/>
                </a:lnTo>
                <a:lnTo>
                  <a:pt x="900" y="602"/>
                </a:lnTo>
                <a:lnTo>
                  <a:pt x="909" y="601"/>
                </a:lnTo>
                <a:lnTo>
                  <a:pt x="919" y="601"/>
                </a:lnTo>
                <a:lnTo>
                  <a:pt x="920" y="600"/>
                </a:lnTo>
                <a:lnTo>
                  <a:pt x="922" y="599"/>
                </a:lnTo>
                <a:lnTo>
                  <a:pt x="923" y="597"/>
                </a:lnTo>
                <a:lnTo>
                  <a:pt x="923" y="596"/>
                </a:lnTo>
                <a:lnTo>
                  <a:pt x="923" y="594"/>
                </a:lnTo>
                <a:lnTo>
                  <a:pt x="922" y="592"/>
                </a:lnTo>
                <a:lnTo>
                  <a:pt x="910" y="588"/>
                </a:lnTo>
                <a:lnTo>
                  <a:pt x="899" y="586"/>
                </a:lnTo>
                <a:lnTo>
                  <a:pt x="887" y="582"/>
                </a:lnTo>
                <a:lnTo>
                  <a:pt x="875" y="581"/>
                </a:lnTo>
                <a:lnTo>
                  <a:pt x="875" y="581"/>
                </a:lnTo>
                <a:lnTo>
                  <a:pt x="875" y="581"/>
                </a:lnTo>
                <a:lnTo>
                  <a:pt x="873" y="581"/>
                </a:lnTo>
                <a:lnTo>
                  <a:pt x="871" y="581"/>
                </a:lnTo>
                <a:lnTo>
                  <a:pt x="870" y="581"/>
                </a:lnTo>
                <a:lnTo>
                  <a:pt x="870" y="580"/>
                </a:lnTo>
                <a:lnTo>
                  <a:pt x="858" y="580"/>
                </a:lnTo>
                <a:lnTo>
                  <a:pt x="847" y="580"/>
                </a:lnTo>
                <a:lnTo>
                  <a:pt x="837" y="581"/>
                </a:lnTo>
                <a:lnTo>
                  <a:pt x="826" y="583"/>
                </a:lnTo>
                <a:lnTo>
                  <a:pt x="824" y="585"/>
                </a:lnTo>
                <a:lnTo>
                  <a:pt x="823" y="587"/>
                </a:lnTo>
                <a:lnTo>
                  <a:pt x="820" y="587"/>
                </a:lnTo>
                <a:lnTo>
                  <a:pt x="817" y="588"/>
                </a:lnTo>
                <a:lnTo>
                  <a:pt x="815" y="589"/>
                </a:lnTo>
                <a:lnTo>
                  <a:pt x="813" y="592"/>
                </a:lnTo>
                <a:lnTo>
                  <a:pt x="812" y="592"/>
                </a:lnTo>
                <a:lnTo>
                  <a:pt x="811" y="592"/>
                </a:lnTo>
                <a:lnTo>
                  <a:pt x="808" y="592"/>
                </a:lnTo>
                <a:lnTo>
                  <a:pt x="805" y="593"/>
                </a:lnTo>
                <a:lnTo>
                  <a:pt x="803" y="594"/>
                </a:lnTo>
                <a:lnTo>
                  <a:pt x="802" y="596"/>
                </a:lnTo>
                <a:lnTo>
                  <a:pt x="801" y="596"/>
                </a:lnTo>
                <a:lnTo>
                  <a:pt x="801" y="596"/>
                </a:lnTo>
                <a:lnTo>
                  <a:pt x="795" y="596"/>
                </a:lnTo>
                <a:lnTo>
                  <a:pt x="790" y="599"/>
                </a:lnTo>
                <a:lnTo>
                  <a:pt x="787" y="601"/>
                </a:lnTo>
                <a:lnTo>
                  <a:pt x="783" y="606"/>
                </a:lnTo>
                <a:lnTo>
                  <a:pt x="783" y="606"/>
                </a:lnTo>
                <a:lnTo>
                  <a:pt x="783" y="606"/>
                </a:lnTo>
                <a:lnTo>
                  <a:pt x="778" y="608"/>
                </a:lnTo>
                <a:lnTo>
                  <a:pt x="775" y="611"/>
                </a:lnTo>
                <a:lnTo>
                  <a:pt x="772" y="616"/>
                </a:lnTo>
                <a:lnTo>
                  <a:pt x="770" y="621"/>
                </a:lnTo>
                <a:lnTo>
                  <a:pt x="765" y="624"/>
                </a:lnTo>
                <a:lnTo>
                  <a:pt x="761" y="628"/>
                </a:lnTo>
                <a:lnTo>
                  <a:pt x="758" y="628"/>
                </a:lnTo>
                <a:lnTo>
                  <a:pt x="757" y="629"/>
                </a:lnTo>
                <a:lnTo>
                  <a:pt x="756" y="630"/>
                </a:lnTo>
                <a:lnTo>
                  <a:pt x="756" y="632"/>
                </a:lnTo>
                <a:lnTo>
                  <a:pt x="756" y="632"/>
                </a:lnTo>
                <a:lnTo>
                  <a:pt x="756" y="632"/>
                </a:lnTo>
                <a:lnTo>
                  <a:pt x="755" y="632"/>
                </a:lnTo>
                <a:lnTo>
                  <a:pt x="754" y="632"/>
                </a:lnTo>
                <a:lnTo>
                  <a:pt x="751" y="634"/>
                </a:lnTo>
                <a:lnTo>
                  <a:pt x="750" y="636"/>
                </a:lnTo>
                <a:lnTo>
                  <a:pt x="749" y="637"/>
                </a:lnTo>
                <a:lnTo>
                  <a:pt x="747" y="638"/>
                </a:lnTo>
                <a:lnTo>
                  <a:pt x="744" y="638"/>
                </a:lnTo>
                <a:lnTo>
                  <a:pt x="742" y="638"/>
                </a:lnTo>
                <a:lnTo>
                  <a:pt x="741" y="638"/>
                </a:lnTo>
                <a:lnTo>
                  <a:pt x="740" y="637"/>
                </a:lnTo>
                <a:lnTo>
                  <a:pt x="740" y="636"/>
                </a:lnTo>
                <a:lnTo>
                  <a:pt x="741" y="634"/>
                </a:lnTo>
                <a:lnTo>
                  <a:pt x="742" y="630"/>
                </a:lnTo>
                <a:lnTo>
                  <a:pt x="743" y="627"/>
                </a:lnTo>
                <a:lnTo>
                  <a:pt x="747" y="624"/>
                </a:lnTo>
                <a:lnTo>
                  <a:pt x="750" y="622"/>
                </a:lnTo>
                <a:lnTo>
                  <a:pt x="751" y="621"/>
                </a:lnTo>
                <a:lnTo>
                  <a:pt x="753" y="620"/>
                </a:lnTo>
                <a:lnTo>
                  <a:pt x="753" y="617"/>
                </a:lnTo>
                <a:lnTo>
                  <a:pt x="754" y="616"/>
                </a:lnTo>
                <a:lnTo>
                  <a:pt x="754" y="616"/>
                </a:lnTo>
                <a:lnTo>
                  <a:pt x="755" y="616"/>
                </a:lnTo>
                <a:lnTo>
                  <a:pt x="756" y="615"/>
                </a:lnTo>
                <a:lnTo>
                  <a:pt x="756" y="614"/>
                </a:lnTo>
                <a:lnTo>
                  <a:pt x="756" y="613"/>
                </a:lnTo>
                <a:lnTo>
                  <a:pt x="757" y="611"/>
                </a:lnTo>
                <a:lnTo>
                  <a:pt x="757" y="610"/>
                </a:lnTo>
                <a:lnTo>
                  <a:pt x="760" y="602"/>
                </a:lnTo>
                <a:lnTo>
                  <a:pt x="761" y="594"/>
                </a:lnTo>
                <a:lnTo>
                  <a:pt x="761" y="587"/>
                </a:lnTo>
                <a:lnTo>
                  <a:pt x="761" y="579"/>
                </a:lnTo>
                <a:lnTo>
                  <a:pt x="757" y="574"/>
                </a:lnTo>
                <a:lnTo>
                  <a:pt x="755" y="569"/>
                </a:lnTo>
                <a:lnTo>
                  <a:pt x="753" y="564"/>
                </a:lnTo>
                <a:lnTo>
                  <a:pt x="751" y="558"/>
                </a:lnTo>
                <a:lnTo>
                  <a:pt x="753" y="564"/>
                </a:lnTo>
                <a:lnTo>
                  <a:pt x="755" y="569"/>
                </a:lnTo>
                <a:lnTo>
                  <a:pt x="757" y="574"/>
                </a:lnTo>
                <a:lnTo>
                  <a:pt x="761" y="579"/>
                </a:lnTo>
                <a:lnTo>
                  <a:pt x="761" y="587"/>
                </a:lnTo>
                <a:lnTo>
                  <a:pt x="761" y="594"/>
                </a:lnTo>
                <a:lnTo>
                  <a:pt x="760" y="602"/>
                </a:lnTo>
                <a:lnTo>
                  <a:pt x="757" y="610"/>
                </a:lnTo>
                <a:lnTo>
                  <a:pt x="761" y="607"/>
                </a:lnTo>
                <a:lnTo>
                  <a:pt x="762" y="603"/>
                </a:lnTo>
                <a:lnTo>
                  <a:pt x="763" y="600"/>
                </a:lnTo>
                <a:lnTo>
                  <a:pt x="764" y="596"/>
                </a:lnTo>
                <a:lnTo>
                  <a:pt x="764" y="588"/>
                </a:lnTo>
                <a:lnTo>
                  <a:pt x="765" y="579"/>
                </a:lnTo>
                <a:lnTo>
                  <a:pt x="765" y="569"/>
                </a:lnTo>
                <a:lnTo>
                  <a:pt x="765" y="561"/>
                </a:lnTo>
                <a:lnTo>
                  <a:pt x="769" y="567"/>
                </a:lnTo>
                <a:lnTo>
                  <a:pt x="775" y="573"/>
                </a:lnTo>
                <a:lnTo>
                  <a:pt x="775" y="580"/>
                </a:lnTo>
                <a:lnTo>
                  <a:pt x="775" y="587"/>
                </a:lnTo>
                <a:lnTo>
                  <a:pt x="775" y="589"/>
                </a:lnTo>
                <a:lnTo>
                  <a:pt x="776" y="590"/>
                </a:lnTo>
                <a:lnTo>
                  <a:pt x="777" y="592"/>
                </a:lnTo>
                <a:lnTo>
                  <a:pt x="780" y="592"/>
                </a:lnTo>
                <a:lnTo>
                  <a:pt x="780" y="595"/>
                </a:lnTo>
                <a:lnTo>
                  <a:pt x="781" y="596"/>
                </a:lnTo>
                <a:lnTo>
                  <a:pt x="783" y="596"/>
                </a:lnTo>
                <a:lnTo>
                  <a:pt x="785" y="594"/>
                </a:lnTo>
                <a:lnTo>
                  <a:pt x="789" y="589"/>
                </a:lnTo>
                <a:lnTo>
                  <a:pt x="795" y="586"/>
                </a:lnTo>
                <a:lnTo>
                  <a:pt x="799" y="583"/>
                </a:lnTo>
                <a:lnTo>
                  <a:pt x="805" y="581"/>
                </a:lnTo>
                <a:lnTo>
                  <a:pt x="816" y="578"/>
                </a:lnTo>
                <a:lnTo>
                  <a:pt x="827" y="575"/>
                </a:lnTo>
                <a:lnTo>
                  <a:pt x="841" y="573"/>
                </a:lnTo>
                <a:lnTo>
                  <a:pt x="856" y="572"/>
                </a:lnTo>
                <a:lnTo>
                  <a:pt x="863" y="573"/>
                </a:lnTo>
                <a:lnTo>
                  <a:pt x="870" y="573"/>
                </a:lnTo>
                <a:lnTo>
                  <a:pt x="878" y="575"/>
                </a:lnTo>
                <a:lnTo>
                  <a:pt x="885" y="578"/>
                </a:lnTo>
                <a:lnTo>
                  <a:pt x="891" y="579"/>
                </a:lnTo>
                <a:lnTo>
                  <a:pt x="899" y="580"/>
                </a:lnTo>
                <a:lnTo>
                  <a:pt x="896" y="576"/>
                </a:lnTo>
                <a:lnTo>
                  <a:pt x="894" y="574"/>
                </a:lnTo>
                <a:lnTo>
                  <a:pt x="887" y="568"/>
                </a:lnTo>
                <a:lnTo>
                  <a:pt x="880" y="565"/>
                </a:lnTo>
                <a:lnTo>
                  <a:pt x="880" y="565"/>
                </a:lnTo>
                <a:lnTo>
                  <a:pt x="879" y="565"/>
                </a:lnTo>
                <a:lnTo>
                  <a:pt x="877" y="561"/>
                </a:lnTo>
                <a:lnTo>
                  <a:pt x="872" y="560"/>
                </a:lnTo>
                <a:lnTo>
                  <a:pt x="872" y="560"/>
                </a:lnTo>
                <a:lnTo>
                  <a:pt x="871" y="560"/>
                </a:lnTo>
                <a:lnTo>
                  <a:pt x="873" y="562"/>
                </a:lnTo>
                <a:lnTo>
                  <a:pt x="875" y="564"/>
                </a:lnTo>
                <a:lnTo>
                  <a:pt x="873" y="562"/>
                </a:lnTo>
                <a:lnTo>
                  <a:pt x="871" y="560"/>
                </a:lnTo>
                <a:lnTo>
                  <a:pt x="870" y="560"/>
                </a:lnTo>
                <a:lnTo>
                  <a:pt x="870" y="559"/>
                </a:lnTo>
                <a:lnTo>
                  <a:pt x="870" y="559"/>
                </a:lnTo>
                <a:lnTo>
                  <a:pt x="868" y="559"/>
                </a:lnTo>
                <a:lnTo>
                  <a:pt x="861" y="557"/>
                </a:lnTo>
                <a:lnTo>
                  <a:pt x="854" y="554"/>
                </a:lnTo>
                <a:lnTo>
                  <a:pt x="851" y="552"/>
                </a:lnTo>
                <a:lnTo>
                  <a:pt x="846" y="551"/>
                </a:lnTo>
                <a:lnTo>
                  <a:pt x="844" y="551"/>
                </a:lnTo>
                <a:lnTo>
                  <a:pt x="841" y="551"/>
                </a:lnTo>
                <a:lnTo>
                  <a:pt x="839" y="548"/>
                </a:lnTo>
                <a:lnTo>
                  <a:pt x="840" y="546"/>
                </a:lnTo>
                <a:lnTo>
                  <a:pt x="838" y="544"/>
                </a:lnTo>
                <a:lnTo>
                  <a:pt x="834" y="543"/>
                </a:lnTo>
                <a:lnTo>
                  <a:pt x="825" y="540"/>
                </a:lnTo>
                <a:lnTo>
                  <a:pt x="817" y="538"/>
                </a:lnTo>
                <a:lnTo>
                  <a:pt x="812" y="537"/>
                </a:lnTo>
                <a:lnTo>
                  <a:pt x="806" y="536"/>
                </a:lnTo>
                <a:lnTo>
                  <a:pt x="797" y="534"/>
                </a:lnTo>
                <a:lnTo>
                  <a:pt x="788" y="532"/>
                </a:lnTo>
                <a:lnTo>
                  <a:pt x="777" y="531"/>
                </a:lnTo>
                <a:lnTo>
                  <a:pt x="768" y="529"/>
                </a:lnTo>
                <a:lnTo>
                  <a:pt x="764" y="526"/>
                </a:lnTo>
                <a:lnTo>
                  <a:pt x="760" y="525"/>
                </a:lnTo>
                <a:lnTo>
                  <a:pt x="756" y="524"/>
                </a:lnTo>
                <a:lnTo>
                  <a:pt x="751" y="524"/>
                </a:lnTo>
                <a:lnTo>
                  <a:pt x="736" y="518"/>
                </a:lnTo>
                <a:lnTo>
                  <a:pt x="721" y="513"/>
                </a:lnTo>
                <a:lnTo>
                  <a:pt x="712" y="510"/>
                </a:lnTo>
                <a:lnTo>
                  <a:pt x="704" y="505"/>
                </a:lnTo>
                <a:lnTo>
                  <a:pt x="694" y="501"/>
                </a:lnTo>
                <a:lnTo>
                  <a:pt x="685" y="497"/>
                </a:lnTo>
                <a:lnTo>
                  <a:pt x="681" y="495"/>
                </a:lnTo>
                <a:lnTo>
                  <a:pt x="678" y="492"/>
                </a:lnTo>
                <a:lnTo>
                  <a:pt x="673" y="491"/>
                </a:lnTo>
                <a:lnTo>
                  <a:pt x="670" y="491"/>
                </a:lnTo>
                <a:lnTo>
                  <a:pt x="667" y="495"/>
                </a:lnTo>
                <a:lnTo>
                  <a:pt x="666" y="496"/>
                </a:lnTo>
                <a:lnTo>
                  <a:pt x="664" y="496"/>
                </a:lnTo>
                <a:lnTo>
                  <a:pt x="660" y="494"/>
                </a:lnTo>
                <a:lnTo>
                  <a:pt x="659" y="492"/>
                </a:lnTo>
                <a:lnTo>
                  <a:pt x="657" y="492"/>
                </a:lnTo>
                <a:lnTo>
                  <a:pt x="656" y="492"/>
                </a:lnTo>
                <a:lnTo>
                  <a:pt x="654" y="492"/>
                </a:lnTo>
                <a:lnTo>
                  <a:pt x="653" y="494"/>
                </a:lnTo>
                <a:lnTo>
                  <a:pt x="652" y="495"/>
                </a:lnTo>
                <a:lnTo>
                  <a:pt x="644" y="496"/>
                </a:lnTo>
                <a:lnTo>
                  <a:pt x="636" y="497"/>
                </a:lnTo>
                <a:lnTo>
                  <a:pt x="633" y="498"/>
                </a:lnTo>
                <a:lnTo>
                  <a:pt x="633" y="499"/>
                </a:lnTo>
                <a:lnTo>
                  <a:pt x="635" y="501"/>
                </a:lnTo>
                <a:lnTo>
                  <a:pt x="635" y="502"/>
                </a:lnTo>
                <a:lnTo>
                  <a:pt x="635" y="516"/>
                </a:lnTo>
                <a:lnTo>
                  <a:pt x="635" y="530"/>
                </a:lnTo>
                <a:lnTo>
                  <a:pt x="635" y="531"/>
                </a:lnTo>
                <a:lnTo>
                  <a:pt x="633" y="533"/>
                </a:lnTo>
                <a:lnTo>
                  <a:pt x="630" y="537"/>
                </a:lnTo>
                <a:lnTo>
                  <a:pt x="627" y="541"/>
                </a:lnTo>
                <a:lnTo>
                  <a:pt x="626" y="547"/>
                </a:lnTo>
                <a:lnTo>
                  <a:pt x="625" y="553"/>
                </a:lnTo>
                <a:lnTo>
                  <a:pt x="625" y="553"/>
                </a:lnTo>
                <a:lnTo>
                  <a:pt x="625" y="554"/>
                </a:lnTo>
                <a:lnTo>
                  <a:pt x="623" y="554"/>
                </a:lnTo>
                <a:lnTo>
                  <a:pt x="622" y="557"/>
                </a:lnTo>
                <a:lnTo>
                  <a:pt x="617" y="566"/>
                </a:lnTo>
                <a:lnTo>
                  <a:pt x="611" y="574"/>
                </a:lnTo>
                <a:lnTo>
                  <a:pt x="609" y="574"/>
                </a:lnTo>
                <a:lnTo>
                  <a:pt x="605" y="575"/>
                </a:lnTo>
                <a:lnTo>
                  <a:pt x="604" y="578"/>
                </a:lnTo>
                <a:lnTo>
                  <a:pt x="603" y="581"/>
                </a:lnTo>
                <a:lnTo>
                  <a:pt x="604" y="581"/>
                </a:lnTo>
                <a:lnTo>
                  <a:pt x="605" y="581"/>
                </a:lnTo>
                <a:lnTo>
                  <a:pt x="604" y="581"/>
                </a:lnTo>
                <a:lnTo>
                  <a:pt x="603" y="581"/>
                </a:lnTo>
                <a:lnTo>
                  <a:pt x="601" y="582"/>
                </a:lnTo>
                <a:lnTo>
                  <a:pt x="599" y="582"/>
                </a:lnTo>
                <a:lnTo>
                  <a:pt x="598" y="583"/>
                </a:lnTo>
                <a:lnTo>
                  <a:pt x="596" y="583"/>
                </a:lnTo>
                <a:lnTo>
                  <a:pt x="596" y="586"/>
                </a:lnTo>
                <a:lnTo>
                  <a:pt x="595" y="587"/>
                </a:lnTo>
                <a:lnTo>
                  <a:pt x="595" y="587"/>
                </a:lnTo>
                <a:lnTo>
                  <a:pt x="594" y="587"/>
                </a:lnTo>
                <a:lnTo>
                  <a:pt x="590" y="588"/>
                </a:lnTo>
                <a:lnTo>
                  <a:pt x="585" y="589"/>
                </a:lnTo>
                <a:lnTo>
                  <a:pt x="583" y="588"/>
                </a:lnTo>
                <a:lnTo>
                  <a:pt x="582" y="587"/>
                </a:lnTo>
                <a:lnTo>
                  <a:pt x="582" y="586"/>
                </a:lnTo>
                <a:lnTo>
                  <a:pt x="582" y="583"/>
                </a:lnTo>
                <a:lnTo>
                  <a:pt x="585" y="578"/>
                </a:lnTo>
                <a:lnTo>
                  <a:pt x="590" y="574"/>
                </a:lnTo>
                <a:lnTo>
                  <a:pt x="595" y="573"/>
                </a:lnTo>
                <a:lnTo>
                  <a:pt x="598" y="571"/>
                </a:lnTo>
                <a:lnTo>
                  <a:pt x="601" y="567"/>
                </a:lnTo>
                <a:lnTo>
                  <a:pt x="603" y="565"/>
                </a:lnTo>
                <a:lnTo>
                  <a:pt x="605" y="558"/>
                </a:lnTo>
                <a:lnTo>
                  <a:pt x="609" y="550"/>
                </a:lnTo>
                <a:lnTo>
                  <a:pt x="611" y="539"/>
                </a:lnTo>
                <a:lnTo>
                  <a:pt x="617" y="529"/>
                </a:lnTo>
                <a:lnTo>
                  <a:pt x="619" y="524"/>
                </a:lnTo>
                <a:lnTo>
                  <a:pt x="622" y="518"/>
                </a:lnTo>
                <a:lnTo>
                  <a:pt x="623" y="512"/>
                </a:lnTo>
                <a:lnTo>
                  <a:pt x="623" y="506"/>
                </a:lnTo>
                <a:lnTo>
                  <a:pt x="624" y="505"/>
                </a:lnTo>
                <a:lnTo>
                  <a:pt x="625" y="503"/>
                </a:lnTo>
                <a:lnTo>
                  <a:pt x="623" y="502"/>
                </a:lnTo>
                <a:lnTo>
                  <a:pt x="622" y="502"/>
                </a:lnTo>
                <a:lnTo>
                  <a:pt x="608" y="502"/>
                </a:lnTo>
                <a:lnTo>
                  <a:pt x="595" y="502"/>
                </a:lnTo>
                <a:lnTo>
                  <a:pt x="594" y="502"/>
                </a:lnTo>
                <a:lnTo>
                  <a:pt x="591" y="503"/>
                </a:lnTo>
                <a:lnTo>
                  <a:pt x="590" y="504"/>
                </a:lnTo>
                <a:lnTo>
                  <a:pt x="590" y="505"/>
                </a:lnTo>
                <a:lnTo>
                  <a:pt x="589" y="519"/>
                </a:lnTo>
                <a:lnTo>
                  <a:pt x="589" y="533"/>
                </a:lnTo>
                <a:lnTo>
                  <a:pt x="589" y="538"/>
                </a:lnTo>
                <a:lnTo>
                  <a:pt x="588" y="541"/>
                </a:lnTo>
                <a:lnTo>
                  <a:pt x="583" y="532"/>
                </a:lnTo>
                <a:lnTo>
                  <a:pt x="580" y="522"/>
                </a:lnTo>
                <a:lnTo>
                  <a:pt x="580" y="520"/>
                </a:lnTo>
                <a:lnTo>
                  <a:pt x="578" y="519"/>
                </a:lnTo>
                <a:lnTo>
                  <a:pt x="577" y="518"/>
                </a:lnTo>
                <a:lnTo>
                  <a:pt x="576" y="518"/>
                </a:lnTo>
                <a:lnTo>
                  <a:pt x="574" y="513"/>
                </a:lnTo>
                <a:lnTo>
                  <a:pt x="574" y="510"/>
                </a:lnTo>
                <a:lnTo>
                  <a:pt x="575" y="505"/>
                </a:lnTo>
                <a:lnTo>
                  <a:pt x="577" y="502"/>
                </a:lnTo>
                <a:lnTo>
                  <a:pt x="580" y="499"/>
                </a:lnTo>
                <a:lnTo>
                  <a:pt x="578" y="497"/>
                </a:lnTo>
                <a:lnTo>
                  <a:pt x="576" y="496"/>
                </a:lnTo>
                <a:lnTo>
                  <a:pt x="574" y="497"/>
                </a:lnTo>
                <a:lnTo>
                  <a:pt x="571" y="498"/>
                </a:lnTo>
                <a:lnTo>
                  <a:pt x="569" y="499"/>
                </a:lnTo>
                <a:lnTo>
                  <a:pt x="568" y="501"/>
                </a:lnTo>
                <a:lnTo>
                  <a:pt x="567" y="502"/>
                </a:lnTo>
                <a:lnTo>
                  <a:pt x="563" y="503"/>
                </a:lnTo>
                <a:lnTo>
                  <a:pt x="562" y="506"/>
                </a:lnTo>
                <a:lnTo>
                  <a:pt x="560" y="513"/>
                </a:lnTo>
                <a:lnTo>
                  <a:pt x="559" y="520"/>
                </a:lnTo>
                <a:lnTo>
                  <a:pt x="557" y="527"/>
                </a:lnTo>
                <a:lnTo>
                  <a:pt x="557" y="534"/>
                </a:lnTo>
                <a:lnTo>
                  <a:pt x="555" y="537"/>
                </a:lnTo>
                <a:lnTo>
                  <a:pt x="554" y="539"/>
                </a:lnTo>
                <a:lnTo>
                  <a:pt x="555" y="541"/>
                </a:lnTo>
                <a:lnTo>
                  <a:pt x="557" y="544"/>
                </a:lnTo>
                <a:lnTo>
                  <a:pt x="557" y="546"/>
                </a:lnTo>
                <a:lnTo>
                  <a:pt x="557" y="547"/>
                </a:lnTo>
                <a:lnTo>
                  <a:pt x="557" y="547"/>
                </a:lnTo>
                <a:lnTo>
                  <a:pt x="555" y="551"/>
                </a:lnTo>
                <a:lnTo>
                  <a:pt x="554" y="554"/>
                </a:lnTo>
                <a:lnTo>
                  <a:pt x="554" y="558"/>
                </a:lnTo>
                <a:lnTo>
                  <a:pt x="555" y="562"/>
                </a:lnTo>
                <a:lnTo>
                  <a:pt x="556" y="565"/>
                </a:lnTo>
                <a:lnTo>
                  <a:pt x="556" y="567"/>
                </a:lnTo>
                <a:lnTo>
                  <a:pt x="555" y="569"/>
                </a:lnTo>
                <a:lnTo>
                  <a:pt x="551" y="569"/>
                </a:lnTo>
                <a:lnTo>
                  <a:pt x="550" y="569"/>
                </a:lnTo>
                <a:lnTo>
                  <a:pt x="549" y="571"/>
                </a:lnTo>
                <a:lnTo>
                  <a:pt x="548" y="572"/>
                </a:lnTo>
                <a:lnTo>
                  <a:pt x="548" y="574"/>
                </a:lnTo>
                <a:lnTo>
                  <a:pt x="546" y="574"/>
                </a:lnTo>
                <a:lnTo>
                  <a:pt x="544" y="574"/>
                </a:lnTo>
                <a:lnTo>
                  <a:pt x="543" y="576"/>
                </a:lnTo>
                <a:lnTo>
                  <a:pt x="543" y="579"/>
                </a:lnTo>
                <a:lnTo>
                  <a:pt x="539" y="587"/>
                </a:lnTo>
                <a:lnTo>
                  <a:pt x="534" y="596"/>
                </a:lnTo>
                <a:lnTo>
                  <a:pt x="530" y="599"/>
                </a:lnTo>
                <a:lnTo>
                  <a:pt x="527" y="601"/>
                </a:lnTo>
                <a:lnTo>
                  <a:pt x="526" y="602"/>
                </a:lnTo>
                <a:lnTo>
                  <a:pt x="523" y="603"/>
                </a:lnTo>
                <a:lnTo>
                  <a:pt x="521" y="603"/>
                </a:lnTo>
                <a:lnTo>
                  <a:pt x="520" y="601"/>
                </a:lnTo>
                <a:lnTo>
                  <a:pt x="518" y="601"/>
                </a:lnTo>
                <a:lnTo>
                  <a:pt x="516" y="601"/>
                </a:lnTo>
                <a:lnTo>
                  <a:pt x="516" y="602"/>
                </a:lnTo>
                <a:lnTo>
                  <a:pt x="516" y="603"/>
                </a:lnTo>
                <a:lnTo>
                  <a:pt x="516" y="602"/>
                </a:lnTo>
                <a:lnTo>
                  <a:pt x="516" y="601"/>
                </a:lnTo>
                <a:lnTo>
                  <a:pt x="518" y="601"/>
                </a:lnTo>
                <a:lnTo>
                  <a:pt x="520" y="601"/>
                </a:lnTo>
                <a:lnTo>
                  <a:pt x="520" y="601"/>
                </a:lnTo>
                <a:lnTo>
                  <a:pt x="521" y="601"/>
                </a:lnTo>
                <a:lnTo>
                  <a:pt x="523" y="600"/>
                </a:lnTo>
                <a:lnTo>
                  <a:pt x="523" y="599"/>
                </a:lnTo>
                <a:lnTo>
                  <a:pt x="525" y="596"/>
                </a:lnTo>
                <a:lnTo>
                  <a:pt x="525" y="596"/>
                </a:lnTo>
                <a:lnTo>
                  <a:pt x="525" y="595"/>
                </a:lnTo>
                <a:lnTo>
                  <a:pt x="526" y="595"/>
                </a:lnTo>
                <a:lnTo>
                  <a:pt x="526" y="595"/>
                </a:lnTo>
                <a:lnTo>
                  <a:pt x="528" y="594"/>
                </a:lnTo>
                <a:lnTo>
                  <a:pt x="528" y="592"/>
                </a:lnTo>
                <a:lnTo>
                  <a:pt x="534" y="582"/>
                </a:lnTo>
                <a:lnTo>
                  <a:pt x="539" y="573"/>
                </a:lnTo>
                <a:lnTo>
                  <a:pt x="542" y="564"/>
                </a:lnTo>
                <a:lnTo>
                  <a:pt x="546" y="553"/>
                </a:lnTo>
                <a:lnTo>
                  <a:pt x="548" y="541"/>
                </a:lnTo>
                <a:lnTo>
                  <a:pt x="550" y="530"/>
                </a:lnTo>
                <a:lnTo>
                  <a:pt x="554" y="518"/>
                </a:lnTo>
                <a:lnTo>
                  <a:pt x="557" y="506"/>
                </a:lnTo>
                <a:lnTo>
                  <a:pt x="559" y="503"/>
                </a:lnTo>
                <a:lnTo>
                  <a:pt x="560" y="499"/>
                </a:lnTo>
                <a:lnTo>
                  <a:pt x="562" y="498"/>
                </a:lnTo>
                <a:lnTo>
                  <a:pt x="566" y="497"/>
                </a:lnTo>
                <a:lnTo>
                  <a:pt x="569" y="496"/>
                </a:lnTo>
                <a:lnTo>
                  <a:pt x="571" y="495"/>
                </a:lnTo>
                <a:lnTo>
                  <a:pt x="573" y="491"/>
                </a:lnTo>
                <a:lnTo>
                  <a:pt x="573" y="488"/>
                </a:lnTo>
                <a:lnTo>
                  <a:pt x="571" y="488"/>
                </a:lnTo>
                <a:lnTo>
                  <a:pt x="571" y="488"/>
                </a:lnTo>
                <a:lnTo>
                  <a:pt x="567" y="485"/>
                </a:lnTo>
                <a:lnTo>
                  <a:pt x="563" y="485"/>
                </a:lnTo>
                <a:lnTo>
                  <a:pt x="559" y="485"/>
                </a:lnTo>
                <a:lnTo>
                  <a:pt x="555" y="487"/>
                </a:lnTo>
                <a:lnTo>
                  <a:pt x="551" y="489"/>
                </a:lnTo>
                <a:lnTo>
                  <a:pt x="549" y="491"/>
                </a:lnTo>
                <a:lnTo>
                  <a:pt x="547" y="494"/>
                </a:lnTo>
                <a:lnTo>
                  <a:pt x="546" y="497"/>
                </a:lnTo>
                <a:lnTo>
                  <a:pt x="544" y="504"/>
                </a:lnTo>
                <a:lnTo>
                  <a:pt x="544" y="511"/>
                </a:lnTo>
                <a:lnTo>
                  <a:pt x="543" y="513"/>
                </a:lnTo>
                <a:lnTo>
                  <a:pt x="542" y="515"/>
                </a:lnTo>
                <a:lnTo>
                  <a:pt x="541" y="516"/>
                </a:lnTo>
                <a:lnTo>
                  <a:pt x="540" y="518"/>
                </a:lnTo>
                <a:lnTo>
                  <a:pt x="540" y="519"/>
                </a:lnTo>
                <a:lnTo>
                  <a:pt x="540" y="522"/>
                </a:lnTo>
                <a:lnTo>
                  <a:pt x="539" y="525"/>
                </a:lnTo>
                <a:lnTo>
                  <a:pt x="539" y="530"/>
                </a:lnTo>
                <a:lnTo>
                  <a:pt x="536" y="531"/>
                </a:lnTo>
                <a:lnTo>
                  <a:pt x="535" y="533"/>
                </a:lnTo>
                <a:lnTo>
                  <a:pt x="535" y="537"/>
                </a:lnTo>
                <a:lnTo>
                  <a:pt x="535" y="539"/>
                </a:lnTo>
                <a:lnTo>
                  <a:pt x="528" y="552"/>
                </a:lnTo>
                <a:lnTo>
                  <a:pt x="521" y="565"/>
                </a:lnTo>
                <a:lnTo>
                  <a:pt x="518" y="571"/>
                </a:lnTo>
                <a:lnTo>
                  <a:pt x="514" y="576"/>
                </a:lnTo>
                <a:lnTo>
                  <a:pt x="509" y="582"/>
                </a:lnTo>
                <a:lnTo>
                  <a:pt x="504" y="588"/>
                </a:lnTo>
                <a:lnTo>
                  <a:pt x="509" y="586"/>
                </a:lnTo>
                <a:lnTo>
                  <a:pt x="515" y="583"/>
                </a:lnTo>
                <a:lnTo>
                  <a:pt x="512" y="588"/>
                </a:lnTo>
                <a:lnTo>
                  <a:pt x="508" y="592"/>
                </a:lnTo>
                <a:lnTo>
                  <a:pt x="504" y="594"/>
                </a:lnTo>
                <a:lnTo>
                  <a:pt x="502" y="597"/>
                </a:lnTo>
                <a:lnTo>
                  <a:pt x="500" y="602"/>
                </a:lnTo>
                <a:lnTo>
                  <a:pt x="499" y="606"/>
                </a:lnTo>
                <a:lnTo>
                  <a:pt x="499" y="606"/>
                </a:lnTo>
                <a:lnTo>
                  <a:pt x="499" y="606"/>
                </a:lnTo>
                <a:lnTo>
                  <a:pt x="498" y="607"/>
                </a:lnTo>
                <a:lnTo>
                  <a:pt x="497" y="608"/>
                </a:lnTo>
                <a:lnTo>
                  <a:pt x="492" y="615"/>
                </a:lnTo>
                <a:lnTo>
                  <a:pt x="487" y="622"/>
                </a:lnTo>
                <a:lnTo>
                  <a:pt x="484" y="624"/>
                </a:lnTo>
                <a:lnTo>
                  <a:pt x="481" y="627"/>
                </a:lnTo>
                <a:lnTo>
                  <a:pt x="477" y="629"/>
                </a:lnTo>
                <a:lnTo>
                  <a:pt x="473" y="630"/>
                </a:lnTo>
                <a:lnTo>
                  <a:pt x="472" y="631"/>
                </a:lnTo>
                <a:lnTo>
                  <a:pt x="472" y="632"/>
                </a:lnTo>
                <a:lnTo>
                  <a:pt x="471" y="634"/>
                </a:lnTo>
                <a:lnTo>
                  <a:pt x="471" y="634"/>
                </a:lnTo>
                <a:lnTo>
                  <a:pt x="471" y="635"/>
                </a:lnTo>
                <a:lnTo>
                  <a:pt x="470" y="636"/>
                </a:lnTo>
                <a:lnTo>
                  <a:pt x="470" y="636"/>
                </a:lnTo>
                <a:lnTo>
                  <a:pt x="470" y="637"/>
                </a:lnTo>
                <a:lnTo>
                  <a:pt x="467" y="638"/>
                </a:lnTo>
                <a:lnTo>
                  <a:pt x="467" y="641"/>
                </a:lnTo>
                <a:lnTo>
                  <a:pt x="467" y="644"/>
                </a:lnTo>
                <a:lnTo>
                  <a:pt x="467" y="649"/>
                </a:lnTo>
                <a:lnTo>
                  <a:pt x="467" y="651"/>
                </a:lnTo>
                <a:lnTo>
                  <a:pt x="468" y="652"/>
                </a:lnTo>
                <a:lnTo>
                  <a:pt x="471" y="656"/>
                </a:lnTo>
                <a:lnTo>
                  <a:pt x="471" y="657"/>
                </a:lnTo>
                <a:lnTo>
                  <a:pt x="470" y="659"/>
                </a:lnTo>
                <a:lnTo>
                  <a:pt x="467" y="661"/>
                </a:lnTo>
                <a:lnTo>
                  <a:pt x="458" y="664"/>
                </a:lnTo>
                <a:lnTo>
                  <a:pt x="449" y="666"/>
                </a:lnTo>
                <a:lnTo>
                  <a:pt x="446" y="668"/>
                </a:lnTo>
                <a:lnTo>
                  <a:pt x="444" y="668"/>
                </a:lnTo>
                <a:lnTo>
                  <a:pt x="435" y="666"/>
                </a:lnTo>
                <a:lnTo>
                  <a:pt x="426" y="669"/>
                </a:lnTo>
                <a:lnTo>
                  <a:pt x="422" y="669"/>
                </a:lnTo>
                <a:lnTo>
                  <a:pt x="417" y="669"/>
                </a:lnTo>
                <a:lnTo>
                  <a:pt x="412" y="669"/>
                </a:lnTo>
                <a:lnTo>
                  <a:pt x="408" y="669"/>
                </a:lnTo>
                <a:lnTo>
                  <a:pt x="412" y="664"/>
                </a:lnTo>
                <a:lnTo>
                  <a:pt x="416" y="659"/>
                </a:lnTo>
                <a:lnTo>
                  <a:pt x="416" y="659"/>
                </a:lnTo>
                <a:lnTo>
                  <a:pt x="417" y="659"/>
                </a:lnTo>
                <a:lnTo>
                  <a:pt x="424" y="656"/>
                </a:lnTo>
                <a:lnTo>
                  <a:pt x="431" y="651"/>
                </a:lnTo>
                <a:lnTo>
                  <a:pt x="438" y="647"/>
                </a:lnTo>
                <a:lnTo>
                  <a:pt x="444" y="641"/>
                </a:lnTo>
                <a:lnTo>
                  <a:pt x="447" y="637"/>
                </a:lnTo>
                <a:lnTo>
                  <a:pt x="449" y="632"/>
                </a:lnTo>
                <a:lnTo>
                  <a:pt x="449" y="632"/>
                </a:lnTo>
                <a:lnTo>
                  <a:pt x="451" y="632"/>
                </a:lnTo>
                <a:lnTo>
                  <a:pt x="452" y="631"/>
                </a:lnTo>
                <a:lnTo>
                  <a:pt x="453" y="630"/>
                </a:lnTo>
                <a:lnTo>
                  <a:pt x="453" y="628"/>
                </a:lnTo>
                <a:lnTo>
                  <a:pt x="453" y="628"/>
                </a:lnTo>
                <a:lnTo>
                  <a:pt x="456" y="627"/>
                </a:lnTo>
                <a:lnTo>
                  <a:pt x="457" y="624"/>
                </a:lnTo>
                <a:lnTo>
                  <a:pt x="457" y="624"/>
                </a:lnTo>
                <a:lnTo>
                  <a:pt x="458" y="623"/>
                </a:lnTo>
                <a:lnTo>
                  <a:pt x="458" y="621"/>
                </a:lnTo>
                <a:lnTo>
                  <a:pt x="459" y="617"/>
                </a:lnTo>
                <a:lnTo>
                  <a:pt x="458" y="621"/>
                </a:lnTo>
                <a:lnTo>
                  <a:pt x="458" y="623"/>
                </a:lnTo>
                <a:lnTo>
                  <a:pt x="460" y="622"/>
                </a:lnTo>
                <a:lnTo>
                  <a:pt x="463" y="621"/>
                </a:lnTo>
                <a:lnTo>
                  <a:pt x="472" y="606"/>
                </a:lnTo>
                <a:lnTo>
                  <a:pt x="480" y="592"/>
                </a:lnTo>
                <a:lnTo>
                  <a:pt x="486" y="585"/>
                </a:lnTo>
                <a:lnTo>
                  <a:pt x="490" y="579"/>
                </a:lnTo>
                <a:lnTo>
                  <a:pt x="491" y="576"/>
                </a:lnTo>
                <a:lnTo>
                  <a:pt x="491" y="574"/>
                </a:lnTo>
                <a:lnTo>
                  <a:pt x="488" y="574"/>
                </a:lnTo>
                <a:lnTo>
                  <a:pt x="485" y="574"/>
                </a:lnTo>
                <a:lnTo>
                  <a:pt x="485" y="571"/>
                </a:lnTo>
                <a:lnTo>
                  <a:pt x="485" y="567"/>
                </a:lnTo>
                <a:lnTo>
                  <a:pt x="485" y="571"/>
                </a:lnTo>
                <a:lnTo>
                  <a:pt x="485" y="574"/>
                </a:lnTo>
                <a:lnTo>
                  <a:pt x="488" y="574"/>
                </a:lnTo>
                <a:lnTo>
                  <a:pt x="491" y="574"/>
                </a:lnTo>
                <a:lnTo>
                  <a:pt x="492" y="572"/>
                </a:lnTo>
                <a:lnTo>
                  <a:pt x="492" y="569"/>
                </a:lnTo>
                <a:lnTo>
                  <a:pt x="494" y="568"/>
                </a:lnTo>
                <a:lnTo>
                  <a:pt x="494" y="566"/>
                </a:lnTo>
                <a:lnTo>
                  <a:pt x="494" y="564"/>
                </a:lnTo>
                <a:lnTo>
                  <a:pt x="494" y="560"/>
                </a:lnTo>
                <a:lnTo>
                  <a:pt x="494" y="553"/>
                </a:lnTo>
                <a:lnTo>
                  <a:pt x="493" y="546"/>
                </a:lnTo>
                <a:lnTo>
                  <a:pt x="487" y="529"/>
                </a:lnTo>
                <a:lnTo>
                  <a:pt x="484" y="512"/>
                </a:lnTo>
                <a:lnTo>
                  <a:pt x="484" y="509"/>
                </a:lnTo>
                <a:lnTo>
                  <a:pt x="481" y="508"/>
                </a:lnTo>
                <a:lnTo>
                  <a:pt x="481" y="505"/>
                </a:lnTo>
                <a:lnTo>
                  <a:pt x="481" y="503"/>
                </a:lnTo>
                <a:lnTo>
                  <a:pt x="481" y="498"/>
                </a:lnTo>
                <a:lnTo>
                  <a:pt x="480" y="495"/>
                </a:lnTo>
                <a:lnTo>
                  <a:pt x="480" y="494"/>
                </a:lnTo>
                <a:lnTo>
                  <a:pt x="478" y="492"/>
                </a:lnTo>
                <a:lnTo>
                  <a:pt x="477" y="492"/>
                </a:lnTo>
                <a:lnTo>
                  <a:pt x="473" y="492"/>
                </a:lnTo>
                <a:lnTo>
                  <a:pt x="470" y="491"/>
                </a:lnTo>
                <a:lnTo>
                  <a:pt x="467" y="490"/>
                </a:lnTo>
                <a:lnTo>
                  <a:pt x="467" y="488"/>
                </a:lnTo>
                <a:lnTo>
                  <a:pt x="470" y="484"/>
                </a:lnTo>
                <a:lnTo>
                  <a:pt x="472" y="481"/>
                </a:lnTo>
                <a:lnTo>
                  <a:pt x="474" y="478"/>
                </a:lnTo>
                <a:lnTo>
                  <a:pt x="475" y="477"/>
                </a:lnTo>
                <a:lnTo>
                  <a:pt x="474" y="475"/>
                </a:lnTo>
                <a:lnTo>
                  <a:pt x="471" y="474"/>
                </a:lnTo>
                <a:lnTo>
                  <a:pt x="466" y="471"/>
                </a:lnTo>
                <a:lnTo>
                  <a:pt x="463" y="469"/>
                </a:lnTo>
                <a:lnTo>
                  <a:pt x="458" y="469"/>
                </a:lnTo>
                <a:lnTo>
                  <a:pt x="452" y="468"/>
                </a:lnTo>
                <a:lnTo>
                  <a:pt x="446" y="468"/>
                </a:lnTo>
                <a:lnTo>
                  <a:pt x="443" y="468"/>
                </a:lnTo>
                <a:lnTo>
                  <a:pt x="439" y="468"/>
                </a:lnTo>
                <a:lnTo>
                  <a:pt x="436" y="468"/>
                </a:lnTo>
                <a:lnTo>
                  <a:pt x="432" y="471"/>
                </a:lnTo>
                <a:lnTo>
                  <a:pt x="426" y="475"/>
                </a:lnTo>
                <a:lnTo>
                  <a:pt x="421" y="478"/>
                </a:lnTo>
                <a:lnTo>
                  <a:pt x="421" y="476"/>
                </a:lnTo>
                <a:lnTo>
                  <a:pt x="422" y="475"/>
                </a:lnTo>
                <a:lnTo>
                  <a:pt x="421" y="473"/>
                </a:lnTo>
                <a:lnTo>
                  <a:pt x="419" y="473"/>
                </a:lnTo>
                <a:lnTo>
                  <a:pt x="416" y="474"/>
                </a:lnTo>
                <a:lnTo>
                  <a:pt x="414" y="476"/>
                </a:lnTo>
                <a:lnTo>
                  <a:pt x="412" y="477"/>
                </a:lnTo>
                <a:lnTo>
                  <a:pt x="411" y="480"/>
                </a:lnTo>
                <a:lnTo>
                  <a:pt x="410" y="482"/>
                </a:lnTo>
                <a:lnTo>
                  <a:pt x="409" y="483"/>
                </a:lnTo>
                <a:lnTo>
                  <a:pt x="408" y="483"/>
                </a:lnTo>
                <a:lnTo>
                  <a:pt x="405" y="482"/>
                </a:lnTo>
                <a:lnTo>
                  <a:pt x="402" y="481"/>
                </a:lnTo>
                <a:lnTo>
                  <a:pt x="401" y="481"/>
                </a:lnTo>
                <a:lnTo>
                  <a:pt x="399" y="482"/>
                </a:lnTo>
                <a:lnTo>
                  <a:pt x="399" y="485"/>
                </a:lnTo>
                <a:lnTo>
                  <a:pt x="401" y="488"/>
                </a:lnTo>
                <a:lnTo>
                  <a:pt x="399" y="490"/>
                </a:lnTo>
                <a:lnTo>
                  <a:pt x="398" y="491"/>
                </a:lnTo>
                <a:lnTo>
                  <a:pt x="395" y="491"/>
                </a:lnTo>
                <a:lnTo>
                  <a:pt x="392" y="491"/>
                </a:lnTo>
                <a:lnTo>
                  <a:pt x="391" y="492"/>
                </a:lnTo>
                <a:lnTo>
                  <a:pt x="385" y="496"/>
                </a:lnTo>
                <a:lnTo>
                  <a:pt x="380" y="501"/>
                </a:lnTo>
                <a:lnTo>
                  <a:pt x="376" y="505"/>
                </a:lnTo>
                <a:lnTo>
                  <a:pt x="371" y="511"/>
                </a:lnTo>
                <a:lnTo>
                  <a:pt x="366" y="523"/>
                </a:lnTo>
                <a:lnTo>
                  <a:pt x="361" y="536"/>
                </a:lnTo>
                <a:lnTo>
                  <a:pt x="361" y="537"/>
                </a:lnTo>
                <a:lnTo>
                  <a:pt x="362" y="539"/>
                </a:lnTo>
                <a:lnTo>
                  <a:pt x="363" y="546"/>
                </a:lnTo>
                <a:lnTo>
                  <a:pt x="362" y="552"/>
                </a:lnTo>
                <a:lnTo>
                  <a:pt x="361" y="559"/>
                </a:lnTo>
                <a:lnTo>
                  <a:pt x="360" y="566"/>
                </a:lnTo>
                <a:lnTo>
                  <a:pt x="360" y="566"/>
                </a:lnTo>
                <a:lnTo>
                  <a:pt x="359" y="567"/>
                </a:lnTo>
                <a:lnTo>
                  <a:pt x="356" y="571"/>
                </a:lnTo>
                <a:lnTo>
                  <a:pt x="354" y="575"/>
                </a:lnTo>
                <a:lnTo>
                  <a:pt x="353" y="579"/>
                </a:lnTo>
                <a:lnTo>
                  <a:pt x="353" y="583"/>
                </a:lnTo>
                <a:lnTo>
                  <a:pt x="350" y="592"/>
                </a:lnTo>
                <a:lnTo>
                  <a:pt x="349" y="600"/>
                </a:lnTo>
                <a:lnTo>
                  <a:pt x="349" y="601"/>
                </a:lnTo>
                <a:lnTo>
                  <a:pt x="347" y="602"/>
                </a:lnTo>
                <a:lnTo>
                  <a:pt x="346" y="601"/>
                </a:lnTo>
                <a:lnTo>
                  <a:pt x="345" y="600"/>
                </a:lnTo>
                <a:lnTo>
                  <a:pt x="342" y="595"/>
                </a:lnTo>
                <a:lnTo>
                  <a:pt x="342" y="590"/>
                </a:lnTo>
                <a:lnTo>
                  <a:pt x="341" y="586"/>
                </a:lnTo>
                <a:lnTo>
                  <a:pt x="341" y="581"/>
                </a:lnTo>
                <a:lnTo>
                  <a:pt x="341" y="576"/>
                </a:lnTo>
                <a:lnTo>
                  <a:pt x="340" y="571"/>
                </a:lnTo>
                <a:lnTo>
                  <a:pt x="340" y="568"/>
                </a:lnTo>
                <a:lnTo>
                  <a:pt x="339" y="566"/>
                </a:lnTo>
                <a:lnTo>
                  <a:pt x="336" y="564"/>
                </a:lnTo>
                <a:lnTo>
                  <a:pt x="334" y="562"/>
                </a:lnTo>
                <a:lnTo>
                  <a:pt x="332" y="561"/>
                </a:lnTo>
                <a:lnTo>
                  <a:pt x="329" y="559"/>
                </a:lnTo>
                <a:lnTo>
                  <a:pt x="328" y="558"/>
                </a:lnTo>
                <a:lnTo>
                  <a:pt x="328" y="555"/>
                </a:lnTo>
                <a:lnTo>
                  <a:pt x="328" y="553"/>
                </a:lnTo>
                <a:lnTo>
                  <a:pt x="327" y="552"/>
                </a:lnTo>
                <a:lnTo>
                  <a:pt x="325" y="551"/>
                </a:lnTo>
                <a:lnTo>
                  <a:pt x="322" y="550"/>
                </a:lnTo>
                <a:lnTo>
                  <a:pt x="321" y="547"/>
                </a:lnTo>
                <a:lnTo>
                  <a:pt x="321" y="546"/>
                </a:lnTo>
                <a:lnTo>
                  <a:pt x="320" y="541"/>
                </a:lnTo>
                <a:lnTo>
                  <a:pt x="320" y="538"/>
                </a:lnTo>
                <a:lnTo>
                  <a:pt x="319" y="532"/>
                </a:lnTo>
                <a:lnTo>
                  <a:pt x="316" y="529"/>
                </a:lnTo>
                <a:lnTo>
                  <a:pt x="313" y="526"/>
                </a:lnTo>
                <a:lnTo>
                  <a:pt x="311" y="522"/>
                </a:lnTo>
                <a:lnTo>
                  <a:pt x="311" y="522"/>
                </a:lnTo>
                <a:lnTo>
                  <a:pt x="312" y="517"/>
                </a:lnTo>
                <a:lnTo>
                  <a:pt x="313" y="512"/>
                </a:lnTo>
                <a:lnTo>
                  <a:pt x="314" y="512"/>
                </a:lnTo>
                <a:lnTo>
                  <a:pt x="314" y="512"/>
                </a:lnTo>
                <a:lnTo>
                  <a:pt x="321" y="497"/>
                </a:lnTo>
                <a:lnTo>
                  <a:pt x="326" y="483"/>
                </a:lnTo>
                <a:lnTo>
                  <a:pt x="326" y="482"/>
                </a:lnTo>
                <a:lnTo>
                  <a:pt x="326" y="481"/>
                </a:lnTo>
                <a:lnTo>
                  <a:pt x="323" y="481"/>
                </a:lnTo>
                <a:lnTo>
                  <a:pt x="322" y="482"/>
                </a:lnTo>
                <a:lnTo>
                  <a:pt x="319" y="487"/>
                </a:lnTo>
                <a:lnTo>
                  <a:pt x="316" y="491"/>
                </a:lnTo>
                <a:lnTo>
                  <a:pt x="313" y="496"/>
                </a:lnTo>
                <a:lnTo>
                  <a:pt x="312" y="502"/>
                </a:lnTo>
                <a:lnTo>
                  <a:pt x="312" y="502"/>
                </a:lnTo>
                <a:lnTo>
                  <a:pt x="312" y="502"/>
                </a:lnTo>
                <a:lnTo>
                  <a:pt x="311" y="503"/>
                </a:lnTo>
                <a:lnTo>
                  <a:pt x="309" y="503"/>
                </a:lnTo>
                <a:lnTo>
                  <a:pt x="309" y="505"/>
                </a:lnTo>
                <a:lnTo>
                  <a:pt x="309" y="506"/>
                </a:lnTo>
                <a:lnTo>
                  <a:pt x="308" y="509"/>
                </a:lnTo>
                <a:lnTo>
                  <a:pt x="307" y="511"/>
                </a:lnTo>
                <a:lnTo>
                  <a:pt x="306" y="511"/>
                </a:lnTo>
                <a:lnTo>
                  <a:pt x="305" y="511"/>
                </a:lnTo>
                <a:lnTo>
                  <a:pt x="305" y="512"/>
                </a:lnTo>
                <a:lnTo>
                  <a:pt x="305" y="513"/>
                </a:lnTo>
                <a:lnTo>
                  <a:pt x="299" y="523"/>
                </a:lnTo>
                <a:lnTo>
                  <a:pt x="294" y="533"/>
                </a:lnTo>
                <a:lnTo>
                  <a:pt x="292" y="536"/>
                </a:lnTo>
                <a:lnTo>
                  <a:pt x="290" y="540"/>
                </a:lnTo>
                <a:lnTo>
                  <a:pt x="287" y="544"/>
                </a:lnTo>
                <a:lnTo>
                  <a:pt x="286" y="548"/>
                </a:lnTo>
                <a:lnTo>
                  <a:pt x="286" y="548"/>
                </a:lnTo>
                <a:lnTo>
                  <a:pt x="286" y="550"/>
                </a:lnTo>
                <a:lnTo>
                  <a:pt x="283" y="552"/>
                </a:lnTo>
                <a:lnTo>
                  <a:pt x="281" y="557"/>
                </a:lnTo>
                <a:lnTo>
                  <a:pt x="279" y="565"/>
                </a:lnTo>
                <a:lnTo>
                  <a:pt x="277" y="574"/>
                </a:lnTo>
                <a:lnTo>
                  <a:pt x="277" y="583"/>
                </a:lnTo>
                <a:lnTo>
                  <a:pt x="276" y="593"/>
                </a:lnTo>
                <a:lnTo>
                  <a:pt x="276" y="600"/>
                </a:lnTo>
                <a:lnTo>
                  <a:pt x="276" y="608"/>
                </a:lnTo>
                <a:lnTo>
                  <a:pt x="278" y="615"/>
                </a:lnTo>
                <a:lnTo>
                  <a:pt x="283" y="621"/>
                </a:lnTo>
                <a:lnTo>
                  <a:pt x="288" y="627"/>
                </a:lnTo>
                <a:lnTo>
                  <a:pt x="294" y="632"/>
                </a:lnTo>
                <a:lnTo>
                  <a:pt x="301" y="636"/>
                </a:lnTo>
                <a:lnTo>
                  <a:pt x="308" y="641"/>
                </a:lnTo>
                <a:lnTo>
                  <a:pt x="308" y="641"/>
                </a:lnTo>
                <a:lnTo>
                  <a:pt x="308" y="641"/>
                </a:lnTo>
                <a:lnTo>
                  <a:pt x="311" y="642"/>
                </a:lnTo>
                <a:lnTo>
                  <a:pt x="312" y="642"/>
                </a:lnTo>
                <a:lnTo>
                  <a:pt x="312" y="642"/>
                </a:lnTo>
                <a:lnTo>
                  <a:pt x="311" y="641"/>
                </a:lnTo>
                <a:lnTo>
                  <a:pt x="311" y="641"/>
                </a:lnTo>
                <a:lnTo>
                  <a:pt x="311" y="641"/>
                </a:lnTo>
                <a:lnTo>
                  <a:pt x="312" y="642"/>
                </a:lnTo>
                <a:lnTo>
                  <a:pt x="312" y="642"/>
                </a:lnTo>
                <a:lnTo>
                  <a:pt x="312" y="642"/>
                </a:lnTo>
                <a:lnTo>
                  <a:pt x="327" y="647"/>
                </a:lnTo>
                <a:lnTo>
                  <a:pt x="341" y="650"/>
                </a:lnTo>
                <a:lnTo>
                  <a:pt x="356" y="652"/>
                </a:lnTo>
                <a:lnTo>
                  <a:pt x="371" y="655"/>
                </a:lnTo>
                <a:lnTo>
                  <a:pt x="375" y="657"/>
                </a:lnTo>
                <a:lnTo>
                  <a:pt x="378" y="658"/>
                </a:lnTo>
                <a:lnTo>
                  <a:pt x="380" y="658"/>
                </a:lnTo>
                <a:lnTo>
                  <a:pt x="380" y="658"/>
                </a:lnTo>
                <a:lnTo>
                  <a:pt x="380" y="658"/>
                </a:lnTo>
                <a:lnTo>
                  <a:pt x="378" y="658"/>
                </a:lnTo>
                <a:lnTo>
                  <a:pt x="380" y="659"/>
                </a:lnTo>
                <a:lnTo>
                  <a:pt x="381" y="659"/>
                </a:lnTo>
                <a:lnTo>
                  <a:pt x="381" y="659"/>
                </a:lnTo>
                <a:lnTo>
                  <a:pt x="381" y="659"/>
                </a:lnTo>
                <a:lnTo>
                  <a:pt x="384" y="662"/>
                </a:lnTo>
                <a:lnTo>
                  <a:pt x="387" y="663"/>
                </a:lnTo>
                <a:lnTo>
                  <a:pt x="388" y="658"/>
                </a:lnTo>
                <a:lnTo>
                  <a:pt x="389" y="654"/>
                </a:lnTo>
                <a:lnTo>
                  <a:pt x="390" y="649"/>
                </a:lnTo>
                <a:lnTo>
                  <a:pt x="392" y="645"/>
                </a:lnTo>
                <a:lnTo>
                  <a:pt x="397" y="644"/>
                </a:lnTo>
                <a:lnTo>
                  <a:pt x="403" y="645"/>
                </a:lnTo>
                <a:lnTo>
                  <a:pt x="404" y="645"/>
                </a:lnTo>
                <a:lnTo>
                  <a:pt x="405" y="644"/>
                </a:lnTo>
                <a:lnTo>
                  <a:pt x="408" y="642"/>
                </a:lnTo>
                <a:lnTo>
                  <a:pt x="410" y="639"/>
                </a:lnTo>
                <a:lnTo>
                  <a:pt x="412" y="636"/>
                </a:lnTo>
                <a:lnTo>
                  <a:pt x="412" y="632"/>
                </a:lnTo>
                <a:lnTo>
                  <a:pt x="415" y="629"/>
                </a:lnTo>
                <a:lnTo>
                  <a:pt x="416" y="627"/>
                </a:lnTo>
                <a:lnTo>
                  <a:pt x="422" y="618"/>
                </a:lnTo>
                <a:lnTo>
                  <a:pt x="425" y="609"/>
                </a:lnTo>
                <a:lnTo>
                  <a:pt x="429" y="600"/>
                </a:lnTo>
                <a:lnTo>
                  <a:pt x="431" y="590"/>
                </a:lnTo>
                <a:lnTo>
                  <a:pt x="436" y="572"/>
                </a:lnTo>
                <a:lnTo>
                  <a:pt x="440" y="553"/>
                </a:lnTo>
                <a:lnTo>
                  <a:pt x="440" y="552"/>
                </a:lnTo>
                <a:lnTo>
                  <a:pt x="440" y="550"/>
                </a:lnTo>
                <a:lnTo>
                  <a:pt x="442" y="548"/>
                </a:lnTo>
                <a:lnTo>
                  <a:pt x="443" y="548"/>
                </a:lnTo>
                <a:lnTo>
                  <a:pt x="445" y="548"/>
                </a:lnTo>
                <a:lnTo>
                  <a:pt x="445" y="550"/>
                </a:lnTo>
                <a:lnTo>
                  <a:pt x="445" y="552"/>
                </a:lnTo>
                <a:lnTo>
                  <a:pt x="446" y="553"/>
                </a:lnTo>
                <a:lnTo>
                  <a:pt x="446" y="562"/>
                </a:lnTo>
                <a:lnTo>
                  <a:pt x="446" y="572"/>
                </a:lnTo>
                <a:lnTo>
                  <a:pt x="445" y="581"/>
                </a:lnTo>
                <a:lnTo>
                  <a:pt x="443" y="590"/>
                </a:lnTo>
                <a:lnTo>
                  <a:pt x="440" y="600"/>
                </a:lnTo>
                <a:lnTo>
                  <a:pt x="437" y="608"/>
                </a:lnTo>
                <a:lnTo>
                  <a:pt x="433" y="617"/>
                </a:lnTo>
                <a:lnTo>
                  <a:pt x="429" y="625"/>
                </a:lnTo>
                <a:lnTo>
                  <a:pt x="419" y="639"/>
                </a:lnTo>
                <a:lnTo>
                  <a:pt x="412" y="655"/>
                </a:lnTo>
                <a:lnTo>
                  <a:pt x="405" y="663"/>
                </a:lnTo>
                <a:lnTo>
                  <a:pt x="398" y="671"/>
                </a:lnTo>
                <a:lnTo>
                  <a:pt x="398" y="672"/>
                </a:lnTo>
                <a:lnTo>
                  <a:pt x="399" y="675"/>
                </a:lnTo>
                <a:lnTo>
                  <a:pt x="401" y="676"/>
                </a:lnTo>
                <a:lnTo>
                  <a:pt x="403" y="676"/>
                </a:lnTo>
                <a:lnTo>
                  <a:pt x="408" y="673"/>
                </a:lnTo>
                <a:lnTo>
                  <a:pt x="414" y="673"/>
                </a:lnTo>
                <a:lnTo>
                  <a:pt x="414" y="673"/>
                </a:lnTo>
                <a:lnTo>
                  <a:pt x="414" y="673"/>
                </a:lnTo>
                <a:lnTo>
                  <a:pt x="416" y="673"/>
                </a:lnTo>
                <a:lnTo>
                  <a:pt x="417" y="673"/>
                </a:lnTo>
                <a:lnTo>
                  <a:pt x="419" y="673"/>
                </a:lnTo>
                <a:lnTo>
                  <a:pt x="422" y="673"/>
                </a:lnTo>
                <a:lnTo>
                  <a:pt x="422" y="676"/>
                </a:lnTo>
                <a:lnTo>
                  <a:pt x="421" y="678"/>
                </a:lnTo>
                <a:lnTo>
                  <a:pt x="418" y="679"/>
                </a:lnTo>
                <a:lnTo>
                  <a:pt x="416" y="679"/>
                </a:lnTo>
                <a:lnTo>
                  <a:pt x="415" y="679"/>
                </a:lnTo>
                <a:lnTo>
                  <a:pt x="412" y="680"/>
                </a:lnTo>
                <a:lnTo>
                  <a:pt x="412" y="682"/>
                </a:lnTo>
                <a:lnTo>
                  <a:pt x="412" y="683"/>
                </a:lnTo>
                <a:lnTo>
                  <a:pt x="412" y="685"/>
                </a:lnTo>
                <a:lnTo>
                  <a:pt x="416" y="686"/>
                </a:lnTo>
                <a:lnTo>
                  <a:pt x="422" y="687"/>
                </a:lnTo>
                <a:lnTo>
                  <a:pt x="428" y="687"/>
                </a:lnTo>
                <a:lnTo>
                  <a:pt x="433" y="687"/>
                </a:lnTo>
                <a:lnTo>
                  <a:pt x="439" y="685"/>
                </a:lnTo>
                <a:lnTo>
                  <a:pt x="453" y="684"/>
                </a:lnTo>
                <a:lnTo>
                  <a:pt x="467" y="683"/>
                </a:lnTo>
                <a:lnTo>
                  <a:pt x="467" y="683"/>
                </a:lnTo>
                <a:lnTo>
                  <a:pt x="468" y="683"/>
                </a:lnTo>
                <a:lnTo>
                  <a:pt x="470" y="685"/>
                </a:lnTo>
                <a:lnTo>
                  <a:pt x="472" y="685"/>
                </a:lnTo>
                <a:lnTo>
                  <a:pt x="474" y="686"/>
                </a:lnTo>
                <a:lnTo>
                  <a:pt x="477" y="686"/>
                </a:lnTo>
                <a:lnTo>
                  <a:pt x="480" y="684"/>
                </a:lnTo>
                <a:lnTo>
                  <a:pt x="485" y="683"/>
                </a:lnTo>
                <a:lnTo>
                  <a:pt x="486" y="683"/>
                </a:lnTo>
                <a:lnTo>
                  <a:pt x="488" y="683"/>
                </a:lnTo>
                <a:lnTo>
                  <a:pt x="490" y="684"/>
                </a:lnTo>
                <a:lnTo>
                  <a:pt x="490" y="686"/>
                </a:lnTo>
                <a:lnTo>
                  <a:pt x="491" y="689"/>
                </a:lnTo>
                <a:lnTo>
                  <a:pt x="492" y="690"/>
                </a:lnTo>
                <a:lnTo>
                  <a:pt x="493" y="691"/>
                </a:lnTo>
                <a:lnTo>
                  <a:pt x="495" y="691"/>
                </a:lnTo>
                <a:lnTo>
                  <a:pt x="498" y="691"/>
                </a:lnTo>
                <a:lnTo>
                  <a:pt x="500" y="691"/>
                </a:lnTo>
                <a:lnTo>
                  <a:pt x="501" y="691"/>
                </a:lnTo>
                <a:lnTo>
                  <a:pt x="501" y="693"/>
                </a:lnTo>
                <a:lnTo>
                  <a:pt x="501" y="696"/>
                </a:lnTo>
                <a:lnTo>
                  <a:pt x="499" y="697"/>
                </a:lnTo>
                <a:lnTo>
                  <a:pt x="498" y="697"/>
                </a:lnTo>
                <a:lnTo>
                  <a:pt x="495" y="697"/>
                </a:lnTo>
                <a:lnTo>
                  <a:pt x="492" y="697"/>
                </a:lnTo>
                <a:lnTo>
                  <a:pt x="490" y="698"/>
                </a:lnTo>
                <a:lnTo>
                  <a:pt x="490" y="700"/>
                </a:lnTo>
                <a:lnTo>
                  <a:pt x="492" y="703"/>
                </a:lnTo>
                <a:lnTo>
                  <a:pt x="492" y="705"/>
                </a:lnTo>
                <a:lnTo>
                  <a:pt x="492" y="706"/>
                </a:lnTo>
                <a:lnTo>
                  <a:pt x="492" y="708"/>
                </a:lnTo>
                <a:lnTo>
                  <a:pt x="491" y="710"/>
                </a:lnTo>
                <a:lnTo>
                  <a:pt x="486" y="713"/>
                </a:lnTo>
                <a:lnTo>
                  <a:pt x="482" y="718"/>
                </a:lnTo>
                <a:lnTo>
                  <a:pt x="478" y="721"/>
                </a:lnTo>
                <a:lnTo>
                  <a:pt x="473" y="726"/>
                </a:lnTo>
                <a:lnTo>
                  <a:pt x="471" y="727"/>
                </a:lnTo>
                <a:lnTo>
                  <a:pt x="468" y="728"/>
                </a:lnTo>
                <a:lnTo>
                  <a:pt x="465" y="728"/>
                </a:lnTo>
                <a:lnTo>
                  <a:pt x="461" y="728"/>
                </a:lnTo>
                <a:lnTo>
                  <a:pt x="460" y="728"/>
                </a:lnTo>
                <a:lnTo>
                  <a:pt x="458" y="731"/>
                </a:lnTo>
                <a:lnTo>
                  <a:pt x="458" y="732"/>
                </a:lnTo>
                <a:lnTo>
                  <a:pt x="460" y="733"/>
                </a:lnTo>
                <a:lnTo>
                  <a:pt x="460" y="734"/>
                </a:lnTo>
                <a:lnTo>
                  <a:pt x="461" y="735"/>
                </a:lnTo>
                <a:lnTo>
                  <a:pt x="463" y="736"/>
                </a:lnTo>
                <a:lnTo>
                  <a:pt x="464" y="738"/>
                </a:lnTo>
                <a:lnTo>
                  <a:pt x="465" y="739"/>
                </a:lnTo>
                <a:lnTo>
                  <a:pt x="464" y="740"/>
                </a:lnTo>
                <a:lnTo>
                  <a:pt x="461" y="740"/>
                </a:lnTo>
                <a:lnTo>
                  <a:pt x="459" y="739"/>
                </a:lnTo>
                <a:lnTo>
                  <a:pt x="454" y="736"/>
                </a:lnTo>
                <a:lnTo>
                  <a:pt x="450" y="734"/>
                </a:lnTo>
                <a:lnTo>
                  <a:pt x="451" y="739"/>
                </a:lnTo>
                <a:lnTo>
                  <a:pt x="453" y="743"/>
                </a:lnTo>
                <a:lnTo>
                  <a:pt x="456" y="748"/>
                </a:lnTo>
                <a:lnTo>
                  <a:pt x="458" y="752"/>
                </a:lnTo>
                <a:lnTo>
                  <a:pt x="465" y="757"/>
                </a:lnTo>
                <a:lnTo>
                  <a:pt x="473" y="762"/>
                </a:lnTo>
                <a:lnTo>
                  <a:pt x="486" y="769"/>
                </a:lnTo>
                <a:lnTo>
                  <a:pt x="498" y="776"/>
                </a:lnTo>
                <a:lnTo>
                  <a:pt x="509" y="783"/>
                </a:lnTo>
                <a:lnTo>
                  <a:pt x="521" y="790"/>
                </a:lnTo>
                <a:lnTo>
                  <a:pt x="532" y="796"/>
                </a:lnTo>
                <a:lnTo>
                  <a:pt x="541" y="803"/>
                </a:lnTo>
                <a:lnTo>
                  <a:pt x="550" y="809"/>
                </a:lnTo>
                <a:lnTo>
                  <a:pt x="561" y="813"/>
                </a:lnTo>
                <a:lnTo>
                  <a:pt x="564" y="815"/>
                </a:lnTo>
                <a:lnTo>
                  <a:pt x="568" y="816"/>
                </a:lnTo>
                <a:lnTo>
                  <a:pt x="571" y="818"/>
                </a:lnTo>
                <a:lnTo>
                  <a:pt x="575" y="822"/>
                </a:lnTo>
                <a:lnTo>
                  <a:pt x="571" y="822"/>
                </a:lnTo>
                <a:lnTo>
                  <a:pt x="569" y="822"/>
                </a:lnTo>
                <a:lnTo>
                  <a:pt x="563" y="820"/>
                </a:lnTo>
                <a:lnTo>
                  <a:pt x="559" y="819"/>
                </a:lnTo>
                <a:lnTo>
                  <a:pt x="554" y="817"/>
                </a:lnTo>
                <a:lnTo>
                  <a:pt x="549" y="813"/>
                </a:lnTo>
                <a:lnTo>
                  <a:pt x="540" y="809"/>
                </a:lnTo>
                <a:lnTo>
                  <a:pt x="530" y="804"/>
                </a:lnTo>
                <a:lnTo>
                  <a:pt x="521" y="799"/>
                </a:lnTo>
                <a:lnTo>
                  <a:pt x="513" y="794"/>
                </a:lnTo>
                <a:lnTo>
                  <a:pt x="502" y="787"/>
                </a:lnTo>
                <a:lnTo>
                  <a:pt x="493" y="780"/>
                </a:lnTo>
                <a:lnTo>
                  <a:pt x="482" y="773"/>
                </a:lnTo>
                <a:lnTo>
                  <a:pt x="472" y="767"/>
                </a:lnTo>
                <a:lnTo>
                  <a:pt x="459" y="760"/>
                </a:lnTo>
                <a:lnTo>
                  <a:pt x="446" y="752"/>
                </a:lnTo>
                <a:lnTo>
                  <a:pt x="445" y="750"/>
                </a:lnTo>
                <a:lnTo>
                  <a:pt x="443" y="750"/>
                </a:lnTo>
                <a:lnTo>
                  <a:pt x="442" y="752"/>
                </a:lnTo>
                <a:lnTo>
                  <a:pt x="442" y="754"/>
                </a:lnTo>
                <a:lnTo>
                  <a:pt x="442" y="768"/>
                </a:lnTo>
                <a:lnTo>
                  <a:pt x="444" y="782"/>
                </a:lnTo>
                <a:lnTo>
                  <a:pt x="445" y="787"/>
                </a:lnTo>
                <a:lnTo>
                  <a:pt x="446" y="790"/>
                </a:lnTo>
                <a:lnTo>
                  <a:pt x="449" y="795"/>
                </a:lnTo>
                <a:lnTo>
                  <a:pt x="452" y="797"/>
                </a:lnTo>
                <a:lnTo>
                  <a:pt x="456" y="799"/>
                </a:lnTo>
                <a:lnTo>
                  <a:pt x="459" y="801"/>
                </a:lnTo>
                <a:lnTo>
                  <a:pt x="461" y="804"/>
                </a:lnTo>
                <a:lnTo>
                  <a:pt x="463" y="803"/>
                </a:lnTo>
                <a:lnTo>
                  <a:pt x="464" y="802"/>
                </a:lnTo>
                <a:lnTo>
                  <a:pt x="464" y="798"/>
                </a:lnTo>
                <a:lnTo>
                  <a:pt x="464" y="797"/>
                </a:lnTo>
                <a:lnTo>
                  <a:pt x="465" y="795"/>
                </a:lnTo>
                <a:lnTo>
                  <a:pt x="466" y="794"/>
                </a:lnTo>
                <a:lnTo>
                  <a:pt x="468" y="794"/>
                </a:lnTo>
                <a:lnTo>
                  <a:pt x="478" y="796"/>
                </a:lnTo>
                <a:lnTo>
                  <a:pt x="486" y="798"/>
                </a:lnTo>
                <a:lnTo>
                  <a:pt x="500" y="804"/>
                </a:lnTo>
                <a:lnTo>
                  <a:pt x="515" y="809"/>
                </a:lnTo>
                <a:lnTo>
                  <a:pt x="530" y="816"/>
                </a:lnTo>
                <a:lnTo>
                  <a:pt x="544" y="823"/>
                </a:lnTo>
                <a:lnTo>
                  <a:pt x="549" y="827"/>
                </a:lnTo>
                <a:lnTo>
                  <a:pt x="553" y="832"/>
                </a:lnTo>
                <a:lnTo>
                  <a:pt x="553" y="833"/>
                </a:lnTo>
                <a:lnTo>
                  <a:pt x="553" y="834"/>
                </a:lnTo>
                <a:lnTo>
                  <a:pt x="551" y="834"/>
                </a:lnTo>
                <a:lnTo>
                  <a:pt x="550" y="834"/>
                </a:lnTo>
                <a:lnTo>
                  <a:pt x="549" y="834"/>
                </a:lnTo>
                <a:lnTo>
                  <a:pt x="547" y="836"/>
                </a:lnTo>
                <a:lnTo>
                  <a:pt x="547" y="837"/>
                </a:lnTo>
                <a:lnTo>
                  <a:pt x="547" y="837"/>
                </a:lnTo>
                <a:lnTo>
                  <a:pt x="547" y="841"/>
                </a:lnTo>
                <a:lnTo>
                  <a:pt x="544" y="845"/>
                </a:lnTo>
                <a:lnTo>
                  <a:pt x="543" y="847"/>
                </a:lnTo>
                <a:lnTo>
                  <a:pt x="541" y="850"/>
                </a:lnTo>
                <a:lnTo>
                  <a:pt x="535" y="855"/>
                </a:lnTo>
                <a:lnTo>
                  <a:pt x="530" y="861"/>
                </a:lnTo>
                <a:lnTo>
                  <a:pt x="529" y="865"/>
                </a:lnTo>
                <a:lnTo>
                  <a:pt x="529" y="868"/>
                </a:lnTo>
                <a:lnTo>
                  <a:pt x="530" y="871"/>
                </a:lnTo>
                <a:lnTo>
                  <a:pt x="530" y="873"/>
                </a:lnTo>
                <a:lnTo>
                  <a:pt x="528" y="873"/>
                </a:lnTo>
                <a:lnTo>
                  <a:pt x="526" y="872"/>
                </a:lnTo>
                <a:lnTo>
                  <a:pt x="522" y="869"/>
                </a:lnTo>
                <a:lnTo>
                  <a:pt x="520" y="869"/>
                </a:lnTo>
                <a:lnTo>
                  <a:pt x="519" y="872"/>
                </a:lnTo>
                <a:lnTo>
                  <a:pt x="518" y="874"/>
                </a:lnTo>
                <a:lnTo>
                  <a:pt x="516" y="878"/>
                </a:lnTo>
                <a:lnTo>
                  <a:pt x="514" y="880"/>
                </a:lnTo>
                <a:lnTo>
                  <a:pt x="513" y="881"/>
                </a:lnTo>
                <a:lnTo>
                  <a:pt x="512" y="882"/>
                </a:lnTo>
                <a:lnTo>
                  <a:pt x="509" y="882"/>
                </a:lnTo>
                <a:lnTo>
                  <a:pt x="507" y="881"/>
                </a:lnTo>
                <a:lnTo>
                  <a:pt x="506" y="881"/>
                </a:lnTo>
                <a:lnTo>
                  <a:pt x="504" y="882"/>
                </a:lnTo>
                <a:lnTo>
                  <a:pt x="505" y="883"/>
                </a:lnTo>
                <a:lnTo>
                  <a:pt x="506" y="885"/>
                </a:lnTo>
                <a:lnTo>
                  <a:pt x="514" y="890"/>
                </a:lnTo>
                <a:lnTo>
                  <a:pt x="523" y="894"/>
                </a:lnTo>
                <a:lnTo>
                  <a:pt x="533" y="897"/>
                </a:lnTo>
                <a:lnTo>
                  <a:pt x="542" y="899"/>
                </a:lnTo>
                <a:lnTo>
                  <a:pt x="542" y="899"/>
                </a:lnTo>
                <a:lnTo>
                  <a:pt x="548" y="899"/>
                </a:lnTo>
                <a:lnTo>
                  <a:pt x="553" y="901"/>
                </a:lnTo>
                <a:lnTo>
                  <a:pt x="554" y="902"/>
                </a:lnTo>
                <a:lnTo>
                  <a:pt x="555" y="903"/>
                </a:lnTo>
                <a:lnTo>
                  <a:pt x="557" y="903"/>
                </a:lnTo>
                <a:lnTo>
                  <a:pt x="559" y="903"/>
                </a:lnTo>
                <a:lnTo>
                  <a:pt x="570" y="906"/>
                </a:lnTo>
                <a:lnTo>
                  <a:pt x="583" y="908"/>
                </a:lnTo>
                <a:lnTo>
                  <a:pt x="584" y="910"/>
                </a:lnTo>
                <a:lnTo>
                  <a:pt x="587" y="911"/>
                </a:lnTo>
                <a:lnTo>
                  <a:pt x="588" y="911"/>
                </a:lnTo>
                <a:lnTo>
                  <a:pt x="589" y="913"/>
                </a:lnTo>
                <a:lnTo>
                  <a:pt x="589" y="914"/>
                </a:lnTo>
                <a:lnTo>
                  <a:pt x="588" y="915"/>
                </a:lnTo>
                <a:lnTo>
                  <a:pt x="585" y="918"/>
                </a:lnTo>
                <a:lnTo>
                  <a:pt x="585" y="920"/>
                </a:lnTo>
                <a:lnTo>
                  <a:pt x="588" y="921"/>
                </a:lnTo>
                <a:lnTo>
                  <a:pt x="590" y="922"/>
                </a:lnTo>
                <a:lnTo>
                  <a:pt x="594" y="923"/>
                </a:lnTo>
                <a:lnTo>
                  <a:pt x="596" y="924"/>
                </a:lnTo>
                <a:lnTo>
                  <a:pt x="596" y="927"/>
                </a:lnTo>
                <a:lnTo>
                  <a:pt x="594" y="927"/>
                </a:lnTo>
                <a:lnTo>
                  <a:pt x="589" y="927"/>
                </a:lnTo>
                <a:lnTo>
                  <a:pt x="584" y="925"/>
                </a:lnTo>
                <a:lnTo>
                  <a:pt x="581" y="923"/>
                </a:lnTo>
                <a:lnTo>
                  <a:pt x="576" y="922"/>
                </a:lnTo>
                <a:lnTo>
                  <a:pt x="573" y="922"/>
                </a:lnTo>
                <a:lnTo>
                  <a:pt x="568" y="922"/>
                </a:lnTo>
                <a:lnTo>
                  <a:pt x="555" y="920"/>
                </a:lnTo>
                <a:lnTo>
                  <a:pt x="543" y="916"/>
                </a:lnTo>
                <a:lnTo>
                  <a:pt x="530" y="913"/>
                </a:lnTo>
                <a:lnTo>
                  <a:pt x="519" y="908"/>
                </a:lnTo>
                <a:lnTo>
                  <a:pt x="507" y="903"/>
                </a:lnTo>
                <a:lnTo>
                  <a:pt x="495" y="899"/>
                </a:lnTo>
                <a:lnTo>
                  <a:pt x="495" y="899"/>
                </a:lnTo>
                <a:lnTo>
                  <a:pt x="494" y="895"/>
                </a:lnTo>
                <a:lnTo>
                  <a:pt x="491" y="893"/>
                </a:lnTo>
                <a:lnTo>
                  <a:pt x="486" y="888"/>
                </a:lnTo>
                <a:lnTo>
                  <a:pt x="481" y="883"/>
                </a:lnTo>
                <a:lnTo>
                  <a:pt x="466" y="868"/>
                </a:lnTo>
                <a:lnTo>
                  <a:pt x="453" y="852"/>
                </a:lnTo>
                <a:lnTo>
                  <a:pt x="451" y="850"/>
                </a:lnTo>
                <a:lnTo>
                  <a:pt x="450" y="850"/>
                </a:lnTo>
                <a:lnTo>
                  <a:pt x="447" y="852"/>
                </a:lnTo>
                <a:lnTo>
                  <a:pt x="447" y="854"/>
                </a:lnTo>
                <a:lnTo>
                  <a:pt x="449" y="858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5" y="857"/>
                </a:lnTo>
                <a:lnTo>
                  <a:pt x="439" y="851"/>
                </a:lnTo>
                <a:lnTo>
                  <a:pt x="447" y="873"/>
                </a:lnTo>
                <a:lnTo>
                  <a:pt x="457" y="894"/>
                </a:lnTo>
                <a:lnTo>
                  <a:pt x="465" y="915"/>
                </a:lnTo>
                <a:lnTo>
                  <a:pt x="474" y="936"/>
                </a:lnTo>
                <a:lnTo>
                  <a:pt x="475" y="938"/>
                </a:lnTo>
                <a:lnTo>
                  <a:pt x="477" y="942"/>
                </a:lnTo>
                <a:lnTo>
                  <a:pt x="478" y="944"/>
                </a:lnTo>
                <a:lnTo>
                  <a:pt x="480" y="945"/>
                </a:lnTo>
                <a:lnTo>
                  <a:pt x="480" y="946"/>
                </a:lnTo>
                <a:lnTo>
                  <a:pt x="480" y="949"/>
                </a:lnTo>
                <a:lnTo>
                  <a:pt x="481" y="949"/>
                </a:lnTo>
                <a:lnTo>
                  <a:pt x="481" y="949"/>
                </a:lnTo>
                <a:lnTo>
                  <a:pt x="481" y="949"/>
                </a:lnTo>
                <a:lnTo>
                  <a:pt x="480" y="949"/>
                </a:lnTo>
                <a:lnTo>
                  <a:pt x="481" y="951"/>
                </a:lnTo>
                <a:lnTo>
                  <a:pt x="481" y="953"/>
                </a:lnTo>
                <a:lnTo>
                  <a:pt x="482" y="956"/>
                </a:lnTo>
                <a:lnTo>
                  <a:pt x="485" y="957"/>
                </a:lnTo>
                <a:lnTo>
                  <a:pt x="485" y="959"/>
                </a:lnTo>
                <a:lnTo>
                  <a:pt x="486" y="960"/>
                </a:lnTo>
                <a:lnTo>
                  <a:pt x="487" y="965"/>
                </a:lnTo>
                <a:lnTo>
                  <a:pt x="488" y="969"/>
                </a:lnTo>
                <a:lnTo>
                  <a:pt x="491" y="972"/>
                </a:lnTo>
                <a:lnTo>
                  <a:pt x="494" y="976"/>
                </a:lnTo>
                <a:lnTo>
                  <a:pt x="494" y="977"/>
                </a:lnTo>
                <a:lnTo>
                  <a:pt x="494" y="978"/>
                </a:lnTo>
                <a:lnTo>
                  <a:pt x="495" y="984"/>
                </a:lnTo>
                <a:lnTo>
                  <a:pt x="498" y="990"/>
                </a:lnTo>
                <a:lnTo>
                  <a:pt x="504" y="1002"/>
                </a:lnTo>
                <a:lnTo>
                  <a:pt x="511" y="1015"/>
                </a:lnTo>
                <a:lnTo>
                  <a:pt x="516" y="1028"/>
                </a:lnTo>
                <a:lnTo>
                  <a:pt x="522" y="1041"/>
                </a:lnTo>
                <a:lnTo>
                  <a:pt x="528" y="1054"/>
                </a:lnTo>
                <a:lnTo>
                  <a:pt x="533" y="1065"/>
                </a:lnTo>
                <a:lnTo>
                  <a:pt x="540" y="1077"/>
                </a:lnTo>
                <a:lnTo>
                  <a:pt x="546" y="1089"/>
                </a:lnTo>
                <a:lnTo>
                  <a:pt x="553" y="1105"/>
                </a:lnTo>
                <a:lnTo>
                  <a:pt x="561" y="1121"/>
                </a:lnTo>
                <a:lnTo>
                  <a:pt x="570" y="1139"/>
                </a:lnTo>
                <a:lnTo>
                  <a:pt x="580" y="1156"/>
                </a:lnTo>
                <a:lnTo>
                  <a:pt x="575" y="1154"/>
                </a:lnTo>
                <a:lnTo>
                  <a:pt x="571" y="1149"/>
                </a:lnTo>
                <a:lnTo>
                  <a:pt x="569" y="1146"/>
                </a:lnTo>
                <a:lnTo>
                  <a:pt x="566" y="1142"/>
                </a:lnTo>
                <a:lnTo>
                  <a:pt x="562" y="1138"/>
                </a:lnTo>
                <a:lnTo>
                  <a:pt x="560" y="1133"/>
                </a:lnTo>
                <a:lnTo>
                  <a:pt x="557" y="1130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61" y="1142"/>
                </a:lnTo>
                <a:lnTo>
                  <a:pt x="570" y="1159"/>
                </a:lnTo>
                <a:lnTo>
                  <a:pt x="571" y="1162"/>
                </a:lnTo>
                <a:lnTo>
                  <a:pt x="571" y="1163"/>
                </a:lnTo>
                <a:lnTo>
                  <a:pt x="571" y="1166"/>
                </a:lnTo>
                <a:lnTo>
                  <a:pt x="569" y="1167"/>
                </a:lnTo>
                <a:lnTo>
                  <a:pt x="568" y="1168"/>
                </a:lnTo>
                <a:lnTo>
                  <a:pt x="567" y="1169"/>
                </a:lnTo>
                <a:lnTo>
                  <a:pt x="566" y="1172"/>
                </a:lnTo>
                <a:lnTo>
                  <a:pt x="567" y="1175"/>
                </a:lnTo>
                <a:lnTo>
                  <a:pt x="567" y="1176"/>
                </a:lnTo>
                <a:lnTo>
                  <a:pt x="567" y="1177"/>
                </a:lnTo>
                <a:lnTo>
                  <a:pt x="566" y="1179"/>
                </a:lnTo>
                <a:lnTo>
                  <a:pt x="564" y="1180"/>
                </a:lnTo>
                <a:lnTo>
                  <a:pt x="561" y="1181"/>
                </a:lnTo>
                <a:lnTo>
                  <a:pt x="559" y="1182"/>
                </a:lnTo>
                <a:lnTo>
                  <a:pt x="556" y="1183"/>
                </a:lnTo>
                <a:lnTo>
                  <a:pt x="555" y="1183"/>
                </a:lnTo>
                <a:lnTo>
                  <a:pt x="553" y="1183"/>
                </a:lnTo>
                <a:lnTo>
                  <a:pt x="551" y="1181"/>
                </a:lnTo>
                <a:lnTo>
                  <a:pt x="549" y="1176"/>
                </a:lnTo>
                <a:lnTo>
                  <a:pt x="547" y="1172"/>
                </a:lnTo>
                <a:lnTo>
                  <a:pt x="544" y="1167"/>
                </a:lnTo>
                <a:lnTo>
                  <a:pt x="543" y="1161"/>
                </a:lnTo>
                <a:lnTo>
                  <a:pt x="543" y="1156"/>
                </a:lnTo>
                <a:lnTo>
                  <a:pt x="541" y="1153"/>
                </a:lnTo>
                <a:lnTo>
                  <a:pt x="536" y="1148"/>
                </a:lnTo>
                <a:lnTo>
                  <a:pt x="534" y="1144"/>
                </a:lnTo>
                <a:lnTo>
                  <a:pt x="532" y="1137"/>
                </a:lnTo>
                <a:lnTo>
                  <a:pt x="529" y="1131"/>
                </a:lnTo>
                <a:lnTo>
                  <a:pt x="529" y="1130"/>
                </a:lnTo>
                <a:lnTo>
                  <a:pt x="528" y="1127"/>
                </a:lnTo>
                <a:lnTo>
                  <a:pt x="527" y="1126"/>
                </a:lnTo>
                <a:lnTo>
                  <a:pt x="526" y="1126"/>
                </a:lnTo>
                <a:lnTo>
                  <a:pt x="526" y="1126"/>
                </a:lnTo>
                <a:lnTo>
                  <a:pt x="525" y="1124"/>
                </a:lnTo>
                <a:lnTo>
                  <a:pt x="525" y="1121"/>
                </a:lnTo>
                <a:lnTo>
                  <a:pt x="526" y="1117"/>
                </a:lnTo>
                <a:lnTo>
                  <a:pt x="526" y="1113"/>
                </a:lnTo>
                <a:lnTo>
                  <a:pt x="525" y="1110"/>
                </a:lnTo>
                <a:lnTo>
                  <a:pt x="521" y="1106"/>
                </a:lnTo>
                <a:lnTo>
                  <a:pt x="521" y="1109"/>
                </a:lnTo>
                <a:lnTo>
                  <a:pt x="521" y="1111"/>
                </a:lnTo>
                <a:lnTo>
                  <a:pt x="521" y="1111"/>
                </a:lnTo>
                <a:lnTo>
                  <a:pt x="521" y="1109"/>
                </a:lnTo>
                <a:lnTo>
                  <a:pt x="521" y="1106"/>
                </a:lnTo>
                <a:lnTo>
                  <a:pt x="521" y="1105"/>
                </a:lnTo>
                <a:lnTo>
                  <a:pt x="521" y="1104"/>
                </a:lnTo>
                <a:lnTo>
                  <a:pt x="522" y="1102"/>
                </a:lnTo>
                <a:lnTo>
                  <a:pt x="522" y="1100"/>
                </a:lnTo>
                <a:lnTo>
                  <a:pt x="520" y="1090"/>
                </a:lnTo>
                <a:lnTo>
                  <a:pt x="518" y="1079"/>
                </a:lnTo>
                <a:lnTo>
                  <a:pt x="515" y="1070"/>
                </a:lnTo>
                <a:lnTo>
                  <a:pt x="511" y="1060"/>
                </a:lnTo>
                <a:lnTo>
                  <a:pt x="509" y="1057"/>
                </a:lnTo>
                <a:lnTo>
                  <a:pt x="507" y="1054"/>
                </a:lnTo>
                <a:lnTo>
                  <a:pt x="507" y="1053"/>
                </a:lnTo>
                <a:lnTo>
                  <a:pt x="507" y="1051"/>
                </a:lnTo>
                <a:lnTo>
                  <a:pt x="509" y="1050"/>
                </a:lnTo>
                <a:lnTo>
                  <a:pt x="513" y="1050"/>
                </a:lnTo>
                <a:lnTo>
                  <a:pt x="513" y="1049"/>
                </a:lnTo>
                <a:lnTo>
                  <a:pt x="513" y="1048"/>
                </a:lnTo>
                <a:lnTo>
                  <a:pt x="512" y="1043"/>
                </a:lnTo>
                <a:lnTo>
                  <a:pt x="511" y="1040"/>
                </a:lnTo>
                <a:lnTo>
                  <a:pt x="506" y="1027"/>
                </a:lnTo>
                <a:lnTo>
                  <a:pt x="499" y="1013"/>
                </a:lnTo>
                <a:lnTo>
                  <a:pt x="495" y="1007"/>
                </a:lnTo>
                <a:lnTo>
                  <a:pt x="492" y="1001"/>
                </a:lnTo>
                <a:lnTo>
                  <a:pt x="491" y="998"/>
                </a:lnTo>
                <a:lnTo>
                  <a:pt x="487" y="995"/>
                </a:lnTo>
                <a:lnTo>
                  <a:pt x="485" y="993"/>
                </a:lnTo>
                <a:lnTo>
                  <a:pt x="480" y="992"/>
                </a:lnTo>
                <a:lnTo>
                  <a:pt x="479" y="990"/>
                </a:lnTo>
                <a:lnTo>
                  <a:pt x="479" y="986"/>
                </a:lnTo>
                <a:lnTo>
                  <a:pt x="479" y="985"/>
                </a:lnTo>
                <a:lnTo>
                  <a:pt x="479" y="983"/>
                </a:lnTo>
                <a:lnTo>
                  <a:pt x="478" y="983"/>
                </a:lnTo>
                <a:lnTo>
                  <a:pt x="475" y="981"/>
                </a:lnTo>
                <a:lnTo>
                  <a:pt x="473" y="976"/>
                </a:lnTo>
                <a:lnTo>
                  <a:pt x="471" y="970"/>
                </a:lnTo>
                <a:lnTo>
                  <a:pt x="471" y="967"/>
                </a:lnTo>
                <a:lnTo>
                  <a:pt x="468" y="966"/>
                </a:lnTo>
                <a:lnTo>
                  <a:pt x="468" y="965"/>
                </a:lnTo>
                <a:lnTo>
                  <a:pt x="468" y="964"/>
                </a:lnTo>
                <a:lnTo>
                  <a:pt x="466" y="957"/>
                </a:lnTo>
                <a:lnTo>
                  <a:pt x="465" y="949"/>
                </a:lnTo>
                <a:lnTo>
                  <a:pt x="463" y="946"/>
                </a:lnTo>
                <a:lnTo>
                  <a:pt x="461" y="946"/>
                </a:lnTo>
                <a:lnTo>
                  <a:pt x="460" y="946"/>
                </a:lnTo>
                <a:lnTo>
                  <a:pt x="458" y="949"/>
                </a:lnTo>
                <a:lnTo>
                  <a:pt x="457" y="952"/>
                </a:lnTo>
                <a:lnTo>
                  <a:pt x="457" y="957"/>
                </a:lnTo>
                <a:lnTo>
                  <a:pt x="459" y="963"/>
                </a:lnTo>
                <a:lnTo>
                  <a:pt x="463" y="966"/>
                </a:lnTo>
                <a:lnTo>
                  <a:pt x="463" y="970"/>
                </a:lnTo>
                <a:lnTo>
                  <a:pt x="463" y="972"/>
                </a:lnTo>
                <a:lnTo>
                  <a:pt x="463" y="974"/>
                </a:lnTo>
                <a:lnTo>
                  <a:pt x="464" y="977"/>
                </a:lnTo>
                <a:lnTo>
                  <a:pt x="465" y="979"/>
                </a:lnTo>
                <a:lnTo>
                  <a:pt x="467" y="980"/>
                </a:lnTo>
                <a:lnTo>
                  <a:pt x="467" y="984"/>
                </a:lnTo>
                <a:lnTo>
                  <a:pt x="467" y="986"/>
                </a:lnTo>
                <a:lnTo>
                  <a:pt x="467" y="988"/>
                </a:lnTo>
                <a:lnTo>
                  <a:pt x="467" y="991"/>
                </a:lnTo>
                <a:lnTo>
                  <a:pt x="468" y="993"/>
                </a:lnTo>
                <a:lnTo>
                  <a:pt x="471" y="994"/>
                </a:lnTo>
                <a:lnTo>
                  <a:pt x="475" y="1009"/>
                </a:lnTo>
                <a:lnTo>
                  <a:pt x="480" y="1025"/>
                </a:lnTo>
                <a:lnTo>
                  <a:pt x="486" y="1040"/>
                </a:lnTo>
                <a:lnTo>
                  <a:pt x="492" y="1056"/>
                </a:lnTo>
                <a:lnTo>
                  <a:pt x="494" y="1067"/>
                </a:lnTo>
                <a:lnTo>
                  <a:pt x="498" y="1076"/>
                </a:lnTo>
                <a:lnTo>
                  <a:pt x="500" y="1086"/>
                </a:lnTo>
                <a:lnTo>
                  <a:pt x="504" y="1097"/>
                </a:lnTo>
                <a:lnTo>
                  <a:pt x="507" y="1109"/>
                </a:lnTo>
                <a:lnTo>
                  <a:pt x="512" y="1120"/>
                </a:lnTo>
                <a:lnTo>
                  <a:pt x="512" y="1117"/>
                </a:lnTo>
                <a:lnTo>
                  <a:pt x="513" y="1112"/>
                </a:lnTo>
                <a:lnTo>
                  <a:pt x="512" y="1117"/>
                </a:lnTo>
                <a:lnTo>
                  <a:pt x="512" y="1120"/>
                </a:lnTo>
                <a:lnTo>
                  <a:pt x="512" y="1121"/>
                </a:lnTo>
                <a:lnTo>
                  <a:pt x="513" y="1123"/>
                </a:lnTo>
                <a:lnTo>
                  <a:pt x="513" y="1126"/>
                </a:lnTo>
                <a:lnTo>
                  <a:pt x="513" y="1128"/>
                </a:lnTo>
                <a:lnTo>
                  <a:pt x="514" y="1132"/>
                </a:lnTo>
                <a:lnTo>
                  <a:pt x="516" y="1134"/>
                </a:lnTo>
                <a:lnTo>
                  <a:pt x="516" y="1138"/>
                </a:lnTo>
                <a:lnTo>
                  <a:pt x="518" y="1141"/>
                </a:lnTo>
                <a:lnTo>
                  <a:pt x="518" y="1142"/>
                </a:lnTo>
                <a:lnTo>
                  <a:pt x="518" y="1145"/>
                </a:lnTo>
                <a:lnTo>
                  <a:pt x="519" y="1146"/>
                </a:lnTo>
                <a:lnTo>
                  <a:pt x="521" y="1147"/>
                </a:lnTo>
                <a:lnTo>
                  <a:pt x="522" y="1153"/>
                </a:lnTo>
                <a:lnTo>
                  <a:pt x="523" y="1158"/>
                </a:lnTo>
                <a:lnTo>
                  <a:pt x="528" y="1168"/>
                </a:lnTo>
                <a:lnTo>
                  <a:pt x="530" y="1179"/>
                </a:lnTo>
                <a:lnTo>
                  <a:pt x="530" y="1181"/>
                </a:lnTo>
                <a:lnTo>
                  <a:pt x="532" y="1183"/>
                </a:lnTo>
                <a:lnTo>
                  <a:pt x="533" y="1186"/>
                </a:lnTo>
                <a:lnTo>
                  <a:pt x="535" y="1188"/>
                </a:lnTo>
                <a:lnTo>
                  <a:pt x="535" y="1188"/>
                </a:lnTo>
                <a:lnTo>
                  <a:pt x="535" y="1189"/>
                </a:lnTo>
                <a:lnTo>
                  <a:pt x="535" y="1191"/>
                </a:lnTo>
                <a:lnTo>
                  <a:pt x="536" y="1194"/>
                </a:lnTo>
                <a:lnTo>
                  <a:pt x="537" y="1195"/>
                </a:lnTo>
                <a:lnTo>
                  <a:pt x="540" y="1197"/>
                </a:lnTo>
                <a:lnTo>
                  <a:pt x="540" y="1197"/>
                </a:lnTo>
                <a:lnTo>
                  <a:pt x="540" y="1198"/>
                </a:lnTo>
                <a:lnTo>
                  <a:pt x="541" y="1203"/>
                </a:lnTo>
                <a:lnTo>
                  <a:pt x="541" y="1210"/>
                </a:lnTo>
                <a:lnTo>
                  <a:pt x="539" y="1207"/>
                </a:lnTo>
                <a:lnTo>
                  <a:pt x="536" y="1205"/>
                </a:lnTo>
                <a:lnTo>
                  <a:pt x="535" y="1207"/>
                </a:lnTo>
                <a:lnTo>
                  <a:pt x="535" y="1208"/>
                </a:lnTo>
                <a:lnTo>
                  <a:pt x="536" y="1210"/>
                </a:lnTo>
                <a:lnTo>
                  <a:pt x="536" y="1211"/>
                </a:lnTo>
                <a:lnTo>
                  <a:pt x="539" y="1217"/>
                </a:lnTo>
                <a:lnTo>
                  <a:pt x="540" y="1224"/>
                </a:lnTo>
                <a:lnTo>
                  <a:pt x="541" y="1235"/>
                </a:lnTo>
                <a:lnTo>
                  <a:pt x="544" y="1244"/>
                </a:lnTo>
                <a:lnTo>
                  <a:pt x="547" y="1247"/>
                </a:lnTo>
                <a:lnTo>
                  <a:pt x="550" y="1252"/>
                </a:lnTo>
                <a:lnTo>
                  <a:pt x="554" y="1254"/>
                </a:lnTo>
                <a:lnTo>
                  <a:pt x="559" y="1258"/>
                </a:lnTo>
                <a:lnTo>
                  <a:pt x="560" y="1259"/>
                </a:lnTo>
                <a:lnTo>
                  <a:pt x="561" y="1260"/>
                </a:lnTo>
                <a:lnTo>
                  <a:pt x="563" y="1263"/>
                </a:lnTo>
                <a:lnTo>
                  <a:pt x="567" y="1265"/>
                </a:lnTo>
                <a:lnTo>
                  <a:pt x="570" y="1267"/>
                </a:lnTo>
                <a:lnTo>
                  <a:pt x="574" y="1268"/>
                </a:lnTo>
                <a:lnTo>
                  <a:pt x="581" y="1270"/>
                </a:lnTo>
                <a:lnTo>
                  <a:pt x="589" y="1271"/>
                </a:lnTo>
                <a:lnTo>
                  <a:pt x="591" y="1271"/>
                </a:lnTo>
                <a:lnTo>
                  <a:pt x="594" y="1271"/>
                </a:lnTo>
                <a:lnTo>
                  <a:pt x="596" y="1271"/>
                </a:lnTo>
                <a:lnTo>
                  <a:pt x="597" y="1268"/>
                </a:lnTo>
                <a:lnTo>
                  <a:pt x="597" y="1266"/>
                </a:lnTo>
                <a:lnTo>
                  <a:pt x="596" y="1264"/>
                </a:lnTo>
                <a:lnTo>
                  <a:pt x="595" y="1261"/>
                </a:lnTo>
                <a:lnTo>
                  <a:pt x="591" y="1260"/>
                </a:lnTo>
                <a:lnTo>
                  <a:pt x="590" y="1257"/>
                </a:lnTo>
                <a:lnTo>
                  <a:pt x="589" y="1254"/>
                </a:lnTo>
                <a:lnTo>
                  <a:pt x="588" y="1251"/>
                </a:lnTo>
                <a:lnTo>
                  <a:pt x="589" y="1249"/>
                </a:lnTo>
                <a:lnTo>
                  <a:pt x="592" y="1247"/>
                </a:lnTo>
                <a:lnTo>
                  <a:pt x="595" y="1246"/>
                </a:lnTo>
                <a:lnTo>
                  <a:pt x="592" y="1244"/>
                </a:lnTo>
                <a:lnTo>
                  <a:pt x="589" y="1243"/>
                </a:lnTo>
                <a:lnTo>
                  <a:pt x="585" y="1240"/>
                </a:lnTo>
                <a:lnTo>
                  <a:pt x="583" y="1235"/>
                </a:lnTo>
                <a:lnTo>
                  <a:pt x="581" y="1229"/>
                </a:lnTo>
                <a:lnTo>
                  <a:pt x="580" y="1225"/>
                </a:lnTo>
                <a:lnTo>
                  <a:pt x="582" y="1223"/>
                </a:lnTo>
                <a:lnTo>
                  <a:pt x="584" y="1223"/>
                </a:lnTo>
                <a:lnTo>
                  <a:pt x="590" y="1223"/>
                </a:lnTo>
                <a:lnTo>
                  <a:pt x="595" y="1221"/>
                </a:lnTo>
                <a:lnTo>
                  <a:pt x="598" y="1218"/>
                </a:lnTo>
                <a:lnTo>
                  <a:pt x="601" y="1218"/>
                </a:lnTo>
                <a:lnTo>
                  <a:pt x="604" y="1219"/>
                </a:lnTo>
                <a:lnTo>
                  <a:pt x="606" y="1222"/>
                </a:lnTo>
                <a:lnTo>
                  <a:pt x="609" y="1225"/>
                </a:lnTo>
                <a:lnTo>
                  <a:pt x="612" y="1226"/>
                </a:lnTo>
                <a:lnTo>
                  <a:pt x="616" y="1228"/>
                </a:lnTo>
                <a:lnTo>
                  <a:pt x="619" y="1228"/>
                </a:lnTo>
                <a:lnTo>
                  <a:pt x="626" y="1226"/>
                </a:lnTo>
                <a:lnTo>
                  <a:pt x="632" y="1228"/>
                </a:lnTo>
                <a:lnTo>
                  <a:pt x="635" y="1228"/>
                </a:lnTo>
                <a:lnTo>
                  <a:pt x="636" y="1230"/>
                </a:lnTo>
                <a:lnTo>
                  <a:pt x="636" y="1231"/>
                </a:lnTo>
                <a:lnTo>
                  <a:pt x="633" y="1233"/>
                </a:lnTo>
                <a:lnTo>
                  <a:pt x="629" y="1235"/>
                </a:lnTo>
                <a:lnTo>
                  <a:pt x="625" y="1236"/>
                </a:lnTo>
                <a:lnTo>
                  <a:pt x="620" y="1235"/>
                </a:lnTo>
                <a:lnTo>
                  <a:pt x="616" y="1232"/>
                </a:lnTo>
                <a:lnTo>
                  <a:pt x="612" y="1231"/>
                </a:lnTo>
                <a:lnTo>
                  <a:pt x="608" y="1232"/>
                </a:lnTo>
                <a:lnTo>
                  <a:pt x="604" y="1233"/>
                </a:lnTo>
                <a:lnTo>
                  <a:pt x="601" y="1236"/>
                </a:lnTo>
                <a:lnTo>
                  <a:pt x="599" y="1237"/>
                </a:lnTo>
                <a:lnTo>
                  <a:pt x="598" y="1238"/>
                </a:lnTo>
                <a:lnTo>
                  <a:pt x="599" y="1239"/>
                </a:lnTo>
                <a:lnTo>
                  <a:pt x="601" y="1242"/>
                </a:lnTo>
                <a:lnTo>
                  <a:pt x="605" y="1249"/>
                </a:lnTo>
                <a:lnTo>
                  <a:pt x="610" y="1257"/>
                </a:lnTo>
                <a:lnTo>
                  <a:pt x="610" y="1259"/>
                </a:lnTo>
                <a:lnTo>
                  <a:pt x="609" y="1260"/>
                </a:lnTo>
                <a:lnTo>
                  <a:pt x="606" y="1261"/>
                </a:lnTo>
                <a:lnTo>
                  <a:pt x="605" y="1263"/>
                </a:lnTo>
                <a:lnTo>
                  <a:pt x="604" y="1264"/>
                </a:lnTo>
                <a:lnTo>
                  <a:pt x="605" y="1265"/>
                </a:lnTo>
                <a:lnTo>
                  <a:pt x="608" y="1266"/>
                </a:lnTo>
                <a:lnTo>
                  <a:pt x="611" y="1267"/>
                </a:lnTo>
                <a:lnTo>
                  <a:pt x="613" y="1270"/>
                </a:lnTo>
                <a:lnTo>
                  <a:pt x="616" y="1272"/>
                </a:lnTo>
                <a:lnTo>
                  <a:pt x="617" y="1274"/>
                </a:lnTo>
                <a:lnTo>
                  <a:pt x="617" y="1278"/>
                </a:lnTo>
                <a:lnTo>
                  <a:pt x="615" y="1280"/>
                </a:lnTo>
                <a:lnTo>
                  <a:pt x="612" y="1279"/>
                </a:lnTo>
                <a:lnTo>
                  <a:pt x="599" y="1279"/>
                </a:lnTo>
                <a:lnTo>
                  <a:pt x="585" y="1278"/>
                </a:lnTo>
                <a:lnTo>
                  <a:pt x="571" y="1274"/>
                </a:lnTo>
                <a:lnTo>
                  <a:pt x="556" y="1271"/>
                </a:lnTo>
                <a:lnTo>
                  <a:pt x="541" y="1268"/>
                </a:lnTo>
                <a:lnTo>
                  <a:pt x="526" y="1265"/>
                </a:lnTo>
                <a:lnTo>
                  <a:pt x="513" y="1260"/>
                </a:lnTo>
                <a:lnTo>
                  <a:pt x="500" y="1256"/>
                </a:lnTo>
                <a:lnTo>
                  <a:pt x="488" y="1250"/>
                </a:lnTo>
                <a:lnTo>
                  <a:pt x="475" y="1245"/>
                </a:lnTo>
                <a:lnTo>
                  <a:pt x="472" y="1243"/>
                </a:lnTo>
                <a:lnTo>
                  <a:pt x="468" y="1239"/>
                </a:lnTo>
                <a:lnTo>
                  <a:pt x="465" y="1237"/>
                </a:lnTo>
                <a:lnTo>
                  <a:pt x="460" y="1236"/>
                </a:lnTo>
                <a:lnTo>
                  <a:pt x="464" y="1242"/>
                </a:lnTo>
                <a:lnTo>
                  <a:pt x="467" y="1247"/>
                </a:lnTo>
                <a:lnTo>
                  <a:pt x="472" y="1251"/>
                </a:lnTo>
                <a:lnTo>
                  <a:pt x="478" y="1254"/>
                </a:lnTo>
                <a:lnTo>
                  <a:pt x="499" y="1263"/>
                </a:lnTo>
                <a:lnTo>
                  <a:pt x="521" y="1270"/>
                </a:lnTo>
                <a:lnTo>
                  <a:pt x="543" y="1277"/>
                </a:lnTo>
                <a:lnTo>
                  <a:pt x="566" y="1282"/>
                </a:lnTo>
                <a:lnTo>
                  <a:pt x="581" y="1285"/>
                </a:lnTo>
                <a:lnTo>
                  <a:pt x="595" y="1287"/>
                </a:lnTo>
                <a:lnTo>
                  <a:pt x="611" y="1291"/>
                </a:lnTo>
                <a:lnTo>
                  <a:pt x="629" y="1293"/>
                </a:lnTo>
                <a:lnTo>
                  <a:pt x="644" y="1295"/>
                </a:lnTo>
                <a:lnTo>
                  <a:pt x="660" y="1298"/>
                </a:lnTo>
                <a:lnTo>
                  <a:pt x="675" y="1300"/>
                </a:lnTo>
                <a:lnTo>
                  <a:pt x="692" y="1301"/>
                </a:lnTo>
                <a:lnTo>
                  <a:pt x="702" y="1303"/>
                </a:lnTo>
                <a:lnTo>
                  <a:pt x="714" y="1305"/>
                </a:lnTo>
                <a:lnTo>
                  <a:pt x="716" y="1307"/>
                </a:lnTo>
                <a:lnTo>
                  <a:pt x="719" y="1309"/>
                </a:lnTo>
                <a:lnTo>
                  <a:pt x="722" y="1309"/>
                </a:lnTo>
                <a:lnTo>
                  <a:pt x="726" y="1310"/>
                </a:lnTo>
                <a:lnTo>
                  <a:pt x="732" y="1309"/>
                </a:lnTo>
                <a:lnTo>
                  <a:pt x="737" y="1309"/>
                </a:lnTo>
                <a:lnTo>
                  <a:pt x="741" y="1309"/>
                </a:lnTo>
                <a:lnTo>
                  <a:pt x="743" y="1309"/>
                </a:lnTo>
                <a:lnTo>
                  <a:pt x="746" y="1308"/>
                </a:lnTo>
                <a:lnTo>
                  <a:pt x="747" y="1306"/>
                </a:lnTo>
                <a:lnTo>
                  <a:pt x="755" y="1306"/>
                </a:lnTo>
                <a:lnTo>
                  <a:pt x="762" y="1306"/>
                </a:lnTo>
                <a:lnTo>
                  <a:pt x="763" y="1307"/>
                </a:lnTo>
                <a:lnTo>
                  <a:pt x="764" y="1307"/>
                </a:lnTo>
                <a:lnTo>
                  <a:pt x="765" y="1307"/>
                </a:lnTo>
                <a:lnTo>
                  <a:pt x="765" y="1306"/>
                </a:lnTo>
                <a:lnTo>
                  <a:pt x="768" y="1306"/>
                </a:lnTo>
                <a:lnTo>
                  <a:pt x="770" y="1306"/>
                </a:lnTo>
                <a:lnTo>
                  <a:pt x="772" y="1308"/>
                </a:lnTo>
                <a:lnTo>
                  <a:pt x="775" y="1308"/>
                </a:lnTo>
                <a:lnTo>
                  <a:pt x="777" y="1308"/>
                </a:lnTo>
                <a:lnTo>
                  <a:pt x="780" y="1308"/>
                </a:lnTo>
                <a:lnTo>
                  <a:pt x="790" y="1312"/>
                </a:lnTo>
                <a:lnTo>
                  <a:pt x="801" y="1314"/>
                </a:lnTo>
                <a:lnTo>
                  <a:pt x="818" y="1314"/>
                </a:lnTo>
                <a:lnTo>
                  <a:pt x="834" y="1314"/>
                </a:lnTo>
                <a:lnTo>
                  <a:pt x="852" y="1313"/>
                </a:lnTo>
                <a:lnTo>
                  <a:pt x="868" y="1310"/>
                </a:lnTo>
                <a:lnTo>
                  <a:pt x="870" y="1310"/>
                </a:lnTo>
                <a:lnTo>
                  <a:pt x="871" y="1309"/>
                </a:lnTo>
                <a:lnTo>
                  <a:pt x="871" y="1307"/>
                </a:lnTo>
                <a:lnTo>
                  <a:pt x="870" y="1305"/>
                </a:lnTo>
                <a:lnTo>
                  <a:pt x="867" y="1302"/>
                </a:lnTo>
                <a:lnTo>
                  <a:pt x="865" y="1301"/>
                </a:lnTo>
                <a:lnTo>
                  <a:pt x="863" y="1301"/>
                </a:lnTo>
                <a:lnTo>
                  <a:pt x="860" y="1299"/>
                </a:lnTo>
                <a:lnTo>
                  <a:pt x="860" y="1299"/>
                </a:lnTo>
                <a:lnTo>
                  <a:pt x="863" y="1299"/>
                </a:lnTo>
                <a:lnTo>
                  <a:pt x="866" y="1299"/>
                </a:lnTo>
                <a:lnTo>
                  <a:pt x="868" y="1299"/>
                </a:lnTo>
                <a:lnTo>
                  <a:pt x="870" y="1296"/>
                </a:lnTo>
                <a:lnTo>
                  <a:pt x="871" y="1296"/>
                </a:lnTo>
                <a:lnTo>
                  <a:pt x="871" y="1296"/>
                </a:lnTo>
                <a:lnTo>
                  <a:pt x="872" y="1294"/>
                </a:lnTo>
                <a:lnTo>
                  <a:pt x="873" y="1292"/>
                </a:lnTo>
                <a:lnTo>
                  <a:pt x="872" y="1294"/>
                </a:lnTo>
                <a:lnTo>
                  <a:pt x="871" y="1296"/>
                </a:lnTo>
                <a:lnTo>
                  <a:pt x="878" y="1295"/>
                </a:lnTo>
                <a:lnTo>
                  <a:pt x="884" y="1293"/>
                </a:lnTo>
                <a:lnTo>
                  <a:pt x="899" y="1288"/>
                </a:lnTo>
                <a:lnTo>
                  <a:pt x="915" y="1282"/>
                </a:lnTo>
                <a:lnTo>
                  <a:pt x="920" y="1279"/>
                </a:lnTo>
                <a:lnTo>
                  <a:pt x="925" y="1275"/>
                </a:lnTo>
                <a:lnTo>
                  <a:pt x="927" y="1271"/>
                </a:lnTo>
                <a:lnTo>
                  <a:pt x="927" y="1265"/>
                </a:lnTo>
                <a:lnTo>
                  <a:pt x="927" y="1257"/>
                </a:lnTo>
                <a:lnTo>
                  <a:pt x="928" y="1247"/>
                </a:lnTo>
                <a:lnTo>
                  <a:pt x="929" y="1236"/>
                </a:lnTo>
                <a:lnTo>
                  <a:pt x="928" y="1224"/>
                </a:lnTo>
                <a:lnTo>
                  <a:pt x="927" y="1212"/>
                </a:lnTo>
                <a:lnTo>
                  <a:pt x="925" y="1201"/>
                </a:lnTo>
                <a:lnTo>
                  <a:pt x="925" y="1198"/>
                </a:lnTo>
                <a:lnTo>
                  <a:pt x="925" y="1195"/>
                </a:lnTo>
                <a:lnTo>
                  <a:pt x="925" y="1183"/>
                </a:lnTo>
                <a:lnTo>
                  <a:pt x="923" y="1170"/>
                </a:lnTo>
                <a:lnTo>
                  <a:pt x="921" y="1159"/>
                </a:lnTo>
                <a:lnTo>
                  <a:pt x="919" y="1147"/>
                </a:lnTo>
                <a:lnTo>
                  <a:pt x="920" y="1134"/>
                </a:lnTo>
                <a:lnTo>
                  <a:pt x="921" y="1121"/>
                </a:lnTo>
                <a:lnTo>
                  <a:pt x="921" y="1116"/>
                </a:lnTo>
                <a:lnTo>
                  <a:pt x="920" y="1111"/>
                </a:lnTo>
                <a:lnTo>
                  <a:pt x="919" y="1105"/>
                </a:lnTo>
                <a:lnTo>
                  <a:pt x="916" y="1099"/>
                </a:lnTo>
                <a:lnTo>
                  <a:pt x="912" y="1090"/>
                </a:lnTo>
                <a:lnTo>
                  <a:pt x="907" y="1079"/>
                </a:lnTo>
                <a:lnTo>
                  <a:pt x="905" y="1079"/>
                </a:lnTo>
                <a:lnTo>
                  <a:pt x="902" y="1078"/>
                </a:lnTo>
                <a:lnTo>
                  <a:pt x="900" y="1076"/>
                </a:lnTo>
                <a:lnTo>
                  <a:pt x="899" y="1072"/>
                </a:lnTo>
                <a:lnTo>
                  <a:pt x="896" y="1062"/>
                </a:lnTo>
                <a:lnTo>
                  <a:pt x="893" y="1051"/>
                </a:lnTo>
                <a:lnTo>
                  <a:pt x="891" y="1049"/>
                </a:lnTo>
                <a:lnTo>
                  <a:pt x="888" y="1049"/>
                </a:lnTo>
                <a:lnTo>
                  <a:pt x="887" y="1050"/>
                </a:lnTo>
                <a:lnTo>
                  <a:pt x="887" y="1053"/>
                </a:lnTo>
                <a:lnTo>
                  <a:pt x="887" y="1057"/>
                </a:lnTo>
                <a:lnTo>
                  <a:pt x="889" y="1061"/>
                </a:lnTo>
                <a:lnTo>
                  <a:pt x="889" y="1063"/>
                </a:lnTo>
                <a:lnTo>
                  <a:pt x="891" y="1065"/>
                </a:lnTo>
                <a:lnTo>
                  <a:pt x="889" y="1068"/>
                </a:lnTo>
                <a:lnTo>
                  <a:pt x="887" y="1071"/>
                </a:lnTo>
                <a:lnTo>
                  <a:pt x="886" y="1071"/>
                </a:lnTo>
                <a:lnTo>
                  <a:pt x="885" y="1070"/>
                </a:lnTo>
                <a:lnTo>
                  <a:pt x="884" y="1068"/>
                </a:lnTo>
                <a:lnTo>
                  <a:pt x="885" y="1064"/>
                </a:lnTo>
                <a:lnTo>
                  <a:pt x="886" y="1062"/>
                </a:lnTo>
                <a:lnTo>
                  <a:pt x="885" y="1058"/>
                </a:lnTo>
                <a:lnTo>
                  <a:pt x="880" y="1068"/>
                </a:lnTo>
                <a:lnTo>
                  <a:pt x="875" y="1077"/>
                </a:lnTo>
                <a:lnTo>
                  <a:pt x="880" y="1068"/>
                </a:lnTo>
                <a:lnTo>
                  <a:pt x="885" y="1058"/>
                </a:lnTo>
                <a:lnTo>
                  <a:pt x="885" y="1056"/>
                </a:lnTo>
                <a:lnTo>
                  <a:pt x="885" y="1054"/>
                </a:lnTo>
                <a:lnTo>
                  <a:pt x="886" y="1053"/>
                </a:lnTo>
                <a:lnTo>
                  <a:pt x="886" y="1051"/>
                </a:lnTo>
                <a:lnTo>
                  <a:pt x="886" y="1049"/>
                </a:lnTo>
                <a:lnTo>
                  <a:pt x="885" y="1048"/>
                </a:lnTo>
                <a:lnTo>
                  <a:pt x="885" y="1044"/>
                </a:lnTo>
                <a:lnTo>
                  <a:pt x="885" y="1042"/>
                </a:lnTo>
                <a:lnTo>
                  <a:pt x="886" y="1041"/>
                </a:lnTo>
                <a:lnTo>
                  <a:pt x="886" y="1040"/>
                </a:lnTo>
                <a:lnTo>
                  <a:pt x="887" y="1036"/>
                </a:lnTo>
                <a:lnTo>
                  <a:pt x="887" y="1033"/>
                </a:lnTo>
                <a:lnTo>
                  <a:pt x="887" y="1029"/>
                </a:lnTo>
                <a:lnTo>
                  <a:pt x="886" y="1026"/>
                </a:lnTo>
                <a:lnTo>
                  <a:pt x="887" y="1029"/>
                </a:lnTo>
                <a:lnTo>
                  <a:pt x="887" y="1033"/>
                </a:lnTo>
                <a:lnTo>
                  <a:pt x="887" y="1036"/>
                </a:lnTo>
                <a:lnTo>
                  <a:pt x="886" y="1040"/>
                </a:lnTo>
                <a:lnTo>
                  <a:pt x="888" y="1039"/>
                </a:lnTo>
                <a:lnTo>
                  <a:pt x="891" y="1039"/>
                </a:lnTo>
                <a:lnTo>
                  <a:pt x="892" y="1037"/>
                </a:lnTo>
                <a:lnTo>
                  <a:pt x="892" y="1036"/>
                </a:lnTo>
                <a:lnTo>
                  <a:pt x="894" y="1033"/>
                </a:lnTo>
                <a:lnTo>
                  <a:pt x="894" y="1028"/>
                </a:lnTo>
                <a:lnTo>
                  <a:pt x="893" y="1021"/>
                </a:lnTo>
                <a:lnTo>
                  <a:pt x="892" y="1013"/>
                </a:lnTo>
                <a:lnTo>
                  <a:pt x="894" y="1000"/>
                </a:lnTo>
                <a:lnTo>
                  <a:pt x="898" y="988"/>
                </a:lnTo>
                <a:lnTo>
                  <a:pt x="900" y="985"/>
                </a:lnTo>
                <a:lnTo>
                  <a:pt x="901" y="980"/>
                </a:lnTo>
                <a:lnTo>
                  <a:pt x="902" y="980"/>
                </a:lnTo>
                <a:lnTo>
                  <a:pt x="902" y="980"/>
                </a:lnTo>
                <a:lnTo>
                  <a:pt x="906" y="974"/>
                </a:lnTo>
                <a:lnTo>
                  <a:pt x="908" y="970"/>
                </a:lnTo>
                <a:lnTo>
                  <a:pt x="908" y="965"/>
                </a:lnTo>
                <a:lnTo>
                  <a:pt x="906" y="962"/>
                </a:lnTo>
                <a:lnTo>
                  <a:pt x="902" y="958"/>
                </a:lnTo>
                <a:lnTo>
                  <a:pt x="900" y="956"/>
                </a:lnTo>
                <a:lnTo>
                  <a:pt x="902" y="955"/>
                </a:lnTo>
                <a:lnTo>
                  <a:pt x="905" y="956"/>
                </a:lnTo>
                <a:lnTo>
                  <a:pt x="906" y="958"/>
                </a:lnTo>
                <a:lnTo>
                  <a:pt x="907" y="959"/>
                </a:lnTo>
                <a:lnTo>
                  <a:pt x="908" y="962"/>
                </a:lnTo>
                <a:lnTo>
                  <a:pt x="910" y="964"/>
                </a:lnTo>
                <a:lnTo>
                  <a:pt x="912" y="964"/>
                </a:lnTo>
                <a:lnTo>
                  <a:pt x="914" y="963"/>
                </a:lnTo>
                <a:lnTo>
                  <a:pt x="915" y="960"/>
                </a:lnTo>
                <a:lnTo>
                  <a:pt x="915" y="958"/>
                </a:lnTo>
                <a:lnTo>
                  <a:pt x="915" y="956"/>
                </a:lnTo>
                <a:lnTo>
                  <a:pt x="914" y="953"/>
                </a:lnTo>
                <a:lnTo>
                  <a:pt x="913" y="951"/>
                </a:lnTo>
                <a:lnTo>
                  <a:pt x="912" y="951"/>
                </a:lnTo>
                <a:lnTo>
                  <a:pt x="909" y="951"/>
                </a:lnTo>
                <a:lnTo>
                  <a:pt x="907" y="951"/>
                </a:lnTo>
                <a:lnTo>
                  <a:pt x="908" y="949"/>
                </a:lnTo>
                <a:lnTo>
                  <a:pt x="909" y="946"/>
                </a:lnTo>
                <a:lnTo>
                  <a:pt x="910" y="945"/>
                </a:lnTo>
                <a:lnTo>
                  <a:pt x="910" y="944"/>
                </a:lnTo>
                <a:lnTo>
                  <a:pt x="909" y="943"/>
                </a:lnTo>
                <a:lnTo>
                  <a:pt x="907" y="942"/>
                </a:lnTo>
                <a:lnTo>
                  <a:pt x="907" y="939"/>
                </a:lnTo>
                <a:lnTo>
                  <a:pt x="905" y="938"/>
                </a:lnTo>
                <a:lnTo>
                  <a:pt x="905" y="936"/>
                </a:lnTo>
                <a:lnTo>
                  <a:pt x="906" y="934"/>
                </a:lnTo>
                <a:lnTo>
                  <a:pt x="910" y="931"/>
                </a:lnTo>
                <a:lnTo>
                  <a:pt x="915" y="928"/>
                </a:lnTo>
                <a:lnTo>
                  <a:pt x="915" y="930"/>
                </a:lnTo>
                <a:lnTo>
                  <a:pt x="918" y="930"/>
                </a:lnTo>
                <a:lnTo>
                  <a:pt x="919" y="934"/>
                </a:lnTo>
                <a:lnTo>
                  <a:pt x="921" y="935"/>
                </a:lnTo>
                <a:lnTo>
                  <a:pt x="926" y="941"/>
                </a:lnTo>
                <a:lnTo>
                  <a:pt x="928" y="946"/>
                </a:lnTo>
                <a:lnTo>
                  <a:pt x="930" y="952"/>
                </a:lnTo>
                <a:lnTo>
                  <a:pt x="932" y="959"/>
                </a:lnTo>
                <a:lnTo>
                  <a:pt x="932" y="964"/>
                </a:lnTo>
                <a:lnTo>
                  <a:pt x="934" y="969"/>
                </a:lnTo>
                <a:lnTo>
                  <a:pt x="935" y="979"/>
                </a:lnTo>
                <a:lnTo>
                  <a:pt x="937" y="990"/>
                </a:lnTo>
                <a:lnTo>
                  <a:pt x="939" y="1001"/>
                </a:lnTo>
                <a:lnTo>
                  <a:pt x="942" y="1012"/>
                </a:lnTo>
                <a:lnTo>
                  <a:pt x="944" y="1027"/>
                </a:lnTo>
                <a:lnTo>
                  <a:pt x="948" y="1042"/>
                </a:lnTo>
                <a:lnTo>
                  <a:pt x="950" y="1054"/>
                </a:lnTo>
                <a:lnTo>
                  <a:pt x="951" y="1067"/>
                </a:lnTo>
                <a:lnTo>
                  <a:pt x="953" y="1078"/>
                </a:lnTo>
                <a:lnTo>
                  <a:pt x="954" y="1090"/>
                </a:lnTo>
                <a:lnTo>
                  <a:pt x="955" y="1103"/>
                </a:lnTo>
                <a:lnTo>
                  <a:pt x="956" y="1116"/>
                </a:lnTo>
                <a:lnTo>
                  <a:pt x="956" y="1119"/>
                </a:lnTo>
                <a:lnTo>
                  <a:pt x="956" y="1124"/>
                </a:lnTo>
                <a:lnTo>
                  <a:pt x="957" y="1127"/>
                </a:lnTo>
                <a:lnTo>
                  <a:pt x="960" y="1131"/>
                </a:lnTo>
                <a:lnTo>
                  <a:pt x="960" y="1132"/>
                </a:lnTo>
                <a:lnTo>
                  <a:pt x="960" y="1133"/>
                </a:lnTo>
                <a:lnTo>
                  <a:pt x="960" y="1135"/>
                </a:lnTo>
                <a:lnTo>
                  <a:pt x="960" y="1137"/>
                </a:lnTo>
                <a:lnTo>
                  <a:pt x="961" y="1138"/>
                </a:lnTo>
                <a:lnTo>
                  <a:pt x="962" y="1139"/>
                </a:lnTo>
                <a:lnTo>
                  <a:pt x="963" y="1141"/>
                </a:lnTo>
                <a:lnTo>
                  <a:pt x="964" y="1144"/>
                </a:lnTo>
                <a:lnTo>
                  <a:pt x="964" y="1146"/>
                </a:lnTo>
                <a:lnTo>
                  <a:pt x="964" y="1148"/>
                </a:lnTo>
                <a:lnTo>
                  <a:pt x="972" y="1165"/>
                </a:lnTo>
                <a:lnTo>
                  <a:pt x="977" y="1182"/>
                </a:lnTo>
                <a:lnTo>
                  <a:pt x="982" y="1200"/>
                </a:lnTo>
                <a:lnTo>
                  <a:pt x="988" y="1216"/>
                </a:lnTo>
                <a:lnTo>
                  <a:pt x="990" y="1224"/>
                </a:lnTo>
                <a:lnTo>
                  <a:pt x="995" y="1232"/>
                </a:lnTo>
                <a:lnTo>
                  <a:pt x="1001" y="1243"/>
                </a:lnTo>
                <a:lnTo>
                  <a:pt x="1005" y="1254"/>
                </a:lnTo>
                <a:lnTo>
                  <a:pt x="1010" y="1266"/>
                </a:lnTo>
                <a:lnTo>
                  <a:pt x="1015" y="1277"/>
                </a:lnTo>
                <a:lnTo>
                  <a:pt x="1022" y="1293"/>
                </a:lnTo>
                <a:lnTo>
                  <a:pt x="1030" y="1310"/>
                </a:lnTo>
                <a:lnTo>
                  <a:pt x="1037" y="1327"/>
                </a:lnTo>
                <a:lnTo>
                  <a:pt x="1045" y="1343"/>
                </a:lnTo>
                <a:lnTo>
                  <a:pt x="1050" y="1356"/>
                </a:lnTo>
                <a:lnTo>
                  <a:pt x="1054" y="1369"/>
                </a:lnTo>
                <a:lnTo>
                  <a:pt x="1054" y="1375"/>
                </a:lnTo>
                <a:lnTo>
                  <a:pt x="1054" y="1382"/>
                </a:lnTo>
                <a:lnTo>
                  <a:pt x="1053" y="1389"/>
                </a:lnTo>
                <a:lnTo>
                  <a:pt x="1051" y="1396"/>
                </a:lnTo>
                <a:lnTo>
                  <a:pt x="1050" y="1398"/>
                </a:lnTo>
                <a:lnTo>
                  <a:pt x="1050" y="1399"/>
                </a:lnTo>
                <a:lnTo>
                  <a:pt x="1051" y="1403"/>
                </a:lnTo>
                <a:lnTo>
                  <a:pt x="1052" y="1406"/>
                </a:lnTo>
                <a:lnTo>
                  <a:pt x="1051" y="1403"/>
                </a:lnTo>
                <a:lnTo>
                  <a:pt x="1050" y="1399"/>
                </a:lnTo>
                <a:lnTo>
                  <a:pt x="1046" y="1404"/>
                </a:lnTo>
                <a:lnTo>
                  <a:pt x="1043" y="1410"/>
                </a:lnTo>
                <a:lnTo>
                  <a:pt x="1043" y="1410"/>
                </a:lnTo>
                <a:lnTo>
                  <a:pt x="1041" y="1410"/>
                </a:lnTo>
                <a:lnTo>
                  <a:pt x="1041" y="1411"/>
                </a:lnTo>
                <a:lnTo>
                  <a:pt x="1041" y="1411"/>
                </a:lnTo>
                <a:lnTo>
                  <a:pt x="1040" y="1412"/>
                </a:lnTo>
                <a:lnTo>
                  <a:pt x="1040" y="1413"/>
                </a:lnTo>
                <a:lnTo>
                  <a:pt x="1039" y="1414"/>
                </a:lnTo>
                <a:lnTo>
                  <a:pt x="1038" y="1414"/>
                </a:lnTo>
                <a:lnTo>
                  <a:pt x="1037" y="1416"/>
                </a:lnTo>
                <a:lnTo>
                  <a:pt x="1037" y="1417"/>
                </a:lnTo>
                <a:lnTo>
                  <a:pt x="1037" y="1418"/>
                </a:lnTo>
                <a:lnTo>
                  <a:pt x="1037" y="1418"/>
                </a:lnTo>
                <a:lnTo>
                  <a:pt x="1024" y="1428"/>
                </a:lnTo>
                <a:lnTo>
                  <a:pt x="1013" y="1439"/>
                </a:lnTo>
                <a:lnTo>
                  <a:pt x="1009" y="1445"/>
                </a:lnTo>
                <a:lnTo>
                  <a:pt x="1005" y="1452"/>
                </a:lnTo>
                <a:lnTo>
                  <a:pt x="1002" y="1459"/>
                </a:lnTo>
                <a:lnTo>
                  <a:pt x="999" y="1467"/>
                </a:lnTo>
                <a:lnTo>
                  <a:pt x="999" y="1469"/>
                </a:lnTo>
                <a:lnTo>
                  <a:pt x="998" y="1472"/>
                </a:lnTo>
                <a:lnTo>
                  <a:pt x="994" y="1482"/>
                </a:lnTo>
                <a:lnTo>
                  <a:pt x="989" y="1494"/>
                </a:lnTo>
                <a:lnTo>
                  <a:pt x="984" y="1504"/>
                </a:lnTo>
                <a:lnTo>
                  <a:pt x="981" y="1515"/>
                </a:lnTo>
                <a:lnTo>
                  <a:pt x="979" y="1521"/>
                </a:lnTo>
                <a:lnTo>
                  <a:pt x="981" y="1524"/>
                </a:lnTo>
                <a:lnTo>
                  <a:pt x="984" y="1526"/>
                </a:lnTo>
                <a:lnTo>
                  <a:pt x="989" y="1526"/>
                </a:lnTo>
                <a:lnTo>
                  <a:pt x="995" y="1526"/>
                </a:lnTo>
                <a:lnTo>
                  <a:pt x="998" y="1524"/>
                </a:lnTo>
                <a:lnTo>
                  <a:pt x="1002" y="1521"/>
                </a:lnTo>
                <a:lnTo>
                  <a:pt x="1005" y="1517"/>
                </a:lnTo>
                <a:lnTo>
                  <a:pt x="1008" y="1515"/>
                </a:lnTo>
                <a:lnTo>
                  <a:pt x="1010" y="1511"/>
                </a:lnTo>
                <a:lnTo>
                  <a:pt x="1016" y="1497"/>
                </a:lnTo>
                <a:lnTo>
                  <a:pt x="1020" y="1482"/>
                </a:lnTo>
                <a:lnTo>
                  <a:pt x="1023" y="1477"/>
                </a:lnTo>
                <a:lnTo>
                  <a:pt x="1024" y="1476"/>
                </a:lnTo>
                <a:lnTo>
                  <a:pt x="1026" y="1476"/>
                </a:lnTo>
                <a:lnTo>
                  <a:pt x="1030" y="1479"/>
                </a:lnTo>
                <a:lnTo>
                  <a:pt x="1032" y="1481"/>
                </a:lnTo>
                <a:lnTo>
                  <a:pt x="1036" y="1481"/>
                </a:lnTo>
                <a:lnTo>
                  <a:pt x="1040" y="1483"/>
                </a:lnTo>
                <a:lnTo>
                  <a:pt x="1045" y="1487"/>
                </a:lnTo>
                <a:lnTo>
                  <a:pt x="1047" y="1489"/>
                </a:lnTo>
                <a:lnTo>
                  <a:pt x="1047" y="1493"/>
                </a:lnTo>
                <a:lnTo>
                  <a:pt x="1043" y="1503"/>
                </a:lnTo>
                <a:lnTo>
                  <a:pt x="1039" y="1515"/>
                </a:lnTo>
                <a:lnTo>
                  <a:pt x="1036" y="1519"/>
                </a:lnTo>
                <a:lnTo>
                  <a:pt x="1034" y="1525"/>
                </a:lnTo>
                <a:lnTo>
                  <a:pt x="1034" y="1529"/>
                </a:lnTo>
                <a:lnTo>
                  <a:pt x="1033" y="1530"/>
                </a:lnTo>
                <a:lnTo>
                  <a:pt x="1031" y="1531"/>
                </a:lnTo>
                <a:lnTo>
                  <a:pt x="1029" y="1531"/>
                </a:lnTo>
                <a:lnTo>
                  <a:pt x="1022" y="1533"/>
                </a:lnTo>
                <a:lnTo>
                  <a:pt x="1015" y="1535"/>
                </a:lnTo>
                <a:lnTo>
                  <a:pt x="1008" y="1535"/>
                </a:lnTo>
                <a:lnTo>
                  <a:pt x="1001" y="1533"/>
                </a:lnTo>
                <a:lnTo>
                  <a:pt x="997" y="1535"/>
                </a:lnTo>
                <a:lnTo>
                  <a:pt x="994" y="1536"/>
                </a:lnTo>
                <a:lnTo>
                  <a:pt x="991" y="1538"/>
                </a:lnTo>
                <a:lnTo>
                  <a:pt x="990" y="1539"/>
                </a:lnTo>
                <a:lnTo>
                  <a:pt x="989" y="1543"/>
                </a:lnTo>
                <a:lnTo>
                  <a:pt x="989" y="1545"/>
                </a:lnTo>
                <a:lnTo>
                  <a:pt x="990" y="1547"/>
                </a:lnTo>
                <a:lnTo>
                  <a:pt x="991" y="1549"/>
                </a:lnTo>
                <a:lnTo>
                  <a:pt x="994" y="1549"/>
                </a:lnTo>
                <a:lnTo>
                  <a:pt x="997" y="1549"/>
                </a:lnTo>
                <a:lnTo>
                  <a:pt x="997" y="1549"/>
                </a:lnTo>
                <a:lnTo>
                  <a:pt x="997" y="1549"/>
                </a:lnTo>
                <a:lnTo>
                  <a:pt x="997" y="1553"/>
                </a:lnTo>
                <a:lnTo>
                  <a:pt x="996" y="1557"/>
                </a:lnTo>
                <a:lnTo>
                  <a:pt x="995" y="1558"/>
                </a:lnTo>
                <a:lnTo>
                  <a:pt x="995" y="1560"/>
                </a:lnTo>
                <a:lnTo>
                  <a:pt x="996" y="1561"/>
                </a:lnTo>
                <a:lnTo>
                  <a:pt x="997" y="1563"/>
                </a:lnTo>
                <a:lnTo>
                  <a:pt x="1003" y="1566"/>
                </a:lnTo>
                <a:lnTo>
                  <a:pt x="1010" y="1567"/>
                </a:lnTo>
                <a:lnTo>
                  <a:pt x="1012" y="1568"/>
                </a:lnTo>
                <a:lnTo>
                  <a:pt x="1013" y="1571"/>
                </a:lnTo>
                <a:lnTo>
                  <a:pt x="1013" y="1573"/>
                </a:lnTo>
                <a:lnTo>
                  <a:pt x="1012" y="1575"/>
                </a:lnTo>
                <a:lnTo>
                  <a:pt x="1011" y="1581"/>
                </a:lnTo>
                <a:lnTo>
                  <a:pt x="1012" y="1585"/>
                </a:lnTo>
                <a:lnTo>
                  <a:pt x="1013" y="1586"/>
                </a:lnTo>
                <a:lnTo>
                  <a:pt x="1016" y="1586"/>
                </a:lnTo>
                <a:lnTo>
                  <a:pt x="1018" y="1587"/>
                </a:lnTo>
                <a:lnTo>
                  <a:pt x="1022" y="1586"/>
                </a:lnTo>
                <a:lnTo>
                  <a:pt x="1038" y="1585"/>
                </a:lnTo>
                <a:lnTo>
                  <a:pt x="1054" y="1582"/>
                </a:lnTo>
                <a:lnTo>
                  <a:pt x="1070" y="1580"/>
                </a:lnTo>
                <a:lnTo>
                  <a:pt x="1085" y="1577"/>
                </a:lnTo>
                <a:lnTo>
                  <a:pt x="1089" y="1574"/>
                </a:lnTo>
                <a:lnTo>
                  <a:pt x="1094" y="1572"/>
                </a:lnTo>
                <a:lnTo>
                  <a:pt x="1099" y="1568"/>
                </a:lnTo>
                <a:lnTo>
                  <a:pt x="1101" y="1565"/>
                </a:lnTo>
                <a:lnTo>
                  <a:pt x="1107" y="1551"/>
                </a:lnTo>
                <a:lnTo>
                  <a:pt x="1112" y="1536"/>
                </a:lnTo>
                <a:lnTo>
                  <a:pt x="1115" y="1532"/>
                </a:lnTo>
                <a:lnTo>
                  <a:pt x="1116" y="1528"/>
                </a:lnTo>
                <a:lnTo>
                  <a:pt x="1117" y="1523"/>
                </a:lnTo>
                <a:lnTo>
                  <a:pt x="1119" y="1518"/>
                </a:lnTo>
                <a:lnTo>
                  <a:pt x="1119" y="1507"/>
                </a:lnTo>
                <a:lnTo>
                  <a:pt x="1120" y="1495"/>
                </a:lnTo>
                <a:lnTo>
                  <a:pt x="1121" y="1493"/>
                </a:lnTo>
                <a:lnTo>
                  <a:pt x="1120" y="1490"/>
                </a:lnTo>
                <a:lnTo>
                  <a:pt x="1121" y="1481"/>
                </a:lnTo>
                <a:lnTo>
                  <a:pt x="1122" y="1472"/>
                </a:lnTo>
                <a:lnTo>
                  <a:pt x="1122" y="1454"/>
                </a:lnTo>
                <a:lnTo>
                  <a:pt x="1122" y="1435"/>
                </a:lnTo>
                <a:lnTo>
                  <a:pt x="1123" y="1418"/>
                </a:lnTo>
                <a:lnTo>
                  <a:pt x="1123" y="1400"/>
                </a:lnTo>
                <a:lnTo>
                  <a:pt x="1123" y="1389"/>
                </a:lnTo>
                <a:lnTo>
                  <a:pt x="1123" y="1377"/>
                </a:lnTo>
                <a:lnTo>
                  <a:pt x="1120" y="1358"/>
                </a:lnTo>
                <a:lnTo>
                  <a:pt x="1116" y="1340"/>
                </a:lnTo>
                <a:lnTo>
                  <a:pt x="1114" y="1321"/>
                </a:lnTo>
                <a:lnTo>
                  <a:pt x="1114" y="1301"/>
                </a:lnTo>
                <a:lnTo>
                  <a:pt x="1114" y="1287"/>
                </a:lnTo>
                <a:lnTo>
                  <a:pt x="1113" y="1272"/>
                </a:lnTo>
                <a:lnTo>
                  <a:pt x="1113" y="1271"/>
                </a:lnTo>
                <a:lnTo>
                  <a:pt x="1113" y="1270"/>
                </a:lnTo>
                <a:lnTo>
                  <a:pt x="1113" y="1268"/>
                </a:lnTo>
                <a:lnTo>
                  <a:pt x="1112" y="1267"/>
                </a:lnTo>
                <a:lnTo>
                  <a:pt x="1112" y="1263"/>
                </a:lnTo>
                <a:lnTo>
                  <a:pt x="1110" y="1258"/>
                </a:lnTo>
                <a:lnTo>
                  <a:pt x="1110" y="1250"/>
                </a:lnTo>
                <a:lnTo>
                  <a:pt x="1109" y="1242"/>
                </a:lnTo>
                <a:lnTo>
                  <a:pt x="1109" y="1236"/>
                </a:lnTo>
                <a:lnTo>
                  <a:pt x="1108" y="1231"/>
                </a:lnTo>
                <a:lnTo>
                  <a:pt x="1105" y="1216"/>
                </a:lnTo>
                <a:lnTo>
                  <a:pt x="1101" y="1201"/>
                </a:lnTo>
                <a:lnTo>
                  <a:pt x="1099" y="1187"/>
                </a:lnTo>
                <a:lnTo>
                  <a:pt x="1096" y="1174"/>
                </a:lnTo>
                <a:lnTo>
                  <a:pt x="1093" y="1161"/>
                </a:lnTo>
                <a:lnTo>
                  <a:pt x="1089" y="1148"/>
                </a:lnTo>
                <a:lnTo>
                  <a:pt x="1086" y="1132"/>
                </a:lnTo>
                <a:lnTo>
                  <a:pt x="1082" y="1116"/>
                </a:lnTo>
                <a:lnTo>
                  <a:pt x="1080" y="1099"/>
                </a:lnTo>
                <a:lnTo>
                  <a:pt x="1078" y="1083"/>
                </a:lnTo>
                <a:lnTo>
                  <a:pt x="1077" y="1071"/>
                </a:lnTo>
                <a:lnTo>
                  <a:pt x="1075" y="1061"/>
                </a:lnTo>
                <a:lnTo>
                  <a:pt x="1073" y="1049"/>
                </a:lnTo>
                <a:lnTo>
                  <a:pt x="1071" y="1039"/>
                </a:lnTo>
                <a:lnTo>
                  <a:pt x="1068" y="1025"/>
                </a:lnTo>
                <a:lnTo>
                  <a:pt x="1065" y="1012"/>
                </a:lnTo>
                <a:lnTo>
                  <a:pt x="1063" y="998"/>
                </a:lnTo>
                <a:lnTo>
                  <a:pt x="1061" y="985"/>
                </a:lnTo>
                <a:lnTo>
                  <a:pt x="1061" y="972"/>
                </a:lnTo>
                <a:lnTo>
                  <a:pt x="1061" y="960"/>
                </a:lnTo>
                <a:lnTo>
                  <a:pt x="1060" y="949"/>
                </a:lnTo>
                <a:lnTo>
                  <a:pt x="1059" y="937"/>
                </a:lnTo>
                <a:lnTo>
                  <a:pt x="1055" y="935"/>
                </a:lnTo>
                <a:lnTo>
                  <a:pt x="1052" y="932"/>
                </a:lnTo>
                <a:lnTo>
                  <a:pt x="1055" y="935"/>
                </a:lnTo>
                <a:lnTo>
                  <a:pt x="1059" y="937"/>
                </a:lnTo>
                <a:lnTo>
                  <a:pt x="1063" y="935"/>
                </a:lnTo>
                <a:lnTo>
                  <a:pt x="1064" y="931"/>
                </a:lnTo>
                <a:lnTo>
                  <a:pt x="1065" y="928"/>
                </a:lnTo>
                <a:lnTo>
                  <a:pt x="1063" y="924"/>
                </a:lnTo>
                <a:lnTo>
                  <a:pt x="1060" y="910"/>
                </a:lnTo>
                <a:lnTo>
                  <a:pt x="1058" y="896"/>
                </a:lnTo>
                <a:lnTo>
                  <a:pt x="1058" y="895"/>
                </a:lnTo>
                <a:lnTo>
                  <a:pt x="1058" y="893"/>
                </a:lnTo>
                <a:lnTo>
                  <a:pt x="1058" y="888"/>
                </a:lnTo>
                <a:lnTo>
                  <a:pt x="1058" y="883"/>
                </a:lnTo>
                <a:lnTo>
                  <a:pt x="1055" y="876"/>
                </a:lnTo>
                <a:lnTo>
                  <a:pt x="1051" y="869"/>
                </a:lnTo>
                <a:lnTo>
                  <a:pt x="1051" y="867"/>
                </a:lnTo>
                <a:lnTo>
                  <a:pt x="1051" y="864"/>
                </a:lnTo>
                <a:lnTo>
                  <a:pt x="1052" y="857"/>
                </a:lnTo>
                <a:lnTo>
                  <a:pt x="1052" y="850"/>
                </a:lnTo>
                <a:lnTo>
                  <a:pt x="1050" y="843"/>
                </a:lnTo>
                <a:lnTo>
                  <a:pt x="1047" y="836"/>
                </a:lnTo>
                <a:lnTo>
                  <a:pt x="1046" y="826"/>
                </a:lnTo>
                <a:lnTo>
                  <a:pt x="1047" y="817"/>
                </a:lnTo>
                <a:lnTo>
                  <a:pt x="1045" y="805"/>
                </a:lnTo>
                <a:lnTo>
                  <a:pt x="1041" y="794"/>
                </a:lnTo>
                <a:lnTo>
                  <a:pt x="1041" y="792"/>
                </a:lnTo>
                <a:lnTo>
                  <a:pt x="1041" y="791"/>
                </a:lnTo>
                <a:lnTo>
                  <a:pt x="1040" y="787"/>
                </a:lnTo>
                <a:lnTo>
                  <a:pt x="1041" y="782"/>
                </a:lnTo>
                <a:lnTo>
                  <a:pt x="1041" y="782"/>
                </a:lnTo>
                <a:lnTo>
                  <a:pt x="1041" y="782"/>
                </a:lnTo>
                <a:lnTo>
                  <a:pt x="1041" y="782"/>
                </a:lnTo>
                <a:lnTo>
                  <a:pt x="1041" y="781"/>
                </a:lnTo>
                <a:lnTo>
                  <a:pt x="1041" y="781"/>
                </a:lnTo>
                <a:lnTo>
                  <a:pt x="1041" y="781"/>
                </a:lnTo>
                <a:lnTo>
                  <a:pt x="1041" y="781"/>
                </a:lnTo>
                <a:lnTo>
                  <a:pt x="1041" y="782"/>
                </a:lnTo>
                <a:close/>
                <a:moveTo>
                  <a:pt x="472" y="1324"/>
                </a:move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lnTo>
                  <a:pt x="470" y="1324"/>
                </a:lnTo>
                <a:lnTo>
                  <a:pt x="468" y="1324"/>
                </a:lnTo>
                <a:lnTo>
                  <a:pt x="466" y="1329"/>
                </a:lnTo>
                <a:lnTo>
                  <a:pt x="464" y="1334"/>
                </a:lnTo>
                <a:lnTo>
                  <a:pt x="458" y="1345"/>
                </a:lnTo>
                <a:lnTo>
                  <a:pt x="454" y="1357"/>
                </a:lnTo>
                <a:lnTo>
                  <a:pt x="451" y="1369"/>
                </a:lnTo>
                <a:lnTo>
                  <a:pt x="449" y="1382"/>
                </a:lnTo>
                <a:lnTo>
                  <a:pt x="447" y="1383"/>
                </a:lnTo>
                <a:lnTo>
                  <a:pt x="446" y="1384"/>
                </a:lnTo>
                <a:lnTo>
                  <a:pt x="446" y="1385"/>
                </a:lnTo>
                <a:lnTo>
                  <a:pt x="447" y="1386"/>
                </a:lnTo>
                <a:lnTo>
                  <a:pt x="447" y="1388"/>
                </a:lnTo>
                <a:lnTo>
                  <a:pt x="447" y="1390"/>
                </a:lnTo>
                <a:lnTo>
                  <a:pt x="447" y="1393"/>
                </a:lnTo>
                <a:lnTo>
                  <a:pt x="446" y="1398"/>
                </a:lnTo>
                <a:lnTo>
                  <a:pt x="451" y="1398"/>
                </a:lnTo>
                <a:lnTo>
                  <a:pt x="454" y="1399"/>
                </a:lnTo>
                <a:lnTo>
                  <a:pt x="453" y="1405"/>
                </a:lnTo>
                <a:lnTo>
                  <a:pt x="452" y="1412"/>
                </a:lnTo>
                <a:lnTo>
                  <a:pt x="450" y="1414"/>
                </a:lnTo>
                <a:lnTo>
                  <a:pt x="449" y="1418"/>
                </a:lnTo>
                <a:lnTo>
                  <a:pt x="447" y="1430"/>
                </a:lnTo>
                <a:lnTo>
                  <a:pt x="446" y="1440"/>
                </a:lnTo>
                <a:lnTo>
                  <a:pt x="444" y="1451"/>
                </a:lnTo>
                <a:lnTo>
                  <a:pt x="443" y="1461"/>
                </a:lnTo>
                <a:lnTo>
                  <a:pt x="442" y="1472"/>
                </a:lnTo>
                <a:lnTo>
                  <a:pt x="440" y="1482"/>
                </a:lnTo>
                <a:lnTo>
                  <a:pt x="439" y="1500"/>
                </a:lnTo>
                <a:lnTo>
                  <a:pt x="439" y="1518"/>
                </a:lnTo>
                <a:lnTo>
                  <a:pt x="442" y="1537"/>
                </a:lnTo>
                <a:lnTo>
                  <a:pt x="445" y="1556"/>
                </a:lnTo>
                <a:lnTo>
                  <a:pt x="447" y="1551"/>
                </a:lnTo>
                <a:lnTo>
                  <a:pt x="449" y="1545"/>
                </a:lnTo>
                <a:lnTo>
                  <a:pt x="450" y="1525"/>
                </a:lnTo>
                <a:lnTo>
                  <a:pt x="452" y="1505"/>
                </a:lnTo>
                <a:lnTo>
                  <a:pt x="453" y="1486"/>
                </a:lnTo>
                <a:lnTo>
                  <a:pt x="453" y="1466"/>
                </a:lnTo>
                <a:lnTo>
                  <a:pt x="454" y="1458"/>
                </a:lnTo>
                <a:lnTo>
                  <a:pt x="456" y="1448"/>
                </a:lnTo>
                <a:lnTo>
                  <a:pt x="459" y="1431"/>
                </a:lnTo>
                <a:lnTo>
                  <a:pt x="463" y="1413"/>
                </a:lnTo>
                <a:lnTo>
                  <a:pt x="463" y="1411"/>
                </a:lnTo>
                <a:lnTo>
                  <a:pt x="464" y="1409"/>
                </a:lnTo>
                <a:lnTo>
                  <a:pt x="466" y="1407"/>
                </a:lnTo>
                <a:lnTo>
                  <a:pt x="467" y="1404"/>
                </a:lnTo>
                <a:lnTo>
                  <a:pt x="467" y="1403"/>
                </a:lnTo>
                <a:lnTo>
                  <a:pt x="467" y="1400"/>
                </a:lnTo>
                <a:lnTo>
                  <a:pt x="470" y="1398"/>
                </a:lnTo>
                <a:lnTo>
                  <a:pt x="471" y="1396"/>
                </a:lnTo>
                <a:lnTo>
                  <a:pt x="471" y="1393"/>
                </a:lnTo>
                <a:lnTo>
                  <a:pt x="471" y="1391"/>
                </a:lnTo>
                <a:lnTo>
                  <a:pt x="477" y="1374"/>
                </a:lnTo>
                <a:lnTo>
                  <a:pt x="482" y="1356"/>
                </a:lnTo>
                <a:lnTo>
                  <a:pt x="491" y="1340"/>
                </a:lnTo>
                <a:lnTo>
                  <a:pt x="500" y="1323"/>
                </a:lnTo>
                <a:lnTo>
                  <a:pt x="502" y="1321"/>
                </a:lnTo>
                <a:lnTo>
                  <a:pt x="505" y="1317"/>
                </a:lnTo>
                <a:lnTo>
                  <a:pt x="505" y="1314"/>
                </a:lnTo>
                <a:lnTo>
                  <a:pt x="505" y="1310"/>
                </a:lnTo>
                <a:lnTo>
                  <a:pt x="500" y="1314"/>
                </a:lnTo>
                <a:lnTo>
                  <a:pt x="494" y="1317"/>
                </a:lnTo>
                <a:lnTo>
                  <a:pt x="487" y="1327"/>
                </a:lnTo>
                <a:lnTo>
                  <a:pt x="481" y="1336"/>
                </a:lnTo>
                <a:lnTo>
                  <a:pt x="475" y="1345"/>
                </a:lnTo>
                <a:lnTo>
                  <a:pt x="471" y="1356"/>
                </a:lnTo>
                <a:lnTo>
                  <a:pt x="466" y="1367"/>
                </a:lnTo>
                <a:lnTo>
                  <a:pt x="463" y="1377"/>
                </a:lnTo>
                <a:lnTo>
                  <a:pt x="459" y="1377"/>
                </a:lnTo>
                <a:lnTo>
                  <a:pt x="457" y="1377"/>
                </a:lnTo>
                <a:lnTo>
                  <a:pt x="458" y="1368"/>
                </a:lnTo>
                <a:lnTo>
                  <a:pt x="460" y="1358"/>
                </a:lnTo>
                <a:lnTo>
                  <a:pt x="466" y="1342"/>
                </a:ln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close/>
                <a:moveTo>
                  <a:pt x="463" y="1362"/>
                </a:moveTo>
                <a:lnTo>
                  <a:pt x="463" y="1363"/>
                </a:lnTo>
                <a:lnTo>
                  <a:pt x="464" y="1363"/>
                </a:lnTo>
                <a:lnTo>
                  <a:pt x="464" y="1361"/>
                </a:lnTo>
                <a:lnTo>
                  <a:pt x="464" y="1359"/>
                </a:lnTo>
                <a:lnTo>
                  <a:pt x="468" y="1352"/>
                </a:lnTo>
                <a:lnTo>
                  <a:pt x="471" y="1345"/>
                </a:lnTo>
                <a:lnTo>
                  <a:pt x="467" y="1348"/>
                </a:lnTo>
                <a:lnTo>
                  <a:pt x="465" y="1351"/>
                </a:lnTo>
                <a:lnTo>
                  <a:pt x="464" y="1355"/>
                </a:lnTo>
                <a:lnTo>
                  <a:pt x="464" y="1359"/>
                </a:lnTo>
                <a:lnTo>
                  <a:pt x="463" y="1361"/>
                </a:lnTo>
                <a:lnTo>
                  <a:pt x="463" y="1362"/>
                </a:lnTo>
                <a:close/>
                <a:moveTo>
                  <a:pt x="472" y="1340"/>
                </a:moveTo>
                <a:lnTo>
                  <a:pt x="475" y="1336"/>
                </a:lnTo>
                <a:lnTo>
                  <a:pt x="478" y="1333"/>
                </a:lnTo>
                <a:lnTo>
                  <a:pt x="480" y="1328"/>
                </a:lnTo>
                <a:lnTo>
                  <a:pt x="482" y="1323"/>
                </a:lnTo>
                <a:lnTo>
                  <a:pt x="478" y="1327"/>
                </a:lnTo>
                <a:lnTo>
                  <a:pt x="475" y="1331"/>
                </a:lnTo>
                <a:lnTo>
                  <a:pt x="473" y="1335"/>
                </a:lnTo>
                <a:lnTo>
                  <a:pt x="472" y="1340"/>
                </a:lnTo>
                <a:close/>
                <a:moveTo>
                  <a:pt x="506" y="1342"/>
                </a:moveTo>
                <a:lnTo>
                  <a:pt x="511" y="1334"/>
                </a:lnTo>
                <a:lnTo>
                  <a:pt x="515" y="1326"/>
                </a:lnTo>
                <a:lnTo>
                  <a:pt x="516" y="1322"/>
                </a:lnTo>
                <a:lnTo>
                  <a:pt x="519" y="1319"/>
                </a:lnTo>
                <a:lnTo>
                  <a:pt x="520" y="1314"/>
                </a:lnTo>
                <a:lnTo>
                  <a:pt x="521" y="1309"/>
                </a:lnTo>
                <a:lnTo>
                  <a:pt x="512" y="1322"/>
                </a:lnTo>
                <a:lnTo>
                  <a:pt x="504" y="1336"/>
                </a:lnTo>
                <a:lnTo>
                  <a:pt x="501" y="1343"/>
                </a:lnTo>
                <a:lnTo>
                  <a:pt x="499" y="1349"/>
                </a:lnTo>
                <a:lnTo>
                  <a:pt x="498" y="1355"/>
                </a:lnTo>
                <a:lnTo>
                  <a:pt x="498" y="1359"/>
                </a:lnTo>
                <a:lnTo>
                  <a:pt x="501" y="1350"/>
                </a:lnTo>
                <a:lnTo>
                  <a:pt x="506" y="1342"/>
                </a:lnTo>
                <a:close/>
                <a:moveTo>
                  <a:pt x="453" y="1389"/>
                </a:moveTo>
                <a:lnTo>
                  <a:pt x="451" y="1390"/>
                </a:lnTo>
                <a:lnTo>
                  <a:pt x="450" y="1390"/>
                </a:lnTo>
                <a:lnTo>
                  <a:pt x="451" y="1390"/>
                </a:lnTo>
                <a:lnTo>
                  <a:pt x="453" y="1389"/>
                </a:lnTo>
                <a:lnTo>
                  <a:pt x="454" y="1384"/>
                </a:lnTo>
                <a:lnTo>
                  <a:pt x="456" y="1379"/>
                </a:lnTo>
                <a:lnTo>
                  <a:pt x="456" y="1382"/>
                </a:lnTo>
                <a:lnTo>
                  <a:pt x="457" y="1384"/>
                </a:lnTo>
                <a:lnTo>
                  <a:pt x="456" y="1386"/>
                </a:lnTo>
                <a:lnTo>
                  <a:pt x="453" y="1389"/>
                </a:lnTo>
                <a:close/>
                <a:moveTo>
                  <a:pt x="513" y="498"/>
                </a:moveTo>
                <a:lnTo>
                  <a:pt x="512" y="497"/>
                </a:lnTo>
                <a:lnTo>
                  <a:pt x="512" y="497"/>
                </a:lnTo>
                <a:lnTo>
                  <a:pt x="511" y="497"/>
                </a:lnTo>
                <a:lnTo>
                  <a:pt x="511" y="498"/>
                </a:lnTo>
                <a:lnTo>
                  <a:pt x="511" y="498"/>
                </a:lnTo>
                <a:lnTo>
                  <a:pt x="512" y="498"/>
                </a:lnTo>
                <a:lnTo>
                  <a:pt x="512" y="498"/>
                </a:lnTo>
                <a:lnTo>
                  <a:pt x="513" y="498"/>
                </a:lnTo>
                <a:close/>
                <a:moveTo>
                  <a:pt x="490" y="496"/>
                </a:moveTo>
                <a:lnTo>
                  <a:pt x="493" y="504"/>
                </a:lnTo>
                <a:lnTo>
                  <a:pt x="495" y="513"/>
                </a:lnTo>
                <a:lnTo>
                  <a:pt x="498" y="523"/>
                </a:lnTo>
                <a:lnTo>
                  <a:pt x="501" y="532"/>
                </a:lnTo>
                <a:lnTo>
                  <a:pt x="507" y="540"/>
                </a:lnTo>
                <a:lnTo>
                  <a:pt x="513" y="550"/>
                </a:lnTo>
                <a:lnTo>
                  <a:pt x="513" y="547"/>
                </a:lnTo>
                <a:lnTo>
                  <a:pt x="514" y="547"/>
                </a:lnTo>
                <a:lnTo>
                  <a:pt x="513" y="545"/>
                </a:lnTo>
                <a:lnTo>
                  <a:pt x="513" y="544"/>
                </a:lnTo>
                <a:lnTo>
                  <a:pt x="511" y="536"/>
                </a:lnTo>
                <a:lnTo>
                  <a:pt x="508" y="529"/>
                </a:lnTo>
                <a:lnTo>
                  <a:pt x="507" y="520"/>
                </a:lnTo>
                <a:lnTo>
                  <a:pt x="507" y="512"/>
                </a:lnTo>
                <a:lnTo>
                  <a:pt x="507" y="510"/>
                </a:lnTo>
                <a:lnTo>
                  <a:pt x="507" y="508"/>
                </a:lnTo>
                <a:lnTo>
                  <a:pt x="506" y="505"/>
                </a:lnTo>
                <a:lnTo>
                  <a:pt x="504" y="503"/>
                </a:lnTo>
                <a:lnTo>
                  <a:pt x="501" y="501"/>
                </a:lnTo>
                <a:lnTo>
                  <a:pt x="501" y="498"/>
                </a:lnTo>
                <a:lnTo>
                  <a:pt x="504" y="497"/>
                </a:lnTo>
                <a:lnTo>
                  <a:pt x="507" y="496"/>
                </a:lnTo>
                <a:lnTo>
                  <a:pt x="502" y="494"/>
                </a:lnTo>
                <a:lnTo>
                  <a:pt x="498" y="491"/>
                </a:lnTo>
                <a:lnTo>
                  <a:pt x="495" y="490"/>
                </a:lnTo>
                <a:lnTo>
                  <a:pt x="493" y="488"/>
                </a:lnTo>
                <a:lnTo>
                  <a:pt x="492" y="487"/>
                </a:lnTo>
                <a:lnTo>
                  <a:pt x="492" y="485"/>
                </a:lnTo>
                <a:lnTo>
                  <a:pt x="492" y="484"/>
                </a:lnTo>
                <a:lnTo>
                  <a:pt x="493" y="482"/>
                </a:lnTo>
                <a:lnTo>
                  <a:pt x="494" y="481"/>
                </a:lnTo>
                <a:lnTo>
                  <a:pt x="493" y="480"/>
                </a:lnTo>
                <a:lnTo>
                  <a:pt x="492" y="480"/>
                </a:lnTo>
                <a:lnTo>
                  <a:pt x="491" y="478"/>
                </a:lnTo>
                <a:lnTo>
                  <a:pt x="488" y="480"/>
                </a:lnTo>
                <a:lnTo>
                  <a:pt x="486" y="482"/>
                </a:lnTo>
                <a:lnTo>
                  <a:pt x="486" y="484"/>
                </a:lnTo>
                <a:lnTo>
                  <a:pt x="486" y="487"/>
                </a:lnTo>
                <a:lnTo>
                  <a:pt x="488" y="491"/>
                </a:lnTo>
                <a:lnTo>
                  <a:pt x="490" y="496"/>
                </a:lnTo>
                <a:close/>
                <a:moveTo>
                  <a:pt x="445" y="508"/>
                </a:moveTo>
                <a:lnTo>
                  <a:pt x="447" y="508"/>
                </a:lnTo>
                <a:lnTo>
                  <a:pt x="449" y="506"/>
                </a:lnTo>
                <a:lnTo>
                  <a:pt x="452" y="505"/>
                </a:lnTo>
                <a:lnTo>
                  <a:pt x="457" y="504"/>
                </a:lnTo>
                <a:lnTo>
                  <a:pt x="457" y="503"/>
                </a:lnTo>
                <a:lnTo>
                  <a:pt x="457" y="501"/>
                </a:lnTo>
                <a:lnTo>
                  <a:pt x="457" y="503"/>
                </a:lnTo>
                <a:lnTo>
                  <a:pt x="457" y="504"/>
                </a:lnTo>
                <a:lnTo>
                  <a:pt x="452" y="505"/>
                </a:lnTo>
                <a:lnTo>
                  <a:pt x="449" y="506"/>
                </a:lnTo>
                <a:lnTo>
                  <a:pt x="447" y="508"/>
                </a:lnTo>
                <a:lnTo>
                  <a:pt x="445" y="508"/>
                </a:lnTo>
                <a:close/>
                <a:moveTo>
                  <a:pt x="444" y="477"/>
                </a:moveTo>
                <a:lnTo>
                  <a:pt x="440" y="478"/>
                </a:lnTo>
                <a:lnTo>
                  <a:pt x="438" y="480"/>
                </a:lnTo>
                <a:lnTo>
                  <a:pt x="436" y="482"/>
                </a:lnTo>
                <a:lnTo>
                  <a:pt x="436" y="485"/>
                </a:lnTo>
                <a:lnTo>
                  <a:pt x="435" y="488"/>
                </a:lnTo>
                <a:lnTo>
                  <a:pt x="433" y="489"/>
                </a:lnTo>
                <a:lnTo>
                  <a:pt x="432" y="489"/>
                </a:lnTo>
                <a:lnTo>
                  <a:pt x="430" y="489"/>
                </a:lnTo>
                <a:lnTo>
                  <a:pt x="429" y="489"/>
                </a:lnTo>
                <a:lnTo>
                  <a:pt x="428" y="488"/>
                </a:lnTo>
                <a:lnTo>
                  <a:pt x="428" y="485"/>
                </a:lnTo>
                <a:lnTo>
                  <a:pt x="428" y="484"/>
                </a:lnTo>
                <a:lnTo>
                  <a:pt x="430" y="477"/>
                </a:lnTo>
                <a:lnTo>
                  <a:pt x="432" y="471"/>
                </a:lnTo>
                <a:lnTo>
                  <a:pt x="437" y="471"/>
                </a:lnTo>
                <a:lnTo>
                  <a:pt x="442" y="470"/>
                </a:lnTo>
                <a:lnTo>
                  <a:pt x="444" y="470"/>
                </a:lnTo>
                <a:lnTo>
                  <a:pt x="445" y="470"/>
                </a:lnTo>
                <a:lnTo>
                  <a:pt x="446" y="470"/>
                </a:lnTo>
                <a:lnTo>
                  <a:pt x="447" y="473"/>
                </a:lnTo>
                <a:lnTo>
                  <a:pt x="447" y="475"/>
                </a:lnTo>
                <a:lnTo>
                  <a:pt x="447" y="476"/>
                </a:lnTo>
                <a:lnTo>
                  <a:pt x="446" y="477"/>
                </a:lnTo>
                <a:lnTo>
                  <a:pt x="444" y="477"/>
                </a:lnTo>
                <a:close/>
                <a:moveTo>
                  <a:pt x="440" y="508"/>
                </a:moveTo>
                <a:lnTo>
                  <a:pt x="438" y="513"/>
                </a:lnTo>
                <a:lnTo>
                  <a:pt x="436" y="518"/>
                </a:lnTo>
                <a:lnTo>
                  <a:pt x="432" y="522"/>
                </a:lnTo>
                <a:lnTo>
                  <a:pt x="428" y="525"/>
                </a:lnTo>
                <a:lnTo>
                  <a:pt x="432" y="522"/>
                </a:lnTo>
                <a:lnTo>
                  <a:pt x="436" y="518"/>
                </a:lnTo>
                <a:lnTo>
                  <a:pt x="438" y="513"/>
                </a:lnTo>
                <a:lnTo>
                  <a:pt x="440" y="508"/>
                </a:lnTo>
                <a:lnTo>
                  <a:pt x="442" y="508"/>
                </a:lnTo>
                <a:lnTo>
                  <a:pt x="444" y="508"/>
                </a:lnTo>
                <a:lnTo>
                  <a:pt x="442" y="508"/>
                </a:lnTo>
                <a:lnTo>
                  <a:pt x="440" y="508"/>
                </a:lnTo>
                <a:close/>
                <a:moveTo>
                  <a:pt x="399" y="592"/>
                </a:moveTo>
                <a:lnTo>
                  <a:pt x="399" y="594"/>
                </a:lnTo>
                <a:lnTo>
                  <a:pt x="399" y="595"/>
                </a:lnTo>
                <a:lnTo>
                  <a:pt x="394" y="611"/>
                </a:lnTo>
                <a:lnTo>
                  <a:pt x="387" y="628"/>
                </a:lnTo>
                <a:lnTo>
                  <a:pt x="383" y="638"/>
                </a:lnTo>
                <a:lnTo>
                  <a:pt x="381" y="651"/>
                </a:lnTo>
                <a:lnTo>
                  <a:pt x="380" y="654"/>
                </a:lnTo>
                <a:lnTo>
                  <a:pt x="380" y="656"/>
                </a:lnTo>
                <a:lnTo>
                  <a:pt x="378" y="654"/>
                </a:lnTo>
                <a:lnTo>
                  <a:pt x="377" y="652"/>
                </a:lnTo>
                <a:lnTo>
                  <a:pt x="376" y="650"/>
                </a:lnTo>
                <a:lnTo>
                  <a:pt x="376" y="649"/>
                </a:lnTo>
                <a:lnTo>
                  <a:pt x="375" y="649"/>
                </a:lnTo>
                <a:lnTo>
                  <a:pt x="373" y="650"/>
                </a:lnTo>
                <a:lnTo>
                  <a:pt x="374" y="643"/>
                </a:lnTo>
                <a:lnTo>
                  <a:pt x="376" y="635"/>
                </a:lnTo>
                <a:lnTo>
                  <a:pt x="376" y="635"/>
                </a:lnTo>
                <a:lnTo>
                  <a:pt x="376" y="631"/>
                </a:lnTo>
                <a:lnTo>
                  <a:pt x="377" y="628"/>
                </a:lnTo>
                <a:lnTo>
                  <a:pt x="378" y="627"/>
                </a:lnTo>
                <a:lnTo>
                  <a:pt x="380" y="624"/>
                </a:lnTo>
                <a:lnTo>
                  <a:pt x="381" y="623"/>
                </a:lnTo>
                <a:lnTo>
                  <a:pt x="381" y="621"/>
                </a:lnTo>
                <a:lnTo>
                  <a:pt x="381" y="617"/>
                </a:lnTo>
                <a:lnTo>
                  <a:pt x="382" y="615"/>
                </a:lnTo>
                <a:lnTo>
                  <a:pt x="383" y="614"/>
                </a:lnTo>
                <a:lnTo>
                  <a:pt x="384" y="611"/>
                </a:lnTo>
                <a:lnTo>
                  <a:pt x="385" y="606"/>
                </a:lnTo>
                <a:lnTo>
                  <a:pt x="388" y="600"/>
                </a:lnTo>
                <a:lnTo>
                  <a:pt x="391" y="595"/>
                </a:lnTo>
                <a:lnTo>
                  <a:pt x="395" y="590"/>
                </a:lnTo>
                <a:lnTo>
                  <a:pt x="397" y="588"/>
                </a:lnTo>
                <a:lnTo>
                  <a:pt x="399" y="587"/>
                </a:lnTo>
                <a:lnTo>
                  <a:pt x="401" y="589"/>
                </a:lnTo>
                <a:lnTo>
                  <a:pt x="399" y="592"/>
                </a:lnTo>
                <a:close/>
                <a:moveTo>
                  <a:pt x="367" y="630"/>
                </a:moveTo>
                <a:lnTo>
                  <a:pt x="366" y="635"/>
                </a:lnTo>
                <a:lnTo>
                  <a:pt x="364" y="638"/>
                </a:lnTo>
                <a:lnTo>
                  <a:pt x="366" y="643"/>
                </a:lnTo>
                <a:lnTo>
                  <a:pt x="367" y="648"/>
                </a:lnTo>
                <a:lnTo>
                  <a:pt x="364" y="647"/>
                </a:lnTo>
                <a:lnTo>
                  <a:pt x="363" y="645"/>
                </a:lnTo>
                <a:lnTo>
                  <a:pt x="363" y="645"/>
                </a:lnTo>
                <a:lnTo>
                  <a:pt x="356" y="643"/>
                </a:lnTo>
                <a:lnTo>
                  <a:pt x="350" y="642"/>
                </a:lnTo>
                <a:lnTo>
                  <a:pt x="337" y="639"/>
                </a:lnTo>
                <a:lnTo>
                  <a:pt x="325" y="637"/>
                </a:lnTo>
                <a:lnTo>
                  <a:pt x="323" y="637"/>
                </a:lnTo>
                <a:lnTo>
                  <a:pt x="322" y="637"/>
                </a:lnTo>
                <a:lnTo>
                  <a:pt x="321" y="635"/>
                </a:lnTo>
                <a:lnTo>
                  <a:pt x="319" y="634"/>
                </a:lnTo>
                <a:lnTo>
                  <a:pt x="316" y="634"/>
                </a:lnTo>
                <a:lnTo>
                  <a:pt x="315" y="632"/>
                </a:lnTo>
                <a:lnTo>
                  <a:pt x="312" y="632"/>
                </a:lnTo>
                <a:lnTo>
                  <a:pt x="309" y="631"/>
                </a:lnTo>
                <a:lnTo>
                  <a:pt x="307" y="629"/>
                </a:lnTo>
                <a:lnTo>
                  <a:pt x="305" y="627"/>
                </a:lnTo>
                <a:lnTo>
                  <a:pt x="307" y="629"/>
                </a:lnTo>
                <a:lnTo>
                  <a:pt x="309" y="631"/>
                </a:lnTo>
                <a:lnTo>
                  <a:pt x="312" y="632"/>
                </a:lnTo>
                <a:lnTo>
                  <a:pt x="315" y="632"/>
                </a:lnTo>
                <a:lnTo>
                  <a:pt x="313" y="629"/>
                </a:lnTo>
                <a:lnTo>
                  <a:pt x="312" y="625"/>
                </a:lnTo>
                <a:lnTo>
                  <a:pt x="323" y="628"/>
                </a:lnTo>
                <a:lnTo>
                  <a:pt x="335" y="630"/>
                </a:lnTo>
                <a:lnTo>
                  <a:pt x="347" y="632"/>
                </a:lnTo>
                <a:lnTo>
                  <a:pt x="359" y="635"/>
                </a:lnTo>
                <a:lnTo>
                  <a:pt x="359" y="623"/>
                </a:lnTo>
                <a:lnTo>
                  <a:pt x="360" y="611"/>
                </a:lnTo>
                <a:lnTo>
                  <a:pt x="360" y="600"/>
                </a:lnTo>
                <a:lnTo>
                  <a:pt x="362" y="587"/>
                </a:lnTo>
                <a:lnTo>
                  <a:pt x="366" y="576"/>
                </a:lnTo>
                <a:lnTo>
                  <a:pt x="370" y="565"/>
                </a:lnTo>
                <a:lnTo>
                  <a:pt x="371" y="562"/>
                </a:lnTo>
                <a:lnTo>
                  <a:pt x="373" y="559"/>
                </a:lnTo>
                <a:lnTo>
                  <a:pt x="374" y="557"/>
                </a:lnTo>
                <a:lnTo>
                  <a:pt x="375" y="554"/>
                </a:lnTo>
                <a:lnTo>
                  <a:pt x="377" y="553"/>
                </a:lnTo>
                <a:lnTo>
                  <a:pt x="381" y="554"/>
                </a:lnTo>
                <a:lnTo>
                  <a:pt x="385" y="548"/>
                </a:lnTo>
                <a:lnTo>
                  <a:pt x="391" y="543"/>
                </a:lnTo>
                <a:lnTo>
                  <a:pt x="385" y="548"/>
                </a:lnTo>
                <a:lnTo>
                  <a:pt x="381" y="554"/>
                </a:lnTo>
                <a:lnTo>
                  <a:pt x="381" y="557"/>
                </a:lnTo>
                <a:lnTo>
                  <a:pt x="381" y="560"/>
                </a:lnTo>
                <a:lnTo>
                  <a:pt x="381" y="561"/>
                </a:lnTo>
                <a:lnTo>
                  <a:pt x="381" y="562"/>
                </a:lnTo>
                <a:lnTo>
                  <a:pt x="378" y="566"/>
                </a:lnTo>
                <a:lnTo>
                  <a:pt x="377" y="568"/>
                </a:lnTo>
                <a:lnTo>
                  <a:pt x="377" y="572"/>
                </a:lnTo>
                <a:lnTo>
                  <a:pt x="377" y="575"/>
                </a:lnTo>
                <a:lnTo>
                  <a:pt x="376" y="580"/>
                </a:lnTo>
                <a:lnTo>
                  <a:pt x="376" y="585"/>
                </a:lnTo>
                <a:lnTo>
                  <a:pt x="374" y="587"/>
                </a:lnTo>
                <a:lnTo>
                  <a:pt x="373" y="590"/>
                </a:lnTo>
                <a:lnTo>
                  <a:pt x="373" y="593"/>
                </a:lnTo>
                <a:lnTo>
                  <a:pt x="373" y="596"/>
                </a:lnTo>
                <a:lnTo>
                  <a:pt x="369" y="614"/>
                </a:lnTo>
                <a:lnTo>
                  <a:pt x="367" y="630"/>
                </a:lnTo>
                <a:close/>
                <a:moveTo>
                  <a:pt x="368" y="649"/>
                </a:moveTo>
                <a:lnTo>
                  <a:pt x="370" y="650"/>
                </a:lnTo>
                <a:lnTo>
                  <a:pt x="371" y="650"/>
                </a:lnTo>
                <a:lnTo>
                  <a:pt x="370" y="650"/>
                </a:lnTo>
                <a:lnTo>
                  <a:pt x="368" y="649"/>
                </a:lnTo>
                <a:close/>
                <a:moveTo>
                  <a:pt x="471" y="560"/>
                </a:moveTo>
                <a:lnTo>
                  <a:pt x="472" y="567"/>
                </a:lnTo>
                <a:lnTo>
                  <a:pt x="474" y="573"/>
                </a:lnTo>
                <a:lnTo>
                  <a:pt x="472" y="567"/>
                </a:lnTo>
                <a:lnTo>
                  <a:pt x="471" y="560"/>
                </a:lnTo>
                <a:lnTo>
                  <a:pt x="467" y="554"/>
                </a:lnTo>
                <a:lnTo>
                  <a:pt x="465" y="547"/>
                </a:lnTo>
                <a:lnTo>
                  <a:pt x="467" y="554"/>
                </a:lnTo>
                <a:lnTo>
                  <a:pt x="471" y="560"/>
                </a:lnTo>
                <a:close/>
                <a:moveTo>
                  <a:pt x="475" y="548"/>
                </a:moveTo>
                <a:lnTo>
                  <a:pt x="477" y="551"/>
                </a:lnTo>
                <a:lnTo>
                  <a:pt x="477" y="552"/>
                </a:lnTo>
                <a:lnTo>
                  <a:pt x="478" y="553"/>
                </a:lnTo>
                <a:lnTo>
                  <a:pt x="480" y="554"/>
                </a:lnTo>
                <a:lnTo>
                  <a:pt x="480" y="554"/>
                </a:lnTo>
                <a:lnTo>
                  <a:pt x="480" y="558"/>
                </a:lnTo>
                <a:lnTo>
                  <a:pt x="480" y="560"/>
                </a:lnTo>
                <a:lnTo>
                  <a:pt x="480" y="565"/>
                </a:lnTo>
                <a:lnTo>
                  <a:pt x="480" y="571"/>
                </a:lnTo>
                <a:lnTo>
                  <a:pt x="475" y="566"/>
                </a:lnTo>
                <a:lnTo>
                  <a:pt x="472" y="560"/>
                </a:lnTo>
                <a:lnTo>
                  <a:pt x="468" y="545"/>
                </a:lnTo>
                <a:lnTo>
                  <a:pt x="466" y="529"/>
                </a:lnTo>
                <a:lnTo>
                  <a:pt x="472" y="539"/>
                </a:lnTo>
                <a:lnTo>
                  <a:pt x="475" y="548"/>
                </a:lnTo>
                <a:close/>
                <a:moveTo>
                  <a:pt x="550" y="1120"/>
                </a:moveTo>
                <a:lnTo>
                  <a:pt x="550" y="1124"/>
                </a:lnTo>
                <a:lnTo>
                  <a:pt x="553" y="1126"/>
                </a:lnTo>
                <a:lnTo>
                  <a:pt x="553" y="1123"/>
                </a:lnTo>
                <a:lnTo>
                  <a:pt x="550" y="1120"/>
                </a:lnTo>
                <a:close/>
                <a:moveTo>
                  <a:pt x="456" y="922"/>
                </a:moveTo>
                <a:lnTo>
                  <a:pt x="454" y="920"/>
                </a:lnTo>
                <a:lnTo>
                  <a:pt x="453" y="917"/>
                </a:lnTo>
                <a:lnTo>
                  <a:pt x="450" y="903"/>
                </a:lnTo>
                <a:lnTo>
                  <a:pt x="445" y="889"/>
                </a:lnTo>
                <a:lnTo>
                  <a:pt x="439" y="875"/>
                </a:lnTo>
                <a:lnTo>
                  <a:pt x="435" y="861"/>
                </a:lnTo>
                <a:lnTo>
                  <a:pt x="437" y="882"/>
                </a:lnTo>
                <a:lnTo>
                  <a:pt x="442" y="903"/>
                </a:lnTo>
                <a:lnTo>
                  <a:pt x="447" y="923"/>
                </a:lnTo>
                <a:lnTo>
                  <a:pt x="453" y="943"/>
                </a:lnTo>
                <a:lnTo>
                  <a:pt x="454" y="938"/>
                </a:lnTo>
                <a:lnTo>
                  <a:pt x="456" y="935"/>
                </a:lnTo>
                <a:lnTo>
                  <a:pt x="458" y="934"/>
                </a:lnTo>
                <a:lnTo>
                  <a:pt x="458" y="931"/>
                </a:lnTo>
                <a:lnTo>
                  <a:pt x="459" y="930"/>
                </a:lnTo>
                <a:lnTo>
                  <a:pt x="459" y="929"/>
                </a:lnTo>
                <a:lnTo>
                  <a:pt x="457" y="925"/>
                </a:lnTo>
                <a:lnTo>
                  <a:pt x="456" y="922"/>
                </a:lnTo>
                <a:close/>
                <a:moveTo>
                  <a:pt x="486" y="879"/>
                </a:moveTo>
                <a:lnTo>
                  <a:pt x="472" y="854"/>
                </a:lnTo>
                <a:lnTo>
                  <a:pt x="457" y="831"/>
                </a:lnTo>
                <a:lnTo>
                  <a:pt x="442" y="808"/>
                </a:lnTo>
                <a:lnTo>
                  <a:pt x="426" y="783"/>
                </a:lnTo>
                <a:lnTo>
                  <a:pt x="430" y="798"/>
                </a:lnTo>
                <a:lnTo>
                  <a:pt x="435" y="811"/>
                </a:lnTo>
                <a:lnTo>
                  <a:pt x="440" y="824"/>
                </a:lnTo>
                <a:lnTo>
                  <a:pt x="449" y="837"/>
                </a:lnTo>
                <a:lnTo>
                  <a:pt x="457" y="847"/>
                </a:lnTo>
                <a:lnTo>
                  <a:pt x="466" y="859"/>
                </a:lnTo>
                <a:lnTo>
                  <a:pt x="475" y="869"/>
                </a:lnTo>
                <a:lnTo>
                  <a:pt x="486" y="879"/>
                </a:lnTo>
                <a:close/>
                <a:moveTo>
                  <a:pt x="449" y="862"/>
                </a:moveTo>
                <a:lnTo>
                  <a:pt x="449" y="862"/>
                </a:lnTo>
                <a:lnTo>
                  <a:pt x="449" y="862"/>
                </a:lnTo>
                <a:lnTo>
                  <a:pt x="451" y="862"/>
                </a:lnTo>
                <a:lnTo>
                  <a:pt x="453" y="864"/>
                </a:lnTo>
                <a:lnTo>
                  <a:pt x="454" y="865"/>
                </a:lnTo>
                <a:lnTo>
                  <a:pt x="456" y="867"/>
                </a:lnTo>
                <a:lnTo>
                  <a:pt x="458" y="875"/>
                </a:lnTo>
                <a:lnTo>
                  <a:pt x="461" y="881"/>
                </a:lnTo>
                <a:lnTo>
                  <a:pt x="466" y="887"/>
                </a:lnTo>
                <a:lnTo>
                  <a:pt x="471" y="893"/>
                </a:lnTo>
                <a:lnTo>
                  <a:pt x="473" y="893"/>
                </a:lnTo>
                <a:lnTo>
                  <a:pt x="475" y="894"/>
                </a:lnTo>
                <a:lnTo>
                  <a:pt x="473" y="893"/>
                </a:lnTo>
                <a:lnTo>
                  <a:pt x="471" y="893"/>
                </a:lnTo>
                <a:lnTo>
                  <a:pt x="471" y="894"/>
                </a:lnTo>
                <a:lnTo>
                  <a:pt x="472" y="894"/>
                </a:lnTo>
                <a:lnTo>
                  <a:pt x="472" y="895"/>
                </a:lnTo>
                <a:lnTo>
                  <a:pt x="473" y="895"/>
                </a:lnTo>
                <a:lnTo>
                  <a:pt x="472" y="895"/>
                </a:lnTo>
                <a:lnTo>
                  <a:pt x="472" y="894"/>
                </a:lnTo>
                <a:lnTo>
                  <a:pt x="472" y="896"/>
                </a:lnTo>
                <a:lnTo>
                  <a:pt x="472" y="897"/>
                </a:lnTo>
                <a:lnTo>
                  <a:pt x="473" y="899"/>
                </a:lnTo>
                <a:lnTo>
                  <a:pt x="474" y="899"/>
                </a:lnTo>
                <a:lnTo>
                  <a:pt x="479" y="908"/>
                </a:lnTo>
                <a:lnTo>
                  <a:pt x="484" y="917"/>
                </a:lnTo>
                <a:lnTo>
                  <a:pt x="490" y="925"/>
                </a:lnTo>
                <a:lnTo>
                  <a:pt x="495" y="934"/>
                </a:lnTo>
                <a:lnTo>
                  <a:pt x="502" y="943"/>
                </a:lnTo>
                <a:lnTo>
                  <a:pt x="511" y="952"/>
                </a:lnTo>
                <a:lnTo>
                  <a:pt x="519" y="962"/>
                </a:lnTo>
                <a:lnTo>
                  <a:pt x="527" y="971"/>
                </a:lnTo>
                <a:lnTo>
                  <a:pt x="529" y="973"/>
                </a:lnTo>
                <a:lnTo>
                  <a:pt x="532" y="976"/>
                </a:lnTo>
                <a:lnTo>
                  <a:pt x="532" y="979"/>
                </a:lnTo>
                <a:lnTo>
                  <a:pt x="532" y="981"/>
                </a:lnTo>
                <a:lnTo>
                  <a:pt x="525" y="977"/>
                </a:lnTo>
                <a:lnTo>
                  <a:pt x="518" y="971"/>
                </a:lnTo>
                <a:lnTo>
                  <a:pt x="512" y="964"/>
                </a:lnTo>
                <a:lnTo>
                  <a:pt x="506" y="958"/>
                </a:lnTo>
                <a:lnTo>
                  <a:pt x="504" y="956"/>
                </a:lnTo>
                <a:lnTo>
                  <a:pt x="502" y="956"/>
                </a:lnTo>
                <a:lnTo>
                  <a:pt x="500" y="957"/>
                </a:lnTo>
                <a:lnTo>
                  <a:pt x="499" y="958"/>
                </a:lnTo>
                <a:lnTo>
                  <a:pt x="498" y="957"/>
                </a:lnTo>
                <a:lnTo>
                  <a:pt x="498" y="957"/>
                </a:lnTo>
                <a:lnTo>
                  <a:pt x="498" y="955"/>
                </a:lnTo>
                <a:lnTo>
                  <a:pt x="498" y="952"/>
                </a:lnTo>
                <a:lnTo>
                  <a:pt x="495" y="946"/>
                </a:lnTo>
                <a:lnTo>
                  <a:pt x="494" y="939"/>
                </a:lnTo>
                <a:lnTo>
                  <a:pt x="488" y="943"/>
                </a:lnTo>
                <a:lnTo>
                  <a:pt x="484" y="944"/>
                </a:lnTo>
                <a:lnTo>
                  <a:pt x="484" y="944"/>
                </a:lnTo>
                <a:lnTo>
                  <a:pt x="482" y="943"/>
                </a:lnTo>
                <a:lnTo>
                  <a:pt x="482" y="943"/>
                </a:lnTo>
                <a:lnTo>
                  <a:pt x="481" y="941"/>
                </a:lnTo>
                <a:lnTo>
                  <a:pt x="480" y="938"/>
                </a:lnTo>
                <a:lnTo>
                  <a:pt x="479" y="939"/>
                </a:lnTo>
                <a:lnTo>
                  <a:pt x="479" y="941"/>
                </a:lnTo>
                <a:lnTo>
                  <a:pt x="479" y="939"/>
                </a:lnTo>
                <a:lnTo>
                  <a:pt x="480" y="938"/>
                </a:lnTo>
                <a:lnTo>
                  <a:pt x="477" y="928"/>
                </a:lnTo>
                <a:lnTo>
                  <a:pt x="472" y="918"/>
                </a:lnTo>
                <a:lnTo>
                  <a:pt x="468" y="909"/>
                </a:lnTo>
                <a:lnTo>
                  <a:pt x="464" y="900"/>
                </a:lnTo>
                <a:lnTo>
                  <a:pt x="460" y="890"/>
                </a:lnTo>
                <a:lnTo>
                  <a:pt x="457" y="881"/>
                </a:lnTo>
                <a:lnTo>
                  <a:pt x="452" y="87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close/>
                <a:moveTo>
                  <a:pt x="1091" y="1522"/>
                </a:moveTo>
                <a:lnTo>
                  <a:pt x="1091" y="1522"/>
                </a:lnTo>
                <a:lnTo>
                  <a:pt x="1091" y="1523"/>
                </a:lnTo>
                <a:lnTo>
                  <a:pt x="1092" y="1524"/>
                </a:lnTo>
                <a:lnTo>
                  <a:pt x="1091" y="1523"/>
                </a:lnTo>
                <a:lnTo>
                  <a:pt x="1091" y="1522"/>
                </a:lnTo>
                <a:close/>
                <a:moveTo>
                  <a:pt x="1082" y="1514"/>
                </a:moveTo>
                <a:lnTo>
                  <a:pt x="1082" y="1515"/>
                </a:lnTo>
                <a:lnTo>
                  <a:pt x="1082" y="1516"/>
                </a:lnTo>
                <a:lnTo>
                  <a:pt x="1084" y="1517"/>
                </a:lnTo>
                <a:lnTo>
                  <a:pt x="1082" y="1518"/>
                </a:lnTo>
                <a:lnTo>
                  <a:pt x="1082" y="1517"/>
                </a:lnTo>
                <a:lnTo>
                  <a:pt x="1082" y="1516"/>
                </a:lnTo>
                <a:lnTo>
                  <a:pt x="1082" y="1515"/>
                </a:lnTo>
                <a:lnTo>
                  <a:pt x="1082" y="1514"/>
                </a:lnTo>
                <a:lnTo>
                  <a:pt x="1082" y="1511"/>
                </a:lnTo>
                <a:lnTo>
                  <a:pt x="1084" y="1509"/>
                </a:lnTo>
                <a:lnTo>
                  <a:pt x="1084" y="1508"/>
                </a:lnTo>
                <a:lnTo>
                  <a:pt x="1084" y="1501"/>
                </a:lnTo>
                <a:lnTo>
                  <a:pt x="1084" y="1494"/>
                </a:lnTo>
                <a:lnTo>
                  <a:pt x="1081" y="1487"/>
                </a:lnTo>
                <a:lnTo>
                  <a:pt x="1080" y="1481"/>
                </a:lnTo>
                <a:lnTo>
                  <a:pt x="1078" y="1473"/>
                </a:lnTo>
                <a:lnTo>
                  <a:pt x="1078" y="1466"/>
                </a:lnTo>
                <a:lnTo>
                  <a:pt x="1079" y="1466"/>
                </a:lnTo>
                <a:lnTo>
                  <a:pt x="1080" y="1466"/>
                </a:lnTo>
                <a:lnTo>
                  <a:pt x="1082" y="1476"/>
                </a:lnTo>
                <a:lnTo>
                  <a:pt x="1085" y="1488"/>
                </a:lnTo>
                <a:lnTo>
                  <a:pt x="1088" y="1498"/>
                </a:lnTo>
                <a:lnTo>
                  <a:pt x="1091" y="1510"/>
                </a:lnTo>
                <a:lnTo>
                  <a:pt x="1091" y="1512"/>
                </a:lnTo>
                <a:lnTo>
                  <a:pt x="1091" y="1516"/>
                </a:lnTo>
                <a:lnTo>
                  <a:pt x="1087" y="1514"/>
                </a:lnTo>
                <a:lnTo>
                  <a:pt x="1082" y="1514"/>
                </a:lnTo>
                <a:close/>
                <a:moveTo>
                  <a:pt x="1080" y="1537"/>
                </a:moveTo>
                <a:lnTo>
                  <a:pt x="1080" y="1537"/>
                </a:lnTo>
                <a:lnTo>
                  <a:pt x="1080" y="1537"/>
                </a:lnTo>
                <a:lnTo>
                  <a:pt x="1080" y="1537"/>
                </a:lnTo>
                <a:lnTo>
                  <a:pt x="1080" y="1537"/>
                </a:lnTo>
                <a:lnTo>
                  <a:pt x="1082" y="1539"/>
                </a:lnTo>
                <a:lnTo>
                  <a:pt x="1082" y="1542"/>
                </a:lnTo>
                <a:lnTo>
                  <a:pt x="1082" y="1539"/>
                </a:lnTo>
                <a:lnTo>
                  <a:pt x="1080" y="1537"/>
                </a:lnTo>
                <a:close/>
                <a:moveTo>
                  <a:pt x="1068" y="1428"/>
                </a:moveTo>
                <a:lnTo>
                  <a:pt x="1072" y="1435"/>
                </a:lnTo>
                <a:lnTo>
                  <a:pt x="1074" y="1441"/>
                </a:lnTo>
                <a:lnTo>
                  <a:pt x="1072" y="1435"/>
                </a:lnTo>
                <a:lnTo>
                  <a:pt x="1068" y="1428"/>
                </a:lnTo>
                <a:close/>
                <a:moveTo>
                  <a:pt x="1066" y="1228"/>
                </a:moveTo>
                <a:lnTo>
                  <a:pt x="1066" y="1225"/>
                </a:lnTo>
                <a:lnTo>
                  <a:pt x="1066" y="1223"/>
                </a:lnTo>
                <a:lnTo>
                  <a:pt x="1066" y="1225"/>
                </a:lnTo>
                <a:lnTo>
                  <a:pt x="1066" y="1228"/>
                </a:lnTo>
                <a:lnTo>
                  <a:pt x="1066" y="1228"/>
                </a:lnTo>
                <a:close/>
                <a:moveTo>
                  <a:pt x="1063" y="1423"/>
                </a:moveTo>
                <a:lnTo>
                  <a:pt x="1061" y="1425"/>
                </a:lnTo>
                <a:lnTo>
                  <a:pt x="1061" y="1426"/>
                </a:lnTo>
                <a:lnTo>
                  <a:pt x="1061" y="1425"/>
                </a:lnTo>
                <a:lnTo>
                  <a:pt x="1063" y="1423"/>
                </a:lnTo>
                <a:lnTo>
                  <a:pt x="1063" y="1419"/>
                </a:lnTo>
                <a:lnTo>
                  <a:pt x="1064" y="1418"/>
                </a:lnTo>
                <a:lnTo>
                  <a:pt x="1063" y="1419"/>
                </a:lnTo>
                <a:lnTo>
                  <a:pt x="1063" y="1423"/>
                </a:lnTo>
                <a:close/>
                <a:moveTo>
                  <a:pt x="1047" y="1565"/>
                </a:moveTo>
                <a:lnTo>
                  <a:pt x="1051" y="1564"/>
                </a:lnTo>
                <a:lnTo>
                  <a:pt x="1054" y="1564"/>
                </a:lnTo>
                <a:lnTo>
                  <a:pt x="1051" y="1564"/>
                </a:lnTo>
                <a:lnTo>
                  <a:pt x="1047" y="1565"/>
                </a:lnTo>
                <a:close/>
                <a:moveTo>
                  <a:pt x="1044" y="1567"/>
                </a:moveTo>
                <a:lnTo>
                  <a:pt x="1027" y="1567"/>
                </a:lnTo>
                <a:lnTo>
                  <a:pt x="1010" y="1567"/>
                </a:lnTo>
                <a:lnTo>
                  <a:pt x="1027" y="1567"/>
                </a:lnTo>
                <a:lnTo>
                  <a:pt x="1044" y="1567"/>
                </a:lnTo>
                <a:lnTo>
                  <a:pt x="1044" y="1567"/>
                </a:lnTo>
                <a:lnTo>
                  <a:pt x="1044" y="1567"/>
                </a:lnTo>
                <a:close/>
                <a:moveTo>
                  <a:pt x="1020" y="1550"/>
                </a:moveTo>
                <a:lnTo>
                  <a:pt x="1023" y="1549"/>
                </a:lnTo>
                <a:lnTo>
                  <a:pt x="1026" y="1549"/>
                </a:lnTo>
                <a:lnTo>
                  <a:pt x="1023" y="1549"/>
                </a:lnTo>
                <a:lnTo>
                  <a:pt x="1020" y="1550"/>
                </a:lnTo>
                <a:lnTo>
                  <a:pt x="1018" y="1550"/>
                </a:lnTo>
                <a:lnTo>
                  <a:pt x="1016" y="1551"/>
                </a:lnTo>
                <a:lnTo>
                  <a:pt x="1018" y="1550"/>
                </a:lnTo>
                <a:lnTo>
                  <a:pt x="1020" y="1550"/>
                </a:lnTo>
                <a:close/>
                <a:moveTo>
                  <a:pt x="1032" y="1553"/>
                </a:moveTo>
                <a:lnTo>
                  <a:pt x="1038" y="1553"/>
                </a:lnTo>
                <a:lnTo>
                  <a:pt x="1044" y="1553"/>
                </a:lnTo>
                <a:lnTo>
                  <a:pt x="1038" y="1553"/>
                </a:lnTo>
                <a:lnTo>
                  <a:pt x="1032" y="1553"/>
                </a:lnTo>
                <a:lnTo>
                  <a:pt x="1031" y="1553"/>
                </a:lnTo>
                <a:lnTo>
                  <a:pt x="1030" y="1554"/>
                </a:lnTo>
                <a:lnTo>
                  <a:pt x="1031" y="1553"/>
                </a:lnTo>
                <a:lnTo>
                  <a:pt x="1032" y="1553"/>
                </a:lnTo>
                <a:close/>
                <a:moveTo>
                  <a:pt x="1046" y="1517"/>
                </a:moveTo>
                <a:lnTo>
                  <a:pt x="1046" y="1517"/>
                </a:lnTo>
                <a:lnTo>
                  <a:pt x="1046" y="1517"/>
                </a:lnTo>
                <a:lnTo>
                  <a:pt x="1046" y="1517"/>
                </a:lnTo>
                <a:close/>
                <a:moveTo>
                  <a:pt x="1051" y="1416"/>
                </a:moveTo>
                <a:lnTo>
                  <a:pt x="1054" y="1411"/>
                </a:lnTo>
                <a:lnTo>
                  <a:pt x="1054" y="1406"/>
                </a:lnTo>
                <a:lnTo>
                  <a:pt x="1054" y="1411"/>
                </a:lnTo>
                <a:lnTo>
                  <a:pt x="1051" y="1416"/>
                </a:lnTo>
                <a:lnTo>
                  <a:pt x="1051" y="1417"/>
                </a:lnTo>
                <a:lnTo>
                  <a:pt x="1051" y="1418"/>
                </a:lnTo>
                <a:lnTo>
                  <a:pt x="1051" y="1417"/>
                </a:lnTo>
                <a:lnTo>
                  <a:pt x="1051" y="1416"/>
                </a:lnTo>
                <a:close/>
                <a:moveTo>
                  <a:pt x="1037" y="1472"/>
                </a:moveTo>
                <a:lnTo>
                  <a:pt x="1037" y="1472"/>
                </a:lnTo>
                <a:lnTo>
                  <a:pt x="1037" y="1472"/>
                </a:lnTo>
                <a:lnTo>
                  <a:pt x="1037" y="1472"/>
                </a:lnTo>
                <a:lnTo>
                  <a:pt x="1037" y="1472"/>
                </a:lnTo>
                <a:close/>
                <a:moveTo>
                  <a:pt x="1034" y="1428"/>
                </a:moveTo>
                <a:lnTo>
                  <a:pt x="1034" y="1428"/>
                </a:lnTo>
                <a:lnTo>
                  <a:pt x="1034" y="1428"/>
                </a:lnTo>
                <a:lnTo>
                  <a:pt x="1034" y="1430"/>
                </a:lnTo>
                <a:lnTo>
                  <a:pt x="1034" y="1428"/>
                </a:lnTo>
                <a:lnTo>
                  <a:pt x="1034" y="1428"/>
                </a:lnTo>
                <a:close/>
                <a:moveTo>
                  <a:pt x="1024" y="883"/>
                </a:moveTo>
                <a:lnTo>
                  <a:pt x="1025" y="880"/>
                </a:lnTo>
                <a:lnTo>
                  <a:pt x="1025" y="878"/>
                </a:lnTo>
                <a:lnTo>
                  <a:pt x="1025" y="874"/>
                </a:lnTo>
                <a:lnTo>
                  <a:pt x="1024" y="872"/>
                </a:lnTo>
                <a:lnTo>
                  <a:pt x="1024" y="872"/>
                </a:lnTo>
                <a:lnTo>
                  <a:pt x="1025" y="874"/>
                </a:lnTo>
                <a:lnTo>
                  <a:pt x="1025" y="878"/>
                </a:lnTo>
                <a:lnTo>
                  <a:pt x="1025" y="880"/>
                </a:lnTo>
                <a:lnTo>
                  <a:pt x="1024" y="883"/>
                </a:lnTo>
                <a:close/>
                <a:moveTo>
                  <a:pt x="1017" y="871"/>
                </a:moveTo>
                <a:lnTo>
                  <a:pt x="1018" y="872"/>
                </a:lnTo>
                <a:lnTo>
                  <a:pt x="1019" y="873"/>
                </a:lnTo>
                <a:lnTo>
                  <a:pt x="1018" y="872"/>
                </a:lnTo>
                <a:lnTo>
                  <a:pt x="1017" y="871"/>
                </a:lnTo>
                <a:close/>
                <a:moveTo>
                  <a:pt x="1009" y="869"/>
                </a:moveTo>
                <a:lnTo>
                  <a:pt x="1009" y="869"/>
                </a:lnTo>
                <a:lnTo>
                  <a:pt x="1010" y="869"/>
                </a:lnTo>
                <a:lnTo>
                  <a:pt x="1011" y="869"/>
                </a:lnTo>
                <a:lnTo>
                  <a:pt x="1010" y="869"/>
                </a:lnTo>
                <a:lnTo>
                  <a:pt x="1009" y="869"/>
                </a:lnTo>
                <a:close/>
                <a:moveTo>
                  <a:pt x="1010" y="1012"/>
                </a:moveTo>
                <a:lnTo>
                  <a:pt x="1010" y="1011"/>
                </a:lnTo>
                <a:lnTo>
                  <a:pt x="1010" y="1009"/>
                </a:lnTo>
                <a:lnTo>
                  <a:pt x="1010" y="1011"/>
                </a:lnTo>
                <a:lnTo>
                  <a:pt x="1010" y="1012"/>
                </a:lnTo>
                <a:close/>
                <a:moveTo>
                  <a:pt x="1002" y="803"/>
                </a:moveTo>
                <a:lnTo>
                  <a:pt x="997" y="805"/>
                </a:lnTo>
                <a:lnTo>
                  <a:pt x="992" y="808"/>
                </a:lnTo>
                <a:lnTo>
                  <a:pt x="997" y="805"/>
                </a:lnTo>
                <a:lnTo>
                  <a:pt x="1002" y="803"/>
                </a:lnTo>
                <a:lnTo>
                  <a:pt x="1004" y="803"/>
                </a:lnTo>
                <a:lnTo>
                  <a:pt x="1005" y="802"/>
                </a:lnTo>
                <a:lnTo>
                  <a:pt x="1004" y="803"/>
                </a:lnTo>
                <a:lnTo>
                  <a:pt x="1002" y="803"/>
                </a:lnTo>
                <a:close/>
                <a:moveTo>
                  <a:pt x="979" y="913"/>
                </a:moveTo>
                <a:lnTo>
                  <a:pt x="981" y="914"/>
                </a:lnTo>
                <a:lnTo>
                  <a:pt x="983" y="915"/>
                </a:lnTo>
                <a:lnTo>
                  <a:pt x="981" y="914"/>
                </a:lnTo>
                <a:lnTo>
                  <a:pt x="979" y="913"/>
                </a:lnTo>
                <a:close/>
                <a:moveTo>
                  <a:pt x="972" y="913"/>
                </a:moveTo>
                <a:lnTo>
                  <a:pt x="975" y="914"/>
                </a:lnTo>
                <a:lnTo>
                  <a:pt x="978" y="913"/>
                </a:lnTo>
                <a:lnTo>
                  <a:pt x="975" y="914"/>
                </a:lnTo>
                <a:lnTo>
                  <a:pt x="972" y="913"/>
                </a:lnTo>
                <a:close/>
                <a:moveTo>
                  <a:pt x="974" y="902"/>
                </a:moveTo>
                <a:lnTo>
                  <a:pt x="974" y="902"/>
                </a:lnTo>
                <a:lnTo>
                  <a:pt x="974" y="902"/>
                </a:lnTo>
                <a:lnTo>
                  <a:pt x="972" y="902"/>
                </a:lnTo>
                <a:lnTo>
                  <a:pt x="972" y="902"/>
                </a:lnTo>
                <a:lnTo>
                  <a:pt x="972" y="902"/>
                </a:lnTo>
                <a:lnTo>
                  <a:pt x="974" y="902"/>
                </a:lnTo>
                <a:close/>
                <a:moveTo>
                  <a:pt x="964" y="927"/>
                </a:moveTo>
                <a:lnTo>
                  <a:pt x="967" y="925"/>
                </a:lnTo>
                <a:lnTo>
                  <a:pt x="968" y="924"/>
                </a:lnTo>
                <a:lnTo>
                  <a:pt x="967" y="925"/>
                </a:lnTo>
                <a:lnTo>
                  <a:pt x="964" y="927"/>
                </a:lnTo>
                <a:close/>
                <a:moveTo>
                  <a:pt x="960" y="679"/>
                </a:moveTo>
                <a:lnTo>
                  <a:pt x="953" y="684"/>
                </a:lnTo>
                <a:lnTo>
                  <a:pt x="946" y="690"/>
                </a:lnTo>
                <a:lnTo>
                  <a:pt x="940" y="691"/>
                </a:lnTo>
                <a:lnTo>
                  <a:pt x="934" y="696"/>
                </a:lnTo>
                <a:lnTo>
                  <a:pt x="919" y="705"/>
                </a:lnTo>
                <a:lnTo>
                  <a:pt x="903" y="714"/>
                </a:lnTo>
                <a:lnTo>
                  <a:pt x="888" y="722"/>
                </a:lnTo>
                <a:lnTo>
                  <a:pt x="875" y="731"/>
                </a:lnTo>
                <a:lnTo>
                  <a:pt x="858" y="743"/>
                </a:lnTo>
                <a:lnTo>
                  <a:pt x="843" y="759"/>
                </a:lnTo>
                <a:lnTo>
                  <a:pt x="841" y="761"/>
                </a:lnTo>
                <a:lnTo>
                  <a:pt x="841" y="762"/>
                </a:lnTo>
                <a:lnTo>
                  <a:pt x="841" y="761"/>
                </a:lnTo>
                <a:lnTo>
                  <a:pt x="843" y="759"/>
                </a:lnTo>
                <a:lnTo>
                  <a:pt x="840" y="760"/>
                </a:lnTo>
                <a:lnTo>
                  <a:pt x="839" y="760"/>
                </a:lnTo>
                <a:lnTo>
                  <a:pt x="838" y="762"/>
                </a:lnTo>
                <a:lnTo>
                  <a:pt x="838" y="764"/>
                </a:lnTo>
                <a:lnTo>
                  <a:pt x="838" y="764"/>
                </a:lnTo>
                <a:lnTo>
                  <a:pt x="838" y="764"/>
                </a:lnTo>
                <a:lnTo>
                  <a:pt x="838" y="767"/>
                </a:lnTo>
                <a:lnTo>
                  <a:pt x="837" y="767"/>
                </a:lnTo>
                <a:lnTo>
                  <a:pt x="838" y="767"/>
                </a:lnTo>
                <a:lnTo>
                  <a:pt x="838" y="764"/>
                </a:lnTo>
                <a:lnTo>
                  <a:pt x="837" y="766"/>
                </a:lnTo>
                <a:lnTo>
                  <a:pt x="836" y="766"/>
                </a:lnTo>
                <a:lnTo>
                  <a:pt x="836" y="767"/>
                </a:lnTo>
                <a:lnTo>
                  <a:pt x="836" y="768"/>
                </a:lnTo>
                <a:lnTo>
                  <a:pt x="834" y="770"/>
                </a:lnTo>
                <a:lnTo>
                  <a:pt x="833" y="771"/>
                </a:lnTo>
                <a:lnTo>
                  <a:pt x="831" y="775"/>
                </a:lnTo>
                <a:lnTo>
                  <a:pt x="826" y="776"/>
                </a:lnTo>
                <a:lnTo>
                  <a:pt x="831" y="775"/>
                </a:lnTo>
                <a:lnTo>
                  <a:pt x="833" y="771"/>
                </a:lnTo>
                <a:lnTo>
                  <a:pt x="830" y="771"/>
                </a:lnTo>
                <a:lnTo>
                  <a:pt x="826" y="771"/>
                </a:lnTo>
                <a:lnTo>
                  <a:pt x="823" y="774"/>
                </a:lnTo>
                <a:lnTo>
                  <a:pt x="822" y="777"/>
                </a:lnTo>
                <a:lnTo>
                  <a:pt x="820" y="777"/>
                </a:lnTo>
                <a:lnTo>
                  <a:pt x="818" y="777"/>
                </a:lnTo>
                <a:lnTo>
                  <a:pt x="818" y="780"/>
                </a:lnTo>
                <a:lnTo>
                  <a:pt x="817" y="781"/>
                </a:lnTo>
                <a:lnTo>
                  <a:pt x="816" y="782"/>
                </a:lnTo>
                <a:lnTo>
                  <a:pt x="813" y="782"/>
                </a:lnTo>
                <a:lnTo>
                  <a:pt x="816" y="782"/>
                </a:lnTo>
                <a:lnTo>
                  <a:pt x="817" y="781"/>
                </a:lnTo>
                <a:lnTo>
                  <a:pt x="818" y="780"/>
                </a:lnTo>
                <a:lnTo>
                  <a:pt x="818" y="777"/>
                </a:lnTo>
                <a:lnTo>
                  <a:pt x="816" y="777"/>
                </a:lnTo>
                <a:lnTo>
                  <a:pt x="815" y="778"/>
                </a:lnTo>
                <a:lnTo>
                  <a:pt x="813" y="780"/>
                </a:lnTo>
                <a:lnTo>
                  <a:pt x="812" y="782"/>
                </a:lnTo>
                <a:lnTo>
                  <a:pt x="811" y="782"/>
                </a:lnTo>
                <a:lnTo>
                  <a:pt x="811" y="783"/>
                </a:lnTo>
                <a:lnTo>
                  <a:pt x="810" y="784"/>
                </a:lnTo>
                <a:lnTo>
                  <a:pt x="810" y="785"/>
                </a:lnTo>
                <a:lnTo>
                  <a:pt x="810" y="784"/>
                </a:lnTo>
                <a:lnTo>
                  <a:pt x="811" y="783"/>
                </a:lnTo>
                <a:lnTo>
                  <a:pt x="809" y="784"/>
                </a:lnTo>
                <a:lnTo>
                  <a:pt x="808" y="787"/>
                </a:lnTo>
                <a:lnTo>
                  <a:pt x="808" y="787"/>
                </a:lnTo>
                <a:lnTo>
                  <a:pt x="806" y="787"/>
                </a:lnTo>
                <a:lnTo>
                  <a:pt x="806" y="787"/>
                </a:lnTo>
                <a:lnTo>
                  <a:pt x="804" y="787"/>
                </a:lnTo>
                <a:lnTo>
                  <a:pt x="802" y="788"/>
                </a:lnTo>
                <a:lnTo>
                  <a:pt x="801" y="788"/>
                </a:lnTo>
                <a:lnTo>
                  <a:pt x="799" y="787"/>
                </a:lnTo>
                <a:lnTo>
                  <a:pt x="798" y="785"/>
                </a:lnTo>
                <a:lnTo>
                  <a:pt x="798" y="783"/>
                </a:lnTo>
                <a:lnTo>
                  <a:pt x="801" y="782"/>
                </a:lnTo>
                <a:lnTo>
                  <a:pt x="802" y="782"/>
                </a:lnTo>
                <a:lnTo>
                  <a:pt x="804" y="780"/>
                </a:lnTo>
                <a:lnTo>
                  <a:pt x="805" y="777"/>
                </a:lnTo>
                <a:lnTo>
                  <a:pt x="805" y="776"/>
                </a:lnTo>
                <a:lnTo>
                  <a:pt x="806" y="775"/>
                </a:lnTo>
                <a:lnTo>
                  <a:pt x="809" y="775"/>
                </a:lnTo>
                <a:lnTo>
                  <a:pt x="809" y="773"/>
                </a:lnTo>
                <a:lnTo>
                  <a:pt x="809" y="773"/>
                </a:lnTo>
                <a:lnTo>
                  <a:pt x="811" y="773"/>
                </a:lnTo>
                <a:lnTo>
                  <a:pt x="812" y="771"/>
                </a:lnTo>
                <a:lnTo>
                  <a:pt x="813" y="770"/>
                </a:lnTo>
                <a:lnTo>
                  <a:pt x="813" y="768"/>
                </a:lnTo>
                <a:lnTo>
                  <a:pt x="815" y="768"/>
                </a:lnTo>
                <a:lnTo>
                  <a:pt x="816" y="768"/>
                </a:lnTo>
                <a:lnTo>
                  <a:pt x="819" y="767"/>
                </a:lnTo>
                <a:lnTo>
                  <a:pt x="824" y="763"/>
                </a:lnTo>
                <a:lnTo>
                  <a:pt x="826" y="760"/>
                </a:lnTo>
                <a:lnTo>
                  <a:pt x="830" y="756"/>
                </a:lnTo>
                <a:lnTo>
                  <a:pt x="844" y="741"/>
                </a:lnTo>
                <a:lnTo>
                  <a:pt x="859" y="725"/>
                </a:lnTo>
                <a:lnTo>
                  <a:pt x="861" y="722"/>
                </a:lnTo>
                <a:lnTo>
                  <a:pt x="863" y="719"/>
                </a:lnTo>
                <a:lnTo>
                  <a:pt x="860" y="718"/>
                </a:lnTo>
                <a:lnTo>
                  <a:pt x="859" y="718"/>
                </a:lnTo>
                <a:lnTo>
                  <a:pt x="860" y="718"/>
                </a:lnTo>
                <a:lnTo>
                  <a:pt x="863" y="719"/>
                </a:lnTo>
                <a:lnTo>
                  <a:pt x="863" y="718"/>
                </a:lnTo>
                <a:lnTo>
                  <a:pt x="864" y="717"/>
                </a:lnTo>
                <a:lnTo>
                  <a:pt x="865" y="717"/>
                </a:lnTo>
                <a:lnTo>
                  <a:pt x="866" y="715"/>
                </a:lnTo>
                <a:lnTo>
                  <a:pt x="867" y="714"/>
                </a:lnTo>
                <a:lnTo>
                  <a:pt x="867" y="713"/>
                </a:lnTo>
                <a:lnTo>
                  <a:pt x="868" y="711"/>
                </a:lnTo>
                <a:lnTo>
                  <a:pt x="871" y="710"/>
                </a:lnTo>
                <a:lnTo>
                  <a:pt x="874" y="711"/>
                </a:lnTo>
                <a:lnTo>
                  <a:pt x="878" y="711"/>
                </a:lnTo>
                <a:lnTo>
                  <a:pt x="879" y="713"/>
                </a:lnTo>
                <a:lnTo>
                  <a:pt x="879" y="714"/>
                </a:lnTo>
                <a:lnTo>
                  <a:pt x="879" y="715"/>
                </a:lnTo>
                <a:lnTo>
                  <a:pt x="881" y="717"/>
                </a:lnTo>
                <a:lnTo>
                  <a:pt x="882" y="715"/>
                </a:lnTo>
                <a:lnTo>
                  <a:pt x="884" y="714"/>
                </a:lnTo>
                <a:lnTo>
                  <a:pt x="884" y="714"/>
                </a:lnTo>
                <a:lnTo>
                  <a:pt x="885" y="714"/>
                </a:lnTo>
                <a:lnTo>
                  <a:pt x="898" y="710"/>
                </a:lnTo>
                <a:lnTo>
                  <a:pt x="910" y="704"/>
                </a:lnTo>
                <a:lnTo>
                  <a:pt x="913" y="703"/>
                </a:lnTo>
                <a:lnTo>
                  <a:pt x="916" y="701"/>
                </a:lnTo>
                <a:lnTo>
                  <a:pt x="920" y="699"/>
                </a:lnTo>
                <a:lnTo>
                  <a:pt x="921" y="696"/>
                </a:lnTo>
                <a:lnTo>
                  <a:pt x="922" y="696"/>
                </a:lnTo>
                <a:lnTo>
                  <a:pt x="925" y="694"/>
                </a:lnTo>
                <a:lnTo>
                  <a:pt x="940" y="683"/>
                </a:lnTo>
                <a:lnTo>
                  <a:pt x="955" y="671"/>
                </a:lnTo>
                <a:lnTo>
                  <a:pt x="956" y="669"/>
                </a:lnTo>
                <a:lnTo>
                  <a:pt x="957" y="666"/>
                </a:lnTo>
                <a:lnTo>
                  <a:pt x="956" y="669"/>
                </a:lnTo>
                <a:lnTo>
                  <a:pt x="955" y="671"/>
                </a:lnTo>
                <a:lnTo>
                  <a:pt x="960" y="670"/>
                </a:lnTo>
                <a:lnTo>
                  <a:pt x="963" y="669"/>
                </a:lnTo>
                <a:lnTo>
                  <a:pt x="963" y="670"/>
                </a:lnTo>
                <a:lnTo>
                  <a:pt x="963" y="671"/>
                </a:lnTo>
                <a:lnTo>
                  <a:pt x="961" y="675"/>
                </a:lnTo>
                <a:lnTo>
                  <a:pt x="960" y="678"/>
                </a:lnTo>
                <a:lnTo>
                  <a:pt x="960" y="678"/>
                </a:lnTo>
                <a:lnTo>
                  <a:pt x="960" y="679"/>
                </a:lnTo>
                <a:close/>
                <a:moveTo>
                  <a:pt x="955" y="696"/>
                </a:moveTo>
                <a:lnTo>
                  <a:pt x="955" y="696"/>
                </a:lnTo>
                <a:lnTo>
                  <a:pt x="955" y="696"/>
                </a:lnTo>
                <a:lnTo>
                  <a:pt x="955" y="696"/>
                </a:lnTo>
                <a:close/>
                <a:moveTo>
                  <a:pt x="940" y="908"/>
                </a:moveTo>
                <a:lnTo>
                  <a:pt x="942" y="908"/>
                </a:lnTo>
                <a:lnTo>
                  <a:pt x="943" y="908"/>
                </a:lnTo>
                <a:lnTo>
                  <a:pt x="942" y="908"/>
                </a:lnTo>
                <a:lnTo>
                  <a:pt x="940" y="908"/>
                </a:lnTo>
                <a:close/>
                <a:moveTo>
                  <a:pt x="936" y="939"/>
                </a:moveTo>
                <a:lnTo>
                  <a:pt x="934" y="937"/>
                </a:lnTo>
                <a:lnTo>
                  <a:pt x="933" y="935"/>
                </a:lnTo>
                <a:lnTo>
                  <a:pt x="932" y="934"/>
                </a:lnTo>
                <a:lnTo>
                  <a:pt x="929" y="934"/>
                </a:lnTo>
                <a:lnTo>
                  <a:pt x="932" y="934"/>
                </a:lnTo>
                <a:lnTo>
                  <a:pt x="933" y="935"/>
                </a:lnTo>
                <a:lnTo>
                  <a:pt x="934" y="937"/>
                </a:lnTo>
                <a:lnTo>
                  <a:pt x="936" y="939"/>
                </a:lnTo>
                <a:lnTo>
                  <a:pt x="939" y="939"/>
                </a:lnTo>
                <a:lnTo>
                  <a:pt x="941" y="939"/>
                </a:lnTo>
                <a:lnTo>
                  <a:pt x="939" y="939"/>
                </a:lnTo>
                <a:lnTo>
                  <a:pt x="936" y="939"/>
                </a:lnTo>
                <a:close/>
                <a:moveTo>
                  <a:pt x="926" y="767"/>
                </a:moveTo>
                <a:lnTo>
                  <a:pt x="925" y="771"/>
                </a:lnTo>
                <a:lnTo>
                  <a:pt x="923" y="776"/>
                </a:lnTo>
                <a:lnTo>
                  <a:pt x="921" y="781"/>
                </a:lnTo>
                <a:lnTo>
                  <a:pt x="918" y="784"/>
                </a:lnTo>
                <a:lnTo>
                  <a:pt x="915" y="787"/>
                </a:lnTo>
                <a:lnTo>
                  <a:pt x="914" y="790"/>
                </a:lnTo>
                <a:lnTo>
                  <a:pt x="914" y="790"/>
                </a:lnTo>
                <a:lnTo>
                  <a:pt x="913" y="790"/>
                </a:lnTo>
                <a:lnTo>
                  <a:pt x="913" y="792"/>
                </a:lnTo>
                <a:lnTo>
                  <a:pt x="912" y="794"/>
                </a:lnTo>
                <a:lnTo>
                  <a:pt x="913" y="792"/>
                </a:lnTo>
                <a:lnTo>
                  <a:pt x="913" y="790"/>
                </a:lnTo>
                <a:lnTo>
                  <a:pt x="912" y="791"/>
                </a:lnTo>
                <a:lnTo>
                  <a:pt x="909" y="791"/>
                </a:lnTo>
                <a:lnTo>
                  <a:pt x="908" y="792"/>
                </a:lnTo>
                <a:lnTo>
                  <a:pt x="907" y="795"/>
                </a:lnTo>
                <a:lnTo>
                  <a:pt x="903" y="795"/>
                </a:lnTo>
                <a:lnTo>
                  <a:pt x="900" y="795"/>
                </a:lnTo>
                <a:lnTo>
                  <a:pt x="896" y="798"/>
                </a:lnTo>
                <a:lnTo>
                  <a:pt x="893" y="799"/>
                </a:lnTo>
                <a:lnTo>
                  <a:pt x="896" y="798"/>
                </a:lnTo>
                <a:lnTo>
                  <a:pt x="900" y="795"/>
                </a:lnTo>
                <a:lnTo>
                  <a:pt x="896" y="795"/>
                </a:lnTo>
                <a:lnTo>
                  <a:pt x="893" y="795"/>
                </a:lnTo>
                <a:lnTo>
                  <a:pt x="889" y="796"/>
                </a:lnTo>
                <a:lnTo>
                  <a:pt x="887" y="799"/>
                </a:lnTo>
                <a:lnTo>
                  <a:pt x="885" y="799"/>
                </a:lnTo>
                <a:lnTo>
                  <a:pt x="882" y="799"/>
                </a:lnTo>
                <a:lnTo>
                  <a:pt x="875" y="805"/>
                </a:lnTo>
                <a:lnTo>
                  <a:pt x="868" y="809"/>
                </a:lnTo>
                <a:lnTo>
                  <a:pt x="875" y="805"/>
                </a:lnTo>
                <a:lnTo>
                  <a:pt x="882" y="799"/>
                </a:lnTo>
                <a:lnTo>
                  <a:pt x="880" y="799"/>
                </a:lnTo>
                <a:lnTo>
                  <a:pt x="879" y="799"/>
                </a:lnTo>
                <a:lnTo>
                  <a:pt x="879" y="798"/>
                </a:lnTo>
                <a:lnTo>
                  <a:pt x="880" y="796"/>
                </a:lnTo>
                <a:lnTo>
                  <a:pt x="886" y="792"/>
                </a:lnTo>
                <a:lnTo>
                  <a:pt x="892" y="790"/>
                </a:lnTo>
                <a:lnTo>
                  <a:pt x="900" y="781"/>
                </a:lnTo>
                <a:lnTo>
                  <a:pt x="907" y="771"/>
                </a:lnTo>
                <a:lnTo>
                  <a:pt x="913" y="761"/>
                </a:lnTo>
                <a:lnTo>
                  <a:pt x="919" y="750"/>
                </a:lnTo>
                <a:lnTo>
                  <a:pt x="921" y="747"/>
                </a:lnTo>
                <a:lnTo>
                  <a:pt x="922" y="743"/>
                </a:lnTo>
                <a:lnTo>
                  <a:pt x="923" y="739"/>
                </a:lnTo>
                <a:lnTo>
                  <a:pt x="923" y="734"/>
                </a:lnTo>
                <a:lnTo>
                  <a:pt x="926" y="731"/>
                </a:lnTo>
                <a:lnTo>
                  <a:pt x="928" y="726"/>
                </a:lnTo>
                <a:lnTo>
                  <a:pt x="928" y="726"/>
                </a:lnTo>
                <a:lnTo>
                  <a:pt x="930" y="725"/>
                </a:lnTo>
                <a:lnTo>
                  <a:pt x="932" y="722"/>
                </a:lnTo>
                <a:lnTo>
                  <a:pt x="932" y="721"/>
                </a:lnTo>
                <a:lnTo>
                  <a:pt x="933" y="720"/>
                </a:lnTo>
                <a:lnTo>
                  <a:pt x="935" y="721"/>
                </a:lnTo>
                <a:lnTo>
                  <a:pt x="936" y="722"/>
                </a:lnTo>
                <a:lnTo>
                  <a:pt x="936" y="725"/>
                </a:lnTo>
                <a:lnTo>
                  <a:pt x="935" y="727"/>
                </a:lnTo>
                <a:lnTo>
                  <a:pt x="932" y="739"/>
                </a:lnTo>
                <a:lnTo>
                  <a:pt x="928" y="750"/>
                </a:lnTo>
                <a:lnTo>
                  <a:pt x="926" y="759"/>
                </a:lnTo>
                <a:lnTo>
                  <a:pt x="926" y="767"/>
                </a:lnTo>
                <a:close/>
                <a:moveTo>
                  <a:pt x="900" y="938"/>
                </a:moveTo>
                <a:lnTo>
                  <a:pt x="898" y="939"/>
                </a:lnTo>
                <a:lnTo>
                  <a:pt x="895" y="939"/>
                </a:lnTo>
                <a:lnTo>
                  <a:pt x="893" y="939"/>
                </a:lnTo>
                <a:lnTo>
                  <a:pt x="889" y="939"/>
                </a:lnTo>
                <a:lnTo>
                  <a:pt x="893" y="939"/>
                </a:lnTo>
                <a:lnTo>
                  <a:pt x="895" y="939"/>
                </a:lnTo>
                <a:lnTo>
                  <a:pt x="898" y="939"/>
                </a:lnTo>
                <a:lnTo>
                  <a:pt x="900" y="938"/>
                </a:lnTo>
                <a:close/>
                <a:moveTo>
                  <a:pt x="885" y="848"/>
                </a:moveTo>
                <a:lnTo>
                  <a:pt x="889" y="847"/>
                </a:lnTo>
                <a:lnTo>
                  <a:pt x="892" y="844"/>
                </a:lnTo>
                <a:lnTo>
                  <a:pt x="895" y="843"/>
                </a:lnTo>
                <a:lnTo>
                  <a:pt x="896" y="840"/>
                </a:lnTo>
                <a:lnTo>
                  <a:pt x="895" y="843"/>
                </a:lnTo>
                <a:lnTo>
                  <a:pt x="892" y="844"/>
                </a:lnTo>
                <a:lnTo>
                  <a:pt x="889" y="847"/>
                </a:lnTo>
                <a:lnTo>
                  <a:pt x="885" y="848"/>
                </a:lnTo>
                <a:close/>
                <a:moveTo>
                  <a:pt x="880" y="1027"/>
                </a:moveTo>
                <a:lnTo>
                  <a:pt x="880" y="1025"/>
                </a:lnTo>
                <a:lnTo>
                  <a:pt x="878" y="1022"/>
                </a:lnTo>
                <a:lnTo>
                  <a:pt x="880" y="1025"/>
                </a:lnTo>
                <a:lnTo>
                  <a:pt x="880" y="1027"/>
                </a:lnTo>
                <a:lnTo>
                  <a:pt x="882" y="1029"/>
                </a:lnTo>
                <a:lnTo>
                  <a:pt x="882" y="1033"/>
                </a:lnTo>
                <a:lnTo>
                  <a:pt x="882" y="1029"/>
                </a:lnTo>
                <a:lnTo>
                  <a:pt x="880" y="1027"/>
                </a:lnTo>
                <a:close/>
                <a:moveTo>
                  <a:pt x="874" y="1001"/>
                </a:moveTo>
                <a:lnTo>
                  <a:pt x="875" y="1000"/>
                </a:lnTo>
                <a:lnTo>
                  <a:pt x="878" y="998"/>
                </a:lnTo>
                <a:lnTo>
                  <a:pt x="878" y="998"/>
                </a:lnTo>
                <a:lnTo>
                  <a:pt x="875" y="1000"/>
                </a:lnTo>
                <a:lnTo>
                  <a:pt x="874" y="1001"/>
                </a:lnTo>
                <a:close/>
                <a:moveTo>
                  <a:pt x="838" y="799"/>
                </a:moveTo>
                <a:lnTo>
                  <a:pt x="837" y="802"/>
                </a:lnTo>
                <a:lnTo>
                  <a:pt x="834" y="803"/>
                </a:lnTo>
                <a:lnTo>
                  <a:pt x="832" y="804"/>
                </a:lnTo>
                <a:lnTo>
                  <a:pt x="830" y="804"/>
                </a:lnTo>
                <a:lnTo>
                  <a:pt x="832" y="804"/>
                </a:lnTo>
                <a:lnTo>
                  <a:pt x="834" y="803"/>
                </a:lnTo>
                <a:lnTo>
                  <a:pt x="837" y="802"/>
                </a:lnTo>
                <a:lnTo>
                  <a:pt x="838" y="799"/>
                </a:lnTo>
                <a:lnTo>
                  <a:pt x="843" y="798"/>
                </a:lnTo>
                <a:lnTo>
                  <a:pt x="846" y="797"/>
                </a:lnTo>
                <a:lnTo>
                  <a:pt x="850" y="794"/>
                </a:lnTo>
                <a:lnTo>
                  <a:pt x="853" y="791"/>
                </a:lnTo>
                <a:lnTo>
                  <a:pt x="850" y="794"/>
                </a:lnTo>
                <a:lnTo>
                  <a:pt x="846" y="797"/>
                </a:lnTo>
                <a:lnTo>
                  <a:pt x="843" y="798"/>
                </a:lnTo>
                <a:lnTo>
                  <a:pt x="838" y="799"/>
                </a:lnTo>
                <a:close/>
                <a:moveTo>
                  <a:pt x="847" y="1161"/>
                </a:moveTo>
                <a:lnTo>
                  <a:pt x="846" y="1163"/>
                </a:lnTo>
                <a:lnTo>
                  <a:pt x="845" y="1165"/>
                </a:lnTo>
                <a:lnTo>
                  <a:pt x="846" y="1163"/>
                </a:lnTo>
                <a:lnTo>
                  <a:pt x="847" y="1161"/>
                </a:lnTo>
                <a:lnTo>
                  <a:pt x="847" y="1161"/>
                </a:lnTo>
                <a:lnTo>
                  <a:pt x="847" y="1161"/>
                </a:lnTo>
                <a:lnTo>
                  <a:pt x="847" y="1161"/>
                </a:lnTo>
                <a:lnTo>
                  <a:pt x="847" y="1161"/>
                </a:lnTo>
                <a:close/>
                <a:moveTo>
                  <a:pt x="843" y="858"/>
                </a:moveTo>
                <a:lnTo>
                  <a:pt x="843" y="858"/>
                </a:lnTo>
                <a:lnTo>
                  <a:pt x="844" y="858"/>
                </a:lnTo>
                <a:lnTo>
                  <a:pt x="843" y="858"/>
                </a:lnTo>
                <a:lnTo>
                  <a:pt x="843" y="858"/>
                </a:lnTo>
                <a:close/>
                <a:moveTo>
                  <a:pt x="833" y="1106"/>
                </a:moveTo>
                <a:lnTo>
                  <a:pt x="833" y="1107"/>
                </a:lnTo>
                <a:lnTo>
                  <a:pt x="833" y="1110"/>
                </a:lnTo>
                <a:lnTo>
                  <a:pt x="823" y="1120"/>
                </a:lnTo>
                <a:lnTo>
                  <a:pt x="813" y="1132"/>
                </a:lnTo>
                <a:lnTo>
                  <a:pt x="803" y="1142"/>
                </a:lnTo>
                <a:lnTo>
                  <a:pt x="791" y="1152"/>
                </a:lnTo>
                <a:lnTo>
                  <a:pt x="789" y="1153"/>
                </a:lnTo>
                <a:lnTo>
                  <a:pt x="788" y="1154"/>
                </a:lnTo>
                <a:lnTo>
                  <a:pt x="788" y="1156"/>
                </a:lnTo>
                <a:lnTo>
                  <a:pt x="788" y="1158"/>
                </a:lnTo>
                <a:lnTo>
                  <a:pt x="789" y="1161"/>
                </a:lnTo>
                <a:lnTo>
                  <a:pt x="789" y="1163"/>
                </a:lnTo>
                <a:lnTo>
                  <a:pt x="788" y="1167"/>
                </a:lnTo>
                <a:lnTo>
                  <a:pt x="787" y="1169"/>
                </a:lnTo>
                <a:lnTo>
                  <a:pt x="770" y="1173"/>
                </a:lnTo>
                <a:lnTo>
                  <a:pt x="755" y="1175"/>
                </a:lnTo>
                <a:lnTo>
                  <a:pt x="740" y="1175"/>
                </a:lnTo>
                <a:lnTo>
                  <a:pt x="723" y="1174"/>
                </a:lnTo>
                <a:lnTo>
                  <a:pt x="722" y="1170"/>
                </a:lnTo>
                <a:lnTo>
                  <a:pt x="720" y="1166"/>
                </a:lnTo>
                <a:lnTo>
                  <a:pt x="718" y="1163"/>
                </a:lnTo>
                <a:lnTo>
                  <a:pt x="718" y="1160"/>
                </a:lnTo>
                <a:lnTo>
                  <a:pt x="721" y="1159"/>
                </a:lnTo>
                <a:lnTo>
                  <a:pt x="725" y="1159"/>
                </a:lnTo>
                <a:lnTo>
                  <a:pt x="726" y="1159"/>
                </a:lnTo>
                <a:lnTo>
                  <a:pt x="728" y="1159"/>
                </a:lnTo>
                <a:lnTo>
                  <a:pt x="729" y="1160"/>
                </a:lnTo>
                <a:lnTo>
                  <a:pt x="730" y="1159"/>
                </a:lnTo>
                <a:lnTo>
                  <a:pt x="736" y="1160"/>
                </a:lnTo>
                <a:lnTo>
                  <a:pt x="743" y="1161"/>
                </a:lnTo>
                <a:lnTo>
                  <a:pt x="756" y="1158"/>
                </a:lnTo>
                <a:lnTo>
                  <a:pt x="769" y="1155"/>
                </a:lnTo>
                <a:lnTo>
                  <a:pt x="774" y="1154"/>
                </a:lnTo>
                <a:lnTo>
                  <a:pt x="776" y="1153"/>
                </a:lnTo>
                <a:lnTo>
                  <a:pt x="778" y="1151"/>
                </a:lnTo>
                <a:lnTo>
                  <a:pt x="781" y="1147"/>
                </a:lnTo>
                <a:lnTo>
                  <a:pt x="783" y="1145"/>
                </a:lnTo>
                <a:lnTo>
                  <a:pt x="785" y="1142"/>
                </a:lnTo>
                <a:lnTo>
                  <a:pt x="789" y="1137"/>
                </a:lnTo>
                <a:lnTo>
                  <a:pt x="794" y="1133"/>
                </a:lnTo>
                <a:lnTo>
                  <a:pt x="789" y="1137"/>
                </a:lnTo>
                <a:lnTo>
                  <a:pt x="785" y="1142"/>
                </a:lnTo>
                <a:lnTo>
                  <a:pt x="790" y="1141"/>
                </a:lnTo>
                <a:lnTo>
                  <a:pt x="796" y="1141"/>
                </a:lnTo>
                <a:lnTo>
                  <a:pt x="806" y="1131"/>
                </a:lnTo>
                <a:lnTo>
                  <a:pt x="817" y="1120"/>
                </a:lnTo>
                <a:lnTo>
                  <a:pt x="819" y="1119"/>
                </a:lnTo>
                <a:lnTo>
                  <a:pt x="819" y="1117"/>
                </a:lnTo>
                <a:lnTo>
                  <a:pt x="826" y="1111"/>
                </a:lnTo>
                <a:lnTo>
                  <a:pt x="833" y="1106"/>
                </a:lnTo>
                <a:lnTo>
                  <a:pt x="834" y="1103"/>
                </a:lnTo>
                <a:lnTo>
                  <a:pt x="837" y="1100"/>
                </a:lnTo>
                <a:lnTo>
                  <a:pt x="839" y="1098"/>
                </a:lnTo>
                <a:lnTo>
                  <a:pt x="843" y="1096"/>
                </a:lnTo>
                <a:lnTo>
                  <a:pt x="839" y="1098"/>
                </a:lnTo>
                <a:lnTo>
                  <a:pt x="837" y="1100"/>
                </a:lnTo>
                <a:lnTo>
                  <a:pt x="834" y="1103"/>
                </a:lnTo>
                <a:lnTo>
                  <a:pt x="833" y="1106"/>
                </a:lnTo>
                <a:close/>
                <a:moveTo>
                  <a:pt x="834" y="1166"/>
                </a:moveTo>
                <a:lnTo>
                  <a:pt x="833" y="1167"/>
                </a:lnTo>
                <a:lnTo>
                  <a:pt x="832" y="1168"/>
                </a:lnTo>
                <a:lnTo>
                  <a:pt x="830" y="1169"/>
                </a:lnTo>
                <a:lnTo>
                  <a:pt x="829" y="1169"/>
                </a:lnTo>
                <a:lnTo>
                  <a:pt x="830" y="1169"/>
                </a:lnTo>
                <a:lnTo>
                  <a:pt x="832" y="1168"/>
                </a:lnTo>
                <a:lnTo>
                  <a:pt x="833" y="1167"/>
                </a:lnTo>
                <a:lnTo>
                  <a:pt x="834" y="1166"/>
                </a:lnTo>
                <a:lnTo>
                  <a:pt x="838" y="1165"/>
                </a:lnTo>
                <a:lnTo>
                  <a:pt x="840" y="1165"/>
                </a:lnTo>
                <a:lnTo>
                  <a:pt x="838" y="1165"/>
                </a:lnTo>
                <a:lnTo>
                  <a:pt x="834" y="1166"/>
                </a:lnTo>
                <a:close/>
                <a:moveTo>
                  <a:pt x="809" y="1169"/>
                </a:moveTo>
                <a:lnTo>
                  <a:pt x="804" y="1169"/>
                </a:lnTo>
                <a:lnTo>
                  <a:pt x="801" y="1169"/>
                </a:lnTo>
                <a:lnTo>
                  <a:pt x="804" y="1169"/>
                </a:lnTo>
                <a:lnTo>
                  <a:pt x="809" y="1169"/>
                </a:lnTo>
                <a:lnTo>
                  <a:pt x="813" y="1169"/>
                </a:lnTo>
                <a:lnTo>
                  <a:pt x="817" y="1169"/>
                </a:lnTo>
                <a:lnTo>
                  <a:pt x="813" y="1169"/>
                </a:lnTo>
                <a:lnTo>
                  <a:pt x="809" y="1169"/>
                </a:lnTo>
                <a:close/>
                <a:moveTo>
                  <a:pt x="740" y="1278"/>
                </a:moveTo>
                <a:lnTo>
                  <a:pt x="739" y="1281"/>
                </a:lnTo>
                <a:lnTo>
                  <a:pt x="737" y="1282"/>
                </a:lnTo>
                <a:lnTo>
                  <a:pt x="739" y="1281"/>
                </a:lnTo>
                <a:lnTo>
                  <a:pt x="740" y="1278"/>
                </a:lnTo>
                <a:lnTo>
                  <a:pt x="746" y="1278"/>
                </a:lnTo>
                <a:lnTo>
                  <a:pt x="751" y="1278"/>
                </a:lnTo>
                <a:lnTo>
                  <a:pt x="746" y="1278"/>
                </a:lnTo>
                <a:lnTo>
                  <a:pt x="740" y="1278"/>
                </a:lnTo>
                <a:close/>
                <a:moveTo>
                  <a:pt x="734" y="1295"/>
                </a:moveTo>
                <a:lnTo>
                  <a:pt x="721" y="1295"/>
                </a:lnTo>
                <a:lnTo>
                  <a:pt x="708" y="1295"/>
                </a:lnTo>
                <a:lnTo>
                  <a:pt x="721" y="1295"/>
                </a:lnTo>
                <a:lnTo>
                  <a:pt x="734" y="1295"/>
                </a:lnTo>
                <a:lnTo>
                  <a:pt x="736" y="1294"/>
                </a:lnTo>
                <a:lnTo>
                  <a:pt x="739" y="1293"/>
                </a:lnTo>
                <a:lnTo>
                  <a:pt x="740" y="1292"/>
                </a:lnTo>
                <a:lnTo>
                  <a:pt x="742" y="1293"/>
                </a:lnTo>
                <a:lnTo>
                  <a:pt x="740" y="1292"/>
                </a:lnTo>
                <a:lnTo>
                  <a:pt x="739" y="1293"/>
                </a:lnTo>
                <a:lnTo>
                  <a:pt x="736" y="1294"/>
                </a:lnTo>
                <a:lnTo>
                  <a:pt x="734" y="1295"/>
                </a:lnTo>
                <a:close/>
                <a:moveTo>
                  <a:pt x="704" y="1256"/>
                </a:moveTo>
                <a:lnTo>
                  <a:pt x="706" y="1253"/>
                </a:lnTo>
                <a:lnTo>
                  <a:pt x="708" y="1252"/>
                </a:lnTo>
                <a:lnTo>
                  <a:pt x="706" y="1253"/>
                </a:lnTo>
                <a:lnTo>
                  <a:pt x="704" y="1256"/>
                </a:lnTo>
                <a:close/>
                <a:moveTo>
                  <a:pt x="702" y="1246"/>
                </a:moveTo>
                <a:lnTo>
                  <a:pt x="693" y="1244"/>
                </a:lnTo>
                <a:lnTo>
                  <a:pt x="686" y="1239"/>
                </a:lnTo>
                <a:lnTo>
                  <a:pt x="693" y="1244"/>
                </a:lnTo>
                <a:lnTo>
                  <a:pt x="702" y="1246"/>
                </a:lnTo>
                <a:lnTo>
                  <a:pt x="702" y="1246"/>
                </a:lnTo>
                <a:lnTo>
                  <a:pt x="704" y="1246"/>
                </a:lnTo>
                <a:lnTo>
                  <a:pt x="702" y="1246"/>
                </a:lnTo>
                <a:lnTo>
                  <a:pt x="702" y="1246"/>
                </a:lnTo>
                <a:close/>
                <a:moveTo>
                  <a:pt x="699" y="1264"/>
                </a:moveTo>
                <a:lnTo>
                  <a:pt x="700" y="1265"/>
                </a:lnTo>
                <a:lnTo>
                  <a:pt x="702" y="1265"/>
                </a:lnTo>
                <a:lnTo>
                  <a:pt x="700" y="1265"/>
                </a:lnTo>
                <a:lnTo>
                  <a:pt x="699" y="1264"/>
                </a:lnTo>
                <a:close/>
                <a:moveTo>
                  <a:pt x="698" y="1265"/>
                </a:moveTo>
                <a:lnTo>
                  <a:pt x="698" y="1264"/>
                </a:lnTo>
                <a:lnTo>
                  <a:pt x="698" y="1265"/>
                </a:lnTo>
                <a:close/>
                <a:moveTo>
                  <a:pt x="715" y="1133"/>
                </a:moveTo>
                <a:lnTo>
                  <a:pt x="716" y="1133"/>
                </a:lnTo>
                <a:lnTo>
                  <a:pt x="718" y="1133"/>
                </a:lnTo>
                <a:lnTo>
                  <a:pt x="716" y="1133"/>
                </a:lnTo>
                <a:lnTo>
                  <a:pt x="715" y="1133"/>
                </a:lnTo>
                <a:close/>
                <a:moveTo>
                  <a:pt x="709" y="1152"/>
                </a:moveTo>
                <a:lnTo>
                  <a:pt x="713" y="1152"/>
                </a:lnTo>
                <a:lnTo>
                  <a:pt x="715" y="1152"/>
                </a:lnTo>
                <a:lnTo>
                  <a:pt x="716" y="1152"/>
                </a:lnTo>
                <a:lnTo>
                  <a:pt x="718" y="1152"/>
                </a:lnTo>
                <a:lnTo>
                  <a:pt x="716" y="1152"/>
                </a:lnTo>
                <a:lnTo>
                  <a:pt x="715" y="1152"/>
                </a:lnTo>
                <a:lnTo>
                  <a:pt x="713" y="1152"/>
                </a:lnTo>
                <a:lnTo>
                  <a:pt x="709" y="1152"/>
                </a:lnTo>
                <a:close/>
                <a:moveTo>
                  <a:pt x="701" y="1140"/>
                </a:moveTo>
                <a:lnTo>
                  <a:pt x="701" y="1141"/>
                </a:lnTo>
                <a:lnTo>
                  <a:pt x="701" y="1142"/>
                </a:lnTo>
                <a:lnTo>
                  <a:pt x="701" y="1141"/>
                </a:lnTo>
                <a:lnTo>
                  <a:pt x="701" y="1140"/>
                </a:lnTo>
                <a:close/>
                <a:moveTo>
                  <a:pt x="698" y="1148"/>
                </a:moveTo>
                <a:lnTo>
                  <a:pt x="699" y="1147"/>
                </a:lnTo>
                <a:lnTo>
                  <a:pt x="699" y="1146"/>
                </a:lnTo>
                <a:lnTo>
                  <a:pt x="700" y="1145"/>
                </a:lnTo>
                <a:lnTo>
                  <a:pt x="700" y="1145"/>
                </a:lnTo>
                <a:lnTo>
                  <a:pt x="700" y="1145"/>
                </a:lnTo>
                <a:lnTo>
                  <a:pt x="699" y="1146"/>
                </a:lnTo>
                <a:lnTo>
                  <a:pt x="699" y="1147"/>
                </a:lnTo>
                <a:lnTo>
                  <a:pt x="698" y="1148"/>
                </a:lnTo>
                <a:close/>
                <a:moveTo>
                  <a:pt x="714" y="1160"/>
                </a:moveTo>
                <a:lnTo>
                  <a:pt x="714" y="1166"/>
                </a:lnTo>
                <a:lnTo>
                  <a:pt x="713" y="1173"/>
                </a:lnTo>
                <a:lnTo>
                  <a:pt x="712" y="1173"/>
                </a:lnTo>
                <a:lnTo>
                  <a:pt x="711" y="1173"/>
                </a:lnTo>
                <a:lnTo>
                  <a:pt x="708" y="1173"/>
                </a:lnTo>
                <a:lnTo>
                  <a:pt x="707" y="1174"/>
                </a:lnTo>
                <a:lnTo>
                  <a:pt x="706" y="1174"/>
                </a:lnTo>
                <a:lnTo>
                  <a:pt x="704" y="1175"/>
                </a:lnTo>
                <a:lnTo>
                  <a:pt x="700" y="1176"/>
                </a:lnTo>
                <a:lnTo>
                  <a:pt x="704" y="1175"/>
                </a:lnTo>
                <a:lnTo>
                  <a:pt x="706" y="1174"/>
                </a:lnTo>
                <a:lnTo>
                  <a:pt x="702" y="1174"/>
                </a:lnTo>
                <a:lnTo>
                  <a:pt x="699" y="1173"/>
                </a:lnTo>
                <a:lnTo>
                  <a:pt x="699" y="1172"/>
                </a:lnTo>
                <a:lnTo>
                  <a:pt x="698" y="1170"/>
                </a:lnTo>
                <a:lnTo>
                  <a:pt x="699" y="1169"/>
                </a:lnTo>
                <a:lnTo>
                  <a:pt x="700" y="1168"/>
                </a:lnTo>
                <a:lnTo>
                  <a:pt x="702" y="1168"/>
                </a:lnTo>
                <a:lnTo>
                  <a:pt x="705" y="1167"/>
                </a:lnTo>
                <a:lnTo>
                  <a:pt x="706" y="1166"/>
                </a:lnTo>
                <a:lnTo>
                  <a:pt x="707" y="1165"/>
                </a:lnTo>
                <a:lnTo>
                  <a:pt x="707" y="1160"/>
                </a:lnTo>
                <a:lnTo>
                  <a:pt x="707" y="1156"/>
                </a:lnTo>
                <a:lnTo>
                  <a:pt x="708" y="1156"/>
                </a:lnTo>
                <a:lnTo>
                  <a:pt x="709" y="1155"/>
                </a:lnTo>
                <a:lnTo>
                  <a:pt x="712" y="1154"/>
                </a:lnTo>
                <a:lnTo>
                  <a:pt x="715" y="1154"/>
                </a:lnTo>
                <a:lnTo>
                  <a:pt x="712" y="1154"/>
                </a:lnTo>
                <a:lnTo>
                  <a:pt x="709" y="1155"/>
                </a:lnTo>
                <a:lnTo>
                  <a:pt x="712" y="1156"/>
                </a:lnTo>
                <a:lnTo>
                  <a:pt x="713" y="1156"/>
                </a:lnTo>
                <a:lnTo>
                  <a:pt x="714" y="1158"/>
                </a:lnTo>
                <a:lnTo>
                  <a:pt x="714" y="1160"/>
                </a:lnTo>
                <a:close/>
                <a:moveTo>
                  <a:pt x="685" y="1130"/>
                </a:moveTo>
                <a:lnTo>
                  <a:pt x="687" y="1124"/>
                </a:lnTo>
                <a:lnTo>
                  <a:pt x="689" y="1117"/>
                </a:lnTo>
                <a:lnTo>
                  <a:pt x="691" y="1116"/>
                </a:lnTo>
                <a:lnTo>
                  <a:pt x="693" y="1117"/>
                </a:lnTo>
                <a:lnTo>
                  <a:pt x="700" y="1120"/>
                </a:lnTo>
                <a:lnTo>
                  <a:pt x="707" y="1121"/>
                </a:lnTo>
                <a:lnTo>
                  <a:pt x="714" y="1123"/>
                </a:lnTo>
                <a:lnTo>
                  <a:pt x="721" y="1124"/>
                </a:lnTo>
                <a:lnTo>
                  <a:pt x="726" y="1124"/>
                </a:lnTo>
                <a:lnTo>
                  <a:pt x="730" y="1123"/>
                </a:lnTo>
                <a:lnTo>
                  <a:pt x="733" y="1121"/>
                </a:lnTo>
                <a:lnTo>
                  <a:pt x="735" y="1123"/>
                </a:lnTo>
                <a:lnTo>
                  <a:pt x="735" y="1125"/>
                </a:lnTo>
                <a:lnTo>
                  <a:pt x="734" y="1126"/>
                </a:lnTo>
                <a:lnTo>
                  <a:pt x="735" y="1127"/>
                </a:lnTo>
                <a:lnTo>
                  <a:pt x="736" y="1127"/>
                </a:lnTo>
                <a:lnTo>
                  <a:pt x="735" y="1127"/>
                </a:lnTo>
                <a:lnTo>
                  <a:pt x="734" y="1126"/>
                </a:lnTo>
                <a:lnTo>
                  <a:pt x="733" y="1126"/>
                </a:lnTo>
                <a:lnTo>
                  <a:pt x="732" y="1126"/>
                </a:lnTo>
                <a:lnTo>
                  <a:pt x="730" y="1128"/>
                </a:lnTo>
                <a:lnTo>
                  <a:pt x="729" y="1128"/>
                </a:lnTo>
                <a:lnTo>
                  <a:pt x="728" y="1130"/>
                </a:lnTo>
                <a:lnTo>
                  <a:pt x="726" y="1130"/>
                </a:lnTo>
                <a:lnTo>
                  <a:pt x="728" y="1130"/>
                </a:lnTo>
                <a:lnTo>
                  <a:pt x="729" y="1128"/>
                </a:lnTo>
                <a:lnTo>
                  <a:pt x="730" y="1128"/>
                </a:lnTo>
                <a:lnTo>
                  <a:pt x="732" y="1126"/>
                </a:lnTo>
                <a:lnTo>
                  <a:pt x="729" y="1126"/>
                </a:lnTo>
                <a:lnTo>
                  <a:pt x="727" y="1126"/>
                </a:lnTo>
                <a:lnTo>
                  <a:pt x="726" y="1127"/>
                </a:lnTo>
                <a:lnTo>
                  <a:pt x="725" y="1128"/>
                </a:lnTo>
                <a:lnTo>
                  <a:pt x="725" y="1130"/>
                </a:lnTo>
                <a:lnTo>
                  <a:pt x="723" y="1130"/>
                </a:lnTo>
                <a:lnTo>
                  <a:pt x="722" y="1128"/>
                </a:lnTo>
                <a:lnTo>
                  <a:pt x="715" y="1128"/>
                </a:lnTo>
                <a:lnTo>
                  <a:pt x="709" y="1130"/>
                </a:lnTo>
                <a:lnTo>
                  <a:pt x="702" y="1131"/>
                </a:lnTo>
                <a:lnTo>
                  <a:pt x="696" y="1133"/>
                </a:lnTo>
                <a:lnTo>
                  <a:pt x="692" y="1133"/>
                </a:lnTo>
                <a:lnTo>
                  <a:pt x="688" y="1133"/>
                </a:lnTo>
                <a:lnTo>
                  <a:pt x="686" y="1133"/>
                </a:lnTo>
                <a:lnTo>
                  <a:pt x="685" y="1133"/>
                </a:lnTo>
                <a:lnTo>
                  <a:pt x="684" y="1132"/>
                </a:lnTo>
                <a:lnTo>
                  <a:pt x="685" y="1130"/>
                </a:lnTo>
                <a:close/>
                <a:moveTo>
                  <a:pt x="679" y="1232"/>
                </a:moveTo>
                <a:lnTo>
                  <a:pt x="672" y="1232"/>
                </a:lnTo>
                <a:lnTo>
                  <a:pt x="665" y="1230"/>
                </a:lnTo>
                <a:lnTo>
                  <a:pt x="659" y="1226"/>
                </a:lnTo>
                <a:lnTo>
                  <a:pt x="653" y="1222"/>
                </a:lnTo>
                <a:lnTo>
                  <a:pt x="659" y="1226"/>
                </a:lnTo>
                <a:lnTo>
                  <a:pt x="665" y="1230"/>
                </a:lnTo>
                <a:lnTo>
                  <a:pt x="672" y="1232"/>
                </a:lnTo>
                <a:lnTo>
                  <a:pt x="679" y="1232"/>
                </a:lnTo>
                <a:lnTo>
                  <a:pt x="680" y="1233"/>
                </a:lnTo>
                <a:lnTo>
                  <a:pt x="681" y="1233"/>
                </a:lnTo>
                <a:lnTo>
                  <a:pt x="680" y="1233"/>
                </a:lnTo>
                <a:lnTo>
                  <a:pt x="679" y="1232"/>
                </a:lnTo>
                <a:close/>
                <a:moveTo>
                  <a:pt x="678" y="1016"/>
                </a:moveTo>
                <a:lnTo>
                  <a:pt x="675" y="1016"/>
                </a:lnTo>
                <a:lnTo>
                  <a:pt x="672" y="1016"/>
                </a:lnTo>
                <a:lnTo>
                  <a:pt x="675" y="1016"/>
                </a:lnTo>
                <a:lnTo>
                  <a:pt x="678" y="1016"/>
                </a:lnTo>
                <a:close/>
                <a:moveTo>
                  <a:pt x="629" y="620"/>
                </a:moveTo>
                <a:lnTo>
                  <a:pt x="619" y="623"/>
                </a:lnTo>
                <a:lnTo>
                  <a:pt x="609" y="624"/>
                </a:lnTo>
                <a:lnTo>
                  <a:pt x="599" y="625"/>
                </a:lnTo>
                <a:lnTo>
                  <a:pt x="589" y="627"/>
                </a:lnTo>
                <a:lnTo>
                  <a:pt x="574" y="629"/>
                </a:lnTo>
                <a:lnTo>
                  <a:pt x="559" y="632"/>
                </a:lnTo>
                <a:lnTo>
                  <a:pt x="543" y="636"/>
                </a:lnTo>
                <a:lnTo>
                  <a:pt x="529" y="642"/>
                </a:lnTo>
                <a:lnTo>
                  <a:pt x="522" y="644"/>
                </a:lnTo>
                <a:lnTo>
                  <a:pt x="515" y="647"/>
                </a:lnTo>
                <a:lnTo>
                  <a:pt x="508" y="650"/>
                </a:lnTo>
                <a:lnTo>
                  <a:pt x="502" y="655"/>
                </a:lnTo>
                <a:lnTo>
                  <a:pt x="497" y="657"/>
                </a:lnTo>
                <a:lnTo>
                  <a:pt x="490" y="659"/>
                </a:lnTo>
                <a:lnTo>
                  <a:pt x="488" y="661"/>
                </a:lnTo>
                <a:lnTo>
                  <a:pt x="488" y="662"/>
                </a:lnTo>
                <a:lnTo>
                  <a:pt x="488" y="661"/>
                </a:lnTo>
                <a:lnTo>
                  <a:pt x="490" y="659"/>
                </a:lnTo>
                <a:lnTo>
                  <a:pt x="485" y="659"/>
                </a:lnTo>
                <a:lnTo>
                  <a:pt x="480" y="659"/>
                </a:lnTo>
                <a:lnTo>
                  <a:pt x="477" y="659"/>
                </a:lnTo>
                <a:lnTo>
                  <a:pt x="475" y="657"/>
                </a:lnTo>
                <a:lnTo>
                  <a:pt x="477" y="656"/>
                </a:lnTo>
                <a:lnTo>
                  <a:pt x="477" y="655"/>
                </a:lnTo>
                <a:lnTo>
                  <a:pt x="478" y="655"/>
                </a:lnTo>
                <a:lnTo>
                  <a:pt x="480" y="655"/>
                </a:lnTo>
                <a:lnTo>
                  <a:pt x="486" y="654"/>
                </a:lnTo>
                <a:lnTo>
                  <a:pt x="491" y="650"/>
                </a:lnTo>
                <a:lnTo>
                  <a:pt x="494" y="647"/>
                </a:lnTo>
                <a:lnTo>
                  <a:pt x="499" y="642"/>
                </a:lnTo>
                <a:lnTo>
                  <a:pt x="501" y="641"/>
                </a:lnTo>
                <a:lnTo>
                  <a:pt x="502" y="638"/>
                </a:lnTo>
                <a:lnTo>
                  <a:pt x="504" y="637"/>
                </a:lnTo>
                <a:lnTo>
                  <a:pt x="504" y="635"/>
                </a:lnTo>
                <a:lnTo>
                  <a:pt x="504" y="635"/>
                </a:lnTo>
                <a:lnTo>
                  <a:pt x="505" y="634"/>
                </a:lnTo>
                <a:lnTo>
                  <a:pt x="505" y="634"/>
                </a:lnTo>
                <a:lnTo>
                  <a:pt x="506" y="632"/>
                </a:lnTo>
                <a:lnTo>
                  <a:pt x="507" y="632"/>
                </a:lnTo>
                <a:lnTo>
                  <a:pt x="507" y="632"/>
                </a:lnTo>
                <a:lnTo>
                  <a:pt x="507" y="632"/>
                </a:lnTo>
                <a:lnTo>
                  <a:pt x="509" y="634"/>
                </a:lnTo>
                <a:lnTo>
                  <a:pt x="512" y="636"/>
                </a:lnTo>
                <a:lnTo>
                  <a:pt x="513" y="637"/>
                </a:lnTo>
                <a:lnTo>
                  <a:pt x="514" y="637"/>
                </a:lnTo>
                <a:lnTo>
                  <a:pt x="515" y="636"/>
                </a:lnTo>
                <a:lnTo>
                  <a:pt x="516" y="634"/>
                </a:lnTo>
                <a:lnTo>
                  <a:pt x="518" y="634"/>
                </a:lnTo>
                <a:lnTo>
                  <a:pt x="518" y="634"/>
                </a:lnTo>
                <a:lnTo>
                  <a:pt x="521" y="634"/>
                </a:lnTo>
                <a:lnTo>
                  <a:pt x="525" y="634"/>
                </a:lnTo>
                <a:lnTo>
                  <a:pt x="526" y="634"/>
                </a:lnTo>
                <a:lnTo>
                  <a:pt x="526" y="632"/>
                </a:lnTo>
                <a:lnTo>
                  <a:pt x="527" y="630"/>
                </a:lnTo>
                <a:lnTo>
                  <a:pt x="526" y="628"/>
                </a:lnTo>
                <a:lnTo>
                  <a:pt x="527" y="627"/>
                </a:lnTo>
                <a:lnTo>
                  <a:pt x="529" y="628"/>
                </a:lnTo>
                <a:lnTo>
                  <a:pt x="532" y="628"/>
                </a:lnTo>
                <a:lnTo>
                  <a:pt x="533" y="627"/>
                </a:lnTo>
                <a:lnTo>
                  <a:pt x="534" y="625"/>
                </a:lnTo>
                <a:lnTo>
                  <a:pt x="535" y="623"/>
                </a:lnTo>
                <a:lnTo>
                  <a:pt x="540" y="620"/>
                </a:lnTo>
                <a:lnTo>
                  <a:pt x="543" y="616"/>
                </a:lnTo>
                <a:lnTo>
                  <a:pt x="553" y="610"/>
                </a:lnTo>
                <a:lnTo>
                  <a:pt x="560" y="604"/>
                </a:lnTo>
                <a:lnTo>
                  <a:pt x="561" y="602"/>
                </a:lnTo>
                <a:lnTo>
                  <a:pt x="562" y="599"/>
                </a:lnTo>
                <a:lnTo>
                  <a:pt x="562" y="596"/>
                </a:lnTo>
                <a:lnTo>
                  <a:pt x="561" y="594"/>
                </a:lnTo>
                <a:lnTo>
                  <a:pt x="557" y="586"/>
                </a:lnTo>
                <a:lnTo>
                  <a:pt x="557" y="578"/>
                </a:lnTo>
                <a:lnTo>
                  <a:pt x="557" y="576"/>
                </a:lnTo>
                <a:lnTo>
                  <a:pt x="559" y="574"/>
                </a:lnTo>
                <a:lnTo>
                  <a:pt x="560" y="574"/>
                </a:lnTo>
                <a:lnTo>
                  <a:pt x="562" y="574"/>
                </a:lnTo>
                <a:lnTo>
                  <a:pt x="566" y="580"/>
                </a:lnTo>
                <a:lnTo>
                  <a:pt x="569" y="586"/>
                </a:lnTo>
                <a:lnTo>
                  <a:pt x="571" y="586"/>
                </a:lnTo>
                <a:lnTo>
                  <a:pt x="573" y="585"/>
                </a:lnTo>
                <a:lnTo>
                  <a:pt x="571" y="586"/>
                </a:lnTo>
                <a:lnTo>
                  <a:pt x="569" y="586"/>
                </a:lnTo>
                <a:lnTo>
                  <a:pt x="571" y="596"/>
                </a:lnTo>
                <a:lnTo>
                  <a:pt x="575" y="606"/>
                </a:lnTo>
                <a:lnTo>
                  <a:pt x="575" y="609"/>
                </a:lnTo>
                <a:lnTo>
                  <a:pt x="576" y="613"/>
                </a:lnTo>
                <a:lnTo>
                  <a:pt x="580" y="614"/>
                </a:lnTo>
                <a:lnTo>
                  <a:pt x="583" y="614"/>
                </a:lnTo>
                <a:lnTo>
                  <a:pt x="584" y="611"/>
                </a:lnTo>
                <a:lnTo>
                  <a:pt x="585" y="610"/>
                </a:lnTo>
                <a:lnTo>
                  <a:pt x="584" y="611"/>
                </a:lnTo>
                <a:lnTo>
                  <a:pt x="583" y="614"/>
                </a:lnTo>
                <a:lnTo>
                  <a:pt x="588" y="614"/>
                </a:lnTo>
                <a:lnTo>
                  <a:pt x="594" y="615"/>
                </a:lnTo>
                <a:lnTo>
                  <a:pt x="598" y="614"/>
                </a:lnTo>
                <a:lnTo>
                  <a:pt x="603" y="610"/>
                </a:lnTo>
                <a:lnTo>
                  <a:pt x="605" y="610"/>
                </a:lnTo>
                <a:lnTo>
                  <a:pt x="608" y="610"/>
                </a:lnTo>
                <a:lnTo>
                  <a:pt x="608" y="608"/>
                </a:lnTo>
                <a:lnTo>
                  <a:pt x="609" y="607"/>
                </a:lnTo>
                <a:lnTo>
                  <a:pt x="608" y="608"/>
                </a:lnTo>
                <a:lnTo>
                  <a:pt x="608" y="610"/>
                </a:lnTo>
                <a:lnTo>
                  <a:pt x="609" y="610"/>
                </a:lnTo>
                <a:lnTo>
                  <a:pt x="611" y="610"/>
                </a:lnTo>
                <a:lnTo>
                  <a:pt x="612" y="609"/>
                </a:lnTo>
                <a:lnTo>
                  <a:pt x="613" y="607"/>
                </a:lnTo>
                <a:lnTo>
                  <a:pt x="617" y="606"/>
                </a:lnTo>
                <a:lnTo>
                  <a:pt x="620" y="606"/>
                </a:lnTo>
                <a:lnTo>
                  <a:pt x="622" y="602"/>
                </a:lnTo>
                <a:lnTo>
                  <a:pt x="624" y="601"/>
                </a:lnTo>
                <a:lnTo>
                  <a:pt x="622" y="602"/>
                </a:lnTo>
                <a:lnTo>
                  <a:pt x="620" y="606"/>
                </a:lnTo>
                <a:lnTo>
                  <a:pt x="623" y="606"/>
                </a:lnTo>
                <a:lnTo>
                  <a:pt x="624" y="604"/>
                </a:lnTo>
                <a:lnTo>
                  <a:pt x="625" y="603"/>
                </a:lnTo>
                <a:lnTo>
                  <a:pt x="625" y="601"/>
                </a:lnTo>
                <a:lnTo>
                  <a:pt x="626" y="601"/>
                </a:lnTo>
                <a:lnTo>
                  <a:pt x="626" y="601"/>
                </a:lnTo>
                <a:lnTo>
                  <a:pt x="636" y="597"/>
                </a:lnTo>
                <a:lnTo>
                  <a:pt x="644" y="593"/>
                </a:lnTo>
                <a:lnTo>
                  <a:pt x="647" y="589"/>
                </a:lnTo>
                <a:lnTo>
                  <a:pt x="650" y="586"/>
                </a:lnTo>
                <a:lnTo>
                  <a:pt x="652" y="581"/>
                </a:lnTo>
                <a:lnTo>
                  <a:pt x="654" y="576"/>
                </a:lnTo>
                <a:lnTo>
                  <a:pt x="658" y="566"/>
                </a:lnTo>
                <a:lnTo>
                  <a:pt x="659" y="554"/>
                </a:lnTo>
                <a:lnTo>
                  <a:pt x="660" y="541"/>
                </a:lnTo>
                <a:lnTo>
                  <a:pt x="661" y="530"/>
                </a:lnTo>
                <a:lnTo>
                  <a:pt x="666" y="519"/>
                </a:lnTo>
                <a:lnTo>
                  <a:pt x="671" y="509"/>
                </a:lnTo>
                <a:lnTo>
                  <a:pt x="670" y="508"/>
                </a:lnTo>
                <a:lnTo>
                  <a:pt x="670" y="505"/>
                </a:lnTo>
                <a:lnTo>
                  <a:pt x="670" y="508"/>
                </a:lnTo>
                <a:lnTo>
                  <a:pt x="671" y="509"/>
                </a:lnTo>
                <a:lnTo>
                  <a:pt x="673" y="508"/>
                </a:lnTo>
                <a:lnTo>
                  <a:pt x="678" y="506"/>
                </a:lnTo>
                <a:lnTo>
                  <a:pt x="675" y="511"/>
                </a:lnTo>
                <a:lnTo>
                  <a:pt x="675" y="515"/>
                </a:lnTo>
                <a:lnTo>
                  <a:pt x="675" y="519"/>
                </a:lnTo>
                <a:lnTo>
                  <a:pt x="677" y="523"/>
                </a:lnTo>
                <a:lnTo>
                  <a:pt x="679" y="531"/>
                </a:lnTo>
                <a:lnTo>
                  <a:pt x="680" y="539"/>
                </a:lnTo>
                <a:lnTo>
                  <a:pt x="679" y="552"/>
                </a:lnTo>
                <a:lnTo>
                  <a:pt x="678" y="564"/>
                </a:lnTo>
                <a:lnTo>
                  <a:pt x="677" y="576"/>
                </a:lnTo>
                <a:lnTo>
                  <a:pt x="677" y="589"/>
                </a:lnTo>
                <a:lnTo>
                  <a:pt x="675" y="596"/>
                </a:lnTo>
                <a:lnTo>
                  <a:pt x="673" y="602"/>
                </a:lnTo>
                <a:lnTo>
                  <a:pt x="666" y="609"/>
                </a:lnTo>
                <a:lnTo>
                  <a:pt x="658" y="615"/>
                </a:lnTo>
                <a:lnTo>
                  <a:pt x="654" y="616"/>
                </a:lnTo>
                <a:lnTo>
                  <a:pt x="650" y="618"/>
                </a:lnTo>
                <a:lnTo>
                  <a:pt x="644" y="618"/>
                </a:lnTo>
                <a:lnTo>
                  <a:pt x="639" y="618"/>
                </a:lnTo>
                <a:lnTo>
                  <a:pt x="633" y="618"/>
                </a:lnTo>
                <a:lnTo>
                  <a:pt x="629" y="620"/>
                </a:lnTo>
                <a:close/>
                <a:moveTo>
                  <a:pt x="637" y="1021"/>
                </a:moveTo>
                <a:lnTo>
                  <a:pt x="635" y="1021"/>
                </a:lnTo>
                <a:lnTo>
                  <a:pt x="633" y="1021"/>
                </a:lnTo>
                <a:lnTo>
                  <a:pt x="635" y="1021"/>
                </a:lnTo>
                <a:lnTo>
                  <a:pt x="637" y="1021"/>
                </a:lnTo>
                <a:lnTo>
                  <a:pt x="637" y="1016"/>
                </a:lnTo>
                <a:lnTo>
                  <a:pt x="637" y="1013"/>
                </a:lnTo>
                <a:lnTo>
                  <a:pt x="637" y="1016"/>
                </a:lnTo>
                <a:lnTo>
                  <a:pt x="637" y="1021"/>
                </a:lnTo>
                <a:close/>
                <a:moveTo>
                  <a:pt x="635" y="1135"/>
                </a:moveTo>
                <a:lnTo>
                  <a:pt x="635" y="1134"/>
                </a:lnTo>
                <a:lnTo>
                  <a:pt x="633" y="1134"/>
                </a:lnTo>
                <a:lnTo>
                  <a:pt x="635" y="1134"/>
                </a:lnTo>
                <a:lnTo>
                  <a:pt x="635" y="1135"/>
                </a:lnTo>
                <a:close/>
                <a:moveTo>
                  <a:pt x="633" y="1125"/>
                </a:moveTo>
                <a:lnTo>
                  <a:pt x="630" y="1120"/>
                </a:lnTo>
                <a:lnTo>
                  <a:pt x="625" y="1117"/>
                </a:lnTo>
                <a:lnTo>
                  <a:pt x="630" y="1120"/>
                </a:lnTo>
                <a:lnTo>
                  <a:pt x="633" y="1125"/>
                </a:lnTo>
                <a:close/>
                <a:moveTo>
                  <a:pt x="633" y="1174"/>
                </a:moveTo>
                <a:lnTo>
                  <a:pt x="631" y="1174"/>
                </a:lnTo>
                <a:lnTo>
                  <a:pt x="630" y="1173"/>
                </a:lnTo>
                <a:lnTo>
                  <a:pt x="631" y="1174"/>
                </a:lnTo>
                <a:lnTo>
                  <a:pt x="633" y="1174"/>
                </a:lnTo>
                <a:lnTo>
                  <a:pt x="633" y="1174"/>
                </a:lnTo>
                <a:close/>
                <a:moveTo>
                  <a:pt x="618" y="935"/>
                </a:moveTo>
                <a:lnTo>
                  <a:pt x="615" y="932"/>
                </a:lnTo>
                <a:lnTo>
                  <a:pt x="612" y="931"/>
                </a:lnTo>
                <a:lnTo>
                  <a:pt x="615" y="932"/>
                </a:lnTo>
                <a:lnTo>
                  <a:pt x="618" y="935"/>
                </a:lnTo>
                <a:lnTo>
                  <a:pt x="619" y="935"/>
                </a:lnTo>
                <a:lnTo>
                  <a:pt x="620" y="935"/>
                </a:lnTo>
                <a:lnTo>
                  <a:pt x="619" y="935"/>
                </a:lnTo>
                <a:lnTo>
                  <a:pt x="618" y="935"/>
                </a:lnTo>
                <a:close/>
                <a:moveTo>
                  <a:pt x="602" y="927"/>
                </a:moveTo>
                <a:lnTo>
                  <a:pt x="605" y="925"/>
                </a:lnTo>
                <a:lnTo>
                  <a:pt x="609" y="927"/>
                </a:lnTo>
                <a:lnTo>
                  <a:pt x="605" y="928"/>
                </a:lnTo>
                <a:lnTo>
                  <a:pt x="602" y="927"/>
                </a:lnTo>
                <a:close/>
                <a:moveTo>
                  <a:pt x="562" y="705"/>
                </a:moveTo>
                <a:lnTo>
                  <a:pt x="563" y="705"/>
                </a:lnTo>
                <a:lnTo>
                  <a:pt x="566" y="705"/>
                </a:lnTo>
                <a:lnTo>
                  <a:pt x="563" y="705"/>
                </a:lnTo>
                <a:lnTo>
                  <a:pt x="562" y="705"/>
                </a:lnTo>
                <a:close/>
                <a:moveTo>
                  <a:pt x="588" y="794"/>
                </a:moveTo>
                <a:lnTo>
                  <a:pt x="585" y="795"/>
                </a:lnTo>
                <a:lnTo>
                  <a:pt x="583" y="794"/>
                </a:lnTo>
                <a:lnTo>
                  <a:pt x="582" y="791"/>
                </a:lnTo>
                <a:lnTo>
                  <a:pt x="580" y="791"/>
                </a:lnTo>
                <a:lnTo>
                  <a:pt x="578" y="791"/>
                </a:lnTo>
                <a:lnTo>
                  <a:pt x="577" y="794"/>
                </a:lnTo>
                <a:lnTo>
                  <a:pt x="577" y="798"/>
                </a:lnTo>
                <a:lnTo>
                  <a:pt x="580" y="803"/>
                </a:lnTo>
                <a:lnTo>
                  <a:pt x="582" y="806"/>
                </a:lnTo>
                <a:lnTo>
                  <a:pt x="585" y="809"/>
                </a:lnTo>
                <a:lnTo>
                  <a:pt x="587" y="810"/>
                </a:lnTo>
                <a:lnTo>
                  <a:pt x="589" y="813"/>
                </a:lnTo>
                <a:lnTo>
                  <a:pt x="578" y="810"/>
                </a:lnTo>
                <a:lnTo>
                  <a:pt x="570" y="806"/>
                </a:lnTo>
                <a:lnTo>
                  <a:pt x="559" y="798"/>
                </a:lnTo>
                <a:lnTo>
                  <a:pt x="547" y="790"/>
                </a:lnTo>
                <a:lnTo>
                  <a:pt x="536" y="783"/>
                </a:lnTo>
                <a:lnTo>
                  <a:pt x="526" y="777"/>
                </a:lnTo>
                <a:lnTo>
                  <a:pt x="523" y="775"/>
                </a:lnTo>
                <a:lnTo>
                  <a:pt x="523" y="773"/>
                </a:lnTo>
                <a:lnTo>
                  <a:pt x="525" y="771"/>
                </a:lnTo>
                <a:lnTo>
                  <a:pt x="528" y="771"/>
                </a:lnTo>
                <a:lnTo>
                  <a:pt x="530" y="771"/>
                </a:lnTo>
                <a:lnTo>
                  <a:pt x="534" y="773"/>
                </a:lnTo>
                <a:lnTo>
                  <a:pt x="536" y="774"/>
                </a:lnTo>
                <a:lnTo>
                  <a:pt x="539" y="776"/>
                </a:lnTo>
                <a:lnTo>
                  <a:pt x="542" y="777"/>
                </a:lnTo>
                <a:lnTo>
                  <a:pt x="544" y="778"/>
                </a:lnTo>
                <a:lnTo>
                  <a:pt x="547" y="778"/>
                </a:lnTo>
                <a:lnTo>
                  <a:pt x="547" y="777"/>
                </a:lnTo>
                <a:lnTo>
                  <a:pt x="548" y="776"/>
                </a:lnTo>
                <a:lnTo>
                  <a:pt x="548" y="773"/>
                </a:lnTo>
                <a:lnTo>
                  <a:pt x="549" y="770"/>
                </a:lnTo>
                <a:lnTo>
                  <a:pt x="551" y="770"/>
                </a:lnTo>
                <a:lnTo>
                  <a:pt x="554" y="771"/>
                </a:lnTo>
                <a:lnTo>
                  <a:pt x="556" y="774"/>
                </a:lnTo>
                <a:lnTo>
                  <a:pt x="556" y="775"/>
                </a:lnTo>
                <a:lnTo>
                  <a:pt x="557" y="776"/>
                </a:lnTo>
                <a:lnTo>
                  <a:pt x="557" y="777"/>
                </a:lnTo>
                <a:lnTo>
                  <a:pt x="560" y="776"/>
                </a:lnTo>
                <a:lnTo>
                  <a:pt x="560" y="775"/>
                </a:lnTo>
                <a:lnTo>
                  <a:pt x="559" y="773"/>
                </a:lnTo>
                <a:lnTo>
                  <a:pt x="557" y="771"/>
                </a:lnTo>
                <a:lnTo>
                  <a:pt x="559" y="769"/>
                </a:lnTo>
                <a:lnTo>
                  <a:pt x="560" y="769"/>
                </a:lnTo>
                <a:lnTo>
                  <a:pt x="562" y="770"/>
                </a:lnTo>
                <a:lnTo>
                  <a:pt x="564" y="771"/>
                </a:lnTo>
                <a:lnTo>
                  <a:pt x="567" y="770"/>
                </a:lnTo>
                <a:lnTo>
                  <a:pt x="569" y="769"/>
                </a:lnTo>
                <a:lnTo>
                  <a:pt x="570" y="768"/>
                </a:lnTo>
                <a:lnTo>
                  <a:pt x="571" y="766"/>
                </a:lnTo>
                <a:lnTo>
                  <a:pt x="573" y="763"/>
                </a:lnTo>
                <a:lnTo>
                  <a:pt x="574" y="762"/>
                </a:lnTo>
                <a:lnTo>
                  <a:pt x="576" y="763"/>
                </a:lnTo>
                <a:lnTo>
                  <a:pt x="580" y="766"/>
                </a:lnTo>
                <a:lnTo>
                  <a:pt x="582" y="768"/>
                </a:lnTo>
                <a:lnTo>
                  <a:pt x="583" y="771"/>
                </a:lnTo>
                <a:lnTo>
                  <a:pt x="582" y="775"/>
                </a:lnTo>
                <a:lnTo>
                  <a:pt x="581" y="780"/>
                </a:lnTo>
                <a:lnTo>
                  <a:pt x="581" y="783"/>
                </a:lnTo>
                <a:lnTo>
                  <a:pt x="583" y="785"/>
                </a:lnTo>
                <a:lnTo>
                  <a:pt x="585" y="788"/>
                </a:lnTo>
                <a:lnTo>
                  <a:pt x="587" y="788"/>
                </a:lnTo>
                <a:lnTo>
                  <a:pt x="588" y="789"/>
                </a:lnTo>
                <a:lnTo>
                  <a:pt x="589" y="791"/>
                </a:lnTo>
                <a:lnTo>
                  <a:pt x="588" y="794"/>
                </a:lnTo>
                <a:close/>
                <a:moveTo>
                  <a:pt x="443" y="673"/>
                </a:moveTo>
                <a:lnTo>
                  <a:pt x="453" y="673"/>
                </a:lnTo>
                <a:lnTo>
                  <a:pt x="465" y="673"/>
                </a:lnTo>
                <a:lnTo>
                  <a:pt x="475" y="673"/>
                </a:lnTo>
                <a:lnTo>
                  <a:pt x="486" y="673"/>
                </a:lnTo>
                <a:lnTo>
                  <a:pt x="475" y="673"/>
                </a:lnTo>
                <a:lnTo>
                  <a:pt x="465" y="673"/>
                </a:lnTo>
                <a:lnTo>
                  <a:pt x="453" y="673"/>
                </a:lnTo>
                <a:lnTo>
                  <a:pt x="443" y="673"/>
                </a:lnTo>
                <a:close/>
                <a:moveTo>
                  <a:pt x="610" y="576"/>
                </a:moveTo>
                <a:lnTo>
                  <a:pt x="613" y="576"/>
                </a:lnTo>
                <a:lnTo>
                  <a:pt x="615" y="575"/>
                </a:lnTo>
                <a:lnTo>
                  <a:pt x="613" y="576"/>
                </a:lnTo>
                <a:lnTo>
                  <a:pt x="610" y="576"/>
                </a:lnTo>
                <a:lnTo>
                  <a:pt x="609" y="579"/>
                </a:lnTo>
                <a:lnTo>
                  <a:pt x="606" y="580"/>
                </a:lnTo>
                <a:lnTo>
                  <a:pt x="609" y="579"/>
                </a:lnTo>
                <a:lnTo>
                  <a:pt x="610" y="576"/>
                </a:lnTo>
                <a:close/>
                <a:moveTo>
                  <a:pt x="698" y="673"/>
                </a:moveTo>
                <a:lnTo>
                  <a:pt x="700" y="672"/>
                </a:lnTo>
                <a:lnTo>
                  <a:pt x="704" y="670"/>
                </a:lnTo>
                <a:lnTo>
                  <a:pt x="700" y="672"/>
                </a:lnTo>
                <a:lnTo>
                  <a:pt x="698" y="673"/>
                </a:lnTo>
                <a:close/>
                <a:moveTo>
                  <a:pt x="698" y="517"/>
                </a:moveTo>
                <a:lnTo>
                  <a:pt x="698" y="517"/>
                </a:lnTo>
                <a:lnTo>
                  <a:pt x="698" y="517"/>
                </a:lnTo>
                <a:close/>
                <a:moveTo>
                  <a:pt x="708" y="956"/>
                </a:moveTo>
                <a:lnTo>
                  <a:pt x="707" y="955"/>
                </a:lnTo>
                <a:lnTo>
                  <a:pt x="707" y="953"/>
                </a:lnTo>
                <a:lnTo>
                  <a:pt x="707" y="955"/>
                </a:lnTo>
                <a:lnTo>
                  <a:pt x="708" y="956"/>
                </a:lnTo>
                <a:close/>
                <a:moveTo>
                  <a:pt x="713" y="696"/>
                </a:moveTo>
                <a:lnTo>
                  <a:pt x="715" y="696"/>
                </a:lnTo>
                <a:lnTo>
                  <a:pt x="716" y="696"/>
                </a:lnTo>
                <a:lnTo>
                  <a:pt x="715" y="696"/>
                </a:lnTo>
                <a:lnTo>
                  <a:pt x="713" y="696"/>
                </a:lnTo>
                <a:lnTo>
                  <a:pt x="711" y="698"/>
                </a:lnTo>
                <a:lnTo>
                  <a:pt x="709" y="699"/>
                </a:lnTo>
                <a:lnTo>
                  <a:pt x="706" y="700"/>
                </a:lnTo>
                <a:lnTo>
                  <a:pt x="704" y="700"/>
                </a:lnTo>
                <a:lnTo>
                  <a:pt x="706" y="700"/>
                </a:lnTo>
                <a:lnTo>
                  <a:pt x="709" y="699"/>
                </a:lnTo>
                <a:lnTo>
                  <a:pt x="711" y="698"/>
                </a:lnTo>
                <a:lnTo>
                  <a:pt x="713" y="696"/>
                </a:lnTo>
                <a:close/>
                <a:moveTo>
                  <a:pt x="712" y="568"/>
                </a:moveTo>
                <a:lnTo>
                  <a:pt x="711" y="567"/>
                </a:lnTo>
                <a:lnTo>
                  <a:pt x="711" y="567"/>
                </a:lnTo>
                <a:lnTo>
                  <a:pt x="711" y="567"/>
                </a:lnTo>
                <a:lnTo>
                  <a:pt x="712" y="568"/>
                </a:lnTo>
                <a:close/>
                <a:moveTo>
                  <a:pt x="714" y="533"/>
                </a:moveTo>
                <a:lnTo>
                  <a:pt x="715" y="529"/>
                </a:lnTo>
                <a:lnTo>
                  <a:pt x="715" y="526"/>
                </a:lnTo>
                <a:lnTo>
                  <a:pt x="715" y="529"/>
                </a:lnTo>
                <a:lnTo>
                  <a:pt x="714" y="533"/>
                </a:lnTo>
                <a:lnTo>
                  <a:pt x="714" y="534"/>
                </a:lnTo>
                <a:lnTo>
                  <a:pt x="715" y="536"/>
                </a:lnTo>
                <a:lnTo>
                  <a:pt x="716" y="540"/>
                </a:lnTo>
                <a:lnTo>
                  <a:pt x="718" y="545"/>
                </a:lnTo>
                <a:lnTo>
                  <a:pt x="715" y="548"/>
                </a:lnTo>
                <a:lnTo>
                  <a:pt x="712" y="552"/>
                </a:lnTo>
                <a:lnTo>
                  <a:pt x="709" y="554"/>
                </a:lnTo>
                <a:lnTo>
                  <a:pt x="707" y="553"/>
                </a:lnTo>
                <a:lnTo>
                  <a:pt x="707" y="552"/>
                </a:lnTo>
                <a:lnTo>
                  <a:pt x="707" y="550"/>
                </a:lnTo>
                <a:lnTo>
                  <a:pt x="707" y="537"/>
                </a:lnTo>
                <a:lnTo>
                  <a:pt x="706" y="525"/>
                </a:lnTo>
                <a:lnTo>
                  <a:pt x="711" y="529"/>
                </a:lnTo>
                <a:lnTo>
                  <a:pt x="714" y="533"/>
                </a:lnTo>
                <a:close/>
                <a:moveTo>
                  <a:pt x="788" y="746"/>
                </a:moveTo>
                <a:lnTo>
                  <a:pt x="789" y="746"/>
                </a:lnTo>
                <a:lnTo>
                  <a:pt x="790" y="745"/>
                </a:lnTo>
                <a:lnTo>
                  <a:pt x="789" y="746"/>
                </a:lnTo>
                <a:lnTo>
                  <a:pt x="788" y="746"/>
                </a:lnTo>
                <a:close/>
                <a:moveTo>
                  <a:pt x="781" y="753"/>
                </a:moveTo>
                <a:lnTo>
                  <a:pt x="782" y="752"/>
                </a:lnTo>
                <a:lnTo>
                  <a:pt x="782" y="750"/>
                </a:lnTo>
                <a:lnTo>
                  <a:pt x="783" y="750"/>
                </a:lnTo>
                <a:lnTo>
                  <a:pt x="783" y="749"/>
                </a:lnTo>
                <a:lnTo>
                  <a:pt x="783" y="750"/>
                </a:lnTo>
                <a:lnTo>
                  <a:pt x="782" y="750"/>
                </a:lnTo>
                <a:lnTo>
                  <a:pt x="782" y="752"/>
                </a:lnTo>
                <a:lnTo>
                  <a:pt x="781" y="753"/>
                </a:lnTo>
                <a:close/>
                <a:moveTo>
                  <a:pt x="769" y="754"/>
                </a:moveTo>
                <a:lnTo>
                  <a:pt x="769" y="754"/>
                </a:lnTo>
                <a:lnTo>
                  <a:pt x="770" y="753"/>
                </a:lnTo>
                <a:lnTo>
                  <a:pt x="770" y="752"/>
                </a:lnTo>
                <a:lnTo>
                  <a:pt x="770" y="750"/>
                </a:lnTo>
                <a:lnTo>
                  <a:pt x="770" y="752"/>
                </a:lnTo>
                <a:lnTo>
                  <a:pt x="770" y="753"/>
                </a:lnTo>
                <a:lnTo>
                  <a:pt x="769" y="754"/>
                </a:lnTo>
                <a:lnTo>
                  <a:pt x="769" y="754"/>
                </a:lnTo>
                <a:close/>
                <a:moveTo>
                  <a:pt x="762" y="964"/>
                </a:moveTo>
                <a:lnTo>
                  <a:pt x="763" y="964"/>
                </a:lnTo>
                <a:lnTo>
                  <a:pt x="763" y="964"/>
                </a:lnTo>
                <a:lnTo>
                  <a:pt x="763" y="964"/>
                </a:lnTo>
                <a:lnTo>
                  <a:pt x="762" y="964"/>
                </a:lnTo>
                <a:close/>
                <a:moveTo>
                  <a:pt x="756" y="986"/>
                </a:moveTo>
                <a:lnTo>
                  <a:pt x="758" y="986"/>
                </a:lnTo>
                <a:lnTo>
                  <a:pt x="761" y="986"/>
                </a:lnTo>
                <a:lnTo>
                  <a:pt x="758" y="986"/>
                </a:lnTo>
                <a:lnTo>
                  <a:pt x="756" y="986"/>
                </a:lnTo>
                <a:lnTo>
                  <a:pt x="755" y="988"/>
                </a:lnTo>
                <a:lnTo>
                  <a:pt x="754" y="990"/>
                </a:lnTo>
                <a:lnTo>
                  <a:pt x="755" y="988"/>
                </a:lnTo>
                <a:lnTo>
                  <a:pt x="756" y="986"/>
                </a:lnTo>
                <a:close/>
                <a:moveTo>
                  <a:pt x="761" y="965"/>
                </a:moveTo>
                <a:lnTo>
                  <a:pt x="758" y="965"/>
                </a:lnTo>
                <a:lnTo>
                  <a:pt x="755" y="965"/>
                </a:lnTo>
                <a:lnTo>
                  <a:pt x="758" y="965"/>
                </a:lnTo>
                <a:lnTo>
                  <a:pt x="761" y="965"/>
                </a:lnTo>
                <a:close/>
                <a:moveTo>
                  <a:pt x="761" y="762"/>
                </a:moveTo>
                <a:lnTo>
                  <a:pt x="763" y="760"/>
                </a:lnTo>
                <a:lnTo>
                  <a:pt x="765" y="757"/>
                </a:lnTo>
                <a:lnTo>
                  <a:pt x="765" y="756"/>
                </a:lnTo>
                <a:lnTo>
                  <a:pt x="765" y="754"/>
                </a:lnTo>
                <a:lnTo>
                  <a:pt x="765" y="756"/>
                </a:lnTo>
                <a:lnTo>
                  <a:pt x="765" y="757"/>
                </a:lnTo>
                <a:lnTo>
                  <a:pt x="763" y="760"/>
                </a:lnTo>
                <a:lnTo>
                  <a:pt x="761" y="762"/>
                </a:lnTo>
                <a:close/>
                <a:moveTo>
                  <a:pt x="764" y="769"/>
                </a:moveTo>
                <a:lnTo>
                  <a:pt x="764" y="769"/>
                </a:lnTo>
                <a:lnTo>
                  <a:pt x="765" y="768"/>
                </a:lnTo>
                <a:lnTo>
                  <a:pt x="764" y="769"/>
                </a:lnTo>
                <a:lnTo>
                  <a:pt x="764" y="769"/>
                </a:lnTo>
                <a:lnTo>
                  <a:pt x="761" y="780"/>
                </a:lnTo>
                <a:lnTo>
                  <a:pt x="757" y="789"/>
                </a:lnTo>
                <a:lnTo>
                  <a:pt x="761" y="780"/>
                </a:lnTo>
                <a:lnTo>
                  <a:pt x="764" y="769"/>
                </a:lnTo>
                <a:close/>
                <a:moveTo>
                  <a:pt x="743" y="1041"/>
                </a:moveTo>
                <a:lnTo>
                  <a:pt x="747" y="1041"/>
                </a:lnTo>
                <a:lnTo>
                  <a:pt x="750" y="1042"/>
                </a:lnTo>
                <a:lnTo>
                  <a:pt x="747" y="1041"/>
                </a:lnTo>
                <a:lnTo>
                  <a:pt x="743" y="1041"/>
                </a:lnTo>
                <a:close/>
                <a:moveTo>
                  <a:pt x="736" y="1037"/>
                </a:moveTo>
                <a:lnTo>
                  <a:pt x="736" y="1037"/>
                </a:lnTo>
                <a:lnTo>
                  <a:pt x="735" y="1036"/>
                </a:lnTo>
                <a:lnTo>
                  <a:pt x="736" y="1037"/>
                </a:lnTo>
                <a:lnTo>
                  <a:pt x="736" y="1037"/>
                </a:lnTo>
                <a:lnTo>
                  <a:pt x="739" y="1039"/>
                </a:lnTo>
                <a:lnTo>
                  <a:pt x="740" y="1039"/>
                </a:lnTo>
                <a:lnTo>
                  <a:pt x="739" y="1039"/>
                </a:lnTo>
                <a:lnTo>
                  <a:pt x="736" y="1037"/>
                </a:lnTo>
                <a:close/>
                <a:moveTo>
                  <a:pt x="741" y="1109"/>
                </a:moveTo>
                <a:lnTo>
                  <a:pt x="740" y="1110"/>
                </a:lnTo>
                <a:lnTo>
                  <a:pt x="740" y="1112"/>
                </a:lnTo>
                <a:lnTo>
                  <a:pt x="751" y="1111"/>
                </a:lnTo>
                <a:lnTo>
                  <a:pt x="762" y="1110"/>
                </a:lnTo>
                <a:lnTo>
                  <a:pt x="763" y="1107"/>
                </a:lnTo>
                <a:lnTo>
                  <a:pt x="765" y="1106"/>
                </a:lnTo>
                <a:lnTo>
                  <a:pt x="763" y="1107"/>
                </a:lnTo>
                <a:lnTo>
                  <a:pt x="762" y="1110"/>
                </a:lnTo>
                <a:lnTo>
                  <a:pt x="751" y="1111"/>
                </a:lnTo>
                <a:lnTo>
                  <a:pt x="740" y="1112"/>
                </a:lnTo>
                <a:lnTo>
                  <a:pt x="740" y="1110"/>
                </a:lnTo>
                <a:lnTo>
                  <a:pt x="741" y="1109"/>
                </a:lnTo>
                <a:close/>
                <a:moveTo>
                  <a:pt x="781" y="1147"/>
                </a:moveTo>
                <a:lnTo>
                  <a:pt x="780" y="1147"/>
                </a:lnTo>
                <a:lnTo>
                  <a:pt x="777" y="1147"/>
                </a:lnTo>
                <a:lnTo>
                  <a:pt x="772" y="1146"/>
                </a:lnTo>
                <a:lnTo>
                  <a:pt x="768" y="1147"/>
                </a:lnTo>
                <a:lnTo>
                  <a:pt x="772" y="1146"/>
                </a:lnTo>
                <a:lnTo>
                  <a:pt x="777" y="1147"/>
                </a:lnTo>
                <a:lnTo>
                  <a:pt x="780" y="1147"/>
                </a:lnTo>
                <a:lnTo>
                  <a:pt x="781" y="1147"/>
                </a:lnTo>
                <a:close/>
                <a:moveTo>
                  <a:pt x="769" y="825"/>
                </a:moveTo>
                <a:lnTo>
                  <a:pt x="765" y="824"/>
                </a:lnTo>
                <a:lnTo>
                  <a:pt x="763" y="823"/>
                </a:lnTo>
                <a:lnTo>
                  <a:pt x="762" y="820"/>
                </a:lnTo>
                <a:lnTo>
                  <a:pt x="763" y="818"/>
                </a:lnTo>
                <a:lnTo>
                  <a:pt x="767" y="811"/>
                </a:lnTo>
                <a:lnTo>
                  <a:pt x="770" y="803"/>
                </a:lnTo>
                <a:lnTo>
                  <a:pt x="771" y="802"/>
                </a:lnTo>
                <a:lnTo>
                  <a:pt x="772" y="802"/>
                </a:lnTo>
                <a:lnTo>
                  <a:pt x="774" y="803"/>
                </a:lnTo>
                <a:lnTo>
                  <a:pt x="775" y="804"/>
                </a:lnTo>
                <a:lnTo>
                  <a:pt x="775" y="806"/>
                </a:lnTo>
                <a:lnTo>
                  <a:pt x="776" y="808"/>
                </a:lnTo>
                <a:lnTo>
                  <a:pt x="778" y="809"/>
                </a:lnTo>
                <a:lnTo>
                  <a:pt x="781" y="808"/>
                </a:lnTo>
                <a:lnTo>
                  <a:pt x="783" y="808"/>
                </a:lnTo>
                <a:lnTo>
                  <a:pt x="783" y="809"/>
                </a:lnTo>
                <a:lnTo>
                  <a:pt x="782" y="813"/>
                </a:lnTo>
                <a:lnTo>
                  <a:pt x="777" y="818"/>
                </a:lnTo>
                <a:lnTo>
                  <a:pt x="772" y="823"/>
                </a:lnTo>
                <a:lnTo>
                  <a:pt x="769" y="825"/>
                </a:lnTo>
                <a:close/>
                <a:moveTo>
                  <a:pt x="818" y="1043"/>
                </a:moveTo>
                <a:lnTo>
                  <a:pt x="816" y="1044"/>
                </a:lnTo>
                <a:lnTo>
                  <a:pt x="816" y="1046"/>
                </a:lnTo>
                <a:lnTo>
                  <a:pt x="812" y="1048"/>
                </a:lnTo>
                <a:lnTo>
                  <a:pt x="809" y="1048"/>
                </a:lnTo>
                <a:lnTo>
                  <a:pt x="812" y="1048"/>
                </a:lnTo>
                <a:lnTo>
                  <a:pt x="816" y="1046"/>
                </a:lnTo>
                <a:lnTo>
                  <a:pt x="816" y="1044"/>
                </a:lnTo>
                <a:lnTo>
                  <a:pt x="818" y="1043"/>
                </a:lnTo>
                <a:close/>
                <a:moveTo>
                  <a:pt x="824" y="963"/>
                </a:moveTo>
                <a:lnTo>
                  <a:pt x="815" y="965"/>
                </a:lnTo>
                <a:lnTo>
                  <a:pt x="804" y="966"/>
                </a:lnTo>
                <a:lnTo>
                  <a:pt x="794" y="966"/>
                </a:lnTo>
                <a:lnTo>
                  <a:pt x="783" y="966"/>
                </a:lnTo>
                <a:lnTo>
                  <a:pt x="783" y="964"/>
                </a:lnTo>
                <a:lnTo>
                  <a:pt x="782" y="963"/>
                </a:lnTo>
                <a:lnTo>
                  <a:pt x="783" y="964"/>
                </a:lnTo>
                <a:lnTo>
                  <a:pt x="783" y="966"/>
                </a:lnTo>
                <a:lnTo>
                  <a:pt x="794" y="966"/>
                </a:lnTo>
                <a:lnTo>
                  <a:pt x="804" y="966"/>
                </a:lnTo>
                <a:lnTo>
                  <a:pt x="815" y="965"/>
                </a:lnTo>
                <a:lnTo>
                  <a:pt x="824" y="963"/>
                </a:lnTo>
                <a:close/>
                <a:moveTo>
                  <a:pt x="827" y="860"/>
                </a:moveTo>
                <a:lnTo>
                  <a:pt x="829" y="860"/>
                </a:lnTo>
                <a:lnTo>
                  <a:pt x="830" y="860"/>
                </a:lnTo>
                <a:lnTo>
                  <a:pt x="829" y="860"/>
                </a:lnTo>
                <a:lnTo>
                  <a:pt x="827" y="860"/>
                </a:lnTo>
                <a:close/>
                <a:moveTo>
                  <a:pt x="822" y="1040"/>
                </a:moveTo>
                <a:lnTo>
                  <a:pt x="822" y="1040"/>
                </a:lnTo>
                <a:lnTo>
                  <a:pt x="823" y="1041"/>
                </a:lnTo>
                <a:lnTo>
                  <a:pt x="822" y="1040"/>
                </a:lnTo>
                <a:lnTo>
                  <a:pt x="822" y="1040"/>
                </a:lnTo>
                <a:close/>
                <a:moveTo>
                  <a:pt x="839" y="1040"/>
                </a:moveTo>
                <a:lnTo>
                  <a:pt x="834" y="1042"/>
                </a:lnTo>
                <a:lnTo>
                  <a:pt x="831" y="1043"/>
                </a:lnTo>
                <a:lnTo>
                  <a:pt x="826" y="1043"/>
                </a:lnTo>
                <a:lnTo>
                  <a:pt x="822" y="1043"/>
                </a:lnTo>
                <a:lnTo>
                  <a:pt x="822" y="1043"/>
                </a:lnTo>
                <a:lnTo>
                  <a:pt x="826" y="1043"/>
                </a:lnTo>
                <a:lnTo>
                  <a:pt x="831" y="1043"/>
                </a:lnTo>
                <a:lnTo>
                  <a:pt x="834" y="1042"/>
                </a:lnTo>
                <a:lnTo>
                  <a:pt x="839" y="1040"/>
                </a:lnTo>
                <a:close/>
                <a:moveTo>
                  <a:pt x="826" y="804"/>
                </a:moveTo>
                <a:lnTo>
                  <a:pt x="826" y="804"/>
                </a:lnTo>
                <a:lnTo>
                  <a:pt x="827" y="804"/>
                </a:lnTo>
                <a:lnTo>
                  <a:pt x="826" y="804"/>
                </a:lnTo>
                <a:lnTo>
                  <a:pt x="826" y="804"/>
                </a:lnTo>
                <a:close/>
                <a:moveTo>
                  <a:pt x="827" y="841"/>
                </a:moveTo>
                <a:lnTo>
                  <a:pt x="826" y="841"/>
                </a:lnTo>
                <a:lnTo>
                  <a:pt x="824" y="841"/>
                </a:lnTo>
                <a:lnTo>
                  <a:pt x="823" y="843"/>
                </a:lnTo>
                <a:lnTo>
                  <a:pt x="822" y="845"/>
                </a:lnTo>
                <a:lnTo>
                  <a:pt x="817" y="845"/>
                </a:lnTo>
                <a:lnTo>
                  <a:pt x="812" y="845"/>
                </a:lnTo>
                <a:lnTo>
                  <a:pt x="817" y="845"/>
                </a:lnTo>
                <a:lnTo>
                  <a:pt x="822" y="845"/>
                </a:lnTo>
                <a:lnTo>
                  <a:pt x="823" y="843"/>
                </a:lnTo>
                <a:lnTo>
                  <a:pt x="824" y="841"/>
                </a:lnTo>
                <a:lnTo>
                  <a:pt x="826" y="841"/>
                </a:lnTo>
                <a:lnTo>
                  <a:pt x="827" y="841"/>
                </a:lnTo>
                <a:close/>
                <a:moveTo>
                  <a:pt x="809" y="804"/>
                </a:moveTo>
                <a:lnTo>
                  <a:pt x="810" y="802"/>
                </a:lnTo>
                <a:lnTo>
                  <a:pt x="812" y="801"/>
                </a:lnTo>
                <a:lnTo>
                  <a:pt x="812" y="801"/>
                </a:lnTo>
                <a:lnTo>
                  <a:pt x="812" y="799"/>
                </a:lnTo>
                <a:lnTo>
                  <a:pt x="812" y="801"/>
                </a:lnTo>
                <a:lnTo>
                  <a:pt x="812" y="801"/>
                </a:lnTo>
                <a:lnTo>
                  <a:pt x="810" y="802"/>
                </a:lnTo>
                <a:lnTo>
                  <a:pt x="809" y="804"/>
                </a:lnTo>
                <a:close/>
                <a:moveTo>
                  <a:pt x="801" y="801"/>
                </a:moveTo>
                <a:lnTo>
                  <a:pt x="802" y="798"/>
                </a:lnTo>
                <a:lnTo>
                  <a:pt x="802" y="795"/>
                </a:lnTo>
                <a:lnTo>
                  <a:pt x="802" y="794"/>
                </a:lnTo>
                <a:lnTo>
                  <a:pt x="803" y="792"/>
                </a:lnTo>
                <a:lnTo>
                  <a:pt x="802" y="794"/>
                </a:lnTo>
                <a:lnTo>
                  <a:pt x="802" y="795"/>
                </a:lnTo>
                <a:lnTo>
                  <a:pt x="802" y="798"/>
                </a:lnTo>
                <a:lnTo>
                  <a:pt x="801" y="801"/>
                </a:lnTo>
                <a:close/>
                <a:moveTo>
                  <a:pt x="803" y="861"/>
                </a:moveTo>
                <a:lnTo>
                  <a:pt x="809" y="861"/>
                </a:lnTo>
                <a:lnTo>
                  <a:pt x="813" y="861"/>
                </a:lnTo>
                <a:lnTo>
                  <a:pt x="809" y="861"/>
                </a:lnTo>
                <a:lnTo>
                  <a:pt x="803" y="861"/>
                </a:lnTo>
                <a:lnTo>
                  <a:pt x="803" y="865"/>
                </a:lnTo>
                <a:lnTo>
                  <a:pt x="801" y="867"/>
                </a:lnTo>
                <a:lnTo>
                  <a:pt x="803" y="865"/>
                </a:lnTo>
                <a:lnTo>
                  <a:pt x="803" y="861"/>
                </a:lnTo>
                <a:close/>
                <a:moveTo>
                  <a:pt x="818" y="704"/>
                </a:moveTo>
                <a:lnTo>
                  <a:pt x="819" y="704"/>
                </a:lnTo>
                <a:lnTo>
                  <a:pt x="820" y="705"/>
                </a:lnTo>
                <a:lnTo>
                  <a:pt x="819" y="706"/>
                </a:lnTo>
                <a:lnTo>
                  <a:pt x="818" y="707"/>
                </a:lnTo>
                <a:lnTo>
                  <a:pt x="818" y="707"/>
                </a:lnTo>
                <a:lnTo>
                  <a:pt x="818" y="708"/>
                </a:lnTo>
                <a:lnTo>
                  <a:pt x="818" y="707"/>
                </a:lnTo>
                <a:lnTo>
                  <a:pt x="818" y="707"/>
                </a:lnTo>
                <a:lnTo>
                  <a:pt x="817" y="706"/>
                </a:lnTo>
                <a:lnTo>
                  <a:pt x="818" y="704"/>
                </a:lnTo>
                <a:close/>
                <a:moveTo>
                  <a:pt x="962" y="659"/>
                </a:moveTo>
                <a:lnTo>
                  <a:pt x="965" y="657"/>
                </a:lnTo>
                <a:lnTo>
                  <a:pt x="970" y="655"/>
                </a:lnTo>
                <a:lnTo>
                  <a:pt x="965" y="657"/>
                </a:lnTo>
                <a:lnTo>
                  <a:pt x="962" y="659"/>
                </a:lnTo>
                <a:lnTo>
                  <a:pt x="958" y="659"/>
                </a:lnTo>
                <a:lnTo>
                  <a:pt x="956" y="661"/>
                </a:lnTo>
                <a:lnTo>
                  <a:pt x="958" y="659"/>
                </a:lnTo>
                <a:lnTo>
                  <a:pt x="962" y="659"/>
                </a:lnTo>
                <a:close/>
                <a:moveTo>
                  <a:pt x="895" y="1159"/>
                </a:moveTo>
                <a:lnTo>
                  <a:pt x="899" y="1160"/>
                </a:lnTo>
                <a:lnTo>
                  <a:pt x="901" y="1161"/>
                </a:lnTo>
                <a:lnTo>
                  <a:pt x="899" y="1160"/>
                </a:lnTo>
                <a:lnTo>
                  <a:pt x="895" y="1159"/>
                </a:lnTo>
                <a:lnTo>
                  <a:pt x="895" y="1159"/>
                </a:lnTo>
                <a:close/>
                <a:moveTo>
                  <a:pt x="915" y="1197"/>
                </a:moveTo>
                <a:lnTo>
                  <a:pt x="915" y="1200"/>
                </a:lnTo>
                <a:lnTo>
                  <a:pt x="915" y="1201"/>
                </a:lnTo>
                <a:lnTo>
                  <a:pt x="915" y="1200"/>
                </a:lnTo>
                <a:lnTo>
                  <a:pt x="915" y="1197"/>
                </a:lnTo>
                <a:close/>
                <a:moveTo>
                  <a:pt x="589" y="1120"/>
                </a:moveTo>
                <a:lnTo>
                  <a:pt x="589" y="1120"/>
                </a:lnTo>
                <a:lnTo>
                  <a:pt x="587" y="1119"/>
                </a:lnTo>
                <a:lnTo>
                  <a:pt x="587" y="1118"/>
                </a:lnTo>
                <a:lnTo>
                  <a:pt x="587" y="1119"/>
                </a:lnTo>
                <a:lnTo>
                  <a:pt x="589" y="1120"/>
                </a:lnTo>
                <a:lnTo>
                  <a:pt x="589" y="1120"/>
                </a:lnTo>
                <a:lnTo>
                  <a:pt x="589" y="1120"/>
                </a:lnTo>
                <a:lnTo>
                  <a:pt x="590" y="1124"/>
                </a:lnTo>
                <a:lnTo>
                  <a:pt x="592" y="1126"/>
                </a:lnTo>
                <a:lnTo>
                  <a:pt x="590" y="1124"/>
                </a:lnTo>
                <a:lnTo>
                  <a:pt x="589" y="1120"/>
                </a:lnTo>
                <a:close/>
                <a:moveTo>
                  <a:pt x="584" y="1116"/>
                </a:moveTo>
                <a:lnTo>
                  <a:pt x="582" y="1114"/>
                </a:lnTo>
                <a:lnTo>
                  <a:pt x="582" y="1112"/>
                </a:lnTo>
                <a:lnTo>
                  <a:pt x="582" y="1114"/>
                </a:lnTo>
                <a:lnTo>
                  <a:pt x="584" y="1116"/>
                </a:lnTo>
                <a:lnTo>
                  <a:pt x="585" y="1117"/>
                </a:lnTo>
                <a:lnTo>
                  <a:pt x="585" y="1117"/>
                </a:lnTo>
                <a:lnTo>
                  <a:pt x="585" y="1117"/>
                </a:lnTo>
                <a:lnTo>
                  <a:pt x="584" y="1116"/>
                </a:lnTo>
                <a:close/>
                <a:moveTo>
                  <a:pt x="581" y="1158"/>
                </a:moveTo>
                <a:lnTo>
                  <a:pt x="581" y="1158"/>
                </a:lnTo>
                <a:lnTo>
                  <a:pt x="580" y="1156"/>
                </a:lnTo>
                <a:lnTo>
                  <a:pt x="581" y="1156"/>
                </a:lnTo>
                <a:lnTo>
                  <a:pt x="581" y="1158"/>
                </a:lnTo>
                <a:lnTo>
                  <a:pt x="581" y="1158"/>
                </a:lnTo>
                <a:lnTo>
                  <a:pt x="581" y="1158"/>
                </a:lnTo>
                <a:close/>
                <a:moveTo>
                  <a:pt x="585" y="1079"/>
                </a:moveTo>
                <a:lnTo>
                  <a:pt x="585" y="1079"/>
                </a:lnTo>
                <a:lnTo>
                  <a:pt x="585" y="1081"/>
                </a:lnTo>
                <a:lnTo>
                  <a:pt x="585" y="1081"/>
                </a:lnTo>
                <a:lnTo>
                  <a:pt x="585" y="1079"/>
                </a:lnTo>
                <a:lnTo>
                  <a:pt x="585" y="1079"/>
                </a:lnTo>
                <a:close/>
                <a:moveTo>
                  <a:pt x="553" y="1051"/>
                </a:moveTo>
                <a:lnTo>
                  <a:pt x="550" y="1049"/>
                </a:lnTo>
                <a:lnTo>
                  <a:pt x="548" y="1048"/>
                </a:lnTo>
                <a:lnTo>
                  <a:pt x="547" y="1044"/>
                </a:lnTo>
                <a:lnTo>
                  <a:pt x="546" y="1042"/>
                </a:lnTo>
                <a:lnTo>
                  <a:pt x="547" y="1044"/>
                </a:lnTo>
                <a:lnTo>
                  <a:pt x="548" y="1048"/>
                </a:lnTo>
                <a:lnTo>
                  <a:pt x="550" y="1049"/>
                </a:lnTo>
                <a:lnTo>
                  <a:pt x="553" y="1051"/>
                </a:lnTo>
                <a:lnTo>
                  <a:pt x="553" y="1053"/>
                </a:lnTo>
                <a:lnTo>
                  <a:pt x="553" y="1054"/>
                </a:lnTo>
                <a:lnTo>
                  <a:pt x="553" y="1053"/>
                </a:lnTo>
                <a:lnTo>
                  <a:pt x="553" y="1051"/>
                </a:lnTo>
                <a:close/>
                <a:moveTo>
                  <a:pt x="540" y="998"/>
                </a:moveTo>
                <a:lnTo>
                  <a:pt x="539" y="998"/>
                </a:lnTo>
                <a:lnTo>
                  <a:pt x="537" y="997"/>
                </a:lnTo>
                <a:lnTo>
                  <a:pt x="539" y="998"/>
                </a:lnTo>
                <a:lnTo>
                  <a:pt x="540" y="998"/>
                </a:lnTo>
                <a:close/>
                <a:moveTo>
                  <a:pt x="497" y="795"/>
                </a:moveTo>
                <a:lnTo>
                  <a:pt x="492" y="794"/>
                </a:lnTo>
                <a:lnTo>
                  <a:pt x="487" y="792"/>
                </a:lnTo>
                <a:lnTo>
                  <a:pt x="480" y="788"/>
                </a:lnTo>
                <a:lnTo>
                  <a:pt x="472" y="785"/>
                </a:lnTo>
                <a:lnTo>
                  <a:pt x="470" y="785"/>
                </a:lnTo>
                <a:lnTo>
                  <a:pt x="467" y="783"/>
                </a:lnTo>
                <a:lnTo>
                  <a:pt x="467" y="781"/>
                </a:lnTo>
                <a:lnTo>
                  <a:pt x="467" y="778"/>
                </a:lnTo>
                <a:lnTo>
                  <a:pt x="468" y="775"/>
                </a:lnTo>
                <a:lnTo>
                  <a:pt x="471" y="775"/>
                </a:lnTo>
                <a:lnTo>
                  <a:pt x="472" y="775"/>
                </a:lnTo>
                <a:lnTo>
                  <a:pt x="474" y="776"/>
                </a:lnTo>
                <a:lnTo>
                  <a:pt x="486" y="781"/>
                </a:lnTo>
                <a:lnTo>
                  <a:pt x="497" y="787"/>
                </a:lnTo>
                <a:lnTo>
                  <a:pt x="499" y="789"/>
                </a:lnTo>
                <a:lnTo>
                  <a:pt x="500" y="791"/>
                </a:lnTo>
                <a:lnTo>
                  <a:pt x="500" y="794"/>
                </a:lnTo>
                <a:lnTo>
                  <a:pt x="499" y="795"/>
                </a:lnTo>
                <a:lnTo>
                  <a:pt x="498" y="795"/>
                </a:lnTo>
                <a:lnTo>
                  <a:pt x="497" y="795"/>
                </a:lnTo>
                <a:close/>
                <a:moveTo>
                  <a:pt x="729" y="539"/>
                </a:moveTo>
                <a:lnTo>
                  <a:pt x="729" y="538"/>
                </a:lnTo>
                <a:lnTo>
                  <a:pt x="729" y="537"/>
                </a:lnTo>
                <a:lnTo>
                  <a:pt x="729" y="538"/>
                </a:lnTo>
                <a:lnTo>
                  <a:pt x="729" y="539"/>
                </a:lnTo>
                <a:close/>
                <a:moveTo>
                  <a:pt x="735" y="561"/>
                </a:moveTo>
                <a:lnTo>
                  <a:pt x="734" y="559"/>
                </a:lnTo>
                <a:lnTo>
                  <a:pt x="734" y="557"/>
                </a:lnTo>
                <a:lnTo>
                  <a:pt x="734" y="559"/>
                </a:lnTo>
                <a:lnTo>
                  <a:pt x="735" y="561"/>
                </a:lnTo>
                <a:close/>
                <a:moveTo>
                  <a:pt x="757" y="541"/>
                </a:moveTo>
                <a:lnTo>
                  <a:pt x="757" y="543"/>
                </a:lnTo>
                <a:lnTo>
                  <a:pt x="756" y="543"/>
                </a:lnTo>
                <a:lnTo>
                  <a:pt x="757" y="543"/>
                </a:lnTo>
                <a:lnTo>
                  <a:pt x="757" y="541"/>
                </a:lnTo>
                <a:close/>
                <a:moveTo>
                  <a:pt x="816" y="601"/>
                </a:moveTo>
                <a:lnTo>
                  <a:pt x="810" y="603"/>
                </a:lnTo>
                <a:lnTo>
                  <a:pt x="806" y="608"/>
                </a:lnTo>
                <a:lnTo>
                  <a:pt x="806" y="608"/>
                </a:lnTo>
                <a:lnTo>
                  <a:pt x="808" y="608"/>
                </a:lnTo>
                <a:lnTo>
                  <a:pt x="806" y="608"/>
                </a:lnTo>
                <a:lnTo>
                  <a:pt x="806" y="608"/>
                </a:lnTo>
                <a:lnTo>
                  <a:pt x="810" y="603"/>
                </a:lnTo>
                <a:lnTo>
                  <a:pt x="816" y="601"/>
                </a:lnTo>
                <a:close/>
                <a:moveTo>
                  <a:pt x="297" y="641"/>
                </a:moveTo>
                <a:lnTo>
                  <a:pt x="297" y="641"/>
                </a:lnTo>
                <a:lnTo>
                  <a:pt x="298" y="641"/>
                </a:lnTo>
                <a:lnTo>
                  <a:pt x="298" y="641"/>
                </a:lnTo>
                <a:lnTo>
                  <a:pt x="297" y="641"/>
                </a:lnTo>
                <a:close/>
                <a:moveTo>
                  <a:pt x="635" y="476"/>
                </a:move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7"/>
                </a:lnTo>
                <a:lnTo>
                  <a:pt x="635" y="477"/>
                </a:lnTo>
                <a:lnTo>
                  <a:pt x="639" y="477"/>
                </a:lnTo>
                <a:lnTo>
                  <a:pt x="644" y="477"/>
                </a:lnTo>
                <a:lnTo>
                  <a:pt x="650" y="473"/>
                </a:lnTo>
                <a:lnTo>
                  <a:pt x="658" y="470"/>
                </a:lnTo>
                <a:lnTo>
                  <a:pt x="664" y="470"/>
                </a:lnTo>
                <a:lnTo>
                  <a:pt x="671" y="473"/>
                </a:lnTo>
                <a:lnTo>
                  <a:pt x="688" y="481"/>
                </a:lnTo>
                <a:lnTo>
                  <a:pt x="706" y="489"/>
                </a:lnTo>
                <a:lnTo>
                  <a:pt x="725" y="497"/>
                </a:lnTo>
                <a:lnTo>
                  <a:pt x="743" y="504"/>
                </a:lnTo>
                <a:lnTo>
                  <a:pt x="757" y="509"/>
                </a:lnTo>
                <a:lnTo>
                  <a:pt x="771" y="513"/>
                </a:lnTo>
                <a:lnTo>
                  <a:pt x="784" y="519"/>
                </a:lnTo>
                <a:lnTo>
                  <a:pt x="798" y="524"/>
                </a:lnTo>
                <a:lnTo>
                  <a:pt x="808" y="530"/>
                </a:lnTo>
                <a:lnTo>
                  <a:pt x="817" y="533"/>
                </a:lnTo>
                <a:lnTo>
                  <a:pt x="813" y="529"/>
                </a:lnTo>
                <a:lnTo>
                  <a:pt x="809" y="526"/>
                </a:lnTo>
                <a:lnTo>
                  <a:pt x="804" y="524"/>
                </a:lnTo>
                <a:lnTo>
                  <a:pt x="798" y="523"/>
                </a:lnTo>
                <a:lnTo>
                  <a:pt x="797" y="522"/>
                </a:lnTo>
                <a:lnTo>
                  <a:pt x="797" y="519"/>
                </a:lnTo>
                <a:lnTo>
                  <a:pt x="796" y="517"/>
                </a:lnTo>
                <a:lnTo>
                  <a:pt x="795" y="515"/>
                </a:lnTo>
                <a:lnTo>
                  <a:pt x="794" y="515"/>
                </a:lnTo>
                <a:lnTo>
                  <a:pt x="794" y="513"/>
                </a:lnTo>
                <a:lnTo>
                  <a:pt x="794" y="512"/>
                </a:lnTo>
                <a:lnTo>
                  <a:pt x="794" y="512"/>
                </a:lnTo>
                <a:lnTo>
                  <a:pt x="795" y="498"/>
                </a:lnTo>
                <a:lnTo>
                  <a:pt x="797" y="484"/>
                </a:lnTo>
                <a:lnTo>
                  <a:pt x="799" y="474"/>
                </a:lnTo>
                <a:lnTo>
                  <a:pt x="803" y="464"/>
                </a:lnTo>
                <a:lnTo>
                  <a:pt x="806" y="460"/>
                </a:lnTo>
                <a:lnTo>
                  <a:pt x="811" y="456"/>
                </a:lnTo>
                <a:lnTo>
                  <a:pt x="816" y="454"/>
                </a:lnTo>
                <a:lnTo>
                  <a:pt x="822" y="452"/>
                </a:lnTo>
                <a:lnTo>
                  <a:pt x="827" y="449"/>
                </a:lnTo>
                <a:lnTo>
                  <a:pt x="833" y="447"/>
                </a:lnTo>
                <a:lnTo>
                  <a:pt x="838" y="443"/>
                </a:lnTo>
                <a:lnTo>
                  <a:pt x="844" y="440"/>
                </a:lnTo>
                <a:lnTo>
                  <a:pt x="849" y="436"/>
                </a:lnTo>
                <a:lnTo>
                  <a:pt x="852" y="431"/>
                </a:lnTo>
                <a:lnTo>
                  <a:pt x="852" y="431"/>
                </a:lnTo>
                <a:lnTo>
                  <a:pt x="853" y="429"/>
                </a:lnTo>
                <a:lnTo>
                  <a:pt x="864" y="420"/>
                </a:lnTo>
                <a:lnTo>
                  <a:pt x="874" y="408"/>
                </a:lnTo>
                <a:lnTo>
                  <a:pt x="879" y="404"/>
                </a:lnTo>
                <a:lnTo>
                  <a:pt x="882" y="398"/>
                </a:lnTo>
                <a:lnTo>
                  <a:pt x="889" y="384"/>
                </a:lnTo>
                <a:lnTo>
                  <a:pt x="896" y="371"/>
                </a:lnTo>
                <a:lnTo>
                  <a:pt x="905" y="358"/>
                </a:lnTo>
                <a:lnTo>
                  <a:pt x="913" y="345"/>
                </a:lnTo>
                <a:lnTo>
                  <a:pt x="918" y="334"/>
                </a:lnTo>
                <a:lnTo>
                  <a:pt x="921" y="322"/>
                </a:lnTo>
                <a:lnTo>
                  <a:pt x="922" y="309"/>
                </a:lnTo>
                <a:lnTo>
                  <a:pt x="923" y="298"/>
                </a:lnTo>
                <a:lnTo>
                  <a:pt x="923" y="288"/>
                </a:lnTo>
                <a:lnTo>
                  <a:pt x="922" y="278"/>
                </a:lnTo>
                <a:lnTo>
                  <a:pt x="920" y="267"/>
                </a:lnTo>
                <a:lnTo>
                  <a:pt x="919" y="258"/>
                </a:lnTo>
                <a:lnTo>
                  <a:pt x="919" y="256"/>
                </a:lnTo>
                <a:lnTo>
                  <a:pt x="916" y="253"/>
                </a:lnTo>
                <a:lnTo>
                  <a:pt x="916" y="253"/>
                </a:lnTo>
                <a:lnTo>
                  <a:pt x="915" y="247"/>
                </a:lnTo>
                <a:lnTo>
                  <a:pt x="915" y="242"/>
                </a:lnTo>
                <a:lnTo>
                  <a:pt x="914" y="232"/>
                </a:lnTo>
                <a:lnTo>
                  <a:pt x="912" y="224"/>
                </a:lnTo>
                <a:lnTo>
                  <a:pt x="908" y="216"/>
                </a:lnTo>
                <a:lnTo>
                  <a:pt x="902" y="209"/>
                </a:lnTo>
                <a:lnTo>
                  <a:pt x="899" y="205"/>
                </a:lnTo>
                <a:lnTo>
                  <a:pt x="895" y="201"/>
                </a:lnTo>
                <a:lnTo>
                  <a:pt x="891" y="194"/>
                </a:lnTo>
                <a:lnTo>
                  <a:pt x="885" y="187"/>
                </a:lnTo>
                <a:lnTo>
                  <a:pt x="879" y="180"/>
                </a:lnTo>
                <a:lnTo>
                  <a:pt x="872" y="174"/>
                </a:lnTo>
                <a:lnTo>
                  <a:pt x="864" y="167"/>
                </a:lnTo>
                <a:lnTo>
                  <a:pt x="854" y="162"/>
                </a:lnTo>
                <a:lnTo>
                  <a:pt x="844" y="159"/>
                </a:lnTo>
                <a:lnTo>
                  <a:pt x="833" y="158"/>
                </a:lnTo>
                <a:lnTo>
                  <a:pt x="831" y="158"/>
                </a:lnTo>
                <a:lnTo>
                  <a:pt x="829" y="156"/>
                </a:lnTo>
                <a:lnTo>
                  <a:pt x="826" y="156"/>
                </a:lnTo>
                <a:lnTo>
                  <a:pt x="825" y="154"/>
                </a:lnTo>
                <a:lnTo>
                  <a:pt x="825" y="154"/>
                </a:lnTo>
                <a:lnTo>
                  <a:pt x="825" y="154"/>
                </a:lnTo>
                <a:lnTo>
                  <a:pt x="825" y="153"/>
                </a:lnTo>
                <a:lnTo>
                  <a:pt x="825" y="153"/>
                </a:lnTo>
                <a:lnTo>
                  <a:pt x="825" y="154"/>
                </a:lnTo>
                <a:lnTo>
                  <a:pt x="825" y="154"/>
                </a:lnTo>
                <a:lnTo>
                  <a:pt x="822" y="154"/>
                </a:lnTo>
                <a:lnTo>
                  <a:pt x="819" y="153"/>
                </a:lnTo>
                <a:lnTo>
                  <a:pt x="817" y="152"/>
                </a:lnTo>
                <a:lnTo>
                  <a:pt x="815" y="149"/>
                </a:lnTo>
                <a:lnTo>
                  <a:pt x="813" y="147"/>
                </a:lnTo>
                <a:lnTo>
                  <a:pt x="811" y="146"/>
                </a:lnTo>
                <a:lnTo>
                  <a:pt x="809" y="146"/>
                </a:lnTo>
                <a:lnTo>
                  <a:pt x="806" y="147"/>
                </a:lnTo>
                <a:lnTo>
                  <a:pt x="806" y="148"/>
                </a:lnTo>
                <a:lnTo>
                  <a:pt x="806" y="148"/>
                </a:lnTo>
                <a:lnTo>
                  <a:pt x="806" y="148"/>
                </a:lnTo>
                <a:lnTo>
                  <a:pt x="806" y="147"/>
                </a:lnTo>
                <a:lnTo>
                  <a:pt x="806" y="147"/>
                </a:lnTo>
                <a:lnTo>
                  <a:pt x="806" y="147"/>
                </a:lnTo>
                <a:lnTo>
                  <a:pt x="805" y="147"/>
                </a:lnTo>
                <a:lnTo>
                  <a:pt x="805" y="145"/>
                </a:lnTo>
                <a:lnTo>
                  <a:pt x="805" y="142"/>
                </a:lnTo>
                <a:lnTo>
                  <a:pt x="806" y="141"/>
                </a:lnTo>
                <a:lnTo>
                  <a:pt x="809" y="140"/>
                </a:lnTo>
                <a:lnTo>
                  <a:pt x="805" y="140"/>
                </a:lnTo>
                <a:lnTo>
                  <a:pt x="803" y="139"/>
                </a:lnTo>
                <a:lnTo>
                  <a:pt x="799" y="139"/>
                </a:lnTo>
                <a:lnTo>
                  <a:pt x="797" y="140"/>
                </a:lnTo>
                <a:lnTo>
                  <a:pt x="795" y="140"/>
                </a:lnTo>
                <a:lnTo>
                  <a:pt x="792" y="141"/>
                </a:lnTo>
                <a:lnTo>
                  <a:pt x="790" y="141"/>
                </a:lnTo>
                <a:lnTo>
                  <a:pt x="787" y="141"/>
                </a:lnTo>
                <a:lnTo>
                  <a:pt x="776" y="146"/>
                </a:lnTo>
                <a:lnTo>
                  <a:pt x="767" y="151"/>
                </a:lnTo>
                <a:lnTo>
                  <a:pt x="756" y="155"/>
                </a:lnTo>
                <a:lnTo>
                  <a:pt x="747" y="161"/>
                </a:lnTo>
                <a:lnTo>
                  <a:pt x="740" y="166"/>
                </a:lnTo>
                <a:lnTo>
                  <a:pt x="733" y="172"/>
                </a:lnTo>
                <a:lnTo>
                  <a:pt x="728" y="179"/>
                </a:lnTo>
                <a:lnTo>
                  <a:pt x="725" y="186"/>
                </a:lnTo>
                <a:lnTo>
                  <a:pt x="722" y="190"/>
                </a:lnTo>
                <a:lnTo>
                  <a:pt x="720" y="195"/>
                </a:lnTo>
                <a:lnTo>
                  <a:pt x="720" y="196"/>
                </a:lnTo>
                <a:lnTo>
                  <a:pt x="720" y="197"/>
                </a:lnTo>
                <a:lnTo>
                  <a:pt x="723" y="197"/>
                </a:lnTo>
                <a:lnTo>
                  <a:pt x="728" y="197"/>
                </a:lnTo>
                <a:lnTo>
                  <a:pt x="730" y="197"/>
                </a:lnTo>
                <a:lnTo>
                  <a:pt x="733" y="198"/>
                </a:lnTo>
                <a:lnTo>
                  <a:pt x="730" y="197"/>
                </a:lnTo>
                <a:lnTo>
                  <a:pt x="728" y="197"/>
                </a:lnTo>
                <a:lnTo>
                  <a:pt x="723" y="197"/>
                </a:lnTo>
                <a:lnTo>
                  <a:pt x="720" y="197"/>
                </a:lnTo>
                <a:lnTo>
                  <a:pt x="720" y="197"/>
                </a:lnTo>
                <a:lnTo>
                  <a:pt x="720" y="196"/>
                </a:lnTo>
                <a:lnTo>
                  <a:pt x="720" y="195"/>
                </a:lnTo>
                <a:lnTo>
                  <a:pt x="718" y="196"/>
                </a:lnTo>
                <a:lnTo>
                  <a:pt x="715" y="198"/>
                </a:lnTo>
                <a:lnTo>
                  <a:pt x="713" y="200"/>
                </a:lnTo>
                <a:lnTo>
                  <a:pt x="711" y="202"/>
                </a:lnTo>
                <a:lnTo>
                  <a:pt x="712" y="204"/>
                </a:lnTo>
                <a:lnTo>
                  <a:pt x="713" y="204"/>
                </a:lnTo>
                <a:lnTo>
                  <a:pt x="714" y="204"/>
                </a:lnTo>
                <a:lnTo>
                  <a:pt x="715" y="204"/>
                </a:lnTo>
                <a:lnTo>
                  <a:pt x="718" y="205"/>
                </a:lnTo>
                <a:lnTo>
                  <a:pt x="719" y="209"/>
                </a:lnTo>
                <a:lnTo>
                  <a:pt x="718" y="210"/>
                </a:lnTo>
                <a:lnTo>
                  <a:pt x="714" y="210"/>
                </a:lnTo>
                <a:lnTo>
                  <a:pt x="711" y="211"/>
                </a:lnTo>
                <a:lnTo>
                  <a:pt x="708" y="212"/>
                </a:lnTo>
                <a:lnTo>
                  <a:pt x="706" y="215"/>
                </a:lnTo>
                <a:lnTo>
                  <a:pt x="704" y="218"/>
                </a:lnTo>
                <a:lnTo>
                  <a:pt x="698" y="230"/>
                </a:lnTo>
                <a:lnTo>
                  <a:pt x="691" y="242"/>
                </a:lnTo>
                <a:lnTo>
                  <a:pt x="684" y="245"/>
                </a:lnTo>
                <a:lnTo>
                  <a:pt x="677" y="250"/>
                </a:lnTo>
                <a:lnTo>
                  <a:pt x="674" y="252"/>
                </a:lnTo>
                <a:lnTo>
                  <a:pt x="672" y="254"/>
                </a:lnTo>
                <a:lnTo>
                  <a:pt x="671" y="259"/>
                </a:lnTo>
                <a:lnTo>
                  <a:pt x="670" y="264"/>
                </a:lnTo>
                <a:lnTo>
                  <a:pt x="668" y="272"/>
                </a:lnTo>
                <a:lnTo>
                  <a:pt x="665" y="280"/>
                </a:lnTo>
                <a:lnTo>
                  <a:pt x="661" y="287"/>
                </a:lnTo>
                <a:lnTo>
                  <a:pt x="656" y="294"/>
                </a:lnTo>
                <a:lnTo>
                  <a:pt x="649" y="303"/>
                </a:lnTo>
                <a:lnTo>
                  <a:pt x="644" y="313"/>
                </a:lnTo>
                <a:lnTo>
                  <a:pt x="640" y="323"/>
                </a:lnTo>
                <a:lnTo>
                  <a:pt x="640" y="335"/>
                </a:lnTo>
                <a:lnTo>
                  <a:pt x="639" y="335"/>
                </a:lnTo>
                <a:lnTo>
                  <a:pt x="639" y="336"/>
                </a:lnTo>
                <a:lnTo>
                  <a:pt x="637" y="337"/>
                </a:lnTo>
                <a:lnTo>
                  <a:pt x="636" y="340"/>
                </a:lnTo>
                <a:lnTo>
                  <a:pt x="636" y="342"/>
                </a:lnTo>
                <a:lnTo>
                  <a:pt x="635" y="344"/>
                </a:lnTo>
                <a:lnTo>
                  <a:pt x="632" y="350"/>
                </a:lnTo>
                <a:lnTo>
                  <a:pt x="630" y="357"/>
                </a:lnTo>
                <a:lnTo>
                  <a:pt x="629" y="369"/>
                </a:lnTo>
                <a:lnTo>
                  <a:pt x="627" y="382"/>
                </a:lnTo>
                <a:lnTo>
                  <a:pt x="626" y="393"/>
                </a:lnTo>
                <a:lnTo>
                  <a:pt x="625" y="405"/>
                </a:lnTo>
                <a:lnTo>
                  <a:pt x="625" y="407"/>
                </a:lnTo>
                <a:lnTo>
                  <a:pt x="625" y="408"/>
                </a:lnTo>
                <a:lnTo>
                  <a:pt x="625" y="408"/>
                </a:lnTo>
                <a:lnTo>
                  <a:pt x="625" y="408"/>
                </a:lnTo>
                <a:lnTo>
                  <a:pt x="625" y="410"/>
                </a:lnTo>
                <a:lnTo>
                  <a:pt x="625" y="410"/>
                </a:lnTo>
                <a:lnTo>
                  <a:pt x="625" y="414"/>
                </a:lnTo>
                <a:lnTo>
                  <a:pt x="626" y="418"/>
                </a:lnTo>
                <a:lnTo>
                  <a:pt x="629" y="421"/>
                </a:lnTo>
                <a:lnTo>
                  <a:pt x="630" y="425"/>
                </a:lnTo>
                <a:lnTo>
                  <a:pt x="631" y="428"/>
                </a:lnTo>
                <a:lnTo>
                  <a:pt x="632" y="431"/>
                </a:lnTo>
                <a:lnTo>
                  <a:pt x="635" y="433"/>
                </a:lnTo>
                <a:lnTo>
                  <a:pt x="638" y="434"/>
                </a:lnTo>
                <a:lnTo>
                  <a:pt x="644" y="439"/>
                </a:lnTo>
                <a:lnTo>
                  <a:pt x="649" y="445"/>
                </a:lnTo>
                <a:lnTo>
                  <a:pt x="651" y="438"/>
                </a:lnTo>
                <a:lnTo>
                  <a:pt x="651" y="429"/>
                </a:lnTo>
                <a:lnTo>
                  <a:pt x="651" y="428"/>
                </a:lnTo>
                <a:lnTo>
                  <a:pt x="651" y="427"/>
                </a:lnTo>
                <a:lnTo>
                  <a:pt x="650" y="424"/>
                </a:lnTo>
                <a:lnTo>
                  <a:pt x="650" y="420"/>
                </a:lnTo>
                <a:lnTo>
                  <a:pt x="651" y="415"/>
                </a:lnTo>
                <a:lnTo>
                  <a:pt x="652" y="411"/>
                </a:lnTo>
                <a:lnTo>
                  <a:pt x="652" y="408"/>
                </a:lnTo>
                <a:lnTo>
                  <a:pt x="654" y="407"/>
                </a:lnTo>
                <a:lnTo>
                  <a:pt x="659" y="405"/>
                </a:lnTo>
                <a:lnTo>
                  <a:pt x="661" y="403"/>
                </a:lnTo>
                <a:lnTo>
                  <a:pt x="661" y="398"/>
                </a:lnTo>
                <a:lnTo>
                  <a:pt x="660" y="393"/>
                </a:lnTo>
                <a:lnTo>
                  <a:pt x="658" y="396"/>
                </a:lnTo>
                <a:lnTo>
                  <a:pt x="657" y="398"/>
                </a:lnTo>
                <a:lnTo>
                  <a:pt x="657" y="399"/>
                </a:lnTo>
                <a:lnTo>
                  <a:pt x="657" y="401"/>
                </a:lnTo>
                <a:lnTo>
                  <a:pt x="657" y="403"/>
                </a:lnTo>
                <a:lnTo>
                  <a:pt x="654" y="403"/>
                </a:lnTo>
                <a:lnTo>
                  <a:pt x="652" y="400"/>
                </a:lnTo>
                <a:lnTo>
                  <a:pt x="652" y="397"/>
                </a:lnTo>
                <a:lnTo>
                  <a:pt x="653" y="391"/>
                </a:lnTo>
                <a:lnTo>
                  <a:pt x="654" y="386"/>
                </a:lnTo>
                <a:lnTo>
                  <a:pt x="652" y="377"/>
                </a:lnTo>
                <a:lnTo>
                  <a:pt x="652" y="368"/>
                </a:lnTo>
                <a:lnTo>
                  <a:pt x="652" y="368"/>
                </a:lnTo>
                <a:lnTo>
                  <a:pt x="652" y="368"/>
                </a:lnTo>
                <a:lnTo>
                  <a:pt x="652" y="368"/>
                </a:lnTo>
                <a:lnTo>
                  <a:pt x="652" y="368"/>
                </a:lnTo>
                <a:lnTo>
                  <a:pt x="654" y="368"/>
                </a:lnTo>
                <a:lnTo>
                  <a:pt x="656" y="366"/>
                </a:lnTo>
                <a:lnTo>
                  <a:pt x="659" y="366"/>
                </a:lnTo>
                <a:lnTo>
                  <a:pt x="661" y="368"/>
                </a:lnTo>
                <a:lnTo>
                  <a:pt x="665" y="371"/>
                </a:lnTo>
                <a:lnTo>
                  <a:pt x="668" y="371"/>
                </a:lnTo>
                <a:lnTo>
                  <a:pt x="672" y="370"/>
                </a:lnTo>
                <a:lnTo>
                  <a:pt x="675" y="369"/>
                </a:lnTo>
                <a:lnTo>
                  <a:pt x="678" y="365"/>
                </a:lnTo>
                <a:lnTo>
                  <a:pt x="681" y="362"/>
                </a:lnTo>
                <a:lnTo>
                  <a:pt x="682" y="358"/>
                </a:lnTo>
                <a:lnTo>
                  <a:pt x="684" y="354"/>
                </a:lnTo>
                <a:lnTo>
                  <a:pt x="688" y="340"/>
                </a:lnTo>
                <a:lnTo>
                  <a:pt x="693" y="327"/>
                </a:lnTo>
                <a:lnTo>
                  <a:pt x="694" y="324"/>
                </a:lnTo>
                <a:lnTo>
                  <a:pt x="694" y="324"/>
                </a:lnTo>
                <a:lnTo>
                  <a:pt x="695" y="324"/>
                </a:lnTo>
                <a:lnTo>
                  <a:pt x="698" y="324"/>
                </a:lnTo>
                <a:lnTo>
                  <a:pt x="698" y="328"/>
                </a:lnTo>
                <a:lnTo>
                  <a:pt x="698" y="331"/>
                </a:lnTo>
                <a:lnTo>
                  <a:pt x="695" y="338"/>
                </a:lnTo>
                <a:lnTo>
                  <a:pt x="695" y="345"/>
                </a:lnTo>
                <a:lnTo>
                  <a:pt x="695" y="347"/>
                </a:lnTo>
                <a:lnTo>
                  <a:pt x="694" y="348"/>
                </a:lnTo>
                <a:lnTo>
                  <a:pt x="692" y="354"/>
                </a:lnTo>
                <a:lnTo>
                  <a:pt x="691" y="359"/>
                </a:lnTo>
                <a:lnTo>
                  <a:pt x="691" y="359"/>
                </a:lnTo>
                <a:lnTo>
                  <a:pt x="691" y="361"/>
                </a:lnTo>
                <a:lnTo>
                  <a:pt x="689" y="363"/>
                </a:lnTo>
                <a:lnTo>
                  <a:pt x="689" y="365"/>
                </a:lnTo>
                <a:lnTo>
                  <a:pt x="689" y="376"/>
                </a:lnTo>
                <a:lnTo>
                  <a:pt x="689" y="386"/>
                </a:lnTo>
                <a:lnTo>
                  <a:pt x="689" y="392"/>
                </a:lnTo>
                <a:lnTo>
                  <a:pt x="689" y="397"/>
                </a:lnTo>
                <a:lnTo>
                  <a:pt x="689" y="401"/>
                </a:lnTo>
                <a:lnTo>
                  <a:pt x="691" y="406"/>
                </a:lnTo>
                <a:lnTo>
                  <a:pt x="684" y="418"/>
                </a:lnTo>
                <a:lnTo>
                  <a:pt x="679" y="429"/>
                </a:lnTo>
                <a:lnTo>
                  <a:pt x="678" y="431"/>
                </a:lnTo>
                <a:lnTo>
                  <a:pt x="675" y="432"/>
                </a:lnTo>
                <a:lnTo>
                  <a:pt x="673" y="433"/>
                </a:lnTo>
                <a:lnTo>
                  <a:pt x="671" y="431"/>
                </a:lnTo>
                <a:lnTo>
                  <a:pt x="667" y="428"/>
                </a:lnTo>
                <a:lnTo>
                  <a:pt x="664" y="427"/>
                </a:lnTo>
                <a:lnTo>
                  <a:pt x="661" y="429"/>
                </a:lnTo>
                <a:lnTo>
                  <a:pt x="659" y="433"/>
                </a:lnTo>
                <a:lnTo>
                  <a:pt x="654" y="442"/>
                </a:lnTo>
                <a:lnTo>
                  <a:pt x="650" y="452"/>
                </a:lnTo>
                <a:lnTo>
                  <a:pt x="646" y="461"/>
                </a:lnTo>
                <a:lnTo>
                  <a:pt x="643" y="470"/>
                </a:lnTo>
                <a:lnTo>
                  <a:pt x="642" y="474"/>
                </a:lnTo>
                <a:lnTo>
                  <a:pt x="640" y="476"/>
                </a:lnTo>
                <a:lnTo>
                  <a:pt x="638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close/>
                <a:moveTo>
                  <a:pt x="528" y="481"/>
                </a:moveTo>
                <a:lnTo>
                  <a:pt x="528" y="480"/>
                </a:lnTo>
                <a:lnTo>
                  <a:pt x="528" y="481"/>
                </a:lnTo>
                <a:lnTo>
                  <a:pt x="528" y="481"/>
                </a:lnTo>
                <a:lnTo>
                  <a:pt x="528" y="481"/>
                </a:lnTo>
                <a:lnTo>
                  <a:pt x="528" y="481"/>
                </a:lnTo>
                <a:close/>
                <a:moveTo>
                  <a:pt x="438" y="1580"/>
                </a:moveTo>
                <a:lnTo>
                  <a:pt x="438" y="1580"/>
                </a:lnTo>
                <a:lnTo>
                  <a:pt x="439" y="1580"/>
                </a:lnTo>
                <a:lnTo>
                  <a:pt x="438" y="1580"/>
                </a:lnTo>
                <a:lnTo>
                  <a:pt x="438" y="1579"/>
                </a:lnTo>
                <a:lnTo>
                  <a:pt x="438" y="1580"/>
                </a:lnTo>
                <a:lnTo>
                  <a:pt x="438" y="1580"/>
                </a:lnTo>
                <a:lnTo>
                  <a:pt x="438" y="1580"/>
                </a:lnTo>
                <a:close/>
                <a:moveTo>
                  <a:pt x="445" y="1400"/>
                </a:moveTo>
                <a:lnTo>
                  <a:pt x="444" y="1402"/>
                </a:lnTo>
                <a:lnTo>
                  <a:pt x="445" y="1403"/>
                </a:lnTo>
                <a:lnTo>
                  <a:pt x="445" y="1402"/>
                </a:lnTo>
                <a:lnTo>
                  <a:pt x="445" y="1400"/>
                </a:lnTo>
                <a:close/>
                <a:moveTo>
                  <a:pt x="470" y="1089"/>
                </a:moveTo>
                <a:lnTo>
                  <a:pt x="470" y="1089"/>
                </a:lnTo>
                <a:lnTo>
                  <a:pt x="470" y="1089"/>
                </a:lnTo>
                <a:lnTo>
                  <a:pt x="470" y="1089"/>
                </a:lnTo>
                <a:lnTo>
                  <a:pt x="470" y="1089"/>
                </a:lnTo>
                <a:lnTo>
                  <a:pt x="470" y="1089"/>
                </a:lnTo>
                <a:close/>
                <a:moveTo>
                  <a:pt x="287" y="638"/>
                </a:moveTo>
                <a:lnTo>
                  <a:pt x="288" y="639"/>
                </a:lnTo>
                <a:lnTo>
                  <a:pt x="291" y="641"/>
                </a:lnTo>
                <a:lnTo>
                  <a:pt x="292" y="641"/>
                </a:lnTo>
                <a:lnTo>
                  <a:pt x="293" y="639"/>
                </a:lnTo>
                <a:lnTo>
                  <a:pt x="291" y="638"/>
                </a:lnTo>
                <a:lnTo>
                  <a:pt x="287" y="638"/>
                </a:lnTo>
                <a:close/>
                <a:moveTo>
                  <a:pt x="664" y="386"/>
                </a:moveTo>
                <a:lnTo>
                  <a:pt x="665" y="386"/>
                </a:lnTo>
                <a:lnTo>
                  <a:pt x="665" y="385"/>
                </a:lnTo>
                <a:lnTo>
                  <a:pt x="665" y="384"/>
                </a:lnTo>
                <a:lnTo>
                  <a:pt x="664" y="383"/>
                </a:lnTo>
                <a:lnTo>
                  <a:pt x="663" y="384"/>
                </a:lnTo>
                <a:lnTo>
                  <a:pt x="661" y="385"/>
                </a:lnTo>
                <a:lnTo>
                  <a:pt x="663" y="386"/>
                </a:lnTo>
                <a:lnTo>
                  <a:pt x="664" y="386"/>
                </a:lnTo>
                <a:close/>
                <a:moveTo>
                  <a:pt x="460" y="1222"/>
                </a:moveTo>
                <a:lnTo>
                  <a:pt x="459" y="1216"/>
                </a:lnTo>
                <a:lnTo>
                  <a:pt x="458" y="1211"/>
                </a:lnTo>
                <a:lnTo>
                  <a:pt x="454" y="1217"/>
                </a:lnTo>
                <a:lnTo>
                  <a:pt x="453" y="1222"/>
                </a:lnTo>
                <a:lnTo>
                  <a:pt x="454" y="1225"/>
                </a:lnTo>
                <a:lnTo>
                  <a:pt x="458" y="1229"/>
                </a:lnTo>
                <a:lnTo>
                  <a:pt x="460" y="1228"/>
                </a:lnTo>
                <a:lnTo>
                  <a:pt x="461" y="1225"/>
                </a:lnTo>
                <a:lnTo>
                  <a:pt x="461" y="1224"/>
                </a:lnTo>
                <a:lnTo>
                  <a:pt x="460" y="1222"/>
                </a:lnTo>
                <a:close/>
                <a:moveTo>
                  <a:pt x="536" y="490"/>
                </a:moveTo>
                <a:lnTo>
                  <a:pt x="543" y="489"/>
                </a:lnTo>
                <a:lnTo>
                  <a:pt x="548" y="487"/>
                </a:lnTo>
                <a:lnTo>
                  <a:pt x="553" y="483"/>
                </a:lnTo>
                <a:lnTo>
                  <a:pt x="557" y="482"/>
                </a:lnTo>
                <a:lnTo>
                  <a:pt x="563" y="482"/>
                </a:lnTo>
                <a:lnTo>
                  <a:pt x="568" y="483"/>
                </a:lnTo>
                <a:lnTo>
                  <a:pt x="564" y="481"/>
                </a:lnTo>
                <a:lnTo>
                  <a:pt x="561" y="480"/>
                </a:lnTo>
                <a:lnTo>
                  <a:pt x="557" y="480"/>
                </a:lnTo>
                <a:lnTo>
                  <a:pt x="553" y="480"/>
                </a:lnTo>
                <a:lnTo>
                  <a:pt x="543" y="482"/>
                </a:lnTo>
                <a:lnTo>
                  <a:pt x="533" y="483"/>
                </a:lnTo>
                <a:lnTo>
                  <a:pt x="532" y="487"/>
                </a:lnTo>
                <a:lnTo>
                  <a:pt x="533" y="489"/>
                </a:lnTo>
                <a:lnTo>
                  <a:pt x="535" y="490"/>
                </a:lnTo>
                <a:lnTo>
                  <a:pt x="536" y="490"/>
                </a:lnTo>
                <a:close/>
                <a:moveTo>
                  <a:pt x="454" y="1230"/>
                </a:moveTo>
                <a:lnTo>
                  <a:pt x="453" y="1235"/>
                </a:lnTo>
                <a:lnTo>
                  <a:pt x="452" y="1238"/>
                </a:lnTo>
                <a:lnTo>
                  <a:pt x="451" y="1240"/>
                </a:lnTo>
                <a:lnTo>
                  <a:pt x="451" y="1243"/>
                </a:lnTo>
                <a:lnTo>
                  <a:pt x="451" y="1244"/>
                </a:lnTo>
                <a:lnTo>
                  <a:pt x="452" y="1246"/>
                </a:lnTo>
                <a:lnTo>
                  <a:pt x="458" y="1254"/>
                </a:lnTo>
                <a:lnTo>
                  <a:pt x="464" y="1263"/>
                </a:lnTo>
                <a:lnTo>
                  <a:pt x="467" y="1266"/>
                </a:lnTo>
                <a:lnTo>
                  <a:pt x="470" y="1270"/>
                </a:lnTo>
                <a:lnTo>
                  <a:pt x="474" y="1272"/>
                </a:lnTo>
                <a:lnTo>
                  <a:pt x="479" y="1274"/>
                </a:lnTo>
                <a:lnTo>
                  <a:pt x="471" y="1264"/>
                </a:lnTo>
                <a:lnTo>
                  <a:pt x="463" y="1253"/>
                </a:lnTo>
                <a:lnTo>
                  <a:pt x="460" y="1247"/>
                </a:lnTo>
                <a:lnTo>
                  <a:pt x="457" y="1243"/>
                </a:lnTo>
                <a:lnTo>
                  <a:pt x="456" y="1236"/>
                </a:lnTo>
                <a:lnTo>
                  <a:pt x="454" y="1230"/>
                </a:lnTo>
                <a:close/>
                <a:moveTo>
                  <a:pt x="647" y="358"/>
                </a:moveTo>
                <a:lnTo>
                  <a:pt x="647" y="362"/>
                </a:lnTo>
                <a:lnTo>
                  <a:pt x="649" y="366"/>
                </a:lnTo>
                <a:lnTo>
                  <a:pt x="647" y="379"/>
                </a:lnTo>
                <a:lnTo>
                  <a:pt x="647" y="392"/>
                </a:lnTo>
                <a:lnTo>
                  <a:pt x="647" y="405"/>
                </a:lnTo>
                <a:lnTo>
                  <a:pt x="647" y="418"/>
                </a:lnTo>
                <a:lnTo>
                  <a:pt x="647" y="405"/>
                </a:lnTo>
                <a:lnTo>
                  <a:pt x="647" y="392"/>
                </a:lnTo>
                <a:lnTo>
                  <a:pt x="647" y="379"/>
                </a:lnTo>
                <a:lnTo>
                  <a:pt x="649" y="366"/>
                </a:lnTo>
                <a:lnTo>
                  <a:pt x="647" y="362"/>
                </a:lnTo>
                <a:lnTo>
                  <a:pt x="647" y="358"/>
                </a:lnTo>
                <a:close/>
                <a:moveTo>
                  <a:pt x="657" y="330"/>
                </a:moveTo>
                <a:lnTo>
                  <a:pt x="656" y="336"/>
                </a:lnTo>
                <a:lnTo>
                  <a:pt x="654" y="341"/>
                </a:lnTo>
                <a:lnTo>
                  <a:pt x="656" y="336"/>
                </a:lnTo>
                <a:lnTo>
                  <a:pt x="657" y="330"/>
                </a:lnTo>
                <a:close/>
                <a:moveTo>
                  <a:pt x="657" y="327"/>
                </a:moveTo>
                <a:lnTo>
                  <a:pt x="657" y="328"/>
                </a:lnTo>
                <a:lnTo>
                  <a:pt x="658" y="329"/>
                </a:lnTo>
                <a:lnTo>
                  <a:pt x="658" y="329"/>
                </a:lnTo>
                <a:lnTo>
                  <a:pt x="657" y="328"/>
                </a:lnTo>
                <a:lnTo>
                  <a:pt x="657" y="327"/>
                </a:lnTo>
                <a:close/>
                <a:moveTo>
                  <a:pt x="671" y="299"/>
                </a:moveTo>
                <a:lnTo>
                  <a:pt x="673" y="298"/>
                </a:lnTo>
                <a:lnTo>
                  <a:pt x="675" y="299"/>
                </a:lnTo>
                <a:lnTo>
                  <a:pt x="677" y="300"/>
                </a:lnTo>
                <a:lnTo>
                  <a:pt x="677" y="301"/>
                </a:lnTo>
                <a:lnTo>
                  <a:pt x="677" y="300"/>
                </a:lnTo>
                <a:lnTo>
                  <a:pt x="675" y="299"/>
                </a:lnTo>
                <a:lnTo>
                  <a:pt x="673" y="298"/>
                </a:lnTo>
                <a:lnTo>
                  <a:pt x="671" y="299"/>
                </a:lnTo>
                <a:lnTo>
                  <a:pt x="671" y="295"/>
                </a:lnTo>
                <a:lnTo>
                  <a:pt x="671" y="292"/>
                </a:lnTo>
                <a:lnTo>
                  <a:pt x="671" y="295"/>
                </a:lnTo>
                <a:lnTo>
                  <a:pt x="671" y="299"/>
                </a:lnTo>
                <a:close/>
                <a:moveTo>
                  <a:pt x="674" y="343"/>
                </a:moveTo>
                <a:lnTo>
                  <a:pt x="675" y="343"/>
                </a:lnTo>
                <a:lnTo>
                  <a:pt x="674" y="344"/>
                </a:lnTo>
                <a:lnTo>
                  <a:pt x="675" y="343"/>
                </a:lnTo>
                <a:lnTo>
                  <a:pt x="674" y="343"/>
                </a:lnTo>
                <a:lnTo>
                  <a:pt x="675" y="342"/>
                </a:lnTo>
                <a:lnTo>
                  <a:pt x="675" y="341"/>
                </a:lnTo>
                <a:lnTo>
                  <a:pt x="675" y="342"/>
                </a:lnTo>
                <a:lnTo>
                  <a:pt x="674" y="343"/>
                </a:lnTo>
                <a:close/>
                <a:moveTo>
                  <a:pt x="672" y="347"/>
                </a:moveTo>
                <a:lnTo>
                  <a:pt x="672" y="347"/>
                </a:lnTo>
                <a:lnTo>
                  <a:pt x="672" y="347"/>
                </a:lnTo>
                <a:close/>
                <a:moveTo>
                  <a:pt x="716" y="200"/>
                </a:moveTo>
                <a:lnTo>
                  <a:pt x="719" y="200"/>
                </a:lnTo>
                <a:lnTo>
                  <a:pt x="720" y="198"/>
                </a:lnTo>
                <a:lnTo>
                  <a:pt x="719" y="200"/>
                </a:lnTo>
                <a:lnTo>
                  <a:pt x="716" y="200"/>
                </a:lnTo>
                <a:close/>
                <a:moveTo>
                  <a:pt x="750" y="172"/>
                </a:moveTo>
                <a:lnTo>
                  <a:pt x="750" y="172"/>
                </a:lnTo>
                <a:lnTo>
                  <a:pt x="750" y="172"/>
                </a:lnTo>
                <a:lnTo>
                  <a:pt x="750" y="172"/>
                </a:lnTo>
                <a:close/>
                <a:moveTo>
                  <a:pt x="769" y="180"/>
                </a:moveTo>
                <a:lnTo>
                  <a:pt x="768" y="181"/>
                </a:lnTo>
                <a:lnTo>
                  <a:pt x="767" y="181"/>
                </a:lnTo>
                <a:lnTo>
                  <a:pt x="768" y="181"/>
                </a:lnTo>
                <a:lnTo>
                  <a:pt x="769" y="180"/>
                </a:lnTo>
                <a:close/>
                <a:moveTo>
                  <a:pt x="797" y="212"/>
                </a:moveTo>
                <a:lnTo>
                  <a:pt x="797" y="212"/>
                </a:lnTo>
                <a:lnTo>
                  <a:pt x="797" y="212"/>
                </a:lnTo>
                <a:lnTo>
                  <a:pt x="797" y="212"/>
                </a:lnTo>
                <a:lnTo>
                  <a:pt x="797" y="210"/>
                </a:lnTo>
                <a:lnTo>
                  <a:pt x="796" y="208"/>
                </a:lnTo>
                <a:lnTo>
                  <a:pt x="797" y="210"/>
                </a:lnTo>
                <a:lnTo>
                  <a:pt x="797" y="212"/>
                </a:lnTo>
                <a:close/>
                <a:moveTo>
                  <a:pt x="806" y="149"/>
                </a:moveTo>
                <a:lnTo>
                  <a:pt x="806" y="151"/>
                </a:lnTo>
                <a:lnTo>
                  <a:pt x="806" y="153"/>
                </a:lnTo>
                <a:lnTo>
                  <a:pt x="806" y="151"/>
                </a:lnTo>
                <a:lnTo>
                  <a:pt x="806" y="149"/>
                </a:lnTo>
                <a:close/>
                <a:moveTo>
                  <a:pt x="693" y="412"/>
                </a:moveTo>
                <a:lnTo>
                  <a:pt x="693" y="412"/>
                </a:lnTo>
                <a:lnTo>
                  <a:pt x="693" y="412"/>
                </a:lnTo>
                <a:lnTo>
                  <a:pt x="693" y="412"/>
                </a:lnTo>
                <a:lnTo>
                  <a:pt x="693" y="412"/>
                </a:lnTo>
                <a:lnTo>
                  <a:pt x="693" y="411"/>
                </a:lnTo>
                <a:lnTo>
                  <a:pt x="693" y="410"/>
                </a:lnTo>
                <a:lnTo>
                  <a:pt x="693" y="411"/>
                </a:lnTo>
                <a:lnTo>
                  <a:pt x="693" y="412"/>
                </a:lnTo>
                <a:close/>
                <a:moveTo>
                  <a:pt x="467" y="1138"/>
                </a:moveTo>
                <a:lnTo>
                  <a:pt x="470" y="1137"/>
                </a:lnTo>
                <a:lnTo>
                  <a:pt x="472" y="1134"/>
                </a:lnTo>
                <a:lnTo>
                  <a:pt x="475" y="1130"/>
                </a:lnTo>
                <a:lnTo>
                  <a:pt x="477" y="1125"/>
                </a:lnTo>
                <a:lnTo>
                  <a:pt x="477" y="1119"/>
                </a:lnTo>
                <a:lnTo>
                  <a:pt x="477" y="1114"/>
                </a:lnTo>
                <a:lnTo>
                  <a:pt x="477" y="1098"/>
                </a:lnTo>
                <a:lnTo>
                  <a:pt x="475" y="1082"/>
                </a:lnTo>
                <a:lnTo>
                  <a:pt x="475" y="1077"/>
                </a:lnTo>
                <a:lnTo>
                  <a:pt x="474" y="1074"/>
                </a:lnTo>
                <a:lnTo>
                  <a:pt x="471" y="1070"/>
                </a:lnTo>
                <a:lnTo>
                  <a:pt x="470" y="1067"/>
                </a:lnTo>
                <a:lnTo>
                  <a:pt x="470" y="1062"/>
                </a:lnTo>
                <a:lnTo>
                  <a:pt x="470" y="1057"/>
                </a:lnTo>
                <a:lnTo>
                  <a:pt x="468" y="1048"/>
                </a:lnTo>
                <a:lnTo>
                  <a:pt x="467" y="1040"/>
                </a:lnTo>
                <a:lnTo>
                  <a:pt x="468" y="1051"/>
                </a:lnTo>
                <a:lnTo>
                  <a:pt x="468" y="1063"/>
                </a:lnTo>
                <a:lnTo>
                  <a:pt x="470" y="1075"/>
                </a:lnTo>
                <a:lnTo>
                  <a:pt x="471" y="1086"/>
                </a:lnTo>
                <a:lnTo>
                  <a:pt x="472" y="1091"/>
                </a:lnTo>
                <a:lnTo>
                  <a:pt x="471" y="1095"/>
                </a:lnTo>
                <a:lnTo>
                  <a:pt x="471" y="1096"/>
                </a:lnTo>
                <a:lnTo>
                  <a:pt x="470" y="1095"/>
                </a:lnTo>
                <a:lnTo>
                  <a:pt x="470" y="1095"/>
                </a:lnTo>
                <a:lnTo>
                  <a:pt x="470" y="1093"/>
                </a:lnTo>
                <a:lnTo>
                  <a:pt x="470" y="1105"/>
                </a:lnTo>
                <a:lnTo>
                  <a:pt x="468" y="1116"/>
                </a:lnTo>
                <a:lnTo>
                  <a:pt x="467" y="1127"/>
                </a:lnTo>
                <a:lnTo>
                  <a:pt x="467" y="1138"/>
                </a:lnTo>
                <a:close/>
                <a:moveTo>
                  <a:pt x="438" y="1577"/>
                </a:moveTo>
                <a:lnTo>
                  <a:pt x="439" y="1568"/>
                </a:lnTo>
                <a:lnTo>
                  <a:pt x="439" y="1559"/>
                </a:lnTo>
                <a:lnTo>
                  <a:pt x="438" y="1551"/>
                </a:lnTo>
                <a:lnTo>
                  <a:pt x="437" y="1542"/>
                </a:lnTo>
                <a:lnTo>
                  <a:pt x="436" y="1526"/>
                </a:lnTo>
                <a:lnTo>
                  <a:pt x="436" y="1512"/>
                </a:lnTo>
                <a:lnTo>
                  <a:pt x="437" y="1500"/>
                </a:lnTo>
                <a:lnTo>
                  <a:pt x="438" y="1486"/>
                </a:lnTo>
                <a:lnTo>
                  <a:pt x="438" y="1473"/>
                </a:lnTo>
                <a:lnTo>
                  <a:pt x="439" y="1460"/>
                </a:lnTo>
                <a:lnTo>
                  <a:pt x="435" y="1477"/>
                </a:lnTo>
                <a:lnTo>
                  <a:pt x="431" y="1494"/>
                </a:lnTo>
                <a:lnTo>
                  <a:pt x="431" y="1514"/>
                </a:lnTo>
                <a:lnTo>
                  <a:pt x="431" y="1532"/>
                </a:lnTo>
                <a:lnTo>
                  <a:pt x="433" y="1551"/>
                </a:lnTo>
                <a:lnTo>
                  <a:pt x="436" y="1570"/>
                </a:lnTo>
                <a:lnTo>
                  <a:pt x="437" y="1574"/>
                </a:lnTo>
                <a:lnTo>
                  <a:pt x="438" y="1577"/>
                </a:lnTo>
                <a:close/>
                <a:moveTo>
                  <a:pt x="266" y="439"/>
                </a:moveTo>
                <a:lnTo>
                  <a:pt x="266" y="439"/>
                </a:lnTo>
                <a:lnTo>
                  <a:pt x="266" y="439"/>
                </a:lnTo>
                <a:lnTo>
                  <a:pt x="266" y="440"/>
                </a:lnTo>
                <a:lnTo>
                  <a:pt x="265" y="441"/>
                </a:lnTo>
                <a:lnTo>
                  <a:pt x="264" y="442"/>
                </a:lnTo>
                <a:lnTo>
                  <a:pt x="261" y="443"/>
                </a:lnTo>
                <a:lnTo>
                  <a:pt x="263" y="441"/>
                </a:lnTo>
                <a:lnTo>
                  <a:pt x="263" y="440"/>
                </a:lnTo>
                <a:lnTo>
                  <a:pt x="264" y="439"/>
                </a:lnTo>
                <a:lnTo>
                  <a:pt x="266" y="439"/>
                </a:lnTo>
                <a:lnTo>
                  <a:pt x="266" y="436"/>
                </a:lnTo>
                <a:lnTo>
                  <a:pt x="267" y="435"/>
                </a:lnTo>
                <a:lnTo>
                  <a:pt x="267" y="438"/>
                </a:lnTo>
                <a:lnTo>
                  <a:pt x="266" y="439"/>
                </a:lnTo>
                <a:lnTo>
                  <a:pt x="266" y="439"/>
                </a:lnTo>
                <a:lnTo>
                  <a:pt x="266" y="439"/>
                </a:lnTo>
                <a:lnTo>
                  <a:pt x="266" y="439"/>
                </a:lnTo>
                <a:close/>
                <a:moveTo>
                  <a:pt x="240" y="103"/>
                </a:moveTo>
                <a:lnTo>
                  <a:pt x="236" y="106"/>
                </a:lnTo>
                <a:lnTo>
                  <a:pt x="231" y="111"/>
                </a:lnTo>
                <a:lnTo>
                  <a:pt x="229" y="116"/>
                </a:lnTo>
                <a:lnTo>
                  <a:pt x="228" y="120"/>
                </a:lnTo>
                <a:lnTo>
                  <a:pt x="228" y="125"/>
                </a:lnTo>
                <a:lnTo>
                  <a:pt x="229" y="130"/>
                </a:lnTo>
                <a:lnTo>
                  <a:pt x="228" y="125"/>
                </a:lnTo>
                <a:lnTo>
                  <a:pt x="228" y="120"/>
                </a:lnTo>
                <a:lnTo>
                  <a:pt x="229" y="116"/>
                </a:lnTo>
                <a:lnTo>
                  <a:pt x="231" y="111"/>
                </a:lnTo>
                <a:lnTo>
                  <a:pt x="236" y="106"/>
                </a:lnTo>
                <a:lnTo>
                  <a:pt x="240" y="103"/>
                </a:lnTo>
                <a:close/>
                <a:moveTo>
                  <a:pt x="264" y="478"/>
                </a:moveTo>
                <a:lnTo>
                  <a:pt x="263" y="474"/>
                </a:lnTo>
                <a:lnTo>
                  <a:pt x="264" y="468"/>
                </a:lnTo>
                <a:lnTo>
                  <a:pt x="263" y="474"/>
                </a:lnTo>
                <a:lnTo>
                  <a:pt x="264" y="478"/>
                </a:lnTo>
                <a:lnTo>
                  <a:pt x="264" y="478"/>
                </a:lnTo>
                <a:close/>
                <a:moveTo>
                  <a:pt x="288" y="632"/>
                </a:moveTo>
                <a:lnTo>
                  <a:pt x="285" y="630"/>
                </a:lnTo>
                <a:lnTo>
                  <a:pt x="280" y="627"/>
                </a:lnTo>
                <a:lnTo>
                  <a:pt x="277" y="623"/>
                </a:lnTo>
                <a:lnTo>
                  <a:pt x="273" y="620"/>
                </a:lnTo>
                <a:lnTo>
                  <a:pt x="271" y="616"/>
                </a:lnTo>
                <a:lnTo>
                  <a:pt x="268" y="613"/>
                </a:lnTo>
                <a:lnTo>
                  <a:pt x="266" y="603"/>
                </a:lnTo>
                <a:lnTo>
                  <a:pt x="266" y="593"/>
                </a:lnTo>
                <a:lnTo>
                  <a:pt x="267" y="579"/>
                </a:lnTo>
                <a:lnTo>
                  <a:pt x="268" y="565"/>
                </a:lnTo>
                <a:lnTo>
                  <a:pt x="270" y="562"/>
                </a:lnTo>
                <a:lnTo>
                  <a:pt x="270" y="560"/>
                </a:lnTo>
                <a:lnTo>
                  <a:pt x="271" y="554"/>
                </a:lnTo>
                <a:lnTo>
                  <a:pt x="273" y="548"/>
                </a:lnTo>
                <a:lnTo>
                  <a:pt x="274" y="547"/>
                </a:lnTo>
                <a:lnTo>
                  <a:pt x="277" y="546"/>
                </a:lnTo>
                <a:lnTo>
                  <a:pt x="281" y="536"/>
                </a:lnTo>
                <a:lnTo>
                  <a:pt x="288" y="526"/>
                </a:lnTo>
                <a:lnTo>
                  <a:pt x="294" y="517"/>
                </a:lnTo>
                <a:lnTo>
                  <a:pt x="299" y="506"/>
                </a:lnTo>
                <a:lnTo>
                  <a:pt x="304" y="496"/>
                </a:lnTo>
                <a:lnTo>
                  <a:pt x="308" y="484"/>
                </a:lnTo>
                <a:lnTo>
                  <a:pt x="308" y="483"/>
                </a:lnTo>
                <a:lnTo>
                  <a:pt x="308" y="482"/>
                </a:lnTo>
                <a:lnTo>
                  <a:pt x="313" y="480"/>
                </a:lnTo>
                <a:lnTo>
                  <a:pt x="315" y="477"/>
                </a:lnTo>
                <a:lnTo>
                  <a:pt x="316" y="474"/>
                </a:lnTo>
                <a:lnTo>
                  <a:pt x="318" y="470"/>
                </a:lnTo>
                <a:lnTo>
                  <a:pt x="318" y="469"/>
                </a:lnTo>
                <a:lnTo>
                  <a:pt x="318" y="468"/>
                </a:lnTo>
                <a:lnTo>
                  <a:pt x="320" y="468"/>
                </a:lnTo>
                <a:lnTo>
                  <a:pt x="321" y="467"/>
                </a:lnTo>
                <a:lnTo>
                  <a:pt x="322" y="464"/>
                </a:lnTo>
                <a:lnTo>
                  <a:pt x="322" y="462"/>
                </a:lnTo>
                <a:lnTo>
                  <a:pt x="322" y="462"/>
                </a:lnTo>
                <a:lnTo>
                  <a:pt x="322" y="461"/>
                </a:lnTo>
                <a:lnTo>
                  <a:pt x="325" y="461"/>
                </a:lnTo>
                <a:lnTo>
                  <a:pt x="326" y="461"/>
                </a:lnTo>
                <a:lnTo>
                  <a:pt x="332" y="455"/>
                </a:lnTo>
                <a:lnTo>
                  <a:pt x="337" y="450"/>
                </a:lnTo>
                <a:lnTo>
                  <a:pt x="346" y="449"/>
                </a:lnTo>
                <a:lnTo>
                  <a:pt x="354" y="448"/>
                </a:lnTo>
                <a:lnTo>
                  <a:pt x="352" y="447"/>
                </a:lnTo>
                <a:lnTo>
                  <a:pt x="349" y="446"/>
                </a:lnTo>
                <a:lnTo>
                  <a:pt x="340" y="446"/>
                </a:lnTo>
                <a:lnTo>
                  <a:pt x="332" y="447"/>
                </a:lnTo>
                <a:lnTo>
                  <a:pt x="328" y="448"/>
                </a:lnTo>
                <a:lnTo>
                  <a:pt x="325" y="449"/>
                </a:lnTo>
                <a:lnTo>
                  <a:pt x="321" y="453"/>
                </a:lnTo>
                <a:lnTo>
                  <a:pt x="318" y="456"/>
                </a:lnTo>
                <a:lnTo>
                  <a:pt x="314" y="460"/>
                </a:lnTo>
                <a:lnTo>
                  <a:pt x="312" y="462"/>
                </a:lnTo>
                <a:lnTo>
                  <a:pt x="308" y="466"/>
                </a:lnTo>
                <a:lnTo>
                  <a:pt x="307" y="470"/>
                </a:lnTo>
                <a:lnTo>
                  <a:pt x="305" y="470"/>
                </a:lnTo>
                <a:lnTo>
                  <a:pt x="305" y="473"/>
                </a:lnTo>
                <a:lnTo>
                  <a:pt x="298" y="483"/>
                </a:lnTo>
                <a:lnTo>
                  <a:pt x="291" y="494"/>
                </a:lnTo>
                <a:lnTo>
                  <a:pt x="283" y="504"/>
                </a:lnTo>
                <a:lnTo>
                  <a:pt x="276" y="516"/>
                </a:lnTo>
                <a:lnTo>
                  <a:pt x="276" y="509"/>
                </a:lnTo>
                <a:lnTo>
                  <a:pt x="278" y="502"/>
                </a:lnTo>
                <a:lnTo>
                  <a:pt x="280" y="496"/>
                </a:lnTo>
                <a:lnTo>
                  <a:pt x="283" y="490"/>
                </a:lnTo>
                <a:lnTo>
                  <a:pt x="290" y="483"/>
                </a:lnTo>
                <a:lnTo>
                  <a:pt x="295" y="475"/>
                </a:lnTo>
                <a:lnTo>
                  <a:pt x="305" y="463"/>
                </a:lnTo>
                <a:lnTo>
                  <a:pt x="315" y="450"/>
                </a:lnTo>
                <a:lnTo>
                  <a:pt x="321" y="447"/>
                </a:lnTo>
                <a:lnTo>
                  <a:pt x="327" y="443"/>
                </a:lnTo>
                <a:lnTo>
                  <a:pt x="322" y="442"/>
                </a:lnTo>
                <a:lnTo>
                  <a:pt x="318" y="441"/>
                </a:lnTo>
                <a:lnTo>
                  <a:pt x="314" y="442"/>
                </a:lnTo>
                <a:lnTo>
                  <a:pt x="311" y="443"/>
                </a:lnTo>
                <a:lnTo>
                  <a:pt x="305" y="449"/>
                </a:lnTo>
                <a:lnTo>
                  <a:pt x="300" y="457"/>
                </a:lnTo>
                <a:lnTo>
                  <a:pt x="293" y="469"/>
                </a:lnTo>
                <a:lnTo>
                  <a:pt x="286" y="482"/>
                </a:lnTo>
                <a:lnTo>
                  <a:pt x="286" y="477"/>
                </a:lnTo>
                <a:lnTo>
                  <a:pt x="286" y="475"/>
                </a:lnTo>
                <a:lnTo>
                  <a:pt x="286" y="471"/>
                </a:lnTo>
                <a:lnTo>
                  <a:pt x="286" y="469"/>
                </a:lnTo>
                <a:lnTo>
                  <a:pt x="288" y="467"/>
                </a:lnTo>
                <a:lnTo>
                  <a:pt x="290" y="466"/>
                </a:lnTo>
                <a:lnTo>
                  <a:pt x="290" y="463"/>
                </a:lnTo>
                <a:lnTo>
                  <a:pt x="290" y="461"/>
                </a:lnTo>
                <a:lnTo>
                  <a:pt x="291" y="460"/>
                </a:lnTo>
                <a:lnTo>
                  <a:pt x="291" y="460"/>
                </a:lnTo>
                <a:lnTo>
                  <a:pt x="294" y="453"/>
                </a:lnTo>
                <a:lnTo>
                  <a:pt x="299" y="447"/>
                </a:lnTo>
                <a:lnTo>
                  <a:pt x="299" y="446"/>
                </a:lnTo>
                <a:lnTo>
                  <a:pt x="299" y="443"/>
                </a:lnTo>
                <a:lnTo>
                  <a:pt x="297" y="443"/>
                </a:lnTo>
                <a:lnTo>
                  <a:pt x="294" y="445"/>
                </a:lnTo>
                <a:lnTo>
                  <a:pt x="290" y="452"/>
                </a:lnTo>
                <a:lnTo>
                  <a:pt x="286" y="460"/>
                </a:lnTo>
                <a:lnTo>
                  <a:pt x="279" y="476"/>
                </a:lnTo>
                <a:lnTo>
                  <a:pt x="274" y="492"/>
                </a:lnTo>
                <a:lnTo>
                  <a:pt x="271" y="510"/>
                </a:lnTo>
                <a:lnTo>
                  <a:pt x="266" y="526"/>
                </a:lnTo>
                <a:lnTo>
                  <a:pt x="263" y="547"/>
                </a:lnTo>
                <a:lnTo>
                  <a:pt x="260" y="568"/>
                </a:lnTo>
                <a:lnTo>
                  <a:pt x="259" y="589"/>
                </a:lnTo>
                <a:lnTo>
                  <a:pt x="259" y="610"/>
                </a:lnTo>
                <a:lnTo>
                  <a:pt x="260" y="616"/>
                </a:lnTo>
                <a:lnTo>
                  <a:pt x="261" y="622"/>
                </a:lnTo>
                <a:lnTo>
                  <a:pt x="261" y="624"/>
                </a:lnTo>
                <a:lnTo>
                  <a:pt x="264" y="627"/>
                </a:lnTo>
                <a:lnTo>
                  <a:pt x="266" y="628"/>
                </a:lnTo>
                <a:lnTo>
                  <a:pt x="270" y="629"/>
                </a:lnTo>
                <a:lnTo>
                  <a:pt x="268" y="628"/>
                </a:lnTo>
                <a:lnTo>
                  <a:pt x="268" y="625"/>
                </a:lnTo>
                <a:lnTo>
                  <a:pt x="271" y="625"/>
                </a:lnTo>
                <a:lnTo>
                  <a:pt x="273" y="628"/>
                </a:lnTo>
                <a:lnTo>
                  <a:pt x="273" y="628"/>
                </a:lnTo>
                <a:lnTo>
                  <a:pt x="274" y="628"/>
                </a:lnTo>
                <a:lnTo>
                  <a:pt x="273" y="628"/>
                </a:lnTo>
                <a:lnTo>
                  <a:pt x="273" y="628"/>
                </a:lnTo>
                <a:lnTo>
                  <a:pt x="271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66" y="630"/>
                </a:lnTo>
                <a:lnTo>
                  <a:pt x="263" y="631"/>
                </a:lnTo>
                <a:lnTo>
                  <a:pt x="258" y="629"/>
                </a:lnTo>
                <a:lnTo>
                  <a:pt x="254" y="627"/>
                </a:lnTo>
                <a:lnTo>
                  <a:pt x="250" y="623"/>
                </a:lnTo>
                <a:lnTo>
                  <a:pt x="246" y="617"/>
                </a:lnTo>
                <a:lnTo>
                  <a:pt x="245" y="611"/>
                </a:lnTo>
                <a:lnTo>
                  <a:pt x="245" y="606"/>
                </a:lnTo>
                <a:lnTo>
                  <a:pt x="246" y="604"/>
                </a:lnTo>
                <a:lnTo>
                  <a:pt x="249" y="604"/>
                </a:lnTo>
                <a:lnTo>
                  <a:pt x="251" y="606"/>
                </a:lnTo>
                <a:lnTo>
                  <a:pt x="251" y="604"/>
                </a:lnTo>
                <a:lnTo>
                  <a:pt x="251" y="603"/>
                </a:lnTo>
                <a:lnTo>
                  <a:pt x="251" y="602"/>
                </a:lnTo>
                <a:lnTo>
                  <a:pt x="251" y="596"/>
                </a:lnTo>
                <a:lnTo>
                  <a:pt x="250" y="592"/>
                </a:lnTo>
                <a:lnTo>
                  <a:pt x="250" y="592"/>
                </a:lnTo>
                <a:lnTo>
                  <a:pt x="249" y="585"/>
                </a:lnTo>
                <a:lnTo>
                  <a:pt x="249" y="579"/>
                </a:lnTo>
                <a:lnTo>
                  <a:pt x="251" y="579"/>
                </a:lnTo>
                <a:lnTo>
                  <a:pt x="252" y="578"/>
                </a:lnTo>
                <a:lnTo>
                  <a:pt x="253" y="576"/>
                </a:lnTo>
                <a:lnTo>
                  <a:pt x="254" y="574"/>
                </a:lnTo>
                <a:lnTo>
                  <a:pt x="256" y="560"/>
                </a:lnTo>
                <a:lnTo>
                  <a:pt x="257" y="545"/>
                </a:lnTo>
                <a:lnTo>
                  <a:pt x="257" y="544"/>
                </a:lnTo>
                <a:lnTo>
                  <a:pt x="257" y="543"/>
                </a:lnTo>
                <a:lnTo>
                  <a:pt x="259" y="533"/>
                </a:lnTo>
                <a:lnTo>
                  <a:pt x="259" y="524"/>
                </a:lnTo>
                <a:lnTo>
                  <a:pt x="259" y="519"/>
                </a:lnTo>
                <a:lnTo>
                  <a:pt x="259" y="513"/>
                </a:lnTo>
                <a:lnTo>
                  <a:pt x="260" y="513"/>
                </a:lnTo>
                <a:lnTo>
                  <a:pt x="261" y="511"/>
                </a:lnTo>
                <a:lnTo>
                  <a:pt x="265" y="503"/>
                </a:lnTo>
                <a:lnTo>
                  <a:pt x="267" y="494"/>
                </a:lnTo>
                <a:lnTo>
                  <a:pt x="270" y="484"/>
                </a:lnTo>
                <a:lnTo>
                  <a:pt x="272" y="475"/>
                </a:lnTo>
                <a:lnTo>
                  <a:pt x="274" y="468"/>
                </a:lnTo>
                <a:lnTo>
                  <a:pt x="276" y="462"/>
                </a:lnTo>
                <a:lnTo>
                  <a:pt x="276" y="456"/>
                </a:lnTo>
                <a:lnTo>
                  <a:pt x="277" y="450"/>
                </a:lnTo>
                <a:lnTo>
                  <a:pt x="278" y="446"/>
                </a:lnTo>
                <a:lnTo>
                  <a:pt x="279" y="440"/>
                </a:lnTo>
                <a:lnTo>
                  <a:pt x="280" y="439"/>
                </a:lnTo>
                <a:lnTo>
                  <a:pt x="280" y="436"/>
                </a:lnTo>
                <a:lnTo>
                  <a:pt x="279" y="434"/>
                </a:lnTo>
                <a:lnTo>
                  <a:pt x="278" y="433"/>
                </a:lnTo>
                <a:lnTo>
                  <a:pt x="276" y="433"/>
                </a:lnTo>
                <a:lnTo>
                  <a:pt x="273" y="433"/>
                </a:lnTo>
                <a:lnTo>
                  <a:pt x="272" y="434"/>
                </a:lnTo>
                <a:lnTo>
                  <a:pt x="271" y="435"/>
                </a:lnTo>
                <a:lnTo>
                  <a:pt x="270" y="435"/>
                </a:lnTo>
                <a:lnTo>
                  <a:pt x="268" y="435"/>
                </a:lnTo>
                <a:lnTo>
                  <a:pt x="270" y="433"/>
                </a:lnTo>
                <a:lnTo>
                  <a:pt x="272" y="429"/>
                </a:lnTo>
                <a:lnTo>
                  <a:pt x="257" y="424"/>
                </a:lnTo>
                <a:lnTo>
                  <a:pt x="240" y="417"/>
                </a:lnTo>
                <a:lnTo>
                  <a:pt x="225" y="411"/>
                </a:lnTo>
                <a:lnTo>
                  <a:pt x="209" y="405"/>
                </a:lnTo>
                <a:lnTo>
                  <a:pt x="198" y="401"/>
                </a:lnTo>
                <a:lnTo>
                  <a:pt x="188" y="398"/>
                </a:lnTo>
                <a:lnTo>
                  <a:pt x="177" y="397"/>
                </a:lnTo>
                <a:lnTo>
                  <a:pt x="167" y="396"/>
                </a:lnTo>
                <a:lnTo>
                  <a:pt x="164" y="394"/>
                </a:lnTo>
                <a:lnTo>
                  <a:pt x="162" y="394"/>
                </a:lnTo>
                <a:lnTo>
                  <a:pt x="160" y="393"/>
                </a:lnTo>
                <a:lnTo>
                  <a:pt x="160" y="390"/>
                </a:lnTo>
                <a:lnTo>
                  <a:pt x="161" y="376"/>
                </a:lnTo>
                <a:lnTo>
                  <a:pt x="162" y="363"/>
                </a:lnTo>
                <a:lnTo>
                  <a:pt x="163" y="349"/>
                </a:lnTo>
                <a:lnTo>
                  <a:pt x="166" y="336"/>
                </a:lnTo>
                <a:lnTo>
                  <a:pt x="170" y="323"/>
                </a:lnTo>
                <a:lnTo>
                  <a:pt x="174" y="309"/>
                </a:lnTo>
                <a:lnTo>
                  <a:pt x="177" y="295"/>
                </a:lnTo>
                <a:lnTo>
                  <a:pt x="181" y="282"/>
                </a:lnTo>
                <a:lnTo>
                  <a:pt x="183" y="274"/>
                </a:lnTo>
                <a:lnTo>
                  <a:pt x="182" y="270"/>
                </a:lnTo>
                <a:lnTo>
                  <a:pt x="180" y="265"/>
                </a:lnTo>
                <a:lnTo>
                  <a:pt x="180" y="260"/>
                </a:lnTo>
                <a:lnTo>
                  <a:pt x="181" y="257"/>
                </a:lnTo>
                <a:lnTo>
                  <a:pt x="183" y="254"/>
                </a:lnTo>
                <a:lnTo>
                  <a:pt x="188" y="247"/>
                </a:lnTo>
                <a:lnTo>
                  <a:pt x="191" y="242"/>
                </a:lnTo>
                <a:lnTo>
                  <a:pt x="192" y="233"/>
                </a:lnTo>
                <a:lnTo>
                  <a:pt x="195" y="226"/>
                </a:lnTo>
                <a:lnTo>
                  <a:pt x="204" y="203"/>
                </a:lnTo>
                <a:lnTo>
                  <a:pt x="215" y="180"/>
                </a:lnTo>
                <a:lnTo>
                  <a:pt x="226" y="158"/>
                </a:lnTo>
                <a:lnTo>
                  <a:pt x="240" y="137"/>
                </a:lnTo>
                <a:lnTo>
                  <a:pt x="244" y="133"/>
                </a:lnTo>
                <a:lnTo>
                  <a:pt x="246" y="130"/>
                </a:lnTo>
                <a:lnTo>
                  <a:pt x="251" y="128"/>
                </a:lnTo>
                <a:lnTo>
                  <a:pt x="256" y="127"/>
                </a:lnTo>
                <a:lnTo>
                  <a:pt x="268" y="127"/>
                </a:lnTo>
                <a:lnTo>
                  <a:pt x="281" y="126"/>
                </a:lnTo>
                <a:lnTo>
                  <a:pt x="295" y="125"/>
                </a:lnTo>
                <a:lnTo>
                  <a:pt x="308" y="124"/>
                </a:lnTo>
                <a:lnTo>
                  <a:pt x="314" y="124"/>
                </a:lnTo>
                <a:lnTo>
                  <a:pt x="318" y="121"/>
                </a:lnTo>
                <a:lnTo>
                  <a:pt x="322" y="119"/>
                </a:lnTo>
                <a:lnTo>
                  <a:pt x="326" y="116"/>
                </a:lnTo>
                <a:lnTo>
                  <a:pt x="336" y="102"/>
                </a:lnTo>
                <a:lnTo>
                  <a:pt x="347" y="89"/>
                </a:lnTo>
                <a:lnTo>
                  <a:pt x="349" y="84"/>
                </a:lnTo>
                <a:lnTo>
                  <a:pt x="350" y="79"/>
                </a:lnTo>
                <a:lnTo>
                  <a:pt x="349" y="75"/>
                </a:lnTo>
                <a:lnTo>
                  <a:pt x="346" y="71"/>
                </a:lnTo>
                <a:lnTo>
                  <a:pt x="345" y="68"/>
                </a:lnTo>
                <a:lnTo>
                  <a:pt x="345" y="64"/>
                </a:lnTo>
                <a:lnTo>
                  <a:pt x="346" y="60"/>
                </a:lnTo>
                <a:lnTo>
                  <a:pt x="345" y="55"/>
                </a:lnTo>
                <a:lnTo>
                  <a:pt x="343" y="50"/>
                </a:lnTo>
                <a:lnTo>
                  <a:pt x="341" y="46"/>
                </a:lnTo>
                <a:lnTo>
                  <a:pt x="332" y="36"/>
                </a:lnTo>
                <a:lnTo>
                  <a:pt x="322" y="28"/>
                </a:lnTo>
                <a:lnTo>
                  <a:pt x="316" y="23"/>
                </a:lnTo>
                <a:lnTo>
                  <a:pt x="311" y="20"/>
                </a:lnTo>
                <a:lnTo>
                  <a:pt x="308" y="16"/>
                </a:lnTo>
                <a:lnTo>
                  <a:pt x="307" y="12"/>
                </a:lnTo>
                <a:lnTo>
                  <a:pt x="304" y="8"/>
                </a:lnTo>
                <a:lnTo>
                  <a:pt x="300" y="5"/>
                </a:lnTo>
                <a:lnTo>
                  <a:pt x="299" y="4"/>
                </a:lnTo>
                <a:lnTo>
                  <a:pt x="298" y="4"/>
                </a:lnTo>
                <a:lnTo>
                  <a:pt x="297" y="4"/>
                </a:lnTo>
                <a:lnTo>
                  <a:pt x="295" y="5"/>
                </a:lnTo>
                <a:lnTo>
                  <a:pt x="288" y="6"/>
                </a:lnTo>
                <a:lnTo>
                  <a:pt x="281" y="7"/>
                </a:lnTo>
                <a:lnTo>
                  <a:pt x="279" y="5"/>
                </a:lnTo>
                <a:lnTo>
                  <a:pt x="277" y="2"/>
                </a:lnTo>
                <a:lnTo>
                  <a:pt x="273" y="0"/>
                </a:lnTo>
                <a:lnTo>
                  <a:pt x="271" y="0"/>
                </a:lnTo>
                <a:lnTo>
                  <a:pt x="267" y="1"/>
                </a:lnTo>
                <a:lnTo>
                  <a:pt x="265" y="2"/>
                </a:lnTo>
                <a:lnTo>
                  <a:pt x="261" y="5"/>
                </a:lnTo>
                <a:lnTo>
                  <a:pt x="257" y="5"/>
                </a:lnTo>
                <a:lnTo>
                  <a:pt x="253" y="4"/>
                </a:lnTo>
                <a:lnTo>
                  <a:pt x="249" y="4"/>
                </a:lnTo>
                <a:lnTo>
                  <a:pt x="245" y="6"/>
                </a:lnTo>
                <a:lnTo>
                  <a:pt x="243" y="7"/>
                </a:lnTo>
                <a:lnTo>
                  <a:pt x="235" y="14"/>
                </a:lnTo>
                <a:lnTo>
                  <a:pt x="226" y="19"/>
                </a:lnTo>
                <a:lnTo>
                  <a:pt x="218" y="25"/>
                </a:lnTo>
                <a:lnTo>
                  <a:pt x="210" y="32"/>
                </a:lnTo>
                <a:lnTo>
                  <a:pt x="203" y="37"/>
                </a:lnTo>
                <a:lnTo>
                  <a:pt x="196" y="44"/>
                </a:lnTo>
                <a:lnTo>
                  <a:pt x="190" y="53"/>
                </a:lnTo>
                <a:lnTo>
                  <a:pt x="184" y="61"/>
                </a:lnTo>
                <a:lnTo>
                  <a:pt x="180" y="70"/>
                </a:lnTo>
                <a:lnTo>
                  <a:pt x="176" y="81"/>
                </a:lnTo>
                <a:lnTo>
                  <a:pt x="170" y="96"/>
                </a:lnTo>
                <a:lnTo>
                  <a:pt x="163" y="110"/>
                </a:lnTo>
                <a:lnTo>
                  <a:pt x="155" y="125"/>
                </a:lnTo>
                <a:lnTo>
                  <a:pt x="146" y="138"/>
                </a:lnTo>
                <a:lnTo>
                  <a:pt x="135" y="153"/>
                </a:lnTo>
                <a:lnTo>
                  <a:pt x="123" y="168"/>
                </a:lnTo>
                <a:lnTo>
                  <a:pt x="113" y="183"/>
                </a:lnTo>
                <a:lnTo>
                  <a:pt x="102" y="198"/>
                </a:lnTo>
                <a:lnTo>
                  <a:pt x="102" y="198"/>
                </a:lnTo>
                <a:lnTo>
                  <a:pt x="102" y="200"/>
                </a:lnTo>
                <a:lnTo>
                  <a:pt x="99" y="203"/>
                </a:lnTo>
                <a:lnTo>
                  <a:pt x="99" y="204"/>
                </a:lnTo>
                <a:lnTo>
                  <a:pt x="98" y="204"/>
                </a:lnTo>
                <a:lnTo>
                  <a:pt x="98" y="205"/>
                </a:lnTo>
                <a:lnTo>
                  <a:pt x="98" y="205"/>
                </a:lnTo>
                <a:lnTo>
                  <a:pt x="88" y="219"/>
                </a:lnTo>
                <a:lnTo>
                  <a:pt x="77" y="239"/>
                </a:lnTo>
                <a:lnTo>
                  <a:pt x="63" y="263"/>
                </a:lnTo>
                <a:lnTo>
                  <a:pt x="47" y="289"/>
                </a:lnTo>
                <a:lnTo>
                  <a:pt x="33" y="317"/>
                </a:lnTo>
                <a:lnTo>
                  <a:pt x="19" y="347"/>
                </a:lnTo>
                <a:lnTo>
                  <a:pt x="14" y="361"/>
                </a:lnTo>
                <a:lnTo>
                  <a:pt x="9" y="375"/>
                </a:lnTo>
                <a:lnTo>
                  <a:pt x="4" y="389"/>
                </a:lnTo>
                <a:lnTo>
                  <a:pt x="2" y="401"/>
                </a:lnTo>
                <a:lnTo>
                  <a:pt x="0" y="414"/>
                </a:lnTo>
                <a:lnTo>
                  <a:pt x="0" y="425"/>
                </a:lnTo>
                <a:lnTo>
                  <a:pt x="1" y="434"/>
                </a:lnTo>
                <a:lnTo>
                  <a:pt x="2" y="441"/>
                </a:lnTo>
                <a:lnTo>
                  <a:pt x="2" y="442"/>
                </a:lnTo>
                <a:lnTo>
                  <a:pt x="2" y="442"/>
                </a:lnTo>
                <a:lnTo>
                  <a:pt x="3" y="445"/>
                </a:lnTo>
                <a:lnTo>
                  <a:pt x="4" y="446"/>
                </a:lnTo>
                <a:lnTo>
                  <a:pt x="7" y="450"/>
                </a:lnTo>
                <a:lnTo>
                  <a:pt x="10" y="455"/>
                </a:lnTo>
                <a:lnTo>
                  <a:pt x="14" y="459"/>
                </a:lnTo>
                <a:lnTo>
                  <a:pt x="19" y="461"/>
                </a:lnTo>
                <a:lnTo>
                  <a:pt x="23" y="463"/>
                </a:lnTo>
                <a:lnTo>
                  <a:pt x="28" y="466"/>
                </a:lnTo>
                <a:lnTo>
                  <a:pt x="30" y="469"/>
                </a:lnTo>
                <a:lnTo>
                  <a:pt x="33" y="471"/>
                </a:lnTo>
                <a:lnTo>
                  <a:pt x="43" y="481"/>
                </a:lnTo>
                <a:lnTo>
                  <a:pt x="52" y="490"/>
                </a:lnTo>
                <a:lnTo>
                  <a:pt x="63" y="498"/>
                </a:lnTo>
                <a:lnTo>
                  <a:pt x="73" y="506"/>
                </a:lnTo>
                <a:lnTo>
                  <a:pt x="83" y="513"/>
                </a:lnTo>
                <a:lnTo>
                  <a:pt x="93" y="522"/>
                </a:lnTo>
                <a:lnTo>
                  <a:pt x="102" y="530"/>
                </a:lnTo>
                <a:lnTo>
                  <a:pt x="112" y="538"/>
                </a:lnTo>
                <a:lnTo>
                  <a:pt x="121" y="545"/>
                </a:lnTo>
                <a:lnTo>
                  <a:pt x="131" y="552"/>
                </a:lnTo>
                <a:lnTo>
                  <a:pt x="139" y="559"/>
                </a:lnTo>
                <a:lnTo>
                  <a:pt x="148" y="566"/>
                </a:lnTo>
                <a:lnTo>
                  <a:pt x="152" y="571"/>
                </a:lnTo>
                <a:lnTo>
                  <a:pt x="156" y="574"/>
                </a:lnTo>
                <a:lnTo>
                  <a:pt x="168" y="582"/>
                </a:lnTo>
                <a:lnTo>
                  <a:pt x="180" y="589"/>
                </a:lnTo>
                <a:lnTo>
                  <a:pt x="191" y="596"/>
                </a:lnTo>
                <a:lnTo>
                  <a:pt x="203" y="603"/>
                </a:lnTo>
                <a:lnTo>
                  <a:pt x="210" y="607"/>
                </a:lnTo>
                <a:lnTo>
                  <a:pt x="217" y="610"/>
                </a:lnTo>
                <a:lnTo>
                  <a:pt x="224" y="613"/>
                </a:lnTo>
                <a:lnTo>
                  <a:pt x="231" y="615"/>
                </a:lnTo>
                <a:lnTo>
                  <a:pt x="235" y="618"/>
                </a:lnTo>
                <a:lnTo>
                  <a:pt x="237" y="623"/>
                </a:lnTo>
                <a:lnTo>
                  <a:pt x="240" y="625"/>
                </a:lnTo>
                <a:lnTo>
                  <a:pt x="245" y="628"/>
                </a:lnTo>
                <a:lnTo>
                  <a:pt x="253" y="631"/>
                </a:lnTo>
                <a:lnTo>
                  <a:pt x="264" y="632"/>
                </a:lnTo>
                <a:lnTo>
                  <a:pt x="274" y="634"/>
                </a:lnTo>
                <a:lnTo>
                  <a:pt x="286" y="637"/>
                </a:lnTo>
                <a:lnTo>
                  <a:pt x="286" y="637"/>
                </a:lnTo>
                <a:lnTo>
                  <a:pt x="286" y="637"/>
                </a:lnTo>
                <a:lnTo>
                  <a:pt x="287" y="637"/>
                </a:lnTo>
                <a:lnTo>
                  <a:pt x="287" y="637"/>
                </a:lnTo>
                <a:lnTo>
                  <a:pt x="288" y="637"/>
                </a:lnTo>
                <a:lnTo>
                  <a:pt x="290" y="636"/>
                </a:lnTo>
                <a:lnTo>
                  <a:pt x="290" y="635"/>
                </a:lnTo>
                <a:lnTo>
                  <a:pt x="288" y="63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 dirty="0"/>
            </a:lvl1pPr>
          </a:lstStyle>
          <a:p>
            <a:pPr lvl="0" algn="ctr"/>
            <a:r>
              <a:rPr lang="en-US" sz="4799" dirty="0" err="1"/>
              <a:t>jgh</a:t>
            </a:r>
            <a:endParaRPr lang="en-US" sz="4799" dirty="0"/>
          </a:p>
        </p:txBody>
      </p:sp>
    </p:spTree>
    <p:extLst>
      <p:ext uri="{BB962C8B-B14F-4D97-AF65-F5344CB8AC3E}">
        <p14:creationId xmlns:p14="http://schemas.microsoft.com/office/powerpoint/2010/main" val="7428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Рисунок 1">
            <a:extLst>
              <a:ext uri="{FF2B5EF4-FFF2-40B4-BE49-F238E27FC236}">
                <a16:creationId xmlns:a16="http://schemas.microsoft.com/office/drawing/2014/main" id="{DD42FCB5-3FC1-9341-A397-21DB20432EED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 flipH="1">
            <a:off x="4836023" y="693013"/>
            <a:ext cx="7355183" cy="6164987"/>
          </a:xfrm>
          <a:custGeom>
            <a:avLst/>
            <a:gdLst>
              <a:gd name="T0" fmla="*/ 1926 w 2067"/>
              <a:gd name="T1" fmla="*/ 761 h 1564"/>
              <a:gd name="T2" fmla="*/ 1856 w 2067"/>
              <a:gd name="T3" fmla="*/ 787 h 1564"/>
              <a:gd name="T4" fmla="*/ 1762 w 2067"/>
              <a:gd name="T5" fmla="*/ 782 h 1564"/>
              <a:gd name="T6" fmla="*/ 1735 w 2067"/>
              <a:gd name="T7" fmla="*/ 464 h 1564"/>
              <a:gd name="T8" fmla="*/ 1708 w 2067"/>
              <a:gd name="T9" fmla="*/ 781 h 1564"/>
              <a:gd name="T10" fmla="*/ 1658 w 2067"/>
              <a:gd name="T11" fmla="*/ 576 h 1564"/>
              <a:gd name="T12" fmla="*/ 1596 w 2067"/>
              <a:gd name="T13" fmla="*/ 554 h 1564"/>
              <a:gd name="T14" fmla="*/ 1239 w 2067"/>
              <a:gd name="T15" fmla="*/ 664 h 1564"/>
              <a:gd name="T16" fmla="*/ 887 w 2067"/>
              <a:gd name="T17" fmla="*/ 930 h 1564"/>
              <a:gd name="T18" fmla="*/ 809 w 2067"/>
              <a:gd name="T19" fmla="*/ 815 h 1564"/>
              <a:gd name="T20" fmla="*/ 763 w 2067"/>
              <a:gd name="T21" fmla="*/ 1083 h 1564"/>
              <a:gd name="T22" fmla="*/ 395 w 2067"/>
              <a:gd name="T23" fmla="*/ 1212 h 1564"/>
              <a:gd name="T24" fmla="*/ 946 w 2067"/>
              <a:gd name="T25" fmla="*/ 589 h 1564"/>
              <a:gd name="T26" fmla="*/ 635 w 2067"/>
              <a:gd name="T27" fmla="*/ 443 h 1564"/>
              <a:gd name="T28" fmla="*/ 510 w 2067"/>
              <a:gd name="T29" fmla="*/ 90 h 1564"/>
              <a:gd name="T30" fmla="*/ 446 w 2067"/>
              <a:gd name="T31" fmla="*/ 67 h 1564"/>
              <a:gd name="T32" fmla="*/ 592 w 2067"/>
              <a:gd name="T33" fmla="*/ 144 h 1564"/>
              <a:gd name="T34" fmla="*/ 628 w 2067"/>
              <a:gd name="T35" fmla="*/ 121 h 1564"/>
              <a:gd name="T36" fmla="*/ 412 w 2067"/>
              <a:gd name="T37" fmla="*/ 81 h 1564"/>
              <a:gd name="T38" fmla="*/ 479 w 2067"/>
              <a:gd name="T39" fmla="*/ 77 h 1564"/>
              <a:gd name="T40" fmla="*/ 549 w 2067"/>
              <a:gd name="T41" fmla="*/ 23 h 1564"/>
              <a:gd name="T42" fmla="*/ 668 w 2067"/>
              <a:gd name="T43" fmla="*/ 83 h 1564"/>
              <a:gd name="T44" fmla="*/ 664 w 2067"/>
              <a:gd name="T45" fmla="*/ 210 h 1564"/>
              <a:gd name="T46" fmla="*/ 407 w 2067"/>
              <a:gd name="T47" fmla="*/ 545 h 1564"/>
              <a:gd name="T48" fmla="*/ 389 w 2067"/>
              <a:gd name="T49" fmla="*/ 511 h 1564"/>
              <a:gd name="T50" fmla="*/ 243 w 2067"/>
              <a:gd name="T51" fmla="*/ 843 h 1564"/>
              <a:gd name="T52" fmla="*/ 251 w 2067"/>
              <a:gd name="T53" fmla="*/ 875 h 1564"/>
              <a:gd name="T54" fmla="*/ 317 w 2067"/>
              <a:gd name="T55" fmla="*/ 473 h 1564"/>
              <a:gd name="T56" fmla="*/ 168 w 2067"/>
              <a:gd name="T57" fmla="*/ 895 h 1564"/>
              <a:gd name="T58" fmla="*/ 140 w 2067"/>
              <a:gd name="T59" fmla="*/ 841 h 1564"/>
              <a:gd name="T60" fmla="*/ 45 w 2067"/>
              <a:gd name="T61" fmla="*/ 1046 h 1564"/>
              <a:gd name="T62" fmla="*/ 401 w 2067"/>
              <a:gd name="T63" fmla="*/ 183 h 1564"/>
              <a:gd name="T64" fmla="*/ 1720 w 2067"/>
              <a:gd name="T65" fmla="*/ 389 h 1564"/>
              <a:gd name="T66" fmla="*/ 1279 w 2067"/>
              <a:gd name="T67" fmla="*/ 400 h 1564"/>
              <a:gd name="T68" fmla="*/ 746 w 2067"/>
              <a:gd name="T69" fmla="*/ 457 h 1564"/>
              <a:gd name="T70" fmla="*/ 463 w 2067"/>
              <a:gd name="T71" fmla="*/ 12 h 1564"/>
              <a:gd name="T72" fmla="*/ 391 w 2067"/>
              <a:gd name="T73" fmla="*/ 393 h 1564"/>
              <a:gd name="T74" fmla="*/ 383 w 2067"/>
              <a:gd name="T75" fmla="*/ 426 h 1564"/>
              <a:gd name="T76" fmla="*/ 33 w 2067"/>
              <a:gd name="T77" fmla="*/ 879 h 1564"/>
              <a:gd name="T78" fmla="*/ 279 w 2067"/>
              <a:gd name="T79" fmla="*/ 908 h 1564"/>
              <a:gd name="T80" fmla="*/ 409 w 2067"/>
              <a:gd name="T81" fmla="*/ 509 h 1564"/>
              <a:gd name="T82" fmla="*/ 491 w 2067"/>
              <a:gd name="T83" fmla="*/ 451 h 1564"/>
              <a:gd name="T84" fmla="*/ 601 w 2067"/>
              <a:gd name="T85" fmla="*/ 509 h 1564"/>
              <a:gd name="T86" fmla="*/ 721 w 2067"/>
              <a:gd name="T87" fmla="*/ 492 h 1564"/>
              <a:gd name="T88" fmla="*/ 952 w 2067"/>
              <a:gd name="T89" fmla="*/ 570 h 1564"/>
              <a:gd name="T90" fmla="*/ 1314 w 2067"/>
              <a:gd name="T91" fmla="*/ 501 h 1564"/>
              <a:gd name="T92" fmla="*/ 1394 w 2067"/>
              <a:gd name="T93" fmla="*/ 606 h 1564"/>
              <a:gd name="T94" fmla="*/ 995 w 2067"/>
              <a:gd name="T95" fmla="*/ 678 h 1564"/>
              <a:gd name="T96" fmla="*/ 671 w 2067"/>
              <a:gd name="T97" fmla="*/ 973 h 1564"/>
              <a:gd name="T98" fmla="*/ 492 w 2067"/>
              <a:gd name="T99" fmla="*/ 1136 h 1564"/>
              <a:gd name="T100" fmla="*/ 369 w 2067"/>
              <a:gd name="T101" fmla="*/ 1001 h 1564"/>
              <a:gd name="T102" fmla="*/ 284 w 2067"/>
              <a:gd name="T103" fmla="*/ 1445 h 1564"/>
              <a:gd name="T104" fmla="*/ 518 w 2067"/>
              <a:gd name="T105" fmla="*/ 1522 h 1564"/>
              <a:gd name="T106" fmla="*/ 376 w 2067"/>
              <a:gd name="T107" fmla="*/ 1365 h 1564"/>
              <a:gd name="T108" fmla="*/ 591 w 2067"/>
              <a:gd name="T109" fmla="*/ 1383 h 1564"/>
              <a:gd name="T110" fmla="*/ 870 w 2067"/>
              <a:gd name="T111" fmla="*/ 1368 h 1564"/>
              <a:gd name="T112" fmla="*/ 1318 w 2067"/>
              <a:gd name="T113" fmla="*/ 675 h 1564"/>
              <a:gd name="T114" fmla="*/ 1922 w 2067"/>
              <a:gd name="T115" fmla="*/ 786 h 1564"/>
              <a:gd name="T116" fmla="*/ 577 w 2067"/>
              <a:gd name="T117" fmla="*/ 170 h 1564"/>
              <a:gd name="T118" fmla="*/ 662 w 2067"/>
              <a:gd name="T119" fmla="*/ 833 h 1564"/>
              <a:gd name="T120" fmla="*/ 261 w 2067"/>
              <a:gd name="T121" fmla="*/ 1563 h 1564"/>
              <a:gd name="T122" fmla="*/ 862 w 2067"/>
              <a:gd name="T123" fmla="*/ 1438 h 1564"/>
              <a:gd name="T124" fmla="*/ 857 w 2067"/>
              <a:gd name="T125" fmla="*/ 1531 h 1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67" h="1564">
                <a:moveTo>
                  <a:pt x="408" y="378"/>
                </a:moveTo>
                <a:lnTo>
                  <a:pt x="407" y="379"/>
                </a:lnTo>
                <a:lnTo>
                  <a:pt x="407" y="379"/>
                </a:lnTo>
                <a:lnTo>
                  <a:pt x="407" y="379"/>
                </a:lnTo>
                <a:lnTo>
                  <a:pt x="407" y="380"/>
                </a:lnTo>
                <a:lnTo>
                  <a:pt x="408" y="380"/>
                </a:lnTo>
                <a:lnTo>
                  <a:pt x="409" y="380"/>
                </a:lnTo>
                <a:lnTo>
                  <a:pt x="409" y="380"/>
                </a:lnTo>
                <a:lnTo>
                  <a:pt x="408" y="379"/>
                </a:lnTo>
                <a:lnTo>
                  <a:pt x="408" y="378"/>
                </a:lnTo>
                <a:close/>
                <a:moveTo>
                  <a:pt x="2049" y="700"/>
                </a:moveTo>
                <a:lnTo>
                  <a:pt x="2049" y="703"/>
                </a:lnTo>
                <a:lnTo>
                  <a:pt x="2049" y="705"/>
                </a:lnTo>
                <a:lnTo>
                  <a:pt x="2043" y="711"/>
                </a:lnTo>
                <a:lnTo>
                  <a:pt x="2037" y="718"/>
                </a:lnTo>
                <a:lnTo>
                  <a:pt x="2029" y="722"/>
                </a:lnTo>
                <a:lnTo>
                  <a:pt x="2021" y="724"/>
                </a:lnTo>
                <a:lnTo>
                  <a:pt x="2021" y="721"/>
                </a:lnTo>
                <a:lnTo>
                  <a:pt x="2021" y="718"/>
                </a:lnTo>
                <a:lnTo>
                  <a:pt x="2023" y="710"/>
                </a:lnTo>
                <a:lnTo>
                  <a:pt x="2023" y="702"/>
                </a:lnTo>
                <a:lnTo>
                  <a:pt x="2023" y="694"/>
                </a:lnTo>
                <a:lnTo>
                  <a:pt x="2023" y="686"/>
                </a:lnTo>
                <a:lnTo>
                  <a:pt x="2022" y="684"/>
                </a:lnTo>
                <a:lnTo>
                  <a:pt x="2022" y="681"/>
                </a:lnTo>
                <a:lnTo>
                  <a:pt x="2023" y="678"/>
                </a:lnTo>
                <a:lnTo>
                  <a:pt x="2024" y="676"/>
                </a:lnTo>
                <a:lnTo>
                  <a:pt x="2026" y="675"/>
                </a:lnTo>
                <a:lnTo>
                  <a:pt x="2029" y="674"/>
                </a:lnTo>
                <a:lnTo>
                  <a:pt x="2032" y="674"/>
                </a:lnTo>
                <a:lnTo>
                  <a:pt x="2036" y="672"/>
                </a:lnTo>
                <a:lnTo>
                  <a:pt x="2038" y="670"/>
                </a:lnTo>
                <a:lnTo>
                  <a:pt x="2040" y="669"/>
                </a:lnTo>
                <a:lnTo>
                  <a:pt x="2041" y="669"/>
                </a:lnTo>
                <a:lnTo>
                  <a:pt x="2042" y="670"/>
                </a:lnTo>
                <a:lnTo>
                  <a:pt x="2044" y="672"/>
                </a:lnTo>
                <a:lnTo>
                  <a:pt x="2044" y="676"/>
                </a:lnTo>
                <a:lnTo>
                  <a:pt x="2046" y="686"/>
                </a:lnTo>
                <a:lnTo>
                  <a:pt x="2050" y="695"/>
                </a:lnTo>
                <a:lnTo>
                  <a:pt x="2051" y="694"/>
                </a:lnTo>
                <a:lnTo>
                  <a:pt x="2052" y="692"/>
                </a:lnTo>
                <a:lnTo>
                  <a:pt x="2051" y="694"/>
                </a:lnTo>
                <a:lnTo>
                  <a:pt x="2050" y="695"/>
                </a:lnTo>
                <a:lnTo>
                  <a:pt x="2049" y="698"/>
                </a:lnTo>
                <a:lnTo>
                  <a:pt x="2049" y="700"/>
                </a:lnTo>
                <a:lnTo>
                  <a:pt x="2051" y="701"/>
                </a:lnTo>
                <a:lnTo>
                  <a:pt x="2052" y="702"/>
                </a:lnTo>
                <a:lnTo>
                  <a:pt x="2051" y="701"/>
                </a:lnTo>
                <a:lnTo>
                  <a:pt x="2049" y="700"/>
                </a:lnTo>
                <a:close/>
                <a:moveTo>
                  <a:pt x="2020" y="676"/>
                </a:moveTo>
                <a:lnTo>
                  <a:pt x="2017" y="674"/>
                </a:lnTo>
                <a:lnTo>
                  <a:pt x="2017" y="672"/>
                </a:lnTo>
                <a:lnTo>
                  <a:pt x="2017" y="674"/>
                </a:lnTo>
                <a:lnTo>
                  <a:pt x="2020" y="676"/>
                </a:lnTo>
                <a:lnTo>
                  <a:pt x="2020" y="678"/>
                </a:lnTo>
                <a:lnTo>
                  <a:pt x="2021" y="680"/>
                </a:lnTo>
                <a:lnTo>
                  <a:pt x="2020" y="678"/>
                </a:lnTo>
                <a:lnTo>
                  <a:pt x="2020" y="676"/>
                </a:lnTo>
                <a:close/>
                <a:moveTo>
                  <a:pt x="2001" y="615"/>
                </a:moveTo>
                <a:lnTo>
                  <a:pt x="2001" y="619"/>
                </a:lnTo>
                <a:lnTo>
                  <a:pt x="2002" y="623"/>
                </a:lnTo>
                <a:lnTo>
                  <a:pt x="2001" y="619"/>
                </a:lnTo>
                <a:lnTo>
                  <a:pt x="2001" y="615"/>
                </a:lnTo>
                <a:lnTo>
                  <a:pt x="2013" y="616"/>
                </a:lnTo>
                <a:lnTo>
                  <a:pt x="2026" y="617"/>
                </a:lnTo>
                <a:lnTo>
                  <a:pt x="2013" y="616"/>
                </a:lnTo>
                <a:lnTo>
                  <a:pt x="2001" y="615"/>
                </a:lnTo>
                <a:close/>
                <a:moveTo>
                  <a:pt x="2011" y="647"/>
                </a:moveTo>
                <a:lnTo>
                  <a:pt x="2010" y="646"/>
                </a:lnTo>
                <a:lnTo>
                  <a:pt x="2009" y="646"/>
                </a:lnTo>
                <a:lnTo>
                  <a:pt x="2010" y="646"/>
                </a:lnTo>
                <a:lnTo>
                  <a:pt x="2011" y="647"/>
                </a:lnTo>
                <a:lnTo>
                  <a:pt x="2011" y="643"/>
                </a:lnTo>
                <a:lnTo>
                  <a:pt x="2011" y="639"/>
                </a:lnTo>
                <a:lnTo>
                  <a:pt x="2011" y="643"/>
                </a:lnTo>
                <a:lnTo>
                  <a:pt x="2011" y="647"/>
                </a:lnTo>
                <a:close/>
                <a:moveTo>
                  <a:pt x="1996" y="705"/>
                </a:moveTo>
                <a:lnTo>
                  <a:pt x="1996" y="704"/>
                </a:lnTo>
                <a:lnTo>
                  <a:pt x="1996" y="702"/>
                </a:lnTo>
                <a:lnTo>
                  <a:pt x="1998" y="701"/>
                </a:lnTo>
                <a:lnTo>
                  <a:pt x="1999" y="700"/>
                </a:lnTo>
                <a:lnTo>
                  <a:pt x="1998" y="701"/>
                </a:lnTo>
                <a:lnTo>
                  <a:pt x="1996" y="702"/>
                </a:lnTo>
                <a:lnTo>
                  <a:pt x="1996" y="704"/>
                </a:lnTo>
                <a:lnTo>
                  <a:pt x="1996" y="705"/>
                </a:lnTo>
                <a:lnTo>
                  <a:pt x="1999" y="711"/>
                </a:lnTo>
                <a:lnTo>
                  <a:pt x="2000" y="717"/>
                </a:lnTo>
                <a:lnTo>
                  <a:pt x="2001" y="723"/>
                </a:lnTo>
                <a:lnTo>
                  <a:pt x="2001" y="729"/>
                </a:lnTo>
                <a:lnTo>
                  <a:pt x="2001" y="723"/>
                </a:lnTo>
                <a:lnTo>
                  <a:pt x="2000" y="717"/>
                </a:lnTo>
                <a:lnTo>
                  <a:pt x="1999" y="711"/>
                </a:lnTo>
                <a:lnTo>
                  <a:pt x="1996" y="705"/>
                </a:lnTo>
                <a:close/>
                <a:moveTo>
                  <a:pt x="1996" y="754"/>
                </a:moveTo>
                <a:lnTo>
                  <a:pt x="1992" y="760"/>
                </a:lnTo>
                <a:lnTo>
                  <a:pt x="1989" y="763"/>
                </a:lnTo>
                <a:lnTo>
                  <a:pt x="1985" y="765"/>
                </a:lnTo>
                <a:lnTo>
                  <a:pt x="1981" y="766"/>
                </a:lnTo>
                <a:lnTo>
                  <a:pt x="1977" y="766"/>
                </a:lnTo>
                <a:lnTo>
                  <a:pt x="1974" y="765"/>
                </a:lnTo>
                <a:lnTo>
                  <a:pt x="1968" y="763"/>
                </a:lnTo>
                <a:lnTo>
                  <a:pt x="1963" y="761"/>
                </a:lnTo>
                <a:lnTo>
                  <a:pt x="1959" y="759"/>
                </a:lnTo>
                <a:lnTo>
                  <a:pt x="1955" y="759"/>
                </a:lnTo>
                <a:lnTo>
                  <a:pt x="1951" y="759"/>
                </a:lnTo>
                <a:lnTo>
                  <a:pt x="1947" y="761"/>
                </a:lnTo>
                <a:lnTo>
                  <a:pt x="1943" y="763"/>
                </a:lnTo>
                <a:lnTo>
                  <a:pt x="1937" y="765"/>
                </a:lnTo>
                <a:lnTo>
                  <a:pt x="1932" y="765"/>
                </a:lnTo>
                <a:lnTo>
                  <a:pt x="1926" y="764"/>
                </a:lnTo>
                <a:lnTo>
                  <a:pt x="1926" y="768"/>
                </a:lnTo>
                <a:lnTo>
                  <a:pt x="1926" y="772"/>
                </a:lnTo>
                <a:lnTo>
                  <a:pt x="1925" y="778"/>
                </a:lnTo>
                <a:lnTo>
                  <a:pt x="1926" y="781"/>
                </a:lnTo>
                <a:lnTo>
                  <a:pt x="1925" y="778"/>
                </a:lnTo>
                <a:lnTo>
                  <a:pt x="1926" y="772"/>
                </a:lnTo>
                <a:lnTo>
                  <a:pt x="1926" y="768"/>
                </a:lnTo>
                <a:lnTo>
                  <a:pt x="1926" y="764"/>
                </a:lnTo>
                <a:lnTo>
                  <a:pt x="1926" y="763"/>
                </a:lnTo>
                <a:lnTo>
                  <a:pt x="1926" y="763"/>
                </a:lnTo>
                <a:lnTo>
                  <a:pt x="1925" y="762"/>
                </a:lnTo>
                <a:lnTo>
                  <a:pt x="1925" y="761"/>
                </a:lnTo>
                <a:lnTo>
                  <a:pt x="1925" y="762"/>
                </a:lnTo>
                <a:lnTo>
                  <a:pt x="1926" y="763"/>
                </a:lnTo>
                <a:lnTo>
                  <a:pt x="1926" y="761"/>
                </a:lnTo>
                <a:lnTo>
                  <a:pt x="1925" y="761"/>
                </a:lnTo>
                <a:lnTo>
                  <a:pt x="1923" y="756"/>
                </a:lnTo>
                <a:lnTo>
                  <a:pt x="1922" y="752"/>
                </a:lnTo>
                <a:lnTo>
                  <a:pt x="1919" y="749"/>
                </a:lnTo>
                <a:lnTo>
                  <a:pt x="1916" y="746"/>
                </a:lnTo>
                <a:lnTo>
                  <a:pt x="1919" y="749"/>
                </a:lnTo>
                <a:lnTo>
                  <a:pt x="1922" y="752"/>
                </a:lnTo>
                <a:lnTo>
                  <a:pt x="1922" y="744"/>
                </a:lnTo>
                <a:lnTo>
                  <a:pt x="1921" y="734"/>
                </a:lnTo>
                <a:lnTo>
                  <a:pt x="1922" y="718"/>
                </a:lnTo>
                <a:lnTo>
                  <a:pt x="1920" y="703"/>
                </a:lnTo>
                <a:lnTo>
                  <a:pt x="1920" y="701"/>
                </a:lnTo>
                <a:lnTo>
                  <a:pt x="1920" y="699"/>
                </a:lnTo>
                <a:lnTo>
                  <a:pt x="1924" y="696"/>
                </a:lnTo>
                <a:lnTo>
                  <a:pt x="1926" y="694"/>
                </a:lnTo>
                <a:lnTo>
                  <a:pt x="1928" y="691"/>
                </a:lnTo>
                <a:lnTo>
                  <a:pt x="1928" y="688"/>
                </a:lnTo>
                <a:lnTo>
                  <a:pt x="1926" y="680"/>
                </a:lnTo>
                <a:lnTo>
                  <a:pt x="1926" y="674"/>
                </a:lnTo>
                <a:lnTo>
                  <a:pt x="1931" y="661"/>
                </a:lnTo>
                <a:lnTo>
                  <a:pt x="1936" y="649"/>
                </a:lnTo>
                <a:lnTo>
                  <a:pt x="1945" y="639"/>
                </a:lnTo>
                <a:lnTo>
                  <a:pt x="1955" y="630"/>
                </a:lnTo>
                <a:lnTo>
                  <a:pt x="1956" y="628"/>
                </a:lnTo>
                <a:lnTo>
                  <a:pt x="1959" y="629"/>
                </a:lnTo>
                <a:lnTo>
                  <a:pt x="1960" y="630"/>
                </a:lnTo>
                <a:lnTo>
                  <a:pt x="1960" y="632"/>
                </a:lnTo>
                <a:lnTo>
                  <a:pt x="1959" y="638"/>
                </a:lnTo>
                <a:lnTo>
                  <a:pt x="1955" y="642"/>
                </a:lnTo>
                <a:lnTo>
                  <a:pt x="1950" y="652"/>
                </a:lnTo>
                <a:lnTo>
                  <a:pt x="1945" y="661"/>
                </a:lnTo>
                <a:lnTo>
                  <a:pt x="1944" y="667"/>
                </a:lnTo>
                <a:lnTo>
                  <a:pt x="1943" y="672"/>
                </a:lnTo>
                <a:lnTo>
                  <a:pt x="1943" y="677"/>
                </a:lnTo>
                <a:lnTo>
                  <a:pt x="1944" y="684"/>
                </a:lnTo>
                <a:lnTo>
                  <a:pt x="1944" y="687"/>
                </a:lnTo>
                <a:lnTo>
                  <a:pt x="1943" y="690"/>
                </a:lnTo>
                <a:lnTo>
                  <a:pt x="1941" y="692"/>
                </a:lnTo>
                <a:lnTo>
                  <a:pt x="1940" y="694"/>
                </a:lnTo>
                <a:lnTo>
                  <a:pt x="1941" y="696"/>
                </a:lnTo>
                <a:lnTo>
                  <a:pt x="1943" y="699"/>
                </a:lnTo>
                <a:lnTo>
                  <a:pt x="1945" y="700"/>
                </a:lnTo>
                <a:lnTo>
                  <a:pt x="1947" y="701"/>
                </a:lnTo>
                <a:lnTo>
                  <a:pt x="1949" y="700"/>
                </a:lnTo>
                <a:lnTo>
                  <a:pt x="1951" y="699"/>
                </a:lnTo>
                <a:lnTo>
                  <a:pt x="1956" y="695"/>
                </a:lnTo>
                <a:lnTo>
                  <a:pt x="1961" y="691"/>
                </a:lnTo>
                <a:lnTo>
                  <a:pt x="1965" y="687"/>
                </a:lnTo>
                <a:lnTo>
                  <a:pt x="1968" y="681"/>
                </a:lnTo>
                <a:lnTo>
                  <a:pt x="1979" y="669"/>
                </a:lnTo>
                <a:lnTo>
                  <a:pt x="1990" y="655"/>
                </a:lnTo>
                <a:lnTo>
                  <a:pt x="1990" y="654"/>
                </a:lnTo>
                <a:lnTo>
                  <a:pt x="1990" y="654"/>
                </a:lnTo>
                <a:lnTo>
                  <a:pt x="1992" y="653"/>
                </a:lnTo>
                <a:lnTo>
                  <a:pt x="1994" y="653"/>
                </a:lnTo>
                <a:lnTo>
                  <a:pt x="1992" y="653"/>
                </a:lnTo>
                <a:lnTo>
                  <a:pt x="1990" y="654"/>
                </a:lnTo>
                <a:lnTo>
                  <a:pt x="1992" y="659"/>
                </a:lnTo>
                <a:lnTo>
                  <a:pt x="1993" y="663"/>
                </a:lnTo>
                <a:lnTo>
                  <a:pt x="1992" y="669"/>
                </a:lnTo>
                <a:lnTo>
                  <a:pt x="1992" y="674"/>
                </a:lnTo>
                <a:lnTo>
                  <a:pt x="1990" y="689"/>
                </a:lnTo>
                <a:lnTo>
                  <a:pt x="1987" y="703"/>
                </a:lnTo>
                <a:lnTo>
                  <a:pt x="1989" y="716"/>
                </a:lnTo>
                <a:lnTo>
                  <a:pt x="1991" y="729"/>
                </a:lnTo>
                <a:lnTo>
                  <a:pt x="1993" y="741"/>
                </a:lnTo>
                <a:lnTo>
                  <a:pt x="1996" y="753"/>
                </a:lnTo>
                <a:lnTo>
                  <a:pt x="1996" y="754"/>
                </a:lnTo>
                <a:lnTo>
                  <a:pt x="1996" y="754"/>
                </a:lnTo>
                <a:close/>
                <a:moveTo>
                  <a:pt x="1989" y="769"/>
                </a:moveTo>
                <a:lnTo>
                  <a:pt x="1984" y="770"/>
                </a:lnTo>
                <a:lnTo>
                  <a:pt x="1980" y="772"/>
                </a:lnTo>
                <a:lnTo>
                  <a:pt x="1984" y="770"/>
                </a:lnTo>
                <a:lnTo>
                  <a:pt x="1989" y="769"/>
                </a:lnTo>
                <a:lnTo>
                  <a:pt x="1989" y="769"/>
                </a:lnTo>
                <a:close/>
                <a:moveTo>
                  <a:pt x="1978" y="776"/>
                </a:moveTo>
                <a:lnTo>
                  <a:pt x="1978" y="775"/>
                </a:lnTo>
                <a:lnTo>
                  <a:pt x="1979" y="775"/>
                </a:lnTo>
                <a:lnTo>
                  <a:pt x="1978" y="775"/>
                </a:lnTo>
                <a:lnTo>
                  <a:pt x="1978" y="776"/>
                </a:lnTo>
                <a:close/>
                <a:moveTo>
                  <a:pt x="1901" y="466"/>
                </a:moveTo>
                <a:lnTo>
                  <a:pt x="1900" y="465"/>
                </a:lnTo>
                <a:lnTo>
                  <a:pt x="1900" y="464"/>
                </a:lnTo>
                <a:lnTo>
                  <a:pt x="1900" y="465"/>
                </a:lnTo>
                <a:lnTo>
                  <a:pt x="1901" y="466"/>
                </a:lnTo>
                <a:lnTo>
                  <a:pt x="1914" y="468"/>
                </a:lnTo>
                <a:lnTo>
                  <a:pt x="1925" y="471"/>
                </a:lnTo>
                <a:lnTo>
                  <a:pt x="1914" y="468"/>
                </a:lnTo>
                <a:lnTo>
                  <a:pt x="1901" y="466"/>
                </a:lnTo>
                <a:close/>
                <a:moveTo>
                  <a:pt x="1910" y="674"/>
                </a:moveTo>
                <a:lnTo>
                  <a:pt x="1908" y="676"/>
                </a:lnTo>
                <a:lnTo>
                  <a:pt x="1907" y="678"/>
                </a:lnTo>
                <a:lnTo>
                  <a:pt x="1908" y="676"/>
                </a:lnTo>
                <a:lnTo>
                  <a:pt x="1910" y="674"/>
                </a:lnTo>
                <a:lnTo>
                  <a:pt x="1913" y="676"/>
                </a:lnTo>
                <a:lnTo>
                  <a:pt x="1915" y="679"/>
                </a:lnTo>
                <a:lnTo>
                  <a:pt x="1913" y="676"/>
                </a:lnTo>
                <a:lnTo>
                  <a:pt x="1910" y="674"/>
                </a:lnTo>
                <a:close/>
                <a:moveTo>
                  <a:pt x="1898" y="591"/>
                </a:moveTo>
                <a:lnTo>
                  <a:pt x="1900" y="589"/>
                </a:lnTo>
                <a:lnTo>
                  <a:pt x="1903" y="588"/>
                </a:lnTo>
                <a:lnTo>
                  <a:pt x="1905" y="588"/>
                </a:lnTo>
                <a:lnTo>
                  <a:pt x="1908" y="588"/>
                </a:lnTo>
                <a:lnTo>
                  <a:pt x="1905" y="588"/>
                </a:lnTo>
                <a:lnTo>
                  <a:pt x="1903" y="588"/>
                </a:lnTo>
                <a:lnTo>
                  <a:pt x="1900" y="589"/>
                </a:lnTo>
                <a:lnTo>
                  <a:pt x="1898" y="591"/>
                </a:lnTo>
                <a:close/>
                <a:moveTo>
                  <a:pt x="1895" y="715"/>
                </a:moveTo>
                <a:lnTo>
                  <a:pt x="1894" y="723"/>
                </a:lnTo>
                <a:lnTo>
                  <a:pt x="1893" y="732"/>
                </a:lnTo>
                <a:lnTo>
                  <a:pt x="1891" y="746"/>
                </a:lnTo>
                <a:lnTo>
                  <a:pt x="1890" y="760"/>
                </a:lnTo>
                <a:lnTo>
                  <a:pt x="1891" y="774"/>
                </a:lnTo>
                <a:lnTo>
                  <a:pt x="1894" y="787"/>
                </a:lnTo>
                <a:lnTo>
                  <a:pt x="1894" y="793"/>
                </a:lnTo>
                <a:lnTo>
                  <a:pt x="1893" y="797"/>
                </a:lnTo>
                <a:lnTo>
                  <a:pt x="1890" y="802"/>
                </a:lnTo>
                <a:lnTo>
                  <a:pt x="1886" y="806"/>
                </a:lnTo>
                <a:lnTo>
                  <a:pt x="1881" y="808"/>
                </a:lnTo>
                <a:lnTo>
                  <a:pt x="1878" y="808"/>
                </a:lnTo>
                <a:lnTo>
                  <a:pt x="1874" y="806"/>
                </a:lnTo>
                <a:lnTo>
                  <a:pt x="1872" y="802"/>
                </a:lnTo>
                <a:lnTo>
                  <a:pt x="1864" y="796"/>
                </a:lnTo>
                <a:lnTo>
                  <a:pt x="1858" y="788"/>
                </a:lnTo>
                <a:lnTo>
                  <a:pt x="1856" y="787"/>
                </a:lnTo>
                <a:lnTo>
                  <a:pt x="1853" y="786"/>
                </a:lnTo>
                <a:lnTo>
                  <a:pt x="1850" y="786"/>
                </a:lnTo>
                <a:lnTo>
                  <a:pt x="1847" y="787"/>
                </a:lnTo>
                <a:lnTo>
                  <a:pt x="1843" y="790"/>
                </a:lnTo>
                <a:lnTo>
                  <a:pt x="1840" y="790"/>
                </a:lnTo>
                <a:lnTo>
                  <a:pt x="1838" y="791"/>
                </a:lnTo>
                <a:lnTo>
                  <a:pt x="1837" y="790"/>
                </a:lnTo>
                <a:lnTo>
                  <a:pt x="1835" y="785"/>
                </a:lnTo>
                <a:lnTo>
                  <a:pt x="1835" y="776"/>
                </a:lnTo>
                <a:lnTo>
                  <a:pt x="1837" y="766"/>
                </a:lnTo>
                <a:lnTo>
                  <a:pt x="1837" y="755"/>
                </a:lnTo>
                <a:lnTo>
                  <a:pt x="1835" y="744"/>
                </a:lnTo>
                <a:lnTo>
                  <a:pt x="1832" y="733"/>
                </a:lnTo>
                <a:lnTo>
                  <a:pt x="1832" y="731"/>
                </a:lnTo>
                <a:lnTo>
                  <a:pt x="1832" y="730"/>
                </a:lnTo>
                <a:lnTo>
                  <a:pt x="1833" y="729"/>
                </a:lnTo>
                <a:lnTo>
                  <a:pt x="1834" y="729"/>
                </a:lnTo>
                <a:lnTo>
                  <a:pt x="1837" y="729"/>
                </a:lnTo>
                <a:lnTo>
                  <a:pt x="1839" y="728"/>
                </a:lnTo>
                <a:lnTo>
                  <a:pt x="1840" y="726"/>
                </a:lnTo>
                <a:lnTo>
                  <a:pt x="1841" y="725"/>
                </a:lnTo>
                <a:lnTo>
                  <a:pt x="1841" y="723"/>
                </a:lnTo>
                <a:lnTo>
                  <a:pt x="1840" y="720"/>
                </a:lnTo>
                <a:lnTo>
                  <a:pt x="1840" y="710"/>
                </a:lnTo>
                <a:lnTo>
                  <a:pt x="1842" y="702"/>
                </a:lnTo>
                <a:lnTo>
                  <a:pt x="1839" y="688"/>
                </a:lnTo>
                <a:lnTo>
                  <a:pt x="1833" y="674"/>
                </a:lnTo>
                <a:lnTo>
                  <a:pt x="1831" y="667"/>
                </a:lnTo>
                <a:lnTo>
                  <a:pt x="1829" y="659"/>
                </a:lnTo>
                <a:lnTo>
                  <a:pt x="1828" y="652"/>
                </a:lnTo>
                <a:lnTo>
                  <a:pt x="1830" y="643"/>
                </a:lnTo>
                <a:lnTo>
                  <a:pt x="1830" y="642"/>
                </a:lnTo>
                <a:lnTo>
                  <a:pt x="1831" y="640"/>
                </a:lnTo>
                <a:lnTo>
                  <a:pt x="1832" y="639"/>
                </a:lnTo>
                <a:lnTo>
                  <a:pt x="1834" y="639"/>
                </a:lnTo>
                <a:lnTo>
                  <a:pt x="1835" y="640"/>
                </a:lnTo>
                <a:lnTo>
                  <a:pt x="1837" y="641"/>
                </a:lnTo>
                <a:lnTo>
                  <a:pt x="1837" y="643"/>
                </a:lnTo>
                <a:lnTo>
                  <a:pt x="1837" y="644"/>
                </a:lnTo>
                <a:lnTo>
                  <a:pt x="1837" y="646"/>
                </a:lnTo>
                <a:lnTo>
                  <a:pt x="1837" y="647"/>
                </a:lnTo>
                <a:lnTo>
                  <a:pt x="1837" y="653"/>
                </a:lnTo>
                <a:lnTo>
                  <a:pt x="1838" y="658"/>
                </a:lnTo>
                <a:lnTo>
                  <a:pt x="1842" y="662"/>
                </a:lnTo>
                <a:lnTo>
                  <a:pt x="1847" y="664"/>
                </a:lnTo>
                <a:lnTo>
                  <a:pt x="1850" y="667"/>
                </a:lnTo>
                <a:lnTo>
                  <a:pt x="1852" y="668"/>
                </a:lnTo>
                <a:lnTo>
                  <a:pt x="1852" y="671"/>
                </a:lnTo>
                <a:lnTo>
                  <a:pt x="1849" y="674"/>
                </a:lnTo>
                <a:lnTo>
                  <a:pt x="1847" y="680"/>
                </a:lnTo>
                <a:lnTo>
                  <a:pt x="1846" y="687"/>
                </a:lnTo>
                <a:lnTo>
                  <a:pt x="1846" y="690"/>
                </a:lnTo>
                <a:lnTo>
                  <a:pt x="1846" y="692"/>
                </a:lnTo>
                <a:lnTo>
                  <a:pt x="1847" y="695"/>
                </a:lnTo>
                <a:lnTo>
                  <a:pt x="1849" y="699"/>
                </a:lnTo>
                <a:lnTo>
                  <a:pt x="1850" y="703"/>
                </a:lnTo>
                <a:lnTo>
                  <a:pt x="1850" y="706"/>
                </a:lnTo>
                <a:lnTo>
                  <a:pt x="1848" y="714"/>
                </a:lnTo>
                <a:lnTo>
                  <a:pt x="1847" y="721"/>
                </a:lnTo>
                <a:lnTo>
                  <a:pt x="1848" y="724"/>
                </a:lnTo>
                <a:lnTo>
                  <a:pt x="1849" y="728"/>
                </a:lnTo>
                <a:lnTo>
                  <a:pt x="1850" y="729"/>
                </a:lnTo>
                <a:lnTo>
                  <a:pt x="1852" y="730"/>
                </a:lnTo>
                <a:lnTo>
                  <a:pt x="1856" y="731"/>
                </a:lnTo>
                <a:lnTo>
                  <a:pt x="1861" y="729"/>
                </a:lnTo>
                <a:lnTo>
                  <a:pt x="1871" y="722"/>
                </a:lnTo>
                <a:lnTo>
                  <a:pt x="1879" y="715"/>
                </a:lnTo>
                <a:lnTo>
                  <a:pt x="1885" y="711"/>
                </a:lnTo>
                <a:lnTo>
                  <a:pt x="1890" y="710"/>
                </a:lnTo>
                <a:lnTo>
                  <a:pt x="1892" y="711"/>
                </a:lnTo>
                <a:lnTo>
                  <a:pt x="1893" y="711"/>
                </a:lnTo>
                <a:lnTo>
                  <a:pt x="1894" y="713"/>
                </a:lnTo>
                <a:lnTo>
                  <a:pt x="1895" y="715"/>
                </a:lnTo>
                <a:close/>
                <a:moveTo>
                  <a:pt x="1886" y="816"/>
                </a:moveTo>
                <a:lnTo>
                  <a:pt x="1886" y="816"/>
                </a:lnTo>
                <a:lnTo>
                  <a:pt x="1886" y="816"/>
                </a:lnTo>
                <a:lnTo>
                  <a:pt x="1887" y="815"/>
                </a:lnTo>
                <a:lnTo>
                  <a:pt x="1888" y="814"/>
                </a:lnTo>
                <a:lnTo>
                  <a:pt x="1887" y="815"/>
                </a:lnTo>
                <a:lnTo>
                  <a:pt x="1886" y="816"/>
                </a:lnTo>
                <a:close/>
                <a:moveTo>
                  <a:pt x="1883" y="816"/>
                </a:moveTo>
                <a:lnTo>
                  <a:pt x="1883" y="816"/>
                </a:lnTo>
                <a:lnTo>
                  <a:pt x="1884" y="816"/>
                </a:lnTo>
                <a:lnTo>
                  <a:pt x="1883" y="816"/>
                </a:lnTo>
                <a:lnTo>
                  <a:pt x="1883" y="816"/>
                </a:lnTo>
                <a:close/>
                <a:moveTo>
                  <a:pt x="1777" y="447"/>
                </a:moveTo>
                <a:lnTo>
                  <a:pt x="1790" y="446"/>
                </a:lnTo>
                <a:lnTo>
                  <a:pt x="1803" y="445"/>
                </a:lnTo>
                <a:lnTo>
                  <a:pt x="1817" y="445"/>
                </a:lnTo>
                <a:lnTo>
                  <a:pt x="1831" y="445"/>
                </a:lnTo>
                <a:lnTo>
                  <a:pt x="1817" y="445"/>
                </a:lnTo>
                <a:lnTo>
                  <a:pt x="1803" y="445"/>
                </a:lnTo>
                <a:lnTo>
                  <a:pt x="1790" y="446"/>
                </a:lnTo>
                <a:lnTo>
                  <a:pt x="1777" y="447"/>
                </a:lnTo>
                <a:close/>
                <a:moveTo>
                  <a:pt x="1792" y="457"/>
                </a:moveTo>
                <a:lnTo>
                  <a:pt x="1803" y="455"/>
                </a:lnTo>
                <a:lnTo>
                  <a:pt x="1816" y="453"/>
                </a:lnTo>
                <a:lnTo>
                  <a:pt x="1816" y="453"/>
                </a:lnTo>
                <a:lnTo>
                  <a:pt x="1803" y="455"/>
                </a:lnTo>
                <a:lnTo>
                  <a:pt x="1792" y="457"/>
                </a:lnTo>
                <a:close/>
                <a:moveTo>
                  <a:pt x="1812" y="714"/>
                </a:moveTo>
                <a:lnTo>
                  <a:pt x="1809" y="716"/>
                </a:lnTo>
                <a:lnTo>
                  <a:pt x="1807" y="718"/>
                </a:lnTo>
                <a:lnTo>
                  <a:pt x="1805" y="720"/>
                </a:lnTo>
                <a:lnTo>
                  <a:pt x="1805" y="722"/>
                </a:lnTo>
                <a:lnTo>
                  <a:pt x="1804" y="728"/>
                </a:lnTo>
                <a:lnTo>
                  <a:pt x="1805" y="732"/>
                </a:lnTo>
                <a:lnTo>
                  <a:pt x="1805" y="745"/>
                </a:lnTo>
                <a:lnTo>
                  <a:pt x="1805" y="757"/>
                </a:lnTo>
                <a:lnTo>
                  <a:pt x="1805" y="771"/>
                </a:lnTo>
                <a:lnTo>
                  <a:pt x="1807" y="784"/>
                </a:lnTo>
                <a:lnTo>
                  <a:pt x="1807" y="788"/>
                </a:lnTo>
                <a:lnTo>
                  <a:pt x="1807" y="793"/>
                </a:lnTo>
                <a:lnTo>
                  <a:pt x="1805" y="796"/>
                </a:lnTo>
                <a:lnTo>
                  <a:pt x="1803" y="799"/>
                </a:lnTo>
                <a:lnTo>
                  <a:pt x="1801" y="802"/>
                </a:lnTo>
                <a:lnTo>
                  <a:pt x="1798" y="805"/>
                </a:lnTo>
                <a:lnTo>
                  <a:pt x="1794" y="807"/>
                </a:lnTo>
                <a:lnTo>
                  <a:pt x="1790" y="809"/>
                </a:lnTo>
                <a:lnTo>
                  <a:pt x="1785" y="808"/>
                </a:lnTo>
                <a:lnTo>
                  <a:pt x="1779" y="805"/>
                </a:lnTo>
                <a:lnTo>
                  <a:pt x="1772" y="800"/>
                </a:lnTo>
                <a:lnTo>
                  <a:pt x="1768" y="795"/>
                </a:lnTo>
                <a:lnTo>
                  <a:pt x="1765" y="788"/>
                </a:lnTo>
                <a:lnTo>
                  <a:pt x="1762" y="782"/>
                </a:lnTo>
                <a:lnTo>
                  <a:pt x="1757" y="778"/>
                </a:lnTo>
                <a:lnTo>
                  <a:pt x="1752" y="772"/>
                </a:lnTo>
                <a:lnTo>
                  <a:pt x="1750" y="771"/>
                </a:lnTo>
                <a:lnTo>
                  <a:pt x="1749" y="769"/>
                </a:lnTo>
                <a:lnTo>
                  <a:pt x="1749" y="767"/>
                </a:lnTo>
                <a:lnTo>
                  <a:pt x="1750" y="765"/>
                </a:lnTo>
                <a:lnTo>
                  <a:pt x="1752" y="762"/>
                </a:lnTo>
                <a:lnTo>
                  <a:pt x="1752" y="757"/>
                </a:lnTo>
                <a:lnTo>
                  <a:pt x="1751" y="752"/>
                </a:lnTo>
                <a:lnTo>
                  <a:pt x="1750" y="747"/>
                </a:lnTo>
                <a:lnTo>
                  <a:pt x="1750" y="740"/>
                </a:lnTo>
                <a:lnTo>
                  <a:pt x="1752" y="735"/>
                </a:lnTo>
                <a:lnTo>
                  <a:pt x="1752" y="734"/>
                </a:lnTo>
                <a:lnTo>
                  <a:pt x="1752" y="733"/>
                </a:lnTo>
                <a:lnTo>
                  <a:pt x="1749" y="730"/>
                </a:lnTo>
                <a:lnTo>
                  <a:pt x="1748" y="726"/>
                </a:lnTo>
                <a:lnTo>
                  <a:pt x="1748" y="723"/>
                </a:lnTo>
                <a:lnTo>
                  <a:pt x="1749" y="721"/>
                </a:lnTo>
                <a:lnTo>
                  <a:pt x="1753" y="716"/>
                </a:lnTo>
                <a:lnTo>
                  <a:pt x="1757" y="711"/>
                </a:lnTo>
                <a:lnTo>
                  <a:pt x="1763" y="705"/>
                </a:lnTo>
                <a:lnTo>
                  <a:pt x="1768" y="699"/>
                </a:lnTo>
                <a:lnTo>
                  <a:pt x="1766" y="699"/>
                </a:lnTo>
                <a:lnTo>
                  <a:pt x="1763" y="699"/>
                </a:lnTo>
                <a:lnTo>
                  <a:pt x="1766" y="699"/>
                </a:lnTo>
                <a:lnTo>
                  <a:pt x="1768" y="699"/>
                </a:lnTo>
                <a:lnTo>
                  <a:pt x="1771" y="696"/>
                </a:lnTo>
                <a:lnTo>
                  <a:pt x="1773" y="693"/>
                </a:lnTo>
                <a:lnTo>
                  <a:pt x="1774" y="690"/>
                </a:lnTo>
                <a:lnTo>
                  <a:pt x="1775" y="686"/>
                </a:lnTo>
                <a:lnTo>
                  <a:pt x="1777" y="684"/>
                </a:lnTo>
                <a:lnTo>
                  <a:pt x="1777" y="680"/>
                </a:lnTo>
                <a:lnTo>
                  <a:pt x="1777" y="680"/>
                </a:lnTo>
                <a:lnTo>
                  <a:pt x="1777" y="680"/>
                </a:lnTo>
                <a:lnTo>
                  <a:pt x="1773" y="677"/>
                </a:lnTo>
                <a:lnTo>
                  <a:pt x="1771" y="676"/>
                </a:lnTo>
                <a:lnTo>
                  <a:pt x="1773" y="677"/>
                </a:lnTo>
                <a:lnTo>
                  <a:pt x="1777" y="680"/>
                </a:lnTo>
                <a:lnTo>
                  <a:pt x="1784" y="686"/>
                </a:lnTo>
                <a:lnTo>
                  <a:pt x="1792" y="693"/>
                </a:lnTo>
                <a:lnTo>
                  <a:pt x="1799" y="701"/>
                </a:lnTo>
                <a:lnTo>
                  <a:pt x="1807" y="708"/>
                </a:lnTo>
                <a:lnTo>
                  <a:pt x="1809" y="710"/>
                </a:lnTo>
                <a:lnTo>
                  <a:pt x="1811" y="710"/>
                </a:lnTo>
                <a:lnTo>
                  <a:pt x="1811" y="710"/>
                </a:lnTo>
                <a:lnTo>
                  <a:pt x="1812" y="710"/>
                </a:lnTo>
                <a:lnTo>
                  <a:pt x="1812" y="713"/>
                </a:lnTo>
                <a:lnTo>
                  <a:pt x="1812" y="714"/>
                </a:lnTo>
                <a:close/>
                <a:moveTo>
                  <a:pt x="1804" y="809"/>
                </a:moveTo>
                <a:lnTo>
                  <a:pt x="1801" y="812"/>
                </a:lnTo>
                <a:lnTo>
                  <a:pt x="1798" y="813"/>
                </a:lnTo>
                <a:lnTo>
                  <a:pt x="1801" y="812"/>
                </a:lnTo>
                <a:lnTo>
                  <a:pt x="1804" y="809"/>
                </a:lnTo>
                <a:lnTo>
                  <a:pt x="1805" y="806"/>
                </a:lnTo>
                <a:lnTo>
                  <a:pt x="1807" y="803"/>
                </a:lnTo>
                <a:lnTo>
                  <a:pt x="1805" y="806"/>
                </a:lnTo>
                <a:lnTo>
                  <a:pt x="1804" y="809"/>
                </a:lnTo>
                <a:close/>
                <a:moveTo>
                  <a:pt x="1781" y="835"/>
                </a:moveTo>
                <a:lnTo>
                  <a:pt x="1780" y="837"/>
                </a:lnTo>
                <a:lnTo>
                  <a:pt x="1779" y="838"/>
                </a:lnTo>
                <a:lnTo>
                  <a:pt x="1777" y="839"/>
                </a:lnTo>
                <a:lnTo>
                  <a:pt x="1775" y="839"/>
                </a:lnTo>
                <a:lnTo>
                  <a:pt x="1777" y="839"/>
                </a:lnTo>
                <a:lnTo>
                  <a:pt x="1779" y="838"/>
                </a:lnTo>
                <a:lnTo>
                  <a:pt x="1780" y="837"/>
                </a:lnTo>
                <a:lnTo>
                  <a:pt x="1781" y="835"/>
                </a:lnTo>
                <a:lnTo>
                  <a:pt x="1781" y="830"/>
                </a:lnTo>
                <a:lnTo>
                  <a:pt x="1781" y="827"/>
                </a:lnTo>
                <a:lnTo>
                  <a:pt x="1781" y="830"/>
                </a:lnTo>
                <a:lnTo>
                  <a:pt x="1781" y="835"/>
                </a:lnTo>
                <a:close/>
                <a:moveTo>
                  <a:pt x="1766" y="817"/>
                </a:moveTo>
                <a:lnTo>
                  <a:pt x="1753" y="814"/>
                </a:lnTo>
                <a:lnTo>
                  <a:pt x="1741" y="811"/>
                </a:lnTo>
                <a:lnTo>
                  <a:pt x="1753" y="814"/>
                </a:lnTo>
                <a:lnTo>
                  <a:pt x="1766" y="817"/>
                </a:lnTo>
                <a:lnTo>
                  <a:pt x="1769" y="820"/>
                </a:lnTo>
                <a:lnTo>
                  <a:pt x="1772" y="822"/>
                </a:lnTo>
                <a:lnTo>
                  <a:pt x="1769" y="820"/>
                </a:lnTo>
                <a:lnTo>
                  <a:pt x="1766" y="817"/>
                </a:lnTo>
                <a:close/>
                <a:moveTo>
                  <a:pt x="1738" y="733"/>
                </a:moveTo>
                <a:lnTo>
                  <a:pt x="1738" y="730"/>
                </a:lnTo>
                <a:lnTo>
                  <a:pt x="1738" y="726"/>
                </a:lnTo>
                <a:lnTo>
                  <a:pt x="1735" y="728"/>
                </a:lnTo>
                <a:lnTo>
                  <a:pt x="1733" y="729"/>
                </a:lnTo>
                <a:lnTo>
                  <a:pt x="1735" y="728"/>
                </a:lnTo>
                <a:lnTo>
                  <a:pt x="1738" y="726"/>
                </a:lnTo>
                <a:lnTo>
                  <a:pt x="1738" y="730"/>
                </a:lnTo>
                <a:lnTo>
                  <a:pt x="1738" y="733"/>
                </a:lnTo>
                <a:close/>
                <a:moveTo>
                  <a:pt x="1729" y="468"/>
                </a:moveTo>
                <a:lnTo>
                  <a:pt x="1731" y="468"/>
                </a:lnTo>
                <a:lnTo>
                  <a:pt x="1733" y="466"/>
                </a:lnTo>
                <a:lnTo>
                  <a:pt x="1731" y="468"/>
                </a:lnTo>
                <a:lnTo>
                  <a:pt x="1729" y="468"/>
                </a:lnTo>
                <a:close/>
                <a:moveTo>
                  <a:pt x="1724" y="468"/>
                </a:moveTo>
                <a:lnTo>
                  <a:pt x="1725" y="468"/>
                </a:lnTo>
                <a:lnTo>
                  <a:pt x="1726" y="468"/>
                </a:lnTo>
                <a:lnTo>
                  <a:pt x="1725" y="468"/>
                </a:lnTo>
                <a:lnTo>
                  <a:pt x="1724" y="468"/>
                </a:lnTo>
                <a:close/>
                <a:moveTo>
                  <a:pt x="1735" y="438"/>
                </a:moveTo>
                <a:lnTo>
                  <a:pt x="1733" y="438"/>
                </a:lnTo>
                <a:lnTo>
                  <a:pt x="1732" y="438"/>
                </a:lnTo>
                <a:lnTo>
                  <a:pt x="1733" y="438"/>
                </a:lnTo>
                <a:lnTo>
                  <a:pt x="1735" y="438"/>
                </a:lnTo>
                <a:close/>
                <a:moveTo>
                  <a:pt x="1740" y="464"/>
                </a:moveTo>
                <a:lnTo>
                  <a:pt x="1741" y="464"/>
                </a:lnTo>
                <a:lnTo>
                  <a:pt x="1743" y="463"/>
                </a:lnTo>
                <a:lnTo>
                  <a:pt x="1741" y="464"/>
                </a:lnTo>
                <a:lnTo>
                  <a:pt x="1740" y="464"/>
                </a:lnTo>
                <a:close/>
                <a:moveTo>
                  <a:pt x="1738" y="718"/>
                </a:moveTo>
                <a:lnTo>
                  <a:pt x="1737" y="717"/>
                </a:lnTo>
                <a:lnTo>
                  <a:pt x="1737" y="716"/>
                </a:lnTo>
                <a:lnTo>
                  <a:pt x="1737" y="714"/>
                </a:lnTo>
                <a:lnTo>
                  <a:pt x="1736" y="713"/>
                </a:lnTo>
                <a:lnTo>
                  <a:pt x="1737" y="714"/>
                </a:lnTo>
                <a:lnTo>
                  <a:pt x="1737" y="716"/>
                </a:lnTo>
                <a:lnTo>
                  <a:pt x="1737" y="717"/>
                </a:lnTo>
                <a:lnTo>
                  <a:pt x="1738" y="718"/>
                </a:lnTo>
                <a:close/>
                <a:moveTo>
                  <a:pt x="1737" y="554"/>
                </a:moveTo>
                <a:lnTo>
                  <a:pt x="1739" y="554"/>
                </a:lnTo>
                <a:lnTo>
                  <a:pt x="1741" y="553"/>
                </a:lnTo>
                <a:lnTo>
                  <a:pt x="1739" y="554"/>
                </a:lnTo>
                <a:lnTo>
                  <a:pt x="1737" y="554"/>
                </a:lnTo>
                <a:close/>
                <a:moveTo>
                  <a:pt x="1736" y="464"/>
                </a:moveTo>
                <a:lnTo>
                  <a:pt x="1735" y="464"/>
                </a:lnTo>
                <a:lnTo>
                  <a:pt x="1735" y="464"/>
                </a:lnTo>
                <a:lnTo>
                  <a:pt x="1735" y="464"/>
                </a:lnTo>
                <a:lnTo>
                  <a:pt x="1736" y="464"/>
                </a:lnTo>
                <a:close/>
                <a:moveTo>
                  <a:pt x="1734" y="453"/>
                </a:moveTo>
                <a:lnTo>
                  <a:pt x="1734" y="453"/>
                </a:lnTo>
                <a:lnTo>
                  <a:pt x="1736" y="453"/>
                </a:lnTo>
                <a:lnTo>
                  <a:pt x="1738" y="453"/>
                </a:lnTo>
                <a:lnTo>
                  <a:pt x="1736" y="453"/>
                </a:lnTo>
                <a:lnTo>
                  <a:pt x="1734" y="453"/>
                </a:lnTo>
                <a:close/>
                <a:moveTo>
                  <a:pt x="1747" y="462"/>
                </a:moveTo>
                <a:lnTo>
                  <a:pt x="1746" y="462"/>
                </a:lnTo>
                <a:lnTo>
                  <a:pt x="1746" y="462"/>
                </a:lnTo>
                <a:lnTo>
                  <a:pt x="1746" y="462"/>
                </a:lnTo>
                <a:lnTo>
                  <a:pt x="1747" y="462"/>
                </a:lnTo>
                <a:close/>
                <a:moveTo>
                  <a:pt x="1756" y="444"/>
                </a:moveTo>
                <a:lnTo>
                  <a:pt x="1744" y="447"/>
                </a:lnTo>
                <a:lnTo>
                  <a:pt x="1732" y="448"/>
                </a:lnTo>
                <a:lnTo>
                  <a:pt x="1732" y="448"/>
                </a:lnTo>
                <a:lnTo>
                  <a:pt x="1732" y="448"/>
                </a:lnTo>
                <a:lnTo>
                  <a:pt x="1744" y="447"/>
                </a:lnTo>
                <a:lnTo>
                  <a:pt x="1756" y="444"/>
                </a:lnTo>
                <a:close/>
                <a:moveTo>
                  <a:pt x="1766" y="459"/>
                </a:moveTo>
                <a:lnTo>
                  <a:pt x="1770" y="459"/>
                </a:lnTo>
                <a:lnTo>
                  <a:pt x="1773" y="458"/>
                </a:lnTo>
                <a:lnTo>
                  <a:pt x="1770" y="459"/>
                </a:lnTo>
                <a:lnTo>
                  <a:pt x="1766" y="459"/>
                </a:lnTo>
                <a:lnTo>
                  <a:pt x="1766" y="459"/>
                </a:lnTo>
                <a:close/>
                <a:moveTo>
                  <a:pt x="1834" y="446"/>
                </a:moveTo>
                <a:lnTo>
                  <a:pt x="1837" y="446"/>
                </a:lnTo>
                <a:lnTo>
                  <a:pt x="1839" y="446"/>
                </a:lnTo>
                <a:lnTo>
                  <a:pt x="1837" y="446"/>
                </a:lnTo>
                <a:lnTo>
                  <a:pt x="1834" y="446"/>
                </a:lnTo>
                <a:lnTo>
                  <a:pt x="1833" y="445"/>
                </a:lnTo>
                <a:lnTo>
                  <a:pt x="1833" y="445"/>
                </a:lnTo>
                <a:lnTo>
                  <a:pt x="1833" y="445"/>
                </a:lnTo>
                <a:lnTo>
                  <a:pt x="1834" y="446"/>
                </a:lnTo>
                <a:close/>
                <a:moveTo>
                  <a:pt x="1936" y="581"/>
                </a:moveTo>
                <a:lnTo>
                  <a:pt x="1936" y="581"/>
                </a:lnTo>
                <a:lnTo>
                  <a:pt x="1934" y="580"/>
                </a:lnTo>
                <a:lnTo>
                  <a:pt x="1932" y="580"/>
                </a:lnTo>
                <a:lnTo>
                  <a:pt x="1934" y="580"/>
                </a:lnTo>
                <a:lnTo>
                  <a:pt x="1936" y="581"/>
                </a:lnTo>
                <a:close/>
                <a:moveTo>
                  <a:pt x="1955" y="596"/>
                </a:moveTo>
                <a:lnTo>
                  <a:pt x="1955" y="597"/>
                </a:lnTo>
                <a:lnTo>
                  <a:pt x="1956" y="597"/>
                </a:lnTo>
                <a:lnTo>
                  <a:pt x="1955" y="597"/>
                </a:lnTo>
                <a:lnTo>
                  <a:pt x="1955" y="596"/>
                </a:lnTo>
                <a:lnTo>
                  <a:pt x="1955" y="596"/>
                </a:lnTo>
                <a:close/>
                <a:moveTo>
                  <a:pt x="1974" y="604"/>
                </a:moveTo>
                <a:lnTo>
                  <a:pt x="1974" y="606"/>
                </a:lnTo>
                <a:lnTo>
                  <a:pt x="1974" y="606"/>
                </a:lnTo>
                <a:lnTo>
                  <a:pt x="1974" y="606"/>
                </a:lnTo>
                <a:lnTo>
                  <a:pt x="1974" y="604"/>
                </a:lnTo>
                <a:lnTo>
                  <a:pt x="1972" y="604"/>
                </a:lnTo>
                <a:lnTo>
                  <a:pt x="1972" y="604"/>
                </a:lnTo>
                <a:lnTo>
                  <a:pt x="1974" y="604"/>
                </a:lnTo>
                <a:close/>
                <a:moveTo>
                  <a:pt x="1984" y="557"/>
                </a:moveTo>
                <a:lnTo>
                  <a:pt x="1984" y="557"/>
                </a:lnTo>
                <a:lnTo>
                  <a:pt x="1984" y="557"/>
                </a:lnTo>
                <a:lnTo>
                  <a:pt x="1983" y="556"/>
                </a:lnTo>
                <a:lnTo>
                  <a:pt x="1984" y="557"/>
                </a:lnTo>
                <a:close/>
                <a:moveTo>
                  <a:pt x="1994" y="612"/>
                </a:moveTo>
                <a:lnTo>
                  <a:pt x="1993" y="612"/>
                </a:lnTo>
                <a:lnTo>
                  <a:pt x="1992" y="611"/>
                </a:lnTo>
                <a:lnTo>
                  <a:pt x="1992" y="612"/>
                </a:lnTo>
                <a:lnTo>
                  <a:pt x="1992" y="612"/>
                </a:lnTo>
                <a:lnTo>
                  <a:pt x="1992" y="612"/>
                </a:lnTo>
                <a:lnTo>
                  <a:pt x="1992" y="611"/>
                </a:lnTo>
                <a:lnTo>
                  <a:pt x="1993" y="612"/>
                </a:lnTo>
                <a:lnTo>
                  <a:pt x="1994" y="612"/>
                </a:lnTo>
                <a:close/>
                <a:moveTo>
                  <a:pt x="1995" y="554"/>
                </a:moveTo>
                <a:lnTo>
                  <a:pt x="1992" y="553"/>
                </a:lnTo>
                <a:lnTo>
                  <a:pt x="1989" y="554"/>
                </a:lnTo>
                <a:lnTo>
                  <a:pt x="1992" y="553"/>
                </a:lnTo>
                <a:lnTo>
                  <a:pt x="1995" y="554"/>
                </a:lnTo>
                <a:close/>
                <a:moveTo>
                  <a:pt x="2000" y="614"/>
                </a:moveTo>
                <a:lnTo>
                  <a:pt x="2000" y="613"/>
                </a:lnTo>
                <a:lnTo>
                  <a:pt x="1999" y="612"/>
                </a:lnTo>
                <a:lnTo>
                  <a:pt x="2000" y="613"/>
                </a:lnTo>
                <a:lnTo>
                  <a:pt x="2000" y="614"/>
                </a:lnTo>
                <a:close/>
                <a:moveTo>
                  <a:pt x="1996" y="543"/>
                </a:moveTo>
                <a:lnTo>
                  <a:pt x="1999" y="543"/>
                </a:lnTo>
                <a:lnTo>
                  <a:pt x="2002" y="543"/>
                </a:lnTo>
                <a:lnTo>
                  <a:pt x="1999" y="543"/>
                </a:lnTo>
                <a:lnTo>
                  <a:pt x="1996" y="543"/>
                </a:lnTo>
                <a:close/>
                <a:moveTo>
                  <a:pt x="2005" y="547"/>
                </a:moveTo>
                <a:lnTo>
                  <a:pt x="2004" y="546"/>
                </a:lnTo>
                <a:lnTo>
                  <a:pt x="2004" y="546"/>
                </a:lnTo>
                <a:lnTo>
                  <a:pt x="2004" y="546"/>
                </a:lnTo>
                <a:lnTo>
                  <a:pt x="2005" y="547"/>
                </a:lnTo>
                <a:close/>
                <a:moveTo>
                  <a:pt x="2031" y="577"/>
                </a:moveTo>
                <a:lnTo>
                  <a:pt x="2031" y="577"/>
                </a:lnTo>
                <a:lnTo>
                  <a:pt x="2031" y="578"/>
                </a:lnTo>
                <a:lnTo>
                  <a:pt x="2031" y="577"/>
                </a:lnTo>
                <a:lnTo>
                  <a:pt x="2031" y="577"/>
                </a:lnTo>
                <a:close/>
                <a:moveTo>
                  <a:pt x="2050" y="585"/>
                </a:moveTo>
                <a:lnTo>
                  <a:pt x="2050" y="585"/>
                </a:lnTo>
                <a:lnTo>
                  <a:pt x="2049" y="584"/>
                </a:lnTo>
                <a:lnTo>
                  <a:pt x="2047" y="583"/>
                </a:lnTo>
                <a:lnTo>
                  <a:pt x="2049" y="584"/>
                </a:lnTo>
                <a:lnTo>
                  <a:pt x="2050" y="585"/>
                </a:lnTo>
                <a:close/>
                <a:moveTo>
                  <a:pt x="2055" y="599"/>
                </a:moveTo>
                <a:lnTo>
                  <a:pt x="2055" y="598"/>
                </a:lnTo>
                <a:lnTo>
                  <a:pt x="2054" y="596"/>
                </a:lnTo>
                <a:lnTo>
                  <a:pt x="2054" y="594"/>
                </a:lnTo>
                <a:lnTo>
                  <a:pt x="2054" y="593"/>
                </a:lnTo>
                <a:lnTo>
                  <a:pt x="2054" y="594"/>
                </a:lnTo>
                <a:lnTo>
                  <a:pt x="2054" y="596"/>
                </a:lnTo>
                <a:lnTo>
                  <a:pt x="2055" y="598"/>
                </a:lnTo>
                <a:lnTo>
                  <a:pt x="2055" y="599"/>
                </a:lnTo>
                <a:lnTo>
                  <a:pt x="2054" y="600"/>
                </a:lnTo>
                <a:lnTo>
                  <a:pt x="2052" y="601"/>
                </a:lnTo>
                <a:lnTo>
                  <a:pt x="2054" y="600"/>
                </a:lnTo>
                <a:lnTo>
                  <a:pt x="2055" y="599"/>
                </a:lnTo>
                <a:close/>
                <a:moveTo>
                  <a:pt x="2053" y="591"/>
                </a:moveTo>
                <a:lnTo>
                  <a:pt x="2052" y="589"/>
                </a:lnTo>
                <a:lnTo>
                  <a:pt x="2052" y="589"/>
                </a:lnTo>
                <a:lnTo>
                  <a:pt x="2052" y="589"/>
                </a:lnTo>
                <a:lnTo>
                  <a:pt x="2053" y="591"/>
                </a:lnTo>
                <a:close/>
                <a:moveTo>
                  <a:pt x="1720" y="470"/>
                </a:moveTo>
                <a:lnTo>
                  <a:pt x="1721" y="470"/>
                </a:lnTo>
                <a:lnTo>
                  <a:pt x="1722" y="469"/>
                </a:lnTo>
                <a:lnTo>
                  <a:pt x="1721" y="470"/>
                </a:lnTo>
                <a:lnTo>
                  <a:pt x="1720" y="470"/>
                </a:lnTo>
                <a:close/>
                <a:moveTo>
                  <a:pt x="1709" y="782"/>
                </a:moveTo>
                <a:lnTo>
                  <a:pt x="1708" y="781"/>
                </a:lnTo>
                <a:lnTo>
                  <a:pt x="1707" y="780"/>
                </a:lnTo>
                <a:lnTo>
                  <a:pt x="1708" y="781"/>
                </a:lnTo>
                <a:lnTo>
                  <a:pt x="1709" y="782"/>
                </a:lnTo>
                <a:lnTo>
                  <a:pt x="1710" y="786"/>
                </a:lnTo>
                <a:lnTo>
                  <a:pt x="1712" y="792"/>
                </a:lnTo>
                <a:lnTo>
                  <a:pt x="1710" y="786"/>
                </a:lnTo>
                <a:lnTo>
                  <a:pt x="1709" y="782"/>
                </a:lnTo>
                <a:close/>
                <a:moveTo>
                  <a:pt x="1704" y="419"/>
                </a:moveTo>
                <a:lnTo>
                  <a:pt x="1706" y="419"/>
                </a:lnTo>
                <a:lnTo>
                  <a:pt x="1708" y="418"/>
                </a:lnTo>
                <a:lnTo>
                  <a:pt x="1709" y="418"/>
                </a:lnTo>
                <a:lnTo>
                  <a:pt x="1709" y="418"/>
                </a:lnTo>
                <a:lnTo>
                  <a:pt x="1709" y="418"/>
                </a:lnTo>
                <a:lnTo>
                  <a:pt x="1708" y="418"/>
                </a:lnTo>
                <a:lnTo>
                  <a:pt x="1706" y="419"/>
                </a:lnTo>
                <a:lnTo>
                  <a:pt x="1704" y="419"/>
                </a:lnTo>
                <a:close/>
                <a:moveTo>
                  <a:pt x="1703" y="684"/>
                </a:moveTo>
                <a:lnTo>
                  <a:pt x="1704" y="685"/>
                </a:lnTo>
                <a:lnTo>
                  <a:pt x="1704" y="687"/>
                </a:lnTo>
                <a:lnTo>
                  <a:pt x="1704" y="685"/>
                </a:lnTo>
                <a:lnTo>
                  <a:pt x="1703" y="684"/>
                </a:lnTo>
                <a:close/>
                <a:moveTo>
                  <a:pt x="1704" y="690"/>
                </a:moveTo>
                <a:lnTo>
                  <a:pt x="1704" y="691"/>
                </a:lnTo>
                <a:lnTo>
                  <a:pt x="1705" y="691"/>
                </a:lnTo>
                <a:lnTo>
                  <a:pt x="1704" y="691"/>
                </a:lnTo>
                <a:lnTo>
                  <a:pt x="1704" y="690"/>
                </a:lnTo>
                <a:close/>
                <a:moveTo>
                  <a:pt x="1698" y="795"/>
                </a:moveTo>
                <a:lnTo>
                  <a:pt x="1692" y="796"/>
                </a:lnTo>
                <a:lnTo>
                  <a:pt x="1686" y="796"/>
                </a:lnTo>
                <a:lnTo>
                  <a:pt x="1679" y="795"/>
                </a:lnTo>
                <a:lnTo>
                  <a:pt x="1673" y="793"/>
                </a:lnTo>
                <a:lnTo>
                  <a:pt x="1671" y="792"/>
                </a:lnTo>
                <a:lnTo>
                  <a:pt x="1666" y="792"/>
                </a:lnTo>
                <a:lnTo>
                  <a:pt x="1663" y="792"/>
                </a:lnTo>
                <a:lnTo>
                  <a:pt x="1660" y="792"/>
                </a:lnTo>
                <a:lnTo>
                  <a:pt x="1653" y="794"/>
                </a:lnTo>
                <a:lnTo>
                  <a:pt x="1649" y="797"/>
                </a:lnTo>
                <a:lnTo>
                  <a:pt x="1649" y="797"/>
                </a:lnTo>
                <a:lnTo>
                  <a:pt x="1647" y="797"/>
                </a:lnTo>
                <a:lnTo>
                  <a:pt x="1645" y="797"/>
                </a:lnTo>
                <a:lnTo>
                  <a:pt x="1645" y="797"/>
                </a:lnTo>
                <a:lnTo>
                  <a:pt x="1648" y="791"/>
                </a:lnTo>
                <a:lnTo>
                  <a:pt x="1653" y="785"/>
                </a:lnTo>
                <a:lnTo>
                  <a:pt x="1655" y="784"/>
                </a:lnTo>
                <a:lnTo>
                  <a:pt x="1657" y="783"/>
                </a:lnTo>
                <a:lnTo>
                  <a:pt x="1657" y="782"/>
                </a:lnTo>
                <a:lnTo>
                  <a:pt x="1658" y="781"/>
                </a:lnTo>
                <a:lnTo>
                  <a:pt x="1657" y="782"/>
                </a:lnTo>
                <a:lnTo>
                  <a:pt x="1657" y="783"/>
                </a:lnTo>
                <a:lnTo>
                  <a:pt x="1658" y="783"/>
                </a:lnTo>
                <a:lnTo>
                  <a:pt x="1659" y="781"/>
                </a:lnTo>
                <a:lnTo>
                  <a:pt x="1660" y="781"/>
                </a:lnTo>
                <a:lnTo>
                  <a:pt x="1662" y="781"/>
                </a:lnTo>
                <a:lnTo>
                  <a:pt x="1664" y="780"/>
                </a:lnTo>
                <a:lnTo>
                  <a:pt x="1667" y="780"/>
                </a:lnTo>
                <a:lnTo>
                  <a:pt x="1679" y="776"/>
                </a:lnTo>
                <a:lnTo>
                  <a:pt x="1691" y="774"/>
                </a:lnTo>
                <a:lnTo>
                  <a:pt x="1694" y="775"/>
                </a:lnTo>
                <a:lnTo>
                  <a:pt x="1697" y="776"/>
                </a:lnTo>
                <a:lnTo>
                  <a:pt x="1699" y="778"/>
                </a:lnTo>
                <a:lnTo>
                  <a:pt x="1699" y="781"/>
                </a:lnTo>
                <a:lnTo>
                  <a:pt x="1699" y="784"/>
                </a:lnTo>
                <a:lnTo>
                  <a:pt x="1702" y="787"/>
                </a:lnTo>
                <a:lnTo>
                  <a:pt x="1704" y="791"/>
                </a:lnTo>
                <a:lnTo>
                  <a:pt x="1704" y="794"/>
                </a:lnTo>
                <a:lnTo>
                  <a:pt x="1702" y="795"/>
                </a:lnTo>
                <a:lnTo>
                  <a:pt x="1698" y="795"/>
                </a:lnTo>
                <a:close/>
                <a:moveTo>
                  <a:pt x="1635" y="795"/>
                </a:moveTo>
                <a:lnTo>
                  <a:pt x="1640" y="791"/>
                </a:lnTo>
                <a:lnTo>
                  <a:pt x="1644" y="787"/>
                </a:lnTo>
                <a:lnTo>
                  <a:pt x="1640" y="791"/>
                </a:lnTo>
                <a:lnTo>
                  <a:pt x="1635" y="795"/>
                </a:lnTo>
                <a:close/>
                <a:moveTo>
                  <a:pt x="1640" y="798"/>
                </a:moveTo>
                <a:lnTo>
                  <a:pt x="1642" y="797"/>
                </a:lnTo>
                <a:lnTo>
                  <a:pt x="1644" y="797"/>
                </a:lnTo>
                <a:lnTo>
                  <a:pt x="1642" y="797"/>
                </a:lnTo>
                <a:lnTo>
                  <a:pt x="1640" y="798"/>
                </a:lnTo>
                <a:close/>
                <a:moveTo>
                  <a:pt x="1638" y="488"/>
                </a:moveTo>
                <a:lnTo>
                  <a:pt x="1641" y="485"/>
                </a:lnTo>
                <a:lnTo>
                  <a:pt x="1643" y="481"/>
                </a:lnTo>
                <a:lnTo>
                  <a:pt x="1641" y="485"/>
                </a:lnTo>
                <a:lnTo>
                  <a:pt x="1638" y="488"/>
                </a:lnTo>
                <a:lnTo>
                  <a:pt x="1637" y="488"/>
                </a:lnTo>
                <a:lnTo>
                  <a:pt x="1637" y="489"/>
                </a:lnTo>
                <a:lnTo>
                  <a:pt x="1637" y="488"/>
                </a:lnTo>
                <a:lnTo>
                  <a:pt x="1638" y="488"/>
                </a:lnTo>
                <a:close/>
                <a:moveTo>
                  <a:pt x="1648" y="612"/>
                </a:moveTo>
                <a:lnTo>
                  <a:pt x="1648" y="612"/>
                </a:lnTo>
                <a:lnTo>
                  <a:pt x="1648" y="613"/>
                </a:lnTo>
                <a:lnTo>
                  <a:pt x="1648" y="612"/>
                </a:lnTo>
                <a:lnTo>
                  <a:pt x="1648" y="612"/>
                </a:lnTo>
                <a:close/>
                <a:moveTo>
                  <a:pt x="1649" y="611"/>
                </a:moveTo>
                <a:lnTo>
                  <a:pt x="1649" y="610"/>
                </a:lnTo>
                <a:lnTo>
                  <a:pt x="1650" y="609"/>
                </a:lnTo>
                <a:lnTo>
                  <a:pt x="1649" y="610"/>
                </a:lnTo>
                <a:lnTo>
                  <a:pt x="1649" y="611"/>
                </a:lnTo>
                <a:lnTo>
                  <a:pt x="1649" y="611"/>
                </a:lnTo>
                <a:lnTo>
                  <a:pt x="1649" y="611"/>
                </a:lnTo>
                <a:lnTo>
                  <a:pt x="1649" y="611"/>
                </a:lnTo>
                <a:lnTo>
                  <a:pt x="1649" y="611"/>
                </a:lnTo>
                <a:close/>
                <a:moveTo>
                  <a:pt x="1650" y="599"/>
                </a:moveTo>
                <a:lnTo>
                  <a:pt x="1650" y="600"/>
                </a:lnTo>
                <a:lnTo>
                  <a:pt x="1649" y="601"/>
                </a:lnTo>
                <a:lnTo>
                  <a:pt x="1650" y="600"/>
                </a:lnTo>
                <a:lnTo>
                  <a:pt x="1650" y="599"/>
                </a:lnTo>
                <a:close/>
                <a:moveTo>
                  <a:pt x="1652" y="631"/>
                </a:moveTo>
                <a:lnTo>
                  <a:pt x="1651" y="630"/>
                </a:lnTo>
                <a:lnTo>
                  <a:pt x="1651" y="629"/>
                </a:lnTo>
                <a:lnTo>
                  <a:pt x="1651" y="630"/>
                </a:lnTo>
                <a:lnTo>
                  <a:pt x="1652" y="631"/>
                </a:lnTo>
                <a:close/>
                <a:moveTo>
                  <a:pt x="1653" y="591"/>
                </a:moveTo>
                <a:lnTo>
                  <a:pt x="1653" y="593"/>
                </a:lnTo>
                <a:lnTo>
                  <a:pt x="1653" y="594"/>
                </a:lnTo>
                <a:lnTo>
                  <a:pt x="1653" y="593"/>
                </a:lnTo>
                <a:lnTo>
                  <a:pt x="1653" y="591"/>
                </a:lnTo>
                <a:close/>
                <a:moveTo>
                  <a:pt x="1656" y="598"/>
                </a:moveTo>
                <a:lnTo>
                  <a:pt x="1656" y="599"/>
                </a:lnTo>
                <a:lnTo>
                  <a:pt x="1656" y="600"/>
                </a:lnTo>
                <a:lnTo>
                  <a:pt x="1656" y="599"/>
                </a:lnTo>
                <a:lnTo>
                  <a:pt x="1656" y="598"/>
                </a:lnTo>
                <a:close/>
                <a:moveTo>
                  <a:pt x="1665" y="567"/>
                </a:moveTo>
                <a:lnTo>
                  <a:pt x="1662" y="570"/>
                </a:lnTo>
                <a:lnTo>
                  <a:pt x="1659" y="573"/>
                </a:lnTo>
                <a:lnTo>
                  <a:pt x="1659" y="574"/>
                </a:lnTo>
                <a:lnTo>
                  <a:pt x="1658" y="576"/>
                </a:lnTo>
                <a:lnTo>
                  <a:pt x="1659" y="574"/>
                </a:lnTo>
                <a:lnTo>
                  <a:pt x="1659" y="573"/>
                </a:lnTo>
                <a:lnTo>
                  <a:pt x="1662" y="570"/>
                </a:lnTo>
                <a:lnTo>
                  <a:pt x="1665" y="567"/>
                </a:lnTo>
                <a:close/>
                <a:moveTo>
                  <a:pt x="1655" y="448"/>
                </a:moveTo>
                <a:lnTo>
                  <a:pt x="1670" y="440"/>
                </a:lnTo>
                <a:lnTo>
                  <a:pt x="1683" y="432"/>
                </a:lnTo>
                <a:lnTo>
                  <a:pt x="1670" y="440"/>
                </a:lnTo>
                <a:lnTo>
                  <a:pt x="1655" y="448"/>
                </a:lnTo>
                <a:close/>
                <a:moveTo>
                  <a:pt x="1673" y="409"/>
                </a:moveTo>
                <a:lnTo>
                  <a:pt x="1673" y="409"/>
                </a:lnTo>
                <a:lnTo>
                  <a:pt x="1665" y="412"/>
                </a:lnTo>
                <a:lnTo>
                  <a:pt x="1658" y="415"/>
                </a:lnTo>
                <a:lnTo>
                  <a:pt x="1665" y="412"/>
                </a:lnTo>
                <a:lnTo>
                  <a:pt x="1673" y="409"/>
                </a:lnTo>
                <a:close/>
                <a:moveTo>
                  <a:pt x="1683" y="425"/>
                </a:moveTo>
                <a:lnTo>
                  <a:pt x="1679" y="426"/>
                </a:lnTo>
                <a:lnTo>
                  <a:pt x="1675" y="427"/>
                </a:lnTo>
                <a:lnTo>
                  <a:pt x="1679" y="426"/>
                </a:lnTo>
                <a:lnTo>
                  <a:pt x="1683" y="425"/>
                </a:lnTo>
                <a:close/>
                <a:moveTo>
                  <a:pt x="1688" y="421"/>
                </a:moveTo>
                <a:lnTo>
                  <a:pt x="1687" y="421"/>
                </a:lnTo>
                <a:lnTo>
                  <a:pt x="1684" y="423"/>
                </a:lnTo>
                <a:lnTo>
                  <a:pt x="1687" y="421"/>
                </a:lnTo>
                <a:lnTo>
                  <a:pt x="1688" y="421"/>
                </a:lnTo>
                <a:close/>
                <a:moveTo>
                  <a:pt x="1694" y="453"/>
                </a:moveTo>
                <a:lnTo>
                  <a:pt x="1694" y="453"/>
                </a:lnTo>
                <a:lnTo>
                  <a:pt x="1691" y="453"/>
                </a:lnTo>
                <a:lnTo>
                  <a:pt x="1689" y="454"/>
                </a:lnTo>
                <a:lnTo>
                  <a:pt x="1691" y="453"/>
                </a:lnTo>
                <a:lnTo>
                  <a:pt x="1694" y="453"/>
                </a:lnTo>
                <a:close/>
                <a:moveTo>
                  <a:pt x="1683" y="405"/>
                </a:moveTo>
                <a:lnTo>
                  <a:pt x="1692" y="405"/>
                </a:lnTo>
                <a:lnTo>
                  <a:pt x="1701" y="403"/>
                </a:lnTo>
                <a:lnTo>
                  <a:pt x="1692" y="405"/>
                </a:lnTo>
                <a:lnTo>
                  <a:pt x="1683" y="405"/>
                </a:lnTo>
                <a:lnTo>
                  <a:pt x="1683" y="405"/>
                </a:lnTo>
                <a:close/>
                <a:moveTo>
                  <a:pt x="1702" y="689"/>
                </a:moveTo>
                <a:lnTo>
                  <a:pt x="1701" y="688"/>
                </a:lnTo>
                <a:lnTo>
                  <a:pt x="1701" y="687"/>
                </a:lnTo>
                <a:lnTo>
                  <a:pt x="1701" y="688"/>
                </a:lnTo>
                <a:lnTo>
                  <a:pt x="1702" y="689"/>
                </a:lnTo>
                <a:close/>
                <a:moveTo>
                  <a:pt x="1698" y="420"/>
                </a:moveTo>
                <a:lnTo>
                  <a:pt x="1697" y="420"/>
                </a:lnTo>
                <a:lnTo>
                  <a:pt x="1695" y="421"/>
                </a:lnTo>
                <a:lnTo>
                  <a:pt x="1697" y="421"/>
                </a:lnTo>
                <a:lnTo>
                  <a:pt x="1698" y="420"/>
                </a:lnTo>
                <a:lnTo>
                  <a:pt x="1698" y="420"/>
                </a:lnTo>
                <a:lnTo>
                  <a:pt x="1699" y="423"/>
                </a:lnTo>
                <a:lnTo>
                  <a:pt x="1702" y="425"/>
                </a:lnTo>
                <a:lnTo>
                  <a:pt x="1701" y="425"/>
                </a:lnTo>
                <a:lnTo>
                  <a:pt x="1701" y="425"/>
                </a:lnTo>
                <a:lnTo>
                  <a:pt x="1702" y="425"/>
                </a:lnTo>
                <a:lnTo>
                  <a:pt x="1699" y="423"/>
                </a:lnTo>
                <a:lnTo>
                  <a:pt x="1698" y="420"/>
                </a:lnTo>
                <a:close/>
                <a:moveTo>
                  <a:pt x="1699" y="680"/>
                </a:moveTo>
                <a:lnTo>
                  <a:pt x="1698" y="680"/>
                </a:lnTo>
                <a:lnTo>
                  <a:pt x="1698" y="679"/>
                </a:lnTo>
                <a:lnTo>
                  <a:pt x="1698" y="680"/>
                </a:lnTo>
                <a:lnTo>
                  <a:pt x="1699" y="680"/>
                </a:lnTo>
                <a:close/>
                <a:moveTo>
                  <a:pt x="1696" y="675"/>
                </a:moveTo>
                <a:lnTo>
                  <a:pt x="1698" y="676"/>
                </a:lnTo>
                <a:lnTo>
                  <a:pt x="1698" y="677"/>
                </a:lnTo>
                <a:lnTo>
                  <a:pt x="1698" y="676"/>
                </a:lnTo>
                <a:lnTo>
                  <a:pt x="1696" y="675"/>
                </a:lnTo>
                <a:lnTo>
                  <a:pt x="1696" y="674"/>
                </a:lnTo>
                <a:lnTo>
                  <a:pt x="1695" y="673"/>
                </a:lnTo>
                <a:lnTo>
                  <a:pt x="1696" y="674"/>
                </a:lnTo>
                <a:lnTo>
                  <a:pt x="1696" y="675"/>
                </a:lnTo>
                <a:close/>
                <a:moveTo>
                  <a:pt x="1695" y="427"/>
                </a:moveTo>
                <a:lnTo>
                  <a:pt x="1694" y="427"/>
                </a:lnTo>
                <a:lnTo>
                  <a:pt x="1694" y="427"/>
                </a:lnTo>
                <a:lnTo>
                  <a:pt x="1694" y="427"/>
                </a:lnTo>
                <a:lnTo>
                  <a:pt x="1695" y="427"/>
                </a:lnTo>
                <a:close/>
                <a:moveTo>
                  <a:pt x="1628" y="800"/>
                </a:moveTo>
                <a:lnTo>
                  <a:pt x="1630" y="797"/>
                </a:lnTo>
                <a:lnTo>
                  <a:pt x="1632" y="796"/>
                </a:lnTo>
                <a:lnTo>
                  <a:pt x="1630" y="797"/>
                </a:lnTo>
                <a:lnTo>
                  <a:pt x="1628" y="800"/>
                </a:lnTo>
                <a:close/>
                <a:moveTo>
                  <a:pt x="1631" y="807"/>
                </a:moveTo>
                <a:lnTo>
                  <a:pt x="1630" y="810"/>
                </a:lnTo>
                <a:lnTo>
                  <a:pt x="1629" y="813"/>
                </a:lnTo>
                <a:lnTo>
                  <a:pt x="1630" y="810"/>
                </a:lnTo>
                <a:lnTo>
                  <a:pt x="1631" y="807"/>
                </a:lnTo>
                <a:lnTo>
                  <a:pt x="1628" y="807"/>
                </a:lnTo>
                <a:lnTo>
                  <a:pt x="1626" y="806"/>
                </a:lnTo>
                <a:lnTo>
                  <a:pt x="1626" y="805"/>
                </a:lnTo>
                <a:lnTo>
                  <a:pt x="1626" y="802"/>
                </a:lnTo>
                <a:lnTo>
                  <a:pt x="1626" y="805"/>
                </a:lnTo>
                <a:lnTo>
                  <a:pt x="1626" y="806"/>
                </a:lnTo>
                <a:lnTo>
                  <a:pt x="1628" y="807"/>
                </a:lnTo>
                <a:lnTo>
                  <a:pt x="1631" y="807"/>
                </a:lnTo>
                <a:lnTo>
                  <a:pt x="1631" y="807"/>
                </a:lnTo>
                <a:lnTo>
                  <a:pt x="1632" y="807"/>
                </a:lnTo>
                <a:lnTo>
                  <a:pt x="1631" y="807"/>
                </a:lnTo>
                <a:lnTo>
                  <a:pt x="1631" y="807"/>
                </a:lnTo>
                <a:close/>
                <a:moveTo>
                  <a:pt x="1623" y="653"/>
                </a:moveTo>
                <a:lnTo>
                  <a:pt x="1618" y="653"/>
                </a:lnTo>
                <a:lnTo>
                  <a:pt x="1613" y="653"/>
                </a:lnTo>
                <a:lnTo>
                  <a:pt x="1612" y="653"/>
                </a:lnTo>
                <a:lnTo>
                  <a:pt x="1611" y="653"/>
                </a:lnTo>
                <a:lnTo>
                  <a:pt x="1608" y="652"/>
                </a:lnTo>
                <a:lnTo>
                  <a:pt x="1608" y="650"/>
                </a:lnTo>
                <a:lnTo>
                  <a:pt x="1610" y="648"/>
                </a:lnTo>
                <a:lnTo>
                  <a:pt x="1613" y="647"/>
                </a:lnTo>
                <a:lnTo>
                  <a:pt x="1618" y="645"/>
                </a:lnTo>
                <a:lnTo>
                  <a:pt x="1625" y="644"/>
                </a:lnTo>
                <a:lnTo>
                  <a:pt x="1628" y="644"/>
                </a:lnTo>
                <a:lnTo>
                  <a:pt x="1630" y="646"/>
                </a:lnTo>
                <a:lnTo>
                  <a:pt x="1631" y="648"/>
                </a:lnTo>
                <a:lnTo>
                  <a:pt x="1631" y="652"/>
                </a:lnTo>
                <a:lnTo>
                  <a:pt x="1630" y="654"/>
                </a:lnTo>
                <a:lnTo>
                  <a:pt x="1629" y="654"/>
                </a:lnTo>
                <a:lnTo>
                  <a:pt x="1626" y="654"/>
                </a:lnTo>
                <a:lnTo>
                  <a:pt x="1623" y="653"/>
                </a:lnTo>
                <a:close/>
                <a:moveTo>
                  <a:pt x="1629" y="574"/>
                </a:moveTo>
                <a:lnTo>
                  <a:pt x="1629" y="574"/>
                </a:lnTo>
                <a:lnTo>
                  <a:pt x="1627" y="579"/>
                </a:lnTo>
                <a:lnTo>
                  <a:pt x="1623" y="581"/>
                </a:lnTo>
                <a:lnTo>
                  <a:pt x="1627" y="579"/>
                </a:lnTo>
                <a:lnTo>
                  <a:pt x="1629" y="574"/>
                </a:lnTo>
                <a:close/>
                <a:moveTo>
                  <a:pt x="1599" y="549"/>
                </a:moveTo>
                <a:lnTo>
                  <a:pt x="1599" y="551"/>
                </a:lnTo>
                <a:lnTo>
                  <a:pt x="1597" y="553"/>
                </a:lnTo>
                <a:lnTo>
                  <a:pt x="1596" y="554"/>
                </a:lnTo>
                <a:lnTo>
                  <a:pt x="1593" y="555"/>
                </a:lnTo>
                <a:lnTo>
                  <a:pt x="1596" y="554"/>
                </a:lnTo>
                <a:lnTo>
                  <a:pt x="1597" y="553"/>
                </a:lnTo>
                <a:lnTo>
                  <a:pt x="1599" y="551"/>
                </a:lnTo>
                <a:lnTo>
                  <a:pt x="1599" y="549"/>
                </a:lnTo>
                <a:lnTo>
                  <a:pt x="1601" y="547"/>
                </a:lnTo>
                <a:lnTo>
                  <a:pt x="1603" y="543"/>
                </a:lnTo>
                <a:lnTo>
                  <a:pt x="1601" y="547"/>
                </a:lnTo>
                <a:lnTo>
                  <a:pt x="1599" y="549"/>
                </a:lnTo>
                <a:close/>
                <a:moveTo>
                  <a:pt x="1581" y="488"/>
                </a:moveTo>
                <a:lnTo>
                  <a:pt x="1590" y="476"/>
                </a:lnTo>
                <a:lnTo>
                  <a:pt x="1600" y="463"/>
                </a:lnTo>
                <a:lnTo>
                  <a:pt x="1590" y="476"/>
                </a:lnTo>
                <a:lnTo>
                  <a:pt x="1581" y="488"/>
                </a:lnTo>
                <a:close/>
                <a:moveTo>
                  <a:pt x="1587" y="580"/>
                </a:moveTo>
                <a:lnTo>
                  <a:pt x="1587" y="582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7" y="582"/>
                </a:lnTo>
                <a:lnTo>
                  <a:pt x="1587" y="580"/>
                </a:lnTo>
                <a:lnTo>
                  <a:pt x="1587" y="580"/>
                </a:lnTo>
                <a:lnTo>
                  <a:pt x="1587" y="580"/>
                </a:lnTo>
                <a:lnTo>
                  <a:pt x="1589" y="569"/>
                </a:lnTo>
                <a:lnTo>
                  <a:pt x="1591" y="557"/>
                </a:lnTo>
                <a:lnTo>
                  <a:pt x="1589" y="569"/>
                </a:lnTo>
                <a:lnTo>
                  <a:pt x="1587" y="580"/>
                </a:lnTo>
                <a:close/>
                <a:moveTo>
                  <a:pt x="1588" y="585"/>
                </a:moveTo>
                <a:lnTo>
                  <a:pt x="1588" y="589"/>
                </a:lnTo>
                <a:lnTo>
                  <a:pt x="1589" y="593"/>
                </a:lnTo>
                <a:lnTo>
                  <a:pt x="1588" y="589"/>
                </a:lnTo>
                <a:lnTo>
                  <a:pt x="1588" y="585"/>
                </a:lnTo>
                <a:lnTo>
                  <a:pt x="1589" y="586"/>
                </a:lnTo>
                <a:lnTo>
                  <a:pt x="1590" y="587"/>
                </a:lnTo>
                <a:lnTo>
                  <a:pt x="1589" y="586"/>
                </a:lnTo>
                <a:lnTo>
                  <a:pt x="1588" y="585"/>
                </a:lnTo>
                <a:close/>
                <a:moveTo>
                  <a:pt x="1583" y="570"/>
                </a:moveTo>
                <a:lnTo>
                  <a:pt x="1583" y="574"/>
                </a:lnTo>
                <a:lnTo>
                  <a:pt x="1585" y="578"/>
                </a:lnTo>
                <a:lnTo>
                  <a:pt x="1583" y="574"/>
                </a:lnTo>
                <a:lnTo>
                  <a:pt x="1583" y="570"/>
                </a:lnTo>
                <a:close/>
                <a:moveTo>
                  <a:pt x="1580" y="506"/>
                </a:moveTo>
                <a:lnTo>
                  <a:pt x="1581" y="503"/>
                </a:lnTo>
                <a:lnTo>
                  <a:pt x="1581" y="501"/>
                </a:lnTo>
                <a:lnTo>
                  <a:pt x="1579" y="499"/>
                </a:lnTo>
                <a:lnTo>
                  <a:pt x="1577" y="496"/>
                </a:lnTo>
                <a:lnTo>
                  <a:pt x="1577" y="494"/>
                </a:lnTo>
                <a:lnTo>
                  <a:pt x="1579" y="491"/>
                </a:lnTo>
                <a:lnTo>
                  <a:pt x="1577" y="494"/>
                </a:lnTo>
                <a:lnTo>
                  <a:pt x="1577" y="496"/>
                </a:lnTo>
                <a:lnTo>
                  <a:pt x="1579" y="499"/>
                </a:lnTo>
                <a:lnTo>
                  <a:pt x="1581" y="501"/>
                </a:lnTo>
                <a:lnTo>
                  <a:pt x="1581" y="503"/>
                </a:lnTo>
                <a:lnTo>
                  <a:pt x="1580" y="506"/>
                </a:lnTo>
                <a:close/>
                <a:moveTo>
                  <a:pt x="1557" y="533"/>
                </a:moveTo>
                <a:lnTo>
                  <a:pt x="1555" y="531"/>
                </a:lnTo>
                <a:lnTo>
                  <a:pt x="1553" y="528"/>
                </a:lnTo>
                <a:lnTo>
                  <a:pt x="1555" y="531"/>
                </a:lnTo>
                <a:lnTo>
                  <a:pt x="1557" y="533"/>
                </a:lnTo>
                <a:lnTo>
                  <a:pt x="1557" y="535"/>
                </a:lnTo>
                <a:lnTo>
                  <a:pt x="1558" y="536"/>
                </a:lnTo>
                <a:lnTo>
                  <a:pt x="1557" y="535"/>
                </a:lnTo>
                <a:lnTo>
                  <a:pt x="1557" y="533"/>
                </a:lnTo>
                <a:close/>
                <a:moveTo>
                  <a:pt x="1540" y="592"/>
                </a:moveTo>
                <a:lnTo>
                  <a:pt x="1540" y="593"/>
                </a:lnTo>
                <a:lnTo>
                  <a:pt x="1539" y="594"/>
                </a:lnTo>
                <a:lnTo>
                  <a:pt x="1538" y="594"/>
                </a:lnTo>
                <a:lnTo>
                  <a:pt x="1536" y="595"/>
                </a:lnTo>
                <a:lnTo>
                  <a:pt x="1538" y="594"/>
                </a:lnTo>
                <a:lnTo>
                  <a:pt x="1539" y="594"/>
                </a:lnTo>
                <a:lnTo>
                  <a:pt x="1540" y="593"/>
                </a:lnTo>
                <a:lnTo>
                  <a:pt x="1540" y="592"/>
                </a:lnTo>
                <a:lnTo>
                  <a:pt x="1543" y="591"/>
                </a:lnTo>
                <a:lnTo>
                  <a:pt x="1545" y="589"/>
                </a:lnTo>
                <a:lnTo>
                  <a:pt x="1543" y="591"/>
                </a:lnTo>
                <a:lnTo>
                  <a:pt x="1540" y="592"/>
                </a:lnTo>
                <a:close/>
                <a:moveTo>
                  <a:pt x="1531" y="536"/>
                </a:moveTo>
                <a:lnTo>
                  <a:pt x="1538" y="538"/>
                </a:lnTo>
                <a:lnTo>
                  <a:pt x="1543" y="541"/>
                </a:lnTo>
                <a:lnTo>
                  <a:pt x="1538" y="538"/>
                </a:lnTo>
                <a:lnTo>
                  <a:pt x="1531" y="536"/>
                </a:lnTo>
                <a:lnTo>
                  <a:pt x="1531" y="536"/>
                </a:lnTo>
                <a:close/>
                <a:moveTo>
                  <a:pt x="1527" y="599"/>
                </a:moveTo>
                <a:lnTo>
                  <a:pt x="1528" y="598"/>
                </a:lnTo>
                <a:lnTo>
                  <a:pt x="1529" y="596"/>
                </a:lnTo>
                <a:lnTo>
                  <a:pt x="1528" y="598"/>
                </a:lnTo>
                <a:lnTo>
                  <a:pt x="1527" y="599"/>
                </a:lnTo>
                <a:close/>
                <a:moveTo>
                  <a:pt x="1295" y="667"/>
                </a:moveTo>
                <a:lnTo>
                  <a:pt x="1285" y="667"/>
                </a:lnTo>
                <a:lnTo>
                  <a:pt x="1277" y="664"/>
                </a:lnTo>
                <a:lnTo>
                  <a:pt x="1285" y="667"/>
                </a:lnTo>
                <a:lnTo>
                  <a:pt x="1295" y="667"/>
                </a:lnTo>
                <a:lnTo>
                  <a:pt x="1305" y="668"/>
                </a:lnTo>
                <a:lnTo>
                  <a:pt x="1317" y="670"/>
                </a:lnTo>
                <a:lnTo>
                  <a:pt x="1305" y="668"/>
                </a:lnTo>
                <a:lnTo>
                  <a:pt x="1295" y="667"/>
                </a:lnTo>
                <a:close/>
                <a:moveTo>
                  <a:pt x="1263" y="660"/>
                </a:moveTo>
                <a:lnTo>
                  <a:pt x="1261" y="662"/>
                </a:lnTo>
                <a:lnTo>
                  <a:pt x="1258" y="663"/>
                </a:lnTo>
                <a:lnTo>
                  <a:pt x="1255" y="664"/>
                </a:lnTo>
                <a:lnTo>
                  <a:pt x="1253" y="664"/>
                </a:lnTo>
                <a:lnTo>
                  <a:pt x="1255" y="664"/>
                </a:lnTo>
                <a:lnTo>
                  <a:pt x="1258" y="663"/>
                </a:lnTo>
                <a:lnTo>
                  <a:pt x="1261" y="662"/>
                </a:lnTo>
                <a:lnTo>
                  <a:pt x="1263" y="660"/>
                </a:lnTo>
                <a:lnTo>
                  <a:pt x="1266" y="660"/>
                </a:lnTo>
                <a:lnTo>
                  <a:pt x="1268" y="660"/>
                </a:lnTo>
                <a:lnTo>
                  <a:pt x="1266" y="660"/>
                </a:lnTo>
                <a:lnTo>
                  <a:pt x="1263" y="660"/>
                </a:lnTo>
                <a:close/>
                <a:moveTo>
                  <a:pt x="1239" y="664"/>
                </a:moveTo>
                <a:lnTo>
                  <a:pt x="1234" y="669"/>
                </a:lnTo>
                <a:lnTo>
                  <a:pt x="1228" y="672"/>
                </a:lnTo>
                <a:lnTo>
                  <a:pt x="1223" y="674"/>
                </a:lnTo>
                <a:lnTo>
                  <a:pt x="1217" y="675"/>
                </a:lnTo>
                <a:lnTo>
                  <a:pt x="1223" y="674"/>
                </a:lnTo>
                <a:lnTo>
                  <a:pt x="1228" y="672"/>
                </a:lnTo>
                <a:lnTo>
                  <a:pt x="1234" y="669"/>
                </a:lnTo>
                <a:lnTo>
                  <a:pt x="1239" y="664"/>
                </a:lnTo>
                <a:lnTo>
                  <a:pt x="1243" y="664"/>
                </a:lnTo>
                <a:lnTo>
                  <a:pt x="1249" y="663"/>
                </a:lnTo>
                <a:lnTo>
                  <a:pt x="1243" y="664"/>
                </a:lnTo>
                <a:lnTo>
                  <a:pt x="1239" y="664"/>
                </a:lnTo>
                <a:close/>
                <a:moveTo>
                  <a:pt x="1222" y="665"/>
                </a:moveTo>
                <a:lnTo>
                  <a:pt x="1222" y="665"/>
                </a:lnTo>
                <a:lnTo>
                  <a:pt x="1222" y="665"/>
                </a:lnTo>
                <a:close/>
                <a:moveTo>
                  <a:pt x="1191" y="679"/>
                </a:moveTo>
                <a:lnTo>
                  <a:pt x="1190" y="681"/>
                </a:lnTo>
                <a:lnTo>
                  <a:pt x="1188" y="683"/>
                </a:lnTo>
                <a:lnTo>
                  <a:pt x="1190" y="681"/>
                </a:lnTo>
                <a:lnTo>
                  <a:pt x="1191" y="679"/>
                </a:lnTo>
                <a:lnTo>
                  <a:pt x="1195" y="679"/>
                </a:lnTo>
                <a:lnTo>
                  <a:pt x="1200" y="679"/>
                </a:lnTo>
                <a:lnTo>
                  <a:pt x="1195" y="679"/>
                </a:lnTo>
                <a:lnTo>
                  <a:pt x="1191" y="679"/>
                </a:lnTo>
                <a:close/>
                <a:moveTo>
                  <a:pt x="1187" y="683"/>
                </a:moveTo>
                <a:lnTo>
                  <a:pt x="1187" y="680"/>
                </a:lnTo>
                <a:lnTo>
                  <a:pt x="1187" y="679"/>
                </a:lnTo>
                <a:lnTo>
                  <a:pt x="1187" y="680"/>
                </a:lnTo>
                <a:lnTo>
                  <a:pt x="1187" y="683"/>
                </a:lnTo>
                <a:lnTo>
                  <a:pt x="1186" y="686"/>
                </a:lnTo>
                <a:lnTo>
                  <a:pt x="1186" y="688"/>
                </a:lnTo>
                <a:lnTo>
                  <a:pt x="1186" y="689"/>
                </a:lnTo>
                <a:lnTo>
                  <a:pt x="1187" y="690"/>
                </a:lnTo>
                <a:lnTo>
                  <a:pt x="1186" y="689"/>
                </a:lnTo>
                <a:lnTo>
                  <a:pt x="1186" y="688"/>
                </a:lnTo>
                <a:lnTo>
                  <a:pt x="1186" y="686"/>
                </a:lnTo>
                <a:lnTo>
                  <a:pt x="1187" y="683"/>
                </a:lnTo>
                <a:close/>
                <a:moveTo>
                  <a:pt x="1080" y="696"/>
                </a:moveTo>
                <a:lnTo>
                  <a:pt x="1079" y="699"/>
                </a:lnTo>
                <a:lnTo>
                  <a:pt x="1077" y="700"/>
                </a:lnTo>
                <a:lnTo>
                  <a:pt x="1079" y="699"/>
                </a:lnTo>
                <a:lnTo>
                  <a:pt x="1080" y="696"/>
                </a:lnTo>
                <a:lnTo>
                  <a:pt x="1094" y="695"/>
                </a:lnTo>
                <a:lnTo>
                  <a:pt x="1107" y="694"/>
                </a:lnTo>
                <a:lnTo>
                  <a:pt x="1094" y="695"/>
                </a:lnTo>
                <a:lnTo>
                  <a:pt x="1080" y="696"/>
                </a:lnTo>
                <a:close/>
                <a:moveTo>
                  <a:pt x="1049" y="705"/>
                </a:moveTo>
                <a:lnTo>
                  <a:pt x="1044" y="705"/>
                </a:lnTo>
                <a:lnTo>
                  <a:pt x="1039" y="705"/>
                </a:lnTo>
                <a:lnTo>
                  <a:pt x="1023" y="705"/>
                </a:lnTo>
                <a:lnTo>
                  <a:pt x="1007" y="706"/>
                </a:lnTo>
                <a:lnTo>
                  <a:pt x="1023" y="705"/>
                </a:lnTo>
                <a:lnTo>
                  <a:pt x="1039" y="705"/>
                </a:lnTo>
                <a:lnTo>
                  <a:pt x="1044" y="705"/>
                </a:lnTo>
                <a:lnTo>
                  <a:pt x="1049" y="705"/>
                </a:lnTo>
                <a:lnTo>
                  <a:pt x="1050" y="703"/>
                </a:lnTo>
                <a:lnTo>
                  <a:pt x="1051" y="702"/>
                </a:lnTo>
                <a:lnTo>
                  <a:pt x="1050" y="703"/>
                </a:lnTo>
                <a:lnTo>
                  <a:pt x="1049" y="705"/>
                </a:lnTo>
                <a:lnTo>
                  <a:pt x="1065" y="705"/>
                </a:lnTo>
                <a:lnTo>
                  <a:pt x="1081" y="706"/>
                </a:lnTo>
                <a:lnTo>
                  <a:pt x="1065" y="705"/>
                </a:lnTo>
                <a:lnTo>
                  <a:pt x="1049" y="705"/>
                </a:lnTo>
                <a:close/>
                <a:moveTo>
                  <a:pt x="1000" y="696"/>
                </a:moveTo>
                <a:lnTo>
                  <a:pt x="998" y="699"/>
                </a:lnTo>
                <a:lnTo>
                  <a:pt x="997" y="700"/>
                </a:lnTo>
                <a:lnTo>
                  <a:pt x="995" y="701"/>
                </a:lnTo>
                <a:lnTo>
                  <a:pt x="993" y="701"/>
                </a:lnTo>
                <a:lnTo>
                  <a:pt x="995" y="701"/>
                </a:lnTo>
                <a:lnTo>
                  <a:pt x="997" y="700"/>
                </a:lnTo>
                <a:lnTo>
                  <a:pt x="998" y="699"/>
                </a:lnTo>
                <a:lnTo>
                  <a:pt x="1000" y="696"/>
                </a:lnTo>
                <a:lnTo>
                  <a:pt x="1004" y="696"/>
                </a:lnTo>
                <a:lnTo>
                  <a:pt x="1007" y="696"/>
                </a:lnTo>
                <a:lnTo>
                  <a:pt x="1004" y="696"/>
                </a:lnTo>
                <a:lnTo>
                  <a:pt x="1000" y="696"/>
                </a:lnTo>
                <a:close/>
                <a:moveTo>
                  <a:pt x="980" y="707"/>
                </a:moveTo>
                <a:lnTo>
                  <a:pt x="980" y="709"/>
                </a:lnTo>
                <a:lnTo>
                  <a:pt x="980" y="710"/>
                </a:lnTo>
                <a:lnTo>
                  <a:pt x="980" y="709"/>
                </a:lnTo>
                <a:lnTo>
                  <a:pt x="980" y="707"/>
                </a:lnTo>
                <a:lnTo>
                  <a:pt x="989" y="706"/>
                </a:lnTo>
                <a:lnTo>
                  <a:pt x="996" y="706"/>
                </a:lnTo>
                <a:lnTo>
                  <a:pt x="989" y="706"/>
                </a:lnTo>
                <a:lnTo>
                  <a:pt x="980" y="707"/>
                </a:lnTo>
                <a:close/>
                <a:moveTo>
                  <a:pt x="977" y="700"/>
                </a:moveTo>
                <a:lnTo>
                  <a:pt x="966" y="703"/>
                </a:lnTo>
                <a:lnTo>
                  <a:pt x="956" y="708"/>
                </a:lnTo>
                <a:lnTo>
                  <a:pt x="966" y="703"/>
                </a:lnTo>
                <a:lnTo>
                  <a:pt x="977" y="700"/>
                </a:lnTo>
                <a:lnTo>
                  <a:pt x="978" y="698"/>
                </a:lnTo>
                <a:lnTo>
                  <a:pt x="981" y="696"/>
                </a:lnTo>
                <a:lnTo>
                  <a:pt x="978" y="698"/>
                </a:lnTo>
                <a:lnTo>
                  <a:pt x="977" y="700"/>
                </a:lnTo>
                <a:close/>
                <a:moveTo>
                  <a:pt x="966" y="748"/>
                </a:moveTo>
                <a:lnTo>
                  <a:pt x="967" y="748"/>
                </a:lnTo>
                <a:lnTo>
                  <a:pt x="968" y="748"/>
                </a:lnTo>
                <a:lnTo>
                  <a:pt x="967" y="748"/>
                </a:lnTo>
                <a:lnTo>
                  <a:pt x="966" y="748"/>
                </a:lnTo>
                <a:close/>
                <a:moveTo>
                  <a:pt x="1071" y="696"/>
                </a:moveTo>
                <a:lnTo>
                  <a:pt x="1073" y="696"/>
                </a:lnTo>
                <a:lnTo>
                  <a:pt x="1075" y="696"/>
                </a:lnTo>
                <a:lnTo>
                  <a:pt x="1073" y="696"/>
                </a:lnTo>
                <a:lnTo>
                  <a:pt x="1071" y="696"/>
                </a:lnTo>
                <a:lnTo>
                  <a:pt x="1069" y="700"/>
                </a:lnTo>
                <a:lnTo>
                  <a:pt x="1067" y="700"/>
                </a:lnTo>
                <a:lnTo>
                  <a:pt x="1069" y="700"/>
                </a:lnTo>
                <a:lnTo>
                  <a:pt x="1071" y="696"/>
                </a:lnTo>
                <a:close/>
                <a:moveTo>
                  <a:pt x="934" y="791"/>
                </a:moveTo>
                <a:lnTo>
                  <a:pt x="921" y="801"/>
                </a:lnTo>
                <a:lnTo>
                  <a:pt x="908" y="812"/>
                </a:lnTo>
                <a:lnTo>
                  <a:pt x="905" y="814"/>
                </a:lnTo>
                <a:lnTo>
                  <a:pt x="902" y="816"/>
                </a:lnTo>
                <a:lnTo>
                  <a:pt x="900" y="820"/>
                </a:lnTo>
                <a:lnTo>
                  <a:pt x="900" y="823"/>
                </a:lnTo>
                <a:lnTo>
                  <a:pt x="898" y="828"/>
                </a:lnTo>
                <a:lnTo>
                  <a:pt x="894" y="833"/>
                </a:lnTo>
                <a:lnTo>
                  <a:pt x="893" y="836"/>
                </a:lnTo>
                <a:lnTo>
                  <a:pt x="892" y="839"/>
                </a:lnTo>
                <a:lnTo>
                  <a:pt x="892" y="842"/>
                </a:lnTo>
                <a:lnTo>
                  <a:pt x="893" y="845"/>
                </a:lnTo>
                <a:lnTo>
                  <a:pt x="893" y="845"/>
                </a:lnTo>
                <a:lnTo>
                  <a:pt x="893" y="845"/>
                </a:lnTo>
                <a:lnTo>
                  <a:pt x="891" y="846"/>
                </a:lnTo>
                <a:lnTo>
                  <a:pt x="890" y="847"/>
                </a:lnTo>
                <a:lnTo>
                  <a:pt x="889" y="849"/>
                </a:lnTo>
                <a:lnTo>
                  <a:pt x="889" y="851"/>
                </a:lnTo>
                <a:lnTo>
                  <a:pt x="890" y="854"/>
                </a:lnTo>
                <a:lnTo>
                  <a:pt x="891" y="856"/>
                </a:lnTo>
                <a:lnTo>
                  <a:pt x="892" y="862"/>
                </a:lnTo>
                <a:lnTo>
                  <a:pt x="893" y="869"/>
                </a:lnTo>
                <a:lnTo>
                  <a:pt x="893" y="877"/>
                </a:lnTo>
                <a:lnTo>
                  <a:pt x="893" y="887"/>
                </a:lnTo>
                <a:lnTo>
                  <a:pt x="893" y="897"/>
                </a:lnTo>
                <a:lnTo>
                  <a:pt x="893" y="906"/>
                </a:lnTo>
                <a:lnTo>
                  <a:pt x="889" y="918"/>
                </a:lnTo>
                <a:lnTo>
                  <a:pt x="887" y="930"/>
                </a:lnTo>
                <a:lnTo>
                  <a:pt x="885" y="930"/>
                </a:lnTo>
                <a:lnTo>
                  <a:pt x="883" y="930"/>
                </a:lnTo>
                <a:lnTo>
                  <a:pt x="883" y="927"/>
                </a:lnTo>
                <a:lnTo>
                  <a:pt x="882" y="924"/>
                </a:lnTo>
                <a:lnTo>
                  <a:pt x="880" y="922"/>
                </a:lnTo>
                <a:lnTo>
                  <a:pt x="879" y="921"/>
                </a:lnTo>
                <a:lnTo>
                  <a:pt x="875" y="920"/>
                </a:lnTo>
                <a:lnTo>
                  <a:pt x="869" y="921"/>
                </a:lnTo>
                <a:lnTo>
                  <a:pt x="865" y="923"/>
                </a:lnTo>
                <a:lnTo>
                  <a:pt x="862" y="924"/>
                </a:lnTo>
                <a:lnTo>
                  <a:pt x="860" y="928"/>
                </a:lnTo>
                <a:lnTo>
                  <a:pt x="858" y="930"/>
                </a:lnTo>
                <a:lnTo>
                  <a:pt x="860" y="928"/>
                </a:lnTo>
                <a:lnTo>
                  <a:pt x="862" y="924"/>
                </a:lnTo>
                <a:lnTo>
                  <a:pt x="862" y="919"/>
                </a:lnTo>
                <a:lnTo>
                  <a:pt x="861" y="915"/>
                </a:lnTo>
                <a:lnTo>
                  <a:pt x="858" y="910"/>
                </a:lnTo>
                <a:lnTo>
                  <a:pt x="857" y="906"/>
                </a:lnTo>
                <a:lnTo>
                  <a:pt x="855" y="898"/>
                </a:lnTo>
                <a:lnTo>
                  <a:pt x="852" y="888"/>
                </a:lnTo>
                <a:lnTo>
                  <a:pt x="848" y="879"/>
                </a:lnTo>
                <a:lnTo>
                  <a:pt x="843" y="872"/>
                </a:lnTo>
                <a:lnTo>
                  <a:pt x="839" y="867"/>
                </a:lnTo>
                <a:lnTo>
                  <a:pt x="835" y="861"/>
                </a:lnTo>
                <a:lnTo>
                  <a:pt x="830" y="849"/>
                </a:lnTo>
                <a:lnTo>
                  <a:pt x="825" y="839"/>
                </a:lnTo>
                <a:lnTo>
                  <a:pt x="818" y="828"/>
                </a:lnTo>
                <a:lnTo>
                  <a:pt x="812" y="817"/>
                </a:lnTo>
                <a:lnTo>
                  <a:pt x="811" y="815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0"/>
                </a:lnTo>
                <a:lnTo>
                  <a:pt x="809" y="808"/>
                </a:lnTo>
                <a:lnTo>
                  <a:pt x="811" y="797"/>
                </a:lnTo>
                <a:lnTo>
                  <a:pt x="814" y="786"/>
                </a:lnTo>
                <a:lnTo>
                  <a:pt x="817" y="785"/>
                </a:lnTo>
                <a:lnTo>
                  <a:pt x="817" y="784"/>
                </a:lnTo>
                <a:lnTo>
                  <a:pt x="817" y="782"/>
                </a:lnTo>
                <a:lnTo>
                  <a:pt x="816" y="780"/>
                </a:lnTo>
                <a:lnTo>
                  <a:pt x="816" y="778"/>
                </a:lnTo>
                <a:lnTo>
                  <a:pt x="817" y="776"/>
                </a:lnTo>
                <a:lnTo>
                  <a:pt x="818" y="778"/>
                </a:lnTo>
                <a:lnTo>
                  <a:pt x="821" y="779"/>
                </a:lnTo>
                <a:lnTo>
                  <a:pt x="823" y="779"/>
                </a:lnTo>
                <a:lnTo>
                  <a:pt x="825" y="777"/>
                </a:lnTo>
                <a:lnTo>
                  <a:pt x="827" y="775"/>
                </a:lnTo>
                <a:lnTo>
                  <a:pt x="830" y="770"/>
                </a:lnTo>
                <a:lnTo>
                  <a:pt x="831" y="769"/>
                </a:lnTo>
                <a:lnTo>
                  <a:pt x="833" y="770"/>
                </a:lnTo>
                <a:lnTo>
                  <a:pt x="835" y="772"/>
                </a:lnTo>
                <a:lnTo>
                  <a:pt x="837" y="777"/>
                </a:lnTo>
                <a:lnTo>
                  <a:pt x="838" y="778"/>
                </a:lnTo>
                <a:lnTo>
                  <a:pt x="840" y="777"/>
                </a:lnTo>
                <a:lnTo>
                  <a:pt x="843" y="777"/>
                </a:lnTo>
                <a:lnTo>
                  <a:pt x="845" y="777"/>
                </a:lnTo>
                <a:lnTo>
                  <a:pt x="847" y="777"/>
                </a:lnTo>
                <a:lnTo>
                  <a:pt x="849" y="778"/>
                </a:lnTo>
                <a:lnTo>
                  <a:pt x="852" y="782"/>
                </a:lnTo>
                <a:lnTo>
                  <a:pt x="854" y="786"/>
                </a:lnTo>
                <a:lnTo>
                  <a:pt x="855" y="793"/>
                </a:lnTo>
                <a:lnTo>
                  <a:pt x="857" y="798"/>
                </a:lnTo>
                <a:lnTo>
                  <a:pt x="859" y="801"/>
                </a:lnTo>
                <a:lnTo>
                  <a:pt x="861" y="803"/>
                </a:lnTo>
                <a:lnTo>
                  <a:pt x="864" y="803"/>
                </a:lnTo>
                <a:lnTo>
                  <a:pt x="868" y="802"/>
                </a:lnTo>
                <a:lnTo>
                  <a:pt x="872" y="801"/>
                </a:lnTo>
                <a:lnTo>
                  <a:pt x="874" y="799"/>
                </a:lnTo>
                <a:lnTo>
                  <a:pt x="875" y="797"/>
                </a:lnTo>
                <a:lnTo>
                  <a:pt x="875" y="796"/>
                </a:lnTo>
                <a:lnTo>
                  <a:pt x="875" y="794"/>
                </a:lnTo>
                <a:lnTo>
                  <a:pt x="874" y="792"/>
                </a:lnTo>
                <a:lnTo>
                  <a:pt x="873" y="788"/>
                </a:lnTo>
                <a:lnTo>
                  <a:pt x="872" y="785"/>
                </a:lnTo>
                <a:lnTo>
                  <a:pt x="870" y="780"/>
                </a:lnTo>
                <a:lnTo>
                  <a:pt x="869" y="774"/>
                </a:lnTo>
                <a:lnTo>
                  <a:pt x="867" y="770"/>
                </a:lnTo>
                <a:lnTo>
                  <a:pt x="865" y="768"/>
                </a:lnTo>
                <a:lnTo>
                  <a:pt x="862" y="766"/>
                </a:lnTo>
                <a:lnTo>
                  <a:pt x="859" y="764"/>
                </a:lnTo>
                <a:lnTo>
                  <a:pt x="857" y="763"/>
                </a:lnTo>
                <a:lnTo>
                  <a:pt x="857" y="761"/>
                </a:lnTo>
                <a:lnTo>
                  <a:pt x="857" y="759"/>
                </a:lnTo>
                <a:lnTo>
                  <a:pt x="857" y="756"/>
                </a:lnTo>
                <a:lnTo>
                  <a:pt x="862" y="759"/>
                </a:lnTo>
                <a:lnTo>
                  <a:pt x="868" y="759"/>
                </a:lnTo>
                <a:lnTo>
                  <a:pt x="873" y="759"/>
                </a:lnTo>
                <a:lnTo>
                  <a:pt x="877" y="756"/>
                </a:lnTo>
                <a:lnTo>
                  <a:pt x="880" y="754"/>
                </a:lnTo>
                <a:lnTo>
                  <a:pt x="882" y="753"/>
                </a:lnTo>
                <a:lnTo>
                  <a:pt x="883" y="755"/>
                </a:lnTo>
                <a:lnTo>
                  <a:pt x="883" y="759"/>
                </a:lnTo>
                <a:lnTo>
                  <a:pt x="884" y="762"/>
                </a:lnTo>
                <a:lnTo>
                  <a:pt x="886" y="764"/>
                </a:lnTo>
                <a:lnTo>
                  <a:pt x="888" y="765"/>
                </a:lnTo>
                <a:lnTo>
                  <a:pt x="891" y="765"/>
                </a:lnTo>
                <a:lnTo>
                  <a:pt x="898" y="764"/>
                </a:lnTo>
                <a:lnTo>
                  <a:pt x="903" y="764"/>
                </a:lnTo>
                <a:lnTo>
                  <a:pt x="905" y="764"/>
                </a:lnTo>
                <a:lnTo>
                  <a:pt x="908" y="765"/>
                </a:lnTo>
                <a:lnTo>
                  <a:pt x="910" y="766"/>
                </a:lnTo>
                <a:lnTo>
                  <a:pt x="913" y="769"/>
                </a:lnTo>
                <a:lnTo>
                  <a:pt x="914" y="770"/>
                </a:lnTo>
                <a:lnTo>
                  <a:pt x="916" y="770"/>
                </a:lnTo>
                <a:lnTo>
                  <a:pt x="919" y="770"/>
                </a:lnTo>
                <a:lnTo>
                  <a:pt x="921" y="769"/>
                </a:lnTo>
                <a:lnTo>
                  <a:pt x="928" y="766"/>
                </a:lnTo>
                <a:lnTo>
                  <a:pt x="933" y="761"/>
                </a:lnTo>
                <a:lnTo>
                  <a:pt x="933" y="767"/>
                </a:lnTo>
                <a:lnTo>
                  <a:pt x="931" y="772"/>
                </a:lnTo>
                <a:lnTo>
                  <a:pt x="929" y="775"/>
                </a:lnTo>
                <a:lnTo>
                  <a:pt x="929" y="777"/>
                </a:lnTo>
                <a:lnTo>
                  <a:pt x="930" y="779"/>
                </a:lnTo>
                <a:lnTo>
                  <a:pt x="932" y="781"/>
                </a:lnTo>
                <a:lnTo>
                  <a:pt x="935" y="782"/>
                </a:lnTo>
                <a:lnTo>
                  <a:pt x="936" y="785"/>
                </a:lnTo>
                <a:lnTo>
                  <a:pt x="936" y="787"/>
                </a:lnTo>
                <a:lnTo>
                  <a:pt x="934" y="791"/>
                </a:lnTo>
                <a:close/>
                <a:moveTo>
                  <a:pt x="809" y="813"/>
                </a:moveTo>
                <a:lnTo>
                  <a:pt x="809" y="815"/>
                </a:lnTo>
                <a:lnTo>
                  <a:pt x="809" y="816"/>
                </a:lnTo>
                <a:lnTo>
                  <a:pt x="808" y="817"/>
                </a:lnTo>
                <a:lnTo>
                  <a:pt x="806" y="816"/>
                </a:lnTo>
                <a:lnTo>
                  <a:pt x="806" y="816"/>
                </a:lnTo>
                <a:lnTo>
                  <a:pt x="806" y="815"/>
                </a:lnTo>
                <a:lnTo>
                  <a:pt x="807" y="813"/>
                </a:lnTo>
                <a:lnTo>
                  <a:pt x="807" y="813"/>
                </a:lnTo>
                <a:lnTo>
                  <a:pt x="807" y="812"/>
                </a:lnTo>
                <a:lnTo>
                  <a:pt x="807" y="813"/>
                </a:lnTo>
                <a:lnTo>
                  <a:pt x="807" y="813"/>
                </a:lnTo>
                <a:lnTo>
                  <a:pt x="808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close/>
                <a:moveTo>
                  <a:pt x="811" y="717"/>
                </a:moveTo>
                <a:lnTo>
                  <a:pt x="811" y="716"/>
                </a:lnTo>
                <a:lnTo>
                  <a:pt x="812" y="715"/>
                </a:lnTo>
                <a:lnTo>
                  <a:pt x="811" y="716"/>
                </a:lnTo>
                <a:lnTo>
                  <a:pt x="811" y="717"/>
                </a:lnTo>
                <a:lnTo>
                  <a:pt x="809" y="721"/>
                </a:lnTo>
                <a:lnTo>
                  <a:pt x="807" y="724"/>
                </a:lnTo>
                <a:lnTo>
                  <a:pt x="802" y="726"/>
                </a:lnTo>
                <a:lnTo>
                  <a:pt x="799" y="730"/>
                </a:lnTo>
                <a:lnTo>
                  <a:pt x="802" y="726"/>
                </a:lnTo>
                <a:lnTo>
                  <a:pt x="807" y="724"/>
                </a:lnTo>
                <a:lnTo>
                  <a:pt x="809" y="721"/>
                </a:lnTo>
                <a:lnTo>
                  <a:pt x="811" y="717"/>
                </a:lnTo>
                <a:close/>
                <a:moveTo>
                  <a:pt x="793" y="881"/>
                </a:moveTo>
                <a:lnTo>
                  <a:pt x="793" y="881"/>
                </a:lnTo>
                <a:lnTo>
                  <a:pt x="793" y="881"/>
                </a:lnTo>
                <a:lnTo>
                  <a:pt x="793" y="875"/>
                </a:lnTo>
                <a:lnTo>
                  <a:pt x="795" y="870"/>
                </a:lnTo>
                <a:lnTo>
                  <a:pt x="793" y="875"/>
                </a:lnTo>
                <a:lnTo>
                  <a:pt x="793" y="881"/>
                </a:lnTo>
                <a:close/>
                <a:moveTo>
                  <a:pt x="794" y="722"/>
                </a:moveTo>
                <a:lnTo>
                  <a:pt x="794" y="722"/>
                </a:lnTo>
                <a:lnTo>
                  <a:pt x="794" y="722"/>
                </a:lnTo>
                <a:lnTo>
                  <a:pt x="794" y="722"/>
                </a:lnTo>
                <a:close/>
                <a:moveTo>
                  <a:pt x="793" y="721"/>
                </a:moveTo>
                <a:lnTo>
                  <a:pt x="798" y="714"/>
                </a:lnTo>
                <a:lnTo>
                  <a:pt x="802" y="705"/>
                </a:lnTo>
                <a:lnTo>
                  <a:pt x="798" y="714"/>
                </a:lnTo>
                <a:lnTo>
                  <a:pt x="793" y="721"/>
                </a:lnTo>
                <a:close/>
                <a:moveTo>
                  <a:pt x="827" y="734"/>
                </a:moveTo>
                <a:lnTo>
                  <a:pt x="831" y="730"/>
                </a:lnTo>
                <a:lnTo>
                  <a:pt x="834" y="724"/>
                </a:lnTo>
                <a:lnTo>
                  <a:pt x="838" y="720"/>
                </a:lnTo>
                <a:lnTo>
                  <a:pt x="840" y="715"/>
                </a:lnTo>
                <a:lnTo>
                  <a:pt x="838" y="720"/>
                </a:lnTo>
                <a:lnTo>
                  <a:pt x="834" y="724"/>
                </a:lnTo>
                <a:lnTo>
                  <a:pt x="831" y="730"/>
                </a:lnTo>
                <a:lnTo>
                  <a:pt x="827" y="734"/>
                </a:lnTo>
                <a:lnTo>
                  <a:pt x="824" y="740"/>
                </a:lnTo>
                <a:lnTo>
                  <a:pt x="821" y="747"/>
                </a:lnTo>
                <a:lnTo>
                  <a:pt x="824" y="740"/>
                </a:lnTo>
                <a:lnTo>
                  <a:pt x="827" y="734"/>
                </a:lnTo>
                <a:close/>
                <a:moveTo>
                  <a:pt x="850" y="681"/>
                </a:moveTo>
                <a:lnTo>
                  <a:pt x="850" y="680"/>
                </a:lnTo>
                <a:lnTo>
                  <a:pt x="849" y="680"/>
                </a:lnTo>
                <a:lnTo>
                  <a:pt x="850" y="680"/>
                </a:lnTo>
                <a:lnTo>
                  <a:pt x="850" y="681"/>
                </a:lnTo>
                <a:close/>
                <a:moveTo>
                  <a:pt x="852" y="684"/>
                </a:moveTo>
                <a:lnTo>
                  <a:pt x="853" y="687"/>
                </a:lnTo>
                <a:lnTo>
                  <a:pt x="854" y="690"/>
                </a:lnTo>
                <a:lnTo>
                  <a:pt x="857" y="688"/>
                </a:lnTo>
                <a:lnTo>
                  <a:pt x="861" y="686"/>
                </a:lnTo>
                <a:lnTo>
                  <a:pt x="867" y="685"/>
                </a:lnTo>
                <a:lnTo>
                  <a:pt x="872" y="684"/>
                </a:lnTo>
                <a:lnTo>
                  <a:pt x="880" y="687"/>
                </a:lnTo>
                <a:lnTo>
                  <a:pt x="889" y="689"/>
                </a:lnTo>
                <a:lnTo>
                  <a:pt x="889" y="687"/>
                </a:lnTo>
                <a:lnTo>
                  <a:pt x="889" y="685"/>
                </a:lnTo>
                <a:lnTo>
                  <a:pt x="889" y="687"/>
                </a:lnTo>
                <a:lnTo>
                  <a:pt x="889" y="689"/>
                </a:lnTo>
                <a:lnTo>
                  <a:pt x="894" y="691"/>
                </a:lnTo>
                <a:lnTo>
                  <a:pt x="900" y="693"/>
                </a:lnTo>
                <a:lnTo>
                  <a:pt x="905" y="695"/>
                </a:lnTo>
                <a:lnTo>
                  <a:pt x="912" y="695"/>
                </a:lnTo>
                <a:lnTo>
                  <a:pt x="910" y="698"/>
                </a:lnTo>
                <a:lnTo>
                  <a:pt x="908" y="699"/>
                </a:lnTo>
                <a:lnTo>
                  <a:pt x="907" y="700"/>
                </a:lnTo>
                <a:lnTo>
                  <a:pt x="905" y="701"/>
                </a:lnTo>
                <a:lnTo>
                  <a:pt x="901" y="702"/>
                </a:lnTo>
                <a:lnTo>
                  <a:pt x="897" y="702"/>
                </a:lnTo>
                <a:lnTo>
                  <a:pt x="882" y="702"/>
                </a:lnTo>
                <a:lnTo>
                  <a:pt x="867" y="701"/>
                </a:lnTo>
                <a:lnTo>
                  <a:pt x="862" y="702"/>
                </a:lnTo>
                <a:lnTo>
                  <a:pt x="858" y="701"/>
                </a:lnTo>
                <a:lnTo>
                  <a:pt x="854" y="699"/>
                </a:lnTo>
                <a:lnTo>
                  <a:pt x="850" y="694"/>
                </a:lnTo>
                <a:lnTo>
                  <a:pt x="852" y="692"/>
                </a:lnTo>
                <a:lnTo>
                  <a:pt x="854" y="690"/>
                </a:lnTo>
                <a:lnTo>
                  <a:pt x="853" y="687"/>
                </a:lnTo>
                <a:lnTo>
                  <a:pt x="852" y="684"/>
                </a:lnTo>
                <a:close/>
                <a:moveTo>
                  <a:pt x="778" y="922"/>
                </a:moveTo>
                <a:lnTo>
                  <a:pt x="778" y="921"/>
                </a:lnTo>
                <a:lnTo>
                  <a:pt x="778" y="919"/>
                </a:lnTo>
                <a:lnTo>
                  <a:pt x="778" y="921"/>
                </a:lnTo>
                <a:lnTo>
                  <a:pt x="778" y="922"/>
                </a:lnTo>
                <a:lnTo>
                  <a:pt x="780" y="923"/>
                </a:lnTo>
                <a:lnTo>
                  <a:pt x="781" y="925"/>
                </a:lnTo>
                <a:lnTo>
                  <a:pt x="782" y="927"/>
                </a:lnTo>
                <a:lnTo>
                  <a:pt x="782" y="929"/>
                </a:lnTo>
                <a:lnTo>
                  <a:pt x="782" y="927"/>
                </a:lnTo>
                <a:lnTo>
                  <a:pt x="781" y="925"/>
                </a:lnTo>
                <a:lnTo>
                  <a:pt x="780" y="923"/>
                </a:lnTo>
                <a:lnTo>
                  <a:pt x="778" y="922"/>
                </a:lnTo>
                <a:close/>
                <a:moveTo>
                  <a:pt x="766" y="1078"/>
                </a:moveTo>
                <a:lnTo>
                  <a:pt x="766" y="1078"/>
                </a:lnTo>
                <a:lnTo>
                  <a:pt x="768" y="1077"/>
                </a:lnTo>
                <a:lnTo>
                  <a:pt x="770" y="1075"/>
                </a:lnTo>
                <a:lnTo>
                  <a:pt x="768" y="1077"/>
                </a:lnTo>
                <a:lnTo>
                  <a:pt x="766" y="1078"/>
                </a:lnTo>
                <a:close/>
                <a:moveTo>
                  <a:pt x="767" y="1330"/>
                </a:moveTo>
                <a:lnTo>
                  <a:pt x="766" y="1331"/>
                </a:lnTo>
                <a:lnTo>
                  <a:pt x="765" y="1331"/>
                </a:lnTo>
                <a:lnTo>
                  <a:pt x="766" y="1331"/>
                </a:lnTo>
                <a:lnTo>
                  <a:pt x="767" y="1330"/>
                </a:lnTo>
                <a:close/>
                <a:moveTo>
                  <a:pt x="763" y="1083"/>
                </a:moveTo>
                <a:lnTo>
                  <a:pt x="764" y="1082"/>
                </a:lnTo>
                <a:lnTo>
                  <a:pt x="765" y="1081"/>
                </a:lnTo>
                <a:lnTo>
                  <a:pt x="764" y="1082"/>
                </a:lnTo>
                <a:lnTo>
                  <a:pt x="763" y="1083"/>
                </a:lnTo>
                <a:close/>
                <a:moveTo>
                  <a:pt x="741" y="1333"/>
                </a:moveTo>
                <a:lnTo>
                  <a:pt x="736" y="1349"/>
                </a:lnTo>
                <a:lnTo>
                  <a:pt x="727" y="1364"/>
                </a:lnTo>
                <a:lnTo>
                  <a:pt x="727" y="1365"/>
                </a:lnTo>
                <a:lnTo>
                  <a:pt x="726" y="1366"/>
                </a:lnTo>
                <a:lnTo>
                  <a:pt x="725" y="1368"/>
                </a:lnTo>
                <a:lnTo>
                  <a:pt x="725" y="1371"/>
                </a:lnTo>
                <a:lnTo>
                  <a:pt x="723" y="1372"/>
                </a:lnTo>
                <a:lnTo>
                  <a:pt x="720" y="1373"/>
                </a:lnTo>
                <a:lnTo>
                  <a:pt x="717" y="1372"/>
                </a:lnTo>
                <a:lnTo>
                  <a:pt x="716" y="1371"/>
                </a:lnTo>
                <a:lnTo>
                  <a:pt x="715" y="1367"/>
                </a:lnTo>
                <a:lnTo>
                  <a:pt x="713" y="1365"/>
                </a:lnTo>
                <a:lnTo>
                  <a:pt x="712" y="1363"/>
                </a:lnTo>
                <a:lnTo>
                  <a:pt x="712" y="1361"/>
                </a:lnTo>
                <a:lnTo>
                  <a:pt x="716" y="1346"/>
                </a:lnTo>
                <a:lnTo>
                  <a:pt x="719" y="1332"/>
                </a:lnTo>
                <a:lnTo>
                  <a:pt x="721" y="1330"/>
                </a:lnTo>
                <a:lnTo>
                  <a:pt x="724" y="1327"/>
                </a:lnTo>
                <a:lnTo>
                  <a:pt x="727" y="1325"/>
                </a:lnTo>
                <a:lnTo>
                  <a:pt x="731" y="1322"/>
                </a:lnTo>
                <a:lnTo>
                  <a:pt x="733" y="1321"/>
                </a:lnTo>
                <a:lnTo>
                  <a:pt x="735" y="1321"/>
                </a:lnTo>
                <a:lnTo>
                  <a:pt x="737" y="1321"/>
                </a:lnTo>
                <a:lnTo>
                  <a:pt x="739" y="1323"/>
                </a:lnTo>
                <a:lnTo>
                  <a:pt x="740" y="1326"/>
                </a:lnTo>
                <a:lnTo>
                  <a:pt x="741" y="1328"/>
                </a:lnTo>
                <a:lnTo>
                  <a:pt x="742" y="1330"/>
                </a:lnTo>
                <a:lnTo>
                  <a:pt x="741" y="1333"/>
                </a:lnTo>
                <a:close/>
                <a:moveTo>
                  <a:pt x="708" y="986"/>
                </a:moveTo>
                <a:lnTo>
                  <a:pt x="708" y="983"/>
                </a:lnTo>
                <a:lnTo>
                  <a:pt x="707" y="980"/>
                </a:lnTo>
                <a:lnTo>
                  <a:pt x="708" y="983"/>
                </a:lnTo>
                <a:lnTo>
                  <a:pt x="708" y="986"/>
                </a:lnTo>
                <a:lnTo>
                  <a:pt x="708" y="986"/>
                </a:lnTo>
                <a:lnTo>
                  <a:pt x="712" y="989"/>
                </a:lnTo>
                <a:lnTo>
                  <a:pt x="713" y="991"/>
                </a:lnTo>
                <a:lnTo>
                  <a:pt x="712" y="989"/>
                </a:lnTo>
                <a:lnTo>
                  <a:pt x="708" y="986"/>
                </a:lnTo>
                <a:lnTo>
                  <a:pt x="708" y="986"/>
                </a:lnTo>
                <a:lnTo>
                  <a:pt x="708" y="986"/>
                </a:lnTo>
                <a:close/>
                <a:moveTo>
                  <a:pt x="691" y="1063"/>
                </a:moveTo>
                <a:lnTo>
                  <a:pt x="698" y="1061"/>
                </a:lnTo>
                <a:lnTo>
                  <a:pt x="705" y="1059"/>
                </a:lnTo>
                <a:lnTo>
                  <a:pt x="698" y="1061"/>
                </a:lnTo>
                <a:lnTo>
                  <a:pt x="691" y="1063"/>
                </a:lnTo>
                <a:close/>
                <a:moveTo>
                  <a:pt x="689" y="1105"/>
                </a:moveTo>
                <a:lnTo>
                  <a:pt x="689" y="1105"/>
                </a:lnTo>
                <a:lnTo>
                  <a:pt x="689" y="1104"/>
                </a:lnTo>
                <a:lnTo>
                  <a:pt x="688" y="1104"/>
                </a:lnTo>
                <a:lnTo>
                  <a:pt x="688" y="1103"/>
                </a:lnTo>
                <a:lnTo>
                  <a:pt x="688" y="1104"/>
                </a:lnTo>
                <a:lnTo>
                  <a:pt x="689" y="1104"/>
                </a:lnTo>
                <a:lnTo>
                  <a:pt x="689" y="1105"/>
                </a:lnTo>
                <a:lnTo>
                  <a:pt x="689" y="1105"/>
                </a:lnTo>
                <a:close/>
                <a:moveTo>
                  <a:pt x="697" y="1030"/>
                </a:moveTo>
                <a:lnTo>
                  <a:pt x="701" y="1027"/>
                </a:lnTo>
                <a:lnTo>
                  <a:pt x="703" y="1025"/>
                </a:lnTo>
                <a:lnTo>
                  <a:pt x="701" y="1027"/>
                </a:lnTo>
                <a:lnTo>
                  <a:pt x="697" y="1030"/>
                </a:lnTo>
                <a:lnTo>
                  <a:pt x="696" y="1030"/>
                </a:lnTo>
                <a:lnTo>
                  <a:pt x="694" y="1030"/>
                </a:lnTo>
                <a:lnTo>
                  <a:pt x="696" y="1030"/>
                </a:lnTo>
                <a:lnTo>
                  <a:pt x="697" y="1030"/>
                </a:lnTo>
                <a:close/>
                <a:moveTo>
                  <a:pt x="701" y="1014"/>
                </a:moveTo>
                <a:lnTo>
                  <a:pt x="701" y="1013"/>
                </a:lnTo>
                <a:lnTo>
                  <a:pt x="700" y="1013"/>
                </a:lnTo>
                <a:lnTo>
                  <a:pt x="701" y="1013"/>
                </a:lnTo>
                <a:lnTo>
                  <a:pt x="701" y="1014"/>
                </a:lnTo>
                <a:close/>
                <a:moveTo>
                  <a:pt x="484" y="1238"/>
                </a:moveTo>
                <a:lnTo>
                  <a:pt x="482" y="1240"/>
                </a:lnTo>
                <a:lnTo>
                  <a:pt x="480" y="1240"/>
                </a:lnTo>
                <a:lnTo>
                  <a:pt x="478" y="1239"/>
                </a:lnTo>
                <a:lnTo>
                  <a:pt x="476" y="1237"/>
                </a:lnTo>
                <a:lnTo>
                  <a:pt x="471" y="1233"/>
                </a:lnTo>
                <a:lnTo>
                  <a:pt x="469" y="1231"/>
                </a:lnTo>
                <a:lnTo>
                  <a:pt x="467" y="1234"/>
                </a:lnTo>
                <a:lnTo>
                  <a:pt x="464" y="1240"/>
                </a:lnTo>
                <a:lnTo>
                  <a:pt x="466" y="1242"/>
                </a:lnTo>
                <a:lnTo>
                  <a:pt x="467" y="1244"/>
                </a:lnTo>
                <a:lnTo>
                  <a:pt x="466" y="1242"/>
                </a:lnTo>
                <a:lnTo>
                  <a:pt x="464" y="1240"/>
                </a:lnTo>
                <a:lnTo>
                  <a:pt x="452" y="1235"/>
                </a:lnTo>
                <a:lnTo>
                  <a:pt x="442" y="1227"/>
                </a:lnTo>
                <a:lnTo>
                  <a:pt x="437" y="1223"/>
                </a:lnTo>
                <a:lnTo>
                  <a:pt x="433" y="1219"/>
                </a:lnTo>
                <a:lnTo>
                  <a:pt x="430" y="1212"/>
                </a:lnTo>
                <a:lnTo>
                  <a:pt x="428" y="1206"/>
                </a:lnTo>
                <a:lnTo>
                  <a:pt x="428" y="1203"/>
                </a:lnTo>
                <a:lnTo>
                  <a:pt x="427" y="1198"/>
                </a:lnTo>
                <a:lnTo>
                  <a:pt x="425" y="1197"/>
                </a:lnTo>
                <a:lnTo>
                  <a:pt x="424" y="1196"/>
                </a:lnTo>
                <a:lnTo>
                  <a:pt x="422" y="1195"/>
                </a:lnTo>
                <a:lnTo>
                  <a:pt x="419" y="1196"/>
                </a:lnTo>
                <a:lnTo>
                  <a:pt x="418" y="1195"/>
                </a:lnTo>
                <a:lnTo>
                  <a:pt x="417" y="1194"/>
                </a:lnTo>
                <a:lnTo>
                  <a:pt x="417" y="1193"/>
                </a:lnTo>
                <a:lnTo>
                  <a:pt x="417" y="1191"/>
                </a:lnTo>
                <a:lnTo>
                  <a:pt x="417" y="1189"/>
                </a:lnTo>
                <a:lnTo>
                  <a:pt x="418" y="1188"/>
                </a:lnTo>
                <a:lnTo>
                  <a:pt x="419" y="1188"/>
                </a:lnTo>
                <a:lnTo>
                  <a:pt x="421" y="1188"/>
                </a:lnTo>
                <a:lnTo>
                  <a:pt x="425" y="1189"/>
                </a:lnTo>
                <a:lnTo>
                  <a:pt x="429" y="1190"/>
                </a:lnTo>
                <a:lnTo>
                  <a:pt x="433" y="1191"/>
                </a:lnTo>
                <a:lnTo>
                  <a:pt x="435" y="1193"/>
                </a:lnTo>
                <a:lnTo>
                  <a:pt x="438" y="1197"/>
                </a:lnTo>
                <a:lnTo>
                  <a:pt x="443" y="1200"/>
                </a:lnTo>
                <a:lnTo>
                  <a:pt x="447" y="1204"/>
                </a:lnTo>
                <a:lnTo>
                  <a:pt x="451" y="1206"/>
                </a:lnTo>
                <a:lnTo>
                  <a:pt x="461" y="1210"/>
                </a:lnTo>
                <a:lnTo>
                  <a:pt x="469" y="1212"/>
                </a:lnTo>
                <a:lnTo>
                  <a:pt x="474" y="1213"/>
                </a:lnTo>
                <a:lnTo>
                  <a:pt x="476" y="1215"/>
                </a:lnTo>
                <a:lnTo>
                  <a:pt x="478" y="1218"/>
                </a:lnTo>
                <a:lnTo>
                  <a:pt x="480" y="1220"/>
                </a:lnTo>
                <a:lnTo>
                  <a:pt x="483" y="1224"/>
                </a:lnTo>
                <a:lnTo>
                  <a:pt x="488" y="1228"/>
                </a:lnTo>
                <a:lnTo>
                  <a:pt x="490" y="1230"/>
                </a:lnTo>
                <a:lnTo>
                  <a:pt x="492" y="1231"/>
                </a:lnTo>
                <a:lnTo>
                  <a:pt x="489" y="1235"/>
                </a:lnTo>
                <a:lnTo>
                  <a:pt x="484" y="1238"/>
                </a:lnTo>
                <a:close/>
                <a:moveTo>
                  <a:pt x="401" y="1215"/>
                </a:moveTo>
                <a:lnTo>
                  <a:pt x="398" y="1214"/>
                </a:lnTo>
                <a:lnTo>
                  <a:pt x="395" y="1212"/>
                </a:lnTo>
                <a:lnTo>
                  <a:pt x="398" y="1214"/>
                </a:lnTo>
                <a:lnTo>
                  <a:pt x="401" y="1215"/>
                </a:lnTo>
                <a:lnTo>
                  <a:pt x="401" y="1215"/>
                </a:lnTo>
                <a:lnTo>
                  <a:pt x="401" y="1216"/>
                </a:lnTo>
                <a:lnTo>
                  <a:pt x="401" y="1215"/>
                </a:lnTo>
                <a:close/>
                <a:moveTo>
                  <a:pt x="390" y="1120"/>
                </a:moveTo>
                <a:lnTo>
                  <a:pt x="389" y="1115"/>
                </a:lnTo>
                <a:lnTo>
                  <a:pt x="386" y="1111"/>
                </a:lnTo>
                <a:lnTo>
                  <a:pt x="389" y="1115"/>
                </a:lnTo>
                <a:lnTo>
                  <a:pt x="390" y="1120"/>
                </a:lnTo>
                <a:lnTo>
                  <a:pt x="393" y="1122"/>
                </a:lnTo>
                <a:lnTo>
                  <a:pt x="394" y="1124"/>
                </a:lnTo>
                <a:lnTo>
                  <a:pt x="393" y="1122"/>
                </a:lnTo>
                <a:lnTo>
                  <a:pt x="390" y="1120"/>
                </a:lnTo>
                <a:close/>
                <a:moveTo>
                  <a:pt x="359" y="1039"/>
                </a:moveTo>
                <a:lnTo>
                  <a:pt x="358" y="1039"/>
                </a:lnTo>
                <a:lnTo>
                  <a:pt x="358" y="1040"/>
                </a:lnTo>
                <a:lnTo>
                  <a:pt x="358" y="1039"/>
                </a:lnTo>
                <a:lnTo>
                  <a:pt x="359" y="1039"/>
                </a:lnTo>
                <a:close/>
                <a:moveTo>
                  <a:pt x="357" y="1224"/>
                </a:moveTo>
                <a:lnTo>
                  <a:pt x="355" y="1223"/>
                </a:lnTo>
                <a:lnTo>
                  <a:pt x="354" y="1223"/>
                </a:lnTo>
                <a:lnTo>
                  <a:pt x="354" y="1222"/>
                </a:lnTo>
                <a:lnTo>
                  <a:pt x="354" y="1220"/>
                </a:lnTo>
                <a:lnTo>
                  <a:pt x="354" y="1222"/>
                </a:lnTo>
                <a:lnTo>
                  <a:pt x="354" y="1223"/>
                </a:lnTo>
                <a:lnTo>
                  <a:pt x="355" y="1223"/>
                </a:lnTo>
                <a:lnTo>
                  <a:pt x="357" y="1224"/>
                </a:lnTo>
                <a:close/>
                <a:moveTo>
                  <a:pt x="329" y="1393"/>
                </a:moveTo>
                <a:lnTo>
                  <a:pt x="328" y="1394"/>
                </a:lnTo>
                <a:lnTo>
                  <a:pt x="327" y="1396"/>
                </a:lnTo>
                <a:lnTo>
                  <a:pt x="328" y="1394"/>
                </a:lnTo>
                <a:lnTo>
                  <a:pt x="329" y="1393"/>
                </a:lnTo>
                <a:close/>
                <a:moveTo>
                  <a:pt x="353" y="1417"/>
                </a:moveTo>
                <a:lnTo>
                  <a:pt x="353" y="1421"/>
                </a:lnTo>
                <a:lnTo>
                  <a:pt x="353" y="1425"/>
                </a:lnTo>
                <a:lnTo>
                  <a:pt x="353" y="1421"/>
                </a:lnTo>
                <a:lnTo>
                  <a:pt x="353" y="1417"/>
                </a:lnTo>
                <a:close/>
                <a:moveTo>
                  <a:pt x="455" y="1487"/>
                </a:moveTo>
                <a:lnTo>
                  <a:pt x="460" y="1489"/>
                </a:lnTo>
                <a:lnTo>
                  <a:pt x="463" y="1493"/>
                </a:lnTo>
                <a:lnTo>
                  <a:pt x="460" y="1489"/>
                </a:lnTo>
                <a:lnTo>
                  <a:pt x="455" y="1487"/>
                </a:lnTo>
                <a:lnTo>
                  <a:pt x="450" y="1482"/>
                </a:lnTo>
                <a:lnTo>
                  <a:pt x="444" y="1478"/>
                </a:lnTo>
                <a:lnTo>
                  <a:pt x="450" y="1482"/>
                </a:lnTo>
                <a:lnTo>
                  <a:pt x="455" y="1487"/>
                </a:lnTo>
                <a:close/>
                <a:moveTo>
                  <a:pt x="469" y="1495"/>
                </a:moveTo>
                <a:lnTo>
                  <a:pt x="469" y="1493"/>
                </a:lnTo>
                <a:lnTo>
                  <a:pt x="469" y="1491"/>
                </a:lnTo>
                <a:lnTo>
                  <a:pt x="469" y="1493"/>
                </a:lnTo>
                <a:lnTo>
                  <a:pt x="469" y="1495"/>
                </a:lnTo>
                <a:close/>
                <a:moveTo>
                  <a:pt x="469" y="1495"/>
                </a:moveTo>
                <a:lnTo>
                  <a:pt x="469" y="1495"/>
                </a:lnTo>
                <a:lnTo>
                  <a:pt x="469" y="1495"/>
                </a:lnTo>
                <a:lnTo>
                  <a:pt x="469" y="1495"/>
                </a:lnTo>
                <a:close/>
                <a:moveTo>
                  <a:pt x="1512" y="525"/>
                </a:moveTo>
                <a:lnTo>
                  <a:pt x="1512" y="525"/>
                </a:lnTo>
                <a:lnTo>
                  <a:pt x="1512" y="525"/>
                </a:lnTo>
                <a:lnTo>
                  <a:pt x="1512" y="525"/>
                </a:lnTo>
                <a:lnTo>
                  <a:pt x="1512" y="525"/>
                </a:lnTo>
                <a:close/>
                <a:moveTo>
                  <a:pt x="1213" y="489"/>
                </a:moveTo>
                <a:lnTo>
                  <a:pt x="1213" y="489"/>
                </a:lnTo>
                <a:lnTo>
                  <a:pt x="1214" y="489"/>
                </a:lnTo>
                <a:lnTo>
                  <a:pt x="1213" y="489"/>
                </a:lnTo>
                <a:lnTo>
                  <a:pt x="1213" y="489"/>
                </a:lnTo>
                <a:close/>
                <a:moveTo>
                  <a:pt x="1072" y="487"/>
                </a:moveTo>
                <a:lnTo>
                  <a:pt x="1083" y="484"/>
                </a:lnTo>
                <a:lnTo>
                  <a:pt x="1092" y="479"/>
                </a:lnTo>
                <a:lnTo>
                  <a:pt x="1103" y="475"/>
                </a:lnTo>
                <a:lnTo>
                  <a:pt x="1113" y="470"/>
                </a:lnTo>
                <a:lnTo>
                  <a:pt x="1113" y="470"/>
                </a:lnTo>
                <a:lnTo>
                  <a:pt x="1103" y="475"/>
                </a:lnTo>
                <a:lnTo>
                  <a:pt x="1092" y="479"/>
                </a:lnTo>
                <a:lnTo>
                  <a:pt x="1083" y="484"/>
                </a:lnTo>
                <a:lnTo>
                  <a:pt x="1072" y="487"/>
                </a:lnTo>
                <a:close/>
                <a:moveTo>
                  <a:pt x="1047" y="568"/>
                </a:moveTo>
                <a:lnTo>
                  <a:pt x="1047" y="568"/>
                </a:lnTo>
                <a:lnTo>
                  <a:pt x="1049" y="568"/>
                </a:lnTo>
                <a:lnTo>
                  <a:pt x="1047" y="568"/>
                </a:lnTo>
                <a:lnTo>
                  <a:pt x="1047" y="568"/>
                </a:lnTo>
                <a:lnTo>
                  <a:pt x="1045" y="569"/>
                </a:lnTo>
                <a:lnTo>
                  <a:pt x="1044" y="569"/>
                </a:lnTo>
                <a:lnTo>
                  <a:pt x="1045" y="569"/>
                </a:lnTo>
                <a:lnTo>
                  <a:pt x="1047" y="568"/>
                </a:lnTo>
                <a:lnTo>
                  <a:pt x="1049" y="565"/>
                </a:lnTo>
                <a:lnTo>
                  <a:pt x="1050" y="564"/>
                </a:lnTo>
                <a:lnTo>
                  <a:pt x="1051" y="563"/>
                </a:lnTo>
                <a:lnTo>
                  <a:pt x="1053" y="562"/>
                </a:lnTo>
                <a:lnTo>
                  <a:pt x="1051" y="563"/>
                </a:lnTo>
                <a:lnTo>
                  <a:pt x="1050" y="564"/>
                </a:lnTo>
                <a:lnTo>
                  <a:pt x="1049" y="565"/>
                </a:lnTo>
                <a:lnTo>
                  <a:pt x="1047" y="568"/>
                </a:lnTo>
                <a:close/>
                <a:moveTo>
                  <a:pt x="992" y="542"/>
                </a:moveTo>
                <a:lnTo>
                  <a:pt x="993" y="539"/>
                </a:lnTo>
                <a:lnTo>
                  <a:pt x="994" y="536"/>
                </a:lnTo>
                <a:lnTo>
                  <a:pt x="994" y="536"/>
                </a:lnTo>
                <a:lnTo>
                  <a:pt x="993" y="539"/>
                </a:lnTo>
                <a:lnTo>
                  <a:pt x="992" y="542"/>
                </a:lnTo>
                <a:close/>
                <a:moveTo>
                  <a:pt x="982" y="549"/>
                </a:moveTo>
                <a:lnTo>
                  <a:pt x="981" y="549"/>
                </a:lnTo>
                <a:lnTo>
                  <a:pt x="980" y="549"/>
                </a:lnTo>
                <a:lnTo>
                  <a:pt x="981" y="549"/>
                </a:lnTo>
                <a:lnTo>
                  <a:pt x="982" y="549"/>
                </a:lnTo>
                <a:lnTo>
                  <a:pt x="983" y="549"/>
                </a:lnTo>
                <a:lnTo>
                  <a:pt x="984" y="549"/>
                </a:lnTo>
                <a:lnTo>
                  <a:pt x="983" y="549"/>
                </a:lnTo>
                <a:lnTo>
                  <a:pt x="982" y="549"/>
                </a:lnTo>
                <a:close/>
                <a:moveTo>
                  <a:pt x="977" y="557"/>
                </a:moveTo>
                <a:lnTo>
                  <a:pt x="978" y="555"/>
                </a:lnTo>
                <a:lnTo>
                  <a:pt x="978" y="554"/>
                </a:lnTo>
                <a:lnTo>
                  <a:pt x="978" y="555"/>
                </a:lnTo>
                <a:lnTo>
                  <a:pt x="977" y="557"/>
                </a:lnTo>
                <a:close/>
                <a:moveTo>
                  <a:pt x="973" y="562"/>
                </a:moveTo>
                <a:lnTo>
                  <a:pt x="973" y="563"/>
                </a:lnTo>
                <a:lnTo>
                  <a:pt x="971" y="563"/>
                </a:lnTo>
                <a:lnTo>
                  <a:pt x="973" y="563"/>
                </a:lnTo>
                <a:lnTo>
                  <a:pt x="973" y="562"/>
                </a:lnTo>
                <a:lnTo>
                  <a:pt x="974" y="560"/>
                </a:lnTo>
                <a:lnTo>
                  <a:pt x="976" y="557"/>
                </a:lnTo>
                <a:lnTo>
                  <a:pt x="974" y="560"/>
                </a:lnTo>
                <a:lnTo>
                  <a:pt x="973" y="562"/>
                </a:lnTo>
                <a:close/>
                <a:moveTo>
                  <a:pt x="947" y="585"/>
                </a:moveTo>
                <a:lnTo>
                  <a:pt x="947" y="588"/>
                </a:lnTo>
                <a:lnTo>
                  <a:pt x="946" y="589"/>
                </a:lnTo>
                <a:lnTo>
                  <a:pt x="947" y="588"/>
                </a:lnTo>
                <a:lnTo>
                  <a:pt x="947" y="585"/>
                </a:lnTo>
                <a:lnTo>
                  <a:pt x="948" y="585"/>
                </a:lnTo>
                <a:lnTo>
                  <a:pt x="949" y="584"/>
                </a:lnTo>
                <a:lnTo>
                  <a:pt x="948" y="585"/>
                </a:lnTo>
                <a:lnTo>
                  <a:pt x="947" y="585"/>
                </a:lnTo>
                <a:close/>
                <a:moveTo>
                  <a:pt x="943" y="597"/>
                </a:moveTo>
                <a:lnTo>
                  <a:pt x="943" y="597"/>
                </a:lnTo>
                <a:lnTo>
                  <a:pt x="944" y="597"/>
                </a:lnTo>
                <a:lnTo>
                  <a:pt x="943" y="597"/>
                </a:lnTo>
                <a:lnTo>
                  <a:pt x="943" y="597"/>
                </a:lnTo>
                <a:close/>
                <a:moveTo>
                  <a:pt x="960" y="527"/>
                </a:moveTo>
                <a:lnTo>
                  <a:pt x="960" y="527"/>
                </a:lnTo>
                <a:lnTo>
                  <a:pt x="965" y="530"/>
                </a:lnTo>
                <a:lnTo>
                  <a:pt x="970" y="533"/>
                </a:lnTo>
                <a:lnTo>
                  <a:pt x="965" y="530"/>
                </a:lnTo>
                <a:lnTo>
                  <a:pt x="960" y="527"/>
                </a:lnTo>
                <a:close/>
                <a:moveTo>
                  <a:pt x="917" y="527"/>
                </a:moveTo>
                <a:lnTo>
                  <a:pt x="918" y="526"/>
                </a:lnTo>
                <a:lnTo>
                  <a:pt x="918" y="526"/>
                </a:lnTo>
                <a:lnTo>
                  <a:pt x="918" y="527"/>
                </a:lnTo>
                <a:lnTo>
                  <a:pt x="917" y="527"/>
                </a:lnTo>
                <a:close/>
                <a:moveTo>
                  <a:pt x="868" y="495"/>
                </a:moveTo>
                <a:lnTo>
                  <a:pt x="864" y="494"/>
                </a:lnTo>
                <a:lnTo>
                  <a:pt x="862" y="494"/>
                </a:lnTo>
                <a:lnTo>
                  <a:pt x="864" y="494"/>
                </a:lnTo>
                <a:lnTo>
                  <a:pt x="868" y="495"/>
                </a:lnTo>
                <a:lnTo>
                  <a:pt x="871" y="495"/>
                </a:lnTo>
                <a:lnTo>
                  <a:pt x="873" y="496"/>
                </a:lnTo>
                <a:lnTo>
                  <a:pt x="871" y="495"/>
                </a:lnTo>
                <a:lnTo>
                  <a:pt x="868" y="495"/>
                </a:lnTo>
                <a:close/>
                <a:moveTo>
                  <a:pt x="811" y="512"/>
                </a:moveTo>
                <a:lnTo>
                  <a:pt x="817" y="518"/>
                </a:lnTo>
                <a:lnTo>
                  <a:pt x="825" y="521"/>
                </a:lnTo>
                <a:lnTo>
                  <a:pt x="817" y="518"/>
                </a:lnTo>
                <a:lnTo>
                  <a:pt x="811" y="512"/>
                </a:lnTo>
                <a:close/>
                <a:moveTo>
                  <a:pt x="740" y="503"/>
                </a:moveTo>
                <a:lnTo>
                  <a:pt x="740" y="503"/>
                </a:lnTo>
                <a:lnTo>
                  <a:pt x="741" y="503"/>
                </a:lnTo>
                <a:lnTo>
                  <a:pt x="740" y="503"/>
                </a:lnTo>
                <a:lnTo>
                  <a:pt x="740" y="503"/>
                </a:lnTo>
                <a:close/>
                <a:moveTo>
                  <a:pt x="724" y="481"/>
                </a:moveTo>
                <a:lnTo>
                  <a:pt x="725" y="475"/>
                </a:lnTo>
                <a:lnTo>
                  <a:pt x="726" y="470"/>
                </a:lnTo>
                <a:lnTo>
                  <a:pt x="725" y="475"/>
                </a:lnTo>
                <a:lnTo>
                  <a:pt x="724" y="481"/>
                </a:lnTo>
                <a:close/>
                <a:moveTo>
                  <a:pt x="707" y="379"/>
                </a:moveTo>
                <a:lnTo>
                  <a:pt x="705" y="379"/>
                </a:lnTo>
                <a:lnTo>
                  <a:pt x="703" y="379"/>
                </a:lnTo>
                <a:lnTo>
                  <a:pt x="703" y="379"/>
                </a:lnTo>
                <a:lnTo>
                  <a:pt x="705" y="379"/>
                </a:lnTo>
                <a:lnTo>
                  <a:pt x="707" y="379"/>
                </a:lnTo>
                <a:lnTo>
                  <a:pt x="709" y="378"/>
                </a:lnTo>
                <a:lnTo>
                  <a:pt x="712" y="377"/>
                </a:lnTo>
                <a:lnTo>
                  <a:pt x="709" y="378"/>
                </a:lnTo>
                <a:lnTo>
                  <a:pt x="707" y="379"/>
                </a:lnTo>
                <a:close/>
                <a:moveTo>
                  <a:pt x="692" y="82"/>
                </a:moveTo>
                <a:lnTo>
                  <a:pt x="695" y="82"/>
                </a:lnTo>
                <a:lnTo>
                  <a:pt x="697" y="81"/>
                </a:lnTo>
                <a:lnTo>
                  <a:pt x="695" y="82"/>
                </a:lnTo>
                <a:lnTo>
                  <a:pt x="692" y="82"/>
                </a:lnTo>
                <a:close/>
                <a:moveTo>
                  <a:pt x="685" y="419"/>
                </a:moveTo>
                <a:lnTo>
                  <a:pt x="682" y="420"/>
                </a:lnTo>
                <a:lnTo>
                  <a:pt x="681" y="420"/>
                </a:lnTo>
                <a:lnTo>
                  <a:pt x="680" y="419"/>
                </a:lnTo>
                <a:lnTo>
                  <a:pt x="679" y="417"/>
                </a:lnTo>
                <a:lnTo>
                  <a:pt x="678" y="416"/>
                </a:lnTo>
                <a:lnTo>
                  <a:pt x="677" y="416"/>
                </a:lnTo>
                <a:lnTo>
                  <a:pt x="676" y="417"/>
                </a:lnTo>
                <a:lnTo>
                  <a:pt x="675" y="418"/>
                </a:lnTo>
                <a:lnTo>
                  <a:pt x="673" y="419"/>
                </a:lnTo>
                <a:lnTo>
                  <a:pt x="672" y="419"/>
                </a:lnTo>
                <a:lnTo>
                  <a:pt x="672" y="418"/>
                </a:lnTo>
                <a:lnTo>
                  <a:pt x="671" y="416"/>
                </a:lnTo>
                <a:lnTo>
                  <a:pt x="670" y="416"/>
                </a:lnTo>
                <a:lnTo>
                  <a:pt x="671" y="415"/>
                </a:lnTo>
                <a:lnTo>
                  <a:pt x="671" y="415"/>
                </a:lnTo>
                <a:lnTo>
                  <a:pt x="672" y="415"/>
                </a:lnTo>
                <a:lnTo>
                  <a:pt x="674" y="411"/>
                </a:lnTo>
                <a:lnTo>
                  <a:pt x="677" y="407"/>
                </a:lnTo>
                <a:lnTo>
                  <a:pt x="681" y="405"/>
                </a:lnTo>
                <a:lnTo>
                  <a:pt x="687" y="405"/>
                </a:lnTo>
                <a:lnTo>
                  <a:pt x="687" y="405"/>
                </a:lnTo>
                <a:lnTo>
                  <a:pt x="689" y="409"/>
                </a:lnTo>
                <a:lnTo>
                  <a:pt x="689" y="413"/>
                </a:lnTo>
                <a:lnTo>
                  <a:pt x="687" y="416"/>
                </a:lnTo>
                <a:lnTo>
                  <a:pt x="685" y="419"/>
                </a:lnTo>
                <a:lnTo>
                  <a:pt x="687" y="420"/>
                </a:lnTo>
                <a:lnTo>
                  <a:pt x="688" y="420"/>
                </a:lnTo>
                <a:lnTo>
                  <a:pt x="690" y="420"/>
                </a:lnTo>
                <a:lnTo>
                  <a:pt x="691" y="419"/>
                </a:lnTo>
                <a:lnTo>
                  <a:pt x="690" y="420"/>
                </a:lnTo>
                <a:lnTo>
                  <a:pt x="688" y="420"/>
                </a:lnTo>
                <a:lnTo>
                  <a:pt x="687" y="420"/>
                </a:lnTo>
                <a:lnTo>
                  <a:pt x="685" y="419"/>
                </a:lnTo>
                <a:close/>
                <a:moveTo>
                  <a:pt x="687" y="451"/>
                </a:moveTo>
                <a:lnTo>
                  <a:pt x="683" y="451"/>
                </a:lnTo>
                <a:lnTo>
                  <a:pt x="680" y="450"/>
                </a:lnTo>
                <a:lnTo>
                  <a:pt x="683" y="451"/>
                </a:lnTo>
                <a:lnTo>
                  <a:pt x="687" y="451"/>
                </a:lnTo>
                <a:lnTo>
                  <a:pt x="687" y="451"/>
                </a:lnTo>
                <a:lnTo>
                  <a:pt x="687" y="451"/>
                </a:lnTo>
                <a:lnTo>
                  <a:pt x="687" y="451"/>
                </a:lnTo>
                <a:close/>
                <a:moveTo>
                  <a:pt x="676" y="434"/>
                </a:moveTo>
                <a:lnTo>
                  <a:pt x="672" y="440"/>
                </a:lnTo>
                <a:lnTo>
                  <a:pt x="667" y="443"/>
                </a:lnTo>
                <a:lnTo>
                  <a:pt x="663" y="444"/>
                </a:lnTo>
                <a:lnTo>
                  <a:pt x="659" y="445"/>
                </a:lnTo>
                <a:lnTo>
                  <a:pt x="649" y="446"/>
                </a:lnTo>
                <a:lnTo>
                  <a:pt x="638" y="446"/>
                </a:lnTo>
                <a:lnTo>
                  <a:pt x="638" y="447"/>
                </a:lnTo>
                <a:lnTo>
                  <a:pt x="638" y="448"/>
                </a:lnTo>
                <a:lnTo>
                  <a:pt x="638" y="447"/>
                </a:lnTo>
                <a:lnTo>
                  <a:pt x="638" y="446"/>
                </a:lnTo>
                <a:lnTo>
                  <a:pt x="638" y="446"/>
                </a:lnTo>
                <a:lnTo>
                  <a:pt x="637" y="446"/>
                </a:lnTo>
                <a:lnTo>
                  <a:pt x="636" y="444"/>
                </a:lnTo>
                <a:lnTo>
                  <a:pt x="637" y="446"/>
                </a:lnTo>
                <a:lnTo>
                  <a:pt x="638" y="446"/>
                </a:lnTo>
                <a:lnTo>
                  <a:pt x="638" y="445"/>
                </a:lnTo>
                <a:lnTo>
                  <a:pt x="638" y="444"/>
                </a:lnTo>
                <a:lnTo>
                  <a:pt x="637" y="443"/>
                </a:lnTo>
                <a:lnTo>
                  <a:pt x="636" y="443"/>
                </a:lnTo>
                <a:lnTo>
                  <a:pt x="636" y="443"/>
                </a:lnTo>
                <a:lnTo>
                  <a:pt x="635" y="443"/>
                </a:lnTo>
                <a:lnTo>
                  <a:pt x="635" y="443"/>
                </a:lnTo>
                <a:lnTo>
                  <a:pt x="635" y="443"/>
                </a:lnTo>
                <a:lnTo>
                  <a:pt x="636" y="443"/>
                </a:lnTo>
                <a:lnTo>
                  <a:pt x="635" y="442"/>
                </a:lnTo>
                <a:lnTo>
                  <a:pt x="633" y="441"/>
                </a:lnTo>
                <a:lnTo>
                  <a:pt x="630" y="436"/>
                </a:lnTo>
                <a:lnTo>
                  <a:pt x="629" y="432"/>
                </a:lnTo>
                <a:lnTo>
                  <a:pt x="630" y="428"/>
                </a:lnTo>
                <a:lnTo>
                  <a:pt x="634" y="424"/>
                </a:lnTo>
                <a:lnTo>
                  <a:pt x="634" y="421"/>
                </a:lnTo>
                <a:lnTo>
                  <a:pt x="634" y="419"/>
                </a:lnTo>
                <a:lnTo>
                  <a:pt x="634" y="421"/>
                </a:lnTo>
                <a:lnTo>
                  <a:pt x="634" y="424"/>
                </a:lnTo>
                <a:lnTo>
                  <a:pt x="636" y="421"/>
                </a:lnTo>
                <a:lnTo>
                  <a:pt x="640" y="419"/>
                </a:lnTo>
                <a:lnTo>
                  <a:pt x="649" y="419"/>
                </a:lnTo>
                <a:lnTo>
                  <a:pt x="658" y="421"/>
                </a:lnTo>
                <a:lnTo>
                  <a:pt x="666" y="424"/>
                </a:lnTo>
                <a:lnTo>
                  <a:pt x="676" y="426"/>
                </a:lnTo>
                <a:lnTo>
                  <a:pt x="678" y="426"/>
                </a:lnTo>
                <a:lnTo>
                  <a:pt x="679" y="428"/>
                </a:lnTo>
                <a:lnTo>
                  <a:pt x="678" y="432"/>
                </a:lnTo>
                <a:lnTo>
                  <a:pt x="676" y="434"/>
                </a:lnTo>
                <a:close/>
                <a:moveTo>
                  <a:pt x="649" y="458"/>
                </a:moveTo>
                <a:lnTo>
                  <a:pt x="653" y="459"/>
                </a:lnTo>
                <a:lnTo>
                  <a:pt x="657" y="461"/>
                </a:lnTo>
                <a:lnTo>
                  <a:pt x="659" y="464"/>
                </a:lnTo>
                <a:lnTo>
                  <a:pt x="660" y="466"/>
                </a:lnTo>
                <a:lnTo>
                  <a:pt x="659" y="464"/>
                </a:lnTo>
                <a:lnTo>
                  <a:pt x="657" y="461"/>
                </a:lnTo>
                <a:lnTo>
                  <a:pt x="653" y="459"/>
                </a:lnTo>
                <a:lnTo>
                  <a:pt x="649" y="458"/>
                </a:lnTo>
                <a:close/>
                <a:moveTo>
                  <a:pt x="643" y="453"/>
                </a:moveTo>
                <a:lnTo>
                  <a:pt x="642" y="453"/>
                </a:lnTo>
                <a:lnTo>
                  <a:pt x="641" y="451"/>
                </a:lnTo>
                <a:lnTo>
                  <a:pt x="642" y="453"/>
                </a:lnTo>
                <a:lnTo>
                  <a:pt x="643" y="453"/>
                </a:lnTo>
                <a:lnTo>
                  <a:pt x="644" y="453"/>
                </a:lnTo>
                <a:lnTo>
                  <a:pt x="646" y="454"/>
                </a:lnTo>
                <a:lnTo>
                  <a:pt x="644" y="453"/>
                </a:lnTo>
                <a:lnTo>
                  <a:pt x="643" y="453"/>
                </a:lnTo>
                <a:close/>
                <a:moveTo>
                  <a:pt x="624" y="420"/>
                </a:moveTo>
                <a:lnTo>
                  <a:pt x="624" y="420"/>
                </a:lnTo>
                <a:lnTo>
                  <a:pt x="627" y="420"/>
                </a:lnTo>
                <a:lnTo>
                  <a:pt x="630" y="420"/>
                </a:lnTo>
                <a:lnTo>
                  <a:pt x="627" y="420"/>
                </a:lnTo>
                <a:lnTo>
                  <a:pt x="624" y="420"/>
                </a:lnTo>
                <a:close/>
                <a:moveTo>
                  <a:pt x="625" y="509"/>
                </a:moveTo>
                <a:lnTo>
                  <a:pt x="622" y="506"/>
                </a:lnTo>
                <a:lnTo>
                  <a:pt x="620" y="503"/>
                </a:lnTo>
                <a:lnTo>
                  <a:pt x="619" y="499"/>
                </a:lnTo>
                <a:lnTo>
                  <a:pt x="619" y="494"/>
                </a:lnTo>
                <a:lnTo>
                  <a:pt x="619" y="499"/>
                </a:lnTo>
                <a:lnTo>
                  <a:pt x="620" y="503"/>
                </a:lnTo>
                <a:lnTo>
                  <a:pt x="622" y="506"/>
                </a:lnTo>
                <a:lnTo>
                  <a:pt x="625" y="509"/>
                </a:lnTo>
                <a:lnTo>
                  <a:pt x="626" y="512"/>
                </a:lnTo>
                <a:lnTo>
                  <a:pt x="626" y="515"/>
                </a:lnTo>
                <a:lnTo>
                  <a:pt x="626" y="512"/>
                </a:lnTo>
                <a:lnTo>
                  <a:pt x="625" y="509"/>
                </a:lnTo>
                <a:close/>
                <a:moveTo>
                  <a:pt x="622" y="542"/>
                </a:moveTo>
                <a:lnTo>
                  <a:pt x="620" y="542"/>
                </a:lnTo>
                <a:lnTo>
                  <a:pt x="618" y="542"/>
                </a:lnTo>
                <a:lnTo>
                  <a:pt x="610" y="543"/>
                </a:lnTo>
                <a:lnTo>
                  <a:pt x="602" y="543"/>
                </a:lnTo>
                <a:lnTo>
                  <a:pt x="610" y="543"/>
                </a:lnTo>
                <a:lnTo>
                  <a:pt x="618" y="542"/>
                </a:lnTo>
                <a:lnTo>
                  <a:pt x="621" y="540"/>
                </a:lnTo>
                <a:lnTo>
                  <a:pt x="624" y="537"/>
                </a:lnTo>
                <a:lnTo>
                  <a:pt x="624" y="534"/>
                </a:lnTo>
                <a:lnTo>
                  <a:pt x="625" y="531"/>
                </a:lnTo>
                <a:lnTo>
                  <a:pt x="624" y="534"/>
                </a:lnTo>
                <a:lnTo>
                  <a:pt x="624" y="537"/>
                </a:lnTo>
                <a:lnTo>
                  <a:pt x="621" y="540"/>
                </a:lnTo>
                <a:lnTo>
                  <a:pt x="618" y="542"/>
                </a:lnTo>
                <a:lnTo>
                  <a:pt x="620" y="542"/>
                </a:lnTo>
                <a:lnTo>
                  <a:pt x="622" y="542"/>
                </a:lnTo>
                <a:close/>
                <a:moveTo>
                  <a:pt x="555" y="133"/>
                </a:moveTo>
                <a:lnTo>
                  <a:pt x="555" y="134"/>
                </a:lnTo>
                <a:lnTo>
                  <a:pt x="555" y="136"/>
                </a:lnTo>
                <a:lnTo>
                  <a:pt x="555" y="134"/>
                </a:lnTo>
                <a:lnTo>
                  <a:pt x="555" y="133"/>
                </a:lnTo>
                <a:close/>
                <a:moveTo>
                  <a:pt x="544" y="114"/>
                </a:moveTo>
                <a:lnTo>
                  <a:pt x="542" y="114"/>
                </a:lnTo>
                <a:lnTo>
                  <a:pt x="540" y="115"/>
                </a:lnTo>
                <a:lnTo>
                  <a:pt x="537" y="112"/>
                </a:lnTo>
                <a:lnTo>
                  <a:pt x="534" y="108"/>
                </a:lnTo>
                <a:lnTo>
                  <a:pt x="531" y="109"/>
                </a:lnTo>
                <a:lnTo>
                  <a:pt x="529" y="111"/>
                </a:lnTo>
                <a:lnTo>
                  <a:pt x="531" y="109"/>
                </a:lnTo>
                <a:lnTo>
                  <a:pt x="534" y="108"/>
                </a:lnTo>
                <a:lnTo>
                  <a:pt x="530" y="104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34" y="100"/>
                </a:lnTo>
                <a:lnTo>
                  <a:pt x="539" y="103"/>
                </a:lnTo>
                <a:lnTo>
                  <a:pt x="541" y="105"/>
                </a:lnTo>
                <a:lnTo>
                  <a:pt x="542" y="107"/>
                </a:lnTo>
                <a:lnTo>
                  <a:pt x="543" y="110"/>
                </a:lnTo>
                <a:lnTo>
                  <a:pt x="544" y="114"/>
                </a:lnTo>
                <a:lnTo>
                  <a:pt x="544" y="114"/>
                </a:lnTo>
                <a:close/>
                <a:moveTo>
                  <a:pt x="546" y="125"/>
                </a:moveTo>
                <a:lnTo>
                  <a:pt x="544" y="124"/>
                </a:lnTo>
                <a:lnTo>
                  <a:pt x="540" y="123"/>
                </a:lnTo>
                <a:lnTo>
                  <a:pt x="540" y="124"/>
                </a:lnTo>
                <a:lnTo>
                  <a:pt x="539" y="125"/>
                </a:lnTo>
                <a:lnTo>
                  <a:pt x="540" y="124"/>
                </a:lnTo>
                <a:lnTo>
                  <a:pt x="540" y="123"/>
                </a:lnTo>
                <a:lnTo>
                  <a:pt x="544" y="124"/>
                </a:lnTo>
                <a:lnTo>
                  <a:pt x="546" y="125"/>
                </a:lnTo>
                <a:close/>
                <a:moveTo>
                  <a:pt x="546" y="126"/>
                </a:moveTo>
                <a:lnTo>
                  <a:pt x="549" y="128"/>
                </a:lnTo>
                <a:lnTo>
                  <a:pt x="552" y="130"/>
                </a:lnTo>
                <a:lnTo>
                  <a:pt x="549" y="128"/>
                </a:lnTo>
                <a:lnTo>
                  <a:pt x="546" y="126"/>
                </a:lnTo>
                <a:close/>
                <a:moveTo>
                  <a:pt x="510" y="88"/>
                </a:moveTo>
                <a:lnTo>
                  <a:pt x="509" y="88"/>
                </a:lnTo>
                <a:lnTo>
                  <a:pt x="508" y="88"/>
                </a:lnTo>
                <a:lnTo>
                  <a:pt x="509" y="88"/>
                </a:lnTo>
                <a:lnTo>
                  <a:pt x="510" y="88"/>
                </a:lnTo>
                <a:lnTo>
                  <a:pt x="510" y="90"/>
                </a:lnTo>
                <a:lnTo>
                  <a:pt x="510" y="91"/>
                </a:lnTo>
                <a:lnTo>
                  <a:pt x="510" y="90"/>
                </a:lnTo>
                <a:lnTo>
                  <a:pt x="510" y="88"/>
                </a:lnTo>
                <a:close/>
                <a:moveTo>
                  <a:pt x="611" y="249"/>
                </a:moveTo>
                <a:lnTo>
                  <a:pt x="613" y="258"/>
                </a:lnTo>
                <a:lnTo>
                  <a:pt x="613" y="264"/>
                </a:lnTo>
                <a:lnTo>
                  <a:pt x="610" y="271"/>
                </a:lnTo>
                <a:lnTo>
                  <a:pt x="607" y="277"/>
                </a:lnTo>
                <a:lnTo>
                  <a:pt x="607" y="277"/>
                </a:lnTo>
                <a:lnTo>
                  <a:pt x="607" y="277"/>
                </a:lnTo>
                <a:lnTo>
                  <a:pt x="607" y="277"/>
                </a:lnTo>
                <a:lnTo>
                  <a:pt x="605" y="276"/>
                </a:lnTo>
                <a:lnTo>
                  <a:pt x="603" y="277"/>
                </a:lnTo>
                <a:lnTo>
                  <a:pt x="601" y="277"/>
                </a:lnTo>
                <a:lnTo>
                  <a:pt x="600" y="279"/>
                </a:lnTo>
                <a:lnTo>
                  <a:pt x="598" y="282"/>
                </a:lnTo>
                <a:lnTo>
                  <a:pt x="597" y="286"/>
                </a:lnTo>
                <a:lnTo>
                  <a:pt x="594" y="283"/>
                </a:lnTo>
                <a:lnTo>
                  <a:pt x="590" y="282"/>
                </a:lnTo>
                <a:lnTo>
                  <a:pt x="589" y="282"/>
                </a:lnTo>
                <a:lnTo>
                  <a:pt x="587" y="282"/>
                </a:lnTo>
                <a:lnTo>
                  <a:pt x="586" y="285"/>
                </a:lnTo>
                <a:lnTo>
                  <a:pt x="585" y="286"/>
                </a:lnTo>
                <a:lnTo>
                  <a:pt x="583" y="288"/>
                </a:lnTo>
                <a:lnTo>
                  <a:pt x="581" y="289"/>
                </a:lnTo>
                <a:lnTo>
                  <a:pt x="572" y="288"/>
                </a:lnTo>
                <a:lnTo>
                  <a:pt x="565" y="288"/>
                </a:lnTo>
                <a:lnTo>
                  <a:pt x="557" y="287"/>
                </a:lnTo>
                <a:lnTo>
                  <a:pt x="550" y="285"/>
                </a:lnTo>
                <a:lnTo>
                  <a:pt x="545" y="282"/>
                </a:lnTo>
                <a:lnTo>
                  <a:pt x="540" y="282"/>
                </a:lnTo>
                <a:lnTo>
                  <a:pt x="537" y="283"/>
                </a:lnTo>
                <a:lnTo>
                  <a:pt x="535" y="283"/>
                </a:lnTo>
                <a:lnTo>
                  <a:pt x="534" y="283"/>
                </a:lnTo>
                <a:lnTo>
                  <a:pt x="533" y="282"/>
                </a:lnTo>
                <a:lnTo>
                  <a:pt x="533" y="280"/>
                </a:lnTo>
                <a:lnTo>
                  <a:pt x="533" y="277"/>
                </a:lnTo>
                <a:lnTo>
                  <a:pt x="533" y="276"/>
                </a:lnTo>
                <a:lnTo>
                  <a:pt x="531" y="275"/>
                </a:lnTo>
                <a:lnTo>
                  <a:pt x="531" y="275"/>
                </a:lnTo>
                <a:lnTo>
                  <a:pt x="530" y="276"/>
                </a:lnTo>
                <a:lnTo>
                  <a:pt x="527" y="277"/>
                </a:lnTo>
                <a:lnTo>
                  <a:pt x="525" y="277"/>
                </a:lnTo>
                <a:lnTo>
                  <a:pt x="525" y="274"/>
                </a:lnTo>
                <a:lnTo>
                  <a:pt x="524" y="271"/>
                </a:lnTo>
                <a:lnTo>
                  <a:pt x="523" y="268"/>
                </a:lnTo>
                <a:lnTo>
                  <a:pt x="521" y="267"/>
                </a:lnTo>
                <a:lnTo>
                  <a:pt x="516" y="266"/>
                </a:lnTo>
                <a:lnTo>
                  <a:pt x="511" y="266"/>
                </a:lnTo>
                <a:lnTo>
                  <a:pt x="507" y="265"/>
                </a:lnTo>
                <a:lnTo>
                  <a:pt x="504" y="265"/>
                </a:lnTo>
                <a:lnTo>
                  <a:pt x="500" y="263"/>
                </a:lnTo>
                <a:lnTo>
                  <a:pt x="497" y="261"/>
                </a:lnTo>
                <a:lnTo>
                  <a:pt x="492" y="257"/>
                </a:lnTo>
                <a:lnTo>
                  <a:pt x="486" y="251"/>
                </a:lnTo>
                <a:lnTo>
                  <a:pt x="484" y="249"/>
                </a:lnTo>
                <a:lnTo>
                  <a:pt x="482" y="247"/>
                </a:lnTo>
                <a:lnTo>
                  <a:pt x="476" y="246"/>
                </a:lnTo>
                <a:lnTo>
                  <a:pt x="471" y="243"/>
                </a:lnTo>
                <a:lnTo>
                  <a:pt x="470" y="241"/>
                </a:lnTo>
                <a:lnTo>
                  <a:pt x="469" y="239"/>
                </a:lnTo>
                <a:lnTo>
                  <a:pt x="468" y="235"/>
                </a:lnTo>
                <a:lnTo>
                  <a:pt x="469" y="231"/>
                </a:lnTo>
                <a:lnTo>
                  <a:pt x="469" y="230"/>
                </a:lnTo>
                <a:lnTo>
                  <a:pt x="468" y="229"/>
                </a:lnTo>
                <a:lnTo>
                  <a:pt x="467" y="229"/>
                </a:lnTo>
                <a:lnTo>
                  <a:pt x="466" y="230"/>
                </a:lnTo>
                <a:lnTo>
                  <a:pt x="464" y="231"/>
                </a:lnTo>
                <a:lnTo>
                  <a:pt x="463" y="231"/>
                </a:lnTo>
                <a:lnTo>
                  <a:pt x="458" y="217"/>
                </a:lnTo>
                <a:lnTo>
                  <a:pt x="453" y="203"/>
                </a:lnTo>
                <a:lnTo>
                  <a:pt x="449" y="190"/>
                </a:lnTo>
                <a:lnTo>
                  <a:pt x="445" y="178"/>
                </a:lnTo>
                <a:lnTo>
                  <a:pt x="444" y="182"/>
                </a:lnTo>
                <a:lnTo>
                  <a:pt x="444" y="187"/>
                </a:lnTo>
                <a:lnTo>
                  <a:pt x="444" y="191"/>
                </a:lnTo>
                <a:lnTo>
                  <a:pt x="445" y="196"/>
                </a:lnTo>
                <a:lnTo>
                  <a:pt x="448" y="205"/>
                </a:lnTo>
                <a:lnTo>
                  <a:pt x="451" y="214"/>
                </a:lnTo>
                <a:lnTo>
                  <a:pt x="448" y="213"/>
                </a:lnTo>
                <a:lnTo>
                  <a:pt x="446" y="212"/>
                </a:lnTo>
                <a:lnTo>
                  <a:pt x="443" y="202"/>
                </a:lnTo>
                <a:lnTo>
                  <a:pt x="440" y="193"/>
                </a:lnTo>
                <a:lnTo>
                  <a:pt x="438" y="183"/>
                </a:lnTo>
                <a:lnTo>
                  <a:pt x="437" y="172"/>
                </a:lnTo>
                <a:lnTo>
                  <a:pt x="437" y="172"/>
                </a:lnTo>
                <a:lnTo>
                  <a:pt x="438" y="170"/>
                </a:lnTo>
                <a:lnTo>
                  <a:pt x="437" y="167"/>
                </a:lnTo>
                <a:lnTo>
                  <a:pt x="437" y="166"/>
                </a:lnTo>
                <a:lnTo>
                  <a:pt x="436" y="166"/>
                </a:lnTo>
                <a:lnTo>
                  <a:pt x="434" y="166"/>
                </a:lnTo>
                <a:lnTo>
                  <a:pt x="432" y="166"/>
                </a:lnTo>
                <a:lnTo>
                  <a:pt x="431" y="167"/>
                </a:lnTo>
                <a:lnTo>
                  <a:pt x="430" y="166"/>
                </a:lnTo>
                <a:lnTo>
                  <a:pt x="429" y="165"/>
                </a:lnTo>
                <a:lnTo>
                  <a:pt x="429" y="163"/>
                </a:lnTo>
                <a:lnTo>
                  <a:pt x="429" y="151"/>
                </a:lnTo>
                <a:lnTo>
                  <a:pt x="427" y="143"/>
                </a:lnTo>
                <a:lnTo>
                  <a:pt x="423" y="141"/>
                </a:lnTo>
                <a:lnTo>
                  <a:pt x="422" y="139"/>
                </a:lnTo>
                <a:lnTo>
                  <a:pt x="421" y="137"/>
                </a:lnTo>
                <a:lnTo>
                  <a:pt x="421" y="135"/>
                </a:lnTo>
                <a:lnTo>
                  <a:pt x="422" y="132"/>
                </a:lnTo>
                <a:lnTo>
                  <a:pt x="422" y="127"/>
                </a:lnTo>
                <a:lnTo>
                  <a:pt x="421" y="120"/>
                </a:lnTo>
                <a:lnTo>
                  <a:pt x="421" y="112"/>
                </a:lnTo>
                <a:lnTo>
                  <a:pt x="420" y="108"/>
                </a:lnTo>
                <a:lnTo>
                  <a:pt x="419" y="103"/>
                </a:lnTo>
                <a:lnTo>
                  <a:pt x="420" y="100"/>
                </a:lnTo>
                <a:lnTo>
                  <a:pt x="421" y="99"/>
                </a:lnTo>
                <a:lnTo>
                  <a:pt x="423" y="98"/>
                </a:lnTo>
                <a:lnTo>
                  <a:pt x="427" y="97"/>
                </a:lnTo>
                <a:lnTo>
                  <a:pt x="430" y="95"/>
                </a:lnTo>
                <a:lnTo>
                  <a:pt x="432" y="93"/>
                </a:lnTo>
                <a:lnTo>
                  <a:pt x="434" y="91"/>
                </a:lnTo>
                <a:lnTo>
                  <a:pt x="437" y="87"/>
                </a:lnTo>
                <a:lnTo>
                  <a:pt x="438" y="86"/>
                </a:lnTo>
                <a:lnTo>
                  <a:pt x="440" y="84"/>
                </a:lnTo>
                <a:lnTo>
                  <a:pt x="443" y="84"/>
                </a:lnTo>
                <a:lnTo>
                  <a:pt x="445" y="84"/>
                </a:lnTo>
                <a:lnTo>
                  <a:pt x="446" y="84"/>
                </a:lnTo>
                <a:lnTo>
                  <a:pt x="447" y="83"/>
                </a:lnTo>
                <a:lnTo>
                  <a:pt x="447" y="76"/>
                </a:lnTo>
                <a:lnTo>
                  <a:pt x="447" y="69"/>
                </a:lnTo>
                <a:lnTo>
                  <a:pt x="446" y="67"/>
                </a:lnTo>
                <a:lnTo>
                  <a:pt x="447" y="66"/>
                </a:lnTo>
                <a:lnTo>
                  <a:pt x="448" y="65"/>
                </a:lnTo>
                <a:lnTo>
                  <a:pt x="449" y="65"/>
                </a:lnTo>
                <a:lnTo>
                  <a:pt x="454" y="65"/>
                </a:lnTo>
                <a:lnTo>
                  <a:pt x="459" y="66"/>
                </a:lnTo>
                <a:lnTo>
                  <a:pt x="458" y="68"/>
                </a:lnTo>
                <a:lnTo>
                  <a:pt x="456" y="72"/>
                </a:lnTo>
                <a:lnTo>
                  <a:pt x="455" y="74"/>
                </a:lnTo>
                <a:lnTo>
                  <a:pt x="455" y="77"/>
                </a:lnTo>
                <a:lnTo>
                  <a:pt x="454" y="78"/>
                </a:lnTo>
                <a:lnTo>
                  <a:pt x="454" y="79"/>
                </a:lnTo>
                <a:lnTo>
                  <a:pt x="454" y="79"/>
                </a:lnTo>
                <a:lnTo>
                  <a:pt x="454" y="79"/>
                </a:lnTo>
                <a:lnTo>
                  <a:pt x="455" y="78"/>
                </a:lnTo>
                <a:lnTo>
                  <a:pt x="455" y="77"/>
                </a:lnTo>
                <a:lnTo>
                  <a:pt x="461" y="76"/>
                </a:lnTo>
                <a:lnTo>
                  <a:pt x="465" y="75"/>
                </a:lnTo>
                <a:lnTo>
                  <a:pt x="465" y="75"/>
                </a:lnTo>
                <a:lnTo>
                  <a:pt x="466" y="76"/>
                </a:lnTo>
                <a:lnTo>
                  <a:pt x="467" y="76"/>
                </a:lnTo>
                <a:lnTo>
                  <a:pt x="466" y="78"/>
                </a:lnTo>
                <a:lnTo>
                  <a:pt x="466" y="79"/>
                </a:lnTo>
                <a:lnTo>
                  <a:pt x="465" y="83"/>
                </a:lnTo>
                <a:lnTo>
                  <a:pt x="466" y="89"/>
                </a:lnTo>
                <a:lnTo>
                  <a:pt x="467" y="94"/>
                </a:lnTo>
                <a:lnTo>
                  <a:pt x="469" y="97"/>
                </a:lnTo>
                <a:lnTo>
                  <a:pt x="471" y="96"/>
                </a:lnTo>
                <a:lnTo>
                  <a:pt x="473" y="96"/>
                </a:lnTo>
                <a:lnTo>
                  <a:pt x="473" y="94"/>
                </a:lnTo>
                <a:lnTo>
                  <a:pt x="474" y="93"/>
                </a:lnTo>
                <a:lnTo>
                  <a:pt x="474" y="90"/>
                </a:lnTo>
                <a:lnTo>
                  <a:pt x="475" y="88"/>
                </a:lnTo>
                <a:lnTo>
                  <a:pt x="475" y="87"/>
                </a:lnTo>
                <a:lnTo>
                  <a:pt x="476" y="87"/>
                </a:lnTo>
                <a:lnTo>
                  <a:pt x="477" y="91"/>
                </a:lnTo>
                <a:lnTo>
                  <a:pt x="480" y="93"/>
                </a:lnTo>
                <a:lnTo>
                  <a:pt x="481" y="93"/>
                </a:lnTo>
                <a:lnTo>
                  <a:pt x="481" y="94"/>
                </a:lnTo>
                <a:lnTo>
                  <a:pt x="484" y="93"/>
                </a:lnTo>
                <a:lnTo>
                  <a:pt x="488" y="92"/>
                </a:lnTo>
                <a:lnTo>
                  <a:pt x="490" y="92"/>
                </a:lnTo>
                <a:lnTo>
                  <a:pt x="491" y="93"/>
                </a:lnTo>
                <a:lnTo>
                  <a:pt x="492" y="94"/>
                </a:lnTo>
                <a:lnTo>
                  <a:pt x="494" y="96"/>
                </a:lnTo>
                <a:lnTo>
                  <a:pt x="494" y="97"/>
                </a:lnTo>
                <a:lnTo>
                  <a:pt x="495" y="97"/>
                </a:lnTo>
                <a:lnTo>
                  <a:pt x="499" y="95"/>
                </a:lnTo>
                <a:lnTo>
                  <a:pt x="501" y="95"/>
                </a:lnTo>
                <a:lnTo>
                  <a:pt x="504" y="96"/>
                </a:lnTo>
                <a:lnTo>
                  <a:pt x="507" y="98"/>
                </a:lnTo>
                <a:lnTo>
                  <a:pt x="508" y="100"/>
                </a:lnTo>
                <a:lnTo>
                  <a:pt x="508" y="102"/>
                </a:lnTo>
                <a:lnTo>
                  <a:pt x="508" y="106"/>
                </a:lnTo>
                <a:lnTo>
                  <a:pt x="508" y="109"/>
                </a:lnTo>
                <a:lnTo>
                  <a:pt x="509" y="111"/>
                </a:lnTo>
                <a:lnTo>
                  <a:pt x="512" y="114"/>
                </a:lnTo>
                <a:lnTo>
                  <a:pt x="514" y="114"/>
                </a:lnTo>
                <a:lnTo>
                  <a:pt x="518" y="114"/>
                </a:lnTo>
                <a:lnTo>
                  <a:pt x="514" y="114"/>
                </a:lnTo>
                <a:lnTo>
                  <a:pt x="512" y="114"/>
                </a:lnTo>
                <a:lnTo>
                  <a:pt x="512" y="117"/>
                </a:lnTo>
                <a:lnTo>
                  <a:pt x="512" y="120"/>
                </a:lnTo>
                <a:lnTo>
                  <a:pt x="510" y="124"/>
                </a:lnTo>
                <a:lnTo>
                  <a:pt x="508" y="129"/>
                </a:lnTo>
                <a:lnTo>
                  <a:pt x="506" y="125"/>
                </a:lnTo>
                <a:lnTo>
                  <a:pt x="504" y="123"/>
                </a:lnTo>
                <a:lnTo>
                  <a:pt x="500" y="121"/>
                </a:lnTo>
                <a:lnTo>
                  <a:pt x="497" y="119"/>
                </a:lnTo>
                <a:lnTo>
                  <a:pt x="497" y="125"/>
                </a:lnTo>
                <a:lnTo>
                  <a:pt x="497" y="128"/>
                </a:lnTo>
                <a:lnTo>
                  <a:pt x="500" y="129"/>
                </a:lnTo>
                <a:lnTo>
                  <a:pt x="503" y="130"/>
                </a:lnTo>
                <a:lnTo>
                  <a:pt x="503" y="133"/>
                </a:lnTo>
                <a:lnTo>
                  <a:pt x="503" y="134"/>
                </a:lnTo>
                <a:lnTo>
                  <a:pt x="499" y="136"/>
                </a:lnTo>
                <a:lnTo>
                  <a:pt x="498" y="139"/>
                </a:lnTo>
                <a:lnTo>
                  <a:pt x="498" y="139"/>
                </a:lnTo>
                <a:lnTo>
                  <a:pt x="497" y="139"/>
                </a:lnTo>
                <a:lnTo>
                  <a:pt x="498" y="139"/>
                </a:lnTo>
                <a:lnTo>
                  <a:pt x="498" y="139"/>
                </a:lnTo>
                <a:lnTo>
                  <a:pt x="509" y="135"/>
                </a:lnTo>
                <a:lnTo>
                  <a:pt x="520" y="133"/>
                </a:lnTo>
                <a:lnTo>
                  <a:pt x="521" y="133"/>
                </a:lnTo>
                <a:lnTo>
                  <a:pt x="523" y="133"/>
                </a:lnTo>
                <a:lnTo>
                  <a:pt x="528" y="137"/>
                </a:lnTo>
                <a:lnTo>
                  <a:pt x="534" y="142"/>
                </a:lnTo>
                <a:lnTo>
                  <a:pt x="538" y="144"/>
                </a:lnTo>
                <a:lnTo>
                  <a:pt x="542" y="144"/>
                </a:lnTo>
                <a:lnTo>
                  <a:pt x="544" y="144"/>
                </a:lnTo>
                <a:lnTo>
                  <a:pt x="546" y="144"/>
                </a:lnTo>
                <a:lnTo>
                  <a:pt x="547" y="143"/>
                </a:lnTo>
                <a:lnTo>
                  <a:pt x="549" y="141"/>
                </a:lnTo>
                <a:lnTo>
                  <a:pt x="547" y="139"/>
                </a:lnTo>
                <a:lnTo>
                  <a:pt x="549" y="138"/>
                </a:lnTo>
                <a:lnTo>
                  <a:pt x="550" y="137"/>
                </a:lnTo>
                <a:lnTo>
                  <a:pt x="550" y="137"/>
                </a:lnTo>
                <a:lnTo>
                  <a:pt x="553" y="138"/>
                </a:lnTo>
                <a:lnTo>
                  <a:pt x="554" y="139"/>
                </a:lnTo>
                <a:lnTo>
                  <a:pt x="555" y="141"/>
                </a:lnTo>
                <a:lnTo>
                  <a:pt x="555" y="143"/>
                </a:lnTo>
                <a:lnTo>
                  <a:pt x="556" y="144"/>
                </a:lnTo>
                <a:lnTo>
                  <a:pt x="557" y="144"/>
                </a:lnTo>
                <a:lnTo>
                  <a:pt x="560" y="143"/>
                </a:lnTo>
                <a:lnTo>
                  <a:pt x="562" y="141"/>
                </a:lnTo>
                <a:lnTo>
                  <a:pt x="562" y="147"/>
                </a:lnTo>
                <a:lnTo>
                  <a:pt x="562" y="151"/>
                </a:lnTo>
                <a:lnTo>
                  <a:pt x="564" y="153"/>
                </a:lnTo>
                <a:lnTo>
                  <a:pt x="564" y="155"/>
                </a:lnTo>
                <a:lnTo>
                  <a:pt x="565" y="156"/>
                </a:lnTo>
                <a:lnTo>
                  <a:pt x="567" y="156"/>
                </a:lnTo>
                <a:lnTo>
                  <a:pt x="570" y="156"/>
                </a:lnTo>
                <a:lnTo>
                  <a:pt x="571" y="155"/>
                </a:lnTo>
                <a:lnTo>
                  <a:pt x="572" y="153"/>
                </a:lnTo>
                <a:lnTo>
                  <a:pt x="572" y="151"/>
                </a:lnTo>
                <a:lnTo>
                  <a:pt x="572" y="150"/>
                </a:lnTo>
                <a:lnTo>
                  <a:pt x="572" y="148"/>
                </a:lnTo>
                <a:lnTo>
                  <a:pt x="572" y="147"/>
                </a:lnTo>
                <a:lnTo>
                  <a:pt x="572" y="147"/>
                </a:lnTo>
                <a:lnTo>
                  <a:pt x="575" y="144"/>
                </a:lnTo>
                <a:lnTo>
                  <a:pt x="579" y="143"/>
                </a:lnTo>
                <a:lnTo>
                  <a:pt x="582" y="143"/>
                </a:lnTo>
                <a:lnTo>
                  <a:pt x="585" y="142"/>
                </a:lnTo>
                <a:lnTo>
                  <a:pt x="587" y="144"/>
                </a:lnTo>
                <a:lnTo>
                  <a:pt x="590" y="144"/>
                </a:lnTo>
                <a:lnTo>
                  <a:pt x="592" y="144"/>
                </a:lnTo>
                <a:lnTo>
                  <a:pt x="595" y="143"/>
                </a:lnTo>
                <a:lnTo>
                  <a:pt x="597" y="140"/>
                </a:lnTo>
                <a:lnTo>
                  <a:pt x="598" y="137"/>
                </a:lnTo>
                <a:lnTo>
                  <a:pt x="598" y="133"/>
                </a:lnTo>
                <a:lnTo>
                  <a:pt x="597" y="129"/>
                </a:lnTo>
                <a:lnTo>
                  <a:pt x="595" y="126"/>
                </a:lnTo>
                <a:lnTo>
                  <a:pt x="592" y="124"/>
                </a:lnTo>
                <a:lnTo>
                  <a:pt x="590" y="124"/>
                </a:lnTo>
                <a:lnTo>
                  <a:pt x="586" y="125"/>
                </a:lnTo>
                <a:lnTo>
                  <a:pt x="582" y="123"/>
                </a:lnTo>
                <a:lnTo>
                  <a:pt x="577" y="123"/>
                </a:lnTo>
                <a:lnTo>
                  <a:pt x="575" y="123"/>
                </a:lnTo>
                <a:lnTo>
                  <a:pt x="573" y="122"/>
                </a:lnTo>
                <a:lnTo>
                  <a:pt x="571" y="120"/>
                </a:lnTo>
                <a:lnTo>
                  <a:pt x="570" y="118"/>
                </a:lnTo>
                <a:lnTo>
                  <a:pt x="564" y="111"/>
                </a:lnTo>
                <a:lnTo>
                  <a:pt x="557" y="106"/>
                </a:lnTo>
                <a:lnTo>
                  <a:pt x="550" y="102"/>
                </a:lnTo>
                <a:lnTo>
                  <a:pt x="542" y="96"/>
                </a:lnTo>
                <a:lnTo>
                  <a:pt x="539" y="98"/>
                </a:lnTo>
                <a:lnTo>
                  <a:pt x="537" y="98"/>
                </a:lnTo>
                <a:lnTo>
                  <a:pt x="536" y="97"/>
                </a:lnTo>
                <a:lnTo>
                  <a:pt x="534" y="95"/>
                </a:lnTo>
                <a:lnTo>
                  <a:pt x="536" y="97"/>
                </a:lnTo>
                <a:lnTo>
                  <a:pt x="537" y="98"/>
                </a:lnTo>
                <a:lnTo>
                  <a:pt x="539" y="98"/>
                </a:lnTo>
                <a:lnTo>
                  <a:pt x="542" y="96"/>
                </a:lnTo>
                <a:lnTo>
                  <a:pt x="541" y="94"/>
                </a:lnTo>
                <a:lnTo>
                  <a:pt x="539" y="93"/>
                </a:lnTo>
                <a:lnTo>
                  <a:pt x="538" y="91"/>
                </a:lnTo>
                <a:lnTo>
                  <a:pt x="538" y="88"/>
                </a:lnTo>
                <a:lnTo>
                  <a:pt x="534" y="88"/>
                </a:lnTo>
                <a:lnTo>
                  <a:pt x="529" y="88"/>
                </a:lnTo>
                <a:lnTo>
                  <a:pt x="528" y="88"/>
                </a:lnTo>
                <a:lnTo>
                  <a:pt x="528" y="89"/>
                </a:lnTo>
                <a:lnTo>
                  <a:pt x="528" y="88"/>
                </a:lnTo>
                <a:lnTo>
                  <a:pt x="529" y="88"/>
                </a:lnTo>
                <a:lnTo>
                  <a:pt x="528" y="87"/>
                </a:lnTo>
                <a:lnTo>
                  <a:pt x="528" y="87"/>
                </a:lnTo>
                <a:lnTo>
                  <a:pt x="526" y="86"/>
                </a:lnTo>
                <a:lnTo>
                  <a:pt x="523" y="86"/>
                </a:lnTo>
                <a:lnTo>
                  <a:pt x="521" y="83"/>
                </a:lnTo>
                <a:lnTo>
                  <a:pt x="519" y="82"/>
                </a:lnTo>
                <a:lnTo>
                  <a:pt x="515" y="82"/>
                </a:lnTo>
                <a:lnTo>
                  <a:pt x="513" y="82"/>
                </a:lnTo>
                <a:lnTo>
                  <a:pt x="513" y="82"/>
                </a:lnTo>
                <a:lnTo>
                  <a:pt x="513" y="82"/>
                </a:lnTo>
                <a:lnTo>
                  <a:pt x="512" y="80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0" y="77"/>
                </a:lnTo>
                <a:lnTo>
                  <a:pt x="508" y="75"/>
                </a:lnTo>
                <a:lnTo>
                  <a:pt x="510" y="75"/>
                </a:lnTo>
                <a:lnTo>
                  <a:pt x="512" y="77"/>
                </a:lnTo>
                <a:lnTo>
                  <a:pt x="512" y="75"/>
                </a:lnTo>
                <a:lnTo>
                  <a:pt x="512" y="74"/>
                </a:lnTo>
                <a:lnTo>
                  <a:pt x="510" y="74"/>
                </a:lnTo>
                <a:lnTo>
                  <a:pt x="507" y="74"/>
                </a:lnTo>
                <a:lnTo>
                  <a:pt x="507" y="74"/>
                </a:lnTo>
                <a:lnTo>
                  <a:pt x="507" y="74"/>
                </a:lnTo>
                <a:lnTo>
                  <a:pt x="504" y="75"/>
                </a:lnTo>
                <a:lnTo>
                  <a:pt x="500" y="77"/>
                </a:lnTo>
                <a:lnTo>
                  <a:pt x="504" y="75"/>
                </a:lnTo>
                <a:lnTo>
                  <a:pt x="507" y="74"/>
                </a:lnTo>
                <a:lnTo>
                  <a:pt x="508" y="71"/>
                </a:lnTo>
                <a:lnTo>
                  <a:pt x="510" y="68"/>
                </a:lnTo>
                <a:lnTo>
                  <a:pt x="512" y="68"/>
                </a:lnTo>
                <a:lnTo>
                  <a:pt x="515" y="72"/>
                </a:lnTo>
                <a:lnTo>
                  <a:pt x="522" y="78"/>
                </a:lnTo>
                <a:lnTo>
                  <a:pt x="529" y="83"/>
                </a:lnTo>
                <a:lnTo>
                  <a:pt x="529" y="84"/>
                </a:lnTo>
                <a:lnTo>
                  <a:pt x="528" y="87"/>
                </a:lnTo>
                <a:lnTo>
                  <a:pt x="528" y="87"/>
                </a:lnTo>
                <a:lnTo>
                  <a:pt x="529" y="88"/>
                </a:lnTo>
                <a:lnTo>
                  <a:pt x="534" y="88"/>
                </a:lnTo>
                <a:lnTo>
                  <a:pt x="538" y="88"/>
                </a:lnTo>
                <a:lnTo>
                  <a:pt x="540" y="86"/>
                </a:lnTo>
                <a:lnTo>
                  <a:pt x="540" y="84"/>
                </a:lnTo>
                <a:lnTo>
                  <a:pt x="539" y="82"/>
                </a:lnTo>
                <a:lnTo>
                  <a:pt x="537" y="81"/>
                </a:lnTo>
                <a:lnTo>
                  <a:pt x="531" y="79"/>
                </a:lnTo>
                <a:lnTo>
                  <a:pt x="525" y="75"/>
                </a:lnTo>
                <a:lnTo>
                  <a:pt x="531" y="74"/>
                </a:lnTo>
                <a:lnTo>
                  <a:pt x="537" y="75"/>
                </a:lnTo>
                <a:lnTo>
                  <a:pt x="542" y="76"/>
                </a:lnTo>
                <a:lnTo>
                  <a:pt x="547" y="78"/>
                </a:lnTo>
                <a:lnTo>
                  <a:pt x="553" y="80"/>
                </a:lnTo>
                <a:lnTo>
                  <a:pt x="558" y="81"/>
                </a:lnTo>
                <a:lnTo>
                  <a:pt x="564" y="81"/>
                </a:lnTo>
                <a:lnTo>
                  <a:pt x="569" y="80"/>
                </a:lnTo>
                <a:lnTo>
                  <a:pt x="571" y="81"/>
                </a:lnTo>
                <a:lnTo>
                  <a:pt x="574" y="82"/>
                </a:lnTo>
                <a:lnTo>
                  <a:pt x="576" y="82"/>
                </a:lnTo>
                <a:lnTo>
                  <a:pt x="580" y="82"/>
                </a:lnTo>
                <a:lnTo>
                  <a:pt x="580" y="80"/>
                </a:lnTo>
                <a:lnTo>
                  <a:pt x="580" y="77"/>
                </a:lnTo>
                <a:lnTo>
                  <a:pt x="588" y="79"/>
                </a:lnTo>
                <a:lnTo>
                  <a:pt x="597" y="82"/>
                </a:lnTo>
                <a:lnTo>
                  <a:pt x="597" y="86"/>
                </a:lnTo>
                <a:lnTo>
                  <a:pt x="599" y="88"/>
                </a:lnTo>
                <a:lnTo>
                  <a:pt x="601" y="87"/>
                </a:lnTo>
                <a:lnTo>
                  <a:pt x="603" y="86"/>
                </a:lnTo>
                <a:lnTo>
                  <a:pt x="605" y="87"/>
                </a:lnTo>
                <a:lnTo>
                  <a:pt x="607" y="87"/>
                </a:lnTo>
                <a:lnTo>
                  <a:pt x="605" y="87"/>
                </a:lnTo>
                <a:lnTo>
                  <a:pt x="603" y="86"/>
                </a:lnTo>
                <a:lnTo>
                  <a:pt x="601" y="87"/>
                </a:lnTo>
                <a:lnTo>
                  <a:pt x="599" y="88"/>
                </a:lnTo>
                <a:lnTo>
                  <a:pt x="598" y="89"/>
                </a:lnTo>
                <a:lnTo>
                  <a:pt x="598" y="91"/>
                </a:lnTo>
                <a:lnTo>
                  <a:pt x="598" y="92"/>
                </a:lnTo>
                <a:lnTo>
                  <a:pt x="599" y="94"/>
                </a:lnTo>
                <a:lnTo>
                  <a:pt x="601" y="95"/>
                </a:lnTo>
                <a:lnTo>
                  <a:pt x="604" y="97"/>
                </a:lnTo>
                <a:lnTo>
                  <a:pt x="610" y="102"/>
                </a:lnTo>
                <a:lnTo>
                  <a:pt x="615" y="106"/>
                </a:lnTo>
                <a:lnTo>
                  <a:pt x="619" y="110"/>
                </a:lnTo>
                <a:lnTo>
                  <a:pt x="624" y="115"/>
                </a:lnTo>
                <a:lnTo>
                  <a:pt x="628" y="121"/>
                </a:lnTo>
                <a:lnTo>
                  <a:pt x="631" y="126"/>
                </a:lnTo>
                <a:lnTo>
                  <a:pt x="634" y="133"/>
                </a:lnTo>
                <a:lnTo>
                  <a:pt x="636" y="138"/>
                </a:lnTo>
                <a:lnTo>
                  <a:pt x="640" y="139"/>
                </a:lnTo>
                <a:lnTo>
                  <a:pt x="643" y="140"/>
                </a:lnTo>
                <a:lnTo>
                  <a:pt x="640" y="139"/>
                </a:lnTo>
                <a:lnTo>
                  <a:pt x="636" y="138"/>
                </a:lnTo>
                <a:lnTo>
                  <a:pt x="634" y="143"/>
                </a:lnTo>
                <a:lnTo>
                  <a:pt x="634" y="148"/>
                </a:lnTo>
                <a:lnTo>
                  <a:pt x="634" y="152"/>
                </a:lnTo>
                <a:lnTo>
                  <a:pt x="634" y="156"/>
                </a:lnTo>
                <a:lnTo>
                  <a:pt x="630" y="151"/>
                </a:lnTo>
                <a:lnTo>
                  <a:pt x="625" y="147"/>
                </a:lnTo>
                <a:lnTo>
                  <a:pt x="619" y="139"/>
                </a:lnTo>
                <a:lnTo>
                  <a:pt x="614" y="132"/>
                </a:lnTo>
                <a:lnTo>
                  <a:pt x="612" y="127"/>
                </a:lnTo>
                <a:lnTo>
                  <a:pt x="609" y="124"/>
                </a:lnTo>
                <a:lnTo>
                  <a:pt x="604" y="122"/>
                </a:lnTo>
                <a:lnTo>
                  <a:pt x="600" y="120"/>
                </a:lnTo>
                <a:lnTo>
                  <a:pt x="611" y="135"/>
                </a:lnTo>
                <a:lnTo>
                  <a:pt x="620" y="150"/>
                </a:lnTo>
                <a:lnTo>
                  <a:pt x="618" y="153"/>
                </a:lnTo>
                <a:lnTo>
                  <a:pt x="618" y="157"/>
                </a:lnTo>
                <a:lnTo>
                  <a:pt x="618" y="160"/>
                </a:lnTo>
                <a:lnTo>
                  <a:pt x="618" y="164"/>
                </a:lnTo>
                <a:lnTo>
                  <a:pt x="620" y="171"/>
                </a:lnTo>
                <a:lnTo>
                  <a:pt x="624" y="178"/>
                </a:lnTo>
                <a:lnTo>
                  <a:pt x="624" y="184"/>
                </a:lnTo>
                <a:lnTo>
                  <a:pt x="624" y="190"/>
                </a:lnTo>
                <a:lnTo>
                  <a:pt x="626" y="196"/>
                </a:lnTo>
                <a:lnTo>
                  <a:pt x="628" y="202"/>
                </a:lnTo>
                <a:lnTo>
                  <a:pt x="631" y="214"/>
                </a:lnTo>
                <a:lnTo>
                  <a:pt x="634" y="227"/>
                </a:lnTo>
                <a:lnTo>
                  <a:pt x="635" y="231"/>
                </a:lnTo>
                <a:lnTo>
                  <a:pt x="636" y="236"/>
                </a:lnTo>
                <a:lnTo>
                  <a:pt x="637" y="242"/>
                </a:lnTo>
                <a:lnTo>
                  <a:pt x="638" y="247"/>
                </a:lnTo>
                <a:lnTo>
                  <a:pt x="637" y="242"/>
                </a:lnTo>
                <a:lnTo>
                  <a:pt x="636" y="236"/>
                </a:lnTo>
                <a:lnTo>
                  <a:pt x="635" y="242"/>
                </a:lnTo>
                <a:lnTo>
                  <a:pt x="634" y="246"/>
                </a:lnTo>
                <a:lnTo>
                  <a:pt x="633" y="248"/>
                </a:lnTo>
                <a:lnTo>
                  <a:pt x="632" y="250"/>
                </a:lnTo>
                <a:lnTo>
                  <a:pt x="631" y="251"/>
                </a:lnTo>
                <a:lnTo>
                  <a:pt x="629" y="252"/>
                </a:lnTo>
                <a:lnTo>
                  <a:pt x="626" y="251"/>
                </a:lnTo>
                <a:lnTo>
                  <a:pt x="625" y="250"/>
                </a:lnTo>
                <a:lnTo>
                  <a:pt x="624" y="248"/>
                </a:lnTo>
                <a:lnTo>
                  <a:pt x="622" y="246"/>
                </a:lnTo>
                <a:lnTo>
                  <a:pt x="622" y="249"/>
                </a:lnTo>
                <a:lnTo>
                  <a:pt x="621" y="251"/>
                </a:lnTo>
                <a:lnTo>
                  <a:pt x="620" y="252"/>
                </a:lnTo>
                <a:lnTo>
                  <a:pt x="619" y="254"/>
                </a:lnTo>
                <a:lnTo>
                  <a:pt x="615" y="252"/>
                </a:lnTo>
                <a:lnTo>
                  <a:pt x="611" y="249"/>
                </a:lnTo>
                <a:close/>
                <a:moveTo>
                  <a:pt x="433" y="447"/>
                </a:moveTo>
                <a:lnTo>
                  <a:pt x="432" y="435"/>
                </a:lnTo>
                <a:lnTo>
                  <a:pt x="432" y="424"/>
                </a:lnTo>
                <a:lnTo>
                  <a:pt x="432" y="435"/>
                </a:lnTo>
                <a:lnTo>
                  <a:pt x="433" y="447"/>
                </a:lnTo>
                <a:lnTo>
                  <a:pt x="436" y="454"/>
                </a:lnTo>
                <a:lnTo>
                  <a:pt x="439" y="459"/>
                </a:lnTo>
                <a:lnTo>
                  <a:pt x="440" y="464"/>
                </a:lnTo>
                <a:lnTo>
                  <a:pt x="440" y="471"/>
                </a:lnTo>
                <a:lnTo>
                  <a:pt x="440" y="464"/>
                </a:lnTo>
                <a:lnTo>
                  <a:pt x="439" y="459"/>
                </a:lnTo>
                <a:lnTo>
                  <a:pt x="436" y="454"/>
                </a:lnTo>
                <a:lnTo>
                  <a:pt x="433" y="447"/>
                </a:lnTo>
                <a:close/>
                <a:moveTo>
                  <a:pt x="432" y="263"/>
                </a:moveTo>
                <a:lnTo>
                  <a:pt x="433" y="264"/>
                </a:lnTo>
                <a:lnTo>
                  <a:pt x="432" y="265"/>
                </a:lnTo>
                <a:lnTo>
                  <a:pt x="433" y="264"/>
                </a:lnTo>
                <a:lnTo>
                  <a:pt x="432" y="263"/>
                </a:lnTo>
                <a:close/>
                <a:moveTo>
                  <a:pt x="421" y="191"/>
                </a:moveTo>
                <a:lnTo>
                  <a:pt x="420" y="190"/>
                </a:lnTo>
                <a:lnTo>
                  <a:pt x="420" y="188"/>
                </a:lnTo>
                <a:lnTo>
                  <a:pt x="418" y="187"/>
                </a:lnTo>
                <a:lnTo>
                  <a:pt x="417" y="186"/>
                </a:lnTo>
                <a:lnTo>
                  <a:pt x="417" y="185"/>
                </a:lnTo>
                <a:lnTo>
                  <a:pt x="417" y="184"/>
                </a:lnTo>
                <a:lnTo>
                  <a:pt x="417" y="185"/>
                </a:lnTo>
                <a:lnTo>
                  <a:pt x="417" y="186"/>
                </a:lnTo>
                <a:lnTo>
                  <a:pt x="418" y="187"/>
                </a:lnTo>
                <a:lnTo>
                  <a:pt x="420" y="188"/>
                </a:lnTo>
                <a:lnTo>
                  <a:pt x="420" y="190"/>
                </a:lnTo>
                <a:lnTo>
                  <a:pt x="421" y="191"/>
                </a:lnTo>
                <a:lnTo>
                  <a:pt x="422" y="193"/>
                </a:lnTo>
                <a:lnTo>
                  <a:pt x="423" y="194"/>
                </a:lnTo>
                <a:lnTo>
                  <a:pt x="422" y="193"/>
                </a:lnTo>
                <a:lnTo>
                  <a:pt x="421" y="191"/>
                </a:lnTo>
                <a:close/>
                <a:moveTo>
                  <a:pt x="415" y="151"/>
                </a:moveTo>
                <a:lnTo>
                  <a:pt x="412" y="151"/>
                </a:lnTo>
                <a:lnTo>
                  <a:pt x="408" y="151"/>
                </a:lnTo>
                <a:lnTo>
                  <a:pt x="412" y="151"/>
                </a:lnTo>
                <a:lnTo>
                  <a:pt x="415" y="151"/>
                </a:lnTo>
                <a:lnTo>
                  <a:pt x="416" y="151"/>
                </a:lnTo>
                <a:lnTo>
                  <a:pt x="417" y="150"/>
                </a:lnTo>
                <a:lnTo>
                  <a:pt x="416" y="143"/>
                </a:lnTo>
                <a:lnTo>
                  <a:pt x="414" y="138"/>
                </a:lnTo>
                <a:lnTo>
                  <a:pt x="416" y="143"/>
                </a:lnTo>
                <a:lnTo>
                  <a:pt x="417" y="150"/>
                </a:lnTo>
                <a:lnTo>
                  <a:pt x="416" y="151"/>
                </a:lnTo>
                <a:lnTo>
                  <a:pt x="415" y="151"/>
                </a:lnTo>
                <a:lnTo>
                  <a:pt x="416" y="166"/>
                </a:lnTo>
                <a:lnTo>
                  <a:pt x="418" y="181"/>
                </a:lnTo>
                <a:lnTo>
                  <a:pt x="416" y="166"/>
                </a:lnTo>
                <a:lnTo>
                  <a:pt x="415" y="151"/>
                </a:lnTo>
                <a:close/>
                <a:moveTo>
                  <a:pt x="409" y="321"/>
                </a:moveTo>
                <a:lnTo>
                  <a:pt x="407" y="320"/>
                </a:lnTo>
                <a:lnTo>
                  <a:pt x="406" y="319"/>
                </a:lnTo>
                <a:lnTo>
                  <a:pt x="407" y="320"/>
                </a:lnTo>
                <a:lnTo>
                  <a:pt x="409" y="321"/>
                </a:lnTo>
                <a:lnTo>
                  <a:pt x="410" y="322"/>
                </a:lnTo>
                <a:lnTo>
                  <a:pt x="412" y="324"/>
                </a:lnTo>
                <a:lnTo>
                  <a:pt x="410" y="322"/>
                </a:lnTo>
                <a:lnTo>
                  <a:pt x="409" y="321"/>
                </a:lnTo>
                <a:close/>
                <a:moveTo>
                  <a:pt x="409" y="103"/>
                </a:moveTo>
                <a:lnTo>
                  <a:pt x="408" y="103"/>
                </a:lnTo>
                <a:lnTo>
                  <a:pt x="408" y="103"/>
                </a:lnTo>
                <a:lnTo>
                  <a:pt x="408" y="103"/>
                </a:lnTo>
                <a:lnTo>
                  <a:pt x="409" y="103"/>
                </a:lnTo>
                <a:close/>
                <a:moveTo>
                  <a:pt x="412" y="81"/>
                </a:moveTo>
                <a:lnTo>
                  <a:pt x="412" y="81"/>
                </a:lnTo>
                <a:lnTo>
                  <a:pt x="412" y="81"/>
                </a:lnTo>
                <a:lnTo>
                  <a:pt x="412" y="81"/>
                </a:lnTo>
                <a:lnTo>
                  <a:pt x="408" y="87"/>
                </a:lnTo>
                <a:lnTo>
                  <a:pt x="406" y="92"/>
                </a:lnTo>
                <a:lnTo>
                  <a:pt x="408" y="87"/>
                </a:lnTo>
                <a:lnTo>
                  <a:pt x="412" y="81"/>
                </a:lnTo>
                <a:close/>
                <a:moveTo>
                  <a:pt x="412" y="50"/>
                </a:moveTo>
                <a:lnTo>
                  <a:pt x="412" y="50"/>
                </a:lnTo>
                <a:lnTo>
                  <a:pt x="410" y="50"/>
                </a:lnTo>
                <a:lnTo>
                  <a:pt x="409" y="50"/>
                </a:lnTo>
                <a:lnTo>
                  <a:pt x="410" y="50"/>
                </a:lnTo>
                <a:lnTo>
                  <a:pt x="412" y="50"/>
                </a:lnTo>
                <a:close/>
                <a:moveTo>
                  <a:pt x="412" y="50"/>
                </a:moveTo>
                <a:lnTo>
                  <a:pt x="413" y="49"/>
                </a:lnTo>
                <a:lnTo>
                  <a:pt x="413" y="48"/>
                </a:lnTo>
                <a:lnTo>
                  <a:pt x="413" y="49"/>
                </a:lnTo>
                <a:lnTo>
                  <a:pt x="412" y="50"/>
                </a:lnTo>
                <a:close/>
                <a:moveTo>
                  <a:pt x="412" y="80"/>
                </a:moveTo>
                <a:lnTo>
                  <a:pt x="412" y="78"/>
                </a:lnTo>
                <a:lnTo>
                  <a:pt x="413" y="76"/>
                </a:lnTo>
                <a:lnTo>
                  <a:pt x="412" y="78"/>
                </a:lnTo>
                <a:lnTo>
                  <a:pt x="412" y="80"/>
                </a:lnTo>
                <a:close/>
                <a:moveTo>
                  <a:pt x="410" y="99"/>
                </a:moveTo>
                <a:lnTo>
                  <a:pt x="412" y="102"/>
                </a:lnTo>
                <a:lnTo>
                  <a:pt x="414" y="103"/>
                </a:lnTo>
                <a:lnTo>
                  <a:pt x="412" y="102"/>
                </a:lnTo>
                <a:lnTo>
                  <a:pt x="410" y="99"/>
                </a:lnTo>
                <a:close/>
                <a:moveTo>
                  <a:pt x="414" y="110"/>
                </a:moveTo>
                <a:lnTo>
                  <a:pt x="412" y="108"/>
                </a:lnTo>
                <a:lnTo>
                  <a:pt x="409" y="107"/>
                </a:lnTo>
                <a:lnTo>
                  <a:pt x="412" y="108"/>
                </a:lnTo>
                <a:lnTo>
                  <a:pt x="414" y="110"/>
                </a:lnTo>
                <a:close/>
                <a:moveTo>
                  <a:pt x="417" y="104"/>
                </a:moveTo>
                <a:lnTo>
                  <a:pt x="417" y="104"/>
                </a:lnTo>
                <a:lnTo>
                  <a:pt x="417" y="106"/>
                </a:lnTo>
                <a:lnTo>
                  <a:pt x="417" y="109"/>
                </a:lnTo>
                <a:lnTo>
                  <a:pt x="417" y="106"/>
                </a:lnTo>
                <a:lnTo>
                  <a:pt x="417" y="104"/>
                </a:lnTo>
                <a:close/>
                <a:moveTo>
                  <a:pt x="417" y="63"/>
                </a:moveTo>
                <a:lnTo>
                  <a:pt x="417" y="63"/>
                </a:lnTo>
                <a:lnTo>
                  <a:pt x="417" y="63"/>
                </a:lnTo>
                <a:lnTo>
                  <a:pt x="418" y="62"/>
                </a:lnTo>
                <a:lnTo>
                  <a:pt x="419" y="61"/>
                </a:lnTo>
                <a:lnTo>
                  <a:pt x="420" y="60"/>
                </a:lnTo>
                <a:lnTo>
                  <a:pt x="421" y="59"/>
                </a:lnTo>
                <a:lnTo>
                  <a:pt x="421" y="58"/>
                </a:lnTo>
                <a:lnTo>
                  <a:pt x="420" y="56"/>
                </a:lnTo>
                <a:lnTo>
                  <a:pt x="420" y="54"/>
                </a:lnTo>
                <a:lnTo>
                  <a:pt x="420" y="54"/>
                </a:lnTo>
                <a:lnTo>
                  <a:pt x="423" y="56"/>
                </a:lnTo>
                <a:lnTo>
                  <a:pt x="425" y="58"/>
                </a:lnTo>
                <a:lnTo>
                  <a:pt x="425" y="60"/>
                </a:lnTo>
                <a:lnTo>
                  <a:pt x="423" y="63"/>
                </a:lnTo>
                <a:lnTo>
                  <a:pt x="422" y="67"/>
                </a:lnTo>
                <a:lnTo>
                  <a:pt x="421" y="71"/>
                </a:lnTo>
                <a:lnTo>
                  <a:pt x="420" y="73"/>
                </a:lnTo>
                <a:lnTo>
                  <a:pt x="419" y="74"/>
                </a:lnTo>
                <a:lnTo>
                  <a:pt x="417" y="75"/>
                </a:lnTo>
                <a:lnTo>
                  <a:pt x="414" y="75"/>
                </a:lnTo>
                <a:lnTo>
                  <a:pt x="416" y="69"/>
                </a:lnTo>
                <a:lnTo>
                  <a:pt x="417" y="63"/>
                </a:lnTo>
                <a:close/>
                <a:moveTo>
                  <a:pt x="418" y="57"/>
                </a:moveTo>
                <a:lnTo>
                  <a:pt x="417" y="58"/>
                </a:lnTo>
                <a:lnTo>
                  <a:pt x="416" y="60"/>
                </a:lnTo>
                <a:lnTo>
                  <a:pt x="417" y="58"/>
                </a:lnTo>
                <a:lnTo>
                  <a:pt x="418" y="57"/>
                </a:lnTo>
                <a:close/>
                <a:moveTo>
                  <a:pt x="434" y="18"/>
                </a:moveTo>
                <a:lnTo>
                  <a:pt x="436" y="21"/>
                </a:lnTo>
                <a:lnTo>
                  <a:pt x="438" y="25"/>
                </a:lnTo>
                <a:lnTo>
                  <a:pt x="439" y="21"/>
                </a:lnTo>
                <a:lnTo>
                  <a:pt x="442" y="19"/>
                </a:lnTo>
                <a:lnTo>
                  <a:pt x="439" y="22"/>
                </a:lnTo>
                <a:lnTo>
                  <a:pt x="438" y="25"/>
                </a:lnTo>
                <a:lnTo>
                  <a:pt x="439" y="30"/>
                </a:lnTo>
                <a:lnTo>
                  <a:pt x="439" y="35"/>
                </a:lnTo>
                <a:lnTo>
                  <a:pt x="439" y="40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2" y="46"/>
                </a:lnTo>
                <a:lnTo>
                  <a:pt x="428" y="44"/>
                </a:lnTo>
                <a:lnTo>
                  <a:pt x="428" y="44"/>
                </a:lnTo>
                <a:lnTo>
                  <a:pt x="431" y="31"/>
                </a:lnTo>
                <a:lnTo>
                  <a:pt x="434" y="18"/>
                </a:lnTo>
                <a:close/>
                <a:moveTo>
                  <a:pt x="434" y="14"/>
                </a:moveTo>
                <a:lnTo>
                  <a:pt x="433" y="13"/>
                </a:lnTo>
                <a:lnTo>
                  <a:pt x="432" y="11"/>
                </a:lnTo>
                <a:lnTo>
                  <a:pt x="433" y="13"/>
                </a:lnTo>
                <a:lnTo>
                  <a:pt x="434" y="14"/>
                </a:lnTo>
                <a:close/>
                <a:moveTo>
                  <a:pt x="438" y="45"/>
                </a:move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42" y="47"/>
                </a:lnTo>
                <a:lnTo>
                  <a:pt x="443" y="49"/>
                </a:lnTo>
                <a:lnTo>
                  <a:pt x="443" y="52"/>
                </a:lnTo>
                <a:lnTo>
                  <a:pt x="442" y="56"/>
                </a:lnTo>
                <a:lnTo>
                  <a:pt x="437" y="54"/>
                </a:lnTo>
                <a:lnTo>
                  <a:pt x="433" y="54"/>
                </a:lnTo>
                <a:lnTo>
                  <a:pt x="432" y="52"/>
                </a:lnTo>
                <a:lnTo>
                  <a:pt x="432" y="50"/>
                </a:lnTo>
                <a:lnTo>
                  <a:pt x="432" y="49"/>
                </a:lnTo>
                <a:lnTo>
                  <a:pt x="433" y="48"/>
                </a:lnTo>
                <a:lnTo>
                  <a:pt x="435" y="47"/>
                </a:lnTo>
                <a:lnTo>
                  <a:pt x="438" y="45"/>
                </a:lnTo>
                <a:close/>
                <a:moveTo>
                  <a:pt x="449" y="61"/>
                </a:moveTo>
                <a:lnTo>
                  <a:pt x="445" y="63"/>
                </a:lnTo>
                <a:lnTo>
                  <a:pt x="444" y="63"/>
                </a:lnTo>
                <a:lnTo>
                  <a:pt x="445" y="63"/>
                </a:lnTo>
                <a:lnTo>
                  <a:pt x="449" y="61"/>
                </a:lnTo>
                <a:close/>
                <a:moveTo>
                  <a:pt x="464" y="69"/>
                </a:moveTo>
                <a:lnTo>
                  <a:pt x="464" y="71"/>
                </a:lnTo>
                <a:lnTo>
                  <a:pt x="464" y="72"/>
                </a:lnTo>
                <a:lnTo>
                  <a:pt x="465" y="72"/>
                </a:lnTo>
                <a:lnTo>
                  <a:pt x="465" y="72"/>
                </a:lnTo>
                <a:lnTo>
                  <a:pt x="465" y="72"/>
                </a:lnTo>
                <a:lnTo>
                  <a:pt x="464" y="72"/>
                </a:lnTo>
                <a:lnTo>
                  <a:pt x="463" y="71"/>
                </a:lnTo>
                <a:lnTo>
                  <a:pt x="464" y="69"/>
                </a:lnTo>
                <a:close/>
                <a:moveTo>
                  <a:pt x="480" y="69"/>
                </a:moveTo>
                <a:lnTo>
                  <a:pt x="480" y="73"/>
                </a:lnTo>
                <a:lnTo>
                  <a:pt x="480" y="77"/>
                </a:lnTo>
                <a:lnTo>
                  <a:pt x="480" y="77"/>
                </a:lnTo>
                <a:lnTo>
                  <a:pt x="479" y="77"/>
                </a:lnTo>
                <a:lnTo>
                  <a:pt x="480" y="77"/>
                </a:lnTo>
                <a:lnTo>
                  <a:pt x="480" y="77"/>
                </a:lnTo>
                <a:lnTo>
                  <a:pt x="480" y="73"/>
                </a:lnTo>
                <a:lnTo>
                  <a:pt x="480" y="69"/>
                </a:lnTo>
                <a:close/>
                <a:moveTo>
                  <a:pt x="469" y="45"/>
                </a:moveTo>
                <a:lnTo>
                  <a:pt x="473" y="48"/>
                </a:lnTo>
                <a:lnTo>
                  <a:pt x="477" y="51"/>
                </a:lnTo>
                <a:lnTo>
                  <a:pt x="477" y="54"/>
                </a:lnTo>
                <a:lnTo>
                  <a:pt x="478" y="58"/>
                </a:lnTo>
                <a:lnTo>
                  <a:pt x="480" y="60"/>
                </a:lnTo>
                <a:lnTo>
                  <a:pt x="484" y="60"/>
                </a:lnTo>
                <a:lnTo>
                  <a:pt x="488" y="60"/>
                </a:lnTo>
                <a:lnTo>
                  <a:pt x="490" y="61"/>
                </a:lnTo>
                <a:lnTo>
                  <a:pt x="492" y="62"/>
                </a:lnTo>
                <a:lnTo>
                  <a:pt x="493" y="63"/>
                </a:lnTo>
                <a:lnTo>
                  <a:pt x="495" y="67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5" y="72"/>
                </a:lnTo>
                <a:lnTo>
                  <a:pt x="494" y="72"/>
                </a:lnTo>
                <a:lnTo>
                  <a:pt x="491" y="68"/>
                </a:lnTo>
                <a:lnTo>
                  <a:pt x="488" y="65"/>
                </a:lnTo>
                <a:lnTo>
                  <a:pt x="485" y="64"/>
                </a:lnTo>
                <a:lnTo>
                  <a:pt x="483" y="64"/>
                </a:lnTo>
                <a:lnTo>
                  <a:pt x="482" y="65"/>
                </a:lnTo>
                <a:lnTo>
                  <a:pt x="481" y="66"/>
                </a:lnTo>
                <a:lnTo>
                  <a:pt x="479" y="63"/>
                </a:lnTo>
                <a:lnTo>
                  <a:pt x="477" y="61"/>
                </a:lnTo>
                <a:lnTo>
                  <a:pt x="473" y="60"/>
                </a:lnTo>
                <a:lnTo>
                  <a:pt x="470" y="58"/>
                </a:lnTo>
                <a:lnTo>
                  <a:pt x="468" y="56"/>
                </a:lnTo>
                <a:lnTo>
                  <a:pt x="467" y="54"/>
                </a:lnTo>
                <a:lnTo>
                  <a:pt x="467" y="54"/>
                </a:lnTo>
                <a:lnTo>
                  <a:pt x="467" y="54"/>
                </a:lnTo>
                <a:lnTo>
                  <a:pt x="468" y="50"/>
                </a:lnTo>
                <a:lnTo>
                  <a:pt x="469" y="45"/>
                </a:lnTo>
                <a:close/>
                <a:moveTo>
                  <a:pt x="496" y="72"/>
                </a:moveTo>
                <a:lnTo>
                  <a:pt x="497" y="73"/>
                </a:lnTo>
                <a:lnTo>
                  <a:pt x="497" y="74"/>
                </a:lnTo>
                <a:lnTo>
                  <a:pt x="496" y="73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close/>
                <a:moveTo>
                  <a:pt x="474" y="43"/>
                </a:moveTo>
                <a:lnTo>
                  <a:pt x="474" y="43"/>
                </a:lnTo>
                <a:lnTo>
                  <a:pt x="474" y="44"/>
                </a:lnTo>
                <a:lnTo>
                  <a:pt x="474" y="43"/>
                </a:lnTo>
                <a:close/>
                <a:moveTo>
                  <a:pt x="493" y="49"/>
                </a:moveTo>
                <a:lnTo>
                  <a:pt x="493" y="49"/>
                </a:lnTo>
                <a:lnTo>
                  <a:pt x="493" y="49"/>
                </a:lnTo>
                <a:lnTo>
                  <a:pt x="493" y="49"/>
                </a:lnTo>
                <a:close/>
                <a:moveTo>
                  <a:pt x="512" y="29"/>
                </a:moveTo>
                <a:lnTo>
                  <a:pt x="510" y="28"/>
                </a:lnTo>
                <a:lnTo>
                  <a:pt x="508" y="27"/>
                </a:lnTo>
                <a:lnTo>
                  <a:pt x="510" y="28"/>
                </a:lnTo>
                <a:lnTo>
                  <a:pt x="512" y="29"/>
                </a:lnTo>
                <a:close/>
                <a:moveTo>
                  <a:pt x="519" y="28"/>
                </a:moveTo>
                <a:lnTo>
                  <a:pt x="516" y="28"/>
                </a:lnTo>
                <a:lnTo>
                  <a:pt x="514" y="28"/>
                </a:lnTo>
                <a:lnTo>
                  <a:pt x="516" y="28"/>
                </a:lnTo>
                <a:lnTo>
                  <a:pt x="519" y="28"/>
                </a:lnTo>
                <a:close/>
                <a:moveTo>
                  <a:pt x="521" y="43"/>
                </a:moveTo>
                <a:lnTo>
                  <a:pt x="518" y="43"/>
                </a:lnTo>
                <a:lnTo>
                  <a:pt x="514" y="42"/>
                </a:lnTo>
                <a:lnTo>
                  <a:pt x="518" y="43"/>
                </a:lnTo>
                <a:lnTo>
                  <a:pt x="521" y="43"/>
                </a:lnTo>
                <a:lnTo>
                  <a:pt x="521" y="43"/>
                </a:lnTo>
                <a:lnTo>
                  <a:pt x="521" y="43"/>
                </a:lnTo>
                <a:close/>
                <a:moveTo>
                  <a:pt x="534" y="64"/>
                </a:moveTo>
                <a:lnTo>
                  <a:pt x="534" y="64"/>
                </a:lnTo>
                <a:lnTo>
                  <a:pt x="528" y="65"/>
                </a:lnTo>
                <a:lnTo>
                  <a:pt x="521" y="64"/>
                </a:lnTo>
                <a:lnTo>
                  <a:pt x="528" y="65"/>
                </a:lnTo>
                <a:lnTo>
                  <a:pt x="534" y="64"/>
                </a:lnTo>
                <a:close/>
                <a:moveTo>
                  <a:pt x="523" y="27"/>
                </a:moveTo>
                <a:lnTo>
                  <a:pt x="523" y="27"/>
                </a:lnTo>
                <a:lnTo>
                  <a:pt x="523" y="26"/>
                </a:lnTo>
                <a:lnTo>
                  <a:pt x="523" y="27"/>
                </a:lnTo>
                <a:lnTo>
                  <a:pt x="523" y="27"/>
                </a:lnTo>
                <a:close/>
                <a:moveTo>
                  <a:pt x="527" y="35"/>
                </a:moveTo>
                <a:lnTo>
                  <a:pt x="526" y="35"/>
                </a:lnTo>
                <a:lnTo>
                  <a:pt x="524" y="35"/>
                </a:lnTo>
                <a:lnTo>
                  <a:pt x="526" y="35"/>
                </a:lnTo>
                <a:lnTo>
                  <a:pt x="527" y="35"/>
                </a:lnTo>
                <a:close/>
                <a:moveTo>
                  <a:pt x="537" y="58"/>
                </a:moveTo>
                <a:lnTo>
                  <a:pt x="535" y="58"/>
                </a:lnTo>
                <a:lnTo>
                  <a:pt x="534" y="60"/>
                </a:lnTo>
                <a:lnTo>
                  <a:pt x="535" y="58"/>
                </a:lnTo>
                <a:lnTo>
                  <a:pt x="537" y="58"/>
                </a:lnTo>
                <a:close/>
                <a:moveTo>
                  <a:pt x="535" y="40"/>
                </a:moveTo>
                <a:lnTo>
                  <a:pt x="547" y="43"/>
                </a:lnTo>
                <a:lnTo>
                  <a:pt x="560" y="45"/>
                </a:lnTo>
                <a:lnTo>
                  <a:pt x="562" y="45"/>
                </a:lnTo>
                <a:lnTo>
                  <a:pt x="565" y="45"/>
                </a:lnTo>
                <a:lnTo>
                  <a:pt x="566" y="47"/>
                </a:lnTo>
                <a:lnTo>
                  <a:pt x="565" y="49"/>
                </a:lnTo>
                <a:lnTo>
                  <a:pt x="565" y="50"/>
                </a:lnTo>
                <a:lnTo>
                  <a:pt x="564" y="50"/>
                </a:lnTo>
                <a:lnTo>
                  <a:pt x="560" y="50"/>
                </a:lnTo>
                <a:lnTo>
                  <a:pt x="558" y="50"/>
                </a:lnTo>
                <a:lnTo>
                  <a:pt x="554" y="53"/>
                </a:lnTo>
                <a:lnTo>
                  <a:pt x="551" y="54"/>
                </a:lnTo>
                <a:lnTo>
                  <a:pt x="554" y="53"/>
                </a:lnTo>
                <a:lnTo>
                  <a:pt x="558" y="50"/>
                </a:lnTo>
                <a:lnTo>
                  <a:pt x="553" y="50"/>
                </a:lnTo>
                <a:lnTo>
                  <a:pt x="549" y="50"/>
                </a:lnTo>
                <a:lnTo>
                  <a:pt x="543" y="49"/>
                </a:lnTo>
                <a:lnTo>
                  <a:pt x="539" y="47"/>
                </a:lnTo>
                <a:lnTo>
                  <a:pt x="537" y="44"/>
                </a:lnTo>
                <a:lnTo>
                  <a:pt x="535" y="40"/>
                </a:lnTo>
                <a:lnTo>
                  <a:pt x="535" y="40"/>
                </a:lnTo>
                <a:lnTo>
                  <a:pt x="534" y="38"/>
                </a:lnTo>
                <a:lnTo>
                  <a:pt x="535" y="40"/>
                </a:lnTo>
                <a:lnTo>
                  <a:pt x="535" y="40"/>
                </a:lnTo>
                <a:close/>
                <a:moveTo>
                  <a:pt x="549" y="22"/>
                </a:moveTo>
                <a:lnTo>
                  <a:pt x="549" y="23"/>
                </a:lnTo>
                <a:lnTo>
                  <a:pt x="549" y="25"/>
                </a:lnTo>
                <a:lnTo>
                  <a:pt x="549" y="23"/>
                </a:lnTo>
                <a:lnTo>
                  <a:pt x="549" y="22"/>
                </a:lnTo>
                <a:lnTo>
                  <a:pt x="545" y="22"/>
                </a:lnTo>
                <a:lnTo>
                  <a:pt x="542" y="22"/>
                </a:lnTo>
                <a:lnTo>
                  <a:pt x="545" y="22"/>
                </a:lnTo>
                <a:lnTo>
                  <a:pt x="549" y="22"/>
                </a:lnTo>
                <a:close/>
                <a:moveTo>
                  <a:pt x="557" y="28"/>
                </a:moveTo>
                <a:lnTo>
                  <a:pt x="553" y="28"/>
                </a:lnTo>
                <a:lnTo>
                  <a:pt x="549" y="27"/>
                </a:lnTo>
                <a:lnTo>
                  <a:pt x="553" y="28"/>
                </a:lnTo>
                <a:lnTo>
                  <a:pt x="557" y="28"/>
                </a:lnTo>
                <a:close/>
                <a:moveTo>
                  <a:pt x="562" y="27"/>
                </a:moveTo>
                <a:lnTo>
                  <a:pt x="560" y="25"/>
                </a:lnTo>
                <a:lnTo>
                  <a:pt x="560" y="23"/>
                </a:lnTo>
                <a:lnTo>
                  <a:pt x="561" y="22"/>
                </a:lnTo>
                <a:lnTo>
                  <a:pt x="562" y="22"/>
                </a:lnTo>
                <a:lnTo>
                  <a:pt x="569" y="23"/>
                </a:lnTo>
                <a:lnTo>
                  <a:pt x="575" y="25"/>
                </a:lnTo>
                <a:lnTo>
                  <a:pt x="579" y="25"/>
                </a:lnTo>
                <a:lnTo>
                  <a:pt x="581" y="25"/>
                </a:lnTo>
                <a:lnTo>
                  <a:pt x="579" y="25"/>
                </a:lnTo>
                <a:lnTo>
                  <a:pt x="575" y="25"/>
                </a:lnTo>
                <a:lnTo>
                  <a:pt x="572" y="27"/>
                </a:lnTo>
                <a:lnTo>
                  <a:pt x="569" y="28"/>
                </a:lnTo>
                <a:lnTo>
                  <a:pt x="562" y="29"/>
                </a:lnTo>
                <a:lnTo>
                  <a:pt x="556" y="30"/>
                </a:lnTo>
                <a:lnTo>
                  <a:pt x="562" y="29"/>
                </a:lnTo>
                <a:lnTo>
                  <a:pt x="569" y="28"/>
                </a:lnTo>
                <a:lnTo>
                  <a:pt x="566" y="27"/>
                </a:lnTo>
                <a:lnTo>
                  <a:pt x="562" y="27"/>
                </a:lnTo>
                <a:close/>
                <a:moveTo>
                  <a:pt x="574" y="54"/>
                </a:moveTo>
                <a:lnTo>
                  <a:pt x="574" y="54"/>
                </a:lnTo>
                <a:lnTo>
                  <a:pt x="572" y="52"/>
                </a:lnTo>
                <a:lnTo>
                  <a:pt x="571" y="50"/>
                </a:lnTo>
                <a:lnTo>
                  <a:pt x="572" y="52"/>
                </a:lnTo>
                <a:lnTo>
                  <a:pt x="574" y="54"/>
                </a:lnTo>
                <a:close/>
                <a:moveTo>
                  <a:pt x="619" y="43"/>
                </a:moveTo>
                <a:lnTo>
                  <a:pt x="620" y="42"/>
                </a:lnTo>
                <a:lnTo>
                  <a:pt x="621" y="40"/>
                </a:lnTo>
                <a:lnTo>
                  <a:pt x="622" y="40"/>
                </a:lnTo>
                <a:lnTo>
                  <a:pt x="624" y="40"/>
                </a:lnTo>
                <a:lnTo>
                  <a:pt x="624" y="42"/>
                </a:lnTo>
                <a:lnTo>
                  <a:pt x="624" y="44"/>
                </a:lnTo>
                <a:lnTo>
                  <a:pt x="625" y="46"/>
                </a:lnTo>
                <a:lnTo>
                  <a:pt x="627" y="47"/>
                </a:lnTo>
                <a:lnTo>
                  <a:pt x="631" y="48"/>
                </a:lnTo>
                <a:lnTo>
                  <a:pt x="634" y="50"/>
                </a:lnTo>
                <a:lnTo>
                  <a:pt x="626" y="50"/>
                </a:lnTo>
                <a:lnTo>
                  <a:pt x="617" y="50"/>
                </a:lnTo>
                <a:lnTo>
                  <a:pt x="618" y="53"/>
                </a:lnTo>
                <a:lnTo>
                  <a:pt x="620" y="56"/>
                </a:lnTo>
                <a:lnTo>
                  <a:pt x="617" y="56"/>
                </a:lnTo>
                <a:lnTo>
                  <a:pt x="613" y="57"/>
                </a:lnTo>
                <a:lnTo>
                  <a:pt x="612" y="56"/>
                </a:lnTo>
                <a:lnTo>
                  <a:pt x="611" y="54"/>
                </a:lnTo>
                <a:lnTo>
                  <a:pt x="610" y="53"/>
                </a:lnTo>
                <a:lnTo>
                  <a:pt x="610" y="50"/>
                </a:lnTo>
                <a:lnTo>
                  <a:pt x="607" y="48"/>
                </a:lnTo>
                <a:lnTo>
                  <a:pt x="604" y="49"/>
                </a:lnTo>
                <a:lnTo>
                  <a:pt x="588" y="48"/>
                </a:lnTo>
                <a:lnTo>
                  <a:pt x="573" y="48"/>
                </a:lnTo>
                <a:lnTo>
                  <a:pt x="573" y="48"/>
                </a:lnTo>
                <a:lnTo>
                  <a:pt x="571" y="46"/>
                </a:lnTo>
                <a:lnTo>
                  <a:pt x="569" y="45"/>
                </a:lnTo>
                <a:lnTo>
                  <a:pt x="567" y="45"/>
                </a:lnTo>
                <a:lnTo>
                  <a:pt x="565" y="45"/>
                </a:lnTo>
                <a:lnTo>
                  <a:pt x="566" y="44"/>
                </a:lnTo>
                <a:lnTo>
                  <a:pt x="565" y="43"/>
                </a:lnTo>
                <a:lnTo>
                  <a:pt x="564" y="42"/>
                </a:lnTo>
                <a:lnTo>
                  <a:pt x="562" y="42"/>
                </a:lnTo>
                <a:lnTo>
                  <a:pt x="562" y="41"/>
                </a:lnTo>
                <a:lnTo>
                  <a:pt x="562" y="40"/>
                </a:lnTo>
                <a:lnTo>
                  <a:pt x="562" y="40"/>
                </a:lnTo>
                <a:lnTo>
                  <a:pt x="562" y="40"/>
                </a:lnTo>
                <a:lnTo>
                  <a:pt x="571" y="41"/>
                </a:lnTo>
                <a:lnTo>
                  <a:pt x="581" y="41"/>
                </a:lnTo>
                <a:lnTo>
                  <a:pt x="582" y="38"/>
                </a:lnTo>
                <a:lnTo>
                  <a:pt x="581" y="37"/>
                </a:lnTo>
                <a:lnTo>
                  <a:pt x="582" y="38"/>
                </a:lnTo>
                <a:lnTo>
                  <a:pt x="581" y="41"/>
                </a:lnTo>
                <a:lnTo>
                  <a:pt x="582" y="43"/>
                </a:lnTo>
                <a:lnTo>
                  <a:pt x="584" y="44"/>
                </a:lnTo>
                <a:lnTo>
                  <a:pt x="592" y="45"/>
                </a:lnTo>
                <a:lnTo>
                  <a:pt x="602" y="45"/>
                </a:lnTo>
                <a:lnTo>
                  <a:pt x="611" y="45"/>
                </a:lnTo>
                <a:lnTo>
                  <a:pt x="619" y="43"/>
                </a:lnTo>
                <a:close/>
                <a:moveTo>
                  <a:pt x="636" y="51"/>
                </a:moveTo>
                <a:lnTo>
                  <a:pt x="636" y="51"/>
                </a:lnTo>
                <a:lnTo>
                  <a:pt x="635" y="51"/>
                </a:lnTo>
                <a:lnTo>
                  <a:pt x="635" y="51"/>
                </a:lnTo>
                <a:lnTo>
                  <a:pt x="634" y="50"/>
                </a:lnTo>
                <a:lnTo>
                  <a:pt x="635" y="51"/>
                </a:lnTo>
                <a:lnTo>
                  <a:pt x="636" y="51"/>
                </a:lnTo>
                <a:close/>
                <a:moveTo>
                  <a:pt x="668" y="83"/>
                </a:moveTo>
                <a:lnTo>
                  <a:pt x="672" y="82"/>
                </a:lnTo>
                <a:lnTo>
                  <a:pt x="674" y="82"/>
                </a:lnTo>
                <a:lnTo>
                  <a:pt x="672" y="82"/>
                </a:lnTo>
                <a:lnTo>
                  <a:pt x="668" y="83"/>
                </a:lnTo>
                <a:lnTo>
                  <a:pt x="672" y="88"/>
                </a:lnTo>
                <a:lnTo>
                  <a:pt x="676" y="92"/>
                </a:lnTo>
                <a:lnTo>
                  <a:pt x="676" y="94"/>
                </a:lnTo>
                <a:lnTo>
                  <a:pt x="676" y="96"/>
                </a:lnTo>
                <a:lnTo>
                  <a:pt x="674" y="96"/>
                </a:lnTo>
                <a:lnTo>
                  <a:pt x="672" y="95"/>
                </a:lnTo>
                <a:lnTo>
                  <a:pt x="670" y="93"/>
                </a:lnTo>
                <a:lnTo>
                  <a:pt x="667" y="93"/>
                </a:lnTo>
                <a:lnTo>
                  <a:pt x="664" y="93"/>
                </a:lnTo>
                <a:lnTo>
                  <a:pt x="662" y="93"/>
                </a:lnTo>
                <a:lnTo>
                  <a:pt x="661" y="94"/>
                </a:lnTo>
                <a:lnTo>
                  <a:pt x="661" y="94"/>
                </a:lnTo>
                <a:lnTo>
                  <a:pt x="649" y="84"/>
                </a:lnTo>
                <a:lnTo>
                  <a:pt x="637" y="77"/>
                </a:lnTo>
                <a:lnTo>
                  <a:pt x="635" y="76"/>
                </a:lnTo>
                <a:lnTo>
                  <a:pt x="635" y="76"/>
                </a:lnTo>
                <a:lnTo>
                  <a:pt x="636" y="75"/>
                </a:lnTo>
                <a:lnTo>
                  <a:pt x="637" y="75"/>
                </a:lnTo>
                <a:lnTo>
                  <a:pt x="634" y="73"/>
                </a:lnTo>
                <a:lnTo>
                  <a:pt x="630" y="72"/>
                </a:lnTo>
                <a:lnTo>
                  <a:pt x="626" y="72"/>
                </a:lnTo>
                <a:lnTo>
                  <a:pt x="621" y="73"/>
                </a:lnTo>
                <a:lnTo>
                  <a:pt x="626" y="72"/>
                </a:lnTo>
                <a:lnTo>
                  <a:pt x="630" y="72"/>
                </a:lnTo>
                <a:lnTo>
                  <a:pt x="634" y="73"/>
                </a:lnTo>
                <a:lnTo>
                  <a:pt x="637" y="75"/>
                </a:lnTo>
                <a:lnTo>
                  <a:pt x="653" y="78"/>
                </a:lnTo>
                <a:lnTo>
                  <a:pt x="668" y="83"/>
                </a:lnTo>
                <a:close/>
                <a:moveTo>
                  <a:pt x="665" y="72"/>
                </a:moveTo>
                <a:lnTo>
                  <a:pt x="665" y="71"/>
                </a:lnTo>
                <a:lnTo>
                  <a:pt x="665" y="69"/>
                </a:lnTo>
                <a:lnTo>
                  <a:pt x="665" y="71"/>
                </a:lnTo>
                <a:lnTo>
                  <a:pt x="665" y="72"/>
                </a:lnTo>
                <a:close/>
                <a:moveTo>
                  <a:pt x="676" y="66"/>
                </a:moveTo>
                <a:lnTo>
                  <a:pt x="676" y="66"/>
                </a:lnTo>
                <a:lnTo>
                  <a:pt x="670" y="64"/>
                </a:lnTo>
                <a:lnTo>
                  <a:pt x="662" y="61"/>
                </a:lnTo>
                <a:lnTo>
                  <a:pt x="670" y="64"/>
                </a:lnTo>
                <a:lnTo>
                  <a:pt x="676" y="66"/>
                </a:lnTo>
                <a:close/>
                <a:moveTo>
                  <a:pt x="676" y="66"/>
                </a:moveTo>
                <a:lnTo>
                  <a:pt x="676" y="66"/>
                </a:lnTo>
                <a:lnTo>
                  <a:pt x="676" y="66"/>
                </a:lnTo>
                <a:close/>
                <a:moveTo>
                  <a:pt x="645" y="140"/>
                </a:moveTo>
                <a:lnTo>
                  <a:pt x="645" y="140"/>
                </a:lnTo>
                <a:lnTo>
                  <a:pt x="645" y="140"/>
                </a:lnTo>
                <a:lnTo>
                  <a:pt x="645" y="140"/>
                </a:lnTo>
                <a:lnTo>
                  <a:pt x="645" y="140"/>
                </a:lnTo>
                <a:close/>
                <a:moveTo>
                  <a:pt x="622" y="158"/>
                </a:moveTo>
                <a:lnTo>
                  <a:pt x="622" y="158"/>
                </a:lnTo>
                <a:lnTo>
                  <a:pt x="621" y="157"/>
                </a:lnTo>
                <a:lnTo>
                  <a:pt x="622" y="156"/>
                </a:lnTo>
                <a:lnTo>
                  <a:pt x="622" y="156"/>
                </a:lnTo>
                <a:lnTo>
                  <a:pt x="622" y="156"/>
                </a:lnTo>
                <a:lnTo>
                  <a:pt x="624" y="157"/>
                </a:lnTo>
                <a:lnTo>
                  <a:pt x="624" y="158"/>
                </a:lnTo>
                <a:lnTo>
                  <a:pt x="622" y="158"/>
                </a:lnTo>
                <a:close/>
                <a:moveTo>
                  <a:pt x="650" y="394"/>
                </a:moveTo>
                <a:lnTo>
                  <a:pt x="649" y="395"/>
                </a:lnTo>
                <a:lnTo>
                  <a:pt x="649" y="395"/>
                </a:lnTo>
                <a:lnTo>
                  <a:pt x="649" y="395"/>
                </a:lnTo>
                <a:lnTo>
                  <a:pt x="650" y="394"/>
                </a:lnTo>
                <a:close/>
                <a:moveTo>
                  <a:pt x="650" y="216"/>
                </a:moveTo>
                <a:lnTo>
                  <a:pt x="650" y="216"/>
                </a:lnTo>
                <a:lnTo>
                  <a:pt x="644" y="206"/>
                </a:lnTo>
                <a:lnTo>
                  <a:pt x="640" y="197"/>
                </a:lnTo>
                <a:lnTo>
                  <a:pt x="638" y="194"/>
                </a:lnTo>
                <a:lnTo>
                  <a:pt x="637" y="193"/>
                </a:lnTo>
                <a:lnTo>
                  <a:pt x="636" y="193"/>
                </a:lnTo>
                <a:lnTo>
                  <a:pt x="633" y="193"/>
                </a:lnTo>
                <a:lnTo>
                  <a:pt x="631" y="193"/>
                </a:lnTo>
                <a:lnTo>
                  <a:pt x="631" y="190"/>
                </a:lnTo>
                <a:lnTo>
                  <a:pt x="629" y="184"/>
                </a:lnTo>
                <a:lnTo>
                  <a:pt x="628" y="178"/>
                </a:lnTo>
                <a:lnTo>
                  <a:pt x="628" y="176"/>
                </a:lnTo>
                <a:lnTo>
                  <a:pt x="627" y="175"/>
                </a:lnTo>
                <a:lnTo>
                  <a:pt x="628" y="176"/>
                </a:lnTo>
                <a:lnTo>
                  <a:pt x="628" y="178"/>
                </a:lnTo>
                <a:lnTo>
                  <a:pt x="628" y="175"/>
                </a:lnTo>
                <a:lnTo>
                  <a:pt x="627" y="174"/>
                </a:lnTo>
                <a:lnTo>
                  <a:pt x="626" y="172"/>
                </a:lnTo>
                <a:lnTo>
                  <a:pt x="625" y="170"/>
                </a:lnTo>
                <a:lnTo>
                  <a:pt x="624" y="173"/>
                </a:lnTo>
                <a:lnTo>
                  <a:pt x="624" y="176"/>
                </a:lnTo>
                <a:lnTo>
                  <a:pt x="624" y="173"/>
                </a:lnTo>
                <a:lnTo>
                  <a:pt x="625" y="170"/>
                </a:lnTo>
                <a:lnTo>
                  <a:pt x="625" y="168"/>
                </a:lnTo>
                <a:lnTo>
                  <a:pt x="624" y="166"/>
                </a:lnTo>
                <a:lnTo>
                  <a:pt x="624" y="164"/>
                </a:lnTo>
                <a:lnTo>
                  <a:pt x="626" y="161"/>
                </a:lnTo>
                <a:lnTo>
                  <a:pt x="630" y="168"/>
                </a:lnTo>
                <a:lnTo>
                  <a:pt x="633" y="175"/>
                </a:lnTo>
                <a:lnTo>
                  <a:pt x="634" y="180"/>
                </a:lnTo>
                <a:lnTo>
                  <a:pt x="636" y="183"/>
                </a:lnTo>
                <a:lnTo>
                  <a:pt x="640" y="186"/>
                </a:lnTo>
                <a:lnTo>
                  <a:pt x="643" y="188"/>
                </a:lnTo>
                <a:lnTo>
                  <a:pt x="643" y="187"/>
                </a:lnTo>
                <a:lnTo>
                  <a:pt x="644" y="187"/>
                </a:lnTo>
                <a:lnTo>
                  <a:pt x="643" y="187"/>
                </a:lnTo>
                <a:lnTo>
                  <a:pt x="643" y="188"/>
                </a:lnTo>
                <a:lnTo>
                  <a:pt x="644" y="188"/>
                </a:lnTo>
                <a:lnTo>
                  <a:pt x="645" y="188"/>
                </a:lnTo>
                <a:lnTo>
                  <a:pt x="647" y="201"/>
                </a:lnTo>
                <a:lnTo>
                  <a:pt x="650" y="213"/>
                </a:lnTo>
                <a:lnTo>
                  <a:pt x="650" y="214"/>
                </a:lnTo>
                <a:lnTo>
                  <a:pt x="650" y="216"/>
                </a:lnTo>
                <a:close/>
                <a:moveTo>
                  <a:pt x="661" y="220"/>
                </a:moveTo>
                <a:lnTo>
                  <a:pt x="659" y="220"/>
                </a:lnTo>
                <a:lnTo>
                  <a:pt x="656" y="220"/>
                </a:lnTo>
                <a:lnTo>
                  <a:pt x="659" y="220"/>
                </a:lnTo>
                <a:lnTo>
                  <a:pt x="661" y="220"/>
                </a:lnTo>
                <a:close/>
                <a:moveTo>
                  <a:pt x="655" y="267"/>
                </a:moveTo>
                <a:lnTo>
                  <a:pt x="653" y="267"/>
                </a:lnTo>
                <a:lnTo>
                  <a:pt x="653" y="267"/>
                </a:lnTo>
                <a:lnTo>
                  <a:pt x="653" y="267"/>
                </a:lnTo>
                <a:lnTo>
                  <a:pt x="652" y="266"/>
                </a:lnTo>
                <a:lnTo>
                  <a:pt x="653" y="267"/>
                </a:lnTo>
                <a:lnTo>
                  <a:pt x="653" y="267"/>
                </a:lnTo>
                <a:lnTo>
                  <a:pt x="653" y="267"/>
                </a:lnTo>
                <a:lnTo>
                  <a:pt x="655" y="267"/>
                </a:lnTo>
                <a:close/>
                <a:moveTo>
                  <a:pt x="653" y="204"/>
                </a:moveTo>
                <a:lnTo>
                  <a:pt x="658" y="207"/>
                </a:lnTo>
                <a:lnTo>
                  <a:pt x="660" y="213"/>
                </a:lnTo>
                <a:lnTo>
                  <a:pt x="658" y="207"/>
                </a:lnTo>
                <a:lnTo>
                  <a:pt x="653" y="204"/>
                </a:lnTo>
                <a:close/>
                <a:moveTo>
                  <a:pt x="664" y="211"/>
                </a:moveTo>
                <a:lnTo>
                  <a:pt x="664" y="211"/>
                </a:lnTo>
                <a:lnTo>
                  <a:pt x="664" y="210"/>
                </a:lnTo>
                <a:lnTo>
                  <a:pt x="660" y="205"/>
                </a:lnTo>
                <a:lnTo>
                  <a:pt x="656" y="201"/>
                </a:lnTo>
                <a:lnTo>
                  <a:pt x="652" y="197"/>
                </a:lnTo>
                <a:lnTo>
                  <a:pt x="650" y="194"/>
                </a:lnTo>
                <a:lnTo>
                  <a:pt x="648" y="189"/>
                </a:lnTo>
                <a:lnTo>
                  <a:pt x="647" y="185"/>
                </a:lnTo>
                <a:lnTo>
                  <a:pt x="640" y="171"/>
                </a:lnTo>
                <a:lnTo>
                  <a:pt x="634" y="156"/>
                </a:lnTo>
                <a:lnTo>
                  <a:pt x="640" y="158"/>
                </a:lnTo>
                <a:lnTo>
                  <a:pt x="645" y="161"/>
                </a:lnTo>
                <a:lnTo>
                  <a:pt x="647" y="164"/>
                </a:lnTo>
                <a:lnTo>
                  <a:pt x="648" y="166"/>
                </a:lnTo>
                <a:lnTo>
                  <a:pt x="649" y="168"/>
                </a:lnTo>
                <a:lnTo>
                  <a:pt x="649" y="169"/>
                </a:lnTo>
                <a:lnTo>
                  <a:pt x="648" y="172"/>
                </a:lnTo>
                <a:lnTo>
                  <a:pt x="647" y="175"/>
                </a:lnTo>
                <a:lnTo>
                  <a:pt x="648" y="178"/>
                </a:lnTo>
                <a:lnTo>
                  <a:pt x="649" y="180"/>
                </a:lnTo>
                <a:lnTo>
                  <a:pt x="652" y="184"/>
                </a:lnTo>
                <a:lnTo>
                  <a:pt x="656" y="188"/>
                </a:lnTo>
                <a:lnTo>
                  <a:pt x="660" y="195"/>
                </a:lnTo>
                <a:lnTo>
                  <a:pt x="664" y="202"/>
                </a:lnTo>
                <a:lnTo>
                  <a:pt x="665" y="203"/>
                </a:lnTo>
                <a:lnTo>
                  <a:pt x="665" y="205"/>
                </a:lnTo>
                <a:lnTo>
                  <a:pt x="665" y="207"/>
                </a:lnTo>
                <a:lnTo>
                  <a:pt x="664" y="210"/>
                </a:lnTo>
                <a:lnTo>
                  <a:pt x="664" y="211"/>
                </a:lnTo>
                <a:lnTo>
                  <a:pt x="664" y="211"/>
                </a:lnTo>
                <a:close/>
                <a:moveTo>
                  <a:pt x="666" y="398"/>
                </a:moveTo>
                <a:lnTo>
                  <a:pt x="666" y="397"/>
                </a:lnTo>
                <a:lnTo>
                  <a:pt x="666" y="397"/>
                </a:lnTo>
                <a:lnTo>
                  <a:pt x="666" y="397"/>
                </a:lnTo>
                <a:lnTo>
                  <a:pt x="666" y="398"/>
                </a:lnTo>
                <a:close/>
                <a:moveTo>
                  <a:pt x="667" y="257"/>
                </a:moveTo>
                <a:lnTo>
                  <a:pt x="667" y="257"/>
                </a:lnTo>
                <a:lnTo>
                  <a:pt x="668" y="258"/>
                </a:lnTo>
                <a:lnTo>
                  <a:pt x="667" y="257"/>
                </a:lnTo>
                <a:lnTo>
                  <a:pt x="667" y="257"/>
                </a:lnTo>
                <a:close/>
                <a:moveTo>
                  <a:pt x="667" y="260"/>
                </a:moveTo>
                <a:lnTo>
                  <a:pt x="673" y="261"/>
                </a:lnTo>
                <a:lnTo>
                  <a:pt x="676" y="262"/>
                </a:lnTo>
                <a:lnTo>
                  <a:pt x="673" y="261"/>
                </a:lnTo>
                <a:lnTo>
                  <a:pt x="667" y="260"/>
                </a:lnTo>
                <a:lnTo>
                  <a:pt x="667" y="259"/>
                </a:lnTo>
                <a:lnTo>
                  <a:pt x="667" y="258"/>
                </a:lnTo>
                <a:lnTo>
                  <a:pt x="667" y="259"/>
                </a:lnTo>
                <a:lnTo>
                  <a:pt x="667" y="260"/>
                </a:lnTo>
                <a:close/>
                <a:moveTo>
                  <a:pt x="685" y="392"/>
                </a:moveTo>
                <a:lnTo>
                  <a:pt x="682" y="394"/>
                </a:lnTo>
                <a:lnTo>
                  <a:pt x="680" y="396"/>
                </a:lnTo>
                <a:lnTo>
                  <a:pt x="682" y="394"/>
                </a:lnTo>
                <a:lnTo>
                  <a:pt x="685" y="392"/>
                </a:lnTo>
                <a:close/>
                <a:moveTo>
                  <a:pt x="678" y="151"/>
                </a:moveTo>
                <a:lnTo>
                  <a:pt x="679" y="151"/>
                </a:lnTo>
                <a:lnTo>
                  <a:pt x="680" y="150"/>
                </a:lnTo>
                <a:lnTo>
                  <a:pt x="679" y="151"/>
                </a:lnTo>
                <a:lnTo>
                  <a:pt x="678" y="151"/>
                </a:lnTo>
                <a:close/>
                <a:moveTo>
                  <a:pt x="677" y="140"/>
                </a:moveTo>
                <a:lnTo>
                  <a:pt x="680" y="140"/>
                </a:lnTo>
                <a:lnTo>
                  <a:pt x="682" y="141"/>
                </a:lnTo>
                <a:lnTo>
                  <a:pt x="686" y="142"/>
                </a:lnTo>
                <a:lnTo>
                  <a:pt x="687" y="144"/>
                </a:lnTo>
                <a:lnTo>
                  <a:pt x="686" y="142"/>
                </a:lnTo>
                <a:lnTo>
                  <a:pt x="682" y="141"/>
                </a:lnTo>
                <a:lnTo>
                  <a:pt x="680" y="140"/>
                </a:lnTo>
                <a:lnTo>
                  <a:pt x="677" y="140"/>
                </a:lnTo>
                <a:lnTo>
                  <a:pt x="675" y="136"/>
                </a:lnTo>
                <a:lnTo>
                  <a:pt x="672" y="132"/>
                </a:lnTo>
                <a:lnTo>
                  <a:pt x="672" y="130"/>
                </a:lnTo>
                <a:lnTo>
                  <a:pt x="671" y="130"/>
                </a:lnTo>
                <a:lnTo>
                  <a:pt x="666" y="128"/>
                </a:lnTo>
                <a:lnTo>
                  <a:pt x="663" y="127"/>
                </a:lnTo>
                <a:lnTo>
                  <a:pt x="661" y="130"/>
                </a:lnTo>
                <a:lnTo>
                  <a:pt x="660" y="135"/>
                </a:lnTo>
                <a:lnTo>
                  <a:pt x="661" y="139"/>
                </a:lnTo>
                <a:lnTo>
                  <a:pt x="662" y="143"/>
                </a:lnTo>
                <a:lnTo>
                  <a:pt x="663" y="145"/>
                </a:lnTo>
                <a:lnTo>
                  <a:pt x="664" y="149"/>
                </a:lnTo>
                <a:lnTo>
                  <a:pt x="665" y="151"/>
                </a:lnTo>
                <a:lnTo>
                  <a:pt x="664" y="152"/>
                </a:lnTo>
                <a:lnTo>
                  <a:pt x="661" y="153"/>
                </a:lnTo>
                <a:lnTo>
                  <a:pt x="659" y="151"/>
                </a:lnTo>
                <a:lnTo>
                  <a:pt x="658" y="149"/>
                </a:lnTo>
                <a:lnTo>
                  <a:pt x="656" y="145"/>
                </a:lnTo>
                <a:lnTo>
                  <a:pt x="653" y="143"/>
                </a:lnTo>
                <a:lnTo>
                  <a:pt x="650" y="140"/>
                </a:lnTo>
                <a:lnTo>
                  <a:pt x="649" y="144"/>
                </a:lnTo>
                <a:lnTo>
                  <a:pt x="650" y="148"/>
                </a:lnTo>
                <a:lnTo>
                  <a:pt x="649" y="144"/>
                </a:lnTo>
                <a:lnTo>
                  <a:pt x="650" y="140"/>
                </a:lnTo>
                <a:lnTo>
                  <a:pt x="650" y="140"/>
                </a:lnTo>
                <a:lnTo>
                  <a:pt x="650" y="140"/>
                </a:lnTo>
                <a:lnTo>
                  <a:pt x="650" y="137"/>
                </a:lnTo>
                <a:lnTo>
                  <a:pt x="648" y="135"/>
                </a:lnTo>
                <a:lnTo>
                  <a:pt x="647" y="133"/>
                </a:lnTo>
                <a:lnTo>
                  <a:pt x="645" y="129"/>
                </a:lnTo>
                <a:lnTo>
                  <a:pt x="644" y="126"/>
                </a:lnTo>
                <a:lnTo>
                  <a:pt x="644" y="124"/>
                </a:lnTo>
                <a:lnTo>
                  <a:pt x="642" y="120"/>
                </a:lnTo>
                <a:lnTo>
                  <a:pt x="638" y="117"/>
                </a:lnTo>
                <a:lnTo>
                  <a:pt x="635" y="113"/>
                </a:lnTo>
                <a:lnTo>
                  <a:pt x="632" y="111"/>
                </a:lnTo>
                <a:lnTo>
                  <a:pt x="625" y="107"/>
                </a:lnTo>
                <a:lnTo>
                  <a:pt x="617" y="102"/>
                </a:lnTo>
                <a:lnTo>
                  <a:pt x="615" y="100"/>
                </a:lnTo>
                <a:lnTo>
                  <a:pt x="613" y="99"/>
                </a:lnTo>
                <a:lnTo>
                  <a:pt x="612" y="98"/>
                </a:lnTo>
                <a:lnTo>
                  <a:pt x="611" y="96"/>
                </a:lnTo>
                <a:lnTo>
                  <a:pt x="612" y="94"/>
                </a:lnTo>
                <a:lnTo>
                  <a:pt x="614" y="93"/>
                </a:lnTo>
                <a:lnTo>
                  <a:pt x="617" y="93"/>
                </a:lnTo>
                <a:lnTo>
                  <a:pt x="619" y="93"/>
                </a:lnTo>
                <a:lnTo>
                  <a:pt x="622" y="96"/>
                </a:lnTo>
                <a:lnTo>
                  <a:pt x="627" y="96"/>
                </a:lnTo>
                <a:lnTo>
                  <a:pt x="628" y="98"/>
                </a:lnTo>
                <a:lnTo>
                  <a:pt x="629" y="98"/>
                </a:lnTo>
                <a:lnTo>
                  <a:pt x="630" y="99"/>
                </a:lnTo>
                <a:lnTo>
                  <a:pt x="631" y="100"/>
                </a:lnTo>
                <a:lnTo>
                  <a:pt x="633" y="100"/>
                </a:lnTo>
                <a:lnTo>
                  <a:pt x="634" y="99"/>
                </a:lnTo>
                <a:lnTo>
                  <a:pt x="634" y="98"/>
                </a:lnTo>
                <a:lnTo>
                  <a:pt x="634" y="98"/>
                </a:lnTo>
                <a:lnTo>
                  <a:pt x="634" y="98"/>
                </a:lnTo>
                <a:lnTo>
                  <a:pt x="634" y="99"/>
                </a:lnTo>
                <a:lnTo>
                  <a:pt x="634" y="102"/>
                </a:lnTo>
                <a:lnTo>
                  <a:pt x="635" y="103"/>
                </a:lnTo>
                <a:lnTo>
                  <a:pt x="636" y="104"/>
                </a:lnTo>
                <a:lnTo>
                  <a:pt x="637" y="105"/>
                </a:lnTo>
                <a:lnTo>
                  <a:pt x="636" y="104"/>
                </a:lnTo>
                <a:lnTo>
                  <a:pt x="635" y="103"/>
                </a:lnTo>
                <a:lnTo>
                  <a:pt x="635" y="105"/>
                </a:lnTo>
                <a:lnTo>
                  <a:pt x="637" y="105"/>
                </a:lnTo>
                <a:lnTo>
                  <a:pt x="651" y="111"/>
                </a:lnTo>
                <a:lnTo>
                  <a:pt x="663" y="118"/>
                </a:lnTo>
                <a:lnTo>
                  <a:pt x="666" y="121"/>
                </a:lnTo>
                <a:lnTo>
                  <a:pt x="668" y="123"/>
                </a:lnTo>
                <a:lnTo>
                  <a:pt x="671" y="126"/>
                </a:lnTo>
                <a:lnTo>
                  <a:pt x="671" y="130"/>
                </a:lnTo>
                <a:lnTo>
                  <a:pt x="672" y="130"/>
                </a:lnTo>
                <a:lnTo>
                  <a:pt x="672" y="132"/>
                </a:lnTo>
                <a:lnTo>
                  <a:pt x="675" y="136"/>
                </a:lnTo>
                <a:lnTo>
                  <a:pt x="677" y="140"/>
                </a:lnTo>
                <a:close/>
                <a:moveTo>
                  <a:pt x="405" y="538"/>
                </a:moveTo>
                <a:lnTo>
                  <a:pt x="404" y="540"/>
                </a:lnTo>
                <a:lnTo>
                  <a:pt x="404" y="542"/>
                </a:lnTo>
                <a:lnTo>
                  <a:pt x="406" y="543"/>
                </a:lnTo>
                <a:lnTo>
                  <a:pt x="407" y="545"/>
                </a:lnTo>
                <a:lnTo>
                  <a:pt x="407" y="547"/>
                </a:lnTo>
                <a:lnTo>
                  <a:pt x="407" y="549"/>
                </a:lnTo>
                <a:lnTo>
                  <a:pt x="407" y="547"/>
                </a:lnTo>
                <a:lnTo>
                  <a:pt x="407" y="545"/>
                </a:lnTo>
                <a:lnTo>
                  <a:pt x="406" y="543"/>
                </a:lnTo>
                <a:lnTo>
                  <a:pt x="404" y="542"/>
                </a:lnTo>
                <a:lnTo>
                  <a:pt x="403" y="542"/>
                </a:lnTo>
                <a:lnTo>
                  <a:pt x="401" y="542"/>
                </a:lnTo>
                <a:lnTo>
                  <a:pt x="400" y="541"/>
                </a:lnTo>
                <a:lnTo>
                  <a:pt x="400" y="540"/>
                </a:lnTo>
                <a:lnTo>
                  <a:pt x="400" y="541"/>
                </a:lnTo>
                <a:lnTo>
                  <a:pt x="401" y="542"/>
                </a:lnTo>
                <a:lnTo>
                  <a:pt x="403" y="542"/>
                </a:lnTo>
                <a:lnTo>
                  <a:pt x="404" y="542"/>
                </a:lnTo>
                <a:lnTo>
                  <a:pt x="404" y="540"/>
                </a:lnTo>
                <a:lnTo>
                  <a:pt x="405" y="538"/>
                </a:lnTo>
                <a:close/>
                <a:moveTo>
                  <a:pt x="412" y="547"/>
                </a:moveTo>
                <a:lnTo>
                  <a:pt x="410" y="549"/>
                </a:lnTo>
                <a:lnTo>
                  <a:pt x="409" y="550"/>
                </a:lnTo>
                <a:lnTo>
                  <a:pt x="408" y="551"/>
                </a:lnTo>
                <a:lnTo>
                  <a:pt x="406" y="552"/>
                </a:lnTo>
                <a:lnTo>
                  <a:pt x="406" y="552"/>
                </a:lnTo>
                <a:lnTo>
                  <a:pt x="406" y="553"/>
                </a:lnTo>
                <a:lnTo>
                  <a:pt x="406" y="553"/>
                </a:lnTo>
                <a:lnTo>
                  <a:pt x="406" y="553"/>
                </a:lnTo>
                <a:lnTo>
                  <a:pt x="406" y="552"/>
                </a:lnTo>
                <a:lnTo>
                  <a:pt x="406" y="552"/>
                </a:lnTo>
                <a:lnTo>
                  <a:pt x="406" y="552"/>
                </a:lnTo>
                <a:lnTo>
                  <a:pt x="408" y="551"/>
                </a:lnTo>
                <a:lnTo>
                  <a:pt x="409" y="550"/>
                </a:lnTo>
                <a:lnTo>
                  <a:pt x="410" y="549"/>
                </a:lnTo>
                <a:lnTo>
                  <a:pt x="412" y="547"/>
                </a:lnTo>
                <a:close/>
                <a:moveTo>
                  <a:pt x="403" y="787"/>
                </a:moveTo>
                <a:lnTo>
                  <a:pt x="402" y="790"/>
                </a:lnTo>
                <a:lnTo>
                  <a:pt x="400" y="793"/>
                </a:lnTo>
                <a:lnTo>
                  <a:pt x="398" y="794"/>
                </a:lnTo>
                <a:lnTo>
                  <a:pt x="395" y="795"/>
                </a:lnTo>
                <a:lnTo>
                  <a:pt x="398" y="794"/>
                </a:lnTo>
                <a:lnTo>
                  <a:pt x="400" y="793"/>
                </a:lnTo>
                <a:lnTo>
                  <a:pt x="402" y="790"/>
                </a:lnTo>
                <a:lnTo>
                  <a:pt x="403" y="787"/>
                </a:lnTo>
                <a:lnTo>
                  <a:pt x="404" y="787"/>
                </a:lnTo>
                <a:lnTo>
                  <a:pt x="404" y="787"/>
                </a:lnTo>
                <a:lnTo>
                  <a:pt x="404" y="787"/>
                </a:lnTo>
                <a:lnTo>
                  <a:pt x="403" y="787"/>
                </a:lnTo>
                <a:close/>
                <a:moveTo>
                  <a:pt x="394" y="571"/>
                </a:moveTo>
                <a:lnTo>
                  <a:pt x="395" y="572"/>
                </a:lnTo>
                <a:lnTo>
                  <a:pt x="397" y="572"/>
                </a:lnTo>
                <a:lnTo>
                  <a:pt x="398" y="572"/>
                </a:lnTo>
                <a:lnTo>
                  <a:pt x="400" y="570"/>
                </a:lnTo>
                <a:lnTo>
                  <a:pt x="400" y="570"/>
                </a:lnTo>
                <a:lnTo>
                  <a:pt x="401" y="570"/>
                </a:lnTo>
                <a:lnTo>
                  <a:pt x="400" y="570"/>
                </a:lnTo>
                <a:lnTo>
                  <a:pt x="400" y="570"/>
                </a:lnTo>
                <a:lnTo>
                  <a:pt x="398" y="572"/>
                </a:lnTo>
                <a:lnTo>
                  <a:pt x="397" y="572"/>
                </a:lnTo>
                <a:lnTo>
                  <a:pt x="395" y="572"/>
                </a:lnTo>
                <a:lnTo>
                  <a:pt x="394" y="571"/>
                </a:lnTo>
                <a:close/>
                <a:moveTo>
                  <a:pt x="391" y="568"/>
                </a:moveTo>
                <a:lnTo>
                  <a:pt x="387" y="568"/>
                </a:lnTo>
                <a:lnTo>
                  <a:pt x="383" y="567"/>
                </a:lnTo>
                <a:lnTo>
                  <a:pt x="379" y="566"/>
                </a:lnTo>
                <a:lnTo>
                  <a:pt x="376" y="563"/>
                </a:lnTo>
                <a:lnTo>
                  <a:pt x="379" y="566"/>
                </a:lnTo>
                <a:lnTo>
                  <a:pt x="383" y="567"/>
                </a:lnTo>
                <a:lnTo>
                  <a:pt x="387" y="568"/>
                </a:lnTo>
                <a:lnTo>
                  <a:pt x="391" y="568"/>
                </a:lnTo>
                <a:lnTo>
                  <a:pt x="392" y="568"/>
                </a:lnTo>
                <a:lnTo>
                  <a:pt x="393" y="569"/>
                </a:lnTo>
                <a:lnTo>
                  <a:pt x="392" y="568"/>
                </a:lnTo>
                <a:lnTo>
                  <a:pt x="391" y="568"/>
                </a:lnTo>
                <a:close/>
                <a:moveTo>
                  <a:pt x="376" y="604"/>
                </a:moveTo>
                <a:lnTo>
                  <a:pt x="376" y="604"/>
                </a:lnTo>
                <a:lnTo>
                  <a:pt x="375" y="604"/>
                </a:lnTo>
                <a:lnTo>
                  <a:pt x="376" y="604"/>
                </a:lnTo>
                <a:lnTo>
                  <a:pt x="376" y="604"/>
                </a:lnTo>
                <a:lnTo>
                  <a:pt x="376" y="601"/>
                </a:lnTo>
                <a:lnTo>
                  <a:pt x="377" y="598"/>
                </a:lnTo>
                <a:lnTo>
                  <a:pt x="379" y="596"/>
                </a:lnTo>
                <a:lnTo>
                  <a:pt x="382" y="595"/>
                </a:lnTo>
                <a:lnTo>
                  <a:pt x="379" y="596"/>
                </a:lnTo>
                <a:lnTo>
                  <a:pt x="377" y="598"/>
                </a:lnTo>
                <a:lnTo>
                  <a:pt x="376" y="601"/>
                </a:lnTo>
                <a:lnTo>
                  <a:pt x="376" y="604"/>
                </a:lnTo>
                <a:close/>
                <a:moveTo>
                  <a:pt x="376" y="553"/>
                </a:moveTo>
                <a:lnTo>
                  <a:pt x="376" y="551"/>
                </a:lnTo>
                <a:lnTo>
                  <a:pt x="378" y="550"/>
                </a:lnTo>
                <a:lnTo>
                  <a:pt x="376" y="551"/>
                </a:lnTo>
                <a:lnTo>
                  <a:pt x="376" y="553"/>
                </a:lnTo>
                <a:lnTo>
                  <a:pt x="374" y="555"/>
                </a:lnTo>
                <a:lnTo>
                  <a:pt x="374" y="557"/>
                </a:lnTo>
                <a:lnTo>
                  <a:pt x="374" y="555"/>
                </a:lnTo>
                <a:lnTo>
                  <a:pt x="376" y="553"/>
                </a:lnTo>
                <a:close/>
                <a:moveTo>
                  <a:pt x="379" y="548"/>
                </a:moveTo>
                <a:lnTo>
                  <a:pt x="382" y="548"/>
                </a:lnTo>
                <a:lnTo>
                  <a:pt x="384" y="548"/>
                </a:lnTo>
                <a:lnTo>
                  <a:pt x="382" y="548"/>
                </a:lnTo>
                <a:lnTo>
                  <a:pt x="379" y="548"/>
                </a:lnTo>
                <a:lnTo>
                  <a:pt x="379" y="548"/>
                </a:lnTo>
                <a:close/>
                <a:moveTo>
                  <a:pt x="395" y="537"/>
                </a:moveTo>
                <a:lnTo>
                  <a:pt x="391" y="538"/>
                </a:lnTo>
                <a:lnTo>
                  <a:pt x="387" y="539"/>
                </a:lnTo>
                <a:lnTo>
                  <a:pt x="391" y="538"/>
                </a:lnTo>
                <a:lnTo>
                  <a:pt x="395" y="537"/>
                </a:lnTo>
                <a:close/>
                <a:moveTo>
                  <a:pt x="400" y="533"/>
                </a:moveTo>
                <a:lnTo>
                  <a:pt x="399" y="531"/>
                </a:lnTo>
                <a:lnTo>
                  <a:pt x="399" y="530"/>
                </a:lnTo>
                <a:lnTo>
                  <a:pt x="398" y="527"/>
                </a:lnTo>
                <a:lnTo>
                  <a:pt x="397" y="526"/>
                </a:lnTo>
                <a:lnTo>
                  <a:pt x="393" y="524"/>
                </a:lnTo>
                <a:lnTo>
                  <a:pt x="389" y="522"/>
                </a:lnTo>
                <a:lnTo>
                  <a:pt x="393" y="524"/>
                </a:lnTo>
                <a:lnTo>
                  <a:pt x="397" y="526"/>
                </a:lnTo>
                <a:lnTo>
                  <a:pt x="398" y="527"/>
                </a:lnTo>
                <a:lnTo>
                  <a:pt x="399" y="530"/>
                </a:lnTo>
                <a:lnTo>
                  <a:pt x="399" y="531"/>
                </a:lnTo>
                <a:lnTo>
                  <a:pt x="400" y="533"/>
                </a:lnTo>
                <a:close/>
                <a:moveTo>
                  <a:pt x="390" y="511"/>
                </a:moveTo>
                <a:lnTo>
                  <a:pt x="392" y="514"/>
                </a:lnTo>
                <a:lnTo>
                  <a:pt x="394" y="516"/>
                </a:lnTo>
                <a:lnTo>
                  <a:pt x="397" y="516"/>
                </a:lnTo>
                <a:lnTo>
                  <a:pt x="400" y="515"/>
                </a:lnTo>
                <a:lnTo>
                  <a:pt x="397" y="516"/>
                </a:lnTo>
                <a:lnTo>
                  <a:pt x="394" y="516"/>
                </a:lnTo>
                <a:lnTo>
                  <a:pt x="392" y="514"/>
                </a:lnTo>
                <a:lnTo>
                  <a:pt x="390" y="511"/>
                </a:lnTo>
                <a:lnTo>
                  <a:pt x="389" y="511"/>
                </a:lnTo>
                <a:lnTo>
                  <a:pt x="387" y="512"/>
                </a:lnTo>
                <a:lnTo>
                  <a:pt x="389" y="511"/>
                </a:lnTo>
                <a:lnTo>
                  <a:pt x="390" y="511"/>
                </a:lnTo>
                <a:close/>
                <a:moveTo>
                  <a:pt x="394" y="449"/>
                </a:moveTo>
                <a:lnTo>
                  <a:pt x="394" y="449"/>
                </a:lnTo>
                <a:lnTo>
                  <a:pt x="394" y="449"/>
                </a:lnTo>
                <a:lnTo>
                  <a:pt x="393" y="448"/>
                </a:lnTo>
                <a:lnTo>
                  <a:pt x="394" y="449"/>
                </a:lnTo>
                <a:lnTo>
                  <a:pt x="394" y="449"/>
                </a:lnTo>
                <a:close/>
                <a:moveTo>
                  <a:pt x="397" y="495"/>
                </a:moveTo>
                <a:lnTo>
                  <a:pt x="395" y="499"/>
                </a:lnTo>
                <a:lnTo>
                  <a:pt x="395" y="501"/>
                </a:lnTo>
                <a:lnTo>
                  <a:pt x="395" y="499"/>
                </a:lnTo>
                <a:lnTo>
                  <a:pt x="397" y="495"/>
                </a:lnTo>
                <a:close/>
                <a:moveTo>
                  <a:pt x="404" y="488"/>
                </a:moveTo>
                <a:lnTo>
                  <a:pt x="401" y="487"/>
                </a:lnTo>
                <a:lnTo>
                  <a:pt x="398" y="485"/>
                </a:lnTo>
                <a:lnTo>
                  <a:pt x="401" y="487"/>
                </a:lnTo>
                <a:lnTo>
                  <a:pt x="404" y="488"/>
                </a:lnTo>
                <a:close/>
                <a:moveTo>
                  <a:pt x="413" y="558"/>
                </a:moveTo>
                <a:lnTo>
                  <a:pt x="414" y="558"/>
                </a:lnTo>
                <a:lnTo>
                  <a:pt x="415" y="558"/>
                </a:lnTo>
                <a:lnTo>
                  <a:pt x="414" y="558"/>
                </a:lnTo>
                <a:lnTo>
                  <a:pt x="413" y="558"/>
                </a:lnTo>
                <a:lnTo>
                  <a:pt x="412" y="560"/>
                </a:lnTo>
                <a:lnTo>
                  <a:pt x="412" y="560"/>
                </a:lnTo>
                <a:lnTo>
                  <a:pt x="412" y="560"/>
                </a:lnTo>
                <a:lnTo>
                  <a:pt x="413" y="558"/>
                </a:lnTo>
                <a:close/>
                <a:moveTo>
                  <a:pt x="417" y="580"/>
                </a:moveTo>
                <a:lnTo>
                  <a:pt x="417" y="579"/>
                </a:lnTo>
                <a:lnTo>
                  <a:pt x="417" y="578"/>
                </a:lnTo>
                <a:lnTo>
                  <a:pt x="417" y="579"/>
                </a:lnTo>
                <a:lnTo>
                  <a:pt x="417" y="580"/>
                </a:lnTo>
                <a:lnTo>
                  <a:pt x="417" y="580"/>
                </a:lnTo>
                <a:lnTo>
                  <a:pt x="417" y="580"/>
                </a:lnTo>
                <a:lnTo>
                  <a:pt x="416" y="581"/>
                </a:lnTo>
                <a:lnTo>
                  <a:pt x="414" y="581"/>
                </a:lnTo>
                <a:lnTo>
                  <a:pt x="415" y="580"/>
                </a:lnTo>
                <a:lnTo>
                  <a:pt x="417" y="580"/>
                </a:lnTo>
                <a:close/>
                <a:moveTo>
                  <a:pt x="353" y="823"/>
                </a:moveTo>
                <a:lnTo>
                  <a:pt x="353" y="823"/>
                </a:lnTo>
                <a:lnTo>
                  <a:pt x="355" y="820"/>
                </a:lnTo>
                <a:lnTo>
                  <a:pt x="356" y="816"/>
                </a:lnTo>
                <a:lnTo>
                  <a:pt x="355" y="820"/>
                </a:lnTo>
                <a:lnTo>
                  <a:pt x="353" y="823"/>
                </a:lnTo>
                <a:close/>
                <a:moveTo>
                  <a:pt x="346" y="466"/>
                </a:moveTo>
                <a:lnTo>
                  <a:pt x="347" y="465"/>
                </a:lnTo>
                <a:lnTo>
                  <a:pt x="347" y="464"/>
                </a:lnTo>
                <a:lnTo>
                  <a:pt x="347" y="463"/>
                </a:lnTo>
                <a:lnTo>
                  <a:pt x="346" y="462"/>
                </a:lnTo>
                <a:lnTo>
                  <a:pt x="347" y="463"/>
                </a:lnTo>
                <a:lnTo>
                  <a:pt x="347" y="464"/>
                </a:lnTo>
                <a:lnTo>
                  <a:pt x="347" y="465"/>
                </a:lnTo>
                <a:lnTo>
                  <a:pt x="346" y="466"/>
                </a:lnTo>
                <a:close/>
                <a:moveTo>
                  <a:pt x="346" y="654"/>
                </a:moveTo>
                <a:lnTo>
                  <a:pt x="344" y="654"/>
                </a:lnTo>
                <a:lnTo>
                  <a:pt x="342" y="655"/>
                </a:lnTo>
                <a:lnTo>
                  <a:pt x="344" y="654"/>
                </a:lnTo>
                <a:lnTo>
                  <a:pt x="346" y="654"/>
                </a:lnTo>
                <a:lnTo>
                  <a:pt x="346" y="654"/>
                </a:lnTo>
                <a:lnTo>
                  <a:pt x="347" y="654"/>
                </a:lnTo>
                <a:lnTo>
                  <a:pt x="346" y="654"/>
                </a:lnTo>
                <a:lnTo>
                  <a:pt x="346" y="654"/>
                </a:lnTo>
                <a:close/>
                <a:moveTo>
                  <a:pt x="340" y="615"/>
                </a:moveTo>
                <a:lnTo>
                  <a:pt x="339" y="616"/>
                </a:lnTo>
                <a:lnTo>
                  <a:pt x="338" y="617"/>
                </a:lnTo>
                <a:lnTo>
                  <a:pt x="339" y="616"/>
                </a:lnTo>
                <a:lnTo>
                  <a:pt x="340" y="615"/>
                </a:lnTo>
                <a:lnTo>
                  <a:pt x="341" y="616"/>
                </a:lnTo>
                <a:lnTo>
                  <a:pt x="342" y="615"/>
                </a:lnTo>
                <a:lnTo>
                  <a:pt x="341" y="616"/>
                </a:lnTo>
                <a:lnTo>
                  <a:pt x="340" y="615"/>
                </a:lnTo>
                <a:close/>
                <a:moveTo>
                  <a:pt x="333" y="717"/>
                </a:moveTo>
                <a:lnTo>
                  <a:pt x="336" y="721"/>
                </a:lnTo>
                <a:lnTo>
                  <a:pt x="337" y="725"/>
                </a:lnTo>
                <a:lnTo>
                  <a:pt x="336" y="721"/>
                </a:lnTo>
                <a:lnTo>
                  <a:pt x="333" y="717"/>
                </a:lnTo>
                <a:close/>
                <a:moveTo>
                  <a:pt x="332" y="818"/>
                </a:moveTo>
                <a:lnTo>
                  <a:pt x="331" y="817"/>
                </a:lnTo>
                <a:lnTo>
                  <a:pt x="330" y="816"/>
                </a:lnTo>
                <a:lnTo>
                  <a:pt x="331" y="817"/>
                </a:lnTo>
                <a:lnTo>
                  <a:pt x="332" y="818"/>
                </a:lnTo>
                <a:lnTo>
                  <a:pt x="333" y="818"/>
                </a:lnTo>
                <a:lnTo>
                  <a:pt x="336" y="817"/>
                </a:lnTo>
                <a:lnTo>
                  <a:pt x="333" y="818"/>
                </a:lnTo>
                <a:lnTo>
                  <a:pt x="332" y="818"/>
                </a:lnTo>
                <a:close/>
                <a:moveTo>
                  <a:pt x="327" y="818"/>
                </a:moveTo>
                <a:lnTo>
                  <a:pt x="328" y="818"/>
                </a:lnTo>
                <a:lnTo>
                  <a:pt x="329" y="820"/>
                </a:lnTo>
                <a:lnTo>
                  <a:pt x="328" y="821"/>
                </a:lnTo>
                <a:lnTo>
                  <a:pt x="327" y="822"/>
                </a:lnTo>
                <a:lnTo>
                  <a:pt x="327" y="821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close/>
                <a:moveTo>
                  <a:pt x="327" y="818"/>
                </a:moveTo>
                <a:lnTo>
                  <a:pt x="315" y="821"/>
                </a:lnTo>
                <a:lnTo>
                  <a:pt x="303" y="824"/>
                </a:lnTo>
                <a:lnTo>
                  <a:pt x="300" y="824"/>
                </a:lnTo>
                <a:lnTo>
                  <a:pt x="298" y="825"/>
                </a:lnTo>
                <a:lnTo>
                  <a:pt x="296" y="827"/>
                </a:lnTo>
                <a:lnTo>
                  <a:pt x="295" y="829"/>
                </a:lnTo>
                <a:lnTo>
                  <a:pt x="293" y="828"/>
                </a:lnTo>
                <a:lnTo>
                  <a:pt x="289" y="828"/>
                </a:lnTo>
                <a:lnTo>
                  <a:pt x="287" y="828"/>
                </a:lnTo>
                <a:lnTo>
                  <a:pt x="286" y="829"/>
                </a:lnTo>
                <a:lnTo>
                  <a:pt x="282" y="831"/>
                </a:lnTo>
                <a:lnTo>
                  <a:pt x="279" y="835"/>
                </a:lnTo>
                <a:lnTo>
                  <a:pt x="279" y="835"/>
                </a:lnTo>
                <a:lnTo>
                  <a:pt x="277" y="835"/>
                </a:lnTo>
                <a:lnTo>
                  <a:pt x="276" y="835"/>
                </a:lnTo>
                <a:lnTo>
                  <a:pt x="274" y="836"/>
                </a:lnTo>
                <a:lnTo>
                  <a:pt x="273" y="838"/>
                </a:lnTo>
                <a:lnTo>
                  <a:pt x="273" y="838"/>
                </a:lnTo>
                <a:lnTo>
                  <a:pt x="270" y="838"/>
                </a:lnTo>
                <a:lnTo>
                  <a:pt x="267" y="839"/>
                </a:lnTo>
                <a:lnTo>
                  <a:pt x="264" y="841"/>
                </a:lnTo>
                <a:lnTo>
                  <a:pt x="261" y="843"/>
                </a:lnTo>
                <a:lnTo>
                  <a:pt x="256" y="845"/>
                </a:lnTo>
                <a:lnTo>
                  <a:pt x="253" y="848"/>
                </a:lnTo>
                <a:lnTo>
                  <a:pt x="250" y="847"/>
                </a:lnTo>
                <a:lnTo>
                  <a:pt x="247" y="846"/>
                </a:lnTo>
                <a:lnTo>
                  <a:pt x="245" y="845"/>
                </a:lnTo>
                <a:lnTo>
                  <a:pt x="243" y="843"/>
                </a:lnTo>
                <a:lnTo>
                  <a:pt x="240" y="838"/>
                </a:lnTo>
                <a:lnTo>
                  <a:pt x="238" y="833"/>
                </a:lnTo>
                <a:lnTo>
                  <a:pt x="232" y="824"/>
                </a:lnTo>
                <a:lnTo>
                  <a:pt x="226" y="814"/>
                </a:lnTo>
                <a:lnTo>
                  <a:pt x="225" y="809"/>
                </a:lnTo>
                <a:lnTo>
                  <a:pt x="223" y="805"/>
                </a:lnTo>
                <a:lnTo>
                  <a:pt x="220" y="797"/>
                </a:lnTo>
                <a:lnTo>
                  <a:pt x="217" y="791"/>
                </a:lnTo>
                <a:lnTo>
                  <a:pt x="216" y="783"/>
                </a:lnTo>
                <a:lnTo>
                  <a:pt x="215" y="776"/>
                </a:lnTo>
                <a:lnTo>
                  <a:pt x="216" y="776"/>
                </a:lnTo>
                <a:lnTo>
                  <a:pt x="216" y="777"/>
                </a:lnTo>
                <a:lnTo>
                  <a:pt x="216" y="778"/>
                </a:lnTo>
                <a:lnTo>
                  <a:pt x="216" y="780"/>
                </a:lnTo>
                <a:lnTo>
                  <a:pt x="217" y="781"/>
                </a:lnTo>
                <a:lnTo>
                  <a:pt x="219" y="782"/>
                </a:lnTo>
                <a:lnTo>
                  <a:pt x="219" y="782"/>
                </a:lnTo>
                <a:lnTo>
                  <a:pt x="219" y="782"/>
                </a:lnTo>
                <a:lnTo>
                  <a:pt x="220" y="786"/>
                </a:lnTo>
                <a:lnTo>
                  <a:pt x="221" y="790"/>
                </a:lnTo>
                <a:lnTo>
                  <a:pt x="223" y="793"/>
                </a:lnTo>
                <a:lnTo>
                  <a:pt x="225" y="796"/>
                </a:lnTo>
                <a:lnTo>
                  <a:pt x="225" y="791"/>
                </a:lnTo>
                <a:lnTo>
                  <a:pt x="225" y="786"/>
                </a:lnTo>
                <a:lnTo>
                  <a:pt x="226" y="782"/>
                </a:lnTo>
                <a:lnTo>
                  <a:pt x="227" y="778"/>
                </a:lnTo>
                <a:lnTo>
                  <a:pt x="226" y="782"/>
                </a:lnTo>
                <a:lnTo>
                  <a:pt x="225" y="786"/>
                </a:lnTo>
                <a:lnTo>
                  <a:pt x="225" y="791"/>
                </a:lnTo>
                <a:lnTo>
                  <a:pt x="225" y="796"/>
                </a:lnTo>
                <a:lnTo>
                  <a:pt x="226" y="797"/>
                </a:lnTo>
                <a:lnTo>
                  <a:pt x="226" y="799"/>
                </a:lnTo>
                <a:lnTo>
                  <a:pt x="226" y="800"/>
                </a:lnTo>
                <a:lnTo>
                  <a:pt x="228" y="800"/>
                </a:lnTo>
                <a:lnTo>
                  <a:pt x="230" y="806"/>
                </a:lnTo>
                <a:lnTo>
                  <a:pt x="232" y="809"/>
                </a:lnTo>
                <a:lnTo>
                  <a:pt x="235" y="813"/>
                </a:lnTo>
                <a:lnTo>
                  <a:pt x="237" y="816"/>
                </a:lnTo>
                <a:lnTo>
                  <a:pt x="239" y="818"/>
                </a:lnTo>
                <a:lnTo>
                  <a:pt x="240" y="820"/>
                </a:lnTo>
                <a:lnTo>
                  <a:pt x="242" y="820"/>
                </a:lnTo>
                <a:lnTo>
                  <a:pt x="243" y="818"/>
                </a:lnTo>
                <a:lnTo>
                  <a:pt x="246" y="817"/>
                </a:lnTo>
                <a:lnTo>
                  <a:pt x="247" y="816"/>
                </a:lnTo>
                <a:lnTo>
                  <a:pt x="249" y="811"/>
                </a:lnTo>
                <a:lnTo>
                  <a:pt x="252" y="807"/>
                </a:lnTo>
                <a:lnTo>
                  <a:pt x="255" y="803"/>
                </a:lnTo>
                <a:lnTo>
                  <a:pt x="261" y="800"/>
                </a:lnTo>
                <a:lnTo>
                  <a:pt x="265" y="798"/>
                </a:lnTo>
                <a:lnTo>
                  <a:pt x="269" y="797"/>
                </a:lnTo>
                <a:lnTo>
                  <a:pt x="272" y="798"/>
                </a:lnTo>
                <a:lnTo>
                  <a:pt x="276" y="800"/>
                </a:lnTo>
                <a:lnTo>
                  <a:pt x="278" y="801"/>
                </a:lnTo>
                <a:lnTo>
                  <a:pt x="279" y="802"/>
                </a:lnTo>
                <a:lnTo>
                  <a:pt x="281" y="802"/>
                </a:lnTo>
                <a:lnTo>
                  <a:pt x="282" y="801"/>
                </a:lnTo>
                <a:lnTo>
                  <a:pt x="292" y="798"/>
                </a:lnTo>
                <a:lnTo>
                  <a:pt x="301" y="794"/>
                </a:lnTo>
                <a:lnTo>
                  <a:pt x="291" y="779"/>
                </a:lnTo>
                <a:lnTo>
                  <a:pt x="280" y="764"/>
                </a:lnTo>
                <a:lnTo>
                  <a:pt x="279" y="762"/>
                </a:lnTo>
                <a:lnTo>
                  <a:pt x="278" y="760"/>
                </a:lnTo>
                <a:lnTo>
                  <a:pt x="280" y="759"/>
                </a:lnTo>
                <a:lnTo>
                  <a:pt x="282" y="760"/>
                </a:lnTo>
                <a:lnTo>
                  <a:pt x="283" y="760"/>
                </a:lnTo>
                <a:lnTo>
                  <a:pt x="284" y="759"/>
                </a:lnTo>
                <a:lnTo>
                  <a:pt x="284" y="757"/>
                </a:lnTo>
                <a:lnTo>
                  <a:pt x="284" y="756"/>
                </a:lnTo>
                <a:lnTo>
                  <a:pt x="284" y="755"/>
                </a:lnTo>
                <a:lnTo>
                  <a:pt x="284" y="755"/>
                </a:lnTo>
                <a:lnTo>
                  <a:pt x="282" y="753"/>
                </a:lnTo>
                <a:lnTo>
                  <a:pt x="281" y="751"/>
                </a:lnTo>
                <a:lnTo>
                  <a:pt x="282" y="753"/>
                </a:lnTo>
                <a:lnTo>
                  <a:pt x="284" y="755"/>
                </a:lnTo>
                <a:lnTo>
                  <a:pt x="284" y="755"/>
                </a:lnTo>
                <a:lnTo>
                  <a:pt x="285" y="754"/>
                </a:lnTo>
                <a:lnTo>
                  <a:pt x="284" y="755"/>
                </a:lnTo>
                <a:lnTo>
                  <a:pt x="284" y="755"/>
                </a:lnTo>
                <a:lnTo>
                  <a:pt x="284" y="755"/>
                </a:lnTo>
                <a:lnTo>
                  <a:pt x="284" y="756"/>
                </a:lnTo>
                <a:lnTo>
                  <a:pt x="286" y="756"/>
                </a:lnTo>
                <a:lnTo>
                  <a:pt x="287" y="757"/>
                </a:lnTo>
                <a:lnTo>
                  <a:pt x="287" y="757"/>
                </a:lnTo>
                <a:lnTo>
                  <a:pt x="287" y="757"/>
                </a:lnTo>
                <a:lnTo>
                  <a:pt x="288" y="762"/>
                </a:lnTo>
                <a:lnTo>
                  <a:pt x="291" y="765"/>
                </a:lnTo>
                <a:lnTo>
                  <a:pt x="294" y="768"/>
                </a:lnTo>
                <a:lnTo>
                  <a:pt x="296" y="771"/>
                </a:lnTo>
                <a:lnTo>
                  <a:pt x="304" y="780"/>
                </a:lnTo>
                <a:lnTo>
                  <a:pt x="313" y="790"/>
                </a:lnTo>
                <a:lnTo>
                  <a:pt x="321" y="800"/>
                </a:lnTo>
                <a:lnTo>
                  <a:pt x="329" y="810"/>
                </a:lnTo>
                <a:lnTo>
                  <a:pt x="330" y="811"/>
                </a:lnTo>
                <a:lnTo>
                  <a:pt x="330" y="812"/>
                </a:lnTo>
                <a:lnTo>
                  <a:pt x="330" y="813"/>
                </a:lnTo>
                <a:lnTo>
                  <a:pt x="330" y="815"/>
                </a:lnTo>
                <a:lnTo>
                  <a:pt x="328" y="814"/>
                </a:lnTo>
                <a:lnTo>
                  <a:pt x="327" y="815"/>
                </a:lnTo>
                <a:lnTo>
                  <a:pt x="327" y="817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close/>
                <a:moveTo>
                  <a:pt x="295" y="836"/>
                </a:moveTo>
                <a:lnTo>
                  <a:pt x="295" y="836"/>
                </a:lnTo>
                <a:lnTo>
                  <a:pt x="295" y="835"/>
                </a:lnTo>
                <a:lnTo>
                  <a:pt x="295" y="836"/>
                </a:lnTo>
                <a:lnTo>
                  <a:pt x="295" y="836"/>
                </a:lnTo>
                <a:close/>
                <a:moveTo>
                  <a:pt x="267" y="967"/>
                </a:moveTo>
                <a:lnTo>
                  <a:pt x="271" y="956"/>
                </a:lnTo>
                <a:lnTo>
                  <a:pt x="276" y="946"/>
                </a:lnTo>
                <a:lnTo>
                  <a:pt x="271" y="956"/>
                </a:lnTo>
                <a:lnTo>
                  <a:pt x="267" y="967"/>
                </a:lnTo>
                <a:close/>
                <a:moveTo>
                  <a:pt x="267" y="940"/>
                </a:moveTo>
                <a:lnTo>
                  <a:pt x="266" y="940"/>
                </a:lnTo>
                <a:lnTo>
                  <a:pt x="266" y="940"/>
                </a:lnTo>
                <a:lnTo>
                  <a:pt x="266" y="940"/>
                </a:lnTo>
                <a:lnTo>
                  <a:pt x="267" y="940"/>
                </a:lnTo>
                <a:close/>
                <a:moveTo>
                  <a:pt x="254" y="893"/>
                </a:moveTo>
                <a:lnTo>
                  <a:pt x="256" y="888"/>
                </a:lnTo>
                <a:lnTo>
                  <a:pt x="258" y="882"/>
                </a:lnTo>
                <a:lnTo>
                  <a:pt x="258" y="882"/>
                </a:lnTo>
                <a:lnTo>
                  <a:pt x="256" y="888"/>
                </a:lnTo>
                <a:lnTo>
                  <a:pt x="254" y="893"/>
                </a:lnTo>
                <a:close/>
                <a:moveTo>
                  <a:pt x="251" y="875"/>
                </a:moveTo>
                <a:lnTo>
                  <a:pt x="251" y="875"/>
                </a:lnTo>
                <a:lnTo>
                  <a:pt x="252" y="877"/>
                </a:lnTo>
                <a:lnTo>
                  <a:pt x="254" y="879"/>
                </a:lnTo>
                <a:lnTo>
                  <a:pt x="252" y="877"/>
                </a:lnTo>
                <a:lnTo>
                  <a:pt x="251" y="875"/>
                </a:lnTo>
                <a:close/>
                <a:moveTo>
                  <a:pt x="230" y="859"/>
                </a:moveTo>
                <a:lnTo>
                  <a:pt x="223" y="846"/>
                </a:lnTo>
                <a:lnTo>
                  <a:pt x="216" y="835"/>
                </a:lnTo>
                <a:lnTo>
                  <a:pt x="223" y="846"/>
                </a:lnTo>
                <a:lnTo>
                  <a:pt x="230" y="859"/>
                </a:lnTo>
                <a:lnTo>
                  <a:pt x="230" y="859"/>
                </a:lnTo>
                <a:lnTo>
                  <a:pt x="231" y="859"/>
                </a:lnTo>
                <a:lnTo>
                  <a:pt x="230" y="859"/>
                </a:lnTo>
                <a:lnTo>
                  <a:pt x="230" y="859"/>
                </a:lnTo>
                <a:close/>
                <a:moveTo>
                  <a:pt x="231" y="599"/>
                </a:moveTo>
                <a:lnTo>
                  <a:pt x="232" y="595"/>
                </a:lnTo>
                <a:lnTo>
                  <a:pt x="232" y="591"/>
                </a:lnTo>
                <a:lnTo>
                  <a:pt x="233" y="586"/>
                </a:lnTo>
                <a:lnTo>
                  <a:pt x="234" y="581"/>
                </a:lnTo>
                <a:lnTo>
                  <a:pt x="233" y="586"/>
                </a:lnTo>
                <a:lnTo>
                  <a:pt x="232" y="591"/>
                </a:lnTo>
                <a:lnTo>
                  <a:pt x="232" y="595"/>
                </a:lnTo>
                <a:lnTo>
                  <a:pt x="231" y="599"/>
                </a:lnTo>
                <a:lnTo>
                  <a:pt x="228" y="601"/>
                </a:lnTo>
                <a:lnTo>
                  <a:pt x="227" y="604"/>
                </a:lnTo>
                <a:lnTo>
                  <a:pt x="226" y="608"/>
                </a:lnTo>
                <a:lnTo>
                  <a:pt x="226" y="611"/>
                </a:lnTo>
                <a:lnTo>
                  <a:pt x="226" y="608"/>
                </a:lnTo>
                <a:lnTo>
                  <a:pt x="227" y="604"/>
                </a:lnTo>
                <a:lnTo>
                  <a:pt x="228" y="601"/>
                </a:lnTo>
                <a:lnTo>
                  <a:pt x="231" y="599"/>
                </a:lnTo>
                <a:close/>
                <a:moveTo>
                  <a:pt x="242" y="683"/>
                </a:moveTo>
                <a:lnTo>
                  <a:pt x="242" y="683"/>
                </a:lnTo>
                <a:lnTo>
                  <a:pt x="237" y="688"/>
                </a:lnTo>
                <a:lnTo>
                  <a:pt x="232" y="693"/>
                </a:lnTo>
                <a:lnTo>
                  <a:pt x="231" y="694"/>
                </a:lnTo>
                <a:lnTo>
                  <a:pt x="231" y="696"/>
                </a:lnTo>
                <a:lnTo>
                  <a:pt x="230" y="696"/>
                </a:lnTo>
                <a:lnTo>
                  <a:pt x="228" y="698"/>
                </a:lnTo>
                <a:lnTo>
                  <a:pt x="228" y="700"/>
                </a:lnTo>
                <a:lnTo>
                  <a:pt x="228" y="701"/>
                </a:lnTo>
                <a:lnTo>
                  <a:pt x="228" y="700"/>
                </a:lnTo>
                <a:lnTo>
                  <a:pt x="228" y="698"/>
                </a:lnTo>
                <a:lnTo>
                  <a:pt x="230" y="696"/>
                </a:lnTo>
                <a:lnTo>
                  <a:pt x="231" y="696"/>
                </a:lnTo>
                <a:lnTo>
                  <a:pt x="231" y="694"/>
                </a:lnTo>
                <a:lnTo>
                  <a:pt x="232" y="693"/>
                </a:lnTo>
                <a:lnTo>
                  <a:pt x="237" y="688"/>
                </a:lnTo>
                <a:lnTo>
                  <a:pt x="242" y="683"/>
                </a:lnTo>
                <a:close/>
                <a:moveTo>
                  <a:pt x="237" y="607"/>
                </a:moveTo>
                <a:lnTo>
                  <a:pt x="236" y="604"/>
                </a:lnTo>
                <a:lnTo>
                  <a:pt x="236" y="602"/>
                </a:lnTo>
                <a:lnTo>
                  <a:pt x="236" y="604"/>
                </a:lnTo>
                <a:lnTo>
                  <a:pt x="237" y="607"/>
                </a:lnTo>
                <a:close/>
                <a:moveTo>
                  <a:pt x="241" y="627"/>
                </a:moveTo>
                <a:lnTo>
                  <a:pt x="239" y="631"/>
                </a:lnTo>
                <a:lnTo>
                  <a:pt x="236" y="634"/>
                </a:lnTo>
                <a:lnTo>
                  <a:pt x="239" y="631"/>
                </a:lnTo>
                <a:lnTo>
                  <a:pt x="241" y="627"/>
                </a:lnTo>
                <a:close/>
                <a:moveTo>
                  <a:pt x="254" y="584"/>
                </a:moveTo>
                <a:lnTo>
                  <a:pt x="253" y="587"/>
                </a:lnTo>
                <a:lnTo>
                  <a:pt x="252" y="591"/>
                </a:lnTo>
                <a:lnTo>
                  <a:pt x="252" y="591"/>
                </a:lnTo>
                <a:lnTo>
                  <a:pt x="253" y="587"/>
                </a:lnTo>
                <a:lnTo>
                  <a:pt x="254" y="584"/>
                </a:lnTo>
                <a:close/>
                <a:moveTo>
                  <a:pt x="263" y="556"/>
                </a:moveTo>
                <a:lnTo>
                  <a:pt x="262" y="560"/>
                </a:lnTo>
                <a:lnTo>
                  <a:pt x="259" y="562"/>
                </a:lnTo>
                <a:lnTo>
                  <a:pt x="256" y="565"/>
                </a:lnTo>
                <a:lnTo>
                  <a:pt x="252" y="569"/>
                </a:lnTo>
                <a:lnTo>
                  <a:pt x="256" y="565"/>
                </a:lnTo>
                <a:lnTo>
                  <a:pt x="259" y="562"/>
                </a:lnTo>
                <a:lnTo>
                  <a:pt x="262" y="560"/>
                </a:lnTo>
                <a:lnTo>
                  <a:pt x="263" y="556"/>
                </a:lnTo>
                <a:close/>
                <a:moveTo>
                  <a:pt x="272" y="741"/>
                </a:moveTo>
                <a:lnTo>
                  <a:pt x="271" y="745"/>
                </a:lnTo>
                <a:lnTo>
                  <a:pt x="270" y="748"/>
                </a:lnTo>
                <a:lnTo>
                  <a:pt x="271" y="745"/>
                </a:lnTo>
                <a:lnTo>
                  <a:pt x="272" y="741"/>
                </a:lnTo>
                <a:close/>
                <a:moveTo>
                  <a:pt x="281" y="749"/>
                </a:moveTo>
                <a:lnTo>
                  <a:pt x="281" y="750"/>
                </a:lnTo>
                <a:lnTo>
                  <a:pt x="280" y="750"/>
                </a:lnTo>
                <a:lnTo>
                  <a:pt x="281" y="750"/>
                </a:lnTo>
                <a:lnTo>
                  <a:pt x="281" y="749"/>
                </a:lnTo>
                <a:close/>
                <a:moveTo>
                  <a:pt x="282" y="576"/>
                </a:moveTo>
                <a:lnTo>
                  <a:pt x="282" y="576"/>
                </a:lnTo>
                <a:lnTo>
                  <a:pt x="281" y="573"/>
                </a:lnTo>
                <a:lnTo>
                  <a:pt x="281" y="571"/>
                </a:lnTo>
                <a:lnTo>
                  <a:pt x="281" y="573"/>
                </a:lnTo>
                <a:lnTo>
                  <a:pt x="282" y="576"/>
                </a:lnTo>
                <a:close/>
                <a:moveTo>
                  <a:pt x="289" y="729"/>
                </a:moveTo>
                <a:lnTo>
                  <a:pt x="289" y="728"/>
                </a:lnTo>
                <a:lnTo>
                  <a:pt x="289" y="725"/>
                </a:lnTo>
                <a:lnTo>
                  <a:pt x="289" y="728"/>
                </a:lnTo>
                <a:lnTo>
                  <a:pt x="289" y="729"/>
                </a:lnTo>
                <a:close/>
                <a:moveTo>
                  <a:pt x="295" y="765"/>
                </a:moveTo>
                <a:lnTo>
                  <a:pt x="295" y="765"/>
                </a:lnTo>
                <a:lnTo>
                  <a:pt x="295" y="765"/>
                </a:lnTo>
                <a:lnTo>
                  <a:pt x="295" y="765"/>
                </a:lnTo>
                <a:lnTo>
                  <a:pt x="295" y="765"/>
                </a:lnTo>
                <a:close/>
                <a:moveTo>
                  <a:pt x="294" y="489"/>
                </a:moveTo>
                <a:lnTo>
                  <a:pt x="294" y="489"/>
                </a:lnTo>
                <a:lnTo>
                  <a:pt x="295" y="488"/>
                </a:lnTo>
                <a:lnTo>
                  <a:pt x="295" y="485"/>
                </a:lnTo>
                <a:lnTo>
                  <a:pt x="297" y="484"/>
                </a:lnTo>
                <a:lnTo>
                  <a:pt x="295" y="485"/>
                </a:lnTo>
                <a:lnTo>
                  <a:pt x="295" y="488"/>
                </a:lnTo>
                <a:lnTo>
                  <a:pt x="294" y="489"/>
                </a:lnTo>
                <a:lnTo>
                  <a:pt x="294" y="489"/>
                </a:lnTo>
                <a:lnTo>
                  <a:pt x="294" y="491"/>
                </a:lnTo>
                <a:lnTo>
                  <a:pt x="294" y="493"/>
                </a:lnTo>
                <a:lnTo>
                  <a:pt x="294" y="491"/>
                </a:lnTo>
                <a:lnTo>
                  <a:pt x="294" y="489"/>
                </a:lnTo>
                <a:close/>
                <a:moveTo>
                  <a:pt x="300" y="660"/>
                </a:moveTo>
                <a:lnTo>
                  <a:pt x="300" y="660"/>
                </a:lnTo>
                <a:lnTo>
                  <a:pt x="300" y="660"/>
                </a:lnTo>
                <a:lnTo>
                  <a:pt x="300" y="660"/>
                </a:lnTo>
                <a:close/>
                <a:moveTo>
                  <a:pt x="310" y="694"/>
                </a:moveTo>
                <a:lnTo>
                  <a:pt x="310" y="694"/>
                </a:lnTo>
                <a:lnTo>
                  <a:pt x="309" y="694"/>
                </a:lnTo>
                <a:lnTo>
                  <a:pt x="309" y="694"/>
                </a:lnTo>
                <a:lnTo>
                  <a:pt x="310" y="694"/>
                </a:lnTo>
                <a:lnTo>
                  <a:pt x="310" y="694"/>
                </a:lnTo>
                <a:close/>
                <a:moveTo>
                  <a:pt x="312" y="474"/>
                </a:moveTo>
                <a:lnTo>
                  <a:pt x="315" y="474"/>
                </a:lnTo>
                <a:lnTo>
                  <a:pt x="317" y="473"/>
                </a:lnTo>
                <a:lnTo>
                  <a:pt x="315" y="474"/>
                </a:lnTo>
                <a:lnTo>
                  <a:pt x="312" y="474"/>
                </a:lnTo>
                <a:close/>
                <a:moveTo>
                  <a:pt x="332" y="797"/>
                </a:moveTo>
                <a:lnTo>
                  <a:pt x="333" y="798"/>
                </a:lnTo>
                <a:lnTo>
                  <a:pt x="334" y="799"/>
                </a:lnTo>
                <a:lnTo>
                  <a:pt x="334" y="800"/>
                </a:lnTo>
                <a:lnTo>
                  <a:pt x="334" y="800"/>
                </a:lnTo>
                <a:lnTo>
                  <a:pt x="332" y="799"/>
                </a:lnTo>
                <a:lnTo>
                  <a:pt x="332" y="797"/>
                </a:lnTo>
                <a:lnTo>
                  <a:pt x="327" y="794"/>
                </a:lnTo>
                <a:lnTo>
                  <a:pt x="323" y="788"/>
                </a:lnTo>
                <a:lnTo>
                  <a:pt x="319" y="784"/>
                </a:lnTo>
                <a:lnTo>
                  <a:pt x="316" y="778"/>
                </a:lnTo>
                <a:lnTo>
                  <a:pt x="322" y="782"/>
                </a:lnTo>
                <a:lnTo>
                  <a:pt x="327" y="786"/>
                </a:lnTo>
                <a:lnTo>
                  <a:pt x="329" y="788"/>
                </a:lnTo>
                <a:lnTo>
                  <a:pt x="330" y="791"/>
                </a:lnTo>
                <a:lnTo>
                  <a:pt x="331" y="794"/>
                </a:lnTo>
                <a:lnTo>
                  <a:pt x="332" y="797"/>
                </a:lnTo>
                <a:close/>
                <a:moveTo>
                  <a:pt x="328" y="703"/>
                </a:moveTo>
                <a:lnTo>
                  <a:pt x="327" y="699"/>
                </a:lnTo>
                <a:lnTo>
                  <a:pt x="327" y="694"/>
                </a:lnTo>
                <a:lnTo>
                  <a:pt x="327" y="699"/>
                </a:lnTo>
                <a:lnTo>
                  <a:pt x="328" y="703"/>
                </a:lnTo>
                <a:close/>
                <a:moveTo>
                  <a:pt x="194" y="892"/>
                </a:moveTo>
                <a:lnTo>
                  <a:pt x="189" y="901"/>
                </a:lnTo>
                <a:lnTo>
                  <a:pt x="182" y="908"/>
                </a:lnTo>
                <a:lnTo>
                  <a:pt x="176" y="917"/>
                </a:lnTo>
                <a:lnTo>
                  <a:pt x="171" y="924"/>
                </a:lnTo>
                <a:lnTo>
                  <a:pt x="161" y="939"/>
                </a:lnTo>
                <a:lnTo>
                  <a:pt x="154" y="954"/>
                </a:lnTo>
                <a:lnTo>
                  <a:pt x="150" y="961"/>
                </a:lnTo>
                <a:lnTo>
                  <a:pt x="147" y="967"/>
                </a:lnTo>
                <a:lnTo>
                  <a:pt x="145" y="969"/>
                </a:lnTo>
                <a:lnTo>
                  <a:pt x="142" y="971"/>
                </a:lnTo>
                <a:lnTo>
                  <a:pt x="139" y="974"/>
                </a:lnTo>
                <a:lnTo>
                  <a:pt x="134" y="974"/>
                </a:lnTo>
                <a:lnTo>
                  <a:pt x="130" y="975"/>
                </a:lnTo>
                <a:lnTo>
                  <a:pt x="127" y="976"/>
                </a:lnTo>
                <a:lnTo>
                  <a:pt x="122" y="978"/>
                </a:lnTo>
                <a:lnTo>
                  <a:pt x="119" y="979"/>
                </a:lnTo>
                <a:lnTo>
                  <a:pt x="116" y="977"/>
                </a:lnTo>
                <a:lnTo>
                  <a:pt x="115" y="973"/>
                </a:lnTo>
                <a:lnTo>
                  <a:pt x="113" y="971"/>
                </a:lnTo>
                <a:lnTo>
                  <a:pt x="111" y="970"/>
                </a:lnTo>
                <a:lnTo>
                  <a:pt x="110" y="971"/>
                </a:lnTo>
                <a:lnTo>
                  <a:pt x="110" y="973"/>
                </a:lnTo>
                <a:lnTo>
                  <a:pt x="110" y="975"/>
                </a:lnTo>
                <a:lnTo>
                  <a:pt x="111" y="976"/>
                </a:lnTo>
                <a:lnTo>
                  <a:pt x="113" y="980"/>
                </a:lnTo>
                <a:lnTo>
                  <a:pt x="113" y="983"/>
                </a:lnTo>
                <a:lnTo>
                  <a:pt x="112" y="988"/>
                </a:lnTo>
                <a:lnTo>
                  <a:pt x="111" y="992"/>
                </a:lnTo>
                <a:lnTo>
                  <a:pt x="110" y="995"/>
                </a:lnTo>
                <a:lnTo>
                  <a:pt x="107" y="996"/>
                </a:lnTo>
                <a:lnTo>
                  <a:pt x="105" y="996"/>
                </a:lnTo>
                <a:lnTo>
                  <a:pt x="104" y="995"/>
                </a:lnTo>
                <a:lnTo>
                  <a:pt x="104" y="992"/>
                </a:lnTo>
                <a:lnTo>
                  <a:pt x="106" y="990"/>
                </a:lnTo>
                <a:lnTo>
                  <a:pt x="107" y="989"/>
                </a:lnTo>
                <a:lnTo>
                  <a:pt x="110" y="986"/>
                </a:lnTo>
                <a:lnTo>
                  <a:pt x="105" y="985"/>
                </a:lnTo>
                <a:lnTo>
                  <a:pt x="102" y="986"/>
                </a:lnTo>
                <a:lnTo>
                  <a:pt x="102" y="989"/>
                </a:lnTo>
                <a:lnTo>
                  <a:pt x="102" y="991"/>
                </a:lnTo>
                <a:lnTo>
                  <a:pt x="101" y="992"/>
                </a:lnTo>
                <a:lnTo>
                  <a:pt x="99" y="992"/>
                </a:lnTo>
                <a:lnTo>
                  <a:pt x="97" y="992"/>
                </a:lnTo>
                <a:lnTo>
                  <a:pt x="97" y="990"/>
                </a:lnTo>
                <a:lnTo>
                  <a:pt x="97" y="988"/>
                </a:lnTo>
                <a:lnTo>
                  <a:pt x="97" y="985"/>
                </a:lnTo>
                <a:lnTo>
                  <a:pt x="98" y="980"/>
                </a:lnTo>
                <a:lnTo>
                  <a:pt x="97" y="975"/>
                </a:lnTo>
                <a:lnTo>
                  <a:pt x="95" y="970"/>
                </a:lnTo>
                <a:lnTo>
                  <a:pt x="92" y="966"/>
                </a:lnTo>
                <a:lnTo>
                  <a:pt x="90" y="958"/>
                </a:lnTo>
                <a:lnTo>
                  <a:pt x="91" y="949"/>
                </a:lnTo>
                <a:lnTo>
                  <a:pt x="84" y="960"/>
                </a:lnTo>
                <a:lnTo>
                  <a:pt x="76" y="971"/>
                </a:lnTo>
                <a:lnTo>
                  <a:pt x="84" y="960"/>
                </a:lnTo>
                <a:lnTo>
                  <a:pt x="91" y="949"/>
                </a:lnTo>
                <a:lnTo>
                  <a:pt x="92" y="948"/>
                </a:lnTo>
                <a:lnTo>
                  <a:pt x="94" y="947"/>
                </a:lnTo>
                <a:lnTo>
                  <a:pt x="95" y="944"/>
                </a:lnTo>
                <a:lnTo>
                  <a:pt x="97" y="943"/>
                </a:lnTo>
                <a:lnTo>
                  <a:pt x="95" y="944"/>
                </a:lnTo>
                <a:lnTo>
                  <a:pt x="94" y="947"/>
                </a:lnTo>
                <a:lnTo>
                  <a:pt x="96" y="947"/>
                </a:lnTo>
                <a:lnTo>
                  <a:pt x="98" y="946"/>
                </a:lnTo>
                <a:lnTo>
                  <a:pt x="99" y="945"/>
                </a:lnTo>
                <a:lnTo>
                  <a:pt x="98" y="942"/>
                </a:lnTo>
                <a:lnTo>
                  <a:pt x="102" y="937"/>
                </a:lnTo>
                <a:lnTo>
                  <a:pt x="104" y="932"/>
                </a:lnTo>
                <a:lnTo>
                  <a:pt x="106" y="929"/>
                </a:lnTo>
                <a:lnTo>
                  <a:pt x="107" y="927"/>
                </a:lnTo>
                <a:lnTo>
                  <a:pt x="111" y="925"/>
                </a:lnTo>
                <a:lnTo>
                  <a:pt x="114" y="923"/>
                </a:lnTo>
                <a:lnTo>
                  <a:pt x="115" y="921"/>
                </a:lnTo>
                <a:lnTo>
                  <a:pt x="115" y="917"/>
                </a:lnTo>
                <a:lnTo>
                  <a:pt x="120" y="914"/>
                </a:lnTo>
                <a:lnTo>
                  <a:pt x="122" y="912"/>
                </a:lnTo>
                <a:lnTo>
                  <a:pt x="124" y="909"/>
                </a:lnTo>
                <a:lnTo>
                  <a:pt x="124" y="907"/>
                </a:lnTo>
                <a:lnTo>
                  <a:pt x="126" y="906"/>
                </a:lnTo>
                <a:lnTo>
                  <a:pt x="127" y="906"/>
                </a:lnTo>
                <a:lnTo>
                  <a:pt x="127" y="906"/>
                </a:lnTo>
                <a:lnTo>
                  <a:pt x="130" y="905"/>
                </a:lnTo>
                <a:lnTo>
                  <a:pt x="133" y="904"/>
                </a:lnTo>
                <a:lnTo>
                  <a:pt x="134" y="903"/>
                </a:lnTo>
                <a:lnTo>
                  <a:pt x="135" y="902"/>
                </a:lnTo>
                <a:lnTo>
                  <a:pt x="136" y="900"/>
                </a:lnTo>
                <a:lnTo>
                  <a:pt x="135" y="898"/>
                </a:lnTo>
                <a:lnTo>
                  <a:pt x="135" y="898"/>
                </a:lnTo>
                <a:lnTo>
                  <a:pt x="134" y="894"/>
                </a:lnTo>
                <a:lnTo>
                  <a:pt x="135" y="891"/>
                </a:lnTo>
                <a:lnTo>
                  <a:pt x="134" y="894"/>
                </a:lnTo>
                <a:lnTo>
                  <a:pt x="135" y="898"/>
                </a:lnTo>
                <a:lnTo>
                  <a:pt x="139" y="898"/>
                </a:lnTo>
                <a:lnTo>
                  <a:pt x="142" y="897"/>
                </a:lnTo>
                <a:lnTo>
                  <a:pt x="143" y="897"/>
                </a:lnTo>
                <a:lnTo>
                  <a:pt x="144" y="898"/>
                </a:lnTo>
                <a:lnTo>
                  <a:pt x="145" y="899"/>
                </a:lnTo>
                <a:lnTo>
                  <a:pt x="146" y="900"/>
                </a:lnTo>
                <a:lnTo>
                  <a:pt x="158" y="898"/>
                </a:lnTo>
                <a:lnTo>
                  <a:pt x="168" y="895"/>
                </a:lnTo>
                <a:lnTo>
                  <a:pt x="171" y="894"/>
                </a:lnTo>
                <a:lnTo>
                  <a:pt x="171" y="893"/>
                </a:lnTo>
                <a:lnTo>
                  <a:pt x="170" y="892"/>
                </a:lnTo>
                <a:lnTo>
                  <a:pt x="170" y="891"/>
                </a:lnTo>
                <a:lnTo>
                  <a:pt x="176" y="888"/>
                </a:lnTo>
                <a:lnTo>
                  <a:pt x="183" y="886"/>
                </a:lnTo>
                <a:lnTo>
                  <a:pt x="187" y="885"/>
                </a:lnTo>
                <a:lnTo>
                  <a:pt x="190" y="884"/>
                </a:lnTo>
                <a:lnTo>
                  <a:pt x="193" y="885"/>
                </a:lnTo>
                <a:lnTo>
                  <a:pt x="195" y="886"/>
                </a:lnTo>
                <a:lnTo>
                  <a:pt x="195" y="888"/>
                </a:lnTo>
                <a:lnTo>
                  <a:pt x="194" y="892"/>
                </a:lnTo>
                <a:close/>
                <a:moveTo>
                  <a:pt x="82" y="875"/>
                </a:moveTo>
                <a:lnTo>
                  <a:pt x="82" y="875"/>
                </a:lnTo>
                <a:lnTo>
                  <a:pt x="83" y="875"/>
                </a:lnTo>
                <a:lnTo>
                  <a:pt x="82" y="875"/>
                </a:lnTo>
                <a:lnTo>
                  <a:pt x="82" y="875"/>
                </a:lnTo>
                <a:lnTo>
                  <a:pt x="79" y="881"/>
                </a:lnTo>
                <a:lnTo>
                  <a:pt x="75" y="884"/>
                </a:lnTo>
                <a:lnTo>
                  <a:pt x="79" y="881"/>
                </a:lnTo>
                <a:lnTo>
                  <a:pt x="82" y="875"/>
                </a:lnTo>
                <a:close/>
                <a:moveTo>
                  <a:pt x="72" y="856"/>
                </a:moveTo>
                <a:lnTo>
                  <a:pt x="74" y="854"/>
                </a:lnTo>
                <a:lnTo>
                  <a:pt x="75" y="852"/>
                </a:lnTo>
                <a:lnTo>
                  <a:pt x="74" y="854"/>
                </a:lnTo>
                <a:lnTo>
                  <a:pt x="72" y="856"/>
                </a:lnTo>
                <a:close/>
                <a:moveTo>
                  <a:pt x="72" y="933"/>
                </a:moveTo>
                <a:lnTo>
                  <a:pt x="72" y="932"/>
                </a:lnTo>
                <a:lnTo>
                  <a:pt x="73" y="931"/>
                </a:lnTo>
                <a:lnTo>
                  <a:pt x="72" y="932"/>
                </a:lnTo>
                <a:lnTo>
                  <a:pt x="72" y="933"/>
                </a:lnTo>
                <a:close/>
                <a:moveTo>
                  <a:pt x="83" y="919"/>
                </a:moveTo>
                <a:lnTo>
                  <a:pt x="85" y="919"/>
                </a:lnTo>
                <a:lnTo>
                  <a:pt x="87" y="920"/>
                </a:lnTo>
                <a:lnTo>
                  <a:pt x="88" y="922"/>
                </a:lnTo>
                <a:lnTo>
                  <a:pt x="89" y="924"/>
                </a:lnTo>
                <a:lnTo>
                  <a:pt x="88" y="922"/>
                </a:lnTo>
                <a:lnTo>
                  <a:pt x="87" y="920"/>
                </a:lnTo>
                <a:lnTo>
                  <a:pt x="85" y="919"/>
                </a:lnTo>
                <a:lnTo>
                  <a:pt x="83" y="919"/>
                </a:lnTo>
                <a:lnTo>
                  <a:pt x="83" y="919"/>
                </a:lnTo>
                <a:close/>
                <a:moveTo>
                  <a:pt x="95" y="871"/>
                </a:moveTo>
                <a:lnTo>
                  <a:pt x="94" y="872"/>
                </a:lnTo>
                <a:lnTo>
                  <a:pt x="94" y="874"/>
                </a:lnTo>
                <a:lnTo>
                  <a:pt x="92" y="875"/>
                </a:lnTo>
                <a:lnTo>
                  <a:pt x="91" y="875"/>
                </a:lnTo>
                <a:lnTo>
                  <a:pt x="92" y="875"/>
                </a:lnTo>
                <a:lnTo>
                  <a:pt x="94" y="874"/>
                </a:lnTo>
                <a:lnTo>
                  <a:pt x="94" y="872"/>
                </a:lnTo>
                <a:lnTo>
                  <a:pt x="95" y="871"/>
                </a:lnTo>
                <a:close/>
                <a:moveTo>
                  <a:pt x="98" y="828"/>
                </a:moveTo>
                <a:lnTo>
                  <a:pt x="99" y="828"/>
                </a:lnTo>
                <a:lnTo>
                  <a:pt x="101" y="827"/>
                </a:lnTo>
                <a:lnTo>
                  <a:pt x="99" y="828"/>
                </a:lnTo>
                <a:lnTo>
                  <a:pt x="98" y="828"/>
                </a:lnTo>
                <a:lnTo>
                  <a:pt x="96" y="830"/>
                </a:lnTo>
                <a:lnTo>
                  <a:pt x="94" y="832"/>
                </a:lnTo>
                <a:lnTo>
                  <a:pt x="91" y="832"/>
                </a:lnTo>
                <a:lnTo>
                  <a:pt x="89" y="832"/>
                </a:lnTo>
                <a:lnTo>
                  <a:pt x="91" y="832"/>
                </a:lnTo>
                <a:lnTo>
                  <a:pt x="94" y="832"/>
                </a:lnTo>
                <a:lnTo>
                  <a:pt x="96" y="830"/>
                </a:lnTo>
                <a:lnTo>
                  <a:pt x="98" y="828"/>
                </a:lnTo>
                <a:close/>
                <a:moveTo>
                  <a:pt x="105" y="828"/>
                </a:moveTo>
                <a:lnTo>
                  <a:pt x="109" y="827"/>
                </a:lnTo>
                <a:lnTo>
                  <a:pt x="111" y="827"/>
                </a:lnTo>
                <a:lnTo>
                  <a:pt x="112" y="824"/>
                </a:lnTo>
                <a:lnTo>
                  <a:pt x="114" y="823"/>
                </a:lnTo>
                <a:lnTo>
                  <a:pt x="112" y="824"/>
                </a:lnTo>
                <a:lnTo>
                  <a:pt x="111" y="827"/>
                </a:lnTo>
                <a:lnTo>
                  <a:pt x="109" y="827"/>
                </a:lnTo>
                <a:lnTo>
                  <a:pt x="105" y="828"/>
                </a:lnTo>
                <a:lnTo>
                  <a:pt x="103" y="829"/>
                </a:lnTo>
                <a:lnTo>
                  <a:pt x="101" y="828"/>
                </a:lnTo>
                <a:lnTo>
                  <a:pt x="103" y="829"/>
                </a:lnTo>
                <a:lnTo>
                  <a:pt x="105" y="828"/>
                </a:lnTo>
                <a:close/>
                <a:moveTo>
                  <a:pt x="115" y="817"/>
                </a:moveTo>
                <a:lnTo>
                  <a:pt x="115" y="817"/>
                </a:lnTo>
                <a:lnTo>
                  <a:pt x="115" y="817"/>
                </a:lnTo>
                <a:lnTo>
                  <a:pt x="115" y="817"/>
                </a:lnTo>
                <a:close/>
                <a:moveTo>
                  <a:pt x="118" y="849"/>
                </a:moveTo>
                <a:lnTo>
                  <a:pt x="118" y="847"/>
                </a:lnTo>
                <a:lnTo>
                  <a:pt x="120" y="846"/>
                </a:lnTo>
                <a:lnTo>
                  <a:pt x="121" y="845"/>
                </a:lnTo>
                <a:lnTo>
                  <a:pt x="124" y="845"/>
                </a:lnTo>
                <a:lnTo>
                  <a:pt x="121" y="845"/>
                </a:lnTo>
                <a:lnTo>
                  <a:pt x="120" y="846"/>
                </a:lnTo>
                <a:lnTo>
                  <a:pt x="118" y="847"/>
                </a:lnTo>
                <a:lnTo>
                  <a:pt x="118" y="849"/>
                </a:lnTo>
                <a:lnTo>
                  <a:pt x="116" y="849"/>
                </a:lnTo>
                <a:lnTo>
                  <a:pt x="115" y="851"/>
                </a:lnTo>
                <a:lnTo>
                  <a:pt x="116" y="849"/>
                </a:lnTo>
                <a:lnTo>
                  <a:pt x="118" y="849"/>
                </a:lnTo>
                <a:close/>
                <a:moveTo>
                  <a:pt x="126" y="844"/>
                </a:moveTo>
                <a:lnTo>
                  <a:pt x="127" y="844"/>
                </a:lnTo>
                <a:lnTo>
                  <a:pt x="128" y="844"/>
                </a:lnTo>
                <a:lnTo>
                  <a:pt x="129" y="844"/>
                </a:lnTo>
                <a:lnTo>
                  <a:pt x="131" y="843"/>
                </a:lnTo>
                <a:lnTo>
                  <a:pt x="129" y="844"/>
                </a:lnTo>
                <a:lnTo>
                  <a:pt x="128" y="844"/>
                </a:lnTo>
                <a:lnTo>
                  <a:pt x="127" y="844"/>
                </a:lnTo>
                <a:lnTo>
                  <a:pt x="126" y="844"/>
                </a:lnTo>
                <a:lnTo>
                  <a:pt x="122" y="843"/>
                </a:lnTo>
                <a:lnTo>
                  <a:pt x="118" y="843"/>
                </a:lnTo>
                <a:lnTo>
                  <a:pt x="122" y="843"/>
                </a:lnTo>
                <a:lnTo>
                  <a:pt x="126" y="844"/>
                </a:lnTo>
                <a:close/>
                <a:moveTo>
                  <a:pt x="131" y="848"/>
                </a:moveTo>
                <a:lnTo>
                  <a:pt x="130" y="848"/>
                </a:lnTo>
                <a:lnTo>
                  <a:pt x="130" y="848"/>
                </a:lnTo>
                <a:lnTo>
                  <a:pt x="130" y="848"/>
                </a:lnTo>
                <a:lnTo>
                  <a:pt x="131" y="848"/>
                </a:lnTo>
                <a:close/>
                <a:moveTo>
                  <a:pt x="139" y="807"/>
                </a:moveTo>
                <a:lnTo>
                  <a:pt x="139" y="807"/>
                </a:lnTo>
                <a:lnTo>
                  <a:pt x="139" y="807"/>
                </a:lnTo>
                <a:lnTo>
                  <a:pt x="139" y="807"/>
                </a:lnTo>
                <a:lnTo>
                  <a:pt x="137" y="809"/>
                </a:lnTo>
                <a:lnTo>
                  <a:pt x="136" y="811"/>
                </a:lnTo>
                <a:lnTo>
                  <a:pt x="135" y="812"/>
                </a:lnTo>
                <a:lnTo>
                  <a:pt x="133" y="814"/>
                </a:lnTo>
                <a:lnTo>
                  <a:pt x="135" y="812"/>
                </a:lnTo>
                <a:lnTo>
                  <a:pt x="136" y="811"/>
                </a:lnTo>
                <a:lnTo>
                  <a:pt x="137" y="809"/>
                </a:lnTo>
                <a:lnTo>
                  <a:pt x="139" y="807"/>
                </a:lnTo>
                <a:close/>
                <a:moveTo>
                  <a:pt x="144" y="839"/>
                </a:moveTo>
                <a:lnTo>
                  <a:pt x="140" y="841"/>
                </a:lnTo>
                <a:lnTo>
                  <a:pt x="135" y="843"/>
                </a:lnTo>
                <a:lnTo>
                  <a:pt x="135" y="844"/>
                </a:lnTo>
                <a:lnTo>
                  <a:pt x="134" y="845"/>
                </a:lnTo>
                <a:lnTo>
                  <a:pt x="135" y="844"/>
                </a:lnTo>
                <a:lnTo>
                  <a:pt x="135" y="843"/>
                </a:lnTo>
                <a:lnTo>
                  <a:pt x="140" y="841"/>
                </a:lnTo>
                <a:lnTo>
                  <a:pt x="144" y="839"/>
                </a:lnTo>
                <a:close/>
                <a:moveTo>
                  <a:pt x="149" y="782"/>
                </a:moveTo>
                <a:lnTo>
                  <a:pt x="146" y="788"/>
                </a:lnTo>
                <a:lnTo>
                  <a:pt x="143" y="796"/>
                </a:lnTo>
                <a:lnTo>
                  <a:pt x="143" y="796"/>
                </a:lnTo>
                <a:lnTo>
                  <a:pt x="146" y="788"/>
                </a:lnTo>
                <a:lnTo>
                  <a:pt x="149" y="782"/>
                </a:lnTo>
                <a:close/>
                <a:moveTo>
                  <a:pt x="127" y="905"/>
                </a:moveTo>
                <a:lnTo>
                  <a:pt x="127" y="903"/>
                </a:lnTo>
                <a:lnTo>
                  <a:pt x="128" y="901"/>
                </a:lnTo>
                <a:lnTo>
                  <a:pt x="129" y="900"/>
                </a:lnTo>
                <a:lnTo>
                  <a:pt x="131" y="899"/>
                </a:lnTo>
                <a:lnTo>
                  <a:pt x="129" y="900"/>
                </a:lnTo>
                <a:lnTo>
                  <a:pt x="128" y="901"/>
                </a:lnTo>
                <a:lnTo>
                  <a:pt x="127" y="903"/>
                </a:lnTo>
                <a:lnTo>
                  <a:pt x="127" y="905"/>
                </a:lnTo>
                <a:close/>
                <a:moveTo>
                  <a:pt x="148" y="884"/>
                </a:moveTo>
                <a:lnTo>
                  <a:pt x="148" y="885"/>
                </a:lnTo>
                <a:lnTo>
                  <a:pt x="148" y="886"/>
                </a:lnTo>
                <a:lnTo>
                  <a:pt x="147" y="886"/>
                </a:lnTo>
                <a:lnTo>
                  <a:pt x="146" y="886"/>
                </a:lnTo>
                <a:lnTo>
                  <a:pt x="147" y="886"/>
                </a:lnTo>
                <a:lnTo>
                  <a:pt x="148" y="886"/>
                </a:lnTo>
                <a:lnTo>
                  <a:pt x="148" y="885"/>
                </a:lnTo>
                <a:lnTo>
                  <a:pt x="148" y="884"/>
                </a:lnTo>
                <a:close/>
                <a:moveTo>
                  <a:pt x="130" y="886"/>
                </a:moveTo>
                <a:lnTo>
                  <a:pt x="128" y="886"/>
                </a:lnTo>
                <a:lnTo>
                  <a:pt x="126" y="887"/>
                </a:lnTo>
                <a:lnTo>
                  <a:pt x="128" y="886"/>
                </a:lnTo>
                <a:lnTo>
                  <a:pt x="130" y="886"/>
                </a:lnTo>
                <a:lnTo>
                  <a:pt x="142" y="877"/>
                </a:lnTo>
                <a:lnTo>
                  <a:pt x="152" y="870"/>
                </a:lnTo>
                <a:lnTo>
                  <a:pt x="142" y="877"/>
                </a:lnTo>
                <a:lnTo>
                  <a:pt x="130" y="886"/>
                </a:lnTo>
                <a:close/>
                <a:moveTo>
                  <a:pt x="150" y="801"/>
                </a:moveTo>
                <a:lnTo>
                  <a:pt x="156" y="794"/>
                </a:lnTo>
                <a:lnTo>
                  <a:pt x="159" y="785"/>
                </a:lnTo>
                <a:lnTo>
                  <a:pt x="160" y="783"/>
                </a:lnTo>
                <a:lnTo>
                  <a:pt x="161" y="782"/>
                </a:lnTo>
                <a:lnTo>
                  <a:pt x="160" y="783"/>
                </a:lnTo>
                <a:lnTo>
                  <a:pt x="159" y="785"/>
                </a:lnTo>
                <a:lnTo>
                  <a:pt x="156" y="794"/>
                </a:lnTo>
                <a:lnTo>
                  <a:pt x="150" y="801"/>
                </a:lnTo>
                <a:lnTo>
                  <a:pt x="150" y="802"/>
                </a:lnTo>
                <a:lnTo>
                  <a:pt x="149" y="802"/>
                </a:lnTo>
                <a:lnTo>
                  <a:pt x="150" y="802"/>
                </a:lnTo>
                <a:lnTo>
                  <a:pt x="150" y="801"/>
                </a:lnTo>
                <a:close/>
                <a:moveTo>
                  <a:pt x="154" y="829"/>
                </a:moveTo>
                <a:lnTo>
                  <a:pt x="155" y="829"/>
                </a:lnTo>
                <a:lnTo>
                  <a:pt x="155" y="828"/>
                </a:lnTo>
                <a:lnTo>
                  <a:pt x="156" y="828"/>
                </a:lnTo>
                <a:lnTo>
                  <a:pt x="157" y="827"/>
                </a:lnTo>
                <a:lnTo>
                  <a:pt x="156" y="828"/>
                </a:lnTo>
                <a:lnTo>
                  <a:pt x="155" y="828"/>
                </a:lnTo>
                <a:lnTo>
                  <a:pt x="155" y="829"/>
                </a:lnTo>
                <a:lnTo>
                  <a:pt x="154" y="829"/>
                </a:lnTo>
                <a:close/>
                <a:moveTo>
                  <a:pt x="163" y="890"/>
                </a:moveTo>
                <a:lnTo>
                  <a:pt x="158" y="885"/>
                </a:lnTo>
                <a:lnTo>
                  <a:pt x="154" y="879"/>
                </a:lnTo>
                <a:lnTo>
                  <a:pt x="158" y="885"/>
                </a:lnTo>
                <a:lnTo>
                  <a:pt x="163" y="890"/>
                </a:lnTo>
                <a:close/>
                <a:moveTo>
                  <a:pt x="168" y="866"/>
                </a:moveTo>
                <a:lnTo>
                  <a:pt x="166" y="866"/>
                </a:lnTo>
                <a:lnTo>
                  <a:pt x="164" y="867"/>
                </a:lnTo>
                <a:lnTo>
                  <a:pt x="163" y="868"/>
                </a:lnTo>
                <a:lnTo>
                  <a:pt x="162" y="871"/>
                </a:lnTo>
                <a:lnTo>
                  <a:pt x="159" y="871"/>
                </a:lnTo>
                <a:lnTo>
                  <a:pt x="155" y="871"/>
                </a:lnTo>
                <a:lnTo>
                  <a:pt x="159" y="871"/>
                </a:lnTo>
                <a:lnTo>
                  <a:pt x="162" y="871"/>
                </a:lnTo>
                <a:lnTo>
                  <a:pt x="163" y="868"/>
                </a:lnTo>
                <a:lnTo>
                  <a:pt x="164" y="867"/>
                </a:lnTo>
                <a:lnTo>
                  <a:pt x="166" y="866"/>
                </a:lnTo>
                <a:lnTo>
                  <a:pt x="168" y="866"/>
                </a:lnTo>
                <a:close/>
                <a:moveTo>
                  <a:pt x="177" y="775"/>
                </a:moveTo>
                <a:lnTo>
                  <a:pt x="179" y="771"/>
                </a:lnTo>
                <a:lnTo>
                  <a:pt x="181" y="768"/>
                </a:lnTo>
                <a:lnTo>
                  <a:pt x="179" y="771"/>
                </a:lnTo>
                <a:lnTo>
                  <a:pt x="177" y="775"/>
                </a:lnTo>
                <a:lnTo>
                  <a:pt x="178" y="776"/>
                </a:lnTo>
                <a:lnTo>
                  <a:pt x="179" y="777"/>
                </a:lnTo>
                <a:lnTo>
                  <a:pt x="179" y="777"/>
                </a:lnTo>
                <a:lnTo>
                  <a:pt x="178" y="778"/>
                </a:lnTo>
                <a:lnTo>
                  <a:pt x="177" y="779"/>
                </a:lnTo>
                <a:lnTo>
                  <a:pt x="178" y="778"/>
                </a:lnTo>
                <a:lnTo>
                  <a:pt x="179" y="777"/>
                </a:lnTo>
                <a:lnTo>
                  <a:pt x="178" y="776"/>
                </a:lnTo>
                <a:lnTo>
                  <a:pt x="177" y="775"/>
                </a:lnTo>
                <a:close/>
                <a:moveTo>
                  <a:pt x="190" y="775"/>
                </a:moveTo>
                <a:lnTo>
                  <a:pt x="186" y="776"/>
                </a:lnTo>
                <a:lnTo>
                  <a:pt x="180" y="777"/>
                </a:lnTo>
                <a:lnTo>
                  <a:pt x="186" y="776"/>
                </a:lnTo>
                <a:lnTo>
                  <a:pt x="190" y="775"/>
                </a:lnTo>
                <a:close/>
                <a:moveTo>
                  <a:pt x="190" y="872"/>
                </a:moveTo>
                <a:lnTo>
                  <a:pt x="189" y="871"/>
                </a:lnTo>
                <a:lnTo>
                  <a:pt x="189" y="870"/>
                </a:lnTo>
                <a:lnTo>
                  <a:pt x="189" y="871"/>
                </a:lnTo>
                <a:lnTo>
                  <a:pt x="190" y="872"/>
                </a:lnTo>
                <a:close/>
                <a:moveTo>
                  <a:pt x="51" y="993"/>
                </a:moveTo>
                <a:lnTo>
                  <a:pt x="52" y="992"/>
                </a:lnTo>
                <a:lnTo>
                  <a:pt x="53" y="991"/>
                </a:lnTo>
                <a:lnTo>
                  <a:pt x="52" y="992"/>
                </a:lnTo>
                <a:lnTo>
                  <a:pt x="51" y="993"/>
                </a:lnTo>
                <a:close/>
                <a:moveTo>
                  <a:pt x="50" y="993"/>
                </a:moveTo>
                <a:lnTo>
                  <a:pt x="49" y="994"/>
                </a:lnTo>
                <a:lnTo>
                  <a:pt x="49" y="994"/>
                </a:lnTo>
                <a:lnTo>
                  <a:pt x="49" y="994"/>
                </a:lnTo>
                <a:lnTo>
                  <a:pt x="50" y="993"/>
                </a:lnTo>
                <a:close/>
                <a:moveTo>
                  <a:pt x="43" y="1044"/>
                </a:moveTo>
                <a:lnTo>
                  <a:pt x="44" y="1044"/>
                </a:lnTo>
                <a:lnTo>
                  <a:pt x="46" y="1044"/>
                </a:lnTo>
                <a:lnTo>
                  <a:pt x="44" y="1044"/>
                </a:lnTo>
                <a:lnTo>
                  <a:pt x="43" y="1044"/>
                </a:lnTo>
                <a:close/>
                <a:moveTo>
                  <a:pt x="44" y="1048"/>
                </a:moveTo>
                <a:lnTo>
                  <a:pt x="44" y="1046"/>
                </a:lnTo>
                <a:lnTo>
                  <a:pt x="45" y="1046"/>
                </a:lnTo>
                <a:lnTo>
                  <a:pt x="45" y="1046"/>
                </a:lnTo>
                <a:lnTo>
                  <a:pt x="45" y="1046"/>
                </a:lnTo>
                <a:lnTo>
                  <a:pt x="45" y="1046"/>
                </a:lnTo>
                <a:lnTo>
                  <a:pt x="45" y="1046"/>
                </a:lnTo>
                <a:lnTo>
                  <a:pt x="44" y="1046"/>
                </a:lnTo>
                <a:lnTo>
                  <a:pt x="44" y="1048"/>
                </a:lnTo>
                <a:close/>
                <a:moveTo>
                  <a:pt x="35" y="1115"/>
                </a:moveTo>
                <a:lnTo>
                  <a:pt x="33" y="1113"/>
                </a:lnTo>
                <a:lnTo>
                  <a:pt x="28" y="1111"/>
                </a:lnTo>
                <a:lnTo>
                  <a:pt x="33" y="1113"/>
                </a:lnTo>
                <a:lnTo>
                  <a:pt x="35" y="1115"/>
                </a:lnTo>
                <a:lnTo>
                  <a:pt x="37" y="1119"/>
                </a:lnTo>
                <a:lnTo>
                  <a:pt x="40" y="1122"/>
                </a:lnTo>
                <a:lnTo>
                  <a:pt x="42" y="1126"/>
                </a:lnTo>
                <a:lnTo>
                  <a:pt x="46" y="1128"/>
                </a:lnTo>
                <a:lnTo>
                  <a:pt x="42" y="1126"/>
                </a:lnTo>
                <a:lnTo>
                  <a:pt x="40" y="1122"/>
                </a:lnTo>
                <a:lnTo>
                  <a:pt x="37" y="1119"/>
                </a:lnTo>
                <a:lnTo>
                  <a:pt x="35" y="1115"/>
                </a:lnTo>
                <a:close/>
                <a:moveTo>
                  <a:pt x="25" y="1108"/>
                </a:moveTo>
                <a:lnTo>
                  <a:pt x="25" y="1109"/>
                </a:lnTo>
                <a:lnTo>
                  <a:pt x="25" y="1109"/>
                </a:lnTo>
                <a:lnTo>
                  <a:pt x="25" y="1109"/>
                </a:lnTo>
                <a:lnTo>
                  <a:pt x="25" y="1108"/>
                </a:lnTo>
                <a:close/>
                <a:moveTo>
                  <a:pt x="28" y="1075"/>
                </a:moveTo>
                <a:lnTo>
                  <a:pt x="26" y="1075"/>
                </a:lnTo>
                <a:lnTo>
                  <a:pt x="25" y="1076"/>
                </a:lnTo>
                <a:lnTo>
                  <a:pt x="25" y="1076"/>
                </a:lnTo>
                <a:lnTo>
                  <a:pt x="26" y="1075"/>
                </a:lnTo>
                <a:lnTo>
                  <a:pt x="28" y="1075"/>
                </a:lnTo>
                <a:close/>
                <a:moveTo>
                  <a:pt x="24" y="933"/>
                </a:moveTo>
                <a:lnTo>
                  <a:pt x="23" y="934"/>
                </a:lnTo>
                <a:lnTo>
                  <a:pt x="23" y="935"/>
                </a:lnTo>
                <a:lnTo>
                  <a:pt x="23" y="936"/>
                </a:lnTo>
                <a:lnTo>
                  <a:pt x="23" y="936"/>
                </a:lnTo>
                <a:lnTo>
                  <a:pt x="23" y="936"/>
                </a:lnTo>
                <a:lnTo>
                  <a:pt x="23" y="935"/>
                </a:lnTo>
                <a:lnTo>
                  <a:pt x="23" y="934"/>
                </a:lnTo>
                <a:lnTo>
                  <a:pt x="24" y="933"/>
                </a:lnTo>
                <a:lnTo>
                  <a:pt x="28" y="918"/>
                </a:lnTo>
                <a:lnTo>
                  <a:pt x="35" y="903"/>
                </a:lnTo>
                <a:lnTo>
                  <a:pt x="28" y="918"/>
                </a:lnTo>
                <a:lnTo>
                  <a:pt x="24" y="933"/>
                </a:lnTo>
                <a:close/>
                <a:moveTo>
                  <a:pt x="18" y="1082"/>
                </a:moveTo>
                <a:lnTo>
                  <a:pt x="15" y="1082"/>
                </a:lnTo>
                <a:lnTo>
                  <a:pt x="14" y="1082"/>
                </a:lnTo>
                <a:lnTo>
                  <a:pt x="15" y="1082"/>
                </a:lnTo>
                <a:lnTo>
                  <a:pt x="18" y="1082"/>
                </a:lnTo>
                <a:lnTo>
                  <a:pt x="20" y="1076"/>
                </a:lnTo>
                <a:lnTo>
                  <a:pt x="22" y="1074"/>
                </a:lnTo>
                <a:lnTo>
                  <a:pt x="20" y="1076"/>
                </a:lnTo>
                <a:lnTo>
                  <a:pt x="18" y="1082"/>
                </a:lnTo>
                <a:close/>
                <a:moveTo>
                  <a:pt x="13" y="958"/>
                </a:moveTo>
                <a:lnTo>
                  <a:pt x="13" y="955"/>
                </a:lnTo>
                <a:lnTo>
                  <a:pt x="13" y="953"/>
                </a:lnTo>
                <a:lnTo>
                  <a:pt x="13" y="952"/>
                </a:lnTo>
                <a:lnTo>
                  <a:pt x="13" y="951"/>
                </a:lnTo>
                <a:lnTo>
                  <a:pt x="14" y="951"/>
                </a:lnTo>
                <a:lnTo>
                  <a:pt x="16" y="950"/>
                </a:lnTo>
                <a:lnTo>
                  <a:pt x="19" y="951"/>
                </a:lnTo>
                <a:lnTo>
                  <a:pt x="20" y="953"/>
                </a:lnTo>
                <a:lnTo>
                  <a:pt x="20" y="955"/>
                </a:lnTo>
                <a:lnTo>
                  <a:pt x="20" y="958"/>
                </a:lnTo>
                <a:lnTo>
                  <a:pt x="20" y="961"/>
                </a:lnTo>
                <a:lnTo>
                  <a:pt x="20" y="963"/>
                </a:lnTo>
                <a:lnTo>
                  <a:pt x="20" y="964"/>
                </a:lnTo>
                <a:lnTo>
                  <a:pt x="20" y="965"/>
                </a:lnTo>
                <a:lnTo>
                  <a:pt x="18" y="967"/>
                </a:lnTo>
                <a:lnTo>
                  <a:pt x="15" y="969"/>
                </a:lnTo>
                <a:lnTo>
                  <a:pt x="13" y="966"/>
                </a:lnTo>
                <a:lnTo>
                  <a:pt x="12" y="964"/>
                </a:lnTo>
                <a:lnTo>
                  <a:pt x="12" y="961"/>
                </a:lnTo>
                <a:lnTo>
                  <a:pt x="13" y="958"/>
                </a:lnTo>
                <a:close/>
                <a:moveTo>
                  <a:pt x="38" y="968"/>
                </a:moveTo>
                <a:lnTo>
                  <a:pt x="37" y="969"/>
                </a:lnTo>
                <a:lnTo>
                  <a:pt x="36" y="969"/>
                </a:lnTo>
                <a:lnTo>
                  <a:pt x="36" y="970"/>
                </a:lnTo>
                <a:lnTo>
                  <a:pt x="37" y="971"/>
                </a:lnTo>
                <a:lnTo>
                  <a:pt x="34" y="977"/>
                </a:lnTo>
                <a:lnTo>
                  <a:pt x="30" y="982"/>
                </a:lnTo>
                <a:lnTo>
                  <a:pt x="34" y="977"/>
                </a:lnTo>
                <a:lnTo>
                  <a:pt x="37" y="971"/>
                </a:lnTo>
                <a:lnTo>
                  <a:pt x="36" y="970"/>
                </a:lnTo>
                <a:lnTo>
                  <a:pt x="36" y="969"/>
                </a:lnTo>
                <a:lnTo>
                  <a:pt x="37" y="969"/>
                </a:lnTo>
                <a:lnTo>
                  <a:pt x="38" y="968"/>
                </a:lnTo>
                <a:close/>
                <a:moveTo>
                  <a:pt x="37" y="961"/>
                </a:moveTo>
                <a:lnTo>
                  <a:pt x="37" y="963"/>
                </a:lnTo>
                <a:lnTo>
                  <a:pt x="38" y="965"/>
                </a:lnTo>
                <a:lnTo>
                  <a:pt x="38" y="966"/>
                </a:lnTo>
                <a:lnTo>
                  <a:pt x="38" y="968"/>
                </a:lnTo>
                <a:lnTo>
                  <a:pt x="38" y="966"/>
                </a:lnTo>
                <a:lnTo>
                  <a:pt x="38" y="965"/>
                </a:lnTo>
                <a:lnTo>
                  <a:pt x="37" y="963"/>
                </a:lnTo>
                <a:lnTo>
                  <a:pt x="37" y="961"/>
                </a:lnTo>
                <a:close/>
                <a:moveTo>
                  <a:pt x="386" y="408"/>
                </a:moveTo>
                <a:lnTo>
                  <a:pt x="386" y="408"/>
                </a:lnTo>
                <a:lnTo>
                  <a:pt x="386" y="407"/>
                </a:lnTo>
                <a:lnTo>
                  <a:pt x="386" y="408"/>
                </a:lnTo>
                <a:lnTo>
                  <a:pt x="386" y="408"/>
                </a:lnTo>
                <a:close/>
                <a:moveTo>
                  <a:pt x="385" y="389"/>
                </a:moveTo>
                <a:lnTo>
                  <a:pt x="386" y="389"/>
                </a:lnTo>
                <a:lnTo>
                  <a:pt x="386" y="389"/>
                </a:lnTo>
                <a:lnTo>
                  <a:pt x="385" y="389"/>
                </a:lnTo>
                <a:close/>
                <a:moveTo>
                  <a:pt x="358" y="337"/>
                </a:moveTo>
                <a:lnTo>
                  <a:pt x="358" y="337"/>
                </a:lnTo>
                <a:lnTo>
                  <a:pt x="358" y="337"/>
                </a:lnTo>
                <a:lnTo>
                  <a:pt x="358" y="337"/>
                </a:lnTo>
                <a:lnTo>
                  <a:pt x="358" y="337"/>
                </a:lnTo>
                <a:close/>
                <a:moveTo>
                  <a:pt x="343" y="336"/>
                </a:moveTo>
                <a:lnTo>
                  <a:pt x="343" y="335"/>
                </a:lnTo>
                <a:lnTo>
                  <a:pt x="343" y="335"/>
                </a:lnTo>
                <a:lnTo>
                  <a:pt x="340" y="334"/>
                </a:lnTo>
                <a:lnTo>
                  <a:pt x="340" y="332"/>
                </a:lnTo>
                <a:lnTo>
                  <a:pt x="340" y="334"/>
                </a:lnTo>
                <a:lnTo>
                  <a:pt x="343" y="335"/>
                </a:lnTo>
                <a:lnTo>
                  <a:pt x="343" y="335"/>
                </a:lnTo>
                <a:lnTo>
                  <a:pt x="343" y="336"/>
                </a:lnTo>
                <a:close/>
                <a:moveTo>
                  <a:pt x="342" y="341"/>
                </a:moveTo>
                <a:lnTo>
                  <a:pt x="342" y="339"/>
                </a:lnTo>
                <a:lnTo>
                  <a:pt x="343" y="336"/>
                </a:lnTo>
                <a:lnTo>
                  <a:pt x="342" y="339"/>
                </a:lnTo>
                <a:lnTo>
                  <a:pt x="342" y="341"/>
                </a:lnTo>
                <a:close/>
                <a:moveTo>
                  <a:pt x="401" y="183"/>
                </a:moveTo>
                <a:lnTo>
                  <a:pt x="401" y="183"/>
                </a:lnTo>
                <a:lnTo>
                  <a:pt x="401" y="183"/>
                </a:lnTo>
                <a:lnTo>
                  <a:pt x="401" y="183"/>
                </a:lnTo>
                <a:lnTo>
                  <a:pt x="401" y="183"/>
                </a:lnTo>
                <a:lnTo>
                  <a:pt x="402" y="184"/>
                </a:lnTo>
                <a:lnTo>
                  <a:pt x="403" y="184"/>
                </a:lnTo>
                <a:lnTo>
                  <a:pt x="402" y="184"/>
                </a:lnTo>
                <a:lnTo>
                  <a:pt x="401" y="183"/>
                </a:lnTo>
                <a:close/>
                <a:moveTo>
                  <a:pt x="392" y="229"/>
                </a:moveTo>
                <a:lnTo>
                  <a:pt x="392" y="224"/>
                </a:lnTo>
                <a:lnTo>
                  <a:pt x="392" y="218"/>
                </a:lnTo>
                <a:lnTo>
                  <a:pt x="392" y="224"/>
                </a:lnTo>
                <a:lnTo>
                  <a:pt x="392" y="229"/>
                </a:lnTo>
                <a:close/>
                <a:moveTo>
                  <a:pt x="2054" y="679"/>
                </a:moveTo>
                <a:lnTo>
                  <a:pt x="2054" y="679"/>
                </a:lnTo>
                <a:lnTo>
                  <a:pt x="2054" y="680"/>
                </a:lnTo>
                <a:lnTo>
                  <a:pt x="2054" y="679"/>
                </a:lnTo>
                <a:lnTo>
                  <a:pt x="2054" y="679"/>
                </a:lnTo>
                <a:lnTo>
                  <a:pt x="2054" y="677"/>
                </a:lnTo>
                <a:lnTo>
                  <a:pt x="2054" y="675"/>
                </a:lnTo>
                <a:lnTo>
                  <a:pt x="2055" y="673"/>
                </a:lnTo>
                <a:lnTo>
                  <a:pt x="2056" y="671"/>
                </a:lnTo>
                <a:lnTo>
                  <a:pt x="2056" y="669"/>
                </a:lnTo>
                <a:lnTo>
                  <a:pt x="2056" y="667"/>
                </a:lnTo>
                <a:lnTo>
                  <a:pt x="2056" y="660"/>
                </a:lnTo>
                <a:lnTo>
                  <a:pt x="2055" y="653"/>
                </a:lnTo>
                <a:lnTo>
                  <a:pt x="2056" y="649"/>
                </a:lnTo>
                <a:lnTo>
                  <a:pt x="2057" y="646"/>
                </a:lnTo>
                <a:lnTo>
                  <a:pt x="2058" y="643"/>
                </a:lnTo>
                <a:lnTo>
                  <a:pt x="2060" y="641"/>
                </a:lnTo>
                <a:lnTo>
                  <a:pt x="2065" y="635"/>
                </a:lnTo>
                <a:lnTo>
                  <a:pt x="2067" y="630"/>
                </a:lnTo>
                <a:lnTo>
                  <a:pt x="2067" y="624"/>
                </a:lnTo>
                <a:lnTo>
                  <a:pt x="2067" y="618"/>
                </a:lnTo>
                <a:lnTo>
                  <a:pt x="2065" y="608"/>
                </a:lnTo>
                <a:lnTo>
                  <a:pt x="2062" y="598"/>
                </a:lnTo>
                <a:lnTo>
                  <a:pt x="2060" y="587"/>
                </a:lnTo>
                <a:lnTo>
                  <a:pt x="2058" y="578"/>
                </a:lnTo>
                <a:lnTo>
                  <a:pt x="2056" y="570"/>
                </a:lnTo>
                <a:lnTo>
                  <a:pt x="2053" y="563"/>
                </a:lnTo>
                <a:lnTo>
                  <a:pt x="2047" y="556"/>
                </a:lnTo>
                <a:lnTo>
                  <a:pt x="2043" y="549"/>
                </a:lnTo>
                <a:lnTo>
                  <a:pt x="2039" y="542"/>
                </a:lnTo>
                <a:lnTo>
                  <a:pt x="2035" y="535"/>
                </a:lnTo>
                <a:lnTo>
                  <a:pt x="2031" y="528"/>
                </a:lnTo>
                <a:lnTo>
                  <a:pt x="2028" y="522"/>
                </a:lnTo>
                <a:lnTo>
                  <a:pt x="2024" y="517"/>
                </a:lnTo>
                <a:lnTo>
                  <a:pt x="2019" y="511"/>
                </a:lnTo>
                <a:lnTo>
                  <a:pt x="2009" y="502"/>
                </a:lnTo>
                <a:lnTo>
                  <a:pt x="1998" y="492"/>
                </a:lnTo>
                <a:lnTo>
                  <a:pt x="1993" y="488"/>
                </a:lnTo>
                <a:lnTo>
                  <a:pt x="1986" y="485"/>
                </a:lnTo>
                <a:lnTo>
                  <a:pt x="1980" y="481"/>
                </a:lnTo>
                <a:lnTo>
                  <a:pt x="1974" y="479"/>
                </a:lnTo>
                <a:lnTo>
                  <a:pt x="1970" y="480"/>
                </a:lnTo>
                <a:lnTo>
                  <a:pt x="1968" y="481"/>
                </a:lnTo>
                <a:lnTo>
                  <a:pt x="1965" y="481"/>
                </a:lnTo>
                <a:lnTo>
                  <a:pt x="1963" y="480"/>
                </a:lnTo>
                <a:lnTo>
                  <a:pt x="1965" y="481"/>
                </a:lnTo>
                <a:lnTo>
                  <a:pt x="1968" y="481"/>
                </a:lnTo>
                <a:lnTo>
                  <a:pt x="1970" y="480"/>
                </a:lnTo>
                <a:lnTo>
                  <a:pt x="1974" y="479"/>
                </a:lnTo>
                <a:lnTo>
                  <a:pt x="1974" y="479"/>
                </a:lnTo>
                <a:lnTo>
                  <a:pt x="1972" y="479"/>
                </a:lnTo>
                <a:lnTo>
                  <a:pt x="1972" y="478"/>
                </a:lnTo>
                <a:lnTo>
                  <a:pt x="1971" y="478"/>
                </a:lnTo>
                <a:lnTo>
                  <a:pt x="1971" y="478"/>
                </a:lnTo>
                <a:lnTo>
                  <a:pt x="1971" y="478"/>
                </a:lnTo>
                <a:lnTo>
                  <a:pt x="1970" y="476"/>
                </a:lnTo>
                <a:lnTo>
                  <a:pt x="1969" y="475"/>
                </a:lnTo>
                <a:lnTo>
                  <a:pt x="1967" y="474"/>
                </a:lnTo>
                <a:lnTo>
                  <a:pt x="1966" y="474"/>
                </a:lnTo>
                <a:lnTo>
                  <a:pt x="1960" y="472"/>
                </a:lnTo>
                <a:lnTo>
                  <a:pt x="1953" y="469"/>
                </a:lnTo>
                <a:lnTo>
                  <a:pt x="1943" y="462"/>
                </a:lnTo>
                <a:lnTo>
                  <a:pt x="1931" y="456"/>
                </a:lnTo>
                <a:lnTo>
                  <a:pt x="1919" y="450"/>
                </a:lnTo>
                <a:lnTo>
                  <a:pt x="1906" y="446"/>
                </a:lnTo>
                <a:lnTo>
                  <a:pt x="1890" y="441"/>
                </a:lnTo>
                <a:lnTo>
                  <a:pt x="1874" y="436"/>
                </a:lnTo>
                <a:lnTo>
                  <a:pt x="1857" y="433"/>
                </a:lnTo>
                <a:lnTo>
                  <a:pt x="1841" y="431"/>
                </a:lnTo>
                <a:lnTo>
                  <a:pt x="1839" y="429"/>
                </a:lnTo>
                <a:lnTo>
                  <a:pt x="1835" y="427"/>
                </a:lnTo>
                <a:lnTo>
                  <a:pt x="1833" y="427"/>
                </a:lnTo>
                <a:lnTo>
                  <a:pt x="1830" y="427"/>
                </a:lnTo>
                <a:lnTo>
                  <a:pt x="1822" y="426"/>
                </a:lnTo>
                <a:lnTo>
                  <a:pt x="1813" y="424"/>
                </a:lnTo>
                <a:lnTo>
                  <a:pt x="1804" y="421"/>
                </a:lnTo>
                <a:lnTo>
                  <a:pt x="1797" y="417"/>
                </a:lnTo>
                <a:lnTo>
                  <a:pt x="1785" y="409"/>
                </a:lnTo>
                <a:lnTo>
                  <a:pt x="1773" y="402"/>
                </a:lnTo>
                <a:lnTo>
                  <a:pt x="1769" y="399"/>
                </a:lnTo>
                <a:lnTo>
                  <a:pt x="1766" y="397"/>
                </a:lnTo>
                <a:lnTo>
                  <a:pt x="1761" y="393"/>
                </a:lnTo>
                <a:lnTo>
                  <a:pt x="1755" y="388"/>
                </a:lnTo>
                <a:lnTo>
                  <a:pt x="1751" y="385"/>
                </a:lnTo>
                <a:lnTo>
                  <a:pt x="1744" y="383"/>
                </a:lnTo>
                <a:lnTo>
                  <a:pt x="1743" y="383"/>
                </a:lnTo>
                <a:lnTo>
                  <a:pt x="1741" y="382"/>
                </a:lnTo>
                <a:lnTo>
                  <a:pt x="1741" y="381"/>
                </a:lnTo>
                <a:lnTo>
                  <a:pt x="1740" y="380"/>
                </a:lnTo>
                <a:lnTo>
                  <a:pt x="1739" y="379"/>
                </a:lnTo>
                <a:lnTo>
                  <a:pt x="1738" y="379"/>
                </a:lnTo>
                <a:lnTo>
                  <a:pt x="1734" y="375"/>
                </a:lnTo>
                <a:lnTo>
                  <a:pt x="1728" y="372"/>
                </a:lnTo>
                <a:lnTo>
                  <a:pt x="1723" y="369"/>
                </a:lnTo>
                <a:lnTo>
                  <a:pt x="1718" y="367"/>
                </a:lnTo>
                <a:lnTo>
                  <a:pt x="1716" y="364"/>
                </a:lnTo>
                <a:lnTo>
                  <a:pt x="1712" y="364"/>
                </a:lnTo>
                <a:lnTo>
                  <a:pt x="1702" y="363"/>
                </a:lnTo>
                <a:lnTo>
                  <a:pt x="1692" y="361"/>
                </a:lnTo>
                <a:lnTo>
                  <a:pt x="1681" y="358"/>
                </a:lnTo>
                <a:lnTo>
                  <a:pt x="1672" y="356"/>
                </a:lnTo>
                <a:lnTo>
                  <a:pt x="1668" y="356"/>
                </a:lnTo>
                <a:lnTo>
                  <a:pt x="1665" y="355"/>
                </a:lnTo>
                <a:lnTo>
                  <a:pt x="1663" y="356"/>
                </a:lnTo>
                <a:lnTo>
                  <a:pt x="1662" y="358"/>
                </a:lnTo>
                <a:lnTo>
                  <a:pt x="1662" y="359"/>
                </a:lnTo>
                <a:lnTo>
                  <a:pt x="1662" y="361"/>
                </a:lnTo>
                <a:lnTo>
                  <a:pt x="1663" y="362"/>
                </a:lnTo>
                <a:lnTo>
                  <a:pt x="1664" y="362"/>
                </a:lnTo>
                <a:lnTo>
                  <a:pt x="1667" y="362"/>
                </a:lnTo>
                <a:lnTo>
                  <a:pt x="1670" y="363"/>
                </a:lnTo>
                <a:lnTo>
                  <a:pt x="1679" y="369"/>
                </a:lnTo>
                <a:lnTo>
                  <a:pt x="1688" y="375"/>
                </a:lnTo>
                <a:lnTo>
                  <a:pt x="1702" y="383"/>
                </a:lnTo>
                <a:lnTo>
                  <a:pt x="1717" y="388"/>
                </a:lnTo>
                <a:lnTo>
                  <a:pt x="1720" y="389"/>
                </a:lnTo>
                <a:lnTo>
                  <a:pt x="1723" y="390"/>
                </a:lnTo>
                <a:lnTo>
                  <a:pt x="1724" y="392"/>
                </a:lnTo>
                <a:lnTo>
                  <a:pt x="1725" y="393"/>
                </a:lnTo>
                <a:lnTo>
                  <a:pt x="1725" y="396"/>
                </a:lnTo>
                <a:lnTo>
                  <a:pt x="1724" y="398"/>
                </a:lnTo>
                <a:lnTo>
                  <a:pt x="1723" y="399"/>
                </a:lnTo>
                <a:lnTo>
                  <a:pt x="1722" y="399"/>
                </a:lnTo>
                <a:lnTo>
                  <a:pt x="1721" y="399"/>
                </a:lnTo>
                <a:lnTo>
                  <a:pt x="1720" y="399"/>
                </a:lnTo>
                <a:lnTo>
                  <a:pt x="1714" y="400"/>
                </a:lnTo>
                <a:lnTo>
                  <a:pt x="1710" y="400"/>
                </a:lnTo>
                <a:lnTo>
                  <a:pt x="1709" y="398"/>
                </a:lnTo>
                <a:lnTo>
                  <a:pt x="1708" y="396"/>
                </a:lnTo>
                <a:lnTo>
                  <a:pt x="1707" y="395"/>
                </a:lnTo>
                <a:lnTo>
                  <a:pt x="1706" y="395"/>
                </a:lnTo>
                <a:lnTo>
                  <a:pt x="1703" y="395"/>
                </a:lnTo>
                <a:lnTo>
                  <a:pt x="1699" y="396"/>
                </a:lnTo>
                <a:lnTo>
                  <a:pt x="1689" y="398"/>
                </a:lnTo>
                <a:lnTo>
                  <a:pt x="1678" y="400"/>
                </a:lnTo>
                <a:lnTo>
                  <a:pt x="1675" y="401"/>
                </a:lnTo>
                <a:lnTo>
                  <a:pt x="1674" y="403"/>
                </a:lnTo>
                <a:lnTo>
                  <a:pt x="1668" y="404"/>
                </a:lnTo>
                <a:lnTo>
                  <a:pt x="1662" y="405"/>
                </a:lnTo>
                <a:lnTo>
                  <a:pt x="1652" y="411"/>
                </a:lnTo>
                <a:lnTo>
                  <a:pt x="1643" y="415"/>
                </a:lnTo>
                <a:lnTo>
                  <a:pt x="1633" y="421"/>
                </a:lnTo>
                <a:lnTo>
                  <a:pt x="1623" y="427"/>
                </a:lnTo>
                <a:lnTo>
                  <a:pt x="1606" y="441"/>
                </a:lnTo>
                <a:lnTo>
                  <a:pt x="1589" y="455"/>
                </a:lnTo>
                <a:lnTo>
                  <a:pt x="1585" y="456"/>
                </a:lnTo>
                <a:lnTo>
                  <a:pt x="1581" y="457"/>
                </a:lnTo>
                <a:lnTo>
                  <a:pt x="1575" y="459"/>
                </a:lnTo>
                <a:lnTo>
                  <a:pt x="1572" y="461"/>
                </a:lnTo>
                <a:lnTo>
                  <a:pt x="1564" y="466"/>
                </a:lnTo>
                <a:lnTo>
                  <a:pt x="1557" y="473"/>
                </a:lnTo>
                <a:lnTo>
                  <a:pt x="1555" y="475"/>
                </a:lnTo>
                <a:lnTo>
                  <a:pt x="1556" y="477"/>
                </a:lnTo>
                <a:lnTo>
                  <a:pt x="1557" y="479"/>
                </a:lnTo>
                <a:lnTo>
                  <a:pt x="1557" y="481"/>
                </a:lnTo>
                <a:lnTo>
                  <a:pt x="1558" y="484"/>
                </a:lnTo>
                <a:lnTo>
                  <a:pt x="1557" y="486"/>
                </a:lnTo>
                <a:lnTo>
                  <a:pt x="1555" y="489"/>
                </a:lnTo>
                <a:lnTo>
                  <a:pt x="1553" y="492"/>
                </a:lnTo>
                <a:lnTo>
                  <a:pt x="1550" y="495"/>
                </a:lnTo>
                <a:lnTo>
                  <a:pt x="1549" y="499"/>
                </a:lnTo>
                <a:lnTo>
                  <a:pt x="1547" y="502"/>
                </a:lnTo>
                <a:lnTo>
                  <a:pt x="1546" y="506"/>
                </a:lnTo>
                <a:lnTo>
                  <a:pt x="1546" y="509"/>
                </a:lnTo>
                <a:lnTo>
                  <a:pt x="1546" y="515"/>
                </a:lnTo>
                <a:lnTo>
                  <a:pt x="1545" y="516"/>
                </a:lnTo>
                <a:lnTo>
                  <a:pt x="1545" y="518"/>
                </a:lnTo>
                <a:lnTo>
                  <a:pt x="1544" y="519"/>
                </a:lnTo>
                <a:lnTo>
                  <a:pt x="1542" y="519"/>
                </a:lnTo>
                <a:lnTo>
                  <a:pt x="1541" y="518"/>
                </a:lnTo>
                <a:lnTo>
                  <a:pt x="1540" y="517"/>
                </a:lnTo>
                <a:lnTo>
                  <a:pt x="1540" y="515"/>
                </a:lnTo>
                <a:lnTo>
                  <a:pt x="1540" y="512"/>
                </a:lnTo>
                <a:lnTo>
                  <a:pt x="1540" y="508"/>
                </a:lnTo>
                <a:lnTo>
                  <a:pt x="1541" y="504"/>
                </a:lnTo>
                <a:lnTo>
                  <a:pt x="1541" y="499"/>
                </a:lnTo>
                <a:lnTo>
                  <a:pt x="1541" y="493"/>
                </a:lnTo>
                <a:lnTo>
                  <a:pt x="1540" y="489"/>
                </a:lnTo>
                <a:lnTo>
                  <a:pt x="1537" y="484"/>
                </a:lnTo>
                <a:lnTo>
                  <a:pt x="1534" y="480"/>
                </a:lnTo>
                <a:lnTo>
                  <a:pt x="1531" y="477"/>
                </a:lnTo>
                <a:lnTo>
                  <a:pt x="1530" y="474"/>
                </a:lnTo>
                <a:lnTo>
                  <a:pt x="1529" y="471"/>
                </a:lnTo>
                <a:lnTo>
                  <a:pt x="1529" y="468"/>
                </a:lnTo>
                <a:lnTo>
                  <a:pt x="1529" y="463"/>
                </a:lnTo>
                <a:lnTo>
                  <a:pt x="1531" y="459"/>
                </a:lnTo>
                <a:lnTo>
                  <a:pt x="1532" y="455"/>
                </a:lnTo>
                <a:lnTo>
                  <a:pt x="1538" y="445"/>
                </a:lnTo>
                <a:lnTo>
                  <a:pt x="1544" y="436"/>
                </a:lnTo>
                <a:lnTo>
                  <a:pt x="1553" y="426"/>
                </a:lnTo>
                <a:lnTo>
                  <a:pt x="1562" y="415"/>
                </a:lnTo>
                <a:lnTo>
                  <a:pt x="1572" y="405"/>
                </a:lnTo>
                <a:lnTo>
                  <a:pt x="1583" y="396"/>
                </a:lnTo>
                <a:lnTo>
                  <a:pt x="1598" y="386"/>
                </a:lnTo>
                <a:lnTo>
                  <a:pt x="1614" y="377"/>
                </a:lnTo>
                <a:lnTo>
                  <a:pt x="1631" y="369"/>
                </a:lnTo>
                <a:lnTo>
                  <a:pt x="1649" y="362"/>
                </a:lnTo>
                <a:lnTo>
                  <a:pt x="1644" y="362"/>
                </a:lnTo>
                <a:lnTo>
                  <a:pt x="1640" y="362"/>
                </a:lnTo>
                <a:lnTo>
                  <a:pt x="1634" y="362"/>
                </a:lnTo>
                <a:lnTo>
                  <a:pt x="1630" y="363"/>
                </a:lnTo>
                <a:lnTo>
                  <a:pt x="1617" y="368"/>
                </a:lnTo>
                <a:lnTo>
                  <a:pt x="1604" y="374"/>
                </a:lnTo>
                <a:lnTo>
                  <a:pt x="1591" y="381"/>
                </a:lnTo>
                <a:lnTo>
                  <a:pt x="1581" y="389"/>
                </a:lnTo>
                <a:lnTo>
                  <a:pt x="1575" y="393"/>
                </a:lnTo>
                <a:lnTo>
                  <a:pt x="1569" y="395"/>
                </a:lnTo>
                <a:lnTo>
                  <a:pt x="1564" y="395"/>
                </a:lnTo>
                <a:lnTo>
                  <a:pt x="1557" y="394"/>
                </a:lnTo>
                <a:lnTo>
                  <a:pt x="1551" y="392"/>
                </a:lnTo>
                <a:lnTo>
                  <a:pt x="1544" y="390"/>
                </a:lnTo>
                <a:lnTo>
                  <a:pt x="1530" y="388"/>
                </a:lnTo>
                <a:lnTo>
                  <a:pt x="1516" y="385"/>
                </a:lnTo>
                <a:lnTo>
                  <a:pt x="1502" y="382"/>
                </a:lnTo>
                <a:lnTo>
                  <a:pt x="1489" y="380"/>
                </a:lnTo>
                <a:lnTo>
                  <a:pt x="1474" y="378"/>
                </a:lnTo>
                <a:lnTo>
                  <a:pt x="1460" y="377"/>
                </a:lnTo>
                <a:lnTo>
                  <a:pt x="1446" y="374"/>
                </a:lnTo>
                <a:lnTo>
                  <a:pt x="1432" y="373"/>
                </a:lnTo>
                <a:lnTo>
                  <a:pt x="1420" y="373"/>
                </a:lnTo>
                <a:lnTo>
                  <a:pt x="1407" y="375"/>
                </a:lnTo>
                <a:lnTo>
                  <a:pt x="1396" y="378"/>
                </a:lnTo>
                <a:lnTo>
                  <a:pt x="1385" y="380"/>
                </a:lnTo>
                <a:lnTo>
                  <a:pt x="1383" y="380"/>
                </a:lnTo>
                <a:lnTo>
                  <a:pt x="1380" y="381"/>
                </a:lnTo>
                <a:lnTo>
                  <a:pt x="1378" y="382"/>
                </a:lnTo>
                <a:lnTo>
                  <a:pt x="1377" y="384"/>
                </a:lnTo>
                <a:lnTo>
                  <a:pt x="1370" y="385"/>
                </a:lnTo>
                <a:lnTo>
                  <a:pt x="1361" y="387"/>
                </a:lnTo>
                <a:lnTo>
                  <a:pt x="1347" y="392"/>
                </a:lnTo>
                <a:lnTo>
                  <a:pt x="1333" y="395"/>
                </a:lnTo>
                <a:lnTo>
                  <a:pt x="1327" y="395"/>
                </a:lnTo>
                <a:lnTo>
                  <a:pt x="1320" y="396"/>
                </a:lnTo>
                <a:lnTo>
                  <a:pt x="1314" y="398"/>
                </a:lnTo>
                <a:lnTo>
                  <a:pt x="1309" y="401"/>
                </a:lnTo>
                <a:lnTo>
                  <a:pt x="1304" y="403"/>
                </a:lnTo>
                <a:lnTo>
                  <a:pt x="1298" y="405"/>
                </a:lnTo>
                <a:lnTo>
                  <a:pt x="1293" y="405"/>
                </a:lnTo>
                <a:lnTo>
                  <a:pt x="1288" y="404"/>
                </a:lnTo>
                <a:lnTo>
                  <a:pt x="1284" y="401"/>
                </a:lnTo>
                <a:lnTo>
                  <a:pt x="1279" y="400"/>
                </a:lnTo>
                <a:lnTo>
                  <a:pt x="1272" y="400"/>
                </a:lnTo>
                <a:lnTo>
                  <a:pt x="1267" y="400"/>
                </a:lnTo>
                <a:lnTo>
                  <a:pt x="1261" y="401"/>
                </a:lnTo>
                <a:lnTo>
                  <a:pt x="1255" y="403"/>
                </a:lnTo>
                <a:lnTo>
                  <a:pt x="1251" y="405"/>
                </a:lnTo>
                <a:lnTo>
                  <a:pt x="1247" y="409"/>
                </a:lnTo>
                <a:lnTo>
                  <a:pt x="1238" y="412"/>
                </a:lnTo>
                <a:lnTo>
                  <a:pt x="1231" y="415"/>
                </a:lnTo>
                <a:lnTo>
                  <a:pt x="1223" y="419"/>
                </a:lnTo>
                <a:lnTo>
                  <a:pt x="1217" y="424"/>
                </a:lnTo>
                <a:lnTo>
                  <a:pt x="1203" y="434"/>
                </a:lnTo>
                <a:lnTo>
                  <a:pt x="1190" y="446"/>
                </a:lnTo>
                <a:lnTo>
                  <a:pt x="1185" y="449"/>
                </a:lnTo>
                <a:lnTo>
                  <a:pt x="1179" y="451"/>
                </a:lnTo>
                <a:lnTo>
                  <a:pt x="1173" y="454"/>
                </a:lnTo>
                <a:lnTo>
                  <a:pt x="1167" y="454"/>
                </a:lnTo>
                <a:lnTo>
                  <a:pt x="1155" y="453"/>
                </a:lnTo>
                <a:lnTo>
                  <a:pt x="1143" y="451"/>
                </a:lnTo>
                <a:lnTo>
                  <a:pt x="1132" y="449"/>
                </a:lnTo>
                <a:lnTo>
                  <a:pt x="1121" y="447"/>
                </a:lnTo>
                <a:lnTo>
                  <a:pt x="1111" y="446"/>
                </a:lnTo>
                <a:lnTo>
                  <a:pt x="1101" y="446"/>
                </a:lnTo>
                <a:lnTo>
                  <a:pt x="1091" y="448"/>
                </a:lnTo>
                <a:lnTo>
                  <a:pt x="1082" y="450"/>
                </a:lnTo>
                <a:lnTo>
                  <a:pt x="1072" y="454"/>
                </a:lnTo>
                <a:lnTo>
                  <a:pt x="1064" y="458"/>
                </a:lnTo>
                <a:lnTo>
                  <a:pt x="1055" y="462"/>
                </a:lnTo>
                <a:lnTo>
                  <a:pt x="1046" y="468"/>
                </a:lnTo>
                <a:lnTo>
                  <a:pt x="1042" y="471"/>
                </a:lnTo>
                <a:lnTo>
                  <a:pt x="1038" y="473"/>
                </a:lnTo>
                <a:lnTo>
                  <a:pt x="1034" y="474"/>
                </a:lnTo>
                <a:lnTo>
                  <a:pt x="1029" y="474"/>
                </a:lnTo>
                <a:lnTo>
                  <a:pt x="1025" y="474"/>
                </a:lnTo>
                <a:lnTo>
                  <a:pt x="1021" y="473"/>
                </a:lnTo>
                <a:lnTo>
                  <a:pt x="1016" y="472"/>
                </a:lnTo>
                <a:lnTo>
                  <a:pt x="1012" y="470"/>
                </a:lnTo>
                <a:lnTo>
                  <a:pt x="998" y="463"/>
                </a:lnTo>
                <a:lnTo>
                  <a:pt x="983" y="457"/>
                </a:lnTo>
                <a:lnTo>
                  <a:pt x="968" y="451"/>
                </a:lnTo>
                <a:lnTo>
                  <a:pt x="953" y="448"/>
                </a:lnTo>
                <a:lnTo>
                  <a:pt x="941" y="447"/>
                </a:lnTo>
                <a:lnTo>
                  <a:pt x="930" y="446"/>
                </a:lnTo>
                <a:lnTo>
                  <a:pt x="918" y="446"/>
                </a:lnTo>
                <a:lnTo>
                  <a:pt x="906" y="446"/>
                </a:lnTo>
                <a:lnTo>
                  <a:pt x="894" y="448"/>
                </a:lnTo>
                <a:lnTo>
                  <a:pt x="883" y="450"/>
                </a:lnTo>
                <a:lnTo>
                  <a:pt x="871" y="454"/>
                </a:lnTo>
                <a:lnTo>
                  <a:pt x="859" y="458"/>
                </a:lnTo>
                <a:lnTo>
                  <a:pt x="849" y="463"/>
                </a:lnTo>
                <a:lnTo>
                  <a:pt x="839" y="469"/>
                </a:lnTo>
                <a:lnTo>
                  <a:pt x="834" y="472"/>
                </a:lnTo>
                <a:lnTo>
                  <a:pt x="830" y="476"/>
                </a:lnTo>
                <a:lnTo>
                  <a:pt x="826" y="479"/>
                </a:lnTo>
                <a:lnTo>
                  <a:pt x="823" y="485"/>
                </a:lnTo>
                <a:lnTo>
                  <a:pt x="822" y="485"/>
                </a:lnTo>
                <a:lnTo>
                  <a:pt x="822" y="485"/>
                </a:lnTo>
                <a:lnTo>
                  <a:pt x="821" y="486"/>
                </a:lnTo>
                <a:lnTo>
                  <a:pt x="819" y="486"/>
                </a:lnTo>
                <a:lnTo>
                  <a:pt x="814" y="490"/>
                </a:lnTo>
                <a:lnTo>
                  <a:pt x="810" y="494"/>
                </a:lnTo>
                <a:lnTo>
                  <a:pt x="808" y="497"/>
                </a:lnTo>
                <a:lnTo>
                  <a:pt x="806" y="500"/>
                </a:lnTo>
                <a:lnTo>
                  <a:pt x="803" y="503"/>
                </a:lnTo>
                <a:lnTo>
                  <a:pt x="803" y="506"/>
                </a:lnTo>
                <a:lnTo>
                  <a:pt x="802" y="508"/>
                </a:lnTo>
                <a:lnTo>
                  <a:pt x="802" y="509"/>
                </a:lnTo>
                <a:lnTo>
                  <a:pt x="802" y="510"/>
                </a:lnTo>
                <a:lnTo>
                  <a:pt x="803" y="511"/>
                </a:lnTo>
                <a:lnTo>
                  <a:pt x="806" y="514"/>
                </a:lnTo>
                <a:lnTo>
                  <a:pt x="807" y="515"/>
                </a:lnTo>
                <a:lnTo>
                  <a:pt x="807" y="517"/>
                </a:lnTo>
                <a:lnTo>
                  <a:pt x="807" y="519"/>
                </a:lnTo>
                <a:lnTo>
                  <a:pt x="806" y="521"/>
                </a:lnTo>
                <a:lnTo>
                  <a:pt x="803" y="522"/>
                </a:lnTo>
                <a:lnTo>
                  <a:pt x="801" y="522"/>
                </a:lnTo>
                <a:lnTo>
                  <a:pt x="799" y="522"/>
                </a:lnTo>
                <a:lnTo>
                  <a:pt x="795" y="522"/>
                </a:lnTo>
                <a:lnTo>
                  <a:pt x="792" y="522"/>
                </a:lnTo>
                <a:lnTo>
                  <a:pt x="788" y="523"/>
                </a:lnTo>
                <a:lnTo>
                  <a:pt x="785" y="525"/>
                </a:lnTo>
                <a:lnTo>
                  <a:pt x="781" y="527"/>
                </a:lnTo>
                <a:lnTo>
                  <a:pt x="777" y="527"/>
                </a:lnTo>
                <a:lnTo>
                  <a:pt x="772" y="527"/>
                </a:lnTo>
                <a:lnTo>
                  <a:pt x="768" y="525"/>
                </a:lnTo>
                <a:lnTo>
                  <a:pt x="763" y="522"/>
                </a:lnTo>
                <a:lnTo>
                  <a:pt x="756" y="520"/>
                </a:lnTo>
                <a:lnTo>
                  <a:pt x="752" y="519"/>
                </a:lnTo>
                <a:lnTo>
                  <a:pt x="749" y="517"/>
                </a:lnTo>
                <a:lnTo>
                  <a:pt x="747" y="516"/>
                </a:lnTo>
                <a:lnTo>
                  <a:pt x="746" y="514"/>
                </a:lnTo>
                <a:lnTo>
                  <a:pt x="746" y="511"/>
                </a:lnTo>
                <a:lnTo>
                  <a:pt x="747" y="508"/>
                </a:lnTo>
                <a:lnTo>
                  <a:pt x="748" y="505"/>
                </a:lnTo>
                <a:lnTo>
                  <a:pt x="751" y="502"/>
                </a:lnTo>
                <a:lnTo>
                  <a:pt x="751" y="502"/>
                </a:lnTo>
                <a:lnTo>
                  <a:pt x="751" y="501"/>
                </a:lnTo>
                <a:lnTo>
                  <a:pt x="749" y="501"/>
                </a:lnTo>
                <a:lnTo>
                  <a:pt x="748" y="500"/>
                </a:lnTo>
                <a:lnTo>
                  <a:pt x="749" y="501"/>
                </a:lnTo>
                <a:lnTo>
                  <a:pt x="751" y="501"/>
                </a:lnTo>
                <a:lnTo>
                  <a:pt x="752" y="501"/>
                </a:lnTo>
                <a:lnTo>
                  <a:pt x="754" y="501"/>
                </a:lnTo>
                <a:lnTo>
                  <a:pt x="757" y="501"/>
                </a:lnTo>
                <a:lnTo>
                  <a:pt x="761" y="501"/>
                </a:lnTo>
                <a:lnTo>
                  <a:pt x="764" y="499"/>
                </a:lnTo>
                <a:lnTo>
                  <a:pt x="767" y="496"/>
                </a:lnTo>
                <a:lnTo>
                  <a:pt x="770" y="494"/>
                </a:lnTo>
                <a:lnTo>
                  <a:pt x="774" y="491"/>
                </a:lnTo>
                <a:lnTo>
                  <a:pt x="779" y="489"/>
                </a:lnTo>
                <a:lnTo>
                  <a:pt x="783" y="488"/>
                </a:lnTo>
                <a:lnTo>
                  <a:pt x="787" y="487"/>
                </a:lnTo>
                <a:lnTo>
                  <a:pt x="788" y="485"/>
                </a:lnTo>
                <a:lnTo>
                  <a:pt x="789" y="484"/>
                </a:lnTo>
                <a:lnTo>
                  <a:pt x="788" y="482"/>
                </a:lnTo>
                <a:lnTo>
                  <a:pt x="788" y="480"/>
                </a:lnTo>
                <a:lnTo>
                  <a:pt x="786" y="479"/>
                </a:lnTo>
                <a:lnTo>
                  <a:pt x="779" y="473"/>
                </a:lnTo>
                <a:lnTo>
                  <a:pt x="770" y="469"/>
                </a:lnTo>
                <a:lnTo>
                  <a:pt x="765" y="466"/>
                </a:lnTo>
                <a:lnTo>
                  <a:pt x="761" y="464"/>
                </a:lnTo>
                <a:lnTo>
                  <a:pt x="755" y="464"/>
                </a:lnTo>
                <a:lnTo>
                  <a:pt x="751" y="463"/>
                </a:lnTo>
                <a:lnTo>
                  <a:pt x="749" y="462"/>
                </a:lnTo>
                <a:lnTo>
                  <a:pt x="746" y="461"/>
                </a:lnTo>
                <a:lnTo>
                  <a:pt x="746" y="457"/>
                </a:lnTo>
                <a:lnTo>
                  <a:pt x="746" y="451"/>
                </a:lnTo>
                <a:lnTo>
                  <a:pt x="744" y="446"/>
                </a:lnTo>
                <a:lnTo>
                  <a:pt x="743" y="441"/>
                </a:lnTo>
                <a:lnTo>
                  <a:pt x="743" y="439"/>
                </a:lnTo>
                <a:lnTo>
                  <a:pt x="741" y="438"/>
                </a:lnTo>
                <a:lnTo>
                  <a:pt x="742" y="434"/>
                </a:lnTo>
                <a:lnTo>
                  <a:pt x="742" y="432"/>
                </a:lnTo>
                <a:lnTo>
                  <a:pt x="746" y="431"/>
                </a:lnTo>
                <a:lnTo>
                  <a:pt x="747" y="430"/>
                </a:lnTo>
                <a:lnTo>
                  <a:pt x="747" y="429"/>
                </a:lnTo>
                <a:lnTo>
                  <a:pt x="746" y="426"/>
                </a:lnTo>
                <a:lnTo>
                  <a:pt x="743" y="414"/>
                </a:lnTo>
                <a:lnTo>
                  <a:pt x="740" y="401"/>
                </a:lnTo>
                <a:lnTo>
                  <a:pt x="738" y="393"/>
                </a:lnTo>
                <a:lnTo>
                  <a:pt x="736" y="384"/>
                </a:lnTo>
                <a:lnTo>
                  <a:pt x="734" y="374"/>
                </a:lnTo>
                <a:lnTo>
                  <a:pt x="731" y="367"/>
                </a:lnTo>
                <a:lnTo>
                  <a:pt x="729" y="363"/>
                </a:lnTo>
                <a:lnTo>
                  <a:pt x="729" y="359"/>
                </a:lnTo>
                <a:lnTo>
                  <a:pt x="733" y="348"/>
                </a:lnTo>
                <a:lnTo>
                  <a:pt x="736" y="335"/>
                </a:lnTo>
                <a:lnTo>
                  <a:pt x="739" y="324"/>
                </a:lnTo>
                <a:lnTo>
                  <a:pt x="741" y="313"/>
                </a:lnTo>
                <a:lnTo>
                  <a:pt x="742" y="303"/>
                </a:lnTo>
                <a:lnTo>
                  <a:pt x="743" y="291"/>
                </a:lnTo>
                <a:lnTo>
                  <a:pt x="743" y="278"/>
                </a:lnTo>
                <a:lnTo>
                  <a:pt x="742" y="264"/>
                </a:lnTo>
                <a:lnTo>
                  <a:pt x="741" y="251"/>
                </a:lnTo>
                <a:lnTo>
                  <a:pt x="739" y="239"/>
                </a:lnTo>
                <a:lnTo>
                  <a:pt x="736" y="226"/>
                </a:lnTo>
                <a:lnTo>
                  <a:pt x="733" y="213"/>
                </a:lnTo>
                <a:lnTo>
                  <a:pt x="728" y="200"/>
                </a:lnTo>
                <a:lnTo>
                  <a:pt x="723" y="187"/>
                </a:lnTo>
                <a:lnTo>
                  <a:pt x="721" y="183"/>
                </a:lnTo>
                <a:lnTo>
                  <a:pt x="721" y="178"/>
                </a:lnTo>
                <a:lnTo>
                  <a:pt x="721" y="173"/>
                </a:lnTo>
                <a:lnTo>
                  <a:pt x="721" y="168"/>
                </a:lnTo>
                <a:lnTo>
                  <a:pt x="723" y="159"/>
                </a:lnTo>
                <a:lnTo>
                  <a:pt x="724" y="150"/>
                </a:lnTo>
                <a:lnTo>
                  <a:pt x="725" y="142"/>
                </a:lnTo>
                <a:lnTo>
                  <a:pt x="724" y="134"/>
                </a:lnTo>
                <a:lnTo>
                  <a:pt x="724" y="129"/>
                </a:lnTo>
                <a:lnTo>
                  <a:pt x="722" y="126"/>
                </a:lnTo>
                <a:lnTo>
                  <a:pt x="721" y="122"/>
                </a:lnTo>
                <a:lnTo>
                  <a:pt x="719" y="120"/>
                </a:lnTo>
                <a:lnTo>
                  <a:pt x="719" y="119"/>
                </a:lnTo>
                <a:lnTo>
                  <a:pt x="719" y="118"/>
                </a:lnTo>
                <a:lnTo>
                  <a:pt x="719" y="117"/>
                </a:lnTo>
                <a:lnTo>
                  <a:pt x="718" y="115"/>
                </a:lnTo>
                <a:lnTo>
                  <a:pt x="717" y="114"/>
                </a:lnTo>
                <a:lnTo>
                  <a:pt x="716" y="114"/>
                </a:lnTo>
                <a:lnTo>
                  <a:pt x="712" y="108"/>
                </a:lnTo>
                <a:lnTo>
                  <a:pt x="709" y="102"/>
                </a:lnTo>
                <a:lnTo>
                  <a:pt x="707" y="95"/>
                </a:lnTo>
                <a:lnTo>
                  <a:pt x="705" y="89"/>
                </a:lnTo>
                <a:lnTo>
                  <a:pt x="704" y="81"/>
                </a:lnTo>
                <a:lnTo>
                  <a:pt x="700" y="76"/>
                </a:lnTo>
                <a:lnTo>
                  <a:pt x="695" y="69"/>
                </a:lnTo>
                <a:lnTo>
                  <a:pt x="691" y="64"/>
                </a:lnTo>
                <a:lnTo>
                  <a:pt x="690" y="63"/>
                </a:lnTo>
                <a:lnTo>
                  <a:pt x="690" y="62"/>
                </a:lnTo>
                <a:lnTo>
                  <a:pt x="688" y="64"/>
                </a:lnTo>
                <a:lnTo>
                  <a:pt x="686" y="64"/>
                </a:lnTo>
                <a:lnTo>
                  <a:pt x="685" y="64"/>
                </a:lnTo>
                <a:lnTo>
                  <a:pt x="682" y="64"/>
                </a:lnTo>
                <a:lnTo>
                  <a:pt x="679" y="62"/>
                </a:lnTo>
                <a:lnTo>
                  <a:pt x="676" y="61"/>
                </a:lnTo>
                <a:lnTo>
                  <a:pt x="672" y="60"/>
                </a:lnTo>
                <a:lnTo>
                  <a:pt x="668" y="59"/>
                </a:lnTo>
                <a:lnTo>
                  <a:pt x="660" y="54"/>
                </a:lnTo>
                <a:lnTo>
                  <a:pt x="652" y="50"/>
                </a:lnTo>
                <a:lnTo>
                  <a:pt x="650" y="51"/>
                </a:lnTo>
                <a:lnTo>
                  <a:pt x="647" y="51"/>
                </a:lnTo>
                <a:lnTo>
                  <a:pt x="650" y="51"/>
                </a:lnTo>
                <a:lnTo>
                  <a:pt x="652" y="50"/>
                </a:lnTo>
                <a:lnTo>
                  <a:pt x="646" y="46"/>
                </a:lnTo>
                <a:lnTo>
                  <a:pt x="640" y="41"/>
                </a:lnTo>
                <a:lnTo>
                  <a:pt x="635" y="36"/>
                </a:lnTo>
                <a:lnTo>
                  <a:pt x="631" y="33"/>
                </a:lnTo>
                <a:lnTo>
                  <a:pt x="626" y="31"/>
                </a:lnTo>
                <a:lnTo>
                  <a:pt x="619" y="30"/>
                </a:lnTo>
                <a:lnTo>
                  <a:pt x="612" y="29"/>
                </a:lnTo>
                <a:lnTo>
                  <a:pt x="603" y="28"/>
                </a:lnTo>
                <a:lnTo>
                  <a:pt x="600" y="28"/>
                </a:lnTo>
                <a:lnTo>
                  <a:pt x="596" y="27"/>
                </a:lnTo>
                <a:lnTo>
                  <a:pt x="592" y="25"/>
                </a:lnTo>
                <a:lnTo>
                  <a:pt x="588" y="22"/>
                </a:lnTo>
                <a:lnTo>
                  <a:pt x="586" y="19"/>
                </a:lnTo>
                <a:lnTo>
                  <a:pt x="584" y="18"/>
                </a:lnTo>
                <a:lnTo>
                  <a:pt x="581" y="17"/>
                </a:lnTo>
                <a:lnTo>
                  <a:pt x="579" y="17"/>
                </a:lnTo>
                <a:lnTo>
                  <a:pt x="573" y="16"/>
                </a:lnTo>
                <a:lnTo>
                  <a:pt x="567" y="16"/>
                </a:lnTo>
                <a:lnTo>
                  <a:pt x="566" y="16"/>
                </a:lnTo>
                <a:lnTo>
                  <a:pt x="565" y="17"/>
                </a:lnTo>
                <a:lnTo>
                  <a:pt x="555" y="17"/>
                </a:lnTo>
                <a:lnTo>
                  <a:pt x="544" y="17"/>
                </a:lnTo>
                <a:lnTo>
                  <a:pt x="544" y="18"/>
                </a:lnTo>
                <a:lnTo>
                  <a:pt x="544" y="18"/>
                </a:lnTo>
                <a:lnTo>
                  <a:pt x="544" y="18"/>
                </a:lnTo>
                <a:lnTo>
                  <a:pt x="544" y="17"/>
                </a:lnTo>
                <a:lnTo>
                  <a:pt x="543" y="17"/>
                </a:lnTo>
                <a:lnTo>
                  <a:pt x="542" y="17"/>
                </a:lnTo>
                <a:lnTo>
                  <a:pt x="535" y="17"/>
                </a:lnTo>
                <a:lnTo>
                  <a:pt x="528" y="17"/>
                </a:lnTo>
                <a:lnTo>
                  <a:pt x="525" y="16"/>
                </a:lnTo>
                <a:lnTo>
                  <a:pt x="522" y="15"/>
                </a:lnTo>
                <a:lnTo>
                  <a:pt x="519" y="16"/>
                </a:lnTo>
                <a:lnTo>
                  <a:pt x="515" y="17"/>
                </a:lnTo>
                <a:lnTo>
                  <a:pt x="511" y="17"/>
                </a:lnTo>
                <a:lnTo>
                  <a:pt x="507" y="17"/>
                </a:lnTo>
                <a:lnTo>
                  <a:pt x="507" y="19"/>
                </a:lnTo>
                <a:lnTo>
                  <a:pt x="506" y="20"/>
                </a:lnTo>
                <a:lnTo>
                  <a:pt x="507" y="19"/>
                </a:lnTo>
                <a:lnTo>
                  <a:pt x="507" y="17"/>
                </a:lnTo>
                <a:lnTo>
                  <a:pt x="505" y="16"/>
                </a:lnTo>
                <a:lnTo>
                  <a:pt x="504" y="15"/>
                </a:lnTo>
                <a:lnTo>
                  <a:pt x="501" y="16"/>
                </a:lnTo>
                <a:lnTo>
                  <a:pt x="499" y="17"/>
                </a:lnTo>
                <a:lnTo>
                  <a:pt x="495" y="17"/>
                </a:lnTo>
                <a:lnTo>
                  <a:pt x="491" y="16"/>
                </a:lnTo>
                <a:lnTo>
                  <a:pt x="484" y="13"/>
                </a:lnTo>
                <a:lnTo>
                  <a:pt x="478" y="11"/>
                </a:lnTo>
                <a:lnTo>
                  <a:pt x="470" y="10"/>
                </a:lnTo>
                <a:lnTo>
                  <a:pt x="463" y="12"/>
                </a:lnTo>
                <a:lnTo>
                  <a:pt x="460" y="12"/>
                </a:lnTo>
                <a:lnTo>
                  <a:pt x="458" y="11"/>
                </a:lnTo>
                <a:lnTo>
                  <a:pt x="452" y="7"/>
                </a:lnTo>
                <a:lnTo>
                  <a:pt x="447" y="5"/>
                </a:lnTo>
                <a:lnTo>
                  <a:pt x="446" y="5"/>
                </a:lnTo>
                <a:lnTo>
                  <a:pt x="445" y="5"/>
                </a:lnTo>
                <a:lnTo>
                  <a:pt x="444" y="6"/>
                </a:lnTo>
                <a:lnTo>
                  <a:pt x="444" y="8"/>
                </a:lnTo>
                <a:lnTo>
                  <a:pt x="444" y="11"/>
                </a:lnTo>
                <a:lnTo>
                  <a:pt x="444" y="12"/>
                </a:lnTo>
                <a:lnTo>
                  <a:pt x="443" y="13"/>
                </a:lnTo>
                <a:lnTo>
                  <a:pt x="440" y="13"/>
                </a:lnTo>
                <a:lnTo>
                  <a:pt x="438" y="13"/>
                </a:lnTo>
                <a:lnTo>
                  <a:pt x="437" y="12"/>
                </a:lnTo>
                <a:lnTo>
                  <a:pt x="436" y="10"/>
                </a:lnTo>
                <a:lnTo>
                  <a:pt x="436" y="7"/>
                </a:lnTo>
                <a:lnTo>
                  <a:pt x="436" y="6"/>
                </a:lnTo>
                <a:lnTo>
                  <a:pt x="436" y="4"/>
                </a:lnTo>
                <a:lnTo>
                  <a:pt x="435" y="2"/>
                </a:lnTo>
                <a:lnTo>
                  <a:pt x="434" y="0"/>
                </a:lnTo>
                <a:lnTo>
                  <a:pt x="432" y="2"/>
                </a:lnTo>
                <a:lnTo>
                  <a:pt x="431" y="3"/>
                </a:lnTo>
                <a:lnTo>
                  <a:pt x="430" y="5"/>
                </a:lnTo>
                <a:lnTo>
                  <a:pt x="431" y="7"/>
                </a:lnTo>
                <a:lnTo>
                  <a:pt x="427" y="13"/>
                </a:lnTo>
                <a:lnTo>
                  <a:pt x="424" y="18"/>
                </a:lnTo>
                <a:lnTo>
                  <a:pt x="421" y="18"/>
                </a:lnTo>
                <a:lnTo>
                  <a:pt x="417" y="19"/>
                </a:lnTo>
                <a:lnTo>
                  <a:pt x="419" y="16"/>
                </a:lnTo>
                <a:lnTo>
                  <a:pt x="419" y="14"/>
                </a:lnTo>
                <a:lnTo>
                  <a:pt x="416" y="14"/>
                </a:lnTo>
                <a:lnTo>
                  <a:pt x="412" y="14"/>
                </a:lnTo>
                <a:lnTo>
                  <a:pt x="416" y="14"/>
                </a:lnTo>
                <a:lnTo>
                  <a:pt x="419" y="14"/>
                </a:lnTo>
                <a:lnTo>
                  <a:pt x="420" y="11"/>
                </a:lnTo>
                <a:lnTo>
                  <a:pt x="420" y="10"/>
                </a:lnTo>
                <a:lnTo>
                  <a:pt x="418" y="8"/>
                </a:lnTo>
                <a:lnTo>
                  <a:pt x="413" y="8"/>
                </a:lnTo>
                <a:lnTo>
                  <a:pt x="409" y="7"/>
                </a:lnTo>
                <a:lnTo>
                  <a:pt x="406" y="8"/>
                </a:lnTo>
                <a:lnTo>
                  <a:pt x="404" y="10"/>
                </a:lnTo>
                <a:lnTo>
                  <a:pt x="401" y="11"/>
                </a:lnTo>
                <a:lnTo>
                  <a:pt x="398" y="16"/>
                </a:lnTo>
                <a:lnTo>
                  <a:pt x="393" y="20"/>
                </a:lnTo>
                <a:lnTo>
                  <a:pt x="391" y="20"/>
                </a:lnTo>
                <a:lnTo>
                  <a:pt x="388" y="20"/>
                </a:lnTo>
                <a:lnTo>
                  <a:pt x="386" y="22"/>
                </a:lnTo>
                <a:lnTo>
                  <a:pt x="385" y="26"/>
                </a:lnTo>
                <a:lnTo>
                  <a:pt x="384" y="29"/>
                </a:lnTo>
                <a:lnTo>
                  <a:pt x="382" y="32"/>
                </a:lnTo>
                <a:lnTo>
                  <a:pt x="374" y="46"/>
                </a:lnTo>
                <a:lnTo>
                  <a:pt x="368" y="61"/>
                </a:lnTo>
                <a:lnTo>
                  <a:pt x="364" y="76"/>
                </a:lnTo>
                <a:lnTo>
                  <a:pt x="361" y="91"/>
                </a:lnTo>
                <a:lnTo>
                  <a:pt x="359" y="95"/>
                </a:lnTo>
                <a:lnTo>
                  <a:pt x="359" y="99"/>
                </a:lnTo>
                <a:lnTo>
                  <a:pt x="359" y="104"/>
                </a:lnTo>
                <a:lnTo>
                  <a:pt x="360" y="108"/>
                </a:lnTo>
                <a:lnTo>
                  <a:pt x="362" y="117"/>
                </a:lnTo>
                <a:lnTo>
                  <a:pt x="364" y="125"/>
                </a:lnTo>
                <a:lnTo>
                  <a:pt x="367" y="128"/>
                </a:lnTo>
                <a:lnTo>
                  <a:pt x="370" y="132"/>
                </a:lnTo>
                <a:lnTo>
                  <a:pt x="373" y="133"/>
                </a:lnTo>
                <a:lnTo>
                  <a:pt x="375" y="135"/>
                </a:lnTo>
                <a:lnTo>
                  <a:pt x="376" y="137"/>
                </a:lnTo>
                <a:lnTo>
                  <a:pt x="376" y="139"/>
                </a:lnTo>
                <a:lnTo>
                  <a:pt x="375" y="143"/>
                </a:lnTo>
                <a:lnTo>
                  <a:pt x="373" y="148"/>
                </a:lnTo>
                <a:lnTo>
                  <a:pt x="369" y="156"/>
                </a:lnTo>
                <a:lnTo>
                  <a:pt x="365" y="164"/>
                </a:lnTo>
                <a:lnTo>
                  <a:pt x="363" y="172"/>
                </a:lnTo>
                <a:lnTo>
                  <a:pt x="361" y="181"/>
                </a:lnTo>
                <a:lnTo>
                  <a:pt x="358" y="197"/>
                </a:lnTo>
                <a:lnTo>
                  <a:pt x="357" y="214"/>
                </a:lnTo>
                <a:lnTo>
                  <a:pt x="357" y="230"/>
                </a:lnTo>
                <a:lnTo>
                  <a:pt x="357" y="246"/>
                </a:lnTo>
                <a:lnTo>
                  <a:pt x="357" y="252"/>
                </a:lnTo>
                <a:lnTo>
                  <a:pt x="359" y="257"/>
                </a:lnTo>
                <a:lnTo>
                  <a:pt x="363" y="258"/>
                </a:lnTo>
                <a:lnTo>
                  <a:pt x="369" y="257"/>
                </a:lnTo>
                <a:lnTo>
                  <a:pt x="371" y="256"/>
                </a:lnTo>
                <a:lnTo>
                  <a:pt x="373" y="256"/>
                </a:lnTo>
                <a:lnTo>
                  <a:pt x="375" y="257"/>
                </a:lnTo>
                <a:lnTo>
                  <a:pt x="376" y="258"/>
                </a:lnTo>
                <a:lnTo>
                  <a:pt x="378" y="260"/>
                </a:lnTo>
                <a:lnTo>
                  <a:pt x="377" y="261"/>
                </a:lnTo>
                <a:lnTo>
                  <a:pt x="376" y="262"/>
                </a:lnTo>
                <a:lnTo>
                  <a:pt x="375" y="264"/>
                </a:lnTo>
                <a:lnTo>
                  <a:pt x="375" y="266"/>
                </a:lnTo>
                <a:lnTo>
                  <a:pt x="376" y="267"/>
                </a:lnTo>
                <a:lnTo>
                  <a:pt x="377" y="267"/>
                </a:lnTo>
                <a:lnTo>
                  <a:pt x="379" y="267"/>
                </a:lnTo>
                <a:lnTo>
                  <a:pt x="378" y="271"/>
                </a:lnTo>
                <a:lnTo>
                  <a:pt x="377" y="275"/>
                </a:lnTo>
                <a:lnTo>
                  <a:pt x="382" y="283"/>
                </a:lnTo>
                <a:lnTo>
                  <a:pt x="384" y="293"/>
                </a:lnTo>
                <a:lnTo>
                  <a:pt x="386" y="303"/>
                </a:lnTo>
                <a:lnTo>
                  <a:pt x="390" y="311"/>
                </a:lnTo>
                <a:lnTo>
                  <a:pt x="392" y="314"/>
                </a:lnTo>
                <a:lnTo>
                  <a:pt x="394" y="319"/>
                </a:lnTo>
                <a:lnTo>
                  <a:pt x="394" y="323"/>
                </a:lnTo>
                <a:lnTo>
                  <a:pt x="394" y="327"/>
                </a:lnTo>
                <a:lnTo>
                  <a:pt x="393" y="329"/>
                </a:lnTo>
                <a:lnTo>
                  <a:pt x="393" y="332"/>
                </a:lnTo>
                <a:lnTo>
                  <a:pt x="394" y="333"/>
                </a:lnTo>
                <a:lnTo>
                  <a:pt x="395" y="334"/>
                </a:lnTo>
                <a:lnTo>
                  <a:pt x="399" y="334"/>
                </a:lnTo>
                <a:lnTo>
                  <a:pt x="402" y="335"/>
                </a:lnTo>
                <a:lnTo>
                  <a:pt x="403" y="336"/>
                </a:lnTo>
                <a:lnTo>
                  <a:pt x="405" y="337"/>
                </a:lnTo>
                <a:lnTo>
                  <a:pt x="406" y="341"/>
                </a:lnTo>
                <a:lnTo>
                  <a:pt x="407" y="346"/>
                </a:lnTo>
                <a:lnTo>
                  <a:pt x="410" y="358"/>
                </a:lnTo>
                <a:lnTo>
                  <a:pt x="414" y="371"/>
                </a:lnTo>
                <a:lnTo>
                  <a:pt x="415" y="378"/>
                </a:lnTo>
                <a:lnTo>
                  <a:pt x="415" y="384"/>
                </a:lnTo>
                <a:lnTo>
                  <a:pt x="415" y="385"/>
                </a:lnTo>
                <a:lnTo>
                  <a:pt x="415" y="386"/>
                </a:lnTo>
                <a:lnTo>
                  <a:pt x="414" y="387"/>
                </a:lnTo>
                <a:lnTo>
                  <a:pt x="412" y="387"/>
                </a:lnTo>
                <a:lnTo>
                  <a:pt x="406" y="387"/>
                </a:lnTo>
                <a:lnTo>
                  <a:pt x="403" y="388"/>
                </a:lnTo>
                <a:lnTo>
                  <a:pt x="402" y="392"/>
                </a:lnTo>
                <a:lnTo>
                  <a:pt x="402" y="397"/>
                </a:lnTo>
                <a:lnTo>
                  <a:pt x="391" y="393"/>
                </a:lnTo>
                <a:lnTo>
                  <a:pt x="387" y="389"/>
                </a:lnTo>
                <a:lnTo>
                  <a:pt x="388" y="381"/>
                </a:lnTo>
                <a:lnTo>
                  <a:pt x="387" y="372"/>
                </a:lnTo>
                <a:lnTo>
                  <a:pt x="386" y="363"/>
                </a:lnTo>
                <a:lnTo>
                  <a:pt x="385" y="354"/>
                </a:lnTo>
                <a:lnTo>
                  <a:pt x="385" y="352"/>
                </a:lnTo>
                <a:lnTo>
                  <a:pt x="384" y="349"/>
                </a:lnTo>
                <a:lnTo>
                  <a:pt x="383" y="347"/>
                </a:lnTo>
                <a:lnTo>
                  <a:pt x="380" y="344"/>
                </a:lnTo>
                <a:lnTo>
                  <a:pt x="378" y="337"/>
                </a:lnTo>
                <a:lnTo>
                  <a:pt x="376" y="329"/>
                </a:lnTo>
                <a:lnTo>
                  <a:pt x="373" y="322"/>
                </a:lnTo>
                <a:lnTo>
                  <a:pt x="370" y="314"/>
                </a:lnTo>
                <a:lnTo>
                  <a:pt x="370" y="313"/>
                </a:lnTo>
                <a:lnTo>
                  <a:pt x="369" y="312"/>
                </a:lnTo>
                <a:lnTo>
                  <a:pt x="369" y="311"/>
                </a:lnTo>
                <a:lnTo>
                  <a:pt x="367" y="311"/>
                </a:lnTo>
                <a:lnTo>
                  <a:pt x="364" y="312"/>
                </a:lnTo>
                <a:lnTo>
                  <a:pt x="363" y="313"/>
                </a:lnTo>
                <a:lnTo>
                  <a:pt x="361" y="313"/>
                </a:lnTo>
                <a:lnTo>
                  <a:pt x="359" y="312"/>
                </a:lnTo>
                <a:lnTo>
                  <a:pt x="356" y="310"/>
                </a:lnTo>
                <a:lnTo>
                  <a:pt x="354" y="308"/>
                </a:lnTo>
                <a:lnTo>
                  <a:pt x="350" y="303"/>
                </a:lnTo>
                <a:lnTo>
                  <a:pt x="346" y="297"/>
                </a:lnTo>
                <a:lnTo>
                  <a:pt x="343" y="295"/>
                </a:lnTo>
                <a:lnTo>
                  <a:pt x="340" y="294"/>
                </a:lnTo>
                <a:lnTo>
                  <a:pt x="337" y="294"/>
                </a:lnTo>
                <a:lnTo>
                  <a:pt x="334" y="296"/>
                </a:lnTo>
                <a:lnTo>
                  <a:pt x="330" y="304"/>
                </a:lnTo>
                <a:lnTo>
                  <a:pt x="328" y="311"/>
                </a:lnTo>
                <a:lnTo>
                  <a:pt x="326" y="319"/>
                </a:lnTo>
                <a:lnTo>
                  <a:pt x="325" y="326"/>
                </a:lnTo>
                <a:lnTo>
                  <a:pt x="326" y="335"/>
                </a:lnTo>
                <a:lnTo>
                  <a:pt x="329" y="342"/>
                </a:lnTo>
                <a:lnTo>
                  <a:pt x="333" y="353"/>
                </a:lnTo>
                <a:lnTo>
                  <a:pt x="337" y="363"/>
                </a:lnTo>
                <a:lnTo>
                  <a:pt x="339" y="374"/>
                </a:lnTo>
                <a:lnTo>
                  <a:pt x="342" y="385"/>
                </a:lnTo>
                <a:lnTo>
                  <a:pt x="347" y="393"/>
                </a:lnTo>
                <a:lnTo>
                  <a:pt x="353" y="399"/>
                </a:lnTo>
                <a:lnTo>
                  <a:pt x="355" y="407"/>
                </a:lnTo>
                <a:lnTo>
                  <a:pt x="360" y="412"/>
                </a:lnTo>
                <a:lnTo>
                  <a:pt x="365" y="416"/>
                </a:lnTo>
                <a:lnTo>
                  <a:pt x="371" y="421"/>
                </a:lnTo>
                <a:lnTo>
                  <a:pt x="373" y="421"/>
                </a:lnTo>
                <a:lnTo>
                  <a:pt x="374" y="421"/>
                </a:lnTo>
                <a:lnTo>
                  <a:pt x="374" y="421"/>
                </a:lnTo>
                <a:lnTo>
                  <a:pt x="375" y="420"/>
                </a:lnTo>
                <a:lnTo>
                  <a:pt x="374" y="419"/>
                </a:lnTo>
                <a:lnTo>
                  <a:pt x="373" y="418"/>
                </a:lnTo>
                <a:lnTo>
                  <a:pt x="367" y="413"/>
                </a:lnTo>
                <a:lnTo>
                  <a:pt x="363" y="408"/>
                </a:lnTo>
                <a:lnTo>
                  <a:pt x="362" y="405"/>
                </a:lnTo>
                <a:lnTo>
                  <a:pt x="362" y="402"/>
                </a:lnTo>
                <a:lnTo>
                  <a:pt x="363" y="398"/>
                </a:lnTo>
                <a:lnTo>
                  <a:pt x="364" y="395"/>
                </a:lnTo>
                <a:lnTo>
                  <a:pt x="365" y="392"/>
                </a:lnTo>
                <a:lnTo>
                  <a:pt x="363" y="389"/>
                </a:lnTo>
                <a:lnTo>
                  <a:pt x="361" y="389"/>
                </a:lnTo>
                <a:lnTo>
                  <a:pt x="360" y="392"/>
                </a:lnTo>
                <a:lnTo>
                  <a:pt x="358" y="393"/>
                </a:lnTo>
                <a:lnTo>
                  <a:pt x="357" y="393"/>
                </a:lnTo>
                <a:lnTo>
                  <a:pt x="356" y="392"/>
                </a:lnTo>
                <a:lnTo>
                  <a:pt x="355" y="390"/>
                </a:lnTo>
                <a:lnTo>
                  <a:pt x="347" y="378"/>
                </a:lnTo>
                <a:lnTo>
                  <a:pt x="341" y="365"/>
                </a:lnTo>
                <a:lnTo>
                  <a:pt x="339" y="362"/>
                </a:lnTo>
                <a:lnTo>
                  <a:pt x="338" y="358"/>
                </a:lnTo>
                <a:lnTo>
                  <a:pt x="339" y="362"/>
                </a:lnTo>
                <a:lnTo>
                  <a:pt x="341" y="365"/>
                </a:lnTo>
                <a:lnTo>
                  <a:pt x="341" y="355"/>
                </a:lnTo>
                <a:lnTo>
                  <a:pt x="343" y="350"/>
                </a:lnTo>
                <a:lnTo>
                  <a:pt x="348" y="347"/>
                </a:lnTo>
                <a:lnTo>
                  <a:pt x="358" y="344"/>
                </a:lnTo>
                <a:lnTo>
                  <a:pt x="359" y="344"/>
                </a:lnTo>
                <a:lnTo>
                  <a:pt x="360" y="344"/>
                </a:lnTo>
                <a:lnTo>
                  <a:pt x="360" y="344"/>
                </a:lnTo>
                <a:lnTo>
                  <a:pt x="360" y="346"/>
                </a:lnTo>
                <a:lnTo>
                  <a:pt x="358" y="348"/>
                </a:lnTo>
                <a:lnTo>
                  <a:pt x="356" y="350"/>
                </a:lnTo>
                <a:lnTo>
                  <a:pt x="354" y="352"/>
                </a:lnTo>
                <a:lnTo>
                  <a:pt x="353" y="355"/>
                </a:lnTo>
                <a:lnTo>
                  <a:pt x="353" y="357"/>
                </a:lnTo>
                <a:lnTo>
                  <a:pt x="353" y="361"/>
                </a:lnTo>
                <a:lnTo>
                  <a:pt x="354" y="363"/>
                </a:lnTo>
                <a:lnTo>
                  <a:pt x="356" y="366"/>
                </a:lnTo>
                <a:lnTo>
                  <a:pt x="359" y="371"/>
                </a:lnTo>
                <a:lnTo>
                  <a:pt x="362" y="375"/>
                </a:lnTo>
                <a:lnTo>
                  <a:pt x="367" y="380"/>
                </a:lnTo>
                <a:lnTo>
                  <a:pt x="373" y="383"/>
                </a:lnTo>
                <a:lnTo>
                  <a:pt x="374" y="385"/>
                </a:lnTo>
                <a:lnTo>
                  <a:pt x="375" y="388"/>
                </a:lnTo>
                <a:lnTo>
                  <a:pt x="375" y="390"/>
                </a:lnTo>
                <a:lnTo>
                  <a:pt x="376" y="392"/>
                </a:lnTo>
                <a:lnTo>
                  <a:pt x="377" y="393"/>
                </a:lnTo>
                <a:lnTo>
                  <a:pt x="379" y="393"/>
                </a:lnTo>
                <a:lnTo>
                  <a:pt x="379" y="400"/>
                </a:lnTo>
                <a:lnTo>
                  <a:pt x="382" y="408"/>
                </a:lnTo>
                <a:lnTo>
                  <a:pt x="382" y="409"/>
                </a:lnTo>
                <a:lnTo>
                  <a:pt x="382" y="410"/>
                </a:lnTo>
                <a:lnTo>
                  <a:pt x="384" y="410"/>
                </a:lnTo>
                <a:lnTo>
                  <a:pt x="385" y="409"/>
                </a:lnTo>
                <a:lnTo>
                  <a:pt x="384" y="410"/>
                </a:lnTo>
                <a:lnTo>
                  <a:pt x="382" y="410"/>
                </a:lnTo>
                <a:lnTo>
                  <a:pt x="380" y="413"/>
                </a:lnTo>
                <a:lnTo>
                  <a:pt x="379" y="415"/>
                </a:lnTo>
                <a:lnTo>
                  <a:pt x="379" y="418"/>
                </a:lnTo>
                <a:lnTo>
                  <a:pt x="379" y="421"/>
                </a:lnTo>
                <a:lnTo>
                  <a:pt x="379" y="421"/>
                </a:lnTo>
                <a:lnTo>
                  <a:pt x="377" y="421"/>
                </a:lnTo>
                <a:lnTo>
                  <a:pt x="375" y="420"/>
                </a:lnTo>
                <a:lnTo>
                  <a:pt x="374" y="421"/>
                </a:lnTo>
                <a:lnTo>
                  <a:pt x="374" y="421"/>
                </a:lnTo>
                <a:lnTo>
                  <a:pt x="373" y="421"/>
                </a:lnTo>
                <a:lnTo>
                  <a:pt x="371" y="421"/>
                </a:lnTo>
                <a:lnTo>
                  <a:pt x="372" y="423"/>
                </a:lnTo>
                <a:lnTo>
                  <a:pt x="374" y="423"/>
                </a:lnTo>
                <a:lnTo>
                  <a:pt x="374" y="423"/>
                </a:lnTo>
                <a:lnTo>
                  <a:pt x="374" y="423"/>
                </a:lnTo>
                <a:lnTo>
                  <a:pt x="375" y="424"/>
                </a:lnTo>
                <a:lnTo>
                  <a:pt x="376" y="425"/>
                </a:lnTo>
                <a:lnTo>
                  <a:pt x="378" y="425"/>
                </a:lnTo>
                <a:lnTo>
                  <a:pt x="379" y="425"/>
                </a:lnTo>
                <a:lnTo>
                  <a:pt x="383" y="426"/>
                </a:lnTo>
                <a:lnTo>
                  <a:pt x="387" y="428"/>
                </a:lnTo>
                <a:lnTo>
                  <a:pt x="383" y="432"/>
                </a:lnTo>
                <a:lnTo>
                  <a:pt x="380" y="436"/>
                </a:lnTo>
                <a:lnTo>
                  <a:pt x="380" y="442"/>
                </a:lnTo>
                <a:lnTo>
                  <a:pt x="380" y="448"/>
                </a:lnTo>
                <a:lnTo>
                  <a:pt x="382" y="451"/>
                </a:lnTo>
                <a:lnTo>
                  <a:pt x="379" y="455"/>
                </a:lnTo>
                <a:lnTo>
                  <a:pt x="376" y="457"/>
                </a:lnTo>
                <a:lnTo>
                  <a:pt x="372" y="457"/>
                </a:lnTo>
                <a:lnTo>
                  <a:pt x="363" y="457"/>
                </a:lnTo>
                <a:lnTo>
                  <a:pt x="355" y="458"/>
                </a:lnTo>
                <a:lnTo>
                  <a:pt x="346" y="458"/>
                </a:lnTo>
                <a:lnTo>
                  <a:pt x="338" y="458"/>
                </a:lnTo>
                <a:lnTo>
                  <a:pt x="336" y="459"/>
                </a:lnTo>
                <a:lnTo>
                  <a:pt x="333" y="459"/>
                </a:lnTo>
                <a:lnTo>
                  <a:pt x="332" y="460"/>
                </a:lnTo>
                <a:lnTo>
                  <a:pt x="332" y="462"/>
                </a:lnTo>
                <a:lnTo>
                  <a:pt x="325" y="462"/>
                </a:lnTo>
                <a:lnTo>
                  <a:pt x="318" y="464"/>
                </a:lnTo>
                <a:lnTo>
                  <a:pt x="313" y="465"/>
                </a:lnTo>
                <a:lnTo>
                  <a:pt x="308" y="468"/>
                </a:lnTo>
                <a:lnTo>
                  <a:pt x="303" y="471"/>
                </a:lnTo>
                <a:lnTo>
                  <a:pt x="299" y="474"/>
                </a:lnTo>
                <a:lnTo>
                  <a:pt x="292" y="480"/>
                </a:lnTo>
                <a:lnTo>
                  <a:pt x="285" y="490"/>
                </a:lnTo>
                <a:lnTo>
                  <a:pt x="286" y="490"/>
                </a:lnTo>
                <a:lnTo>
                  <a:pt x="286" y="490"/>
                </a:lnTo>
                <a:lnTo>
                  <a:pt x="286" y="493"/>
                </a:lnTo>
                <a:lnTo>
                  <a:pt x="286" y="495"/>
                </a:lnTo>
                <a:lnTo>
                  <a:pt x="281" y="501"/>
                </a:lnTo>
                <a:lnTo>
                  <a:pt x="274" y="506"/>
                </a:lnTo>
                <a:lnTo>
                  <a:pt x="281" y="501"/>
                </a:lnTo>
                <a:lnTo>
                  <a:pt x="286" y="495"/>
                </a:lnTo>
                <a:lnTo>
                  <a:pt x="286" y="493"/>
                </a:lnTo>
                <a:lnTo>
                  <a:pt x="286" y="490"/>
                </a:lnTo>
                <a:lnTo>
                  <a:pt x="286" y="490"/>
                </a:lnTo>
                <a:lnTo>
                  <a:pt x="285" y="490"/>
                </a:lnTo>
                <a:lnTo>
                  <a:pt x="282" y="491"/>
                </a:lnTo>
                <a:lnTo>
                  <a:pt x="280" y="493"/>
                </a:lnTo>
                <a:lnTo>
                  <a:pt x="278" y="495"/>
                </a:lnTo>
                <a:lnTo>
                  <a:pt x="276" y="499"/>
                </a:lnTo>
                <a:lnTo>
                  <a:pt x="270" y="505"/>
                </a:lnTo>
                <a:lnTo>
                  <a:pt x="265" y="510"/>
                </a:lnTo>
                <a:lnTo>
                  <a:pt x="261" y="518"/>
                </a:lnTo>
                <a:lnTo>
                  <a:pt x="257" y="525"/>
                </a:lnTo>
                <a:lnTo>
                  <a:pt x="257" y="525"/>
                </a:lnTo>
                <a:lnTo>
                  <a:pt x="257" y="525"/>
                </a:lnTo>
                <a:lnTo>
                  <a:pt x="255" y="526"/>
                </a:lnTo>
                <a:lnTo>
                  <a:pt x="254" y="527"/>
                </a:lnTo>
                <a:lnTo>
                  <a:pt x="253" y="528"/>
                </a:lnTo>
                <a:lnTo>
                  <a:pt x="252" y="531"/>
                </a:lnTo>
                <a:lnTo>
                  <a:pt x="251" y="534"/>
                </a:lnTo>
                <a:lnTo>
                  <a:pt x="250" y="537"/>
                </a:lnTo>
                <a:lnTo>
                  <a:pt x="250" y="537"/>
                </a:lnTo>
                <a:lnTo>
                  <a:pt x="250" y="537"/>
                </a:lnTo>
                <a:lnTo>
                  <a:pt x="249" y="538"/>
                </a:lnTo>
                <a:lnTo>
                  <a:pt x="248" y="539"/>
                </a:lnTo>
                <a:lnTo>
                  <a:pt x="247" y="541"/>
                </a:lnTo>
                <a:lnTo>
                  <a:pt x="247" y="542"/>
                </a:lnTo>
                <a:lnTo>
                  <a:pt x="245" y="549"/>
                </a:lnTo>
                <a:lnTo>
                  <a:pt x="241" y="553"/>
                </a:lnTo>
                <a:lnTo>
                  <a:pt x="241" y="553"/>
                </a:lnTo>
                <a:lnTo>
                  <a:pt x="239" y="555"/>
                </a:lnTo>
                <a:lnTo>
                  <a:pt x="237" y="558"/>
                </a:lnTo>
                <a:lnTo>
                  <a:pt x="237" y="562"/>
                </a:lnTo>
                <a:lnTo>
                  <a:pt x="237" y="565"/>
                </a:lnTo>
                <a:lnTo>
                  <a:pt x="237" y="567"/>
                </a:lnTo>
                <a:lnTo>
                  <a:pt x="236" y="569"/>
                </a:lnTo>
                <a:lnTo>
                  <a:pt x="233" y="572"/>
                </a:lnTo>
                <a:lnTo>
                  <a:pt x="231" y="576"/>
                </a:lnTo>
                <a:lnTo>
                  <a:pt x="230" y="580"/>
                </a:lnTo>
                <a:lnTo>
                  <a:pt x="227" y="584"/>
                </a:lnTo>
                <a:lnTo>
                  <a:pt x="224" y="593"/>
                </a:lnTo>
                <a:lnTo>
                  <a:pt x="222" y="601"/>
                </a:lnTo>
                <a:lnTo>
                  <a:pt x="220" y="610"/>
                </a:lnTo>
                <a:lnTo>
                  <a:pt x="218" y="619"/>
                </a:lnTo>
                <a:lnTo>
                  <a:pt x="216" y="629"/>
                </a:lnTo>
                <a:lnTo>
                  <a:pt x="213" y="639"/>
                </a:lnTo>
                <a:lnTo>
                  <a:pt x="211" y="649"/>
                </a:lnTo>
                <a:lnTo>
                  <a:pt x="210" y="659"/>
                </a:lnTo>
                <a:lnTo>
                  <a:pt x="210" y="669"/>
                </a:lnTo>
                <a:lnTo>
                  <a:pt x="211" y="679"/>
                </a:lnTo>
                <a:lnTo>
                  <a:pt x="212" y="689"/>
                </a:lnTo>
                <a:lnTo>
                  <a:pt x="215" y="699"/>
                </a:lnTo>
                <a:lnTo>
                  <a:pt x="216" y="704"/>
                </a:lnTo>
                <a:lnTo>
                  <a:pt x="216" y="709"/>
                </a:lnTo>
                <a:lnTo>
                  <a:pt x="213" y="715"/>
                </a:lnTo>
                <a:lnTo>
                  <a:pt x="210" y="719"/>
                </a:lnTo>
                <a:lnTo>
                  <a:pt x="203" y="728"/>
                </a:lnTo>
                <a:lnTo>
                  <a:pt x="195" y="735"/>
                </a:lnTo>
                <a:lnTo>
                  <a:pt x="187" y="741"/>
                </a:lnTo>
                <a:lnTo>
                  <a:pt x="178" y="749"/>
                </a:lnTo>
                <a:lnTo>
                  <a:pt x="175" y="751"/>
                </a:lnTo>
                <a:lnTo>
                  <a:pt x="170" y="753"/>
                </a:lnTo>
                <a:lnTo>
                  <a:pt x="162" y="756"/>
                </a:lnTo>
                <a:lnTo>
                  <a:pt x="156" y="760"/>
                </a:lnTo>
                <a:lnTo>
                  <a:pt x="149" y="763"/>
                </a:lnTo>
                <a:lnTo>
                  <a:pt x="144" y="768"/>
                </a:lnTo>
                <a:lnTo>
                  <a:pt x="135" y="778"/>
                </a:lnTo>
                <a:lnTo>
                  <a:pt x="129" y="788"/>
                </a:lnTo>
                <a:lnTo>
                  <a:pt x="122" y="799"/>
                </a:lnTo>
                <a:lnTo>
                  <a:pt x="115" y="810"/>
                </a:lnTo>
                <a:lnTo>
                  <a:pt x="115" y="812"/>
                </a:lnTo>
                <a:lnTo>
                  <a:pt x="115" y="813"/>
                </a:lnTo>
                <a:lnTo>
                  <a:pt x="112" y="815"/>
                </a:lnTo>
                <a:lnTo>
                  <a:pt x="110" y="817"/>
                </a:lnTo>
                <a:lnTo>
                  <a:pt x="106" y="817"/>
                </a:lnTo>
                <a:lnTo>
                  <a:pt x="103" y="817"/>
                </a:lnTo>
                <a:lnTo>
                  <a:pt x="100" y="818"/>
                </a:lnTo>
                <a:lnTo>
                  <a:pt x="98" y="821"/>
                </a:lnTo>
                <a:lnTo>
                  <a:pt x="92" y="823"/>
                </a:lnTo>
                <a:lnTo>
                  <a:pt x="86" y="825"/>
                </a:lnTo>
                <a:lnTo>
                  <a:pt x="83" y="826"/>
                </a:lnTo>
                <a:lnTo>
                  <a:pt x="81" y="828"/>
                </a:lnTo>
                <a:lnTo>
                  <a:pt x="77" y="830"/>
                </a:lnTo>
                <a:lnTo>
                  <a:pt x="75" y="835"/>
                </a:lnTo>
                <a:lnTo>
                  <a:pt x="73" y="835"/>
                </a:lnTo>
                <a:lnTo>
                  <a:pt x="72" y="837"/>
                </a:lnTo>
                <a:lnTo>
                  <a:pt x="67" y="841"/>
                </a:lnTo>
                <a:lnTo>
                  <a:pt x="61" y="845"/>
                </a:lnTo>
                <a:lnTo>
                  <a:pt x="58" y="845"/>
                </a:lnTo>
                <a:lnTo>
                  <a:pt x="56" y="847"/>
                </a:lnTo>
                <a:lnTo>
                  <a:pt x="48" y="858"/>
                </a:lnTo>
                <a:lnTo>
                  <a:pt x="40" y="869"/>
                </a:lnTo>
                <a:lnTo>
                  <a:pt x="33" y="879"/>
                </a:lnTo>
                <a:lnTo>
                  <a:pt x="25" y="891"/>
                </a:lnTo>
                <a:lnTo>
                  <a:pt x="21" y="899"/>
                </a:lnTo>
                <a:lnTo>
                  <a:pt x="18" y="906"/>
                </a:lnTo>
                <a:lnTo>
                  <a:pt x="14" y="914"/>
                </a:lnTo>
                <a:lnTo>
                  <a:pt x="12" y="922"/>
                </a:lnTo>
                <a:lnTo>
                  <a:pt x="9" y="939"/>
                </a:lnTo>
                <a:lnTo>
                  <a:pt x="6" y="955"/>
                </a:lnTo>
                <a:lnTo>
                  <a:pt x="6" y="960"/>
                </a:lnTo>
                <a:lnTo>
                  <a:pt x="5" y="963"/>
                </a:lnTo>
                <a:lnTo>
                  <a:pt x="6" y="967"/>
                </a:lnTo>
                <a:lnTo>
                  <a:pt x="9" y="970"/>
                </a:lnTo>
                <a:lnTo>
                  <a:pt x="9" y="976"/>
                </a:lnTo>
                <a:lnTo>
                  <a:pt x="10" y="981"/>
                </a:lnTo>
                <a:lnTo>
                  <a:pt x="11" y="986"/>
                </a:lnTo>
                <a:lnTo>
                  <a:pt x="14" y="992"/>
                </a:lnTo>
                <a:lnTo>
                  <a:pt x="14" y="1008"/>
                </a:lnTo>
                <a:lnTo>
                  <a:pt x="13" y="1023"/>
                </a:lnTo>
                <a:lnTo>
                  <a:pt x="10" y="1039"/>
                </a:lnTo>
                <a:lnTo>
                  <a:pt x="5" y="1055"/>
                </a:lnTo>
                <a:lnTo>
                  <a:pt x="3" y="1059"/>
                </a:lnTo>
                <a:lnTo>
                  <a:pt x="1" y="1066"/>
                </a:lnTo>
                <a:lnTo>
                  <a:pt x="0" y="1069"/>
                </a:lnTo>
                <a:lnTo>
                  <a:pt x="1" y="1072"/>
                </a:lnTo>
                <a:lnTo>
                  <a:pt x="1" y="1075"/>
                </a:lnTo>
                <a:lnTo>
                  <a:pt x="4" y="1078"/>
                </a:lnTo>
                <a:lnTo>
                  <a:pt x="4" y="1084"/>
                </a:lnTo>
                <a:lnTo>
                  <a:pt x="6" y="1089"/>
                </a:lnTo>
                <a:lnTo>
                  <a:pt x="9" y="1093"/>
                </a:lnTo>
                <a:lnTo>
                  <a:pt x="13" y="1098"/>
                </a:lnTo>
                <a:lnTo>
                  <a:pt x="15" y="1101"/>
                </a:lnTo>
                <a:lnTo>
                  <a:pt x="19" y="1105"/>
                </a:lnTo>
                <a:lnTo>
                  <a:pt x="21" y="1107"/>
                </a:lnTo>
                <a:lnTo>
                  <a:pt x="24" y="1111"/>
                </a:lnTo>
                <a:lnTo>
                  <a:pt x="29" y="1118"/>
                </a:lnTo>
                <a:lnTo>
                  <a:pt x="36" y="1124"/>
                </a:lnTo>
                <a:lnTo>
                  <a:pt x="42" y="1131"/>
                </a:lnTo>
                <a:lnTo>
                  <a:pt x="50" y="1136"/>
                </a:lnTo>
                <a:lnTo>
                  <a:pt x="52" y="1138"/>
                </a:lnTo>
                <a:lnTo>
                  <a:pt x="54" y="1139"/>
                </a:lnTo>
                <a:lnTo>
                  <a:pt x="56" y="1139"/>
                </a:lnTo>
                <a:lnTo>
                  <a:pt x="59" y="1139"/>
                </a:lnTo>
                <a:lnTo>
                  <a:pt x="59" y="1138"/>
                </a:lnTo>
                <a:lnTo>
                  <a:pt x="59" y="1136"/>
                </a:lnTo>
                <a:lnTo>
                  <a:pt x="57" y="1136"/>
                </a:lnTo>
                <a:lnTo>
                  <a:pt x="55" y="1136"/>
                </a:lnTo>
                <a:lnTo>
                  <a:pt x="55" y="1134"/>
                </a:lnTo>
                <a:lnTo>
                  <a:pt x="54" y="1133"/>
                </a:lnTo>
                <a:lnTo>
                  <a:pt x="55" y="1134"/>
                </a:lnTo>
                <a:lnTo>
                  <a:pt x="55" y="1136"/>
                </a:lnTo>
                <a:lnTo>
                  <a:pt x="57" y="1136"/>
                </a:lnTo>
                <a:lnTo>
                  <a:pt x="59" y="1136"/>
                </a:lnTo>
                <a:lnTo>
                  <a:pt x="59" y="1138"/>
                </a:lnTo>
                <a:lnTo>
                  <a:pt x="59" y="1139"/>
                </a:lnTo>
                <a:lnTo>
                  <a:pt x="66" y="1139"/>
                </a:lnTo>
                <a:lnTo>
                  <a:pt x="72" y="1139"/>
                </a:lnTo>
                <a:lnTo>
                  <a:pt x="76" y="1139"/>
                </a:lnTo>
                <a:lnTo>
                  <a:pt x="80" y="1141"/>
                </a:lnTo>
                <a:lnTo>
                  <a:pt x="82" y="1139"/>
                </a:lnTo>
                <a:lnTo>
                  <a:pt x="84" y="1139"/>
                </a:lnTo>
                <a:lnTo>
                  <a:pt x="85" y="1138"/>
                </a:lnTo>
                <a:lnTo>
                  <a:pt x="87" y="1136"/>
                </a:lnTo>
                <a:lnTo>
                  <a:pt x="86" y="1136"/>
                </a:lnTo>
                <a:lnTo>
                  <a:pt x="86" y="1136"/>
                </a:lnTo>
                <a:lnTo>
                  <a:pt x="86" y="1136"/>
                </a:lnTo>
                <a:lnTo>
                  <a:pt x="87" y="1136"/>
                </a:lnTo>
                <a:lnTo>
                  <a:pt x="89" y="1136"/>
                </a:lnTo>
                <a:lnTo>
                  <a:pt x="91" y="1136"/>
                </a:lnTo>
                <a:lnTo>
                  <a:pt x="91" y="1135"/>
                </a:lnTo>
                <a:lnTo>
                  <a:pt x="92" y="1135"/>
                </a:lnTo>
                <a:lnTo>
                  <a:pt x="91" y="1135"/>
                </a:lnTo>
                <a:lnTo>
                  <a:pt x="91" y="1136"/>
                </a:lnTo>
                <a:lnTo>
                  <a:pt x="105" y="1132"/>
                </a:lnTo>
                <a:lnTo>
                  <a:pt x="118" y="1128"/>
                </a:lnTo>
                <a:lnTo>
                  <a:pt x="131" y="1122"/>
                </a:lnTo>
                <a:lnTo>
                  <a:pt x="144" y="1117"/>
                </a:lnTo>
                <a:lnTo>
                  <a:pt x="148" y="1116"/>
                </a:lnTo>
                <a:lnTo>
                  <a:pt x="152" y="1115"/>
                </a:lnTo>
                <a:lnTo>
                  <a:pt x="156" y="1114"/>
                </a:lnTo>
                <a:lnTo>
                  <a:pt x="159" y="1111"/>
                </a:lnTo>
                <a:lnTo>
                  <a:pt x="174" y="1106"/>
                </a:lnTo>
                <a:lnTo>
                  <a:pt x="189" y="1100"/>
                </a:lnTo>
                <a:lnTo>
                  <a:pt x="195" y="1097"/>
                </a:lnTo>
                <a:lnTo>
                  <a:pt x="202" y="1092"/>
                </a:lnTo>
                <a:lnTo>
                  <a:pt x="208" y="1087"/>
                </a:lnTo>
                <a:lnTo>
                  <a:pt x="215" y="1082"/>
                </a:lnTo>
                <a:lnTo>
                  <a:pt x="227" y="1068"/>
                </a:lnTo>
                <a:lnTo>
                  <a:pt x="238" y="1054"/>
                </a:lnTo>
                <a:lnTo>
                  <a:pt x="242" y="1046"/>
                </a:lnTo>
                <a:lnTo>
                  <a:pt x="247" y="1038"/>
                </a:lnTo>
                <a:lnTo>
                  <a:pt x="250" y="1029"/>
                </a:lnTo>
                <a:lnTo>
                  <a:pt x="252" y="1020"/>
                </a:lnTo>
                <a:lnTo>
                  <a:pt x="255" y="1009"/>
                </a:lnTo>
                <a:lnTo>
                  <a:pt x="257" y="999"/>
                </a:lnTo>
                <a:lnTo>
                  <a:pt x="261" y="990"/>
                </a:lnTo>
                <a:lnTo>
                  <a:pt x="263" y="979"/>
                </a:lnTo>
                <a:lnTo>
                  <a:pt x="268" y="976"/>
                </a:lnTo>
                <a:lnTo>
                  <a:pt x="273" y="974"/>
                </a:lnTo>
                <a:lnTo>
                  <a:pt x="283" y="974"/>
                </a:lnTo>
                <a:lnTo>
                  <a:pt x="293" y="974"/>
                </a:lnTo>
                <a:lnTo>
                  <a:pt x="301" y="974"/>
                </a:lnTo>
                <a:lnTo>
                  <a:pt x="311" y="973"/>
                </a:lnTo>
                <a:lnTo>
                  <a:pt x="313" y="970"/>
                </a:lnTo>
                <a:lnTo>
                  <a:pt x="312" y="967"/>
                </a:lnTo>
                <a:lnTo>
                  <a:pt x="309" y="955"/>
                </a:lnTo>
                <a:lnTo>
                  <a:pt x="304" y="944"/>
                </a:lnTo>
                <a:lnTo>
                  <a:pt x="302" y="931"/>
                </a:lnTo>
                <a:lnTo>
                  <a:pt x="300" y="919"/>
                </a:lnTo>
                <a:lnTo>
                  <a:pt x="298" y="916"/>
                </a:lnTo>
                <a:lnTo>
                  <a:pt x="296" y="915"/>
                </a:lnTo>
                <a:lnTo>
                  <a:pt x="294" y="918"/>
                </a:lnTo>
                <a:lnTo>
                  <a:pt x="292" y="921"/>
                </a:lnTo>
                <a:lnTo>
                  <a:pt x="289" y="925"/>
                </a:lnTo>
                <a:lnTo>
                  <a:pt x="286" y="928"/>
                </a:lnTo>
                <a:lnTo>
                  <a:pt x="286" y="928"/>
                </a:lnTo>
                <a:lnTo>
                  <a:pt x="285" y="927"/>
                </a:lnTo>
                <a:lnTo>
                  <a:pt x="285" y="925"/>
                </a:lnTo>
                <a:lnTo>
                  <a:pt x="286" y="923"/>
                </a:lnTo>
                <a:lnTo>
                  <a:pt x="286" y="921"/>
                </a:lnTo>
                <a:lnTo>
                  <a:pt x="287" y="920"/>
                </a:lnTo>
                <a:lnTo>
                  <a:pt x="287" y="919"/>
                </a:lnTo>
                <a:lnTo>
                  <a:pt x="287" y="917"/>
                </a:lnTo>
                <a:lnTo>
                  <a:pt x="286" y="916"/>
                </a:lnTo>
                <a:lnTo>
                  <a:pt x="281" y="916"/>
                </a:lnTo>
                <a:lnTo>
                  <a:pt x="276" y="916"/>
                </a:lnTo>
                <a:lnTo>
                  <a:pt x="279" y="908"/>
                </a:lnTo>
                <a:lnTo>
                  <a:pt x="281" y="901"/>
                </a:lnTo>
                <a:lnTo>
                  <a:pt x="284" y="894"/>
                </a:lnTo>
                <a:lnTo>
                  <a:pt x="285" y="886"/>
                </a:lnTo>
                <a:lnTo>
                  <a:pt x="295" y="884"/>
                </a:lnTo>
                <a:lnTo>
                  <a:pt x="306" y="881"/>
                </a:lnTo>
                <a:lnTo>
                  <a:pt x="309" y="882"/>
                </a:lnTo>
                <a:lnTo>
                  <a:pt x="312" y="884"/>
                </a:lnTo>
                <a:lnTo>
                  <a:pt x="314" y="886"/>
                </a:lnTo>
                <a:lnTo>
                  <a:pt x="316" y="889"/>
                </a:lnTo>
                <a:lnTo>
                  <a:pt x="317" y="890"/>
                </a:lnTo>
                <a:lnTo>
                  <a:pt x="319" y="892"/>
                </a:lnTo>
                <a:lnTo>
                  <a:pt x="322" y="891"/>
                </a:lnTo>
                <a:lnTo>
                  <a:pt x="324" y="890"/>
                </a:lnTo>
                <a:lnTo>
                  <a:pt x="326" y="887"/>
                </a:lnTo>
                <a:lnTo>
                  <a:pt x="329" y="885"/>
                </a:lnTo>
                <a:lnTo>
                  <a:pt x="332" y="883"/>
                </a:lnTo>
                <a:lnTo>
                  <a:pt x="336" y="883"/>
                </a:lnTo>
                <a:lnTo>
                  <a:pt x="341" y="882"/>
                </a:lnTo>
                <a:lnTo>
                  <a:pt x="344" y="881"/>
                </a:lnTo>
                <a:lnTo>
                  <a:pt x="347" y="879"/>
                </a:lnTo>
                <a:lnTo>
                  <a:pt x="350" y="877"/>
                </a:lnTo>
                <a:lnTo>
                  <a:pt x="355" y="871"/>
                </a:lnTo>
                <a:lnTo>
                  <a:pt x="359" y="863"/>
                </a:lnTo>
                <a:lnTo>
                  <a:pt x="360" y="861"/>
                </a:lnTo>
                <a:lnTo>
                  <a:pt x="361" y="860"/>
                </a:lnTo>
                <a:lnTo>
                  <a:pt x="363" y="859"/>
                </a:lnTo>
                <a:lnTo>
                  <a:pt x="365" y="860"/>
                </a:lnTo>
                <a:lnTo>
                  <a:pt x="370" y="863"/>
                </a:lnTo>
                <a:lnTo>
                  <a:pt x="373" y="864"/>
                </a:lnTo>
                <a:lnTo>
                  <a:pt x="375" y="862"/>
                </a:lnTo>
                <a:lnTo>
                  <a:pt x="378" y="858"/>
                </a:lnTo>
                <a:lnTo>
                  <a:pt x="380" y="857"/>
                </a:lnTo>
                <a:lnTo>
                  <a:pt x="383" y="855"/>
                </a:lnTo>
                <a:lnTo>
                  <a:pt x="390" y="854"/>
                </a:lnTo>
                <a:lnTo>
                  <a:pt x="394" y="854"/>
                </a:lnTo>
                <a:lnTo>
                  <a:pt x="405" y="842"/>
                </a:lnTo>
                <a:lnTo>
                  <a:pt x="415" y="829"/>
                </a:lnTo>
                <a:lnTo>
                  <a:pt x="416" y="826"/>
                </a:lnTo>
                <a:lnTo>
                  <a:pt x="416" y="822"/>
                </a:lnTo>
                <a:lnTo>
                  <a:pt x="417" y="820"/>
                </a:lnTo>
                <a:lnTo>
                  <a:pt x="419" y="818"/>
                </a:lnTo>
                <a:lnTo>
                  <a:pt x="421" y="817"/>
                </a:lnTo>
                <a:lnTo>
                  <a:pt x="423" y="817"/>
                </a:lnTo>
                <a:lnTo>
                  <a:pt x="427" y="816"/>
                </a:lnTo>
                <a:lnTo>
                  <a:pt x="430" y="815"/>
                </a:lnTo>
                <a:lnTo>
                  <a:pt x="432" y="813"/>
                </a:lnTo>
                <a:lnTo>
                  <a:pt x="435" y="811"/>
                </a:lnTo>
                <a:lnTo>
                  <a:pt x="447" y="801"/>
                </a:lnTo>
                <a:lnTo>
                  <a:pt x="461" y="792"/>
                </a:lnTo>
                <a:lnTo>
                  <a:pt x="470" y="785"/>
                </a:lnTo>
                <a:lnTo>
                  <a:pt x="480" y="778"/>
                </a:lnTo>
                <a:lnTo>
                  <a:pt x="489" y="776"/>
                </a:lnTo>
                <a:lnTo>
                  <a:pt x="497" y="774"/>
                </a:lnTo>
                <a:lnTo>
                  <a:pt x="510" y="769"/>
                </a:lnTo>
                <a:lnTo>
                  <a:pt x="523" y="763"/>
                </a:lnTo>
                <a:lnTo>
                  <a:pt x="533" y="757"/>
                </a:lnTo>
                <a:lnTo>
                  <a:pt x="541" y="751"/>
                </a:lnTo>
                <a:lnTo>
                  <a:pt x="547" y="744"/>
                </a:lnTo>
                <a:lnTo>
                  <a:pt x="553" y="736"/>
                </a:lnTo>
                <a:lnTo>
                  <a:pt x="557" y="730"/>
                </a:lnTo>
                <a:lnTo>
                  <a:pt x="559" y="722"/>
                </a:lnTo>
                <a:lnTo>
                  <a:pt x="561" y="715"/>
                </a:lnTo>
                <a:lnTo>
                  <a:pt x="561" y="707"/>
                </a:lnTo>
                <a:lnTo>
                  <a:pt x="561" y="701"/>
                </a:lnTo>
                <a:lnTo>
                  <a:pt x="560" y="694"/>
                </a:lnTo>
                <a:lnTo>
                  <a:pt x="558" y="689"/>
                </a:lnTo>
                <a:lnTo>
                  <a:pt x="556" y="684"/>
                </a:lnTo>
                <a:lnTo>
                  <a:pt x="554" y="680"/>
                </a:lnTo>
                <a:lnTo>
                  <a:pt x="551" y="677"/>
                </a:lnTo>
                <a:lnTo>
                  <a:pt x="551" y="672"/>
                </a:lnTo>
                <a:lnTo>
                  <a:pt x="550" y="669"/>
                </a:lnTo>
                <a:lnTo>
                  <a:pt x="547" y="665"/>
                </a:lnTo>
                <a:lnTo>
                  <a:pt x="545" y="663"/>
                </a:lnTo>
                <a:lnTo>
                  <a:pt x="540" y="659"/>
                </a:lnTo>
                <a:lnTo>
                  <a:pt x="534" y="657"/>
                </a:lnTo>
                <a:lnTo>
                  <a:pt x="527" y="655"/>
                </a:lnTo>
                <a:lnTo>
                  <a:pt x="522" y="653"/>
                </a:lnTo>
                <a:lnTo>
                  <a:pt x="520" y="652"/>
                </a:lnTo>
                <a:lnTo>
                  <a:pt x="519" y="649"/>
                </a:lnTo>
                <a:lnTo>
                  <a:pt x="518" y="648"/>
                </a:lnTo>
                <a:lnTo>
                  <a:pt x="518" y="645"/>
                </a:lnTo>
                <a:lnTo>
                  <a:pt x="519" y="641"/>
                </a:lnTo>
                <a:lnTo>
                  <a:pt x="518" y="635"/>
                </a:lnTo>
                <a:lnTo>
                  <a:pt x="515" y="629"/>
                </a:lnTo>
                <a:lnTo>
                  <a:pt x="511" y="623"/>
                </a:lnTo>
                <a:lnTo>
                  <a:pt x="504" y="616"/>
                </a:lnTo>
                <a:lnTo>
                  <a:pt x="493" y="608"/>
                </a:lnTo>
                <a:lnTo>
                  <a:pt x="478" y="599"/>
                </a:lnTo>
                <a:lnTo>
                  <a:pt x="459" y="589"/>
                </a:lnTo>
                <a:lnTo>
                  <a:pt x="459" y="586"/>
                </a:lnTo>
                <a:lnTo>
                  <a:pt x="459" y="584"/>
                </a:lnTo>
                <a:lnTo>
                  <a:pt x="456" y="585"/>
                </a:lnTo>
                <a:lnTo>
                  <a:pt x="455" y="586"/>
                </a:lnTo>
                <a:lnTo>
                  <a:pt x="450" y="583"/>
                </a:lnTo>
                <a:lnTo>
                  <a:pt x="445" y="580"/>
                </a:lnTo>
                <a:lnTo>
                  <a:pt x="439" y="579"/>
                </a:lnTo>
                <a:lnTo>
                  <a:pt x="434" y="578"/>
                </a:lnTo>
                <a:lnTo>
                  <a:pt x="434" y="577"/>
                </a:lnTo>
                <a:lnTo>
                  <a:pt x="433" y="577"/>
                </a:lnTo>
                <a:lnTo>
                  <a:pt x="431" y="574"/>
                </a:lnTo>
                <a:lnTo>
                  <a:pt x="430" y="572"/>
                </a:lnTo>
                <a:lnTo>
                  <a:pt x="429" y="571"/>
                </a:lnTo>
                <a:lnTo>
                  <a:pt x="429" y="570"/>
                </a:lnTo>
                <a:lnTo>
                  <a:pt x="430" y="569"/>
                </a:lnTo>
                <a:lnTo>
                  <a:pt x="431" y="568"/>
                </a:lnTo>
                <a:lnTo>
                  <a:pt x="435" y="565"/>
                </a:lnTo>
                <a:lnTo>
                  <a:pt x="436" y="561"/>
                </a:lnTo>
                <a:lnTo>
                  <a:pt x="435" y="557"/>
                </a:lnTo>
                <a:lnTo>
                  <a:pt x="432" y="554"/>
                </a:lnTo>
                <a:lnTo>
                  <a:pt x="433" y="552"/>
                </a:lnTo>
                <a:lnTo>
                  <a:pt x="435" y="551"/>
                </a:lnTo>
                <a:lnTo>
                  <a:pt x="434" y="549"/>
                </a:lnTo>
                <a:lnTo>
                  <a:pt x="431" y="548"/>
                </a:lnTo>
                <a:lnTo>
                  <a:pt x="421" y="546"/>
                </a:lnTo>
                <a:lnTo>
                  <a:pt x="413" y="543"/>
                </a:lnTo>
                <a:lnTo>
                  <a:pt x="410" y="540"/>
                </a:lnTo>
                <a:lnTo>
                  <a:pt x="408" y="538"/>
                </a:lnTo>
                <a:lnTo>
                  <a:pt x="407" y="535"/>
                </a:lnTo>
                <a:lnTo>
                  <a:pt x="406" y="532"/>
                </a:lnTo>
                <a:lnTo>
                  <a:pt x="406" y="531"/>
                </a:lnTo>
                <a:lnTo>
                  <a:pt x="407" y="530"/>
                </a:lnTo>
                <a:lnTo>
                  <a:pt x="409" y="530"/>
                </a:lnTo>
                <a:lnTo>
                  <a:pt x="414" y="530"/>
                </a:lnTo>
                <a:lnTo>
                  <a:pt x="412" y="519"/>
                </a:lnTo>
                <a:lnTo>
                  <a:pt x="409" y="509"/>
                </a:lnTo>
                <a:lnTo>
                  <a:pt x="414" y="503"/>
                </a:lnTo>
                <a:lnTo>
                  <a:pt x="416" y="496"/>
                </a:lnTo>
                <a:lnTo>
                  <a:pt x="416" y="495"/>
                </a:lnTo>
                <a:lnTo>
                  <a:pt x="415" y="494"/>
                </a:lnTo>
                <a:lnTo>
                  <a:pt x="413" y="494"/>
                </a:lnTo>
                <a:lnTo>
                  <a:pt x="412" y="496"/>
                </a:lnTo>
                <a:lnTo>
                  <a:pt x="410" y="499"/>
                </a:lnTo>
                <a:lnTo>
                  <a:pt x="408" y="500"/>
                </a:lnTo>
                <a:lnTo>
                  <a:pt x="406" y="499"/>
                </a:lnTo>
                <a:lnTo>
                  <a:pt x="404" y="497"/>
                </a:lnTo>
                <a:lnTo>
                  <a:pt x="405" y="493"/>
                </a:lnTo>
                <a:lnTo>
                  <a:pt x="406" y="488"/>
                </a:lnTo>
                <a:lnTo>
                  <a:pt x="410" y="486"/>
                </a:lnTo>
                <a:lnTo>
                  <a:pt x="415" y="482"/>
                </a:lnTo>
                <a:lnTo>
                  <a:pt x="416" y="481"/>
                </a:lnTo>
                <a:lnTo>
                  <a:pt x="417" y="479"/>
                </a:lnTo>
                <a:lnTo>
                  <a:pt x="418" y="476"/>
                </a:lnTo>
                <a:lnTo>
                  <a:pt x="418" y="473"/>
                </a:lnTo>
                <a:lnTo>
                  <a:pt x="414" y="475"/>
                </a:lnTo>
                <a:lnTo>
                  <a:pt x="409" y="476"/>
                </a:lnTo>
                <a:lnTo>
                  <a:pt x="409" y="464"/>
                </a:lnTo>
                <a:lnTo>
                  <a:pt x="412" y="454"/>
                </a:lnTo>
                <a:lnTo>
                  <a:pt x="414" y="458"/>
                </a:lnTo>
                <a:lnTo>
                  <a:pt x="415" y="462"/>
                </a:lnTo>
                <a:lnTo>
                  <a:pt x="416" y="463"/>
                </a:lnTo>
                <a:lnTo>
                  <a:pt x="417" y="465"/>
                </a:lnTo>
                <a:lnTo>
                  <a:pt x="419" y="466"/>
                </a:lnTo>
                <a:lnTo>
                  <a:pt x="422" y="468"/>
                </a:lnTo>
                <a:lnTo>
                  <a:pt x="422" y="470"/>
                </a:lnTo>
                <a:lnTo>
                  <a:pt x="422" y="472"/>
                </a:lnTo>
                <a:lnTo>
                  <a:pt x="422" y="475"/>
                </a:lnTo>
                <a:lnTo>
                  <a:pt x="423" y="478"/>
                </a:lnTo>
                <a:lnTo>
                  <a:pt x="424" y="480"/>
                </a:lnTo>
                <a:lnTo>
                  <a:pt x="428" y="484"/>
                </a:lnTo>
                <a:lnTo>
                  <a:pt x="428" y="481"/>
                </a:lnTo>
                <a:lnTo>
                  <a:pt x="429" y="479"/>
                </a:lnTo>
                <a:lnTo>
                  <a:pt x="430" y="479"/>
                </a:lnTo>
                <a:lnTo>
                  <a:pt x="430" y="480"/>
                </a:lnTo>
                <a:lnTo>
                  <a:pt x="430" y="479"/>
                </a:lnTo>
                <a:lnTo>
                  <a:pt x="429" y="479"/>
                </a:lnTo>
                <a:lnTo>
                  <a:pt x="428" y="481"/>
                </a:lnTo>
                <a:lnTo>
                  <a:pt x="428" y="484"/>
                </a:lnTo>
                <a:lnTo>
                  <a:pt x="433" y="491"/>
                </a:lnTo>
                <a:lnTo>
                  <a:pt x="438" y="499"/>
                </a:lnTo>
                <a:lnTo>
                  <a:pt x="438" y="502"/>
                </a:lnTo>
                <a:lnTo>
                  <a:pt x="439" y="504"/>
                </a:lnTo>
                <a:lnTo>
                  <a:pt x="454" y="518"/>
                </a:lnTo>
                <a:lnTo>
                  <a:pt x="470" y="531"/>
                </a:lnTo>
                <a:lnTo>
                  <a:pt x="478" y="536"/>
                </a:lnTo>
                <a:lnTo>
                  <a:pt x="483" y="541"/>
                </a:lnTo>
                <a:lnTo>
                  <a:pt x="488" y="548"/>
                </a:lnTo>
                <a:lnTo>
                  <a:pt x="491" y="555"/>
                </a:lnTo>
                <a:lnTo>
                  <a:pt x="494" y="560"/>
                </a:lnTo>
                <a:lnTo>
                  <a:pt x="497" y="562"/>
                </a:lnTo>
                <a:lnTo>
                  <a:pt x="500" y="562"/>
                </a:lnTo>
                <a:lnTo>
                  <a:pt x="506" y="560"/>
                </a:lnTo>
                <a:lnTo>
                  <a:pt x="508" y="557"/>
                </a:lnTo>
                <a:lnTo>
                  <a:pt x="510" y="555"/>
                </a:lnTo>
                <a:lnTo>
                  <a:pt x="512" y="553"/>
                </a:lnTo>
                <a:lnTo>
                  <a:pt x="515" y="553"/>
                </a:lnTo>
                <a:lnTo>
                  <a:pt x="519" y="553"/>
                </a:lnTo>
                <a:lnTo>
                  <a:pt x="522" y="552"/>
                </a:lnTo>
                <a:lnTo>
                  <a:pt x="524" y="551"/>
                </a:lnTo>
                <a:lnTo>
                  <a:pt x="526" y="549"/>
                </a:lnTo>
                <a:lnTo>
                  <a:pt x="530" y="543"/>
                </a:lnTo>
                <a:lnTo>
                  <a:pt x="534" y="537"/>
                </a:lnTo>
                <a:lnTo>
                  <a:pt x="542" y="524"/>
                </a:lnTo>
                <a:lnTo>
                  <a:pt x="552" y="511"/>
                </a:lnTo>
                <a:lnTo>
                  <a:pt x="554" y="509"/>
                </a:lnTo>
                <a:lnTo>
                  <a:pt x="555" y="507"/>
                </a:lnTo>
                <a:lnTo>
                  <a:pt x="554" y="506"/>
                </a:lnTo>
                <a:lnTo>
                  <a:pt x="552" y="505"/>
                </a:lnTo>
                <a:lnTo>
                  <a:pt x="543" y="504"/>
                </a:lnTo>
                <a:lnTo>
                  <a:pt x="536" y="501"/>
                </a:lnTo>
                <a:lnTo>
                  <a:pt x="528" y="496"/>
                </a:lnTo>
                <a:lnTo>
                  <a:pt x="522" y="492"/>
                </a:lnTo>
                <a:lnTo>
                  <a:pt x="518" y="489"/>
                </a:lnTo>
                <a:lnTo>
                  <a:pt x="516" y="487"/>
                </a:lnTo>
                <a:lnTo>
                  <a:pt x="519" y="485"/>
                </a:lnTo>
                <a:lnTo>
                  <a:pt x="523" y="482"/>
                </a:lnTo>
                <a:lnTo>
                  <a:pt x="520" y="481"/>
                </a:lnTo>
                <a:lnTo>
                  <a:pt x="516" y="480"/>
                </a:lnTo>
                <a:lnTo>
                  <a:pt x="513" y="480"/>
                </a:lnTo>
                <a:lnTo>
                  <a:pt x="510" y="481"/>
                </a:lnTo>
                <a:lnTo>
                  <a:pt x="508" y="482"/>
                </a:lnTo>
                <a:lnTo>
                  <a:pt x="507" y="482"/>
                </a:lnTo>
                <a:lnTo>
                  <a:pt x="505" y="481"/>
                </a:lnTo>
                <a:lnTo>
                  <a:pt x="505" y="479"/>
                </a:lnTo>
                <a:lnTo>
                  <a:pt x="504" y="477"/>
                </a:lnTo>
                <a:lnTo>
                  <a:pt x="504" y="476"/>
                </a:lnTo>
                <a:lnTo>
                  <a:pt x="506" y="475"/>
                </a:lnTo>
                <a:lnTo>
                  <a:pt x="508" y="474"/>
                </a:lnTo>
                <a:lnTo>
                  <a:pt x="514" y="473"/>
                </a:lnTo>
                <a:lnTo>
                  <a:pt x="522" y="473"/>
                </a:lnTo>
                <a:lnTo>
                  <a:pt x="526" y="473"/>
                </a:lnTo>
                <a:lnTo>
                  <a:pt x="530" y="471"/>
                </a:lnTo>
                <a:lnTo>
                  <a:pt x="534" y="469"/>
                </a:lnTo>
                <a:lnTo>
                  <a:pt x="536" y="464"/>
                </a:lnTo>
                <a:lnTo>
                  <a:pt x="533" y="463"/>
                </a:lnTo>
                <a:lnTo>
                  <a:pt x="530" y="462"/>
                </a:lnTo>
                <a:lnTo>
                  <a:pt x="533" y="460"/>
                </a:lnTo>
                <a:lnTo>
                  <a:pt x="533" y="459"/>
                </a:lnTo>
                <a:lnTo>
                  <a:pt x="531" y="459"/>
                </a:lnTo>
                <a:lnTo>
                  <a:pt x="529" y="458"/>
                </a:lnTo>
                <a:lnTo>
                  <a:pt x="526" y="458"/>
                </a:lnTo>
                <a:lnTo>
                  <a:pt x="523" y="457"/>
                </a:lnTo>
                <a:lnTo>
                  <a:pt x="526" y="457"/>
                </a:lnTo>
                <a:lnTo>
                  <a:pt x="530" y="457"/>
                </a:lnTo>
                <a:lnTo>
                  <a:pt x="533" y="457"/>
                </a:lnTo>
                <a:lnTo>
                  <a:pt x="535" y="456"/>
                </a:lnTo>
                <a:lnTo>
                  <a:pt x="536" y="454"/>
                </a:lnTo>
                <a:lnTo>
                  <a:pt x="537" y="451"/>
                </a:lnTo>
                <a:lnTo>
                  <a:pt x="526" y="451"/>
                </a:lnTo>
                <a:lnTo>
                  <a:pt x="516" y="450"/>
                </a:lnTo>
                <a:lnTo>
                  <a:pt x="512" y="448"/>
                </a:lnTo>
                <a:lnTo>
                  <a:pt x="508" y="447"/>
                </a:lnTo>
                <a:lnTo>
                  <a:pt x="506" y="447"/>
                </a:lnTo>
                <a:lnTo>
                  <a:pt x="504" y="448"/>
                </a:lnTo>
                <a:lnTo>
                  <a:pt x="503" y="449"/>
                </a:lnTo>
                <a:lnTo>
                  <a:pt x="500" y="453"/>
                </a:lnTo>
                <a:lnTo>
                  <a:pt x="499" y="454"/>
                </a:lnTo>
                <a:lnTo>
                  <a:pt x="497" y="454"/>
                </a:lnTo>
                <a:lnTo>
                  <a:pt x="495" y="454"/>
                </a:lnTo>
                <a:lnTo>
                  <a:pt x="494" y="453"/>
                </a:lnTo>
                <a:lnTo>
                  <a:pt x="491" y="451"/>
                </a:lnTo>
                <a:lnTo>
                  <a:pt x="489" y="451"/>
                </a:lnTo>
                <a:lnTo>
                  <a:pt x="488" y="453"/>
                </a:lnTo>
                <a:lnTo>
                  <a:pt x="486" y="453"/>
                </a:lnTo>
                <a:lnTo>
                  <a:pt x="485" y="456"/>
                </a:lnTo>
                <a:lnTo>
                  <a:pt x="485" y="460"/>
                </a:lnTo>
                <a:lnTo>
                  <a:pt x="485" y="462"/>
                </a:lnTo>
                <a:lnTo>
                  <a:pt x="485" y="464"/>
                </a:lnTo>
                <a:lnTo>
                  <a:pt x="485" y="466"/>
                </a:lnTo>
                <a:lnTo>
                  <a:pt x="483" y="469"/>
                </a:lnTo>
                <a:lnTo>
                  <a:pt x="481" y="469"/>
                </a:lnTo>
                <a:lnTo>
                  <a:pt x="478" y="469"/>
                </a:lnTo>
                <a:lnTo>
                  <a:pt x="476" y="468"/>
                </a:lnTo>
                <a:lnTo>
                  <a:pt x="474" y="466"/>
                </a:lnTo>
                <a:lnTo>
                  <a:pt x="468" y="463"/>
                </a:lnTo>
                <a:lnTo>
                  <a:pt x="463" y="460"/>
                </a:lnTo>
                <a:lnTo>
                  <a:pt x="461" y="459"/>
                </a:lnTo>
                <a:lnTo>
                  <a:pt x="459" y="457"/>
                </a:lnTo>
                <a:lnTo>
                  <a:pt x="456" y="454"/>
                </a:lnTo>
                <a:lnTo>
                  <a:pt x="455" y="450"/>
                </a:lnTo>
                <a:lnTo>
                  <a:pt x="454" y="448"/>
                </a:lnTo>
                <a:lnTo>
                  <a:pt x="452" y="447"/>
                </a:lnTo>
                <a:lnTo>
                  <a:pt x="450" y="446"/>
                </a:lnTo>
                <a:lnTo>
                  <a:pt x="449" y="444"/>
                </a:lnTo>
                <a:lnTo>
                  <a:pt x="448" y="442"/>
                </a:lnTo>
                <a:lnTo>
                  <a:pt x="448" y="440"/>
                </a:lnTo>
                <a:lnTo>
                  <a:pt x="449" y="435"/>
                </a:lnTo>
                <a:lnTo>
                  <a:pt x="449" y="431"/>
                </a:lnTo>
                <a:lnTo>
                  <a:pt x="450" y="428"/>
                </a:lnTo>
                <a:lnTo>
                  <a:pt x="452" y="427"/>
                </a:lnTo>
                <a:lnTo>
                  <a:pt x="454" y="427"/>
                </a:lnTo>
                <a:lnTo>
                  <a:pt x="458" y="427"/>
                </a:lnTo>
                <a:lnTo>
                  <a:pt x="462" y="427"/>
                </a:lnTo>
                <a:lnTo>
                  <a:pt x="467" y="427"/>
                </a:lnTo>
                <a:lnTo>
                  <a:pt x="471" y="427"/>
                </a:lnTo>
                <a:lnTo>
                  <a:pt x="477" y="425"/>
                </a:lnTo>
                <a:lnTo>
                  <a:pt x="481" y="421"/>
                </a:lnTo>
                <a:lnTo>
                  <a:pt x="488" y="421"/>
                </a:lnTo>
                <a:lnTo>
                  <a:pt x="494" y="421"/>
                </a:lnTo>
                <a:lnTo>
                  <a:pt x="501" y="419"/>
                </a:lnTo>
                <a:lnTo>
                  <a:pt x="498" y="417"/>
                </a:lnTo>
                <a:lnTo>
                  <a:pt x="495" y="416"/>
                </a:lnTo>
                <a:lnTo>
                  <a:pt x="491" y="416"/>
                </a:lnTo>
                <a:lnTo>
                  <a:pt x="486" y="416"/>
                </a:lnTo>
                <a:lnTo>
                  <a:pt x="484" y="416"/>
                </a:lnTo>
                <a:lnTo>
                  <a:pt x="482" y="416"/>
                </a:lnTo>
                <a:lnTo>
                  <a:pt x="481" y="416"/>
                </a:lnTo>
                <a:lnTo>
                  <a:pt x="480" y="416"/>
                </a:lnTo>
                <a:lnTo>
                  <a:pt x="479" y="416"/>
                </a:lnTo>
                <a:lnTo>
                  <a:pt x="479" y="416"/>
                </a:lnTo>
                <a:lnTo>
                  <a:pt x="478" y="413"/>
                </a:lnTo>
                <a:lnTo>
                  <a:pt x="476" y="412"/>
                </a:lnTo>
                <a:lnTo>
                  <a:pt x="473" y="411"/>
                </a:lnTo>
                <a:lnTo>
                  <a:pt x="469" y="411"/>
                </a:lnTo>
                <a:lnTo>
                  <a:pt x="469" y="411"/>
                </a:lnTo>
                <a:lnTo>
                  <a:pt x="469" y="411"/>
                </a:lnTo>
                <a:lnTo>
                  <a:pt x="468" y="407"/>
                </a:lnTo>
                <a:lnTo>
                  <a:pt x="468" y="403"/>
                </a:lnTo>
                <a:lnTo>
                  <a:pt x="470" y="401"/>
                </a:lnTo>
                <a:lnTo>
                  <a:pt x="475" y="399"/>
                </a:lnTo>
                <a:lnTo>
                  <a:pt x="478" y="397"/>
                </a:lnTo>
                <a:lnTo>
                  <a:pt x="482" y="395"/>
                </a:lnTo>
                <a:lnTo>
                  <a:pt x="484" y="394"/>
                </a:lnTo>
                <a:lnTo>
                  <a:pt x="485" y="392"/>
                </a:lnTo>
                <a:lnTo>
                  <a:pt x="485" y="390"/>
                </a:lnTo>
                <a:lnTo>
                  <a:pt x="484" y="388"/>
                </a:lnTo>
                <a:lnTo>
                  <a:pt x="481" y="386"/>
                </a:lnTo>
                <a:lnTo>
                  <a:pt x="481" y="383"/>
                </a:lnTo>
                <a:lnTo>
                  <a:pt x="482" y="381"/>
                </a:lnTo>
                <a:lnTo>
                  <a:pt x="484" y="380"/>
                </a:lnTo>
                <a:lnTo>
                  <a:pt x="486" y="378"/>
                </a:lnTo>
                <a:lnTo>
                  <a:pt x="489" y="377"/>
                </a:lnTo>
                <a:lnTo>
                  <a:pt x="491" y="378"/>
                </a:lnTo>
                <a:lnTo>
                  <a:pt x="493" y="380"/>
                </a:lnTo>
                <a:lnTo>
                  <a:pt x="495" y="383"/>
                </a:lnTo>
                <a:lnTo>
                  <a:pt x="498" y="384"/>
                </a:lnTo>
                <a:lnTo>
                  <a:pt x="500" y="385"/>
                </a:lnTo>
                <a:lnTo>
                  <a:pt x="504" y="385"/>
                </a:lnTo>
                <a:lnTo>
                  <a:pt x="508" y="384"/>
                </a:lnTo>
                <a:lnTo>
                  <a:pt x="513" y="384"/>
                </a:lnTo>
                <a:lnTo>
                  <a:pt x="518" y="385"/>
                </a:lnTo>
                <a:lnTo>
                  <a:pt x="522" y="386"/>
                </a:lnTo>
                <a:lnTo>
                  <a:pt x="531" y="389"/>
                </a:lnTo>
                <a:lnTo>
                  <a:pt x="540" y="393"/>
                </a:lnTo>
                <a:lnTo>
                  <a:pt x="552" y="398"/>
                </a:lnTo>
                <a:lnTo>
                  <a:pt x="562" y="403"/>
                </a:lnTo>
                <a:lnTo>
                  <a:pt x="565" y="404"/>
                </a:lnTo>
                <a:lnTo>
                  <a:pt x="565" y="407"/>
                </a:lnTo>
                <a:lnTo>
                  <a:pt x="564" y="410"/>
                </a:lnTo>
                <a:lnTo>
                  <a:pt x="565" y="412"/>
                </a:lnTo>
                <a:lnTo>
                  <a:pt x="567" y="413"/>
                </a:lnTo>
                <a:lnTo>
                  <a:pt x="569" y="414"/>
                </a:lnTo>
                <a:lnTo>
                  <a:pt x="571" y="415"/>
                </a:lnTo>
                <a:lnTo>
                  <a:pt x="573" y="417"/>
                </a:lnTo>
                <a:lnTo>
                  <a:pt x="574" y="419"/>
                </a:lnTo>
                <a:lnTo>
                  <a:pt x="575" y="421"/>
                </a:lnTo>
                <a:lnTo>
                  <a:pt x="576" y="425"/>
                </a:lnTo>
                <a:lnTo>
                  <a:pt x="579" y="427"/>
                </a:lnTo>
                <a:lnTo>
                  <a:pt x="587" y="429"/>
                </a:lnTo>
                <a:lnTo>
                  <a:pt x="597" y="432"/>
                </a:lnTo>
                <a:lnTo>
                  <a:pt x="605" y="435"/>
                </a:lnTo>
                <a:lnTo>
                  <a:pt x="613" y="441"/>
                </a:lnTo>
                <a:lnTo>
                  <a:pt x="613" y="442"/>
                </a:lnTo>
                <a:lnTo>
                  <a:pt x="613" y="442"/>
                </a:lnTo>
                <a:lnTo>
                  <a:pt x="613" y="444"/>
                </a:lnTo>
                <a:lnTo>
                  <a:pt x="613" y="446"/>
                </a:lnTo>
                <a:lnTo>
                  <a:pt x="613" y="447"/>
                </a:lnTo>
                <a:lnTo>
                  <a:pt x="613" y="447"/>
                </a:lnTo>
                <a:lnTo>
                  <a:pt x="614" y="463"/>
                </a:lnTo>
                <a:lnTo>
                  <a:pt x="614" y="479"/>
                </a:lnTo>
                <a:lnTo>
                  <a:pt x="615" y="491"/>
                </a:lnTo>
                <a:lnTo>
                  <a:pt x="616" y="502"/>
                </a:lnTo>
                <a:lnTo>
                  <a:pt x="618" y="514"/>
                </a:lnTo>
                <a:lnTo>
                  <a:pt x="618" y="525"/>
                </a:lnTo>
                <a:lnTo>
                  <a:pt x="618" y="528"/>
                </a:lnTo>
                <a:lnTo>
                  <a:pt x="616" y="532"/>
                </a:lnTo>
                <a:lnTo>
                  <a:pt x="614" y="533"/>
                </a:lnTo>
                <a:lnTo>
                  <a:pt x="611" y="533"/>
                </a:lnTo>
                <a:lnTo>
                  <a:pt x="607" y="532"/>
                </a:lnTo>
                <a:lnTo>
                  <a:pt x="604" y="531"/>
                </a:lnTo>
                <a:lnTo>
                  <a:pt x="604" y="528"/>
                </a:lnTo>
                <a:lnTo>
                  <a:pt x="605" y="525"/>
                </a:lnTo>
                <a:lnTo>
                  <a:pt x="604" y="522"/>
                </a:lnTo>
                <a:lnTo>
                  <a:pt x="603" y="520"/>
                </a:lnTo>
                <a:lnTo>
                  <a:pt x="602" y="515"/>
                </a:lnTo>
                <a:lnTo>
                  <a:pt x="601" y="509"/>
                </a:lnTo>
                <a:lnTo>
                  <a:pt x="601" y="506"/>
                </a:lnTo>
                <a:lnTo>
                  <a:pt x="601" y="504"/>
                </a:lnTo>
                <a:lnTo>
                  <a:pt x="602" y="501"/>
                </a:lnTo>
                <a:lnTo>
                  <a:pt x="603" y="499"/>
                </a:lnTo>
                <a:lnTo>
                  <a:pt x="606" y="495"/>
                </a:lnTo>
                <a:lnTo>
                  <a:pt x="607" y="491"/>
                </a:lnTo>
                <a:lnTo>
                  <a:pt x="606" y="488"/>
                </a:lnTo>
                <a:lnTo>
                  <a:pt x="604" y="485"/>
                </a:lnTo>
                <a:lnTo>
                  <a:pt x="602" y="482"/>
                </a:lnTo>
                <a:lnTo>
                  <a:pt x="601" y="481"/>
                </a:lnTo>
                <a:lnTo>
                  <a:pt x="600" y="479"/>
                </a:lnTo>
                <a:lnTo>
                  <a:pt x="600" y="476"/>
                </a:lnTo>
                <a:lnTo>
                  <a:pt x="600" y="472"/>
                </a:lnTo>
                <a:lnTo>
                  <a:pt x="599" y="469"/>
                </a:lnTo>
                <a:lnTo>
                  <a:pt x="598" y="466"/>
                </a:lnTo>
                <a:lnTo>
                  <a:pt x="595" y="464"/>
                </a:lnTo>
                <a:lnTo>
                  <a:pt x="591" y="463"/>
                </a:lnTo>
                <a:lnTo>
                  <a:pt x="588" y="464"/>
                </a:lnTo>
                <a:lnTo>
                  <a:pt x="586" y="466"/>
                </a:lnTo>
                <a:lnTo>
                  <a:pt x="584" y="469"/>
                </a:lnTo>
                <a:lnTo>
                  <a:pt x="582" y="472"/>
                </a:lnTo>
                <a:lnTo>
                  <a:pt x="581" y="475"/>
                </a:lnTo>
                <a:lnTo>
                  <a:pt x="580" y="478"/>
                </a:lnTo>
                <a:lnTo>
                  <a:pt x="577" y="481"/>
                </a:lnTo>
                <a:lnTo>
                  <a:pt x="575" y="484"/>
                </a:lnTo>
                <a:lnTo>
                  <a:pt x="571" y="485"/>
                </a:lnTo>
                <a:lnTo>
                  <a:pt x="568" y="486"/>
                </a:lnTo>
                <a:lnTo>
                  <a:pt x="566" y="487"/>
                </a:lnTo>
                <a:lnTo>
                  <a:pt x="564" y="489"/>
                </a:lnTo>
                <a:lnTo>
                  <a:pt x="564" y="491"/>
                </a:lnTo>
                <a:lnTo>
                  <a:pt x="566" y="494"/>
                </a:lnTo>
                <a:lnTo>
                  <a:pt x="568" y="495"/>
                </a:lnTo>
                <a:lnTo>
                  <a:pt x="570" y="495"/>
                </a:lnTo>
                <a:lnTo>
                  <a:pt x="573" y="494"/>
                </a:lnTo>
                <a:lnTo>
                  <a:pt x="576" y="493"/>
                </a:lnTo>
                <a:lnTo>
                  <a:pt x="580" y="493"/>
                </a:lnTo>
                <a:lnTo>
                  <a:pt x="583" y="494"/>
                </a:lnTo>
                <a:lnTo>
                  <a:pt x="585" y="495"/>
                </a:lnTo>
                <a:lnTo>
                  <a:pt x="587" y="497"/>
                </a:lnTo>
                <a:lnTo>
                  <a:pt x="589" y="501"/>
                </a:lnTo>
                <a:lnTo>
                  <a:pt x="590" y="504"/>
                </a:lnTo>
                <a:lnTo>
                  <a:pt x="591" y="508"/>
                </a:lnTo>
                <a:lnTo>
                  <a:pt x="591" y="514"/>
                </a:lnTo>
                <a:lnTo>
                  <a:pt x="591" y="519"/>
                </a:lnTo>
                <a:lnTo>
                  <a:pt x="591" y="521"/>
                </a:lnTo>
                <a:lnTo>
                  <a:pt x="591" y="523"/>
                </a:lnTo>
                <a:lnTo>
                  <a:pt x="590" y="525"/>
                </a:lnTo>
                <a:lnTo>
                  <a:pt x="588" y="526"/>
                </a:lnTo>
                <a:lnTo>
                  <a:pt x="585" y="527"/>
                </a:lnTo>
                <a:lnTo>
                  <a:pt x="583" y="526"/>
                </a:lnTo>
                <a:lnTo>
                  <a:pt x="581" y="525"/>
                </a:lnTo>
                <a:lnTo>
                  <a:pt x="579" y="523"/>
                </a:lnTo>
                <a:lnTo>
                  <a:pt x="575" y="520"/>
                </a:lnTo>
                <a:lnTo>
                  <a:pt x="572" y="518"/>
                </a:lnTo>
                <a:lnTo>
                  <a:pt x="569" y="516"/>
                </a:lnTo>
                <a:lnTo>
                  <a:pt x="565" y="516"/>
                </a:lnTo>
                <a:lnTo>
                  <a:pt x="562" y="518"/>
                </a:lnTo>
                <a:lnTo>
                  <a:pt x="560" y="523"/>
                </a:lnTo>
                <a:lnTo>
                  <a:pt x="560" y="523"/>
                </a:lnTo>
                <a:lnTo>
                  <a:pt x="560" y="524"/>
                </a:lnTo>
                <a:lnTo>
                  <a:pt x="560" y="525"/>
                </a:lnTo>
                <a:lnTo>
                  <a:pt x="561" y="526"/>
                </a:lnTo>
                <a:lnTo>
                  <a:pt x="561" y="527"/>
                </a:lnTo>
                <a:lnTo>
                  <a:pt x="562" y="530"/>
                </a:lnTo>
                <a:lnTo>
                  <a:pt x="565" y="531"/>
                </a:lnTo>
                <a:lnTo>
                  <a:pt x="566" y="532"/>
                </a:lnTo>
                <a:lnTo>
                  <a:pt x="568" y="532"/>
                </a:lnTo>
                <a:lnTo>
                  <a:pt x="574" y="533"/>
                </a:lnTo>
                <a:lnTo>
                  <a:pt x="580" y="535"/>
                </a:lnTo>
                <a:lnTo>
                  <a:pt x="591" y="541"/>
                </a:lnTo>
                <a:lnTo>
                  <a:pt x="603" y="546"/>
                </a:lnTo>
                <a:lnTo>
                  <a:pt x="609" y="548"/>
                </a:lnTo>
                <a:lnTo>
                  <a:pt x="615" y="549"/>
                </a:lnTo>
                <a:lnTo>
                  <a:pt x="620" y="549"/>
                </a:lnTo>
                <a:lnTo>
                  <a:pt x="625" y="549"/>
                </a:lnTo>
                <a:lnTo>
                  <a:pt x="629" y="547"/>
                </a:lnTo>
                <a:lnTo>
                  <a:pt x="633" y="545"/>
                </a:lnTo>
                <a:lnTo>
                  <a:pt x="636" y="541"/>
                </a:lnTo>
                <a:lnTo>
                  <a:pt x="640" y="537"/>
                </a:lnTo>
                <a:lnTo>
                  <a:pt x="643" y="534"/>
                </a:lnTo>
                <a:lnTo>
                  <a:pt x="645" y="531"/>
                </a:lnTo>
                <a:lnTo>
                  <a:pt x="651" y="523"/>
                </a:lnTo>
                <a:lnTo>
                  <a:pt x="653" y="518"/>
                </a:lnTo>
                <a:lnTo>
                  <a:pt x="652" y="512"/>
                </a:lnTo>
                <a:lnTo>
                  <a:pt x="648" y="505"/>
                </a:lnTo>
                <a:lnTo>
                  <a:pt x="648" y="503"/>
                </a:lnTo>
                <a:lnTo>
                  <a:pt x="649" y="501"/>
                </a:lnTo>
                <a:lnTo>
                  <a:pt x="650" y="500"/>
                </a:lnTo>
                <a:lnTo>
                  <a:pt x="652" y="500"/>
                </a:lnTo>
                <a:lnTo>
                  <a:pt x="658" y="500"/>
                </a:lnTo>
                <a:lnTo>
                  <a:pt x="663" y="501"/>
                </a:lnTo>
                <a:lnTo>
                  <a:pt x="666" y="502"/>
                </a:lnTo>
                <a:lnTo>
                  <a:pt x="668" y="503"/>
                </a:lnTo>
                <a:lnTo>
                  <a:pt x="671" y="505"/>
                </a:lnTo>
                <a:lnTo>
                  <a:pt x="672" y="508"/>
                </a:lnTo>
                <a:lnTo>
                  <a:pt x="674" y="511"/>
                </a:lnTo>
                <a:lnTo>
                  <a:pt x="678" y="514"/>
                </a:lnTo>
                <a:lnTo>
                  <a:pt x="682" y="515"/>
                </a:lnTo>
                <a:lnTo>
                  <a:pt x="686" y="516"/>
                </a:lnTo>
                <a:lnTo>
                  <a:pt x="689" y="517"/>
                </a:lnTo>
                <a:lnTo>
                  <a:pt x="691" y="521"/>
                </a:lnTo>
                <a:lnTo>
                  <a:pt x="692" y="522"/>
                </a:lnTo>
                <a:lnTo>
                  <a:pt x="694" y="522"/>
                </a:lnTo>
                <a:lnTo>
                  <a:pt x="695" y="522"/>
                </a:lnTo>
                <a:lnTo>
                  <a:pt x="696" y="521"/>
                </a:lnTo>
                <a:lnTo>
                  <a:pt x="706" y="511"/>
                </a:lnTo>
                <a:lnTo>
                  <a:pt x="713" y="501"/>
                </a:lnTo>
                <a:lnTo>
                  <a:pt x="715" y="500"/>
                </a:lnTo>
                <a:lnTo>
                  <a:pt x="716" y="499"/>
                </a:lnTo>
                <a:lnTo>
                  <a:pt x="717" y="499"/>
                </a:lnTo>
                <a:lnTo>
                  <a:pt x="718" y="497"/>
                </a:lnTo>
                <a:lnTo>
                  <a:pt x="719" y="496"/>
                </a:lnTo>
                <a:lnTo>
                  <a:pt x="719" y="494"/>
                </a:lnTo>
                <a:lnTo>
                  <a:pt x="717" y="495"/>
                </a:lnTo>
                <a:lnTo>
                  <a:pt x="716" y="495"/>
                </a:lnTo>
                <a:lnTo>
                  <a:pt x="711" y="495"/>
                </a:lnTo>
                <a:lnTo>
                  <a:pt x="708" y="494"/>
                </a:lnTo>
                <a:lnTo>
                  <a:pt x="711" y="495"/>
                </a:lnTo>
                <a:lnTo>
                  <a:pt x="716" y="495"/>
                </a:lnTo>
                <a:lnTo>
                  <a:pt x="717" y="495"/>
                </a:lnTo>
                <a:lnTo>
                  <a:pt x="719" y="494"/>
                </a:lnTo>
                <a:lnTo>
                  <a:pt x="719" y="494"/>
                </a:lnTo>
                <a:lnTo>
                  <a:pt x="719" y="494"/>
                </a:lnTo>
                <a:lnTo>
                  <a:pt x="720" y="493"/>
                </a:lnTo>
                <a:lnTo>
                  <a:pt x="721" y="492"/>
                </a:lnTo>
                <a:lnTo>
                  <a:pt x="722" y="491"/>
                </a:lnTo>
                <a:lnTo>
                  <a:pt x="722" y="490"/>
                </a:lnTo>
                <a:lnTo>
                  <a:pt x="722" y="490"/>
                </a:lnTo>
                <a:lnTo>
                  <a:pt x="722" y="490"/>
                </a:lnTo>
                <a:lnTo>
                  <a:pt x="722" y="490"/>
                </a:lnTo>
                <a:lnTo>
                  <a:pt x="723" y="487"/>
                </a:lnTo>
                <a:lnTo>
                  <a:pt x="724" y="484"/>
                </a:lnTo>
                <a:lnTo>
                  <a:pt x="723" y="487"/>
                </a:lnTo>
                <a:lnTo>
                  <a:pt x="722" y="490"/>
                </a:lnTo>
                <a:lnTo>
                  <a:pt x="724" y="490"/>
                </a:lnTo>
                <a:lnTo>
                  <a:pt x="726" y="490"/>
                </a:lnTo>
                <a:lnTo>
                  <a:pt x="728" y="490"/>
                </a:lnTo>
                <a:lnTo>
                  <a:pt x="729" y="488"/>
                </a:lnTo>
                <a:lnTo>
                  <a:pt x="731" y="486"/>
                </a:lnTo>
                <a:lnTo>
                  <a:pt x="732" y="486"/>
                </a:lnTo>
                <a:lnTo>
                  <a:pt x="733" y="485"/>
                </a:lnTo>
                <a:lnTo>
                  <a:pt x="734" y="486"/>
                </a:lnTo>
                <a:lnTo>
                  <a:pt x="736" y="487"/>
                </a:lnTo>
                <a:lnTo>
                  <a:pt x="735" y="488"/>
                </a:lnTo>
                <a:lnTo>
                  <a:pt x="735" y="489"/>
                </a:lnTo>
                <a:lnTo>
                  <a:pt x="735" y="490"/>
                </a:lnTo>
                <a:lnTo>
                  <a:pt x="735" y="494"/>
                </a:lnTo>
                <a:lnTo>
                  <a:pt x="734" y="499"/>
                </a:lnTo>
                <a:lnTo>
                  <a:pt x="733" y="501"/>
                </a:lnTo>
                <a:lnTo>
                  <a:pt x="734" y="503"/>
                </a:lnTo>
                <a:lnTo>
                  <a:pt x="735" y="504"/>
                </a:lnTo>
                <a:lnTo>
                  <a:pt x="737" y="506"/>
                </a:lnTo>
                <a:lnTo>
                  <a:pt x="736" y="508"/>
                </a:lnTo>
                <a:lnTo>
                  <a:pt x="735" y="509"/>
                </a:lnTo>
                <a:lnTo>
                  <a:pt x="732" y="514"/>
                </a:lnTo>
                <a:lnTo>
                  <a:pt x="731" y="518"/>
                </a:lnTo>
                <a:lnTo>
                  <a:pt x="729" y="522"/>
                </a:lnTo>
                <a:lnTo>
                  <a:pt x="729" y="527"/>
                </a:lnTo>
                <a:lnTo>
                  <a:pt x="727" y="530"/>
                </a:lnTo>
                <a:lnTo>
                  <a:pt x="725" y="534"/>
                </a:lnTo>
                <a:lnTo>
                  <a:pt x="724" y="537"/>
                </a:lnTo>
                <a:lnTo>
                  <a:pt x="724" y="540"/>
                </a:lnTo>
                <a:lnTo>
                  <a:pt x="724" y="546"/>
                </a:lnTo>
                <a:lnTo>
                  <a:pt x="724" y="550"/>
                </a:lnTo>
                <a:lnTo>
                  <a:pt x="725" y="553"/>
                </a:lnTo>
                <a:lnTo>
                  <a:pt x="726" y="556"/>
                </a:lnTo>
                <a:lnTo>
                  <a:pt x="728" y="560"/>
                </a:lnTo>
                <a:lnTo>
                  <a:pt x="732" y="562"/>
                </a:lnTo>
                <a:lnTo>
                  <a:pt x="735" y="565"/>
                </a:lnTo>
                <a:lnTo>
                  <a:pt x="738" y="567"/>
                </a:lnTo>
                <a:lnTo>
                  <a:pt x="743" y="566"/>
                </a:lnTo>
                <a:lnTo>
                  <a:pt x="747" y="566"/>
                </a:lnTo>
                <a:lnTo>
                  <a:pt x="750" y="568"/>
                </a:lnTo>
                <a:lnTo>
                  <a:pt x="753" y="569"/>
                </a:lnTo>
                <a:lnTo>
                  <a:pt x="755" y="570"/>
                </a:lnTo>
                <a:lnTo>
                  <a:pt x="758" y="571"/>
                </a:lnTo>
                <a:lnTo>
                  <a:pt x="765" y="571"/>
                </a:lnTo>
                <a:lnTo>
                  <a:pt x="771" y="572"/>
                </a:lnTo>
                <a:lnTo>
                  <a:pt x="781" y="574"/>
                </a:lnTo>
                <a:lnTo>
                  <a:pt x="791" y="574"/>
                </a:lnTo>
                <a:lnTo>
                  <a:pt x="800" y="574"/>
                </a:lnTo>
                <a:lnTo>
                  <a:pt x="810" y="574"/>
                </a:lnTo>
                <a:lnTo>
                  <a:pt x="815" y="574"/>
                </a:lnTo>
                <a:lnTo>
                  <a:pt x="821" y="574"/>
                </a:lnTo>
                <a:lnTo>
                  <a:pt x="826" y="576"/>
                </a:lnTo>
                <a:lnTo>
                  <a:pt x="831" y="578"/>
                </a:lnTo>
                <a:lnTo>
                  <a:pt x="832" y="578"/>
                </a:lnTo>
                <a:lnTo>
                  <a:pt x="833" y="578"/>
                </a:lnTo>
                <a:lnTo>
                  <a:pt x="835" y="578"/>
                </a:lnTo>
                <a:lnTo>
                  <a:pt x="837" y="577"/>
                </a:lnTo>
                <a:lnTo>
                  <a:pt x="838" y="574"/>
                </a:lnTo>
                <a:lnTo>
                  <a:pt x="840" y="573"/>
                </a:lnTo>
                <a:lnTo>
                  <a:pt x="842" y="573"/>
                </a:lnTo>
                <a:lnTo>
                  <a:pt x="845" y="573"/>
                </a:lnTo>
                <a:lnTo>
                  <a:pt x="849" y="573"/>
                </a:lnTo>
                <a:lnTo>
                  <a:pt x="853" y="572"/>
                </a:lnTo>
                <a:lnTo>
                  <a:pt x="857" y="571"/>
                </a:lnTo>
                <a:lnTo>
                  <a:pt x="860" y="569"/>
                </a:lnTo>
                <a:lnTo>
                  <a:pt x="867" y="565"/>
                </a:lnTo>
                <a:lnTo>
                  <a:pt x="873" y="561"/>
                </a:lnTo>
                <a:lnTo>
                  <a:pt x="879" y="555"/>
                </a:lnTo>
                <a:lnTo>
                  <a:pt x="885" y="549"/>
                </a:lnTo>
                <a:lnTo>
                  <a:pt x="888" y="547"/>
                </a:lnTo>
                <a:lnTo>
                  <a:pt x="891" y="545"/>
                </a:lnTo>
                <a:lnTo>
                  <a:pt x="894" y="542"/>
                </a:lnTo>
                <a:lnTo>
                  <a:pt x="895" y="538"/>
                </a:lnTo>
                <a:lnTo>
                  <a:pt x="898" y="535"/>
                </a:lnTo>
                <a:lnTo>
                  <a:pt x="900" y="533"/>
                </a:lnTo>
                <a:lnTo>
                  <a:pt x="902" y="531"/>
                </a:lnTo>
                <a:lnTo>
                  <a:pt x="904" y="528"/>
                </a:lnTo>
                <a:lnTo>
                  <a:pt x="909" y="527"/>
                </a:lnTo>
                <a:lnTo>
                  <a:pt x="917" y="527"/>
                </a:lnTo>
                <a:lnTo>
                  <a:pt x="919" y="530"/>
                </a:lnTo>
                <a:lnTo>
                  <a:pt x="921" y="531"/>
                </a:lnTo>
                <a:lnTo>
                  <a:pt x="924" y="532"/>
                </a:lnTo>
                <a:lnTo>
                  <a:pt x="928" y="532"/>
                </a:lnTo>
                <a:lnTo>
                  <a:pt x="930" y="532"/>
                </a:lnTo>
                <a:lnTo>
                  <a:pt x="933" y="531"/>
                </a:lnTo>
                <a:lnTo>
                  <a:pt x="936" y="530"/>
                </a:lnTo>
                <a:lnTo>
                  <a:pt x="938" y="527"/>
                </a:lnTo>
                <a:lnTo>
                  <a:pt x="937" y="527"/>
                </a:lnTo>
                <a:lnTo>
                  <a:pt x="936" y="527"/>
                </a:lnTo>
                <a:lnTo>
                  <a:pt x="937" y="527"/>
                </a:lnTo>
                <a:lnTo>
                  <a:pt x="938" y="527"/>
                </a:lnTo>
                <a:lnTo>
                  <a:pt x="939" y="527"/>
                </a:lnTo>
                <a:lnTo>
                  <a:pt x="941" y="527"/>
                </a:lnTo>
                <a:lnTo>
                  <a:pt x="944" y="524"/>
                </a:lnTo>
                <a:lnTo>
                  <a:pt x="947" y="523"/>
                </a:lnTo>
                <a:lnTo>
                  <a:pt x="944" y="524"/>
                </a:lnTo>
                <a:lnTo>
                  <a:pt x="941" y="527"/>
                </a:lnTo>
                <a:lnTo>
                  <a:pt x="943" y="531"/>
                </a:lnTo>
                <a:lnTo>
                  <a:pt x="945" y="532"/>
                </a:lnTo>
                <a:lnTo>
                  <a:pt x="948" y="533"/>
                </a:lnTo>
                <a:lnTo>
                  <a:pt x="951" y="533"/>
                </a:lnTo>
                <a:lnTo>
                  <a:pt x="954" y="533"/>
                </a:lnTo>
                <a:lnTo>
                  <a:pt x="959" y="534"/>
                </a:lnTo>
                <a:lnTo>
                  <a:pt x="962" y="536"/>
                </a:lnTo>
                <a:lnTo>
                  <a:pt x="965" y="538"/>
                </a:lnTo>
                <a:lnTo>
                  <a:pt x="968" y="541"/>
                </a:lnTo>
                <a:lnTo>
                  <a:pt x="969" y="545"/>
                </a:lnTo>
                <a:lnTo>
                  <a:pt x="970" y="549"/>
                </a:lnTo>
                <a:lnTo>
                  <a:pt x="969" y="554"/>
                </a:lnTo>
                <a:lnTo>
                  <a:pt x="974" y="553"/>
                </a:lnTo>
                <a:lnTo>
                  <a:pt x="978" y="552"/>
                </a:lnTo>
                <a:lnTo>
                  <a:pt x="974" y="553"/>
                </a:lnTo>
                <a:lnTo>
                  <a:pt x="969" y="554"/>
                </a:lnTo>
                <a:lnTo>
                  <a:pt x="963" y="562"/>
                </a:lnTo>
                <a:lnTo>
                  <a:pt x="955" y="569"/>
                </a:lnTo>
                <a:lnTo>
                  <a:pt x="953" y="570"/>
                </a:lnTo>
                <a:lnTo>
                  <a:pt x="952" y="570"/>
                </a:lnTo>
                <a:lnTo>
                  <a:pt x="952" y="571"/>
                </a:lnTo>
                <a:lnTo>
                  <a:pt x="952" y="573"/>
                </a:lnTo>
                <a:lnTo>
                  <a:pt x="952" y="574"/>
                </a:lnTo>
                <a:lnTo>
                  <a:pt x="952" y="574"/>
                </a:lnTo>
                <a:lnTo>
                  <a:pt x="948" y="577"/>
                </a:lnTo>
                <a:lnTo>
                  <a:pt x="944" y="580"/>
                </a:lnTo>
                <a:lnTo>
                  <a:pt x="940" y="583"/>
                </a:lnTo>
                <a:lnTo>
                  <a:pt x="938" y="587"/>
                </a:lnTo>
                <a:lnTo>
                  <a:pt x="933" y="595"/>
                </a:lnTo>
                <a:lnTo>
                  <a:pt x="930" y="603"/>
                </a:lnTo>
                <a:lnTo>
                  <a:pt x="929" y="607"/>
                </a:lnTo>
                <a:lnTo>
                  <a:pt x="931" y="609"/>
                </a:lnTo>
                <a:lnTo>
                  <a:pt x="933" y="610"/>
                </a:lnTo>
                <a:lnTo>
                  <a:pt x="935" y="609"/>
                </a:lnTo>
                <a:lnTo>
                  <a:pt x="937" y="608"/>
                </a:lnTo>
                <a:lnTo>
                  <a:pt x="939" y="607"/>
                </a:lnTo>
                <a:lnTo>
                  <a:pt x="941" y="608"/>
                </a:lnTo>
                <a:lnTo>
                  <a:pt x="944" y="609"/>
                </a:lnTo>
                <a:lnTo>
                  <a:pt x="947" y="611"/>
                </a:lnTo>
                <a:lnTo>
                  <a:pt x="951" y="611"/>
                </a:lnTo>
                <a:lnTo>
                  <a:pt x="955" y="612"/>
                </a:lnTo>
                <a:lnTo>
                  <a:pt x="959" y="612"/>
                </a:lnTo>
                <a:lnTo>
                  <a:pt x="969" y="612"/>
                </a:lnTo>
                <a:lnTo>
                  <a:pt x="979" y="613"/>
                </a:lnTo>
                <a:lnTo>
                  <a:pt x="985" y="613"/>
                </a:lnTo>
                <a:lnTo>
                  <a:pt x="992" y="612"/>
                </a:lnTo>
                <a:lnTo>
                  <a:pt x="998" y="610"/>
                </a:lnTo>
                <a:lnTo>
                  <a:pt x="1003" y="606"/>
                </a:lnTo>
                <a:lnTo>
                  <a:pt x="1007" y="602"/>
                </a:lnTo>
                <a:lnTo>
                  <a:pt x="1011" y="599"/>
                </a:lnTo>
                <a:lnTo>
                  <a:pt x="1015" y="596"/>
                </a:lnTo>
                <a:lnTo>
                  <a:pt x="1020" y="594"/>
                </a:lnTo>
                <a:lnTo>
                  <a:pt x="1029" y="592"/>
                </a:lnTo>
                <a:lnTo>
                  <a:pt x="1040" y="591"/>
                </a:lnTo>
                <a:lnTo>
                  <a:pt x="1043" y="591"/>
                </a:lnTo>
                <a:lnTo>
                  <a:pt x="1046" y="589"/>
                </a:lnTo>
                <a:lnTo>
                  <a:pt x="1051" y="586"/>
                </a:lnTo>
                <a:lnTo>
                  <a:pt x="1055" y="584"/>
                </a:lnTo>
                <a:lnTo>
                  <a:pt x="1059" y="582"/>
                </a:lnTo>
                <a:lnTo>
                  <a:pt x="1065" y="581"/>
                </a:lnTo>
                <a:lnTo>
                  <a:pt x="1074" y="578"/>
                </a:lnTo>
                <a:lnTo>
                  <a:pt x="1083" y="573"/>
                </a:lnTo>
                <a:lnTo>
                  <a:pt x="1085" y="573"/>
                </a:lnTo>
                <a:lnTo>
                  <a:pt x="1086" y="573"/>
                </a:lnTo>
                <a:lnTo>
                  <a:pt x="1088" y="577"/>
                </a:lnTo>
                <a:lnTo>
                  <a:pt x="1090" y="578"/>
                </a:lnTo>
                <a:lnTo>
                  <a:pt x="1091" y="578"/>
                </a:lnTo>
                <a:lnTo>
                  <a:pt x="1094" y="578"/>
                </a:lnTo>
                <a:lnTo>
                  <a:pt x="1096" y="574"/>
                </a:lnTo>
                <a:lnTo>
                  <a:pt x="1098" y="571"/>
                </a:lnTo>
                <a:lnTo>
                  <a:pt x="1102" y="569"/>
                </a:lnTo>
                <a:lnTo>
                  <a:pt x="1106" y="568"/>
                </a:lnTo>
                <a:lnTo>
                  <a:pt x="1108" y="567"/>
                </a:lnTo>
                <a:lnTo>
                  <a:pt x="1111" y="566"/>
                </a:lnTo>
                <a:lnTo>
                  <a:pt x="1112" y="561"/>
                </a:lnTo>
                <a:lnTo>
                  <a:pt x="1115" y="556"/>
                </a:lnTo>
                <a:lnTo>
                  <a:pt x="1118" y="553"/>
                </a:lnTo>
                <a:lnTo>
                  <a:pt x="1122" y="549"/>
                </a:lnTo>
                <a:lnTo>
                  <a:pt x="1125" y="546"/>
                </a:lnTo>
                <a:lnTo>
                  <a:pt x="1125" y="542"/>
                </a:lnTo>
                <a:lnTo>
                  <a:pt x="1123" y="539"/>
                </a:lnTo>
                <a:lnTo>
                  <a:pt x="1125" y="537"/>
                </a:lnTo>
                <a:lnTo>
                  <a:pt x="1127" y="534"/>
                </a:lnTo>
                <a:lnTo>
                  <a:pt x="1129" y="533"/>
                </a:lnTo>
                <a:lnTo>
                  <a:pt x="1132" y="528"/>
                </a:lnTo>
                <a:lnTo>
                  <a:pt x="1136" y="524"/>
                </a:lnTo>
                <a:lnTo>
                  <a:pt x="1137" y="521"/>
                </a:lnTo>
                <a:lnTo>
                  <a:pt x="1140" y="519"/>
                </a:lnTo>
                <a:lnTo>
                  <a:pt x="1142" y="518"/>
                </a:lnTo>
                <a:lnTo>
                  <a:pt x="1145" y="517"/>
                </a:lnTo>
                <a:lnTo>
                  <a:pt x="1148" y="520"/>
                </a:lnTo>
                <a:lnTo>
                  <a:pt x="1149" y="524"/>
                </a:lnTo>
                <a:lnTo>
                  <a:pt x="1155" y="520"/>
                </a:lnTo>
                <a:lnTo>
                  <a:pt x="1161" y="516"/>
                </a:lnTo>
                <a:lnTo>
                  <a:pt x="1165" y="517"/>
                </a:lnTo>
                <a:lnTo>
                  <a:pt x="1168" y="519"/>
                </a:lnTo>
                <a:lnTo>
                  <a:pt x="1172" y="521"/>
                </a:lnTo>
                <a:lnTo>
                  <a:pt x="1175" y="524"/>
                </a:lnTo>
                <a:lnTo>
                  <a:pt x="1177" y="525"/>
                </a:lnTo>
                <a:lnTo>
                  <a:pt x="1178" y="525"/>
                </a:lnTo>
                <a:lnTo>
                  <a:pt x="1180" y="524"/>
                </a:lnTo>
                <a:lnTo>
                  <a:pt x="1181" y="523"/>
                </a:lnTo>
                <a:lnTo>
                  <a:pt x="1185" y="521"/>
                </a:lnTo>
                <a:lnTo>
                  <a:pt x="1189" y="520"/>
                </a:lnTo>
                <a:lnTo>
                  <a:pt x="1193" y="519"/>
                </a:lnTo>
                <a:lnTo>
                  <a:pt x="1197" y="519"/>
                </a:lnTo>
                <a:lnTo>
                  <a:pt x="1209" y="514"/>
                </a:lnTo>
                <a:lnTo>
                  <a:pt x="1221" y="508"/>
                </a:lnTo>
                <a:lnTo>
                  <a:pt x="1222" y="506"/>
                </a:lnTo>
                <a:lnTo>
                  <a:pt x="1222" y="503"/>
                </a:lnTo>
                <a:lnTo>
                  <a:pt x="1222" y="502"/>
                </a:lnTo>
                <a:lnTo>
                  <a:pt x="1223" y="501"/>
                </a:lnTo>
                <a:lnTo>
                  <a:pt x="1224" y="500"/>
                </a:lnTo>
                <a:lnTo>
                  <a:pt x="1226" y="499"/>
                </a:lnTo>
                <a:lnTo>
                  <a:pt x="1232" y="496"/>
                </a:lnTo>
                <a:lnTo>
                  <a:pt x="1236" y="494"/>
                </a:lnTo>
                <a:lnTo>
                  <a:pt x="1239" y="490"/>
                </a:lnTo>
                <a:lnTo>
                  <a:pt x="1242" y="485"/>
                </a:lnTo>
                <a:lnTo>
                  <a:pt x="1243" y="482"/>
                </a:lnTo>
                <a:lnTo>
                  <a:pt x="1244" y="481"/>
                </a:lnTo>
                <a:lnTo>
                  <a:pt x="1247" y="480"/>
                </a:lnTo>
                <a:lnTo>
                  <a:pt x="1249" y="479"/>
                </a:lnTo>
                <a:lnTo>
                  <a:pt x="1254" y="478"/>
                </a:lnTo>
                <a:lnTo>
                  <a:pt x="1258" y="480"/>
                </a:lnTo>
                <a:lnTo>
                  <a:pt x="1263" y="482"/>
                </a:lnTo>
                <a:lnTo>
                  <a:pt x="1265" y="485"/>
                </a:lnTo>
                <a:lnTo>
                  <a:pt x="1272" y="493"/>
                </a:lnTo>
                <a:lnTo>
                  <a:pt x="1281" y="500"/>
                </a:lnTo>
                <a:lnTo>
                  <a:pt x="1281" y="502"/>
                </a:lnTo>
                <a:lnTo>
                  <a:pt x="1282" y="504"/>
                </a:lnTo>
                <a:lnTo>
                  <a:pt x="1294" y="503"/>
                </a:lnTo>
                <a:lnTo>
                  <a:pt x="1304" y="502"/>
                </a:lnTo>
                <a:lnTo>
                  <a:pt x="1305" y="501"/>
                </a:lnTo>
                <a:lnTo>
                  <a:pt x="1307" y="500"/>
                </a:lnTo>
                <a:lnTo>
                  <a:pt x="1305" y="499"/>
                </a:lnTo>
                <a:lnTo>
                  <a:pt x="1305" y="497"/>
                </a:lnTo>
                <a:lnTo>
                  <a:pt x="1304" y="495"/>
                </a:lnTo>
                <a:lnTo>
                  <a:pt x="1303" y="494"/>
                </a:lnTo>
                <a:lnTo>
                  <a:pt x="1303" y="492"/>
                </a:lnTo>
                <a:lnTo>
                  <a:pt x="1305" y="491"/>
                </a:lnTo>
                <a:lnTo>
                  <a:pt x="1310" y="492"/>
                </a:lnTo>
                <a:lnTo>
                  <a:pt x="1314" y="493"/>
                </a:lnTo>
                <a:lnTo>
                  <a:pt x="1313" y="496"/>
                </a:lnTo>
                <a:lnTo>
                  <a:pt x="1313" y="499"/>
                </a:lnTo>
                <a:lnTo>
                  <a:pt x="1314" y="501"/>
                </a:lnTo>
                <a:lnTo>
                  <a:pt x="1315" y="502"/>
                </a:lnTo>
                <a:lnTo>
                  <a:pt x="1319" y="503"/>
                </a:lnTo>
                <a:lnTo>
                  <a:pt x="1323" y="504"/>
                </a:lnTo>
                <a:lnTo>
                  <a:pt x="1325" y="505"/>
                </a:lnTo>
                <a:lnTo>
                  <a:pt x="1326" y="506"/>
                </a:lnTo>
                <a:lnTo>
                  <a:pt x="1326" y="508"/>
                </a:lnTo>
                <a:lnTo>
                  <a:pt x="1326" y="510"/>
                </a:lnTo>
                <a:lnTo>
                  <a:pt x="1326" y="511"/>
                </a:lnTo>
                <a:lnTo>
                  <a:pt x="1325" y="512"/>
                </a:lnTo>
                <a:lnTo>
                  <a:pt x="1326" y="514"/>
                </a:lnTo>
                <a:lnTo>
                  <a:pt x="1327" y="515"/>
                </a:lnTo>
                <a:lnTo>
                  <a:pt x="1328" y="515"/>
                </a:lnTo>
                <a:lnTo>
                  <a:pt x="1330" y="514"/>
                </a:lnTo>
                <a:lnTo>
                  <a:pt x="1330" y="512"/>
                </a:lnTo>
                <a:lnTo>
                  <a:pt x="1331" y="511"/>
                </a:lnTo>
                <a:lnTo>
                  <a:pt x="1333" y="507"/>
                </a:lnTo>
                <a:lnTo>
                  <a:pt x="1335" y="506"/>
                </a:lnTo>
                <a:lnTo>
                  <a:pt x="1338" y="507"/>
                </a:lnTo>
                <a:lnTo>
                  <a:pt x="1340" y="512"/>
                </a:lnTo>
                <a:lnTo>
                  <a:pt x="1341" y="514"/>
                </a:lnTo>
                <a:lnTo>
                  <a:pt x="1343" y="515"/>
                </a:lnTo>
                <a:lnTo>
                  <a:pt x="1345" y="515"/>
                </a:lnTo>
                <a:lnTo>
                  <a:pt x="1345" y="512"/>
                </a:lnTo>
                <a:lnTo>
                  <a:pt x="1345" y="510"/>
                </a:lnTo>
                <a:lnTo>
                  <a:pt x="1345" y="508"/>
                </a:lnTo>
                <a:lnTo>
                  <a:pt x="1346" y="506"/>
                </a:lnTo>
                <a:lnTo>
                  <a:pt x="1347" y="505"/>
                </a:lnTo>
                <a:lnTo>
                  <a:pt x="1350" y="502"/>
                </a:lnTo>
                <a:lnTo>
                  <a:pt x="1354" y="500"/>
                </a:lnTo>
                <a:lnTo>
                  <a:pt x="1358" y="497"/>
                </a:lnTo>
                <a:lnTo>
                  <a:pt x="1361" y="496"/>
                </a:lnTo>
                <a:lnTo>
                  <a:pt x="1365" y="499"/>
                </a:lnTo>
                <a:lnTo>
                  <a:pt x="1369" y="502"/>
                </a:lnTo>
                <a:lnTo>
                  <a:pt x="1372" y="506"/>
                </a:lnTo>
                <a:lnTo>
                  <a:pt x="1376" y="508"/>
                </a:lnTo>
                <a:lnTo>
                  <a:pt x="1380" y="510"/>
                </a:lnTo>
                <a:lnTo>
                  <a:pt x="1386" y="511"/>
                </a:lnTo>
                <a:lnTo>
                  <a:pt x="1390" y="512"/>
                </a:lnTo>
                <a:lnTo>
                  <a:pt x="1394" y="515"/>
                </a:lnTo>
                <a:lnTo>
                  <a:pt x="1396" y="516"/>
                </a:lnTo>
                <a:lnTo>
                  <a:pt x="1398" y="517"/>
                </a:lnTo>
                <a:lnTo>
                  <a:pt x="1399" y="519"/>
                </a:lnTo>
                <a:lnTo>
                  <a:pt x="1399" y="522"/>
                </a:lnTo>
                <a:lnTo>
                  <a:pt x="1398" y="525"/>
                </a:lnTo>
                <a:lnTo>
                  <a:pt x="1399" y="528"/>
                </a:lnTo>
                <a:lnTo>
                  <a:pt x="1400" y="532"/>
                </a:lnTo>
                <a:lnTo>
                  <a:pt x="1401" y="534"/>
                </a:lnTo>
                <a:lnTo>
                  <a:pt x="1405" y="540"/>
                </a:lnTo>
                <a:lnTo>
                  <a:pt x="1409" y="546"/>
                </a:lnTo>
                <a:lnTo>
                  <a:pt x="1413" y="550"/>
                </a:lnTo>
                <a:lnTo>
                  <a:pt x="1417" y="552"/>
                </a:lnTo>
                <a:lnTo>
                  <a:pt x="1419" y="553"/>
                </a:lnTo>
                <a:lnTo>
                  <a:pt x="1421" y="553"/>
                </a:lnTo>
                <a:lnTo>
                  <a:pt x="1423" y="552"/>
                </a:lnTo>
                <a:lnTo>
                  <a:pt x="1425" y="551"/>
                </a:lnTo>
                <a:lnTo>
                  <a:pt x="1436" y="545"/>
                </a:lnTo>
                <a:lnTo>
                  <a:pt x="1447" y="539"/>
                </a:lnTo>
                <a:lnTo>
                  <a:pt x="1450" y="537"/>
                </a:lnTo>
                <a:lnTo>
                  <a:pt x="1453" y="536"/>
                </a:lnTo>
                <a:lnTo>
                  <a:pt x="1456" y="535"/>
                </a:lnTo>
                <a:lnTo>
                  <a:pt x="1460" y="535"/>
                </a:lnTo>
                <a:lnTo>
                  <a:pt x="1464" y="535"/>
                </a:lnTo>
                <a:lnTo>
                  <a:pt x="1467" y="536"/>
                </a:lnTo>
                <a:lnTo>
                  <a:pt x="1470" y="538"/>
                </a:lnTo>
                <a:lnTo>
                  <a:pt x="1473" y="540"/>
                </a:lnTo>
                <a:lnTo>
                  <a:pt x="1476" y="543"/>
                </a:lnTo>
                <a:lnTo>
                  <a:pt x="1480" y="547"/>
                </a:lnTo>
                <a:lnTo>
                  <a:pt x="1483" y="549"/>
                </a:lnTo>
                <a:lnTo>
                  <a:pt x="1489" y="550"/>
                </a:lnTo>
                <a:lnTo>
                  <a:pt x="1491" y="551"/>
                </a:lnTo>
                <a:lnTo>
                  <a:pt x="1493" y="553"/>
                </a:lnTo>
                <a:lnTo>
                  <a:pt x="1494" y="556"/>
                </a:lnTo>
                <a:lnTo>
                  <a:pt x="1497" y="558"/>
                </a:lnTo>
                <a:lnTo>
                  <a:pt x="1500" y="558"/>
                </a:lnTo>
                <a:lnTo>
                  <a:pt x="1504" y="560"/>
                </a:lnTo>
                <a:lnTo>
                  <a:pt x="1509" y="561"/>
                </a:lnTo>
                <a:lnTo>
                  <a:pt x="1513" y="564"/>
                </a:lnTo>
                <a:lnTo>
                  <a:pt x="1517" y="568"/>
                </a:lnTo>
                <a:lnTo>
                  <a:pt x="1520" y="572"/>
                </a:lnTo>
                <a:lnTo>
                  <a:pt x="1520" y="574"/>
                </a:lnTo>
                <a:lnTo>
                  <a:pt x="1520" y="577"/>
                </a:lnTo>
                <a:lnTo>
                  <a:pt x="1519" y="578"/>
                </a:lnTo>
                <a:lnTo>
                  <a:pt x="1516" y="578"/>
                </a:lnTo>
                <a:lnTo>
                  <a:pt x="1504" y="577"/>
                </a:lnTo>
                <a:lnTo>
                  <a:pt x="1490" y="578"/>
                </a:lnTo>
                <a:lnTo>
                  <a:pt x="1479" y="571"/>
                </a:lnTo>
                <a:lnTo>
                  <a:pt x="1468" y="566"/>
                </a:lnTo>
                <a:lnTo>
                  <a:pt x="1456" y="562"/>
                </a:lnTo>
                <a:lnTo>
                  <a:pt x="1446" y="556"/>
                </a:lnTo>
                <a:lnTo>
                  <a:pt x="1441" y="554"/>
                </a:lnTo>
                <a:lnTo>
                  <a:pt x="1437" y="552"/>
                </a:lnTo>
                <a:lnTo>
                  <a:pt x="1435" y="552"/>
                </a:lnTo>
                <a:lnTo>
                  <a:pt x="1433" y="552"/>
                </a:lnTo>
                <a:lnTo>
                  <a:pt x="1431" y="553"/>
                </a:lnTo>
                <a:lnTo>
                  <a:pt x="1429" y="554"/>
                </a:lnTo>
                <a:lnTo>
                  <a:pt x="1426" y="556"/>
                </a:lnTo>
                <a:lnTo>
                  <a:pt x="1425" y="560"/>
                </a:lnTo>
                <a:lnTo>
                  <a:pt x="1425" y="562"/>
                </a:lnTo>
                <a:lnTo>
                  <a:pt x="1425" y="565"/>
                </a:lnTo>
                <a:lnTo>
                  <a:pt x="1425" y="568"/>
                </a:lnTo>
                <a:lnTo>
                  <a:pt x="1426" y="571"/>
                </a:lnTo>
                <a:lnTo>
                  <a:pt x="1428" y="574"/>
                </a:lnTo>
                <a:lnTo>
                  <a:pt x="1430" y="576"/>
                </a:lnTo>
                <a:lnTo>
                  <a:pt x="1438" y="582"/>
                </a:lnTo>
                <a:lnTo>
                  <a:pt x="1446" y="588"/>
                </a:lnTo>
                <a:lnTo>
                  <a:pt x="1454" y="595"/>
                </a:lnTo>
                <a:lnTo>
                  <a:pt x="1463" y="600"/>
                </a:lnTo>
                <a:lnTo>
                  <a:pt x="1465" y="601"/>
                </a:lnTo>
                <a:lnTo>
                  <a:pt x="1466" y="603"/>
                </a:lnTo>
                <a:lnTo>
                  <a:pt x="1466" y="604"/>
                </a:lnTo>
                <a:lnTo>
                  <a:pt x="1465" y="607"/>
                </a:lnTo>
                <a:lnTo>
                  <a:pt x="1463" y="609"/>
                </a:lnTo>
                <a:lnTo>
                  <a:pt x="1461" y="611"/>
                </a:lnTo>
                <a:lnTo>
                  <a:pt x="1459" y="612"/>
                </a:lnTo>
                <a:lnTo>
                  <a:pt x="1456" y="613"/>
                </a:lnTo>
                <a:lnTo>
                  <a:pt x="1453" y="613"/>
                </a:lnTo>
                <a:lnTo>
                  <a:pt x="1451" y="613"/>
                </a:lnTo>
                <a:lnTo>
                  <a:pt x="1449" y="612"/>
                </a:lnTo>
                <a:lnTo>
                  <a:pt x="1446" y="611"/>
                </a:lnTo>
                <a:lnTo>
                  <a:pt x="1445" y="610"/>
                </a:lnTo>
                <a:lnTo>
                  <a:pt x="1443" y="609"/>
                </a:lnTo>
                <a:lnTo>
                  <a:pt x="1431" y="607"/>
                </a:lnTo>
                <a:lnTo>
                  <a:pt x="1419" y="604"/>
                </a:lnTo>
                <a:lnTo>
                  <a:pt x="1406" y="604"/>
                </a:lnTo>
                <a:lnTo>
                  <a:pt x="1394" y="606"/>
                </a:lnTo>
                <a:lnTo>
                  <a:pt x="1387" y="607"/>
                </a:lnTo>
                <a:lnTo>
                  <a:pt x="1380" y="606"/>
                </a:lnTo>
                <a:lnTo>
                  <a:pt x="1374" y="603"/>
                </a:lnTo>
                <a:lnTo>
                  <a:pt x="1369" y="600"/>
                </a:lnTo>
                <a:lnTo>
                  <a:pt x="1365" y="598"/>
                </a:lnTo>
                <a:lnTo>
                  <a:pt x="1361" y="597"/>
                </a:lnTo>
                <a:lnTo>
                  <a:pt x="1357" y="596"/>
                </a:lnTo>
                <a:lnTo>
                  <a:pt x="1354" y="597"/>
                </a:lnTo>
                <a:lnTo>
                  <a:pt x="1344" y="596"/>
                </a:lnTo>
                <a:lnTo>
                  <a:pt x="1335" y="595"/>
                </a:lnTo>
                <a:lnTo>
                  <a:pt x="1327" y="593"/>
                </a:lnTo>
                <a:lnTo>
                  <a:pt x="1318" y="589"/>
                </a:lnTo>
                <a:lnTo>
                  <a:pt x="1311" y="585"/>
                </a:lnTo>
                <a:lnTo>
                  <a:pt x="1302" y="582"/>
                </a:lnTo>
                <a:lnTo>
                  <a:pt x="1294" y="580"/>
                </a:lnTo>
                <a:lnTo>
                  <a:pt x="1284" y="579"/>
                </a:lnTo>
                <a:lnTo>
                  <a:pt x="1280" y="578"/>
                </a:lnTo>
                <a:lnTo>
                  <a:pt x="1276" y="577"/>
                </a:lnTo>
                <a:lnTo>
                  <a:pt x="1271" y="574"/>
                </a:lnTo>
                <a:lnTo>
                  <a:pt x="1268" y="572"/>
                </a:lnTo>
                <a:lnTo>
                  <a:pt x="1262" y="569"/>
                </a:lnTo>
                <a:lnTo>
                  <a:pt x="1256" y="566"/>
                </a:lnTo>
                <a:lnTo>
                  <a:pt x="1250" y="565"/>
                </a:lnTo>
                <a:lnTo>
                  <a:pt x="1243" y="564"/>
                </a:lnTo>
                <a:lnTo>
                  <a:pt x="1238" y="565"/>
                </a:lnTo>
                <a:lnTo>
                  <a:pt x="1234" y="566"/>
                </a:lnTo>
                <a:lnTo>
                  <a:pt x="1231" y="568"/>
                </a:lnTo>
                <a:lnTo>
                  <a:pt x="1228" y="572"/>
                </a:lnTo>
                <a:lnTo>
                  <a:pt x="1229" y="576"/>
                </a:lnTo>
                <a:lnTo>
                  <a:pt x="1233" y="579"/>
                </a:lnTo>
                <a:lnTo>
                  <a:pt x="1235" y="581"/>
                </a:lnTo>
                <a:lnTo>
                  <a:pt x="1236" y="583"/>
                </a:lnTo>
                <a:lnTo>
                  <a:pt x="1236" y="586"/>
                </a:lnTo>
                <a:lnTo>
                  <a:pt x="1235" y="588"/>
                </a:lnTo>
                <a:lnTo>
                  <a:pt x="1236" y="589"/>
                </a:lnTo>
                <a:lnTo>
                  <a:pt x="1238" y="591"/>
                </a:lnTo>
                <a:lnTo>
                  <a:pt x="1238" y="591"/>
                </a:lnTo>
                <a:lnTo>
                  <a:pt x="1239" y="591"/>
                </a:lnTo>
                <a:lnTo>
                  <a:pt x="1247" y="595"/>
                </a:lnTo>
                <a:lnTo>
                  <a:pt x="1254" y="600"/>
                </a:lnTo>
                <a:lnTo>
                  <a:pt x="1261" y="606"/>
                </a:lnTo>
                <a:lnTo>
                  <a:pt x="1268" y="612"/>
                </a:lnTo>
                <a:lnTo>
                  <a:pt x="1269" y="613"/>
                </a:lnTo>
                <a:lnTo>
                  <a:pt x="1269" y="614"/>
                </a:lnTo>
                <a:lnTo>
                  <a:pt x="1269" y="623"/>
                </a:lnTo>
                <a:lnTo>
                  <a:pt x="1270" y="631"/>
                </a:lnTo>
                <a:lnTo>
                  <a:pt x="1271" y="634"/>
                </a:lnTo>
                <a:lnTo>
                  <a:pt x="1271" y="639"/>
                </a:lnTo>
                <a:lnTo>
                  <a:pt x="1271" y="643"/>
                </a:lnTo>
                <a:lnTo>
                  <a:pt x="1270" y="647"/>
                </a:lnTo>
                <a:lnTo>
                  <a:pt x="1269" y="649"/>
                </a:lnTo>
                <a:lnTo>
                  <a:pt x="1269" y="650"/>
                </a:lnTo>
                <a:lnTo>
                  <a:pt x="1268" y="652"/>
                </a:lnTo>
                <a:lnTo>
                  <a:pt x="1266" y="653"/>
                </a:lnTo>
                <a:lnTo>
                  <a:pt x="1256" y="654"/>
                </a:lnTo>
                <a:lnTo>
                  <a:pt x="1248" y="657"/>
                </a:lnTo>
                <a:lnTo>
                  <a:pt x="1238" y="659"/>
                </a:lnTo>
                <a:lnTo>
                  <a:pt x="1228" y="659"/>
                </a:lnTo>
                <a:lnTo>
                  <a:pt x="1225" y="659"/>
                </a:lnTo>
                <a:lnTo>
                  <a:pt x="1223" y="660"/>
                </a:lnTo>
                <a:lnTo>
                  <a:pt x="1222" y="662"/>
                </a:lnTo>
                <a:lnTo>
                  <a:pt x="1222" y="665"/>
                </a:lnTo>
                <a:lnTo>
                  <a:pt x="1218" y="665"/>
                </a:lnTo>
                <a:lnTo>
                  <a:pt x="1214" y="664"/>
                </a:lnTo>
                <a:lnTo>
                  <a:pt x="1212" y="664"/>
                </a:lnTo>
                <a:lnTo>
                  <a:pt x="1210" y="665"/>
                </a:lnTo>
                <a:lnTo>
                  <a:pt x="1209" y="667"/>
                </a:lnTo>
                <a:lnTo>
                  <a:pt x="1208" y="670"/>
                </a:lnTo>
                <a:lnTo>
                  <a:pt x="1206" y="670"/>
                </a:lnTo>
                <a:lnTo>
                  <a:pt x="1205" y="670"/>
                </a:lnTo>
                <a:lnTo>
                  <a:pt x="1192" y="670"/>
                </a:lnTo>
                <a:lnTo>
                  <a:pt x="1180" y="670"/>
                </a:lnTo>
                <a:lnTo>
                  <a:pt x="1177" y="670"/>
                </a:lnTo>
                <a:lnTo>
                  <a:pt x="1175" y="672"/>
                </a:lnTo>
                <a:lnTo>
                  <a:pt x="1174" y="674"/>
                </a:lnTo>
                <a:lnTo>
                  <a:pt x="1174" y="675"/>
                </a:lnTo>
                <a:lnTo>
                  <a:pt x="1173" y="675"/>
                </a:lnTo>
                <a:lnTo>
                  <a:pt x="1171" y="675"/>
                </a:lnTo>
                <a:lnTo>
                  <a:pt x="1166" y="674"/>
                </a:lnTo>
                <a:lnTo>
                  <a:pt x="1162" y="674"/>
                </a:lnTo>
                <a:lnTo>
                  <a:pt x="1162" y="671"/>
                </a:lnTo>
                <a:lnTo>
                  <a:pt x="1163" y="670"/>
                </a:lnTo>
                <a:lnTo>
                  <a:pt x="1165" y="669"/>
                </a:lnTo>
                <a:lnTo>
                  <a:pt x="1167" y="669"/>
                </a:lnTo>
                <a:lnTo>
                  <a:pt x="1168" y="670"/>
                </a:lnTo>
                <a:lnTo>
                  <a:pt x="1170" y="669"/>
                </a:lnTo>
                <a:lnTo>
                  <a:pt x="1172" y="668"/>
                </a:lnTo>
                <a:lnTo>
                  <a:pt x="1174" y="664"/>
                </a:lnTo>
                <a:lnTo>
                  <a:pt x="1174" y="662"/>
                </a:lnTo>
                <a:lnTo>
                  <a:pt x="1174" y="660"/>
                </a:lnTo>
                <a:lnTo>
                  <a:pt x="1173" y="658"/>
                </a:lnTo>
                <a:lnTo>
                  <a:pt x="1171" y="658"/>
                </a:lnTo>
                <a:lnTo>
                  <a:pt x="1168" y="658"/>
                </a:lnTo>
                <a:lnTo>
                  <a:pt x="1166" y="659"/>
                </a:lnTo>
                <a:lnTo>
                  <a:pt x="1160" y="660"/>
                </a:lnTo>
                <a:lnTo>
                  <a:pt x="1156" y="663"/>
                </a:lnTo>
                <a:lnTo>
                  <a:pt x="1152" y="668"/>
                </a:lnTo>
                <a:lnTo>
                  <a:pt x="1151" y="674"/>
                </a:lnTo>
                <a:lnTo>
                  <a:pt x="1141" y="673"/>
                </a:lnTo>
                <a:lnTo>
                  <a:pt x="1130" y="671"/>
                </a:lnTo>
                <a:lnTo>
                  <a:pt x="1121" y="670"/>
                </a:lnTo>
                <a:lnTo>
                  <a:pt x="1112" y="671"/>
                </a:lnTo>
                <a:lnTo>
                  <a:pt x="1106" y="671"/>
                </a:lnTo>
                <a:lnTo>
                  <a:pt x="1102" y="672"/>
                </a:lnTo>
                <a:lnTo>
                  <a:pt x="1098" y="671"/>
                </a:lnTo>
                <a:lnTo>
                  <a:pt x="1092" y="670"/>
                </a:lnTo>
                <a:lnTo>
                  <a:pt x="1088" y="669"/>
                </a:lnTo>
                <a:lnTo>
                  <a:pt x="1083" y="669"/>
                </a:lnTo>
                <a:lnTo>
                  <a:pt x="1077" y="669"/>
                </a:lnTo>
                <a:lnTo>
                  <a:pt x="1072" y="671"/>
                </a:lnTo>
                <a:lnTo>
                  <a:pt x="1068" y="672"/>
                </a:lnTo>
                <a:lnTo>
                  <a:pt x="1064" y="672"/>
                </a:lnTo>
                <a:lnTo>
                  <a:pt x="1059" y="672"/>
                </a:lnTo>
                <a:lnTo>
                  <a:pt x="1054" y="671"/>
                </a:lnTo>
                <a:lnTo>
                  <a:pt x="1050" y="670"/>
                </a:lnTo>
                <a:lnTo>
                  <a:pt x="1044" y="671"/>
                </a:lnTo>
                <a:lnTo>
                  <a:pt x="1037" y="673"/>
                </a:lnTo>
                <a:lnTo>
                  <a:pt x="1030" y="675"/>
                </a:lnTo>
                <a:lnTo>
                  <a:pt x="1023" y="676"/>
                </a:lnTo>
                <a:lnTo>
                  <a:pt x="1016" y="675"/>
                </a:lnTo>
                <a:lnTo>
                  <a:pt x="1011" y="674"/>
                </a:lnTo>
                <a:lnTo>
                  <a:pt x="1006" y="674"/>
                </a:lnTo>
                <a:lnTo>
                  <a:pt x="1000" y="675"/>
                </a:lnTo>
                <a:lnTo>
                  <a:pt x="996" y="677"/>
                </a:lnTo>
                <a:lnTo>
                  <a:pt x="995" y="678"/>
                </a:lnTo>
                <a:lnTo>
                  <a:pt x="993" y="678"/>
                </a:lnTo>
                <a:lnTo>
                  <a:pt x="992" y="678"/>
                </a:lnTo>
                <a:lnTo>
                  <a:pt x="991" y="677"/>
                </a:lnTo>
                <a:lnTo>
                  <a:pt x="989" y="675"/>
                </a:lnTo>
                <a:lnTo>
                  <a:pt x="986" y="674"/>
                </a:lnTo>
                <a:lnTo>
                  <a:pt x="984" y="674"/>
                </a:lnTo>
                <a:lnTo>
                  <a:pt x="982" y="674"/>
                </a:lnTo>
                <a:lnTo>
                  <a:pt x="978" y="675"/>
                </a:lnTo>
                <a:lnTo>
                  <a:pt x="975" y="677"/>
                </a:lnTo>
                <a:lnTo>
                  <a:pt x="968" y="681"/>
                </a:lnTo>
                <a:lnTo>
                  <a:pt x="961" y="684"/>
                </a:lnTo>
                <a:lnTo>
                  <a:pt x="953" y="685"/>
                </a:lnTo>
                <a:lnTo>
                  <a:pt x="946" y="685"/>
                </a:lnTo>
                <a:lnTo>
                  <a:pt x="941" y="684"/>
                </a:lnTo>
                <a:lnTo>
                  <a:pt x="936" y="684"/>
                </a:lnTo>
                <a:lnTo>
                  <a:pt x="936" y="685"/>
                </a:lnTo>
                <a:lnTo>
                  <a:pt x="936" y="685"/>
                </a:lnTo>
                <a:lnTo>
                  <a:pt x="936" y="684"/>
                </a:lnTo>
                <a:lnTo>
                  <a:pt x="932" y="680"/>
                </a:lnTo>
                <a:lnTo>
                  <a:pt x="926" y="678"/>
                </a:lnTo>
                <a:lnTo>
                  <a:pt x="921" y="677"/>
                </a:lnTo>
                <a:lnTo>
                  <a:pt x="916" y="678"/>
                </a:lnTo>
                <a:lnTo>
                  <a:pt x="909" y="679"/>
                </a:lnTo>
                <a:lnTo>
                  <a:pt x="904" y="680"/>
                </a:lnTo>
                <a:lnTo>
                  <a:pt x="899" y="680"/>
                </a:lnTo>
                <a:lnTo>
                  <a:pt x="893" y="679"/>
                </a:lnTo>
                <a:lnTo>
                  <a:pt x="888" y="678"/>
                </a:lnTo>
                <a:lnTo>
                  <a:pt x="883" y="676"/>
                </a:lnTo>
                <a:lnTo>
                  <a:pt x="877" y="673"/>
                </a:lnTo>
                <a:lnTo>
                  <a:pt x="873" y="670"/>
                </a:lnTo>
                <a:lnTo>
                  <a:pt x="872" y="667"/>
                </a:lnTo>
                <a:lnTo>
                  <a:pt x="871" y="663"/>
                </a:lnTo>
                <a:lnTo>
                  <a:pt x="869" y="661"/>
                </a:lnTo>
                <a:lnTo>
                  <a:pt x="868" y="659"/>
                </a:lnTo>
                <a:lnTo>
                  <a:pt x="864" y="658"/>
                </a:lnTo>
                <a:lnTo>
                  <a:pt x="862" y="658"/>
                </a:lnTo>
                <a:lnTo>
                  <a:pt x="859" y="659"/>
                </a:lnTo>
                <a:lnTo>
                  <a:pt x="857" y="661"/>
                </a:lnTo>
                <a:lnTo>
                  <a:pt x="854" y="661"/>
                </a:lnTo>
                <a:lnTo>
                  <a:pt x="853" y="660"/>
                </a:lnTo>
                <a:lnTo>
                  <a:pt x="842" y="659"/>
                </a:lnTo>
                <a:lnTo>
                  <a:pt x="832" y="658"/>
                </a:lnTo>
                <a:lnTo>
                  <a:pt x="828" y="658"/>
                </a:lnTo>
                <a:lnTo>
                  <a:pt x="824" y="660"/>
                </a:lnTo>
                <a:lnTo>
                  <a:pt x="818" y="662"/>
                </a:lnTo>
                <a:lnTo>
                  <a:pt x="814" y="667"/>
                </a:lnTo>
                <a:lnTo>
                  <a:pt x="810" y="673"/>
                </a:lnTo>
                <a:lnTo>
                  <a:pt x="807" y="679"/>
                </a:lnTo>
                <a:lnTo>
                  <a:pt x="802" y="685"/>
                </a:lnTo>
                <a:lnTo>
                  <a:pt x="799" y="689"/>
                </a:lnTo>
                <a:lnTo>
                  <a:pt x="799" y="692"/>
                </a:lnTo>
                <a:lnTo>
                  <a:pt x="799" y="694"/>
                </a:lnTo>
                <a:lnTo>
                  <a:pt x="798" y="696"/>
                </a:lnTo>
                <a:lnTo>
                  <a:pt x="797" y="699"/>
                </a:lnTo>
                <a:lnTo>
                  <a:pt x="794" y="702"/>
                </a:lnTo>
                <a:lnTo>
                  <a:pt x="791" y="705"/>
                </a:lnTo>
                <a:lnTo>
                  <a:pt x="788" y="707"/>
                </a:lnTo>
                <a:lnTo>
                  <a:pt x="785" y="710"/>
                </a:lnTo>
                <a:lnTo>
                  <a:pt x="784" y="711"/>
                </a:lnTo>
                <a:lnTo>
                  <a:pt x="783" y="714"/>
                </a:lnTo>
                <a:lnTo>
                  <a:pt x="783" y="716"/>
                </a:lnTo>
                <a:lnTo>
                  <a:pt x="783" y="718"/>
                </a:lnTo>
                <a:lnTo>
                  <a:pt x="784" y="721"/>
                </a:lnTo>
                <a:lnTo>
                  <a:pt x="783" y="724"/>
                </a:lnTo>
                <a:lnTo>
                  <a:pt x="782" y="728"/>
                </a:lnTo>
                <a:lnTo>
                  <a:pt x="781" y="731"/>
                </a:lnTo>
                <a:lnTo>
                  <a:pt x="778" y="735"/>
                </a:lnTo>
                <a:lnTo>
                  <a:pt x="774" y="739"/>
                </a:lnTo>
                <a:lnTo>
                  <a:pt x="772" y="744"/>
                </a:lnTo>
                <a:lnTo>
                  <a:pt x="770" y="749"/>
                </a:lnTo>
                <a:lnTo>
                  <a:pt x="770" y="752"/>
                </a:lnTo>
                <a:lnTo>
                  <a:pt x="769" y="754"/>
                </a:lnTo>
                <a:lnTo>
                  <a:pt x="767" y="757"/>
                </a:lnTo>
                <a:lnTo>
                  <a:pt x="765" y="760"/>
                </a:lnTo>
                <a:lnTo>
                  <a:pt x="761" y="762"/>
                </a:lnTo>
                <a:lnTo>
                  <a:pt x="758" y="765"/>
                </a:lnTo>
                <a:lnTo>
                  <a:pt x="757" y="769"/>
                </a:lnTo>
                <a:lnTo>
                  <a:pt x="756" y="774"/>
                </a:lnTo>
                <a:lnTo>
                  <a:pt x="755" y="778"/>
                </a:lnTo>
                <a:lnTo>
                  <a:pt x="752" y="783"/>
                </a:lnTo>
                <a:lnTo>
                  <a:pt x="751" y="785"/>
                </a:lnTo>
                <a:lnTo>
                  <a:pt x="750" y="787"/>
                </a:lnTo>
                <a:lnTo>
                  <a:pt x="750" y="791"/>
                </a:lnTo>
                <a:lnTo>
                  <a:pt x="751" y="794"/>
                </a:lnTo>
                <a:lnTo>
                  <a:pt x="751" y="795"/>
                </a:lnTo>
                <a:lnTo>
                  <a:pt x="749" y="798"/>
                </a:lnTo>
                <a:lnTo>
                  <a:pt x="743" y="803"/>
                </a:lnTo>
                <a:lnTo>
                  <a:pt x="738" y="809"/>
                </a:lnTo>
                <a:lnTo>
                  <a:pt x="733" y="821"/>
                </a:lnTo>
                <a:lnTo>
                  <a:pt x="727" y="831"/>
                </a:lnTo>
                <a:lnTo>
                  <a:pt x="722" y="843"/>
                </a:lnTo>
                <a:lnTo>
                  <a:pt x="717" y="855"/>
                </a:lnTo>
                <a:lnTo>
                  <a:pt x="709" y="862"/>
                </a:lnTo>
                <a:lnTo>
                  <a:pt x="704" y="870"/>
                </a:lnTo>
                <a:lnTo>
                  <a:pt x="700" y="879"/>
                </a:lnTo>
                <a:lnTo>
                  <a:pt x="693" y="888"/>
                </a:lnTo>
                <a:lnTo>
                  <a:pt x="690" y="892"/>
                </a:lnTo>
                <a:lnTo>
                  <a:pt x="687" y="897"/>
                </a:lnTo>
                <a:lnTo>
                  <a:pt x="685" y="901"/>
                </a:lnTo>
                <a:lnTo>
                  <a:pt x="683" y="906"/>
                </a:lnTo>
                <a:lnTo>
                  <a:pt x="681" y="908"/>
                </a:lnTo>
                <a:lnTo>
                  <a:pt x="678" y="909"/>
                </a:lnTo>
                <a:lnTo>
                  <a:pt x="676" y="912"/>
                </a:lnTo>
                <a:lnTo>
                  <a:pt x="673" y="914"/>
                </a:lnTo>
                <a:lnTo>
                  <a:pt x="672" y="915"/>
                </a:lnTo>
                <a:lnTo>
                  <a:pt x="672" y="916"/>
                </a:lnTo>
                <a:lnTo>
                  <a:pt x="673" y="918"/>
                </a:lnTo>
                <a:lnTo>
                  <a:pt x="675" y="920"/>
                </a:lnTo>
                <a:lnTo>
                  <a:pt x="676" y="921"/>
                </a:lnTo>
                <a:lnTo>
                  <a:pt x="676" y="922"/>
                </a:lnTo>
                <a:lnTo>
                  <a:pt x="676" y="923"/>
                </a:lnTo>
                <a:lnTo>
                  <a:pt x="675" y="923"/>
                </a:lnTo>
                <a:lnTo>
                  <a:pt x="672" y="927"/>
                </a:lnTo>
                <a:lnTo>
                  <a:pt x="670" y="931"/>
                </a:lnTo>
                <a:lnTo>
                  <a:pt x="667" y="935"/>
                </a:lnTo>
                <a:lnTo>
                  <a:pt x="666" y="939"/>
                </a:lnTo>
                <a:lnTo>
                  <a:pt x="666" y="944"/>
                </a:lnTo>
                <a:lnTo>
                  <a:pt x="665" y="948"/>
                </a:lnTo>
                <a:lnTo>
                  <a:pt x="665" y="958"/>
                </a:lnTo>
                <a:lnTo>
                  <a:pt x="664" y="967"/>
                </a:lnTo>
                <a:lnTo>
                  <a:pt x="664" y="968"/>
                </a:lnTo>
                <a:lnTo>
                  <a:pt x="665" y="969"/>
                </a:lnTo>
                <a:lnTo>
                  <a:pt x="666" y="970"/>
                </a:lnTo>
                <a:lnTo>
                  <a:pt x="667" y="971"/>
                </a:lnTo>
                <a:lnTo>
                  <a:pt x="671" y="973"/>
                </a:lnTo>
                <a:lnTo>
                  <a:pt x="672" y="974"/>
                </a:lnTo>
                <a:lnTo>
                  <a:pt x="672" y="976"/>
                </a:lnTo>
                <a:lnTo>
                  <a:pt x="671" y="979"/>
                </a:lnTo>
                <a:lnTo>
                  <a:pt x="670" y="982"/>
                </a:lnTo>
                <a:lnTo>
                  <a:pt x="670" y="984"/>
                </a:lnTo>
                <a:lnTo>
                  <a:pt x="672" y="986"/>
                </a:lnTo>
                <a:lnTo>
                  <a:pt x="674" y="986"/>
                </a:lnTo>
                <a:lnTo>
                  <a:pt x="683" y="990"/>
                </a:lnTo>
                <a:lnTo>
                  <a:pt x="693" y="991"/>
                </a:lnTo>
                <a:lnTo>
                  <a:pt x="694" y="992"/>
                </a:lnTo>
                <a:lnTo>
                  <a:pt x="695" y="994"/>
                </a:lnTo>
                <a:lnTo>
                  <a:pt x="698" y="1002"/>
                </a:lnTo>
                <a:lnTo>
                  <a:pt x="700" y="1012"/>
                </a:lnTo>
                <a:lnTo>
                  <a:pt x="697" y="1015"/>
                </a:lnTo>
                <a:lnTo>
                  <a:pt x="697" y="1017"/>
                </a:lnTo>
                <a:lnTo>
                  <a:pt x="694" y="1019"/>
                </a:lnTo>
                <a:lnTo>
                  <a:pt x="692" y="1019"/>
                </a:lnTo>
                <a:lnTo>
                  <a:pt x="689" y="1020"/>
                </a:lnTo>
                <a:lnTo>
                  <a:pt x="688" y="1022"/>
                </a:lnTo>
                <a:lnTo>
                  <a:pt x="686" y="1024"/>
                </a:lnTo>
                <a:lnTo>
                  <a:pt x="683" y="1025"/>
                </a:lnTo>
                <a:lnTo>
                  <a:pt x="682" y="1024"/>
                </a:lnTo>
                <a:lnTo>
                  <a:pt x="680" y="1022"/>
                </a:lnTo>
                <a:lnTo>
                  <a:pt x="676" y="1016"/>
                </a:lnTo>
                <a:lnTo>
                  <a:pt x="671" y="1012"/>
                </a:lnTo>
                <a:lnTo>
                  <a:pt x="661" y="1008"/>
                </a:lnTo>
                <a:lnTo>
                  <a:pt x="650" y="1007"/>
                </a:lnTo>
                <a:lnTo>
                  <a:pt x="645" y="1007"/>
                </a:lnTo>
                <a:lnTo>
                  <a:pt x="640" y="1008"/>
                </a:lnTo>
                <a:lnTo>
                  <a:pt x="635" y="1011"/>
                </a:lnTo>
                <a:lnTo>
                  <a:pt x="630" y="1015"/>
                </a:lnTo>
                <a:lnTo>
                  <a:pt x="627" y="1016"/>
                </a:lnTo>
                <a:lnTo>
                  <a:pt x="622" y="1017"/>
                </a:lnTo>
                <a:lnTo>
                  <a:pt x="617" y="1016"/>
                </a:lnTo>
                <a:lnTo>
                  <a:pt x="613" y="1017"/>
                </a:lnTo>
                <a:lnTo>
                  <a:pt x="611" y="1021"/>
                </a:lnTo>
                <a:lnTo>
                  <a:pt x="609" y="1024"/>
                </a:lnTo>
                <a:lnTo>
                  <a:pt x="607" y="1025"/>
                </a:lnTo>
                <a:lnTo>
                  <a:pt x="606" y="1025"/>
                </a:lnTo>
                <a:lnTo>
                  <a:pt x="604" y="1026"/>
                </a:lnTo>
                <a:lnTo>
                  <a:pt x="602" y="1025"/>
                </a:lnTo>
                <a:lnTo>
                  <a:pt x="600" y="1028"/>
                </a:lnTo>
                <a:lnTo>
                  <a:pt x="598" y="1030"/>
                </a:lnTo>
                <a:lnTo>
                  <a:pt x="595" y="1032"/>
                </a:lnTo>
                <a:lnTo>
                  <a:pt x="591" y="1034"/>
                </a:lnTo>
                <a:lnTo>
                  <a:pt x="585" y="1035"/>
                </a:lnTo>
                <a:lnTo>
                  <a:pt x="579" y="1036"/>
                </a:lnTo>
                <a:lnTo>
                  <a:pt x="572" y="1038"/>
                </a:lnTo>
                <a:lnTo>
                  <a:pt x="567" y="1039"/>
                </a:lnTo>
                <a:lnTo>
                  <a:pt x="564" y="1038"/>
                </a:lnTo>
                <a:lnTo>
                  <a:pt x="561" y="1037"/>
                </a:lnTo>
                <a:lnTo>
                  <a:pt x="558" y="1034"/>
                </a:lnTo>
                <a:lnTo>
                  <a:pt x="556" y="1029"/>
                </a:lnTo>
                <a:lnTo>
                  <a:pt x="551" y="1023"/>
                </a:lnTo>
                <a:lnTo>
                  <a:pt x="544" y="1017"/>
                </a:lnTo>
                <a:lnTo>
                  <a:pt x="537" y="1012"/>
                </a:lnTo>
                <a:lnTo>
                  <a:pt x="529" y="1007"/>
                </a:lnTo>
                <a:lnTo>
                  <a:pt x="527" y="1006"/>
                </a:lnTo>
                <a:lnTo>
                  <a:pt x="525" y="1006"/>
                </a:lnTo>
                <a:lnTo>
                  <a:pt x="523" y="1007"/>
                </a:lnTo>
                <a:lnTo>
                  <a:pt x="522" y="1008"/>
                </a:lnTo>
                <a:lnTo>
                  <a:pt x="521" y="1009"/>
                </a:lnTo>
                <a:lnTo>
                  <a:pt x="520" y="1011"/>
                </a:lnTo>
                <a:lnTo>
                  <a:pt x="520" y="1012"/>
                </a:lnTo>
                <a:lnTo>
                  <a:pt x="521" y="1014"/>
                </a:lnTo>
                <a:lnTo>
                  <a:pt x="527" y="1023"/>
                </a:lnTo>
                <a:lnTo>
                  <a:pt x="533" y="1031"/>
                </a:lnTo>
                <a:lnTo>
                  <a:pt x="538" y="1041"/>
                </a:lnTo>
                <a:lnTo>
                  <a:pt x="544" y="1050"/>
                </a:lnTo>
                <a:lnTo>
                  <a:pt x="547" y="1056"/>
                </a:lnTo>
                <a:lnTo>
                  <a:pt x="552" y="1061"/>
                </a:lnTo>
                <a:lnTo>
                  <a:pt x="555" y="1067"/>
                </a:lnTo>
                <a:lnTo>
                  <a:pt x="560" y="1070"/>
                </a:lnTo>
                <a:lnTo>
                  <a:pt x="569" y="1075"/>
                </a:lnTo>
                <a:lnTo>
                  <a:pt x="579" y="1081"/>
                </a:lnTo>
                <a:lnTo>
                  <a:pt x="588" y="1085"/>
                </a:lnTo>
                <a:lnTo>
                  <a:pt x="598" y="1088"/>
                </a:lnTo>
                <a:lnTo>
                  <a:pt x="603" y="1091"/>
                </a:lnTo>
                <a:lnTo>
                  <a:pt x="609" y="1095"/>
                </a:lnTo>
                <a:lnTo>
                  <a:pt x="612" y="1099"/>
                </a:lnTo>
                <a:lnTo>
                  <a:pt x="614" y="1102"/>
                </a:lnTo>
                <a:lnTo>
                  <a:pt x="614" y="1104"/>
                </a:lnTo>
                <a:lnTo>
                  <a:pt x="614" y="1105"/>
                </a:lnTo>
                <a:lnTo>
                  <a:pt x="613" y="1106"/>
                </a:lnTo>
                <a:lnTo>
                  <a:pt x="612" y="1107"/>
                </a:lnTo>
                <a:lnTo>
                  <a:pt x="605" y="1108"/>
                </a:lnTo>
                <a:lnTo>
                  <a:pt x="596" y="1108"/>
                </a:lnTo>
                <a:lnTo>
                  <a:pt x="582" y="1108"/>
                </a:lnTo>
                <a:lnTo>
                  <a:pt x="571" y="1107"/>
                </a:lnTo>
                <a:lnTo>
                  <a:pt x="566" y="1108"/>
                </a:lnTo>
                <a:lnTo>
                  <a:pt x="564" y="1109"/>
                </a:lnTo>
                <a:lnTo>
                  <a:pt x="565" y="1113"/>
                </a:lnTo>
                <a:lnTo>
                  <a:pt x="570" y="1117"/>
                </a:lnTo>
                <a:lnTo>
                  <a:pt x="581" y="1123"/>
                </a:lnTo>
                <a:lnTo>
                  <a:pt x="595" y="1133"/>
                </a:lnTo>
                <a:lnTo>
                  <a:pt x="599" y="1136"/>
                </a:lnTo>
                <a:lnTo>
                  <a:pt x="602" y="1139"/>
                </a:lnTo>
                <a:lnTo>
                  <a:pt x="604" y="1143"/>
                </a:lnTo>
                <a:lnTo>
                  <a:pt x="605" y="1145"/>
                </a:lnTo>
                <a:lnTo>
                  <a:pt x="600" y="1147"/>
                </a:lnTo>
                <a:lnTo>
                  <a:pt x="596" y="1150"/>
                </a:lnTo>
                <a:lnTo>
                  <a:pt x="592" y="1154"/>
                </a:lnTo>
                <a:lnTo>
                  <a:pt x="590" y="1159"/>
                </a:lnTo>
                <a:lnTo>
                  <a:pt x="582" y="1162"/>
                </a:lnTo>
                <a:lnTo>
                  <a:pt x="573" y="1164"/>
                </a:lnTo>
                <a:lnTo>
                  <a:pt x="564" y="1166"/>
                </a:lnTo>
                <a:lnTo>
                  <a:pt x="555" y="1167"/>
                </a:lnTo>
                <a:lnTo>
                  <a:pt x="551" y="1165"/>
                </a:lnTo>
                <a:lnTo>
                  <a:pt x="544" y="1165"/>
                </a:lnTo>
                <a:lnTo>
                  <a:pt x="543" y="1161"/>
                </a:lnTo>
                <a:lnTo>
                  <a:pt x="541" y="1158"/>
                </a:lnTo>
                <a:lnTo>
                  <a:pt x="538" y="1155"/>
                </a:lnTo>
                <a:lnTo>
                  <a:pt x="535" y="1153"/>
                </a:lnTo>
                <a:lnTo>
                  <a:pt x="528" y="1151"/>
                </a:lnTo>
                <a:lnTo>
                  <a:pt x="521" y="1150"/>
                </a:lnTo>
                <a:lnTo>
                  <a:pt x="519" y="1149"/>
                </a:lnTo>
                <a:lnTo>
                  <a:pt x="516" y="1147"/>
                </a:lnTo>
                <a:lnTo>
                  <a:pt x="514" y="1146"/>
                </a:lnTo>
                <a:lnTo>
                  <a:pt x="511" y="1145"/>
                </a:lnTo>
                <a:lnTo>
                  <a:pt x="506" y="1146"/>
                </a:lnTo>
                <a:lnTo>
                  <a:pt x="499" y="1146"/>
                </a:lnTo>
                <a:lnTo>
                  <a:pt x="497" y="1145"/>
                </a:lnTo>
                <a:lnTo>
                  <a:pt x="495" y="1144"/>
                </a:lnTo>
                <a:lnTo>
                  <a:pt x="493" y="1141"/>
                </a:lnTo>
                <a:lnTo>
                  <a:pt x="492" y="1136"/>
                </a:lnTo>
                <a:lnTo>
                  <a:pt x="491" y="1135"/>
                </a:lnTo>
                <a:lnTo>
                  <a:pt x="489" y="1134"/>
                </a:lnTo>
                <a:lnTo>
                  <a:pt x="485" y="1134"/>
                </a:lnTo>
                <a:lnTo>
                  <a:pt x="483" y="1135"/>
                </a:lnTo>
                <a:lnTo>
                  <a:pt x="481" y="1136"/>
                </a:lnTo>
                <a:lnTo>
                  <a:pt x="481" y="1137"/>
                </a:lnTo>
                <a:lnTo>
                  <a:pt x="485" y="1142"/>
                </a:lnTo>
                <a:lnTo>
                  <a:pt x="488" y="1146"/>
                </a:lnTo>
                <a:lnTo>
                  <a:pt x="488" y="1151"/>
                </a:lnTo>
                <a:lnTo>
                  <a:pt x="486" y="1157"/>
                </a:lnTo>
                <a:lnTo>
                  <a:pt x="488" y="1158"/>
                </a:lnTo>
                <a:lnTo>
                  <a:pt x="490" y="1159"/>
                </a:lnTo>
                <a:lnTo>
                  <a:pt x="494" y="1163"/>
                </a:lnTo>
                <a:lnTo>
                  <a:pt x="496" y="1167"/>
                </a:lnTo>
                <a:lnTo>
                  <a:pt x="498" y="1172"/>
                </a:lnTo>
                <a:lnTo>
                  <a:pt x="500" y="1177"/>
                </a:lnTo>
                <a:lnTo>
                  <a:pt x="501" y="1179"/>
                </a:lnTo>
                <a:lnTo>
                  <a:pt x="501" y="1181"/>
                </a:lnTo>
                <a:lnTo>
                  <a:pt x="500" y="1183"/>
                </a:lnTo>
                <a:lnTo>
                  <a:pt x="499" y="1185"/>
                </a:lnTo>
                <a:lnTo>
                  <a:pt x="497" y="1187"/>
                </a:lnTo>
                <a:lnTo>
                  <a:pt x="495" y="1188"/>
                </a:lnTo>
                <a:lnTo>
                  <a:pt x="493" y="1188"/>
                </a:lnTo>
                <a:lnTo>
                  <a:pt x="491" y="1187"/>
                </a:lnTo>
                <a:lnTo>
                  <a:pt x="485" y="1184"/>
                </a:lnTo>
                <a:lnTo>
                  <a:pt x="479" y="1181"/>
                </a:lnTo>
                <a:lnTo>
                  <a:pt x="467" y="1176"/>
                </a:lnTo>
                <a:lnTo>
                  <a:pt x="455" y="1168"/>
                </a:lnTo>
                <a:lnTo>
                  <a:pt x="453" y="1165"/>
                </a:lnTo>
                <a:lnTo>
                  <a:pt x="450" y="1163"/>
                </a:lnTo>
                <a:lnTo>
                  <a:pt x="447" y="1161"/>
                </a:lnTo>
                <a:lnTo>
                  <a:pt x="443" y="1161"/>
                </a:lnTo>
                <a:lnTo>
                  <a:pt x="439" y="1160"/>
                </a:lnTo>
                <a:lnTo>
                  <a:pt x="436" y="1159"/>
                </a:lnTo>
                <a:lnTo>
                  <a:pt x="434" y="1157"/>
                </a:lnTo>
                <a:lnTo>
                  <a:pt x="432" y="1154"/>
                </a:lnTo>
                <a:lnTo>
                  <a:pt x="427" y="1148"/>
                </a:lnTo>
                <a:lnTo>
                  <a:pt x="421" y="1143"/>
                </a:lnTo>
                <a:lnTo>
                  <a:pt x="416" y="1138"/>
                </a:lnTo>
                <a:lnTo>
                  <a:pt x="409" y="1134"/>
                </a:lnTo>
                <a:lnTo>
                  <a:pt x="405" y="1130"/>
                </a:lnTo>
                <a:lnTo>
                  <a:pt x="401" y="1126"/>
                </a:lnTo>
                <a:lnTo>
                  <a:pt x="397" y="1120"/>
                </a:lnTo>
                <a:lnTo>
                  <a:pt x="394" y="1114"/>
                </a:lnTo>
                <a:lnTo>
                  <a:pt x="392" y="1109"/>
                </a:lnTo>
                <a:lnTo>
                  <a:pt x="390" y="1104"/>
                </a:lnTo>
                <a:lnTo>
                  <a:pt x="386" y="1097"/>
                </a:lnTo>
                <a:lnTo>
                  <a:pt x="382" y="1088"/>
                </a:lnTo>
                <a:lnTo>
                  <a:pt x="379" y="1081"/>
                </a:lnTo>
                <a:lnTo>
                  <a:pt x="378" y="1071"/>
                </a:lnTo>
                <a:lnTo>
                  <a:pt x="377" y="1069"/>
                </a:lnTo>
                <a:lnTo>
                  <a:pt x="377" y="1066"/>
                </a:lnTo>
                <a:lnTo>
                  <a:pt x="378" y="1062"/>
                </a:lnTo>
                <a:lnTo>
                  <a:pt x="380" y="1061"/>
                </a:lnTo>
                <a:lnTo>
                  <a:pt x="384" y="1060"/>
                </a:lnTo>
                <a:lnTo>
                  <a:pt x="386" y="1061"/>
                </a:lnTo>
                <a:lnTo>
                  <a:pt x="388" y="1063"/>
                </a:lnTo>
                <a:lnTo>
                  <a:pt x="389" y="1066"/>
                </a:lnTo>
                <a:lnTo>
                  <a:pt x="393" y="1069"/>
                </a:lnTo>
                <a:lnTo>
                  <a:pt x="398" y="1072"/>
                </a:lnTo>
                <a:lnTo>
                  <a:pt x="400" y="1074"/>
                </a:lnTo>
                <a:lnTo>
                  <a:pt x="403" y="1076"/>
                </a:lnTo>
                <a:lnTo>
                  <a:pt x="407" y="1078"/>
                </a:lnTo>
                <a:lnTo>
                  <a:pt x="412" y="1080"/>
                </a:lnTo>
                <a:lnTo>
                  <a:pt x="416" y="1081"/>
                </a:lnTo>
                <a:lnTo>
                  <a:pt x="420" y="1080"/>
                </a:lnTo>
                <a:lnTo>
                  <a:pt x="423" y="1080"/>
                </a:lnTo>
                <a:lnTo>
                  <a:pt x="425" y="1077"/>
                </a:lnTo>
                <a:lnTo>
                  <a:pt x="431" y="1073"/>
                </a:lnTo>
                <a:lnTo>
                  <a:pt x="436" y="1071"/>
                </a:lnTo>
                <a:lnTo>
                  <a:pt x="442" y="1071"/>
                </a:lnTo>
                <a:lnTo>
                  <a:pt x="448" y="1071"/>
                </a:lnTo>
                <a:lnTo>
                  <a:pt x="453" y="1071"/>
                </a:lnTo>
                <a:lnTo>
                  <a:pt x="458" y="1069"/>
                </a:lnTo>
                <a:lnTo>
                  <a:pt x="462" y="1066"/>
                </a:lnTo>
                <a:lnTo>
                  <a:pt x="466" y="1063"/>
                </a:lnTo>
                <a:lnTo>
                  <a:pt x="469" y="1060"/>
                </a:lnTo>
                <a:lnTo>
                  <a:pt x="470" y="1056"/>
                </a:lnTo>
                <a:lnTo>
                  <a:pt x="470" y="1054"/>
                </a:lnTo>
                <a:lnTo>
                  <a:pt x="470" y="1052"/>
                </a:lnTo>
                <a:lnTo>
                  <a:pt x="468" y="1050"/>
                </a:lnTo>
                <a:lnTo>
                  <a:pt x="466" y="1047"/>
                </a:lnTo>
                <a:lnTo>
                  <a:pt x="463" y="1042"/>
                </a:lnTo>
                <a:lnTo>
                  <a:pt x="461" y="1036"/>
                </a:lnTo>
                <a:lnTo>
                  <a:pt x="460" y="1032"/>
                </a:lnTo>
                <a:lnTo>
                  <a:pt x="458" y="1030"/>
                </a:lnTo>
                <a:lnTo>
                  <a:pt x="455" y="1028"/>
                </a:lnTo>
                <a:lnTo>
                  <a:pt x="451" y="1026"/>
                </a:lnTo>
                <a:lnTo>
                  <a:pt x="450" y="1026"/>
                </a:lnTo>
                <a:lnTo>
                  <a:pt x="449" y="1024"/>
                </a:lnTo>
                <a:lnTo>
                  <a:pt x="449" y="1023"/>
                </a:lnTo>
                <a:lnTo>
                  <a:pt x="450" y="1021"/>
                </a:lnTo>
                <a:lnTo>
                  <a:pt x="452" y="1016"/>
                </a:lnTo>
                <a:lnTo>
                  <a:pt x="454" y="1013"/>
                </a:lnTo>
                <a:lnTo>
                  <a:pt x="458" y="1010"/>
                </a:lnTo>
                <a:lnTo>
                  <a:pt x="462" y="1007"/>
                </a:lnTo>
                <a:lnTo>
                  <a:pt x="464" y="1006"/>
                </a:lnTo>
                <a:lnTo>
                  <a:pt x="465" y="1005"/>
                </a:lnTo>
                <a:lnTo>
                  <a:pt x="465" y="1002"/>
                </a:lnTo>
                <a:lnTo>
                  <a:pt x="466" y="1001"/>
                </a:lnTo>
                <a:lnTo>
                  <a:pt x="465" y="998"/>
                </a:lnTo>
                <a:lnTo>
                  <a:pt x="464" y="997"/>
                </a:lnTo>
                <a:lnTo>
                  <a:pt x="458" y="998"/>
                </a:lnTo>
                <a:lnTo>
                  <a:pt x="452" y="998"/>
                </a:lnTo>
                <a:lnTo>
                  <a:pt x="448" y="999"/>
                </a:lnTo>
                <a:lnTo>
                  <a:pt x="444" y="1002"/>
                </a:lnTo>
                <a:lnTo>
                  <a:pt x="440" y="1005"/>
                </a:lnTo>
                <a:lnTo>
                  <a:pt x="438" y="1007"/>
                </a:lnTo>
                <a:lnTo>
                  <a:pt x="435" y="1008"/>
                </a:lnTo>
                <a:lnTo>
                  <a:pt x="432" y="1008"/>
                </a:lnTo>
                <a:lnTo>
                  <a:pt x="421" y="1010"/>
                </a:lnTo>
                <a:lnTo>
                  <a:pt x="409" y="1011"/>
                </a:lnTo>
                <a:lnTo>
                  <a:pt x="408" y="1011"/>
                </a:lnTo>
                <a:lnTo>
                  <a:pt x="407" y="1010"/>
                </a:lnTo>
                <a:lnTo>
                  <a:pt x="407" y="1009"/>
                </a:lnTo>
                <a:lnTo>
                  <a:pt x="407" y="1008"/>
                </a:lnTo>
                <a:lnTo>
                  <a:pt x="407" y="1005"/>
                </a:lnTo>
                <a:lnTo>
                  <a:pt x="406" y="1002"/>
                </a:lnTo>
                <a:lnTo>
                  <a:pt x="404" y="1002"/>
                </a:lnTo>
                <a:lnTo>
                  <a:pt x="402" y="1004"/>
                </a:lnTo>
                <a:lnTo>
                  <a:pt x="393" y="1006"/>
                </a:lnTo>
                <a:lnTo>
                  <a:pt x="386" y="1008"/>
                </a:lnTo>
                <a:lnTo>
                  <a:pt x="380" y="1007"/>
                </a:lnTo>
                <a:lnTo>
                  <a:pt x="374" y="1005"/>
                </a:lnTo>
                <a:lnTo>
                  <a:pt x="369" y="1001"/>
                </a:lnTo>
                <a:lnTo>
                  <a:pt x="364" y="996"/>
                </a:lnTo>
                <a:lnTo>
                  <a:pt x="362" y="994"/>
                </a:lnTo>
                <a:lnTo>
                  <a:pt x="360" y="991"/>
                </a:lnTo>
                <a:lnTo>
                  <a:pt x="357" y="988"/>
                </a:lnTo>
                <a:lnTo>
                  <a:pt x="354" y="984"/>
                </a:lnTo>
                <a:lnTo>
                  <a:pt x="349" y="981"/>
                </a:lnTo>
                <a:lnTo>
                  <a:pt x="345" y="980"/>
                </a:lnTo>
                <a:lnTo>
                  <a:pt x="344" y="979"/>
                </a:lnTo>
                <a:lnTo>
                  <a:pt x="344" y="978"/>
                </a:lnTo>
                <a:lnTo>
                  <a:pt x="343" y="975"/>
                </a:lnTo>
                <a:lnTo>
                  <a:pt x="341" y="971"/>
                </a:lnTo>
                <a:lnTo>
                  <a:pt x="339" y="969"/>
                </a:lnTo>
                <a:lnTo>
                  <a:pt x="337" y="968"/>
                </a:lnTo>
                <a:lnTo>
                  <a:pt x="331" y="966"/>
                </a:lnTo>
                <a:lnTo>
                  <a:pt x="325" y="965"/>
                </a:lnTo>
                <a:lnTo>
                  <a:pt x="321" y="965"/>
                </a:lnTo>
                <a:lnTo>
                  <a:pt x="317" y="966"/>
                </a:lnTo>
                <a:lnTo>
                  <a:pt x="316" y="969"/>
                </a:lnTo>
                <a:lnTo>
                  <a:pt x="316" y="975"/>
                </a:lnTo>
                <a:lnTo>
                  <a:pt x="317" y="978"/>
                </a:lnTo>
                <a:lnTo>
                  <a:pt x="318" y="980"/>
                </a:lnTo>
                <a:lnTo>
                  <a:pt x="317" y="983"/>
                </a:lnTo>
                <a:lnTo>
                  <a:pt x="315" y="986"/>
                </a:lnTo>
                <a:lnTo>
                  <a:pt x="324" y="997"/>
                </a:lnTo>
                <a:lnTo>
                  <a:pt x="332" y="1009"/>
                </a:lnTo>
                <a:lnTo>
                  <a:pt x="332" y="1023"/>
                </a:lnTo>
                <a:lnTo>
                  <a:pt x="334" y="1038"/>
                </a:lnTo>
                <a:lnTo>
                  <a:pt x="337" y="1052"/>
                </a:lnTo>
                <a:lnTo>
                  <a:pt x="339" y="1066"/>
                </a:lnTo>
                <a:lnTo>
                  <a:pt x="341" y="1086"/>
                </a:lnTo>
                <a:lnTo>
                  <a:pt x="343" y="1105"/>
                </a:lnTo>
                <a:lnTo>
                  <a:pt x="344" y="1126"/>
                </a:lnTo>
                <a:lnTo>
                  <a:pt x="344" y="1146"/>
                </a:lnTo>
                <a:lnTo>
                  <a:pt x="343" y="1155"/>
                </a:lnTo>
                <a:lnTo>
                  <a:pt x="343" y="1166"/>
                </a:lnTo>
                <a:lnTo>
                  <a:pt x="341" y="1176"/>
                </a:lnTo>
                <a:lnTo>
                  <a:pt x="339" y="1187"/>
                </a:lnTo>
                <a:lnTo>
                  <a:pt x="334" y="1196"/>
                </a:lnTo>
                <a:lnTo>
                  <a:pt x="331" y="1206"/>
                </a:lnTo>
                <a:lnTo>
                  <a:pt x="327" y="1215"/>
                </a:lnTo>
                <a:lnTo>
                  <a:pt x="325" y="1226"/>
                </a:lnTo>
                <a:lnTo>
                  <a:pt x="323" y="1233"/>
                </a:lnTo>
                <a:lnTo>
                  <a:pt x="321" y="1239"/>
                </a:lnTo>
                <a:lnTo>
                  <a:pt x="315" y="1252"/>
                </a:lnTo>
                <a:lnTo>
                  <a:pt x="312" y="1265"/>
                </a:lnTo>
                <a:lnTo>
                  <a:pt x="309" y="1277"/>
                </a:lnTo>
                <a:lnTo>
                  <a:pt x="306" y="1291"/>
                </a:lnTo>
                <a:lnTo>
                  <a:pt x="304" y="1296"/>
                </a:lnTo>
                <a:lnTo>
                  <a:pt x="303" y="1300"/>
                </a:lnTo>
                <a:lnTo>
                  <a:pt x="301" y="1304"/>
                </a:lnTo>
                <a:lnTo>
                  <a:pt x="299" y="1307"/>
                </a:lnTo>
                <a:lnTo>
                  <a:pt x="296" y="1312"/>
                </a:lnTo>
                <a:lnTo>
                  <a:pt x="294" y="1317"/>
                </a:lnTo>
                <a:lnTo>
                  <a:pt x="293" y="1321"/>
                </a:lnTo>
                <a:lnTo>
                  <a:pt x="292" y="1327"/>
                </a:lnTo>
                <a:lnTo>
                  <a:pt x="292" y="1332"/>
                </a:lnTo>
                <a:lnTo>
                  <a:pt x="292" y="1337"/>
                </a:lnTo>
                <a:lnTo>
                  <a:pt x="289" y="1343"/>
                </a:lnTo>
                <a:lnTo>
                  <a:pt x="286" y="1347"/>
                </a:lnTo>
                <a:lnTo>
                  <a:pt x="288" y="1347"/>
                </a:lnTo>
                <a:lnTo>
                  <a:pt x="291" y="1347"/>
                </a:lnTo>
                <a:lnTo>
                  <a:pt x="291" y="1349"/>
                </a:lnTo>
                <a:lnTo>
                  <a:pt x="291" y="1351"/>
                </a:lnTo>
                <a:lnTo>
                  <a:pt x="292" y="1358"/>
                </a:lnTo>
                <a:lnTo>
                  <a:pt x="292" y="1364"/>
                </a:lnTo>
                <a:lnTo>
                  <a:pt x="289" y="1363"/>
                </a:lnTo>
                <a:lnTo>
                  <a:pt x="287" y="1363"/>
                </a:lnTo>
                <a:lnTo>
                  <a:pt x="286" y="1361"/>
                </a:lnTo>
                <a:lnTo>
                  <a:pt x="285" y="1360"/>
                </a:lnTo>
                <a:lnTo>
                  <a:pt x="284" y="1356"/>
                </a:lnTo>
                <a:lnTo>
                  <a:pt x="284" y="1352"/>
                </a:lnTo>
                <a:lnTo>
                  <a:pt x="280" y="1367"/>
                </a:lnTo>
                <a:lnTo>
                  <a:pt x="277" y="1382"/>
                </a:lnTo>
                <a:lnTo>
                  <a:pt x="276" y="1389"/>
                </a:lnTo>
                <a:lnTo>
                  <a:pt x="273" y="1395"/>
                </a:lnTo>
                <a:lnTo>
                  <a:pt x="271" y="1401"/>
                </a:lnTo>
                <a:lnTo>
                  <a:pt x="268" y="1407"/>
                </a:lnTo>
                <a:lnTo>
                  <a:pt x="259" y="1421"/>
                </a:lnTo>
                <a:lnTo>
                  <a:pt x="253" y="1435"/>
                </a:lnTo>
                <a:lnTo>
                  <a:pt x="251" y="1441"/>
                </a:lnTo>
                <a:lnTo>
                  <a:pt x="249" y="1447"/>
                </a:lnTo>
                <a:lnTo>
                  <a:pt x="249" y="1452"/>
                </a:lnTo>
                <a:lnTo>
                  <a:pt x="248" y="1458"/>
                </a:lnTo>
                <a:lnTo>
                  <a:pt x="247" y="1470"/>
                </a:lnTo>
                <a:lnTo>
                  <a:pt x="246" y="1482"/>
                </a:lnTo>
                <a:lnTo>
                  <a:pt x="247" y="1484"/>
                </a:lnTo>
                <a:lnTo>
                  <a:pt x="248" y="1487"/>
                </a:lnTo>
                <a:lnTo>
                  <a:pt x="248" y="1497"/>
                </a:lnTo>
                <a:lnTo>
                  <a:pt x="250" y="1505"/>
                </a:lnTo>
                <a:lnTo>
                  <a:pt x="253" y="1513"/>
                </a:lnTo>
                <a:lnTo>
                  <a:pt x="257" y="1521"/>
                </a:lnTo>
                <a:lnTo>
                  <a:pt x="258" y="1522"/>
                </a:lnTo>
                <a:lnTo>
                  <a:pt x="259" y="1524"/>
                </a:lnTo>
                <a:lnTo>
                  <a:pt x="261" y="1524"/>
                </a:lnTo>
                <a:lnTo>
                  <a:pt x="262" y="1522"/>
                </a:lnTo>
                <a:lnTo>
                  <a:pt x="262" y="1516"/>
                </a:lnTo>
                <a:lnTo>
                  <a:pt x="261" y="1509"/>
                </a:lnTo>
                <a:lnTo>
                  <a:pt x="256" y="1498"/>
                </a:lnTo>
                <a:lnTo>
                  <a:pt x="252" y="1487"/>
                </a:lnTo>
                <a:lnTo>
                  <a:pt x="252" y="1475"/>
                </a:lnTo>
                <a:lnTo>
                  <a:pt x="251" y="1465"/>
                </a:lnTo>
                <a:lnTo>
                  <a:pt x="250" y="1460"/>
                </a:lnTo>
                <a:lnTo>
                  <a:pt x="250" y="1457"/>
                </a:lnTo>
                <a:lnTo>
                  <a:pt x="250" y="1456"/>
                </a:lnTo>
                <a:lnTo>
                  <a:pt x="251" y="1454"/>
                </a:lnTo>
                <a:lnTo>
                  <a:pt x="252" y="1453"/>
                </a:lnTo>
                <a:lnTo>
                  <a:pt x="253" y="1453"/>
                </a:lnTo>
                <a:lnTo>
                  <a:pt x="255" y="1454"/>
                </a:lnTo>
                <a:lnTo>
                  <a:pt x="257" y="1456"/>
                </a:lnTo>
                <a:lnTo>
                  <a:pt x="258" y="1459"/>
                </a:lnTo>
                <a:lnTo>
                  <a:pt x="259" y="1463"/>
                </a:lnTo>
                <a:lnTo>
                  <a:pt x="261" y="1467"/>
                </a:lnTo>
                <a:lnTo>
                  <a:pt x="263" y="1471"/>
                </a:lnTo>
                <a:lnTo>
                  <a:pt x="266" y="1475"/>
                </a:lnTo>
                <a:lnTo>
                  <a:pt x="270" y="1478"/>
                </a:lnTo>
                <a:lnTo>
                  <a:pt x="269" y="1473"/>
                </a:lnTo>
                <a:lnTo>
                  <a:pt x="268" y="1469"/>
                </a:lnTo>
                <a:lnTo>
                  <a:pt x="268" y="1465"/>
                </a:lnTo>
                <a:lnTo>
                  <a:pt x="268" y="1459"/>
                </a:lnTo>
                <a:lnTo>
                  <a:pt x="271" y="1459"/>
                </a:lnTo>
                <a:lnTo>
                  <a:pt x="273" y="1457"/>
                </a:lnTo>
                <a:lnTo>
                  <a:pt x="274" y="1452"/>
                </a:lnTo>
                <a:lnTo>
                  <a:pt x="277" y="1449"/>
                </a:lnTo>
                <a:lnTo>
                  <a:pt x="280" y="1447"/>
                </a:lnTo>
                <a:lnTo>
                  <a:pt x="284" y="1445"/>
                </a:lnTo>
                <a:lnTo>
                  <a:pt x="286" y="1445"/>
                </a:lnTo>
                <a:lnTo>
                  <a:pt x="287" y="1443"/>
                </a:lnTo>
                <a:lnTo>
                  <a:pt x="287" y="1441"/>
                </a:lnTo>
                <a:lnTo>
                  <a:pt x="287" y="1439"/>
                </a:lnTo>
                <a:lnTo>
                  <a:pt x="287" y="1437"/>
                </a:lnTo>
                <a:lnTo>
                  <a:pt x="286" y="1437"/>
                </a:lnTo>
                <a:lnTo>
                  <a:pt x="284" y="1437"/>
                </a:lnTo>
                <a:lnTo>
                  <a:pt x="283" y="1436"/>
                </a:lnTo>
                <a:lnTo>
                  <a:pt x="279" y="1436"/>
                </a:lnTo>
                <a:lnTo>
                  <a:pt x="274" y="1437"/>
                </a:lnTo>
                <a:lnTo>
                  <a:pt x="271" y="1439"/>
                </a:lnTo>
                <a:lnTo>
                  <a:pt x="268" y="1441"/>
                </a:lnTo>
                <a:lnTo>
                  <a:pt x="265" y="1445"/>
                </a:lnTo>
                <a:lnTo>
                  <a:pt x="265" y="1450"/>
                </a:lnTo>
                <a:lnTo>
                  <a:pt x="265" y="1455"/>
                </a:lnTo>
                <a:lnTo>
                  <a:pt x="265" y="1459"/>
                </a:lnTo>
                <a:lnTo>
                  <a:pt x="263" y="1451"/>
                </a:lnTo>
                <a:lnTo>
                  <a:pt x="263" y="1442"/>
                </a:lnTo>
                <a:lnTo>
                  <a:pt x="264" y="1434"/>
                </a:lnTo>
                <a:lnTo>
                  <a:pt x="263" y="1425"/>
                </a:lnTo>
                <a:lnTo>
                  <a:pt x="264" y="1424"/>
                </a:lnTo>
                <a:lnTo>
                  <a:pt x="265" y="1423"/>
                </a:lnTo>
                <a:lnTo>
                  <a:pt x="267" y="1423"/>
                </a:lnTo>
                <a:lnTo>
                  <a:pt x="268" y="1424"/>
                </a:lnTo>
                <a:lnTo>
                  <a:pt x="268" y="1425"/>
                </a:lnTo>
                <a:lnTo>
                  <a:pt x="269" y="1427"/>
                </a:lnTo>
                <a:lnTo>
                  <a:pt x="270" y="1428"/>
                </a:lnTo>
                <a:lnTo>
                  <a:pt x="272" y="1428"/>
                </a:lnTo>
                <a:lnTo>
                  <a:pt x="273" y="1427"/>
                </a:lnTo>
                <a:lnTo>
                  <a:pt x="274" y="1425"/>
                </a:lnTo>
                <a:lnTo>
                  <a:pt x="274" y="1423"/>
                </a:lnTo>
                <a:lnTo>
                  <a:pt x="273" y="1421"/>
                </a:lnTo>
                <a:lnTo>
                  <a:pt x="276" y="1413"/>
                </a:lnTo>
                <a:lnTo>
                  <a:pt x="279" y="1406"/>
                </a:lnTo>
                <a:lnTo>
                  <a:pt x="282" y="1405"/>
                </a:lnTo>
                <a:lnTo>
                  <a:pt x="287" y="1404"/>
                </a:lnTo>
                <a:lnTo>
                  <a:pt x="289" y="1403"/>
                </a:lnTo>
                <a:lnTo>
                  <a:pt x="292" y="1402"/>
                </a:lnTo>
                <a:lnTo>
                  <a:pt x="293" y="1399"/>
                </a:lnTo>
                <a:lnTo>
                  <a:pt x="292" y="1397"/>
                </a:lnTo>
                <a:lnTo>
                  <a:pt x="288" y="1394"/>
                </a:lnTo>
                <a:lnTo>
                  <a:pt x="287" y="1391"/>
                </a:lnTo>
                <a:lnTo>
                  <a:pt x="287" y="1388"/>
                </a:lnTo>
                <a:lnTo>
                  <a:pt x="289" y="1384"/>
                </a:lnTo>
                <a:lnTo>
                  <a:pt x="291" y="1382"/>
                </a:lnTo>
                <a:lnTo>
                  <a:pt x="291" y="1380"/>
                </a:lnTo>
                <a:lnTo>
                  <a:pt x="289" y="1378"/>
                </a:lnTo>
                <a:lnTo>
                  <a:pt x="288" y="1376"/>
                </a:lnTo>
                <a:lnTo>
                  <a:pt x="287" y="1375"/>
                </a:lnTo>
                <a:lnTo>
                  <a:pt x="286" y="1373"/>
                </a:lnTo>
                <a:lnTo>
                  <a:pt x="287" y="1372"/>
                </a:lnTo>
                <a:lnTo>
                  <a:pt x="288" y="1369"/>
                </a:lnTo>
                <a:lnTo>
                  <a:pt x="291" y="1368"/>
                </a:lnTo>
                <a:lnTo>
                  <a:pt x="291" y="1368"/>
                </a:lnTo>
                <a:lnTo>
                  <a:pt x="292" y="1369"/>
                </a:lnTo>
                <a:lnTo>
                  <a:pt x="293" y="1369"/>
                </a:lnTo>
                <a:lnTo>
                  <a:pt x="293" y="1372"/>
                </a:lnTo>
                <a:lnTo>
                  <a:pt x="295" y="1373"/>
                </a:lnTo>
                <a:lnTo>
                  <a:pt x="297" y="1379"/>
                </a:lnTo>
                <a:lnTo>
                  <a:pt x="302" y="1386"/>
                </a:lnTo>
                <a:lnTo>
                  <a:pt x="304" y="1390"/>
                </a:lnTo>
                <a:lnTo>
                  <a:pt x="309" y="1392"/>
                </a:lnTo>
                <a:lnTo>
                  <a:pt x="310" y="1393"/>
                </a:lnTo>
                <a:lnTo>
                  <a:pt x="311" y="1394"/>
                </a:lnTo>
                <a:lnTo>
                  <a:pt x="318" y="1402"/>
                </a:lnTo>
                <a:lnTo>
                  <a:pt x="326" y="1408"/>
                </a:lnTo>
                <a:lnTo>
                  <a:pt x="327" y="1409"/>
                </a:lnTo>
                <a:lnTo>
                  <a:pt x="328" y="1410"/>
                </a:lnTo>
                <a:lnTo>
                  <a:pt x="330" y="1414"/>
                </a:lnTo>
                <a:lnTo>
                  <a:pt x="333" y="1417"/>
                </a:lnTo>
                <a:lnTo>
                  <a:pt x="337" y="1419"/>
                </a:lnTo>
                <a:lnTo>
                  <a:pt x="341" y="1421"/>
                </a:lnTo>
                <a:lnTo>
                  <a:pt x="341" y="1421"/>
                </a:lnTo>
                <a:lnTo>
                  <a:pt x="341" y="1420"/>
                </a:lnTo>
                <a:lnTo>
                  <a:pt x="341" y="1421"/>
                </a:lnTo>
                <a:lnTo>
                  <a:pt x="341" y="1421"/>
                </a:lnTo>
                <a:lnTo>
                  <a:pt x="342" y="1422"/>
                </a:lnTo>
                <a:lnTo>
                  <a:pt x="343" y="1423"/>
                </a:lnTo>
                <a:lnTo>
                  <a:pt x="347" y="1427"/>
                </a:lnTo>
                <a:lnTo>
                  <a:pt x="353" y="1432"/>
                </a:lnTo>
                <a:lnTo>
                  <a:pt x="359" y="1438"/>
                </a:lnTo>
                <a:lnTo>
                  <a:pt x="365" y="1443"/>
                </a:lnTo>
                <a:lnTo>
                  <a:pt x="367" y="1444"/>
                </a:lnTo>
                <a:lnTo>
                  <a:pt x="367" y="1444"/>
                </a:lnTo>
                <a:lnTo>
                  <a:pt x="368" y="1445"/>
                </a:lnTo>
                <a:lnTo>
                  <a:pt x="368" y="1445"/>
                </a:lnTo>
                <a:lnTo>
                  <a:pt x="368" y="1445"/>
                </a:lnTo>
                <a:lnTo>
                  <a:pt x="369" y="1447"/>
                </a:lnTo>
                <a:lnTo>
                  <a:pt x="370" y="1447"/>
                </a:lnTo>
                <a:lnTo>
                  <a:pt x="371" y="1447"/>
                </a:lnTo>
                <a:lnTo>
                  <a:pt x="375" y="1452"/>
                </a:lnTo>
                <a:lnTo>
                  <a:pt x="379" y="1456"/>
                </a:lnTo>
                <a:lnTo>
                  <a:pt x="385" y="1459"/>
                </a:lnTo>
                <a:lnTo>
                  <a:pt x="390" y="1463"/>
                </a:lnTo>
                <a:lnTo>
                  <a:pt x="403" y="1469"/>
                </a:lnTo>
                <a:lnTo>
                  <a:pt x="415" y="1476"/>
                </a:lnTo>
                <a:lnTo>
                  <a:pt x="427" y="1485"/>
                </a:lnTo>
                <a:lnTo>
                  <a:pt x="438" y="1494"/>
                </a:lnTo>
                <a:lnTo>
                  <a:pt x="447" y="1500"/>
                </a:lnTo>
                <a:lnTo>
                  <a:pt x="455" y="1508"/>
                </a:lnTo>
                <a:lnTo>
                  <a:pt x="464" y="1515"/>
                </a:lnTo>
                <a:lnTo>
                  <a:pt x="474" y="1520"/>
                </a:lnTo>
                <a:lnTo>
                  <a:pt x="473" y="1518"/>
                </a:lnTo>
                <a:lnTo>
                  <a:pt x="470" y="1516"/>
                </a:lnTo>
                <a:lnTo>
                  <a:pt x="473" y="1518"/>
                </a:lnTo>
                <a:lnTo>
                  <a:pt x="474" y="1520"/>
                </a:lnTo>
                <a:lnTo>
                  <a:pt x="474" y="1520"/>
                </a:lnTo>
                <a:lnTo>
                  <a:pt x="475" y="1521"/>
                </a:lnTo>
                <a:lnTo>
                  <a:pt x="475" y="1521"/>
                </a:lnTo>
                <a:lnTo>
                  <a:pt x="475" y="1521"/>
                </a:lnTo>
                <a:lnTo>
                  <a:pt x="475" y="1521"/>
                </a:lnTo>
                <a:lnTo>
                  <a:pt x="476" y="1522"/>
                </a:lnTo>
                <a:lnTo>
                  <a:pt x="477" y="1522"/>
                </a:lnTo>
                <a:lnTo>
                  <a:pt x="483" y="1528"/>
                </a:lnTo>
                <a:lnTo>
                  <a:pt x="490" y="1532"/>
                </a:lnTo>
                <a:lnTo>
                  <a:pt x="497" y="1535"/>
                </a:lnTo>
                <a:lnTo>
                  <a:pt x="504" y="1540"/>
                </a:lnTo>
                <a:lnTo>
                  <a:pt x="508" y="1542"/>
                </a:lnTo>
                <a:lnTo>
                  <a:pt x="510" y="1542"/>
                </a:lnTo>
                <a:lnTo>
                  <a:pt x="511" y="1539"/>
                </a:lnTo>
                <a:lnTo>
                  <a:pt x="511" y="1535"/>
                </a:lnTo>
                <a:lnTo>
                  <a:pt x="511" y="1531"/>
                </a:lnTo>
                <a:lnTo>
                  <a:pt x="513" y="1528"/>
                </a:lnTo>
                <a:lnTo>
                  <a:pt x="515" y="1525"/>
                </a:lnTo>
                <a:lnTo>
                  <a:pt x="518" y="1522"/>
                </a:lnTo>
                <a:lnTo>
                  <a:pt x="518" y="1521"/>
                </a:lnTo>
                <a:lnTo>
                  <a:pt x="515" y="1520"/>
                </a:lnTo>
                <a:lnTo>
                  <a:pt x="512" y="1519"/>
                </a:lnTo>
                <a:lnTo>
                  <a:pt x="509" y="1518"/>
                </a:lnTo>
                <a:lnTo>
                  <a:pt x="504" y="1516"/>
                </a:lnTo>
                <a:lnTo>
                  <a:pt x="498" y="1514"/>
                </a:lnTo>
                <a:lnTo>
                  <a:pt x="493" y="1511"/>
                </a:lnTo>
                <a:lnTo>
                  <a:pt x="490" y="1506"/>
                </a:lnTo>
                <a:lnTo>
                  <a:pt x="485" y="1500"/>
                </a:lnTo>
                <a:lnTo>
                  <a:pt x="480" y="1495"/>
                </a:lnTo>
                <a:lnTo>
                  <a:pt x="475" y="1489"/>
                </a:lnTo>
                <a:lnTo>
                  <a:pt x="469" y="1484"/>
                </a:lnTo>
                <a:lnTo>
                  <a:pt x="468" y="1483"/>
                </a:lnTo>
                <a:lnTo>
                  <a:pt x="467" y="1482"/>
                </a:lnTo>
                <a:lnTo>
                  <a:pt x="466" y="1481"/>
                </a:lnTo>
                <a:lnTo>
                  <a:pt x="464" y="1482"/>
                </a:lnTo>
                <a:lnTo>
                  <a:pt x="464" y="1481"/>
                </a:lnTo>
                <a:lnTo>
                  <a:pt x="463" y="1481"/>
                </a:lnTo>
                <a:lnTo>
                  <a:pt x="460" y="1478"/>
                </a:lnTo>
                <a:lnTo>
                  <a:pt x="454" y="1476"/>
                </a:lnTo>
                <a:lnTo>
                  <a:pt x="437" y="1467"/>
                </a:lnTo>
                <a:lnTo>
                  <a:pt x="420" y="1455"/>
                </a:lnTo>
                <a:lnTo>
                  <a:pt x="403" y="1444"/>
                </a:lnTo>
                <a:lnTo>
                  <a:pt x="385" y="1435"/>
                </a:lnTo>
                <a:lnTo>
                  <a:pt x="372" y="1425"/>
                </a:lnTo>
                <a:lnTo>
                  <a:pt x="358" y="1418"/>
                </a:lnTo>
                <a:lnTo>
                  <a:pt x="357" y="1418"/>
                </a:lnTo>
                <a:lnTo>
                  <a:pt x="357" y="1417"/>
                </a:lnTo>
                <a:lnTo>
                  <a:pt x="356" y="1413"/>
                </a:lnTo>
                <a:lnTo>
                  <a:pt x="354" y="1411"/>
                </a:lnTo>
                <a:lnTo>
                  <a:pt x="350" y="1410"/>
                </a:lnTo>
                <a:lnTo>
                  <a:pt x="348" y="1408"/>
                </a:lnTo>
                <a:lnTo>
                  <a:pt x="341" y="1401"/>
                </a:lnTo>
                <a:lnTo>
                  <a:pt x="332" y="1394"/>
                </a:lnTo>
                <a:lnTo>
                  <a:pt x="333" y="1397"/>
                </a:lnTo>
                <a:lnTo>
                  <a:pt x="334" y="1401"/>
                </a:lnTo>
                <a:lnTo>
                  <a:pt x="333" y="1404"/>
                </a:lnTo>
                <a:lnTo>
                  <a:pt x="332" y="1407"/>
                </a:lnTo>
                <a:lnTo>
                  <a:pt x="333" y="1404"/>
                </a:lnTo>
                <a:lnTo>
                  <a:pt x="334" y="1401"/>
                </a:lnTo>
                <a:lnTo>
                  <a:pt x="333" y="1397"/>
                </a:lnTo>
                <a:lnTo>
                  <a:pt x="332" y="1394"/>
                </a:lnTo>
                <a:lnTo>
                  <a:pt x="331" y="1393"/>
                </a:lnTo>
                <a:lnTo>
                  <a:pt x="331" y="1393"/>
                </a:lnTo>
                <a:lnTo>
                  <a:pt x="330" y="1391"/>
                </a:lnTo>
                <a:lnTo>
                  <a:pt x="328" y="1390"/>
                </a:lnTo>
                <a:lnTo>
                  <a:pt x="325" y="1386"/>
                </a:lnTo>
                <a:lnTo>
                  <a:pt x="322" y="1383"/>
                </a:lnTo>
                <a:lnTo>
                  <a:pt x="318" y="1378"/>
                </a:lnTo>
                <a:lnTo>
                  <a:pt x="315" y="1373"/>
                </a:lnTo>
                <a:lnTo>
                  <a:pt x="315" y="1369"/>
                </a:lnTo>
                <a:lnTo>
                  <a:pt x="315" y="1368"/>
                </a:lnTo>
                <a:lnTo>
                  <a:pt x="316" y="1368"/>
                </a:lnTo>
                <a:lnTo>
                  <a:pt x="317" y="1368"/>
                </a:lnTo>
                <a:lnTo>
                  <a:pt x="319" y="1371"/>
                </a:lnTo>
                <a:lnTo>
                  <a:pt x="322" y="1371"/>
                </a:lnTo>
                <a:lnTo>
                  <a:pt x="323" y="1373"/>
                </a:lnTo>
                <a:lnTo>
                  <a:pt x="325" y="1374"/>
                </a:lnTo>
                <a:lnTo>
                  <a:pt x="326" y="1377"/>
                </a:lnTo>
                <a:lnTo>
                  <a:pt x="328" y="1380"/>
                </a:lnTo>
                <a:lnTo>
                  <a:pt x="331" y="1382"/>
                </a:lnTo>
                <a:lnTo>
                  <a:pt x="334" y="1384"/>
                </a:lnTo>
                <a:lnTo>
                  <a:pt x="338" y="1386"/>
                </a:lnTo>
                <a:lnTo>
                  <a:pt x="342" y="1387"/>
                </a:lnTo>
                <a:lnTo>
                  <a:pt x="345" y="1387"/>
                </a:lnTo>
                <a:lnTo>
                  <a:pt x="348" y="1386"/>
                </a:lnTo>
                <a:lnTo>
                  <a:pt x="353" y="1384"/>
                </a:lnTo>
                <a:lnTo>
                  <a:pt x="355" y="1382"/>
                </a:lnTo>
                <a:lnTo>
                  <a:pt x="357" y="1381"/>
                </a:lnTo>
                <a:lnTo>
                  <a:pt x="359" y="1378"/>
                </a:lnTo>
                <a:lnTo>
                  <a:pt x="360" y="1376"/>
                </a:lnTo>
                <a:lnTo>
                  <a:pt x="359" y="1372"/>
                </a:lnTo>
                <a:lnTo>
                  <a:pt x="358" y="1366"/>
                </a:lnTo>
                <a:lnTo>
                  <a:pt x="357" y="1361"/>
                </a:lnTo>
                <a:lnTo>
                  <a:pt x="356" y="1355"/>
                </a:lnTo>
                <a:lnTo>
                  <a:pt x="357" y="1349"/>
                </a:lnTo>
                <a:lnTo>
                  <a:pt x="357" y="1346"/>
                </a:lnTo>
                <a:lnTo>
                  <a:pt x="357" y="1342"/>
                </a:lnTo>
                <a:lnTo>
                  <a:pt x="357" y="1338"/>
                </a:lnTo>
                <a:lnTo>
                  <a:pt x="355" y="1334"/>
                </a:lnTo>
                <a:lnTo>
                  <a:pt x="359" y="1335"/>
                </a:lnTo>
                <a:lnTo>
                  <a:pt x="362" y="1334"/>
                </a:lnTo>
                <a:lnTo>
                  <a:pt x="362" y="1333"/>
                </a:lnTo>
                <a:lnTo>
                  <a:pt x="363" y="1332"/>
                </a:lnTo>
                <a:lnTo>
                  <a:pt x="363" y="1330"/>
                </a:lnTo>
                <a:lnTo>
                  <a:pt x="362" y="1328"/>
                </a:lnTo>
                <a:lnTo>
                  <a:pt x="362" y="1327"/>
                </a:lnTo>
                <a:lnTo>
                  <a:pt x="363" y="1326"/>
                </a:lnTo>
                <a:lnTo>
                  <a:pt x="364" y="1326"/>
                </a:lnTo>
                <a:lnTo>
                  <a:pt x="367" y="1325"/>
                </a:lnTo>
                <a:lnTo>
                  <a:pt x="368" y="1325"/>
                </a:lnTo>
                <a:lnTo>
                  <a:pt x="369" y="1323"/>
                </a:lnTo>
                <a:lnTo>
                  <a:pt x="369" y="1321"/>
                </a:lnTo>
                <a:lnTo>
                  <a:pt x="369" y="1320"/>
                </a:lnTo>
                <a:lnTo>
                  <a:pt x="367" y="1307"/>
                </a:lnTo>
                <a:lnTo>
                  <a:pt x="365" y="1295"/>
                </a:lnTo>
                <a:lnTo>
                  <a:pt x="365" y="1289"/>
                </a:lnTo>
                <a:lnTo>
                  <a:pt x="367" y="1283"/>
                </a:lnTo>
                <a:lnTo>
                  <a:pt x="369" y="1277"/>
                </a:lnTo>
                <a:lnTo>
                  <a:pt x="371" y="1273"/>
                </a:lnTo>
                <a:lnTo>
                  <a:pt x="374" y="1268"/>
                </a:lnTo>
                <a:lnTo>
                  <a:pt x="375" y="1264"/>
                </a:lnTo>
                <a:lnTo>
                  <a:pt x="376" y="1258"/>
                </a:lnTo>
                <a:lnTo>
                  <a:pt x="376" y="1254"/>
                </a:lnTo>
                <a:lnTo>
                  <a:pt x="376" y="1249"/>
                </a:lnTo>
                <a:lnTo>
                  <a:pt x="376" y="1243"/>
                </a:lnTo>
                <a:lnTo>
                  <a:pt x="379" y="1243"/>
                </a:lnTo>
                <a:lnTo>
                  <a:pt x="382" y="1245"/>
                </a:lnTo>
                <a:lnTo>
                  <a:pt x="384" y="1250"/>
                </a:lnTo>
                <a:lnTo>
                  <a:pt x="384" y="1255"/>
                </a:lnTo>
                <a:lnTo>
                  <a:pt x="380" y="1273"/>
                </a:lnTo>
                <a:lnTo>
                  <a:pt x="377" y="1291"/>
                </a:lnTo>
                <a:lnTo>
                  <a:pt x="375" y="1310"/>
                </a:lnTo>
                <a:lnTo>
                  <a:pt x="373" y="1328"/>
                </a:lnTo>
                <a:lnTo>
                  <a:pt x="371" y="1331"/>
                </a:lnTo>
                <a:lnTo>
                  <a:pt x="370" y="1333"/>
                </a:lnTo>
                <a:lnTo>
                  <a:pt x="369" y="1335"/>
                </a:lnTo>
                <a:lnTo>
                  <a:pt x="370" y="1337"/>
                </a:lnTo>
                <a:lnTo>
                  <a:pt x="371" y="1340"/>
                </a:lnTo>
                <a:lnTo>
                  <a:pt x="372" y="1342"/>
                </a:lnTo>
                <a:lnTo>
                  <a:pt x="372" y="1348"/>
                </a:lnTo>
                <a:lnTo>
                  <a:pt x="372" y="1353"/>
                </a:lnTo>
                <a:lnTo>
                  <a:pt x="372" y="1357"/>
                </a:lnTo>
                <a:lnTo>
                  <a:pt x="373" y="1361"/>
                </a:lnTo>
                <a:lnTo>
                  <a:pt x="376" y="1365"/>
                </a:lnTo>
                <a:lnTo>
                  <a:pt x="378" y="1369"/>
                </a:lnTo>
                <a:lnTo>
                  <a:pt x="387" y="1379"/>
                </a:lnTo>
                <a:lnTo>
                  <a:pt x="397" y="1390"/>
                </a:lnTo>
                <a:lnTo>
                  <a:pt x="407" y="1399"/>
                </a:lnTo>
                <a:lnTo>
                  <a:pt x="419" y="1409"/>
                </a:lnTo>
                <a:lnTo>
                  <a:pt x="430" y="1418"/>
                </a:lnTo>
                <a:lnTo>
                  <a:pt x="440" y="1424"/>
                </a:lnTo>
                <a:lnTo>
                  <a:pt x="445" y="1427"/>
                </a:lnTo>
                <a:lnTo>
                  <a:pt x="449" y="1430"/>
                </a:lnTo>
                <a:lnTo>
                  <a:pt x="452" y="1432"/>
                </a:lnTo>
                <a:lnTo>
                  <a:pt x="454" y="1432"/>
                </a:lnTo>
                <a:lnTo>
                  <a:pt x="459" y="1432"/>
                </a:lnTo>
                <a:lnTo>
                  <a:pt x="462" y="1430"/>
                </a:lnTo>
                <a:lnTo>
                  <a:pt x="464" y="1430"/>
                </a:lnTo>
                <a:lnTo>
                  <a:pt x="466" y="1430"/>
                </a:lnTo>
                <a:lnTo>
                  <a:pt x="469" y="1432"/>
                </a:lnTo>
                <a:lnTo>
                  <a:pt x="473" y="1429"/>
                </a:lnTo>
                <a:lnTo>
                  <a:pt x="475" y="1427"/>
                </a:lnTo>
                <a:lnTo>
                  <a:pt x="477" y="1425"/>
                </a:lnTo>
                <a:lnTo>
                  <a:pt x="479" y="1425"/>
                </a:lnTo>
                <a:lnTo>
                  <a:pt x="481" y="1425"/>
                </a:lnTo>
                <a:lnTo>
                  <a:pt x="486" y="1426"/>
                </a:lnTo>
                <a:lnTo>
                  <a:pt x="491" y="1428"/>
                </a:lnTo>
                <a:lnTo>
                  <a:pt x="492" y="1429"/>
                </a:lnTo>
                <a:lnTo>
                  <a:pt x="493" y="1430"/>
                </a:lnTo>
                <a:lnTo>
                  <a:pt x="494" y="1430"/>
                </a:lnTo>
                <a:lnTo>
                  <a:pt x="496" y="1429"/>
                </a:lnTo>
                <a:lnTo>
                  <a:pt x="498" y="1426"/>
                </a:lnTo>
                <a:lnTo>
                  <a:pt x="499" y="1424"/>
                </a:lnTo>
                <a:lnTo>
                  <a:pt x="501" y="1424"/>
                </a:lnTo>
                <a:lnTo>
                  <a:pt x="503" y="1424"/>
                </a:lnTo>
                <a:lnTo>
                  <a:pt x="505" y="1427"/>
                </a:lnTo>
                <a:lnTo>
                  <a:pt x="507" y="1432"/>
                </a:lnTo>
                <a:lnTo>
                  <a:pt x="509" y="1434"/>
                </a:lnTo>
                <a:lnTo>
                  <a:pt x="512" y="1435"/>
                </a:lnTo>
                <a:lnTo>
                  <a:pt x="514" y="1436"/>
                </a:lnTo>
                <a:lnTo>
                  <a:pt x="518" y="1436"/>
                </a:lnTo>
                <a:lnTo>
                  <a:pt x="521" y="1436"/>
                </a:lnTo>
                <a:lnTo>
                  <a:pt x="522" y="1435"/>
                </a:lnTo>
                <a:lnTo>
                  <a:pt x="523" y="1433"/>
                </a:lnTo>
                <a:lnTo>
                  <a:pt x="523" y="1430"/>
                </a:lnTo>
                <a:lnTo>
                  <a:pt x="524" y="1428"/>
                </a:lnTo>
                <a:lnTo>
                  <a:pt x="525" y="1426"/>
                </a:lnTo>
                <a:lnTo>
                  <a:pt x="526" y="1426"/>
                </a:lnTo>
                <a:lnTo>
                  <a:pt x="528" y="1426"/>
                </a:lnTo>
                <a:lnTo>
                  <a:pt x="534" y="1426"/>
                </a:lnTo>
                <a:lnTo>
                  <a:pt x="538" y="1425"/>
                </a:lnTo>
                <a:lnTo>
                  <a:pt x="541" y="1425"/>
                </a:lnTo>
                <a:lnTo>
                  <a:pt x="543" y="1424"/>
                </a:lnTo>
                <a:lnTo>
                  <a:pt x="543" y="1421"/>
                </a:lnTo>
                <a:lnTo>
                  <a:pt x="541" y="1419"/>
                </a:lnTo>
                <a:lnTo>
                  <a:pt x="531" y="1409"/>
                </a:lnTo>
                <a:lnTo>
                  <a:pt x="521" y="1398"/>
                </a:lnTo>
                <a:lnTo>
                  <a:pt x="516" y="1391"/>
                </a:lnTo>
                <a:lnTo>
                  <a:pt x="510" y="1384"/>
                </a:lnTo>
                <a:lnTo>
                  <a:pt x="507" y="1382"/>
                </a:lnTo>
                <a:lnTo>
                  <a:pt x="504" y="1381"/>
                </a:lnTo>
                <a:lnTo>
                  <a:pt x="499" y="1381"/>
                </a:lnTo>
                <a:lnTo>
                  <a:pt x="496" y="1382"/>
                </a:lnTo>
                <a:lnTo>
                  <a:pt x="494" y="1384"/>
                </a:lnTo>
                <a:lnTo>
                  <a:pt x="492" y="1387"/>
                </a:lnTo>
                <a:lnTo>
                  <a:pt x="490" y="1390"/>
                </a:lnTo>
                <a:lnTo>
                  <a:pt x="491" y="1394"/>
                </a:lnTo>
                <a:lnTo>
                  <a:pt x="491" y="1396"/>
                </a:lnTo>
                <a:lnTo>
                  <a:pt x="490" y="1398"/>
                </a:lnTo>
                <a:lnTo>
                  <a:pt x="488" y="1399"/>
                </a:lnTo>
                <a:lnTo>
                  <a:pt x="485" y="1398"/>
                </a:lnTo>
                <a:lnTo>
                  <a:pt x="482" y="1397"/>
                </a:lnTo>
                <a:lnTo>
                  <a:pt x="478" y="1396"/>
                </a:lnTo>
                <a:lnTo>
                  <a:pt x="476" y="1393"/>
                </a:lnTo>
                <a:lnTo>
                  <a:pt x="475" y="1390"/>
                </a:lnTo>
                <a:lnTo>
                  <a:pt x="473" y="1382"/>
                </a:lnTo>
                <a:lnTo>
                  <a:pt x="469" y="1375"/>
                </a:lnTo>
                <a:lnTo>
                  <a:pt x="466" y="1368"/>
                </a:lnTo>
                <a:lnTo>
                  <a:pt x="462" y="1362"/>
                </a:lnTo>
                <a:lnTo>
                  <a:pt x="461" y="1359"/>
                </a:lnTo>
                <a:lnTo>
                  <a:pt x="459" y="1356"/>
                </a:lnTo>
                <a:lnTo>
                  <a:pt x="456" y="1355"/>
                </a:lnTo>
                <a:lnTo>
                  <a:pt x="455" y="1352"/>
                </a:lnTo>
                <a:lnTo>
                  <a:pt x="454" y="1350"/>
                </a:lnTo>
                <a:lnTo>
                  <a:pt x="455" y="1348"/>
                </a:lnTo>
                <a:lnTo>
                  <a:pt x="455" y="1344"/>
                </a:lnTo>
                <a:lnTo>
                  <a:pt x="455" y="1340"/>
                </a:lnTo>
                <a:lnTo>
                  <a:pt x="458" y="1338"/>
                </a:lnTo>
                <a:lnTo>
                  <a:pt x="459" y="1335"/>
                </a:lnTo>
                <a:lnTo>
                  <a:pt x="459" y="1333"/>
                </a:lnTo>
                <a:lnTo>
                  <a:pt x="459" y="1330"/>
                </a:lnTo>
                <a:lnTo>
                  <a:pt x="459" y="1330"/>
                </a:lnTo>
                <a:lnTo>
                  <a:pt x="459" y="1329"/>
                </a:lnTo>
                <a:lnTo>
                  <a:pt x="460" y="1328"/>
                </a:lnTo>
                <a:lnTo>
                  <a:pt x="464" y="1325"/>
                </a:lnTo>
                <a:lnTo>
                  <a:pt x="469" y="1321"/>
                </a:lnTo>
                <a:lnTo>
                  <a:pt x="475" y="1319"/>
                </a:lnTo>
                <a:lnTo>
                  <a:pt x="481" y="1318"/>
                </a:lnTo>
                <a:lnTo>
                  <a:pt x="495" y="1316"/>
                </a:lnTo>
                <a:lnTo>
                  <a:pt x="509" y="1312"/>
                </a:lnTo>
                <a:lnTo>
                  <a:pt x="523" y="1307"/>
                </a:lnTo>
                <a:lnTo>
                  <a:pt x="536" y="1301"/>
                </a:lnTo>
                <a:lnTo>
                  <a:pt x="542" y="1304"/>
                </a:lnTo>
                <a:lnTo>
                  <a:pt x="549" y="1307"/>
                </a:lnTo>
                <a:lnTo>
                  <a:pt x="557" y="1312"/>
                </a:lnTo>
                <a:lnTo>
                  <a:pt x="566" y="1315"/>
                </a:lnTo>
                <a:lnTo>
                  <a:pt x="574" y="1318"/>
                </a:lnTo>
                <a:lnTo>
                  <a:pt x="584" y="1320"/>
                </a:lnTo>
                <a:lnTo>
                  <a:pt x="587" y="1321"/>
                </a:lnTo>
                <a:lnTo>
                  <a:pt x="591" y="1327"/>
                </a:lnTo>
                <a:lnTo>
                  <a:pt x="596" y="1331"/>
                </a:lnTo>
                <a:lnTo>
                  <a:pt x="597" y="1335"/>
                </a:lnTo>
                <a:lnTo>
                  <a:pt x="597" y="1337"/>
                </a:lnTo>
                <a:lnTo>
                  <a:pt x="597" y="1338"/>
                </a:lnTo>
                <a:lnTo>
                  <a:pt x="596" y="1341"/>
                </a:lnTo>
                <a:lnTo>
                  <a:pt x="594" y="1341"/>
                </a:lnTo>
                <a:lnTo>
                  <a:pt x="590" y="1342"/>
                </a:lnTo>
                <a:lnTo>
                  <a:pt x="589" y="1342"/>
                </a:lnTo>
                <a:lnTo>
                  <a:pt x="588" y="1343"/>
                </a:lnTo>
                <a:lnTo>
                  <a:pt x="588" y="1344"/>
                </a:lnTo>
                <a:lnTo>
                  <a:pt x="590" y="1346"/>
                </a:lnTo>
                <a:lnTo>
                  <a:pt x="592" y="1347"/>
                </a:lnTo>
                <a:lnTo>
                  <a:pt x="596" y="1350"/>
                </a:lnTo>
                <a:lnTo>
                  <a:pt x="598" y="1352"/>
                </a:lnTo>
                <a:lnTo>
                  <a:pt x="598" y="1357"/>
                </a:lnTo>
                <a:lnTo>
                  <a:pt x="598" y="1361"/>
                </a:lnTo>
                <a:lnTo>
                  <a:pt x="596" y="1368"/>
                </a:lnTo>
                <a:lnTo>
                  <a:pt x="594" y="1376"/>
                </a:lnTo>
                <a:lnTo>
                  <a:pt x="591" y="1383"/>
                </a:lnTo>
                <a:lnTo>
                  <a:pt x="588" y="1391"/>
                </a:lnTo>
                <a:lnTo>
                  <a:pt x="587" y="1392"/>
                </a:lnTo>
                <a:lnTo>
                  <a:pt x="588" y="1394"/>
                </a:lnTo>
                <a:lnTo>
                  <a:pt x="589" y="1396"/>
                </a:lnTo>
                <a:lnTo>
                  <a:pt x="589" y="1399"/>
                </a:lnTo>
                <a:lnTo>
                  <a:pt x="589" y="1404"/>
                </a:lnTo>
                <a:lnTo>
                  <a:pt x="588" y="1408"/>
                </a:lnTo>
                <a:lnTo>
                  <a:pt x="586" y="1412"/>
                </a:lnTo>
                <a:lnTo>
                  <a:pt x="584" y="1416"/>
                </a:lnTo>
                <a:lnTo>
                  <a:pt x="582" y="1419"/>
                </a:lnTo>
                <a:lnTo>
                  <a:pt x="580" y="1420"/>
                </a:lnTo>
                <a:lnTo>
                  <a:pt x="576" y="1422"/>
                </a:lnTo>
                <a:lnTo>
                  <a:pt x="574" y="1424"/>
                </a:lnTo>
                <a:lnTo>
                  <a:pt x="572" y="1426"/>
                </a:lnTo>
                <a:lnTo>
                  <a:pt x="571" y="1428"/>
                </a:lnTo>
                <a:lnTo>
                  <a:pt x="571" y="1430"/>
                </a:lnTo>
                <a:lnTo>
                  <a:pt x="571" y="1433"/>
                </a:lnTo>
                <a:lnTo>
                  <a:pt x="572" y="1436"/>
                </a:lnTo>
                <a:lnTo>
                  <a:pt x="573" y="1439"/>
                </a:lnTo>
                <a:lnTo>
                  <a:pt x="575" y="1441"/>
                </a:lnTo>
                <a:lnTo>
                  <a:pt x="575" y="1443"/>
                </a:lnTo>
                <a:lnTo>
                  <a:pt x="574" y="1445"/>
                </a:lnTo>
                <a:lnTo>
                  <a:pt x="573" y="1448"/>
                </a:lnTo>
                <a:lnTo>
                  <a:pt x="571" y="1451"/>
                </a:lnTo>
                <a:lnTo>
                  <a:pt x="569" y="1453"/>
                </a:lnTo>
                <a:lnTo>
                  <a:pt x="569" y="1456"/>
                </a:lnTo>
                <a:lnTo>
                  <a:pt x="569" y="1459"/>
                </a:lnTo>
                <a:lnTo>
                  <a:pt x="570" y="1462"/>
                </a:lnTo>
                <a:lnTo>
                  <a:pt x="572" y="1465"/>
                </a:lnTo>
                <a:lnTo>
                  <a:pt x="574" y="1467"/>
                </a:lnTo>
                <a:lnTo>
                  <a:pt x="579" y="1468"/>
                </a:lnTo>
                <a:lnTo>
                  <a:pt x="583" y="1470"/>
                </a:lnTo>
                <a:lnTo>
                  <a:pt x="586" y="1473"/>
                </a:lnTo>
                <a:lnTo>
                  <a:pt x="587" y="1476"/>
                </a:lnTo>
                <a:lnTo>
                  <a:pt x="589" y="1479"/>
                </a:lnTo>
                <a:lnTo>
                  <a:pt x="591" y="1480"/>
                </a:lnTo>
                <a:lnTo>
                  <a:pt x="594" y="1481"/>
                </a:lnTo>
                <a:lnTo>
                  <a:pt x="598" y="1483"/>
                </a:lnTo>
                <a:lnTo>
                  <a:pt x="601" y="1483"/>
                </a:lnTo>
                <a:lnTo>
                  <a:pt x="603" y="1484"/>
                </a:lnTo>
                <a:lnTo>
                  <a:pt x="605" y="1484"/>
                </a:lnTo>
                <a:lnTo>
                  <a:pt x="606" y="1485"/>
                </a:lnTo>
                <a:lnTo>
                  <a:pt x="607" y="1487"/>
                </a:lnTo>
                <a:lnTo>
                  <a:pt x="610" y="1491"/>
                </a:lnTo>
                <a:lnTo>
                  <a:pt x="612" y="1496"/>
                </a:lnTo>
                <a:lnTo>
                  <a:pt x="615" y="1499"/>
                </a:lnTo>
                <a:lnTo>
                  <a:pt x="618" y="1501"/>
                </a:lnTo>
                <a:lnTo>
                  <a:pt x="622" y="1502"/>
                </a:lnTo>
                <a:lnTo>
                  <a:pt x="626" y="1503"/>
                </a:lnTo>
                <a:lnTo>
                  <a:pt x="631" y="1502"/>
                </a:lnTo>
                <a:lnTo>
                  <a:pt x="635" y="1501"/>
                </a:lnTo>
                <a:lnTo>
                  <a:pt x="641" y="1501"/>
                </a:lnTo>
                <a:lnTo>
                  <a:pt x="647" y="1500"/>
                </a:lnTo>
                <a:lnTo>
                  <a:pt x="649" y="1500"/>
                </a:lnTo>
                <a:lnTo>
                  <a:pt x="652" y="1499"/>
                </a:lnTo>
                <a:lnTo>
                  <a:pt x="655" y="1498"/>
                </a:lnTo>
                <a:lnTo>
                  <a:pt x="657" y="1496"/>
                </a:lnTo>
                <a:lnTo>
                  <a:pt x="655" y="1494"/>
                </a:lnTo>
                <a:lnTo>
                  <a:pt x="651" y="1494"/>
                </a:lnTo>
                <a:lnTo>
                  <a:pt x="649" y="1494"/>
                </a:lnTo>
                <a:lnTo>
                  <a:pt x="646" y="1495"/>
                </a:lnTo>
                <a:lnTo>
                  <a:pt x="649" y="1494"/>
                </a:lnTo>
                <a:lnTo>
                  <a:pt x="651" y="1494"/>
                </a:lnTo>
                <a:lnTo>
                  <a:pt x="655" y="1494"/>
                </a:lnTo>
                <a:lnTo>
                  <a:pt x="657" y="1496"/>
                </a:lnTo>
                <a:lnTo>
                  <a:pt x="664" y="1495"/>
                </a:lnTo>
                <a:lnTo>
                  <a:pt x="671" y="1495"/>
                </a:lnTo>
                <a:lnTo>
                  <a:pt x="676" y="1495"/>
                </a:lnTo>
                <a:lnTo>
                  <a:pt x="682" y="1494"/>
                </a:lnTo>
                <a:lnTo>
                  <a:pt x="687" y="1491"/>
                </a:lnTo>
                <a:lnTo>
                  <a:pt x="692" y="1488"/>
                </a:lnTo>
                <a:lnTo>
                  <a:pt x="705" y="1484"/>
                </a:lnTo>
                <a:lnTo>
                  <a:pt x="718" y="1480"/>
                </a:lnTo>
                <a:lnTo>
                  <a:pt x="732" y="1475"/>
                </a:lnTo>
                <a:lnTo>
                  <a:pt x="744" y="1473"/>
                </a:lnTo>
                <a:lnTo>
                  <a:pt x="753" y="1473"/>
                </a:lnTo>
                <a:lnTo>
                  <a:pt x="761" y="1471"/>
                </a:lnTo>
                <a:lnTo>
                  <a:pt x="774" y="1465"/>
                </a:lnTo>
                <a:lnTo>
                  <a:pt x="788" y="1458"/>
                </a:lnTo>
                <a:lnTo>
                  <a:pt x="801" y="1451"/>
                </a:lnTo>
                <a:lnTo>
                  <a:pt x="814" y="1442"/>
                </a:lnTo>
                <a:lnTo>
                  <a:pt x="819" y="1438"/>
                </a:lnTo>
                <a:lnTo>
                  <a:pt x="824" y="1435"/>
                </a:lnTo>
                <a:lnTo>
                  <a:pt x="829" y="1433"/>
                </a:lnTo>
                <a:lnTo>
                  <a:pt x="834" y="1430"/>
                </a:lnTo>
                <a:lnTo>
                  <a:pt x="834" y="1428"/>
                </a:lnTo>
                <a:lnTo>
                  <a:pt x="834" y="1425"/>
                </a:lnTo>
                <a:lnTo>
                  <a:pt x="834" y="1425"/>
                </a:lnTo>
                <a:lnTo>
                  <a:pt x="834" y="1425"/>
                </a:lnTo>
                <a:lnTo>
                  <a:pt x="834" y="1425"/>
                </a:lnTo>
                <a:lnTo>
                  <a:pt x="838" y="1425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5"/>
                </a:lnTo>
                <a:lnTo>
                  <a:pt x="841" y="1425"/>
                </a:lnTo>
                <a:lnTo>
                  <a:pt x="842" y="1425"/>
                </a:lnTo>
                <a:lnTo>
                  <a:pt x="843" y="1425"/>
                </a:lnTo>
                <a:lnTo>
                  <a:pt x="847" y="1422"/>
                </a:lnTo>
                <a:lnTo>
                  <a:pt x="852" y="1417"/>
                </a:lnTo>
                <a:lnTo>
                  <a:pt x="855" y="1412"/>
                </a:lnTo>
                <a:lnTo>
                  <a:pt x="857" y="1407"/>
                </a:lnTo>
                <a:lnTo>
                  <a:pt x="859" y="1406"/>
                </a:lnTo>
                <a:lnTo>
                  <a:pt x="860" y="1405"/>
                </a:lnTo>
                <a:lnTo>
                  <a:pt x="861" y="1402"/>
                </a:lnTo>
                <a:lnTo>
                  <a:pt x="862" y="1399"/>
                </a:lnTo>
                <a:lnTo>
                  <a:pt x="864" y="1398"/>
                </a:lnTo>
                <a:lnTo>
                  <a:pt x="865" y="1397"/>
                </a:lnTo>
                <a:lnTo>
                  <a:pt x="865" y="1395"/>
                </a:lnTo>
                <a:lnTo>
                  <a:pt x="864" y="1393"/>
                </a:lnTo>
                <a:lnTo>
                  <a:pt x="864" y="1393"/>
                </a:lnTo>
                <a:lnTo>
                  <a:pt x="865" y="1393"/>
                </a:lnTo>
                <a:lnTo>
                  <a:pt x="868" y="1392"/>
                </a:lnTo>
                <a:lnTo>
                  <a:pt x="870" y="1391"/>
                </a:lnTo>
                <a:lnTo>
                  <a:pt x="872" y="1388"/>
                </a:lnTo>
                <a:lnTo>
                  <a:pt x="873" y="1384"/>
                </a:lnTo>
                <a:lnTo>
                  <a:pt x="873" y="1381"/>
                </a:lnTo>
                <a:lnTo>
                  <a:pt x="873" y="1378"/>
                </a:lnTo>
                <a:lnTo>
                  <a:pt x="872" y="1375"/>
                </a:lnTo>
                <a:lnTo>
                  <a:pt x="870" y="1371"/>
                </a:lnTo>
                <a:lnTo>
                  <a:pt x="870" y="1368"/>
                </a:lnTo>
                <a:lnTo>
                  <a:pt x="868" y="1367"/>
                </a:lnTo>
                <a:lnTo>
                  <a:pt x="868" y="1367"/>
                </a:lnTo>
                <a:lnTo>
                  <a:pt x="868" y="1364"/>
                </a:lnTo>
                <a:lnTo>
                  <a:pt x="868" y="1361"/>
                </a:lnTo>
                <a:lnTo>
                  <a:pt x="867" y="1359"/>
                </a:lnTo>
                <a:lnTo>
                  <a:pt x="863" y="1357"/>
                </a:lnTo>
                <a:lnTo>
                  <a:pt x="863" y="1357"/>
                </a:lnTo>
                <a:lnTo>
                  <a:pt x="863" y="1358"/>
                </a:lnTo>
                <a:lnTo>
                  <a:pt x="863" y="1357"/>
                </a:lnTo>
                <a:lnTo>
                  <a:pt x="863" y="1357"/>
                </a:lnTo>
                <a:lnTo>
                  <a:pt x="863" y="1344"/>
                </a:lnTo>
                <a:lnTo>
                  <a:pt x="863" y="1331"/>
                </a:lnTo>
                <a:lnTo>
                  <a:pt x="862" y="1318"/>
                </a:lnTo>
                <a:lnTo>
                  <a:pt x="862" y="1305"/>
                </a:lnTo>
                <a:lnTo>
                  <a:pt x="862" y="1303"/>
                </a:lnTo>
                <a:lnTo>
                  <a:pt x="861" y="1301"/>
                </a:lnTo>
                <a:lnTo>
                  <a:pt x="861" y="1300"/>
                </a:lnTo>
                <a:lnTo>
                  <a:pt x="859" y="1298"/>
                </a:lnTo>
                <a:lnTo>
                  <a:pt x="859" y="1286"/>
                </a:lnTo>
                <a:lnTo>
                  <a:pt x="859" y="1274"/>
                </a:lnTo>
                <a:lnTo>
                  <a:pt x="859" y="1261"/>
                </a:lnTo>
                <a:lnTo>
                  <a:pt x="859" y="1250"/>
                </a:lnTo>
                <a:lnTo>
                  <a:pt x="861" y="1246"/>
                </a:lnTo>
                <a:lnTo>
                  <a:pt x="862" y="1242"/>
                </a:lnTo>
                <a:lnTo>
                  <a:pt x="861" y="1239"/>
                </a:lnTo>
                <a:lnTo>
                  <a:pt x="861" y="1235"/>
                </a:lnTo>
                <a:lnTo>
                  <a:pt x="860" y="1236"/>
                </a:lnTo>
                <a:lnTo>
                  <a:pt x="860" y="1238"/>
                </a:lnTo>
                <a:lnTo>
                  <a:pt x="860" y="1236"/>
                </a:lnTo>
                <a:lnTo>
                  <a:pt x="861" y="1235"/>
                </a:lnTo>
                <a:lnTo>
                  <a:pt x="861" y="1234"/>
                </a:lnTo>
                <a:lnTo>
                  <a:pt x="862" y="1233"/>
                </a:lnTo>
                <a:lnTo>
                  <a:pt x="869" y="1213"/>
                </a:lnTo>
                <a:lnTo>
                  <a:pt x="875" y="1195"/>
                </a:lnTo>
                <a:lnTo>
                  <a:pt x="884" y="1177"/>
                </a:lnTo>
                <a:lnTo>
                  <a:pt x="891" y="1159"/>
                </a:lnTo>
                <a:lnTo>
                  <a:pt x="897" y="1145"/>
                </a:lnTo>
                <a:lnTo>
                  <a:pt x="902" y="1130"/>
                </a:lnTo>
                <a:lnTo>
                  <a:pt x="905" y="1115"/>
                </a:lnTo>
                <a:lnTo>
                  <a:pt x="907" y="1100"/>
                </a:lnTo>
                <a:lnTo>
                  <a:pt x="910" y="1090"/>
                </a:lnTo>
                <a:lnTo>
                  <a:pt x="914" y="1082"/>
                </a:lnTo>
                <a:lnTo>
                  <a:pt x="917" y="1073"/>
                </a:lnTo>
                <a:lnTo>
                  <a:pt x="919" y="1065"/>
                </a:lnTo>
                <a:lnTo>
                  <a:pt x="925" y="1044"/>
                </a:lnTo>
                <a:lnTo>
                  <a:pt x="931" y="1024"/>
                </a:lnTo>
                <a:lnTo>
                  <a:pt x="937" y="1004"/>
                </a:lnTo>
                <a:lnTo>
                  <a:pt x="943" y="983"/>
                </a:lnTo>
                <a:lnTo>
                  <a:pt x="948" y="959"/>
                </a:lnTo>
                <a:lnTo>
                  <a:pt x="953" y="933"/>
                </a:lnTo>
                <a:lnTo>
                  <a:pt x="958" y="908"/>
                </a:lnTo>
                <a:lnTo>
                  <a:pt x="960" y="883"/>
                </a:lnTo>
                <a:lnTo>
                  <a:pt x="961" y="868"/>
                </a:lnTo>
                <a:lnTo>
                  <a:pt x="963" y="853"/>
                </a:lnTo>
                <a:lnTo>
                  <a:pt x="968" y="839"/>
                </a:lnTo>
                <a:lnTo>
                  <a:pt x="974" y="825"/>
                </a:lnTo>
                <a:lnTo>
                  <a:pt x="979" y="811"/>
                </a:lnTo>
                <a:lnTo>
                  <a:pt x="985" y="797"/>
                </a:lnTo>
                <a:lnTo>
                  <a:pt x="989" y="787"/>
                </a:lnTo>
                <a:lnTo>
                  <a:pt x="992" y="778"/>
                </a:lnTo>
                <a:lnTo>
                  <a:pt x="993" y="768"/>
                </a:lnTo>
                <a:lnTo>
                  <a:pt x="994" y="759"/>
                </a:lnTo>
                <a:lnTo>
                  <a:pt x="994" y="747"/>
                </a:lnTo>
                <a:lnTo>
                  <a:pt x="994" y="735"/>
                </a:lnTo>
                <a:lnTo>
                  <a:pt x="994" y="722"/>
                </a:lnTo>
                <a:lnTo>
                  <a:pt x="994" y="710"/>
                </a:lnTo>
                <a:lnTo>
                  <a:pt x="1005" y="711"/>
                </a:lnTo>
                <a:lnTo>
                  <a:pt x="1015" y="711"/>
                </a:lnTo>
                <a:lnTo>
                  <a:pt x="1026" y="711"/>
                </a:lnTo>
                <a:lnTo>
                  <a:pt x="1037" y="713"/>
                </a:lnTo>
                <a:lnTo>
                  <a:pt x="1050" y="715"/>
                </a:lnTo>
                <a:lnTo>
                  <a:pt x="1062" y="716"/>
                </a:lnTo>
                <a:lnTo>
                  <a:pt x="1075" y="715"/>
                </a:lnTo>
                <a:lnTo>
                  <a:pt x="1088" y="713"/>
                </a:lnTo>
                <a:lnTo>
                  <a:pt x="1089" y="713"/>
                </a:lnTo>
                <a:lnTo>
                  <a:pt x="1090" y="711"/>
                </a:lnTo>
                <a:lnTo>
                  <a:pt x="1091" y="711"/>
                </a:lnTo>
                <a:lnTo>
                  <a:pt x="1094" y="711"/>
                </a:lnTo>
                <a:lnTo>
                  <a:pt x="1098" y="711"/>
                </a:lnTo>
                <a:lnTo>
                  <a:pt x="1102" y="710"/>
                </a:lnTo>
                <a:lnTo>
                  <a:pt x="1106" y="709"/>
                </a:lnTo>
                <a:lnTo>
                  <a:pt x="1111" y="707"/>
                </a:lnTo>
                <a:lnTo>
                  <a:pt x="1116" y="706"/>
                </a:lnTo>
                <a:lnTo>
                  <a:pt x="1121" y="704"/>
                </a:lnTo>
                <a:lnTo>
                  <a:pt x="1127" y="702"/>
                </a:lnTo>
                <a:lnTo>
                  <a:pt x="1130" y="702"/>
                </a:lnTo>
                <a:lnTo>
                  <a:pt x="1132" y="705"/>
                </a:lnTo>
                <a:lnTo>
                  <a:pt x="1132" y="710"/>
                </a:lnTo>
                <a:lnTo>
                  <a:pt x="1133" y="716"/>
                </a:lnTo>
                <a:lnTo>
                  <a:pt x="1134" y="719"/>
                </a:lnTo>
                <a:lnTo>
                  <a:pt x="1137" y="720"/>
                </a:lnTo>
                <a:lnTo>
                  <a:pt x="1144" y="719"/>
                </a:lnTo>
                <a:lnTo>
                  <a:pt x="1155" y="718"/>
                </a:lnTo>
                <a:lnTo>
                  <a:pt x="1166" y="716"/>
                </a:lnTo>
                <a:lnTo>
                  <a:pt x="1177" y="715"/>
                </a:lnTo>
                <a:lnTo>
                  <a:pt x="1188" y="715"/>
                </a:lnTo>
                <a:lnTo>
                  <a:pt x="1196" y="714"/>
                </a:lnTo>
                <a:lnTo>
                  <a:pt x="1201" y="711"/>
                </a:lnTo>
                <a:lnTo>
                  <a:pt x="1202" y="707"/>
                </a:lnTo>
                <a:lnTo>
                  <a:pt x="1203" y="700"/>
                </a:lnTo>
                <a:lnTo>
                  <a:pt x="1203" y="695"/>
                </a:lnTo>
                <a:lnTo>
                  <a:pt x="1204" y="692"/>
                </a:lnTo>
                <a:lnTo>
                  <a:pt x="1206" y="690"/>
                </a:lnTo>
                <a:lnTo>
                  <a:pt x="1210" y="689"/>
                </a:lnTo>
                <a:lnTo>
                  <a:pt x="1218" y="688"/>
                </a:lnTo>
                <a:lnTo>
                  <a:pt x="1224" y="686"/>
                </a:lnTo>
                <a:lnTo>
                  <a:pt x="1231" y="685"/>
                </a:lnTo>
                <a:lnTo>
                  <a:pt x="1237" y="683"/>
                </a:lnTo>
                <a:lnTo>
                  <a:pt x="1243" y="679"/>
                </a:lnTo>
                <a:lnTo>
                  <a:pt x="1249" y="676"/>
                </a:lnTo>
                <a:lnTo>
                  <a:pt x="1238" y="677"/>
                </a:lnTo>
                <a:lnTo>
                  <a:pt x="1228" y="679"/>
                </a:lnTo>
                <a:lnTo>
                  <a:pt x="1218" y="681"/>
                </a:lnTo>
                <a:lnTo>
                  <a:pt x="1207" y="684"/>
                </a:lnTo>
                <a:lnTo>
                  <a:pt x="1218" y="681"/>
                </a:lnTo>
                <a:lnTo>
                  <a:pt x="1228" y="679"/>
                </a:lnTo>
                <a:lnTo>
                  <a:pt x="1238" y="677"/>
                </a:lnTo>
                <a:lnTo>
                  <a:pt x="1249" y="676"/>
                </a:lnTo>
                <a:lnTo>
                  <a:pt x="1255" y="675"/>
                </a:lnTo>
                <a:lnTo>
                  <a:pt x="1262" y="673"/>
                </a:lnTo>
                <a:lnTo>
                  <a:pt x="1273" y="671"/>
                </a:lnTo>
                <a:lnTo>
                  <a:pt x="1285" y="670"/>
                </a:lnTo>
                <a:lnTo>
                  <a:pt x="1297" y="671"/>
                </a:lnTo>
                <a:lnTo>
                  <a:pt x="1309" y="673"/>
                </a:lnTo>
                <a:lnTo>
                  <a:pt x="1318" y="675"/>
                </a:lnTo>
                <a:lnTo>
                  <a:pt x="1328" y="676"/>
                </a:lnTo>
                <a:lnTo>
                  <a:pt x="1338" y="677"/>
                </a:lnTo>
                <a:lnTo>
                  <a:pt x="1347" y="678"/>
                </a:lnTo>
                <a:lnTo>
                  <a:pt x="1358" y="680"/>
                </a:lnTo>
                <a:lnTo>
                  <a:pt x="1369" y="681"/>
                </a:lnTo>
                <a:lnTo>
                  <a:pt x="1374" y="684"/>
                </a:lnTo>
                <a:lnTo>
                  <a:pt x="1379" y="685"/>
                </a:lnTo>
                <a:lnTo>
                  <a:pt x="1386" y="684"/>
                </a:lnTo>
                <a:lnTo>
                  <a:pt x="1391" y="683"/>
                </a:lnTo>
                <a:lnTo>
                  <a:pt x="1410" y="680"/>
                </a:lnTo>
                <a:lnTo>
                  <a:pt x="1431" y="678"/>
                </a:lnTo>
                <a:lnTo>
                  <a:pt x="1450" y="674"/>
                </a:lnTo>
                <a:lnTo>
                  <a:pt x="1469" y="670"/>
                </a:lnTo>
                <a:lnTo>
                  <a:pt x="1485" y="667"/>
                </a:lnTo>
                <a:lnTo>
                  <a:pt x="1499" y="661"/>
                </a:lnTo>
                <a:lnTo>
                  <a:pt x="1507" y="658"/>
                </a:lnTo>
                <a:lnTo>
                  <a:pt x="1514" y="655"/>
                </a:lnTo>
                <a:lnTo>
                  <a:pt x="1521" y="652"/>
                </a:lnTo>
                <a:lnTo>
                  <a:pt x="1527" y="647"/>
                </a:lnTo>
                <a:lnTo>
                  <a:pt x="1541" y="639"/>
                </a:lnTo>
                <a:lnTo>
                  <a:pt x="1554" y="629"/>
                </a:lnTo>
                <a:lnTo>
                  <a:pt x="1561" y="624"/>
                </a:lnTo>
                <a:lnTo>
                  <a:pt x="1568" y="618"/>
                </a:lnTo>
                <a:lnTo>
                  <a:pt x="1574" y="613"/>
                </a:lnTo>
                <a:lnTo>
                  <a:pt x="1583" y="610"/>
                </a:lnTo>
                <a:lnTo>
                  <a:pt x="1585" y="611"/>
                </a:lnTo>
                <a:lnTo>
                  <a:pt x="1588" y="613"/>
                </a:lnTo>
                <a:lnTo>
                  <a:pt x="1589" y="623"/>
                </a:lnTo>
                <a:lnTo>
                  <a:pt x="1590" y="633"/>
                </a:lnTo>
                <a:lnTo>
                  <a:pt x="1589" y="645"/>
                </a:lnTo>
                <a:lnTo>
                  <a:pt x="1588" y="658"/>
                </a:lnTo>
                <a:lnTo>
                  <a:pt x="1588" y="665"/>
                </a:lnTo>
                <a:lnTo>
                  <a:pt x="1588" y="673"/>
                </a:lnTo>
                <a:lnTo>
                  <a:pt x="1589" y="681"/>
                </a:lnTo>
                <a:lnTo>
                  <a:pt x="1591" y="689"/>
                </a:lnTo>
                <a:lnTo>
                  <a:pt x="1593" y="701"/>
                </a:lnTo>
                <a:lnTo>
                  <a:pt x="1593" y="713"/>
                </a:lnTo>
                <a:lnTo>
                  <a:pt x="1595" y="718"/>
                </a:lnTo>
                <a:lnTo>
                  <a:pt x="1596" y="724"/>
                </a:lnTo>
                <a:lnTo>
                  <a:pt x="1597" y="730"/>
                </a:lnTo>
                <a:lnTo>
                  <a:pt x="1599" y="736"/>
                </a:lnTo>
                <a:lnTo>
                  <a:pt x="1601" y="750"/>
                </a:lnTo>
                <a:lnTo>
                  <a:pt x="1603" y="764"/>
                </a:lnTo>
                <a:lnTo>
                  <a:pt x="1605" y="770"/>
                </a:lnTo>
                <a:lnTo>
                  <a:pt x="1607" y="778"/>
                </a:lnTo>
                <a:lnTo>
                  <a:pt x="1610" y="784"/>
                </a:lnTo>
                <a:lnTo>
                  <a:pt x="1614" y="791"/>
                </a:lnTo>
                <a:lnTo>
                  <a:pt x="1615" y="792"/>
                </a:lnTo>
                <a:lnTo>
                  <a:pt x="1616" y="794"/>
                </a:lnTo>
                <a:lnTo>
                  <a:pt x="1618" y="798"/>
                </a:lnTo>
                <a:lnTo>
                  <a:pt x="1619" y="803"/>
                </a:lnTo>
                <a:lnTo>
                  <a:pt x="1621" y="808"/>
                </a:lnTo>
                <a:lnTo>
                  <a:pt x="1625" y="812"/>
                </a:lnTo>
                <a:lnTo>
                  <a:pt x="1626" y="812"/>
                </a:lnTo>
                <a:lnTo>
                  <a:pt x="1627" y="813"/>
                </a:lnTo>
                <a:lnTo>
                  <a:pt x="1630" y="818"/>
                </a:lnTo>
                <a:lnTo>
                  <a:pt x="1633" y="824"/>
                </a:lnTo>
                <a:lnTo>
                  <a:pt x="1635" y="831"/>
                </a:lnTo>
                <a:lnTo>
                  <a:pt x="1638" y="839"/>
                </a:lnTo>
                <a:lnTo>
                  <a:pt x="1641" y="844"/>
                </a:lnTo>
                <a:lnTo>
                  <a:pt x="1644" y="848"/>
                </a:lnTo>
                <a:lnTo>
                  <a:pt x="1648" y="853"/>
                </a:lnTo>
                <a:lnTo>
                  <a:pt x="1652" y="856"/>
                </a:lnTo>
                <a:lnTo>
                  <a:pt x="1656" y="858"/>
                </a:lnTo>
                <a:lnTo>
                  <a:pt x="1658" y="859"/>
                </a:lnTo>
                <a:lnTo>
                  <a:pt x="1660" y="860"/>
                </a:lnTo>
                <a:lnTo>
                  <a:pt x="1662" y="860"/>
                </a:lnTo>
                <a:lnTo>
                  <a:pt x="1667" y="859"/>
                </a:lnTo>
                <a:lnTo>
                  <a:pt x="1673" y="857"/>
                </a:lnTo>
                <a:lnTo>
                  <a:pt x="1682" y="853"/>
                </a:lnTo>
                <a:lnTo>
                  <a:pt x="1692" y="851"/>
                </a:lnTo>
                <a:lnTo>
                  <a:pt x="1706" y="847"/>
                </a:lnTo>
                <a:lnTo>
                  <a:pt x="1721" y="844"/>
                </a:lnTo>
                <a:lnTo>
                  <a:pt x="1727" y="843"/>
                </a:lnTo>
                <a:lnTo>
                  <a:pt x="1735" y="842"/>
                </a:lnTo>
                <a:lnTo>
                  <a:pt x="1742" y="842"/>
                </a:lnTo>
                <a:lnTo>
                  <a:pt x="1750" y="843"/>
                </a:lnTo>
                <a:lnTo>
                  <a:pt x="1758" y="843"/>
                </a:lnTo>
                <a:lnTo>
                  <a:pt x="1768" y="843"/>
                </a:lnTo>
                <a:lnTo>
                  <a:pt x="1777" y="843"/>
                </a:lnTo>
                <a:lnTo>
                  <a:pt x="1785" y="843"/>
                </a:lnTo>
                <a:lnTo>
                  <a:pt x="1788" y="838"/>
                </a:lnTo>
                <a:lnTo>
                  <a:pt x="1789" y="832"/>
                </a:lnTo>
                <a:lnTo>
                  <a:pt x="1788" y="838"/>
                </a:lnTo>
                <a:lnTo>
                  <a:pt x="1785" y="843"/>
                </a:lnTo>
                <a:lnTo>
                  <a:pt x="1788" y="843"/>
                </a:lnTo>
                <a:lnTo>
                  <a:pt x="1790" y="843"/>
                </a:lnTo>
                <a:lnTo>
                  <a:pt x="1793" y="842"/>
                </a:lnTo>
                <a:lnTo>
                  <a:pt x="1795" y="841"/>
                </a:lnTo>
                <a:lnTo>
                  <a:pt x="1798" y="837"/>
                </a:lnTo>
                <a:lnTo>
                  <a:pt x="1799" y="830"/>
                </a:lnTo>
                <a:lnTo>
                  <a:pt x="1799" y="826"/>
                </a:lnTo>
                <a:lnTo>
                  <a:pt x="1801" y="823"/>
                </a:lnTo>
                <a:lnTo>
                  <a:pt x="1808" y="820"/>
                </a:lnTo>
                <a:lnTo>
                  <a:pt x="1814" y="815"/>
                </a:lnTo>
                <a:lnTo>
                  <a:pt x="1817" y="813"/>
                </a:lnTo>
                <a:lnTo>
                  <a:pt x="1820" y="812"/>
                </a:lnTo>
                <a:lnTo>
                  <a:pt x="1825" y="811"/>
                </a:lnTo>
                <a:lnTo>
                  <a:pt x="1828" y="811"/>
                </a:lnTo>
                <a:lnTo>
                  <a:pt x="1838" y="812"/>
                </a:lnTo>
                <a:lnTo>
                  <a:pt x="1846" y="814"/>
                </a:lnTo>
                <a:lnTo>
                  <a:pt x="1855" y="816"/>
                </a:lnTo>
                <a:lnTo>
                  <a:pt x="1863" y="818"/>
                </a:lnTo>
                <a:lnTo>
                  <a:pt x="1873" y="818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20"/>
                </a:lnTo>
                <a:lnTo>
                  <a:pt x="1883" y="820"/>
                </a:lnTo>
                <a:lnTo>
                  <a:pt x="1885" y="820"/>
                </a:lnTo>
                <a:lnTo>
                  <a:pt x="1886" y="820"/>
                </a:lnTo>
                <a:lnTo>
                  <a:pt x="1893" y="820"/>
                </a:lnTo>
                <a:lnTo>
                  <a:pt x="1900" y="818"/>
                </a:lnTo>
                <a:lnTo>
                  <a:pt x="1904" y="817"/>
                </a:lnTo>
                <a:lnTo>
                  <a:pt x="1908" y="816"/>
                </a:lnTo>
                <a:lnTo>
                  <a:pt x="1911" y="813"/>
                </a:lnTo>
                <a:lnTo>
                  <a:pt x="1914" y="808"/>
                </a:lnTo>
                <a:lnTo>
                  <a:pt x="1915" y="801"/>
                </a:lnTo>
                <a:lnTo>
                  <a:pt x="1915" y="793"/>
                </a:lnTo>
                <a:lnTo>
                  <a:pt x="1916" y="790"/>
                </a:lnTo>
                <a:lnTo>
                  <a:pt x="1917" y="788"/>
                </a:lnTo>
                <a:lnTo>
                  <a:pt x="1919" y="787"/>
                </a:lnTo>
                <a:lnTo>
                  <a:pt x="1922" y="786"/>
                </a:lnTo>
                <a:lnTo>
                  <a:pt x="1931" y="785"/>
                </a:lnTo>
                <a:lnTo>
                  <a:pt x="1940" y="784"/>
                </a:lnTo>
                <a:lnTo>
                  <a:pt x="1949" y="782"/>
                </a:lnTo>
                <a:lnTo>
                  <a:pt x="1956" y="780"/>
                </a:lnTo>
                <a:lnTo>
                  <a:pt x="1964" y="779"/>
                </a:lnTo>
                <a:lnTo>
                  <a:pt x="1970" y="779"/>
                </a:lnTo>
                <a:lnTo>
                  <a:pt x="1971" y="778"/>
                </a:lnTo>
                <a:lnTo>
                  <a:pt x="1972" y="776"/>
                </a:lnTo>
                <a:lnTo>
                  <a:pt x="1971" y="778"/>
                </a:lnTo>
                <a:lnTo>
                  <a:pt x="1970" y="779"/>
                </a:lnTo>
                <a:lnTo>
                  <a:pt x="1974" y="780"/>
                </a:lnTo>
                <a:lnTo>
                  <a:pt x="1976" y="780"/>
                </a:lnTo>
                <a:lnTo>
                  <a:pt x="1978" y="779"/>
                </a:lnTo>
                <a:lnTo>
                  <a:pt x="1980" y="778"/>
                </a:lnTo>
                <a:lnTo>
                  <a:pt x="1982" y="778"/>
                </a:lnTo>
                <a:lnTo>
                  <a:pt x="1984" y="778"/>
                </a:lnTo>
                <a:lnTo>
                  <a:pt x="1985" y="777"/>
                </a:lnTo>
                <a:lnTo>
                  <a:pt x="1986" y="775"/>
                </a:lnTo>
                <a:lnTo>
                  <a:pt x="1991" y="776"/>
                </a:lnTo>
                <a:lnTo>
                  <a:pt x="1995" y="775"/>
                </a:lnTo>
                <a:lnTo>
                  <a:pt x="2001" y="774"/>
                </a:lnTo>
                <a:lnTo>
                  <a:pt x="2007" y="770"/>
                </a:lnTo>
                <a:lnTo>
                  <a:pt x="2009" y="768"/>
                </a:lnTo>
                <a:lnTo>
                  <a:pt x="2010" y="766"/>
                </a:lnTo>
                <a:lnTo>
                  <a:pt x="2011" y="764"/>
                </a:lnTo>
                <a:lnTo>
                  <a:pt x="2011" y="761"/>
                </a:lnTo>
                <a:lnTo>
                  <a:pt x="2011" y="753"/>
                </a:lnTo>
                <a:lnTo>
                  <a:pt x="2012" y="746"/>
                </a:lnTo>
                <a:lnTo>
                  <a:pt x="2014" y="742"/>
                </a:lnTo>
                <a:lnTo>
                  <a:pt x="2016" y="739"/>
                </a:lnTo>
                <a:lnTo>
                  <a:pt x="2020" y="737"/>
                </a:lnTo>
                <a:lnTo>
                  <a:pt x="2024" y="735"/>
                </a:lnTo>
                <a:lnTo>
                  <a:pt x="2034" y="731"/>
                </a:lnTo>
                <a:lnTo>
                  <a:pt x="2043" y="726"/>
                </a:lnTo>
                <a:lnTo>
                  <a:pt x="2045" y="726"/>
                </a:lnTo>
                <a:lnTo>
                  <a:pt x="2047" y="726"/>
                </a:lnTo>
                <a:lnTo>
                  <a:pt x="2049" y="725"/>
                </a:lnTo>
                <a:lnTo>
                  <a:pt x="2049" y="723"/>
                </a:lnTo>
                <a:lnTo>
                  <a:pt x="2049" y="723"/>
                </a:lnTo>
                <a:lnTo>
                  <a:pt x="2049" y="722"/>
                </a:lnTo>
                <a:lnTo>
                  <a:pt x="2052" y="722"/>
                </a:lnTo>
                <a:lnTo>
                  <a:pt x="2055" y="720"/>
                </a:lnTo>
                <a:lnTo>
                  <a:pt x="2058" y="718"/>
                </a:lnTo>
                <a:lnTo>
                  <a:pt x="2059" y="715"/>
                </a:lnTo>
                <a:lnTo>
                  <a:pt x="2061" y="709"/>
                </a:lnTo>
                <a:lnTo>
                  <a:pt x="2062" y="705"/>
                </a:lnTo>
                <a:lnTo>
                  <a:pt x="2061" y="701"/>
                </a:lnTo>
                <a:lnTo>
                  <a:pt x="2061" y="696"/>
                </a:lnTo>
                <a:lnTo>
                  <a:pt x="2058" y="688"/>
                </a:lnTo>
                <a:lnTo>
                  <a:pt x="2056" y="679"/>
                </a:lnTo>
                <a:lnTo>
                  <a:pt x="2055" y="679"/>
                </a:lnTo>
                <a:lnTo>
                  <a:pt x="2054" y="679"/>
                </a:lnTo>
                <a:close/>
                <a:moveTo>
                  <a:pt x="105" y="958"/>
                </a:moveTo>
                <a:lnTo>
                  <a:pt x="105" y="956"/>
                </a:lnTo>
                <a:lnTo>
                  <a:pt x="105" y="955"/>
                </a:lnTo>
                <a:lnTo>
                  <a:pt x="104" y="956"/>
                </a:lnTo>
                <a:lnTo>
                  <a:pt x="104" y="956"/>
                </a:lnTo>
                <a:lnTo>
                  <a:pt x="104" y="958"/>
                </a:lnTo>
                <a:lnTo>
                  <a:pt x="105" y="959"/>
                </a:lnTo>
                <a:lnTo>
                  <a:pt x="105" y="958"/>
                </a:lnTo>
                <a:lnTo>
                  <a:pt x="105" y="958"/>
                </a:lnTo>
                <a:close/>
                <a:moveTo>
                  <a:pt x="100" y="984"/>
                </a:moveTo>
                <a:lnTo>
                  <a:pt x="100" y="985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4"/>
                </a:lnTo>
                <a:lnTo>
                  <a:pt x="102" y="982"/>
                </a:lnTo>
                <a:lnTo>
                  <a:pt x="101" y="983"/>
                </a:lnTo>
                <a:lnTo>
                  <a:pt x="100" y="984"/>
                </a:lnTo>
                <a:close/>
                <a:moveTo>
                  <a:pt x="104" y="977"/>
                </a:moveTo>
                <a:lnTo>
                  <a:pt x="103" y="978"/>
                </a:lnTo>
                <a:lnTo>
                  <a:pt x="102" y="979"/>
                </a:lnTo>
                <a:lnTo>
                  <a:pt x="102" y="981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4" y="982"/>
                </a:lnTo>
                <a:lnTo>
                  <a:pt x="106" y="981"/>
                </a:lnTo>
                <a:lnTo>
                  <a:pt x="106" y="980"/>
                </a:lnTo>
                <a:lnTo>
                  <a:pt x="106" y="978"/>
                </a:lnTo>
                <a:lnTo>
                  <a:pt x="105" y="977"/>
                </a:lnTo>
                <a:lnTo>
                  <a:pt x="104" y="977"/>
                </a:lnTo>
                <a:close/>
                <a:moveTo>
                  <a:pt x="104" y="969"/>
                </a:moveTo>
                <a:lnTo>
                  <a:pt x="104" y="967"/>
                </a:lnTo>
                <a:lnTo>
                  <a:pt x="104" y="965"/>
                </a:lnTo>
                <a:lnTo>
                  <a:pt x="103" y="963"/>
                </a:lnTo>
                <a:lnTo>
                  <a:pt x="102" y="961"/>
                </a:lnTo>
                <a:lnTo>
                  <a:pt x="101" y="964"/>
                </a:lnTo>
                <a:lnTo>
                  <a:pt x="102" y="966"/>
                </a:lnTo>
                <a:lnTo>
                  <a:pt x="103" y="968"/>
                </a:lnTo>
                <a:lnTo>
                  <a:pt x="104" y="969"/>
                </a:lnTo>
                <a:close/>
                <a:moveTo>
                  <a:pt x="609" y="226"/>
                </a:moveTo>
                <a:lnTo>
                  <a:pt x="609" y="219"/>
                </a:lnTo>
                <a:lnTo>
                  <a:pt x="607" y="214"/>
                </a:lnTo>
                <a:lnTo>
                  <a:pt x="605" y="209"/>
                </a:lnTo>
                <a:lnTo>
                  <a:pt x="603" y="203"/>
                </a:lnTo>
                <a:lnTo>
                  <a:pt x="602" y="210"/>
                </a:lnTo>
                <a:lnTo>
                  <a:pt x="604" y="215"/>
                </a:lnTo>
                <a:lnTo>
                  <a:pt x="606" y="220"/>
                </a:lnTo>
                <a:lnTo>
                  <a:pt x="609" y="226"/>
                </a:lnTo>
                <a:close/>
                <a:moveTo>
                  <a:pt x="594" y="155"/>
                </a:moveTo>
                <a:lnTo>
                  <a:pt x="590" y="155"/>
                </a:lnTo>
                <a:lnTo>
                  <a:pt x="589" y="157"/>
                </a:lnTo>
                <a:lnTo>
                  <a:pt x="588" y="159"/>
                </a:lnTo>
                <a:lnTo>
                  <a:pt x="588" y="161"/>
                </a:lnTo>
                <a:lnTo>
                  <a:pt x="588" y="165"/>
                </a:lnTo>
                <a:lnTo>
                  <a:pt x="587" y="167"/>
                </a:lnTo>
                <a:lnTo>
                  <a:pt x="585" y="169"/>
                </a:lnTo>
                <a:lnTo>
                  <a:pt x="582" y="169"/>
                </a:lnTo>
                <a:lnTo>
                  <a:pt x="580" y="169"/>
                </a:lnTo>
                <a:lnTo>
                  <a:pt x="577" y="170"/>
                </a:lnTo>
                <a:lnTo>
                  <a:pt x="576" y="171"/>
                </a:lnTo>
                <a:lnTo>
                  <a:pt x="576" y="174"/>
                </a:lnTo>
                <a:lnTo>
                  <a:pt x="577" y="176"/>
                </a:lnTo>
                <a:lnTo>
                  <a:pt x="579" y="178"/>
                </a:lnTo>
                <a:lnTo>
                  <a:pt x="581" y="179"/>
                </a:lnTo>
                <a:lnTo>
                  <a:pt x="583" y="179"/>
                </a:lnTo>
                <a:lnTo>
                  <a:pt x="586" y="179"/>
                </a:lnTo>
                <a:lnTo>
                  <a:pt x="589" y="178"/>
                </a:lnTo>
                <a:lnTo>
                  <a:pt x="591" y="176"/>
                </a:lnTo>
                <a:lnTo>
                  <a:pt x="594" y="175"/>
                </a:lnTo>
                <a:lnTo>
                  <a:pt x="596" y="173"/>
                </a:lnTo>
                <a:lnTo>
                  <a:pt x="597" y="170"/>
                </a:lnTo>
                <a:lnTo>
                  <a:pt x="598" y="167"/>
                </a:lnTo>
                <a:lnTo>
                  <a:pt x="598" y="164"/>
                </a:lnTo>
                <a:lnTo>
                  <a:pt x="598" y="159"/>
                </a:lnTo>
                <a:lnTo>
                  <a:pt x="598" y="156"/>
                </a:lnTo>
                <a:lnTo>
                  <a:pt x="596" y="155"/>
                </a:lnTo>
                <a:lnTo>
                  <a:pt x="594" y="155"/>
                </a:lnTo>
                <a:close/>
                <a:moveTo>
                  <a:pt x="622" y="573"/>
                </a:moveTo>
                <a:lnTo>
                  <a:pt x="620" y="573"/>
                </a:lnTo>
                <a:lnTo>
                  <a:pt x="618" y="572"/>
                </a:lnTo>
                <a:lnTo>
                  <a:pt x="616" y="573"/>
                </a:lnTo>
                <a:lnTo>
                  <a:pt x="615" y="574"/>
                </a:lnTo>
                <a:lnTo>
                  <a:pt x="599" y="573"/>
                </a:lnTo>
                <a:lnTo>
                  <a:pt x="583" y="573"/>
                </a:lnTo>
                <a:lnTo>
                  <a:pt x="570" y="571"/>
                </a:lnTo>
                <a:lnTo>
                  <a:pt x="556" y="569"/>
                </a:lnTo>
                <a:lnTo>
                  <a:pt x="549" y="571"/>
                </a:lnTo>
                <a:lnTo>
                  <a:pt x="540" y="573"/>
                </a:lnTo>
                <a:lnTo>
                  <a:pt x="535" y="573"/>
                </a:lnTo>
                <a:lnTo>
                  <a:pt x="529" y="576"/>
                </a:lnTo>
                <a:lnTo>
                  <a:pt x="526" y="579"/>
                </a:lnTo>
                <a:lnTo>
                  <a:pt x="523" y="584"/>
                </a:lnTo>
                <a:lnTo>
                  <a:pt x="522" y="587"/>
                </a:lnTo>
                <a:lnTo>
                  <a:pt x="523" y="589"/>
                </a:lnTo>
                <a:lnTo>
                  <a:pt x="524" y="589"/>
                </a:lnTo>
                <a:lnTo>
                  <a:pt x="525" y="589"/>
                </a:lnTo>
                <a:lnTo>
                  <a:pt x="526" y="589"/>
                </a:lnTo>
                <a:lnTo>
                  <a:pt x="527" y="588"/>
                </a:lnTo>
                <a:lnTo>
                  <a:pt x="535" y="584"/>
                </a:lnTo>
                <a:lnTo>
                  <a:pt x="542" y="581"/>
                </a:lnTo>
                <a:lnTo>
                  <a:pt x="550" y="579"/>
                </a:lnTo>
                <a:lnTo>
                  <a:pt x="557" y="579"/>
                </a:lnTo>
                <a:lnTo>
                  <a:pt x="569" y="579"/>
                </a:lnTo>
                <a:lnTo>
                  <a:pt x="580" y="579"/>
                </a:lnTo>
                <a:lnTo>
                  <a:pt x="591" y="580"/>
                </a:lnTo>
                <a:lnTo>
                  <a:pt x="602" y="580"/>
                </a:lnTo>
                <a:lnTo>
                  <a:pt x="606" y="580"/>
                </a:lnTo>
                <a:lnTo>
                  <a:pt x="610" y="579"/>
                </a:lnTo>
                <a:lnTo>
                  <a:pt x="612" y="578"/>
                </a:lnTo>
                <a:lnTo>
                  <a:pt x="615" y="574"/>
                </a:lnTo>
                <a:lnTo>
                  <a:pt x="615" y="574"/>
                </a:lnTo>
                <a:lnTo>
                  <a:pt x="618" y="574"/>
                </a:lnTo>
                <a:lnTo>
                  <a:pt x="622" y="573"/>
                </a:lnTo>
                <a:close/>
                <a:moveTo>
                  <a:pt x="579" y="624"/>
                </a:moveTo>
                <a:lnTo>
                  <a:pt x="587" y="622"/>
                </a:lnTo>
                <a:lnTo>
                  <a:pt x="596" y="621"/>
                </a:lnTo>
                <a:lnTo>
                  <a:pt x="587" y="622"/>
                </a:lnTo>
                <a:lnTo>
                  <a:pt x="579" y="624"/>
                </a:lnTo>
                <a:lnTo>
                  <a:pt x="570" y="623"/>
                </a:lnTo>
                <a:lnTo>
                  <a:pt x="561" y="621"/>
                </a:lnTo>
                <a:lnTo>
                  <a:pt x="570" y="623"/>
                </a:lnTo>
                <a:lnTo>
                  <a:pt x="579" y="624"/>
                </a:lnTo>
                <a:close/>
                <a:moveTo>
                  <a:pt x="544" y="619"/>
                </a:moveTo>
                <a:lnTo>
                  <a:pt x="554" y="623"/>
                </a:lnTo>
                <a:lnTo>
                  <a:pt x="564" y="626"/>
                </a:lnTo>
                <a:lnTo>
                  <a:pt x="572" y="628"/>
                </a:lnTo>
                <a:lnTo>
                  <a:pt x="581" y="628"/>
                </a:lnTo>
                <a:lnTo>
                  <a:pt x="588" y="627"/>
                </a:lnTo>
                <a:lnTo>
                  <a:pt x="596" y="627"/>
                </a:lnTo>
                <a:lnTo>
                  <a:pt x="601" y="627"/>
                </a:lnTo>
                <a:lnTo>
                  <a:pt x="603" y="626"/>
                </a:lnTo>
                <a:lnTo>
                  <a:pt x="611" y="621"/>
                </a:lnTo>
                <a:lnTo>
                  <a:pt x="619" y="615"/>
                </a:lnTo>
                <a:lnTo>
                  <a:pt x="622" y="613"/>
                </a:lnTo>
                <a:lnTo>
                  <a:pt x="624" y="610"/>
                </a:lnTo>
                <a:lnTo>
                  <a:pt x="624" y="607"/>
                </a:lnTo>
                <a:lnTo>
                  <a:pt x="621" y="602"/>
                </a:lnTo>
                <a:lnTo>
                  <a:pt x="620" y="601"/>
                </a:lnTo>
                <a:lnTo>
                  <a:pt x="619" y="599"/>
                </a:lnTo>
                <a:lnTo>
                  <a:pt x="619" y="597"/>
                </a:lnTo>
                <a:lnTo>
                  <a:pt x="620" y="594"/>
                </a:lnTo>
                <a:lnTo>
                  <a:pt x="621" y="593"/>
                </a:lnTo>
                <a:lnTo>
                  <a:pt x="620" y="592"/>
                </a:lnTo>
                <a:lnTo>
                  <a:pt x="618" y="591"/>
                </a:lnTo>
                <a:lnTo>
                  <a:pt x="616" y="591"/>
                </a:lnTo>
                <a:lnTo>
                  <a:pt x="605" y="592"/>
                </a:lnTo>
                <a:lnTo>
                  <a:pt x="594" y="593"/>
                </a:lnTo>
                <a:lnTo>
                  <a:pt x="582" y="595"/>
                </a:lnTo>
                <a:lnTo>
                  <a:pt x="571" y="595"/>
                </a:lnTo>
                <a:lnTo>
                  <a:pt x="569" y="595"/>
                </a:lnTo>
                <a:lnTo>
                  <a:pt x="567" y="597"/>
                </a:lnTo>
                <a:lnTo>
                  <a:pt x="564" y="600"/>
                </a:lnTo>
                <a:lnTo>
                  <a:pt x="560" y="601"/>
                </a:lnTo>
                <a:lnTo>
                  <a:pt x="556" y="601"/>
                </a:lnTo>
                <a:lnTo>
                  <a:pt x="552" y="600"/>
                </a:lnTo>
                <a:lnTo>
                  <a:pt x="547" y="600"/>
                </a:lnTo>
                <a:lnTo>
                  <a:pt x="544" y="601"/>
                </a:lnTo>
                <a:lnTo>
                  <a:pt x="541" y="604"/>
                </a:lnTo>
                <a:lnTo>
                  <a:pt x="539" y="608"/>
                </a:lnTo>
                <a:lnTo>
                  <a:pt x="538" y="611"/>
                </a:lnTo>
                <a:lnTo>
                  <a:pt x="539" y="614"/>
                </a:lnTo>
                <a:lnTo>
                  <a:pt x="541" y="617"/>
                </a:lnTo>
                <a:lnTo>
                  <a:pt x="544" y="619"/>
                </a:lnTo>
                <a:close/>
                <a:moveTo>
                  <a:pt x="628" y="803"/>
                </a:moveTo>
                <a:lnTo>
                  <a:pt x="620" y="811"/>
                </a:lnTo>
                <a:lnTo>
                  <a:pt x="615" y="820"/>
                </a:lnTo>
                <a:lnTo>
                  <a:pt x="613" y="825"/>
                </a:lnTo>
                <a:lnTo>
                  <a:pt x="612" y="830"/>
                </a:lnTo>
                <a:lnTo>
                  <a:pt x="612" y="836"/>
                </a:lnTo>
                <a:lnTo>
                  <a:pt x="613" y="842"/>
                </a:lnTo>
                <a:lnTo>
                  <a:pt x="615" y="846"/>
                </a:lnTo>
                <a:lnTo>
                  <a:pt x="617" y="851"/>
                </a:lnTo>
                <a:lnTo>
                  <a:pt x="620" y="855"/>
                </a:lnTo>
                <a:lnTo>
                  <a:pt x="625" y="858"/>
                </a:lnTo>
                <a:lnTo>
                  <a:pt x="627" y="859"/>
                </a:lnTo>
                <a:lnTo>
                  <a:pt x="630" y="860"/>
                </a:lnTo>
                <a:lnTo>
                  <a:pt x="633" y="861"/>
                </a:lnTo>
                <a:lnTo>
                  <a:pt x="635" y="859"/>
                </a:lnTo>
                <a:lnTo>
                  <a:pt x="640" y="853"/>
                </a:lnTo>
                <a:lnTo>
                  <a:pt x="644" y="845"/>
                </a:lnTo>
                <a:lnTo>
                  <a:pt x="648" y="840"/>
                </a:lnTo>
                <a:lnTo>
                  <a:pt x="652" y="837"/>
                </a:lnTo>
                <a:lnTo>
                  <a:pt x="658" y="835"/>
                </a:lnTo>
                <a:lnTo>
                  <a:pt x="662" y="833"/>
                </a:lnTo>
                <a:lnTo>
                  <a:pt x="665" y="833"/>
                </a:lnTo>
                <a:lnTo>
                  <a:pt x="667" y="833"/>
                </a:lnTo>
                <a:lnTo>
                  <a:pt x="670" y="832"/>
                </a:lnTo>
                <a:lnTo>
                  <a:pt x="672" y="830"/>
                </a:lnTo>
                <a:lnTo>
                  <a:pt x="674" y="826"/>
                </a:lnTo>
                <a:lnTo>
                  <a:pt x="676" y="823"/>
                </a:lnTo>
                <a:lnTo>
                  <a:pt x="677" y="822"/>
                </a:lnTo>
                <a:lnTo>
                  <a:pt x="677" y="821"/>
                </a:lnTo>
                <a:lnTo>
                  <a:pt x="678" y="820"/>
                </a:lnTo>
                <a:lnTo>
                  <a:pt x="679" y="820"/>
                </a:lnTo>
                <a:lnTo>
                  <a:pt x="682" y="822"/>
                </a:lnTo>
                <a:lnTo>
                  <a:pt x="685" y="821"/>
                </a:lnTo>
                <a:lnTo>
                  <a:pt x="686" y="818"/>
                </a:lnTo>
                <a:lnTo>
                  <a:pt x="687" y="816"/>
                </a:lnTo>
                <a:lnTo>
                  <a:pt x="690" y="812"/>
                </a:lnTo>
                <a:lnTo>
                  <a:pt x="692" y="808"/>
                </a:lnTo>
                <a:lnTo>
                  <a:pt x="692" y="803"/>
                </a:lnTo>
                <a:lnTo>
                  <a:pt x="693" y="799"/>
                </a:lnTo>
                <a:lnTo>
                  <a:pt x="693" y="794"/>
                </a:lnTo>
                <a:lnTo>
                  <a:pt x="693" y="790"/>
                </a:lnTo>
                <a:lnTo>
                  <a:pt x="694" y="784"/>
                </a:lnTo>
                <a:lnTo>
                  <a:pt x="696" y="780"/>
                </a:lnTo>
                <a:lnTo>
                  <a:pt x="697" y="775"/>
                </a:lnTo>
                <a:lnTo>
                  <a:pt x="700" y="767"/>
                </a:lnTo>
                <a:lnTo>
                  <a:pt x="702" y="763"/>
                </a:lnTo>
                <a:lnTo>
                  <a:pt x="703" y="759"/>
                </a:lnTo>
                <a:lnTo>
                  <a:pt x="703" y="754"/>
                </a:lnTo>
                <a:lnTo>
                  <a:pt x="700" y="750"/>
                </a:lnTo>
                <a:lnTo>
                  <a:pt x="698" y="748"/>
                </a:lnTo>
                <a:lnTo>
                  <a:pt x="698" y="746"/>
                </a:lnTo>
                <a:lnTo>
                  <a:pt x="701" y="744"/>
                </a:lnTo>
                <a:lnTo>
                  <a:pt x="703" y="741"/>
                </a:lnTo>
                <a:lnTo>
                  <a:pt x="703" y="740"/>
                </a:lnTo>
                <a:lnTo>
                  <a:pt x="702" y="738"/>
                </a:lnTo>
                <a:lnTo>
                  <a:pt x="700" y="736"/>
                </a:lnTo>
                <a:lnTo>
                  <a:pt x="697" y="733"/>
                </a:lnTo>
                <a:lnTo>
                  <a:pt x="692" y="725"/>
                </a:lnTo>
                <a:lnTo>
                  <a:pt x="689" y="717"/>
                </a:lnTo>
                <a:lnTo>
                  <a:pt x="688" y="715"/>
                </a:lnTo>
                <a:lnTo>
                  <a:pt x="686" y="713"/>
                </a:lnTo>
                <a:lnTo>
                  <a:pt x="683" y="713"/>
                </a:lnTo>
                <a:lnTo>
                  <a:pt x="681" y="714"/>
                </a:lnTo>
                <a:lnTo>
                  <a:pt x="677" y="715"/>
                </a:lnTo>
                <a:lnTo>
                  <a:pt x="674" y="716"/>
                </a:lnTo>
                <a:lnTo>
                  <a:pt x="670" y="716"/>
                </a:lnTo>
                <a:lnTo>
                  <a:pt x="665" y="716"/>
                </a:lnTo>
                <a:lnTo>
                  <a:pt x="662" y="716"/>
                </a:lnTo>
                <a:lnTo>
                  <a:pt x="660" y="717"/>
                </a:lnTo>
                <a:lnTo>
                  <a:pt x="658" y="719"/>
                </a:lnTo>
                <a:lnTo>
                  <a:pt x="657" y="721"/>
                </a:lnTo>
                <a:lnTo>
                  <a:pt x="656" y="723"/>
                </a:lnTo>
                <a:lnTo>
                  <a:pt x="655" y="725"/>
                </a:lnTo>
                <a:lnTo>
                  <a:pt x="652" y="726"/>
                </a:lnTo>
                <a:lnTo>
                  <a:pt x="651" y="725"/>
                </a:lnTo>
                <a:lnTo>
                  <a:pt x="650" y="724"/>
                </a:lnTo>
                <a:lnTo>
                  <a:pt x="649" y="723"/>
                </a:lnTo>
                <a:lnTo>
                  <a:pt x="648" y="723"/>
                </a:lnTo>
                <a:lnTo>
                  <a:pt x="648" y="724"/>
                </a:lnTo>
                <a:lnTo>
                  <a:pt x="647" y="726"/>
                </a:lnTo>
                <a:lnTo>
                  <a:pt x="646" y="728"/>
                </a:lnTo>
                <a:lnTo>
                  <a:pt x="645" y="730"/>
                </a:lnTo>
                <a:lnTo>
                  <a:pt x="645" y="733"/>
                </a:lnTo>
                <a:lnTo>
                  <a:pt x="644" y="736"/>
                </a:lnTo>
                <a:lnTo>
                  <a:pt x="643" y="739"/>
                </a:lnTo>
                <a:lnTo>
                  <a:pt x="643" y="741"/>
                </a:lnTo>
                <a:lnTo>
                  <a:pt x="641" y="742"/>
                </a:lnTo>
                <a:lnTo>
                  <a:pt x="640" y="744"/>
                </a:lnTo>
                <a:lnTo>
                  <a:pt x="636" y="744"/>
                </a:lnTo>
                <a:lnTo>
                  <a:pt x="634" y="744"/>
                </a:lnTo>
                <a:lnTo>
                  <a:pt x="632" y="745"/>
                </a:lnTo>
                <a:lnTo>
                  <a:pt x="631" y="747"/>
                </a:lnTo>
                <a:lnTo>
                  <a:pt x="631" y="750"/>
                </a:lnTo>
                <a:lnTo>
                  <a:pt x="630" y="752"/>
                </a:lnTo>
                <a:lnTo>
                  <a:pt x="631" y="754"/>
                </a:lnTo>
                <a:lnTo>
                  <a:pt x="631" y="757"/>
                </a:lnTo>
                <a:lnTo>
                  <a:pt x="633" y="760"/>
                </a:lnTo>
                <a:lnTo>
                  <a:pt x="633" y="761"/>
                </a:lnTo>
                <a:lnTo>
                  <a:pt x="634" y="762"/>
                </a:lnTo>
                <a:lnTo>
                  <a:pt x="633" y="763"/>
                </a:lnTo>
                <a:lnTo>
                  <a:pt x="633" y="764"/>
                </a:lnTo>
                <a:lnTo>
                  <a:pt x="631" y="765"/>
                </a:lnTo>
                <a:lnTo>
                  <a:pt x="630" y="767"/>
                </a:lnTo>
                <a:lnTo>
                  <a:pt x="629" y="768"/>
                </a:lnTo>
                <a:lnTo>
                  <a:pt x="629" y="769"/>
                </a:lnTo>
                <a:lnTo>
                  <a:pt x="630" y="774"/>
                </a:lnTo>
                <a:lnTo>
                  <a:pt x="631" y="777"/>
                </a:lnTo>
                <a:lnTo>
                  <a:pt x="632" y="780"/>
                </a:lnTo>
                <a:lnTo>
                  <a:pt x="633" y="783"/>
                </a:lnTo>
                <a:lnTo>
                  <a:pt x="633" y="786"/>
                </a:lnTo>
                <a:lnTo>
                  <a:pt x="632" y="790"/>
                </a:lnTo>
                <a:lnTo>
                  <a:pt x="630" y="792"/>
                </a:lnTo>
                <a:lnTo>
                  <a:pt x="629" y="794"/>
                </a:lnTo>
                <a:lnTo>
                  <a:pt x="629" y="795"/>
                </a:lnTo>
                <a:lnTo>
                  <a:pt x="630" y="797"/>
                </a:lnTo>
                <a:lnTo>
                  <a:pt x="630" y="799"/>
                </a:lnTo>
                <a:lnTo>
                  <a:pt x="630" y="801"/>
                </a:lnTo>
                <a:lnTo>
                  <a:pt x="629" y="802"/>
                </a:lnTo>
                <a:lnTo>
                  <a:pt x="628" y="803"/>
                </a:lnTo>
                <a:close/>
                <a:moveTo>
                  <a:pt x="859" y="1558"/>
                </a:moveTo>
                <a:lnTo>
                  <a:pt x="858" y="1561"/>
                </a:lnTo>
                <a:lnTo>
                  <a:pt x="859" y="1563"/>
                </a:lnTo>
                <a:lnTo>
                  <a:pt x="862" y="1563"/>
                </a:lnTo>
                <a:lnTo>
                  <a:pt x="865" y="1563"/>
                </a:lnTo>
                <a:lnTo>
                  <a:pt x="868" y="1562"/>
                </a:lnTo>
                <a:lnTo>
                  <a:pt x="868" y="1559"/>
                </a:lnTo>
                <a:lnTo>
                  <a:pt x="868" y="1557"/>
                </a:lnTo>
                <a:lnTo>
                  <a:pt x="867" y="1554"/>
                </a:lnTo>
                <a:lnTo>
                  <a:pt x="864" y="1551"/>
                </a:lnTo>
                <a:lnTo>
                  <a:pt x="862" y="1548"/>
                </a:lnTo>
                <a:lnTo>
                  <a:pt x="861" y="1554"/>
                </a:lnTo>
                <a:lnTo>
                  <a:pt x="859" y="1558"/>
                </a:lnTo>
                <a:close/>
                <a:moveTo>
                  <a:pt x="251" y="1542"/>
                </a:moveTo>
                <a:lnTo>
                  <a:pt x="250" y="1537"/>
                </a:lnTo>
                <a:lnTo>
                  <a:pt x="247" y="1533"/>
                </a:lnTo>
                <a:lnTo>
                  <a:pt x="247" y="1536"/>
                </a:lnTo>
                <a:lnTo>
                  <a:pt x="247" y="1540"/>
                </a:lnTo>
                <a:lnTo>
                  <a:pt x="248" y="1541"/>
                </a:lnTo>
                <a:lnTo>
                  <a:pt x="251" y="1542"/>
                </a:lnTo>
                <a:lnTo>
                  <a:pt x="251" y="1547"/>
                </a:lnTo>
                <a:lnTo>
                  <a:pt x="252" y="1552"/>
                </a:lnTo>
                <a:lnTo>
                  <a:pt x="253" y="1557"/>
                </a:lnTo>
                <a:lnTo>
                  <a:pt x="255" y="1561"/>
                </a:lnTo>
                <a:lnTo>
                  <a:pt x="257" y="1563"/>
                </a:lnTo>
                <a:lnTo>
                  <a:pt x="258" y="1563"/>
                </a:lnTo>
                <a:lnTo>
                  <a:pt x="261" y="1563"/>
                </a:lnTo>
                <a:lnTo>
                  <a:pt x="262" y="1563"/>
                </a:lnTo>
                <a:lnTo>
                  <a:pt x="263" y="1562"/>
                </a:lnTo>
                <a:lnTo>
                  <a:pt x="263" y="1560"/>
                </a:lnTo>
                <a:lnTo>
                  <a:pt x="262" y="1559"/>
                </a:lnTo>
                <a:lnTo>
                  <a:pt x="261" y="1558"/>
                </a:lnTo>
                <a:lnTo>
                  <a:pt x="256" y="1550"/>
                </a:lnTo>
                <a:lnTo>
                  <a:pt x="251" y="1542"/>
                </a:lnTo>
                <a:close/>
                <a:moveTo>
                  <a:pt x="296" y="1457"/>
                </a:moveTo>
                <a:lnTo>
                  <a:pt x="294" y="1457"/>
                </a:lnTo>
                <a:lnTo>
                  <a:pt x="292" y="1458"/>
                </a:lnTo>
                <a:lnTo>
                  <a:pt x="292" y="1460"/>
                </a:lnTo>
                <a:lnTo>
                  <a:pt x="292" y="1463"/>
                </a:lnTo>
                <a:lnTo>
                  <a:pt x="291" y="1467"/>
                </a:lnTo>
                <a:lnTo>
                  <a:pt x="289" y="1470"/>
                </a:lnTo>
                <a:lnTo>
                  <a:pt x="286" y="1471"/>
                </a:lnTo>
                <a:lnTo>
                  <a:pt x="282" y="1471"/>
                </a:lnTo>
                <a:lnTo>
                  <a:pt x="280" y="1472"/>
                </a:lnTo>
                <a:lnTo>
                  <a:pt x="279" y="1473"/>
                </a:lnTo>
                <a:lnTo>
                  <a:pt x="278" y="1474"/>
                </a:lnTo>
                <a:lnTo>
                  <a:pt x="278" y="1476"/>
                </a:lnTo>
                <a:lnTo>
                  <a:pt x="278" y="1479"/>
                </a:lnTo>
                <a:lnTo>
                  <a:pt x="280" y="1480"/>
                </a:lnTo>
                <a:lnTo>
                  <a:pt x="281" y="1480"/>
                </a:lnTo>
                <a:lnTo>
                  <a:pt x="283" y="1480"/>
                </a:lnTo>
                <a:lnTo>
                  <a:pt x="286" y="1480"/>
                </a:lnTo>
                <a:lnTo>
                  <a:pt x="289" y="1479"/>
                </a:lnTo>
                <a:lnTo>
                  <a:pt x="293" y="1478"/>
                </a:lnTo>
                <a:lnTo>
                  <a:pt x="295" y="1475"/>
                </a:lnTo>
                <a:lnTo>
                  <a:pt x="297" y="1473"/>
                </a:lnTo>
                <a:lnTo>
                  <a:pt x="298" y="1470"/>
                </a:lnTo>
                <a:lnTo>
                  <a:pt x="299" y="1467"/>
                </a:lnTo>
                <a:lnTo>
                  <a:pt x="300" y="1464"/>
                </a:lnTo>
                <a:lnTo>
                  <a:pt x="300" y="1462"/>
                </a:lnTo>
                <a:lnTo>
                  <a:pt x="300" y="1459"/>
                </a:lnTo>
                <a:lnTo>
                  <a:pt x="299" y="1458"/>
                </a:lnTo>
                <a:lnTo>
                  <a:pt x="296" y="1457"/>
                </a:lnTo>
                <a:close/>
                <a:moveTo>
                  <a:pt x="822" y="1463"/>
                </a:moveTo>
                <a:lnTo>
                  <a:pt x="822" y="1464"/>
                </a:lnTo>
                <a:lnTo>
                  <a:pt x="823" y="1463"/>
                </a:lnTo>
                <a:lnTo>
                  <a:pt x="822" y="1463"/>
                </a:lnTo>
                <a:lnTo>
                  <a:pt x="822" y="1463"/>
                </a:lnTo>
                <a:close/>
                <a:moveTo>
                  <a:pt x="827" y="1440"/>
                </a:moveTo>
                <a:lnTo>
                  <a:pt x="828" y="1439"/>
                </a:lnTo>
                <a:lnTo>
                  <a:pt x="829" y="1439"/>
                </a:lnTo>
                <a:lnTo>
                  <a:pt x="828" y="1439"/>
                </a:lnTo>
                <a:lnTo>
                  <a:pt x="827" y="1440"/>
                </a:lnTo>
                <a:close/>
                <a:moveTo>
                  <a:pt x="830" y="1438"/>
                </a:moveTo>
                <a:lnTo>
                  <a:pt x="831" y="1437"/>
                </a:lnTo>
                <a:lnTo>
                  <a:pt x="832" y="1437"/>
                </a:lnTo>
                <a:lnTo>
                  <a:pt x="830" y="1437"/>
                </a:lnTo>
                <a:lnTo>
                  <a:pt x="830" y="1438"/>
                </a:lnTo>
                <a:close/>
                <a:moveTo>
                  <a:pt x="835" y="1432"/>
                </a:moveTo>
                <a:lnTo>
                  <a:pt x="835" y="1432"/>
                </a:lnTo>
                <a:lnTo>
                  <a:pt x="835" y="1433"/>
                </a:lnTo>
                <a:lnTo>
                  <a:pt x="837" y="1433"/>
                </a:lnTo>
                <a:lnTo>
                  <a:pt x="838" y="1432"/>
                </a:lnTo>
                <a:lnTo>
                  <a:pt x="837" y="1432"/>
                </a:lnTo>
                <a:lnTo>
                  <a:pt x="835" y="1432"/>
                </a:lnTo>
                <a:close/>
                <a:moveTo>
                  <a:pt x="841" y="1427"/>
                </a:moveTo>
                <a:lnTo>
                  <a:pt x="839" y="1428"/>
                </a:lnTo>
                <a:lnTo>
                  <a:pt x="838" y="1428"/>
                </a:lnTo>
                <a:lnTo>
                  <a:pt x="838" y="1429"/>
                </a:lnTo>
                <a:lnTo>
                  <a:pt x="838" y="1430"/>
                </a:lnTo>
                <a:lnTo>
                  <a:pt x="840" y="1430"/>
                </a:lnTo>
                <a:lnTo>
                  <a:pt x="841" y="1427"/>
                </a:lnTo>
                <a:close/>
                <a:moveTo>
                  <a:pt x="245" y="1486"/>
                </a:moveTo>
                <a:lnTo>
                  <a:pt x="243" y="1487"/>
                </a:lnTo>
                <a:lnTo>
                  <a:pt x="242" y="1488"/>
                </a:lnTo>
                <a:lnTo>
                  <a:pt x="242" y="1489"/>
                </a:lnTo>
                <a:lnTo>
                  <a:pt x="243" y="1490"/>
                </a:lnTo>
                <a:lnTo>
                  <a:pt x="245" y="1489"/>
                </a:lnTo>
                <a:lnTo>
                  <a:pt x="246" y="1488"/>
                </a:lnTo>
                <a:lnTo>
                  <a:pt x="246" y="1487"/>
                </a:lnTo>
                <a:lnTo>
                  <a:pt x="245" y="1486"/>
                </a:lnTo>
                <a:close/>
                <a:moveTo>
                  <a:pt x="814" y="1468"/>
                </a:moveTo>
                <a:lnTo>
                  <a:pt x="816" y="1468"/>
                </a:lnTo>
                <a:lnTo>
                  <a:pt x="817" y="1467"/>
                </a:lnTo>
                <a:lnTo>
                  <a:pt x="818" y="1466"/>
                </a:lnTo>
                <a:lnTo>
                  <a:pt x="819" y="1464"/>
                </a:lnTo>
                <a:lnTo>
                  <a:pt x="817" y="1465"/>
                </a:lnTo>
                <a:lnTo>
                  <a:pt x="816" y="1465"/>
                </a:lnTo>
                <a:lnTo>
                  <a:pt x="815" y="1466"/>
                </a:lnTo>
                <a:lnTo>
                  <a:pt x="814" y="1468"/>
                </a:lnTo>
                <a:close/>
                <a:moveTo>
                  <a:pt x="242" y="1521"/>
                </a:moveTo>
                <a:lnTo>
                  <a:pt x="241" y="1522"/>
                </a:lnTo>
                <a:lnTo>
                  <a:pt x="241" y="1524"/>
                </a:lnTo>
                <a:lnTo>
                  <a:pt x="241" y="1525"/>
                </a:lnTo>
                <a:lnTo>
                  <a:pt x="242" y="1526"/>
                </a:lnTo>
                <a:lnTo>
                  <a:pt x="243" y="1529"/>
                </a:lnTo>
                <a:lnTo>
                  <a:pt x="246" y="1531"/>
                </a:lnTo>
                <a:lnTo>
                  <a:pt x="247" y="1528"/>
                </a:lnTo>
                <a:lnTo>
                  <a:pt x="247" y="1525"/>
                </a:lnTo>
                <a:lnTo>
                  <a:pt x="247" y="1524"/>
                </a:lnTo>
                <a:lnTo>
                  <a:pt x="247" y="1522"/>
                </a:lnTo>
                <a:lnTo>
                  <a:pt x="245" y="1521"/>
                </a:lnTo>
                <a:lnTo>
                  <a:pt x="242" y="1521"/>
                </a:lnTo>
                <a:close/>
                <a:moveTo>
                  <a:pt x="241" y="1564"/>
                </a:moveTo>
                <a:lnTo>
                  <a:pt x="241" y="1556"/>
                </a:lnTo>
                <a:lnTo>
                  <a:pt x="241" y="1547"/>
                </a:lnTo>
                <a:lnTo>
                  <a:pt x="241" y="1539"/>
                </a:lnTo>
                <a:lnTo>
                  <a:pt x="241" y="1530"/>
                </a:lnTo>
                <a:lnTo>
                  <a:pt x="238" y="1536"/>
                </a:lnTo>
                <a:lnTo>
                  <a:pt x="237" y="1542"/>
                </a:lnTo>
                <a:lnTo>
                  <a:pt x="239" y="1552"/>
                </a:lnTo>
                <a:lnTo>
                  <a:pt x="241" y="1564"/>
                </a:lnTo>
                <a:close/>
                <a:moveTo>
                  <a:pt x="869" y="1402"/>
                </a:moveTo>
                <a:lnTo>
                  <a:pt x="865" y="1408"/>
                </a:lnTo>
                <a:lnTo>
                  <a:pt x="863" y="1416"/>
                </a:lnTo>
                <a:lnTo>
                  <a:pt x="860" y="1423"/>
                </a:lnTo>
                <a:lnTo>
                  <a:pt x="857" y="1429"/>
                </a:lnTo>
                <a:lnTo>
                  <a:pt x="853" y="1429"/>
                </a:lnTo>
                <a:lnTo>
                  <a:pt x="848" y="1429"/>
                </a:lnTo>
                <a:lnTo>
                  <a:pt x="847" y="1430"/>
                </a:lnTo>
                <a:lnTo>
                  <a:pt x="846" y="1432"/>
                </a:lnTo>
                <a:lnTo>
                  <a:pt x="845" y="1433"/>
                </a:lnTo>
                <a:lnTo>
                  <a:pt x="844" y="1435"/>
                </a:lnTo>
                <a:lnTo>
                  <a:pt x="844" y="1437"/>
                </a:lnTo>
                <a:lnTo>
                  <a:pt x="844" y="1439"/>
                </a:lnTo>
                <a:lnTo>
                  <a:pt x="845" y="1440"/>
                </a:lnTo>
                <a:lnTo>
                  <a:pt x="847" y="1441"/>
                </a:lnTo>
                <a:lnTo>
                  <a:pt x="853" y="1437"/>
                </a:lnTo>
                <a:lnTo>
                  <a:pt x="857" y="1430"/>
                </a:lnTo>
                <a:lnTo>
                  <a:pt x="859" y="1433"/>
                </a:lnTo>
                <a:lnTo>
                  <a:pt x="861" y="1435"/>
                </a:lnTo>
                <a:lnTo>
                  <a:pt x="862" y="1438"/>
                </a:lnTo>
                <a:lnTo>
                  <a:pt x="862" y="1441"/>
                </a:lnTo>
                <a:lnTo>
                  <a:pt x="861" y="1442"/>
                </a:lnTo>
                <a:lnTo>
                  <a:pt x="861" y="1442"/>
                </a:lnTo>
                <a:lnTo>
                  <a:pt x="861" y="1442"/>
                </a:lnTo>
                <a:lnTo>
                  <a:pt x="862" y="1441"/>
                </a:lnTo>
                <a:lnTo>
                  <a:pt x="862" y="1441"/>
                </a:lnTo>
                <a:lnTo>
                  <a:pt x="862" y="1441"/>
                </a:lnTo>
                <a:lnTo>
                  <a:pt x="862" y="1441"/>
                </a:lnTo>
                <a:lnTo>
                  <a:pt x="863" y="1443"/>
                </a:lnTo>
                <a:lnTo>
                  <a:pt x="865" y="1445"/>
                </a:lnTo>
                <a:lnTo>
                  <a:pt x="868" y="1443"/>
                </a:lnTo>
                <a:lnTo>
                  <a:pt x="868" y="1440"/>
                </a:lnTo>
                <a:lnTo>
                  <a:pt x="867" y="1434"/>
                </a:lnTo>
                <a:lnTo>
                  <a:pt x="868" y="1427"/>
                </a:lnTo>
                <a:lnTo>
                  <a:pt x="869" y="1420"/>
                </a:lnTo>
                <a:lnTo>
                  <a:pt x="870" y="1413"/>
                </a:lnTo>
                <a:lnTo>
                  <a:pt x="870" y="1410"/>
                </a:lnTo>
                <a:lnTo>
                  <a:pt x="871" y="1408"/>
                </a:lnTo>
                <a:lnTo>
                  <a:pt x="870" y="1405"/>
                </a:lnTo>
                <a:lnTo>
                  <a:pt x="869" y="1402"/>
                </a:lnTo>
                <a:close/>
                <a:moveTo>
                  <a:pt x="856" y="1512"/>
                </a:moveTo>
                <a:lnTo>
                  <a:pt x="855" y="1512"/>
                </a:lnTo>
                <a:lnTo>
                  <a:pt x="855" y="1512"/>
                </a:lnTo>
                <a:lnTo>
                  <a:pt x="855" y="1512"/>
                </a:lnTo>
                <a:lnTo>
                  <a:pt x="856" y="1512"/>
                </a:lnTo>
                <a:lnTo>
                  <a:pt x="856" y="1512"/>
                </a:lnTo>
                <a:close/>
                <a:moveTo>
                  <a:pt x="862" y="1474"/>
                </a:moveTo>
                <a:lnTo>
                  <a:pt x="862" y="1472"/>
                </a:lnTo>
                <a:lnTo>
                  <a:pt x="861" y="1469"/>
                </a:lnTo>
                <a:lnTo>
                  <a:pt x="862" y="1472"/>
                </a:lnTo>
                <a:lnTo>
                  <a:pt x="862" y="1474"/>
                </a:lnTo>
                <a:close/>
                <a:moveTo>
                  <a:pt x="872" y="1502"/>
                </a:moveTo>
                <a:lnTo>
                  <a:pt x="871" y="1501"/>
                </a:lnTo>
                <a:lnTo>
                  <a:pt x="870" y="1500"/>
                </a:lnTo>
                <a:lnTo>
                  <a:pt x="868" y="1502"/>
                </a:lnTo>
                <a:lnTo>
                  <a:pt x="868" y="1503"/>
                </a:lnTo>
                <a:lnTo>
                  <a:pt x="868" y="1505"/>
                </a:lnTo>
                <a:lnTo>
                  <a:pt x="868" y="1508"/>
                </a:lnTo>
                <a:lnTo>
                  <a:pt x="868" y="1510"/>
                </a:lnTo>
                <a:lnTo>
                  <a:pt x="867" y="1511"/>
                </a:lnTo>
                <a:lnTo>
                  <a:pt x="867" y="1511"/>
                </a:lnTo>
                <a:lnTo>
                  <a:pt x="864" y="1511"/>
                </a:lnTo>
                <a:lnTo>
                  <a:pt x="864" y="1505"/>
                </a:lnTo>
                <a:lnTo>
                  <a:pt x="864" y="1501"/>
                </a:lnTo>
                <a:lnTo>
                  <a:pt x="864" y="1497"/>
                </a:lnTo>
                <a:lnTo>
                  <a:pt x="862" y="1491"/>
                </a:lnTo>
                <a:lnTo>
                  <a:pt x="862" y="1489"/>
                </a:lnTo>
                <a:lnTo>
                  <a:pt x="861" y="1487"/>
                </a:lnTo>
                <a:lnTo>
                  <a:pt x="860" y="1485"/>
                </a:lnTo>
                <a:lnTo>
                  <a:pt x="861" y="1482"/>
                </a:lnTo>
                <a:lnTo>
                  <a:pt x="862" y="1484"/>
                </a:lnTo>
                <a:lnTo>
                  <a:pt x="863" y="1484"/>
                </a:lnTo>
                <a:lnTo>
                  <a:pt x="864" y="1484"/>
                </a:lnTo>
                <a:lnTo>
                  <a:pt x="865" y="1484"/>
                </a:lnTo>
                <a:lnTo>
                  <a:pt x="867" y="1485"/>
                </a:lnTo>
                <a:lnTo>
                  <a:pt x="868" y="1485"/>
                </a:lnTo>
                <a:lnTo>
                  <a:pt x="869" y="1493"/>
                </a:lnTo>
                <a:lnTo>
                  <a:pt x="870" y="1500"/>
                </a:lnTo>
                <a:lnTo>
                  <a:pt x="871" y="1501"/>
                </a:lnTo>
                <a:lnTo>
                  <a:pt x="872" y="1502"/>
                </a:lnTo>
                <a:lnTo>
                  <a:pt x="875" y="1501"/>
                </a:lnTo>
                <a:lnTo>
                  <a:pt x="877" y="1500"/>
                </a:lnTo>
                <a:lnTo>
                  <a:pt x="877" y="1498"/>
                </a:lnTo>
                <a:lnTo>
                  <a:pt x="877" y="1495"/>
                </a:lnTo>
                <a:lnTo>
                  <a:pt x="875" y="1489"/>
                </a:lnTo>
                <a:lnTo>
                  <a:pt x="874" y="1484"/>
                </a:lnTo>
                <a:lnTo>
                  <a:pt x="874" y="1479"/>
                </a:lnTo>
                <a:lnTo>
                  <a:pt x="874" y="1473"/>
                </a:lnTo>
                <a:lnTo>
                  <a:pt x="874" y="1467"/>
                </a:lnTo>
                <a:lnTo>
                  <a:pt x="872" y="1460"/>
                </a:lnTo>
                <a:lnTo>
                  <a:pt x="869" y="1455"/>
                </a:lnTo>
                <a:lnTo>
                  <a:pt x="863" y="1451"/>
                </a:lnTo>
                <a:lnTo>
                  <a:pt x="861" y="1454"/>
                </a:lnTo>
                <a:lnTo>
                  <a:pt x="860" y="1458"/>
                </a:lnTo>
                <a:lnTo>
                  <a:pt x="860" y="1463"/>
                </a:lnTo>
                <a:lnTo>
                  <a:pt x="860" y="1467"/>
                </a:lnTo>
                <a:lnTo>
                  <a:pt x="860" y="1467"/>
                </a:lnTo>
                <a:lnTo>
                  <a:pt x="859" y="1469"/>
                </a:lnTo>
                <a:lnTo>
                  <a:pt x="857" y="1471"/>
                </a:lnTo>
                <a:lnTo>
                  <a:pt x="855" y="1473"/>
                </a:lnTo>
                <a:lnTo>
                  <a:pt x="852" y="1473"/>
                </a:lnTo>
                <a:lnTo>
                  <a:pt x="849" y="1474"/>
                </a:lnTo>
                <a:lnTo>
                  <a:pt x="847" y="1475"/>
                </a:lnTo>
                <a:lnTo>
                  <a:pt x="846" y="1478"/>
                </a:lnTo>
                <a:lnTo>
                  <a:pt x="846" y="1480"/>
                </a:lnTo>
                <a:lnTo>
                  <a:pt x="845" y="1482"/>
                </a:lnTo>
                <a:lnTo>
                  <a:pt x="844" y="1484"/>
                </a:lnTo>
                <a:lnTo>
                  <a:pt x="843" y="1486"/>
                </a:lnTo>
                <a:lnTo>
                  <a:pt x="841" y="1488"/>
                </a:lnTo>
                <a:lnTo>
                  <a:pt x="838" y="1493"/>
                </a:lnTo>
                <a:lnTo>
                  <a:pt x="834" y="1497"/>
                </a:lnTo>
                <a:lnTo>
                  <a:pt x="833" y="1499"/>
                </a:lnTo>
                <a:lnTo>
                  <a:pt x="833" y="1501"/>
                </a:lnTo>
                <a:lnTo>
                  <a:pt x="834" y="1503"/>
                </a:lnTo>
                <a:lnTo>
                  <a:pt x="835" y="1504"/>
                </a:lnTo>
                <a:lnTo>
                  <a:pt x="838" y="1504"/>
                </a:lnTo>
                <a:lnTo>
                  <a:pt x="839" y="1503"/>
                </a:lnTo>
                <a:lnTo>
                  <a:pt x="840" y="1501"/>
                </a:lnTo>
                <a:lnTo>
                  <a:pt x="841" y="1500"/>
                </a:lnTo>
                <a:lnTo>
                  <a:pt x="841" y="1498"/>
                </a:lnTo>
                <a:lnTo>
                  <a:pt x="842" y="1496"/>
                </a:lnTo>
                <a:lnTo>
                  <a:pt x="843" y="1494"/>
                </a:lnTo>
                <a:lnTo>
                  <a:pt x="845" y="1493"/>
                </a:lnTo>
                <a:lnTo>
                  <a:pt x="846" y="1497"/>
                </a:lnTo>
                <a:lnTo>
                  <a:pt x="845" y="1501"/>
                </a:lnTo>
                <a:lnTo>
                  <a:pt x="843" y="1504"/>
                </a:lnTo>
                <a:lnTo>
                  <a:pt x="840" y="1506"/>
                </a:lnTo>
                <a:lnTo>
                  <a:pt x="838" y="1508"/>
                </a:lnTo>
                <a:lnTo>
                  <a:pt x="837" y="1509"/>
                </a:lnTo>
                <a:lnTo>
                  <a:pt x="835" y="1511"/>
                </a:lnTo>
                <a:lnTo>
                  <a:pt x="837" y="1513"/>
                </a:lnTo>
                <a:lnTo>
                  <a:pt x="839" y="1518"/>
                </a:lnTo>
                <a:lnTo>
                  <a:pt x="841" y="1525"/>
                </a:lnTo>
                <a:lnTo>
                  <a:pt x="840" y="1531"/>
                </a:lnTo>
                <a:lnTo>
                  <a:pt x="838" y="1536"/>
                </a:lnTo>
                <a:lnTo>
                  <a:pt x="831" y="1550"/>
                </a:lnTo>
                <a:lnTo>
                  <a:pt x="825" y="1563"/>
                </a:lnTo>
                <a:lnTo>
                  <a:pt x="830" y="1563"/>
                </a:lnTo>
                <a:lnTo>
                  <a:pt x="835" y="1563"/>
                </a:lnTo>
                <a:lnTo>
                  <a:pt x="838" y="1563"/>
                </a:lnTo>
                <a:lnTo>
                  <a:pt x="841" y="1562"/>
                </a:lnTo>
                <a:lnTo>
                  <a:pt x="843" y="1561"/>
                </a:lnTo>
                <a:lnTo>
                  <a:pt x="845" y="1559"/>
                </a:lnTo>
                <a:lnTo>
                  <a:pt x="852" y="1545"/>
                </a:lnTo>
                <a:lnTo>
                  <a:pt x="857" y="1531"/>
                </a:lnTo>
                <a:lnTo>
                  <a:pt x="858" y="1530"/>
                </a:lnTo>
                <a:lnTo>
                  <a:pt x="858" y="1529"/>
                </a:lnTo>
                <a:lnTo>
                  <a:pt x="860" y="1526"/>
                </a:lnTo>
                <a:lnTo>
                  <a:pt x="861" y="1521"/>
                </a:lnTo>
                <a:lnTo>
                  <a:pt x="862" y="1517"/>
                </a:lnTo>
                <a:lnTo>
                  <a:pt x="862" y="1514"/>
                </a:lnTo>
                <a:lnTo>
                  <a:pt x="867" y="1524"/>
                </a:lnTo>
                <a:lnTo>
                  <a:pt x="870" y="1533"/>
                </a:lnTo>
                <a:lnTo>
                  <a:pt x="872" y="1544"/>
                </a:lnTo>
                <a:lnTo>
                  <a:pt x="872" y="1555"/>
                </a:lnTo>
                <a:lnTo>
                  <a:pt x="872" y="1558"/>
                </a:lnTo>
                <a:lnTo>
                  <a:pt x="872" y="1560"/>
                </a:lnTo>
                <a:lnTo>
                  <a:pt x="873" y="1561"/>
                </a:lnTo>
                <a:lnTo>
                  <a:pt x="874" y="1562"/>
                </a:lnTo>
                <a:lnTo>
                  <a:pt x="875" y="1563"/>
                </a:lnTo>
                <a:lnTo>
                  <a:pt x="878" y="1562"/>
                </a:lnTo>
                <a:lnTo>
                  <a:pt x="879" y="1556"/>
                </a:lnTo>
                <a:lnTo>
                  <a:pt x="879" y="1548"/>
                </a:lnTo>
                <a:lnTo>
                  <a:pt x="876" y="1537"/>
                </a:lnTo>
                <a:lnTo>
                  <a:pt x="874" y="1526"/>
                </a:lnTo>
                <a:lnTo>
                  <a:pt x="872" y="1514"/>
                </a:lnTo>
                <a:lnTo>
                  <a:pt x="872" y="1502"/>
                </a:lnTo>
                <a:close/>
                <a:moveTo>
                  <a:pt x="825" y="1443"/>
                </a:moveTo>
                <a:lnTo>
                  <a:pt x="826" y="1442"/>
                </a:lnTo>
                <a:lnTo>
                  <a:pt x="827" y="1442"/>
                </a:lnTo>
                <a:lnTo>
                  <a:pt x="827" y="1441"/>
                </a:lnTo>
                <a:lnTo>
                  <a:pt x="827" y="1440"/>
                </a:lnTo>
                <a:lnTo>
                  <a:pt x="826" y="1441"/>
                </a:lnTo>
                <a:lnTo>
                  <a:pt x="825" y="1441"/>
                </a:lnTo>
                <a:lnTo>
                  <a:pt x="825" y="1442"/>
                </a:lnTo>
                <a:lnTo>
                  <a:pt x="825" y="1443"/>
                </a:lnTo>
                <a:lnTo>
                  <a:pt x="814" y="1450"/>
                </a:lnTo>
                <a:lnTo>
                  <a:pt x="804" y="1457"/>
                </a:lnTo>
                <a:lnTo>
                  <a:pt x="794" y="1464"/>
                </a:lnTo>
                <a:lnTo>
                  <a:pt x="783" y="1468"/>
                </a:lnTo>
                <a:lnTo>
                  <a:pt x="779" y="1468"/>
                </a:lnTo>
                <a:lnTo>
                  <a:pt x="776" y="1470"/>
                </a:lnTo>
                <a:lnTo>
                  <a:pt x="772" y="1472"/>
                </a:lnTo>
                <a:lnTo>
                  <a:pt x="769" y="1474"/>
                </a:lnTo>
                <a:lnTo>
                  <a:pt x="753" y="1482"/>
                </a:lnTo>
                <a:lnTo>
                  <a:pt x="737" y="1489"/>
                </a:lnTo>
                <a:lnTo>
                  <a:pt x="721" y="1497"/>
                </a:lnTo>
                <a:lnTo>
                  <a:pt x="705" y="1505"/>
                </a:lnTo>
                <a:lnTo>
                  <a:pt x="701" y="1505"/>
                </a:lnTo>
                <a:lnTo>
                  <a:pt x="697" y="1506"/>
                </a:lnTo>
                <a:lnTo>
                  <a:pt x="695" y="1509"/>
                </a:lnTo>
                <a:lnTo>
                  <a:pt x="692" y="1511"/>
                </a:lnTo>
                <a:lnTo>
                  <a:pt x="686" y="1514"/>
                </a:lnTo>
                <a:lnTo>
                  <a:pt x="678" y="1516"/>
                </a:lnTo>
                <a:lnTo>
                  <a:pt x="673" y="1516"/>
                </a:lnTo>
                <a:lnTo>
                  <a:pt x="668" y="1517"/>
                </a:lnTo>
                <a:lnTo>
                  <a:pt x="664" y="1518"/>
                </a:lnTo>
                <a:lnTo>
                  <a:pt x="660" y="1520"/>
                </a:lnTo>
                <a:lnTo>
                  <a:pt x="651" y="1526"/>
                </a:lnTo>
                <a:lnTo>
                  <a:pt x="644" y="1533"/>
                </a:lnTo>
                <a:lnTo>
                  <a:pt x="646" y="1533"/>
                </a:lnTo>
                <a:lnTo>
                  <a:pt x="648" y="1534"/>
                </a:lnTo>
                <a:lnTo>
                  <a:pt x="650" y="1535"/>
                </a:lnTo>
                <a:lnTo>
                  <a:pt x="651" y="1536"/>
                </a:lnTo>
                <a:lnTo>
                  <a:pt x="651" y="1539"/>
                </a:lnTo>
                <a:lnTo>
                  <a:pt x="652" y="1541"/>
                </a:lnTo>
                <a:lnTo>
                  <a:pt x="655" y="1542"/>
                </a:lnTo>
                <a:lnTo>
                  <a:pt x="657" y="1542"/>
                </a:lnTo>
                <a:lnTo>
                  <a:pt x="652" y="1545"/>
                </a:lnTo>
                <a:lnTo>
                  <a:pt x="649" y="1547"/>
                </a:lnTo>
                <a:lnTo>
                  <a:pt x="645" y="1548"/>
                </a:lnTo>
                <a:lnTo>
                  <a:pt x="641" y="1548"/>
                </a:lnTo>
                <a:lnTo>
                  <a:pt x="633" y="1548"/>
                </a:lnTo>
                <a:lnTo>
                  <a:pt x="626" y="1549"/>
                </a:lnTo>
                <a:lnTo>
                  <a:pt x="619" y="1551"/>
                </a:lnTo>
                <a:lnTo>
                  <a:pt x="612" y="1555"/>
                </a:lnTo>
                <a:lnTo>
                  <a:pt x="610" y="1556"/>
                </a:lnTo>
                <a:lnTo>
                  <a:pt x="609" y="1558"/>
                </a:lnTo>
                <a:lnTo>
                  <a:pt x="607" y="1559"/>
                </a:lnTo>
                <a:lnTo>
                  <a:pt x="607" y="1561"/>
                </a:lnTo>
                <a:lnTo>
                  <a:pt x="609" y="1563"/>
                </a:lnTo>
                <a:lnTo>
                  <a:pt x="611" y="1563"/>
                </a:lnTo>
                <a:lnTo>
                  <a:pt x="613" y="1563"/>
                </a:lnTo>
                <a:lnTo>
                  <a:pt x="614" y="1562"/>
                </a:lnTo>
                <a:lnTo>
                  <a:pt x="624" y="1559"/>
                </a:lnTo>
                <a:lnTo>
                  <a:pt x="633" y="1557"/>
                </a:lnTo>
                <a:lnTo>
                  <a:pt x="641" y="1555"/>
                </a:lnTo>
                <a:lnTo>
                  <a:pt x="648" y="1552"/>
                </a:lnTo>
                <a:lnTo>
                  <a:pt x="655" y="1549"/>
                </a:lnTo>
                <a:lnTo>
                  <a:pt x="661" y="1544"/>
                </a:lnTo>
                <a:lnTo>
                  <a:pt x="661" y="1544"/>
                </a:lnTo>
                <a:lnTo>
                  <a:pt x="661" y="1544"/>
                </a:lnTo>
                <a:lnTo>
                  <a:pt x="661" y="1543"/>
                </a:lnTo>
                <a:lnTo>
                  <a:pt x="661" y="1543"/>
                </a:lnTo>
                <a:lnTo>
                  <a:pt x="665" y="1543"/>
                </a:lnTo>
                <a:lnTo>
                  <a:pt x="668" y="1541"/>
                </a:lnTo>
                <a:lnTo>
                  <a:pt x="679" y="1535"/>
                </a:lnTo>
                <a:lnTo>
                  <a:pt x="689" y="1529"/>
                </a:lnTo>
                <a:lnTo>
                  <a:pt x="700" y="1524"/>
                </a:lnTo>
                <a:lnTo>
                  <a:pt x="710" y="1517"/>
                </a:lnTo>
                <a:lnTo>
                  <a:pt x="720" y="1513"/>
                </a:lnTo>
                <a:lnTo>
                  <a:pt x="728" y="1509"/>
                </a:lnTo>
                <a:lnTo>
                  <a:pt x="727" y="1506"/>
                </a:lnTo>
                <a:lnTo>
                  <a:pt x="726" y="1505"/>
                </a:lnTo>
                <a:lnTo>
                  <a:pt x="737" y="1499"/>
                </a:lnTo>
                <a:lnTo>
                  <a:pt x="747" y="1493"/>
                </a:lnTo>
                <a:lnTo>
                  <a:pt x="737" y="1499"/>
                </a:lnTo>
                <a:lnTo>
                  <a:pt x="726" y="1505"/>
                </a:lnTo>
                <a:lnTo>
                  <a:pt x="727" y="1506"/>
                </a:lnTo>
                <a:lnTo>
                  <a:pt x="728" y="1509"/>
                </a:lnTo>
                <a:lnTo>
                  <a:pt x="741" y="1501"/>
                </a:lnTo>
                <a:lnTo>
                  <a:pt x="754" y="1495"/>
                </a:lnTo>
                <a:lnTo>
                  <a:pt x="767" y="1488"/>
                </a:lnTo>
                <a:lnTo>
                  <a:pt x="781" y="1483"/>
                </a:lnTo>
                <a:lnTo>
                  <a:pt x="796" y="1476"/>
                </a:lnTo>
                <a:lnTo>
                  <a:pt x="811" y="1469"/>
                </a:lnTo>
                <a:lnTo>
                  <a:pt x="811" y="1464"/>
                </a:lnTo>
                <a:lnTo>
                  <a:pt x="812" y="1458"/>
                </a:lnTo>
                <a:lnTo>
                  <a:pt x="815" y="1455"/>
                </a:lnTo>
                <a:lnTo>
                  <a:pt x="819" y="1451"/>
                </a:lnTo>
                <a:lnTo>
                  <a:pt x="822" y="1450"/>
                </a:lnTo>
                <a:lnTo>
                  <a:pt x="823" y="1449"/>
                </a:lnTo>
                <a:lnTo>
                  <a:pt x="825" y="1447"/>
                </a:lnTo>
                <a:lnTo>
                  <a:pt x="825" y="1443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56195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35DBB119-BEE1-3646-89A9-49608E504FFC}"/>
              </a:ext>
            </a:extLst>
          </p:cNvPr>
          <p:cNvSpPr>
            <a:spLocks noGrp="1" noEditPoints="1"/>
          </p:cNvSpPr>
          <p:nvPr>
            <p:ph type="pic" sz="quarter" idx="31"/>
          </p:nvPr>
        </p:nvSpPr>
        <p:spPr bwMode="auto">
          <a:xfrm flipH="1">
            <a:off x="617084" y="693013"/>
            <a:ext cx="6090904" cy="5921707"/>
          </a:xfrm>
          <a:custGeom>
            <a:avLst/>
            <a:gdLst>
              <a:gd name="T0" fmla="*/ 1478 w 1668"/>
              <a:gd name="T1" fmla="*/ 1395 h 1508"/>
              <a:gd name="T2" fmla="*/ 360 w 1668"/>
              <a:gd name="T3" fmla="*/ 902 h 1508"/>
              <a:gd name="T4" fmla="*/ 173 w 1668"/>
              <a:gd name="T5" fmla="*/ 853 h 1508"/>
              <a:gd name="T6" fmla="*/ 322 w 1668"/>
              <a:gd name="T7" fmla="*/ 992 h 1508"/>
              <a:gd name="T8" fmla="*/ 551 w 1668"/>
              <a:gd name="T9" fmla="*/ 972 h 1508"/>
              <a:gd name="T10" fmla="*/ 550 w 1668"/>
              <a:gd name="T11" fmla="*/ 1112 h 1508"/>
              <a:gd name="T12" fmla="*/ 792 w 1668"/>
              <a:gd name="T13" fmla="*/ 1442 h 1508"/>
              <a:gd name="T14" fmla="*/ 867 w 1668"/>
              <a:gd name="T15" fmla="*/ 1447 h 1508"/>
              <a:gd name="T16" fmla="*/ 921 w 1668"/>
              <a:gd name="T17" fmla="*/ 1358 h 1508"/>
              <a:gd name="T18" fmla="*/ 703 w 1668"/>
              <a:gd name="T19" fmla="*/ 1046 h 1508"/>
              <a:gd name="T20" fmla="*/ 1173 w 1668"/>
              <a:gd name="T21" fmla="*/ 1016 h 1508"/>
              <a:gd name="T22" fmla="*/ 1436 w 1668"/>
              <a:gd name="T23" fmla="*/ 845 h 1508"/>
              <a:gd name="T24" fmla="*/ 1523 w 1668"/>
              <a:gd name="T25" fmla="*/ 1084 h 1508"/>
              <a:gd name="T26" fmla="*/ 1428 w 1668"/>
              <a:gd name="T27" fmla="*/ 1258 h 1508"/>
              <a:gd name="T28" fmla="*/ 1473 w 1668"/>
              <a:gd name="T29" fmla="*/ 1300 h 1508"/>
              <a:gd name="T30" fmla="*/ 1505 w 1668"/>
              <a:gd name="T31" fmla="*/ 1223 h 1508"/>
              <a:gd name="T32" fmla="*/ 1587 w 1668"/>
              <a:gd name="T33" fmla="*/ 1077 h 1508"/>
              <a:gd name="T34" fmla="*/ 1635 w 1668"/>
              <a:gd name="T35" fmla="*/ 880 h 1508"/>
              <a:gd name="T36" fmla="*/ 1589 w 1668"/>
              <a:gd name="T37" fmla="*/ 626 h 1508"/>
              <a:gd name="T38" fmla="*/ 1552 w 1668"/>
              <a:gd name="T39" fmla="*/ 542 h 1508"/>
              <a:gd name="T40" fmla="*/ 1531 w 1668"/>
              <a:gd name="T41" fmla="*/ 375 h 1508"/>
              <a:gd name="T42" fmla="*/ 1570 w 1668"/>
              <a:gd name="T43" fmla="*/ 390 h 1508"/>
              <a:gd name="T44" fmla="*/ 1581 w 1668"/>
              <a:gd name="T45" fmla="*/ 391 h 1508"/>
              <a:gd name="T46" fmla="*/ 1483 w 1668"/>
              <a:gd name="T47" fmla="*/ 205 h 1508"/>
              <a:gd name="T48" fmla="*/ 1399 w 1668"/>
              <a:gd name="T49" fmla="*/ 354 h 1508"/>
              <a:gd name="T50" fmla="*/ 1091 w 1668"/>
              <a:gd name="T51" fmla="*/ 407 h 1508"/>
              <a:gd name="T52" fmla="*/ 572 w 1668"/>
              <a:gd name="T53" fmla="*/ 421 h 1508"/>
              <a:gd name="T54" fmla="*/ 506 w 1668"/>
              <a:gd name="T55" fmla="*/ 453 h 1508"/>
              <a:gd name="T56" fmla="*/ 958 w 1668"/>
              <a:gd name="T57" fmla="*/ 512 h 1508"/>
              <a:gd name="T58" fmla="*/ 1082 w 1668"/>
              <a:gd name="T59" fmla="*/ 600 h 1508"/>
              <a:gd name="T60" fmla="*/ 926 w 1668"/>
              <a:gd name="T61" fmla="*/ 748 h 1508"/>
              <a:gd name="T62" fmla="*/ 879 w 1668"/>
              <a:gd name="T63" fmla="*/ 826 h 1508"/>
              <a:gd name="T64" fmla="*/ 803 w 1668"/>
              <a:gd name="T65" fmla="*/ 791 h 1508"/>
              <a:gd name="T66" fmla="*/ 577 w 1668"/>
              <a:gd name="T67" fmla="*/ 852 h 1508"/>
              <a:gd name="T68" fmla="*/ 1505 w 1668"/>
              <a:gd name="T69" fmla="*/ 1351 h 1508"/>
              <a:gd name="T70" fmla="*/ 1489 w 1668"/>
              <a:gd name="T71" fmla="*/ 1384 h 1508"/>
              <a:gd name="T72" fmla="*/ 1411 w 1668"/>
              <a:gd name="T73" fmla="*/ 1272 h 1508"/>
              <a:gd name="T74" fmla="*/ 1553 w 1668"/>
              <a:gd name="T75" fmla="*/ 935 h 1508"/>
              <a:gd name="T76" fmla="*/ 1534 w 1668"/>
              <a:gd name="T77" fmla="*/ 740 h 1508"/>
              <a:gd name="T78" fmla="*/ 1526 w 1668"/>
              <a:gd name="T79" fmla="*/ 620 h 1508"/>
              <a:gd name="T80" fmla="*/ 1491 w 1668"/>
              <a:gd name="T81" fmla="*/ 216 h 1508"/>
              <a:gd name="T82" fmla="*/ 1436 w 1668"/>
              <a:gd name="T83" fmla="*/ 551 h 1508"/>
              <a:gd name="T84" fmla="*/ 1348 w 1668"/>
              <a:gd name="T85" fmla="*/ 781 h 1508"/>
              <a:gd name="T86" fmla="*/ 1358 w 1668"/>
              <a:gd name="T87" fmla="*/ 752 h 1508"/>
              <a:gd name="T88" fmla="*/ 1256 w 1668"/>
              <a:gd name="T89" fmla="*/ 879 h 1508"/>
              <a:gd name="T90" fmla="*/ 1200 w 1668"/>
              <a:gd name="T91" fmla="*/ 862 h 1508"/>
              <a:gd name="T92" fmla="*/ 1161 w 1668"/>
              <a:gd name="T93" fmla="*/ 889 h 1508"/>
              <a:gd name="T94" fmla="*/ 1128 w 1668"/>
              <a:gd name="T95" fmla="*/ 826 h 1508"/>
              <a:gd name="T96" fmla="*/ 1161 w 1668"/>
              <a:gd name="T97" fmla="*/ 806 h 1508"/>
              <a:gd name="T98" fmla="*/ 1152 w 1668"/>
              <a:gd name="T99" fmla="*/ 951 h 1508"/>
              <a:gd name="T100" fmla="*/ 1269 w 1668"/>
              <a:gd name="T101" fmla="*/ 759 h 1508"/>
              <a:gd name="T102" fmla="*/ 1222 w 1668"/>
              <a:gd name="T103" fmla="*/ 546 h 1508"/>
              <a:gd name="T104" fmla="*/ 1268 w 1668"/>
              <a:gd name="T105" fmla="*/ 588 h 1508"/>
              <a:gd name="T106" fmla="*/ 1344 w 1668"/>
              <a:gd name="T107" fmla="*/ 598 h 1508"/>
              <a:gd name="T108" fmla="*/ 1414 w 1668"/>
              <a:gd name="T109" fmla="*/ 333 h 1508"/>
              <a:gd name="T110" fmla="*/ 750 w 1668"/>
              <a:gd name="T111" fmla="*/ 927 h 1508"/>
              <a:gd name="T112" fmla="*/ 896 w 1668"/>
              <a:gd name="T113" fmla="*/ 1363 h 1508"/>
              <a:gd name="T114" fmla="*/ 327 w 1668"/>
              <a:gd name="T115" fmla="*/ 899 h 1508"/>
              <a:gd name="T116" fmla="*/ 636 w 1668"/>
              <a:gd name="T117" fmla="*/ 426 h 1508"/>
              <a:gd name="T118" fmla="*/ 137 w 1668"/>
              <a:gd name="T119" fmla="*/ 36 h 1508"/>
              <a:gd name="T120" fmla="*/ 255 w 1668"/>
              <a:gd name="T121" fmla="*/ 233 h 1508"/>
              <a:gd name="T122" fmla="*/ 133 w 1668"/>
              <a:gd name="T123" fmla="*/ 2 h 1508"/>
              <a:gd name="T124" fmla="*/ 43 w 1668"/>
              <a:gd name="T125" fmla="*/ 243 h 1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68" h="1508">
                <a:moveTo>
                  <a:pt x="1563" y="757"/>
                </a:moveTo>
                <a:lnTo>
                  <a:pt x="1566" y="757"/>
                </a:lnTo>
                <a:lnTo>
                  <a:pt x="1569" y="757"/>
                </a:lnTo>
                <a:lnTo>
                  <a:pt x="1566" y="757"/>
                </a:lnTo>
                <a:lnTo>
                  <a:pt x="1563" y="757"/>
                </a:lnTo>
                <a:close/>
                <a:moveTo>
                  <a:pt x="1473" y="1389"/>
                </a:moveTo>
                <a:lnTo>
                  <a:pt x="1472" y="1388"/>
                </a:lnTo>
                <a:lnTo>
                  <a:pt x="1472" y="1388"/>
                </a:lnTo>
                <a:lnTo>
                  <a:pt x="1472" y="1384"/>
                </a:lnTo>
                <a:lnTo>
                  <a:pt x="1472" y="1381"/>
                </a:lnTo>
                <a:lnTo>
                  <a:pt x="1477" y="1367"/>
                </a:lnTo>
                <a:lnTo>
                  <a:pt x="1480" y="1354"/>
                </a:lnTo>
                <a:lnTo>
                  <a:pt x="1483" y="1347"/>
                </a:lnTo>
                <a:lnTo>
                  <a:pt x="1484" y="1340"/>
                </a:lnTo>
                <a:lnTo>
                  <a:pt x="1486" y="1340"/>
                </a:lnTo>
                <a:lnTo>
                  <a:pt x="1489" y="1339"/>
                </a:lnTo>
                <a:lnTo>
                  <a:pt x="1489" y="1337"/>
                </a:lnTo>
                <a:lnTo>
                  <a:pt x="1489" y="1336"/>
                </a:lnTo>
                <a:lnTo>
                  <a:pt x="1487" y="1334"/>
                </a:lnTo>
                <a:lnTo>
                  <a:pt x="1487" y="1330"/>
                </a:lnTo>
                <a:lnTo>
                  <a:pt x="1487" y="1330"/>
                </a:lnTo>
                <a:lnTo>
                  <a:pt x="1487" y="1329"/>
                </a:lnTo>
                <a:lnTo>
                  <a:pt x="1494" y="1315"/>
                </a:lnTo>
                <a:lnTo>
                  <a:pt x="1503" y="1301"/>
                </a:lnTo>
                <a:lnTo>
                  <a:pt x="1505" y="1299"/>
                </a:lnTo>
                <a:lnTo>
                  <a:pt x="1506" y="1297"/>
                </a:lnTo>
                <a:lnTo>
                  <a:pt x="1506" y="1293"/>
                </a:lnTo>
                <a:lnTo>
                  <a:pt x="1505" y="1291"/>
                </a:lnTo>
                <a:lnTo>
                  <a:pt x="1504" y="1290"/>
                </a:lnTo>
                <a:lnTo>
                  <a:pt x="1501" y="1291"/>
                </a:lnTo>
                <a:lnTo>
                  <a:pt x="1499" y="1292"/>
                </a:lnTo>
                <a:lnTo>
                  <a:pt x="1497" y="1293"/>
                </a:lnTo>
                <a:lnTo>
                  <a:pt x="1494" y="1294"/>
                </a:lnTo>
                <a:lnTo>
                  <a:pt x="1493" y="1298"/>
                </a:lnTo>
                <a:lnTo>
                  <a:pt x="1491" y="1299"/>
                </a:lnTo>
                <a:lnTo>
                  <a:pt x="1489" y="1300"/>
                </a:lnTo>
                <a:lnTo>
                  <a:pt x="1487" y="1302"/>
                </a:lnTo>
                <a:lnTo>
                  <a:pt x="1486" y="1305"/>
                </a:lnTo>
                <a:lnTo>
                  <a:pt x="1485" y="1309"/>
                </a:lnTo>
                <a:lnTo>
                  <a:pt x="1484" y="1314"/>
                </a:lnTo>
                <a:lnTo>
                  <a:pt x="1480" y="1320"/>
                </a:lnTo>
                <a:lnTo>
                  <a:pt x="1478" y="1325"/>
                </a:lnTo>
                <a:lnTo>
                  <a:pt x="1476" y="1330"/>
                </a:lnTo>
                <a:lnTo>
                  <a:pt x="1475" y="1336"/>
                </a:lnTo>
                <a:lnTo>
                  <a:pt x="1473" y="1342"/>
                </a:lnTo>
                <a:lnTo>
                  <a:pt x="1471" y="1348"/>
                </a:lnTo>
                <a:lnTo>
                  <a:pt x="1468" y="1360"/>
                </a:lnTo>
                <a:lnTo>
                  <a:pt x="1466" y="1370"/>
                </a:lnTo>
                <a:lnTo>
                  <a:pt x="1466" y="1382"/>
                </a:lnTo>
                <a:lnTo>
                  <a:pt x="1469" y="1393"/>
                </a:lnTo>
                <a:lnTo>
                  <a:pt x="1470" y="1396"/>
                </a:lnTo>
                <a:lnTo>
                  <a:pt x="1471" y="1398"/>
                </a:lnTo>
                <a:lnTo>
                  <a:pt x="1473" y="1398"/>
                </a:lnTo>
                <a:lnTo>
                  <a:pt x="1477" y="1398"/>
                </a:lnTo>
                <a:lnTo>
                  <a:pt x="1478" y="1396"/>
                </a:lnTo>
                <a:lnTo>
                  <a:pt x="1478" y="1395"/>
                </a:lnTo>
                <a:lnTo>
                  <a:pt x="1477" y="1393"/>
                </a:lnTo>
                <a:lnTo>
                  <a:pt x="1476" y="1391"/>
                </a:lnTo>
                <a:lnTo>
                  <a:pt x="1475" y="1390"/>
                </a:lnTo>
                <a:lnTo>
                  <a:pt x="1473" y="1389"/>
                </a:lnTo>
                <a:close/>
                <a:moveTo>
                  <a:pt x="1516" y="1346"/>
                </a:moveTo>
                <a:lnTo>
                  <a:pt x="1516" y="1346"/>
                </a:lnTo>
                <a:lnTo>
                  <a:pt x="1516" y="1346"/>
                </a:lnTo>
                <a:lnTo>
                  <a:pt x="1516" y="1346"/>
                </a:lnTo>
                <a:lnTo>
                  <a:pt x="1517" y="1346"/>
                </a:lnTo>
                <a:lnTo>
                  <a:pt x="1516" y="1346"/>
                </a:lnTo>
                <a:lnTo>
                  <a:pt x="1516" y="1344"/>
                </a:lnTo>
                <a:lnTo>
                  <a:pt x="1516" y="1346"/>
                </a:lnTo>
                <a:lnTo>
                  <a:pt x="1516" y="1346"/>
                </a:lnTo>
                <a:close/>
                <a:moveTo>
                  <a:pt x="584" y="826"/>
                </a:moveTo>
                <a:lnTo>
                  <a:pt x="584" y="826"/>
                </a:lnTo>
                <a:lnTo>
                  <a:pt x="584" y="826"/>
                </a:lnTo>
                <a:lnTo>
                  <a:pt x="584" y="826"/>
                </a:lnTo>
                <a:lnTo>
                  <a:pt x="585" y="826"/>
                </a:lnTo>
                <a:lnTo>
                  <a:pt x="584" y="826"/>
                </a:lnTo>
                <a:lnTo>
                  <a:pt x="584" y="826"/>
                </a:lnTo>
                <a:close/>
                <a:moveTo>
                  <a:pt x="582" y="815"/>
                </a:moveTo>
                <a:lnTo>
                  <a:pt x="580" y="815"/>
                </a:lnTo>
                <a:lnTo>
                  <a:pt x="579" y="816"/>
                </a:lnTo>
                <a:lnTo>
                  <a:pt x="575" y="817"/>
                </a:lnTo>
                <a:lnTo>
                  <a:pt x="573" y="820"/>
                </a:lnTo>
                <a:lnTo>
                  <a:pt x="568" y="824"/>
                </a:lnTo>
                <a:lnTo>
                  <a:pt x="565" y="827"/>
                </a:lnTo>
                <a:lnTo>
                  <a:pt x="560" y="830"/>
                </a:lnTo>
                <a:lnTo>
                  <a:pt x="555" y="832"/>
                </a:lnTo>
                <a:lnTo>
                  <a:pt x="552" y="836"/>
                </a:lnTo>
                <a:lnTo>
                  <a:pt x="550" y="839"/>
                </a:lnTo>
                <a:lnTo>
                  <a:pt x="548" y="840"/>
                </a:lnTo>
                <a:lnTo>
                  <a:pt x="548" y="840"/>
                </a:lnTo>
                <a:lnTo>
                  <a:pt x="545" y="840"/>
                </a:lnTo>
                <a:lnTo>
                  <a:pt x="545" y="843"/>
                </a:lnTo>
                <a:lnTo>
                  <a:pt x="529" y="855"/>
                </a:lnTo>
                <a:lnTo>
                  <a:pt x="513" y="868"/>
                </a:lnTo>
                <a:lnTo>
                  <a:pt x="497" y="880"/>
                </a:lnTo>
                <a:lnTo>
                  <a:pt x="482" y="893"/>
                </a:lnTo>
                <a:lnTo>
                  <a:pt x="475" y="897"/>
                </a:lnTo>
                <a:lnTo>
                  <a:pt x="469" y="901"/>
                </a:lnTo>
                <a:lnTo>
                  <a:pt x="462" y="904"/>
                </a:lnTo>
                <a:lnTo>
                  <a:pt x="455" y="908"/>
                </a:lnTo>
                <a:lnTo>
                  <a:pt x="447" y="910"/>
                </a:lnTo>
                <a:lnTo>
                  <a:pt x="440" y="911"/>
                </a:lnTo>
                <a:lnTo>
                  <a:pt x="432" y="913"/>
                </a:lnTo>
                <a:lnTo>
                  <a:pt x="423" y="914"/>
                </a:lnTo>
                <a:lnTo>
                  <a:pt x="413" y="914"/>
                </a:lnTo>
                <a:lnTo>
                  <a:pt x="402" y="914"/>
                </a:lnTo>
                <a:lnTo>
                  <a:pt x="392" y="914"/>
                </a:lnTo>
                <a:lnTo>
                  <a:pt x="381" y="914"/>
                </a:lnTo>
                <a:lnTo>
                  <a:pt x="380" y="914"/>
                </a:lnTo>
                <a:lnTo>
                  <a:pt x="380" y="914"/>
                </a:lnTo>
                <a:lnTo>
                  <a:pt x="377" y="910"/>
                </a:lnTo>
                <a:lnTo>
                  <a:pt x="373" y="908"/>
                </a:lnTo>
                <a:lnTo>
                  <a:pt x="360" y="902"/>
                </a:lnTo>
                <a:lnTo>
                  <a:pt x="345" y="899"/>
                </a:lnTo>
                <a:lnTo>
                  <a:pt x="344" y="896"/>
                </a:lnTo>
                <a:lnTo>
                  <a:pt x="341" y="895"/>
                </a:lnTo>
                <a:lnTo>
                  <a:pt x="339" y="896"/>
                </a:lnTo>
                <a:lnTo>
                  <a:pt x="337" y="897"/>
                </a:lnTo>
                <a:lnTo>
                  <a:pt x="336" y="897"/>
                </a:lnTo>
                <a:lnTo>
                  <a:pt x="333" y="896"/>
                </a:lnTo>
                <a:lnTo>
                  <a:pt x="325" y="894"/>
                </a:lnTo>
                <a:lnTo>
                  <a:pt x="318" y="890"/>
                </a:lnTo>
                <a:lnTo>
                  <a:pt x="311" y="886"/>
                </a:lnTo>
                <a:lnTo>
                  <a:pt x="303" y="885"/>
                </a:lnTo>
                <a:lnTo>
                  <a:pt x="303" y="885"/>
                </a:lnTo>
                <a:lnTo>
                  <a:pt x="302" y="883"/>
                </a:lnTo>
                <a:lnTo>
                  <a:pt x="301" y="882"/>
                </a:lnTo>
                <a:lnTo>
                  <a:pt x="299" y="882"/>
                </a:lnTo>
                <a:lnTo>
                  <a:pt x="298" y="882"/>
                </a:lnTo>
                <a:lnTo>
                  <a:pt x="296" y="882"/>
                </a:lnTo>
                <a:lnTo>
                  <a:pt x="295" y="882"/>
                </a:lnTo>
                <a:lnTo>
                  <a:pt x="294" y="879"/>
                </a:lnTo>
                <a:lnTo>
                  <a:pt x="292" y="878"/>
                </a:lnTo>
                <a:lnTo>
                  <a:pt x="290" y="875"/>
                </a:lnTo>
                <a:lnTo>
                  <a:pt x="288" y="874"/>
                </a:lnTo>
                <a:lnTo>
                  <a:pt x="287" y="874"/>
                </a:lnTo>
                <a:lnTo>
                  <a:pt x="285" y="874"/>
                </a:lnTo>
                <a:lnTo>
                  <a:pt x="281" y="874"/>
                </a:lnTo>
                <a:lnTo>
                  <a:pt x="277" y="874"/>
                </a:lnTo>
                <a:lnTo>
                  <a:pt x="281" y="874"/>
                </a:lnTo>
                <a:lnTo>
                  <a:pt x="285" y="874"/>
                </a:lnTo>
                <a:lnTo>
                  <a:pt x="281" y="869"/>
                </a:lnTo>
                <a:lnTo>
                  <a:pt x="276" y="865"/>
                </a:lnTo>
                <a:lnTo>
                  <a:pt x="271" y="862"/>
                </a:lnTo>
                <a:lnTo>
                  <a:pt x="265" y="861"/>
                </a:lnTo>
                <a:lnTo>
                  <a:pt x="260" y="858"/>
                </a:lnTo>
                <a:lnTo>
                  <a:pt x="253" y="854"/>
                </a:lnTo>
                <a:lnTo>
                  <a:pt x="253" y="852"/>
                </a:lnTo>
                <a:lnTo>
                  <a:pt x="251" y="851"/>
                </a:lnTo>
                <a:lnTo>
                  <a:pt x="253" y="852"/>
                </a:lnTo>
                <a:lnTo>
                  <a:pt x="253" y="854"/>
                </a:lnTo>
                <a:lnTo>
                  <a:pt x="251" y="854"/>
                </a:lnTo>
                <a:lnTo>
                  <a:pt x="250" y="854"/>
                </a:lnTo>
                <a:lnTo>
                  <a:pt x="248" y="853"/>
                </a:lnTo>
                <a:lnTo>
                  <a:pt x="246" y="852"/>
                </a:lnTo>
                <a:lnTo>
                  <a:pt x="237" y="848"/>
                </a:lnTo>
                <a:lnTo>
                  <a:pt x="229" y="844"/>
                </a:lnTo>
                <a:lnTo>
                  <a:pt x="226" y="843"/>
                </a:lnTo>
                <a:lnTo>
                  <a:pt x="221" y="841"/>
                </a:lnTo>
                <a:lnTo>
                  <a:pt x="216" y="840"/>
                </a:lnTo>
                <a:lnTo>
                  <a:pt x="212" y="840"/>
                </a:lnTo>
                <a:lnTo>
                  <a:pt x="202" y="839"/>
                </a:lnTo>
                <a:lnTo>
                  <a:pt x="192" y="839"/>
                </a:lnTo>
                <a:lnTo>
                  <a:pt x="186" y="840"/>
                </a:lnTo>
                <a:lnTo>
                  <a:pt x="180" y="843"/>
                </a:lnTo>
                <a:lnTo>
                  <a:pt x="178" y="845"/>
                </a:lnTo>
                <a:lnTo>
                  <a:pt x="175" y="847"/>
                </a:lnTo>
                <a:lnTo>
                  <a:pt x="174" y="850"/>
                </a:lnTo>
                <a:lnTo>
                  <a:pt x="173" y="853"/>
                </a:lnTo>
                <a:lnTo>
                  <a:pt x="171" y="860"/>
                </a:lnTo>
                <a:lnTo>
                  <a:pt x="167" y="866"/>
                </a:lnTo>
                <a:lnTo>
                  <a:pt x="164" y="869"/>
                </a:lnTo>
                <a:lnTo>
                  <a:pt x="160" y="873"/>
                </a:lnTo>
                <a:lnTo>
                  <a:pt x="159" y="879"/>
                </a:lnTo>
                <a:lnTo>
                  <a:pt x="160" y="883"/>
                </a:lnTo>
                <a:lnTo>
                  <a:pt x="163" y="893"/>
                </a:lnTo>
                <a:lnTo>
                  <a:pt x="165" y="902"/>
                </a:lnTo>
                <a:lnTo>
                  <a:pt x="168" y="910"/>
                </a:lnTo>
                <a:lnTo>
                  <a:pt x="173" y="918"/>
                </a:lnTo>
                <a:lnTo>
                  <a:pt x="175" y="923"/>
                </a:lnTo>
                <a:lnTo>
                  <a:pt x="179" y="928"/>
                </a:lnTo>
                <a:lnTo>
                  <a:pt x="182" y="932"/>
                </a:lnTo>
                <a:lnTo>
                  <a:pt x="187" y="935"/>
                </a:lnTo>
                <a:lnTo>
                  <a:pt x="187" y="936"/>
                </a:lnTo>
                <a:lnTo>
                  <a:pt x="187" y="936"/>
                </a:lnTo>
                <a:lnTo>
                  <a:pt x="192" y="943"/>
                </a:lnTo>
                <a:lnTo>
                  <a:pt x="198" y="949"/>
                </a:lnTo>
                <a:lnTo>
                  <a:pt x="203" y="953"/>
                </a:lnTo>
                <a:lnTo>
                  <a:pt x="212" y="957"/>
                </a:lnTo>
                <a:lnTo>
                  <a:pt x="212" y="957"/>
                </a:lnTo>
                <a:lnTo>
                  <a:pt x="212" y="957"/>
                </a:lnTo>
                <a:lnTo>
                  <a:pt x="213" y="960"/>
                </a:lnTo>
                <a:lnTo>
                  <a:pt x="216" y="963"/>
                </a:lnTo>
                <a:lnTo>
                  <a:pt x="225" y="967"/>
                </a:lnTo>
                <a:lnTo>
                  <a:pt x="233" y="972"/>
                </a:lnTo>
                <a:lnTo>
                  <a:pt x="242" y="974"/>
                </a:lnTo>
                <a:lnTo>
                  <a:pt x="251" y="977"/>
                </a:lnTo>
                <a:lnTo>
                  <a:pt x="251" y="977"/>
                </a:lnTo>
                <a:lnTo>
                  <a:pt x="253" y="977"/>
                </a:lnTo>
                <a:lnTo>
                  <a:pt x="254" y="979"/>
                </a:lnTo>
                <a:lnTo>
                  <a:pt x="256" y="980"/>
                </a:lnTo>
                <a:lnTo>
                  <a:pt x="258" y="981"/>
                </a:lnTo>
                <a:lnTo>
                  <a:pt x="261" y="983"/>
                </a:lnTo>
                <a:lnTo>
                  <a:pt x="270" y="985"/>
                </a:lnTo>
                <a:lnTo>
                  <a:pt x="279" y="987"/>
                </a:lnTo>
                <a:lnTo>
                  <a:pt x="288" y="991"/>
                </a:lnTo>
                <a:lnTo>
                  <a:pt x="296" y="995"/>
                </a:lnTo>
                <a:lnTo>
                  <a:pt x="298" y="997"/>
                </a:lnTo>
                <a:lnTo>
                  <a:pt x="302" y="997"/>
                </a:lnTo>
                <a:lnTo>
                  <a:pt x="302" y="997"/>
                </a:lnTo>
                <a:lnTo>
                  <a:pt x="302" y="997"/>
                </a:lnTo>
                <a:lnTo>
                  <a:pt x="303" y="999"/>
                </a:lnTo>
                <a:lnTo>
                  <a:pt x="304" y="1000"/>
                </a:lnTo>
                <a:lnTo>
                  <a:pt x="306" y="1001"/>
                </a:lnTo>
                <a:lnTo>
                  <a:pt x="309" y="1001"/>
                </a:lnTo>
                <a:lnTo>
                  <a:pt x="313" y="1001"/>
                </a:lnTo>
                <a:lnTo>
                  <a:pt x="316" y="1001"/>
                </a:lnTo>
                <a:lnTo>
                  <a:pt x="317" y="1000"/>
                </a:lnTo>
                <a:lnTo>
                  <a:pt x="318" y="999"/>
                </a:lnTo>
                <a:lnTo>
                  <a:pt x="318" y="997"/>
                </a:lnTo>
                <a:lnTo>
                  <a:pt x="317" y="994"/>
                </a:lnTo>
                <a:lnTo>
                  <a:pt x="316" y="992"/>
                </a:lnTo>
                <a:lnTo>
                  <a:pt x="318" y="991"/>
                </a:lnTo>
                <a:lnTo>
                  <a:pt x="320" y="991"/>
                </a:lnTo>
                <a:lnTo>
                  <a:pt x="322" y="992"/>
                </a:lnTo>
                <a:lnTo>
                  <a:pt x="327" y="997"/>
                </a:lnTo>
                <a:lnTo>
                  <a:pt x="332" y="1002"/>
                </a:lnTo>
                <a:lnTo>
                  <a:pt x="333" y="1005"/>
                </a:lnTo>
                <a:lnTo>
                  <a:pt x="336" y="1005"/>
                </a:lnTo>
                <a:lnTo>
                  <a:pt x="337" y="1005"/>
                </a:lnTo>
                <a:lnTo>
                  <a:pt x="339" y="1005"/>
                </a:lnTo>
                <a:lnTo>
                  <a:pt x="343" y="1007"/>
                </a:lnTo>
                <a:lnTo>
                  <a:pt x="345" y="1009"/>
                </a:lnTo>
                <a:lnTo>
                  <a:pt x="346" y="1011"/>
                </a:lnTo>
                <a:lnTo>
                  <a:pt x="348" y="1011"/>
                </a:lnTo>
                <a:lnTo>
                  <a:pt x="350" y="1012"/>
                </a:lnTo>
                <a:lnTo>
                  <a:pt x="350" y="1012"/>
                </a:lnTo>
                <a:lnTo>
                  <a:pt x="352" y="1014"/>
                </a:lnTo>
                <a:lnTo>
                  <a:pt x="353" y="1015"/>
                </a:lnTo>
                <a:lnTo>
                  <a:pt x="355" y="1016"/>
                </a:lnTo>
                <a:lnTo>
                  <a:pt x="358" y="1016"/>
                </a:lnTo>
                <a:lnTo>
                  <a:pt x="358" y="1015"/>
                </a:lnTo>
                <a:lnTo>
                  <a:pt x="358" y="1015"/>
                </a:lnTo>
                <a:lnTo>
                  <a:pt x="358" y="1015"/>
                </a:lnTo>
                <a:lnTo>
                  <a:pt x="358" y="1016"/>
                </a:lnTo>
                <a:lnTo>
                  <a:pt x="359" y="1016"/>
                </a:lnTo>
                <a:lnTo>
                  <a:pt x="360" y="1016"/>
                </a:lnTo>
                <a:lnTo>
                  <a:pt x="363" y="1020"/>
                </a:lnTo>
                <a:lnTo>
                  <a:pt x="366" y="1023"/>
                </a:lnTo>
                <a:lnTo>
                  <a:pt x="358" y="1022"/>
                </a:lnTo>
                <a:lnTo>
                  <a:pt x="350" y="1022"/>
                </a:lnTo>
                <a:lnTo>
                  <a:pt x="358" y="1029"/>
                </a:lnTo>
                <a:lnTo>
                  <a:pt x="366" y="1035"/>
                </a:lnTo>
                <a:lnTo>
                  <a:pt x="371" y="1037"/>
                </a:lnTo>
                <a:lnTo>
                  <a:pt x="377" y="1040"/>
                </a:lnTo>
                <a:lnTo>
                  <a:pt x="382" y="1041"/>
                </a:lnTo>
                <a:lnTo>
                  <a:pt x="387" y="1041"/>
                </a:lnTo>
                <a:lnTo>
                  <a:pt x="399" y="1041"/>
                </a:lnTo>
                <a:lnTo>
                  <a:pt x="410" y="1040"/>
                </a:lnTo>
                <a:lnTo>
                  <a:pt x="415" y="1039"/>
                </a:lnTo>
                <a:lnTo>
                  <a:pt x="419" y="1037"/>
                </a:lnTo>
                <a:lnTo>
                  <a:pt x="422" y="1035"/>
                </a:lnTo>
                <a:lnTo>
                  <a:pt x="426" y="1032"/>
                </a:lnTo>
                <a:lnTo>
                  <a:pt x="432" y="1026"/>
                </a:lnTo>
                <a:lnTo>
                  <a:pt x="437" y="1019"/>
                </a:lnTo>
                <a:lnTo>
                  <a:pt x="439" y="1018"/>
                </a:lnTo>
                <a:lnTo>
                  <a:pt x="439" y="1016"/>
                </a:lnTo>
                <a:lnTo>
                  <a:pt x="442" y="1013"/>
                </a:lnTo>
                <a:lnTo>
                  <a:pt x="446" y="1011"/>
                </a:lnTo>
                <a:lnTo>
                  <a:pt x="449" y="1006"/>
                </a:lnTo>
                <a:lnTo>
                  <a:pt x="451" y="1002"/>
                </a:lnTo>
                <a:lnTo>
                  <a:pt x="454" y="997"/>
                </a:lnTo>
                <a:lnTo>
                  <a:pt x="458" y="992"/>
                </a:lnTo>
                <a:lnTo>
                  <a:pt x="464" y="988"/>
                </a:lnTo>
                <a:lnTo>
                  <a:pt x="470" y="987"/>
                </a:lnTo>
                <a:lnTo>
                  <a:pt x="490" y="984"/>
                </a:lnTo>
                <a:lnTo>
                  <a:pt x="510" y="981"/>
                </a:lnTo>
                <a:lnTo>
                  <a:pt x="529" y="977"/>
                </a:lnTo>
                <a:lnTo>
                  <a:pt x="548" y="973"/>
                </a:lnTo>
                <a:lnTo>
                  <a:pt x="550" y="973"/>
                </a:lnTo>
                <a:lnTo>
                  <a:pt x="551" y="972"/>
                </a:lnTo>
                <a:lnTo>
                  <a:pt x="550" y="973"/>
                </a:lnTo>
                <a:lnTo>
                  <a:pt x="548" y="973"/>
                </a:lnTo>
                <a:lnTo>
                  <a:pt x="548" y="974"/>
                </a:lnTo>
                <a:lnTo>
                  <a:pt x="548" y="976"/>
                </a:lnTo>
                <a:lnTo>
                  <a:pt x="547" y="977"/>
                </a:lnTo>
                <a:lnTo>
                  <a:pt x="546" y="977"/>
                </a:lnTo>
                <a:lnTo>
                  <a:pt x="541" y="979"/>
                </a:lnTo>
                <a:lnTo>
                  <a:pt x="538" y="980"/>
                </a:lnTo>
                <a:lnTo>
                  <a:pt x="533" y="984"/>
                </a:lnTo>
                <a:lnTo>
                  <a:pt x="531" y="987"/>
                </a:lnTo>
                <a:lnTo>
                  <a:pt x="529" y="991"/>
                </a:lnTo>
                <a:lnTo>
                  <a:pt x="526" y="993"/>
                </a:lnTo>
                <a:lnTo>
                  <a:pt x="523" y="995"/>
                </a:lnTo>
                <a:lnTo>
                  <a:pt x="519" y="997"/>
                </a:lnTo>
                <a:lnTo>
                  <a:pt x="516" y="998"/>
                </a:lnTo>
                <a:lnTo>
                  <a:pt x="515" y="999"/>
                </a:lnTo>
                <a:lnTo>
                  <a:pt x="510" y="1004"/>
                </a:lnTo>
                <a:lnTo>
                  <a:pt x="506" y="1008"/>
                </a:lnTo>
                <a:lnTo>
                  <a:pt x="505" y="1014"/>
                </a:lnTo>
                <a:lnTo>
                  <a:pt x="503" y="1019"/>
                </a:lnTo>
                <a:lnTo>
                  <a:pt x="503" y="1025"/>
                </a:lnTo>
                <a:lnTo>
                  <a:pt x="503" y="1030"/>
                </a:lnTo>
                <a:lnTo>
                  <a:pt x="503" y="1036"/>
                </a:lnTo>
                <a:lnTo>
                  <a:pt x="504" y="1042"/>
                </a:lnTo>
                <a:lnTo>
                  <a:pt x="509" y="1049"/>
                </a:lnTo>
                <a:lnTo>
                  <a:pt x="510" y="1059"/>
                </a:lnTo>
                <a:lnTo>
                  <a:pt x="511" y="1062"/>
                </a:lnTo>
                <a:lnTo>
                  <a:pt x="512" y="1066"/>
                </a:lnTo>
                <a:lnTo>
                  <a:pt x="515" y="1068"/>
                </a:lnTo>
                <a:lnTo>
                  <a:pt x="517" y="1070"/>
                </a:lnTo>
                <a:lnTo>
                  <a:pt x="523" y="1074"/>
                </a:lnTo>
                <a:lnTo>
                  <a:pt x="527" y="1078"/>
                </a:lnTo>
                <a:lnTo>
                  <a:pt x="533" y="1083"/>
                </a:lnTo>
                <a:lnTo>
                  <a:pt x="537" y="1089"/>
                </a:lnTo>
                <a:lnTo>
                  <a:pt x="541" y="1095"/>
                </a:lnTo>
                <a:lnTo>
                  <a:pt x="546" y="1101"/>
                </a:lnTo>
                <a:lnTo>
                  <a:pt x="550" y="1103"/>
                </a:lnTo>
                <a:lnTo>
                  <a:pt x="553" y="1104"/>
                </a:lnTo>
                <a:lnTo>
                  <a:pt x="557" y="1104"/>
                </a:lnTo>
                <a:lnTo>
                  <a:pt x="561" y="1104"/>
                </a:lnTo>
                <a:lnTo>
                  <a:pt x="565" y="1106"/>
                </a:lnTo>
                <a:lnTo>
                  <a:pt x="567" y="1110"/>
                </a:lnTo>
                <a:lnTo>
                  <a:pt x="560" y="1111"/>
                </a:lnTo>
                <a:lnTo>
                  <a:pt x="554" y="1112"/>
                </a:lnTo>
                <a:lnTo>
                  <a:pt x="552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1"/>
                </a:lnTo>
                <a:lnTo>
                  <a:pt x="547" y="1110"/>
                </a:lnTo>
                <a:lnTo>
                  <a:pt x="547" y="1110"/>
                </a:lnTo>
                <a:lnTo>
                  <a:pt x="547" y="1110"/>
                </a:lnTo>
                <a:lnTo>
                  <a:pt x="548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9" y="1120"/>
                </a:lnTo>
                <a:lnTo>
                  <a:pt x="568" y="1127"/>
                </a:lnTo>
                <a:lnTo>
                  <a:pt x="578" y="1136"/>
                </a:lnTo>
                <a:lnTo>
                  <a:pt x="587" y="1144"/>
                </a:lnTo>
                <a:lnTo>
                  <a:pt x="600" y="1153"/>
                </a:lnTo>
                <a:lnTo>
                  <a:pt x="612" y="1164"/>
                </a:lnTo>
                <a:lnTo>
                  <a:pt x="623" y="1174"/>
                </a:lnTo>
                <a:lnTo>
                  <a:pt x="636" y="1185"/>
                </a:lnTo>
                <a:lnTo>
                  <a:pt x="646" y="1194"/>
                </a:lnTo>
                <a:lnTo>
                  <a:pt x="655" y="1203"/>
                </a:lnTo>
                <a:lnTo>
                  <a:pt x="665" y="1213"/>
                </a:lnTo>
                <a:lnTo>
                  <a:pt x="675" y="1221"/>
                </a:lnTo>
                <a:lnTo>
                  <a:pt x="692" y="1236"/>
                </a:lnTo>
                <a:lnTo>
                  <a:pt x="707" y="1252"/>
                </a:lnTo>
                <a:lnTo>
                  <a:pt x="714" y="1262"/>
                </a:lnTo>
                <a:lnTo>
                  <a:pt x="722" y="1270"/>
                </a:lnTo>
                <a:lnTo>
                  <a:pt x="727" y="1279"/>
                </a:lnTo>
                <a:lnTo>
                  <a:pt x="733" y="1290"/>
                </a:lnTo>
                <a:lnTo>
                  <a:pt x="741" y="1304"/>
                </a:lnTo>
                <a:lnTo>
                  <a:pt x="750" y="1316"/>
                </a:lnTo>
                <a:lnTo>
                  <a:pt x="751" y="1318"/>
                </a:lnTo>
                <a:lnTo>
                  <a:pt x="751" y="1318"/>
                </a:lnTo>
                <a:lnTo>
                  <a:pt x="751" y="1318"/>
                </a:lnTo>
                <a:lnTo>
                  <a:pt x="752" y="1320"/>
                </a:lnTo>
                <a:lnTo>
                  <a:pt x="752" y="1323"/>
                </a:lnTo>
                <a:lnTo>
                  <a:pt x="753" y="1328"/>
                </a:lnTo>
                <a:lnTo>
                  <a:pt x="754" y="1334"/>
                </a:lnTo>
                <a:lnTo>
                  <a:pt x="755" y="1339"/>
                </a:lnTo>
                <a:lnTo>
                  <a:pt x="754" y="1344"/>
                </a:lnTo>
                <a:lnTo>
                  <a:pt x="752" y="1348"/>
                </a:lnTo>
                <a:lnTo>
                  <a:pt x="751" y="1351"/>
                </a:lnTo>
                <a:lnTo>
                  <a:pt x="751" y="1355"/>
                </a:lnTo>
                <a:lnTo>
                  <a:pt x="752" y="1358"/>
                </a:lnTo>
                <a:lnTo>
                  <a:pt x="754" y="1365"/>
                </a:lnTo>
                <a:lnTo>
                  <a:pt x="758" y="1372"/>
                </a:lnTo>
                <a:lnTo>
                  <a:pt x="764" y="1382"/>
                </a:lnTo>
                <a:lnTo>
                  <a:pt x="771" y="1390"/>
                </a:lnTo>
                <a:lnTo>
                  <a:pt x="773" y="1397"/>
                </a:lnTo>
                <a:lnTo>
                  <a:pt x="774" y="1403"/>
                </a:lnTo>
                <a:lnTo>
                  <a:pt x="774" y="1410"/>
                </a:lnTo>
                <a:lnTo>
                  <a:pt x="774" y="1417"/>
                </a:lnTo>
                <a:lnTo>
                  <a:pt x="775" y="1419"/>
                </a:lnTo>
                <a:lnTo>
                  <a:pt x="775" y="1421"/>
                </a:lnTo>
                <a:lnTo>
                  <a:pt x="776" y="1423"/>
                </a:lnTo>
                <a:lnTo>
                  <a:pt x="780" y="1424"/>
                </a:lnTo>
                <a:lnTo>
                  <a:pt x="785" y="1427"/>
                </a:lnTo>
                <a:lnTo>
                  <a:pt x="788" y="1431"/>
                </a:lnTo>
                <a:lnTo>
                  <a:pt x="789" y="1433"/>
                </a:lnTo>
                <a:lnTo>
                  <a:pt x="791" y="1435"/>
                </a:lnTo>
                <a:lnTo>
                  <a:pt x="791" y="1438"/>
                </a:lnTo>
                <a:lnTo>
                  <a:pt x="791" y="1441"/>
                </a:lnTo>
                <a:lnTo>
                  <a:pt x="792" y="1442"/>
                </a:lnTo>
                <a:lnTo>
                  <a:pt x="794" y="1442"/>
                </a:lnTo>
                <a:lnTo>
                  <a:pt x="794" y="1445"/>
                </a:lnTo>
                <a:lnTo>
                  <a:pt x="795" y="1447"/>
                </a:lnTo>
                <a:lnTo>
                  <a:pt x="793" y="1451"/>
                </a:lnTo>
                <a:lnTo>
                  <a:pt x="794" y="1455"/>
                </a:lnTo>
                <a:lnTo>
                  <a:pt x="795" y="1460"/>
                </a:lnTo>
                <a:lnTo>
                  <a:pt x="795" y="1465"/>
                </a:lnTo>
                <a:lnTo>
                  <a:pt x="794" y="1470"/>
                </a:lnTo>
                <a:lnTo>
                  <a:pt x="794" y="1476"/>
                </a:lnTo>
                <a:lnTo>
                  <a:pt x="792" y="1473"/>
                </a:lnTo>
                <a:lnTo>
                  <a:pt x="791" y="1470"/>
                </a:lnTo>
                <a:lnTo>
                  <a:pt x="789" y="1468"/>
                </a:lnTo>
                <a:lnTo>
                  <a:pt x="787" y="1467"/>
                </a:lnTo>
                <a:lnTo>
                  <a:pt x="786" y="1467"/>
                </a:lnTo>
                <a:lnTo>
                  <a:pt x="785" y="1469"/>
                </a:lnTo>
                <a:lnTo>
                  <a:pt x="785" y="1470"/>
                </a:lnTo>
                <a:lnTo>
                  <a:pt x="785" y="1472"/>
                </a:lnTo>
                <a:lnTo>
                  <a:pt x="785" y="1480"/>
                </a:lnTo>
                <a:lnTo>
                  <a:pt x="785" y="1487"/>
                </a:lnTo>
                <a:lnTo>
                  <a:pt x="785" y="1491"/>
                </a:lnTo>
                <a:lnTo>
                  <a:pt x="786" y="1496"/>
                </a:lnTo>
                <a:lnTo>
                  <a:pt x="788" y="1500"/>
                </a:lnTo>
                <a:lnTo>
                  <a:pt x="791" y="1503"/>
                </a:lnTo>
                <a:lnTo>
                  <a:pt x="793" y="1505"/>
                </a:lnTo>
                <a:lnTo>
                  <a:pt x="798" y="1507"/>
                </a:lnTo>
                <a:lnTo>
                  <a:pt x="802" y="1507"/>
                </a:lnTo>
                <a:lnTo>
                  <a:pt x="808" y="1504"/>
                </a:lnTo>
                <a:lnTo>
                  <a:pt x="813" y="1507"/>
                </a:lnTo>
                <a:lnTo>
                  <a:pt x="816" y="1508"/>
                </a:lnTo>
                <a:lnTo>
                  <a:pt x="820" y="1508"/>
                </a:lnTo>
                <a:lnTo>
                  <a:pt x="822" y="1507"/>
                </a:lnTo>
                <a:lnTo>
                  <a:pt x="823" y="1504"/>
                </a:lnTo>
                <a:lnTo>
                  <a:pt x="822" y="1501"/>
                </a:lnTo>
                <a:lnTo>
                  <a:pt x="824" y="1495"/>
                </a:lnTo>
                <a:lnTo>
                  <a:pt x="828" y="1491"/>
                </a:lnTo>
                <a:lnTo>
                  <a:pt x="830" y="1489"/>
                </a:lnTo>
                <a:lnTo>
                  <a:pt x="834" y="1489"/>
                </a:lnTo>
                <a:lnTo>
                  <a:pt x="838" y="1490"/>
                </a:lnTo>
                <a:lnTo>
                  <a:pt x="841" y="1489"/>
                </a:lnTo>
                <a:lnTo>
                  <a:pt x="843" y="1487"/>
                </a:lnTo>
                <a:lnTo>
                  <a:pt x="845" y="1484"/>
                </a:lnTo>
                <a:lnTo>
                  <a:pt x="847" y="1481"/>
                </a:lnTo>
                <a:lnTo>
                  <a:pt x="845" y="1479"/>
                </a:lnTo>
                <a:lnTo>
                  <a:pt x="844" y="1477"/>
                </a:lnTo>
                <a:lnTo>
                  <a:pt x="843" y="1475"/>
                </a:lnTo>
                <a:lnTo>
                  <a:pt x="843" y="1472"/>
                </a:lnTo>
                <a:lnTo>
                  <a:pt x="845" y="1467"/>
                </a:lnTo>
                <a:lnTo>
                  <a:pt x="848" y="1465"/>
                </a:lnTo>
                <a:lnTo>
                  <a:pt x="850" y="1461"/>
                </a:lnTo>
                <a:lnTo>
                  <a:pt x="854" y="1459"/>
                </a:lnTo>
                <a:lnTo>
                  <a:pt x="856" y="1456"/>
                </a:lnTo>
                <a:lnTo>
                  <a:pt x="861" y="1456"/>
                </a:lnTo>
                <a:lnTo>
                  <a:pt x="863" y="1455"/>
                </a:lnTo>
                <a:lnTo>
                  <a:pt x="864" y="1452"/>
                </a:lnTo>
                <a:lnTo>
                  <a:pt x="865" y="1448"/>
                </a:lnTo>
                <a:lnTo>
                  <a:pt x="867" y="1447"/>
                </a:lnTo>
                <a:lnTo>
                  <a:pt x="868" y="1445"/>
                </a:lnTo>
                <a:lnTo>
                  <a:pt x="868" y="1444"/>
                </a:lnTo>
                <a:lnTo>
                  <a:pt x="867" y="1441"/>
                </a:lnTo>
                <a:lnTo>
                  <a:pt x="863" y="1438"/>
                </a:lnTo>
                <a:lnTo>
                  <a:pt x="861" y="1433"/>
                </a:lnTo>
                <a:lnTo>
                  <a:pt x="861" y="1435"/>
                </a:lnTo>
                <a:lnTo>
                  <a:pt x="859" y="1437"/>
                </a:lnTo>
                <a:lnTo>
                  <a:pt x="856" y="1441"/>
                </a:lnTo>
                <a:lnTo>
                  <a:pt x="854" y="1446"/>
                </a:lnTo>
                <a:lnTo>
                  <a:pt x="856" y="1441"/>
                </a:lnTo>
                <a:lnTo>
                  <a:pt x="859" y="1437"/>
                </a:lnTo>
                <a:lnTo>
                  <a:pt x="861" y="1435"/>
                </a:lnTo>
                <a:lnTo>
                  <a:pt x="861" y="1433"/>
                </a:lnTo>
                <a:lnTo>
                  <a:pt x="864" y="1424"/>
                </a:lnTo>
                <a:lnTo>
                  <a:pt x="868" y="1416"/>
                </a:lnTo>
                <a:lnTo>
                  <a:pt x="871" y="1414"/>
                </a:lnTo>
                <a:lnTo>
                  <a:pt x="875" y="1412"/>
                </a:lnTo>
                <a:lnTo>
                  <a:pt x="876" y="1412"/>
                </a:lnTo>
                <a:lnTo>
                  <a:pt x="877" y="1411"/>
                </a:lnTo>
                <a:lnTo>
                  <a:pt x="878" y="1410"/>
                </a:lnTo>
                <a:lnTo>
                  <a:pt x="878" y="1409"/>
                </a:lnTo>
                <a:lnTo>
                  <a:pt x="878" y="1404"/>
                </a:lnTo>
                <a:lnTo>
                  <a:pt x="879" y="1400"/>
                </a:lnTo>
                <a:lnTo>
                  <a:pt x="883" y="1398"/>
                </a:lnTo>
                <a:lnTo>
                  <a:pt x="888" y="1396"/>
                </a:lnTo>
                <a:lnTo>
                  <a:pt x="890" y="1395"/>
                </a:lnTo>
                <a:lnTo>
                  <a:pt x="892" y="1392"/>
                </a:lnTo>
                <a:lnTo>
                  <a:pt x="898" y="1392"/>
                </a:lnTo>
                <a:lnTo>
                  <a:pt x="903" y="1393"/>
                </a:lnTo>
                <a:lnTo>
                  <a:pt x="905" y="1395"/>
                </a:lnTo>
                <a:lnTo>
                  <a:pt x="906" y="1393"/>
                </a:lnTo>
                <a:lnTo>
                  <a:pt x="907" y="1392"/>
                </a:lnTo>
                <a:lnTo>
                  <a:pt x="909" y="1391"/>
                </a:lnTo>
                <a:lnTo>
                  <a:pt x="910" y="1389"/>
                </a:lnTo>
                <a:lnTo>
                  <a:pt x="910" y="1388"/>
                </a:lnTo>
                <a:lnTo>
                  <a:pt x="910" y="1386"/>
                </a:lnTo>
                <a:lnTo>
                  <a:pt x="907" y="1384"/>
                </a:lnTo>
                <a:lnTo>
                  <a:pt x="905" y="1383"/>
                </a:lnTo>
                <a:lnTo>
                  <a:pt x="903" y="1381"/>
                </a:lnTo>
                <a:lnTo>
                  <a:pt x="903" y="1378"/>
                </a:lnTo>
                <a:lnTo>
                  <a:pt x="903" y="1377"/>
                </a:lnTo>
                <a:lnTo>
                  <a:pt x="906" y="1375"/>
                </a:lnTo>
                <a:lnTo>
                  <a:pt x="910" y="1374"/>
                </a:lnTo>
                <a:lnTo>
                  <a:pt x="913" y="1374"/>
                </a:lnTo>
                <a:lnTo>
                  <a:pt x="917" y="1375"/>
                </a:lnTo>
                <a:lnTo>
                  <a:pt x="919" y="1375"/>
                </a:lnTo>
                <a:lnTo>
                  <a:pt x="920" y="1375"/>
                </a:lnTo>
                <a:lnTo>
                  <a:pt x="921" y="1374"/>
                </a:lnTo>
                <a:lnTo>
                  <a:pt x="923" y="1372"/>
                </a:lnTo>
                <a:lnTo>
                  <a:pt x="924" y="1370"/>
                </a:lnTo>
                <a:lnTo>
                  <a:pt x="926" y="1368"/>
                </a:lnTo>
                <a:lnTo>
                  <a:pt x="927" y="1365"/>
                </a:lnTo>
                <a:lnTo>
                  <a:pt x="927" y="1364"/>
                </a:lnTo>
                <a:lnTo>
                  <a:pt x="926" y="1362"/>
                </a:lnTo>
                <a:lnTo>
                  <a:pt x="925" y="1361"/>
                </a:lnTo>
                <a:lnTo>
                  <a:pt x="921" y="1358"/>
                </a:lnTo>
                <a:lnTo>
                  <a:pt x="920" y="1355"/>
                </a:lnTo>
                <a:lnTo>
                  <a:pt x="920" y="1353"/>
                </a:lnTo>
                <a:lnTo>
                  <a:pt x="921" y="1349"/>
                </a:lnTo>
                <a:lnTo>
                  <a:pt x="920" y="1344"/>
                </a:lnTo>
                <a:lnTo>
                  <a:pt x="920" y="1340"/>
                </a:lnTo>
                <a:lnTo>
                  <a:pt x="920" y="1339"/>
                </a:lnTo>
                <a:lnTo>
                  <a:pt x="921" y="1336"/>
                </a:lnTo>
                <a:lnTo>
                  <a:pt x="924" y="1335"/>
                </a:lnTo>
                <a:lnTo>
                  <a:pt x="927" y="1335"/>
                </a:lnTo>
                <a:lnTo>
                  <a:pt x="930" y="1335"/>
                </a:lnTo>
                <a:lnTo>
                  <a:pt x="933" y="1335"/>
                </a:lnTo>
                <a:lnTo>
                  <a:pt x="934" y="1334"/>
                </a:lnTo>
                <a:lnTo>
                  <a:pt x="937" y="1332"/>
                </a:lnTo>
                <a:lnTo>
                  <a:pt x="937" y="1329"/>
                </a:lnTo>
                <a:lnTo>
                  <a:pt x="937" y="1326"/>
                </a:lnTo>
                <a:lnTo>
                  <a:pt x="936" y="1325"/>
                </a:lnTo>
                <a:lnTo>
                  <a:pt x="933" y="1322"/>
                </a:lnTo>
                <a:lnTo>
                  <a:pt x="931" y="1321"/>
                </a:lnTo>
                <a:lnTo>
                  <a:pt x="928" y="1320"/>
                </a:lnTo>
                <a:lnTo>
                  <a:pt x="924" y="1314"/>
                </a:lnTo>
                <a:lnTo>
                  <a:pt x="919" y="1311"/>
                </a:lnTo>
                <a:lnTo>
                  <a:pt x="913" y="1307"/>
                </a:lnTo>
                <a:lnTo>
                  <a:pt x="907" y="1305"/>
                </a:lnTo>
                <a:lnTo>
                  <a:pt x="893" y="1301"/>
                </a:lnTo>
                <a:lnTo>
                  <a:pt x="879" y="1299"/>
                </a:lnTo>
                <a:lnTo>
                  <a:pt x="869" y="1297"/>
                </a:lnTo>
                <a:lnTo>
                  <a:pt x="858" y="1294"/>
                </a:lnTo>
                <a:lnTo>
                  <a:pt x="847" y="1292"/>
                </a:lnTo>
                <a:lnTo>
                  <a:pt x="836" y="1290"/>
                </a:lnTo>
                <a:lnTo>
                  <a:pt x="835" y="1290"/>
                </a:lnTo>
                <a:lnTo>
                  <a:pt x="834" y="1290"/>
                </a:lnTo>
                <a:lnTo>
                  <a:pt x="833" y="1285"/>
                </a:lnTo>
                <a:lnTo>
                  <a:pt x="830" y="1281"/>
                </a:lnTo>
                <a:lnTo>
                  <a:pt x="827" y="1278"/>
                </a:lnTo>
                <a:lnTo>
                  <a:pt x="824" y="1276"/>
                </a:lnTo>
                <a:lnTo>
                  <a:pt x="823" y="1272"/>
                </a:lnTo>
                <a:lnTo>
                  <a:pt x="822" y="1270"/>
                </a:lnTo>
                <a:lnTo>
                  <a:pt x="815" y="1262"/>
                </a:lnTo>
                <a:lnTo>
                  <a:pt x="810" y="1253"/>
                </a:lnTo>
                <a:lnTo>
                  <a:pt x="800" y="1234"/>
                </a:lnTo>
                <a:lnTo>
                  <a:pt x="789" y="1215"/>
                </a:lnTo>
                <a:lnTo>
                  <a:pt x="779" y="1195"/>
                </a:lnTo>
                <a:lnTo>
                  <a:pt x="768" y="1176"/>
                </a:lnTo>
                <a:lnTo>
                  <a:pt x="760" y="1160"/>
                </a:lnTo>
                <a:lnTo>
                  <a:pt x="751" y="1144"/>
                </a:lnTo>
                <a:lnTo>
                  <a:pt x="741" y="1127"/>
                </a:lnTo>
                <a:lnTo>
                  <a:pt x="734" y="1111"/>
                </a:lnTo>
                <a:lnTo>
                  <a:pt x="726" y="1096"/>
                </a:lnTo>
                <a:lnTo>
                  <a:pt x="717" y="1081"/>
                </a:lnTo>
                <a:lnTo>
                  <a:pt x="705" y="1068"/>
                </a:lnTo>
                <a:lnTo>
                  <a:pt x="691" y="1055"/>
                </a:lnTo>
                <a:lnTo>
                  <a:pt x="692" y="1053"/>
                </a:lnTo>
                <a:lnTo>
                  <a:pt x="695" y="1050"/>
                </a:lnTo>
                <a:lnTo>
                  <a:pt x="696" y="1049"/>
                </a:lnTo>
                <a:lnTo>
                  <a:pt x="698" y="1048"/>
                </a:lnTo>
                <a:lnTo>
                  <a:pt x="703" y="1046"/>
                </a:lnTo>
                <a:lnTo>
                  <a:pt x="709" y="1046"/>
                </a:lnTo>
                <a:lnTo>
                  <a:pt x="707" y="1043"/>
                </a:lnTo>
                <a:lnTo>
                  <a:pt x="707" y="1042"/>
                </a:lnTo>
                <a:lnTo>
                  <a:pt x="707" y="1043"/>
                </a:lnTo>
                <a:lnTo>
                  <a:pt x="709" y="1046"/>
                </a:lnTo>
                <a:lnTo>
                  <a:pt x="710" y="1046"/>
                </a:lnTo>
                <a:lnTo>
                  <a:pt x="711" y="1046"/>
                </a:lnTo>
                <a:lnTo>
                  <a:pt x="711" y="1046"/>
                </a:lnTo>
                <a:lnTo>
                  <a:pt x="712" y="1047"/>
                </a:lnTo>
                <a:lnTo>
                  <a:pt x="713" y="1046"/>
                </a:lnTo>
                <a:lnTo>
                  <a:pt x="730" y="1041"/>
                </a:lnTo>
                <a:lnTo>
                  <a:pt x="746" y="1036"/>
                </a:lnTo>
                <a:lnTo>
                  <a:pt x="768" y="1032"/>
                </a:lnTo>
                <a:lnTo>
                  <a:pt x="789" y="1026"/>
                </a:lnTo>
                <a:lnTo>
                  <a:pt x="810" y="1020"/>
                </a:lnTo>
                <a:lnTo>
                  <a:pt x="831" y="1013"/>
                </a:lnTo>
                <a:lnTo>
                  <a:pt x="837" y="1012"/>
                </a:lnTo>
                <a:lnTo>
                  <a:pt x="843" y="1011"/>
                </a:lnTo>
                <a:lnTo>
                  <a:pt x="850" y="1012"/>
                </a:lnTo>
                <a:lnTo>
                  <a:pt x="856" y="1015"/>
                </a:lnTo>
                <a:lnTo>
                  <a:pt x="874" y="1028"/>
                </a:lnTo>
                <a:lnTo>
                  <a:pt x="891" y="1040"/>
                </a:lnTo>
                <a:lnTo>
                  <a:pt x="909" y="1052"/>
                </a:lnTo>
                <a:lnTo>
                  <a:pt x="925" y="1066"/>
                </a:lnTo>
                <a:lnTo>
                  <a:pt x="931" y="1069"/>
                </a:lnTo>
                <a:lnTo>
                  <a:pt x="937" y="1073"/>
                </a:lnTo>
                <a:lnTo>
                  <a:pt x="943" y="1075"/>
                </a:lnTo>
                <a:lnTo>
                  <a:pt x="950" y="1077"/>
                </a:lnTo>
                <a:lnTo>
                  <a:pt x="962" y="1081"/>
                </a:lnTo>
                <a:lnTo>
                  <a:pt x="975" y="1084"/>
                </a:lnTo>
                <a:lnTo>
                  <a:pt x="981" y="1087"/>
                </a:lnTo>
                <a:lnTo>
                  <a:pt x="988" y="1088"/>
                </a:lnTo>
                <a:lnTo>
                  <a:pt x="995" y="1089"/>
                </a:lnTo>
                <a:lnTo>
                  <a:pt x="1002" y="1090"/>
                </a:lnTo>
                <a:lnTo>
                  <a:pt x="1016" y="1090"/>
                </a:lnTo>
                <a:lnTo>
                  <a:pt x="1030" y="1094"/>
                </a:lnTo>
                <a:lnTo>
                  <a:pt x="1031" y="1094"/>
                </a:lnTo>
                <a:lnTo>
                  <a:pt x="1033" y="1094"/>
                </a:lnTo>
                <a:lnTo>
                  <a:pt x="1049" y="1087"/>
                </a:lnTo>
                <a:lnTo>
                  <a:pt x="1066" y="1081"/>
                </a:lnTo>
                <a:lnTo>
                  <a:pt x="1073" y="1078"/>
                </a:lnTo>
                <a:lnTo>
                  <a:pt x="1081" y="1075"/>
                </a:lnTo>
                <a:lnTo>
                  <a:pt x="1089" y="1073"/>
                </a:lnTo>
                <a:lnTo>
                  <a:pt x="1097" y="1070"/>
                </a:lnTo>
                <a:lnTo>
                  <a:pt x="1105" y="1069"/>
                </a:lnTo>
                <a:lnTo>
                  <a:pt x="1112" y="1066"/>
                </a:lnTo>
                <a:lnTo>
                  <a:pt x="1119" y="1062"/>
                </a:lnTo>
                <a:lnTo>
                  <a:pt x="1126" y="1057"/>
                </a:lnTo>
                <a:lnTo>
                  <a:pt x="1138" y="1047"/>
                </a:lnTo>
                <a:lnTo>
                  <a:pt x="1148" y="1035"/>
                </a:lnTo>
                <a:lnTo>
                  <a:pt x="1153" y="1028"/>
                </a:lnTo>
                <a:lnTo>
                  <a:pt x="1159" y="1021"/>
                </a:lnTo>
                <a:lnTo>
                  <a:pt x="1164" y="1021"/>
                </a:lnTo>
                <a:lnTo>
                  <a:pt x="1167" y="1021"/>
                </a:lnTo>
                <a:lnTo>
                  <a:pt x="1169" y="1019"/>
                </a:lnTo>
                <a:lnTo>
                  <a:pt x="1173" y="1016"/>
                </a:lnTo>
                <a:lnTo>
                  <a:pt x="1175" y="1013"/>
                </a:lnTo>
                <a:lnTo>
                  <a:pt x="1178" y="1012"/>
                </a:lnTo>
                <a:lnTo>
                  <a:pt x="1192" y="1001"/>
                </a:lnTo>
                <a:lnTo>
                  <a:pt x="1204" y="992"/>
                </a:lnTo>
                <a:lnTo>
                  <a:pt x="1210" y="986"/>
                </a:lnTo>
                <a:lnTo>
                  <a:pt x="1216" y="980"/>
                </a:lnTo>
                <a:lnTo>
                  <a:pt x="1222" y="974"/>
                </a:lnTo>
                <a:lnTo>
                  <a:pt x="1226" y="966"/>
                </a:lnTo>
                <a:lnTo>
                  <a:pt x="1228" y="963"/>
                </a:lnTo>
                <a:lnTo>
                  <a:pt x="1231" y="960"/>
                </a:lnTo>
                <a:lnTo>
                  <a:pt x="1235" y="959"/>
                </a:lnTo>
                <a:lnTo>
                  <a:pt x="1240" y="958"/>
                </a:lnTo>
                <a:lnTo>
                  <a:pt x="1244" y="958"/>
                </a:lnTo>
                <a:lnTo>
                  <a:pt x="1248" y="956"/>
                </a:lnTo>
                <a:lnTo>
                  <a:pt x="1251" y="952"/>
                </a:lnTo>
                <a:lnTo>
                  <a:pt x="1255" y="949"/>
                </a:lnTo>
                <a:lnTo>
                  <a:pt x="1264" y="938"/>
                </a:lnTo>
                <a:lnTo>
                  <a:pt x="1272" y="928"/>
                </a:lnTo>
                <a:lnTo>
                  <a:pt x="1276" y="924"/>
                </a:lnTo>
                <a:lnTo>
                  <a:pt x="1279" y="923"/>
                </a:lnTo>
                <a:lnTo>
                  <a:pt x="1283" y="922"/>
                </a:lnTo>
                <a:lnTo>
                  <a:pt x="1287" y="921"/>
                </a:lnTo>
                <a:lnTo>
                  <a:pt x="1291" y="917"/>
                </a:lnTo>
                <a:lnTo>
                  <a:pt x="1295" y="915"/>
                </a:lnTo>
                <a:lnTo>
                  <a:pt x="1298" y="911"/>
                </a:lnTo>
                <a:lnTo>
                  <a:pt x="1300" y="907"/>
                </a:lnTo>
                <a:lnTo>
                  <a:pt x="1303" y="903"/>
                </a:lnTo>
                <a:lnTo>
                  <a:pt x="1304" y="900"/>
                </a:lnTo>
                <a:lnTo>
                  <a:pt x="1306" y="895"/>
                </a:lnTo>
                <a:lnTo>
                  <a:pt x="1311" y="889"/>
                </a:lnTo>
                <a:lnTo>
                  <a:pt x="1313" y="887"/>
                </a:lnTo>
                <a:lnTo>
                  <a:pt x="1316" y="885"/>
                </a:lnTo>
                <a:lnTo>
                  <a:pt x="1318" y="883"/>
                </a:lnTo>
                <a:lnTo>
                  <a:pt x="1320" y="883"/>
                </a:lnTo>
                <a:lnTo>
                  <a:pt x="1328" y="883"/>
                </a:lnTo>
                <a:lnTo>
                  <a:pt x="1335" y="882"/>
                </a:lnTo>
                <a:lnTo>
                  <a:pt x="1344" y="880"/>
                </a:lnTo>
                <a:lnTo>
                  <a:pt x="1351" y="876"/>
                </a:lnTo>
                <a:lnTo>
                  <a:pt x="1354" y="876"/>
                </a:lnTo>
                <a:lnTo>
                  <a:pt x="1358" y="875"/>
                </a:lnTo>
                <a:lnTo>
                  <a:pt x="1367" y="872"/>
                </a:lnTo>
                <a:lnTo>
                  <a:pt x="1376" y="868"/>
                </a:lnTo>
                <a:lnTo>
                  <a:pt x="1386" y="864"/>
                </a:lnTo>
                <a:lnTo>
                  <a:pt x="1395" y="860"/>
                </a:lnTo>
                <a:lnTo>
                  <a:pt x="1399" y="860"/>
                </a:lnTo>
                <a:lnTo>
                  <a:pt x="1402" y="860"/>
                </a:lnTo>
                <a:lnTo>
                  <a:pt x="1404" y="860"/>
                </a:lnTo>
                <a:lnTo>
                  <a:pt x="1407" y="858"/>
                </a:lnTo>
                <a:lnTo>
                  <a:pt x="1409" y="854"/>
                </a:lnTo>
                <a:lnTo>
                  <a:pt x="1413" y="852"/>
                </a:lnTo>
                <a:lnTo>
                  <a:pt x="1416" y="850"/>
                </a:lnTo>
                <a:lnTo>
                  <a:pt x="1421" y="847"/>
                </a:lnTo>
                <a:lnTo>
                  <a:pt x="1423" y="846"/>
                </a:lnTo>
                <a:lnTo>
                  <a:pt x="1427" y="845"/>
                </a:lnTo>
                <a:lnTo>
                  <a:pt x="1431" y="845"/>
                </a:lnTo>
                <a:lnTo>
                  <a:pt x="1436" y="845"/>
                </a:lnTo>
                <a:lnTo>
                  <a:pt x="1440" y="845"/>
                </a:lnTo>
                <a:lnTo>
                  <a:pt x="1444" y="843"/>
                </a:lnTo>
                <a:lnTo>
                  <a:pt x="1450" y="839"/>
                </a:lnTo>
                <a:lnTo>
                  <a:pt x="1457" y="836"/>
                </a:lnTo>
                <a:lnTo>
                  <a:pt x="1463" y="831"/>
                </a:lnTo>
                <a:lnTo>
                  <a:pt x="1469" y="827"/>
                </a:lnTo>
                <a:lnTo>
                  <a:pt x="1484" y="816"/>
                </a:lnTo>
                <a:lnTo>
                  <a:pt x="1499" y="803"/>
                </a:lnTo>
                <a:lnTo>
                  <a:pt x="1501" y="802"/>
                </a:lnTo>
                <a:lnTo>
                  <a:pt x="1504" y="801"/>
                </a:lnTo>
                <a:lnTo>
                  <a:pt x="1509" y="799"/>
                </a:lnTo>
                <a:lnTo>
                  <a:pt x="1512" y="797"/>
                </a:lnTo>
                <a:lnTo>
                  <a:pt x="1516" y="794"/>
                </a:lnTo>
                <a:lnTo>
                  <a:pt x="1520" y="791"/>
                </a:lnTo>
                <a:lnTo>
                  <a:pt x="1527" y="792"/>
                </a:lnTo>
                <a:lnTo>
                  <a:pt x="1531" y="794"/>
                </a:lnTo>
                <a:lnTo>
                  <a:pt x="1531" y="797"/>
                </a:lnTo>
                <a:lnTo>
                  <a:pt x="1528" y="804"/>
                </a:lnTo>
                <a:lnTo>
                  <a:pt x="1531" y="809"/>
                </a:lnTo>
                <a:lnTo>
                  <a:pt x="1534" y="813"/>
                </a:lnTo>
                <a:lnTo>
                  <a:pt x="1531" y="809"/>
                </a:lnTo>
                <a:lnTo>
                  <a:pt x="1528" y="804"/>
                </a:lnTo>
                <a:lnTo>
                  <a:pt x="1526" y="808"/>
                </a:lnTo>
                <a:lnTo>
                  <a:pt x="1525" y="812"/>
                </a:lnTo>
                <a:lnTo>
                  <a:pt x="1525" y="817"/>
                </a:lnTo>
                <a:lnTo>
                  <a:pt x="1525" y="822"/>
                </a:lnTo>
                <a:lnTo>
                  <a:pt x="1525" y="824"/>
                </a:lnTo>
                <a:lnTo>
                  <a:pt x="1526" y="825"/>
                </a:lnTo>
                <a:lnTo>
                  <a:pt x="1530" y="830"/>
                </a:lnTo>
                <a:lnTo>
                  <a:pt x="1532" y="833"/>
                </a:lnTo>
                <a:lnTo>
                  <a:pt x="1532" y="838"/>
                </a:lnTo>
                <a:lnTo>
                  <a:pt x="1531" y="844"/>
                </a:lnTo>
                <a:lnTo>
                  <a:pt x="1530" y="851"/>
                </a:lnTo>
                <a:lnTo>
                  <a:pt x="1531" y="859"/>
                </a:lnTo>
                <a:lnTo>
                  <a:pt x="1534" y="869"/>
                </a:lnTo>
                <a:lnTo>
                  <a:pt x="1537" y="880"/>
                </a:lnTo>
                <a:lnTo>
                  <a:pt x="1539" y="892"/>
                </a:lnTo>
                <a:lnTo>
                  <a:pt x="1538" y="903"/>
                </a:lnTo>
                <a:lnTo>
                  <a:pt x="1538" y="906"/>
                </a:lnTo>
                <a:lnTo>
                  <a:pt x="1539" y="909"/>
                </a:lnTo>
                <a:lnTo>
                  <a:pt x="1540" y="911"/>
                </a:lnTo>
                <a:lnTo>
                  <a:pt x="1544" y="913"/>
                </a:lnTo>
                <a:lnTo>
                  <a:pt x="1542" y="936"/>
                </a:lnTo>
                <a:lnTo>
                  <a:pt x="1544" y="959"/>
                </a:lnTo>
                <a:lnTo>
                  <a:pt x="1545" y="983"/>
                </a:lnTo>
                <a:lnTo>
                  <a:pt x="1545" y="1006"/>
                </a:lnTo>
                <a:lnTo>
                  <a:pt x="1546" y="1015"/>
                </a:lnTo>
                <a:lnTo>
                  <a:pt x="1546" y="1026"/>
                </a:lnTo>
                <a:lnTo>
                  <a:pt x="1545" y="1032"/>
                </a:lnTo>
                <a:lnTo>
                  <a:pt x="1544" y="1037"/>
                </a:lnTo>
                <a:lnTo>
                  <a:pt x="1541" y="1043"/>
                </a:lnTo>
                <a:lnTo>
                  <a:pt x="1538" y="1049"/>
                </a:lnTo>
                <a:lnTo>
                  <a:pt x="1533" y="1060"/>
                </a:lnTo>
                <a:lnTo>
                  <a:pt x="1528" y="1071"/>
                </a:lnTo>
                <a:lnTo>
                  <a:pt x="1525" y="1077"/>
                </a:lnTo>
                <a:lnTo>
                  <a:pt x="1523" y="1084"/>
                </a:lnTo>
                <a:lnTo>
                  <a:pt x="1521" y="1088"/>
                </a:lnTo>
                <a:lnTo>
                  <a:pt x="1520" y="1090"/>
                </a:lnTo>
                <a:lnTo>
                  <a:pt x="1521" y="1095"/>
                </a:lnTo>
                <a:lnTo>
                  <a:pt x="1523" y="1098"/>
                </a:lnTo>
                <a:lnTo>
                  <a:pt x="1523" y="1101"/>
                </a:lnTo>
                <a:lnTo>
                  <a:pt x="1521" y="1102"/>
                </a:lnTo>
                <a:lnTo>
                  <a:pt x="1519" y="1108"/>
                </a:lnTo>
                <a:lnTo>
                  <a:pt x="1518" y="1112"/>
                </a:lnTo>
                <a:lnTo>
                  <a:pt x="1520" y="1117"/>
                </a:lnTo>
                <a:lnTo>
                  <a:pt x="1524" y="1123"/>
                </a:lnTo>
                <a:lnTo>
                  <a:pt x="1525" y="1124"/>
                </a:lnTo>
                <a:lnTo>
                  <a:pt x="1525" y="1126"/>
                </a:lnTo>
                <a:lnTo>
                  <a:pt x="1524" y="1129"/>
                </a:lnTo>
                <a:lnTo>
                  <a:pt x="1523" y="1130"/>
                </a:lnTo>
                <a:lnTo>
                  <a:pt x="1520" y="1131"/>
                </a:lnTo>
                <a:lnTo>
                  <a:pt x="1519" y="1130"/>
                </a:lnTo>
                <a:lnTo>
                  <a:pt x="1518" y="1129"/>
                </a:lnTo>
                <a:lnTo>
                  <a:pt x="1517" y="1127"/>
                </a:lnTo>
                <a:lnTo>
                  <a:pt x="1517" y="1125"/>
                </a:lnTo>
                <a:lnTo>
                  <a:pt x="1514" y="1125"/>
                </a:lnTo>
                <a:lnTo>
                  <a:pt x="1513" y="1129"/>
                </a:lnTo>
                <a:lnTo>
                  <a:pt x="1514" y="1131"/>
                </a:lnTo>
                <a:lnTo>
                  <a:pt x="1517" y="1132"/>
                </a:lnTo>
                <a:lnTo>
                  <a:pt x="1520" y="1133"/>
                </a:lnTo>
                <a:lnTo>
                  <a:pt x="1524" y="1136"/>
                </a:lnTo>
                <a:lnTo>
                  <a:pt x="1526" y="1138"/>
                </a:lnTo>
                <a:lnTo>
                  <a:pt x="1524" y="1136"/>
                </a:lnTo>
                <a:lnTo>
                  <a:pt x="1520" y="1133"/>
                </a:lnTo>
                <a:lnTo>
                  <a:pt x="1520" y="1136"/>
                </a:lnTo>
                <a:lnTo>
                  <a:pt x="1520" y="1138"/>
                </a:lnTo>
                <a:lnTo>
                  <a:pt x="1518" y="1141"/>
                </a:lnTo>
                <a:lnTo>
                  <a:pt x="1517" y="1144"/>
                </a:lnTo>
                <a:lnTo>
                  <a:pt x="1514" y="1146"/>
                </a:lnTo>
                <a:lnTo>
                  <a:pt x="1512" y="1148"/>
                </a:lnTo>
                <a:lnTo>
                  <a:pt x="1511" y="1151"/>
                </a:lnTo>
                <a:lnTo>
                  <a:pt x="1510" y="1154"/>
                </a:lnTo>
                <a:lnTo>
                  <a:pt x="1509" y="1160"/>
                </a:lnTo>
                <a:lnTo>
                  <a:pt x="1506" y="1165"/>
                </a:lnTo>
                <a:lnTo>
                  <a:pt x="1506" y="1166"/>
                </a:lnTo>
                <a:lnTo>
                  <a:pt x="1506" y="1167"/>
                </a:lnTo>
                <a:lnTo>
                  <a:pt x="1504" y="1172"/>
                </a:lnTo>
                <a:lnTo>
                  <a:pt x="1501" y="1175"/>
                </a:lnTo>
                <a:lnTo>
                  <a:pt x="1490" y="1192"/>
                </a:lnTo>
                <a:lnTo>
                  <a:pt x="1478" y="1208"/>
                </a:lnTo>
                <a:lnTo>
                  <a:pt x="1469" y="1216"/>
                </a:lnTo>
                <a:lnTo>
                  <a:pt x="1458" y="1223"/>
                </a:lnTo>
                <a:lnTo>
                  <a:pt x="1447" y="1230"/>
                </a:lnTo>
                <a:lnTo>
                  <a:pt x="1436" y="1238"/>
                </a:lnTo>
                <a:lnTo>
                  <a:pt x="1431" y="1244"/>
                </a:lnTo>
                <a:lnTo>
                  <a:pt x="1429" y="1250"/>
                </a:lnTo>
                <a:lnTo>
                  <a:pt x="1427" y="1252"/>
                </a:lnTo>
                <a:lnTo>
                  <a:pt x="1424" y="1256"/>
                </a:lnTo>
                <a:lnTo>
                  <a:pt x="1422" y="1258"/>
                </a:lnTo>
                <a:lnTo>
                  <a:pt x="1418" y="1259"/>
                </a:lnTo>
                <a:lnTo>
                  <a:pt x="1424" y="1259"/>
                </a:lnTo>
                <a:lnTo>
                  <a:pt x="1428" y="1258"/>
                </a:lnTo>
                <a:lnTo>
                  <a:pt x="1431" y="1259"/>
                </a:lnTo>
                <a:lnTo>
                  <a:pt x="1436" y="1259"/>
                </a:lnTo>
                <a:lnTo>
                  <a:pt x="1436" y="1256"/>
                </a:lnTo>
                <a:lnTo>
                  <a:pt x="1438" y="1252"/>
                </a:lnTo>
                <a:lnTo>
                  <a:pt x="1441" y="1248"/>
                </a:lnTo>
                <a:lnTo>
                  <a:pt x="1444" y="1244"/>
                </a:lnTo>
                <a:lnTo>
                  <a:pt x="1448" y="1242"/>
                </a:lnTo>
                <a:lnTo>
                  <a:pt x="1451" y="1239"/>
                </a:lnTo>
                <a:lnTo>
                  <a:pt x="1456" y="1238"/>
                </a:lnTo>
                <a:lnTo>
                  <a:pt x="1461" y="1238"/>
                </a:lnTo>
                <a:lnTo>
                  <a:pt x="1458" y="1242"/>
                </a:lnTo>
                <a:lnTo>
                  <a:pt x="1458" y="1246"/>
                </a:lnTo>
                <a:lnTo>
                  <a:pt x="1452" y="1253"/>
                </a:lnTo>
                <a:lnTo>
                  <a:pt x="1449" y="1260"/>
                </a:lnTo>
                <a:lnTo>
                  <a:pt x="1448" y="1264"/>
                </a:lnTo>
                <a:lnTo>
                  <a:pt x="1447" y="1266"/>
                </a:lnTo>
                <a:lnTo>
                  <a:pt x="1447" y="1267"/>
                </a:lnTo>
                <a:lnTo>
                  <a:pt x="1448" y="1269"/>
                </a:lnTo>
                <a:lnTo>
                  <a:pt x="1449" y="1270"/>
                </a:lnTo>
                <a:lnTo>
                  <a:pt x="1451" y="1271"/>
                </a:lnTo>
                <a:lnTo>
                  <a:pt x="1454" y="1274"/>
                </a:lnTo>
                <a:lnTo>
                  <a:pt x="1458" y="1276"/>
                </a:lnTo>
                <a:lnTo>
                  <a:pt x="1459" y="1277"/>
                </a:lnTo>
                <a:lnTo>
                  <a:pt x="1461" y="1277"/>
                </a:lnTo>
                <a:lnTo>
                  <a:pt x="1461" y="1278"/>
                </a:lnTo>
                <a:lnTo>
                  <a:pt x="1462" y="1279"/>
                </a:lnTo>
                <a:lnTo>
                  <a:pt x="1462" y="1290"/>
                </a:lnTo>
                <a:lnTo>
                  <a:pt x="1462" y="1300"/>
                </a:lnTo>
                <a:lnTo>
                  <a:pt x="1458" y="1302"/>
                </a:lnTo>
                <a:lnTo>
                  <a:pt x="1458" y="1306"/>
                </a:lnTo>
                <a:lnTo>
                  <a:pt x="1458" y="1309"/>
                </a:lnTo>
                <a:lnTo>
                  <a:pt x="1459" y="1313"/>
                </a:lnTo>
                <a:lnTo>
                  <a:pt x="1459" y="1315"/>
                </a:lnTo>
                <a:lnTo>
                  <a:pt x="1459" y="1318"/>
                </a:lnTo>
                <a:lnTo>
                  <a:pt x="1457" y="1323"/>
                </a:lnTo>
                <a:lnTo>
                  <a:pt x="1456" y="1328"/>
                </a:lnTo>
                <a:lnTo>
                  <a:pt x="1457" y="1334"/>
                </a:lnTo>
                <a:lnTo>
                  <a:pt x="1459" y="1339"/>
                </a:lnTo>
                <a:lnTo>
                  <a:pt x="1461" y="1342"/>
                </a:lnTo>
                <a:lnTo>
                  <a:pt x="1461" y="1344"/>
                </a:lnTo>
                <a:lnTo>
                  <a:pt x="1463" y="1347"/>
                </a:lnTo>
                <a:lnTo>
                  <a:pt x="1464" y="1348"/>
                </a:lnTo>
                <a:lnTo>
                  <a:pt x="1466" y="1349"/>
                </a:lnTo>
                <a:lnTo>
                  <a:pt x="1469" y="1348"/>
                </a:lnTo>
                <a:lnTo>
                  <a:pt x="1470" y="1347"/>
                </a:lnTo>
                <a:lnTo>
                  <a:pt x="1470" y="1344"/>
                </a:lnTo>
                <a:lnTo>
                  <a:pt x="1469" y="1343"/>
                </a:lnTo>
                <a:lnTo>
                  <a:pt x="1469" y="1341"/>
                </a:lnTo>
                <a:lnTo>
                  <a:pt x="1465" y="1336"/>
                </a:lnTo>
                <a:lnTo>
                  <a:pt x="1463" y="1330"/>
                </a:lnTo>
                <a:lnTo>
                  <a:pt x="1466" y="1325"/>
                </a:lnTo>
                <a:lnTo>
                  <a:pt x="1469" y="1318"/>
                </a:lnTo>
                <a:lnTo>
                  <a:pt x="1471" y="1312"/>
                </a:lnTo>
                <a:lnTo>
                  <a:pt x="1473" y="1306"/>
                </a:lnTo>
                <a:lnTo>
                  <a:pt x="1473" y="1304"/>
                </a:lnTo>
                <a:lnTo>
                  <a:pt x="1473" y="1300"/>
                </a:lnTo>
                <a:lnTo>
                  <a:pt x="1472" y="1298"/>
                </a:lnTo>
                <a:lnTo>
                  <a:pt x="1471" y="1294"/>
                </a:lnTo>
                <a:lnTo>
                  <a:pt x="1471" y="1294"/>
                </a:lnTo>
                <a:lnTo>
                  <a:pt x="1471" y="1293"/>
                </a:lnTo>
                <a:lnTo>
                  <a:pt x="1477" y="1290"/>
                </a:lnTo>
                <a:lnTo>
                  <a:pt x="1480" y="1286"/>
                </a:lnTo>
                <a:lnTo>
                  <a:pt x="1483" y="1285"/>
                </a:lnTo>
                <a:lnTo>
                  <a:pt x="1485" y="1284"/>
                </a:lnTo>
                <a:lnTo>
                  <a:pt x="1486" y="1283"/>
                </a:lnTo>
                <a:lnTo>
                  <a:pt x="1486" y="1280"/>
                </a:lnTo>
                <a:lnTo>
                  <a:pt x="1485" y="1277"/>
                </a:lnTo>
                <a:lnTo>
                  <a:pt x="1484" y="1273"/>
                </a:lnTo>
                <a:lnTo>
                  <a:pt x="1484" y="1271"/>
                </a:lnTo>
                <a:lnTo>
                  <a:pt x="1482" y="1270"/>
                </a:lnTo>
                <a:lnTo>
                  <a:pt x="1482" y="1269"/>
                </a:lnTo>
                <a:lnTo>
                  <a:pt x="1482" y="1269"/>
                </a:lnTo>
                <a:lnTo>
                  <a:pt x="1480" y="1267"/>
                </a:lnTo>
                <a:lnTo>
                  <a:pt x="1480" y="1265"/>
                </a:lnTo>
                <a:lnTo>
                  <a:pt x="1483" y="1262"/>
                </a:lnTo>
                <a:lnTo>
                  <a:pt x="1482" y="1259"/>
                </a:lnTo>
                <a:lnTo>
                  <a:pt x="1476" y="1256"/>
                </a:lnTo>
                <a:lnTo>
                  <a:pt x="1471" y="1251"/>
                </a:lnTo>
                <a:lnTo>
                  <a:pt x="1471" y="1248"/>
                </a:lnTo>
                <a:lnTo>
                  <a:pt x="1471" y="1243"/>
                </a:lnTo>
                <a:lnTo>
                  <a:pt x="1470" y="1239"/>
                </a:lnTo>
                <a:lnTo>
                  <a:pt x="1468" y="1237"/>
                </a:lnTo>
                <a:lnTo>
                  <a:pt x="1466" y="1235"/>
                </a:lnTo>
                <a:lnTo>
                  <a:pt x="1465" y="1234"/>
                </a:lnTo>
                <a:lnTo>
                  <a:pt x="1465" y="1231"/>
                </a:lnTo>
                <a:lnTo>
                  <a:pt x="1466" y="1229"/>
                </a:lnTo>
                <a:lnTo>
                  <a:pt x="1470" y="1228"/>
                </a:lnTo>
                <a:lnTo>
                  <a:pt x="1472" y="1227"/>
                </a:lnTo>
                <a:lnTo>
                  <a:pt x="1476" y="1227"/>
                </a:lnTo>
                <a:lnTo>
                  <a:pt x="1479" y="1228"/>
                </a:lnTo>
                <a:lnTo>
                  <a:pt x="1486" y="1234"/>
                </a:lnTo>
                <a:lnTo>
                  <a:pt x="1493" y="1241"/>
                </a:lnTo>
                <a:lnTo>
                  <a:pt x="1494" y="1243"/>
                </a:lnTo>
                <a:lnTo>
                  <a:pt x="1496" y="1245"/>
                </a:lnTo>
                <a:lnTo>
                  <a:pt x="1497" y="1246"/>
                </a:lnTo>
                <a:lnTo>
                  <a:pt x="1496" y="1250"/>
                </a:lnTo>
                <a:lnTo>
                  <a:pt x="1494" y="1256"/>
                </a:lnTo>
                <a:lnTo>
                  <a:pt x="1491" y="1260"/>
                </a:lnTo>
                <a:lnTo>
                  <a:pt x="1491" y="1262"/>
                </a:lnTo>
                <a:lnTo>
                  <a:pt x="1490" y="1263"/>
                </a:lnTo>
                <a:lnTo>
                  <a:pt x="1490" y="1265"/>
                </a:lnTo>
                <a:lnTo>
                  <a:pt x="1491" y="1266"/>
                </a:lnTo>
                <a:lnTo>
                  <a:pt x="1493" y="1266"/>
                </a:lnTo>
                <a:lnTo>
                  <a:pt x="1496" y="1264"/>
                </a:lnTo>
                <a:lnTo>
                  <a:pt x="1500" y="1259"/>
                </a:lnTo>
                <a:lnTo>
                  <a:pt x="1504" y="1253"/>
                </a:lnTo>
                <a:lnTo>
                  <a:pt x="1506" y="1249"/>
                </a:lnTo>
                <a:lnTo>
                  <a:pt x="1507" y="1244"/>
                </a:lnTo>
                <a:lnTo>
                  <a:pt x="1507" y="1239"/>
                </a:lnTo>
                <a:lnTo>
                  <a:pt x="1507" y="1234"/>
                </a:lnTo>
                <a:lnTo>
                  <a:pt x="1506" y="1229"/>
                </a:lnTo>
                <a:lnTo>
                  <a:pt x="1505" y="1223"/>
                </a:lnTo>
                <a:lnTo>
                  <a:pt x="1503" y="1218"/>
                </a:lnTo>
                <a:lnTo>
                  <a:pt x="1503" y="1216"/>
                </a:lnTo>
                <a:lnTo>
                  <a:pt x="1504" y="1214"/>
                </a:lnTo>
                <a:lnTo>
                  <a:pt x="1509" y="1214"/>
                </a:lnTo>
                <a:lnTo>
                  <a:pt x="1511" y="1213"/>
                </a:lnTo>
                <a:lnTo>
                  <a:pt x="1512" y="1211"/>
                </a:lnTo>
                <a:lnTo>
                  <a:pt x="1514" y="1209"/>
                </a:lnTo>
                <a:lnTo>
                  <a:pt x="1516" y="1207"/>
                </a:lnTo>
                <a:lnTo>
                  <a:pt x="1517" y="1201"/>
                </a:lnTo>
                <a:lnTo>
                  <a:pt x="1517" y="1196"/>
                </a:lnTo>
                <a:lnTo>
                  <a:pt x="1517" y="1193"/>
                </a:lnTo>
                <a:lnTo>
                  <a:pt x="1517" y="1188"/>
                </a:lnTo>
                <a:lnTo>
                  <a:pt x="1521" y="1179"/>
                </a:lnTo>
                <a:lnTo>
                  <a:pt x="1527" y="1172"/>
                </a:lnTo>
                <a:lnTo>
                  <a:pt x="1534" y="1164"/>
                </a:lnTo>
                <a:lnTo>
                  <a:pt x="1540" y="1157"/>
                </a:lnTo>
                <a:lnTo>
                  <a:pt x="1542" y="1154"/>
                </a:lnTo>
                <a:lnTo>
                  <a:pt x="1545" y="1151"/>
                </a:lnTo>
                <a:lnTo>
                  <a:pt x="1546" y="1147"/>
                </a:lnTo>
                <a:lnTo>
                  <a:pt x="1547" y="1145"/>
                </a:lnTo>
                <a:lnTo>
                  <a:pt x="1546" y="1143"/>
                </a:lnTo>
                <a:lnTo>
                  <a:pt x="1546" y="1140"/>
                </a:lnTo>
                <a:lnTo>
                  <a:pt x="1544" y="1134"/>
                </a:lnTo>
                <a:lnTo>
                  <a:pt x="1544" y="1130"/>
                </a:lnTo>
                <a:lnTo>
                  <a:pt x="1545" y="1126"/>
                </a:lnTo>
                <a:lnTo>
                  <a:pt x="1546" y="1122"/>
                </a:lnTo>
                <a:lnTo>
                  <a:pt x="1547" y="1120"/>
                </a:lnTo>
                <a:lnTo>
                  <a:pt x="1548" y="1119"/>
                </a:lnTo>
                <a:lnTo>
                  <a:pt x="1549" y="1119"/>
                </a:lnTo>
                <a:lnTo>
                  <a:pt x="1553" y="1118"/>
                </a:lnTo>
                <a:lnTo>
                  <a:pt x="1554" y="1123"/>
                </a:lnTo>
                <a:lnTo>
                  <a:pt x="1556" y="1127"/>
                </a:lnTo>
                <a:lnTo>
                  <a:pt x="1559" y="1125"/>
                </a:lnTo>
                <a:lnTo>
                  <a:pt x="1560" y="1123"/>
                </a:lnTo>
                <a:lnTo>
                  <a:pt x="1560" y="1119"/>
                </a:lnTo>
                <a:lnTo>
                  <a:pt x="1559" y="1117"/>
                </a:lnTo>
                <a:lnTo>
                  <a:pt x="1558" y="1115"/>
                </a:lnTo>
                <a:lnTo>
                  <a:pt x="1558" y="1112"/>
                </a:lnTo>
                <a:lnTo>
                  <a:pt x="1558" y="1111"/>
                </a:lnTo>
                <a:lnTo>
                  <a:pt x="1559" y="1109"/>
                </a:lnTo>
                <a:lnTo>
                  <a:pt x="1561" y="1108"/>
                </a:lnTo>
                <a:lnTo>
                  <a:pt x="1562" y="1109"/>
                </a:lnTo>
                <a:lnTo>
                  <a:pt x="1563" y="1110"/>
                </a:lnTo>
                <a:lnTo>
                  <a:pt x="1565" y="1111"/>
                </a:lnTo>
                <a:lnTo>
                  <a:pt x="1567" y="1113"/>
                </a:lnTo>
                <a:lnTo>
                  <a:pt x="1569" y="1112"/>
                </a:lnTo>
                <a:lnTo>
                  <a:pt x="1573" y="1109"/>
                </a:lnTo>
                <a:lnTo>
                  <a:pt x="1573" y="1106"/>
                </a:lnTo>
                <a:lnTo>
                  <a:pt x="1572" y="1103"/>
                </a:lnTo>
                <a:lnTo>
                  <a:pt x="1572" y="1099"/>
                </a:lnTo>
                <a:lnTo>
                  <a:pt x="1572" y="1096"/>
                </a:lnTo>
                <a:lnTo>
                  <a:pt x="1574" y="1094"/>
                </a:lnTo>
                <a:lnTo>
                  <a:pt x="1577" y="1089"/>
                </a:lnTo>
                <a:lnTo>
                  <a:pt x="1581" y="1084"/>
                </a:lnTo>
                <a:lnTo>
                  <a:pt x="1583" y="1081"/>
                </a:lnTo>
                <a:lnTo>
                  <a:pt x="1587" y="1077"/>
                </a:lnTo>
                <a:lnTo>
                  <a:pt x="1590" y="1074"/>
                </a:lnTo>
                <a:lnTo>
                  <a:pt x="1592" y="1068"/>
                </a:lnTo>
                <a:lnTo>
                  <a:pt x="1594" y="1056"/>
                </a:lnTo>
                <a:lnTo>
                  <a:pt x="1599" y="1045"/>
                </a:lnTo>
                <a:lnTo>
                  <a:pt x="1602" y="1036"/>
                </a:lnTo>
                <a:lnTo>
                  <a:pt x="1604" y="1028"/>
                </a:lnTo>
                <a:lnTo>
                  <a:pt x="1607" y="1020"/>
                </a:lnTo>
                <a:lnTo>
                  <a:pt x="1608" y="1012"/>
                </a:lnTo>
                <a:lnTo>
                  <a:pt x="1609" y="1011"/>
                </a:lnTo>
                <a:lnTo>
                  <a:pt x="1609" y="1011"/>
                </a:lnTo>
                <a:lnTo>
                  <a:pt x="1611" y="1011"/>
                </a:lnTo>
                <a:lnTo>
                  <a:pt x="1613" y="1011"/>
                </a:lnTo>
                <a:lnTo>
                  <a:pt x="1614" y="1004"/>
                </a:lnTo>
                <a:lnTo>
                  <a:pt x="1614" y="997"/>
                </a:lnTo>
                <a:lnTo>
                  <a:pt x="1614" y="990"/>
                </a:lnTo>
                <a:lnTo>
                  <a:pt x="1610" y="984"/>
                </a:lnTo>
                <a:lnTo>
                  <a:pt x="1607" y="979"/>
                </a:lnTo>
                <a:lnTo>
                  <a:pt x="1604" y="974"/>
                </a:lnTo>
                <a:lnTo>
                  <a:pt x="1600" y="959"/>
                </a:lnTo>
                <a:lnTo>
                  <a:pt x="1597" y="943"/>
                </a:lnTo>
                <a:lnTo>
                  <a:pt x="1595" y="928"/>
                </a:lnTo>
                <a:lnTo>
                  <a:pt x="1594" y="911"/>
                </a:lnTo>
                <a:lnTo>
                  <a:pt x="1592" y="911"/>
                </a:lnTo>
                <a:lnTo>
                  <a:pt x="1589" y="913"/>
                </a:lnTo>
                <a:lnTo>
                  <a:pt x="1588" y="911"/>
                </a:lnTo>
                <a:lnTo>
                  <a:pt x="1587" y="911"/>
                </a:lnTo>
                <a:lnTo>
                  <a:pt x="1585" y="910"/>
                </a:lnTo>
                <a:lnTo>
                  <a:pt x="1581" y="910"/>
                </a:lnTo>
                <a:lnTo>
                  <a:pt x="1585" y="910"/>
                </a:lnTo>
                <a:lnTo>
                  <a:pt x="1587" y="911"/>
                </a:lnTo>
                <a:lnTo>
                  <a:pt x="1588" y="911"/>
                </a:lnTo>
                <a:lnTo>
                  <a:pt x="1589" y="913"/>
                </a:lnTo>
                <a:lnTo>
                  <a:pt x="1592" y="911"/>
                </a:lnTo>
                <a:lnTo>
                  <a:pt x="1594" y="911"/>
                </a:lnTo>
                <a:lnTo>
                  <a:pt x="1595" y="910"/>
                </a:lnTo>
                <a:lnTo>
                  <a:pt x="1596" y="910"/>
                </a:lnTo>
                <a:lnTo>
                  <a:pt x="1600" y="910"/>
                </a:lnTo>
                <a:lnTo>
                  <a:pt x="1603" y="910"/>
                </a:lnTo>
                <a:lnTo>
                  <a:pt x="1607" y="909"/>
                </a:lnTo>
                <a:lnTo>
                  <a:pt x="1610" y="908"/>
                </a:lnTo>
                <a:lnTo>
                  <a:pt x="1607" y="906"/>
                </a:lnTo>
                <a:lnTo>
                  <a:pt x="1603" y="903"/>
                </a:lnTo>
                <a:lnTo>
                  <a:pt x="1608" y="902"/>
                </a:lnTo>
                <a:lnTo>
                  <a:pt x="1610" y="900"/>
                </a:lnTo>
                <a:lnTo>
                  <a:pt x="1614" y="900"/>
                </a:lnTo>
                <a:lnTo>
                  <a:pt x="1618" y="900"/>
                </a:lnTo>
                <a:lnTo>
                  <a:pt x="1621" y="900"/>
                </a:lnTo>
                <a:lnTo>
                  <a:pt x="1623" y="897"/>
                </a:lnTo>
                <a:lnTo>
                  <a:pt x="1628" y="892"/>
                </a:lnTo>
                <a:lnTo>
                  <a:pt x="1634" y="887"/>
                </a:lnTo>
                <a:lnTo>
                  <a:pt x="1635" y="886"/>
                </a:lnTo>
                <a:lnTo>
                  <a:pt x="1636" y="885"/>
                </a:lnTo>
                <a:lnTo>
                  <a:pt x="1634" y="883"/>
                </a:lnTo>
                <a:lnTo>
                  <a:pt x="1634" y="882"/>
                </a:lnTo>
                <a:lnTo>
                  <a:pt x="1634" y="881"/>
                </a:lnTo>
                <a:lnTo>
                  <a:pt x="1635" y="880"/>
                </a:lnTo>
                <a:lnTo>
                  <a:pt x="1637" y="879"/>
                </a:lnTo>
                <a:lnTo>
                  <a:pt x="1638" y="878"/>
                </a:lnTo>
                <a:lnTo>
                  <a:pt x="1642" y="873"/>
                </a:lnTo>
                <a:lnTo>
                  <a:pt x="1642" y="868"/>
                </a:lnTo>
                <a:lnTo>
                  <a:pt x="1643" y="860"/>
                </a:lnTo>
                <a:lnTo>
                  <a:pt x="1644" y="851"/>
                </a:lnTo>
                <a:lnTo>
                  <a:pt x="1646" y="843"/>
                </a:lnTo>
                <a:lnTo>
                  <a:pt x="1646" y="833"/>
                </a:lnTo>
                <a:lnTo>
                  <a:pt x="1648" y="831"/>
                </a:lnTo>
                <a:lnTo>
                  <a:pt x="1648" y="829"/>
                </a:lnTo>
                <a:lnTo>
                  <a:pt x="1649" y="827"/>
                </a:lnTo>
                <a:lnTo>
                  <a:pt x="1649" y="825"/>
                </a:lnTo>
                <a:lnTo>
                  <a:pt x="1649" y="824"/>
                </a:lnTo>
                <a:lnTo>
                  <a:pt x="1648" y="823"/>
                </a:lnTo>
                <a:lnTo>
                  <a:pt x="1648" y="820"/>
                </a:lnTo>
                <a:lnTo>
                  <a:pt x="1648" y="818"/>
                </a:lnTo>
                <a:lnTo>
                  <a:pt x="1650" y="815"/>
                </a:lnTo>
                <a:lnTo>
                  <a:pt x="1651" y="810"/>
                </a:lnTo>
                <a:lnTo>
                  <a:pt x="1650" y="805"/>
                </a:lnTo>
                <a:lnTo>
                  <a:pt x="1648" y="802"/>
                </a:lnTo>
                <a:lnTo>
                  <a:pt x="1648" y="797"/>
                </a:lnTo>
                <a:lnTo>
                  <a:pt x="1646" y="794"/>
                </a:lnTo>
                <a:lnTo>
                  <a:pt x="1646" y="791"/>
                </a:lnTo>
                <a:lnTo>
                  <a:pt x="1646" y="790"/>
                </a:lnTo>
                <a:lnTo>
                  <a:pt x="1645" y="788"/>
                </a:lnTo>
                <a:lnTo>
                  <a:pt x="1644" y="787"/>
                </a:lnTo>
                <a:lnTo>
                  <a:pt x="1641" y="784"/>
                </a:lnTo>
                <a:lnTo>
                  <a:pt x="1638" y="782"/>
                </a:lnTo>
                <a:lnTo>
                  <a:pt x="1638" y="780"/>
                </a:lnTo>
                <a:lnTo>
                  <a:pt x="1638" y="777"/>
                </a:lnTo>
                <a:lnTo>
                  <a:pt x="1641" y="777"/>
                </a:lnTo>
                <a:lnTo>
                  <a:pt x="1641" y="775"/>
                </a:lnTo>
                <a:lnTo>
                  <a:pt x="1641" y="774"/>
                </a:lnTo>
                <a:lnTo>
                  <a:pt x="1639" y="771"/>
                </a:lnTo>
                <a:lnTo>
                  <a:pt x="1639" y="762"/>
                </a:lnTo>
                <a:lnTo>
                  <a:pt x="1639" y="752"/>
                </a:lnTo>
                <a:lnTo>
                  <a:pt x="1639" y="750"/>
                </a:lnTo>
                <a:lnTo>
                  <a:pt x="1641" y="750"/>
                </a:lnTo>
                <a:lnTo>
                  <a:pt x="1638" y="734"/>
                </a:lnTo>
                <a:lnTo>
                  <a:pt x="1637" y="718"/>
                </a:lnTo>
                <a:lnTo>
                  <a:pt x="1636" y="714"/>
                </a:lnTo>
                <a:lnTo>
                  <a:pt x="1635" y="711"/>
                </a:lnTo>
                <a:lnTo>
                  <a:pt x="1632" y="707"/>
                </a:lnTo>
                <a:lnTo>
                  <a:pt x="1630" y="704"/>
                </a:lnTo>
                <a:lnTo>
                  <a:pt x="1625" y="699"/>
                </a:lnTo>
                <a:lnTo>
                  <a:pt x="1622" y="694"/>
                </a:lnTo>
                <a:lnTo>
                  <a:pt x="1620" y="689"/>
                </a:lnTo>
                <a:lnTo>
                  <a:pt x="1617" y="683"/>
                </a:lnTo>
                <a:lnTo>
                  <a:pt x="1613" y="671"/>
                </a:lnTo>
                <a:lnTo>
                  <a:pt x="1607" y="658"/>
                </a:lnTo>
                <a:lnTo>
                  <a:pt x="1602" y="647"/>
                </a:lnTo>
                <a:lnTo>
                  <a:pt x="1596" y="635"/>
                </a:lnTo>
                <a:lnTo>
                  <a:pt x="1595" y="631"/>
                </a:lnTo>
                <a:lnTo>
                  <a:pt x="1594" y="629"/>
                </a:lnTo>
                <a:lnTo>
                  <a:pt x="1592" y="627"/>
                </a:lnTo>
                <a:lnTo>
                  <a:pt x="1589" y="626"/>
                </a:lnTo>
                <a:lnTo>
                  <a:pt x="1589" y="624"/>
                </a:lnTo>
                <a:lnTo>
                  <a:pt x="1588" y="624"/>
                </a:lnTo>
                <a:lnTo>
                  <a:pt x="1588" y="624"/>
                </a:lnTo>
                <a:lnTo>
                  <a:pt x="1588" y="623"/>
                </a:lnTo>
                <a:lnTo>
                  <a:pt x="1587" y="622"/>
                </a:lnTo>
                <a:lnTo>
                  <a:pt x="1587" y="620"/>
                </a:lnTo>
                <a:lnTo>
                  <a:pt x="1587" y="619"/>
                </a:lnTo>
                <a:lnTo>
                  <a:pt x="1587" y="617"/>
                </a:lnTo>
                <a:lnTo>
                  <a:pt x="1586" y="616"/>
                </a:lnTo>
                <a:lnTo>
                  <a:pt x="1583" y="615"/>
                </a:lnTo>
                <a:lnTo>
                  <a:pt x="1576" y="605"/>
                </a:lnTo>
                <a:lnTo>
                  <a:pt x="1568" y="595"/>
                </a:lnTo>
                <a:lnTo>
                  <a:pt x="1568" y="591"/>
                </a:lnTo>
                <a:lnTo>
                  <a:pt x="1567" y="587"/>
                </a:lnTo>
                <a:lnTo>
                  <a:pt x="1565" y="584"/>
                </a:lnTo>
                <a:lnTo>
                  <a:pt x="1562" y="581"/>
                </a:lnTo>
                <a:lnTo>
                  <a:pt x="1555" y="577"/>
                </a:lnTo>
                <a:lnTo>
                  <a:pt x="1548" y="572"/>
                </a:lnTo>
                <a:lnTo>
                  <a:pt x="1547" y="571"/>
                </a:lnTo>
                <a:lnTo>
                  <a:pt x="1546" y="568"/>
                </a:lnTo>
                <a:lnTo>
                  <a:pt x="1547" y="566"/>
                </a:lnTo>
                <a:lnTo>
                  <a:pt x="1549" y="566"/>
                </a:lnTo>
                <a:lnTo>
                  <a:pt x="1555" y="564"/>
                </a:lnTo>
                <a:lnTo>
                  <a:pt x="1561" y="561"/>
                </a:lnTo>
                <a:lnTo>
                  <a:pt x="1563" y="560"/>
                </a:lnTo>
                <a:lnTo>
                  <a:pt x="1567" y="558"/>
                </a:lnTo>
                <a:lnTo>
                  <a:pt x="1568" y="556"/>
                </a:lnTo>
                <a:lnTo>
                  <a:pt x="1570" y="552"/>
                </a:lnTo>
                <a:lnTo>
                  <a:pt x="1565" y="554"/>
                </a:lnTo>
                <a:lnTo>
                  <a:pt x="1561" y="556"/>
                </a:lnTo>
                <a:lnTo>
                  <a:pt x="1555" y="554"/>
                </a:lnTo>
                <a:lnTo>
                  <a:pt x="1549" y="554"/>
                </a:lnTo>
                <a:lnTo>
                  <a:pt x="1549" y="554"/>
                </a:lnTo>
                <a:lnTo>
                  <a:pt x="1551" y="552"/>
                </a:lnTo>
                <a:lnTo>
                  <a:pt x="1553" y="551"/>
                </a:lnTo>
                <a:lnTo>
                  <a:pt x="1553" y="550"/>
                </a:lnTo>
                <a:lnTo>
                  <a:pt x="1554" y="549"/>
                </a:lnTo>
                <a:lnTo>
                  <a:pt x="1554" y="547"/>
                </a:lnTo>
                <a:lnTo>
                  <a:pt x="1553" y="546"/>
                </a:lnTo>
                <a:lnTo>
                  <a:pt x="1558" y="542"/>
                </a:lnTo>
                <a:lnTo>
                  <a:pt x="1562" y="537"/>
                </a:lnTo>
                <a:lnTo>
                  <a:pt x="1567" y="536"/>
                </a:lnTo>
                <a:lnTo>
                  <a:pt x="1569" y="535"/>
                </a:lnTo>
                <a:lnTo>
                  <a:pt x="1570" y="531"/>
                </a:lnTo>
                <a:lnTo>
                  <a:pt x="1569" y="526"/>
                </a:lnTo>
                <a:lnTo>
                  <a:pt x="1567" y="521"/>
                </a:lnTo>
                <a:lnTo>
                  <a:pt x="1562" y="516"/>
                </a:lnTo>
                <a:lnTo>
                  <a:pt x="1558" y="511"/>
                </a:lnTo>
                <a:lnTo>
                  <a:pt x="1553" y="507"/>
                </a:lnTo>
                <a:lnTo>
                  <a:pt x="1552" y="512"/>
                </a:lnTo>
                <a:lnTo>
                  <a:pt x="1553" y="517"/>
                </a:lnTo>
                <a:lnTo>
                  <a:pt x="1554" y="523"/>
                </a:lnTo>
                <a:lnTo>
                  <a:pt x="1554" y="528"/>
                </a:lnTo>
                <a:lnTo>
                  <a:pt x="1556" y="535"/>
                </a:lnTo>
                <a:lnTo>
                  <a:pt x="1555" y="539"/>
                </a:lnTo>
                <a:lnTo>
                  <a:pt x="1552" y="542"/>
                </a:lnTo>
                <a:lnTo>
                  <a:pt x="1545" y="545"/>
                </a:lnTo>
                <a:lnTo>
                  <a:pt x="1541" y="546"/>
                </a:lnTo>
                <a:lnTo>
                  <a:pt x="1539" y="547"/>
                </a:lnTo>
                <a:lnTo>
                  <a:pt x="1524" y="547"/>
                </a:lnTo>
                <a:lnTo>
                  <a:pt x="1509" y="547"/>
                </a:lnTo>
                <a:lnTo>
                  <a:pt x="1504" y="546"/>
                </a:lnTo>
                <a:lnTo>
                  <a:pt x="1500" y="545"/>
                </a:lnTo>
                <a:lnTo>
                  <a:pt x="1499" y="542"/>
                </a:lnTo>
                <a:lnTo>
                  <a:pt x="1499" y="538"/>
                </a:lnTo>
                <a:lnTo>
                  <a:pt x="1499" y="535"/>
                </a:lnTo>
                <a:lnTo>
                  <a:pt x="1500" y="532"/>
                </a:lnTo>
                <a:lnTo>
                  <a:pt x="1504" y="526"/>
                </a:lnTo>
                <a:lnTo>
                  <a:pt x="1505" y="521"/>
                </a:lnTo>
                <a:lnTo>
                  <a:pt x="1507" y="512"/>
                </a:lnTo>
                <a:lnTo>
                  <a:pt x="1511" y="505"/>
                </a:lnTo>
                <a:lnTo>
                  <a:pt x="1517" y="498"/>
                </a:lnTo>
                <a:lnTo>
                  <a:pt x="1519" y="491"/>
                </a:lnTo>
                <a:lnTo>
                  <a:pt x="1520" y="483"/>
                </a:lnTo>
                <a:lnTo>
                  <a:pt x="1521" y="476"/>
                </a:lnTo>
                <a:lnTo>
                  <a:pt x="1518" y="477"/>
                </a:lnTo>
                <a:lnTo>
                  <a:pt x="1514" y="479"/>
                </a:lnTo>
                <a:lnTo>
                  <a:pt x="1513" y="476"/>
                </a:lnTo>
                <a:lnTo>
                  <a:pt x="1514" y="475"/>
                </a:lnTo>
                <a:lnTo>
                  <a:pt x="1516" y="474"/>
                </a:lnTo>
                <a:lnTo>
                  <a:pt x="1517" y="473"/>
                </a:lnTo>
                <a:lnTo>
                  <a:pt x="1520" y="469"/>
                </a:lnTo>
                <a:lnTo>
                  <a:pt x="1520" y="466"/>
                </a:lnTo>
                <a:lnTo>
                  <a:pt x="1518" y="461"/>
                </a:lnTo>
                <a:lnTo>
                  <a:pt x="1513" y="456"/>
                </a:lnTo>
                <a:lnTo>
                  <a:pt x="1514" y="455"/>
                </a:lnTo>
                <a:lnTo>
                  <a:pt x="1516" y="454"/>
                </a:lnTo>
                <a:lnTo>
                  <a:pt x="1517" y="453"/>
                </a:lnTo>
                <a:lnTo>
                  <a:pt x="1517" y="453"/>
                </a:lnTo>
                <a:lnTo>
                  <a:pt x="1517" y="452"/>
                </a:lnTo>
                <a:lnTo>
                  <a:pt x="1516" y="451"/>
                </a:lnTo>
                <a:lnTo>
                  <a:pt x="1516" y="449"/>
                </a:lnTo>
                <a:lnTo>
                  <a:pt x="1516" y="447"/>
                </a:lnTo>
                <a:lnTo>
                  <a:pt x="1518" y="446"/>
                </a:lnTo>
                <a:lnTo>
                  <a:pt x="1519" y="445"/>
                </a:lnTo>
                <a:lnTo>
                  <a:pt x="1519" y="442"/>
                </a:lnTo>
                <a:lnTo>
                  <a:pt x="1519" y="441"/>
                </a:lnTo>
                <a:lnTo>
                  <a:pt x="1519" y="431"/>
                </a:lnTo>
                <a:lnTo>
                  <a:pt x="1521" y="421"/>
                </a:lnTo>
                <a:lnTo>
                  <a:pt x="1525" y="410"/>
                </a:lnTo>
                <a:lnTo>
                  <a:pt x="1527" y="397"/>
                </a:lnTo>
                <a:lnTo>
                  <a:pt x="1527" y="396"/>
                </a:lnTo>
                <a:lnTo>
                  <a:pt x="1528" y="395"/>
                </a:lnTo>
                <a:lnTo>
                  <a:pt x="1527" y="393"/>
                </a:lnTo>
                <a:lnTo>
                  <a:pt x="1526" y="393"/>
                </a:lnTo>
                <a:lnTo>
                  <a:pt x="1526" y="390"/>
                </a:lnTo>
                <a:lnTo>
                  <a:pt x="1526" y="385"/>
                </a:lnTo>
                <a:lnTo>
                  <a:pt x="1527" y="385"/>
                </a:lnTo>
                <a:lnTo>
                  <a:pt x="1528" y="383"/>
                </a:lnTo>
                <a:lnTo>
                  <a:pt x="1528" y="381"/>
                </a:lnTo>
                <a:lnTo>
                  <a:pt x="1530" y="377"/>
                </a:lnTo>
                <a:lnTo>
                  <a:pt x="1531" y="375"/>
                </a:lnTo>
                <a:lnTo>
                  <a:pt x="1532" y="374"/>
                </a:lnTo>
                <a:lnTo>
                  <a:pt x="1537" y="370"/>
                </a:lnTo>
                <a:lnTo>
                  <a:pt x="1540" y="365"/>
                </a:lnTo>
                <a:lnTo>
                  <a:pt x="1540" y="376"/>
                </a:lnTo>
                <a:lnTo>
                  <a:pt x="1541" y="385"/>
                </a:lnTo>
                <a:lnTo>
                  <a:pt x="1541" y="385"/>
                </a:lnTo>
                <a:lnTo>
                  <a:pt x="1539" y="390"/>
                </a:lnTo>
                <a:lnTo>
                  <a:pt x="1537" y="393"/>
                </a:lnTo>
                <a:lnTo>
                  <a:pt x="1535" y="395"/>
                </a:lnTo>
                <a:lnTo>
                  <a:pt x="1535" y="396"/>
                </a:lnTo>
                <a:lnTo>
                  <a:pt x="1535" y="398"/>
                </a:lnTo>
                <a:lnTo>
                  <a:pt x="1535" y="399"/>
                </a:lnTo>
                <a:lnTo>
                  <a:pt x="1537" y="403"/>
                </a:lnTo>
                <a:lnTo>
                  <a:pt x="1537" y="405"/>
                </a:lnTo>
                <a:lnTo>
                  <a:pt x="1535" y="406"/>
                </a:lnTo>
                <a:lnTo>
                  <a:pt x="1535" y="409"/>
                </a:lnTo>
                <a:lnTo>
                  <a:pt x="1535" y="409"/>
                </a:lnTo>
                <a:lnTo>
                  <a:pt x="1534" y="410"/>
                </a:lnTo>
                <a:lnTo>
                  <a:pt x="1534" y="412"/>
                </a:lnTo>
                <a:lnTo>
                  <a:pt x="1533" y="414"/>
                </a:lnTo>
                <a:lnTo>
                  <a:pt x="1532" y="416"/>
                </a:lnTo>
                <a:lnTo>
                  <a:pt x="1531" y="417"/>
                </a:lnTo>
                <a:lnTo>
                  <a:pt x="1531" y="419"/>
                </a:lnTo>
                <a:lnTo>
                  <a:pt x="1531" y="420"/>
                </a:lnTo>
                <a:lnTo>
                  <a:pt x="1533" y="421"/>
                </a:lnTo>
                <a:lnTo>
                  <a:pt x="1534" y="421"/>
                </a:lnTo>
                <a:lnTo>
                  <a:pt x="1535" y="420"/>
                </a:lnTo>
                <a:lnTo>
                  <a:pt x="1537" y="419"/>
                </a:lnTo>
                <a:lnTo>
                  <a:pt x="1538" y="418"/>
                </a:lnTo>
                <a:lnTo>
                  <a:pt x="1540" y="418"/>
                </a:lnTo>
                <a:lnTo>
                  <a:pt x="1541" y="419"/>
                </a:lnTo>
                <a:lnTo>
                  <a:pt x="1544" y="420"/>
                </a:lnTo>
                <a:lnTo>
                  <a:pt x="1546" y="421"/>
                </a:lnTo>
                <a:lnTo>
                  <a:pt x="1548" y="421"/>
                </a:lnTo>
                <a:lnTo>
                  <a:pt x="1551" y="420"/>
                </a:lnTo>
                <a:lnTo>
                  <a:pt x="1553" y="419"/>
                </a:lnTo>
                <a:lnTo>
                  <a:pt x="1554" y="417"/>
                </a:lnTo>
                <a:lnTo>
                  <a:pt x="1553" y="413"/>
                </a:lnTo>
                <a:lnTo>
                  <a:pt x="1551" y="407"/>
                </a:lnTo>
                <a:lnTo>
                  <a:pt x="1551" y="402"/>
                </a:lnTo>
                <a:lnTo>
                  <a:pt x="1553" y="400"/>
                </a:lnTo>
                <a:lnTo>
                  <a:pt x="1554" y="400"/>
                </a:lnTo>
                <a:lnTo>
                  <a:pt x="1555" y="402"/>
                </a:lnTo>
                <a:lnTo>
                  <a:pt x="1555" y="404"/>
                </a:lnTo>
                <a:lnTo>
                  <a:pt x="1556" y="407"/>
                </a:lnTo>
                <a:lnTo>
                  <a:pt x="1559" y="410"/>
                </a:lnTo>
                <a:lnTo>
                  <a:pt x="1561" y="412"/>
                </a:lnTo>
                <a:lnTo>
                  <a:pt x="1563" y="412"/>
                </a:lnTo>
                <a:lnTo>
                  <a:pt x="1566" y="410"/>
                </a:lnTo>
                <a:lnTo>
                  <a:pt x="1567" y="409"/>
                </a:lnTo>
                <a:lnTo>
                  <a:pt x="1569" y="406"/>
                </a:lnTo>
                <a:lnTo>
                  <a:pt x="1570" y="405"/>
                </a:lnTo>
                <a:lnTo>
                  <a:pt x="1570" y="403"/>
                </a:lnTo>
                <a:lnTo>
                  <a:pt x="1568" y="400"/>
                </a:lnTo>
                <a:lnTo>
                  <a:pt x="1570" y="395"/>
                </a:lnTo>
                <a:lnTo>
                  <a:pt x="1570" y="390"/>
                </a:lnTo>
                <a:lnTo>
                  <a:pt x="1572" y="390"/>
                </a:lnTo>
                <a:lnTo>
                  <a:pt x="1572" y="390"/>
                </a:lnTo>
                <a:lnTo>
                  <a:pt x="1572" y="389"/>
                </a:lnTo>
                <a:lnTo>
                  <a:pt x="1570" y="388"/>
                </a:lnTo>
                <a:lnTo>
                  <a:pt x="1570" y="385"/>
                </a:lnTo>
                <a:lnTo>
                  <a:pt x="1574" y="385"/>
                </a:lnTo>
                <a:lnTo>
                  <a:pt x="1574" y="386"/>
                </a:lnTo>
                <a:lnTo>
                  <a:pt x="1574" y="388"/>
                </a:lnTo>
                <a:lnTo>
                  <a:pt x="1575" y="390"/>
                </a:lnTo>
                <a:lnTo>
                  <a:pt x="1575" y="390"/>
                </a:lnTo>
                <a:lnTo>
                  <a:pt x="1575" y="390"/>
                </a:lnTo>
                <a:lnTo>
                  <a:pt x="1575" y="390"/>
                </a:lnTo>
                <a:lnTo>
                  <a:pt x="1574" y="392"/>
                </a:lnTo>
                <a:lnTo>
                  <a:pt x="1575" y="396"/>
                </a:lnTo>
                <a:lnTo>
                  <a:pt x="1576" y="393"/>
                </a:lnTo>
                <a:lnTo>
                  <a:pt x="1575" y="390"/>
                </a:lnTo>
                <a:lnTo>
                  <a:pt x="1579" y="388"/>
                </a:lnTo>
                <a:lnTo>
                  <a:pt x="1580" y="383"/>
                </a:lnTo>
                <a:lnTo>
                  <a:pt x="1581" y="379"/>
                </a:lnTo>
                <a:lnTo>
                  <a:pt x="1581" y="375"/>
                </a:lnTo>
                <a:lnTo>
                  <a:pt x="1581" y="371"/>
                </a:lnTo>
                <a:lnTo>
                  <a:pt x="1580" y="368"/>
                </a:lnTo>
                <a:lnTo>
                  <a:pt x="1576" y="365"/>
                </a:lnTo>
                <a:lnTo>
                  <a:pt x="1573" y="364"/>
                </a:lnTo>
                <a:lnTo>
                  <a:pt x="1572" y="363"/>
                </a:lnTo>
                <a:lnTo>
                  <a:pt x="1570" y="363"/>
                </a:lnTo>
                <a:lnTo>
                  <a:pt x="1569" y="360"/>
                </a:lnTo>
                <a:lnTo>
                  <a:pt x="1569" y="357"/>
                </a:lnTo>
                <a:lnTo>
                  <a:pt x="1568" y="358"/>
                </a:lnTo>
                <a:lnTo>
                  <a:pt x="1567" y="358"/>
                </a:lnTo>
                <a:lnTo>
                  <a:pt x="1567" y="360"/>
                </a:lnTo>
                <a:lnTo>
                  <a:pt x="1567" y="361"/>
                </a:lnTo>
                <a:lnTo>
                  <a:pt x="1567" y="362"/>
                </a:lnTo>
                <a:lnTo>
                  <a:pt x="1567" y="362"/>
                </a:lnTo>
                <a:lnTo>
                  <a:pt x="1567" y="361"/>
                </a:lnTo>
                <a:lnTo>
                  <a:pt x="1567" y="360"/>
                </a:lnTo>
                <a:lnTo>
                  <a:pt x="1567" y="358"/>
                </a:lnTo>
                <a:lnTo>
                  <a:pt x="1565" y="358"/>
                </a:lnTo>
                <a:lnTo>
                  <a:pt x="1562" y="360"/>
                </a:lnTo>
                <a:lnTo>
                  <a:pt x="1565" y="358"/>
                </a:lnTo>
                <a:lnTo>
                  <a:pt x="1567" y="358"/>
                </a:lnTo>
                <a:lnTo>
                  <a:pt x="1568" y="358"/>
                </a:lnTo>
                <a:lnTo>
                  <a:pt x="1569" y="357"/>
                </a:lnTo>
                <a:lnTo>
                  <a:pt x="1572" y="356"/>
                </a:lnTo>
                <a:lnTo>
                  <a:pt x="1575" y="355"/>
                </a:lnTo>
                <a:lnTo>
                  <a:pt x="1576" y="355"/>
                </a:lnTo>
                <a:lnTo>
                  <a:pt x="1577" y="355"/>
                </a:lnTo>
                <a:lnTo>
                  <a:pt x="1579" y="357"/>
                </a:lnTo>
                <a:lnTo>
                  <a:pt x="1579" y="360"/>
                </a:lnTo>
                <a:lnTo>
                  <a:pt x="1581" y="363"/>
                </a:lnTo>
                <a:lnTo>
                  <a:pt x="1583" y="365"/>
                </a:lnTo>
                <a:lnTo>
                  <a:pt x="1586" y="368"/>
                </a:lnTo>
                <a:lnTo>
                  <a:pt x="1587" y="371"/>
                </a:lnTo>
                <a:lnTo>
                  <a:pt x="1587" y="374"/>
                </a:lnTo>
                <a:lnTo>
                  <a:pt x="1586" y="376"/>
                </a:lnTo>
                <a:lnTo>
                  <a:pt x="1581" y="391"/>
                </a:lnTo>
                <a:lnTo>
                  <a:pt x="1574" y="406"/>
                </a:lnTo>
                <a:lnTo>
                  <a:pt x="1570" y="414"/>
                </a:lnTo>
                <a:lnTo>
                  <a:pt x="1569" y="423"/>
                </a:lnTo>
                <a:lnTo>
                  <a:pt x="1568" y="425"/>
                </a:lnTo>
                <a:lnTo>
                  <a:pt x="1569" y="427"/>
                </a:lnTo>
                <a:lnTo>
                  <a:pt x="1569" y="428"/>
                </a:lnTo>
                <a:lnTo>
                  <a:pt x="1572" y="431"/>
                </a:lnTo>
                <a:lnTo>
                  <a:pt x="1574" y="431"/>
                </a:lnTo>
                <a:lnTo>
                  <a:pt x="1575" y="430"/>
                </a:lnTo>
                <a:lnTo>
                  <a:pt x="1576" y="427"/>
                </a:lnTo>
                <a:lnTo>
                  <a:pt x="1577" y="426"/>
                </a:lnTo>
                <a:lnTo>
                  <a:pt x="1580" y="423"/>
                </a:lnTo>
                <a:lnTo>
                  <a:pt x="1582" y="418"/>
                </a:lnTo>
                <a:lnTo>
                  <a:pt x="1587" y="407"/>
                </a:lnTo>
                <a:lnTo>
                  <a:pt x="1593" y="397"/>
                </a:lnTo>
                <a:lnTo>
                  <a:pt x="1597" y="388"/>
                </a:lnTo>
                <a:lnTo>
                  <a:pt x="1603" y="377"/>
                </a:lnTo>
                <a:lnTo>
                  <a:pt x="1606" y="367"/>
                </a:lnTo>
                <a:lnTo>
                  <a:pt x="1610" y="356"/>
                </a:lnTo>
                <a:lnTo>
                  <a:pt x="1613" y="346"/>
                </a:lnTo>
                <a:lnTo>
                  <a:pt x="1615" y="335"/>
                </a:lnTo>
                <a:lnTo>
                  <a:pt x="1616" y="327"/>
                </a:lnTo>
                <a:lnTo>
                  <a:pt x="1617" y="319"/>
                </a:lnTo>
                <a:lnTo>
                  <a:pt x="1616" y="310"/>
                </a:lnTo>
                <a:lnTo>
                  <a:pt x="1613" y="302"/>
                </a:lnTo>
                <a:lnTo>
                  <a:pt x="1613" y="293"/>
                </a:lnTo>
                <a:lnTo>
                  <a:pt x="1611" y="284"/>
                </a:lnTo>
                <a:lnTo>
                  <a:pt x="1613" y="282"/>
                </a:lnTo>
                <a:lnTo>
                  <a:pt x="1614" y="281"/>
                </a:lnTo>
                <a:lnTo>
                  <a:pt x="1615" y="274"/>
                </a:lnTo>
                <a:lnTo>
                  <a:pt x="1614" y="268"/>
                </a:lnTo>
                <a:lnTo>
                  <a:pt x="1611" y="264"/>
                </a:lnTo>
                <a:lnTo>
                  <a:pt x="1607" y="259"/>
                </a:lnTo>
                <a:lnTo>
                  <a:pt x="1609" y="258"/>
                </a:lnTo>
                <a:lnTo>
                  <a:pt x="1610" y="256"/>
                </a:lnTo>
                <a:lnTo>
                  <a:pt x="1611" y="254"/>
                </a:lnTo>
                <a:lnTo>
                  <a:pt x="1610" y="252"/>
                </a:lnTo>
                <a:lnTo>
                  <a:pt x="1608" y="249"/>
                </a:lnTo>
                <a:lnTo>
                  <a:pt x="1606" y="246"/>
                </a:lnTo>
                <a:lnTo>
                  <a:pt x="1606" y="245"/>
                </a:lnTo>
                <a:lnTo>
                  <a:pt x="1604" y="244"/>
                </a:lnTo>
                <a:lnTo>
                  <a:pt x="1599" y="233"/>
                </a:lnTo>
                <a:lnTo>
                  <a:pt x="1592" y="224"/>
                </a:lnTo>
                <a:lnTo>
                  <a:pt x="1589" y="222"/>
                </a:lnTo>
                <a:lnTo>
                  <a:pt x="1587" y="221"/>
                </a:lnTo>
                <a:lnTo>
                  <a:pt x="1577" y="221"/>
                </a:lnTo>
                <a:lnTo>
                  <a:pt x="1569" y="218"/>
                </a:lnTo>
                <a:lnTo>
                  <a:pt x="1567" y="216"/>
                </a:lnTo>
                <a:lnTo>
                  <a:pt x="1562" y="215"/>
                </a:lnTo>
                <a:lnTo>
                  <a:pt x="1551" y="211"/>
                </a:lnTo>
                <a:lnTo>
                  <a:pt x="1539" y="209"/>
                </a:lnTo>
                <a:lnTo>
                  <a:pt x="1528" y="207"/>
                </a:lnTo>
                <a:lnTo>
                  <a:pt x="1518" y="205"/>
                </a:lnTo>
                <a:lnTo>
                  <a:pt x="1509" y="204"/>
                </a:lnTo>
                <a:lnTo>
                  <a:pt x="1498" y="205"/>
                </a:lnTo>
                <a:lnTo>
                  <a:pt x="1483" y="205"/>
                </a:lnTo>
                <a:lnTo>
                  <a:pt x="1469" y="205"/>
                </a:lnTo>
                <a:lnTo>
                  <a:pt x="1466" y="205"/>
                </a:lnTo>
                <a:lnTo>
                  <a:pt x="1465" y="205"/>
                </a:lnTo>
                <a:lnTo>
                  <a:pt x="1463" y="207"/>
                </a:lnTo>
                <a:lnTo>
                  <a:pt x="1463" y="209"/>
                </a:lnTo>
                <a:lnTo>
                  <a:pt x="1462" y="209"/>
                </a:lnTo>
                <a:lnTo>
                  <a:pt x="1462" y="209"/>
                </a:lnTo>
                <a:lnTo>
                  <a:pt x="1458" y="209"/>
                </a:lnTo>
                <a:lnTo>
                  <a:pt x="1455" y="209"/>
                </a:lnTo>
                <a:lnTo>
                  <a:pt x="1451" y="210"/>
                </a:lnTo>
                <a:lnTo>
                  <a:pt x="1448" y="211"/>
                </a:lnTo>
                <a:lnTo>
                  <a:pt x="1444" y="215"/>
                </a:lnTo>
                <a:lnTo>
                  <a:pt x="1440" y="219"/>
                </a:lnTo>
                <a:lnTo>
                  <a:pt x="1436" y="223"/>
                </a:lnTo>
                <a:lnTo>
                  <a:pt x="1434" y="229"/>
                </a:lnTo>
                <a:lnTo>
                  <a:pt x="1430" y="233"/>
                </a:lnTo>
                <a:lnTo>
                  <a:pt x="1428" y="237"/>
                </a:lnTo>
                <a:lnTo>
                  <a:pt x="1425" y="242"/>
                </a:lnTo>
                <a:lnTo>
                  <a:pt x="1425" y="245"/>
                </a:lnTo>
                <a:lnTo>
                  <a:pt x="1427" y="247"/>
                </a:lnTo>
                <a:lnTo>
                  <a:pt x="1428" y="251"/>
                </a:lnTo>
                <a:lnTo>
                  <a:pt x="1430" y="254"/>
                </a:lnTo>
                <a:lnTo>
                  <a:pt x="1435" y="257"/>
                </a:lnTo>
                <a:lnTo>
                  <a:pt x="1436" y="260"/>
                </a:lnTo>
                <a:lnTo>
                  <a:pt x="1435" y="264"/>
                </a:lnTo>
                <a:lnTo>
                  <a:pt x="1434" y="265"/>
                </a:lnTo>
                <a:lnTo>
                  <a:pt x="1432" y="266"/>
                </a:lnTo>
                <a:lnTo>
                  <a:pt x="1425" y="273"/>
                </a:lnTo>
                <a:lnTo>
                  <a:pt x="1421" y="282"/>
                </a:lnTo>
                <a:lnTo>
                  <a:pt x="1420" y="286"/>
                </a:lnTo>
                <a:lnTo>
                  <a:pt x="1418" y="291"/>
                </a:lnTo>
                <a:lnTo>
                  <a:pt x="1417" y="293"/>
                </a:lnTo>
                <a:lnTo>
                  <a:pt x="1415" y="294"/>
                </a:lnTo>
                <a:lnTo>
                  <a:pt x="1413" y="294"/>
                </a:lnTo>
                <a:lnTo>
                  <a:pt x="1409" y="294"/>
                </a:lnTo>
                <a:lnTo>
                  <a:pt x="1408" y="294"/>
                </a:lnTo>
                <a:lnTo>
                  <a:pt x="1407" y="296"/>
                </a:lnTo>
                <a:lnTo>
                  <a:pt x="1404" y="302"/>
                </a:lnTo>
                <a:lnTo>
                  <a:pt x="1401" y="309"/>
                </a:lnTo>
                <a:lnTo>
                  <a:pt x="1397" y="315"/>
                </a:lnTo>
                <a:lnTo>
                  <a:pt x="1393" y="321"/>
                </a:lnTo>
                <a:lnTo>
                  <a:pt x="1393" y="323"/>
                </a:lnTo>
                <a:lnTo>
                  <a:pt x="1393" y="326"/>
                </a:lnTo>
                <a:lnTo>
                  <a:pt x="1394" y="328"/>
                </a:lnTo>
                <a:lnTo>
                  <a:pt x="1396" y="329"/>
                </a:lnTo>
                <a:lnTo>
                  <a:pt x="1396" y="330"/>
                </a:lnTo>
                <a:lnTo>
                  <a:pt x="1396" y="332"/>
                </a:lnTo>
                <a:lnTo>
                  <a:pt x="1395" y="332"/>
                </a:lnTo>
                <a:lnTo>
                  <a:pt x="1395" y="333"/>
                </a:lnTo>
                <a:lnTo>
                  <a:pt x="1395" y="335"/>
                </a:lnTo>
                <a:lnTo>
                  <a:pt x="1395" y="336"/>
                </a:lnTo>
                <a:lnTo>
                  <a:pt x="1397" y="340"/>
                </a:lnTo>
                <a:lnTo>
                  <a:pt x="1399" y="344"/>
                </a:lnTo>
                <a:lnTo>
                  <a:pt x="1397" y="348"/>
                </a:lnTo>
                <a:lnTo>
                  <a:pt x="1397" y="350"/>
                </a:lnTo>
                <a:lnTo>
                  <a:pt x="1399" y="354"/>
                </a:lnTo>
                <a:lnTo>
                  <a:pt x="1401" y="356"/>
                </a:lnTo>
                <a:lnTo>
                  <a:pt x="1401" y="358"/>
                </a:lnTo>
                <a:lnTo>
                  <a:pt x="1402" y="360"/>
                </a:lnTo>
                <a:lnTo>
                  <a:pt x="1401" y="362"/>
                </a:lnTo>
                <a:lnTo>
                  <a:pt x="1400" y="363"/>
                </a:lnTo>
                <a:lnTo>
                  <a:pt x="1399" y="367"/>
                </a:lnTo>
                <a:lnTo>
                  <a:pt x="1397" y="370"/>
                </a:lnTo>
                <a:lnTo>
                  <a:pt x="1393" y="378"/>
                </a:lnTo>
                <a:lnTo>
                  <a:pt x="1390" y="386"/>
                </a:lnTo>
                <a:lnTo>
                  <a:pt x="1389" y="398"/>
                </a:lnTo>
                <a:lnTo>
                  <a:pt x="1387" y="410"/>
                </a:lnTo>
                <a:lnTo>
                  <a:pt x="1386" y="413"/>
                </a:lnTo>
                <a:lnTo>
                  <a:pt x="1383" y="414"/>
                </a:lnTo>
                <a:lnTo>
                  <a:pt x="1381" y="413"/>
                </a:lnTo>
                <a:lnTo>
                  <a:pt x="1380" y="411"/>
                </a:lnTo>
                <a:lnTo>
                  <a:pt x="1381" y="404"/>
                </a:lnTo>
                <a:lnTo>
                  <a:pt x="1380" y="402"/>
                </a:lnTo>
                <a:lnTo>
                  <a:pt x="1378" y="399"/>
                </a:lnTo>
                <a:lnTo>
                  <a:pt x="1372" y="398"/>
                </a:lnTo>
                <a:lnTo>
                  <a:pt x="1366" y="397"/>
                </a:lnTo>
                <a:lnTo>
                  <a:pt x="1361" y="396"/>
                </a:lnTo>
                <a:lnTo>
                  <a:pt x="1344" y="390"/>
                </a:lnTo>
                <a:lnTo>
                  <a:pt x="1326" y="385"/>
                </a:lnTo>
                <a:lnTo>
                  <a:pt x="1307" y="382"/>
                </a:lnTo>
                <a:lnTo>
                  <a:pt x="1290" y="381"/>
                </a:lnTo>
                <a:lnTo>
                  <a:pt x="1282" y="381"/>
                </a:lnTo>
                <a:lnTo>
                  <a:pt x="1275" y="381"/>
                </a:lnTo>
                <a:lnTo>
                  <a:pt x="1272" y="381"/>
                </a:lnTo>
                <a:lnTo>
                  <a:pt x="1270" y="381"/>
                </a:lnTo>
                <a:lnTo>
                  <a:pt x="1270" y="381"/>
                </a:lnTo>
                <a:lnTo>
                  <a:pt x="1270" y="381"/>
                </a:lnTo>
                <a:lnTo>
                  <a:pt x="1259" y="381"/>
                </a:lnTo>
                <a:lnTo>
                  <a:pt x="1248" y="379"/>
                </a:lnTo>
                <a:lnTo>
                  <a:pt x="1237" y="378"/>
                </a:lnTo>
                <a:lnTo>
                  <a:pt x="1227" y="376"/>
                </a:lnTo>
                <a:lnTo>
                  <a:pt x="1220" y="376"/>
                </a:lnTo>
                <a:lnTo>
                  <a:pt x="1213" y="375"/>
                </a:lnTo>
                <a:lnTo>
                  <a:pt x="1204" y="375"/>
                </a:lnTo>
                <a:lnTo>
                  <a:pt x="1197" y="376"/>
                </a:lnTo>
                <a:lnTo>
                  <a:pt x="1190" y="377"/>
                </a:lnTo>
                <a:lnTo>
                  <a:pt x="1185" y="379"/>
                </a:lnTo>
                <a:lnTo>
                  <a:pt x="1179" y="382"/>
                </a:lnTo>
                <a:lnTo>
                  <a:pt x="1173" y="386"/>
                </a:lnTo>
                <a:lnTo>
                  <a:pt x="1171" y="388"/>
                </a:lnTo>
                <a:lnTo>
                  <a:pt x="1167" y="388"/>
                </a:lnTo>
                <a:lnTo>
                  <a:pt x="1151" y="388"/>
                </a:lnTo>
                <a:lnTo>
                  <a:pt x="1134" y="389"/>
                </a:lnTo>
                <a:lnTo>
                  <a:pt x="1118" y="389"/>
                </a:lnTo>
                <a:lnTo>
                  <a:pt x="1102" y="390"/>
                </a:lnTo>
                <a:lnTo>
                  <a:pt x="1097" y="390"/>
                </a:lnTo>
                <a:lnTo>
                  <a:pt x="1095" y="391"/>
                </a:lnTo>
                <a:lnTo>
                  <a:pt x="1093" y="395"/>
                </a:lnTo>
                <a:lnTo>
                  <a:pt x="1093" y="398"/>
                </a:lnTo>
                <a:lnTo>
                  <a:pt x="1091" y="402"/>
                </a:lnTo>
                <a:lnTo>
                  <a:pt x="1090" y="404"/>
                </a:lnTo>
                <a:lnTo>
                  <a:pt x="1091" y="407"/>
                </a:lnTo>
                <a:lnTo>
                  <a:pt x="1093" y="410"/>
                </a:lnTo>
                <a:lnTo>
                  <a:pt x="1092" y="412"/>
                </a:lnTo>
                <a:lnTo>
                  <a:pt x="1091" y="413"/>
                </a:lnTo>
                <a:lnTo>
                  <a:pt x="1089" y="413"/>
                </a:lnTo>
                <a:lnTo>
                  <a:pt x="1088" y="413"/>
                </a:lnTo>
                <a:lnTo>
                  <a:pt x="1085" y="412"/>
                </a:lnTo>
                <a:lnTo>
                  <a:pt x="1083" y="412"/>
                </a:lnTo>
                <a:lnTo>
                  <a:pt x="1082" y="413"/>
                </a:lnTo>
                <a:lnTo>
                  <a:pt x="1081" y="414"/>
                </a:lnTo>
                <a:lnTo>
                  <a:pt x="1077" y="416"/>
                </a:lnTo>
                <a:lnTo>
                  <a:pt x="1075" y="416"/>
                </a:lnTo>
                <a:lnTo>
                  <a:pt x="1068" y="414"/>
                </a:lnTo>
                <a:lnTo>
                  <a:pt x="1061" y="416"/>
                </a:lnTo>
                <a:lnTo>
                  <a:pt x="1049" y="418"/>
                </a:lnTo>
                <a:lnTo>
                  <a:pt x="1037" y="419"/>
                </a:lnTo>
                <a:lnTo>
                  <a:pt x="1024" y="420"/>
                </a:lnTo>
                <a:lnTo>
                  <a:pt x="1013" y="420"/>
                </a:lnTo>
                <a:lnTo>
                  <a:pt x="1009" y="420"/>
                </a:lnTo>
                <a:lnTo>
                  <a:pt x="1004" y="420"/>
                </a:lnTo>
                <a:lnTo>
                  <a:pt x="1001" y="420"/>
                </a:lnTo>
                <a:lnTo>
                  <a:pt x="997" y="420"/>
                </a:lnTo>
                <a:lnTo>
                  <a:pt x="995" y="417"/>
                </a:lnTo>
                <a:lnTo>
                  <a:pt x="992" y="416"/>
                </a:lnTo>
                <a:lnTo>
                  <a:pt x="988" y="416"/>
                </a:lnTo>
                <a:lnTo>
                  <a:pt x="986" y="416"/>
                </a:lnTo>
                <a:lnTo>
                  <a:pt x="976" y="414"/>
                </a:lnTo>
                <a:lnTo>
                  <a:pt x="968" y="412"/>
                </a:lnTo>
                <a:lnTo>
                  <a:pt x="960" y="411"/>
                </a:lnTo>
                <a:lnTo>
                  <a:pt x="951" y="411"/>
                </a:lnTo>
                <a:lnTo>
                  <a:pt x="950" y="411"/>
                </a:lnTo>
                <a:lnTo>
                  <a:pt x="948" y="411"/>
                </a:lnTo>
                <a:lnTo>
                  <a:pt x="941" y="407"/>
                </a:lnTo>
                <a:lnTo>
                  <a:pt x="934" y="406"/>
                </a:lnTo>
                <a:lnTo>
                  <a:pt x="926" y="406"/>
                </a:lnTo>
                <a:lnTo>
                  <a:pt x="919" y="405"/>
                </a:lnTo>
                <a:lnTo>
                  <a:pt x="900" y="405"/>
                </a:lnTo>
                <a:lnTo>
                  <a:pt x="882" y="405"/>
                </a:lnTo>
                <a:lnTo>
                  <a:pt x="863" y="406"/>
                </a:lnTo>
                <a:lnTo>
                  <a:pt x="844" y="407"/>
                </a:lnTo>
                <a:lnTo>
                  <a:pt x="807" y="412"/>
                </a:lnTo>
                <a:lnTo>
                  <a:pt x="769" y="418"/>
                </a:lnTo>
                <a:lnTo>
                  <a:pt x="747" y="419"/>
                </a:lnTo>
                <a:lnTo>
                  <a:pt x="725" y="420"/>
                </a:lnTo>
                <a:lnTo>
                  <a:pt x="704" y="419"/>
                </a:lnTo>
                <a:lnTo>
                  <a:pt x="682" y="417"/>
                </a:lnTo>
                <a:lnTo>
                  <a:pt x="671" y="416"/>
                </a:lnTo>
                <a:lnTo>
                  <a:pt x="662" y="416"/>
                </a:lnTo>
                <a:lnTo>
                  <a:pt x="646" y="418"/>
                </a:lnTo>
                <a:lnTo>
                  <a:pt x="629" y="418"/>
                </a:lnTo>
                <a:lnTo>
                  <a:pt x="612" y="419"/>
                </a:lnTo>
                <a:lnTo>
                  <a:pt x="595" y="420"/>
                </a:lnTo>
                <a:lnTo>
                  <a:pt x="586" y="420"/>
                </a:lnTo>
                <a:lnTo>
                  <a:pt x="578" y="420"/>
                </a:lnTo>
                <a:lnTo>
                  <a:pt x="575" y="420"/>
                </a:lnTo>
                <a:lnTo>
                  <a:pt x="574" y="421"/>
                </a:lnTo>
                <a:lnTo>
                  <a:pt x="572" y="421"/>
                </a:lnTo>
                <a:lnTo>
                  <a:pt x="569" y="419"/>
                </a:lnTo>
                <a:lnTo>
                  <a:pt x="569" y="419"/>
                </a:lnTo>
                <a:lnTo>
                  <a:pt x="569" y="418"/>
                </a:lnTo>
                <a:lnTo>
                  <a:pt x="568" y="416"/>
                </a:lnTo>
                <a:lnTo>
                  <a:pt x="567" y="414"/>
                </a:lnTo>
                <a:lnTo>
                  <a:pt x="565" y="414"/>
                </a:lnTo>
                <a:lnTo>
                  <a:pt x="564" y="416"/>
                </a:lnTo>
                <a:lnTo>
                  <a:pt x="559" y="417"/>
                </a:lnTo>
                <a:lnTo>
                  <a:pt x="554" y="419"/>
                </a:lnTo>
                <a:lnTo>
                  <a:pt x="550" y="419"/>
                </a:lnTo>
                <a:lnTo>
                  <a:pt x="545" y="419"/>
                </a:lnTo>
                <a:lnTo>
                  <a:pt x="534" y="418"/>
                </a:lnTo>
                <a:lnTo>
                  <a:pt x="525" y="416"/>
                </a:lnTo>
                <a:lnTo>
                  <a:pt x="520" y="416"/>
                </a:lnTo>
                <a:lnTo>
                  <a:pt x="515" y="416"/>
                </a:lnTo>
                <a:lnTo>
                  <a:pt x="510" y="416"/>
                </a:lnTo>
                <a:lnTo>
                  <a:pt x="505" y="417"/>
                </a:lnTo>
                <a:lnTo>
                  <a:pt x="496" y="420"/>
                </a:lnTo>
                <a:lnTo>
                  <a:pt x="486" y="423"/>
                </a:lnTo>
                <a:lnTo>
                  <a:pt x="486" y="424"/>
                </a:lnTo>
                <a:lnTo>
                  <a:pt x="485" y="425"/>
                </a:lnTo>
                <a:lnTo>
                  <a:pt x="482" y="425"/>
                </a:lnTo>
                <a:lnTo>
                  <a:pt x="478" y="425"/>
                </a:lnTo>
                <a:lnTo>
                  <a:pt x="474" y="425"/>
                </a:lnTo>
                <a:lnTo>
                  <a:pt x="470" y="425"/>
                </a:lnTo>
                <a:lnTo>
                  <a:pt x="462" y="427"/>
                </a:lnTo>
                <a:lnTo>
                  <a:pt x="456" y="432"/>
                </a:lnTo>
                <a:lnTo>
                  <a:pt x="454" y="435"/>
                </a:lnTo>
                <a:lnTo>
                  <a:pt x="455" y="438"/>
                </a:lnTo>
                <a:lnTo>
                  <a:pt x="456" y="441"/>
                </a:lnTo>
                <a:lnTo>
                  <a:pt x="456" y="444"/>
                </a:lnTo>
                <a:lnTo>
                  <a:pt x="456" y="447"/>
                </a:lnTo>
                <a:lnTo>
                  <a:pt x="456" y="451"/>
                </a:lnTo>
                <a:lnTo>
                  <a:pt x="454" y="448"/>
                </a:lnTo>
                <a:lnTo>
                  <a:pt x="450" y="448"/>
                </a:lnTo>
                <a:lnTo>
                  <a:pt x="448" y="449"/>
                </a:lnTo>
                <a:lnTo>
                  <a:pt x="444" y="449"/>
                </a:lnTo>
                <a:lnTo>
                  <a:pt x="443" y="451"/>
                </a:lnTo>
                <a:lnTo>
                  <a:pt x="442" y="453"/>
                </a:lnTo>
                <a:lnTo>
                  <a:pt x="442" y="454"/>
                </a:lnTo>
                <a:lnTo>
                  <a:pt x="443" y="456"/>
                </a:lnTo>
                <a:lnTo>
                  <a:pt x="444" y="459"/>
                </a:lnTo>
                <a:lnTo>
                  <a:pt x="446" y="460"/>
                </a:lnTo>
                <a:lnTo>
                  <a:pt x="448" y="461"/>
                </a:lnTo>
                <a:lnTo>
                  <a:pt x="451" y="461"/>
                </a:lnTo>
                <a:lnTo>
                  <a:pt x="461" y="460"/>
                </a:lnTo>
                <a:lnTo>
                  <a:pt x="471" y="459"/>
                </a:lnTo>
                <a:lnTo>
                  <a:pt x="477" y="459"/>
                </a:lnTo>
                <a:lnTo>
                  <a:pt x="482" y="459"/>
                </a:lnTo>
                <a:lnTo>
                  <a:pt x="488" y="456"/>
                </a:lnTo>
                <a:lnTo>
                  <a:pt x="492" y="453"/>
                </a:lnTo>
                <a:lnTo>
                  <a:pt x="493" y="453"/>
                </a:lnTo>
                <a:lnTo>
                  <a:pt x="495" y="453"/>
                </a:lnTo>
                <a:lnTo>
                  <a:pt x="499" y="453"/>
                </a:lnTo>
                <a:lnTo>
                  <a:pt x="503" y="453"/>
                </a:lnTo>
                <a:lnTo>
                  <a:pt x="506" y="453"/>
                </a:lnTo>
                <a:lnTo>
                  <a:pt x="510" y="451"/>
                </a:lnTo>
                <a:lnTo>
                  <a:pt x="511" y="451"/>
                </a:lnTo>
                <a:lnTo>
                  <a:pt x="511" y="451"/>
                </a:lnTo>
                <a:lnTo>
                  <a:pt x="512" y="451"/>
                </a:lnTo>
                <a:lnTo>
                  <a:pt x="512" y="451"/>
                </a:lnTo>
                <a:lnTo>
                  <a:pt x="513" y="451"/>
                </a:lnTo>
                <a:lnTo>
                  <a:pt x="516" y="453"/>
                </a:lnTo>
                <a:lnTo>
                  <a:pt x="518" y="454"/>
                </a:lnTo>
                <a:lnTo>
                  <a:pt x="520" y="454"/>
                </a:lnTo>
                <a:lnTo>
                  <a:pt x="523" y="453"/>
                </a:lnTo>
                <a:lnTo>
                  <a:pt x="529" y="453"/>
                </a:lnTo>
                <a:lnTo>
                  <a:pt x="533" y="452"/>
                </a:lnTo>
                <a:lnTo>
                  <a:pt x="539" y="453"/>
                </a:lnTo>
                <a:lnTo>
                  <a:pt x="544" y="453"/>
                </a:lnTo>
                <a:lnTo>
                  <a:pt x="548" y="454"/>
                </a:lnTo>
                <a:lnTo>
                  <a:pt x="553" y="453"/>
                </a:lnTo>
                <a:lnTo>
                  <a:pt x="557" y="453"/>
                </a:lnTo>
                <a:lnTo>
                  <a:pt x="560" y="453"/>
                </a:lnTo>
                <a:lnTo>
                  <a:pt x="571" y="455"/>
                </a:lnTo>
                <a:lnTo>
                  <a:pt x="580" y="459"/>
                </a:lnTo>
                <a:lnTo>
                  <a:pt x="587" y="459"/>
                </a:lnTo>
                <a:lnTo>
                  <a:pt x="594" y="460"/>
                </a:lnTo>
                <a:lnTo>
                  <a:pt x="599" y="465"/>
                </a:lnTo>
                <a:lnTo>
                  <a:pt x="605" y="468"/>
                </a:lnTo>
                <a:lnTo>
                  <a:pt x="612" y="470"/>
                </a:lnTo>
                <a:lnTo>
                  <a:pt x="619" y="472"/>
                </a:lnTo>
                <a:lnTo>
                  <a:pt x="624" y="473"/>
                </a:lnTo>
                <a:lnTo>
                  <a:pt x="630" y="474"/>
                </a:lnTo>
                <a:lnTo>
                  <a:pt x="634" y="474"/>
                </a:lnTo>
                <a:lnTo>
                  <a:pt x="637" y="473"/>
                </a:lnTo>
                <a:lnTo>
                  <a:pt x="640" y="472"/>
                </a:lnTo>
                <a:lnTo>
                  <a:pt x="643" y="468"/>
                </a:lnTo>
                <a:lnTo>
                  <a:pt x="643" y="468"/>
                </a:lnTo>
                <a:lnTo>
                  <a:pt x="643" y="468"/>
                </a:lnTo>
                <a:lnTo>
                  <a:pt x="646" y="468"/>
                </a:lnTo>
                <a:lnTo>
                  <a:pt x="647" y="468"/>
                </a:lnTo>
                <a:lnTo>
                  <a:pt x="661" y="466"/>
                </a:lnTo>
                <a:lnTo>
                  <a:pt x="674" y="466"/>
                </a:lnTo>
                <a:lnTo>
                  <a:pt x="686" y="468"/>
                </a:lnTo>
                <a:lnTo>
                  <a:pt x="700" y="470"/>
                </a:lnTo>
                <a:lnTo>
                  <a:pt x="722" y="475"/>
                </a:lnTo>
                <a:lnTo>
                  <a:pt x="743" y="481"/>
                </a:lnTo>
                <a:lnTo>
                  <a:pt x="764" y="486"/>
                </a:lnTo>
                <a:lnTo>
                  <a:pt x="785" y="491"/>
                </a:lnTo>
                <a:lnTo>
                  <a:pt x="792" y="493"/>
                </a:lnTo>
                <a:lnTo>
                  <a:pt x="798" y="495"/>
                </a:lnTo>
                <a:lnTo>
                  <a:pt x="805" y="497"/>
                </a:lnTo>
                <a:lnTo>
                  <a:pt x="812" y="497"/>
                </a:lnTo>
                <a:lnTo>
                  <a:pt x="831" y="501"/>
                </a:lnTo>
                <a:lnTo>
                  <a:pt x="851" y="504"/>
                </a:lnTo>
                <a:lnTo>
                  <a:pt x="871" y="507"/>
                </a:lnTo>
                <a:lnTo>
                  <a:pt x="891" y="509"/>
                </a:lnTo>
                <a:lnTo>
                  <a:pt x="907" y="511"/>
                </a:lnTo>
                <a:lnTo>
                  <a:pt x="925" y="514"/>
                </a:lnTo>
                <a:lnTo>
                  <a:pt x="941" y="514"/>
                </a:lnTo>
                <a:lnTo>
                  <a:pt x="958" y="512"/>
                </a:lnTo>
                <a:lnTo>
                  <a:pt x="985" y="510"/>
                </a:lnTo>
                <a:lnTo>
                  <a:pt x="1010" y="508"/>
                </a:lnTo>
                <a:lnTo>
                  <a:pt x="1037" y="507"/>
                </a:lnTo>
                <a:lnTo>
                  <a:pt x="1064" y="505"/>
                </a:lnTo>
                <a:lnTo>
                  <a:pt x="1078" y="504"/>
                </a:lnTo>
                <a:lnTo>
                  <a:pt x="1092" y="502"/>
                </a:lnTo>
                <a:lnTo>
                  <a:pt x="1090" y="500"/>
                </a:lnTo>
                <a:lnTo>
                  <a:pt x="1089" y="497"/>
                </a:lnTo>
                <a:lnTo>
                  <a:pt x="1090" y="500"/>
                </a:lnTo>
                <a:lnTo>
                  <a:pt x="1092" y="502"/>
                </a:lnTo>
                <a:lnTo>
                  <a:pt x="1096" y="505"/>
                </a:lnTo>
                <a:lnTo>
                  <a:pt x="1099" y="508"/>
                </a:lnTo>
                <a:lnTo>
                  <a:pt x="1103" y="509"/>
                </a:lnTo>
                <a:lnTo>
                  <a:pt x="1107" y="509"/>
                </a:lnTo>
                <a:lnTo>
                  <a:pt x="1119" y="508"/>
                </a:lnTo>
                <a:lnTo>
                  <a:pt x="1131" y="508"/>
                </a:lnTo>
                <a:lnTo>
                  <a:pt x="1142" y="507"/>
                </a:lnTo>
                <a:lnTo>
                  <a:pt x="1154" y="504"/>
                </a:lnTo>
                <a:lnTo>
                  <a:pt x="1162" y="505"/>
                </a:lnTo>
                <a:lnTo>
                  <a:pt x="1172" y="508"/>
                </a:lnTo>
                <a:lnTo>
                  <a:pt x="1185" y="509"/>
                </a:lnTo>
                <a:lnTo>
                  <a:pt x="1197" y="510"/>
                </a:lnTo>
                <a:lnTo>
                  <a:pt x="1201" y="511"/>
                </a:lnTo>
                <a:lnTo>
                  <a:pt x="1206" y="511"/>
                </a:lnTo>
                <a:lnTo>
                  <a:pt x="1209" y="510"/>
                </a:lnTo>
                <a:lnTo>
                  <a:pt x="1213" y="507"/>
                </a:lnTo>
                <a:lnTo>
                  <a:pt x="1215" y="511"/>
                </a:lnTo>
                <a:lnTo>
                  <a:pt x="1216" y="515"/>
                </a:lnTo>
                <a:lnTo>
                  <a:pt x="1216" y="518"/>
                </a:lnTo>
                <a:lnTo>
                  <a:pt x="1215" y="522"/>
                </a:lnTo>
                <a:lnTo>
                  <a:pt x="1213" y="524"/>
                </a:lnTo>
                <a:lnTo>
                  <a:pt x="1210" y="528"/>
                </a:lnTo>
                <a:lnTo>
                  <a:pt x="1202" y="528"/>
                </a:lnTo>
                <a:lnTo>
                  <a:pt x="1194" y="529"/>
                </a:lnTo>
                <a:lnTo>
                  <a:pt x="1187" y="531"/>
                </a:lnTo>
                <a:lnTo>
                  <a:pt x="1180" y="537"/>
                </a:lnTo>
                <a:lnTo>
                  <a:pt x="1171" y="540"/>
                </a:lnTo>
                <a:lnTo>
                  <a:pt x="1161" y="544"/>
                </a:lnTo>
                <a:lnTo>
                  <a:pt x="1152" y="547"/>
                </a:lnTo>
                <a:lnTo>
                  <a:pt x="1144" y="552"/>
                </a:lnTo>
                <a:lnTo>
                  <a:pt x="1128" y="564"/>
                </a:lnTo>
                <a:lnTo>
                  <a:pt x="1113" y="577"/>
                </a:lnTo>
                <a:lnTo>
                  <a:pt x="1110" y="580"/>
                </a:lnTo>
                <a:lnTo>
                  <a:pt x="1106" y="584"/>
                </a:lnTo>
                <a:lnTo>
                  <a:pt x="1104" y="587"/>
                </a:lnTo>
                <a:lnTo>
                  <a:pt x="1103" y="592"/>
                </a:lnTo>
                <a:lnTo>
                  <a:pt x="1099" y="591"/>
                </a:lnTo>
                <a:lnTo>
                  <a:pt x="1097" y="591"/>
                </a:lnTo>
                <a:lnTo>
                  <a:pt x="1095" y="592"/>
                </a:lnTo>
                <a:lnTo>
                  <a:pt x="1092" y="594"/>
                </a:lnTo>
                <a:lnTo>
                  <a:pt x="1089" y="602"/>
                </a:lnTo>
                <a:lnTo>
                  <a:pt x="1084" y="613"/>
                </a:lnTo>
                <a:lnTo>
                  <a:pt x="1084" y="609"/>
                </a:lnTo>
                <a:lnTo>
                  <a:pt x="1084" y="606"/>
                </a:lnTo>
                <a:lnTo>
                  <a:pt x="1084" y="602"/>
                </a:lnTo>
                <a:lnTo>
                  <a:pt x="1082" y="600"/>
                </a:lnTo>
                <a:lnTo>
                  <a:pt x="1079" y="600"/>
                </a:lnTo>
                <a:lnTo>
                  <a:pt x="1077" y="603"/>
                </a:lnTo>
                <a:lnTo>
                  <a:pt x="1070" y="612"/>
                </a:lnTo>
                <a:lnTo>
                  <a:pt x="1063" y="621"/>
                </a:lnTo>
                <a:lnTo>
                  <a:pt x="1047" y="631"/>
                </a:lnTo>
                <a:lnTo>
                  <a:pt x="1031" y="643"/>
                </a:lnTo>
                <a:lnTo>
                  <a:pt x="1016" y="654"/>
                </a:lnTo>
                <a:lnTo>
                  <a:pt x="1001" y="665"/>
                </a:lnTo>
                <a:lnTo>
                  <a:pt x="994" y="671"/>
                </a:lnTo>
                <a:lnTo>
                  <a:pt x="988" y="677"/>
                </a:lnTo>
                <a:lnTo>
                  <a:pt x="986" y="682"/>
                </a:lnTo>
                <a:lnTo>
                  <a:pt x="983" y="685"/>
                </a:lnTo>
                <a:lnTo>
                  <a:pt x="982" y="690"/>
                </a:lnTo>
                <a:lnTo>
                  <a:pt x="981" y="693"/>
                </a:lnTo>
                <a:lnTo>
                  <a:pt x="980" y="699"/>
                </a:lnTo>
                <a:lnTo>
                  <a:pt x="978" y="704"/>
                </a:lnTo>
                <a:lnTo>
                  <a:pt x="974" y="705"/>
                </a:lnTo>
                <a:lnTo>
                  <a:pt x="969" y="706"/>
                </a:lnTo>
                <a:lnTo>
                  <a:pt x="966" y="706"/>
                </a:lnTo>
                <a:lnTo>
                  <a:pt x="961" y="707"/>
                </a:lnTo>
                <a:lnTo>
                  <a:pt x="958" y="707"/>
                </a:lnTo>
                <a:lnTo>
                  <a:pt x="955" y="708"/>
                </a:lnTo>
                <a:lnTo>
                  <a:pt x="953" y="710"/>
                </a:lnTo>
                <a:lnTo>
                  <a:pt x="951" y="713"/>
                </a:lnTo>
                <a:lnTo>
                  <a:pt x="948" y="714"/>
                </a:lnTo>
                <a:lnTo>
                  <a:pt x="946" y="717"/>
                </a:lnTo>
                <a:lnTo>
                  <a:pt x="946" y="719"/>
                </a:lnTo>
                <a:lnTo>
                  <a:pt x="947" y="721"/>
                </a:lnTo>
                <a:lnTo>
                  <a:pt x="950" y="722"/>
                </a:lnTo>
                <a:lnTo>
                  <a:pt x="952" y="722"/>
                </a:lnTo>
                <a:lnTo>
                  <a:pt x="954" y="721"/>
                </a:lnTo>
                <a:lnTo>
                  <a:pt x="957" y="720"/>
                </a:lnTo>
                <a:lnTo>
                  <a:pt x="958" y="719"/>
                </a:lnTo>
                <a:lnTo>
                  <a:pt x="960" y="719"/>
                </a:lnTo>
                <a:lnTo>
                  <a:pt x="960" y="720"/>
                </a:lnTo>
                <a:lnTo>
                  <a:pt x="961" y="722"/>
                </a:lnTo>
                <a:lnTo>
                  <a:pt x="955" y="724"/>
                </a:lnTo>
                <a:lnTo>
                  <a:pt x="950" y="728"/>
                </a:lnTo>
                <a:lnTo>
                  <a:pt x="948" y="728"/>
                </a:lnTo>
                <a:lnTo>
                  <a:pt x="948" y="728"/>
                </a:lnTo>
                <a:lnTo>
                  <a:pt x="948" y="728"/>
                </a:lnTo>
                <a:lnTo>
                  <a:pt x="947" y="732"/>
                </a:lnTo>
                <a:lnTo>
                  <a:pt x="946" y="736"/>
                </a:lnTo>
                <a:lnTo>
                  <a:pt x="946" y="736"/>
                </a:lnTo>
                <a:lnTo>
                  <a:pt x="943" y="736"/>
                </a:lnTo>
                <a:lnTo>
                  <a:pt x="941" y="738"/>
                </a:lnTo>
                <a:lnTo>
                  <a:pt x="940" y="740"/>
                </a:lnTo>
                <a:lnTo>
                  <a:pt x="938" y="742"/>
                </a:lnTo>
                <a:lnTo>
                  <a:pt x="938" y="745"/>
                </a:lnTo>
                <a:lnTo>
                  <a:pt x="936" y="747"/>
                </a:lnTo>
                <a:lnTo>
                  <a:pt x="934" y="745"/>
                </a:lnTo>
                <a:lnTo>
                  <a:pt x="932" y="742"/>
                </a:lnTo>
                <a:lnTo>
                  <a:pt x="930" y="749"/>
                </a:lnTo>
                <a:lnTo>
                  <a:pt x="928" y="756"/>
                </a:lnTo>
                <a:lnTo>
                  <a:pt x="926" y="753"/>
                </a:lnTo>
                <a:lnTo>
                  <a:pt x="926" y="748"/>
                </a:lnTo>
                <a:lnTo>
                  <a:pt x="925" y="743"/>
                </a:lnTo>
                <a:lnTo>
                  <a:pt x="926" y="739"/>
                </a:lnTo>
                <a:lnTo>
                  <a:pt x="927" y="738"/>
                </a:lnTo>
                <a:lnTo>
                  <a:pt x="927" y="735"/>
                </a:lnTo>
                <a:lnTo>
                  <a:pt x="926" y="734"/>
                </a:lnTo>
                <a:lnTo>
                  <a:pt x="924" y="733"/>
                </a:lnTo>
                <a:lnTo>
                  <a:pt x="914" y="734"/>
                </a:lnTo>
                <a:lnTo>
                  <a:pt x="905" y="736"/>
                </a:lnTo>
                <a:lnTo>
                  <a:pt x="902" y="738"/>
                </a:lnTo>
                <a:lnTo>
                  <a:pt x="897" y="740"/>
                </a:lnTo>
                <a:lnTo>
                  <a:pt x="893" y="742"/>
                </a:lnTo>
                <a:lnTo>
                  <a:pt x="890" y="747"/>
                </a:lnTo>
                <a:lnTo>
                  <a:pt x="886" y="750"/>
                </a:lnTo>
                <a:lnTo>
                  <a:pt x="883" y="753"/>
                </a:lnTo>
                <a:lnTo>
                  <a:pt x="878" y="754"/>
                </a:lnTo>
                <a:lnTo>
                  <a:pt x="872" y="754"/>
                </a:lnTo>
                <a:lnTo>
                  <a:pt x="868" y="754"/>
                </a:lnTo>
                <a:lnTo>
                  <a:pt x="863" y="754"/>
                </a:lnTo>
                <a:lnTo>
                  <a:pt x="858" y="755"/>
                </a:lnTo>
                <a:lnTo>
                  <a:pt x="855" y="757"/>
                </a:lnTo>
                <a:lnTo>
                  <a:pt x="847" y="762"/>
                </a:lnTo>
                <a:lnTo>
                  <a:pt x="840" y="766"/>
                </a:lnTo>
                <a:lnTo>
                  <a:pt x="831" y="768"/>
                </a:lnTo>
                <a:lnTo>
                  <a:pt x="823" y="770"/>
                </a:lnTo>
                <a:lnTo>
                  <a:pt x="820" y="770"/>
                </a:lnTo>
                <a:lnTo>
                  <a:pt x="817" y="771"/>
                </a:lnTo>
                <a:lnTo>
                  <a:pt x="815" y="771"/>
                </a:lnTo>
                <a:lnTo>
                  <a:pt x="814" y="771"/>
                </a:lnTo>
                <a:lnTo>
                  <a:pt x="812" y="773"/>
                </a:lnTo>
                <a:lnTo>
                  <a:pt x="810" y="775"/>
                </a:lnTo>
                <a:lnTo>
                  <a:pt x="810" y="775"/>
                </a:lnTo>
                <a:lnTo>
                  <a:pt x="809" y="775"/>
                </a:lnTo>
                <a:lnTo>
                  <a:pt x="807" y="777"/>
                </a:lnTo>
                <a:lnTo>
                  <a:pt x="805" y="780"/>
                </a:lnTo>
                <a:lnTo>
                  <a:pt x="807" y="782"/>
                </a:lnTo>
                <a:lnTo>
                  <a:pt x="809" y="782"/>
                </a:lnTo>
                <a:lnTo>
                  <a:pt x="812" y="783"/>
                </a:lnTo>
                <a:lnTo>
                  <a:pt x="814" y="783"/>
                </a:lnTo>
                <a:lnTo>
                  <a:pt x="814" y="783"/>
                </a:lnTo>
                <a:lnTo>
                  <a:pt x="814" y="783"/>
                </a:lnTo>
                <a:lnTo>
                  <a:pt x="820" y="788"/>
                </a:lnTo>
                <a:lnTo>
                  <a:pt x="826" y="791"/>
                </a:lnTo>
                <a:lnTo>
                  <a:pt x="831" y="795"/>
                </a:lnTo>
                <a:lnTo>
                  <a:pt x="838" y="796"/>
                </a:lnTo>
                <a:lnTo>
                  <a:pt x="838" y="796"/>
                </a:lnTo>
                <a:lnTo>
                  <a:pt x="838" y="796"/>
                </a:lnTo>
                <a:lnTo>
                  <a:pt x="842" y="801"/>
                </a:lnTo>
                <a:lnTo>
                  <a:pt x="848" y="803"/>
                </a:lnTo>
                <a:lnTo>
                  <a:pt x="852" y="806"/>
                </a:lnTo>
                <a:lnTo>
                  <a:pt x="857" y="808"/>
                </a:lnTo>
                <a:lnTo>
                  <a:pt x="858" y="808"/>
                </a:lnTo>
                <a:lnTo>
                  <a:pt x="859" y="810"/>
                </a:lnTo>
                <a:lnTo>
                  <a:pt x="863" y="811"/>
                </a:lnTo>
                <a:lnTo>
                  <a:pt x="869" y="816"/>
                </a:lnTo>
                <a:lnTo>
                  <a:pt x="875" y="820"/>
                </a:lnTo>
                <a:lnTo>
                  <a:pt x="879" y="826"/>
                </a:lnTo>
                <a:lnTo>
                  <a:pt x="883" y="833"/>
                </a:lnTo>
                <a:lnTo>
                  <a:pt x="885" y="846"/>
                </a:lnTo>
                <a:lnTo>
                  <a:pt x="885" y="858"/>
                </a:lnTo>
                <a:lnTo>
                  <a:pt x="884" y="871"/>
                </a:lnTo>
                <a:lnTo>
                  <a:pt x="881" y="882"/>
                </a:lnTo>
                <a:lnTo>
                  <a:pt x="879" y="885"/>
                </a:lnTo>
                <a:lnTo>
                  <a:pt x="878" y="885"/>
                </a:lnTo>
                <a:lnTo>
                  <a:pt x="877" y="885"/>
                </a:lnTo>
                <a:lnTo>
                  <a:pt x="875" y="885"/>
                </a:lnTo>
                <a:lnTo>
                  <a:pt x="872" y="883"/>
                </a:lnTo>
                <a:lnTo>
                  <a:pt x="870" y="882"/>
                </a:lnTo>
                <a:lnTo>
                  <a:pt x="869" y="879"/>
                </a:lnTo>
                <a:lnTo>
                  <a:pt x="868" y="876"/>
                </a:lnTo>
                <a:lnTo>
                  <a:pt x="865" y="874"/>
                </a:lnTo>
                <a:lnTo>
                  <a:pt x="863" y="873"/>
                </a:lnTo>
                <a:lnTo>
                  <a:pt x="859" y="869"/>
                </a:lnTo>
                <a:lnTo>
                  <a:pt x="858" y="866"/>
                </a:lnTo>
                <a:lnTo>
                  <a:pt x="859" y="864"/>
                </a:lnTo>
                <a:lnTo>
                  <a:pt x="863" y="860"/>
                </a:lnTo>
                <a:lnTo>
                  <a:pt x="859" y="859"/>
                </a:lnTo>
                <a:lnTo>
                  <a:pt x="858" y="858"/>
                </a:lnTo>
                <a:lnTo>
                  <a:pt x="854" y="855"/>
                </a:lnTo>
                <a:lnTo>
                  <a:pt x="850" y="853"/>
                </a:lnTo>
                <a:lnTo>
                  <a:pt x="848" y="850"/>
                </a:lnTo>
                <a:lnTo>
                  <a:pt x="848" y="845"/>
                </a:lnTo>
                <a:lnTo>
                  <a:pt x="847" y="838"/>
                </a:lnTo>
                <a:lnTo>
                  <a:pt x="843" y="831"/>
                </a:lnTo>
                <a:lnTo>
                  <a:pt x="841" y="827"/>
                </a:lnTo>
                <a:lnTo>
                  <a:pt x="840" y="823"/>
                </a:lnTo>
                <a:lnTo>
                  <a:pt x="838" y="818"/>
                </a:lnTo>
                <a:lnTo>
                  <a:pt x="838" y="812"/>
                </a:lnTo>
                <a:lnTo>
                  <a:pt x="841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0"/>
                </a:lnTo>
                <a:lnTo>
                  <a:pt x="843" y="808"/>
                </a:lnTo>
                <a:lnTo>
                  <a:pt x="842" y="806"/>
                </a:lnTo>
                <a:lnTo>
                  <a:pt x="840" y="805"/>
                </a:lnTo>
                <a:lnTo>
                  <a:pt x="833" y="804"/>
                </a:lnTo>
                <a:lnTo>
                  <a:pt x="826" y="801"/>
                </a:lnTo>
                <a:lnTo>
                  <a:pt x="819" y="797"/>
                </a:lnTo>
                <a:lnTo>
                  <a:pt x="813" y="794"/>
                </a:lnTo>
                <a:lnTo>
                  <a:pt x="810" y="792"/>
                </a:lnTo>
                <a:lnTo>
                  <a:pt x="809" y="794"/>
                </a:lnTo>
                <a:lnTo>
                  <a:pt x="808" y="796"/>
                </a:lnTo>
                <a:lnTo>
                  <a:pt x="807" y="796"/>
                </a:lnTo>
                <a:lnTo>
                  <a:pt x="806" y="795"/>
                </a:lnTo>
                <a:lnTo>
                  <a:pt x="805" y="794"/>
                </a:lnTo>
                <a:lnTo>
                  <a:pt x="803" y="791"/>
                </a:lnTo>
                <a:lnTo>
                  <a:pt x="802" y="790"/>
                </a:lnTo>
                <a:lnTo>
                  <a:pt x="793" y="785"/>
                </a:lnTo>
                <a:lnTo>
                  <a:pt x="782" y="780"/>
                </a:lnTo>
                <a:lnTo>
                  <a:pt x="776" y="776"/>
                </a:lnTo>
                <a:lnTo>
                  <a:pt x="771" y="770"/>
                </a:lnTo>
                <a:lnTo>
                  <a:pt x="767" y="767"/>
                </a:lnTo>
                <a:lnTo>
                  <a:pt x="764" y="763"/>
                </a:lnTo>
                <a:lnTo>
                  <a:pt x="761" y="762"/>
                </a:lnTo>
                <a:lnTo>
                  <a:pt x="759" y="762"/>
                </a:lnTo>
                <a:lnTo>
                  <a:pt x="757" y="764"/>
                </a:lnTo>
                <a:lnTo>
                  <a:pt x="753" y="767"/>
                </a:lnTo>
                <a:lnTo>
                  <a:pt x="751" y="768"/>
                </a:lnTo>
                <a:lnTo>
                  <a:pt x="748" y="767"/>
                </a:lnTo>
                <a:lnTo>
                  <a:pt x="745" y="763"/>
                </a:lnTo>
                <a:lnTo>
                  <a:pt x="741" y="760"/>
                </a:lnTo>
                <a:lnTo>
                  <a:pt x="737" y="755"/>
                </a:lnTo>
                <a:lnTo>
                  <a:pt x="732" y="752"/>
                </a:lnTo>
                <a:lnTo>
                  <a:pt x="727" y="748"/>
                </a:lnTo>
                <a:lnTo>
                  <a:pt x="723" y="746"/>
                </a:lnTo>
                <a:lnTo>
                  <a:pt x="714" y="745"/>
                </a:lnTo>
                <a:lnTo>
                  <a:pt x="707" y="745"/>
                </a:lnTo>
                <a:lnTo>
                  <a:pt x="700" y="745"/>
                </a:lnTo>
                <a:lnTo>
                  <a:pt x="693" y="746"/>
                </a:lnTo>
                <a:lnTo>
                  <a:pt x="686" y="748"/>
                </a:lnTo>
                <a:lnTo>
                  <a:pt x="681" y="752"/>
                </a:lnTo>
                <a:lnTo>
                  <a:pt x="675" y="755"/>
                </a:lnTo>
                <a:lnTo>
                  <a:pt x="669" y="761"/>
                </a:lnTo>
                <a:lnTo>
                  <a:pt x="663" y="764"/>
                </a:lnTo>
                <a:lnTo>
                  <a:pt x="658" y="767"/>
                </a:lnTo>
                <a:lnTo>
                  <a:pt x="654" y="767"/>
                </a:lnTo>
                <a:lnTo>
                  <a:pt x="650" y="768"/>
                </a:lnTo>
                <a:lnTo>
                  <a:pt x="646" y="769"/>
                </a:lnTo>
                <a:lnTo>
                  <a:pt x="643" y="771"/>
                </a:lnTo>
                <a:lnTo>
                  <a:pt x="636" y="776"/>
                </a:lnTo>
                <a:lnTo>
                  <a:pt x="630" y="782"/>
                </a:lnTo>
                <a:lnTo>
                  <a:pt x="627" y="785"/>
                </a:lnTo>
                <a:lnTo>
                  <a:pt x="621" y="787"/>
                </a:lnTo>
                <a:lnTo>
                  <a:pt x="615" y="788"/>
                </a:lnTo>
                <a:lnTo>
                  <a:pt x="609" y="790"/>
                </a:lnTo>
                <a:lnTo>
                  <a:pt x="605" y="794"/>
                </a:lnTo>
                <a:lnTo>
                  <a:pt x="601" y="799"/>
                </a:lnTo>
                <a:lnTo>
                  <a:pt x="598" y="803"/>
                </a:lnTo>
                <a:lnTo>
                  <a:pt x="594" y="808"/>
                </a:lnTo>
                <a:lnTo>
                  <a:pt x="591" y="811"/>
                </a:lnTo>
                <a:lnTo>
                  <a:pt x="588" y="816"/>
                </a:lnTo>
                <a:lnTo>
                  <a:pt x="588" y="818"/>
                </a:lnTo>
                <a:lnTo>
                  <a:pt x="588" y="820"/>
                </a:lnTo>
                <a:lnTo>
                  <a:pt x="588" y="823"/>
                </a:lnTo>
                <a:lnTo>
                  <a:pt x="591" y="825"/>
                </a:lnTo>
                <a:lnTo>
                  <a:pt x="592" y="829"/>
                </a:lnTo>
                <a:lnTo>
                  <a:pt x="591" y="833"/>
                </a:lnTo>
                <a:lnTo>
                  <a:pt x="588" y="839"/>
                </a:lnTo>
                <a:lnTo>
                  <a:pt x="585" y="844"/>
                </a:lnTo>
                <a:lnTo>
                  <a:pt x="581" y="848"/>
                </a:lnTo>
                <a:lnTo>
                  <a:pt x="577" y="853"/>
                </a:lnTo>
                <a:lnTo>
                  <a:pt x="577" y="852"/>
                </a:lnTo>
                <a:lnTo>
                  <a:pt x="577" y="851"/>
                </a:lnTo>
                <a:lnTo>
                  <a:pt x="577" y="850"/>
                </a:lnTo>
                <a:lnTo>
                  <a:pt x="577" y="848"/>
                </a:lnTo>
                <a:lnTo>
                  <a:pt x="577" y="847"/>
                </a:lnTo>
                <a:lnTo>
                  <a:pt x="574" y="846"/>
                </a:lnTo>
                <a:lnTo>
                  <a:pt x="574" y="846"/>
                </a:lnTo>
                <a:lnTo>
                  <a:pt x="574" y="845"/>
                </a:lnTo>
                <a:lnTo>
                  <a:pt x="575" y="844"/>
                </a:lnTo>
                <a:lnTo>
                  <a:pt x="577" y="843"/>
                </a:lnTo>
                <a:lnTo>
                  <a:pt x="578" y="840"/>
                </a:lnTo>
                <a:lnTo>
                  <a:pt x="578" y="839"/>
                </a:lnTo>
                <a:lnTo>
                  <a:pt x="578" y="838"/>
                </a:lnTo>
                <a:lnTo>
                  <a:pt x="578" y="826"/>
                </a:lnTo>
                <a:lnTo>
                  <a:pt x="579" y="816"/>
                </a:lnTo>
                <a:lnTo>
                  <a:pt x="581" y="816"/>
                </a:lnTo>
                <a:lnTo>
                  <a:pt x="582" y="815"/>
                </a:lnTo>
                <a:close/>
                <a:moveTo>
                  <a:pt x="1519" y="1322"/>
                </a:moveTo>
                <a:lnTo>
                  <a:pt x="1520" y="1322"/>
                </a:lnTo>
                <a:lnTo>
                  <a:pt x="1520" y="1322"/>
                </a:lnTo>
                <a:lnTo>
                  <a:pt x="1520" y="1322"/>
                </a:lnTo>
                <a:lnTo>
                  <a:pt x="1519" y="1322"/>
                </a:lnTo>
                <a:close/>
                <a:moveTo>
                  <a:pt x="1520" y="1323"/>
                </a:moveTo>
                <a:lnTo>
                  <a:pt x="1523" y="1322"/>
                </a:lnTo>
                <a:lnTo>
                  <a:pt x="1524" y="1320"/>
                </a:lnTo>
                <a:lnTo>
                  <a:pt x="1525" y="1319"/>
                </a:lnTo>
                <a:lnTo>
                  <a:pt x="1527" y="1318"/>
                </a:lnTo>
                <a:lnTo>
                  <a:pt x="1528" y="1315"/>
                </a:lnTo>
                <a:lnTo>
                  <a:pt x="1530" y="1312"/>
                </a:lnTo>
                <a:lnTo>
                  <a:pt x="1526" y="1313"/>
                </a:lnTo>
                <a:lnTo>
                  <a:pt x="1525" y="1314"/>
                </a:lnTo>
                <a:lnTo>
                  <a:pt x="1523" y="1316"/>
                </a:lnTo>
                <a:lnTo>
                  <a:pt x="1523" y="1319"/>
                </a:lnTo>
                <a:lnTo>
                  <a:pt x="1523" y="1319"/>
                </a:lnTo>
                <a:lnTo>
                  <a:pt x="1520" y="1320"/>
                </a:lnTo>
                <a:lnTo>
                  <a:pt x="1519" y="1322"/>
                </a:lnTo>
                <a:lnTo>
                  <a:pt x="1519" y="1323"/>
                </a:lnTo>
                <a:lnTo>
                  <a:pt x="1519" y="1323"/>
                </a:lnTo>
                <a:lnTo>
                  <a:pt x="1518" y="1327"/>
                </a:lnTo>
                <a:lnTo>
                  <a:pt x="1516" y="1330"/>
                </a:lnTo>
                <a:lnTo>
                  <a:pt x="1516" y="1332"/>
                </a:lnTo>
                <a:lnTo>
                  <a:pt x="1516" y="1333"/>
                </a:lnTo>
                <a:lnTo>
                  <a:pt x="1517" y="1334"/>
                </a:lnTo>
                <a:lnTo>
                  <a:pt x="1518" y="1333"/>
                </a:lnTo>
                <a:lnTo>
                  <a:pt x="1520" y="1329"/>
                </a:lnTo>
                <a:lnTo>
                  <a:pt x="1520" y="1323"/>
                </a:lnTo>
                <a:close/>
                <a:moveTo>
                  <a:pt x="1513" y="1349"/>
                </a:moveTo>
                <a:lnTo>
                  <a:pt x="1512" y="1350"/>
                </a:lnTo>
                <a:lnTo>
                  <a:pt x="1512" y="1351"/>
                </a:lnTo>
                <a:lnTo>
                  <a:pt x="1512" y="1353"/>
                </a:lnTo>
                <a:lnTo>
                  <a:pt x="1513" y="1353"/>
                </a:lnTo>
                <a:lnTo>
                  <a:pt x="1514" y="1353"/>
                </a:lnTo>
                <a:lnTo>
                  <a:pt x="1514" y="1351"/>
                </a:lnTo>
                <a:lnTo>
                  <a:pt x="1514" y="1350"/>
                </a:lnTo>
                <a:lnTo>
                  <a:pt x="1513" y="1349"/>
                </a:lnTo>
                <a:close/>
                <a:moveTo>
                  <a:pt x="1505" y="1353"/>
                </a:moveTo>
                <a:lnTo>
                  <a:pt x="1505" y="1351"/>
                </a:lnTo>
                <a:lnTo>
                  <a:pt x="1505" y="1351"/>
                </a:lnTo>
                <a:lnTo>
                  <a:pt x="1506" y="1351"/>
                </a:lnTo>
                <a:lnTo>
                  <a:pt x="1506" y="1351"/>
                </a:lnTo>
                <a:lnTo>
                  <a:pt x="1510" y="1349"/>
                </a:lnTo>
                <a:lnTo>
                  <a:pt x="1510" y="1347"/>
                </a:lnTo>
                <a:lnTo>
                  <a:pt x="1510" y="1343"/>
                </a:lnTo>
                <a:lnTo>
                  <a:pt x="1510" y="1341"/>
                </a:lnTo>
                <a:lnTo>
                  <a:pt x="1509" y="1340"/>
                </a:lnTo>
                <a:lnTo>
                  <a:pt x="1507" y="1340"/>
                </a:lnTo>
                <a:lnTo>
                  <a:pt x="1505" y="1343"/>
                </a:lnTo>
                <a:lnTo>
                  <a:pt x="1505" y="1348"/>
                </a:lnTo>
                <a:lnTo>
                  <a:pt x="1505" y="1350"/>
                </a:lnTo>
                <a:lnTo>
                  <a:pt x="1505" y="1351"/>
                </a:lnTo>
                <a:lnTo>
                  <a:pt x="1505" y="1351"/>
                </a:lnTo>
                <a:lnTo>
                  <a:pt x="1505" y="1351"/>
                </a:lnTo>
                <a:lnTo>
                  <a:pt x="1505" y="1353"/>
                </a:lnTo>
                <a:lnTo>
                  <a:pt x="1505" y="1353"/>
                </a:lnTo>
                <a:lnTo>
                  <a:pt x="1503" y="1349"/>
                </a:lnTo>
                <a:lnTo>
                  <a:pt x="1503" y="1346"/>
                </a:lnTo>
                <a:lnTo>
                  <a:pt x="1501" y="1343"/>
                </a:lnTo>
                <a:lnTo>
                  <a:pt x="1501" y="1341"/>
                </a:lnTo>
                <a:lnTo>
                  <a:pt x="1505" y="1339"/>
                </a:lnTo>
                <a:lnTo>
                  <a:pt x="1507" y="1336"/>
                </a:lnTo>
                <a:lnTo>
                  <a:pt x="1510" y="1333"/>
                </a:lnTo>
                <a:lnTo>
                  <a:pt x="1511" y="1328"/>
                </a:lnTo>
                <a:lnTo>
                  <a:pt x="1511" y="1323"/>
                </a:lnTo>
                <a:lnTo>
                  <a:pt x="1512" y="1320"/>
                </a:lnTo>
                <a:lnTo>
                  <a:pt x="1514" y="1315"/>
                </a:lnTo>
                <a:lnTo>
                  <a:pt x="1517" y="1312"/>
                </a:lnTo>
                <a:lnTo>
                  <a:pt x="1519" y="1309"/>
                </a:lnTo>
                <a:lnTo>
                  <a:pt x="1520" y="1307"/>
                </a:lnTo>
                <a:lnTo>
                  <a:pt x="1520" y="1304"/>
                </a:lnTo>
                <a:lnTo>
                  <a:pt x="1519" y="1300"/>
                </a:lnTo>
                <a:lnTo>
                  <a:pt x="1514" y="1305"/>
                </a:lnTo>
                <a:lnTo>
                  <a:pt x="1510" y="1309"/>
                </a:lnTo>
                <a:lnTo>
                  <a:pt x="1506" y="1315"/>
                </a:lnTo>
                <a:lnTo>
                  <a:pt x="1504" y="1321"/>
                </a:lnTo>
                <a:lnTo>
                  <a:pt x="1499" y="1335"/>
                </a:lnTo>
                <a:lnTo>
                  <a:pt x="1493" y="1349"/>
                </a:lnTo>
                <a:lnTo>
                  <a:pt x="1491" y="1355"/>
                </a:lnTo>
                <a:lnTo>
                  <a:pt x="1489" y="1361"/>
                </a:lnTo>
                <a:lnTo>
                  <a:pt x="1486" y="1367"/>
                </a:lnTo>
                <a:lnTo>
                  <a:pt x="1485" y="1374"/>
                </a:lnTo>
                <a:lnTo>
                  <a:pt x="1483" y="1385"/>
                </a:lnTo>
                <a:lnTo>
                  <a:pt x="1480" y="1398"/>
                </a:lnTo>
                <a:lnTo>
                  <a:pt x="1480" y="1400"/>
                </a:lnTo>
                <a:lnTo>
                  <a:pt x="1482" y="1402"/>
                </a:lnTo>
                <a:lnTo>
                  <a:pt x="1483" y="1403"/>
                </a:lnTo>
                <a:lnTo>
                  <a:pt x="1485" y="1403"/>
                </a:lnTo>
                <a:lnTo>
                  <a:pt x="1487" y="1403"/>
                </a:lnTo>
                <a:lnTo>
                  <a:pt x="1489" y="1403"/>
                </a:lnTo>
                <a:lnTo>
                  <a:pt x="1490" y="1400"/>
                </a:lnTo>
                <a:lnTo>
                  <a:pt x="1489" y="1398"/>
                </a:lnTo>
                <a:lnTo>
                  <a:pt x="1489" y="1393"/>
                </a:lnTo>
                <a:lnTo>
                  <a:pt x="1489" y="1388"/>
                </a:lnTo>
                <a:lnTo>
                  <a:pt x="1489" y="1384"/>
                </a:lnTo>
                <a:lnTo>
                  <a:pt x="1487" y="1381"/>
                </a:lnTo>
                <a:lnTo>
                  <a:pt x="1487" y="1378"/>
                </a:lnTo>
                <a:lnTo>
                  <a:pt x="1487" y="1377"/>
                </a:lnTo>
                <a:lnTo>
                  <a:pt x="1490" y="1376"/>
                </a:lnTo>
                <a:lnTo>
                  <a:pt x="1491" y="1375"/>
                </a:lnTo>
                <a:lnTo>
                  <a:pt x="1494" y="1372"/>
                </a:lnTo>
                <a:lnTo>
                  <a:pt x="1497" y="1371"/>
                </a:lnTo>
                <a:lnTo>
                  <a:pt x="1497" y="1368"/>
                </a:lnTo>
                <a:lnTo>
                  <a:pt x="1494" y="1365"/>
                </a:lnTo>
                <a:lnTo>
                  <a:pt x="1496" y="1362"/>
                </a:lnTo>
                <a:lnTo>
                  <a:pt x="1496" y="1358"/>
                </a:lnTo>
                <a:lnTo>
                  <a:pt x="1497" y="1355"/>
                </a:lnTo>
                <a:lnTo>
                  <a:pt x="1500" y="1353"/>
                </a:lnTo>
                <a:lnTo>
                  <a:pt x="1501" y="1355"/>
                </a:lnTo>
                <a:lnTo>
                  <a:pt x="1504" y="1355"/>
                </a:lnTo>
                <a:lnTo>
                  <a:pt x="1505" y="1354"/>
                </a:lnTo>
                <a:lnTo>
                  <a:pt x="1505" y="1353"/>
                </a:lnTo>
                <a:lnTo>
                  <a:pt x="1505" y="1353"/>
                </a:lnTo>
                <a:lnTo>
                  <a:pt x="1505" y="1353"/>
                </a:lnTo>
                <a:close/>
                <a:moveTo>
                  <a:pt x="843" y="817"/>
                </a:moveTo>
                <a:lnTo>
                  <a:pt x="844" y="819"/>
                </a:lnTo>
                <a:lnTo>
                  <a:pt x="845" y="822"/>
                </a:lnTo>
                <a:lnTo>
                  <a:pt x="847" y="823"/>
                </a:lnTo>
                <a:lnTo>
                  <a:pt x="849" y="824"/>
                </a:lnTo>
                <a:lnTo>
                  <a:pt x="851" y="824"/>
                </a:lnTo>
                <a:lnTo>
                  <a:pt x="852" y="823"/>
                </a:lnTo>
                <a:lnTo>
                  <a:pt x="852" y="822"/>
                </a:lnTo>
                <a:lnTo>
                  <a:pt x="854" y="820"/>
                </a:lnTo>
                <a:lnTo>
                  <a:pt x="854" y="818"/>
                </a:lnTo>
                <a:lnTo>
                  <a:pt x="852" y="816"/>
                </a:lnTo>
                <a:lnTo>
                  <a:pt x="850" y="815"/>
                </a:lnTo>
                <a:lnTo>
                  <a:pt x="848" y="813"/>
                </a:lnTo>
                <a:lnTo>
                  <a:pt x="845" y="813"/>
                </a:lnTo>
                <a:lnTo>
                  <a:pt x="843" y="812"/>
                </a:lnTo>
                <a:lnTo>
                  <a:pt x="843" y="815"/>
                </a:lnTo>
                <a:lnTo>
                  <a:pt x="843" y="817"/>
                </a:lnTo>
                <a:close/>
                <a:moveTo>
                  <a:pt x="1662" y="874"/>
                </a:moveTo>
                <a:lnTo>
                  <a:pt x="1659" y="874"/>
                </a:lnTo>
                <a:lnTo>
                  <a:pt x="1658" y="875"/>
                </a:lnTo>
                <a:lnTo>
                  <a:pt x="1657" y="876"/>
                </a:lnTo>
                <a:lnTo>
                  <a:pt x="1657" y="878"/>
                </a:lnTo>
                <a:lnTo>
                  <a:pt x="1657" y="881"/>
                </a:lnTo>
                <a:lnTo>
                  <a:pt x="1655" y="883"/>
                </a:lnTo>
                <a:lnTo>
                  <a:pt x="1657" y="887"/>
                </a:lnTo>
                <a:lnTo>
                  <a:pt x="1661" y="889"/>
                </a:lnTo>
                <a:lnTo>
                  <a:pt x="1663" y="888"/>
                </a:lnTo>
                <a:lnTo>
                  <a:pt x="1665" y="887"/>
                </a:lnTo>
                <a:lnTo>
                  <a:pt x="1666" y="885"/>
                </a:lnTo>
                <a:lnTo>
                  <a:pt x="1666" y="882"/>
                </a:lnTo>
                <a:lnTo>
                  <a:pt x="1665" y="878"/>
                </a:lnTo>
                <a:lnTo>
                  <a:pt x="1662" y="874"/>
                </a:lnTo>
                <a:close/>
                <a:moveTo>
                  <a:pt x="1418" y="1265"/>
                </a:moveTo>
                <a:lnTo>
                  <a:pt x="1414" y="1265"/>
                </a:lnTo>
                <a:lnTo>
                  <a:pt x="1411" y="1266"/>
                </a:lnTo>
                <a:lnTo>
                  <a:pt x="1411" y="1269"/>
                </a:lnTo>
                <a:lnTo>
                  <a:pt x="1411" y="1272"/>
                </a:lnTo>
                <a:lnTo>
                  <a:pt x="1414" y="1276"/>
                </a:lnTo>
                <a:lnTo>
                  <a:pt x="1418" y="1278"/>
                </a:lnTo>
                <a:lnTo>
                  <a:pt x="1423" y="1279"/>
                </a:lnTo>
                <a:lnTo>
                  <a:pt x="1428" y="1279"/>
                </a:lnTo>
                <a:lnTo>
                  <a:pt x="1430" y="1278"/>
                </a:lnTo>
                <a:lnTo>
                  <a:pt x="1430" y="1276"/>
                </a:lnTo>
                <a:lnTo>
                  <a:pt x="1427" y="1272"/>
                </a:lnTo>
                <a:lnTo>
                  <a:pt x="1424" y="1269"/>
                </a:lnTo>
                <a:lnTo>
                  <a:pt x="1422" y="1266"/>
                </a:lnTo>
                <a:lnTo>
                  <a:pt x="1418" y="1265"/>
                </a:lnTo>
                <a:close/>
                <a:moveTo>
                  <a:pt x="1661" y="872"/>
                </a:moveTo>
                <a:lnTo>
                  <a:pt x="1663" y="871"/>
                </a:lnTo>
                <a:lnTo>
                  <a:pt x="1665" y="868"/>
                </a:lnTo>
                <a:lnTo>
                  <a:pt x="1666" y="866"/>
                </a:lnTo>
                <a:lnTo>
                  <a:pt x="1668" y="861"/>
                </a:lnTo>
                <a:lnTo>
                  <a:pt x="1666" y="848"/>
                </a:lnTo>
                <a:lnTo>
                  <a:pt x="1666" y="836"/>
                </a:lnTo>
                <a:lnTo>
                  <a:pt x="1666" y="823"/>
                </a:lnTo>
                <a:lnTo>
                  <a:pt x="1666" y="810"/>
                </a:lnTo>
                <a:lnTo>
                  <a:pt x="1666" y="795"/>
                </a:lnTo>
                <a:lnTo>
                  <a:pt x="1664" y="781"/>
                </a:lnTo>
                <a:lnTo>
                  <a:pt x="1662" y="766"/>
                </a:lnTo>
                <a:lnTo>
                  <a:pt x="1656" y="752"/>
                </a:lnTo>
                <a:lnTo>
                  <a:pt x="1654" y="753"/>
                </a:lnTo>
                <a:lnTo>
                  <a:pt x="1654" y="754"/>
                </a:lnTo>
                <a:lnTo>
                  <a:pt x="1652" y="756"/>
                </a:lnTo>
                <a:lnTo>
                  <a:pt x="1654" y="757"/>
                </a:lnTo>
                <a:lnTo>
                  <a:pt x="1655" y="760"/>
                </a:lnTo>
                <a:lnTo>
                  <a:pt x="1656" y="762"/>
                </a:lnTo>
                <a:lnTo>
                  <a:pt x="1657" y="782"/>
                </a:lnTo>
                <a:lnTo>
                  <a:pt x="1657" y="803"/>
                </a:lnTo>
                <a:lnTo>
                  <a:pt x="1656" y="823"/>
                </a:lnTo>
                <a:lnTo>
                  <a:pt x="1652" y="843"/>
                </a:lnTo>
                <a:lnTo>
                  <a:pt x="1652" y="847"/>
                </a:lnTo>
                <a:lnTo>
                  <a:pt x="1650" y="852"/>
                </a:lnTo>
                <a:lnTo>
                  <a:pt x="1648" y="855"/>
                </a:lnTo>
                <a:lnTo>
                  <a:pt x="1646" y="859"/>
                </a:lnTo>
                <a:lnTo>
                  <a:pt x="1648" y="862"/>
                </a:lnTo>
                <a:lnTo>
                  <a:pt x="1649" y="867"/>
                </a:lnTo>
                <a:lnTo>
                  <a:pt x="1651" y="869"/>
                </a:lnTo>
                <a:lnTo>
                  <a:pt x="1655" y="872"/>
                </a:lnTo>
                <a:lnTo>
                  <a:pt x="1657" y="872"/>
                </a:lnTo>
                <a:lnTo>
                  <a:pt x="1661" y="872"/>
                </a:lnTo>
                <a:close/>
                <a:moveTo>
                  <a:pt x="1559" y="747"/>
                </a:moveTo>
                <a:lnTo>
                  <a:pt x="1559" y="747"/>
                </a:lnTo>
                <a:lnTo>
                  <a:pt x="1559" y="747"/>
                </a:lnTo>
                <a:lnTo>
                  <a:pt x="1559" y="747"/>
                </a:lnTo>
                <a:close/>
                <a:moveTo>
                  <a:pt x="1556" y="606"/>
                </a:moveTo>
                <a:lnTo>
                  <a:pt x="1553" y="605"/>
                </a:lnTo>
                <a:lnTo>
                  <a:pt x="1552" y="602"/>
                </a:lnTo>
                <a:lnTo>
                  <a:pt x="1553" y="605"/>
                </a:lnTo>
                <a:lnTo>
                  <a:pt x="1556" y="606"/>
                </a:lnTo>
                <a:close/>
                <a:moveTo>
                  <a:pt x="1552" y="939"/>
                </a:moveTo>
                <a:lnTo>
                  <a:pt x="1552" y="938"/>
                </a:lnTo>
                <a:lnTo>
                  <a:pt x="1553" y="936"/>
                </a:lnTo>
                <a:lnTo>
                  <a:pt x="1553" y="935"/>
                </a:lnTo>
                <a:lnTo>
                  <a:pt x="1553" y="934"/>
                </a:lnTo>
                <a:lnTo>
                  <a:pt x="1551" y="932"/>
                </a:lnTo>
                <a:lnTo>
                  <a:pt x="1551" y="931"/>
                </a:lnTo>
                <a:lnTo>
                  <a:pt x="1551" y="929"/>
                </a:lnTo>
                <a:lnTo>
                  <a:pt x="1551" y="928"/>
                </a:lnTo>
                <a:lnTo>
                  <a:pt x="1551" y="929"/>
                </a:lnTo>
                <a:lnTo>
                  <a:pt x="1551" y="931"/>
                </a:lnTo>
                <a:lnTo>
                  <a:pt x="1551" y="932"/>
                </a:lnTo>
                <a:lnTo>
                  <a:pt x="1553" y="934"/>
                </a:lnTo>
                <a:lnTo>
                  <a:pt x="1553" y="935"/>
                </a:lnTo>
                <a:lnTo>
                  <a:pt x="1553" y="936"/>
                </a:lnTo>
                <a:lnTo>
                  <a:pt x="1552" y="938"/>
                </a:lnTo>
                <a:lnTo>
                  <a:pt x="1552" y="939"/>
                </a:lnTo>
                <a:close/>
                <a:moveTo>
                  <a:pt x="1538" y="655"/>
                </a:moveTo>
                <a:lnTo>
                  <a:pt x="1538" y="651"/>
                </a:lnTo>
                <a:lnTo>
                  <a:pt x="1538" y="648"/>
                </a:lnTo>
                <a:lnTo>
                  <a:pt x="1538" y="643"/>
                </a:lnTo>
                <a:lnTo>
                  <a:pt x="1539" y="640"/>
                </a:lnTo>
                <a:lnTo>
                  <a:pt x="1539" y="640"/>
                </a:lnTo>
                <a:lnTo>
                  <a:pt x="1539" y="640"/>
                </a:lnTo>
                <a:lnTo>
                  <a:pt x="1539" y="640"/>
                </a:lnTo>
                <a:lnTo>
                  <a:pt x="1539" y="643"/>
                </a:lnTo>
                <a:lnTo>
                  <a:pt x="1538" y="648"/>
                </a:lnTo>
                <a:lnTo>
                  <a:pt x="1538" y="651"/>
                </a:lnTo>
                <a:lnTo>
                  <a:pt x="1538" y="655"/>
                </a:lnTo>
                <a:lnTo>
                  <a:pt x="1545" y="662"/>
                </a:lnTo>
                <a:lnTo>
                  <a:pt x="1548" y="668"/>
                </a:lnTo>
                <a:lnTo>
                  <a:pt x="1549" y="670"/>
                </a:lnTo>
                <a:lnTo>
                  <a:pt x="1551" y="673"/>
                </a:lnTo>
                <a:lnTo>
                  <a:pt x="1549" y="676"/>
                </a:lnTo>
                <a:lnTo>
                  <a:pt x="1549" y="679"/>
                </a:lnTo>
                <a:lnTo>
                  <a:pt x="1549" y="676"/>
                </a:lnTo>
                <a:lnTo>
                  <a:pt x="1551" y="673"/>
                </a:lnTo>
                <a:lnTo>
                  <a:pt x="1549" y="670"/>
                </a:lnTo>
                <a:lnTo>
                  <a:pt x="1548" y="668"/>
                </a:lnTo>
                <a:lnTo>
                  <a:pt x="1545" y="662"/>
                </a:lnTo>
                <a:lnTo>
                  <a:pt x="1538" y="655"/>
                </a:lnTo>
                <a:close/>
                <a:moveTo>
                  <a:pt x="1545" y="825"/>
                </a:moveTo>
                <a:lnTo>
                  <a:pt x="1540" y="825"/>
                </a:lnTo>
                <a:lnTo>
                  <a:pt x="1537" y="824"/>
                </a:lnTo>
                <a:lnTo>
                  <a:pt x="1540" y="825"/>
                </a:lnTo>
                <a:lnTo>
                  <a:pt x="1545" y="825"/>
                </a:lnTo>
                <a:lnTo>
                  <a:pt x="1545" y="825"/>
                </a:lnTo>
                <a:close/>
                <a:moveTo>
                  <a:pt x="1538" y="794"/>
                </a:moveTo>
                <a:lnTo>
                  <a:pt x="1539" y="798"/>
                </a:lnTo>
                <a:lnTo>
                  <a:pt x="1540" y="803"/>
                </a:lnTo>
                <a:lnTo>
                  <a:pt x="1539" y="798"/>
                </a:lnTo>
                <a:lnTo>
                  <a:pt x="1538" y="794"/>
                </a:lnTo>
                <a:lnTo>
                  <a:pt x="1537" y="792"/>
                </a:lnTo>
                <a:lnTo>
                  <a:pt x="1535" y="792"/>
                </a:lnTo>
                <a:lnTo>
                  <a:pt x="1537" y="792"/>
                </a:lnTo>
                <a:lnTo>
                  <a:pt x="1538" y="794"/>
                </a:lnTo>
                <a:close/>
                <a:moveTo>
                  <a:pt x="1534" y="741"/>
                </a:moveTo>
                <a:lnTo>
                  <a:pt x="1534" y="740"/>
                </a:lnTo>
                <a:lnTo>
                  <a:pt x="1535" y="739"/>
                </a:lnTo>
                <a:lnTo>
                  <a:pt x="1534" y="740"/>
                </a:lnTo>
                <a:lnTo>
                  <a:pt x="1534" y="741"/>
                </a:lnTo>
                <a:close/>
                <a:moveTo>
                  <a:pt x="1538" y="738"/>
                </a:moveTo>
                <a:lnTo>
                  <a:pt x="1538" y="738"/>
                </a:lnTo>
                <a:lnTo>
                  <a:pt x="1538" y="735"/>
                </a:lnTo>
                <a:lnTo>
                  <a:pt x="1539" y="734"/>
                </a:lnTo>
                <a:lnTo>
                  <a:pt x="1538" y="735"/>
                </a:lnTo>
                <a:lnTo>
                  <a:pt x="1538" y="738"/>
                </a:lnTo>
                <a:lnTo>
                  <a:pt x="1538" y="738"/>
                </a:lnTo>
                <a:close/>
                <a:moveTo>
                  <a:pt x="1544" y="757"/>
                </a:moveTo>
                <a:lnTo>
                  <a:pt x="1540" y="756"/>
                </a:lnTo>
                <a:lnTo>
                  <a:pt x="1537" y="755"/>
                </a:lnTo>
                <a:lnTo>
                  <a:pt x="1537" y="754"/>
                </a:lnTo>
                <a:lnTo>
                  <a:pt x="1537" y="753"/>
                </a:lnTo>
                <a:lnTo>
                  <a:pt x="1537" y="754"/>
                </a:lnTo>
                <a:lnTo>
                  <a:pt x="1537" y="755"/>
                </a:lnTo>
                <a:lnTo>
                  <a:pt x="1540" y="756"/>
                </a:lnTo>
                <a:lnTo>
                  <a:pt x="1544" y="757"/>
                </a:lnTo>
                <a:close/>
                <a:moveTo>
                  <a:pt x="1533" y="633"/>
                </a:moveTo>
                <a:lnTo>
                  <a:pt x="1535" y="637"/>
                </a:lnTo>
                <a:lnTo>
                  <a:pt x="1539" y="640"/>
                </a:lnTo>
                <a:lnTo>
                  <a:pt x="1535" y="637"/>
                </a:lnTo>
                <a:lnTo>
                  <a:pt x="1533" y="633"/>
                </a:lnTo>
                <a:close/>
                <a:moveTo>
                  <a:pt x="1470" y="1255"/>
                </a:moveTo>
                <a:lnTo>
                  <a:pt x="1471" y="1257"/>
                </a:lnTo>
                <a:lnTo>
                  <a:pt x="1471" y="1259"/>
                </a:lnTo>
                <a:lnTo>
                  <a:pt x="1471" y="1257"/>
                </a:lnTo>
                <a:lnTo>
                  <a:pt x="1470" y="1255"/>
                </a:lnTo>
                <a:lnTo>
                  <a:pt x="1468" y="1252"/>
                </a:lnTo>
                <a:lnTo>
                  <a:pt x="1468" y="1249"/>
                </a:lnTo>
                <a:lnTo>
                  <a:pt x="1468" y="1252"/>
                </a:lnTo>
                <a:lnTo>
                  <a:pt x="1470" y="1255"/>
                </a:lnTo>
                <a:close/>
                <a:moveTo>
                  <a:pt x="1521" y="568"/>
                </a:moveTo>
                <a:lnTo>
                  <a:pt x="1526" y="571"/>
                </a:lnTo>
                <a:lnTo>
                  <a:pt x="1531" y="572"/>
                </a:lnTo>
                <a:lnTo>
                  <a:pt x="1526" y="571"/>
                </a:lnTo>
                <a:lnTo>
                  <a:pt x="1521" y="568"/>
                </a:lnTo>
                <a:close/>
                <a:moveTo>
                  <a:pt x="1528" y="622"/>
                </a:move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close/>
                <a:moveTo>
                  <a:pt x="1530" y="679"/>
                </a:moveTo>
                <a:lnTo>
                  <a:pt x="1527" y="678"/>
                </a:lnTo>
                <a:lnTo>
                  <a:pt x="1526" y="678"/>
                </a:lnTo>
                <a:lnTo>
                  <a:pt x="1527" y="678"/>
                </a:lnTo>
                <a:lnTo>
                  <a:pt x="1530" y="679"/>
                </a:lnTo>
                <a:lnTo>
                  <a:pt x="1530" y="679"/>
                </a:lnTo>
                <a:close/>
                <a:moveTo>
                  <a:pt x="1527" y="636"/>
                </a:moveTo>
                <a:lnTo>
                  <a:pt x="1526" y="629"/>
                </a:lnTo>
                <a:lnTo>
                  <a:pt x="1525" y="621"/>
                </a:lnTo>
                <a:lnTo>
                  <a:pt x="1526" y="629"/>
                </a:lnTo>
                <a:lnTo>
                  <a:pt x="1527" y="636"/>
                </a:lnTo>
                <a:close/>
                <a:moveTo>
                  <a:pt x="1526" y="620"/>
                </a:moveTo>
                <a:lnTo>
                  <a:pt x="1527" y="621"/>
                </a:lnTo>
                <a:lnTo>
                  <a:pt x="1528" y="622"/>
                </a:lnTo>
                <a:lnTo>
                  <a:pt x="1527" y="621"/>
                </a:lnTo>
                <a:lnTo>
                  <a:pt x="1526" y="620"/>
                </a:lnTo>
                <a:close/>
                <a:moveTo>
                  <a:pt x="1519" y="684"/>
                </a:moveTo>
                <a:lnTo>
                  <a:pt x="1519" y="682"/>
                </a:lnTo>
                <a:lnTo>
                  <a:pt x="1520" y="679"/>
                </a:lnTo>
                <a:lnTo>
                  <a:pt x="1521" y="678"/>
                </a:lnTo>
                <a:lnTo>
                  <a:pt x="1524" y="678"/>
                </a:lnTo>
                <a:lnTo>
                  <a:pt x="1521" y="678"/>
                </a:lnTo>
                <a:lnTo>
                  <a:pt x="1520" y="679"/>
                </a:lnTo>
                <a:lnTo>
                  <a:pt x="1519" y="682"/>
                </a:lnTo>
                <a:lnTo>
                  <a:pt x="1519" y="684"/>
                </a:lnTo>
                <a:close/>
                <a:moveTo>
                  <a:pt x="1504" y="734"/>
                </a:moveTo>
                <a:lnTo>
                  <a:pt x="1503" y="732"/>
                </a:lnTo>
                <a:lnTo>
                  <a:pt x="1501" y="728"/>
                </a:lnTo>
                <a:lnTo>
                  <a:pt x="1503" y="732"/>
                </a:lnTo>
                <a:lnTo>
                  <a:pt x="1504" y="734"/>
                </a:lnTo>
                <a:lnTo>
                  <a:pt x="1506" y="733"/>
                </a:lnTo>
                <a:lnTo>
                  <a:pt x="1509" y="733"/>
                </a:lnTo>
                <a:lnTo>
                  <a:pt x="1510" y="734"/>
                </a:lnTo>
                <a:lnTo>
                  <a:pt x="1510" y="736"/>
                </a:lnTo>
                <a:lnTo>
                  <a:pt x="1510" y="734"/>
                </a:lnTo>
                <a:lnTo>
                  <a:pt x="1509" y="733"/>
                </a:lnTo>
                <a:lnTo>
                  <a:pt x="1506" y="733"/>
                </a:lnTo>
                <a:lnTo>
                  <a:pt x="1504" y="734"/>
                </a:lnTo>
                <a:close/>
                <a:moveTo>
                  <a:pt x="1505" y="570"/>
                </a:moveTo>
                <a:lnTo>
                  <a:pt x="1503" y="571"/>
                </a:lnTo>
                <a:lnTo>
                  <a:pt x="1501" y="571"/>
                </a:lnTo>
                <a:lnTo>
                  <a:pt x="1503" y="571"/>
                </a:lnTo>
                <a:lnTo>
                  <a:pt x="1505" y="570"/>
                </a:lnTo>
                <a:close/>
                <a:moveTo>
                  <a:pt x="1523" y="581"/>
                </a:moveTo>
                <a:lnTo>
                  <a:pt x="1514" y="575"/>
                </a:lnTo>
                <a:lnTo>
                  <a:pt x="1507" y="568"/>
                </a:lnTo>
                <a:lnTo>
                  <a:pt x="1514" y="575"/>
                </a:lnTo>
                <a:lnTo>
                  <a:pt x="1523" y="581"/>
                </a:lnTo>
                <a:close/>
                <a:moveTo>
                  <a:pt x="1513" y="571"/>
                </a:moveTo>
                <a:lnTo>
                  <a:pt x="1511" y="568"/>
                </a:lnTo>
                <a:lnTo>
                  <a:pt x="1511" y="567"/>
                </a:lnTo>
                <a:lnTo>
                  <a:pt x="1511" y="568"/>
                </a:lnTo>
                <a:lnTo>
                  <a:pt x="1513" y="571"/>
                </a:lnTo>
                <a:close/>
                <a:moveTo>
                  <a:pt x="1505" y="249"/>
                </a:moveTo>
                <a:lnTo>
                  <a:pt x="1506" y="246"/>
                </a:lnTo>
                <a:lnTo>
                  <a:pt x="1507" y="245"/>
                </a:lnTo>
                <a:lnTo>
                  <a:pt x="1506" y="246"/>
                </a:lnTo>
                <a:lnTo>
                  <a:pt x="1505" y="249"/>
                </a:lnTo>
                <a:lnTo>
                  <a:pt x="1501" y="250"/>
                </a:lnTo>
                <a:lnTo>
                  <a:pt x="1499" y="253"/>
                </a:lnTo>
                <a:lnTo>
                  <a:pt x="1501" y="250"/>
                </a:lnTo>
                <a:lnTo>
                  <a:pt x="1505" y="249"/>
                </a:lnTo>
                <a:close/>
                <a:moveTo>
                  <a:pt x="1499" y="694"/>
                </a:moveTo>
                <a:lnTo>
                  <a:pt x="1498" y="697"/>
                </a:lnTo>
                <a:lnTo>
                  <a:pt x="1496" y="698"/>
                </a:lnTo>
                <a:lnTo>
                  <a:pt x="1498" y="697"/>
                </a:lnTo>
                <a:lnTo>
                  <a:pt x="1499" y="694"/>
                </a:lnTo>
                <a:close/>
                <a:moveTo>
                  <a:pt x="1491" y="216"/>
                </a:moveTo>
                <a:lnTo>
                  <a:pt x="1493" y="215"/>
                </a:lnTo>
                <a:lnTo>
                  <a:pt x="1496" y="214"/>
                </a:lnTo>
                <a:lnTo>
                  <a:pt x="1493" y="215"/>
                </a:lnTo>
                <a:lnTo>
                  <a:pt x="1491" y="216"/>
                </a:lnTo>
                <a:close/>
                <a:moveTo>
                  <a:pt x="1498" y="544"/>
                </a:moveTo>
                <a:lnTo>
                  <a:pt x="1497" y="543"/>
                </a:lnTo>
                <a:lnTo>
                  <a:pt x="1497" y="542"/>
                </a:lnTo>
                <a:lnTo>
                  <a:pt x="1497" y="543"/>
                </a:lnTo>
                <a:lnTo>
                  <a:pt x="1498" y="544"/>
                </a:lnTo>
                <a:close/>
                <a:moveTo>
                  <a:pt x="1500" y="210"/>
                </a:moveTo>
                <a:lnTo>
                  <a:pt x="1499" y="211"/>
                </a:lnTo>
                <a:lnTo>
                  <a:pt x="1497" y="212"/>
                </a:lnTo>
                <a:lnTo>
                  <a:pt x="1499" y="211"/>
                </a:lnTo>
                <a:lnTo>
                  <a:pt x="1500" y="210"/>
                </a:lnTo>
                <a:close/>
                <a:moveTo>
                  <a:pt x="1505" y="249"/>
                </a:moveTo>
                <a:lnTo>
                  <a:pt x="1505" y="249"/>
                </a:lnTo>
                <a:lnTo>
                  <a:pt x="1505" y="249"/>
                </a:lnTo>
                <a:lnTo>
                  <a:pt x="1505" y="249"/>
                </a:lnTo>
                <a:lnTo>
                  <a:pt x="1505" y="249"/>
                </a:lnTo>
                <a:lnTo>
                  <a:pt x="1505" y="249"/>
                </a:lnTo>
                <a:close/>
                <a:moveTo>
                  <a:pt x="1480" y="341"/>
                </a:moveTo>
                <a:lnTo>
                  <a:pt x="1482" y="342"/>
                </a:lnTo>
                <a:lnTo>
                  <a:pt x="1483" y="343"/>
                </a:lnTo>
                <a:lnTo>
                  <a:pt x="1484" y="344"/>
                </a:lnTo>
                <a:lnTo>
                  <a:pt x="1485" y="344"/>
                </a:lnTo>
                <a:lnTo>
                  <a:pt x="1485" y="344"/>
                </a:lnTo>
                <a:lnTo>
                  <a:pt x="1485" y="344"/>
                </a:lnTo>
                <a:lnTo>
                  <a:pt x="1484" y="344"/>
                </a:lnTo>
                <a:lnTo>
                  <a:pt x="1483" y="343"/>
                </a:lnTo>
                <a:lnTo>
                  <a:pt x="1482" y="342"/>
                </a:lnTo>
                <a:lnTo>
                  <a:pt x="1480" y="341"/>
                </a:lnTo>
                <a:close/>
                <a:moveTo>
                  <a:pt x="1477" y="633"/>
                </a:moveTo>
                <a:lnTo>
                  <a:pt x="1476" y="631"/>
                </a:lnTo>
                <a:lnTo>
                  <a:pt x="1476" y="629"/>
                </a:lnTo>
                <a:lnTo>
                  <a:pt x="1476" y="629"/>
                </a:lnTo>
                <a:lnTo>
                  <a:pt x="1478" y="629"/>
                </a:lnTo>
                <a:lnTo>
                  <a:pt x="1480" y="629"/>
                </a:lnTo>
                <a:lnTo>
                  <a:pt x="1478" y="629"/>
                </a:lnTo>
                <a:lnTo>
                  <a:pt x="1476" y="629"/>
                </a:lnTo>
                <a:lnTo>
                  <a:pt x="1476" y="631"/>
                </a:lnTo>
                <a:lnTo>
                  <a:pt x="1477" y="633"/>
                </a:lnTo>
                <a:close/>
                <a:moveTo>
                  <a:pt x="1452" y="811"/>
                </a:moveTo>
                <a:lnTo>
                  <a:pt x="1450" y="811"/>
                </a:lnTo>
                <a:lnTo>
                  <a:pt x="1448" y="811"/>
                </a:lnTo>
                <a:lnTo>
                  <a:pt x="1450" y="811"/>
                </a:lnTo>
                <a:lnTo>
                  <a:pt x="1452" y="811"/>
                </a:lnTo>
                <a:lnTo>
                  <a:pt x="1458" y="811"/>
                </a:lnTo>
                <a:lnTo>
                  <a:pt x="1463" y="810"/>
                </a:lnTo>
                <a:lnTo>
                  <a:pt x="1458" y="811"/>
                </a:lnTo>
                <a:lnTo>
                  <a:pt x="1452" y="811"/>
                </a:lnTo>
                <a:close/>
                <a:moveTo>
                  <a:pt x="1444" y="557"/>
                </a:moveTo>
                <a:lnTo>
                  <a:pt x="1441" y="554"/>
                </a:lnTo>
                <a:lnTo>
                  <a:pt x="1437" y="552"/>
                </a:lnTo>
                <a:lnTo>
                  <a:pt x="1436" y="551"/>
                </a:lnTo>
                <a:lnTo>
                  <a:pt x="1436" y="549"/>
                </a:lnTo>
                <a:lnTo>
                  <a:pt x="1436" y="551"/>
                </a:lnTo>
                <a:lnTo>
                  <a:pt x="1437" y="552"/>
                </a:lnTo>
                <a:lnTo>
                  <a:pt x="1441" y="554"/>
                </a:lnTo>
                <a:lnTo>
                  <a:pt x="1444" y="557"/>
                </a:lnTo>
                <a:lnTo>
                  <a:pt x="1445" y="557"/>
                </a:lnTo>
                <a:lnTo>
                  <a:pt x="1448" y="558"/>
                </a:lnTo>
                <a:lnTo>
                  <a:pt x="1445" y="557"/>
                </a:lnTo>
                <a:lnTo>
                  <a:pt x="1444" y="557"/>
                </a:lnTo>
                <a:close/>
                <a:moveTo>
                  <a:pt x="1431" y="703"/>
                </a:moveTo>
                <a:lnTo>
                  <a:pt x="1432" y="704"/>
                </a:lnTo>
                <a:lnTo>
                  <a:pt x="1434" y="704"/>
                </a:lnTo>
                <a:lnTo>
                  <a:pt x="1432" y="704"/>
                </a:lnTo>
                <a:lnTo>
                  <a:pt x="1431" y="703"/>
                </a:lnTo>
                <a:lnTo>
                  <a:pt x="1430" y="701"/>
                </a:lnTo>
                <a:lnTo>
                  <a:pt x="1429" y="699"/>
                </a:lnTo>
                <a:lnTo>
                  <a:pt x="1430" y="701"/>
                </a:lnTo>
                <a:lnTo>
                  <a:pt x="1431" y="703"/>
                </a:lnTo>
                <a:close/>
                <a:moveTo>
                  <a:pt x="1425" y="742"/>
                </a:moveTo>
                <a:lnTo>
                  <a:pt x="1428" y="738"/>
                </a:lnTo>
                <a:lnTo>
                  <a:pt x="1429" y="733"/>
                </a:lnTo>
                <a:lnTo>
                  <a:pt x="1428" y="738"/>
                </a:lnTo>
                <a:lnTo>
                  <a:pt x="1425" y="742"/>
                </a:lnTo>
                <a:close/>
                <a:moveTo>
                  <a:pt x="1422" y="752"/>
                </a:moveTo>
                <a:lnTo>
                  <a:pt x="1423" y="752"/>
                </a:lnTo>
                <a:lnTo>
                  <a:pt x="1423" y="752"/>
                </a:lnTo>
                <a:lnTo>
                  <a:pt x="1423" y="752"/>
                </a:lnTo>
                <a:lnTo>
                  <a:pt x="1422" y="752"/>
                </a:lnTo>
                <a:close/>
                <a:moveTo>
                  <a:pt x="1418" y="727"/>
                </a:moveTo>
                <a:lnTo>
                  <a:pt x="1421" y="735"/>
                </a:lnTo>
                <a:lnTo>
                  <a:pt x="1423" y="742"/>
                </a:lnTo>
                <a:lnTo>
                  <a:pt x="1421" y="735"/>
                </a:lnTo>
                <a:lnTo>
                  <a:pt x="1418" y="727"/>
                </a:lnTo>
                <a:close/>
                <a:moveTo>
                  <a:pt x="1415" y="728"/>
                </a:moveTo>
                <a:lnTo>
                  <a:pt x="1415" y="725"/>
                </a:lnTo>
                <a:lnTo>
                  <a:pt x="1416" y="722"/>
                </a:lnTo>
                <a:lnTo>
                  <a:pt x="1415" y="725"/>
                </a:lnTo>
                <a:lnTo>
                  <a:pt x="1415" y="728"/>
                </a:lnTo>
                <a:close/>
                <a:moveTo>
                  <a:pt x="1409" y="711"/>
                </a:moveTo>
                <a:lnTo>
                  <a:pt x="1409" y="712"/>
                </a:lnTo>
                <a:lnTo>
                  <a:pt x="1409" y="713"/>
                </a:lnTo>
                <a:lnTo>
                  <a:pt x="1409" y="712"/>
                </a:lnTo>
                <a:lnTo>
                  <a:pt x="1409" y="711"/>
                </a:lnTo>
                <a:lnTo>
                  <a:pt x="1409" y="706"/>
                </a:lnTo>
                <a:lnTo>
                  <a:pt x="1411" y="700"/>
                </a:lnTo>
                <a:lnTo>
                  <a:pt x="1415" y="697"/>
                </a:lnTo>
                <a:lnTo>
                  <a:pt x="1420" y="696"/>
                </a:lnTo>
                <a:lnTo>
                  <a:pt x="1415" y="697"/>
                </a:lnTo>
                <a:lnTo>
                  <a:pt x="1411" y="700"/>
                </a:lnTo>
                <a:lnTo>
                  <a:pt x="1409" y="706"/>
                </a:lnTo>
                <a:lnTo>
                  <a:pt x="1409" y="711"/>
                </a:lnTo>
                <a:close/>
                <a:moveTo>
                  <a:pt x="1407" y="782"/>
                </a:moveTo>
                <a:lnTo>
                  <a:pt x="1400" y="784"/>
                </a:lnTo>
                <a:lnTo>
                  <a:pt x="1393" y="785"/>
                </a:lnTo>
                <a:lnTo>
                  <a:pt x="1385" y="785"/>
                </a:lnTo>
                <a:lnTo>
                  <a:pt x="1378" y="785"/>
                </a:lnTo>
                <a:lnTo>
                  <a:pt x="1363" y="783"/>
                </a:lnTo>
                <a:lnTo>
                  <a:pt x="1348" y="781"/>
                </a:lnTo>
                <a:lnTo>
                  <a:pt x="1332" y="777"/>
                </a:lnTo>
                <a:lnTo>
                  <a:pt x="1316" y="774"/>
                </a:lnTo>
                <a:lnTo>
                  <a:pt x="1299" y="769"/>
                </a:lnTo>
                <a:lnTo>
                  <a:pt x="1283" y="763"/>
                </a:lnTo>
                <a:lnTo>
                  <a:pt x="1279" y="760"/>
                </a:lnTo>
                <a:lnTo>
                  <a:pt x="1275" y="756"/>
                </a:lnTo>
                <a:lnTo>
                  <a:pt x="1275" y="756"/>
                </a:lnTo>
                <a:lnTo>
                  <a:pt x="1275" y="754"/>
                </a:lnTo>
                <a:lnTo>
                  <a:pt x="1273" y="752"/>
                </a:lnTo>
                <a:lnTo>
                  <a:pt x="1264" y="738"/>
                </a:lnTo>
                <a:lnTo>
                  <a:pt x="1255" y="722"/>
                </a:lnTo>
                <a:lnTo>
                  <a:pt x="1255" y="722"/>
                </a:lnTo>
                <a:lnTo>
                  <a:pt x="1255" y="722"/>
                </a:lnTo>
                <a:lnTo>
                  <a:pt x="1255" y="722"/>
                </a:lnTo>
                <a:lnTo>
                  <a:pt x="1258" y="724"/>
                </a:lnTo>
                <a:lnTo>
                  <a:pt x="1261" y="725"/>
                </a:lnTo>
                <a:lnTo>
                  <a:pt x="1264" y="728"/>
                </a:lnTo>
                <a:lnTo>
                  <a:pt x="1268" y="731"/>
                </a:lnTo>
                <a:lnTo>
                  <a:pt x="1272" y="733"/>
                </a:lnTo>
                <a:lnTo>
                  <a:pt x="1277" y="733"/>
                </a:lnTo>
                <a:lnTo>
                  <a:pt x="1278" y="734"/>
                </a:lnTo>
                <a:lnTo>
                  <a:pt x="1279" y="735"/>
                </a:lnTo>
                <a:lnTo>
                  <a:pt x="1280" y="735"/>
                </a:lnTo>
                <a:lnTo>
                  <a:pt x="1282" y="734"/>
                </a:lnTo>
                <a:lnTo>
                  <a:pt x="1283" y="734"/>
                </a:lnTo>
                <a:lnTo>
                  <a:pt x="1284" y="734"/>
                </a:lnTo>
                <a:lnTo>
                  <a:pt x="1287" y="738"/>
                </a:lnTo>
                <a:lnTo>
                  <a:pt x="1291" y="739"/>
                </a:lnTo>
                <a:lnTo>
                  <a:pt x="1296" y="740"/>
                </a:lnTo>
                <a:lnTo>
                  <a:pt x="1299" y="741"/>
                </a:lnTo>
                <a:lnTo>
                  <a:pt x="1307" y="742"/>
                </a:lnTo>
                <a:lnTo>
                  <a:pt x="1314" y="742"/>
                </a:lnTo>
                <a:lnTo>
                  <a:pt x="1318" y="743"/>
                </a:lnTo>
                <a:lnTo>
                  <a:pt x="1320" y="743"/>
                </a:lnTo>
                <a:lnTo>
                  <a:pt x="1323" y="746"/>
                </a:lnTo>
                <a:lnTo>
                  <a:pt x="1324" y="749"/>
                </a:lnTo>
                <a:lnTo>
                  <a:pt x="1325" y="750"/>
                </a:lnTo>
                <a:lnTo>
                  <a:pt x="1326" y="752"/>
                </a:lnTo>
                <a:lnTo>
                  <a:pt x="1327" y="753"/>
                </a:lnTo>
                <a:lnTo>
                  <a:pt x="1330" y="753"/>
                </a:lnTo>
                <a:lnTo>
                  <a:pt x="1331" y="752"/>
                </a:lnTo>
                <a:lnTo>
                  <a:pt x="1331" y="750"/>
                </a:lnTo>
                <a:lnTo>
                  <a:pt x="1331" y="749"/>
                </a:lnTo>
                <a:lnTo>
                  <a:pt x="1330" y="747"/>
                </a:lnTo>
                <a:lnTo>
                  <a:pt x="1330" y="745"/>
                </a:lnTo>
                <a:lnTo>
                  <a:pt x="1330" y="742"/>
                </a:lnTo>
                <a:lnTo>
                  <a:pt x="1332" y="742"/>
                </a:lnTo>
                <a:lnTo>
                  <a:pt x="1334" y="743"/>
                </a:lnTo>
                <a:lnTo>
                  <a:pt x="1340" y="747"/>
                </a:lnTo>
                <a:lnTo>
                  <a:pt x="1345" y="749"/>
                </a:lnTo>
                <a:lnTo>
                  <a:pt x="1348" y="752"/>
                </a:lnTo>
                <a:lnTo>
                  <a:pt x="1351" y="752"/>
                </a:lnTo>
                <a:lnTo>
                  <a:pt x="1354" y="750"/>
                </a:lnTo>
                <a:lnTo>
                  <a:pt x="1355" y="750"/>
                </a:lnTo>
                <a:lnTo>
                  <a:pt x="1358" y="750"/>
                </a:lnTo>
                <a:lnTo>
                  <a:pt x="1358" y="752"/>
                </a:lnTo>
                <a:lnTo>
                  <a:pt x="1358" y="755"/>
                </a:lnTo>
                <a:lnTo>
                  <a:pt x="1358" y="759"/>
                </a:lnTo>
                <a:lnTo>
                  <a:pt x="1359" y="763"/>
                </a:lnTo>
                <a:lnTo>
                  <a:pt x="1360" y="768"/>
                </a:lnTo>
                <a:lnTo>
                  <a:pt x="1361" y="770"/>
                </a:lnTo>
                <a:lnTo>
                  <a:pt x="1362" y="773"/>
                </a:lnTo>
                <a:lnTo>
                  <a:pt x="1365" y="774"/>
                </a:lnTo>
                <a:lnTo>
                  <a:pt x="1368" y="774"/>
                </a:lnTo>
                <a:lnTo>
                  <a:pt x="1371" y="774"/>
                </a:lnTo>
                <a:lnTo>
                  <a:pt x="1371" y="771"/>
                </a:lnTo>
                <a:lnTo>
                  <a:pt x="1372" y="769"/>
                </a:lnTo>
                <a:lnTo>
                  <a:pt x="1372" y="767"/>
                </a:lnTo>
                <a:lnTo>
                  <a:pt x="1373" y="764"/>
                </a:lnTo>
                <a:lnTo>
                  <a:pt x="1374" y="763"/>
                </a:lnTo>
                <a:lnTo>
                  <a:pt x="1376" y="764"/>
                </a:lnTo>
                <a:lnTo>
                  <a:pt x="1378" y="766"/>
                </a:lnTo>
                <a:lnTo>
                  <a:pt x="1382" y="771"/>
                </a:lnTo>
                <a:lnTo>
                  <a:pt x="1388" y="775"/>
                </a:lnTo>
                <a:lnTo>
                  <a:pt x="1392" y="776"/>
                </a:lnTo>
                <a:lnTo>
                  <a:pt x="1395" y="776"/>
                </a:lnTo>
                <a:lnTo>
                  <a:pt x="1399" y="776"/>
                </a:lnTo>
                <a:lnTo>
                  <a:pt x="1402" y="775"/>
                </a:lnTo>
                <a:lnTo>
                  <a:pt x="1404" y="776"/>
                </a:lnTo>
                <a:lnTo>
                  <a:pt x="1408" y="776"/>
                </a:lnTo>
                <a:lnTo>
                  <a:pt x="1409" y="777"/>
                </a:lnTo>
                <a:lnTo>
                  <a:pt x="1410" y="777"/>
                </a:lnTo>
                <a:lnTo>
                  <a:pt x="1411" y="778"/>
                </a:lnTo>
                <a:lnTo>
                  <a:pt x="1411" y="781"/>
                </a:lnTo>
                <a:lnTo>
                  <a:pt x="1410" y="782"/>
                </a:lnTo>
                <a:lnTo>
                  <a:pt x="1407" y="782"/>
                </a:lnTo>
                <a:close/>
                <a:moveTo>
                  <a:pt x="1400" y="852"/>
                </a:moveTo>
                <a:lnTo>
                  <a:pt x="1401" y="850"/>
                </a:lnTo>
                <a:lnTo>
                  <a:pt x="1402" y="848"/>
                </a:lnTo>
                <a:lnTo>
                  <a:pt x="1401" y="850"/>
                </a:lnTo>
                <a:lnTo>
                  <a:pt x="1400" y="852"/>
                </a:lnTo>
                <a:close/>
                <a:moveTo>
                  <a:pt x="1386" y="858"/>
                </a:moveTo>
                <a:lnTo>
                  <a:pt x="1378" y="858"/>
                </a:lnTo>
                <a:lnTo>
                  <a:pt x="1368" y="859"/>
                </a:lnTo>
                <a:lnTo>
                  <a:pt x="1378" y="858"/>
                </a:lnTo>
                <a:lnTo>
                  <a:pt x="1386" y="858"/>
                </a:lnTo>
                <a:lnTo>
                  <a:pt x="1389" y="855"/>
                </a:lnTo>
                <a:lnTo>
                  <a:pt x="1393" y="854"/>
                </a:lnTo>
                <a:lnTo>
                  <a:pt x="1389" y="855"/>
                </a:lnTo>
                <a:lnTo>
                  <a:pt x="1386" y="858"/>
                </a:lnTo>
                <a:close/>
                <a:moveTo>
                  <a:pt x="1278" y="876"/>
                </a:moveTo>
                <a:lnTo>
                  <a:pt x="1272" y="872"/>
                </a:lnTo>
                <a:lnTo>
                  <a:pt x="1265" y="869"/>
                </a:lnTo>
                <a:lnTo>
                  <a:pt x="1263" y="868"/>
                </a:lnTo>
                <a:lnTo>
                  <a:pt x="1258" y="866"/>
                </a:lnTo>
                <a:lnTo>
                  <a:pt x="1257" y="866"/>
                </a:lnTo>
                <a:lnTo>
                  <a:pt x="1256" y="867"/>
                </a:lnTo>
                <a:lnTo>
                  <a:pt x="1256" y="869"/>
                </a:lnTo>
                <a:lnTo>
                  <a:pt x="1258" y="874"/>
                </a:lnTo>
                <a:lnTo>
                  <a:pt x="1257" y="874"/>
                </a:lnTo>
                <a:lnTo>
                  <a:pt x="1257" y="875"/>
                </a:lnTo>
                <a:lnTo>
                  <a:pt x="1256" y="879"/>
                </a:lnTo>
                <a:lnTo>
                  <a:pt x="1255" y="882"/>
                </a:lnTo>
                <a:lnTo>
                  <a:pt x="1255" y="886"/>
                </a:lnTo>
                <a:lnTo>
                  <a:pt x="1256" y="889"/>
                </a:lnTo>
                <a:lnTo>
                  <a:pt x="1256" y="895"/>
                </a:lnTo>
                <a:lnTo>
                  <a:pt x="1255" y="902"/>
                </a:lnTo>
                <a:lnTo>
                  <a:pt x="1255" y="903"/>
                </a:lnTo>
                <a:lnTo>
                  <a:pt x="1255" y="903"/>
                </a:lnTo>
                <a:lnTo>
                  <a:pt x="1255" y="903"/>
                </a:lnTo>
                <a:lnTo>
                  <a:pt x="1255" y="911"/>
                </a:lnTo>
                <a:lnTo>
                  <a:pt x="1255" y="918"/>
                </a:lnTo>
                <a:lnTo>
                  <a:pt x="1255" y="911"/>
                </a:lnTo>
                <a:lnTo>
                  <a:pt x="1255" y="903"/>
                </a:lnTo>
                <a:lnTo>
                  <a:pt x="1252" y="903"/>
                </a:lnTo>
                <a:lnTo>
                  <a:pt x="1251" y="903"/>
                </a:lnTo>
                <a:lnTo>
                  <a:pt x="1250" y="904"/>
                </a:lnTo>
                <a:lnTo>
                  <a:pt x="1250" y="906"/>
                </a:lnTo>
                <a:lnTo>
                  <a:pt x="1250" y="904"/>
                </a:lnTo>
                <a:lnTo>
                  <a:pt x="1251" y="903"/>
                </a:lnTo>
                <a:lnTo>
                  <a:pt x="1248" y="892"/>
                </a:lnTo>
                <a:lnTo>
                  <a:pt x="1245" y="881"/>
                </a:lnTo>
                <a:lnTo>
                  <a:pt x="1243" y="874"/>
                </a:lnTo>
                <a:lnTo>
                  <a:pt x="1240" y="867"/>
                </a:lnTo>
                <a:lnTo>
                  <a:pt x="1240" y="865"/>
                </a:lnTo>
                <a:lnTo>
                  <a:pt x="1237" y="865"/>
                </a:lnTo>
                <a:lnTo>
                  <a:pt x="1236" y="865"/>
                </a:lnTo>
                <a:lnTo>
                  <a:pt x="1234" y="865"/>
                </a:lnTo>
                <a:lnTo>
                  <a:pt x="1233" y="866"/>
                </a:lnTo>
                <a:lnTo>
                  <a:pt x="1233" y="867"/>
                </a:lnTo>
                <a:lnTo>
                  <a:pt x="1233" y="869"/>
                </a:lnTo>
                <a:lnTo>
                  <a:pt x="1233" y="871"/>
                </a:lnTo>
                <a:lnTo>
                  <a:pt x="1235" y="874"/>
                </a:lnTo>
                <a:lnTo>
                  <a:pt x="1236" y="878"/>
                </a:lnTo>
                <a:lnTo>
                  <a:pt x="1236" y="880"/>
                </a:lnTo>
                <a:lnTo>
                  <a:pt x="1234" y="882"/>
                </a:lnTo>
                <a:lnTo>
                  <a:pt x="1231" y="882"/>
                </a:lnTo>
                <a:lnTo>
                  <a:pt x="1229" y="881"/>
                </a:lnTo>
                <a:lnTo>
                  <a:pt x="1227" y="878"/>
                </a:lnTo>
                <a:lnTo>
                  <a:pt x="1224" y="875"/>
                </a:lnTo>
                <a:lnTo>
                  <a:pt x="1218" y="869"/>
                </a:lnTo>
                <a:lnTo>
                  <a:pt x="1213" y="865"/>
                </a:lnTo>
                <a:lnTo>
                  <a:pt x="1207" y="859"/>
                </a:lnTo>
                <a:lnTo>
                  <a:pt x="1202" y="853"/>
                </a:lnTo>
                <a:lnTo>
                  <a:pt x="1197" y="847"/>
                </a:lnTo>
                <a:lnTo>
                  <a:pt x="1190" y="843"/>
                </a:lnTo>
                <a:lnTo>
                  <a:pt x="1183" y="840"/>
                </a:lnTo>
                <a:lnTo>
                  <a:pt x="1176" y="838"/>
                </a:lnTo>
                <a:lnTo>
                  <a:pt x="1174" y="838"/>
                </a:lnTo>
                <a:lnTo>
                  <a:pt x="1173" y="839"/>
                </a:lnTo>
                <a:lnTo>
                  <a:pt x="1172" y="840"/>
                </a:lnTo>
                <a:lnTo>
                  <a:pt x="1171" y="841"/>
                </a:lnTo>
                <a:lnTo>
                  <a:pt x="1172" y="844"/>
                </a:lnTo>
                <a:lnTo>
                  <a:pt x="1174" y="845"/>
                </a:lnTo>
                <a:lnTo>
                  <a:pt x="1181" y="848"/>
                </a:lnTo>
                <a:lnTo>
                  <a:pt x="1188" y="853"/>
                </a:lnTo>
                <a:lnTo>
                  <a:pt x="1194" y="858"/>
                </a:lnTo>
                <a:lnTo>
                  <a:pt x="1200" y="862"/>
                </a:lnTo>
                <a:lnTo>
                  <a:pt x="1202" y="865"/>
                </a:lnTo>
                <a:lnTo>
                  <a:pt x="1203" y="867"/>
                </a:lnTo>
                <a:lnTo>
                  <a:pt x="1203" y="869"/>
                </a:lnTo>
                <a:lnTo>
                  <a:pt x="1202" y="872"/>
                </a:lnTo>
                <a:lnTo>
                  <a:pt x="1200" y="875"/>
                </a:lnTo>
                <a:lnTo>
                  <a:pt x="1200" y="879"/>
                </a:lnTo>
                <a:lnTo>
                  <a:pt x="1202" y="882"/>
                </a:lnTo>
                <a:lnTo>
                  <a:pt x="1204" y="885"/>
                </a:lnTo>
                <a:lnTo>
                  <a:pt x="1208" y="889"/>
                </a:lnTo>
                <a:lnTo>
                  <a:pt x="1211" y="893"/>
                </a:lnTo>
                <a:lnTo>
                  <a:pt x="1214" y="897"/>
                </a:lnTo>
                <a:lnTo>
                  <a:pt x="1216" y="902"/>
                </a:lnTo>
                <a:lnTo>
                  <a:pt x="1217" y="907"/>
                </a:lnTo>
                <a:lnTo>
                  <a:pt x="1216" y="910"/>
                </a:lnTo>
                <a:lnTo>
                  <a:pt x="1215" y="913"/>
                </a:lnTo>
                <a:lnTo>
                  <a:pt x="1213" y="914"/>
                </a:lnTo>
                <a:lnTo>
                  <a:pt x="1209" y="914"/>
                </a:lnTo>
                <a:lnTo>
                  <a:pt x="1206" y="911"/>
                </a:lnTo>
                <a:lnTo>
                  <a:pt x="1202" y="909"/>
                </a:lnTo>
                <a:lnTo>
                  <a:pt x="1202" y="906"/>
                </a:lnTo>
                <a:lnTo>
                  <a:pt x="1202" y="901"/>
                </a:lnTo>
                <a:lnTo>
                  <a:pt x="1201" y="897"/>
                </a:lnTo>
                <a:lnTo>
                  <a:pt x="1200" y="894"/>
                </a:lnTo>
                <a:lnTo>
                  <a:pt x="1197" y="890"/>
                </a:lnTo>
                <a:lnTo>
                  <a:pt x="1192" y="885"/>
                </a:lnTo>
                <a:lnTo>
                  <a:pt x="1187" y="879"/>
                </a:lnTo>
                <a:lnTo>
                  <a:pt x="1186" y="878"/>
                </a:lnTo>
                <a:lnTo>
                  <a:pt x="1183" y="876"/>
                </a:lnTo>
                <a:lnTo>
                  <a:pt x="1182" y="875"/>
                </a:lnTo>
                <a:lnTo>
                  <a:pt x="1180" y="876"/>
                </a:lnTo>
                <a:lnTo>
                  <a:pt x="1179" y="879"/>
                </a:lnTo>
                <a:lnTo>
                  <a:pt x="1179" y="881"/>
                </a:lnTo>
                <a:lnTo>
                  <a:pt x="1180" y="882"/>
                </a:lnTo>
                <a:lnTo>
                  <a:pt x="1181" y="883"/>
                </a:lnTo>
                <a:lnTo>
                  <a:pt x="1186" y="889"/>
                </a:lnTo>
                <a:lnTo>
                  <a:pt x="1189" y="894"/>
                </a:lnTo>
                <a:lnTo>
                  <a:pt x="1192" y="901"/>
                </a:lnTo>
                <a:lnTo>
                  <a:pt x="1192" y="908"/>
                </a:lnTo>
                <a:lnTo>
                  <a:pt x="1194" y="913"/>
                </a:lnTo>
                <a:lnTo>
                  <a:pt x="1196" y="917"/>
                </a:lnTo>
                <a:lnTo>
                  <a:pt x="1190" y="916"/>
                </a:lnTo>
                <a:lnTo>
                  <a:pt x="1187" y="913"/>
                </a:lnTo>
                <a:lnTo>
                  <a:pt x="1183" y="909"/>
                </a:lnTo>
                <a:lnTo>
                  <a:pt x="1182" y="904"/>
                </a:lnTo>
                <a:lnTo>
                  <a:pt x="1182" y="903"/>
                </a:lnTo>
                <a:lnTo>
                  <a:pt x="1182" y="903"/>
                </a:lnTo>
                <a:lnTo>
                  <a:pt x="1176" y="896"/>
                </a:lnTo>
                <a:lnTo>
                  <a:pt x="1173" y="888"/>
                </a:lnTo>
                <a:lnTo>
                  <a:pt x="1172" y="880"/>
                </a:lnTo>
                <a:lnTo>
                  <a:pt x="1172" y="872"/>
                </a:lnTo>
                <a:lnTo>
                  <a:pt x="1171" y="869"/>
                </a:lnTo>
                <a:lnTo>
                  <a:pt x="1169" y="868"/>
                </a:lnTo>
                <a:lnTo>
                  <a:pt x="1168" y="869"/>
                </a:lnTo>
                <a:lnTo>
                  <a:pt x="1167" y="871"/>
                </a:lnTo>
                <a:lnTo>
                  <a:pt x="1165" y="879"/>
                </a:lnTo>
                <a:lnTo>
                  <a:pt x="1161" y="889"/>
                </a:lnTo>
                <a:lnTo>
                  <a:pt x="1161" y="892"/>
                </a:lnTo>
                <a:lnTo>
                  <a:pt x="1161" y="894"/>
                </a:lnTo>
                <a:lnTo>
                  <a:pt x="1160" y="896"/>
                </a:lnTo>
                <a:lnTo>
                  <a:pt x="1159" y="897"/>
                </a:lnTo>
                <a:lnTo>
                  <a:pt x="1157" y="897"/>
                </a:lnTo>
                <a:lnTo>
                  <a:pt x="1154" y="897"/>
                </a:lnTo>
                <a:lnTo>
                  <a:pt x="1152" y="897"/>
                </a:lnTo>
                <a:lnTo>
                  <a:pt x="1150" y="896"/>
                </a:lnTo>
                <a:lnTo>
                  <a:pt x="1142" y="892"/>
                </a:lnTo>
                <a:lnTo>
                  <a:pt x="1135" y="885"/>
                </a:lnTo>
                <a:lnTo>
                  <a:pt x="1131" y="878"/>
                </a:lnTo>
                <a:lnTo>
                  <a:pt x="1127" y="869"/>
                </a:lnTo>
                <a:lnTo>
                  <a:pt x="1127" y="867"/>
                </a:lnTo>
                <a:lnTo>
                  <a:pt x="1126" y="866"/>
                </a:lnTo>
                <a:lnTo>
                  <a:pt x="1125" y="864"/>
                </a:lnTo>
                <a:lnTo>
                  <a:pt x="1123" y="864"/>
                </a:lnTo>
                <a:lnTo>
                  <a:pt x="1121" y="865"/>
                </a:lnTo>
                <a:lnTo>
                  <a:pt x="1121" y="867"/>
                </a:lnTo>
                <a:lnTo>
                  <a:pt x="1123" y="871"/>
                </a:lnTo>
                <a:lnTo>
                  <a:pt x="1123" y="873"/>
                </a:lnTo>
                <a:lnTo>
                  <a:pt x="1123" y="875"/>
                </a:lnTo>
                <a:lnTo>
                  <a:pt x="1121" y="876"/>
                </a:lnTo>
                <a:lnTo>
                  <a:pt x="1120" y="876"/>
                </a:lnTo>
                <a:lnTo>
                  <a:pt x="1119" y="875"/>
                </a:lnTo>
                <a:lnTo>
                  <a:pt x="1113" y="873"/>
                </a:lnTo>
                <a:lnTo>
                  <a:pt x="1109" y="869"/>
                </a:lnTo>
                <a:lnTo>
                  <a:pt x="1104" y="866"/>
                </a:lnTo>
                <a:lnTo>
                  <a:pt x="1099" y="861"/>
                </a:lnTo>
                <a:lnTo>
                  <a:pt x="1096" y="857"/>
                </a:lnTo>
                <a:lnTo>
                  <a:pt x="1089" y="854"/>
                </a:lnTo>
                <a:lnTo>
                  <a:pt x="1088" y="853"/>
                </a:lnTo>
                <a:lnTo>
                  <a:pt x="1085" y="852"/>
                </a:lnTo>
                <a:lnTo>
                  <a:pt x="1084" y="850"/>
                </a:lnTo>
                <a:lnTo>
                  <a:pt x="1084" y="847"/>
                </a:lnTo>
                <a:lnTo>
                  <a:pt x="1086" y="845"/>
                </a:lnTo>
                <a:lnTo>
                  <a:pt x="1088" y="845"/>
                </a:lnTo>
                <a:lnTo>
                  <a:pt x="1090" y="845"/>
                </a:lnTo>
                <a:lnTo>
                  <a:pt x="1092" y="845"/>
                </a:lnTo>
                <a:lnTo>
                  <a:pt x="1096" y="846"/>
                </a:lnTo>
                <a:lnTo>
                  <a:pt x="1099" y="845"/>
                </a:lnTo>
                <a:lnTo>
                  <a:pt x="1102" y="845"/>
                </a:lnTo>
                <a:lnTo>
                  <a:pt x="1104" y="845"/>
                </a:lnTo>
                <a:lnTo>
                  <a:pt x="1106" y="847"/>
                </a:lnTo>
                <a:lnTo>
                  <a:pt x="1107" y="848"/>
                </a:lnTo>
                <a:lnTo>
                  <a:pt x="1109" y="852"/>
                </a:lnTo>
                <a:lnTo>
                  <a:pt x="1111" y="854"/>
                </a:lnTo>
                <a:lnTo>
                  <a:pt x="1114" y="855"/>
                </a:lnTo>
                <a:lnTo>
                  <a:pt x="1118" y="858"/>
                </a:lnTo>
                <a:lnTo>
                  <a:pt x="1118" y="848"/>
                </a:lnTo>
                <a:lnTo>
                  <a:pt x="1118" y="839"/>
                </a:lnTo>
                <a:lnTo>
                  <a:pt x="1118" y="836"/>
                </a:lnTo>
                <a:lnTo>
                  <a:pt x="1119" y="832"/>
                </a:lnTo>
                <a:lnTo>
                  <a:pt x="1121" y="830"/>
                </a:lnTo>
                <a:lnTo>
                  <a:pt x="1124" y="829"/>
                </a:lnTo>
                <a:lnTo>
                  <a:pt x="1126" y="827"/>
                </a:lnTo>
                <a:lnTo>
                  <a:pt x="1128" y="826"/>
                </a:lnTo>
                <a:lnTo>
                  <a:pt x="1132" y="827"/>
                </a:lnTo>
                <a:lnTo>
                  <a:pt x="1135" y="827"/>
                </a:lnTo>
                <a:lnTo>
                  <a:pt x="1137" y="829"/>
                </a:lnTo>
                <a:lnTo>
                  <a:pt x="1139" y="829"/>
                </a:lnTo>
                <a:lnTo>
                  <a:pt x="1142" y="830"/>
                </a:lnTo>
                <a:lnTo>
                  <a:pt x="1145" y="832"/>
                </a:lnTo>
                <a:lnTo>
                  <a:pt x="1145" y="834"/>
                </a:lnTo>
                <a:lnTo>
                  <a:pt x="1144" y="838"/>
                </a:lnTo>
                <a:lnTo>
                  <a:pt x="1140" y="843"/>
                </a:lnTo>
                <a:lnTo>
                  <a:pt x="1139" y="848"/>
                </a:lnTo>
                <a:lnTo>
                  <a:pt x="1139" y="852"/>
                </a:lnTo>
                <a:lnTo>
                  <a:pt x="1141" y="854"/>
                </a:lnTo>
                <a:lnTo>
                  <a:pt x="1142" y="854"/>
                </a:lnTo>
                <a:lnTo>
                  <a:pt x="1146" y="853"/>
                </a:lnTo>
                <a:lnTo>
                  <a:pt x="1152" y="850"/>
                </a:lnTo>
                <a:lnTo>
                  <a:pt x="1159" y="847"/>
                </a:lnTo>
                <a:lnTo>
                  <a:pt x="1161" y="846"/>
                </a:lnTo>
                <a:lnTo>
                  <a:pt x="1164" y="845"/>
                </a:lnTo>
                <a:lnTo>
                  <a:pt x="1164" y="843"/>
                </a:lnTo>
                <a:lnTo>
                  <a:pt x="1164" y="839"/>
                </a:lnTo>
                <a:lnTo>
                  <a:pt x="1162" y="837"/>
                </a:lnTo>
                <a:lnTo>
                  <a:pt x="1161" y="836"/>
                </a:lnTo>
                <a:lnTo>
                  <a:pt x="1159" y="836"/>
                </a:lnTo>
                <a:lnTo>
                  <a:pt x="1158" y="838"/>
                </a:lnTo>
                <a:lnTo>
                  <a:pt x="1157" y="839"/>
                </a:lnTo>
                <a:lnTo>
                  <a:pt x="1157" y="840"/>
                </a:lnTo>
                <a:lnTo>
                  <a:pt x="1155" y="841"/>
                </a:lnTo>
                <a:lnTo>
                  <a:pt x="1154" y="840"/>
                </a:lnTo>
                <a:lnTo>
                  <a:pt x="1153" y="840"/>
                </a:lnTo>
                <a:lnTo>
                  <a:pt x="1153" y="838"/>
                </a:lnTo>
                <a:lnTo>
                  <a:pt x="1153" y="837"/>
                </a:lnTo>
                <a:lnTo>
                  <a:pt x="1153" y="834"/>
                </a:lnTo>
                <a:lnTo>
                  <a:pt x="1153" y="833"/>
                </a:lnTo>
                <a:lnTo>
                  <a:pt x="1155" y="832"/>
                </a:lnTo>
                <a:lnTo>
                  <a:pt x="1160" y="829"/>
                </a:lnTo>
                <a:lnTo>
                  <a:pt x="1162" y="823"/>
                </a:lnTo>
                <a:lnTo>
                  <a:pt x="1164" y="818"/>
                </a:lnTo>
                <a:lnTo>
                  <a:pt x="1166" y="812"/>
                </a:lnTo>
                <a:lnTo>
                  <a:pt x="1164" y="811"/>
                </a:lnTo>
                <a:lnTo>
                  <a:pt x="1164" y="811"/>
                </a:lnTo>
                <a:lnTo>
                  <a:pt x="1161" y="813"/>
                </a:lnTo>
                <a:lnTo>
                  <a:pt x="1160" y="816"/>
                </a:lnTo>
                <a:lnTo>
                  <a:pt x="1159" y="817"/>
                </a:lnTo>
                <a:lnTo>
                  <a:pt x="1155" y="818"/>
                </a:lnTo>
                <a:lnTo>
                  <a:pt x="1154" y="816"/>
                </a:lnTo>
                <a:lnTo>
                  <a:pt x="1153" y="815"/>
                </a:lnTo>
                <a:lnTo>
                  <a:pt x="1153" y="811"/>
                </a:lnTo>
                <a:lnTo>
                  <a:pt x="1153" y="809"/>
                </a:lnTo>
                <a:lnTo>
                  <a:pt x="1152" y="806"/>
                </a:lnTo>
                <a:lnTo>
                  <a:pt x="1151" y="804"/>
                </a:lnTo>
                <a:lnTo>
                  <a:pt x="1151" y="803"/>
                </a:lnTo>
                <a:lnTo>
                  <a:pt x="1150" y="802"/>
                </a:lnTo>
                <a:lnTo>
                  <a:pt x="1151" y="803"/>
                </a:lnTo>
                <a:lnTo>
                  <a:pt x="1151" y="804"/>
                </a:lnTo>
                <a:lnTo>
                  <a:pt x="1157" y="805"/>
                </a:lnTo>
                <a:lnTo>
                  <a:pt x="1161" y="806"/>
                </a:lnTo>
                <a:lnTo>
                  <a:pt x="1162" y="808"/>
                </a:lnTo>
                <a:lnTo>
                  <a:pt x="1162" y="809"/>
                </a:lnTo>
                <a:lnTo>
                  <a:pt x="1164" y="809"/>
                </a:lnTo>
                <a:lnTo>
                  <a:pt x="1166" y="808"/>
                </a:lnTo>
                <a:lnTo>
                  <a:pt x="1168" y="808"/>
                </a:lnTo>
                <a:lnTo>
                  <a:pt x="1171" y="809"/>
                </a:lnTo>
                <a:lnTo>
                  <a:pt x="1171" y="808"/>
                </a:lnTo>
                <a:lnTo>
                  <a:pt x="1171" y="806"/>
                </a:lnTo>
                <a:lnTo>
                  <a:pt x="1171" y="808"/>
                </a:lnTo>
                <a:lnTo>
                  <a:pt x="1171" y="809"/>
                </a:lnTo>
                <a:lnTo>
                  <a:pt x="1172" y="810"/>
                </a:lnTo>
                <a:lnTo>
                  <a:pt x="1174" y="811"/>
                </a:lnTo>
                <a:lnTo>
                  <a:pt x="1190" y="817"/>
                </a:lnTo>
                <a:lnTo>
                  <a:pt x="1208" y="824"/>
                </a:lnTo>
                <a:lnTo>
                  <a:pt x="1224" y="831"/>
                </a:lnTo>
                <a:lnTo>
                  <a:pt x="1240" y="840"/>
                </a:lnTo>
                <a:lnTo>
                  <a:pt x="1249" y="846"/>
                </a:lnTo>
                <a:lnTo>
                  <a:pt x="1259" y="851"/>
                </a:lnTo>
                <a:lnTo>
                  <a:pt x="1265" y="855"/>
                </a:lnTo>
                <a:lnTo>
                  <a:pt x="1272" y="859"/>
                </a:lnTo>
                <a:lnTo>
                  <a:pt x="1279" y="862"/>
                </a:lnTo>
                <a:lnTo>
                  <a:pt x="1286" y="865"/>
                </a:lnTo>
                <a:lnTo>
                  <a:pt x="1286" y="865"/>
                </a:lnTo>
                <a:lnTo>
                  <a:pt x="1286" y="866"/>
                </a:lnTo>
                <a:lnTo>
                  <a:pt x="1286" y="868"/>
                </a:lnTo>
                <a:lnTo>
                  <a:pt x="1287" y="869"/>
                </a:lnTo>
                <a:lnTo>
                  <a:pt x="1289" y="869"/>
                </a:lnTo>
                <a:lnTo>
                  <a:pt x="1289" y="874"/>
                </a:lnTo>
                <a:lnTo>
                  <a:pt x="1289" y="879"/>
                </a:lnTo>
                <a:lnTo>
                  <a:pt x="1286" y="879"/>
                </a:lnTo>
                <a:lnTo>
                  <a:pt x="1284" y="879"/>
                </a:lnTo>
                <a:lnTo>
                  <a:pt x="1282" y="878"/>
                </a:lnTo>
                <a:lnTo>
                  <a:pt x="1278" y="876"/>
                </a:lnTo>
                <a:close/>
                <a:moveTo>
                  <a:pt x="1182" y="952"/>
                </a:moveTo>
                <a:lnTo>
                  <a:pt x="1186" y="950"/>
                </a:lnTo>
                <a:lnTo>
                  <a:pt x="1190" y="948"/>
                </a:lnTo>
                <a:lnTo>
                  <a:pt x="1190" y="948"/>
                </a:lnTo>
                <a:lnTo>
                  <a:pt x="1186" y="950"/>
                </a:lnTo>
                <a:lnTo>
                  <a:pt x="1182" y="952"/>
                </a:lnTo>
                <a:close/>
                <a:moveTo>
                  <a:pt x="1155" y="962"/>
                </a:moveTo>
                <a:lnTo>
                  <a:pt x="1158" y="963"/>
                </a:lnTo>
                <a:lnTo>
                  <a:pt x="1159" y="965"/>
                </a:lnTo>
                <a:lnTo>
                  <a:pt x="1158" y="963"/>
                </a:lnTo>
                <a:lnTo>
                  <a:pt x="1155" y="962"/>
                </a:lnTo>
                <a:close/>
                <a:moveTo>
                  <a:pt x="1155" y="944"/>
                </a:moveTo>
                <a:lnTo>
                  <a:pt x="1155" y="944"/>
                </a:lnTo>
                <a:lnTo>
                  <a:pt x="1155" y="943"/>
                </a:lnTo>
                <a:lnTo>
                  <a:pt x="1155" y="944"/>
                </a:lnTo>
                <a:lnTo>
                  <a:pt x="1155" y="944"/>
                </a:lnTo>
                <a:close/>
                <a:moveTo>
                  <a:pt x="1150" y="939"/>
                </a:moveTo>
                <a:lnTo>
                  <a:pt x="1152" y="945"/>
                </a:lnTo>
                <a:lnTo>
                  <a:pt x="1152" y="951"/>
                </a:lnTo>
                <a:lnTo>
                  <a:pt x="1151" y="952"/>
                </a:lnTo>
                <a:lnTo>
                  <a:pt x="1150" y="952"/>
                </a:lnTo>
                <a:lnTo>
                  <a:pt x="1151" y="952"/>
                </a:lnTo>
                <a:lnTo>
                  <a:pt x="1152" y="951"/>
                </a:lnTo>
                <a:lnTo>
                  <a:pt x="1152" y="945"/>
                </a:lnTo>
                <a:lnTo>
                  <a:pt x="1150" y="939"/>
                </a:lnTo>
                <a:close/>
                <a:moveTo>
                  <a:pt x="1162" y="978"/>
                </a:moveTo>
                <a:lnTo>
                  <a:pt x="1162" y="977"/>
                </a:lnTo>
                <a:lnTo>
                  <a:pt x="1162" y="977"/>
                </a:lnTo>
                <a:lnTo>
                  <a:pt x="1162" y="973"/>
                </a:lnTo>
                <a:lnTo>
                  <a:pt x="1162" y="971"/>
                </a:lnTo>
                <a:lnTo>
                  <a:pt x="1154" y="967"/>
                </a:lnTo>
                <a:lnTo>
                  <a:pt x="1148" y="963"/>
                </a:lnTo>
                <a:lnTo>
                  <a:pt x="1154" y="967"/>
                </a:lnTo>
                <a:lnTo>
                  <a:pt x="1162" y="971"/>
                </a:lnTo>
                <a:lnTo>
                  <a:pt x="1162" y="973"/>
                </a:lnTo>
                <a:lnTo>
                  <a:pt x="1162" y="977"/>
                </a:lnTo>
                <a:lnTo>
                  <a:pt x="1162" y="977"/>
                </a:lnTo>
                <a:lnTo>
                  <a:pt x="1162" y="978"/>
                </a:lnTo>
                <a:close/>
                <a:moveTo>
                  <a:pt x="1144" y="966"/>
                </a:moveTo>
                <a:lnTo>
                  <a:pt x="1144" y="966"/>
                </a:lnTo>
                <a:lnTo>
                  <a:pt x="1142" y="965"/>
                </a:lnTo>
                <a:lnTo>
                  <a:pt x="1144" y="966"/>
                </a:lnTo>
                <a:lnTo>
                  <a:pt x="1144" y="966"/>
                </a:lnTo>
                <a:lnTo>
                  <a:pt x="1146" y="967"/>
                </a:lnTo>
                <a:lnTo>
                  <a:pt x="1147" y="969"/>
                </a:lnTo>
                <a:lnTo>
                  <a:pt x="1146" y="967"/>
                </a:lnTo>
                <a:lnTo>
                  <a:pt x="1144" y="966"/>
                </a:lnTo>
                <a:close/>
                <a:moveTo>
                  <a:pt x="1092" y="874"/>
                </a:moveTo>
                <a:lnTo>
                  <a:pt x="1090" y="872"/>
                </a:lnTo>
                <a:lnTo>
                  <a:pt x="1088" y="869"/>
                </a:lnTo>
                <a:lnTo>
                  <a:pt x="1090" y="872"/>
                </a:lnTo>
                <a:lnTo>
                  <a:pt x="1092" y="874"/>
                </a:lnTo>
                <a:lnTo>
                  <a:pt x="1104" y="885"/>
                </a:lnTo>
                <a:lnTo>
                  <a:pt x="1116" y="895"/>
                </a:lnTo>
                <a:lnTo>
                  <a:pt x="1128" y="906"/>
                </a:lnTo>
                <a:lnTo>
                  <a:pt x="1140" y="916"/>
                </a:lnTo>
                <a:lnTo>
                  <a:pt x="1128" y="906"/>
                </a:lnTo>
                <a:lnTo>
                  <a:pt x="1116" y="895"/>
                </a:lnTo>
                <a:lnTo>
                  <a:pt x="1104" y="885"/>
                </a:lnTo>
                <a:lnTo>
                  <a:pt x="1092" y="874"/>
                </a:lnTo>
                <a:close/>
                <a:moveTo>
                  <a:pt x="1134" y="986"/>
                </a:moveTo>
                <a:lnTo>
                  <a:pt x="1134" y="986"/>
                </a:lnTo>
                <a:lnTo>
                  <a:pt x="1135" y="988"/>
                </a:lnTo>
                <a:lnTo>
                  <a:pt x="1135" y="991"/>
                </a:lnTo>
                <a:lnTo>
                  <a:pt x="1135" y="988"/>
                </a:lnTo>
                <a:lnTo>
                  <a:pt x="1134" y="986"/>
                </a:lnTo>
                <a:close/>
                <a:moveTo>
                  <a:pt x="1135" y="993"/>
                </a:moveTo>
                <a:lnTo>
                  <a:pt x="1135" y="992"/>
                </a:lnTo>
                <a:lnTo>
                  <a:pt x="1135" y="991"/>
                </a:lnTo>
                <a:lnTo>
                  <a:pt x="1135" y="992"/>
                </a:lnTo>
                <a:lnTo>
                  <a:pt x="1135" y="993"/>
                </a:lnTo>
                <a:close/>
                <a:moveTo>
                  <a:pt x="1269" y="759"/>
                </a:moveTo>
                <a:lnTo>
                  <a:pt x="1270" y="763"/>
                </a:lnTo>
                <a:lnTo>
                  <a:pt x="1271" y="767"/>
                </a:lnTo>
                <a:lnTo>
                  <a:pt x="1270" y="763"/>
                </a:lnTo>
                <a:lnTo>
                  <a:pt x="1269" y="759"/>
                </a:lnTo>
                <a:lnTo>
                  <a:pt x="1269" y="759"/>
                </a:lnTo>
                <a:lnTo>
                  <a:pt x="1269" y="760"/>
                </a:lnTo>
                <a:lnTo>
                  <a:pt x="1269" y="759"/>
                </a:lnTo>
                <a:lnTo>
                  <a:pt x="1269" y="759"/>
                </a:lnTo>
                <a:close/>
                <a:moveTo>
                  <a:pt x="1269" y="759"/>
                </a:moveTo>
                <a:lnTo>
                  <a:pt x="1266" y="757"/>
                </a:lnTo>
                <a:lnTo>
                  <a:pt x="1265" y="756"/>
                </a:lnTo>
                <a:lnTo>
                  <a:pt x="1266" y="757"/>
                </a:lnTo>
                <a:lnTo>
                  <a:pt x="1269" y="759"/>
                </a:lnTo>
                <a:close/>
                <a:moveTo>
                  <a:pt x="1197" y="787"/>
                </a:moveTo>
                <a:lnTo>
                  <a:pt x="1199" y="789"/>
                </a:lnTo>
                <a:lnTo>
                  <a:pt x="1201" y="790"/>
                </a:lnTo>
                <a:lnTo>
                  <a:pt x="1202" y="790"/>
                </a:lnTo>
                <a:lnTo>
                  <a:pt x="1204" y="791"/>
                </a:lnTo>
                <a:lnTo>
                  <a:pt x="1208" y="794"/>
                </a:lnTo>
                <a:lnTo>
                  <a:pt x="1211" y="797"/>
                </a:lnTo>
                <a:lnTo>
                  <a:pt x="1215" y="799"/>
                </a:lnTo>
                <a:lnTo>
                  <a:pt x="1220" y="801"/>
                </a:lnTo>
                <a:lnTo>
                  <a:pt x="1217" y="795"/>
                </a:lnTo>
                <a:lnTo>
                  <a:pt x="1214" y="790"/>
                </a:lnTo>
                <a:lnTo>
                  <a:pt x="1217" y="789"/>
                </a:lnTo>
                <a:lnTo>
                  <a:pt x="1221" y="790"/>
                </a:lnTo>
                <a:lnTo>
                  <a:pt x="1224" y="791"/>
                </a:lnTo>
                <a:lnTo>
                  <a:pt x="1228" y="792"/>
                </a:lnTo>
                <a:lnTo>
                  <a:pt x="1233" y="797"/>
                </a:lnTo>
                <a:lnTo>
                  <a:pt x="1238" y="802"/>
                </a:lnTo>
                <a:lnTo>
                  <a:pt x="1248" y="811"/>
                </a:lnTo>
                <a:lnTo>
                  <a:pt x="1256" y="822"/>
                </a:lnTo>
                <a:lnTo>
                  <a:pt x="1263" y="832"/>
                </a:lnTo>
                <a:lnTo>
                  <a:pt x="1269" y="844"/>
                </a:lnTo>
                <a:lnTo>
                  <a:pt x="1270" y="847"/>
                </a:lnTo>
                <a:lnTo>
                  <a:pt x="1270" y="850"/>
                </a:lnTo>
                <a:lnTo>
                  <a:pt x="1269" y="850"/>
                </a:lnTo>
                <a:lnTo>
                  <a:pt x="1268" y="850"/>
                </a:lnTo>
                <a:lnTo>
                  <a:pt x="1264" y="850"/>
                </a:lnTo>
                <a:lnTo>
                  <a:pt x="1261" y="850"/>
                </a:lnTo>
                <a:lnTo>
                  <a:pt x="1257" y="843"/>
                </a:lnTo>
                <a:lnTo>
                  <a:pt x="1254" y="836"/>
                </a:lnTo>
                <a:lnTo>
                  <a:pt x="1248" y="831"/>
                </a:lnTo>
                <a:lnTo>
                  <a:pt x="1242" y="826"/>
                </a:lnTo>
                <a:lnTo>
                  <a:pt x="1229" y="818"/>
                </a:lnTo>
                <a:lnTo>
                  <a:pt x="1217" y="811"/>
                </a:lnTo>
                <a:lnTo>
                  <a:pt x="1208" y="805"/>
                </a:lnTo>
                <a:lnTo>
                  <a:pt x="1199" y="801"/>
                </a:lnTo>
                <a:lnTo>
                  <a:pt x="1194" y="797"/>
                </a:lnTo>
                <a:lnTo>
                  <a:pt x="1190" y="795"/>
                </a:lnTo>
                <a:lnTo>
                  <a:pt x="1187" y="790"/>
                </a:lnTo>
                <a:lnTo>
                  <a:pt x="1183" y="785"/>
                </a:lnTo>
                <a:lnTo>
                  <a:pt x="1182" y="784"/>
                </a:lnTo>
                <a:lnTo>
                  <a:pt x="1182" y="782"/>
                </a:lnTo>
                <a:lnTo>
                  <a:pt x="1186" y="783"/>
                </a:lnTo>
                <a:lnTo>
                  <a:pt x="1189" y="785"/>
                </a:lnTo>
                <a:lnTo>
                  <a:pt x="1194" y="787"/>
                </a:lnTo>
                <a:lnTo>
                  <a:pt x="1197" y="787"/>
                </a:lnTo>
                <a:close/>
                <a:moveTo>
                  <a:pt x="1222" y="546"/>
                </a:moveTo>
                <a:lnTo>
                  <a:pt x="1218" y="545"/>
                </a:lnTo>
                <a:lnTo>
                  <a:pt x="1216" y="543"/>
                </a:lnTo>
                <a:lnTo>
                  <a:pt x="1218" y="545"/>
                </a:lnTo>
                <a:lnTo>
                  <a:pt x="1222" y="546"/>
                </a:lnTo>
                <a:close/>
                <a:moveTo>
                  <a:pt x="1241" y="454"/>
                </a:moveTo>
                <a:lnTo>
                  <a:pt x="1241" y="453"/>
                </a:lnTo>
                <a:lnTo>
                  <a:pt x="1241" y="453"/>
                </a:lnTo>
                <a:lnTo>
                  <a:pt x="1241" y="453"/>
                </a:lnTo>
                <a:lnTo>
                  <a:pt x="1241" y="454"/>
                </a:lnTo>
                <a:lnTo>
                  <a:pt x="1235" y="460"/>
                </a:lnTo>
                <a:lnTo>
                  <a:pt x="1229" y="467"/>
                </a:lnTo>
                <a:lnTo>
                  <a:pt x="1235" y="460"/>
                </a:lnTo>
                <a:lnTo>
                  <a:pt x="1241" y="454"/>
                </a:lnTo>
                <a:close/>
                <a:moveTo>
                  <a:pt x="1261" y="430"/>
                </a:moveTo>
                <a:lnTo>
                  <a:pt x="1261" y="427"/>
                </a:lnTo>
                <a:lnTo>
                  <a:pt x="1262" y="426"/>
                </a:lnTo>
                <a:lnTo>
                  <a:pt x="1261" y="427"/>
                </a:lnTo>
                <a:lnTo>
                  <a:pt x="1261" y="430"/>
                </a:lnTo>
                <a:lnTo>
                  <a:pt x="1258" y="432"/>
                </a:lnTo>
                <a:lnTo>
                  <a:pt x="1256" y="434"/>
                </a:lnTo>
                <a:lnTo>
                  <a:pt x="1258" y="432"/>
                </a:lnTo>
                <a:lnTo>
                  <a:pt x="1261" y="430"/>
                </a:lnTo>
                <a:close/>
                <a:moveTo>
                  <a:pt x="1269" y="585"/>
                </a:moveTo>
                <a:lnTo>
                  <a:pt x="1269" y="584"/>
                </a:lnTo>
                <a:lnTo>
                  <a:pt x="1269" y="582"/>
                </a:lnTo>
                <a:lnTo>
                  <a:pt x="1270" y="581"/>
                </a:lnTo>
                <a:lnTo>
                  <a:pt x="1272" y="581"/>
                </a:lnTo>
                <a:lnTo>
                  <a:pt x="1276" y="584"/>
                </a:lnTo>
                <a:lnTo>
                  <a:pt x="1279" y="586"/>
                </a:lnTo>
                <a:lnTo>
                  <a:pt x="1289" y="588"/>
                </a:lnTo>
                <a:lnTo>
                  <a:pt x="1298" y="593"/>
                </a:lnTo>
                <a:lnTo>
                  <a:pt x="1307" y="596"/>
                </a:lnTo>
                <a:lnTo>
                  <a:pt x="1316" y="601"/>
                </a:lnTo>
                <a:lnTo>
                  <a:pt x="1320" y="606"/>
                </a:lnTo>
                <a:lnTo>
                  <a:pt x="1325" y="612"/>
                </a:lnTo>
                <a:lnTo>
                  <a:pt x="1327" y="615"/>
                </a:lnTo>
                <a:lnTo>
                  <a:pt x="1330" y="619"/>
                </a:lnTo>
                <a:lnTo>
                  <a:pt x="1334" y="623"/>
                </a:lnTo>
                <a:lnTo>
                  <a:pt x="1335" y="628"/>
                </a:lnTo>
                <a:lnTo>
                  <a:pt x="1333" y="630"/>
                </a:lnTo>
                <a:lnTo>
                  <a:pt x="1328" y="634"/>
                </a:lnTo>
                <a:lnTo>
                  <a:pt x="1321" y="637"/>
                </a:lnTo>
                <a:lnTo>
                  <a:pt x="1314" y="640"/>
                </a:lnTo>
                <a:lnTo>
                  <a:pt x="1309" y="644"/>
                </a:lnTo>
                <a:lnTo>
                  <a:pt x="1303" y="650"/>
                </a:lnTo>
                <a:lnTo>
                  <a:pt x="1300" y="651"/>
                </a:lnTo>
                <a:lnTo>
                  <a:pt x="1298" y="650"/>
                </a:lnTo>
                <a:lnTo>
                  <a:pt x="1296" y="648"/>
                </a:lnTo>
                <a:lnTo>
                  <a:pt x="1295" y="645"/>
                </a:lnTo>
                <a:lnTo>
                  <a:pt x="1292" y="636"/>
                </a:lnTo>
                <a:lnTo>
                  <a:pt x="1290" y="628"/>
                </a:lnTo>
                <a:lnTo>
                  <a:pt x="1286" y="620"/>
                </a:lnTo>
                <a:lnTo>
                  <a:pt x="1284" y="610"/>
                </a:lnTo>
                <a:lnTo>
                  <a:pt x="1283" y="606"/>
                </a:lnTo>
                <a:lnTo>
                  <a:pt x="1279" y="602"/>
                </a:lnTo>
                <a:lnTo>
                  <a:pt x="1276" y="599"/>
                </a:lnTo>
                <a:lnTo>
                  <a:pt x="1271" y="595"/>
                </a:lnTo>
                <a:lnTo>
                  <a:pt x="1269" y="593"/>
                </a:lnTo>
                <a:lnTo>
                  <a:pt x="1268" y="591"/>
                </a:lnTo>
                <a:lnTo>
                  <a:pt x="1268" y="588"/>
                </a:lnTo>
                <a:lnTo>
                  <a:pt x="1269" y="585"/>
                </a:lnTo>
                <a:close/>
                <a:moveTo>
                  <a:pt x="1296" y="414"/>
                </a:moveTo>
                <a:lnTo>
                  <a:pt x="1298" y="414"/>
                </a:lnTo>
                <a:lnTo>
                  <a:pt x="1302" y="414"/>
                </a:lnTo>
                <a:lnTo>
                  <a:pt x="1298" y="414"/>
                </a:lnTo>
                <a:lnTo>
                  <a:pt x="1296" y="414"/>
                </a:lnTo>
                <a:lnTo>
                  <a:pt x="1296" y="414"/>
                </a:lnTo>
                <a:close/>
                <a:moveTo>
                  <a:pt x="1371" y="679"/>
                </a:moveTo>
                <a:lnTo>
                  <a:pt x="1367" y="677"/>
                </a:lnTo>
                <a:lnTo>
                  <a:pt x="1362" y="677"/>
                </a:lnTo>
                <a:lnTo>
                  <a:pt x="1362" y="677"/>
                </a:lnTo>
                <a:lnTo>
                  <a:pt x="1367" y="677"/>
                </a:lnTo>
                <a:lnTo>
                  <a:pt x="1371" y="679"/>
                </a:lnTo>
                <a:close/>
                <a:moveTo>
                  <a:pt x="1344" y="598"/>
                </a:moveTo>
                <a:lnTo>
                  <a:pt x="1346" y="595"/>
                </a:lnTo>
                <a:lnTo>
                  <a:pt x="1348" y="594"/>
                </a:lnTo>
                <a:lnTo>
                  <a:pt x="1351" y="594"/>
                </a:lnTo>
                <a:lnTo>
                  <a:pt x="1353" y="594"/>
                </a:lnTo>
                <a:lnTo>
                  <a:pt x="1359" y="595"/>
                </a:lnTo>
                <a:lnTo>
                  <a:pt x="1363" y="598"/>
                </a:lnTo>
                <a:lnTo>
                  <a:pt x="1367" y="600"/>
                </a:lnTo>
                <a:lnTo>
                  <a:pt x="1371" y="602"/>
                </a:lnTo>
                <a:lnTo>
                  <a:pt x="1378" y="609"/>
                </a:lnTo>
                <a:lnTo>
                  <a:pt x="1385" y="616"/>
                </a:lnTo>
                <a:lnTo>
                  <a:pt x="1386" y="617"/>
                </a:lnTo>
                <a:lnTo>
                  <a:pt x="1386" y="619"/>
                </a:lnTo>
                <a:lnTo>
                  <a:pt x="1386" y="620"/>
                </a:lnTo>
                <a:lnTo>
                  <a:pt x="1385" y="622"/>
                </a:lnTo>
                <a:lnTo>
                  <a:pt x="1382" y="623"/>
                </a:lnTo>
                <a:lnTo>
                  <a:pt x="1380" y="622"/>
                </a:lnTo>
                <a:lnTo>
                  <a:pt x="1379" y="621"/>
                </a:lnTo>
                <a:lnTo>
                  <a:pt x="1378" y="620"/>
                </a:lnTo>
                <a:lnTo>
                  <a:pt x="1372" y="613"/>
                </a:lnTo>
                <a:lnTo>
                  <a:pt x="1365" y="606"/>
                </a:lnTo>
                <a:lnTo>
                  <a:pt x="1360" y="603"/>
                </a:lnTo>
                <a:lnTo>
                  <a:pt x="1358" y="602"/>
                </a:lnTo>
                <a:lnTo>
                  <a:pt x="1354" y="605"/>
                </a:lnTo>
                <a:lnTo>
                  <a:pt x="1352" y="609"/>
                </a:lnTo>
                <a:lnTo>
                  <a:pt x="1349" y="613"/>
                </a:lnTo>
                <a:lnTo>
                  <a:pt x="1348" y="617"/>
                </a:lnTo>
                <a:lnTo>
                  <a:pt x="1347" y="619"/>
                </a:lnTo>
                <a:lnTo>
                  <a:pt x="1345" y="621"/>
                </a:lnTo>
                <a:lnTo>
                  <a:pt x="1342" y="621"/>
                </a:lnTo>
                <a:lnTo>
                  <a:pt x="1340" y="621"/>
                </a:lnTo>
                <a:lnTo>
                  <a:pt x="1338" y="620"/>
                </a:lnTo>
                <a:lnTo>
                  <a:pt x="1337" y="619"/>
                </a:lnTo>
                <a:lnTo>
                  <a:pt x="1335" y="617"/>
                </a:lnTo>
                <a:lnTo>
                  <a:pt x="1334" y="616"/>
                </a:lnTo>
                <a:lnTo>
                  <a:pt x="1333" y="612"/>
                </a:lnTo>
                <a:lnTo>
                  <a:pt x="1333" y="607"/>
                </a:lnTo>
                <a:lnTo>
                  <a:pt x="1332" y="603"/>
                </a:lnTo>
                <a:lnTo>
                  <a:pt x="1332" y="600"/>
                </a:lnTo>
                <a:lnTo>
                  <a:pt x="1335" y="603"/>
                </a:lnTo>
                <a:lnTo>
                  <a:pt x="1339" y="603"/>
                </a:lnTo>
                <a:lnTo>
                  <a:pt x="1342" y="601"/>
                </a:lnTo>
                <a:lnTo>
                  <a:pt x="1344" y="598"/>
                </a:lnTo>
                <a:close/>
                <a:moveTo>
                  <a:pt x="1346" y="561"/>
                </a:moveTo>
                <a:lnTo>
                  <a:pt x="1358" y="568"/>
                </a:lnTo>
                <a:lnTo>
                  <a:pt x="1368" y="575"/>
                </a:lnTo>
                <a:lnTo>
                  <a:pt x="1358" y="568"/>
                </a:lnTo>
                <a:lnTo>
                  <a:pt x="1346" y="561"/>
                </a:lnTo>
                <a:lnTo>
                  <a:pt x="1340" y="557"/>
                </a:lnTo>
                <a:lnTo>
                  <a:pt x="1334" y="552"/>
                </a:lnTo>
                <a:lnTo>
                  <a:pt x="1340" y="557"/>
                </a:lnTo>
                <a:lnTo>
                  <a:pt x="1346" y="561"/>
                </a:lnTo>
                <a:close/>
                <a:moveTo>
                  <a:pt x="1385" y="462"/>
                </a:moveTo>
                <a:lnTo>
                  <a:pt x="1385" y="465"/>
                </a:lnTo>
                <a:lnTo>
                  <a:pt x="1385" y="468"/>
                </a:lnTo>
                <a:lnTo>
                  <a:pt x="1385" y="465"/>
                </a:lnTo>
                <a:lnTo>
                  <a:pt x="1385" y="462"/>
                </a:lnTo>
                <a:close/>
                <a:moveTo>
                  <a:pt x="1389" y="483"/>
                </a:moveTo>
                <a:lnTo>
                  <a:pt x="1390" y="484"/>
                </a:lnTo>
                <a:lnTo>
                  <a:pt x="1392" y="487"/>
                </a:lnTo>
                <a:lnTo>
                  <a:pt x="1390" y="484"/>
                </a:lnTo>
                <a:lnTo>
                  <a:pt x="1389" y="483"/>
                </a:lnTo>
                <a:lnTo>
                  <a:pt x="1386" y="475"/>
                </a:lnTo>
                <a:lnTo>
                  <a:pt x="1385" y="468"/>
                </a:lnTo>
                <a:lnTo>
                  <a:pt x="1386" y="475"/>
                </a:lnTo>
                <a:lnTo>
                  <a:pt x="1389" y="483"/>
                </a:lnTo>
                <a:close/>
                <a:moveTo>
                  <a:pt x="1388" y="444"/>
                </a:moveTo>
                <a:lnTo>
                  <a:pt x="1388" y="444"/>
                </a:lnTo>
                <a:lnTo>
                  <a:pt x="1387" y="447"/>
                </a:lnTo>
                <a:lnTo>
                  <a:pt x="1387" y="451"/>
                </a:lnTo>
                <a:lnTo>
                  <a:pt x="1387" y="447"/>
                </a:lnTo>
                <a:lnTo>
                  <a:pt x="1388" y="444"/>
                </a:lnTo>
                <a:close/>
                <a:moveTo>
                  <a:pt x="1395" y="405"/>
                </a:moveTo>
                <a:lnTo>
                  <a:pt x="1393" y="406"/>
                </a:lnTo>
                <a:lnTo>
                  <a:pt x="1392" y="409"/>
                </a:lnTo>
                <a:lnTo>
                  <a:pt x="1390" y="411"/>
                </a:lnTo>
                <a:lnTo>
                  <a:pt x="1392" y="416"/>
                </a:lnTo>
                <a:lnTo>
                  <a:pt x="1390" y="411"/>
                </a:lnTo>
                <a:lnTo>
                  <a:pt x="1392" y="409"/>
                </a:lnTo>
                <a:lnTo>
                  <a:pt x="1393" y="406"/>
                </a:lnTo>
                <a:lnTo>
                  <a:pt x="1395" y="405"/>
                </a:lnTo>
                <a:close/>
                <a:moveTo>
                  <a:pt x="1388" y="650"/>
                </a:moveTo>
                <a:lnTo>
                  <a:pt x="1389" y="652"/>
                </a:lnTo>
                <a:lnTo>
                  <a:pt x="1392" y="655"/>
                </a:lnTo>
                <a:lnTo>
                  <a:pt x="1389" y="652"/>
                </a:lnTo>
                <a:lnTo>
                  <a:pt x="1388" y="650"/>
                </a:lnTo>
                <a:close/>
                <a:moveTo>
                  <a:pt x="1401" y="700"/>
                </a:moveTo>
                <a:lnTo>
                  <a:pt x="1401" y="700"/>
                </a:lnTo>
                <a:lnTo>
                  <a:pt x="1395" y="685"/>
                </a:lnTo>
                <a:lnTo>
                  <a:pt x="1390" y="671"/>
                </a:lnTo>
                <a:lnTo>
                  <a:pt x="1395" y="685"/>
                </a:lnTo>
                <a:lnTo>
                  <a:pt x="1401" y="700"/>
                </a:lnTo>
                <a:close/>
                <a:moveTo>
                  <a:pt x="1404" y="707"/>
                </a:moveTo>
                <a:lnTo>
                  <a:pt x="1403" y="705"/>
                </a:lnTo>
                <a:lnTo>
                  <a:pt x="1402" y="703"/>
                </a:lnTo>
                <a:lnTo>
                  <a:pt x="1403" y="705"/>
                </a:lnTo>
                <a:lnTo>
                  <a:pt x="1404" y="707"/>
                </a:lnTo>
                <a:close/>
                <a:moveTo>
                  <a:pt x="1413" y="332"/>
                </a:moveTo>
                <a:lnTo>
                  <a:pt x="1414" y="333"/>
                </a:lnTo>
                <a:lnTo>
                  <a:pt x="1414" y="333"/>
                </a:lnTo>
                <a:lnTo>
                  <a:pt x="1414" y="333"/>
                </a:lnTo>
                <a:lnTo>
                  <a:pt x="1413" y="332"/>
                </a:lnTo>
                <a:lnTo>
                  <a:pt x="1413" y="332"/>
                </a:lnTo>
                <a:lnTo>
                  <a:pt x="1413" y="330"/>
                </a:lnTo>
                <a:lnTo>
                  <a:pt x="1413" y="332"/>
                </a:lnTo>
                <a:lnTo>
                  <a:pt x="1413" y="332"/>
                </a:lnTo>
                <a:close/>
                <a:moveTo>
                  <a:pt x="1417" y="327"/>
                </a:moveTo>
                <a:lnTo>
                  <a:pt x="1418" y="327"/>
                </a:lnTo>
                <a:lnTo>
                  <a:pt x="1421" y="327"/>
                </a:lnTo>
                <a:lnTo>
                  <a:pt x="1418" y="327"/>
                </a:lnTo>
                <a:lnTo>
                  <a:pt x="1417" y="327"/>
                </a:lnTo>
                <a:lnTo>
                  <a:pt x="1417" y="329"/>
                </a:lnTo>
                <a:lnTo>
                  <a:pt x="1416" y="329"/>
                </a:lnTo>
                <a:lnTo>
                  <a:pt x="1417" y="329"/>
                </a:lnTo>
                <a:lnTo>
                  <a:pt x="1417" y="327"/>
                </a:lnTo>
                <a:close/>
                <a:moveTo>
                  <a:pt x="1434" y="508"/>
                </a:moveTo>
                <a:lnTo>
                  <a:pt x="1432" y="509"/>
                </a:lnTo>
                <a:lnTo>
                  <a:pt x="1431" y="510"/>
                </a:lnTo>
                <a:lnTo>
                  <a:pt x="1432" y="509"/>
                </a:lnTo>
                <a:lnTo>
                  <a:pt x="1434" y="508"/>
                </a:lnTo>
                <a:close/>
                <a:moveTo>
                  <a:pt x="1020" y="843"/>
                </a:moveTo>
                <a:lnTo>
                  <a:pt x="1003" y="827"/>
                </a:lnTo>
                <a:lnTo>
                  <a:pt x="987" y="812"/>
                </a:lnTo>
                <a:lnTo>
                  <a:pt x="1003" y="827"/>
                </a:lnTo>
                <a:lnTo>
                  <a:pt x="1020" y="843"/>
                </a:lnTo>
                <a:lnTo>
                  <a:pt x="1022" y="841"/>
                </a:lnTo>
                <a:lnTo>
                  <a:pt x="1024" y="840"/>
                </a:lnTo>
                <a:lnTo>
                  <a:pt x="1022" y="841"/>
                </a:lnTo>
                <a:lnTo>
                  <a:pt x="1020" y="843"/>
                </a:lnTo>
                <a:close/>
                <a:moveTo>
                  <a:pt x="1006" y="689"/>
                </a:moveTo>
                <a:lnTo>
                  <a:pt x="1006" y="689"/>
                </a:lnTo>
                <a:lnTo>
                  <a:pt x="1004" y="690"/>
                </a:lnTo>
                <a:lnTo>
                  <a:pt x="1006" y="689"/>
                </a:lnTo>
                <a:lnTo>
                  <a:pt x="1006" y="689"/>
                </a:lnTo>
                <a:close/>
                <a:moveTo>
                  <a:pt x="946" y="755"/>
                </a:moveTo>
                <a:lnTo>
                  <a:pt x="946" y="755"/>
                </a:lnTo>
                <a:lnTo>
                  <a:pt x="946" y="755"/>
                </a:lnTo>
                <a:lnTo>
                  <a:pt x="947" y="755"/>
                </a:lnTo>
                <a:lnTo>
                  <a:pt x="946" y="755"/>
                </a:lnTo>
                <a:lnTo>
                  <a:pt x="946" y="755"/>
                </a:lnTo>
                <a:close/>
                <a:moveTo>
                  <a:pt x="939" y="769"/>
                </a:moveTo>
                <a:lnTo>
                  <a:pt x="939" y="769"/>
                </a:lnTo>
                <a:lnTo>
                  <a:pt x="939" y="769"/>
                </a:lnTo>
                <a:lnTo>
                  <a:pt x="940" y="771"/>
                </a:lnTo>
                <a:lnTo>
                  <a:pt x="943" y="774"/>
                </a:lnTo>
                <a:lnTo>
                  <a:pt x="940" y="771"/>
                </a:lnTo>
                <a:lnTo>
                  <a:pt x="939" y="769"/>
                </a:lnTo>
                <a:close/>
                <a:moveTo>
                  <a:pt x="817" y="973"/>
                </a:moveTo>
                <a:lnTo>
                  <a:pt x="808" y="973"/>
                </a:lnTo>
                <a:lnTo>
                  <a:pt x="800" y="972"/>
                </a:lnTo>
                <a:lnTo>
                  <a:pt x="789" y="966"/>
                </a:lnTo>
                <a:lnTo>
                  <a:pt x="781" y="957"/>
                </a:lnTo>
                <a:lnTo>
                  <a:pt x="765" y="943"/>
                </a:lnTo>
                <a:lnTo>
                  <a:pt x="748" y="929"/>
                </a:lnTo>
                <a:lnTo>
                  <a:pt x="750" y="927"/>
                </a:lnTo>
                <a:lnTo>
                  <a:pt x="750" y="925"/>
                </a:lnTo>
                <a:lnTo>
                  <a:pt x="759" y="929"/>
                </a:lnTo>
                <a:lnTo>
                  <a:pt x="768" y="932"/>
                </a:lnTo>
                <a:lnTo>
                  <a:pt x="776" y="937"/>
                </a:lnTo>
                <a:lnTo>
                  <a:pt x="785" y="943"/>
                </a:lnTo>
                <a:lnTo>
                  <a:pt x="792" y="948"/>
                </a:lnTo>
                <a:lnTo>
                  <a:pt x="799" y="951"/>
                </a:lnTo>
                <a:lnTo>
                  <a:pt x="800" y="952"/>
                </a:lnTo>
                <a:lnTo>
                  <a:pt x="801" y="952"/>
                </a:lnTo>
                <a:lnTo>
                  <a:pt x="802" y="953"/>
                </a:lnTo>
                <a:lnTo>
                  <a:pt x="800" y="956"/>
                </a:lnTo>
                <a:lnTo>
                  <a:pt x="801" y="958"/>
                </a:lnTo>
                <a:lnTo>
                  <a:pt x="806" y="962"/>
                </a:lnTo>
                <a:lnTo>
                  <a:pt x="809" y="963"/>
                </a:lnTo>
                <a:lnTo>
                  <a:pt x="813" y="965"/>
                </a:lnTo>
                <a:lnTo>
                  <a:pt x="816" y="969"/>
                </a:lnTo>
                <a:lnTo>
                  <a:pt x="817" y="973"/>
                </a:lnTo>
                <a:lnTo>
                  <a:pt x="821" y="973"/>
                </a:lnTo>
                <a:lnTo>
                  <a:pt x="826" y="972"/>
                </a:lnTo>
                <a:lnTo>
                  <a:pt x="821" y="973"/>
                </a:lnTo>
                <a:lnTo>
                  <a:pt x="817" y="973"/>
                </a:lnTo>
                <a:close/>
                <a:moveTo>
                  <a:pt x="789" y="1392"/>
                </a:moveTo>
                <a:lnTo>
                  <a:pt x="792" y="1390"/>
                </a:lnTo>
                <a:lnTo>
                  <a:pt x="794" y="1389"/>
                </a:lnTo>
                <a:lnTo>
                  <a:pt x="792" y="1390"/>
                </a:lnTo>
                <a:lnTo>
                  <a:pt x="789" y="1392"/>
                </a:lnTo>
                <a:lnTo>
                  <a:pt x="788" y="1392"/>
                </a:lnTo>
                <a:lnTo>
                  <a:pt x="788" y="1393"/>
                </a:lnTo>
                <a:lnTo>
                  <a:pt x="788" y="1392"/>
                </a:lnTo>
                <a:lnTo>
                  <a:pt x="789" y="1392"/>
                </a:lnTo>
                <a:close/>
                <a:moveTo>
                  <a:pt x="857" y="1405"/>
                </a:moveTo>
                <a:lnTo>
                  <a:pt x="848" y="1406"/>
                </a:lnTo>
                <a:lnTo>
                  <a:pt x="838" y="1406"/>
                </a:lnTo>
                <a:lnTo>
                  <a:pt x="830" y="1407"/>
                </a:lnTo>
                <a:lnTo>
                  <a:pt x="821" y="1407"/>
                </a:lnTo>
                <a:lnTo>
                  <a:pt x="830" y="1407"/>
                </a:lnTo>
                <a:lnTo>
                  <a:pt x="838" y="1406"/>
                </a:lnTo>
                <a:lnTo>
                  <a:pt x="848" y="1406"/>
                </a:lnTo>
                <a:lnTo>
                  <a:pt x="857" y="1405"/>
                </a:lnTo>
                <a:close/>
                <a:moveTo>
                  <a:pt x="863" y="1404"/>
                </a:moveTo>
                <a:lnTo>
                  <a:pt x="859" y="1404"/>
                </a:lnTo>
                <a:lnTo>
                  <a:pt x="857" y="1404"/>
                </a:lnTo>
                <a:lnTo>
                  <a:pt x="859" y="1404"/>
                </a:lnTo>
                <a:lnTo>
                  <a:pt x="863" y="1404"/>
                </a:lnTo>
                <a:close/>
                <a:moveTo>
                  <a:pt x="872" y="1403"/>
                </a:moveTo>
                <a:lnTo>
                  <a:pt x="871" y="1402"/>
                </a:lnTo>
                <a:lnTo>
                  <a:pt x="869" y="1402"/>
                </a:lnTo>
                <a:lnTo>
                  <a:pt x="867" y="1403"/>
                </a:lnTo>
                <a:lnTo>
                  <a:pt x="865" y="1403"/>
                </a:lnTo>
                <a:lnTo>
                  <a:pt x="867" y="1403"/>
                </a:lnTo>
                <a:lnTo>
                  <a:pt x="869" y="1402"/>
                </a:lnTo>
                <a:lnTo>
                  <a:pt x="871" y="1402"/>
                </a:lnTo>
                <a:lnTo>
                  <a:pt x="872" y="1403"/>
                </a:lnTo>
                <a:close/>
                <a:moveTo>
                  <a:pt x="885" y="1377"/>
                </a:moveTo>
                <a:lnTo>
                  <a:pt x="891" y="1370"/>
                </a:lnTo>
                <a:lnTo>
                  <a:pt x="896" y="1363"/>
                </a:lnTo>
                <a:lnTo>
                  <a:pt x="891" y="1370"/>
                </a:lnTo>
                <a:lnTo>
                  <a:pt x="885" y="1377"/>
                </a:lnTo>
                <a:lnTo>
                  <a:pt x="885" y="1377"/>
                </a:lnTo>
                <a:lnTo>
                  <a:pt x="885" y="1378"/>
                </a:lnTo>
                <a:lnTo>
                  <a:pt x="885" y="1377"/>
                </a:lnTo>
                <a:lnTo>
                  <a:pt x="885" y="1377"/>
                </a:lnTo>
                <a:close/>
                <a:moveTo>
                  <a:pt x="898" y="1330"/>
                </a:moveTo>
                <a:lnTo>
                  <a:pt x="898" y="1330"/>
                </a:lnTo>
                <a:lnTo>
                  <a:pt x="898" y="1330"/>
                </a:lnTo>
                <a:lnTo>
                  <a:pt x="898" y="1330"/>
                </a:lnTo>
                <a:lnTo>
                  <a:pt x="898" y="1330"/>
                </a:lnTo>
                <a:close/>
                <a:moveTo>
                  <a:pt x="907" y="1335"/>
                </a:moveTo>
                <a:lnTo>
                  <a:pt x="907" y="1334"/>
                </a:lnTo>
                <a:lnTo>
                  <a:pt x="907" y="1333"/>
                </a:lnTo>
                <a:lnTo>
                  <a:pt x="907" y="1334"/>
                </a:lnTo>
                <a:lnTo>
                  <a:pt x="907" y="1335"/>
                </a:lnTo>
                <a:lnTo>
                  <a:pt x="903" y="1334"/>
                </a:lnTo>
                <a:lnTo>
                  <a:pt x="899" y="1330"/>
                </a:lnTo>
                <a:lnTo>
                  <a:pt x="903" y="1334"/>
                </a:lnTo>
                <a:lnTo>
                  <a:pt x="907" y="1335"/>
                </a:lnTo>
                <a:close/>
                <a:moveTo>
                  <a:pt x="907" y="1333"/>
                </a:moveTo>
                <a:lnTo>
                  <a:pt x="906" y="1332"/>
                </a:lnTo>
                <a:lnTo>
                  <a:pt x="906" y="1330"/>
                </a:lnTo>
                <a:lnTo>
                  <a:pt x="906" y="1332"/>
                </a:lnTo>
                <a:lnTo>
                  <a:pt x="907" y="1333"/>
                </a:lnTo>
                <a:close/>
                <a:moveTo>
                  <a:pt x="912" y="1336"/>
                </a:moveTo>
                <a:lnTo>
                  <a:pt x="912" y="1334"/>
                </a:lnTo>
                <a:lnTo>
                  <a:pt x="912" y="1333"/>
                </a:lnTo>
                <a:lnTo>
                  <a:pt x="912" y="1334"/>
                </a:lnTo>
                <a:lnTo>
                  <a:pt x="912" y="1336"/>
                </a:lnTo>
                <a:close/>
                <a:moveTo>
                  <a:pt x="586" y="1106"/>
                </a:moveTo>
                <a:lnTo>
                  <a:pt x="585" y="1106"/>
                </a:lnTo>
                <a:lnTo>
                  <a:pt x="585" y="1106"/>
                </a:lnTo>
                <a:lnTo>
                  <a:pt x="584" y="1108"/>
                </a:lnTo>
                <a:lnTo>
                  <a:pt x="582" y="1109"/>
                </a:lnTo>
                <a:lnTo>
                  <a:pt x="584" y="1108"/>
                </a:lnTo>
                <a:lnTo>
                  <a:pt x="585" y="1106"/>
                </a:lnTo>
                <a:lnTo>
                  <a:pt x="585" y="1106"/>
                </a:lnTo>
                <a:lnTo>
                  <a:pt x="586" y="1106"/>
                </a:lnTo>
                <a:lnTo>
                  <a:pt x="588" y="1105"/>
                </a:lnTo>
                <a:lnTo>
                  <a:pt x="591" y="1105"/>
                </a:lnTo>
                <a:lnTo>
                  <a:pt x="588" y="1105"/>
                </a:lnTo>
                <a:lnTo>
                  <a:pt x="586" y="1106"/>
                </a:lnTo>
                <a:close/>
                <a:moveTo>
                  <a:pt x="353" y="916"/>
                </a:moveTo>
                <a:lnTo>
                  <a:pt x="355" y="917"/>
                </a:lnTo>
                <a:lnTo>
                  <a:pt x="358" y="920"/>
                </a:lnTo>
                <a:lnTo>
                  <a:pt x="355" y="917"/>
                </a:lnTo>
                <a:lnTo>
                  <a:pt x="353" y="916"/>
                </a:lnTo>
                <a:close/>
                <a:moveTo>
                  <a:pt x="327" y="899"/>
                </a:moveTo>
                <a:lnTo>
                  <a:pt x="330" y="897"/>
                </a:lnTo>
                <a:lnTo>
                  <a:pt x="332" y="897"/>
                </a:lnTo>
                <a:lnTo>
                  <a:pt x="330" y="897"/>
                </a:lnTo>
                <a:lnTo>
                  <a:pt x="327" y="899"/>
                </a:lnTo>
                <a:close/>
                <a:moveTo>
                  <a:pt x="322" y="899"/>
                </a:moveTo>
                <a:lnTo>
                  <a:pt x="324" y="899"/>
                </a:lnTo>
                <a:lnTo>
                  <a:pt x="327" y="899"/>
                </a:lnTo>
                <a:lnTo>
                  <a:pt x="324" y="899"/>
                </a:lnTo>
                <a:lnTo>
                  <a:pt x="322" y="899"/>
                </a:lnTo>
                <a:close/>
                <a:moveTo>
                  <a:pt x="316" y="895"/>
                </a:moveTo>
                <a:lnTo>
                  <a:pt x="315" y="894"/>
                </a:lnTo>
                <a:lnTo>
                  <a:pt x="313" y="893"/>
                </a:lnTo>
                <a:lnTo>
                  <a:pt x="315" y="894"/>
                </a:lnTo>
                <a:lnTo>
                  <a:pt x="316" y="895"/>
                </a:lnTo>
                <a:close/>
                <a:moveTo>
                  <a:pt x="283" y="881"/>
                </a:moveTo>
                <a:lnTo>
                  <a:pt x="284" y="882"/>
                </a:lnTo>
                <a:lnTo>
                  <a:pt x="284" y="883"/>
                </a:lnTo>
                <a:lnTo>
                  <a:pt x="284" y="882"/>
                </a:lnTo>
                <a:lnTo>
                  <a:pt x="283" y="881"/>
                </a:lnTo>
                <a:close/>
                <a:moveTo>
                  <a:pt x="230" y="934"/>
                </a:moveTo>
                <a:lnTo>
                  <a:pt x="228" y="935"/>
                </a:lnTo>
                <a:lnTo>
                  <a:pt x="227" y="937"/>
                </a:lnTo>
                <a:lnTo>
                  <a:pt x="228" y="935"/>
                </a:lnTo>
                <a:lnTo>
                  <a:pt x="230" y="934"/>
                </a:lnTo>
                <a:lnTo>
                  <a:pt x="232" y="932"/>
                </a:lnTo>
                <a:lnTo>
                  <a:pt x="233" y="932"/>
                </a:lnTo>
                <a:lnTo>
                  <a:pt x="232" y="932"/>
                </a:lnTo>
                <a:lnTo>
                  <a:pt x="230" y="934"/>
                </a:lnTo>
                <a:close/>
                <a:moveTo>
                  <a:pt x="182" y="890"/>
                </a:moveTo>
                <a:lnTo>
                  <a:pt x="184" y="893"/>
                </a:lnTo>
                <a:lnTo>
                  <a:pt x="185" y="893"/>
                </a:lnTo>
                <a:lnTo>
                  <a:pt x="184" y="893"/>
                </a:lnTo>
                <a:lnTo>
                  <a:pt x="182" y="890"/>
                </a:lnTo>
                <a:close/>
                <a:moveTo>
                  <a:pt x="1211" y="479"/>
                </a:moveTo>
                <a:lnTo>
                  <a:pt x="1210" y="486"/>
                </a:lnTo>
                <a:lnTo>
                  <a:pt x="1208" y="493"/>
                </a:lnTo>
                <a:lnTo>
                  <a:pt x="1210" y="486"/>
                </a:lnTo>
                <a:lnTo>
                  <a:pt x="1211" y="479"/>
                </a:lnTo>
                <a:lnTo>
                  <a:pt x="1213" y="479"/>
                </a:lnTo>
                <a:lnTo>
                  <a:pt x="1214" y="477"/>
                </a:lnTo>
                <a:lnTo>
                  <a:pt x="1213" y="479"/>
                </a:lnTo>
                <a:lnTo>
                  <a:pt x="1211" y="479"/>
                </a:lnTo>
                <a:close/>
                <a:moveTo>
                  <a:pt x="1207" y="498"/>
                </a:moveTo>
                <a:lnTo>
                  <a:pt x="1207" y="496"/>
                </a:lnTo>
                <a:lnTo>
                  <a:pt x="1208" y="494"/>
                </a:lnTo>
                <a:lnTo>
                  <a:pt x="1207" y="487"/>
                </a:lnTo>
                <a:lnTo>
                  <a:pt x="1206" y="481"/>
                </a:lnTo>
                <a:lnTo>
                  <a:pt x="1207" y="487"/>
                </a:lnTo>
                <a:lnTo>
                  <a:pt x="1208" y="494"/>
                </a:lnTo>
                <a:lnTo>
                  <a:pt x="1207" y="496"/>
                </a:lnTo>
                <a:lnTo>
                  <a:pt x="1207" y="498"/>
                </a:lnTo>
                <a:close/>
                <a:moveTo>
                  <a:pt x="1089" y="451"/>
                </a:moveTo>
                <a:lnTo>
                  <a:pt x="1089" y="451"/>
                </a:lnTo>
                <a:lnTo>
                  <a:pt x="1089" y="451"/>
                </a:lnTo>
                <a:lnTo>
                  <a:pt x="1089" y="451"/>
                </a:lnTo>
                <a:lnTo>
                  <a:pt x="1089" y="451"/>
                </a:lnTo>
                <a:lnTo>
                  <a:pt x="1090" y="444"/>
                </a:lnTo>
                <a:lnTo>
                  <a:pt x="1091" y="437"/>
                </a:lnTo>
                <a:lnTo>
                  <a:pt x="1090" y="444"/>
                </a:lnTo>
                <a:lnTo>
                  <a:pt x="1089" y="451"/>
                </a:lnTo>
                <a:close/>
                <a:moveTo>
                  <a:pt x="633" y="430"/>
                </a:moveTo>
                <a:lnTo>
                  <a:pt x="634" y="427"/>
                </a:lnTo>
                <a:lnTo>
                  <a:pt x="636" y="426"/>
                </a:lnTo>
                <a:lnTo>
                  <a:pt x="634" y="427"/>
                </a:lnTo>
                <a:lnTo>
                  <a:pt x="633" y="430"/>
                </a:lnTo>
                <a:close/>
                <a:moveTo>
                  <a:pt x="511" y="433"/>
                </a:moveTo>
                <a:lnTo>
                  <a:pt x="506" y="434"/>
                </a:lnTo>
                <a:lnTo>
                  <a:pt x="502" y="438"/>
                </a:lnTo>
                <a:lnTo>
                  <a:pt x="497" y="439"/>
                </a:lnTo>
                <a:lnTo>
                  <a:pt x="492" y="440"/>
                </a:lnTo>
                <a:lnTo>
                  <a:pt x="497" y="439"/>
                </a:lnTo>
                <a:lnTo>
                  <a:pt x="502" y="438"/>
                </a:lnTo>
                <a:lnTo>
                  <a:pt x="506" y="434"/>
                </a:lnTo>
                <a:lnTo>
                  <a:pt x="511" y="433"/>
                </a:lnTo>
                <a:lnTo>
                  <a:pt x="513" y="433"/>
                </a:lnTo>
                <a:lnTo>
                  <a:pt x="516" y="433"/>
                </a:lnTo>
                <a:lnTo>
                  <a:pt x="513" y="433"/>
                </a:lnTo>
                <a:lnTo>
                  <a:pt x="511" y="433"/>
                </a:lnTo>
                <a:close/>
                <a:moveTo>
                  <a:pt x="1518" y="242"/>
                </a:moveTo>
                <a:lnTo>
                  <a:pt x="1516" y="244"/>
                </a:lnTo>
                <a:lnTo>
                  <a:pt x="1516" y="247"/>
                </a:lnTo>
                <a:lnTo>
                  <a:pt x="1516" y="244"/>
                </a:lnTo>
                <a:lnTo>
                  <a:pt x="1518" y="242"/>
                </a:lnTo>
                <a:close/>
                <a:moveTo>
                  <a:pt x="1563" y="365"/>
                </a:moveTo>
                <a:lnTo>
                  <a:pt x="1565" y="363"/>
                </a:lnTo>
                <a:lnTo>
                  <a:pt x="1566" y="362"/>
                </a:lnTo>
                <a:lnTo>
                  <a:pt x="1565" y="363"/>
                </a:lnTo>
                <a:lnTo>
                  <a:pt x="1563" y="365"/>
                </a:lnTo>
                <a:lnTo>
                  <a:pt x="1561" y="365"/>
                </a:lnTo>
                <a:lnTo>
                  <a:pt x="1560" y="367"/>
                </a:lnTo>
                <a:lnTo>
                  <a:pt x="1561" y="365"/>
                </a:lnTo>
                <a:lnTo>
                  <a:pt x="1563" y="365"/>
                </a:lnTo>
                <a:close/>
                <a:moveTo>
                  <a:pt x="1568" y="365"/>
                </a:moveTo>
                <a:lnTo>
                  <a:pt x="1566" y="367"/>
                </a:lnTo>
                <a:lnTo>
                  <a:pt x="1565" y="367"/>
                </a:lnTo>
                <a:lnTo>
                  <a:pt x="1566" y="367"/>
                </a:lnTo>
                <a:lnTo>
                  <a:pt x="1568" y="365"/>
                </a:lnTo>
                <a:close/>
                <a:moveTo>
                  <a:pt x="1577" y="275"/>
                </a:moveTo>
                <a:lnTo>
                  <a:pt x="1580" y="277"/>
                </a:lnTo>
                <a:lnTo>
                  <a:pt x="1582" y="277"/>
                </a:lnTo>
                <a:lnTo>
                  <a:pt x="1580" y="277"/>
                </a:lnTo>
                <a:lnTo>
                  <a:pt x="1577" y="275"/>
                </a:lnTo>
                <a:lnTo>
                  <a:pt x="1575" y="272"/>
                </a:lnTo>
                <a:lnTo>
                  <a:pt x="1573" y="268"/>
                </a:lnTo>
                <a:lnTo>
                  <a:pt x="1575" y="272"/>
                </a:lnTo>
                <a:lnTo>
                  <a:pt x="1577" y="275"/>
                </a:lnTo>
                <a:close/>
                <a:moveTo>
                  <a:pt x="1551" y="547"/>
                </a:moveTo>
                <a:lnTo>
                  <a:pt x="1551" y="546"/>
                </a:lnTo>
                <a:lnTo>
                  <a:pt x="1552" y="546"/>
                </a:lnTo>
                <a:lnTo>
                  <a:pt x="1551" y="546"/>
                </a:lnTo>
                <a:lnTo>
                  <a:pt x="1551" y="547"/>
                </a:lnTo>
                <a:lnTo>
                  <a:pt x="1549" y="547"/>
                </a:lnTo>
                <a:lnTo>
                  <a:pt x="1548" y="549"/>
                </a:lnTo>
                <a:lnTo>
                  <a:pt x="1549" y="547"/>
                </a:lnTo>
                <a:lnTo>
                  <a:pt x="1551" y="547"/>
                </a:lnTo>
                <a:close/>
                <a:moveTo>
                  <a:pt x="140" y="35"/>
                </a:moveTo>
                <a:lnTo>
                  <a:pt x="137" y="36"/>
                </a:lnTo>
                <a:lnTo>
                  <a:pt x="134" y="39"/>
                </a:lnTo>
                <a:lnTo>
                  <a:pt x="137" y="36"/>
                </a:lnTo>
                <a:lnTo>
                  <a:pt x="140" y="35"/>
                </a:lnTo>
                <a:lnTo>
                  <a:pt x="142" y="35"/>
                </a:lnTo>
                <a:lnTo>
                  <a:pt x="142" y="35"/>
                </a:lnTo>
                <a:lnTo>
                  <a:pt x="142" y="35"/>
                </a:lnTo>
                <a:lnTo>
                  <a:pt x="140" y="35"/>
                </a:lnTo>
                <a:close/>
                <a:moveTo>
                  <a:pt x="142" y="48"/>
                </a:moveTo>
                <a:lnTo>
                  <a:pt x="139" y="47"/>
                </a:lnTo>
                <a:lnTo>
                  <a:pt x="139" y="47"/>
                </a:lnTo>
                <a:lnTo>
                  <a:pt x="139" y="47"/>
                </a:lnTo>
                <a:lnTo>
                  <a:pt x="142" y="48"/>
                </a:lnTo>
                <a:lnTo>
                  <a:pt x="142" y="48"/>
                </a:lnTo>
                <a:close/>
                <a:moveTo>
                  <a:pt x="132" y="42"/>
                </a:moveTo>
                <a:lnTo>
                  <a:pt x="133" y="42"/>
                </a:lnTo>
                <a:lnTo>
                  <a:pt x="134" y="39"/>
                </a:lnTo>
                <a:lnTo>
                  <a:pt x="133" y="42"/>
                </a:lnTo>
                <a:lnTo>
                  <a:pt x="132" y="42"/>
                </a:lnTo>
                <a:close/>
                <a:moveTo>
                  <a:pt x="81" y="29"/>
                </a:moveTo>
                <a:lnTo>
                  <a:pt x="80" y="32"/>
                </a:lnTo>
                <a:lnTo>
                  <a:pt x="78" y="34"/>
                </a:lnTo>
                <a:lnTo>
                  <a:pt x="80" y="32"/>
                </a:lnTo>
                <a:lnTo>
                  <a:pt x="81" y="29"/>
                </a:lnTo>
                <a:close/>
                <a:moveTo>
                  <a:pt x="216" y="175"/>
                </a:moveTo>
                <a:lnTo>
                  <a:pt x="215" y="174"/>
                </a:lnTo>
                <a:lnTo>
                  <a:pt x="215" y="174"/>
                </a:lnTo>
                <a:lnTo>
                  <a:pt x="215" y="174"/>
                </a:lnTo>
                <a:lnTo>
                  <a:pt x="216" y="175"/>
                </a:lnTo>
                <a:close/>
                <a:moveTo>
                  <a:pt x="250" y="86"/>
                </a:moveTo>
                <a:lnTo>
                  <a:pt x="248" y="86"/>
                </a:lnTo>
                <a:lnTo>
                  <a:pt x="247" y="85"/>
                </a:lnTo>
                <a:lnTo>
                  <a:pt x="248" y="86"/>
                </a:lnTo>
                <a:lnTo>
                  <a:pt x="250" y="86"/>
                </a:lnTo>
                <a:close/>
                <a:moveTo>
                  <a:pt x="188" y="267"/>
                </a:moveTo>
                <a:lnTo>
                  <a:pt x="199" y="263"/>
                </a:lnTo>
                <a:lnTo>
                  <a:pt x="209" y="257"/>
                </a:lnTo>
                <a:lnTo>
                  <a:pt x="212" y="254"/>
                </a:lnTo>
                <a:lnTo>
                  <a:pt x="214" y="252"/>
                </a:lnTo>
                <a:lnTo>
                  <a:pt x="218" y="252"/>
                </a:lnTo>
                <a:lnTo>
                  <a:pt x="221" y="252"/>
                </a:lnTo>
                <a:lnTo>
                  <a:pt x="218" y="252"/>
                </a:lnTo>
                <a:lnTo>
                  <a:pt x="214" y="252"/>
                </a:lnTo>
                <a:lnTo>
                  <a:pt x="212" y="254"/>
                </a:lnTo>
                <a:lnTo>
                  <a:pt x="209" y="257"/>
                </a:lnTo>
                <a:lnTo>
                  <a:pt x="210" y="259"/>
                </a:lnTo>
                <a:lnTo>
                  <a:pt x="210" y="260"/>
                </a:lnTo>
                <a:lnTo>
                  <a:pt x="210" y="261"/>
                </a:lnTo>
                <a:lnTo>
                  <a:pt x="210" y="263"/>
                </a:lnTo>
                <a:lnTo>
                  <a:pt x="208" y="265"/>
                </a:lnTo>
                <a:lnTo>
                  <a:pt x="207" y="267"/>
                </a:lnTo>
                <a:lnTo>
                  <a:pt x="212" y="267"/>
                </a:lnTo>
                <a:lnTo>
                  <a:pt x="215" y="265"/>
                </a:lnTo>
                <a:lnTo>
                  <a:pt x="219" y="263"/>
                </a:lnTo>
                <a:lnTo>
                  <a:pt x="222" y="261"/>
                </a:lnTo>
                <a:lnTo>
                  <a:pt x="233" y="257"/>
                </a:lnTo>
                <a:lnTo>
                  <a:pt x="242" y="251"/>
                </a:lnTo>
                <a:lnTo>
                  <a:pt x="249" y="243"/>
                </a:lnTo>
                <a:lnTo>
                  <a:pt x="255" y="233"/>
                </a:lnTo>
                <a:lnTo>
                  <a:pt x="257" y="228"/>
                </a:lnTo>
                <a:lnTo>
                  <a:pt x="261" y="222"/>
                </a:lnTo>
                <a:lnTo>
                  <a:pt x="265" y="214"/>
                </a:lnTo>
                <a:lnTo>
                  <a:pt x="269" y="203"/>
                </a:lnTo>
                <a:lnTo>
                  <a:pt x="271" y="193"/>
                </a:lnTo>
                <a:lnTo>
                  <a:pt x="276" y="183"/>
                </a:lnTo>
                <a:lnTo>
                  <a:pt x="277" y="181"/>
                </a:lnTo>
                <a:lnTo>
                  <a:pt x="276" y="179"/>
                </a:lnTo>
                <a:lnTo>
                  <a:pt x="274" y="176"/>
                </a:lnTo>
                <a:lnTo>
                  <a:pt x="274" y="174"/>
                </a:lnTo>
                <a:lnTo>
                  <a:pt x="275" y="165"/>
                </a:lnTo>
                <a:lnTo>
                  <a:pt x="276" y="155"/>
                </a:lnTo>
                <a:lnTo>
                  <a:pt x="277" y="146"/>
                </a:lnTo>
                <a:lnTo>
                  <a:pt x="277" y="137"/>
                </a:lnTo>
                <a:lnTo>
                  <a:pt x="277" y="132"/>
                </a:lnTo>
                <a:lnTo>
                  <a:pt x="276" y="128"/>
                </a:lnTo>
                <a:lnTo>
                  <a:pt x="276" y="125"/>
                </a:lnTo>
                <a:lnTo>
                  <a:pt x="274" y="123"/>
                </a:lnTo>
                <a:lnTo>
                  <a:pt x="271" y="121"/>
                </a:lnTo>
                <a:lnTo>
                  <a:pt x="270" y="120"/>
                </a:lnTo>
                <a:lnTo>
                  <a:pt x="269" y="118"/>
                </a:lnTo>
                <a:lnTo>
                  <a:pt x="269" y="117"/>
                </a:lnTo>
                <a:lnTo>
                  <a:pt x="269" y="113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5" y="113"/>
                </a:lnTo>
                <a:lnTo>
                  <a:pt x="279" y="117"/>
                </a:lnTo>
                <a:lnTo>
                  <a:pt x="278" y="112"/>
                </a:lnTo>
                <a:lnTo>
                  <a:pt x="277" y="107"/>
                </a:lnTo>
                <a:lnTo>
                  <a:pt x="276" y="100"/>
                </a:lnTo>
                <a:lnTo>
                  <a:pt x="274" y="92"/>
                </a:lnTo>
                <a:lnTo>
                  <a:pt x="270" y="85"/>
                </a:lnTo>
                <a:lnTo>
                  <a:pt x="265" y="78"/>
                </a:lnTo>
                <a:lnTo>
                  <a:pt x="265" y="78"/>
                </a:lnTo>
                <a:lnTo>
                  <a:pt x="265" y="77"/>
                </a:lnTo>
                <a:lnTo>
                  <a:pt x="264" y="72"/>
                </a:lnTo>
                <a:lnTo>
                  <a:pt x="262" y="68"/>
                </a:lnTo>
                <a:lnTo>
                  <a:pt x="254" y="57"/>
                </a:lnTo>
                <a:lnTo>
                  <a:pt x="246" y="47"/>
                </a:lnTo>
                <a:lnTo>
                  <a:pt x="235" y="37"/>
                </a:lnTo>
                <a:lnTo>
                  <a:pt x="225" y="28"/>
                </a:lnTo>
                <a:lnTo>
                  <a:pt x="216" y="23"/>
                </a:lnTo>
                <a:lnTo>
                  <a:pt x="207" y="19"/>
                </a:lnTo>
                <a:lnTo>
                  <a:pt x="198" y="16"/>
                </a:lnTo>
                <a:lnTo>
                  <a:pt x="188" y="14"/>
                </a:lnTo>
                <a:lnTo>
                  <a:pt x="177" y="11"/>
                </a:lnTo>
                <a:lnTo>
                  <a:pt x="165" y="6"/>
                </a:lnTo>
                <a:lnTo>
                  <a:pt x="161" y="4"/>
                </a:lnTo>
                <a:lnTo>
                  <a:pt x="157" y="1"/>
                </a:lnTo>
                <a:lnTo>
                  <a:pt x="152" y="0"/>
                </a:lnTo>
                <a:lnTo>
                  <a:pt x="147" y="0"/>
                </a:lnTo>
                <a:lnTo>
                  <a:pt x="133" y="2"/>
                </a:lnTo>
                <a:lnTo>
                  <a:pt x="118" y="5"/>
                </a:lnTo>
                <a:lnTo>
                  <a:pt x="109" y="6"/>
                </a:lnTo>
                <a:lnTo>
                  <a:pt x="99" y="8"/>
                </a:lnTo>
                <a:lnTo>
                  <a:pt x="91" y="11"/>
                </a:lnTo>
                <a:lnTo>
                  <a:pt x="82" y="15"/>
                </a:lnTo>
                <a:lnTo>
                  <a:pt x="82" y="15"/>
                </a:lnTo>
                <a:lnTo>
                  <a:pt x="78" y="18"/>
                </a:lnTo>
                <a:lnTo>
                  <a:pt x="75" y="20"/>
                </a:lnTo>
                <a:lnTo>
                  <a:pt x="62" y="28"/>
                </a:lnTo>
                <a:lnTo>
                  <a:pt x="49" y="37"/>
                </a:lnTo>
                <a:lnTo>
                  <a:pt x="43" y="42"/>
                </a:lnTo>
                <a:lnTo>
                  <a:pt x="37" y="48"/>
                </a:lnTo>
                <a:lnTo>
                  <a:pt x="33" y="54"/>
                </a:lnTo>
                <a:lnTo>
                  <a:pt x="28" y="60"/>
                </a:lnTo>
                <a:lnTo>
                  <a:pt x="27" y="62"/>
                </a:lnTo>
                <a:lnTo>
                  <a:pt x="25" y="64"/>
                </a:lnTo>
                <a:lnTo>
                  <a:pt x="25" y="65"/>
                </a:lnTo>
                <a:lnTo>
                  <a:pt x="25" y="65"/>
                </a:lnTo>
                <a:lnTo>
                  <a:pt x="26" y="67"/>
                </a:lnTo>
                <a:lnTo>
                  <a:pt x="28" y="68"/>
                </a:lnTo>
                <a:lnTo>
                  <a:pt x="29" y="70"/>
                </a:lnTo>
                <a:lnTo>
                  <a:pt x="28" y="71"/>
                </a:lnTo>
                <a:lnTo>
                  <a:pt x="26" y="75"/>
                </a:lnTo>
                <a:lnTo>
                  <a:pt x="26" y="78"/>
                </a:lnTo>
                <a:lnTo>
                  <a:pt x="22" y="78"/>
                </a:lnTo>
                <a:lnTo>
                  <a:pt x="19" y="79"/>
                </a:lnTo>
                <a:lnTo>
                  <a:pt x="15" y="81"/>
                </a:lnTo>
                <a:lnTo>
                  <a:pt x="13" y="83"/>
                </a:lnTo>
                <a:lnTo>
                  <a:pt x="11" y="89"/>
                </a:lnTo>
                <a:lnTo>
                  <a:pt x="8" y="95"/>
                </a:lnTo>
                <a:lnTo>
                  <a:pt x="6" y="102"/>
                </a:lnTo>
                <a:lnTo>
                  <a:pt x="6" y="109"/>
                </a:lnTo>
                <a:lnTo>
                  <a:pt x="4" y="112"/>
                </a:lnTo>
                <a:lnTo>
                  <a:pt x="2" y="117"/>
                </a:lnTo>
                <a:lnTo>
                  <a:pt x="1" y="133"/>
                </a:lnTo>
                <a:lnTo>
                  <a:pt x="0" y="147"/>
                </a:lnTo>
                <a:lnTo>
                  <a:pt x="1" y="162"/>
                </a:lnTo>
                <a:lnTo>
                  <a:pt x="4" y="176"/>
                </a:lnTo>
                <a:lnTo>
                  <a:pt x="8" y="190"/>
                </a:lnTo>
                <a:lnTo>
                  <a:pt x="14" y="203"/>
                </a:lnTo>
                <a:lnTo>
                  <a:pt x="21" y="216"/>
                </a:lnTo>
                <a:lnTo>
                  <a:pt x="30" y="229"/>
                </a:lnTo>
                <a:lnTo>
                  <a:pt x="30" y="231"/>
                </a:lnTo>
                <a:lnTo>
                  <a:pt x="33" y="232"/>
                </a:lnTo>
                <a:lnTo>
                  <a:pt x="34" y="233"/>
                </a:lnTo>
                <a:lnTo>
                  <a:pt x="35" y="236"/>
                </a:lnTo>
                <a:lnTo>
                  <a:pt x="35" y="237"/>
                </a:lnTo>
                <a:lnTo>
                  <a:pt x="35" y="238"/>
                </a:lnTo>
                <a:lnTo>
                  <a:pt x="36" y="238"/>
                </a:lnTo>
                <a:lnTo>
                  <a:pt x="37" y="239"/>
                </a:lnTo>
                <a:lnTo>
                  <a:pt x="39" y="239"/>
                </a:lnTo>
                <a:lnTo>
                  <a:pt x="40" y="240"/>
                </a:lnTo>
                <a:lnTo>
                  <a:pt x="40" y="242"/>
                </a:lnTo>
                <a:lnTo>
                  <a:pt x="41" y="243"/>
                </a:lnTo>
                <a:lnTo>
                  <a:pt x="42" y="243"/>
                </a:lnTo>
                <a:lnTo>
                  <a:pt x="43" y="243"/>
                </a:lnTo>
                <a:lnTo>
                  <a:pt x="44" y="244"/>
                </a:lnTo>
                <a:lnTo>
                  <a:pt x="44" y="245"/>
                </a:lnTo>
                <a:lnTo>
                  <a:pt x="47" y="247"/>
                </a:lnTo>
                <a:lnTo>
                  <a:pt x="49" y="250"/>
                </a:lnTo>
                <a:lnTo>
                  <a:pt x="51" y="252"/>
                </a:lnTo>
                <a:lnTo>
                  <a:pt x="55" y="253"/>
                </a:lnTo>
                <a:lnTo>
                  <a:pt x="55" y="253"/>
                </a:lnTo>
                <a:lnTo>
                  <a:pt x="55" y="253"/>
                </a:lnTo>
                <a:lnTo>
                  <a:pt x="58" y="257"/>
                </a:lnTo>
                <a:lnTo>
                  <a:pt x="62" y="260"/>
                </a:lnTo>
                <a:lnTo>
                  <a:pt x="65" y="261"/>
                </a:lnTo>
                <a:lnTo>
                  <a:pt x="71" y="263"/>
                </a:lnTo>
                <a:lnTo>
                  <a:pt x="77" y="268"/>
                </a:lnTo>
                <a:lnTo>
                  <a:pt x="84" y="272"/>
                </a:lnTo>
                <a:lnTo>
                  <a:pt x="91" y="275"/>
                </a:lnTo>
                <a:lnTo>
                  <a:pt x="98" y="278"/>
                </a:lnTo>
                <a:lnTo>
                  <a:pt x="113" y="281"/>
                </a:lnTo>
                <a:lnTo>
                  <a:pt x="129" y="285"/>
                </a:lnTo>
                <a:lnTo>
                  <a:pt x="131" y="285"/>
                </a:lnTo>
                <a:lnTo>
                  <a:pt x="133" y="284"/>
                </a:lnTo>
                <a:lnTo>
                  <a:pt x="136" y="282"/>
                </a:lnTo>
                <a:lnTo>
                  <a:pt x="138" y="279"/>
                </a:lnTo>
                <a:lnTo>
                  <a:pt x="144" y="277"/>
                </a:lnTo>
                <a:lnTo>
                  <a:pt x="150" y="274"/>
                </a:lnTo>
                <a:lnTo>
                  <a:pt x="156" y="272"/>
                </a:lnTo>
                <a:lnTo>
                  <a:pt x="163" y="271"/>
                </a:lnTo>
                <a:lnTo>
                  <a:pt x="175" y="271"/>
                </a:lnTo>
                <a:lnTo>
                  <a:pt x="188" y="267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799" b="1" dirty="0"/>
            </a:lvl1pPr>
          </a:lstStyle>
          <a:p>
            <a:pPr lvl="0" algn="ctr"/>
            <a:r>
              <a:rPr lang="en-US" sz="4799"/>
              <a:t>sdfs</a:t>
            </a:r>
            <a:endParaRPr lang="en-US" sz="4799" dirty="0"/>
          </a:p>
        </p:txBody>
      </p:sp>
    </p:spTree>
    <p:extLst>
      <p:ext uri="{BB962C8B-B14F-4D97-AF65-F5344CB8AC3E}">
        <p14:creationId xmlns:p14="http://schemas.microsoft.com/office/powerpoint/2010/main" val="15162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10">
            <a:extLst>
              <a:ext uri="{FF2B5EF4-FFF2-40B4-BE49-F238E27FC236}">
                <a16:creationId xmlns:a16="http://schemas.microsoft.com/office/drawing/2014/main" id="{EB1B4F7E-3DBA-DA4B-9A60-64D9858BDA55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5808006" y="942560"/>
            <a:ext cx="5471896" cy="5915440"/>
          </a:xfrm>
          <a:custGeom>
            <a:avLst/>
            <a:gdLst>
              <a:gd name="T0" fmla="*/ 906 w 25125"/>
              <a:gd name="T1" fmla="*/ 22906 h 26875"/>
              <a:gd name="T2" fmla="*/ 219 w 25125"/>
              <a:gd name="T3" fmla="*/ 26156 h 26875"/>
              <a:gd name="T4" fmla="*/ 1875 w 25125"/>
              <a:gd name="T5" fmla="*/ 24406 h 26875"/>
              <a:gd name="T6" fmla="*/ 15687 w 25125"/>
              <a:gd name="T7" fmla="*/ 16469 h 26875"/>
              <a:gd name="T8" fmla="*/ 24219 w 25125"/>
              <a:gd name="T9" fmla="*/ 5344 h 26875"/>
              <a:gd name="T10" fmla="*/ 13406 w 25125"/>
              <a:gd name="T11" fmla="*/ 15375 h 26875"/>
              <a:gd name="T12" fmla="*/ 18156 w 25125"/>
              <a:gd name="T13" fmla="*/ 4594 h 26875"/>
              <a:gd name="T14" fmla="*/ 17562 w 25125"/>
              <a:gd name="T15" fmla="*/ 6531 h 26875"/>
              <a:gd name="T16" fmla="*/ 14781 w 25125"/>
              <a:gd name="T17" fmla="*/ 16938 h 26875"/>
              <a:gd name="T18" fmla="*/ 14562 w 25125"/>
              <a:gd name="T19" fmla="*/ 17656 h 26875"/>
              <a:gd name="T20" fmla="*/ 19375 w 25125"/>
              <a:gd name="T21" fmla="*/ 22531 h 26875"/>
              <a:gd name="T22" fmla="*/ 16750 w 25125"/>
              <a:gd name="T23" fmla="*/ 22375 h 26875"/>
              <a:gd name="T24" fmla="*/ 16531 w 25125"/>
              <a:gd name="T25" fmla="*/ 23656 h 26875"/>
              <a:gd name="T26" fmla="*/ 20594 w 25125"/>
              <a:gd name="T27" fmla="*/ 24844 h 26875"/>
              <a:gd name="T28" fmla="*/ 25031 w 25125"/>
              <a:gd name="T29" fmla="*/ 1969 h 26875"/>
              <a:gd name="T30" fmla="*/ 24406 w 25125"/>
              <a:gd name="T31" fmla="*/ 1719 h 26875"/>
              <a:gd name="T32" fmla="*/ 23625 w 25125"/>
              <a:gd name="T33" fmla="*/ 1688 h 26875"/>
              <a:gd name="T34" fmla="*/ 22656 w 25125"/>
              <a:gd name="T35" fmla="*/ 5563 h 26875"/>
              <a:gd name="T36" fmla="*/ 18656 w 25125"/>
              <a:gd name="T37" fmla="*/ 5938 h 26875"/>
              <a:gd name="T38" fmla="*/ 17812 w 25125"/>
              <a:gd name="T39" fmla="*/ 5125 h 26875"/>
              <a:gd name="T40" fmla="*/ 18562 w 25125"/>
              <a:gd name="T41" fmla="*/ 3219 h 26875"/>
              <a:gd name="T42" fmla="*/ 19187 w 25125"/>
              <a:gd name="T43" fmla="*/ 2031 h 26875"/>
              <a:gd name="T44" fmla="*/ 17781 w 25125"/>
              <a:gd name="T45" fmla="*/ 313 h 26875"/>
              <a:gd name="T46" fmla="*/ 15156 w 25125"/>
              <a:gd name="T47" fmla="*/ 3625 h 26875"/>
              <a:gd name="T48" fmla="*/ 13281 w 25125"/>
              <a:gd name="T49" fmla="*/ 4094 h 26875"/>
              <a:gd name="T50" fmla="*/ 12219 w 25125"/>
              <a:gd name="T51" fmla="*/ 4594 h 26875"/>
              <a:gd name="T52" fmla="*/ 9187 w 25125"/>
              <a:gd name="T53" fmla="*/ 6188 h 26875"/>
              <a:gd name="T54" fmla="*/ 4031 w 25125"/>
              <a:gd name="T55" fmla="*/ 11406 h 26875"/>
              <a:gd name="T56" fmla="*/ 5969 w 25125"/>
              <a:gd name="T57" fmla="*/ 11844 h 26875"/>
              <a:gd name="T58" fmla="*/ 8562 w 25125"/>
              <a:gd name="T59" fmla="*/ 8313 h 26875"/>
              <a:gd name="T60" fmla="*/ 13281 w 25125"/>
              <a:gd name="T61" fmla="*/ 6688 h 26875"/>
              <a:gd name="T62" fmla="*/ 12656 w 25125"/>
              <a:gd name="T63" fmla="*/ 7875 h 26875"/>
              <a:gd name="T64" fmla="*/ 13219 w 25125"/>
              <a:gd name="T65" fmla="*/ 10063 h 26875"/>
              <a:gd name="T66" fmla="*/ 12812 w 25125"/>
              <a:gd name="T67" fmla="*/ 10969 h 26875"/>
              <a:gd name="T68" fmla="*/ 14000 w 25125"/>
              <a:gd name="T69" fmla="*/ 11969 h 26875"/>
              <a:gd name="T70" fmla="*/ 12156 w 25125"/>
              <a:gd name="T71" fmla="*/ 12563 h 26875"/>
              <a:gd name="T72" fmla="*/ 10562 w 25125"/>
              <a:gd name="T73" fmla="*/ 16188 h 26875"/>
              <a:gd name="T74" fmla="*/ 8781 w 25125"/>
              <a:gd name="T75" fmla="*/ 19031 h 26875"/>
              <a:gd name="T76" fmla="*/ 8719 w 25125"/>
              <a:gd name="T77" fmla="*/ 20719 h 26875"/>
              <a:gd name="T78" fmla="*/ 10812 w 25125"/>
              <a:gd name="T79" fmla="*/ 19469 h 26875"/>
              <a:gd name="T80" fmla="*/ 11281 w 25125"/>
              <a:gd name="T81" fmla="*/ 18875 h 26875"/>
              <a:gd name="T82" fmla="*/ 12875 w 25125"/>
              <a:gd name="T83" fmla="*/ 16813 h 26875"/>
              <a:gd name="T84" fmla="*/ 13812 w 25125"/>
              <a:gd name="T85" fmla="*/ 14750 h 26875"/>
              <a:gd name="T86" fmla="*/ 15875 w 25125"/>
              <a:gd name="T87" fmla="*/ 14375 h 26875"/>
              <a:gd name="T88" fmla="*/ 14469 w 25125"/>
              <a:gd name="T89" fmla="*/ 15969 h 26875"/>
              <a:gd name="T90" fmla="*/ 15125 w 25125"/>
              <a:gd name="T91" fmla="*/ 16313 h 26875"/>
              <a:gd name="T92" fmla="*/ 16781 w 25125"/>
              <a:gd name="T93" fmla="*/ 15500 h 26875"/>
              <a:gd name="T94" fmla="*/ 18094 w 25125"/>
              <a:gd name="T95" fmla="*/ 15375 h 26875"/>
              <a:gd name="T96" fmla="*/ 18375 w 25125"/>
              <a:gd name="T97" fmla="*/ 21156 h 26875"/>
              <a:gd name="T98" fmla="*/ 21469 w 25125"/>
              <a:gd name="T99" fmla="*/ 16563 h 26875"/>
              <a:gd name="T100" fmla="*/ 18000 w 25125"/>
              <a:gd name="T101" fmla="*/ 13750 h 26875"/>
              <a:gd name="T102" fmla="*/ 17156 w 25125"/>
              <a:gd name="T103" fmla="*/ 13063 h 26875"/>
              <a:gd name="T104" fmla="*/ 16000 w 25125"/>
              <a:gd name="T105" fmla="*/ 13031 h 26875"/>
              <a:gd name="T106" fmla="*/ 15375 w 25125"/>
              <a:gd name="T107" fmla="*/ 12281 h 26875"/>
              <a:gd name="T108" fmla="*/ 14625 w 25125"/>
              <a:gd name="T109" fmla="*/ 11813 h 26875"/>
              <a:gd name="T110" fmla="*/ 15281 w 25125"/>
              <a:gd name="T111" fmla="*/ 10188 h 26875"/>
              <a:gd name="T112" fmla="*/ 15687 w 25125"/>
              <a:gd name="T113" fmla="*/ 9906 h 26875"/>
              <a:gd name="T114" fmla="*/ 15719 w 25125"/>
              <a:gd name="T115" fmla="*/ 8313 h 26875"/>
              <a:gd name="T116" fmla="*/ 17562 w 25125"/>
              <a:gd name="T117" fmla="*/ 5781 h 26875"/>
              <a:gd name="T118" fmla="*/ 18750 w 25125"/>
              <a:gd name="T119" fmla="*/ 7656 h 26875"/>
              <a:gd name="T120" fmla="*/ 21625 w 25125"/>
              <a:gd name="T121" fmla="*/ 8094 h 26875"/>
              <a:gd name="T122" fmla="*/ 22969 w 25125"/>
              <a:gd name="T123" fmla="*/ 6656 h 26875"/>
              <a:gd name="T124" fmla="*/ 24062 w 25125"/>
              <a:gd name="T125" fmla="*/ 5188 h 26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125" h="26875">
                <a:moveTo>
                  <a:pt x="3312" y="22812"/>
                </a:moveTo>
                <a:cubicBezTo>
                  <a:pt x="3312" y="22812"/>
                  <a:pt x="3312" y="22812"/>
                  <a:pt x="3312" y="22812"/>
                </a:cubicBezTo>
                <a:cubicBezTo>
                  <a:pt x="3312" y="22812"/>
                  <a:pt x="3281" y="22812"/>
                  <a:pt x="3281" y="22812"/>
                </a:cubicBezTo>
                <a:cubicBezTo>
                  <a:pt x="3281" y="22781"/>
                  <a:pt x="3281" y="22719"/>
                  <a:pt x="3250" y="22687"/>
                </a:cubicBezTo>
                <a:cubicBezTo>
                  <a:pt x="3250" y="22656"/>
                  <a:pt x="3250" y="22625"/>
                  <a:pt x="3250" y="22594"/>
                </a:cubicBezTo>
                <a:cubicBezTo>
                  <a:pt x="3250" y="22562"/>
                  <a:pt x="3219" y="22562"/>
                  <a:pt x="3187" y="22531"/>
                </a:cubicBezTo>
                <a:cubicBezTo>
                  <a:pt x="3187" y="22531"/>
                  <a:pt x="3187" y="22531"/>
                  <a:pt x="3187" y="22531"/>
                </a:cubicBezTo>
                <a:cubicBezTo>
                  <a:pt x="3187" y="22500"/>
                  <a:pt x="3187" y="22500"/>
                  <a:pt x="3187" y="22500"/>
                </a:cubicBezTo>
                <a:cubicBezTo>
                  <a:pt x="3187" y="22469"/>
                  <a:pt x="3187" y="22469"/>
                  <a:pt x="3187" y="22469"/>
                </a:cubicBezTo>
                <a:cubicBezTo>
                  <a:pt x="3187" y="22437"/>
                  <a:pt x="3156" y="22406"/>
                  <a:pt x="3156" y="22406"/>
                </a:cubicBezTo>
                <a:cubicBezTo>
                  <a:pt x="3125" y="22344"/>
                  <a:pt x="3125" y="22281"/>
                  <a:pt x="3094" y="22219"/>
                </a:cubicBezTo>
                <a:cubicBezTo>
                  <a:pt x="3094" y="22187"/>
                  <a:pt x="3062" y="22187"/>
                  <a:pt x="3062" y="22156"/>
                </a:cubicBezTo>
                <a:cubicBezTo>
                  <a:pt x="2969" y="22000"/>
                  <a:pt x="2937" y="21844"/>
                  <a:pt x="2781" y="21719"/>
                </a:cubicBezTo>
                <a:cubicBezTo>
                  <a:pt x="2750" y="21719"/>
                  <a:pt x="2750" y="21719"/>
                  <a:pt x="2719" y="21719"/>
                </a:cubicBezTo>
                <a:cubicBezTo>
                  <a:pt x="2719" y="21719"/>
                  <a:pt x="2687" y="21719"/>
                  <a:pt x="2656" y="21750"/>
                </a:cubicBezTo>
                <a:cubicBezTo>
                  <a:pt x="2656" y="21750"/>
                  <a:pt x="2625" y="21750"/>
                  <a:pt x="2594" y="21781"/>
                </a:cubicBezTo>
                <a:cubicBezTo>
                  <a:pt x="2594" y="21781"/>
                  <a:pt x="2594" y="21781"/>
                  <a:pt x="2594" y="21781"/>
                </a:cubicBezTo>
                <a:cubicBezTo>
                  <a:pt x="2531" y="21781"/>
                  <a:pt x="2500" y="21844"/>
                  <a:pt x="2469" y="21875"/>
                </a:cubicBezTo>
                <a:cubicBezTo>
                  <a:pt x="2437" y="21875"/>
                  <a:pt x="2437" y="21875"/>
                  <a:pt x="2437" y="21875"/>
                </a:cubicBezTo>
                <a:cubicBezTo>
                  <a:pt x="2406" y="21875"/>
                  <a:pt x="2406" y="21844"/>
                  <a:pt x="2375" y="21844"/>
                </a:cubicBezTo>
                <a:cubicBezTo>
                  <a:pt x="2250" y="21906"/>
                  <a:pt x="2125" y="21906"/>
                  <a:pt x="2000" y="21969"/>
                </a:cubicBezTo>
                <a:cubicBezTo>
                  <a:pt x="1969" y="21969"/>
                  <a:pt x="1969" y="22000"/>
                  <a:pt x="1937" y="21969"/>
                </a:cubicBezTo>
                <a:cubicBezTo>
                  <a:pt x="1875" y="21906"/>
                  <a:pt x="1812" y="21937"/>
                  <a:pt x="1750" y="21906"/>
                </a:cubicBezTo>
                <a:cubicBezTo>
                  <a:pt x="1625" y="21906"/>
                  <a:pt x="1500" y="21875"/>
                  <a:pt x="1375" y="21844"/>
                </a:cubicBezTo>
                <a:cubicBezTo>
                  <a:pt x="1250" y="21844"/>
                  <a:pt x="1125" y="21781"/>
                  <a:pt x="969" y="21812"/>
                </a:cubicBezTo>
                <a:cubicBezTo>
                  <a:pt x="969" y="21812"/>
                  <a:pt x="969" y="21812"/>
                  <a:pt x="937" y="21844"/>
                </a:cubicBezTo>
                <a:cubicBezTo>
                  <a:pt x="937" y="21844"/>
                  <a:pt x="906" y="21844"/>
                  <a:pt x="906" y="21844"/>
                </a:cubicBezTo>
                <a:cubicBezTo>
                  <a:pt x="906" y="21844"/>
                  <a:pt x="906" y="21844"/>
                  <a:pt x="906" y="21844"/>
                </a:cubicBezTo>
                <a:cubicBezTo>
                  <a:pt x="906" y="21844"/>
                  <a:pt x="906" y="21844"/>
                  <a:pt x="906" y="21844"/>
                </a:cubicBezTo>
                <a:cubicBezTo>
                  <a:pt x="906" y="21875"/>
                  <a:pt x="906" y="21875"/>
                  <a:pt x="906" y="21906"/>
                </a:cubicBezTo>
                <a:cubicBezTo>
                  <a:pt x="906" y="21937"/>
                  <a:pt x="906" y="22000"/>
                  <a:pt x="937" y="22062"/>
                </a:cubicBezTo>
                <a:cubicBezTo>
                  <a:pt x="937" y="22344"/>
                  <a:pt x="1000" y="22625"/>
                  <a:pt x="937" y="22875"/>
                </a:cubicBezTo>
                <a:cubicBezTo>
                  <a:pt x="937" y="22906"/>
                  <a:pt x="937" y="22906"/>
                  <a:pt x="906" y="22906"/>
                </a:cubicBezTo>
                <a:cubicBezTo>
                  <a:pt x="906" y="22937"/>
                  <a:pt x="906" y="22906"/>
                  <a:pt x="906" y="22906"/>
                </a:cubicBezTo>
                <a:cubicBezTo>
                  <a:pt x="906" y="22781"/>
                  <a:pt x="906" y="22656"/>
                  <a:pt x="906" y="22562"/>
                </a:cubicBezTo>
                <a:cubicBezTo>
                  <a:pt x="906" y="22375"/>
                  <a:pt x="906" y="22187"/>
                  <a:pt x="906" y="22000"/>
                </a:cubicBezTo>
                <a:cubicBezTo>
                  <a:pt x="906" y="22000"/>
                  <a:pt x="875" y="22031"/>
                  <a:pt x="875" y="22031"/>
                </a:cubicBezTo>
                <a:cubicBezTo>
                  <a:pt x="844" y="22125"/>
                  <a:pt x="875" y="22219"/>
                  <a:pt x="844" y="22281"/>
                </a:cubicBezTo>
                <a:cubicBezTo>
                  <a:pt x="844" y="22219"/>
                  <a:pt x="844" y="22125"/>
                  <a:pt x="812" y="22031"/>
                </a:cubicBezTo>
                <a:cubicBezTo>
                  <a:pt x="812" y="22031"/>
                  <a:pt x="812" y="22031"/>
                  <a:pt x="812" y="22031"/>
                </a:cubicBezTo>
                <a:cubicBezTo>
                  <a:pt x="812" y="22000"/>
                  <a:pt x="812" y="21969"/>
                  <a:pt x="812" y="21937"/>
                </a:cubicBezTo>
                <a:cubicBezTo>
                  <a:pt x="781" y="21906"/>
                  <a:pt x="781" y="21875"/>
                  <a:pt x="781" y="21844"/>
                </a:cubicBezTo>
                <a:cubicBezTo>
                  <a:pt x="781" y="21844"/>
                  <a:pt x="750" y="21812"/>
                  <a:pt x="750" y="21812"/>
                </a:cubicBezTo>
                <a:cubicBezTo>
                  <a:pt x="750" y="21781"/>
                  <a:pt x="750" y="21781"/>
                  <a:pt x="719" y="21781"/>
                </a:cubicBezTo>
                <a:cubicBezTo>
                  <a:pt x="719" y="21781"/>
                  <a:pt x="719" y="21781"/>
                  <a:pt x="719" y="21781"/>
                </a:cubicBezTo>
                <a:cubicBezTo>
                  <a:pt x="719" y="21781"/>
                  <a:pt x="719" y="21781"/>
                  <a:pt x="719" y="21781"/>
                </a:cubicBezTo>
                <a:cubicBezTo>
                  <a:pt x="719" y="21781"/>
                  <a:pt x="719" y="21781"/>
                  <a:pt x="719" y="21781"/>
                </a:cubicBezTo>
                <a:cubicBezTo>
                  <a:pt x="719" y="21781"/>
                  <a:pt x="687" y="21812"/>
                  <a:pt x="687" y="21812"/>
                </a:cubicBezTo>
                <a:cubicBezTo>
                  <a:pt x="656" y="21812"/>
                  <a:pt x="594" y="21812"/>
                  <a:pt x="562" y="21812"/>
                </a:cubicBezTo>
                <a:cubicBezTo>
                  <a:pt x="531" y="21812"/>
                  <a:pt x="500" y="21812"/>
                  <a:pt x="469" y="21812"/>
                </a:cubicBezTo>
                <a:cubicBezTo>
                  <a:pt x="437" y="21812"/>
                  <a:pt x="437" y="21844"/>
                  <a:pt x="437" y="21844"/>
                </a:cubicBezTo>
                <a:cubicBezTo>
                  <a:pt x="312" y="21844"/>
                  <a:pt x="312" y="21937"/>
                  <a:pt x="281" y="22000"/>
                </a:cubicBezTo>
                <a:cubicBezTo>
                  <a:pt x="219" y="22125"/>
                  <a:pt x="187" y="22281"/>
                  <a:pt x="187" y="22406"/>
                </a:cubicBezTo>
                <a:cubicBezTo>
                  <a:pt x="125" y="22437"/>
                  <a:pt x="125" y="22500"/>
                  <a:pt x="125" y="22531"/>
                </a:cubicBezTo>
                <a:cubicBezTo>
                  <a:pt x="156" y="22562"/>
                  <a:pt x="156" y="22594"/>
                  <a:pt x="156" y="22625"/>
                </a:cubicBezTo>
                <a:cubicBezTo>
                  <a:pt x="156" y="22687"/>
                  <a:pt x="156" y="22781"/>
                  <a:pt x="156" y="22875"/>
                </a:cubicBezTo>
                <a:cubicBezTo>
                  <a:pt x="94" y="22937"/>
                  <a:pt x="125" y="23031"/>
                  <a:pt x="125" y="23094"/>
                </a:cubicBezTo>
                <a:cubicBezTo>
                  <a:pt x="125" y="23094"/>
                  <a:pt x="125" y="23094"/>
                  <a:pt x="156" y="23125"/>
                </a:cubicBezTo>
                <a:cubicBezTo>
                  <a:pt x="219" y="23281"/>
                  <a:pt x="125" y="23406"/>
                  <a:pt x="156" y="23562"/>
                </a:cubicBezTo>
                <a:cubicBezTo>
                  <a:pt x="156" y="23719"/>
                  <a:pt x="125" y="23844"/>
                  <a:pt x="94" y="24000"/>
                </a:cubicBezTo>
                <a:cubicBezTo>
                  <a:pt x="94" y="24281"/>
                  <a:pt x="0" y="24531"/>
                  <a:pt x="31" y="24844"/>
                </a:cubicBezTo>
                <a:cubicBezTo>
                  <a:pt x="31" y="25000"/>
                  <a:pt x="0" y="25187"/>
                  <a:pt x="31" y="25375"/>
                </a:cubicBezTo>
                <a:cubicBezTo>
                  <a:pt x="0" y="25469"/>
                  <a:pt x="31" y="25531"/>
                  <a:pt x="62" y="25625"/>
                </a:cubicBezTo>
                <a:cubicBezTo>
                  <a:pt x="94" y="25687"/>
                  <a:pt x="94" y="25781"/>
                  <a:pt x="125" y="25844"/>
                </a:cubicBezTo>
                <a:cubicBezTo>
                  <a:pt x="156" y="25937"/>
                  <a:pt x="187" y="26062"/>
                  <a:pt x="219" y="26156"/>
                </a:cubicBezTo>
                <a:cubicBezTo>
                  <a:pt x="219" y="26156"/>
                  <a:pt x="219" y="26156"/>
                  <a:pt x="219" y="26156"/>
                </a:cubicBezTo>
                <a:cubicBezTo>
                  <a:pt x="250" y="26156"/>
                  <a:pt x="250" y="26187"/>
                  <a:pt x="250" y="26187"/>
                </a:cubicBezTo>
                <a:cubicBezTo>
                  <a:pt x="250" y="26187"/>
                  <a:pt x="250" y="26187"/>
                  <a:pt x="250" y="26187"/>
                </a:cubicBezTo>
                <a:cubicBezTo>
                  <a:pt x="250" y="26187"/>
                  <a:pt x="250" y="26219"/>
                  <a:pt x="250" y="26219"/>
                </a:cubicBezTo>
                <a:cubicBezTo>
                  <a:pt x="250" y="26250"/>
                  <a:pt x="281" y="26250"/>
                  <a:pt x="281" y="26281"/>
                </a:cubicBezTo>
                <a:cubicBezTo>
                  <a:pt x="375" y="26437"/>
                  <a:pt x="469" y="26625"/>
                  <a:pt x="625" y="26781"/>
                </a:cubicBezTo>
                <a:cubicBezTo>
                  <a:pt x="625" y="26781"/>
                  <a:pt x="625" y="26781"/>
                  <a:pt x="625" y="26812"/>
                </a:cubicBezTo>
                <a:cubicBezTo>
                  <a:pt x="656" y="26844"/>
                  <a:pt x="687" y="26844"/>
                  <a:pt x="719" y="26875"/>
                </a:cubicBezTo>
                <a:cubicBezTo>
                  <a:pt x="719" y="26875"/>
                  <a:pt x="719" y="26875"/>
                  <a:pt x="750" y="26875"/>
                </a:cubicBezTo>
                <a:cubicBezTo>
                  <a:pt x="750" y="26875"/>
                  <a:pt x="781" y="26875"/>
                  <a:pt x="812" y="26844"/>
                </a:cubicBezTo>
                <a:cubicBezTo>
                  <a:pt x="812" y="26844"/>
                  <a:pt x="844" y="26844"/>
                  <a:pt x="875" y="26844"/>
                </a:cubicBezTo>
                <a:cubicBezTo>
                  <a:pt x="937" y="26812"/>
                  <a:pt x="969" y="26812"/>
                  <a:pt x="969" y="26719"/>
                </a:cubicBezTo>
                <a:cubicBezTo>
                  <a:pt x="969" y="26719"/>
                  <a:pt x="969" y="26719"/>
                  <a:pt x="969" y="26719"/>
                </a:cubicBezTo>
                <a:cubicBezTo>
                  <a:pt x="969" y="26719"/>
                  <a:pt x="969" y="26719"/>
                  <a:pt x="969" y="26719"/>
                </a:cubicBezTo>
                <a:cubicBezTo>
                  <a:pt x="969" y="26719"/>
                  <a:pt x="969" y="26719"/>
                  <a:pt x="969" y="26719"/>
                </a:cubicBezTo>
                <a:cubicBezTo>
                  <a:pt x="1000" y="26719"/>
                  <a:pt x="1031" y="26719"/>
                  <a:pt x="1031" y="26719"/>
                </a:cubicBezTo>
                <a:cubicBezTo>
                  <a:pt x="1125" y="26687"/>
                  <a:pt x="1187" y="26594"/>
                  <a:pt x="1187" y="26500"/>
                </a:cubicBezTo>
                <a:cubicBezTo>
                  <a:pt x="1156" y="26375"/>
                  <a:pt x="1187" y="26281"/>
                  <a:pt x="1187" y="26156"/>
                </a:cubicBezTo>
                <a:cubicBezTo>
                  <a:pt x="1219" y="25937"/>
                  <a:pt x="1281" y="25719"/>
                  <a:pt x="1375" y="25500"/>
                </a:cubicBezTo>
                <a:cubicBezTo>
                  <a:pt x="1375" y="25500"/>
                  <a:pt x="1375" y="25469"/>
                  <a:pt x="1375" y="25469"/>
                </a:cubicBezTo>
                <a:cubicBezTo>
                  <a:pt x="1375" y="25469"/>
                  <a:pt x="1375" y="25469"/>
                  <a:pt x="1344" y="25437"/>
                </a:cubicBezTo>
                <a:cubicBezTo>
                  <a:pt x="1375" y="25437"/>
                  <a:pt x="1375" y="25437"/>
                  <a:pt x="1375" y="25437"/>
                </a:cubicBezTo>
                <a:cubicBezTo>
                  <a:pt x="1406" y="25437"/>
                  <a:pt x="1437" y="25437"/>
                  <a:pt x="1469" y="25406"/>
                </a:cubicBezTo>
                <a:cubicBezTo>
                  <a:pt x="1469" y="25406"/>
                  <a:pt x="1469" y="25406"/>
                  <a:pt x="1469" y="25406"/>
                </a:cubicBezTo>
                <a:cubicBezTo>
                  <a:pt x="1469" y="25406"/>
                  <a:pt x="1469" y="25406"/>
                  <a:pt x="1469" y="25406"/>
                </a:cubicBezTo>
                <a:cubicBezTo>
                  <a:pt x="1500" y="25406"/>
                  <a:pt x="1500" y="25375"/>
                  <a:pt x="1500" y="25375"/>
                </a:cubicBezTo>
                <a:cubicBezTo>
                  <a:pt x="1500" y="25375"/>
                  <a:pt x="1500" y="25344"/>
                  <a:pt x="1500" y="25344"/>
                </a:cubicBezTo>
                <a:cubicBezTo>
                  <a:pt x="1500" y="25219"/>
                  <a:pt x="1594" y="25156"/>
                  <a:pt x="1625" y="25062"/>
                </a:cubicBezTo>
                <a:cubicBezTo>
                  <a:pt x="1625" y="25062"/>
                  <a:pt x="1656" y="25031"/>
                  <a:pt x="1656" y="25000"/>
                </a:cubicBezTo>
                <a:cubicBezTo>
                  <a:pt x="1687" y="24969"/>
                  <a:pt x="1719" y="24937"/>
                  <a:pt x="1750" y="24875"/>
                </a:cubicBezTo>
                <a:cubicBezTo>
                  <a:pt x="1750" y="24875"/>
                  <a:pt x="1750" y="24875"/>
                  <a:pt x="1750" y="24844"/>
                </a:cubicBezTo>
                <a:cubicBezTo>
                  <a:pt x="1844" y="24750"/>
                  <a:pt x="1906" y="24625"/>
                  <a:pt x="1906" y="24469"/>
                </a:cubicBezTo>
                <a:cubicBezTo>
                  <a:pt x="1937" y="24437"/>
                  <a:pt x="1906" y="24437"/>
                  <a:pt x="1875" y="24406"/>
                </a:cubicBezTo>
                <a:cubicBezTo>
                  <a:pt x="1875" y="24406"/>
                  <a:pt x="1875" y="24406"/>
                  <a:pt x="1875" y="24406"/>
                </a:cubicBezTo>
                <a:cubicBezTo>
                  <a:pt x="1844" y="24375"/>
                  <a:pt x="1875" y="24344"/>
                  <a:pt x="1875" y="24312"/>
                </a:cubicBezTo>
                <a:cubicBezTo>
                  <a:pt x="1906" y="24281"/>
                  <a:pt x="1937" y="24281"/>
                  <a:pt x="1937" y="24312"/>
                </a:cubicBezTo>
                <a:cubicBezTo>
                  <a:pt x="1969" y="24344"/>
                  <a:pt x="2000" y="24344"/>
                  <a:pt x="1937" y="24375"/>
                </a:cubicBezTo>
                <a:cubicBezTo>
                  <a:pt x="1937" y="24406"/>
                  <a:pt x="1937" y="24437"/>
                  <a:pt x="1969" y="24437"/>
                </a:cubicBezTo>
                <a:cubicBezTo>
                  <a:pt x="1937" y="24469"/>
                  <a:pt x="1937" y="24500"/>
                  <a:pt x="2000" y="24469"/>
                </a:cubicBezTo>
                <a:cubicBezTo>
                  <a:pt x="2062" y="24437"/>
                  <a:pt x="2094" y="24375"/>
                  <a:pt x="2156" y="24312"/>
                </a:cubicBezTo>
                <a:cubicBezTo>
                  <a:pt x="2187" y="24312"/>
                  <a:pt x="2250" y="24250"/>
                  <a:pt x="2312" y="24312"/>
                </a:cubicBezTo>
                <a:cubicBezTo>
                  <a:pt x="2312" y="24312"/>
                  <a:pt x="2344" y="24312"/>
                  <a:pt x="2344" y="24281"/>
                </a:cubicBezTo>
                <a:cubicBezTo>
                  <a:pt x="2375" y="24219"/>
                  <a:pt x="2406" y="24187"/>
                  <a:pt x="2469" y="24156"/>
                </a:cubicBezTo>
                <a:cubicBezTo>
                  <a:pt x="2500" y="24125"/>
                  <a:pt x="2562" y="24094"/>
                  <a:pt x="2594" y="24031"/>
                </a:cubicBezTo>
                <a:cubicBezTo>
                  <a:pt x="2625" y="24031"/>
                  <a:pt x="2625" y="24000"/>
                  <a:pt x="2656" y="23969"/>
                </a:cubicBezTo>
                <a:cubicBezTo>
                  <a:pt x="2687" y="23937"/>
                  <a:pt x="2719" y="23906"/>
                  <a:pt x="2719" y="23906"/>
                </a:cubicBezTo>
                <a:cubicBezTo>
                  <a:pt x="2719" y="23906"/>
                  <a:pt x="2719" y="23906"/>
                  <a:pt x="2719" y="23906"/>
                </a:cubicBezTo>
                <a:cubicBezTo>
                  <a:pt x="2750" y="23875"/>
                  <a:pt x="2750" y="23875"/>
                  <a:pt x="2750" y="23844"/>
                </a:cubicBezTo>
                <a:cubicBezTo>
                  <a:pt x="2781" y="23844"/>
                  <a:pt x="2781" y="23812"/>
                  <a:pt x="2812" y="23781"/>
                </a:cubicBezTo>
                <a:cubicBezTo>
                  <a:pt x="2812" y="23781"/>
                  <a:pt x="2812" y="23750"/>
                  <a:pt x="2812" y="23750"/>
                </a:cubicBezTo>
                <a:cubicBezTo>
                  <a:pt x="2844" y="23687"/>
                  <a:pt x="2844" y="23625"/>
                  <a:pt x="2844" y="23562"/>
                </a:cubicBezTo>
                <a:cubicBezTo>
                  <a:pt x="2781" y="23656"/>
                  <a:pt x="2781" y="23812"/>
                  <a:pt x="2656" y="23906"/>
                </a:cubicBezTo>
                <a:cubicBezTo>
                  <a:pt x="2656" y="23875"/>
                  <a:pt x="2656" y="23844"/>
                  <a:pt x="2656" y="23844"/>
                </a:cubicBezTo>
                <a:cubicBezTo>
                  <a:pt x="2656" y="23812"/>
                  <a:pt x="2656" y="23812"/>
                  <a:pt x="2656" y="23781"/>
                </a:cubicBezTo>
                <a:cubicBezTo>
                  <a:pt x="2656" y="23781"/>
                  <a:pt x="2656" y="23781"/>
                  <a:pt x="2656" y="23781"/>
                </a:cubicBezTo>
                <a:cubicBezTo>
                  <a:pt x="2656" y="23750"/>
                  <a:pt x="2656" y="23719"/>
                  <a:pt x="2625" y="23719"/>
                </a:cubicBezTo>
                <a:cubicBezTo>
                  <a:pt x="2594" y="23687"/>
                  <a:pt x="2562" y="23687"/>
                  <a:pt x="2531" y="23687"/>
                </a:cubicBezTo>
                <a:cubicBezTo>
                  <a:pt x="2594" y="23625"/>
                  <a:pt x="2687" y="23594"/>
                  <a:pt x="2750" y="23531"/>
                </a:cubicBezTo>
                <a:cubicBezTo>
                  <a:pt x="2781" y="23531"/>
                  <a:pt x="2781" y="23500"/>
                  <a:pt x="2812" y="23469"/>
                </a:cubicBezTo>
                <a:cubicBezTo>
                  <a:pt x="2844" y="23469"/>
                  <a:pt x="2875" y="23531"/>
                  <a:pt x="2875" y="23469"/>
                </a:cubicBezTo>
                <a:cubicBezTo>
                  <a:pt x="2875" y="23406"/>
                  <a:pt x="2937" y="23406"/>
                  <a:pt x="2969" y="23375"/>
                </a:cubicBezTo>
                <a:cubicBezTo>
                  <a:pt x="3094" y="23312"/>
                  <a:pt x="3219" y="23219"/>
                  <a:pt x="3344" y="23156"/>
                </a:cubicBezTo>
                <a:cubicBezTo>
                  <a:pt x="3344" y="23062"/>
                  <a:pt x="3344" y="22969"/>
                  <a:pt x="3344" y="22875"/>
                </a:cubicBezTo>
                <a:cubicBezTo>
                  <a:pt x="3344" y="22875"/>
                  <a:pt x="3344" y="22844"/>
                  <a:pt x="3344" y="22844"/>
                </a:cubicBezTo>
                <a:cubicBezTo>
                  <a:pt x="3344" y="22844"/>
                  <a:pt x="3344" y="22812"/>
                  <a:pt x="3312" y="22812"/>
                </a:cubicBezTo>
                <a:close/>
                <a:moveTo>
                  <a:pt x="15719" y="16469"/>
                </a:moveTo>
                <a:cubicBezTo>
                  <a:pt x="15719" y="16469"/>
                  <a:pt x="15719" y="16469"/>
                  <a:pt x="15687" y="16469"/>
                </a:cubicBezTo>
                <a:cubicBezTo>
                  <a:pt x="15687" y="16469"/>
                  <a:pt x="15687" y="16469"/>
                  <a:pt x="15687" y="16469"/>
                </a:cubicBezTo>
                <a:cubicBezTo>
                  <a:pt x="15687" y="16469"/>
                  <a:pt x="15719" y="16469"/>
                  <a:pt x="15719" y="16469"/>
                </a:cubicBezTo>
                <a:cubicBezTo>
                  <a:pt x="15719" y="16563"/>
                  <a:pt x="15781" y="16563"/>
                  <a:pt x="15875" y="16563"/>
                </a:cubicBezTo>
                <a:cubicBezTo>
                  <a:pt x="15875" y="16563"/>
                  <a:pt x="15875" y="16563"/>
                  <a:pt x="15844" y="16563"/>
                </a:cubicBezTo>
                <a:cubicBezTo>
                  <a:pt x="15812" y="16500"/>
                  <a:pt x="15750" y="16531"/>
                  <a:pt x="15719" y="16469"/>
                </a:cubicBezTo>
                <a:close/>
                <a:moveTo>
                  <a:pt x="9062" y="18438"/>
                </a:moveTo>
                <a:cubicBezTo>
                  <a:pt x="9062" y="18438"/>
                  <a:pt x="9062" y="18469"/>
                  <a:pt x="9062" y="18469"/>
                </a:cubicBezTo>
                <a:cubicBezTo>
                  <a:pt x="9062" y="18469"/>
                  <a:pt x="9094" y="18469"/>
                  <a:pt x="9094" y="18469"/>
                </a:cubicBezTo>
                <a:cubicBezTo>
                  <a:pt x="9094" y="18469"/>
                  <a:pt x="9094" y="18438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125" y="18438"/>
                  <a:pt x="9125" y="18406"/>
                  <a:pt x="9125" y="18406"/>
                </a:cubicBezTo>
                <a:cubicBezTo>
                  <a:pt x="9250" y="18188"/>
                  <a:pt x="9375" y="18000"/>
                  <a:pt x="9469" y="17813"/>
                </a:cubicBezTo>
                <a:cubicBezTo>
                  <a:pt x="9469" y="17781"/>
                  <a:pt x="9500" y="17719"/>
                  <a:pt x="9437" y="17688"/>
                </a:cubicBezTo>
                <a:cubicBezTo>
                  <a:pt x="9437" y="17781"/>
                  <a:pt x="9344" y="17844"/>
                  <a:pt x="9312" y="17938"/>
                </a:cubicBezTo>
                <a:cubicBezTo>
                  <a:pt x="9250" y="18000"/>
                  <a:pt x="9219" y="18031"/>
                  <a:pt x="9187" y="18094"/>
                </a:cubicBezTo>
                <a:cubicBezTo>
                  <a:pt x="9156" y="18219"/>
                  <a:pt x="9094" y="18313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094" y="18438"/>
                  <a:pt x="9062" y="18438"/>
                  <a:pt x="9062" y="18438"/>
                </a:cubicBezTo>
                <a:close/>
                <a:moveTo>
                  <a:pt x="18031" y="15531"/>
                </a:moveTo>
                <a:cubicBezTo>
                  <a:pt x="18031" y="15531"/>
                  <a:pt x="18031" y="15531"/>
                  <a:pt x="18062" y="15500"/>
                </a:cubicBezTo>
                <a:cubicBezTo>
                  <a:pt x="18031" y="15500"/>
                  <a:pt x="18031" y="15500"/>
                  <a:pt x="18000" y="15500"/>
                </a:cubicBezTo>
                <a:cubicBezTo>
                  <a:pt x="18000" y="15500"/>
                  <a:pt x="18000" y="15500"/>
                  <a:pt x="18000" y="15531"/>
                </a:cubicBezTo>
                <a:cubicBezTo>
                  <a:pt x="18000" y="15531"/>
                  <a:pt x="18000" y="15531"/>
                  <a:pt x="18000" y="15531"/>
                </a:cubicBezTo>
                <a:cubicBezTo>
                  <a:pt x="18000" y="15531"/>
                  <a:pt x="18000" y="15531"/>
                  <a:pt x="18000" y="15531"/>
                </a:cubicBezTo>
                <a:cubicBezTo>
                  <a:pt x="18000" y="15531"/>
                  <a:pt x="18000" y="15531"/>
                  <a:pt x="18000" y="15531"/>
                </a:cubicBezTo>
                <a:cubicBezTo>
                  <a:pt x="18000" y="15531"/>
                  <a:pt x="18031" y="15531"/>
                  <a:pt x="18031" y="15531"/>
                </a:cubicBezTo>
                <a:close/>
                <a:moveTo>
                  <a:pt x="24219" y="5344"/>
                </a:moveTo>
                <a:cubicBezTo>
                  <a:pt x="24219" y="5375"/>
                  <a:pt x="24219" y="5375"/>
                  <a:pt x="24250" y="5375"/>
                </a:cubicBezTo>
                <a:cubicBezTo>
                  <a:pt x="24250" y="5375"/>
                  <a:pt x="24250" y="5375"/>
                  <a:pt x="24250" y="5375"/>
                </a:cubicBezTo>
                <a:cubicBezTo>
                  <a:pt x="24250" y="5344"/>
                  <a:pt x="24250" y="5344"/>
                  <a:pt x="24250" y="5313"/>
                </a:cubicBezTo>
                <a:cubicBezTo>
                  <a:pt x="24250" y="5344"/>
                  <a:pt x="24219" y="5344"/>
                  <a:pt x="24219" y="5344"/>
                </a:cubicBezTo>
                <a:close/>
                <a:moveTo>
                  <a:pt x="18187" y="5500"/>
                </a:moveTo>
                <a:cubicBezTo>
                  <a:pt x="18187" y="5500"/>
                  <a:pt x="18187" y="5500"/>
                  <a:pt x="18187" y="5500"/>
                </a:cubicBezTo>
                <a:cubicBezTo>
                  <a:pt x="18187" y="5531"/>
                  <a:pt x="18187" y="5531"/>
                  <a:pt x="18187" y="5531"/>
                </a:cubicBezTo>
                <a:cubicBezTo>
                  <a:pt x="18187" y="5531"/>
                  <a:pt x="18219" y="5531"/>
                  <a:pt x="18219" y="5531"/>
                </a:cubicBezTo>
                <a:cubicBezTo>
                  <a:pt x="18219" y="5500"/>
                  <a:pt x="18219" y="5500"/>
                  <a:pt x="18187" y="5500"/>
                </a:cubicBezTo>
                <a:close/>
                <a:moveTo>
                  <a:pt x="20062" y="7969"/>
                </a:moveTo>
                <a:cubicBezTo>
                  <a:pt x="20031" y="7969"/>
                  <a:pt x="20031" y="7969"/>
                  <a:pt x="20031" y="8000"/>
                </a:cubicBezTo>
                <a:cubicBezTo>
                  <a:pt x="20031" y="8031"/>
                  <a:pt x="20062" y="8031"/>
                  <a:pt x="20094" y="8031"/>
                </a:cubicBezTo>
                <a:cubicBezTo>
                  <a:pt x="20094" y="8031"/>
                  <a:pt x="20125" y="8031"/>
                  <a:pt x="20094" y="8000"/>
                </a:cubicBezTo>
                <a:cubicBezTo>
                  <a:pt x="20094" y="7969"/>
                  <a:pt x="20094" y="7969"/>
                  <a:pt x="20062" y="7969"/>
                </a:cubicBezTo>
                <a:close/>
                <a:moveTo>
                  <a:pt x="12687" y="17250"/>
                </a:moveTo>
                <a:cubicBezTo>
                  <a:pt x="12656" y="17281"/>
                  <a:pt x="12687" y="17313"/>
                  <a:pt x="12687" y="17313"/>
                </a:cubicBezTo>
                <a:cubicBezTo>
                  <a:pt x="12719" y="17313"/>
                  <a:pt x="12750" y="17281"/>
                  <a:pt x="12781" y="17281"/>
                </a:cubicBezTo>
                <a:cubicBezTo>
                  <a:pt x="12750" y="17250"/>
                  <a:pt x="12719" y="17250"/>
                  <a:pt x="12687" y="17250"/>
                </a:cubicBezTo>
                <a:close/>
                <a:moveTo>
                  <a:pt x="17562" y="7219"/>
                </a:moveTo>
                <a:cubicBezTo>
                  <a:pt x="17594" y="7188"/>
                  <a:pt x="17625" y="7156"/>
                  <a:pt x="17594" y="7094"/>
                </a:cubicBezTo>
                <a:cubicBezTo>
                  <a:pt x="17531" y="7125"/>
                  <a:pt x="17531" y="7156"/>
                  <a:pt x="17562" y="7188"/>
                </a:cubicBezTo>
                <a:cubicBezTo>
                  <a:pt x="17562" y="7219"/>
                  <a:pt x="17562" y="7219"/>
                  <a:pt x="17562" y="7219"/>
                </a:cubicBezTo>
                <a:close/>
                <a:moveTo>
                  <a:pt x="18031" y="5344"/>
                </a:moveTo>
                <a:cubicBezTo>
                  <a:pt x="18031" y="5406"/>
                  <a:pt x="18062" y="5438"/>
                  <a:pt x="18125" y="5469"/>
                </a:cubicBezTo>
                <a:cubicBezTo>
                  <a:pt x="18125" y="5375"/>
                  <a:pt x="18062" y="5375"/>
                  <a:pt x="18031" y="5344"/>
                </a:cubicBezTo>
                <a:close/>
                <a:moveTo>
                  <a:pt x="17375" y="5188"/>
                </a:moveTo>
                <a:cubicBezTo>
                  <a:pt x="17437" y="5250"/>
                  <a:pt x="17469" y="5313"/>
                  <a:pt x="17531" y="5375"/>
                </a:cubicBezTo>
                <a:cubicBezTo>
                  <a:pt x="17531" y="5281"/>
                  <a:pt x="17469" y="5219"/>
                  <a:pt x="17375" y="5188"/>
                </a:cubicBezTo>
                <a:close/>
                <a:moveTo>
                  <a:pt x="17375" y="15781"/>
                </a:moveTo>
                <a:cubicBezTo>
                  <a:pt x="17375" y="15750"/>
                  <a:pt x="17375" y="15719"/>
                  <a:pt x="17344" y="15719"/>
                </a:cubicBezTo>
                <a:cubicBezTo>
                  <a:pt x="17312" y="15750"/>
                  <a:pt x="17312" y="15750"/>
                  <a:pt x="17312" y="15781"/>
                </a:cubicBezTo>
                <a:cubicBezTo>
                  <a:pt x="17312" y="15813"/>
                  <a:pt x="17344" y="15875"/>
                  <a:pt x="17344" y="15938"/>
                </a:cubicBezTo>
                <a:cubicBezTo>
                  <a:pt x="17406" y="15875"/>
                  <a:pt x="17375" y="15813"/>
                  <a:pt x="17375" y="15781"/>
                </a:cubicBezTo>
                <a:close/>
                <a:moveTo>
                  <a:pt x="13594" y="16719"/>
                </a:moveTo>
                <a:cubicBezTo>
                  <a:pt x="13562" y="16813"/>
                  <a:pt x="13437" y="16844"/>
                  <a:pt x="13469" y="16938"/>
                </a:cubicBezTo>
                <a:cubicBezTo>
                  <a:pt x="13562" y="16906"/>
                  <a:pt x="13594" y="16844"/>
                  <a:pt x="13594" y="16719"/>
                </a:cubicBezTo>
                <a:close/>
                <a:moveTo>
                  <a:pt x="13406" y="15375"/>
                </a:moveTo>
                <a:cubicBezTo>
                  <a:pt x="13437" y="15375"/>
                  <a:pt x="13437" y="15375"/>
                  <a:pt x="13437" y="15344"/>
                </a:cubicBezTo>
                <a:cubicBezTo>
                  <a:pt x="13437" y="15344"/>
                  <a:pt x="13437" y="15313"/>
                  <a:pt x="13406" y="15313"/>
                </a:cubicBezTo>
                <a:cubicBezTo>
                  <a:pt x="13344" y="15313"/>
                  <a:pt x="13281" y="15313"/>
                  <a:pt x="13187" y="15313"/>
                </a:cubicBezTo>
                <a:cubicBezTo>
                  <a:pt x="13250" y="15406"/>
                  <a:pt x="13344" y="15375"/>
                  <a:pt x="13406" y="15375"/>
                </a:cubicBezTo>
                <a:close/>
                <a:moveTo>
                  <a:pt x="13031" y="15375"/>
                </a:moveTo>
                <a:cubicBezTo>
                  <a:pt x="13094" y="15406"/>
                  <a:pt x="13156" y="15469"/>
                  <a:pt x="13250" y="15438"/>
                </a:cubicBezTo>
                <a:cubicBezTo>
                  <a:pt x="13094" y="15375"/>
                  <a:pt x="12969" y="15281"/>
                  <a:pt x="12844" y="15281"/>
                </a:cubicBezTo>
                <a:cubicBezTo>
                  <a:pt x="12906" y="15313"/>
                  <a:pt x="12969" y="15375"/>
                  <a:pt x="13031" y="15375"/>
                </a:cubicBezTo>
                <a:close/>
                <a:moveTo>
                  <a:pt x="24281" y="5281"/>
                </a:moveTo>
                <a:cubicBezTo>
                  <a:pt x="24437" y="5250"/>
                  <a:pt x="24469" y="5125"/>
                  <a:pt x="24469" y="5000"/>
                </a:cubicBezTo>
                <a:cubicBezTo>
                  <a:pt x="24344" y="5063"/>
                  <a:pt x="24312" y="5188"/>
                  <a:pt x="24281" y="5281"/>
                </a:cubicBezTo>
                <a:close/>
                <a:moveTo>
                  <a:pt x="20719" y="17469"/>
                </a:moveTo>
                <a:cubicBezTo>
                  <a:pt x="20687" y="17469"/>
                  <a:pt x="20687" y="17469"/>
                  <a:pt x="20687" y="17500"/>
                </a:cubicBezTo>
                <a:cubicBezTo>
                  <a:pt x="20687" y="17625"/>
                  <a:pt x="20531" y="17750"/>
                  <a:pt x="20625" y="17906"/>
                </a:cubicBezTo>
                <a:cubicBezTo>
                  <a:pt x="20656" y="17875"/>
                  <a:pt x="20750" y="17656"/>
                  <a:pt x="20750" y="17625"/>
                </a:cubicBezTo>
                <a:cubicBezTo>
                  <a:pt x="20750" y="17625"/>
                  <a:pt x="20750" y="17625"/>
                  <a:pt x="20750" y="17625"/>
                </a:cubicBezTo>
                <a:cubicBezTo>
                  <a:pt x="20719" y="17594"/>
                  <a:pt x="20719" y="17563"/>
                  <a:pt x="20750" y="17531"/>
                </a:cubicBezTo>
                <a:cubicBezTo>
                  <a:pt x="20750" y="17500"/>
                  <a:pt x="20750" y="17469"/>
                  <a:pt x="20719" y="17469"/>
                </a:cubicBezTo>
                <a:close/>
                <a:moveTo>
                  <a:pt x="14219" y="16469"/>
                </a:moveTo>
                <a:cubicBezTo>
                  <a:pt x="14094" y="16375"/>
                  <a:pt x="13969" y="16344"/>
                  <a:pt x="13812" y="16344"/>
                </a:cubicBezTo>
                <a:cubicBezTo>
                  <a:pt x="13812" y="16344"/>
                  <a:pt x="13781" y="16344"/>
                  <a:pt x="13781" y="16375"/>
                </a:cubicBezTo>
                <a:cubicBezTo>
                  <a:pt x="13781" y="16375"/>
                  <a:pt x="13781" y="16406"/>
                  <a:pt x="13812" y="16406"/>
                </a:cubicBezTo>
                <a:cubicBezTo>
                  <a:pt x="13937" y="16469"/>
                  <a:pt x="14062" y="16500"/>
                  <a:pt x="14219" y="16469"/>
                </a:cubicBezTo>
                <a:close/>
                <a:moveTo>
                  <a:pt x="18344" y="4469"/>
                </a:moveTo>
                <a:cubicBezTo>
                  <a:pt x="18312" y="4406"/>
                  <a:pt x="18250" y="4469"/>
                  <a:pt x="18187" y="4469"/>
                </a:cubicBezTo>
                <a:cubicBezTo>
                  <a:pt x="18156" y="4438"/>
                  <a:pt x="18094" y="4406"/>
                  <a:pt x="18062" y="4375"/>
                </a:cubicBezTo>
                <a:cubicBezTo>
                  <a:pt x="18031" y="4375"/>
                  <a:pt x="18031" y="4375"/>
                  <a:pt x="18031" y="4375"/>
                </a:cubicBezTo>
                <a:cubicBezTo>
                  <a:pt x="18031" y="4375"/>
                  <a:pt x="18031" y="4375"/>
                  <a:pt x="18031" y="4375"/>
                </a:cubicBezTo>
                <a:cubicBezTo>
                  <a:pt x="18000" y="4375"/>
                  <a:pt x="17969" y="4406"/>
                  <a:pt x="18000" y="4438"/>
                </a:cubicBezTo>
                <a:cubicBezTo>
                  <a:pt x="18000" y="4500"/>
                  <a:pt x="18000" y="4531"/>
                  <a:pt x="18031" y="4594"/>
                </a:cubicBezTo>
                <a:cubicBezTo>
                  <a:pt x="18031" y="4625"/>
                  <a:pt x="18094" y="4719"/>
                  <a:pt x="17969" y="4719"/>
                </a:cubicBezTo>
                <a:cubicBezTo>
                  <a:pt x="17937" y="4719"/>
                  <a:pt x="17937" y="4750"/>
                  <a:pt x="17937" y="4781"/>
                </a:cubicBezTo>
                <a:cubicBezTo>
                  <a:pt x="18094" y="4781"/>
                  <a:pt x="18125" y="4750"/>
                  <a:pt x="18156" y="4594"/>
                </a:cubicBezTo>
                <a:cubicBezTo>
                  <a:pt x="18156" y="4563"/>
                  <a:pt x="18156" y="4563"/>
                  <a:pt x="18219" y="4531"/>
                </a:cubicBezTo>
                <a:cubicBezTo>
                  <a:pt x="18250" y="4531"/>
                  <a:pt x="18344" y="4531"/>
                  <a:pt x="18344" y="4469"/>
                </a:cubicBezTo>
                <a:close/>
                <a:moveTo>
                  <a:pt x="12594" y="11875"/>
                </a:moveTo>
                <a:cubicBezTo>
                  <a:pt x="12719" y="11813"/>
                  <a:pt x="12719" y="11750"/>
                  <a:pt x="12656" y="11563"/>
                </a:cubicBezTo>
                <a:cubicBezTo>
                  <a:pt x="12594" y="11656"/>
                  <a:pt x="12562" y="11781"/>
                  <a:pt x="12531" y="11875"/>
                </a:cubicBezTo>
                <a:cubicBezTo>
                  <a:pt x="12469" y="11906"/>
                  <a:pt x="12469" y="11938"/>
                  <a:pt x="12469" y="11969"/>
                </a:cubicBezTo>
                <a:cubicBezTo>
                  <a:pt x="12469" y="11969"/>
                  <a:pt x="12437" y="11969"/>
                  <a:pt x="12437" y="11969"/>
                </a:cubicBezTo>
                <a:cubicBezTo>
                  <a:pt x="12375" y="12125"/>
                  <a:pt x="12375" y="12281"/>
                  <a:pt x="12250" y="12375"/>
                </a:cubicBezTo>
                <a:cubicBezTo>
                  <a:pt x="12375" y="12344"/>
                  <a:pt x="12437" y="12219"/>
                  <a:pt x="12562" y="12156"/>
                </a:cubicBezTo>
                <a:cubicBezTo>
                  <a:pt x="12562" y="12156"/>
                  <a:pt x="12594" y="12156"/>
                  <a:pt x="12594" y="12156"/>
                </a:cubicBezTo>
                <a:cubicBezTo>
                  <a:pt x="12687" y="12094"/>
                  <a:pt x="12719" y="12000"/>
                  <a:pt x="12719" y="11875"/>
                </a:cubicBezTo>
                <a:cubicBezTo>
                  <a:pt x="12719" y="11875"/>
                  <a:pt x="12719" y="11875"/>
                  <a:pt x="12719" y="11875"/>
                </a:cubicBezTo>
                <a:cubicBezTo>
                  <a:pt x="12719" y="11875"/>
                  <a:pt x="12719" y="11875"/>
                  <a:pt x="12719" y="11875"/>
                </a:cubicBezTo>
                <a:cubicBezTo>
                  <a:pt x="12687" y="11906"/>
                  <a:pt x="12687" y="11938"/>
                  <a:pt x="12656" y="11969"/>
                </a:cubicBezTo>
                <a:cubicBezTo>
                  <a:pt x="12656" y="11969"/>
                  <a:pt x="12625" y="12000"/>
                  <a:pt x="12594" y="12000"/>
                </a:cubicBezTo>
                <a:cubicBezTo>
                  <a:pt x="12562" y="11969"/>
                  <a:pt x="12562" y="11938"/>
                  <a:pt x="12594" y="11906"/>
                </a:cubicBezTo>
                <a:cubicBezTo>
                  <a:pt x="12594" y="11906"/>
                  <a:pt x="12594" y="11875"/>
                  <a:pt x="12594" y="11875"/>
                </a:cubicBezTo>
                <a:close/>
                <a:moveTo>
                  <a:pt x="17031" y="8219"/>
                </a:moveTo>
                <a:cubicBezTo>
                  <a:pt x="16969" y="8313"/>
                  <a:pt x="16906" y="8375"/>
                  <a:pt x="16906" y="8500"/>
                </a:cubicBezTo>
                <a:cubicBezTo>
                  <a:pt x="16906" y="8781"/>
                  <a:pt x="16906" y="9063"/>
                  <a:pt x="16906" y="9344"/>
                </a:cubicBezTo>
                <a:cubicBezTo>
                  <a:pt x="17000" y="9000"/>
                  <a:pt x="17000" y="8625"/>
                  <a:pt x="17031" y="8219"/>
                </a:cubicBezTo>
                <a:close/>
                <a:moveTo>
                  <a:pt x="18719" y="13500"/>
                </a:moveTo>
                <a:cubicBezTo>
                  <a:pt x="18687" y="13500"/>
                  <a:pt x="18656" y="13469"/>
                  <a:pt x="18625" y="13500"/>
                </a:cubicBezTo>
                <a:cubicBezTo>
                  <a:pt x="18625" y="13531"/>
                  <a:pt x="18656" y="13563"/>
                  <a:pt x="18656" y="13594"/>
                </a:cubicBezTo>
                <a:cubicBezTo>
                  <a:pt x="18687" y="13594"/>
                  <a:pt x="18719" y="13594"/>
                  <a:pt x="18719" y="13625"/>
                </a:cubicBezTo>
                <a:cubicBezTo>
                  <a:pt x="18937" y="13750"/>
                  <a:pt x="19219" y="13750"/>
                  <a:pt x="19437" y="13906"/>
                </a:cubicBezTo>
                <a:cubicBezTo>
                  <a:pt x="19469" y="13906"/>
                  <a:pt x="19500" y="13938"/>
                  <a:pt x="19531" y="13906"/>
                </a:cubicBezTo>
                <a:cubicBezTo>
                  <a:pt x="19344" y="13781"/>
                  <a:pt x="19156" y="13656"/>
                  <a:pt x="18937" y="13563"/>
                </a:cubicBezTo>
                <a:cubicBezTo>
                  <a:pt x="18875" y="13531"/>
                  <a:pt x="18781" y="13500"/>
                  <a:pt x="18719" y="13500"/>
                </a:cubicBezTo>
                <a:close/>
                <a:moveTo>
                  <a:pt x="17781" y="6781"/>
                </a:moveTo>
                <a:cubicBezTo>
                  <a:pt x="17812" y="6656"/>
                  <a:pt x="17875" y="6531"/>
                  <a:pt x="17969" y="6469"/>
                </a:cubicBezTo>
                <a:cubicBezTo>
                  <a:pt x="18000" y="6469"/>
                  <a:pt x="18031" y="6438"/>
                  <a:pt x="18031" y="6406"/>
                </a:cubicBezTo>
                <a:cubicBezTo>
                  <a:pt x="17844" y="6344"/>
                  <a:pt x="17719" y="6469"/>
                  <a:pt x="17562" y="6531"/>
                </a:cubicBezTo>
                <a:cubicBezTo>
                  <a:pt x="17437" y="6563"/>
                  <a:pt x="17469" y="6625"/>
                  <a:pt x="17469" y="6719"/>
                </a:cubicBezTo>
                <a:cubicBezTo>
                  <a:pt x="17469" y="6813"/>
                  <a:pt x="17594" y="6844"/>
                  <a:pt x="17656" y="6875"/>
                </a:cubicBezTo>
                <a:cubicBezTo>
                  <a:pt x="17750" y="6875"/>
                  <a:pt x="17750" y="6813"/>
                  <a:pt x="17781" y="6781"/>
                </a:cubicBezTo>
                <a:close/>
                <a:moveTo>
                  <a:pt x="22281" y="7719"/>
                </a:moveTo>
                <a:cubicBezTo>
                  <a:pt x="22125" y="7781"/>
                  <a:pt x="22031" y="7969"/>
                  <a:pt x="21906" y="8094"/>
                </a:cubicBezTo>
                <a:cubicBezTo>
                  <a:pt x="21844" y="8156"/>
                  <a:pt x="21781" y="8219"/>
                  <a:pt x="21719" y="8219"/>
                </a:cubicBezTo>
                <a:cubicBezTo>
                  <a:pt x="21656" y="8219"/>
                  <a:pt x="21562" y="8250"/>
                  <a:pt x="21500" y="8281"/>
                </a:cubicBezTo>
                <a:cubicBezTo>
                  <a:pt x="21625" y="8281"/>
                  <a:pt x="21750" y="8281"/>
                  <a:pt x="21875" y="8281"/>
                </a:cubicBezTo>
                <a:cubicBezTo>
                  <a:pt x="22031" y="8281"/>
                  <a:pt x="22187" y="8188"/>
                  <a:pt x="22219" y="8000"/>
                </a:cubicBezTo>
                <a:cubicBezTo>
                  <a:pt x="22250" y="7969"/>
                  <a:pt x="22219" y="7938"/>
                  <a:pt x="22187" y="7938"/>
                </a:cubicBezTo>
                <a:cubicBezTo>
                  <a:pt x="22187" y="7906"/>
                  <a:pt x="22187" y="7875"/>
                  <a:pt x="22219" y="7844"/>
                </a:cubicBezTo>
                <a:cubicBezTo>
                  <a:pt x="22250" y="7813"/>
                  <a:pt x="22281" y="7813"/>
                  <a:pt x="22312" y="7781"/>
                </a:cubicBezTo>
                <a:cubicBezTo>
                  <a:pt x="22344" y="7750"/>
                  <a:pt x="22375" y="7750"/>
                  <a:pt x="22375" y="7719"/>
                </a:cubicBezTo>
                <a:cubicBezTo>
                  <a:pt x="22344" y="7688"/>
                  <a:pt x="22312" y="7719"/>
                  <a:pt x="22281" y="7719"/>
                </a:cubicBezTo>
                <a:close/>
                <a:moveTo>
                  <a:pt x="14875" y="16719"/>
                </a:moveTo>
                <a:cubicBezTo>
                  <a:pt x="14812" y="16719"/>
                  <a:pt x="14812" y="16813"/>
                  <a:pt x="14781" y="16844"/>
                </a:cubicBezTo>
                <a:cubicBezTo>
                  <a:pt x="14781" y="16813"/>
                  <a:pt x="14812" y="16781"/>
                  <a:pt x="14781" y="16781"/>
                </a:cubicBezTo>
                <a:cubicBezTo>
                  <a:pt x="14594" y="16813"/>
                  <a:pt x="14437" y="16813"/>
                  <a:pt x="14250" y="16813"/>
                </a:cubicBezTo>
                <a:cubicBezTo>
                  <a:pt x="14156" y="16781"/>
                  <a:pt x="14062" y="16750"/>
                  <a:pt x="14000" y="16875"/>
                </a:cubicBezTo>
                <a:cubicBezTo>
                  <a:pt x="14000" y="16875"/>
                  <a:pt x="14094" y="16844"/>
                  <a:pt x="14031" y="16938"/>
                </a:cubicBezTo>
                <a:cubicBezTo>
                  <a:pt x="14000" y="16969"/>
                  <a:pt x="13937" y="17031"/>
                  <a:pt x="13906" y="17063"/>
                </a:cubicBezTo>
                <a:cubicBezTo>
                  <a:pt x="13781" y="17125"/>
                  <a:pt x="13781" y="17250"/>
                  <a:pt x="13719" y="17344"/>
                </a:cubicBezTo>
                <a:cubicBezTo>
                  <a:pt x="13719" y="17344"/>
                  <a:pt x="13750" y="17344"/>
                  <a:pt x="13750" y="17313"/>
                </a:cubicBezTo>
                <a:cubicBezTo>
                  <a:pt x="13844" y="17250"/>
                  <a:pt x="13937" y="17188"/>
                  <a:pt x="14000" y="17063"/>
                </a:cubicBezTo>
                <a:cubicBezTo>
                  <a:pt x="14062" y="17125"/>
                  <a:pt x="14156" y="17156"/>
                  <a:pt x="14219" y="17188"/>
                </a:cubicBezTo>
                <a:cubicBezTo>
                  <a:pt x="14281" y="17219"/>
                  <a:pt x="14312" y="17250"/>
                  <a:pt x="14344" y="17250"/>
                </a:cubicBezTo>
                <a:cubicBezTo>
                  <a:pt x="14344" y="17250"/>
                  <a:pt x="14375" y="17281"/>
                  <a:pt x="14406" y="17281"/>
                </a:cubicBezTo>
                <a:cubicBezTo>
                  <a:pt x="14469" y="17313"/>
                  <a:pt x="14531" y="17313"/>
                  <a:pt x="14594" y="17281"/>
                </a:cubicBezTo>
                <a:cubicBezTo>
                  <a:pt x="14625" y="17219"/>
                  <a:pt x="14594" y="17188"/>
                  <a:pt x="14625" y="17125"/>
                </a:cubicBezTo>
                <a:cubicBezTo>
                  <a:pt x="14687" y="17188"/>
                  <a:pt x="14781" y="17156"/>
                  <a:pt x="14781" y="17125"/>
                </a:cubicBezTo>
                <a:cubicBezTo>
                  <a:pt x="14812" y="17063"/>
                  <a:pt x="14750" y="17031"/>
                  <a:pt x="14719" y="17000"/>
                </a:cubicBezTo>
                <a:cubicBezTo>
                  <a:pt x="14656" y="16969"/>
                  <a:pt x="14625" y="16938"/>
                  <a:pt x="14562" y="16875"/>
                </a:cubicBezTo>
                <a:cubicBezTo>
                  <a:pt x="14656" y="16844"/>
                  <a:pt x="14719" y="16906"/>
                  <a:pt x="14781" y="16938"/>
                </a:cubicBezTo>
                <a:cubicBezTo>
                  <a:pt x="14844" y="16938"/>
                  <a:pt x="14875" y="16938"/>
                  <a:pt x="14875" y="16875"/>
                </a:cubicBezTo>
                <a:cubicBezTo>
                  <a:pt x="14875" y="16813"/>
                  <a:pt x="14937" y="16750"/>
                  <a:pt x="14875" y="16719"/>
                </a:cubicBezTo>
                <a:close/>
                <a:moveTo>
                  <a:pt x="17250" y="16125"/>
                </a:moveTo>
                <a:cubicBezTo>
                  <a:pt x="17219" y="16031"/>
                  <a:pt x="17156" y="16125"/>
                  <a:pt x="17125" y="16156"/>
                </a:cubicBezTo>
                <a:cubicBezTo>
                  <a:pt x="17062" y="16156"/>
                  <a:pt x="17000" y="16156"/>
                  <a:pt x="16937" y="16219"/>
                </a:cubicBezTo>
                <a:cubicBezTo>
                  <a:pt x="16906" y="16219"/>
                  <a:pt x="16906" y="16188"/>
                  <a:pt x="16906" y="16156"/>
                </a:cubicBezTo>
                <a:cubicBezTo>
                  <a:pt x="16875" y="16094"/>
                  <a:pt x="16844" y="16094"/>
                  <a:pt x="16812" y="16125"/>
                </a:cubicBezTo>
                <a:cubicBezTo>
                  <a:pt x="16781" y="16156"/>
                  <a:pt x="16750" y="16219"/>
                  <a:pt x="16719" y="16250"/>
                </a:cubicBezTo>
                <a:cubicBezTo>
                  <a:pt x="16656" y="16313"/>
                  <a:pt x="16750" y="16344"/>
                  <a:pt x="16750" y="16375"/>
                </a:cubicBezTo>
                <a:cubicBezTo>
                  <a:pt x="16750" y="16406"/>
                  <a:pt x="16781" y="16375"/>
                  <a:pt x="16812" y="16375"/>
                </a:cubicBezTo>
                <a:cubicBezTo>
                  <a:pt x="16937" y="16344"/>
                  <a:pt x="16875" y="16281"/>
                  <a:pt x="16844" y="16250"/>
                </a:cubicBezTo>
                <a:cubicBezTo>
                  <a:pt x="16906" y="16250"/>
                  <a:pt x="17000" y="16281"/>
                  <a:pt x="17031" y="16344"/>
                </a:cubicBezTo>
                <a:cubicBezTo>
                  <a:pt x="17031" y="16406"/>
                  <a:pt x="17094" y="16406"/>
                  <a:pt x="17125" y="16375"/>
                </a:cubicBezTo>
                <a:cubicBezTo>
                  <a:pt x="17219" y="16375"/>
                  <a:pt x="17344" y="16344"/>
                  <a:pt x="17437" y="16313"/>
                </a:cubicBezTo>
                <a:cubicBezTo>
                  <a:pt x="17531" y="16281"/>
                  <a:pt x="17531" y="16219"/>
                  <a:pt x="17469" y="16156"/>
                </a:cubicBezTo>
                <a:cubicBezTo>
                  <a:pt x="17469" y="16156"/>
                  <a:pt x="17469" y="16125"/>
                  <a:pt x="17437" y="16094"/>
                </a:cubicBezTo>
                <a:cubicBezTo>
                  <a:pt x="17406" y="16031"/>
                  <a:pt x="17344" y="16031"/>
                  <a:pt x="17344" y="15969"/>
                </a:cubicBezTo>
                <a:cubicBezTo>
                  <a:pt x="17312" y="15969"/>
                  <a:pt x="17281" y="16000"/>
                  <a:pt x="17250" y="16031"/>
                </a:cubicBezTo>
                <a:cubicBezTo>
                  <a:pt x="17312" y="16031"/>
                  <a:pt x="17344" y="16063"/>
                  <a:pt x="17312" y="16094"/>
                </a:cubicBezTo>
                <a:cubicBezTo>
                  <a:pt x="17312" y="16125"/>
                  <a:pt x="17281" y="16156"/>
                  <a:pt x="17250" y="16125"/>
                </a:cubicBezTo>
                <a:close/>
                <a:moveTo>
                  <a:pt x="14719" y="17563"/>
                </a:moveTo>
                <a:cubicBezTo>
                  <a:pt x="14687" y="17563"/>
                  <a:pt x="14687" y="17531"/>
                  <a:pt x="14687" y="17531"/>
                </a:cubicBezTo>
                <a:cubicBezTo>
                  <a:pt x="14594" y="17438"/>
                  <a:pt x="14500" y="17313"/>
                  <a:pt x="14344" y="17344"/>
                </a:cubicBezTo>
                <a:cubicBezTo>
                  <a:pt x="14125" y="17375"/>
                  <a:pt x="13937" y="17406"/>
                  <a:pt x="13719" y="17438"/>
                </a:cubicBezTo>
                <a:cubicBezTo>
                  <a:pt x="13687" y="17469"/>
                  <a:pt x="13625" y="17469"/>
                  <a:pt x="13594" y="17500"/>
                </a:cubicBezTo>
                <a:cubicBezTo>
                  <a:pt x="13500" y="17625"/>
                  <a:pt x="13437" y="17750"/>
                  <a:pt x="13344" y="17875"/>
                </a:cubicBezTo>
                <a:cubicBezTo>
                  <a:pt x="13344" y="17875"/>
                  <a:pt x="13375" y="17875"/>
                  <a:pt x="13406" y="17875"/>
                </a:cubicBezTo>
                <a:cubicBezTo>
                  <a:pt x="13406" y="17875"/>
                  <a:pt x="13406" y="17875"/>
                  <a:pt x="13437" y="17875"/>
                </a:cubicBezTo>
                <a:cubicBezTo>
                  <a:pt x="13437" y="17875"/>
                  <a:pt x="13437" y="17875"/>
                  <a:pt x="13469" y="17875"/>
                </a:cubicBezTo>
                <a:cubicBezTo>
                  <a:pt x="13469" y="17875"/>
                  <a:pt x="13469" y="17875"/>
                  <a:pt x="13500" y="17875"/>
                </a:cubicBezTo>
                <a:cubicBezTo>
                  <a:pt x="13531" y="17875"/>
                  <a:pt x="13562" y="17844"/>
                  <a:pt x="13625" y="17844"/>
                </a:cubicBezTo>
                <a:cubicBezTo>
                  <a:pt x="13906" y="17750"/>
                  <a:pt x="14219" y="17688"/>
                  <a:pt x="14500" y="17688"/>
                </a:cubicBezTo>
                <a:cubicBezTo>
                  <a:pt x="14531" y="17656"/>
                  <a:pt x="14562" y="17656"/>
                  <a:pt x="14562" y="17656"/>
                </a:cubicBezTo>
                <a:cubicBezTo>
                  <a:pt x="14562" y="17656"/>
                  <a:pt x="14594" y="17688"/>
                  <a:pt x="14594" y="17688"/>
                </a:cubicBezTo>
                <a:cubicBezTo>
                  <a:pt x="14594" y="17688"/>
                  <a:pt x="14625" y="17688"/>
                  <a:pt x="14656" y="17656"/>
                </a:cubicBezTo>
                <a:cubicBezTo>
                  <a:pt x="14656" y="17656"/>
                  <a:pt x="14656" y="17656"/>
                  <a:pt x="14656" y="17656"/>
                </a:cubicBezTo>
                <a:cubicBezTo>
                  <a:pt x="14687" y="17625"/>
                  <a:pt x="14719" y="17625"/>
                  <a:pt x="14750" y="17625"/>
                </a:cubicBezTo>
                <a:cubicBezTo>
                  <a:pt x="14750" y="17625"/>
                  <a:pt x="14750" y="17594"/>
                  <a:pt x="14750" y="17594"/>
                </a:cubicBezTo>
                <a:cubicBezTo>
                  <a:pt x="14750" y="17594"/>
                  <a:pt x="14719" y="17563"/>
                  <a:pt x="14719" y="17563"/>
                </a:cubicBezTo>
                <a:close/>
                <a:moveTo>
                  <a:pt x="20562" y="24375"/>
                </a:moveTo>
                <a:cubicBezTo>
                  <a:pt x="20531" y="24344"/>
                  <a:pt x="20531" y="24344"/>
                  <a:pt x="20531" y="24344"/>
                </a:cubicBezTo>
                <a:cubicBezTo>
                  <a:pt x="20531" y="24312"/>
                  <a:pt x="20500" y="24312"/>
                  <a:pt x="20500" y="24312"/>
                </a:cubicBezTo>
                <a:cubicBezTo>
                  <a:pt x="20500" y="24312"/>
                  <a:pt x="20500" y="24312"/>
                  <a:pt x="20500" y="24312"/>
                </a:cubicBezTo>
                <a:cubicBezTo>
                  <a:pt x="20469" y="24312"/>
                  <a:pt x="20469" y="24312"/>
                  <a:pt x="20437" y="24312"/>
                </a:cubicBezTo>
                <a:cubicBezTo>
                  <a:pt x="20437" y="24312"/>
                  <a:pt x="20437" y="24312"/>
                  <a:pt x="20437" y="24312"/>
                </a:cubicBezTo>
                <a:cubicBezTo>
                  <a:pt x="20437" y="24281"/>
                  <a:pt x="20437" y="24281"/>
                  <a:pt x="20406" y="24281"/>
                </a:cubicBezTo>
                <a:cubicBezTo>
                  <a:pt x="20406" y="24281"/>
                  <a:pt x="20406" y="24281"/>
                  <a:pt x="20406" y="24250"/>
                </a:cubicBezTo>
                <a:cubicBezTo>
                  <a:pt x="20406" y="24250"/>
                  <a:pt x="20375" y="24250"/>
                  <a:pt x="20375" y="24250"/>
                </a:cubicBezTo>
                <a:cubicBezTo>
                  <a:pt x="20375" y="24250"/>
                  <a:pt x="20375" y="24250"/>
                  <a:pt x="20375" y="24250"/>
                </a:cubicBezTo>
                <a:cubicBezTo>
                  <a:pt x="20344" y="24250"/>
                  <a:pt x="20344" y="24219"/>
                  <a:pt x="20344" y="24219"/>
                </a:cubicBezTo>
                <a:cubicBezTo>
                  <a:pt x="20187" y="24125"/>
                  <a:pt x="20031" y="24062"/>
                  <a:pt x="19906" y="23906"/>
                </a:cubicBezTo>
                <a:cubicBezTo>
                  <a:pt x="19875" y="23906"/>
                  <a:pt x="19875" y="23875"/>
                  <a:pt x="19875" y="23875"/>
                </a:cubicBezTo>
                <a:cubicBezTo>
                  <a:pt x="19844" y="23844"/>
                  <a:pt x="19844" y="23844"/>
                  <a:pt x="19812" y="23812"/>
                </a:cubicBezTo>
                <a:cubicBezTo>
                  <a:pt x="19812" y="23812"/>
                  <a:pt x="19812" y="23781"/>
                  <a:pt x="19812" y="23781"/>
                </a:cubicBezTo>
                <a:cubicBezTo>
                  <a:pt x="19812" y="23781"/>
                  <a:pt x="19812" y="23781"/>
                  <a:pt x="19812" y="23781"/>
                </a:cubicBezTo>
                <a:cubicBezTo>
                  <a:pt x="19781" y="23750"/>
                  <a:pt x="19781" y="23750"/>
                  <a:pt x="19750" y="23750"/>
                </a:cubicBezTo>
                <a:cubicBezTo>
                  <a:pt x="19750" y="23750"/>
                  <a:pt x="19750" y="23719"/>
                  <a:pt x="19750" y="23719"/>
                </a:cubicBezTo>
                <a:cubicBezTo>
                  <a:pt x="19687" y="23656"/>
                  <a:pt x="19656" y="23594"/>
                  <a:pt x="19625" y="23531"/>
                </a:cubicBezTo>
                <a:cubicBezTo>
                  <a:pt x="19500" y="23344"/>
                  <a:pt x="19375" y="23156"/>
                  <a:pt x="19281" y="22969"/>
                </a:cubicBezTo>
                <a:cubicBezTo>
                  <a:pt x="19250" y="22937"/>
                  <a:pt x="19250" y="22906"/>
                  <a:pt x="19219" y="22906"/>
                </a:cubicBezTo>
                <a:cubicBezTo>
                  <a:pt x="19281" y="22906"/>
                  <a:pt x="19312" y="22969"/>
                  <a:pt x="19375" y="23000"/>
                </a:cubicBezTo>
                <a:cubicBezTo>
                  <a:pt x="19375" y="23031"/>
                  <a:pt x="19406" y="23062"/>
                  <a:pt x="19437" y="23062"/>
                </a:cubicBezTo>
                <a:cubicBezTo>
                  <a:pt x="19469" y="23031"/>
                  <a:pt x="19437" y="23031"/>
                  <a:pt x="19437" y="23000"/>
                </a:cubicBezTo>
                <a:cubicBezTo>
                  <a:pt x="19375" y="22906"/>
                  <a:pt x="19312" y="22844"/>
                  <a:pt x="19250" y="22781"/>
                </a:cubicBezTo>
                <a:cubicBezTo>
                  <a:pt x="19187" y="22687"/>
                  <a:pt x="19219" y="22656"/>
                  <a:pt x="19281" y="22625"/>
                </a:cubicBezTo>
                <a:cubicBezTo>
                  <a:pt x="19344" y="22625"/>
                  <a:pt x="19406" y="22594"/>
                  <a:pt x="19375" y="22531"/>
                </a:cubicBezTo>
                <a:cubicBezTo>
                  <a:pt x="19375" y="22500"/>
                  <a:pt x="19375" y="22500"/>
                  <a:pt x="19375" y="22500"/>
                </a:cubicBezTo>
                <a:cubicBezTo>
                  <a:pt x="19375" y="22500"/>
                  <a:pt x="19375" y="22500"/>
                  <a:pt x="19375" y="22500"/>
                </a:cubicBezTo>
                <a:cubicBezTo>
                  <a:pt x="19375" y="22469"/>
                  <a:pt x="19344" y="22469"/>
                  <a:pt x="19344" y="22469"/>
                </a:cubicBezTo>
                <a:cubicBezTo>
                  <a:pt x="19312" y="22469"/>
                  <a:pt x="19281" y="22469"/>
                  <a:pt x="19281" y="22469"/>
                </a:cubicBezTo>
                <a:cubicBezTo>
                  <a:pt x="19281" y="22469"/>
                  <a:pt x="19281" y="22469"/>
                  <a:pt x="19281" y="22469"/>
                </a:cubicBezTo>
                <a:cubicBezTo>
                  <a:pt x="19250" y="22500"/>
                  <a:pt x="19250" y="22500"/>
                  <a:pt x="19219" y="22500"/>
                </a:cubicBezTo>
                <a:cubicBezTo>
                  <a:pt x="19219" y="22500"/>
                  <a:pt x="19219" y="22500"/>
                  <a:pt x="19219" y="22500"/>
                </a:cubicBezTo>
                <a:cubicBezTo>
                  <a:pt x="19156" y="22531"/>
                  <a:pt x="19062" y="22531"/>
                  <a:pt x="19031" y="22500"/>
                </a:cubicBezTo>
                <a:cubicBezTo>
                  <a:pt x="18969" y="22437"/>
                  <a:pt x="19031" y="22375"/>
                  <a:pt x="19062" y="22312"/>
                </a:cubicBezTo>
                <a:cubicBezTo>
                  <a:pt x="19062" y="22281"/>
                  <a:pt x="19062" y="22250"/>
                  <a:pt x="19062" y="22219"/>
                </a:cubicBezTo>
                <a:cubicBezTo>
                  <a:pt x="19031" y="22156"/>
                  <a:pt x="19000" y="22094"/>
                  <a:pt x="19000" y="22062"/>
                </a:cubicBezTo>
                <a:cubicBezTo>
                  <a:pt x="19000" y="22031"/>
                  <a:pt x="19000" y="22031"/>
                  <a:pt x="19000" y="22000"/>
                </a:cubicBezTo>
                <a:cubicBezTo>
                  <a:pt x="19000" y="22000"/>
                  <a:pt x="19000" y="22000"/>
                  <a:pt x="19000" y="22000"/>
                </a:cubicBezTo>
                <a:cubicBezTo>
                  <a:pt x="19000" y="21906"/>
                  <a:pt x="19031" y="21781"/>
                  <a:pt x="19062" y="21656"/>
                </a:cubicBezTo>
                <a:cubicBezTo>
                  <a:pt x="19062" y="21625"/>
                  <a:pt x="19062" y="21625"/>
                  <a:pt x="19094" y="21594"/>
                </a:cubicBezTo>
                <a:cubicBezTo>
                  <a:pt x="19094" y="21594"/>
                  <a:pt x="19094" y="21562"/>
                  <a:pt x="19094" y="21562"/>
                </a:cubicBezTo>
                <a:cubicBezTo>
                  <a:pt x="19094" y="21562"/>
                  <a:pt x="19094" y="21531"/>
                  <a:pt x="19094" y="21531"/>
                </a:cubicBezTo>
                <a:cubicBezTo>
                  <a:pt x="19031" y="21531"/>
                  <a:pt x="18969" y="21562"/>
                  <a:pt x="18937" y="21562"/>
                </a:cubicBezTo>
                <a:cubicBezTo>
                  <a:pt x="18500" y="21500"/>
                  <a:pt x="18094" y="21406"/>
                  <a:pt x="17719" y="21156"/>
                </a:cubicBezTo>
                <a:cubicBezTo>
                  <a:pt x="17687" y="21125"/>
                  <a:pt x="17656" y="21125"/>
                  <a:pt x="17656" y="21156"/>
                </a:cubicBezTo>
                <a:cubicBezTo>
                  <a:pt x="17562" y="21406"/>
                  <a:pt x="17406" y="21594"/>
                  <a:pt x="17312" y="21812"/>
                </a:cubicBezTo>
                <a:cubicBezTo>
                  <a:pt x="17312" y="21812"/>
                  <a:pt x="17312" y="21812"/>
                  <a:pt x="17281" y="21844"/>
                </a:cubicBezTo>
                <a:cubicBezTo>
                  <a:pt x="17281" y="21844"/>
                  <a:pt x="17281" y="21844"/>
                  <a:pt x="17281" y="21844"/>
                </a:cubicBezTo>
                <a:cubicBezTo>
                  <a:pt x="17281" y="21844"/>
                  <a:pt x="17281" y="21844"/>
                  <a:pt x="17281" y="21844"/>
                </a:cubicBezTo>
                <a:cubicBezTo>
                  <a:pt x="17250" y="21875"/>
                  <a:pt x="17250" y="21875"/>
                  <a:pt x="17250" y="21875"/>
                </a:cubicBezTo>
                <a:cubicBezTo>
                  <a:pt x="17250" y="21875"/>
                  <a:pt x="17250" y="21906"/>
                  <a:pt x="17250" y="21906"/>
                </a:cubicBezTo>
                <a:cubicBezTo>
                  <a:pt x="17250" y="21906"/>
                  <a:pt x="17250" y="21906"/>
                  <a:pt x="17250" y="21906"/>
                </a:cubicBezTo>
                <a:cubicBezTo>
                  <a:pt x="17250" y="21906"/>
                  <a:pt x="17250" y="21906"/>
                  <a:pt x="17250" y="21906"/>
                </a:cubicBezTo>
                <a:cubicBezTo>
                  <a:pt x="17250" y="21937"/>
                  <a:pt x="17219" y="21937"/>
                  <a:pt x="17219" y="21937"/>
                </a:cubicBezTo>
                <a:cubicBezTo>
                  <a:pt x="17219" y="21937"/>
                  <a:pt x="17187" y="21937"/>
                  <a:pt x="17187" y="21937"/>
                </a:cubicBezTo>
                <a:cubicBezTo>
                  <a:pt x="17125" y="21906"/>
                  <a:pt x="17094" y="21937"/>
                  <a:pt x="17094" y="21969"/>
                </a:cubicBezTo>
                <a:cubicBezTo>
                  <a:pt x="17000" y="22094"/>
                  <a:pt x="16875" y="22219"/>
                  <a:pt x="16781" y="22344"/>
                </a:cubicBezTo>
                <a:cubicBezTo>
                  <a:pt x="16750" y="22344"/>
                  <a:pt x="16750" y="22375"/>
                  <a:pt x="16750" y="22375"/>
                </a:cubicBezTo>
                <a:cubicBezTo>
                  <a:pt x="16719" y="22375"/>
                  <a:pt x="16719" y="22406"/>
                  <a:pt x="16719" y="22406"/>
                </a:cubicBezTo>
                <a:cubicBezTo>
                  <a:pt x="16719" y="22406"/>
                  <a:pt x="16719" y="22406"/>
                  <a:pt x="16719" y="22406"/>
                </a:cubicBezTo>
                <a:cubicBezTo>
                  <a:pt x="16719" y="22406"/>
                  <a:pt x="16719" y="22437"/>
                  <a:pt x="16719" y="22437"/>
                </a:cubicBezTo>
                <a:cubicBezTo>
                  <a:pt x="16687" y="22437"/>
                  <a:pt x="16687" y="22469"/>
                  <a:pt x="16687" y="22469"/>
                </a:cubicBezTo>
                <a:cubicBezTo>
                  <a:pt x="16687" y="22469"/>
                  <a:pt x="16687" y="22469"/>
                  <a:pt x="16687" y="22469"/>
                </a:cubicBezTo>
                <a:cubicBezTo>
                  <a:pt x="16687" y="22469"/>
                  <a:pt x="16687" y="22469"/>
                  <a:pt x="16687" y="22469"/>
                </a:cubicBezTo>
                <a:cubicBezTo>
                  <a:pt x="16687" y="22500"/>
                  <a:pt x="16656" y="22531"/>
                  <a:pt x="16625" y="22562"/>
                </a:cubicBezTo>
                <a:cubicBezTo>
                  <a:pt x="16625" y="22562"/>
                  <a:pt x="16594" y="22594"/>
                  <a:pt x="16594" y="22625"/>
                </a:cubicBezTo>
                <a:cubicBezTo>
                  <a:pt x="16562" y="22625"/>
                  <a:pt x="16562" y="22656"/>
                  <a:pt x="16562" y="22687"/>
                </a:cubicBezTo>
                <a:cubicBezTo>
                  <a:pt x="16562" y="22687"/>
                  <a:pt x="16562" y="22687"/>
                  <a:pt x="16562" y="22687"/>
                </a:cubicBezTo>
                <a:cubicBezTo>
                  <a:pt x="16531" y="22719"/>
                  <a:pt x="16531" y="22781"/>
                  <a:pt x="16500" y="22812"/>
                </a:cubicBezTo>
                <a:cubicBezTo>
                  <a:pt x="16500" y="22844"/>
                  <a:pt x="16500" y="22875"/>
                  <a:pt x="16469" y="22875"/>
                </a:cubicBezTo>
                <a:cubicBezTo>
                  <a:pt x="16437" y="22937"/>
                  <a:pt x="16406" y="22969"/>
                  <a:pt x="16375" y="23031"/>
                </a:cubicBezTo>
                <a:cubicBezTo>
                  <a:pt x="16344" y="23094"/>
                  <a:pt x="16312" y="23156"/>
                  <a:pt x="16312" y="23219"/>
                </a:cubicBezTo>
                <a:cubicBezTo>
                  <a:pt x="16312" y="23219"/>
                  <a:pt x="16312" y="23250"/>
                  <a:pt x="16281" y="23250"/>
                </a:cubicBezTo>
                <a:cubicBezTo>
                  <a:pt x="16281" y="23250"/>
                  <a:pt x="16281" y="23250"/>
                  <a:pt x="16281" y="23250"/>
                </a:cubicBezTo>
                <a:cubicBezTo>
                  <a:pt x="16281" y="23250"/>
                  <a:pt x="16312" y="23250"/>
                  <a:pt x="16312" y="23250"/>
                </a:cubicBezTo>
                <a:cubicBezTo>
                  <a:pt x="16281" y="23281"/>
                  <a:pt x="16250" y="23312"/>
                  <a:pt x="16250" y="23375"/>
                </a:cubicBezTo>
                <a:cubicBezTo>
                  <a:pt x="16250" y="23375"/>
                  <a:pt x="16250" y="23375"/>
                  <a:pt x="16250" y="23406"/>
                </a:cubicBezTo>
                <a:cubicBezTo>
                  <a:pt x="16281" y="23406"/>
                  <a:pt x="16281" y="23406"/>
                  <a:pt x="16281" y="23406"/>
                </a:cubicBezTo>
                <a:cubicBezTo>
                  <a:pt x="16281" y="23437"/>
                  <a:pt x="16281" y="23437"/>
                  <a:pt x="16281" y="23437"/>
                </a:cubicBezTo>
                <a:cubicBezTo>
                  <a:pt x="16281" y="23437"/>
                  <a:pt x="16281" y="23437"/>
                  <a:pt x="16281" y="23437"/>
                </a:cubicBezTo>
                <a:cubicBezTo>
                  <a:pt x="16312" y="23437"/>
                  <a:pt x="16312" y="23437"/>
                  <a:pt x="16312" y="23437"/>
                </a:cubicBezTo>
                <a:cubicBezTo>
                  <a:pt x="16312" y="23469"/>
                  <a:pt x="16312" y="23469"/>
                  <a:pt x="16312" y="23469"/>
                </a:cubicBezTo>
                <a:cubicBezTo>
                  <a:pt x="16312" y="23469"/>
                  <a:pt x="16312" y="23469"/>
                  <a:pt x="16312" y="23469"/>
                </a:cubicBezTo>
                <a:cubicBezTo>
                  <a:pt x="16312" y="23469"/>
                  <a:pt x="16344" y="23469"/>
                  <a:pt x="16344" y="23469"/>
                </a:cubicBezTo>
                <a:cubicBezTo>
                  <a:pt x="16344" y="23500"/>
                  <a:pt x="16344" y="23500"/>
                  <a:pt x="16344" y="23531"/>
                </a:cubicBezTo>
                <a:cubicBezTo>
                  <a:pt x="16375" y="23562"/>
                  <a:pt x="16375" y="23562"/>
                  <a:pt x="16375" y="23594"/>
                </a:cubicBezTo>
                <a:cubicBezTo>
                  <a:pt x="16375" y="23594"/>
                  <a:pt x="16375" y="23594"/>
                  <a:pt x="16375" y="23594"/>
                </a:cubicBezTo>
                <a:cubicBezTo>
                  <a:pt x="16406" y="23594"/>
                  <a:pt x="16406" y="23594"/>
                  <a:pt x="16406" y="23594"/>
                </a:cubicBezTo>
                <a:cubicBezTo>
                  <a:pt x="16406" y="23594"/>
                  <a:pt x="16406" y="23594"/>
                  <a:pt x="16406" y="23594"/>
                </a:cubicBezTo>
                <a:cubicBezTo>
                  <a:pt x="16437" y="23625"/>
                  <a:pt x="16469" y="23625"/>
                  <a:pt x="16500" y="23656"/>
                </a:cubicBezTo>
                <a:cubicBezTo>
                  <a:pt x="16500" y="23656"/>
                  <a:pt x="16531" y="23656"/>
                  <a:pt x="16531" y="23656"/>
                </a:cubicBezTo>
                <a:cubicBezTo>
                  <a:pt x="16531" y="23656"/>
                  <a:pt x="16531" y="23687"/>
                  <a:pt x="16531" y="23687"/>
                </a:cubicBezTo>
                <a:cubicBezTo>
                  <a:pt x="16531" y="23687"/>
                  <a:pt x="16562" y="23687"/>
                  <a:pt x="16562" y="23687"/>
                </a:cubicBezTo>
                <a:cubicBezTo>
                  <a:pt x="16562" y="23687"/>
                  <a:pt x="16562" y="23687"/>
                  <a:pt x="16562" y="23687"/>
                </a:cubicBezTo>
                <a:cubicBezTo>
                  <a:pt x="16594" y="23687"/>
                  <a:pt x="16594" y="23687"/>
                  <a:pt x="16594" y="23719"/>
                </a:cubicBezTo>
                <a:cubicBezTo>
                  <a:pt x="16625" y="23719"/>
                  <a:pt x="16625" y="23719"/>
                  <a:pt x="16625" y="23719"/>
                </a:cubicBezTo>
                <a:cubicBezTo>
                  <a:pt x="16625" y="23719"/>
                  <a:pt x="16656" y="23719"/>
                  <a:pt x="16656" y="23750"/>
                </a:cubicBezTo>
                <a:cubicBezTo>
                  <a:pt x="16750" y="23781"/>
                  <a:pt x="16844" y="23875"/>
                  <a:pt x="16937" y="23844"/>
                </a:cubicBezTo>
                <a:cubicBezTo>
                  <a:pt x="17031" y="23844"/>
                  <a:pt x="17094" y="23875"/>
                  <a:pt x="17125" y="23906"/>
                </a:cubicBezTo>
                <a:cubicBezTo>
                  <a:pt x="17219" y="24031"/>
                  <a:pt x="17344" y="24094"/>
                  <a:pt x="17469" y="24094"/>
                </a:cubicBezTo>
                <a:cubicBezTo>
                  <a:pt x="17531" y="24094"/>
                  <a:pt x="17594" y="24125"/>
                  <a:pt x="17625" y="24156"/>
                </a:cubicBezTo>
                <a:cubicBezTo>
                  <a:pt x="17719" y="24250"/>
                  <a:pt x="17812" y="24250"/>
                  <a:pt x="17906" y="24281"/>
                </a:cubicBezTo>
                <a:cubicBezTo>
                  <a:pt x="17937" y="24312"/>
                  <a:pt x="18000" y="24312"/>
                  <a:pt x="18062" y="24344"/>
                </a:cubicBezTo>
                <a:cubicBezTo>
                  <a:pt x="18156" y="24437"/>
                  <a:pt x="18281" y="24500"/>
                  <a:pt x="18437" y="24562"/>
                </a:cubicBezTo>
                <a:cubicBezTo>
                  <a:pt x="18500" y="24562"/>
                  <a:pt x="18531" y="24594"/>
                  <a:pt x="18594" y="24625"/>
                </a:cubicBezTo>
                <a:cubicBezTo>
                  <a:pt x="18687" y="24750"/>
                  <a:pt x="18812" y="24812"/>
                  <a:pt x="18969" y="24844"/>
                </a:cubicBezTo>
                <a:cubicBezTo>
                  <a:pt x="19125" y="24844"/>
                  <a:pt x="19187" y="24969"/>
                  <a:pt x="19312" y="24969"/>
                </a:cubicBezTo>
                <a:cubicBezTo>
                  <a:pt x="19469" y="25000"/>
                  <a:pt x="19625" y="25062"/>
                  <a:pt x="19781" y="25094"/>
                </a:cubicBezTo>
                <a:cubicBezTo>
                  <a:pt x="19906" y="25125"/>
                  <a:pt x="20000" y="25094"/>
                  <a:pt x="20125" y="25094"/>
                </a:cubicBezTo>
                <a:cubicBezTo>
                  <a:pt x="20156" y="25125"/>
                  <a:pt x="20187" y="25125"/>
                  <a:pt x="20187" y="25125"/>
                </a:cubicBezTo>
                <a:cubicBezTo>
                  <a:pt x="20250" y="25125"/>
                  <a:pt x="20281" y="25125"/>
                  <a:pt x="20312" y="25125"/>
                </a:cubicBezTo>
                <a:cubicBezTo>
                  <a:pt x="20344" y="25125"/>
                  <a:pt x="20344" y="25094"/>
                  <a:pt x="20375" y="25094"/>
                </a:cubicBezTo>
                <a:cubicBezTo>
                  <a:pt x="20375" y="25094"/>
                  <a:pt x="20375" y="25094"/>
                  <a:pt x="20406" y="25094"/>
                </a:cubicBezTo>
                <a:cubicBezTo>
                  <a:pt x="20406" y="25094"/>
                  <a:pt x="20406" y="25094"/>
                  <a:pt x="20406" y="25094"/>
                </a:cubicBezTo>
                <a:cubicBezTo>
                  <a:pt x="20437" y="25094"/>
                  <a:pt x="20437" y="25094"/>
                  <a:pt x="20469" y="25094"/>
                </a:cubicBezTo>
                <a:cubicBezTo>
                  <a:pt x="20531" y="25094"/>
                  <a:pt x="20594" y="25062"/>
                  <a:pt x="20656" y="25031"/>
                </a:cubicBezTo>
                <a:cubicBezTo>
                  <a:pt x="20656" y="25031"/>
                  <a:pt x="20656" y="25031"/>
                  <a:pt x="20656" y="25031"/>
                </a:cubicBezTo>
                <a:cubicBezTo>
                  <a:pt x="20687" y="25031"/>
                  <a:pt x="20719" y="25000"/>
                  <a:pt x="20719" y="24969"/>
                </a:cubicBezTo>
                <a:cubicBezTo>
                  <a:pt x="20719" y="24969"/>
                  <a:pt x="20719" y="24969"/>
                  <a:pt x="20719" y="24969"/>
                </a:cubicBezTo>
                <a:cubicBezTo>
                  <a:pt x="20719" y="24906"/>
                  <a:pt x="20656" y="24906"/>
                  <a:pt x="20625" y="24906"/>
                </a:cubicBezTo>
                <a:cubicBezTo>
                  <a:pt x="20594" y="24906"/>
                  <a:pt x="20562" y="24906"/>
                  <a:pt x="20500" y="24906"/>
                </a:cubicBezTo>
                <a:cubicBezTo>
                  <a:pt x="20500" y="24906"/>
                  <a:pt x="20500" y="24906"/>
                  <a:pt x="20469" y="24906"/>
                </a:cubicBezTo>
                <a:cubicBezTo>
                  <a:pt x="20469" y="24875"/>
                  <a:pt x="20500" y="24844"/>
                  <a:pt x="20500" y="24844"/>
                </a:cubicBezTo>
                <a:cubicBezTo>
                  <a:pt x="20531" y="24844"/>
                  <a:pt x="20562" y="24844"/>
                  <a:pt x="20594" y="24844"/>
                </a:cubicBezTo>
                <a:cubicBezTo>
                  <a:pt x="20625" y="24844"/>
                  <a:pt x="20625" y="24844"/>
                  <a:pt x="20656" y="24812"/>
                </a:cubicBezTo>
                <a:cubicBezTo>
                  <a:pt x="20687" y="24812"/>
                  <a:pt x="20687" y="24812"/>
                  <a:pt x="20719" y="24812"/>
                </a:cubicBezTo>
                <a:cubicBezTo>
                  <a:pt x="20812" y="24781"/>
                  <a:pt x="20875" y="24687"/>
                  <a:pt x="20844" y="24594"/>
                </a:cubicBezTo>
                <a:cubicBezTo>
                  <a:pt x="20781" y="24500"/>
                  <a:pt x="20687" y="24375"/>
                  <a:pt x="20562" y="24375"/>
                </a:cubicBezTo>
                <a:close/>
                <a:moveTo>
                  <a:pt x="9875" y="16969"/>
                </a:moveTo>
                <a:cubicBezTo>
                  <a:pt x="9906" y="16969"/>
                  <a:pt x="9906" y="16969"/>
                  <a:pt x="9906" y="16969"/>
                </a:cubicBezTo>
                <a:cubicBezTo>
                  <a:pt x="9906" y="16938"/>
                  <a:pt x="9875" y="16938"/>
                  <a:pt x="9875" y="16938"/>
                </a:cubicBezTo>
                <a:cubicBezTo>
                  <a:pt x="9875" y="16938"/>
                  <a:pt x="9875" y="16969"/>
                  <a:pt x="9875" y="16969"/>
                </a:cubicBezTo>
                <a:cubicBezTo>
                  <a:pt x="9875" y="16969"/>
                  <a:pt x="9875" y="16969"/>
                  <a:pt x="9875" y="16969"/>
                </a:cubicBezTo>
                <a:cubicBezTo>
                  <a:pt x="9875" y="16969"/>
                  <a:pt x="9875" y="16969"/>
                  <a:pt x="9875" y="16969"/>
                </a:cubicBezTo>
                <a:cubicBezTo>
                  <a:pt x="9875" y="16969"/>
                  <a:pt x="9875" y="16969"/>
                  <a:pt x="9875" y="16969"/>
                </a:cubicBezTo>
                <a:close/>
                <a:moveTo>
                  <a:pt x="17906" y="15531"/>
                </a:moveTo>
                <a:cubicBezTo>
                  <a:pt x="17906" y="15531"/>
                  <a:pt x="17906" y="15531"/>
                  <a:pt x="17906" y="15531"/>
                </a:cubicBezTo>
                <a:cubicBezTo>
                  <a:pt x="17875" y="15531"/>
                  <a:pt x="17875" y="15531"/>
                  <a:pt x="17844" y="15563"/>
                </a:cubicBezTo>
                <a:cubicBezTo>
                  <a:pt x="17844" y="15563"/>
                  <a:pt x="17875" y="15594"/>
                  <a:pt x="17906" y="15594"/>
                </a:cubicBezTo>
                <a:cubicBezTo>
                  <a:pt x="17906" y="15563"/>
                  <a:pt x="17937" y="15563"/>
                  <a:pt x="17937" y="15531"/>
                </a:cubicBezTo>
                <a:cubicBezTo>
                  <a:pt x="17937" y="15531"/>
                  <a:pt x="17937" y="15531"/>
                  <a:pt x="17937" y="15531"/>
                </a:cubicBezTo>
                <a:cubicBezTo>
                  <a:pt x="17937" y="15531"/>
                  <a:pt x="17937" y="15531"/>
                  <a:pt x="17937" y="15531"/>
                </a:cubicBezTo>
                <a:cubicBezTo>
                  <a:pt x="17937" y="15531"/>
                  <a:pt x="17906" y="15531"/>
                  <a:pt x="17906" y="15531"/>
                </a:cubicBezTo>
                <a:close/>
                <a:moveTo>
                  <a:pt x="25062" y="3188"/>
                </a:moveTo>
                <a:cubicBezTo>
                  <a:pt x="25062" y="3188"/>
                  <a:pt x="25062" y="3188"/>
                  <a:pt x="25062" y="3188"/>
                </a:cubicBezTo>
                <a:cubicBezTo>
                  <a:pt x="25062" y="3156"/>
                  <a:pt x="25031" y="3156"/>
                  <a:pt x="25031" y="3156"/>
                </a:cubicBezTo>
                <a:cubicBezTo>
                  <a:pt x="25031" y="3156"/>
                  <a:pt x="25031" y="3156"/>
                  <a:pt x="25031" y="3156"/>
                </a:cubicBezTo>
                <a:cubicBezTo>
                  <a:pt x="25062" y="3125"/>
                  <a:pt x="25031" y="3094"/>
                  <a:pt x="25031" y="3063"/>
                </a:cubicBezTo>
                <a:cubicBezTo>
                  <a:pt x="25031" y="3063"/>
                  <a:pt x="25031" y="3031"/>
                  <a:pt x="25031" y="3031"/>
                </a:cubicBezTo>
                <a:cubicBezTo>
                  <a:pt x="25062" y="3000"/>
                  <a:pt x="25062" y="2938"/>
                  <a:pt x="25062" y="2906"/>
                </a:cubicBezTo>
                <a:cubicBezTo>
                  <a:pt x="25094" y="2875"/>
                  <a:pt x="25094" y="2844"/>
                  <a:pt x="25094" y="2813"/>
                </a:cubicBezTo>
                <a:cubicBezTo>
                  <a:pt x="25094" y="2719"/>
                  <a:pt x="25062" y="2656"/>
                  <a:pt x="25094" y="2594"/>
                </a:cubicBezTo>
                <a:cubicBezTo>
                  <a:pt x="25094" y="2563"/>
                  <a:pt x="25094" y="2563"/>
                  <a:pt x="25094" y="2531"/>
                </a:cubicBezTo>
                <a:cubicBezTo>
                  <a:pt x="25094" y="2500"/>
                  <a:pt x="25094" y="2469"/>
                  <a:pt x="25094" y="2438"/>
                </a:cubicBezTo>
                <a:cubicBezTo>
                  <a:pt x="25094" y="2375"/>
                  <a:pt x="25094" y="2344"/>
                  <a:pt x="25094" y="2313"/>
                </a:cubicBezTo>
                <a:cubicBezTo>
                  <a:pt x="25094" y="2281"/>
                  <a:pt x="25094" y="2250"/>
                  <a:pt x="25094" y="2250"/>
                </a:cubicBezTo>
                <a:cubicBezTo>
                  <a:pt x="25125" y="2125"/>
                  <a:pt x="25031" y="2063"/>
                  <a:pt x="25031" y="1969"/>
                </a:cubicBezTo>
                <a:cubicBezTo>
                  <a:pt x="25031" y="1938"/>
                  <a:pt x="25000" y="1875"/>
                  <a:pt x="24937" y="1875"/>
                </a:cubicBezTo>
                <a:cubicBezTo>
                  <a:pt x="24906" y="1875"/>
                  <a:pt x="24844" y="1906"/>
                  <a:pt x="24844" y="1969"/>
                </a:cubicBezTo>
                <a:cubicBezTo>
                  <a:pt x="24844" y="1969"/>
                  <a:pt x="24844" y="1969"/>
                  <a:pt x="24844" y="2000"/>
                </a:cubicBezTo>
                <a:cubicBezTo>
                  <a:pt x="24844" y="2063"/>
                  <a:pt x="24812" y="2125"/>
                  <a:pt x="24844" y="2188"/>
                </a:cubicBezTo>
                <a:cubicBezTo>
                  <a:pt x="24844" y="2219"/>
                  <a:pt x="24875" y="2219"/>
                  <a:pt x="24875" y="2219"/>
                </a:cubicBezTo>
                <a:cubicBezTo>
                  <a:pt x="24875" y="2250"/>
                  <a:pt x="24875" y="2281"/>
                  <a:pt x="24875" y="2313"/>
                </a:cubicBezTo>
                <a:cubicBezTo>
                  <a:pt x="24875" y="2313"/>
                  <a:pt x="24875" y="2313"/>
                  <a:pt x="24875" y="2313"/>
                </a:cubicBezTo>
                <a:cubicBezTo>
                  <a:pt x="24875" y="2313"/>
                  <a:pt x="24875" y="2313"/>
                  <a:pt x="24875" y="2344"/>
                </a:cubicBezTo>
                <a:cubicBezTo>
                  <a:pt x="24875" y="2344"/>
                  <a:pt x="24875" y="2344"/>
                  <a:pt x="24875" y="2344"/>
                </a:cubicBezTo>
                <a:cubicBezTo>
                  <a:pt x="24875" y="2375"/>
                  <a:pt x="24875" y="2375"/>
                  <a:pt x="24875" y="2375"/>
                </a:cubicBezTo>
                <a:cubicBezTo>
                  <a:pt x="24875" y="2406"/>
                  <a:pt x="24875" y="2406"/>
                  <a:pt x="24875" y="2406"/>
                </a:cubicBezTo>
                <a:cubicBezTo>
                  <a:pt x="24875" y="2406"/>
                  <a:pt x="24875" y="2406"/>
                  <a:pt x="24875" y="2406"/>
                </a:cubicBezTo>
                <a:cubicBezTo>
                  <a:pt x="24844" y="2438"/>
                  <a:pt x="24844" y="2438"/>
                  <a:pt x="24844" y="2469"/>
                </a:cubicBezTo>
                <a:cubicBezTo>
                  <a:pt x="24844" y="2469"/>
                  <a:pt x="24844" y="2500"/>
                  <a:pt x="24844" y="2500"/>
                </a:cubicBezTo>
                <a:cubicBezTo>
                  <a:pt x="24844" y="2531"/>
                  <a:pt x="24844" y="2531"/>
                  <a:pt x="24812" y="2563"/>
                </a:cubicBezTo>
                <a:cubicBezTo>
                  <a:pt x="24812" y="2563"/>
                  <a:pt x="24812" y="2563"/>
                  <a:pt x="24812" y="2563"/>
                </a:cubicBezTo>
                <a:cubicBezTo>
                  <a:pt x="24812" y="2594"/>
                  <a:pt x="24812" y="2594"/>
                  <a:pt x="24812" y="2625"/>
                </a:cubicBezTo>
                <a:cubicBezTo>
                  <a:pt x="24812" y="2625"/>
                  <a:pt x="24812" y="2656"/>
                  <a:pt x="24812" y="2656"/>
                </a:cubicBezTo>
                <a:cubicBezTo>
                  <a:pt x="24812" y="2656"/>
                  <a:pt x="24812" y="2688"/>
                  <a:pt x="24812" y="2688"/>
                </a:cubicBezTo>
                <a:cubicBezTo>
                  <a:pt x="24812" y="2688"/>
                  <a:pt x="24812" y="2688"/>
                  <a:pt x="24812" y="2719"/>
                </a:cubicBezTo>
                <a:cubicBezTo>
                  <a:pt x="24812" y="2719"/>
                  <a:pt x="24812" y="2719"/>
                  <a:pt x="24812" y="2719"/>
                </a:cubicBezTo>
                <a:cubicBezTo>
                  <a:pt x="24812" y="2750"/>
                  <a:pt x="24812" y="2750"/>
                  <a:pt x="24812" y="2781"/>
                </a:cubicBezTo>
                <a:cubicBezTo>
                  <a:pt x="24781" y="2781"/>
                  <a:pt x="24781" y="2781"/>
                  <a:pt x="24781" y="2781"/>
                </a:cubicBezTo>
                <a:cubicBezTo>
                  <a:pt x="24750" y="2781"/>
                  <a:pt x="24750" y="2750"/>
                  <a:pt x="24750" y="2719"/>
                </a:cubicBezTo>
                <a:cubicBezTo>
                  <a:pt x="24750" y="2688"/>
                  <a:pt x="24750" y="2656"/>
                  <a:pt x="24750" y="2656"/>
                </a:cubicBezTo>
                <a:cubicBezTo>
                  <a:pt x="24781" y="2531"/>
                  <a:pt x="24812" y="2406"/>
                  <a:pt x="24781" y="2281"/>
                </a:cubicBezTo>
                <a:cubicBezTo>
                  <a:pt x="24750" y="2094"/>
                  <a:pt x="24719" y="1938"/>
                  <a:pt x="24719" y="1750"/>
                </a:cubicBezTo>
                <a:cubicBezTo>
                  <a:pt x="24687" y="1656"/>
                  <a:pt x="24687" y="1594"/>
                  <a:pt x="24656" y="1531"/>
                </a:cubicBezTo>
                <a:cubicBezTo>
                  <a:pt x="24656" y="1438"/>
                  <a:pt x="24625" y="1406"/>
                  <a:pt x="24531" y="1406"/>
                </a:cubicBezTo>
                <a:cubicBezTo>
                  <a:pt x="24469" y="1406"/>
                  <a:pt x="24406" y="1406"/>
                  <a:pt x="24406" y="1469"/>
                </a:cubicBezTo>
                <a:cubicBezTo>
                  <a:pt x="24406" y="1500"/>
                  <a:pt x="24406" y="1531"/>
                  <a:pt x="24406" y="1531"/>
                </a:cubicBezTo>
                <a:cubicBezTo>
                  <a:pt x="24406" y="1594"/>
                  <a:pt x="24406" y="1625"/>
                  <a:pt x="24406" y="1688"/>
                </a:cubicBezTo>
                <a:cubicBezTo>
                  <a:pt x="24406" y="1688"/>
                  <a:pt x="24406" y="1688"/>
                  <a:pt x="24406" y="1719"/>
                </a:cubicBezTo>
                <a:cubicBezTo>
                  <a:pt x="24406" y="1719"/>
                  <a:pt x="24406" y="1750"/>
                  <a:pt x="24406" y="1750"/>
                </a:cubicBezTo>
                <a:cubicBezTo>
                  <a:pt x="24437" y="1813"/>
                  <a:pt x="24437" y="1844"/>
                  <a:pt x="24469" y="1875"/>
                </a:cubicBezTo>
                <a:cubicBezTo>
                  <a:pt x="24469" y="1906"/>
                  <a:pt x="24469" y="1906"/>
                  <a:pt x="24469" y="1938"/>
                </a:cubicBezTo>
                <a:cubicBezTo>
                  <a:pt x="24469" y="1938"/>
                  <a:pt x="24469" y="1969"/>
                  <a:pt x="24469" y="2000"/>
                </a:cubicBezTo>
                <a:cubicBezTo>
                  <a:pt x="24437" y="2094"/>
                  <a:pt x="24406" y="2188"/>
                  <a:pt x="24437" y="2250"/>
                </a:cubicBezTo>
                <a:cubicBezTo>
                  <a:pt x="24437" y="2313"/>
                  <a:pt x="24437" y="2375"/>
                  <a:pt x="24437" y="2406"/>
                </a:cubicBezTo>
                <a:cubicBezTo>
                  <a:pt x="24437" y="2438"/>
                  <a:pt x="24437" y="2469"/>
                  <a:pt x="24437" y="2469"/>
                </a:cubicBezTo>
                <a:cubicBezTo>
                  <a:pt x="24437" y="2500"/>
                  <a:pt x="24437" y="2531"/>
                  <a:pt x="24437" y="2563"/>
                </a:cubicBezTo>
                <a:cubicBezTo>
                  <a:pt x="24437" y="2594"/>
                  <a:pt x="24437" y="2625"/>
                  <a:pt x="24406" y="2656"/>
                </a:cubicBezTo>
                <a:cubicBezTo>
                  <a:pt x="24375" y="2594"/>
                  <a:pt x="24375" y="2531"/>
                  <a:pt x="24375" y="2500"/>
                </a:cubicBezTo>
                <a:cubicBezTo>
                  <a:pt x="24375" y="2469"/>
                  <a:pt x="24375" y="2438"/>
                  <a:pt x="24375" y="2406"/>
                </a:cubicBezTo>
                <a:cubicBezTo>
                  <a:pt x="24375" y="2375"/>
                  <a:pt x="24375" y="2344"/>
                  <a:pt x="24375" y="2313"/>
                </a:cubicBezTo>
                <a:cubicBezTo>
                  <a:pt x="24375" y="2281"/>
                  <a:pt x="24375" y="2281"/>
                  <a:pt x="24375" y="2250"/>
                </a:cubicBezTo>
                <a:cubicBezTo>
                  <a:pt x="24375" y="2219"/>
                  <a:pt x="24344" y="2188"/>
                  <a:pt x="24344" y="2156"/>
                </a:cubicBezTo>
                <a:cubicBezTo>
                  <a:pt x="24312" y="2031"/>
                  <a:pt x="24312" y="1938"/>
                  <a:pt x="24281" y="1844"/>
                </a:cubicBezTo>
                <a:cubicBezTo>
                  <a:pt x="24281" y="1813"/>
                  <a:pt x="24281" y="1750"/>
                  <a:pt x="24250" y="1719"/>
                </a:cubicBezTo>
                <a:cubicBezTo>
                  <a:pt x="24250" y="1656"/>
                  <a:pt x="24250" y="1625"/>
                  <a:pt x="24250" y="1563"/>
                </a:cubicBezTo>
                <a:cubicBezTo>
                  <a:pt x="24250" y="1531"/>
                  <a:pt x="24219" y="1469"/>
                  <a:pt x="24219" y="1406"/>
                </a:cubicBezTo>
                <a:cubicBezTo>
                  <a:pt x="24187" y="1344"/>
                  <a:pt x="24156" y="1344"/>
                  <a:pt x="24094" y="1344"/>
                </a:cubicBezTo>
                <a:cubicBezTo>
                  <a:pt x="24062" y="1344"/>
                  <a:pt x="24000" y="1344"/>
                  <a:pt x="24000" y="1406"/>
                </a:cubicBezTo>
                <a:cubicBezTo>
                  <a:pt x="23969" y="1438"/>
                  <a:pt x="23969" y="1500"/>
                  <a:pt x="23969" y="1563"/>
                </a:cubicBezTo>
                <a:cubicBezTo>
                  <a:pt x="23969" y="1750"/>
                  <a:pt x="24000" y="1969"/>
                  <a:pt x="24000" y="2188"/>
                </a:cubicBezTo>
                <a:cubicBezTo>
                  <a:pt x="24000" y="2250"/>
                  <a:pt x="24000" y="2344"/>
                  <a:pt x="24031" y="2406"/>
                </a:cubicBezTo>
                <a:cubicBezTo>
                  <a:pt x="24031" y="2500"/>
                  <a:pt x="24062" y="2594"/>
                  <a:pt x="24062" y="2688"/>
                </a:cubicBezTo>
                <a:cubicBezTo>
                  <a:pt x="24062" y="2750"/>
                  <a:pt x="24031" y="2750"/>
                  <a:pt x="24000" y="2750"/>
                </a:cubicBezTo>
                <a:cubicBezTo>
                  <a:pt x="23969" y="2750"/>
                  <a:pt x="23937" y="2719"/>
                  <a:pt x="23969" y="2688"/>
                </a:cubicBezTo>
                <a:cubicBezTo>
                  <a:pt x="24000" y="2531"/>
                  <a:pt x="23937" y="2375"/>
                  <a:pt x="23906" y="2219"/>
                </a:cubicBezTo>
                <a:cubicBezTo>
                  <a:pt x="23875" y="2031"/>
                  <a:pt x="23906" y="1875"/>
                  <a:pt x="23875" y="1688"/>
                </a:cubicBezTo>
                <a:cubicBezTo>
                  <a:pt x="23844" y="1563"/>
                  <a:pt x="23781" y="1563"/>
                  <a:pt x="23656" y="1625"/>
                </a:cubicBezTo>
                <a:cubicBezTo>
                  <a:pt x="23656" y="1625"/>
                  <a:pt x="23656" y="1625"/>
                  <a:pt x="23656" y="1625"/>
                </a:cubicBezTo>
                <a:cubicBezTo>
                  <a:pt x="23656" y="1625"/>
                  <a:pt x="23656" y="1625"/>
                  <a:pt x="23656" y="1625"/>
                </a:cubicBezTo>
                <a:cubicBezTo>
                  <a:pt x="23625" y="1656"/>
                  <a:pt x="23625" y="1656"/>
                  <a:pt x="23656" y="1656"/>
                </a:cubicBezTo>
                <a:cubicBezTo>
                  <a:pt x="23625" y="1656"/>
                  <a:pt x="23625" y="1656"/>
                  <a:pt x="23625" y="1688"/>
                </a:cubicBezTo>
                <a:cubicBezTo>
                  <a:pt x="23625" y="1688"/>
                  <a:pt x="23625" y="1688"/>
                  <a:pt x="23594" y="1719"/>
                </a:cubicBezTo>
                <a:cubicBezTo>
                  <a:pt x="23594" y="1750"/>
                  <a:pt x="23594" y="1781"/>
                  <a:pt x="23625" y="1813"/>
                </a:cubicBezTo>
                <a:cubicBezTo>
                  <a:pt x="23625" y="1844"/>
                  <a:pt x="23594" y="1875"/>
                  <a:pt x="23594" y="1875"/>
                </a:cubicBezTo>
                <a:cubicBezTo>
                  <a:pt x="23562" y="2031"/>
                  <a:pt x="23594" y="2156"/>
                  <a:pt x="23594" y="2313"/>
                </a:cubicBezTo>
                <a:cubicBezTo>
                  <a:pt x="23594" y="2375"/>
                  <a:pt x="23594" y="2438"/>
                  <a:pt x="23594" y="2500"/>
                </a:cubicBezTo>
                <a:cubicBezTo>
                  <a:pt x="23625" y="2719"/>
                  <a:pt x="23625" y="2938"/>
                  <a:pt x="23656" y="3156"/>
                </a:cubicBezTo>
                <a:cubicBezTo>
                  <a:pt x="23656" y="3156"/>
                  <a:pt x="23656" y="3156"/>
                  <a:pt x="23656" y="3156"/>
                </a:cubicBezTo>
                <a:cubicBezTo>
                  <a:pt x="23656" y="3156"/>
                  <a:pt x="23656" y="3188"/>
                  <a:pt x="23656" y="3188"/>
                </a:cubicBezTo>
                <a:cubicBezTo>
                  <a:pt x="23656" y="3188"/>
                  <a:pt x="23656" y="3188"/>
                  <a:pt x="23656" y="3188"/>
                </a:cubicBezTo>
                <a:cubicBezTo>
                  <a:pt x="23656" y="3188"/>
                  <a:pt x="23656" y="3188"/>
                  <a:pt x="23656" y="3188"/>
                </a:cubicBezTo>
                <a:cubicBezTo>
                  <a:pt x="23656" y="3188"/>
                  <a:pt x="23656" y="3188"/>
                  <a:pt x="23656" y="3188"/>
                </a:cubicBezTo>
                <a:cubicBezTo>
                  <a:pt x="23656" y="3188"/>
                  <a:pt x="23656" y="3219"/>
                  <a:pt x="23656" y="3250"/>
                </a:cubicBezTo>
                <a:cubicBezTo>
                  <a:pt x="23656" y="3281"/>
                  <a:pt x="23656" y="3344"/>
                  <a:pt x="23594" y="3344"/>
                </a:cubicBezTo>
                <a:cubicBezTo>
                  <a:pt x="23531" y="3375"/>
                  <a:pt x="23469" y="3375"/>
                  <a:pt x="23437" y="3344"/>
                </a:cubicBezTo>
                <a:cubicBezTo>
                  <a:pt x="23344" y="3250"/>
                  <a:pt x="23250" y="3188"/>
                  <a:pt x="23156" y="3125"/>
                </a:cubicBezTo>
                <a:cubicBezTo>
                  <a:pt x="23000" y="3000"/>
                  <a:pt x="22844" y="2969"/>
                  <a:pt x="22687" y="3031"/>
                </a:cubicBezTo>
                <a:cubicBezTo>
                  <a:pt x="22656" y="3031"/>
                  <a:pt x="22625" y="3063"/>
                  <a:pt x="22625" y="3063"/>
                </a:cubicBezTo>
                <a:cubicBezTo>
                  <a:pt x="22594" y="3094"/>
                  <a:pt x="22594" y="3125"/>
                  <a:pt x="22625" y="3156"/>
                </a:cubicBezTo>
                <a:cubicBezTo>
                  <a:pt x="22625" y="3156"/>
                  <a:pt x="22625" y="3156"/>
                  <a:pt x="22625" y="3156"/>
                </a:cubicBezTo>
                <a:cubicBezTo>
                  <a:pt x="22625" y="3188"/>
                  <a:pt x="22625" y="3188"/>
                  <a:pt x="22656" y="3188"/>
                </a:cubicBezTo>
                <a:cubicBezTo>
                  <a:pt x="22656" y="3219"/>
                  <a:pt x="22656" y="3219"/>
                  <a:pt x="22687" y="3219"/>
                </a:cubicBezTo>
                <a:cubicBezTo>
                  <a:pt x="22687" y="3219"/>
                  <a:pt x="22687" y="3219"/>
                  <a:pt x="22687" y="3219"/>
                </a:cubicBezTo>
                <a:cubicBezTo>
                  <a:pt x="22687" y="3219"/>
                  <a:pt x="22687" y="3219"/>
                  <a:pt x="22687" y="3219"/>
                </a:cubicBezTo>
                <a:cubicBezTo>
                  <a:pt x="22719" y="3219"/>
                  <a:pt x="22750" y="3219"/>
                  <a:pt x="22750" y="3219"/>
                </a:cubicBezTo>
                <a:cubicBezTo>
                  <a:pt x="22781" y="3219"/>
                  <a:pt x="22781" y="3219"/>
                  <a:pt x="22781" y="3219"/>
                </a:cubicBezTo>
                <a:cubicBezTo>
                  <a:pt x="22781" y="3250"/>
                  <a:pt x="22781" y="3250"/>
                  <a:pt x="22812" y="3281"/>
                </a:cubicBezTo>
                <a:cubicBezTo>
                  <a:pt x="23000" y="3438"/>
                  <a:pt x="23219" y="3563"/>
                  <a:pt x="23344" y="3781"/>
                </a:cubicBezTo>
                <a:cubicBezTo>
                  <a:pt x="23375" y="3844"/>
                  <a:pt x="23437" y="3844"/>
                  <a:pt x="23469" y="3875"/>
                </a:cubicBezTo>
                <a:cubicBezTo>
                  <a:pt x="23562" y="3938"/>
                  <a:pt x="23687" y="4000"/>
                  <a:pt x="23750" y="4094"/>
                </a:cubicBezTo>
                <a:cubicBezTo>
                  <a:pt x="23781" y="4156"/>
                  <a:pt x="23812" y="4219"/>
                  <a:pt x="23781" y="4250"/>
                </a:cubicBezTo>
                <a:cubicBezTo>
                  <a:pt x="23656" y="4406"/>
                  <a:pt x="23562" y="4563"/>
                  <a:pt x="23437" y="4719"/>
                </a:cubicBezTo>
                <a:cubicBezTo>
                  <a:pt x="23250" y="4938"/>
                  <a:pt x="23094" y="5156"/>
                  <a:pt x="22875" y="5375"/>
                </a:cubicBezTo>
                <a:cubicBezTo>
                  <a:pt x="22812" y="5438"/>
                  <a:pt x="22750" y="5531"/>
                  <a:pt x="22656" y="5563"/>
                </a:cubicBezTo>
                <a:cubicBezTo>
                  <a:pt x="22500" y="5656"/>
                  <a:pt x="22406" y="5750"/>
                  <a:pt x="22281" y="5844"/>
                </a:cubicBezTo>
                <a:cubicBezTo>
                  <a:pt x="21906" y="6063"/>
                  <a:pt x="21625" y="6375"/>
                  <a:pt x="21281" y="6625"/>
                </a:cubicBezTo>
                <a:cubicBezTo>
                  <a:pt x="21281" y="6625"/>
                  <a:pt x="21187" y="6656"/>
                  <a:pt x="21219" y="6719"/>
                </a:cubicBezTo>
                <a:cubicBezTo>
                  <a:pt x="21281" y="6781"/>
                  <a:pt x="21344" y="6875"/>
                  <a:pt x="21469" y="6844"/>
                </a:cubicBezTo>
                <a:cubicBezTo>
                  <a:pt x="21469" y="6875"/>
                  <a:pt x="21469" y="6875"/>
                  <a:pt x="21500" y="6875"/>
                </a:cubicBezTo>
                <a:cubicBezTo>
                  <a:pt x="21500" y="6906"/>
                  <a:pt x="21531" y="6938"/>
                  <a:pt x="21531" y="6969"/>
                </a:cubicBezTo>
                <a:cubicBezTo>
                  <a:pt x="21531" y="6969"/>
                  <a:pt x="21531" y="7000"/>
                  <a:pt x="21531" y="7000"/>
                </a:cubicBezTo>
                <a:cubicBezTo>
                  <a:pt x="21500" y="7031"/>
                  <a:pt x="21469" y="7000"/>
                  <a:pt x="21406" y="7000"/>
                </a:cubicBezTo>
                <a:cubicBezTo>
                  <a:pt x="21406" y="7000"/>
                  <a:pt x="21406" y="7000"/>
                  <a:pt x="21375" y="7000"/>
                </a:cubicBezTo>
                <a:cubicBezTo>
                  <a:pt x="21375" y="7000"/>
                  <a:pt x="21375" y="7000"/>
                  <a:pt x="21375" y="7000"/>
                </a:cubicBezTo>
                <a:cubicBezTo>
                  <a:pt x="21375" y="6969"/>
                  <a:pt x="21375" y="6969"/>
                  <a:pt x="21375" y="6969"/>
                </a:cubicBezTo>
                <a:cubicBezTo>
                  <a:pt x="21344" y="6906"/>
                  <a:pt x="21312" y="6875"/>
                  <a:pt x="21250" y="6875"/>
                </a:cubicBezTo>
                <a:cubicBezTo>
                  <a:pt x="21219" y="6875"/>
                  <a:pt x="21156" y="6844"/>
                  <a:pt x="21187" y="6813"/>
                </a:cubicBezTo>
                <a:cubicBezTo>
                  <a:pt x="21219" y="6719"/>
                  <a:pt x="21156" y="6688"/>
                  <a:pt x="21125" y="6656"/>
                </a:cubicBezTo>
                <a:cubicBezTo>
                  <a:pt x="20969" y="6625"/>
                  <a:pt x="20875" y="6531"/>
                  <a:pt x="20750" y="6469"/>
                </a:cubicBezTo>
                <a:cubicBezTo>
                  <a:pt x="20469" y="6344"/>
                  <a:pt x="20187" y="6281"/>
                  <a:pt x="19906" y="6219"/>
                </a:cubicBezTo>
                <a:cubicBezTo>
                  <a:pt x="19812" y="6188"/>
                  <a:pt x="19687" y="6156"/>
                  <a:pt x="19594" y="6250"/>
                </a:cubicBezTo>
                <a:cubicBezTo>
                  <a:pt x="19562" y="6281"/>
                  <a:pt x="19500" y="6281"/>
                  <a:pt x="19437" y="6281"/>
                </a:cubicBezTo>
                <a:cubicBezTo>
                  <a:pt x="19406" y="6281"/>
                  <a:pt x="19406" y="6250"/>
                  <a:pt x="19406" y="6219"/>
                </a:cubicBezTo>
                <a:cubicBezTo>
                  <a:pt x="19500" y="6125"/>
                  <a:pt x="19469" y="6063"/>
                  <a:pt x="19344" y="6063"/>
                </a:cubicBezTo>
                <a:cubicBezTo>
                  <a:pt x="19312" y="6063"/>
                  <a:pt x="19312" y="6000"/>
                  <a:pt x="19281" y="6000"/>
                </a:cubicBezTo>
                <a:cubicBezTo>
                  <a:pt x="19250" y="5969"/>
                  <a:pt x="19187" y="5938"/>
                  <a:pt x="19156" y="6000"/>
                </a:cubicBezTo>
                <a:cubicBezTo>
                  <a:pt x="19125" y="6031"/>
                  <a:pt x="19062" y="6031"/>
                  <a:pt x="19062" y="5969"/>
                </a:cubicBezTo>
                <a:cubicBezTo>
                  <a:pt x="19062" y="5938"/>
                  <a:pt x="19062" y="5938"/>
                  <a:pt x="19031" y="5906"/>
                </a:cubicBezTo>
                <a:cubicBezTo>
                  <a:pt x="19031" y="5844"/>
                  <a:pt x="18969" y="5875"/>
                  <a:pt x="18875" y="5875"/>
                </a:cubicBezTo>
                <a:cubicBezTo>
                  <a:pt x="18875" y="5844"/>
                  <a:pt x="18875" y="5813"/>
                  <a:pt x="18875" y="5781"/>
                </a:cubicBezTo>
                <a:cubicBezTo>
                  <a:pt x="18875" y="5781"/>
                  <a:pt x="18875" y="5781"/>
                  <a:pt x="18875" y="5781"/>
                </a:cubicBezTo>
                <a:cubicBezTo>
                  <a:pt x="18875" y="5781"/>
                  <a:pt x="18875" y="5781"/>
                  <a:pt x="18875" y="5781"/>
                </a:cubicBezTo>
                <a:cubicBezTo>
                  <a:pt x="18844" y="5750"/>
                  <a:pt x="18844" y="5719"/>
                  <a:pt x="18812" y="5719"/>
                </a:cubicBezTo>
                <a:cubicBezTo>
                  <a:pt x="18812" y="5688"/>
                  <a:pt x="18750" y="5719"/>
                  <a:pt x="18750" y="5688"/>
                </a:cubicBezTo>
                <a:cubicBezTo>
                  <a:pt x="18719" y="5688"/>
                  <a:pt x="18687" y="5656"/>
                  <a:pt x="18687" y="5656"/>
                </a:cubicBezTo>
                <a:cubicBezTo>
                  <a:pt x="18656" y="5688"/>
                  <a:pt x="18687" y="5719"/>
                  <a:pt x="18687" y="5750"/>
                </a:cubicBezTo>
                <a:cubicBezTo>
                  <a:pt x="18687" y="5813"/>
                  <a:pt x="18687" y="5875"/>
                  <a:pt x="18656" y="5938"/>
                </a:cubicBezTo>
                <a:cubicBezTo>
                  <a:pt x="18656" y="5906"/>
                  <a:pt x="18656" y="5906"/>
                  <a:pt x="18656" y="5906"/>
                </a:cubicBezTo>
                <a:cubicBezTo>
                  <a:pt x="18656" y="5875"/>
                  <a:pt x="18656" y="5875"/>
                  <a:pt x="18656" y="5875"/>
                </a:cubicBezTo>
                <a:cubicBezTo>
                  <a:pt x="18656" y="5875"/>
                  <a:pt x="18656" y="5875"/>
                  <a:pt x="18656" y="5875"/>
                </a:cubicBezTo>
                <a:cubicBezTo>
                  <a:pt x="18656" y="5844"/>
                  <a:pt x="18656" y="5813"/>
                  <a:pt x="18594" y="5813"/>
                </a:cubicBezTo>
                <a:cubicBezTo>
                  <a:pt x="18594" y="5781"/>
                  <a:pt x="18594" y="5750"/>
                  <a:pt x="18594" y="5719"/>
                </a:cubicBezTo>
                <a:cubicBezTo>
                  <a:pt x="18594" y="5719"/>
                  <a:pt x="18594" y="5719"/>
                  <a:pt x="18594" y="5719"/>
                </a:cubicBezTo>
                <a:cubicBezTo>
                  <a:pt x="18625" y="5719"/>
                  <a:pt x="18625" y="5719"/>
                  <a:pt x="18625" y="5719"/>
                </a:cubicBezTo>
                <a:cubicBezTo>
                  <a:pt x="18625" y="5719"/>
                  <a:pt x="18625" y="5688"/>
                  <a:pt x="18625" y="5688"/>
                </a:cubicBezTo>
                <a:cubicBezTo>
                  <a:pt x="18625" y="5688"/>
                  <a:pt x="18625" y="5688"/>
                  <a:pt x="18594" y="5688"/>
                </a:cubicBezTo>
                <a:cubicBezTo>
                  <a:pt x="18594" y="5688"/>
                  <a:pt x="18594" y="5656"/>
                  <a:pt x="18594" y="5656"/>
                </a:cubicBezTo>
                <a:cubicBezTo>
                  <a:pt x="18594" y="5656"/>
                  <a:pt x="18594" y="5656"/>
                  <a:pt x="18594" y="5656"/>
                </a:cubicBezTo>
                <a:cubicBezTo>
                  <a:pt x="18594" y="5625"/>
                  <a:pt x="18594" y="5625"/>
                  <a:pt x="18594" y="5625"/>
                </a:cubicBezTo>
                <a:cubicBezTo>
                  <a:pt x="18594" y="5594"/>
                  <a:pt x="18562" y="5563"/>
                  <a:pt x="18531" y="5531"/>
                </a:cubicBezTo>
                <a:cubicBezTo>
                  <a:pt x="18531" y="5531"/>
                  <a:pt x="18500" y="5500"/>
                  <a:pt x="18437" y="5500"/>
                </a:cubicBezTo>
                <a:cubicBezTo>
                  <a:pt x="18437" y="5469"/>
                  <a:pt x="18406" y="5469"/>
                  <a:pt x="18375" y="5500"/>
                </a:cubicBezTo>
                <a:cubicBezTo>
                  <a:pt x="18375" y="5531"/>
                  <a:pt x="18375" y="5531"/>
                  <a:pt x="18406" y="5531"/>
                </a:cubicBezTo>
                <a:cubicBezTo>
                  <a:pt x="18406" y="5531"/>
                  <a:pt x="18406" y="5563"/>
                  <a:pt x="18406" y="5563"/>
                </a:cubicBezTo>
                <a:cubicBezTo>
                  <a:pt x="18469" y="5625"/>
                  <a:pt x="18500" y="5656"/>
                  <a:pt x="18531" y="5750"/>
                </a:cubicBezTo>
                <a:cubicBezTo>
                  <a:pt x="18469" y="5719"/>
                  <a:pt x="18437" y="5688"/>
                  <a:pt x="18375" y="5656"/>
                </a:cubicBezTo>
                <a:cubicBezTo>
                  <a:pt x="18312" y="5656"/>
                  <a:pt x="18281" y="5625"/>
                  <a:pt x="18219" y="5688"/>
                </a:cubicBezTo>
                <a:cubicBezTo>
                  <a:pt x="18219" y="5656"/>
                  <a:pt x="18219" y="5656"/>
                  <a:pt x="18219" y="5656"/>
                </a:cubicBezTo>
                <a:cubicBezTo>
                  <a:pt x="18219" y="5656"/>
                  <a:pt x="18219" y="5656"/>
                  <a:pt x="18219" y="5656"/>
                </a:cubicBezTo>
                <a:cubicBezTo>
                  <a:pt x="18219" y="5625"/>
                  <a:pt x="18219" y="5625"/>
                  <a:pt x="18219" y="5625"/>
                </a:cubicBezTo>
                <a:cubicBezTo>
                  <a:pt x="18219" y="5625"/>
                  <a:pt x="18219" y="5625"/>
                  <a:pt x="18187" y="5625"/>
                </a:cubicBezTo>
                <a:cubicBezTo>
                  <a:pt x="18187" y="5625"/>
                  <a:pt x="18156" y="5594"/>
                  <a:pt x="18125" y="5594"/>
                </a:cubicBezTo>
                <a:cubicBezTo>
                  <a:pt x="18125" y="5594"/>
                  <a:pt x="18125" y="5594"/>
                  <a:pt x="18125" y="5594"/>
                </a:cubicBezTo>
                <a:cubicBezTo>
                  <a:pt x="18156" y="5656"/>
                  <a:pt x="18187" y="5719"/>
                  <a:pt x="18219" y="5813"/>
                </a:cubicBezTo>
                <a:cubicBezTo>
                  <a:pt x="18219" y="5813"/>
                  <a:pt x="18219" y="5813"/>
                  <a:pt x="18219" y="5813"/>
                </a:cubicBezTo>
                <a:cubicBezTo>
                  <a:pt x="18219" y="5813"/>
                  <a:pt x="18219" y="5813"/>
                  <a:pt x="18219" y="5813"/>
                </a:cubicBezTo>
                <a:cubicBezTo>
                  <a:pt x="18219" y="5844"/>
                  <a:pt x="18219" y="5844"/>
                  <a:pt x="18250" y="5875"/>
                </a:cubicBezTo>
                <a:cubicBezTo>
                  <a:pt x="18219" y="5875"/>
                  <a:pt x="18219" y="5875"/>
                  <a:pt x="18187" y="5906"/>
                </a:cubicBezTo>
                <a:cubicBezTo>
                  <a:pt x="18094" y="5656"/>
                  <a:pt x="17969" y="5438"/>
                  <a:pt x="17875" y="5188"/>
                </a:cubicBezTo>
                <a:cubicBezTo>
                  <a:pt x="17875" y="5156"/>
                  <a:pt x="17844" y="5125"/>
                  <a:pt x="17812" y="5125"/>
                </a:cubicBezTo>
                <a:cubicBezTo>
                  <a:pt x="17781" y="5156"/>
                  <a:pt x="17750" y="5125"/>
                  <a:pt x="17750" y="5125"/>
                </a:cubicBezTo>
                <a:cubicBezTo>
                  <a:pt x="17719" y="5125"/>
                  <a:pt x="17719" y="5125"/>
                  <a:pt x="17719" y="5125"/>
                </a:cubicBezTo>
                <a:cubicBezTo>
                  <a:pt x="17719" y="5125"/>
                  <a:pt x="17719" y="5125"/>
                  <a:pt x="17687" y="5125"/>
                </a:cubicBezTo>
                <a:cubicBezTo>
                  <a:pt x="17687" y="5125"/>
                  <a:pt x="17687" y="5125"/>
                  <a:pt x="17687" y="5125"/>
                </a:cubicBezTo>
                <a:cubicBezTo>
                  <a:pt x="17687" y="5125"/>
                  <a:pt x="17687" y="5125"/>
                  <a:pt x="17687" y="5125"/>
                </a:cubicBezTo>
                <a:cubicBezTo>
                  <a:pt x="17656" y="5094"/>
                  <a:pt x="17656" y="5094"/>
                  <a:pt x="17656" y="5094"/>
                </a:cubicBezTo>
                <a:cubicBezTo>
                  <a:pt x="17625" y="5094"/>
                  <a:pt x="17625" y="5094"/>
                  <a:pt x="17594" y="5125"/>
                </a:cubicBezTo>
                <a:cubicBezTo>
                  <a:pt x="17531" y="5063"/>
                  <a:pt x="17562" y="5031"/>
                  <a:pt x="17562" y="5031"/>
                </a:cubicBezTo>
                <a:cubicBezTo>
                  <a:pt x="17594" y="5000"/>
                  <a:pt x="17625" y="5000"/>
                  <a:pt x="17625" y="4969"/>
                </a:cubicBezTo>
                <a:cubicBezTo>
                  <a:pt x="17656" y="4938"/>
                  <a:pt x="17687" y="4969"/>
                  <a:pt x="17687" y="4906"/>
                </a:cubicBezTo>
                <a:cubicBezTo>
                  <a:pt x="17656" y="4844"/>
                  <a:pt x="17687" y="4750"/>
                  <a:pt x="17687" y="4688"/>
                </a:cubicBezTo>
                <a:cubicBezTo>
                  <a:pt x="17656" y="4531"/>
                  <a:pt x="17687" y="4406"/>
                  <a:pt x="17844" y="4313"/>
                </a:cubicBezTo>
                <a:cubicBezTo>
                  <a:pt x="17937" y="4281"/>
                  <a:pt x="17969" y="4188"/>
                  <a:pt x="17937" y="4125"/>
                </a:cubicBezTo>
                <a:cubicBezTo>
                  <a:pt x="17844" y="4031"/>
                  <a:pt x="17875" y="3906"/>
                  <a:pt x="17844" y="3781"/>
                </a:cubicBezTo>
                <a:cubicBezTo>
                  <a:pt x="17844" y="3750"/>
                  <a:pt x="17844" y="3688"/>
                  <a:pt x="17906" y="3656"/>
                </a:cubicBezTo>
                <a:cubicBezTo>
                  <a:pt x="18000" y="3594"/>
                  <a:pt x="18000" y="3500"/>
                  <a:pt x="18062" y="3406"/>
                </a:cubicBezTo>
                <a:cubicBezTo>
                  <a:pt x="18125" y="3344"/>
                  <a:pt x="18125" y="3250"/>
                  <a:pt x="18094" y="3156"/>
                </a:cubicBezTo>
                <a:cubicBezTo>
                  <a:pt x="18094" y="3031"/>
                  <a:pt x="18156" y="2938"/>
                  <a:pt x="18281" y="2969"/>
                </a:cubicBezTo>
                <a:cubicBezTo>
                  <a:pt x="18312" y="2969"/>
                  <a:pt x="18344" y="2969"/>
                  <a:pt x="18344" y="2969"/>
                </a:cubicBezTo>
                <a:cubicBezTo>
                  <a:pt x="18406" y="3000"/>
                  <a:pt x="18469" y="3000"/>
                  <a:pt x="18531" y="2969"/>
                </a:cubicBezTo>
                <a:cubicBezTo>
                  <a:pt x="18531" y="2969"/>
                  <a:pt x="18531" y="2969"/>
                  <a:pt x="18562" y="2938"/>
                </a:cubicBezTo>
                <a:cubicBezTo>
                  <a:pt x="18656" y="2938"/>
                  <a:pt x="18750" y="2969"/>
                  <a:pt x="18781" y="3000"/>
                </a:cubicBezTo>
                <a:cubicBezTo>
                  <a:pt x="18844" y="3031"/>
                  <a:pt x="18844" y="3094"/>
                  <a:pt x="18875" y="3156"/>
                </a:cubicBezTo>
                <a:cubicBezTo>
                  <a:pt x="18812" y="3156"/>
                  <a:pt x="18781" y="3156"/>
                  <a:pt x="18750" y="3156"/>
                </a:cubicBezTo>
                <a:cubicBezTo>
                  <a:pt x="18719" y="3094"/>
                  <a:pt x="18656" y="3094"/>
                  <a:pt x="18625" y="3094"/>
                </a:cubicBezTo>
                <a:cubicBezTo>
                  <a:pt x="18531" y="3063"/>
                  <a:pt x="18437" y="3031"/>
                  <a:pt x="18375" y="3094"/>
                </a:cubicBezTo>
                <a:cubicBezTo>
                  <a:pt x="18312" y="3156"/>
                  <a:pt x="18344" y="3188"/>
                  <a:pt x="18375" y="3250"/>
                </a:cubicBezTo>
                <a:cubicBezTo>
                  <a:pt x="18406" y="3281"/>
                  <a:pt x="18437" y="3250"/>
                  <a:pt x="18469" y="3219"/>
                </a:cubicBezTo>
                <a:cubicBezTo>
                  <a:pt x="18469" y="3188"/>
                  <a:pt x="18500" y="3156"/>
                  <a:pt x="18500" y="3156"/>
                </a:cubicBezTo>
                <a:cubicBezTo>
                  <a:pt x="18500" y="3156"/>
                  <a:pt x="18500" y="3156"/>
                  <a:pt x="18500" y="3156"/>
                </a:cubicBezTo>
                <a:cubicBezTo>
                  <a:pt x="18531" y="3156"/>
                  <a:pt x="18531" y="3156"/>
                  <a:pt x="18531" y="3156"/>
                </a:cubicBezTo>
                <a:cubicBezTo>
                  <a:pt x="18531" y="3156"/>
                  <a:pt x="18562" y="3188"/>
                  <a:pt x="18562" y="3188"/>
                </a:cubicBezTo>
                <a:cubicBezTo>
                  <a:pt x="18562" y="3188"/>
                  <a:pt x="18562" y="3188"/>
                  <a:pt x="18562" y="3219"/>
                </a:cubicBezTo>
                <a:cubicBezTo>
                  <a:pt x="18562" y="3219"/>
                  <a:pt x="18562" y="3219"/>
                  <a:pt x="18562" y="3219"/>
                </a:cubicBezTo>
                <a:cubicBezTo>
                  <a:pt x="18562" y="3219"/>
                  <a:pt x="18562" y="3219"/>
                  <a:pt x="18562" y="3219"/>
                </a:cubicBezTo>
                <a:cubicBezTo>
                  <a:pt x="18594" y="3219"/>
                  <a:pt x="18594" y="3219"/>
                  <a:pt x="18594" y="3219"/>
                </a:cubicBezTo>
                <a:cubicBezTo>
                  <a:pt x="18594" y="3219"/>
                  <a:pt x="18594" y="3250"/>
                  <a:pt x="18594" y="3250"/>
                </a:cubicBezTo>
                <a:cubicBezTo>
                  <a:pt x="18562" y="3313"/>
                  <a:pt x="18500" y="3406"/>
                  <a:pt x="18531" y="3500"/>
                </a:cubicBezTo>
                <a:cubicBezTo>
                  <a:pt x="18562" y="3563"/>
                  <a:pt x="18531" y="3625"/>
                  <a:pt x="18500" y="3688"/>
                </a:cubicBezTo>
                <a:cubicBezTo>
                  <a:pt x="18469" y="3719"/>
                  <a:pt x="18406" y="3781"/>
                  <a:pt x="18375" y="3844"/>
                </a:cubicBezTo>
                <a:cubicBezTo>
                  <a:pt x="18219" y="3969"/>
                  <a:pt x="18219" y="4094"/>
                  <a:pt x="18312" y="4281"/>
                </a:cubicBezTo>
                <a:cubicBezTo>
                  <a:pt x="18344" y="4281"/>
                  <a:pt x="18375" y="4313"/>
                  <a:pt x="18375" y="4281"/>
                </a:cubicBezTo>
                <a:cubicBezTo>
                  <a:pt x="18406" y="4250"/>
                  <a:pt x="18406" y="4250"/>
                  <a:pt x="18437" y="4250"/>
                </a:cubicBezTo>
                <a:cubicBezTo>
                  <a:pt x="18437" y="4219"/>
                  <a:pt x="18469" y="4219"/>
                  <a:pt x="18469" y="4219"/>
                </a:cubicBezTo>
                <a:cubicBezTo>
                  <a:pt x="18531" y="4219"/>
                  <a:pt x="18594" y="4250"/>
                  <a:pt x="18625" y="4281"/>
                </a:cubicBezTo>
                <a:cubicBezTo>
                  <a:pt x="18719" y="4313"/>
                  <a:pt x="18781" y="4313"/>
                  <a:pt x="18812" y="4281"/>
                </a:cubicBezTo>
                <a:cubicBezTo>
                  <a:pt x="18844" y="4250"/>
                  <a:pt x="18844" y="4250"/>
                  <a:pt x="18844" y="4250"/>
                </a:cubicBezTo>
                <a:cubicBezTo>
                  <a:pt x="18875" y="4125"/>
                  <a:pt x="18906" y="4031"/>
                  <a:pt x="18875" y="3906"/>
                </a:cubicBezTo>
                <a:cubicBezTo>
                  <a:pt x="18875" y="3813"/>
                  <a:pt x="18844" y="3688"/>
                  <a:pt x="18844" y="3594"/>
                </a:cubicBezTo>
                <a:cubicBezTo>
                  <a:pt x="18844" y="3406"/>
                  <a:pt x="18844" y="3406"/>
                  <a:pt x="19000" y="3344"/>
                </a:cubicBezTo>
                <a:cubicBezTo>
                  <a:pt x="19062" y="3344"/>
                  <a:pt x="19125" y="3313"/>
                  <a:pt x="19125" y="3250"/>
                </a:cubicBezTo>
                <a:cubicBezTo>
                  <a:pt x="19125" y="3094"/>
                  <a:pt x="19156" y="2938"/>
                  <a:pt x="19187" y="2750"/>
                </a:cubicBezTo>
                <a:cubicBezTo>
                  <a:pt x="19219" y="2656"/>
                  <a:pt x="19250" y="2531"/>
                  <a:pt x="19219" y="2406"/>
                </a:cubicBezTo>
                <a:cubicBezTo>
                  <a:pt x="19187" y="2500"/>
                  <a:pt x="19187" y="2563"/>
                  <a:pt x="19125" y="2625"/>
                </a:cubicBezTo>
                <a:cubicBezTo>
                  <a:pt x="19094" y="2594"/>
                  <a:pt x="19125" y="2563"/>
                  <a:pt x="19125" y="2531"/>
                </a:cubicBezTo>
                <a:cubicBezTo>
                  <a:pt x="19125" y="2469"/>
                  <a:pt x="19125" y="2375"/>
                  <a:pt x="19094" y="2313"/>
                </a:cubicBezTo>
                <a:cubicBezTo>
                  <a:pt x="19062" y="2219"/>
                  <a:pt x="19031" y="2094"/>
                  <a:pt x="18906" y="2156"/>
                </a:cubicBezTo>
                <a:cubicBezTo>
                  <a:pt x="18844" y="2188"/>
                  <a:pt x="18812" y="2125"/>
                  <a:pt x="18812" y="2094"/>
                </a:cubicBezTo>
                <a:cubicBezTo>
                  <a:pt x="18781" y="2031"/>
                  <a:pt x="18781" y="2000"/>
                  <a:pt x="18781" y="1969"/>
                </a:cubicBezTo>
                <a:cubicBezTo>
                  <a:pt x="18781" y="1938"/>
                  <a:pt x="18781" y="1906"/>
                  <a:pt x="18812" y="1875"/>
                </a:cubicBezTo>
                <a:cubicBezTo>
                  <a:pt x="18844" y="1844"/>
                  <a:pt x="18875" y="1875"/>
                  <a:pt x="18906" y="1875"/>
                </a:cubicBezTo>
                <a:cubicBezTo>
                  <a:pt x="18906" y="1906"/>
                  <a:pt x="18906" y="1906"/>
                  <a:pt x="18937" y="1906"/>
                </a:cubicBezTo>
                <a:cubicBezTo>
                  <a:pt x="19000" y="1938"/>
                  <a:pt x="19062" y="1938"/>
                  <a:pt x="19156" y="1969"/>
                </a:cubicBezTo>
                <a:cubicBezTo>
                  <a:pt x="19156" y="1969"/>
                  <a:pt x="19156" y="2000"/>
                  <a:pt x="19187" y="2000"/>
                </a:cubicBezTo>
                <a:cubicBezTo>
                  <a:pt x="19187" y="2031"/>
                  <a:pt x="19187" y="2031"/>
                  <a:pt x="19187" y="2031"/>
                </a:cubicBezTo>
                <a:cubicBezTo>
                  <a:pt x="19187" y="2031"/>
                  <a:pt x="19187" y="2031"/>
                  <a:pt x="19187" y="2031"/>
                </a:cubicBezTo>
                <a:cubicBezTo>
                  <a:pt x="19187" y="2031"/>
                  <a:pt x="19187" y="2031"/>
                  <a:pt x="19187" y="2031"/>
                </a:cubicBezTo>
                <a:cubicBezTo>
                  <a:pt x="19219" y="2156"/>
                  <a:pt x="19312" y="2219"/>
                  <a:pt x="19437" y="2219"/>
                </a:cubicBezTo>
                <a:cubicBezTo>
                  <a:pt x="19531" y="2219"/>
                  <a:pt x="19562" y="2188"/>
                  <a:pt x="19562" y="2094"/>
                </a:cubicBezTo>
                <a:cubicBezTo>
                  <a:pt x="19594" y="2000"/>
                  <a:pt x="19594" y="1906"/>
                  <a:pt x="19594" y="1813"/>
                </a:cubicBezTo>
                <a:cubicBezTo>
                  <a:pt x="19562" y="1625"/>
                  <a:pt x="19594" y="1438"/>
                  <a:pt x="19469" y="1250"/>
                </a:cubicBezTo>
                <a:cubicBezTo>
                  <a:pt x="19469" y="1250"/>
                  <a:pt x="19469" y="1250"/>
                  <a:pt x="19469" y="1219"/>
                </a:cubicBezTo>
                <a:cubicBezTo>
                  <a:pt x="19469" y="1219"/>
                  <a:pt x="19469" y="1219"/>
                  <a:pt x="19469" y="1219"/>
                </a:cubicBezTo>
                <a:cubicBezTo>
                  <a:pt x="19437" y="1188"/>
                  <a:pt x="19437" y="1156"/>
                  <a:pt x="19406" y="1156"/>
                </a:cubicBezTo>
                <a:cubicBezTo>
                  <a:pt x="19406" y="1156"/>
                  <a:pt x="19406" y="1156"/>
                  <a:pt x="19406" y="1125"/>
                </a:cubicBezTo>
                <a:cubicBezTo>
                  <a:pt x="19406" y="1125"/>
                  <a:pt x="19406" y="1125"/>
                  <a:pt x="19406" y="1125"/>
                </a:cubicBezTo>
                <a:cubicBezTo>
                  <a:pt x="19375" y="1125"/>
                  <a:pt x="19344" y="1125"/>
                  <a:pt x="19344" y="1094"/>
                </a:cubicBezTo>
                <a:cubicBezTo>
                  <a:pt x="19312" y="1094"/>
                  <a:pt x="19281" y="1063"/>
                  <a:pt x="19281" y="1063"/>
                </a:cubicBezTo>
                <a:cubicBezTo>
                  <a:pt x="19219" y="1000"/>
                  <a:pt x="19125" y="938"/>
                  <a:pt x="19062" y="875"/>
                </a:cubicBezTo>
                <a:cubicBezTo>
                  <a:pt x="19031" y="844"/>
                  <a:pt x="19031" y="813"/>
                  <a:pt x="19000" y="781"/>
                </a:cubicBezTo>
                <a:cubicBezTo>
                  <a:pt x="18969" y="719"/>
                  <a:pt x="18906" y="688"/>
                  <a:pt x="18875" y="656"/>
                </a:cubicBezTo>
                <a:cubicBezTo>
                  <a:pt x="18812" y="625"/>
                  <a:pt x="18781" y="625"/>
                  <a:pt x="18781" y="719"/>
                </a:cubicBezTo>
                <a:cubicBezTo>
                  <a:pt x="18781" y="719"/>
                  <a:pt x="18781" y="719"/>
                  <a:pt x="18781" y="719"/>
                </a:cubicBezTo>
                <a:cubicBezTo>
                  <a:pt x="18750" y="719"/>
                  <a:pt x="18750" y="719"/>
                  <a:pt x="18719" y="719"/>
                </a:cubicBezTo>
                <a:cubicBezTo>
                  <a:pt x="18719" y="719"/>
                  <a:pt x="18719" y="719"/>
                  <a:pt x="18719" y="719"/>
                </a:cubicBezTo>
                <a:cubicBezTo>
                  <a:pt x="18687" y="688"/>
                  <a:pt x="18687" y="656"/>
                  <a:pt x="18656" y="656"/>
                </a:cubicBezTo>
                <a:cubicBezTo>
                  <a:pt x="18625" y="656"/>
                  <a:pt x="18625" y="656"/>
                  <a:pt x="18594" y="656"/>
                </a:cubicBezTo>
                <a:cubicBezTo>
                  <a:pt x="18562" y="656"/>
                  <a:pt x="18562" y="656"/>
                  <a:pt x="18531" y="656"/>
                </a:cubicBezTo>
                <a:cubicBezTo>
                  <a:pt x="18531" y="563"/>
                  <a:pt x="18500" y="500"/>
                  <a:pt x="18406" y="500"/>
                </a:cubicBezTo>
                <a:cubicBezTo>
                  <a:pt x="18406" y="469"/>
                  <a:pt x="18406" y="469"/>
                  <a:pt x="18406" y="469"/>
                </a:cubicBezTo>
                <a:cubicBezTo>
                  <a:pt x="18375" y="438"/>
                  <a:pt x="18375" y="438"/>
                  <a:pt x="18344" y="438"/>
                </a:cubicBezTo>
                <a:cubicBezTo>
                  <a:pt x="18344" y="438"/>
                  <a:pt x="18344" y="438"/>
                  <a:pt x="18344" y="438"/>
                </a:cubicBezTo>
                <a:cubicBezTo>
                  <a:pt x="18344" y="438"/>
                  <a:pt x="18344" y="438"/>
                  <a:pt x="18312" y="438"/>
                </a:cubicBezTo>
                <a:cubicBezTo>
                  <a:pt x="18312" y="438"/>
                  <a:pt x="18312" y="438"/>
                  <a:pt x="18312" y="438"/>
                </a:cubicBezTo>
                <a:cubicBezTo>
                  <a:pt x="18219" y="313"/>
                  <a:pt x="18094" y="281"/>
                  <a:pt x="17969" y="219"/>
                </a:cubicBezTo>
                <a:cubicBezTo>
                  <a:pt x="17937" y="188"/>
                  <a:pt x="17906" y="188"/>
                  <a:pt x="17875" y="188"/>
                </a:cubicBezTo>
                <a:cubicBezTo>
                  <a:pt x="17875" y="219"/>
                  <a:pt x="17844" y="250"/>
                  <a:pt x="17844" y="281"/>
                </a:cubicBezTo>
                <a:cubicBezTo>
                  <a:pt x="17844" y="313"/>
                  <a:pt x="17812" y="313"/>
                  <a:pt x="17812" y="313"/>
                </a:cubicBezTo>
                <a:cubicBezTo>
                  <a:pt x="17812" y="313"/>
                  <a:pt x="17781" y="313"/>
                  <a:pt x="17781" y="313"/>
                </a:cubicBezTo>
                <a:cubicBezTo>
                  <a:pt x="17719" y="313"/>
                  <a:pt x="17656" y="281"/>
                  <a:pt x="17625" y="219"/>
                </a:cubicBezTo>
                <a:cubicBezTo>
                  <a:pt x="17594" y="219"/>
                  <a:pt x="17562" y="188"/>
                  <a:pt x="17562" y="156"/>
                </a:cubicBezTo>
                <a:cubicBezTo>
                  <a:pt x="17594" y="125"/>
                  <a:pt x="17656" y="156"/>
                  <a:pt x="17719" y="125"/>
                </a:cubicBezTo>
                <a:cubicBezTo>
                  <a:pt x="17656" y="63"/>
                  <a:pt x="17562" y="94"/>
                  <a:pt x="17469" y="63"/>
                </a:cubicBezTo>
                <a:cubicBezTo>
                  <a:pt x="17344" y="0"/>
                  <a:pt x="17187" y="63"/>
                  <a:pt x="17062" y="94"/>
                </a:cubicBezTo>
                <a:cubicBezTo>
                  <a:pt x="17000" y="94"/>
                  <a:pt x="16969" y="125"/>
                  <a:pt x="16937" y="188"/>
                </a:cubicBezTo>
                <a:cubicBezTo>
                  <a:pt x="16844" y="219"/>
                  <a:pt x="16781" y="250"/>
                  <a:pt x="16687" y="281"/>
                </a:cubicBezTo>
                <a:cubicBezTo>
                  <a:pt x="16687" y="281"/>
                  <a:pt x="16719" y="313"/>
                  <a:pt x="16719" y="313"/>
                </a:cubicBezTo>
                <a:cubicBezTo>
                  <a:pt x="16781" y="281"/>
                  <a:pt x="16844" y="250"/>
                  <a:pt x="16937" y="250"/>
                </a:cubicBezTo>
                <a:cubicBezTo>
                  <a:pt x="16969" y="250"/>
                  <a:pt x="16969" y="281"/>
                  <a:pt x="16969" y="313"/>
                </a:cubicBezTo>
                <a:cubicBezTo>
                  <a:pt x="16969" y="313"/>
                  <a:pt x="16969" y="313"/>
                  <a:pt x="16969" y="344"/>
                </a:cubicBezTo>
                <a:cubicBezTo>
                  <a:pt x="16969" y="344"/>
                  <a:pt x="16937" y="375"/>
                  <a:pt x="16937" y="375"/>
                </a:cubicBezTo>
                <a:cubicBezTo>
                  <a:pt x="16937" y="406"/>
                  <a:pt x="16844" y="406"/>
                  <a:pt x="16812" y="375"/>
                </a:cubicBezTo>
                <a:cubicBezTo>
                  <a:pt x="16781" y="375"/>
                  <a:pt x="16781" y="344"/>
                  <a:pt x="16781" y="344"/>
                </a:cubicBezTo>
                <a:cubicBezTo>
                  <a:pt x="16750" y="375"/>
                  <a:pt x="16719" y="375"/>
                  <a:pt x="16719" y="375"/>
                </a:cubicBezTo>
                <a:cubicBezTo>
                  <a:pt x="16656" y="375"/>
                  <a:pt x="16625" y="406"/>
                  <a:pt x="16562" y="406"/>
                </a:cubicBezTo>
                <a:cubicBezTo>
                  <a:pt x="16500" y="438"/>
                  <a:pt x="16406" y="500"/>
                  <a:pt x="16344" y="563"/>
                </a:cubicBezTo>
                <a:cubicBezTo>
                  <a:pt x="16312" y="563"/>
                  <a:pt x="16312" y="594"/>
                  <a:pt x="16281" y="594"/>
                </a:cubicBezTo>
                <a:cubicBezTo>
                  <a:pt x="16281" y="594"/>
                  <a:pt x="16281" y="594"/>
                  <a:pt x="16250" y="594"/>
                </a:cubicBezTo>
                <a:cubicBezTo>
                  <a:pt x="16250" y="594"/>
                  <a:pt x="16250" y="625"/>
                  <a:pt x="16250" y="625"/>
                </a:cubicBezTo>
                <a:cubicBezTo>
                  <a:pt x="16250" y="625"/>
                  <a:pt x="16250" y="625"/>
                  <a:pt x="16250" y="625"/>
                </a:cubicBezTo>
                <a:cubicBezTo>
                  <a:pt x="16250" y="625"/>
                  <a:pt x="16250" y="625"/>
                  <a:pt x="16250" y="625"/>
                </a:cubicBezTo>
                <a:cubicBezTo>
                  <a:pt x="16219" y="656"/>
                  <a:pt x="16187" y="656"/>
                  <a:pt x="16187" y="656"/>
                </a:cubicBezTo>
                <a:cubicBezTo>
                  <a:pt x="16187" y="688"/>
                  <a:pt x="16156" y="688"/>
                  <a:pt x="16156" y="688"/>
                </a:cubicBezTo>
                <a:cubicBezTo>
                  <a:pt x="16062" y="844"/>
                  <a:pt x="15969" y="969"/>
                  <a:pt x="15875" y="1125"/>
                </a:cubicBezTo>
                <a:cubicBezTo>
                  <a:pt x="15875" y="1156"/>
                  <a:pt x="15844" y="1188"/>
                  <a:pt x="15844" y="1219"/>
                </a:cubicBezTo>
                <a:cubicBezTo>
                  <a:pt x="15844" y="1500"/>
                  <a:pt x="15687" y="1750"/>
                  <a:pt x="15687" y="2031"/>
                </a:cubicBezTo>
                <a:cubicBezTo>
                  <a:pt x="15687" y="2188"/>
                  <a:pt x="15687" y="2344"/>
                  <a:pt x="15656" y="2531"/>
                </a:cubicBezTo>
                <a:cubicBezTo>
                  <a:pt x="15656" y="2594"/>
                  <a:pt x="15594" y="2688"/>
                  <a:pt x="15625" y="2781"/>
                </a:cubicBezTo>
                <a:cubicBezTo>
                  <a:pt x="15656" y="2844"/>
                  <a:pt x="15625" y="2875"/>
                  <a:pt x="15594" y="2906"/>
                </a:cubicBezTo>
                <a:cubicBezTo>
                  <a:pt x="15469" y="3063"/>
                  <a:pt x="15344" y="3188"/>
                  <a:pt x="15250" y="3313"/>
                </a:cubicBezTo>
                <a:cubicBezTo>
                  <a:pt x="15187" y="3375"/>
                  <a:pt x="15031" y="3438"/>
                  <a:pt x="15156" y="3563"/>
                </a:cubicBezTo>
                <a:cubicBezTo>
                  <a:pt x="15187" y="3563"/>
                  <a:pt x="15156" y="3594"/>
                  <a:pt x="15156" y="3625"/>
                </a:cubicBezTo>
                <a:cubicBezTo>
                  <a:pt x="15156" y="3656"/>
                  <a:pt x="15156" y="3688"/>
                  <a:pt x="15187" y="3688"/>
                </a:cubicBezTo>
                <a:cubicBezTo>
                  <a:pt x="15250" y="3719"/>
                  <a:pt x="15219" y="3750"/>
                  <a:pt x="15187" y="3781"/>
                </a:cubicBezTo>
                <a:cubicBezTo>
                  <a:pt x="15156" y="3813"/>
                  <a:pt x="15125" y="3844"/>
                  <a:pt x="15062" y="3875"/>
                </a:cubicBezTo>
                <a:cubicBezTo>
                  <a:pt x="15062" y="3844"/>
                  <a:pt x="15031" y="3844"/>
                  <a:pt x="15000" y="3813"/>
                </a:cubicBezTo>
                <a:cubicBezTo>
                  <a:pt x="15000" y="3750"/>
                  <a:pt x="14937" y="3688"/>
                  <a:pt x="14906" y="3625"/>
                </a:cubicBezTo>
                <a:cubicBezTo>
                  <a:pt x="14812" y="3688"/>
                  <a:pt x="14781" y="3781"/>
                  <a:pt x="14656" y="3781"/>
                </a:cubicBezTo>
                <a:cubicBezTo>
                  <a:pt x="14562" y="3781"/>
                  <a:pt x="14500" y="3875"/>
                  <a:pt x="14406" y="3906"/>
                </a:cubicBezTo>
                <a:cubicBezTo>
                  <a:pt x="14375" y="3906"/>
                  <a:pt x="14344" y="3875"/>
                  <a:pt x="14344" y="3875"/>
                </a:cubicBezTo>
                <a:cubicBezTo>
                  <a:pt x="14281" y="3875"/>
                  <a:pt x="14219" y="3844"/>
                  <a:pt x="14156" y="3906"/>
                </a:cubicBezTo>
                <a:cubicBezTo>
                  <a:pt x="14000" y="3938"/>
                  <a:pt x="13844" y="4000"/>
                  <a:pt x="13656" y="4031"/>
                </a:cubicBezTo>
                <a:cubicBezTo>
                  <a:pt x="13594" y="4031"/>
                  <a:pt x="13531" y="4031"/>
                  <a:pt x="13437" y="4031"/>
                </a:cubicBezTo>
                <a:cubicBezTo>
                  <a:pt x="13500" y="4125"/>
                  <a:pt x="13562" y="4094"/>
                  <a:pt x="13594" y="4125"/>
                </a:cubicBezTo>
                <a:cubicBezTo>
                  <a:pt x="13594" y="4125"/>
                  <a:pt x="13594" y="4125"/>
                  <a:pt x="13625" y="4125"/>
                </a:cubicBezTo>
                <a:cubicBezTo>
                  <a:pt x="13625" y="4125"/>
                  <a:pt x="13625" y="4125"/>
                  <a:pt x="13625" y="4125"/>
                </a:cubicBezTo>
                <a:cubicBezTo>
                  <a:pt x="13625" y="4125"/>
                  <a:pt x="13625" y="4125"/>
                  <a:pt x="13625" y="4125"/>
                </a:cubicBezTo>
                <a:cubicBezTo>
                  <a:pt x="13656" y="4125"/>
                  <a:pt x="13687" y="4125"/>
                  <a:pt x="13719" y="4156"/>
                </a:cubicBezTo>
                <a:cubicBezTo>
                  <a:pt x="13719" y="4156"/>
                  <a:pt x="13750" y="4156"/>
                  <a:pt x="13750" y="4156"/>
                </a:cubicBezTo>
                <a:cubicBezTo>
                  <a:pt x="13750" y="4156"/>
                  <a:pt x="13750" y="4156"/>
                  <a:pt x="13750" y="4156"/>
                </a:cubicBezTo>
                <a:cubicBezTo>
                  <a:pt x="13750" y="4156"/>
                  <a:pt x="13750" y="4156"/>
                  <a:pt x="13781" y="4156"/>
                </a:cubicBezTo>
                <a:cubicBezTo>
                  <a:pt x="13781" y="4156"/>
                  <a:pt x="13812" y="4156"/>
                  <a:pt x="13812" y="4188"/>
                </a:cubicBezTo>
                <a:cubicBezTo>
                  <a:pt x="13812" y="4188"/>
                  <a:pt x="13812" y="4188"/>
                  <a:pt x="13781" y="4188"/>
                </a:cubicBezTo>
                <a:cubicBezTo>
                  <a:pt x="13781" y="4219"/>
                  <a:pt x="13750" y="4188"/>
                  <a:pt x="13750" y="4250"/>
                </a:cubicBezTo>
                <a:cubicBezTo>
                  <a:pt x="13750" y="4250"/>
                  <a:pt x="13750" y="4250"/>
                  <a:pt x="13750" y="4250"/>
                </a:cubicBezTo>
                <a:cubicBezTo>
                  <a:pt x="13750" y="4250"/>
                  <a:pt x="13750" y="4250"/>
                  <a:pt x="13750" y="4250"/>
                </a:cubicBezTo>
                <a:cubicBezTo>
                  <a:pt x="13781" y="4250"/>
                  <a:pt x="13781" y="4250"/>
                  <a:pt x="13812" y="4250"/>
                </a:cubicBezTo>
                <a:cubicBezTo>
                  <a:pt x="13781" y="4281"/>
                  <a:pt x="13750" y="4281"/>
                  <a:pt x="13719" y="4281"/>
                </a:cubicBezTo>
                <a:cubicBezTo>
                  <a:pt x="13687" y="4281"/>
                  <a:pt x="13687" y="4219"/>
                  <a:pt x="13656" y="4219"/>
                </a:cubicBezTo>
                <a:cubicBezTo>
                  <a:pt x="13656" y="4219"/>
                  <a:pt x="13656" y="4219"/>
                  <a:pt x="13656" y="4219"/>
                </a:cubicBezTo>
                <a:cubicBezTo>
                  <a:pt x="13562" y="4219"/>
                  <a:pt x="13469" y="4156"/>
                  <a:pt x="13406" y="4125"/>
                </a:cubicBezTo>
                <a:cubicBezTo>
                  <a:pt x="13406" y="4125"/>
                  <a:pt x="13406" y="4125"/>
                  <a:pt x="13406" y="4125"/>
                </a:cubicBezTo>
                <a:cubicBezTo>
                  <a:pt x="13406" y="4094"/>
                  <a:pt x="13406" y="4094"/>
                  <a:pt x="13375" y="4094"/>
                </a:cubicBezTo>
                <a:cubicBezTo>
                  <a:pt x="13375" y="4094"/>
                  <a:pt x="13375" y="4094"/>
                  <a:pt x="13344" y="4094"/>
                </a:cubicBezTo>
                <a:cubicBezTo>
                  <a:pt x="13312" y="4094"/>
                  <a:pt x="13312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125" y="4125"/>
                  <a:pt x="12969" y="4125"/>
                  <a:pt x="12812" y="4188"/>
                </a:cubicBezTo>
                <a:cubicBezTo>
                  <a:pt x="12781" y="4188"/>
                  <a:pt x="12750" y="4219"/>
                  <a:pt x="12719" y="4250"/>
                </a:cubicBezTo>
                <a:cubicBezTo>
                  <a:pt x="12875" y="4188"/>
                  <a:pt x="12969" y="4281"/>
                  <a:pt x="13062" y="4344"/>
                </a:cubicBezTo>
                <a:cubicBezTo>
                  <a:pt x="13094" y="4344"/>
                  <a:pt x="13125" y="4375"/>
                  <a:pt x="13156" y="4375"/>
                </a:cubicBezTo>
                <a:cubicBezTo>
                  <a:pt x="13219" y="4406"/>
                  <a:pt x="13312" y="4438"/>
                  <a:pt x="13375" y="4500"/>
                </a:cubicBezTo>
                <a:cubicBezTo>
                  <a:pt x="13406" y="4531"/>
                  <a:pt x="13406" y="4563"/>
                  <a:pt x="13437" y="4594"/>
                </a:cubicBezTo>
                <a:cubicBezTo>
                  <a:pt x="13437" y="4594"/>
                  <a:pt x="13437" y="4594"/>
                  <a:pt x="13437" y="4594"/>
                </a:cubicBezTo>
                <a:cubicBezTo>
                  <a:pt x="13406" y="4563"/>
                  <a:pt x="13375" y="4594"/>
                  <a:pt x="13375" y="4563"/>
                </a:cubicBezTo>
                <a:cubicBezTo>
                  <a:pt x="13344" y="4563"/>
                  <a:pt x="13344" y="4563"/>
                  <a:pt x="13344" y="4563"/>
                </a:cubicBezTo>
                <a:cubicBezTo>
                  <a:pt x="13281" y="4500"/>
                  <a:pt x="13187" y="4438"/>
                  <a:pt x="13094" y="4406"/>
                </a:cubicBezTo>
                <a:cubicBezTo>
                  <a:pt x="13000" y="4344"/>
                  <a:pt x="12906" y="4313"/>
                  <a:pt x="12781" y="4313"/>
                </a:cubicBezTo>
                <a:cubicBezTo>
                  <a:pt x="12750" y="4313"/>
                  <a:pt x="12719" y="4313"/>
                  <a:pt x="12687" y="4313"/>
                </a:cubicBezTo>
                <a:cubicBezTo>
                  <a:pt x="12625" y="4313"/>
                  <a:pt x="12531" y="4313"/>
                  <a:pt x="12469" y="4344"/>
                </a:cubicBezTo>
                <a:cubicBezTo>
                  <a:pt x="12437" y="4375"/>
                  <a:pt x="12437" y="4375"/>
                  <a:pt x="12406" y="4375"/>
                </a:cubicBezTo>
                <a:cubicBezTo>
                  <a:pt x="12375" y="4406"/>
                  <a:pt x="12344" y="4406"/>
                  <a:pt x="12312" y="4438"/>
                </a:cubicBezTo>
                <a:cubicBezTo>
                  <a:pt x="12312" y="4438"/>
                  <a:pt x="12281" y="4438"/>
                  <a:pt x="12281" y="4438"/>
                </a:cubicBezTo>
                <a:cubicBezTo>
                  <a:pt x="12250" y="4469"/>
                  <a:pt x="12219" y="4469"/>
                  <a:pt x="12219" y="4531"/>
                </a:cubicBezTo>
                <a:cubicBezTo>
                  <a:pt x="12250" y="4531"/>
                  <a:pt x="12250" y="4531"/>
                  <a:pt x="12250" y="4531"/>
                </a:cubicBezTo>
                <a:cubicBezTo>
                  <a:pt x="12250" y="4531"/>
                  <a:pt x="12281" y="4531"/>
                  <a:pt x="12281" y="4531"/>
                </a:cubicBezTo>
                <a:cubicBezTo>
                  <a:pt x="12312" y="4531"/>
                  <a:pt x="12344" y="4563"/>
                  <a:pt x="12375" y="4563"/>
                </a:cubicBezTo>
                <a:cubicBezTo>
                  <a:pt x="12437" y="4594"/>
                  <a:pt x="12500" y="4625"/>
                  <a:pt x="12562" y="4656"/>
                </a:cubicBezTo>
                <a:cubicBezTo>
                  <a:pt x="12531" y="4656"/>
                  <a:pt x="12531" y="4656"/>
                  <a:pt x="12531" y="4656"/>
                </a:cubicBezTo>
                <a:cubicBezTo>
                  <a:pt x="12531" y="4688"/>
                  <a:pt x="12531" y="4688"/>
                  <a:pt x="12531" y="4719"/>
                </a:cubicBezTo>
                <a:cubicBezTo>
                  <a:pt x="12531" y="4719"/>
                  <a:pt x="12500" y="4688"/>
                  <a:pt x="12500" y="4688"/>
                </a:cubicBezTo>
                <a:cubicBezTo>
                  <a:pt x="12500" y="4688"/>
                  <a:pt x="12500" y="4688"/>
                  <a:pt x="12500" y="4688"/>
                </a:cubicBezTo>
                <a:cubicBezTo>
                  <a:pt x="12469" y="4688"/>
                  <a:pt x="12469" y="4688"/>
                  <a:pt x="12469" y="4688"/>
                </a:cubicBezTo>
                <a:cubicBezTo>
                  <a:pt x="12469" y="4688"/>
                  <a:pt x="12469" y="4688"/>
                  <a:pt x="12469" y="4688"/>
                </a:cubicBezTo>
                <a:cubicBezTo>
                  <a:pt x="12406" y="4688"/>
                  <a:pt x="12375" y="4656"/>
                  <a:pt x="12344" y="4656"/>
                </a:cubicBezTo>
                <a:cubicBezTo>
                  <a:pt x="12344" y="4563"/>
                  <a:pt x="12281" y="4563"/>
                  <a:pt x="12219" y="4594"/>
                </a:cubicBezTo>
                <a:cubicBezTo>
                  <a:pt x="12125" y="4594"/>
                  <a:pt x="12000" y="4625"/>
                  <a:pt x="11906" y="4656"/>
                </a:cubicBezTo>
                <a:cubicBezTo>
                  <a:pt x="11906" y="4688"/>
                  <a:pt x="11875" y="4688"/>
                  <a:pt x="11875" y="4688"/>
                </a:cubicBezTo>
                <a:cubicBezTo>
                  <a:pt x="11844" y="4719"/>
                  <a:pt x="11812" y="4750"/>
                  <a:pt x="11781" y="4750"/>
                </a:cubicBezTo>
                <a:cubicBezTo>
                  <a:pt x="11781" y="4750"/>
                  <a:pt x="11750" y="4750"/>
                  <a:pt x="11750" y="4750"/>
                </a:cubicBezTo>
                <a:cubicBezTo>
                  <a:pt x="11687" y="4813"/>
                  <a:pt x="11594" y="4844"/>
                  <a:pt x="11531" y="4875"/>
                </a:cubicBezTo>
                <a:cubicBezTo>
                  <a:pt x="11500" y="4906"/>
                  <a:pt x="11437" y="4906"/>
                  <a:pt x="11437" y="4938"/>
                </a:cubicBezTo>
                <a:cubicBezTo>
                  <a:pt x="11437" y="4969"/>
                  <a:pt x="11437" y="4969"/>
                  <a:pt x="11469" y="4969"/>
                </a:cubicBezTo>
                <a:cubicBezTo>
                  <a:pt x="11469" y="5000"/>
                  <a:pt x="11500" y="5000"/>
                  <a:pt x="11531" y="5000"/>
                </a:cubicBezTo>
                <a:cubicBezTo>
                  <a:pt x="11625" y="5094"/>
                  <a:pt x="11750" y="5188"/>
                  <a:pt x="11875" y="5250"/>
                </a:cubicBezTo>
                <a:cubicBezTo>
                  <a:pt x="11906" y="5281"/>
                  <a:pt x="11937" y="5313"/>
                  <a:pt x="11969" y="5344"/>
                </a:cubicBezTo>
                <a:cubicBezTo>
                  <a:pt x="11969" y="5344"/>
                  <a:pt x="11969" y="5344"/>
                  <a:pt x="11937" y="5344"/>
                </a:cubicBezTo>
                <a:cubicBezTo>
                  <a:pt x="11844" y="5313"/>
                  <a:pt x="11750" y="5250"/>
                  <a:pt x="11656" y="5219"/>
                </a:cubicBezTo>
                <a:cubicBezTo>
                  <a:pt x="11656" y="5188"/>
                  <a:pt x="11625" y="5188"/>
                  <a:pt x="11625" y="5156"/>
                </a:cubicBezTo>
                <a:cubicBezTo>
                  <a:pt x="11625" y="5156"/>
                  <a:pt x="11594" y="5156"/>
                  <a:pt x="11594" y="5125"/>
                </a:cubicBezTo>
                <a:cubicBezTo>
                  <a:pt x="11469" y="5000"/>
                  <a:pt x="11375" y="4969"/>
                  <a:pt x="11219" y="5000"/>
                </a:cubicBezTo>
                <a:cubicBezTo>
                  <a:pt x="11125" y="5000"/>
                  <a:pt x="11094" y="5063"/>
                  <a:pt x="11000" y="5094"/>
                </a:cubicBezTo>
                <a:cubicBezTo>
                  <a:pt x="10969" y="5125"/>
                  <a:pt x="10906" y="5125"/>
                  <a:pt x="10875" y="5188"/>
                </a:cubicBezTo>
                <a:cubicBezTo>
                  <a:pt x="10844" y="5188"/>
                  <a:pt x="10812" y="5188"/>
                  <a:pt x="10781" y="5188"/>
                </a:cubicBezTo>
                <a:cubicBezTo>
                  <a:pt x="10781" y="5188"/>
                  <a:pt x="10750" y="5188"/>
                  <a:pt x="10750" y="5219"/>
                </a:cubicBezTo>
                <a:cubicBezTo>
                  <a:pt x="10750" y="5219"/>
                  <a:pt x="10750" y="5219"/>
                  <a:pt x="10750" y="5219"/>
                </a:cubicBezTo>
                <a:cubicBezTo>
                  <a:pt x="10719" y="5219"/>
                  <a:pt x="10656" y="5281"/>
                  <a:pt x="10625" y="5281"/>
                </a:cubicBezTo>
                <a:cubicBezTo>
                  <a:pt x="10594" y="5313"/>
                  <a:pt x="10594" y="5313"/>
                  <a:pt x="10625" y="5344"/>
                </a:cubicBezTo>
                <a:cubicBezTo>
                  <a:pt x="10625" y="5344"/>
                  <a:pt x="10625" y="5344"/>
                  <a:pt x="10625" y="5344"/>
                </a:cubicBezTo>
                <a:cubicBezTo>
                  <a:pt x="10656" y="5375"/>
                  <a:pt x="10687" y="5406"/>
                  <a:pt x="10719" y="5469"/>
                </a:cubicBezTo>
                <a:cubicBezTo>
                  <a:pt x="10687" y="5469"/>
                  <a:pt x="10656" y="5531"/>
                  <a:pt x="10625" y="5531"/>
                </a:cubicBezTo>
                <a:cubicBezTo>
                  <a:pt x="10469" y="5500"/>
                  <a:pt x="10375" y="5594"/>
                  <a:pt x="10250" y="5656"/>
                </a:cubicBezTo>
                <a:cubicBezTo>
                  <a:pt x="10219" y="5656"/>
                  <a:pt x="10156" y="5688"/>
                  <a:pt x="10125" y="5750"/>
                </a:cubicBezTo>
                <a:cubicBezTo>
                  <a:pt x="10062" y="5875"/>
                  <a:pt x="10000" y="5906"/>
                  <a:pt x="9844" y="5844"/>
                </a:cubicBezTo>
                <a:cubicBezTo>
                  <a:pt x="9906" y="5750"/>
                  <a:pt x="10062" y="5813"/>
                  <a:pt x="10094" y="5688"/>
                </a:cubicBezTo>
                <a:cubicBezTo>
                  <a:pt x="10062" y="5688"/>
                  <a:pt x="10062" y="5656"/>
                  <a:pt x="10062" y="5688"/>
                </a:cubicBezTo>
                <a:cubicBezTo>
                  <a:pt x="9812" y="5813"/>
                  <a:pt x="9562" y="5906"/>
                  <a:pt x="9281" y="6031"/>
                </a:cubicBezTo>
                <a:cubicBezTo>
                  <a:pt x="9281" y="6063"/>
                  <a:pt x="9250" y="6063"/>
                  <a:pt x="9250" y="6094"/>
                </a:cubicBezTo>
                <a:cubicBezTo>
                  <a:pt x="9281" y="6156"/>
                  <a:pt x="9219" y="6156"/>
                  <a:pt x="9187" y="6188"/>
                </a:cubicBezTo>
                <a:cubicBezTo>
                  <a:pt x="9125" y="6219"/>
                  <a:pt x="9062" y="6250"/>
                  <a:pt x="9000" y="6313"/>
                </a:cubicBezTo>
                <a:cubicBezTo>
                  <a:pt x="8937" y="6406"/>
                  <a:pt x="8781" y="6438"/>
                  <a:pt x="8656" y="6406"/>
                </a:cubicBezTo>
                <a:cubicBezTo>
                  <a:pt x="8750" y="6344"/>
                  <a:pt x="8906" y="6344"/>
                  <a:pt x="8969" y="6219"/>
                </a:cubicBezTo>
                <a:cubicBezTo>
                  <a:pt x="8875" y="6188"/>
                  <a:pt x="8812" y="6250"/>
                  <a:pt x="8750" y="6281"/>
                </a:cubicBezTo>
                <a:cubicBezTo>
                  <a:pt x="8656" y="6281"/>
                  <a:pt x="8531" y="6344"/>
                  <a:pt x="8500" y="6438"/>
                </a:cubicBezTo>
                <a:cubicBezTo>
                  <a:pt x="8375" y="6625"/>
                  <a:pt x="8187" y="6781"/>
                  <a:pt x="8000" y="6906"/>
                </a:cubicBezTo>
                <a:cubicBezTo>
                  <a:pt x="7531" y="7219"/>
                  <a:pt x="7125" y="7594"/>
                  <a:pt x="6719" y="8000"/>
                </a:cubicBezTo>
                <a:cubicBezTo>
                  <a:pt x="6250" y="8438"/>
                  <a:pt x="5844" y="8906"/>
                  <a:pt x="5437" y="9406"/>
                </a:cubicBezTo>
                <a:cubicBezTo>
                  <a:pt x="5344" y="9531"/>
                  <a:pt x="5281" y="9625"/>
                  <a:pt x="5094" y="9688"/>
                </a:cubicBezTo>
                <a:cubicBezTo>
                  <a:pt x="4781" y="9813"/>
                  <a:pt x="4500" y="10031"/>
                  <a:pt x="4281" y="10344"/>
                </a:cubicBezTo>
                <a:cubicBezTo>
                  <a:pt x="4125" y="10531"/>
                  <a:pt x="4000" y="10719"/>
                  <a:pt x="3812" y="10875"/>
                </a:cubicBezTo>
                <a:cubicBezTo>
                  <a:pt x="3781" y="10906"/>
                  <a:pt x="3750" y="10938"/>
                  <a:pt x="3719" y="10969"/>
                </a:cubicBezTo>
                <a:cubicBezTo>
                  <a:pt x="3687" y="10969"/>
                  <a:pt x="3687" y="10969"/>
                  <a:pt x="3687" y="11000"/>
                </a:cubicBezTo>
                <a:cubicBezTo>
                  <a:pt x="3625" y="11031"/>
                  <a:pt x="3594" y="11094"/>
                  <a:pt x="3562" y="11125"/>
                </a:cubicBezTo>
                <a:cubicBezTo>
                  <a:pt x="3562" y="11125"/>
                  <a:pt x="3562" y="11125"/>
                  <a:pt x="3562" y="11125"/>
                </a:cubicBezTo>
                <a:cubicBezTo>
                  <a:pt x="3562" y="11125"/>
                  <a:pt x="3562" y="11125"/>
                  <a:pt x="3562" y="11125"/>
                </a:cubicBezTo>
                <a:cubicBezTo>
                  <a:pt x="3531" y="11156"/>
                  <a:pt x="3500" y="11188"/>
                  <a:pt x="3469" y="11219"/>
                </a:cubicBezTo>
                <a:cubicBezTo>
                  <a:pt x="3469" y="11219"/>
                  <a:pt x="3469" y="11219"/>
                  <a:pt x="3469" y="11250"/>
                </a:cubicBezTo>
                <a:cubicBezTo>
                  <a:pt x="3469" y="11250"/>
                  <a:pt x="3469" y="11250"/>
                  <a:pt x="3469" y="11250"/>
                </a:cubicBezTo>
                <a:cubicBezTo>
                  <a:pt x="3469" y="11250"/>
                  <a:pt x="3469" y="11250"/>
                  <a:pt x="3469" y="11250"/>
                </a:cubicBezTo>
                <a:cubicBezTo>
                  <a:pt x="3469" y="11250"/>
                  <a:pt x="3469" y="11250"/>
                  <a:pt x="3437" y="11281"/>
                </a:cubicBezTo>
                <a:cubicBezTo>
                  <a:pt x="3437" y="11281"/>
                  <a:pt x="3437" y="11281"/>
                  <a:pt x="3437" y="11281"/>
                </a:cubicBezTo>
                <a:cubicBezTo>
                  <a:pt x="3437" y="11281"/>
                  <a:pt x="3437" y="11281"/>
                  <a:pt x="3406" y="11313"/>
                </a:cubicBezTo>
                <a:cubicBezTo>
                  <a:pt x="3406" y="11313"/>
                  <a:pt x="3406" y="11313"/>
                  <a:pt x="3406" y="11344"/>
                </a:cubicBezTo>
                <a:cubicBezTo>
                  <a:pt x="3406" y="11344"/>
                  <a:pt x="3406" y="11344"/>
                  <a:pt x="3406" y="11344"/>
                </a:cubicBezTo>
                <a:cubicBezTo>
                  <a:pt x="3406" y="11344"/>
                  <a:pt x="3406" y="11344"/>
                  <a:pt x="3406" y="11344"/>
                </a:cubicBezTo>
                <a:cubicBezTo>
                  <a:pt x="3344" y="11406"/>
                  <a:pt x="3312" y="11469"/>
                  <a:pt x="3375" y="11531"/>
                </a:cubicBezTo>
                <a:cubicBezTo>
                  <a:pt x="3437" y="11594"/>
                  <a:pt x="3500" y="11563"/>
                  <a:pt x="3562" y="11531"/>
                </a:cubicBezTo>
                <a:cubicBezTo>
                  <a:pt x="3687" y="11344"/>
                  <a:pt x="3844" y="11219"/>
                  <a:pt x="4000" y="11094"/>
                </a:cubicBezTo>
                <a:cubicBezTo>
                  <a:pt x="4062" y="11063"/>
                  <a:pt x="4125" y="10969"/>
                  <a:pt x="4187" y="11000"/>
                </a:cubicBezTo>
                <a:cubicBezTo>
                  <a:pt x="4250" y="11031"/>
                  <a:pt x="4219" y="11125"/>
                  <a:pt x="4219" y="11188"/>
                </a:cubicBezTo>
                <a:cubicBezTo>
                  <a:pt x="4219" y="11188"/>
                  <a:pt x="4219" y="11188"/>
                  <a:pt x="4219" y="11188"/>
                </a:cubicBezTo>
                <a:cubicBezTo>
                  <a:pt x="4125" y="11250"/>
                  <a:pt x="4094" y="11344"/>
                  <a:pt x="4031" y="11406"/>
                </a:cubicBezTo>
                <a:cubicBezTo>
                  <a:pt x="3781" y="11656"/>
                  <a:pt x="3625" y="11938"/>
                  <a:pt x="3500" y="12250"/>
                </a:cubicBezTo>
                <a:cubicBezTo>
                  <a:pt x="3469" y="12313"/>
                  <a:pt x="3500" y="12375"/>
                  <a:pt x="3562" y="12406"/>
                </a:cubicBezTo>
                <a:cubicBezTo>
                  <a:pt x="3625" y="12438"/>
                  <a:pt x="3687" y="12438"/>
                  <a:pt x="3719" y="12375"/>
                </a:cubicBezTo>
                <a:cubicBezTo>
                  <a:pt x="3781" y="12281"/>
                  <a:pt x="3812" y="12188"/>
                  <a:pt x="3875" y="12094"/>
                </a:cubicBezTo>
                <a:cubicBezTo>
                  <a:pt x="3937" y="12000"/>
                  <a:pt x="3969" y="11906"/>
                  <a:pt x="4125" y="11844"/>
                </a:cubicBezTo>
                <a:cubicBezTo>
                  <a:pt x="4094" y="11906"/>
                  <a:pt x="4062" y="11969"/>
                  <a:pt x="4031" y="12031"/>
                </a:cubicBezTo>
                <a:cubicBezTo>
                  <a:pt x="3937" y="12188"/>
                  <a:pt x="3844" y="12375"/>
                  <a:pt x="3719" y="12531"/>
                </a:cubicBezTo>
                <a:cubicBezTo>
                  <a:pt x="3687" y="12594"/>
                  <a:pt x="3687" y="12688"/>
                  <a:pt x="3750" y="12719"/>
                </a:cubicBezTo>
                <a:cubicBezTo>
                  <a:pt x="3812" y="12781"/>
                  <a:pt x="3875" y="12750"/>
                  <a:pt x="3937" y="12688"/>
                </a:cubicBezTo>
                <a:cubicBezTo>
                  <a:pt x="4000" y="12656"/>
                  <a:pt x="4000" y="12594"/>
                  <a:pt x="4062" y="12594"/>
                </a:cubicBezTo>
                <a:cubicBezTo>
                  <a:pt x="4094" y="12781"/>
                  <a:pt x="4187" y="12813"/>
                  <a:pt x="4344" y="12656"/>
                </a:cubicBezTo>
                <a:cubicBezTo>
                  <a:pt x="4500" y="12531"/>
                  <a:pt x="4625" y="12375"/>
                  <a:pt x="4750" y="12219"/>
                </a:cubicBezTo>
                <a:cubicBezTo>
                  <a:pt x="4781" y="12188"/>
                  <a:pt x="4812" y="12188"/>
                  <a:pt x="4812" y="12125"/>
                </a:cubicBezTo>
                <a:cubicBezTo>
                  <a:pt x="4844" y="12000"/>
                  <a:pt x="4937" y="11875"/>
                  <a:pt x="5000" y="11781"/>
                </a:cubicBezTo>
                <a:cubicBezTo>
                  <a:pt x="5031" y="11750"/>
                  <a:pt x="5031" y="11719"/>
                  <a:pt x="5031" y="11688"/>
                </a:cubicBezTo>
                <a:cubicBezTo>
                  <a:pt x="5031" y="11656"/>
                  <a:pt x="5062" y="11625"/>
                  <a:pt x="5062" y="11625"/>
                </a:cubicBezTo>
                <a:cubicBezTo>
                  <a:pt x="5156" y="11594"/>
                  <a:pt x="5219" y="11563"/>
                  <a:pt x="5250" y="11500"/>
                </a:cubicBezTo>
                <a:cubicBezTo>
                  <a:pt x="5281" y="11500"/>
                  <a:pt x="5281" y="11469"/>
                  <a:pt x="5281" y="11469"/>
                </a:cubicBezTo>
                <a:cubicBezTo>
                  <a:pt x="5312" y="11438"/>
                  <a:pt x="5344" y="11438"/>
                  <a:pt x="5344" y="11406"/>
                </a:cubicBezTo>
                <a:cubicBezTo>
                  <a:pt x="5437" y="11313"/>
                  <a:pt x="5531" y="11188"/>
                  <a:pt x="5656" y="11063"/>
                </a:cubicBezTo>
                <a:cubicBezTo>
                  <a:pt x="5656" y="11156"/>
                  <a:pt x="5687" y="11125"/>
                  <a:pt x="5750" y="11125"/>
                </a:cubicBezTo>
                <a:cubicBezTo>
                  <a:pt x="5781" y="11094"/>
                  <a:pt x="5812" y="11094"/>
                  <a:pt x="5844" y="11125"/>
                </a:cubicBezTo>
                <a:cubicBezTo>
                  <a:pt x="5844" y="11125"/>
                  <a:pt x="5844" y="11125"/>
                  <a:pt x="5844" y="11125"/>
                </a:cubicBezTo>
                <a:cubicBezTo>
                  <a:pt x="5750" y="11188"/>
                  <a:pt x="5719" y="11250"/>
                  <a:pt x="5656" y="11313"/>
                </a:cubicBezTo>
                <a:cubicBezTo>
                  <a:pt x="5625" y="11375"/>
                  <a:pt x="5594" y="11406"/>
                  <a:pt x="5594" y="11500"/>
                </a:cubicBezTo>
                <a:cubicBezTo>
                  <a:pt x="5594" y="11719"/>
                  <a:pt x="5656" y="11938"/>
                  <a:pt x="5844" y="12000"/>
                </a:cubicBezTo>
                <a:cubicBezTo>
                  <a:pt x="5906" y="12031"/>
                  <a:pt x="5969" y="12063"/>
                  <a:pt x="6031" y="12000"/>
                </a:cubicBezTo>
                <a:cubicBezTo>
                  <a:pt x="6062" y="12000"/>
                  <a:pt x="6062" y="11969"/>
                  <a:pt x="6062" y="11969"/>
                </a:cubicBezTo>
                <a:cubicBezTo>
                  <a:pt x="6062" y="11969"/>
                  <a:pt x="6031" y="11938"/>
                  <a:pt x="6031" y="11938"/>
                </a:cubicBezTo>
                <a:cubicBezTo>
                  <a:pt x="6031" y="11938"/>
                  <a:pt x="6031" y="11938"/>
                  <a:pt x="6031" y="11938"/>
                </a:cubicBezTo>
                <a:cubicBezTo>
                  <a:pt x="6031" y="11938"/>
                  <a:pt x="6031" y="11938"/>
                  <a:pt x="6031" y="11938"/>
                </a:cubicBezTo>
                <a:cubicBezTo>
                  <a:pt x="6031" y="11938"/>
                  <a:pt x="6031" y="11906"/>
                  <a:pt x="6031" y="11906"/>
                </a:cubicBezTo>
                <a:cubicBezTo>
                  <a:pt x="6000" y="11875"/>
                  <a:pt x="6000" y="11844"/>
                  <a:pt x="5969" y="11844"/>
                </a:cubicBezTo>
                <a:cubicBezTo>
                  <a:pt x="5969" y="11813"/>
                  <a:pt x="5969" y="11813"/>
                  <a:pt x="5969" y="11781"/>
                </a:cubicBezTo>
                <a:cubicBezTo>
                  <a:pt x="5969" y="11563"/>
                  <a:pt x="5937" y="11344"/>
                  <a:pt x="6062" y="11125"/>
                </a:cubicBezTo>
                <a:cubicBezTo>
                  <a:pt x="6062" y="11063"/>
                  <a:pt x="6125" y="11000"/>
                  <a:pt x="6094" y="10938"/>
                </a:cubicBezTo>
                <a:cubicBezTo>
                  <a:pt x="6094" y="10938"/>
                  <a:pt x="6062" y="10938"/>
                  <a:pt x="6062" y="10969"/>
                </a:cubicBezTo>
                <a:cubicBezTo>
                  <a:pt x="6062" y="11000"/>
                  <a:pt x="6031" y="11000"/>
                  <a:pt x="6000" y="10969"/>
                </a:cubicBezTo>
                <a:cubicBezTo>
                  <a:pt x="6000" y="10969"/>
                  <a:pt x="6000" y="10969"/>
                  <a:pt x="6000" y="10969"/>
                </a:cubicBezTo>
                <a:cubicBezTo>
                  <a:pt x="6000" y="10969"/>
                  <a:pt x="6000" y="10969"/>
                  <a:pt x="6000" y="10969"/>
                </a:cubicBezTo>
                <a:cubicBezTo>
                  <a:pt x="6000" y="10906"/>
                  <a:pt x="5969" y="10844"/>
                  <a:pt x="5969" y="10813"/>
                </a:cubicBezTo>
                <a:cubicBezTo>
                  <a:pt x="5969" y="10781"/>
                  <a:pt x="5969" y="10781"/>
                  <a:pt x="5969" y="10781"/>
                </a:cubicBezTo>
                <a:cubicBezTo>
                  <a:pt x="5969" y="10781"/>
                  <a:pt x="5969" y="10750"/>
                  <a:pt x="5969" y="10750"/>
                </a:cubicBezTo>
                <a:cubicBezTo>
                  <a:pt x="5969" y="10750"/>
                  <a:pt x="5969" y="10750"/>
                  <a:pt x="5969" y="10750"/>
                </a:cubicBezTo>
                <a:cubicBezTo>
                  <a:pt x="5969" y="10750"/>
                  <a:pt x="5969" y="10750"/>
                  <a:pt x="5969" y="10719"/>
                </a:cubicBezTo>
                <a:cubicBezTo>
                  <a:pt x="5969" y="10719"/>
                  <a:pt x="5969" y="10719"/>
                  <a:pt x="5969" y="10719"/>
                </a:cubicBezTo>
                <a:cubicBezTo>
                  <a:pt x="5969" y="10688"/>
                  <a:pt x="5937" y="10656"/>
                  <a:pt x="5937" y="10625"/>
                </a:cubicBezTo>
                <a:cubicBezTo>
                  <a:pt x="5937" y="10625"/>
                  <a:pt x="5937" y="10594"/>
                  <a:pt x="5937" y="10594"/>
                </a:cubicBezTo>
                <a:cubicBezTo>
                  <a:pt x="5937" y="10594"/>
                  <a:pt x="5937" y="10563"/>
                  <a:pt x="5969" y="10563"/>
                </a:cubicBezTo>
                <a:cubicBezTo>
                  <a:pt x="5969" y="10531"/>
                  <a:pt x="5937" y="10469"/>
                  <a:pt x="5906" y="10469"/>
                </a:cubicBezTo>
                <a:cubicBezTo>
                  <a:pt x="5844" y="10438"/>
                  <a:pt x="5844" y="10469"/>
                  <a:pt x="5812" y="10500"/>
                </a:cubicBezTo>
                <a:cubicBezTo>
                  <a:pt x="5719" y="10594"/>
                  <a:pt x="5625" y="10656"/>
                  <a:pt x="5562" y="10750"/>
                </a:cubicBezTo>
                <a:cubicBezTo>
                  <a:pt x="5562" y="10781"/>
                  <a:pt x="5531" y="10844"/>
                  <a:pt x="5469" y="10844"/>
                </a:cubicBezTo>
                <a:cubicBezTo>
                  <a:pt x="5500" y="10750"/>
                  <a:pt x="5500" y="10656"/>
                  <a:pt x="5562" y="10594"/>
                </a:cubicBezTo>
                <a:cubicBezTo>
                  <a:pt x="5687" y="10500"/>
                  <a:pt x="5719" y="10313"/>
                  <a:pt x="5906" y="10313"/>
                </a:cubicBezTo>
                <a:cubicBezTo>
                  <a:pt x="5937" y="10313"/>
                  <a:pt x="5969" y="10313"/>
                  <a:pt x="5969" y="10281"/>
                </a:cubicBezTo>
                <a:cubicBezTo>
                  <a:pt x="6125" y="10063"/>
                  <a:pt x="6406" y="9969"/>
                  <a:pt x="6562" y="9719"/>
                </a:cubicBezTo>
                <a:cubicBezTo>
                  <a:pt x="6594" y="9625"/>
                  <a:pt x="6719" y="9625"/>
                  <a:pt x="6812" y="9594"/>
                </a:cubicBezTo>
                <a:cubicBezTo>
                  <a:pt x="6875" y="9531"/>
                  <a:pt x="7000" y="9531"/>
                  <a:pt x="7000" y="9406"/>
                </a:cubicBezTo>
                <a:cubicBezTo>
                  <a:pt x="7000" y="9344"/>
                  <a:pt x="7031" y="9250"/>
                  <a:pt x="7094" y="9219"/>
                </a:cubicBezTo>
                <a:cubicBezTo>
                  <a:pt x="7219" y="9156"/>
                  <a:pt x="7344" y="9094"/>
                  <a:pt x="7437" y="9000"/>
                </a:cubicBezTo>
                <a:cubicBezTo>
                  <a:pt x="7562" y="8906"/>
                  <a:pt x="7687" y="8844"/>
                  <a:pt x="7781" y="8750"/>
                </a:cubicBezTo>
                <a:cubicBezTo>
                  <a:pt x="7875" y="8688"/>
                  <a:pt x="8031" y="8688"/>
                  <a:pt x="8094" y="8531"/>
                </a:cubicBezTo>
                <a:cubicBezTo>
                  <a:pt x="8094" y="8531"/>
                  <a:pt x="8125" y="8500"/>
                  <a:pt x="8156" y="8500"/>
                </a:cubicBezTo>
                <a:cubicBezTo>
                  <a:pt x="8187" y="8500"/>
                  <a:pt x="8219" y="8469"/>
                  <a:pt x="8250" y="8438"/>
                </a:cubicBezTo>
                <a:cubicBezTo>
                  <a:pt x="8344" y="8344"/>
                  <a:pt x="8406" y="8281"/>
                  <a:pt x="8562" y="8313"/>
                </a:cubicBezTo>
                <a:cubicBezTo>
                  <a:pt x="8594" y="8313"/>
                  <a:pt x="8625" y="8313"/>
                  <a:pt x="8625" y="8281"/>
                </a:cubicBezTo>
                <a:cubicBezTo>
                  <a:pt x="8812" y="8188"/>
                  <a:pt x="8937" y="8063"/>
                  <a:pt x="9062" y="7938"/>
                </a:cubicBezTo>
                <a:cubicBezTo>
                  <a:pt x="9219" y="7750"/>
                  <a:pt x="9406" y="7594"/>
                  <a:pt x="9562" y="7406"/>
                </a:cubicBezTo>
                <a:cubicBezTo>
                  <a:pt x="9562" y="7344"/>
                  <a:pt x="9625" y="7375"/>
                  <a:pt x="9656" y="7313"/>
                </a:cubicBezTo>
                <a:cubicBezTo>
                  <a:pt x="9812" y="7125"/>
                  <a:pt x="10062" y="7156"/>
                  <a:pt x="10250" y="7094"/>
                </a:cubicBezTo>
                <a:cubicBezTo>
                  <a:pt x="10281" y="7094"/>
                  <a:pt x="10344" y="7063"/>
                  <a:pt x="10344" y="7125"/>
                </a:cubicBezTo>
                <a:cubicBezTo>
                  <a:pt x="10344" y="7156"/>
                  <a:pt x="10312" y="7188"/>
                  <a:pt x="10281" y="7219"/>
                </a:cubicBezTo>
                <a:cubicBezTo>
                  <a:pt x="10250" y="7219"/>
                  <a:pt x="10187" y="7219"/>
                  <a:pt x="10187" y="7281"/>
                </a:cubicBezTo>
                <a:cubicBezTo>
                  <a:pt x="10281" y="7313"/>
                  <a:pt x="10375" y="7281"/>
                  <a:pt x="10469" y="7250"/>
                </a:cubicBezTo>
                <a:cubicBezTo>
                  <a:pt x="10625" y="7219"/>
                  <a:pt x="10781" y="7250"/>
                  <a:pt x="10937" y="7188"/>
                </a:cubicBezTo>
                <a:cubicBezTo>
                  <a:pt x="11094" y="7156"/>
                  <a:pt x="11250" y="7063"/>
                  <a:pt x="11437" y="6969"/>
                </a:cubicBezTo>
                <a:cubicBezTo>
                  <a:pt x="11437" y="6969"/>
                  <a:pt x="11437" y="6969"/>
                  <a:pt x="11469" y="6969"/>
                </a:cubicBezTo>
                <a:cubicBezTo>
                  <a:pt x="11531" y="6906"/>
                  <a:pt x="11625" y="6844"/>
                  <a:pt x="11719" y="6875"/>
                </a:cubicBezTo>
                <a:cubicBezTo>
                  <a:pt x="11719" y="6906"/>
                  <a:pt x="11687" y="6906"/>
                  <a:pt x="11687" y="6938"/>
                </a:cubicBezTo>
                <a:cubicBezTo>
                  <a:pt x="11687" y="6938"/>
                  <a:pt x="11687" y="6938"/>
                  <a:pt x="11687" y="6938"/>
                </a:cubicBezTo>
                <a:cubicBezTo>
                  <a:pt x="11719" y="6938"/>
                  <a:pt x="11750" y="6969"/>
                  <a:pt x="11781" y="6938"/>
                </a:cubicBezTo>
                <a:cubicBezTo>
                  <a:pt x="11812" y="6938"/>
                  <a:pt x="11812" y="6906"/>
                  <a:pt x="11844" y="6875"/>
                </a:cubicBezTo>
                <a:cubicBezTo>
                  <a:pt x="11844" y="6875"/>
                  <a:pt x="11844" y="6875"/>
                  <a:pt x="11844" y="6875"/>
                </a:cubicBezTo>
                <a:cubicBezTo>
                  <a:pt x="11875" y="6875"/>
                  <a:pt x="11906" y="6875"/>
                  <a:pt x="11906" y="6844"/>
                </a:cubicBezTo>
                <a:cubicBezTo>
                  <a:pt x="11906" y="6844"/>
                  <a:pt x="11906" y="6844"/>
                  <a:pt x="11906" y="6813"/>
                </a:cubicBezTo>
                <a:cubicBezTo>
                  <a:pt x="11937" y="6781"/>
                  <a:pt x="11937" y="6844"/>
                  <a:pt x="11969" y="6875"/>
                </a:cubicBezTo>
                <a:cubicBezTo>
                  <a:pt x="12000" y="6875"/>
                  <a:pt x="12000" y="6875"/>
                  <a:pt x="12000" y="6875"/>
                </a:cubicBezTo>
                <a:cubicBezTo>
                  <a:pt x="12031" y="6813"/>
                  <a:pt x="12000" y="6781"/>
                  <a:pt x="12062" y="6750"/>
                </a:cubicBezTo>
                <a:cubicBezTo>
                  <a:pt x="12156" y="6688"/>
                  <a:pt x="12281" y="6625"/>
                  <a:pt x="12406" y="6625"/>
                </a:cubicBezTo>
                <a:cubicBezTo>
                  <a:pt x="12500" y="6656"/>
                  <a:pt x="12594" y="6625"/>
                  <a:pt x="12656" y="6625"/>
                </a:cubicBezTo>
                <a:cubicBezTo>
                  <a:pt x="12687" y="6625"/>
                  <a:pt x="12687" y="6625"/>
                  <a:pt x="12719" y="6625"/>
                </a:cubicBezTo>
                <a:cubicBezTo>
                  <a:pt x="12750" y="6625"/>
                  <a:pt x="12781" y="6625"/>
                  <a:pt x="12812" y="6625"/>
                </a:cubicBezTo>
                <a:cubicBezTo>
                  <a:pt x="12875" y="6625"/>
                  <a:pt x="12937" y="6625"/>
                  <a:pt x="13000" y="6625"/>
                </a:cubicBezTo>
                <a:cubicBezTo>
                  <a:pt x="13000" y="6625"/>
                  <a:pt x="13000" y="6625"/>
                  <a:pt x="13000" y="6625"/>
                </a:cubicBezTo>
                <a:cubicBezTo>
                  <a:pt x="13000" y="6625"/>
                  <a:pt x="13000" y="6625"/>
                  <a:pt x="13000" y="6625"/>
                </a:cubicBezTo>
                <a:cubicBezTo>
                  <a:pt x="13000" y="6625"/>
                  <a:pt x="13000" y="6625"/>
                  <a:pt x="13000" y="6625"/>
                </a:cubicBezTo>
                <a:cubicBezTo>
                  <a:pt x="13094" y="6594"/>
                  <a:pt x="13219" y="6594"/>
                  <a:pt x="13312" y="6594"/>
                </a:cubicBezTo>
                <a:cubicBezTo>
                  <a:pt x="13312" y="6625"/>
                  <a:pt x="13344" y="6688"/>
                  <a:pt x="13281" y="6688"/>
                </a:cubicBezTo>
                <a:cubicBezTo>
                  <a:pt x="13250" y="6688"/>
                  <a:pt x="13219" y="6688"/>
                  <a:pt x="13187" y="6688"/>
                </a:cubicBezTo>
                <a:cubicBezTo>
                  <a:pt x="12969" y="6688"/>
                  <a:pt x="12781" y="6781"/>
                  <a:pt x="12594" y="6781"/>
                </a:cubicBezTo>
                <a:cubicBezTo>
                  <a:pt x="12562" y="6781"/>
                  <a:pt x="12562" y="6781"/>
                  <a:pt x="12531" y="6781"/>
                </a:cubicBezTo>
                <a:cubicBezTo>
                  <a:pt x="12531" y="6781"/>
                  <a:pt x="12531" y="6781"/>
                  <a:pt x="12531" y="6781"/>
                </a:cubicBezTo>
                <a:cubicBezTo>
                  <a:pt x="12531" y="6781"/>
                  <a:pt x="12531" y="6781"/>
                  <a:pt x="12531" y="6781"/>
                </a:cubicBezTo>
                <a:cubicBezTo>
                  <a:pt x="12500" y="6781"/>
                  <a:pt x="12500" y="6781"/>
                  <a:pt x="12500" y="6781"/>
                </a:cubicBezTo>
                <a:cubicBezTo>
                  <a:pt x="12469" y="6781"/>
                  <a:pt x="12437" y="6813"/>
                  <a:pt x="12437" y="6844"/>
                </a:cubicBezTo>
                <a:cubicBezTo>
                  <a:pt x="12437" y="6844"/>
                  <a:pt x="12437" y="6844"/>
                  <a:pt x="12437" y="6844"/>
                </a:cubicBezTo>
                <a:cubicBezTo>
                  <a:pt x="12437" y="6875"/>
                  <a:pt x="12437" y="6875"/>
                  <a:pt x="12437" y="6875"/>
                </a:cubicBezTo>
                <a:cubicBezTo>
                  <a:pt x="12406" y="6844"/>
                  <a:pt x="12406" y="6813"/>
                  <a:pt x="12344" y="6813"/>
                </a:cubicBezTo>
                <a:cubicBezTo>
                  <a:pt x="12344" y="6813"/>
                  <a:pt x="12344" y="6813"/>
                  <a:pt x="12312" y="6813"/>
                </a:cubicBezTo>
                <a:cubicBezTo>
                  <a:pt x="12250" y="6844"/>
                  <a:pt x="12312" y="6906"/>
                  <a:pt x="12312" y="6938"/>
                </a:cubicBezTo>
                <a:cubicBezTo>
                  <a:pt x="12375" y="7063"/>
                  <a:pt x="12406" y="7219"/>
                  <a:pt x="12469" y="7313"/>
                </a:cubicBezTo>
                <a:cubicBezTo>
                  <a:pt x="12625" y="7625"/>
                  <a:pt x="12781" y="7906"/>
                  <a:pt x="12937" y="8219"/>
                </a:cubicBezTo>
                <a:cubicBezTo>
                  <a:pt x="13031" y="8406"/>
                  <a:pt x="13156" y="8594"/>
                  <a:pt x="13250" y="8781"/>
                </a:cubicBezTo>
                <a:cubicBezTo>
                  <a:pt x="13281" y="8844"/>
                  <a:pt x="13312" y="8906"/>
                  <a:pt x="13344" y="8969"/>
                </a:cubicBezTo>
                <a:cubicBezTo>
                  <a:pt x="13344" y="8969"/>
                  <a:pt x="13344" y="8969"/>
                  <a:pt x="13344" y="8969"/>
                </a:cubicBezTo>
                <a:cubicBezTo>
                  <a:pt x="13344" y="9000"/>
                  <a:pt x="13344" y="9031"/>
                  <a:pt x="13344" y="9031"/>
                </a:cubicBezTo>
                <a:cubicBezTo>
                  <a:pt x="13156" y="8719"/>
                  <a:pt x="12969" y="8406"/>
                  <a:pt x="12781" y="8094"/>
                </a:cubicBezTo>
                <a:cubicBezTo>
                  <a:pt x="12781" y="8063"/>
                  <a:pt x="12781" y="8063"/>
                  <a:pt x="12781" y="8063"/>
                </a:cubicBezTo>
                <a:cubicBezTo>
                  <a:pt x="12781" y="8063"/>
                  <a:pt x="12781" y="8063"/>
                  <a:pt x="12781" y="8063"/>
                </a:cubicBezTo>
                <a:cubicBezTo>
                  <a:pt x="12750" y="8063"/>
                  <a:pt x="12750" y="8031"/>
                  <a:pt x="12750" y="8031"/>
                </a:cubicBezTo>
                <a:cubicBezTo>
                  <a:pt x="12750" y="8031"/>
                  <a:pt x="12750" y="8031"/>
                  <a:pt x="12750" y="8031"/>
                </a:cubicBezTo>
                <a:cubicBezTo>
                  <a:pt x="12750" y="8000"/>
                  <a:pt x="12719" y="8000"/>
                  <a:pt x="12719" y="8000"/>
                </a:cubicBezTo>
                <a:cubicBezTo>
                  <a:pt x="12719" y="8000"/>
                  <a:pt x="12719" y="8000"/>
                  <a:pt x="12719" y="7969"/>
                </a:cubicBezTo>
                <a:cubicBezTo>
                  <a:pt x="12719" y="7969"/>
                  <a:pt x="12719" y="7969"/>
                  <a:pt x="12719" y="7969"/>
                </a:cubicBezTo>
                <a:cubicBezTo>
                  <a:pt x="12719" y="7969"/>
                  <a:pt x="12719" y="7969"/>
                  <a:pt x="12719" y="7969"/>
                </a:cubicBezTo>
                <a:cubicBezTo>
                  <a:pt x="12719" y="7969"/>
                  <a:pt x="12719" y="7969"/>
                  <a:pt x="12687" y="7969"/>
                </a:cubicBezTo>
                <a:cubicBezTo>
                  <a:pt x="12687" y="7938"/>
                  <a:pt x="12687" y="7938"/>
                  <a:pt x="12656" y="7938"/>
                </a:cubicBezTo>
                <a:cubicBezTo>
                  <a:pt x="12656" y="7938"/>
                  <a:pt x="12656" y="7906"/>
                  <a:pt x="12687" y="7906"/>
                </a:cubicBezTo>
                <a:cubicBezTo>
                  <a:pt x="12687" y="7906"/>
                  <a:pt x="12687" y="7906"/>
                  <a:pt x="12687" y="7906"/>
                </a:cubicBezTo>
                <a:cubicBezTo>
                  <a:pt x="12656" y="7906"/>
                  <a:pt x="12656" y="7906"/>
                  <a:pt x="12656" y="7906"/>
                </a:cubicBezTo>
                <a:cubicBezTo>
                  <a:pt x="12656" y="7906"/>
                  <a:pt x="12656" y="7875"/>
                  <a:pt x="12656" y="7875"/>
                </a:cubicBezTo>
                <a:cubicBezTo>
                  <a:pt x="12656" y="7875"/>
                  <a:pt x="12656" y="7875"/>
                  <a:pt x="12656" y="7875"/>
                </a:cubicBezTo>
                <a:cubicBezTo>
                  <a:pt x="12656" y="7875"/>
                  <a:pt x="12656" y="7875"/>
                  <a:pt x="12656" y="7875"/>
                </a:cubicBezTo>
                <a:cubicBezTo>
                  <a:pt x="12562" y="7656"/>
                  <a:pt x="12469" y="7438"/>
                  <a:pt x="12375" y="7250"/>
                </a:cubicBezTo>
                <a:cubicBezTo>
                  <a:pt x="12375" y="7375"/>
                  <a:pt x="12375" y="7531"/>
                  <a:pt x="12375" y="7656"/>
                </a:cubicBezTo>
                <a:cubicBezTo>
                  <a:pt x="12375" y="7656"/>
                  <a:pt x="12375" y="7656"/>
                  <a:pt x="12375" y="7688"/>
                </a:cubicBezTo>
                <a:cubicBezTo>
                  <a:pt x="12406" y="7688"/>
                  <a:pt x="12406" y="7688"/>
                  <a:pt x="12406" y="7719"/>
                </a:cubicBezTo>
                <a:cubicBezTo>
                  <a:pt x="12406" y="7719"/>
                  <a:pt x="12406" y="7719"/>
                  <a:pt x="12406" y="7719"/>
                </a:cubicBezTo>
                <a:cubicBezTo>
                  <a:pt x="12437" y="7781"/>
                  <a:pt x="12437" y="7813"/>
                  <a:pt x="12469" y="7844"/>
                </a:cubicBezTo>
                <a:cubicBezTo>
                  <a:pt x="12500" y="7906"/>
                  <a:pt x="12531" y="7969"/>
                  <a:pt x="12562" y="8031"/>
                </a:cubicBezTo>
                <a:cubicBezTo>
                  <a:pt x="12594" y="8094"/>
                  <a:pt x="12594" y="8125"/>
                  <a:pt x="12625" y="8156"/>
                </a:cubicBezTo>
                <a:cubicBezTo>
                  <a:pt x="12625" y="8188"/>
                  <a:pt x="12656" y="8219"/>
                  <a:pt x="12687" y="8250"/>
                </a:cubicBezTo>
                <a:cubicBezTo>
                  <a:pt x="12781" y="8438"/>
                  <a:pt x="12875" y="8625"/>
                  <a:pt x="12969" y="8813"/>
                </a:cubicBezTo>
                <a:cubicBezTo>
                  <a:pt x="13062" y="9000"/>
                  <a:pt x="13156" y="9188"/>
                  <a:pt x="13250" y="9375"/>
                </a:cubicBezTo>
                <a:cubicBezTo>
                  <a:pt x="13250" y="9375"/>
                  <a:pt x="13250" y="9375"/>
                  <a:pt x="13250" y="9375"/>
                </a:cubicBezTo>
                <a:cubicBezTo>
                  <a:pt x="13250" y="9375"/>
                  <a:pt x="13250" y="9406"/>
                  <a:pt x="13250" y="9406"/>
                </a:cubicBezTo>
                <a:cubicBezTo>
                  <a:pt x="13187" y="9313"/>
                  <a:pt x="13125" y="9250"/>
                  <a:pt x="13062" y="9156"/>
                </a:cubicBezTo>
                <a:cubicBezTo>
                  <a:pt x="13031" y="9031"/>
                  <a:pt x="12937" y="8938"/>
                  <a:pt x="12875" y="8844"/>
                </a:cubicBezTo>
                <a:cubicBezTo>
                  <a:pt x="12875" y="8844"/>
                  <a:pt x="12875" y="8844"/>
                  <a:pt x="12875" y="8844"/>
                </a:cubicBezTo>
                <a:cubicBezTo>
                  <a:pt x="12844" y="8813"/>
                  <a:pt x="12812" y="8813"/>
                  <a:pt x="12781" y="8813"/>
                </a:cubicBezTo>
                <a:cubicBezTo>
                  <a:pt x="12750" y="8781"/>
                  <a:pt x="12719" y="8750"/>
                  <a:pt x="12719" y="8719"/>
                </a:cubicBezTo>
                <a:cubicBezTo>
                  <a:pt x="12687" y="8688"/>
                  <a:pt x="12656" y="8656"/>
                  <a:pt x="12656" y="8625"/>
                </a:cubicBezTo>
                <a:cubicBezTo>
                  <a:pt x="12656" y="8625"/>
                  <a:pt x="12656" y="8625"/>
                  <a:pt x="12656" y="8625"/>
                </a:cubicBezTo>
                <a:cubicBezTo>
                  <a:pt x="12594" y="8500"/>
                  <a:pt x="12531" y="8406"/>
                  <a:pt x="12500" y="8313"/>
                </a:cubicBezTo>
                <a:cubicBezTo>
                  <a:pt x="12469" y="8219"/>
                  <a:pt x="12437" y="8156"/>
                  <a:pt x="12406" y="8063"/>
                </a:cubicBezTo>
                <a:cubicBezTo>
                  <a:pt x="12375" y="8031"/>
                  <a:pt x="12375" y="7969"/>
                  <a:pt x="12375" y="7938"/>
                </a:cubicBezTo>
                <a:cubicBezTo>
                  <a:pt x="12344" y="7969"/>
                  <a:pt x="12375" y="8000"/>
                  <a:pt x="12375" y="8031"/>
                </a:cubicBezTo>
                <a:cubicBezTo>
                  <a:pt x="12375" y="8219"/>
                  <a:pt x="12437" y="8375"/>
                  <a:pt x="12500" y="8563"/>
                </a:cubicBezTo>
                <a:cubicBezTo>
                  <a:pt x="12594" y="8844"/>
                  <a:pt x="12719" y="9125"/>
                  <a:pt x="12906" y="9375"/>
                </a:cubicBezTo>
                <a:cubicBezTo>
                  <a:pt x="12906" y="9406"/>
                  <a:pt x="12937" y="9438"/>
                  <a:pt x="12969" y="9469"/>
                </a:cubicBezTo>
                <a:cubicBezTo>
                  <a:pt x="13125" y="9719"/>
                  <a:pt x="13312" y="9938"/>
                  <a:pt x="13500" y="10188"/>
                </a:cubicBezTo>
                <a:cubicBezTo>
                  <a:pt x="13469" y="10219"/>
                  <a:pt x="13469" y="10188"/>
                  <a:pt x="13437" y="10188"/>
                </a:cubicBezTo>
                <a:cubicBezTo>
                  <a:pt x="13437" y="10188"/>
                  <a:pt x="13437" y="10188"/>
                  <a:pt x="13437" y="10188"/>
                </a:cubicBezTo>
                <a:cubicBezTo>
                  <a:pt x="13375" y="10125"/>
                  <a:pt x="13312" y="10094"/>
                  <a:pt x="13219" y="10063"/>
                </a:cubicBezTo>
                <a:cubicBezTo>
                  <a:pt x="12906" y="9875"/>
                  <a:pt x="12687" y="9656"/>
                  <a:pt x="12625" y="9281"/>
                </a:cubicBezTo>
                <a:cubicBezTo>
                  <a:pt x="12625" y="9156"/>
                  <a:pt x="12594" y="9063"/>
                  <a:pt x="12562" y="8906"/>
                </a:cubicBezTo>
                <a:cubicBezTo>
                  <a:pt x="12531" y="9000"/>
                  <a:pt x="12531" y="9031"/>
                  <a:pt x="12562" y="9094"/>
                </a:cubicBezTo>
                <a:cubicBezTo>
                  <a:pt x="12562" y="9125"/>
                  <a:pt x="12562" y="9156"/>
                  <a:pt x="12562" y="9188"/>
                </a:cubicBezTo>
                <a:cubicBezTo>
                  <a:pt x="12594" y="9375"/>
                  <a:pt x="12594" y="9563"/>
                  <a:pt x="12594" y="9750"/>
                </a:cubicBezTo>
                <a:cubicBezTo>
                  <a:pt x="12594" y="9844"/>
                  <a:pt x="12594" y="9906"/>
                  <a:pt x="12594" y="9969"/>
                </a:cubicBezTo>
                <a:cubicBezTo>
                  <a:pt x="12594" y="10000"/>
                  <a:pt x="12594" y="10031"/>
                  <a:pt x="12594" y="10063"/>
                </a:cubicBezTo>
                <a:cubicBezTo>
                  <a:pt x="12594" y="10188"/>
                  <a:pt x="12594" y="10313"/>
                  <a:pt x="12687" y="10438"/>
                </a:cubicBezTo>
                <a:cubicBezTo>
                  <a:pt x="12687" y="10438"/>
                  <a:pt x="12719" y="10438"/>
                  <a:pt x="12719" y="10469"/>
                </a:cubicBezTo>
                <a:cubicBezTo>
                  <a:pt x="12812" y="10563"/>
                  <a:pt x="12906" y="10656"/>
                  <a:pt x="13000" y="10719"/>
                </a:cubicBezTo>
                <a:cubicBezTo>
                  <a:pt x="13031" y="10781"/>
                  <a:pt x="13062" y="10781"/>
                  <a:pt x="13094" y="10813"/>
                </a:cubicBezTo>
                <a:cubicBezTo>
                  <a:pt x="13125" y="10844"/>
                  <a:pt x="13125" y="10844"/>
                  <a:pt x="13125" y="10875"/>
                </a:cubicBezTo>
                <a:cubicBezTo>
                  <a:pt x="13062" y="10844"/>
                  <a:pt x="13000" y="10781"/>
                  <a:pt x="12937" y="10750"/>
                </a:cubicBezTo>
                <a:cubicBezTo>
                  <a:pt x="12937" y="10750"/>
                  <a:pt x="12906" y="10719"/>
                  <a:pt x="12906" y="10719"/>
                </a:cubicBezTo>
                <a:cubicBezTo>
                  <a:pt x="12844" y="10656"/>
                  <a:pt x="12781" y="10625"/>
                  <a:pt x="12750" y="10594"/>
                </a:cubicBezTo>
                <a:cubicBezTo>
                  <a:pt x="12750" y="10594"/>
                  <a:pt x="12750" y="10594"/>
                  <a:pt x="12750" y="10594"/>
                </a:cubicBezTo>
                <a:cubicBezTo>
                  <a:pt x="12750" y="10594"/>
                  <a:pt x="12750" y="10594"/>
                  <a:pt x="12750" y="10594"/>
                </a:cubicBezTo>
                <a:cubicBezTo>
                  <a:pt x="12750" y="10594"/>
                  <a:pt x="12750" y="10594"/>
                  <a:pt x="12750" y="10594"/>
                </a:cubicBezTo>
                <a:cubicBezTo>
                  <a:pt x="12750" y="10563"/>
                  <a:pt x="12719" y="10563"/>
                  <a:pt x="12719" y="10563"/>
                </a:cubicBezTo>
                <a:cubicBezTo>
                  <a:pt x="12719" y="10563"/>
                  <a:pt x="12719" y="10563"/>
                  <a:pt x="12719" y="10563"/>
                </a:cubicBezTo>
                <a:cubicBezTo>
                  <a:pt x="12719" y="10594"/>
                  <a:pt x="12719" y="10594"/>
                  <a:pt x="12750" y="10594"/>
                </a:cubicBezTo>
                <a:cubicBezTo>
                  <a:pt x="12719" y="10625"/>
                  <a:pt x="12750" y="10625"/>
                  <a:pt x="12750" y="10625"/>
                </a:cubicBezTo>
                <a:cubicBezTo>
                  <a:pt x="12750" y="10719"/>
                  <a:pt x="12812" y="10750"/>
                  <a:pt x="12875" y="10781"/>
                </a:cubicBezTo>
                <a:cubicBezTo>
                  <a:pt x="12875" y="10813"/>
                  <a:pt x="12875" y="10813"/>
                  <a:pt x="12906" y="10813"/>
                </a:cubicBezTo>
                <a:cubicBezTo>
                  <a:pt x="12906" y="10813"/>
                  <a:pt x="12906" y="10813"/>
                  <a:pt x="12906" y="10813"/>
                </a:cubicBezTo>
                <a:cubicBezTo>
                  <a:pt x="13000" y="10906"/>
                  <a:pt x="13094" y="10938"/>
                  <a:pt x="13187" y="11031"/>
                </a:cubicBezTo>
                <a:cubicBezTo>
                  <a:pt x="13219" y="11063"/>
                  <a:pt x="13250" y="11094"/>
                  <a:pt x="13250" y="11125"/>
                </a:cubicBezTo>
                <a:cubicBezTo>
                  <a:pt x="13250" y="11125"/>
                  <a:pt x="13250" y="11125"/>
                  <a:pt x="13250" y="11125"/>
                </a:cubicBezTo>
                <a:cubicBezTo>
                  <a:pt x="13187" y="11125"/>
                  <a:pt x="13156" y="11094"/>
                  <a:pt x="13125" y="11063"/>
                </a:cubicBezTo>
                <a:cubicBezTo>
                  <a:pt x="13094" y="11063"/>
                  <a:pt x="13094" y="11031"/>
                  <a:pt x="13062" y="11031"/>
                </a:cubicBezTo>
                <a:cubicBezTo>
                  <a:pt x="13000" y="11000"/>
                  <a:pt x="12937" y="10938"/>
                  <a:pt x="12875" y="10938"/>
                </a:cubicBezTo>
                <a:cubicBezTo>
                  <a:pt x="12812" y="10906"/>
                  <a:pt x="12781" y="10813"/>
                  <a:pt x="12719" y="10813"/>
                </a:cubicBezTo>
                <a:cubicBezTo>
                  <a:pt x="12719" y="10875"/>
                  <a:pt x="12781" y="10906"/>
                  <a:pt x="12812" y="10969"/>
                </a:cubicBezTo>
                <a:cubicBezTo>
                  <a:pt x="12812" y="10969"/>
                  <a:pt x="12844" y="10969"/>
                  <a:pt x="12844" y="10969"/>
                </a:cubicBezTo>
                <a:cubicBezTo>
                  <a:pt x="12844" y="11031"/>
                  <a:pt x="12844" y="11031"/>
                  <a:pt x="12781" y="11031"/>
                </a:cubicBezTo>
                <a:cubicBezTo>
                  <a:pt x="12781" y="11031"/>
                  <a:pt x="12781" y="11031"/>
                  <a:pt x="12750" y="11031"/>
                </a:cubicBezTo>
                <a:cubicBezTo>
                  <a:pt x="12687" y="11000"/>
                  <a:pt x="12687" y="11031"/>
                  <a:pt x="12719" y="11156"/>
                </a:cubicBezTo>
                <a:cubicBezTo>
                  <a:pt x="12719" y="11156"/>
                  <a:pt x="12719" y="11125"/>
                  <a:pt x="12719" y="11125"/>
                </a:cubicBezTo>
                <a:cubicBezTo>
                  <a:pt x="12750" y="11094"/>
                  <a:pt x="12750" y="11094"/>
                  <a:pt x="12781" y="11094"/>
                </a:cubicBezTo>
                <a:cubicBezTo>
                  <a:pt x="12812" y="11094"/>
                  <a:pt x="12812" y="11094"/>
                  <a:pt x="12844" y="11094"/>
                </a:cubicBezTo>
                <a:cubicBezTo>
                  <a:pt x="12844" y="11094"/>
                  <a:pt x="12844" y="11094"/>
                  <a:pt x="12844" y="11094"/>
                </a:cubicBezTo>
                <a:cubicBezTo>
                  <a:pt x="12844" y="11094"/>
                  <a:pt x="12844" y="11094"/>
                  <a:pt x="12844" y="11094"/>
                </a:cubicBezTo>
                <a:cubicBezTo>
                  <a:pt x="12844" y="11094"/>
                  <a:pt x="12875" y="11094"/>
                  <a:pt x="12875" y="11094"/>
                </a:cubicBezTo>
                <a:cubicBezTo>
                  <a:pt x="12812" y="11219"/>
                  <a:pt x="12937" y="11281"/>
                  <a:pt x="12969" y="11344"/>
                </a:cubicBezTo>
                <a:cubicBezTo>
                  <a:pt x="13000" y="11438"/>
                  <a:pt x="13062" y="11531"/>
                  <a:pt x="12937" y="11563"/>
                </a:cubicBezTo>
                <a:cubicBezTo>
                  <a:pt x="12875" y="11594"/>
                  <a:pt x="12844" y="11625"/>
                  <a:pt x="12844" y="11563"/>
                </a:cubicBezTo>
                <a:cubicBezTo>
                  <a:pt x="12844" y="11500"/>
                  <a:pt x="12812" y="11438"/>
                  <a:pt x="12781" y="11375"/>
                </a:cubicBezTo>
                <a:cubicBezTo>
                  <a:pt x="12781" y="11344"/>
                  <a:pt x="12750" y="11313"/>
                  <a:pt x="12719" y="11313"/>
                </a:cubicBezTo>
                <a:cubicBezTo>
                  <a:pt x="12719" y="11406"/>
                  <a:pt x="12750" y="11531"/>
                  <a:pt x="12812" y="11625"/>
                </a:cubicBezTo>
                <a:cubicBezTo>
                  <a:pt x="12812" y="11656"/>
                  <a:pt x="12844" y="11688"/>
                  <a:pt x="12844" y="11719"/>
                </a:cubicBezTo>
                <a:cubicBezTo>
                  <a:pt x="12875" y="11719"/>
                  <a:pt x="12875" y="11750"/>
                  <a:pt x="12906" y="11750"/>
                </a:cubicBezTo>
                <a:cubicBezTo>
                  <a:pt x="12906" y="11781"/>
                  <a:pt x="12937" y="11813"/>
                  <a:pt x="12937" y="11813"/>
                </a:cubicBezTo>
                <a:cubicBezTo>
                  <a:pt x="12937" y="11844"/>
                  <a:pt x="12969" y="11844"/>
                  <a:pt x="12969" y="11875"/>
                </a:cubicBezTo>
                <a:cubicBezTo>
                  <a:pt x="13000" y="11906"/>
                  <a:pt x="13031" y="11938"/>
                  <a:pt x="13062" y="11906"/>
                </a:cubicBezTo>
                <a:cubicBezTo>
                  <a:pt x="13219" y="11844"/>
                  <a:pt x="13344" y="11875"/>
                  <a:pt x="13469" y="11875"/>
                </a:cubicBezTo>
                <a:cubicBezTo>
                  <a:pt x="13531" y="11875"/>
                  <a:pt x="13625" y="11906"/>
                  <a:pt x="13656" y="11875"/>
                </a:cubicBezTo>
                <a:cubicBezTo>
                  <a:pt x="13656" y="11781"/>
                  <a:pt x="13562" y="11781"/>
                  <a:pt x="13500" y="11719"/>
                </a:cubicBezTo>
                <a:cubicBezTo>
                  <a:pt x="13437" y="11656"/>
                  <a:pt x="13312" y="11656"/>
                  <a:pt x="13281" y="11563"/>
                </a:cubicBezTo>
                <a:cubicBezTo>
                  <a:pt x="13281" y="11563"/>
                  <a:pt x="13312" y="11531"/>
                  <a:pt x="13312" y="11531"/>
                </a:cubicBezTo>
                <a:cubicBezTo>
                  <a:pt x="13312" y="11563"/>
                  <a:pt x="13312" y="11563"/>
                  <a:pt x="13344" y="11563"/>
                </a:cubicBezTo>
                <a:cubicBezTo>
                  <a:pt x="13375" y="11563"/>
                  <a:pt x="13406" y="11594"/>
                  <a:pt x="13437" y="11594"/>
                </a:cubicBezTo>
                <a:cubicBezTo>
                  <a:pt x="13531" y="11656"/>
                  <a:pt x="13625" y="11688"/>
                  <a:pt x="13719" y="11750"/>
                </a:cubicBezTo>
                <a:cubicBezTo>
                  <a:pt x="13844" y="11844"/>
                  <a:pt x="14031" y="11844"/>
                  <a:pt x="14187" y="11938"/>
                </a:cubicBezTo>
                <a:cubicBezTo>
                  <a:pt x="14187" y="11938"/>
                  <a:pt x="14156" y="11938"/>
                  <a:pt x="14156" y="11938"/>
                </a:cubicBezTo>
                <a:cubicBezTo>
                  <a:pt x="14156" y="11969"/>
                  <a:pt x="14156" y="11969"/>
                  <a:pt x="14156" y="11969"/>
                </a:cubicBezTo>
                <a:cubicBezTo>
                  <a:pt x="14094" y="11969"/>
                  <a:pt x="14031" y="11969"/>
                  <a:pt x="14000" y="11969"/>
                </a:cubicBezTo>
                <a:cubicBezTo>
                  <a:pt x="13969" y="11969"/>
                  <a:pt x="13969" y="11969"/>
                  <a:pt x="13937" y="11969"/>
                </a:cubicBezTo>
                <a:cubicBezTo>
                  <a:pt x="13906" y="11969"/>
                  <a:pt x="13875" y="11969"/>
                  <a:pt x="13812" y="11938"/>
                </a:cubicBezTo>
                <a:cubicBezTo>
                  <a:pt x="13812" y="11938"/>
                  <a:pt x="13812" y="11938"/>
                  <a:pt x="13812" y="11938"/>
                </a:cubicBezTo>
                <a:cubicBezTo>
                  <a:pt x="13812" y="11938"/>
                  <a:pt x="13812" y="11938"/>
                  <a:pt x="13812" y="11938"/>
                </a:cubicBezTo>
                <a:cubicBezTo>
                  <a:pt x="13812" y="11938"/>
                  <a:pt x="13812" y="11938"/>
                  <a:pt x="13812" y="11938"/>
                </a:cubicBezTo>
                <a:cubicBezTo>
                  <a:pt x="13812" y="11938"/>
                  <a:pt x="13812" y="11938"/>
                  <a:pt x="13781" y="11938"/>
                </a:cubicBezTo>
                <a:cubicBezTo>
                  <a:pt x="13781" y="11938"/>
                  <a:pt x="13781" y="11938"/>
                  <a:pt x="13781" y="11938"/>
                </a:cubicBezTo>
                <a:cubicBezTo>
                  <a:pt x="13812" y="11906"/>
                  <a:pt x="13781" y="11906"/>
                  <a:pt x="13750" y="11906"/>
                </a:cubicBezTo>
                <a:cubicBezTo>
                  <a:pt x="13750" y="11906"/>
                  <a:pt x="13750" y="11906"/>
                  <a:pt x="13750" y="11906"/>
                </a:cubicBezTo>
                <a:cubicBezTo>
                  <a:pt x="13750" y="11906"/>
                  <a:pt x="13719" y="11906"/>
                  <a:pt x="13719" y="11938"/>
                </a:cubicBezTo>
                <a:cubicBezTo>
                  <a:pt x="13719" y="11938"/>
                  <a:pt x="13719" y="11938"/>
                  <a:pt x="13750" y="11969"/>
                </a:cubicBezTo>
                <a:cubicBezTo>
                  <a:pt x="13719" y="12000"/>
                  <a:pt x="13719" y="12000"/>
                  <a:pt x="13687" y="12031"/>
                </a:cubicBezTo>
                <a:cubicBezTo>
                  <a:pt x="13687" y="12031"/>
                  <a:pt x="13656" y="12031"/>
                  <a:pt x="13656" y="12031"/>
                </a:cubicBezTo>
                <a:cubicBezTo>
                  <a:pt x="13656" y="12031"/>
                  <a:pt x="13656" y="12031"/>
                  <a:pt x="13656" y="12031"/>
                </a:cubicBezTo>
                <a:cubicBezTo>
                  <a:pt x="13625" y="12031"/>
                  <a:pt x="13594" y="12000"/>
                  <a:pt x="13594" y="12000"/>
                </a:cubicBezTo>
                <a:cubicBezTo>
                  <a:pt x="13562" y="12000"/>
                  <a:pt x="13531" y="12031"/>
                  <a:pt x="13531" y="12063"/>
                </a:cubicBezTo>
                <a:cubicBezTo>
                  <a:pt x="13500" y="12063"/>
                  <a:pt x="13437" y="12094"/>
                  <a:pt x="13406" y="12094"/>
                </a:cubicBezTo>
                <a:cubicBezTo>
                  <a:pt x="13250" y="12031"/>
                  <a:pt x="13094" y="12000"/>
                  <a:pt x="12937" y="12063"/>
                </a:cubicBezTo>
                <a:cubicBezTo>
                  <a:pt x="13031" y="12188"/>
                  <a:pt x="13156" y="12156"/>
                  <a:pt x="13250" y="12219"/>
                </a:cubicBezTo>
                <a:cubicBezTo>
                  <a:pt x="13250" y="12219"/>
                  <a:pt x="13250" y="12219"/>
                  <a:pt x="13250" y="12219"/>
                </a:cubicBezTo>
                <a:cubicBezTo>
                  <a:pt x="13219" y="12250"/>
                  <a:pt x="13187" y="12219"/>
                  <a:pt x="13156" y="12250"/>
                </a:cubicBezTo>
                <a:cubicBezTo>
                  <a:pt x="13156" y="12250"/>
                  <a:pt x="13125" y="12219"/>
                  <a:pt x="13094" y="12219"/>
                </a:cubicBezTo>
                <a:cubicBezTo>
                  <a:pt x="13062" y="12219"/>
                  <a:pt x="13000" y="12219"/>
                  <a:pt x="12969" y="12250"/>
                </a:cubicBezTo>
                <a:cubicBezTo>
                  <a:pt x="12937" y="12250"/>
                  <a:pt x="12937" y="12250"/>
                  <a:pt x="12937" y="12219"/>
                </a:cubicBezTo>
                <a:cubicBezTo>
                  <a:pt x="12937" y="12219"/>
                  <a:pt x="12937" y="12219"/>
                  <a:pt x="12937" y="12219"/>
                </a:cubicBezTo>
                <a:cubicBezTo>
                  <a:pt x="12937" y="12219"/>
                  <a:pt x="12937" y="12219"/>
                  <a:pt x="12937" y="12219"/>
                </a:cubicBezTo>
                <a:cubicBezTo>
                  <a:pt x="12906" y="12250"/>
                  <a:pt x="12906" y="12250"/>
                  <a:pt x="12906" y="12250"/>
                </a:cubicBezTo>
                <a:cubicBezTo>
                  <a:pt x="12719" y="12313"/>
                  <a:pt x="12562" y="12344"/>
                  <a:pt x="12375" y="12406"/>
                </a:cubicBezTo>
                <a:cubicBezTo>
                  <a:pt x="12344" y="12438"/>
                  <a:pt x="12344" y="12438"/>
                  <a:pt x="12312" y="12438"/>
                </a:cubicBezTo>
                <a:cubicBezTo>
                  <a:pt x="12250" y="12469"/>
                  <a:pt x="12187" y="12500"/>
                  <a:pt x="12156" y="12563"/>
                </a:cubicBezTo>
                <a:cubicBezTo>
                  <a:pt x="12156" y="12531"/>
                  <a:pt x="12156" y="12531"/>
                  <a:pt x="12156" y="12531"/>
                </a:cubicBezTo>
                <a:cubicBezTo>
                  <a:pt x="12156" y="12531"/>
                  <a:pt x="12156" y="12531"/>
                  <a:pt x="12156" y="12531"/>
                </a:cubicBezTo>
                <a:cubicBezTo>
                  <a:pt x="12156" y="12563"/>
                  <a:pt x="12156" y="12563"/>
                  <a:pt x="12156" y="12563"/>
                </a:cubicBezTo>
                <a:cubicBezTo>
                  <a:pt x="12156" y="12563"/>
                  <a:pt x="12156" y="12563"/>
                  <a:pt x="12156" y="12563"/>
                </a:cubicBezTo>
                <a:cubicBezTo>
                  <a:pt x="12156" y="12563"/>
                  <a:pt x="12156" y="12563"/>
                  <a:pt x="12156" y="12563"/>
                </a:cubicBezTo>
                <a:cubicBezTo>
                  <a:pt x="12156" y="12563"/>
                  <a:pt x="12156" y="12563"/>
                  <a:pt x="12156" y="12594"/>
                </a:cubicBezTo>
                <a:cubicBezTo>
                  <a:pt x="12156" y="12594"/>
                  <a:pt x="12156" y="12594"/>
                  <a:pt x="12156" y="12594"/>
                </a:cubicBezTo>
                <a:cubicBezTo>
                  <a:pt x="12156" y="12594"/>
                  <a:pt x="12156" y="12594"/>
                  <a:pt x="12156" y="12594"/>
                </a:cubicBezTo>
                <a:cubicBezTo>
                  <a:pt x="12156" y="12594"/>
                  <a:pt x="12156" y="12594"/>
                  <a:pt x="12156" y="12625"/>
                </a:cubicBezTo>
                <a:cubicBezTo>
                  <a:pt x="12125" y="12656"/>
                  <a:pt x="12062" y="12719"/>
                  <a:pt x="12031" y="12750"/>
                </a:cubicBezTo>
                <a:cubicBezTo>
                  <a:pt x="11875" y="12813"/>
                  <a:pt x="11781" y="12938"/>
                  <a:pt x="11656" y="13063"/>
                </a:cubicBezTo>
                <a:cubicBezTo>
                  <a:pt x="11500" y="13156"/>
                  <a:pt x="11406" y="13313"/>
                  <a:pt x="11312" y="13469"/>
                </a:cubicBezTo>
                <a:cubicBezTo>
                  <a:pt x="11125" y="13813"/>
                  <a:pt x="11031" y="14188"/>
                  <a:pt x="11000" y="14563"/>
                </a:cubicBezTo>
                <a:cubicBezTo>
                  <a:pt x="10969" y="14688"/>
                  <a:pt x="10906" y="14813"/>
                  <a:pt x="10937" y="14938"/>
                </a:cubicBezTo>
                <a:cubicBezTo>
                  <a:pt x="10937" y="15000"/>
                  <a:pt x="10937" y="15000"/>
                  <a:pt x="10906" y="15031"/>
                </a:cubicBezTo>
                <a:cubicBezTo>
                  <a:pt x="10875" y="15125"/>
                  <a:pt x="10906" y="15219"/>
                  <a:pt x="10906" y="15313"/>
                </a:cubicBezTo>
                <a:cubicBezTo>
                  <a:pt x="10906" y="15313"/>
                  <a:pt x="10906" y="15313"/>
                  <a:pt x="10906" y="15313"/>
                </a:cubicBezTo>
                <a:cubicBezTo>
                  <a:pt x="10937" y="15313"/>
                  <a:pt x="10937" y="15313"/>
                  <a:pt x="10969" y="15313"/>
                </a:cubicBezTo>
                <a:cubicBezTo>
                  <a:pt x="11094" y="15344"/>
                  <a:pt x="11156" y="15344"/>
                  <a:pt x="11187" y="15406"/>
                </a:cubicBezTo>
                <a:cubicBezTo>
                  <a:pt x="11187" y="15406"/>
                  <a:pt x="11219" y="15406"/>
                  <a:pt x="11219" y="15406"/>
                </a:cubicBezTo>
                <a:cubicBezTo>
                  <a:pt x="11219" y="15438"/>
                  <a:pt x="11219" y="15438"/>
                  <a:pt x="11219" y="15469"/>
                </a:cubicBezTo>
                <a:cubicBezTo>
                  <a:pt x="11219" y="15469"/>
                  <a:pt x="11250" y="15469"/>
                  <a:pt x="11250" y="15500"/>
                </a:cubicBezTo>
                <a:cubicBezTo>
                  <a:pt x="11250" y="15531"/>
                  <a:pt x="11250" y="15563"/>
                  <a:pt x="11250" y="15563"/>
                </a:cubicBezTo>
                <a:cubicBezTo>
                  <a:pt x="11219" y="15594"/>
                  <a:pt x="11219" y="15594"/>
                  <a:pt x="11219" y="15594"/>
                </a:cubicBezTo>
                <a:cubicBezTo>
                  <a:pt x="11187" y="15531"/>
                  <a:pt x="11156" y="15563"/>
                  <a:pt x="11125" y="15563"/>
                </a:cubicBezTo>
                <a:cubicBezTo>
                  <a:pt x="11156" y="15594"/>
                  <a:pt x="11187" y="15594"/>
                  <a:pt x="11219" y="15594"/>
                </a:cubicBezTo>
                <a:cubicBezTo>
                  <a:pt x="11219" y="15656"/>
                  <a:pt x="11281" y="15594"/>
                  <a:pt x="11312" y="15656"/>
                </a:cubicBezTo>
                <a:cubicBezTo>
                  <a:pt x="11250" y="15688"/>
                  <a:pt x="11125" y="15656"/>
                  <a:pt x="11125" y="15781"/>
                </a:cubicBezTo>
                <a:cubicBezTo>
                  <a:pt x="11219" y="15781"/>
                  <a:pt x="11312" y="15781"/>
                  <a:pt x="11437" y="15813"/>
                </a:cubicBezTo>
                <a:cubicBezTo>
                  <a:pt x="11250" y="15813"/>
                  <a:pt x="11062" y="15844"/>
                  <a:pt x="10875" y="15906"/>
                </a:cubicBezTo>
                <a:cubicBezTo>
                  <a:pt x="10844" y="15906"/>
                  <a:pt x="10844" y="15781"/>
                  <a:pt x="10812" y="15844"/>
                </a:cubicBezTo>
                <a:cubicBezTo>
                  <a:pt x="10781" y="15906"/>
                  <a:pt x="10719" y="15906"/>
                  <a:pt x="10687" y="15938"/>
                </a:cubicBezTo>
                <a:cubicBezTo>
                  <a:pt x="10594" y="16000"/>
                  <a:pt x="10531" y="16031"/>
                  <a:pt x="10469" y="16125"/>
                </a:cubicBezTo>
                <a:cubicBezTo>
                  <a:pt x="10594" y="16031"/>
                  <a:pt x="10719" y="15969"/>
                  <a:pt x="10844" y="16000"/>
                </a:cubicBezTo>
                <a:cubicBezTo>
                  <a:pt x="10844" y="16000"/>
                  <a:pt x="10844" y="16031"/>
                  <a:pt x="10812" y="16031"/>
                </a:cubicBezTo>
                <a:cubicBezTo>
                  <a:pt x="10750" y="16125"/>
                  <a:pt x="10656" y="16156"/>
                  <a:pt x="10562" y="16188"/>
                </a:cubicBezTo>
                <a:cubicBezTo>
                  <a:pt x="10531" y="16188"/>
                  <a:pt x="10531" y="16188"/>
                  <a:pt x="10500" y="16188"/>
                </a:cubicBezTo>
                <a:cubicBezTo>
                  <a:pt x="10344" y="16219"/>
                  <a:pt x="10281" y="16281"/>
                  <a:pt x="10250" y="16406"/>
                </a:cubicBezTo>
                <a:cubicBezTo>
                  <a:pt x="10312" y="16375"/>
                  <a:pt x="10344" y="16344"/>
                  <a:pt x="10406" y="16344"/>
                </a:cubicBezTo>
                <a:cubicBezTo>
                  <a:pt x="10406" y="16344"/>
                  <a:pt x="10406" y="16344"/>
                  <a:pt x="10437" y="16344"/>
                </a:cubicBezTo>
                <a:cubicBezTo>
                  <a:pt x="10437" y="16344"/>
                  <a:pt x="10437" y="16344"/>
                  <a:pt x="10469" y="16344"/>
                </a:cubicBezTo>
                <a:cubicBezTo>
                  <a:pt x="10469" y="16344"/>
                  <a:pt x="10469" y="16375"/>
                  <a:pt x="10500" y="16375"/>
                </a:cubicBezTo>
                <a:cubicBezTo>
                  <a:pt x="10500" y="16375"/>
                  <a:pt x="10500" y="16375"/>
                  <a:pt x="10531" y="16344"/>
                </a:cubicBezTo>
                <a:cubicBezTo>
                  <a:pt x="10531" y="16344"/>
                  <a:pt x="10562" y="16344"/>
                  <a:pt x="10562" y="16344"/>
                </a:cubicBezTo>
                <a:cubicBezTo>
                  <a:pt x="10562" y="16344"/>
                  <a:pt x="10562" y="16344"/>
                  <a:pt x="10562" y="16344"/>
                </a:cubicBezTo>
                <a:cubicBezTo>
                  <a:pt x="10625" y="16344"/>
                  <a:pt x="10656" y="16313"/>
                  <a:pt x="10719" y="16281"/>
                </a:cubicBezTo>
                <a:cubicBezTo>
                  <a:pt x="10719" y="16281"/>
                  <a:pt x="10750" y="16281"/>
                  <a:pt x="10750" y="16281"/>
                </a:cubicBezTo>
                <a:cubicBezTo>
                  <a:pt x="10781" y="16375"/>
                  <a:pt x="10719" y="16531"/>
                  <a:pt x="10625" y="16531"/>
                </a:cubicBezTo>
                <a:cubicBezTo>
                  <a:pt x="10531" y="16531"/>
                  <a:pt x="10469" y="16563"/>
                  <a:pt x="10469" y="16625"/>
                </a:cubicBezTo>
                <a:cubicBezTo>
                  <a:pt x="10406" y="16719"/>
                  <a:pt x="10281" y="16719"/>
                  <a:pt x="10219" y="16781"/>
                </a:cubicBezTo>
                <a:cubicBezTo>
                  <a:pt x="10187" y="16813"/>
                  <a:pt x="10187" y="16813"/>
                  <a:pt x="10156" y="16781"/>
                </a:cubicBezTo>
                <a:cubicBezTo>
                  <a:pt x="10156" y="16781"/>
                  <a:pt x="10156" y="16781"/>
                  <a:pt x="10156" y="16750"/>
                </a:cubicBezTo>
                <a:cubicBezTo>
                  <a:pt x="10156" y="16719"/>
                  <a:pt x="10187" y="16719"/>
                  <a:pt x="10187" y="16656"/>
                </a:cubicBezTo>
                <a:cubicBezTo>
                  <a:pt x="10031" y="16656"/>
                  <a:pt x="10031" y="16781"/>
                  <a:pt x="9937" y="16875"/>
                </a:cubicBezTo>
                <a:cubicBezTo>
                  <a:pt x="9937" y="16875"/>
                  <a:pt x="9906" y="16906"/>
                  <a:pt x="9937" y="16938"/>
                </a:cubicBezTo>
                <a:cubicBezTo>
                  <a:pt x="9969" y="16938"/>
                  <a:pt x="10000" y="16938"/>
                  <a:pt x="10000" y="16906"/>
                </a:cubicBezTo>
                <a:cubicBezTo>
                  <a:pt x="10031" y="16844"/>
                  <a:pt x="10062" y="16844"/>
                  <a:pt x="10125" y="16875"/>
                </a:cubicBezTo>
                <a:cubicBezTo>
                  <a:pt x="10219" y="16875"/>
                  <a:pt x="10344" y="16844"/>
                  <a:pt x="10437" y="16781"/>
                </a:cubicBezTo>
                <a:cubicBezTo>
                  <a:pt x="10500" y="16719"/>
                  <a:pt x="10594" y="16719"/>
                  <a:pt x="10656" y="16688"/>
                </a:cubicBezTo>
                <a:cubicBezTo>
                  <a:pt x="10687" y="16688"/>
                  <a:pt x="10719" y="16719"/>
                  <a:pt x="10687" y="16750"/>
                </a:cubicBezTo>
                <a:cubicBezTo>
                  <a:pt x="10625" y="16781"/>
                  <a:pt x="10594" y="16875"/>
                  <a:pt x="10531" y="16906"/>
                </a:cubicBezTo>
                <a:cubicBezTo>
                  <a:pt x="10281" y="17000"/>
                  <a:pt x="10031" y="17094"/>
                  <a:pt x="9906" y="17344"/>
                </a:cubicBezTo>
                <a:cubicBezTo>
                  <a:pt x="9875" y="17438"/>
                  <a:pt x="9719" y="17500"/>
                  <a:pt x="9687" y="17594"/>
                </a:cubicBezTo>
                <a:cubicBezTo>
                  <a:pt x="9687" y="17719"/>
                  <a:pt x="9625" y="17813"/>
                  <a:pt x="9562" y="17875"/>
                </a:cubicBezTo>
                <a:cubicBezTo>
                  <a:pt x="9375" y="18125"/>
                  <a:pt x="9250" y="18406"/>
                  <a:pt x="9094" y="18656"/>
                </a:cubicBezTo>
                <a:cubicBezTo>
                  <a:pt x="8937" y="18844"/>
                  <a:pt x="8875" y="19094"/>
                  <a:pt x="8656" y="19187"/>
                </a:cubicBezTo>
                <a:cubicBezTo>
                  <a:pt x="8656" y="19219"/>
                  <a:pt x="8625" y="19250"/>
                  <a:pt x="8625" y="19219"/>
                </a:cubicBezTo>
                <a:cubicBezTo>
                  <a:pt x="8594" y="19187"/>
                  <a:pt x="8594" y="19156"/>
                  <a:pt x="8625" y="19156"/>
                </a:cubicBezTo>
                <a:cubicBezTo>
                  <a:pt x="8656" y="19094"/>
                  <a:pt x="8719" y="19062"/>
                  <a:pt x="8781" y="19031"/>
                </a:cubicBezTo>
                <a:cubicBezTo>
                  <a:pt x="8812" y="19000"/>
                  <a:pt x="8812" y="18937"/>
                  <a:pt x="8750" y="18937"/>
                </a:cubicBezTo>
                <a:cubicBezTo>
                  <a:pt x="8719" y="18906"/>
                  <a:pt x="8656" y="18906"/>
                  <a:pt x="8625" y="18906"/>
                </a:cubicBezTo>
                <a:cubicBezTo>
                  <a:pt x="8500" y="19000"/>
                  <a:pt x="8375" y="19062"/>
                  <a:pt x="8219" y="19094"/>
                </a:cubicBezTo>
                <a:cubicBezTo>
                  <a:pt x="8062" y="19156"/>
                  <a:pt x="7687" y="19219"/>
                  <a:pt x="6781" y="19437"/>
                </a:cubicBezTo>
                <a:cubicBezTo>
                  <a:pt x="5906" y="19656"/>
                  <a:pt x="5312" y="20406"/>
                  <a:pt x="4531" y="20750"/>
                </a:cubicBezTo>
                <a:cubicBezTo>
                  <a:pt x="3781" y="21094"/>
                  <a:pt x="3156" y="21469"/>
                  <a:pt x="3156" y="21687"/>
                </a:cubicBezTo>
                <a:cubicBezTo>
                  <a:pt x="3125" y="21719"/>
                  <a:pt x="3156" y="21781"/>
                  <a:pt x="3187" y="21844"/>
                </a:cubicBezTo>
                <a:cubicBezTo>
                  <a:pt x="3187" y="21937"/>
                  <a:pt x="3219" y="22031"/>
                  <a:pt x="3281" y="22031"/>
                </a:cubicBezTo>
                <a:cubicBezTo>
                  <a:pt x="3406" y="22000"/>
                  <a:pt x="3406" y="22062"/>
                  <a:pt x="3437" y="22125"/>
                </a:cubicBezTo>
                <a:cubicBezTo>
                  <a:pt x="3469" y="22156"/>
                  <a:pt x="3469" y="22156"/>
                  <a:pt x="3500" y="22156"/>
                </a:cubicBezTo>
                <a:cubicBezTo>
                  <a:pt x="3344" y="22406"/>
                  <a:pt x="3312" y="22562"/>
                  <a:pt x="3687" y="22406"/>
                </a:cubicBezTo>
                <a:cubicBezTo>
                  <a:pt x="4312" y="22187"/>
                  <a:pt x="4906" y="21937"/>
                  <a:pt x="5344" y="21719"/>
                </a:cubicBezTo>
                <a:cubicBezTo>
                  <a:pt x="5344" y="21719"/>
                  <a:pt x="5344" y="21719"/>
                  <a:pt x="5344" y="21719"/>
                </a:cubicBezTo>
                <a:cubicBezTo>
                  <a:pt x="5344" y="21719"/>
                  <a:pt x="5344" y="21719"/>
                  <a:pt x="5344" y="21719"/>
                </a:cubicBezTo>
                <a:cubicBezTo>
                  <a:pt x="5531" y="21625"/>
                  <a:pt x="5687" y="21500"/>
                  <a:pt x="5781" y="21406"/>
                </a:cubicBezTo>
                <a:cubicBezTo>
                  <a:pt x="5812" y="21406"/>
                  <a:pt x="5812" y="21406"/>
                  <a:pt x="5812" y="21406"/>
                </a:cubicBezTo>
                <a:cubicBezTo>
                  <a:pt x="5969" y="21344"/>
                  <a:pt x="6062" y="21250"/>
                  <a:pt x="6187" y="21156"/>
                </a:cubicBezTo>
                <a:cubicBezTo>
                  <a:pt x="6250" y="21125"/>
                  <a:pt x="6281" y="21062"/>
                  <a:pt x="6312" y="21000"/>
                </a:cubicBezTo>
                <a:cubicBezTo>
                  <a:pt x="6406" y="20937"/>
                  <a:pt x="6500" y="20875"/>
                  <a:pt x="6594" y="20781"/>
                </a:cubicBezTo>
                <a:cubicBezTo>
                  <a:pt x="6625" y="20750"/>
                  <a:pt x="6656" y="20719"/>
                  <a:pt x="6687" y="20719"/>
                </a:cubicBezTo>
                <a:cubicBezTo>
                  <a:pt x="6781" y="20719"/>
                  <a:pt x="6906" y="20781"/>
                  <a:pt x="6937" y="20625"/>
                </a:cubicBezTo>
                <a:cubicBezTo>
                  <a:pt x="6937" y="20594"/>
                  <a:pt x="6969" y="20594"/>
                  <a:pt x="6969" y="20594"/>
                </a:cubicBezTo>
                <a:cubicBezTo>
                  <a:pt x="7062" y="20656"/>
                  <a:pt x="7156" y="20625"/>
                  <a:pt x="7250" y="20594"/>
                </a:cubicBezTo>
                <a:cubicBezTo>
                  <a:pt x="7406" y="20562"/>
                  <a:pt x="7562" y="20531"/>
                  <a:pt x="7719" y="20531"/>
                </a:cubicBezTo>
                <a:cubicBezTo>
                  <a:pt x="7656" y="20625"/>
                  <a:pt x="7562" y="20719"/>
                  <a:pt x="7531" y="20812"/>
                </a:cubicBezTo>
                <a:cubicBezTo>
                  <a:pt x="7469" y="20937"/>
                  <a:pt x="7437" y="21062"/>
                  <a:pt x="7312" y="21125"/>
                </a:cubicBezTo>
                <a:cubicBezTo>
                  <a:pt x="7281" y="21156"/>
                  <a:pt x="7312" y="21187"/>
                  <a:pt x="7344" y="21187"/>
                </a:cubicBezTo>
                <a:cubicBezTo>
                  <a:pt x="7469" y="21219"/>
                  <a:pt x="7594" y="21156"/>
                  <a:pt x="7687" y="21156"/>
                </a:cubicBezTo>
                <a:cubicBezTo>
                  <a:pt x="7781" y="21125"/>
                  <a:pt x="7812" y="21031"/>
                  <a:pt x="7906" y="21000"/>
                </a:cubicBezTo>
                <a:cubicBezTo>
                  <a:pt x="8031" y="20937"/>
                  <a:pt x="8156" y="20812"/>
                  <a:pt x="8312" y="20844"/>
                </a:cubicBezTo>
                <a:cubicBezTo>
                  <a:pt x="8344" y="20844"/>
                  <a:pt x="8375" y="20844"/>
                  <a:pt x="8375" y="20812"/>
                </a:cubicBezTo>
                <a:cubicBezTo>
                  <a:pt x="8469" y="20750"/>
                  <a:pt x="8594" y="20812"/>
                  <a:pt x="8687" y="20719"/>
                </a:cubicBezTo>
                <a:cubicBezTo>
                  <a:pt x="8687" y="20719"/>
                  <a:pt x="8719" y="20719"/>
                  <a:pt x="8719" y="20719"/>
                </a:cubicBezTo>
                <a:cubicBezTo>
                  <a:pt x="8750" y="20781"/>
                  <a:pt x="8812" y="20812"/>
                  <a:pt x="8875" y="20844"/>
                </a:cubicBezTo>
                <a:cubicBezTo>
                  <a:pt x="8875" y="20844"/>
                  <a:pt x="8906" y="20875"/>
                  <a:pt x="8875" y="20906"/>
                </a:cubicBezTo>
                <a:cubicBezTo>
                  <a:pt x="8875" y="20906"/>
                  <a:pt x="8875" y="20937"/>
                  <a:pt x="8844" y="20937"/>
                </a:cubicBezTo>
                <a:cubicBezTo>
                  <a:pt x="8719" y="20906"/>
                  <a:pt x="8656" y="21000"/>
                  <a:pt x="8594" y="21031"/>
                </a:cubicBezTo>
                <a:cubicBezTo>
                  <a:pt x="8500" y="21094"/>
                  <a:pt x="8406" y="21187"/>
                  <a:pt x="8281" y="21187"/>
                </a:cubicBezTo>
                <a:cubicBezTo>
                  <a:pt x="8344" y="21250"/>
                  <a:pt x="8344" y="21250"/>
                  <a:pt x="8375" y="21250"/>
                </a:cubicBezTo>
                <a:cubicBezTo>
                  <a:pt x="8531" y="21187"/>
                  <a:pt x="8687" y="21187"/>
                  <a:pt x="8844" y="21187"/>
                </a:cubicBezTo>
                <a:cubicBezTo>
                  <a:pt x="9094" y="21187"/>
                  <a:pt x="9375" y="21219"/>
                  <a:pt x="9594" y="21031"/>
                </a:cubicBezTo>
                <a:cubicBezTo>
                  <a:pt x="9719" y="20937"/>
                  <a:pt x="9812" y="20812"/>
                  <a:pt x="9937" y="20656"/>
                </a:cubicBezTo>
                <a:cubicBezTo>
                  <a:pt x="10000" y="20594"/>
                  <a:pt x="10062" y="20500"/>
                  <a:pt x="10156" y="20469"/>
                </a:cubicBezTo>
                <a:cubicBezTo>
                  <a:pt x="10250" y="20437"/>
                  <a:pt x="10312" y="20281"/>
                  <a:pt x="10250" y="20219"/>
                </a:cubicBezTo>
                <a:cubicBezTo>
                  <a:pt x="10219" y="20156"/>
                  <a:pt x="10125" y="20156"/>
                  <a:pt x="10062" y="20187"/>
                </a:cubicBezTo>
                <a:cubicBezTo>
                  <a:pt x="9906" y="20219"/>
                  <a:pt x="9781" y="20312"/>
                  <a:pt x="9656" y="20406"/>
                </a:cubicBezTo>
                <a:cubicBezTo>
                  <a:pt x="9531" y="20531"/>
                  <a:pt x="9375" y="20656"/>
                  <a:pt x="9187" y="20719"/>
                </a:cubicBezTo>
                <a:cubicBezTo>
                  <a:pt x="9125" y="20719"/>
                  <a:pt x="9062" y="20719"/>
                  <a:pt x="9031" y="20781"/>
                </a:cubicBezTo>
                <a:cubicBezTo>
                  <a:pt x="9000" y="20781"/>
                  <a:pt x="8969" y="20812"/>
                  <a:pt x="8937" y="20781"/>
                </a:cubicBezTo>
                <a:cubicBezTo>
                  <a:pt x="8937" y="20750"/>
                  <a:pt x="8937" y="20719"/>
                  <a:pt x="8969" y="20719"/>
                </a:cubicBezTo>
                <a:cubicBezTo>
                  <a:pt x="9031" y="20687"/>
                  <a:pt x="9000" y="20656"/>
                  <a:pt x="8969" y="20625"/>
                </a:cubicBezTo>
                <a:cubicBezTo>
                  <a:pt x="8906" y="20625"/>
                  <a:pt x="8875" y="20594"/>
                  <a:pt x="8844" y="20594"/>
                </a:cubicBezTo>
                <a:cubicBezTo>
                  <a:pt x="8812" y="20562"/>
                  <a:pt x="8781" y="20562"/>
                  <a:pt x="8781" y="20531"/>
                </a:cubicBezTo>
                <a:cubicBezTo>
                  <a:pt x="8781" y="20500"/>
                  <a:pt x="8812" y="20500"/>
                  <a:pt x="8844" y="20500"/>
                </a:cubicBezTo>
                <a:cubicBezTo>
                  <a:pt x="8906" y="20469"/>
                  <a:pt x="8937" y="20469"/>
                  <a:pt x="9000" y="20437"/>
                </a:cubicBezTo>
                <a:cubicBezTo>
                  <a:pt x="9094" y="20406"/>
                  <a:pt x="9156" y="20344"/>
                  <a:pt x="9156" y="20281"/>
                </a:cubicBezTo>
                <a:cubicBezTo>
                  <a:pt x="9156" y="20156"/>
                  <a:pt x="9219" y="20094"/>
                  <a:pt x="9312" y="20031"/>
                </a:cubicBezTo>
                <a:cubicBezTo>
                  <a:pt x="9375" y="20000"/>
                  <a:pt x="9469" y="19937"/>
                  <a:pt x="9531" y="19875"/>
                </a:cubicBezTo>
                <a:cubicBezTo>
                  <a:pt x="9625" y="19812"/>
                  <a:pt x="9719" y="19750"/>
                  <a:pt x="9812" y="19719"/>
                </a:cubicBezTo>
                <a:cubicBezTo>
                  <a:pt x="9875" y="19687"/>
                  <a:pt x="9937" y="19687"/>
                  <a:pt x="10031" y="19687"/>
                </a:cubicBezTo>
                <a:cubicBezTo>
                  <a:pt x="10125" y="19656"/>
                  <a:pt x="10187" y="19531"/>
                  <a:pt x="10281" y="19562"/>
                </a:cubicBezTo>
                <a:cubicBezTo>
                  <a:pt x="10437" y="19594"/>
                  <a:pt x="10562" y="19500"/>
                  <a:pt x="10687" y="19437"/>
                </a:cubicBezTo>
                <a:cubicBezTo>
                  <a:pt x="10687" y="19437"/>
                  <a:pt x="10687" y="19437"/>
                  <a:pt x="10687" y="19437"/>
                </a:cubicBezTo>
                <a:cubicBezTo>
                  <a:pt x="10719" y="19406"/>
                  <a:pt x="10781" y="19406"/>
                  <a:pt x="10750" y="19469"/>
                </a:cubicBezTo>
                <a:cubicBezTo>
                  <a:pt x="10750" y="19500"/>
                  <a:pt x="10750" y="19500"/>
                  <a:pt x="10781" y="19500"/>
                </a:cubicBezTo>
                <a:cubicBezTo>
                  <a:pt x="10844" y="19500"/>
                  <a:pt x="10812" y="19469"/>
                  <a:pt x="10812" y="19469"/>
                </a:cubicBezTo>
                <a:cubicBezTo>
                  <a:pt x="10812" y="19437"/>
                  <a:pt x="10812" y="19406"/>
                  <a:pt x="10844" y="19406"/>
                </a:cubicBezTo>
                <a:cubicBezTo>
                  <a:pt x="10937" y="19406"/>
                  <a:pt x="11000" y="19312"/>
                  <a:pt x="11094" y="19281"/>
                </a:cubicBezTo>
                <a:cubicBezTo>
                  <a:pt x="11219" y="19219"/>
                  <a:pt x="11344" y="19094"/>
                  <a:pt x="11500" y="19062"/>
                </a:cubicBezTo>
                <a:cubicBezTo>
                  <a:pt x="11531" y="19062"/>
                  <a:pt x="11531" y="19031"/>
                  <a:pt x="11562" y="19031"/>
                </a:cubicBezTo>
                <a:cubicBezTo>
                  <a:pt x="11594" y="18937"/>
                  <a:pt x="11656" y="18844"/>
                  <a:pt x="11750" y="18813"/>
                </a:cubicBezTo>
                <a:cubicBezTo>
                  <a:pt x="11750" y="18813"/>
                  <a:pt x="11781" y="18813"/>
                  <a:pt x="11781" y="18813"/>
                </a:cubicBezTo>
                <a:cubicBezTo>
                  <a:pt x="11781" y="18813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812" y="18781"/>
                  <a:pt x="11812" y="18781"/>
                </a:cubicBezTo>
                <a:cubicBezTo>
                  <a:pt x="11812" y="18781"/>
                  <a:pt x="11812" y="18781"/>
                  <a:pt x="11812" y="18781"/>
                </a:cubicBezTo>
                <a:cubicBezTo>
                  <a:pt x="11812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50" y="18781"/>
                  <a:pt x="11656" y="18813"/>
                  <a:pt x="11719" y="18719"/>
                </a:cubicBezTo>
                <a:cubicBezTo>
                  <a:pt x="11781" y="18594"/>
                  <a:pt x="11875" y="18469"/>
                  <a:pt x="12062" y="18469"/>
                </a:cubicBezTo>
                <a:cubicBezTo>
                  <a:pt x="12125" y="18438"/>
                  <a:pt x="12187" y="18438"/>
                  <a:pt x="12219" y="18375"/>
                </a:cubicBezTo>
                <a:cubicBezTo>
                  <a:pt x="12219" y="18375"/>
                  <a:pt x="12219" y="18375"/>
                  <a:pt x="12219" y="18375"/>
                </a:cubicBezTo>
                <a:cubicBezTo>
                  <a:pt x="12062" y="18375"/>
                  <a:pt x="12062" y="18375"/>
                  <a:pt x="11969" y="18313"/>
                </a:cubicBezTo>
                <a:cubicBezTo>
                  <a:pt x="11969" y="18313"/>
                  <a:pt x="11937" y="18313"/>
                  <a:pt x="11937" y="18313"/>
                </a:cubicBezTo>
                <a:cubicBezTo>
                  <a:pt x="11875" y="18313"/>
                  <a:pt x="11812" y="18313"/>
                  <a:pt x="11781" y="18375"/>
                </a:cubicBezTo>
                <a:cubicBezTo>
                  <a:pt x="11750" y="18438"/>
                  <a:pt x="11719" y="18438"/>
                  <a:pt x="11687" y="18438"/>
                </a:cubicBezTo>
                <a:cubicBezTo>
                  <a:pt x="11625" y="18438"/>
                  <a:pt x="11594" y="18438"/>
                  <a:pt x="11562" y="18469"/>
                </a:cubicBezTo>
                <a:cubicBezTo>
                  <a:pt x="11469" y="18563"/>
                  <a:pt x="11344" y="18594"/>
                  <a:pt x="11312" y="18719"/>
                </a:cubicBezTo>
                <a:cubicBezTo>
                  <a:pt x="11344" y="18750"/>
                  <a:pt x="11375" y="18719"/>
                  <a:pt x="11406" y="18719"/>
                </a:cubicBezTo>
                <a:cubicBezTo>
                  <a:pt x="11406" y="18719"/>
                  <a:pt x="11437" y="18719"/>
                  <a:pt x="11437" y="18719"/>
                </a:cubicBezTo>
                <a:cubicBezTo>
                  <a:pt x="11437" y="18719"/>
                  <a:pt x="11437" y="18750"/>
                  <a:pt x="11437" y="18750"/>
                </a:cubicBezTo>
                <a:cubicBezTo>
                  <a:pt x="11375" y="18750"/>
                  <a:pt x="11344" y="18813"/>
                  <a:pt x="11312" y="18844"/>
                </a:cubicBezTo>
                <a:cubicBezTo>
                  <a:pt x="11312" y="18844"/>
                  <a:pt x="11312" y="18844"/>
                  <a:pt x="11312" y="18844"/>
                </a:cubicBezTo>
                <a:cubicBezTo>
                  <a:pt x="11312" y="18875"/>
                  <a:pt x="11281" y="18875"/>
                  <a:pt x="11281" y="18875"/>
                </a:cubicBezTo>
                <a:cubicBezTo>
                  <a:pt x="11281" y="18875"/>
                  <a:pt x="11250" y="18906"/>
                  <a:pt x="11219" y="18906"/>
                </a:cubicBezTo>
                <a:cubicBezTo>
                  <a:pt x="11219" y="18875"/>
                  <a:pt x="11219" y="18875"/>
                  <a:pt x="11219" y="18875"/>
                </a:cubicBezTo>
                <a:cubicBezTo>
                  <a:pt x="11219" y="18844"/>
                  <a:pt x="11219" y="18844"/>
                  <a:pt x="11219" y="18844"/>
                </a:cubicBezTo>
                <a:cubicBezTo>
                  <a:pt x="11219" y="18844"/>
                  <a:pt x="11219" y="18844"/>
                  <a:pt x="11219" y="18844"/>
                </a:cubicBezTo>
                <a:cubicBezTo>
                  <a:pt x="11219" y="18844"/>
                  <a:pt x="11219" y="18844"/>
                  <a:pt x="11219" y="18844"/>
                </a:cubicBezTo>
                <a:cubicBezTo>
                  <a:pt x="11219" y="18844"/>
                  <a:pt x="11219" y="18844"/>
                  <a:pt x="11187" y="18844"/>
                </a:cubicBezTo>
                <a:cubicBezTo>
                  <a:pt x="11187" y="18844"/>
                  <a:pt x="11187" y="18844"/>
                  <a:pt x="11156" y="18844"/>
                </a:cubicBezTo>
                <a:cubicBezTo>
                  <a:pt x="11094" y="18937"/>
                  <a:pt x="11000" y="18937"/>
                  <a:pt x="10906" y="19000"/>
                </a:cubicBezTo>
                <a:cubicBezTo>
                  <a:pt x="10844" y="19031"/>
                  <a:pt x="10750" y="19062"/>
                  <a:pt x="10687" y="19094"/>
                </a:cubicBezTo>
                <a:cubicBezTo>
                  <a:pt x="10656" y="19125"/>
                  <a:pt x="10656" y="19125"/>
                  <a:pt x="10625" y="19125"/>
                </a:cubicBezTo>
                <a:cubicBezTo>
                  <a:pt x="10594" y="19094"/>
                  <a:pt x="10625" y="19062"/>
                  <a:pt x="10625" y="19031"/>
                </a:cubicBezTo>
                <a:cubicBezTo>
                  <a:pt x="10656" y="19000"/>
                  <a:pt x="10719" y="18969"/>
                  <a:pt x="10687" y="18906"/>
                </a:cubicBezTo>
                <a:cubicBezTo>
                  <a:pt x="10625" y="18844"/>
                  <a:pt x="10656" y="18813"/>
                  <a:pt x="10687" y="18750"/>
                </a:cubicBezTo>
                <a:cubicBezTo>
                  <a:pt x="10750" y="18781"/>
                  <a:pt x="10656" y="18844"/>
                  <a:pt x="10719" y="18844"/>
                </a:cubicBezTo>
                <a:cubicBezTo>
                  <a:pt x="10781" y="18844"/>
                  <a:pt x="10781" y="18781"/>
                  <a:pt x="10781" y="18750"/>
                </a:cubicBezTo>
                <a:cubicBezTo>
                  <a:pt x="10750" y="18719"/>
                  <a:pt x="10750" y="18656"/>
                  <a:pt x="10750" y="18625"/>
                </a:cubicBezTo>
                <a:cubicBezTo>
                  <a:pt x="10750" y="18563"/>
                  <a:pt x="10750" y="18469"/>
                  <a:pt x="10812" y="18406"/>
                </a:cubicBezTo>
                <a:cubicBezTo>
                  <a:pt x="11000" y="18344"/>
                  <a:pt x="11094" y="18156"/>
                  <a:pt x="11250" y="18063"/>
                </a:cubicBezTo>
                <a:cubicBezTo>
                  <a:pt x="11312" y="18000"/>
                  <a:pt x="11375" y="17875"/>
                  <a:pt x="11531" y="17906"/>
                </a:cubicBezTo>
                <a:cubicBezTo>
                  <a:pt x="11562" y="17906"/>
                  <a:pt x="11562" y="17875"/>
                  <a:pt x="11562" y="17875"/>
                </a:cubicBezTo>
                <a:cubicBezTo>
                  <a:pt x="11562" y="17719"/>
                  <a:pt x="11719" y="17750"/>
                  <a:pt x="11781" y="17688"/>
                </a:cubicBezTo>
                <a:cubicBezTo>
                  <a:pt x="11812" y="17688"/>
                  <a:pt x="11875" y="17656"/>
                  <a:pt x="11906" y="17625"/>
                </a:cubicBezTo>
                <a:cubicBezTo>
                  <a:pt x="11969" y="17563"/>
                  <a:pt x="12031" y="17531"/>
                  <a:pt x="12094" y="17563"/>
                </a:cubicBezTo>
                <a:cubicBezTo>
                  <a:pt x="12125" y="17563"/>
                  <a:pt x="12156" y="17594"/>
                  <a:pt x="12187" y="17531"/>
                </a:cubicBezTo>
                <a:cubicBezTo>
                  <a:pt x="12219" y="17469"/>
                  <a:pt x="12281" y="17469"/>
                  <a:pt x="12312" y="17500"/>
                </a:cubicBezTo>
                <a:cubicBezTo>
                  <a:pt x="12375" y="17531"/>
                  <a:pt x="12406" y="17500"/>
                  <a:pt x="12437" y="17469"/>
                </a:cubicBezTo>
                <a:cubicBezTo>
                  <a:pt x="12469" y="17406"/>
                  <a:pt x="12500" y="17344"/>
                  <a:pt x="12562" y="17344"/>
                </a:cubicBezTo>
                <a:cubicBezTo>
                  <a:pt x="12656" y="17375"/>
                  <a:pt x="12656" y="17313"/>
                  <a:pt x="12656" y="17281"/>
                </a:cubicBezTo>
                <a:cubicBezTo>
                  <a:pt x="12687" y="17219"/>
                  <a:pt x="12687" y="17125"/>
                  <a:pt x="12781" y="17156"/>
                </a:cubicBezTo>
                <a:cubicBezTo>
                  <a:pt x="12812" y="17156"/>
                  <a:pt x="12812" y="17125"/>
                  <a:pt x="12844" y="17125"/>
                </a:cubicBezTo>
                <a:cubicBezTo>
                  <a:pt x="12906" y="17063"/>
                  <a:pt x="12969" y="16938"/>
                  <a:pt x="13125" y="17000"/>
                </a:cubicBezTo>
                <a:cubicBezTo>
                  <a:pt x="13156" y="17000"/>
                  <a:pt x="13187" y="16969"/>
                  <a:pt x="13219" y="16938"/>
                </a:cubicBezTo>
                <a:cubicBezTo>
                  <a:pt x="13094" y="16906"/>
                  <a:pt x="13000" y="16844"/>
                  <a:pt x="12875" y="16813"/>
                </a:cubicBezTo>
                <a:cubicBezTo>
                  <a:pt x="12937" y="16781"/>
                  <a:pt x="12969" y="16750"/>
                  <a:pt x="13000" y="16719"/>
                </a:cubicBezTo>
                <a:cubicBezTo>
                  <a:pt x="13000" y="16688"/>
                  <a:pt x="13000" y="16688"/>
                  <a:pt x="13000" y="16688"/>
                </a:cubicBezTo>
                <a:cubicBezTo>
                  <a:pt x="13000" y="16688"/>
                  <a:pt x="13000" y="16656"/>
                  <a:pt x="13000" y="16656"/>
                </a:cubicBezTo>
                <a:cubicBezTo>
                  <a:pt x="13000" y="16656"/>
                  <a:pt x="13031" y="16656"/>
                  <a:pt x="13031" y="16656"/>
                </a:cubicBezTo>
                <a:cubicBezTo>
                  <a:pt x="13031" y="16719"/>
                  <a:pt x="13125" y="16719"/>
                  <a:pt x="13156" y="16781"/>
                </a:cubicBezTo>
                <a:cubicBezTo>
                  <a:pt x="13187" y="16844"/>
                  <a:pt x="13219" y="16813"/>
                  <a:pt x="13250" y="16781"/>
                </a:cubicBezTo>
                <a:cubicBezTo>
                  <a:pt x="13281" y="16750"/>
                  <a:pt x="13312" y="16750"/>
                  <a:pt x="13312" y="16719"/>
                </a:cubicBezTo>
                <a:cubicBezTo>
                  <a:pt x="13344" y="16656"/>
                  <a:pt x="13344" y="16563"/>
                  <a:pt x="13312" y="16469"/>
                </a:cubicBezTo>
                <a:cubicBezTo>
                  <a:pt x="13406" y="16438"/>
                  <a:pt x="13469" y="16406"/>
                  <a:pt x="13531" y="16406"/>
                </a:cubicBezTo>
                <a:cubicBezTo>
                  <a:pt x="13562" y="16406"/>
                  <a:pt x="13562" y="16406"/>
                  <a:pt x="13562" y="16406"/>
                </a:cubicBezTo>
                <a:cubicBezTo>
                  <a:pt x="13594" y="16406"/>
                  <a:pt x="13625" y="16406"/>
                  <a:pt x="13656" y="16406"/>
                </a:cubicBezTo>
                <a:cubicBezTo>
                  <a:pt x="13531" y="16344"/>
                  <a:pt x="13406" y="16219"/>
                  <a:pt x="13219" y="16188"/>
                </a:cubicBezTo>
                <a:cubicBezTo>
                  <a:pt x="13219" y="16188"/>
                  <a:pt x="13187" y="16156"/>
                  <a:pt x="13187" y="16156"/>
                </a:cubicBezTo>
                <a:cubicBezTo>
                  <a:pt x="13156" y="16156"/>
                  <a:pt x="13156" y="16156"/>
                  <a:pt x="13125" y="16125"/>
                </a:cubicBezTo>
                <a:cubicBezTo>
                  <a:pt x="13094" y="16125"/>
                  <a:pt x="13062" y="16094"/>
                  <a:pt x="13000" y="16063"/>
                </a:cubicBezTo>
                <a:cubicBezTo>
                  <a:pt x="13000" y="16063"/>
                  <a:pt x="13000" y="16063"/>
                  <a:pt x="13000" y="16063"/>
                </a:cubicBezTo>
                <a:cubicBezTo>
                  <a:pt x="13000" y="16063"/>
                  <a:pt x="13000" y="16063"/>
                  <a:pt x="13000" y="16063"/>
                </a:cubicBezTo>
                <a:cubicBezTo>
                  <a:pt x="13000" y="16063"/>
                  <a:pt x="12969" y="16063"/>
                  <a:pt x="12937" y="16031"/>
                </a:cubicBezTo>
                <a:cubicBezTo>
                  <a:pt x="12719" y="15938"/>
                  <a:pt x="12531" y="15813"/>
                  <a:pt x="12312" y="15656"/>
                </a:cubicBezTo>
                <a:cubicBezTo>
                  <a:pt x="12281" y="15625"/>
                  <a:pt x="12281" y="15594"/>
                  <a:pt x="12312" y="15563"/>
                </a:cubicBezTo>
                <a:cubicBezTo>
                  <a:pt x="12406" y="15469"/>
                  <a:pt x="12531" y="15406"/>
                  <a:pt x="12625" y="15344"/>
                </a:cubicBezTo>
                <a:cubicBezTo>
                  <a:pt x="12781" y="15250"/>
                  <a:pt x="12937" y="15156"/>
                  <a:pt x="13094" y="15125"/>
                </a:cubicBezTo>
                <a:cubicBezTo>
                  <a:pt x="13125" y="15125"/>
                  <a:pt x="13125" y="15125"/>
                  <a:pt x="13125" y="15125"/>
                </a:cubicBezTo>
                <a:cubicBezTo>
                  <a:pt x="13312" y="15094"/>
                  <a:pt x="13500" y="15125"/>
                  <a:pt x="13656" y="15125"/>
                </a:cubicBezTo>
                <a:cubicBezTo>
                  <a:pt x="13687" y="15094"/>
                  <a:pt x="13750" y="15125"/>
                  <a:pt x="13750" y="15063"/>
                </a:cubicBezTo>
                <a:cubicBezTo>
                  <a:pt x="13719" y="15031"/>
                  <a:pt x="13687" y="15031"/>
                  <a:pt x="13656" y="15063"/>
                </a:cubicBezTo>
                <a:cubicBezTo>
                  <a:pt x="13625" y="15063"/>
                  <a:pt x="13594" y="15063"/>
                  <a:pt x="13562" y="15063"/>
                </a:cubicBezTo>
                <a:cubicBezTo>
                  <a:pt x="13437" y="15063"/>
                  <a:pt x="13344" y="15031"/>
                  <a:pt x="13250" y="15031"/>
                </a:cubicBezTo>
                <a:cubicBezTo>
                  <a:pt x="13406" y="14938"/>
                  <a:pt x="13562" y="14844"/>
                  <a:pt x="13750" y="14750"/>
                </a:cubicBezTo>
                <a:cubicBezTo>
                  <a:pt x="13750" y="14750"/>
                  <a:pt x="13750" y="14750"/>
                  <a:pt x="13750" y="14750"/>
                </a:cubicBezTo>
                <a:cubicBezTo>
                  <a:pt x="13750" y="14750"/>
                  <a:pt x="13750" y="14750"/>
                  <a:pt x="13750" y="14750"/>
                </a:cubicBezTo>
                <a:cubicBezTo>
                  <a:pt x="13750" y="14750"/>
                  <a:pt x="13781" y="14750"/>
                  <a:pt x="13781" y="14750"/>
                </a:cubicBezTo>
                <a:cubicBezTo>
                  <a:pt x="13781" y="14750"/>
                  <a:pt x="13812" y="14750"/>
                  <a:pt x="13812" y="14750"/>
                </a:cubicBezTo>
                <a:cubicBezTo>
                  <a:pt x="13844" y="14750"/>
                  <a:pt x="13875" y="14750"/>
                  <a:pt x="13875" y="14719"/>
                </a:cubicBezTo>
                <a:cubicBezTo>
                  <a:pt x="13906" y="14719"/>
                  <a:pt x="13937" y="14719"/>
                  <a:pt x="13969" y="14719"/>
                </a:cubicBezTo>
                <a:cubicBezTo>
                  <a:pt x="14000" y="14719"/>
                  <a:pt x="14031" y="14719"/>
                  <a:pt x="14062" y="14688"/>
                </a:cubicBezTo>
                <a:cubicBezTo>
                  <a:pt x="14312" y="14625"/>
                  <a:pt x="14531" y="14531"/>
                  <a:pt x="14750" y="14406"/>
                </a:cubicBezTo>
                <a:cubicBezTo>
                  <a:pt x="15062" y="14250"/>
                  <a:pt x="15344" y="14094"/>
                  <a:pt x="15625" y="13969"/>
                </a:cubicBezTo>
                <a:cubicBezTo>
                  <a:pt x="15625" y="13969"/>
                  <a:pt x="15625" y="13969"/>
                  <a:pt x="15656" y="13969"/>
                </a:cubicBezTo>
                <a:cubicBezTo>
                  <a:pt x="15656" y="13969"/>
                  <a:pt x="15687" y="13969"/>
                  <a:pt x="15687" y="14000"/>
                </a:cubicBezTo>
                <a:cubicBezTo>
                  <a:pt x="15687" y="14000"/>
                  <a:pt x="15687" y="14000"/>
                  <a:pt x="15687" y="14000"/>
                </a:cubicBezTo>
                <a:cubicBezTo>
                  <a:pt x="15687" y="14000"/>
                  <a:pt x="15656" y="14000"/>
                  <a:pt x="15656" y="14000"/>
                </a:cubicBezTo>
                <a:cubicBezTo>
                  <a:pt x="15656" y="13969"/>
                  <a:pt x="15656" y="13969"/>
                  <a:pt x="15656" y="13969"/>
                </a:cubicBezTo>
                <a:cubicBezTo>
                  <a:pt x="15656" y="13969"/>
                  <a:pt x="15656" y="13969"/>
                  <a:pt x="15656" y="13969"/>
                </a:cubicBezTo>
                <a:cubicBezTo>
                  <a:pt x="15656" y="13969"/>
                  <a:pt x="15656" y="13969"/>
                  <a:pt x="15625" y="13969"/>
                </a:cubicBezTo>
                <a:cubicBezTo>
                  <a:pt x="15625" y="14000"/>
                  <a:pt x="15625" y="14000"/>
                  <a:pt x="15625" y="14031"/>
                </a:cubicBezTo>
                <a:cubicBezTo>
                  <a:pt x="15625" y="14031"/>
                  <a:pt x="15594" y="14031"/>
                  <a:pt x="15594" y="14031"/>
                </a:cubicBezTo>
                <a:cubicBezTo>
                  <a:pt x="15594" y="14031"/>
                  <a:pt x="15594" y="14031"/>
                  <a:pt x="15562" y="14031"/>
                </a:cubicBezTo>
                <a:cubicBezTo>
                  <a:pt x="15562" y="14031"/>
                  <a:pt x="15562" y="14031"/>
                  <a:pt x="15562" y="14031"/>
                </a:cubicBezTo>
                <a:cubicBezTo>
                  <a:pt x="15562" y="14031"/>
                  <a:pt x="15562" y="14063"/>
                  <a:pt x="15562" y="14063"/>
                </a:cubicBezTo>
                <a:cubicBezTo>
                  <a:pt x="15531" y="14094"/>
                  <a:pt x="15469" y="14125"/>
                  <a:pt x="15437" y="14125"/>
                </a:cubicBezTo>
                <a:cubicBezTo>
                  <a:pt x="15187" y="14250"/>
                  <a:pt x="14969" y="14406"/>
                  <a:pt x="14750" y="14500"/>
                </a:cubicBezTo>
                <a:cubicBezTo>
                  <a:pt x="14719" y="14500"/>
                  <a:pt x="14719" y="14500"/>
                  <a:pt x="14719" y="14500"/>
                </a:cubicBezTo>
                <a:cubicBezTo>
                  <a:pt x="14719" y="14500"/>
                  <a:pt x="14719" y="14500"/>
                  <a:pt x="14719" y="14500"/>
                </a:cubicBezTo>
                <a:cubicBezTo>
                  <a:pt x="14687" y="14531"/>
                  <a:pt x="14687" y="14531"/>
                  <a:pt x="14687" y="14531"/>
                </a:cubicBezTo>
                <a:cubicBezTo>
                  <a:pt x="14656" y="14563"/>
                  <a:pt x="14656" y="14563"/>
                  <a:pt x="14625" y="14563"/>
                </a:cubicBezTo>
                <a:cubicBezTo>
                  <a:pt x="14625" y="14563"/>
                  <a:pt x="14594" y="14563"/>
                  <a:pt x="14594" y="14563"/>
                </a:cubicBezTo>
                <a:cubicBezTo>
                  <a:pt x="14312" y="14688"/>
                  <a:pt x="14031" y="14781"/>
                  <a:pt x="13750" y="14844"/>
                </a:cubicBezTo>
                <a:cubicBezTo>
                  <a:pt x="13687" y="14844"/>
                  <a:pt x="13719" y="14875"/>
                  <a:pt x="13719" y="14906"/>
                </a:cubicBezTo>
                <a:cubicBezTo>
                  <a:pt x="13750" y="14906"/>
                  <a:pt x="13750" y="14938"/>
                  <a:pt x="13781" y="14938"/>
                </a:cubicBezTo>
                <a:cubicBezTo>
                  <a:pt x="13875" y="15031"/>
                  <a:pt x="14031" y="15031"/>
                  <a:pt x="14156" y="15000"/>
                </a:cubicBezTo>
                <a:cubicBezTo>
                  <a:pt x="14187" y="14969"/>
                  <a:pt x="14219" y="14969"/>
                  <a:pt x="14281" y="14969"/>
                </a:cubicBezTo>
                <a:cubicBezTo>
                  <a:pt x="14281" y="14969"/>
                  <a:pt x="14281" y="14969"/>
                  <a:pt x="14281" y="14969"/>
                </a:cubicBezTo>
                <a:cubicBezTo>
                  <a:pt x="14594" y="14875"/>
                  <a:pt x="14844" y="14719"/>
                  <a:pt x="15125" y="14594"/>
                </a:cubicBezTo>
                <a:cubicBezTo>
                  <a:pt x="15375" y="14500"/>
                  <a:pt x="15625" y="14375"/>
                  <a:pt x="15906" y="14281"/>
                </a:cubicBezTo>
                <a:cubicBezTo>
                  <a:pt x="15875" y="14313"/>
                  <a:pt x="15875" y="14344"/>
                  <a:pt x="15875" y="14375"/>
                </a:cubicBezTo>
                <a:cubicBezTo>
                  <a:pt x="15875" y="14375"/>
                  <a:pt x="15875" y="14375"/>
                  <a:pt x="15875" y="14375"/>
                </a:cubicBezTo>
                <a:cubicBezTo>
                  <a:pt x="15844" y="14375"/>
                  <a:pt x="15812" y="14406"/>
                  <a:pt x="15750" y="14406"/>
                </a:cubicBezTo>
                <a:cubicBezTo>
                  <a:pt x="15750" y="14406"/>
                  <a:pt x="15750" y="14406"/>
                  <a:pt x="15750" y="14406"/>
                </a:cubicBezTo>
                <a:cubicBezTo>
                  <a:pt x="15719" y="14438"/>
                  <a:pt x="15687" y="14438"/>
                  <a:pt x="15625" y="14469"/>
                </a:cubicBezTo>
                <a:cubicBezTo>
                  <a:pt x="15344" y="14594"/>
                  <a:pt x="15094" y="14750"/>
                  <a:pt x="14812" y="14844"/>
                </a:cubicBezTo>
                <a:cubicBezTo>
                  <a:pt x="14562" y="14906"/>
                  <a:pt x="14344" y="15000"/>
                  <a:pt x="14125" y="15125"/>
                </a:cubicBezTo>
                <a:cubicBezTo>
                  <a:pt x="14219" y="15125"/>
                  <a:pt x="14344" y="15125"/>
                  <a:pt x="14437" y="15125"/>
                </a:cubicBezTo>
                <a:cubicBezTo>
                  <a:pt x="14531" y="15125"/>
                  <a:pt x="14531" y="15188"/>
                  <a:pt x="14500" y="15250"/>
                </a:cubicBezTo>
                <a:cubicBezTo>
                  <a:pt x="14500" y="15281"/>
                  <a:pt x="14500" y="15281"/>
                  <a:pt x="14500" y="15281"/>
                </a:cubicBezTo>
                <a:cubicBezTo>
                  <a:pt x="14500" y="15281"/>
                  <a:pt x="14469" y="15281"/>
                  <a:pt x="14469" y="15313"/>
                </a:cubicBezTo>
                <a:cubicBezTo>
                  <a:pt x="14437" y="15313"/>
                  <a:pt x="14406" y="15344"/>
                  <a:pt x="14375" y="15344"/>
                </a:cubicBezTo>
                <a:cubicBezTo>
                  <a:pt x="14344" y="15375"/>
                  <a:pt x="14312" y="15406"/>
                  <a:pt x="14250" y="15406"/>
                </a:cubicBezTo>
                <a:cubicBezTo>
                  <a:pt x="14156" y="15438"/>
                  <a:pt x="14094" y="15438"/>
                  <a:pt x="14000" y="15438"/>
                </a:cubicBezTo>
                <a:cubicBezTo>
                  <a:pt x="13937" y="15469"/>
                  <a:pt x="13906" y="15469"/>
                  <a:pt x="13844" y="15469"/>
                </a:cubicBezTo>
                <a:cubicBezTo>
                  <a:pt x="13844" y="15469"/>
                  <a:pt x="13844" y="15469"/>
                  <a:pt x="13844" y="15469"/>
                </a:cubicBezTo>
                <a:cubicBezTo>
                  <a:pt x="13812" y="15438"/>
                  <a:pt x="13781" y="15438"/>
                  <a:pt x="13750" y="15469"/>
                </a:cubicBezTo>
                <a:cubicBezTo>
                  <a:pt x="13719" y="15469"/>
                  <a:pt x="13719" y="15469"/>
                  <a:pt x="13687" y="15469"/>
                </a:cubicBezTo>
                <a:cubicBezTo>
                  <a:pt x="13656" y="15469"/>
                  <a:pt x="13656" y="15500"/>
                  <a:pt x="13625" y="15500"/>
                </a:cubicBezTo>
                <a:cubicBezTo>
                  <a:pt x="13562" y="15469"/>
                  <a:pt x="13531" y="15500"/>
                  <a:pt x="13469" y="15531"/>
                </a:cubicBezTo>
                <a:cubicBezTo>
                  <a:pt x="13562" y="15531"/>
                  <a:pt x="13625" y="15531"/>
                  <a:pt x="13719" y="15531"/>
                </a:cubicBezTo>
                <a:cubicBezTo>
                  <a:pt x="13781" y="15563"/>
                  <a:pt x="13875" y="15531"/>
                  <a:pt x="13937" y="15531"/>
                </a:cubicBezTo>
                <a:cubicBezTo>
                  <a:pt x="14000" y="15531"/>
                  <a:pt x="14031" y="15531"/>
                  <a:pt x="14062" y="15531"/>
                </a:cubicBezTo>
                <a:cubicBezTo>
                  <a:pt x="14281" y="15531"/>
                  <a:pt x="14500" y="15438"/>
                  <a:pt x="14719" y="15375"/>
                </a:cubicBezTo>
                <a:cubicBezTo>
                  <a:pt x="14750" y="15375"/>
                  <a:pt x="14781" y="15375"/>
                  <a:pt x="14844" y="15375"/>
                </a:cubicBezTo>
                <a:cubicBezTo>
                  <a:pt x="14844" y="15375"/>
                  <a:pt x="14844" y="15375"/>
                  <a:pt x="14844" y="15375"/>
                </a:cubicBezTo>
                <a:cubicBezTo>
                  <a:pt x="14844" y="15375"/>
                  <a:pt x="14875" y="15344"/>
                  <a:pt x="14906" y="15375"/>
                </a:cubicBezTo>
                <a:cubicBezTo>
                  <a:pt x="14812" y="15406"/>
                  <a:pt x="14750" y="15438"/>
                  <a:pt x="14687" y="15469"/>
                </a:cubicBezTo>
                <a:cubicBezTo>
                  <a:pt x="14656" y="15469"/>
                  <a:pt x="14656" y="15469"/>
                  <a:pt x="14625" y="15469"/>
                </a:cubicBezTo>
                <a:cubicBezTo>
                  <a:pt x="14594" y="15469"/>
                  <a:pt x="14562" y="15500"/>
                  <a:pt x="14625" y="15563"/>
                </a:cubicBezTo>
                <a:cubicBezTo>
                  <a:pt x="14625" y="15563"/>
                  <a:pt x="14625" y="15563"/>
                  <a:pt x="14625" y="15594"/>
                </a:cubicBezTo>
                <a:cubicBezTo>
                  <a:pt x="14687" y="15688"/>
                  <a:pt x="14687" y="15813"/>
                  <a:pt x="14656" y="15938"/>
                </a:cubicBezTo>
                <a:cubicBezTo>
                  <a:pt x="14594" y="15938"/>
                  <a:pt x="14562" y="15969"/>
                  <a:pt x="14500" y="15969"/>
                </a:cubicBezTo>
                <a:cubicBezTo>
                  <a:pt x="14500" y="15969"/>
                  <a:pt x="14469" y="15969"/>
                  <a:pt x="14469" y="15969"/>
                </a:cubicBezTo>
                <a:cubicBezTo>
                  <a:pt x="14469" y="15969"/>
                  <a:pt x="14469" y="15969"/>
                  <a:pt x="14437" y="15969"/>
                </a:cubicBezTo>
                <a:cubicBezTo>
                  <a:pt x="14437" y="15969"/>
                  <a:pt x="14437" y="15969"/>
                  <a:pt x="14437" y="15969"/>
                </a:cubicBezTo>
                <a:cubicBezTo>
                  <a:pt x="14437" y="15969"/>
                  <a:pt x="14437" y="15969"/>
                  <a:pt x="14437" y="15969"/>
                </a:cubicBezTo>
                <a:cubicBezTo>
                  <a:pt x="14437" y="15969"/>
                  <a:pt x="14437" y="15969"/>
                  <a:pt x="14437" y="15969"/>
                </a:cubicBezTo>
                <a:cubicBezTo>
                  <a:pt x="14437" y="15969"/>
                  <a:pt x="14437" y="16000"/>
                  <a:pt x="14437" y="16000"/>
                </a:cubicBezTo>
                <a:cubicBezTo>
                  <a:pt x="14406" y="16000"/>
                  <a:pt x="14406" y="16000"/>
                  <a:pt x="14375" y="16000"/>
                </a:cubicBezTo>
                <a:cubicBezTo>
                  <a:pt x="14187" y="15969"/>
                  <a:pt x="14000" y="16000"/>
                  <a:pt x="13812" y="16000"/>
                </a:cubicBezTo>
                <a:cubicBezTo>
                  <a:pt x="13781" y="16000"/>
                  <a:pt x="13719" y="15969"/>
                  <a:pt x="13719" y="16031"/>
                </a:cubicBezTo>
                <a:cubicBezTo>
                  <a:pt x="13719" y="16063"/>
                  <a:pt x="13750" y="16094"/>
                  <a:pt x="13781" y="16125"/>
                </a:cubicBezTo>
                <a:cubicBezTo>
                  <a:pt x="13969" y="16188"/>
                  <a:pt x="14156" y="16219"/>
                  <a:pt x="14344" y="16219"/>
                </a:cubicBezTo>
                <a:cubicBezTo>
                  <a:pt x="14375" y="16219"/>
                  <a:pt x="14437" y="16250"/>
                  <a:pt x="14500" y="16250"/>
                </a:cubicBezTo>
                <a:cubicBezTo>
                  <a:pt x="14562" y="16281"/>
                  <a:pt x="14562" y="16281"/>
                  <a:pt x="14531" y="16344"/>
                </a:cubicBezTo>
                <a:cubicBezTo>
                  <a:pt x="14437" y="16406"/>
                  <a:pt x="14375" y="16469"/>
                  <a:pt x="14281" y="16375"/>
                </a:cubicBezTo>
                <a:cubicBezTo>
                  <a:pt x="14281" y="16406"/>
                  <a:pt x="14281" y="16406"/>
                  <a:pt x="14312" y="16438"/>
                </a:cubicBezTo>
                <a:cubicBezTo>
                  <a:pt x="14344" y="16469"/>
                  <a:pt x="14406" y="16469"/>
                  <a:pt x="14437" y="16531"/>
                </a:cubicBezTo>
                <a:cubicBezTo>
                  <a:pt x="14406" y="16531"/>
                  <a:pt x="14375" y="16531"/>
                  <a:pt x="14375" y="16563"/>
                </a:cubicBezTo>
                <a:cubicBezTo>
                  <a:pt x="14281" y="16531"/>
                  <a:pt x="14250" y="16625"/>
                  <a:pt x="14219" y="16656"/>
                </a:cubicBezTo>
                <a:cubicBezTo>
                  <a:pt x="14219" y="16656"/>
                  <a:pt x="14187" y="16656"/>
                  <a:pt x="14187" y="16656"/>
                </a:cubicBezTo>
                <a:cubicBezTo>
                  <a:pt x="14187" y="16656"/>
                  <a:pt x="14187" y="16656"/>
                  <a:pt x="14187" y="16656"/>
                </a:cubicBezTo>
                <a:cubicBezTo>
                  <a:pt x="14187" y="16688"/>
                  <a:pt x="14219" y="16688"/>
                  <a:pt x="14219" y="16688"/>
                </a:cubicBezTo>
                <a:cubicBezTo>
                  <a:pt x="14219" y="16719"/>
                  <a:pt x="14219" y="16719"/>
                  <a:pt x="14250" y="16719"/>
                </a:cubicBezTo>
                <a:cubicBezTo>
                  <a:pt x="14219" y="16719"/>
                  <a:pt x="14219" y="16719"/>
                  <a:pt x="14219" y="16719"/>
                </a:cubicBezTo>
                <a:cubicBezTo>
                  <a:pt x="14219" y="16719"/>
                  <a:pt x="14219" y="16719"/>
                  <a:pt x="14219" y="16719"/>
                </a:cubicBezTo>
                <a:cubicBezTo>
                  <a:pt x="14250" y="16719"/>
                  <a:pt x="14250" y="16719"/>
                  <a:pt x="14250" y="16719"/>
                </a:cubicBezTo>
                <a:cubicBezTo>
                  <a:pt x="14406" y="16813"/>
                  <a:pt x="14531" y="16750"/>
                  <a:pt x="14656" y="16688"/>
                </a:cubicBezTo>
                <a:cubicBezTo>
                  <a:pt x="14687" y="16656"/>
                  <a:pt x="14687" y="16656"/>
                  <a:pt x="14719" y="16625"/>
                </a:cubicBezTo>
                <a:cubicBezTo>
                  <a:pt x="14750" y="16656"/>
                  <a:pt x="14750" y="16656"/>
                  <a:pt x="14781" y="16656"/>
                </a:cubicBezTo>
                <a:cubicBezTo>
                  <a:pt x="14906" y="16594"/>
                  <a:pt x="15031" y="16531"/>
                  <a:pt x="15187" y="16531"/>
                </a:cubicBezTo>
                <a:cubicBezTo>
                  <a:pt x="15219" y="16531"/>
                  <a:pt x="15219" y="16500"/>
                  <a:pt x="15281" y="16469"/>
                </a:cubicBezTo>
                <a:cubicBezTo>
                  <a:pt x="15219" y="16469"/>
                  <a:pt x="15187" y="16469"/>
                  <a:pt x="15156" y="16500"/>
                </a:cubicBezTo>
                <a:cubicBezTo>
                  <a:pt x="15094" y="16531"/>
                  <a:pt x="15062" y="16500"/>
                  <a:pt x="15000" y="16500"/>
                </a:cubicBezTo>
                <a:cubicBezTo>
                  <a:pt x="15031" y="16438"/>
                  <a:pt x="15031" y="16375"/>
                  <a:pt x="15062" y="16344"/>
                </a:cubicBezTo>
                <a:cubicBezTo>
                  <a:pt x="15094" y="16344"/>
                  <a:pt x="15094" y="16313"/>
                  <a:pt x="15125" y="16313"/>
                </a:cubicBezTo>
                <a:cubicBezTo>
                  <a:pt x="15156" y="16281"/>
                  <a:pt x="15187" y="16219"/>
                  <a:pt x="15219" y="16156"/>
                </a:cubicBezTo>
                <a:cubicBezTo>
                  <a:pt x="15281" y="16250"/>
                  <a:pt x="15281" y="16406"/>
                  <a:pt x="15375" y="16469"/>
                </a:cubicBezTo>
                <a:cubicBezTo>
                  <a:pt x="15406" y="16469"/>
                  <a:pt x="15469" y="16469"/>
                  <a:pt x="15531" y="16469"/>
                </a:cubicBezTo>
                <a:cubicBezTo>
                  <a:pt x="15594" y="16469"/>
                  <a:pt x="15625" y="16469"/>
                  <a:pt x="15625" y="16406"/>
                </a:cubicBezTo>
                <a:cubicBezTo>
                  <a:pt x="15625" y="16344"/>
                  <a:pt x="15625" y="16313"/>
                  <a:pt x="15625" y="16281"/>
                </a:cubicBezTo>
                <a:cubicBezTo>
                  <a:pt x="15625" y="16250"/>
                  <a:pt x="15625" y="16188"/>
                  <a:pt x="15594" y="16188"/>
                </a:cubicBezTo>
                <a:cubicBezTo>
                  <a:pt x="15562" y="16188"/>
                  <a:pt x="15500" y="16188"/>
                  <a:pt x="15469" y="16250"/>
                </a:cubicBezTo>
                <a:cubicBezTo>
                  <a:pt x="15437" y="16250"/>
                  <a:pt x="15406" y="16281"/>
                  <a:pt x="15344" y="16281"/>
                </a:cubicBezTo>
                <a:cubicBezTo>
                  <a:pt x="15375" y="16219"/>
                  <a:pt x="15406" y="16188"/>
                  <a:pt x="15437" y="16125"/>
                </a:cubicBezTo>
                <a:cubicBezTo>
                  <a:pt x="15406" y="16125"/>
                  <a:pt x="15344" y="16125"/>
                  <a:pt x="15312" y="16125"/>
                </a:cubicBezTo>
                <a:cubicBezTo>
                  <a:pt x="15469" y="16031"/>
                  <a:pt x="15625" y="16000"/>
                  <a:pt x="15750" y="15938"/>
                </a:cubicBezTo>
                <a:cubicBezTo>
                  <a:pt x="15875" y="15875"/>
                  <a:pt x="16000" y="15844"/>
                  <a:pt x="16094" y="15719"/>
                </a:cubicBezTo>
                <a:cubicBezTo>
                  <a:pt x="16250" y="15563"/>
                  <a:pt x="16437" y="15406"/>
                  <a:pt x="16562" y="15219"/>
                </a:cubicBezTo>
                <a:cubicBezTo>
                  <a:pt x="16562" y="15188"/>
                  <a:pt x="16594" y="15188"/>
                  <a:pt x="16594" y="15188"/>
                </a:cubicBezTo>
                <a:cubicBezTo>
                  <a:pt x="16719" y="15219"/>
                  <a:pt x="16750" y="15125"/>
                  <a:pt x="16781" y="15094"/>
                </a:cubicBezTo>
                <a:cubicBezTo>
                  <a:pt x="16844" y="15000"/>
                  <a:pt x="16969" y="14938"/>
                  <a:pt x="17031" y="14875"/>
                </a:cubicBezTo>
                <a:cubicBezTo>
                  <a:pt x="17094" y="14844"/>
                  <a:pt x="17125" y="14813"/>
                  <a:pt x="17187" y="14781"/>
                </a:cubicBezTo>
                <a:cubicBezTo>
                  <a:pt x="17219" y="14750"/>
                  <a:pt x="17250" y="14719"/>
                  <a:pt x="17281" y="14719"/>
                </a:cubicBezTo>
                <a:cubicBezTo>
                  <a:pt x="17250" y="14750"/>
                  <a:pt x="17250" y="14781"/>
                  <a:pt x="17219" y="14781"/>
                </a:cubicBezTo>
                <a:cubicBezTo>
                  <a:pt x="17187" y="14813"/>
                  <a:pt x="17156" y="14844"/>
                  <a:pt x="17156" y="14844"/>
                </a:cubicBezTo>
                <a:cubicBezTo>
                  <a:pt x="16937" y="15031"/>
                  <a:pt x="16750" y="15219"/>
                  <a:pt x="16562" y="15375"/>
                </a:cubicBezTo>
                <a:cubicBezTo>
                  <a:pt x="16531" y="15406"/>
                  <a:pt x="16500" y="15406"/>
                  <a:pt x="16531" y="15438"/>
                </a:cubicBezTo>
                <a:cubicBezTo>
                  <a:pt x="16531" y="15469"/>
                  <a:pt x="16594" y="15500"/>
                  <a:pt x="16625" y="15500"/>
                </a:cubicBezTo>
                <a:cubicBezTo>
                  <a:pt x="16656" y="15469"/>
                  <a:pt x="16719" y="15469"/>
                  <a:pt x="16750" y="15438"/>
                </a:cubicBezTo>
                <a:cubicBezTo>
                  <a:pt x="16750" y="15406"/>
                  <a:pt x="16750" y="15406"/>
                  <a:pt x="16781" y="15406"/>
                </a:cubicBezTo>
                <a:cubicBezTo>
                  <a:pt x="16781" y="15406"/>
                  <a:pt x="16781" y="15406"/>
                  <a:pt x="16781" y="15406"/>
                </a:cubicBezTo>
                <a:cubicBezTo>
                  <a:pt x="16812" y="15406"/>
                  <a:pt x="16812" y="15375"/>
                  <a:pt x="16812" y="15406"/>
                </a:cubicBezTo>
                <a:cubicBezTo>
                  <a:pt x="16844" y="15406"/>
                  <a:pt x="16875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875" y="15469"/>
                  <a:pt x="16875" y="15469"/>
                  <a:pt x="16844" y="15469"/>
                </a:cubicBezTo>
                <a:cubicBezTo>
                  <a:pt x="16844" y="15469"/>
                  <a:pt x="16844" y="15469"/>
                  <a:pt x="16844" y="15469"/>
                </a:cubicBezTo>
                <a:cubicBezTo>
                  <a:pt x="16812" y="15469"/>
                  <a:pt x="16781" y="15438"/>
                  <a:pt x="16781" y="15500"/>
                </a:cubicBezTo>
                <a:cubicBezTo>
                  <a:pt x="16781" y="15531"/>
                  <a:pt x="16781" y="15594"/>
                  <a:pt x="16812" y="15656"/>
                </a:cubicBezTo>
                <a:cubicBezTo>
                  <a:pt x="16812" y="15656"/>
                  <a:pt x="16844" y="15656"/>
                  <a:pt x="16844" y="15656"/>
                </a:cubicBezTo>
                <a:cubicBezTo>
                  <a:pt x="16781" y="15563"/>
                  <a:pt x="16906" y="15531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69" y="15500"/>
                  <a:pt x="17062" y="15469"/>
                  <a:pt x="17125" y="15531"/>
                </a:cubicBezTo>
                <a:cubicBezTo>
                  <a:pt x="17125" y="15563"/>
                  <a:pt x="17156" y="15563"/>
                  <a:pt x="17187" y="15531"/>
                </a:cubicBezTo>
                <a:cubicBezTo>
                  <a:pt x="17250" y="15469"/>
                  <a:pt x="17312" y="15500"/>
                  <a:pt x="17312" y="15594"/>
                </a:cubicBezTo>
                <a:cubicBezTo>
                  <a:pt x="17312" y="15625"/>
                  <a:pt x="17312" y="15656"/>
                  <a:pt x="17344" y="15656"/>
                </a:cubicBezTo>
                <a:cubicBezTo>
                  <a:pt x="17375" y="15656"/>
                  <a:pt x="17375" y="15656"/>
                  <a:pt x="17406" y="15625"/>
                </a:cubicBezTo>
                <a:cubicBezTo>
                  <a:pt x="17406" y="15594"/>
                  <a:pt x="17437" y="15531"/>
                  <a:pt x="17437" y="15500"/>
                </a:cubicBezTo>
                <a:cubicBezTo>
                  <a:pt x="17437" y="15406"/>
                  <a:pt x="17500" y="15438"/>
                  <a:pt x="17531" y="15438"/>
                </a:cubicBezTo>
                <a:cubicBezTo>
                  <a:pt x="17562" y="15438"/>
                  <a:pt x="17562" y="15438"/>
                  <a:pt x="17594" y="15469"/>
                </a:cubicBezTo>
                <a:cubicBezTo>
                  <a:pt x="17594" y="15469"/>
                  <a:pt x="17594" y="15469"/>
                  <a:pt x="17594" y="15469"/>
                </a:cubicBezTo>
                <a:cubicBezTo>
                  <a:pt x="17594" y="15469"/>
                  <a:pt x="17594" y="15469"/>
                  <a:pt x="17594" y="15500"/>
                </a:cubicBezTo>
                <a:cubicBezTo>
                  <a:pt x="17594" y="15500"/>
                  <a:pt x="17594" y="15500"/>
                  <a:pt x="17594" y="15500"/>
                </a:cubicBezTo>
                <a:cubicBezTo>
                  <a:pt x="17594" y="15500"/>
                  <a:pt x="17594" y="15500"/>
                  <a:pt x="17594" y="15500"/>
                </a:cubicBezTo>
                <a:cubicBezTo>
                  <a:pt x="17594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56" y="15438"/>
                  <a:pt x="17719" y="15438"/>
                  <a:pt x="17781" y="15469"/>
                </a:cubicBezTo>
                <a:cubicBezTo>
                  <a:pt x="17844" y="15500"/>
                  <a:pt x="17875" y="15469"/>
                  <a:pt x="17937" y="15406"/>
                </a:cubicBezTo>
                <a:cubicBezTo>
                  <a:pt x="17969" y="15375"/>
                  <a:pt x="18094" y="15344"/>
                  <a:pt x="18094" y="15375"/>
                </a:cubicBezTo>
                <a:cubicBezTo>
                  <a:pt x="18156" y="15500"/>
                  <a:pt x="18250" y="15469"/>
                  <a:pt x="18344" y="15500"/>
                </a:cubicBezTo>
                <a:cubicBezTo>
                  <a:pt x="18406" y="15531"/>
                  <a:pt x="18594" y="15656"/>
                  <a:pt x="18594" y="15719"/>
                </a:cubicBezTo>
                <a:cubicBezTo>
                  <a:pt x="18594" y="15750"/>
                  <a:pt x="18594" y="15781"/>
                  <a:pt x="18562" y="15781"/>
                </a:cubicBezTo>
                <a:cubicBezTo>
                  <a:pt x="18469" y="15906"/>
                  <a:pt x="18344" y="15875"/>
                  <a:pt x="18219" y="15875"/>
                </a:cubicBezTo>
                <a:cubicBezTo>
                  <a:pt x="18219" y="15906"/>
                  <a:pt x="18219" y="15938"/>
                  <a:pt x="18250" y="15969"/>
                </a:cubicBezTo>
                <a:cubicBezTo>
                  <a:pt x="18250" y="15969"/>
                  <a:pt x="18250" y="16000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312" y="16000"/>
                  <a:pt x="18375" y="16031"/>
                  <a:pt x="18437" y="16000"/>
                </a:cubicBezTo>
                <a:cubicBezTo>
                  <a:pt x="18531" y="15969"/>
                  <a:pt x="18625" y="16031"/>
                  <a:pt x="18719" y="15969"/>
                </a:cubicBezTo>
                <a:cubicBezTo>
                  <a:pt x="18750" y="15969"/>
                  <a:pt x="18781" y="15969"/>
                  <a:pt x="18781" y="16000"/>
                </a:cubicBezTo>
                <a:cubicBezTo>
                  <a:pt x="18812" y="16031"/>
                  <a:pt x="18812" y="16031"/>
                  <a:pt x="18844" y="16031"/>
                </a:cubicBezTo>
                <a:cubicBezTo>
                  <a:pt x="19094" y="16031"/>
                  <a:pt x="19344" y="16063"/>
                  <a:pt x="19625" y="16125"/>
                </a:cubicBezTo>
                <a:cubicBezTo>
                  <a:pt x="19531" y="16156"/>
                  <a:pt x="19500" y="16219"/>
                  <a:pt x="19500" y="16250"/>
                </a:cubicBezTo>
                <a:cubicBezTo>
                  <a:pt x="19406" y="16313"/>
                  <a:pt x="19312" y="16344"/>
                  <a:pt x="19281" y="16438"/>
                </a:cubicBezTo>
                <a:cubicBezTo>
                  <a:pt x="19250" y="16438"/>
                  <a:pt x="19250" y="16500"/>
                  <a:pt x="19281" y="16531"/>
                </a:cubicBezTo>
                <a:cubicBezTo>
                  <a:pt x="19187" y="16594"/>
                  <a:pt x="19156" y="16719"/>
                  <a:pt x="19094" y="16813"/>
                </a:cubicBezTo>
                <a:cubicBezTo>
                  <a:pt x="18969" y="17031"/>
                  <a:pt x="18906" y="17281"/>
                  <a:pt x="18812" y="17500"/>
                </a:cubicBezTo>
                <a:cubicBezTo>
                  <a:pt x="18781" y="17594"/>
                  <a:pt x="18812" y="17688"/>
                  <a:pt x="18781" y="17781"/>
                </a:cubicBezTo>
                <a:cubicBezTo>
                  <a:pt x="18781" y="17906"/>
                  <a:pt x="18750" y="18031"/>
                  <a:pt x="18719" y="18156"/>
                </a:cubicBezTo>
                <a:cubicBezTo>
                  <a:pt x="18719" y="18219"/>
                  <a:pt x="18750" y="18313"/>
                  <a:pt x="18687" y="18344"/>
                </a:cubicBezTo>
                <a:cubicBezTo>
                  <a:pt x="18656" y="18406"/>
                  <a:pt x="18656" y="18438"/>
                  <a:pt x="18656" y="18500"/>
                </a:cubicBezTo>
                <a:cubicBezTo>
                  <a:pt x="18687" y="18594"/>
                  <a:pt x="18687" y="18719"/>
                  <a:pt x="18594" y="18813"/>
                </a:cubicBezTo>
                <a:cubicBezTo>
                  <a:pt x="18562" y="18844"/>
                  <a:pt x="18531" y="18906"/>
                  <a:pt x="18531" y="18969"/>
                </a:cubicBezTo>
                <a:cubicBezTo>
                  <a:pt x="18469" y="19125"/>
                  <a:pt x="18406" y="19312"/>
                  <a:pt x="18375" y="19500"/>
                </a:cubicBezTo>
                <a:cubicBezTo>
                  <a:pt x="18344" y="19625"/>
                  <a:pt x="18312" y="19781"/>
                  <a:pt x="18250" y="19906"/>
                </a:cubicBezTo>
                <a:cubicBezTo>
                  <a:pt x="18156" y="20219"/>
                  <a:pt x="18125" y="20562"/>
                  <a:pt x="17969" y="20844"/>
                </a:cubicBezTo>
                <a:cubicBezTo>
                  <a:pt x="17937" y="20906"/>
                  <a:pt x="17937" y="20969"/>
                  <a:pt x="17937" y="21000"/>
                </a:cubicBezTo>
                <a:cubicBezTo>
                  <a:pt x="17937" y="21031"/>
                  <a:pt x="17937" y="21062"/>
                  <a:pt x="17969" y="21062"/>
                </a:cubicBezTo>
                <a:cubicBezTo>
                  <a:pt x="18094" y="21125"/>
                  <a:pt x="18219" y="21156"/>
                  <a:pt x="18375" y="21156"/>
                </a:cubicBezTo>
                <a:cubicBezTo>
                  <a:pt x="18406" y="21156"/>
                  <a:pt x="18437" y="21219"/>
                  <a:pt x="18437" y="21187"/>
                </a:cubicBezTo>
                <a:cubicBezTo>
                  <a:pt x="18500" y="21094"/>
                  <a:pt x="18594" y="21125"/>
                  <a:pt x="18656" y="21094"/>
                </a:cubicBezTo>
                <a:cubicBezTo>
                  <a:pt x="18781" y="21062"/>
                  <a:pt x="18875" y="21000"/>
                  <a:pt x="18969" y="20937"/>
                </a:cubicBezTo>
                <a:cubicBezTo>
                  <a:pt x="19062" y="20812"/>
                  <a:pt x="19156" y="20719"/>
                  <a:pt x="19219" y="20594"/>
                </a:cubicBezTo>
                <a:cubicBezTo>
                  <a:pt x="19344" y="20437"/>
                  <a:pt x="19406" y="20281"/>
                  <a:pt x="19500" y="20125"/>
                </a:cubicBezTo>
                <a:cubicBezTo>
                  <a:pt x="19594" y="19969"/>
                  <a:pt x="19687" y="19781"/>
                  <a:pt x="19750" y="19594"/>
                </a:cubicBezTo>
                <a:cubicBezTo>
                  <a:pt x="19781" y="19531"/>
                  <a:pt x="19875" y="19531"/>
                  <a:pt x="19875" y="19437"/>
                </a:cubicBezTo>
                <a:cubicBezTo>
                  <a:pt x="19906" y="19375"/>
                  <a:pt x="19969" y="19281"/>
                  <a:pt x="20000" y="19219"/>
                </a:cubicBezTo>
                <a:cubicBezTo>
                  <a:pt x="20062" y="19094"/>
                  <a:pt x="20094" y="18969"/>
                  <a:pt x="20125" y="18813"/>
                </a:cubicBezTo>
                <a:cubicBezTo>
                  <a:pt x="20187" y="18656"/>
                  <a:pt x="20250" y="18500"/>
                  <a:pt x="20312" y="18313"/>
                </a:cubicBezTo>
                <a:cubicBezTo>
                  <a:pt x="20312" y="18281"/>
                  <a:pt x="20344" y="18281"/>
                  <a:pt x="20344" y="18250"/>
                </a:cubicBezTo>
                <a:cubicBezTo>
                  <a:pt x="20312" y="18094"/>
                  <a:pt x="20437" y="18000"/>
                  <a:pt x="20469" y="17844"/>
                </a:cubicBezTo>
                <a:cubicBezTo>
                  <a:pt x="20469" y="17750"/>
                  <a:pt x="20562" y="17688"/>
                  <a:pt x="20562" y="17594"/>
                </a:cubicBezTo>
                <a:cubicBezTo>
                  <a:pt x="20562" y="17406"/>
                  <a:pt x="20687" y="17250"/>
                  <a:pt x="20750" y="17094"/>
                </a:cubicBezTo>
                <a:cubicBezTo>
                  <a:pt x="20781" y="17031"/>
                  <a:pt x="20781" y="16938"/>
                  <a:pt x="20844" y="16906"/>
                </a:cubicBezTo>
                <a:cubicBezTo>
                  <a:pt x="20906" y="16813"/>
                  <a:pt x="20969" y="16750"/>
                  <a:pt x="20969" y="16625"/>
                </a:cubicBezTo>
                <a:cubicBezTo>
                  <a:pt x="21000" y="16594"/>
                  <a:pt x="21000" y="16563"/>
                  <a:pt x="21031" y="16594"/>
                </a:cubicBezTo>
                <a:cubicBezTo>
                  <a:pt x="21094" y="16594"/>
                  <a:pt x="21094" y="16625"/>
                  <a:pt x="21094" y="16656"/>
                </a:cubicBezTo>
                <a:cubicBezTo>
                  <a:pt x="21062" y="16688"/>
                  <a:pt x="21062" y="16719"/>
                  <a:pt x="21094" y="16750"/>
                </a:cubicBezTo>
                <a:cubicBezTo>
                  <a:pt x="21094" y="16781"/>
                  <a:pt x="21094" y="16781"/>
                  <a:pt x="21094" y="16813"/>
                </a:cubicBezTo>
                <a:cubicBezTo>
                  <a:pt x="21094" y="16813"/>
                  <a:pt x="21094" y="16813"/>
                  <a:pt x="21094" y="16844"/>
                </a:cubicBezTo>
                <a:cubicBezTo>
                  <a:pt x="21094" y="16844"/>
                  <a:pt x="21094" y="16844"/>
                  <a:pt x="21094" y="16844"/>
                </a:cubicBezTo>
                <a:cubicBezTo>
                  <a:pt x="21094" y="16906"/>
                  <a:pt x="21094" y="16938"/>
                  <a:pt x="21094" y="17000"/>
                </a:cubicBezTo>
                <a:cubicBezTo>
                  <a:pt x="21094" y="17031"/>
                  <a:pt x="21094" y="17063"/>
                  <a:pt x="21094" y="17125"/>
                </a:cubicBezTo>
                <a:cubicBezTo>
                  <a:pt x="21094" y="17125"/>
                  <a:pt x="21125" y="17156"/>
                  <a:pt x="21125" y="17188"/>
                </a:cubicBezTo>
                <a:cubicBezTo>
                  <a:pt x="21125" y="17188"/>
                  <a:pt x="21125" y="17219"/>
                  <a:pt x="21125" y="17219"/>
                </a:cubicBezTo>
                <a:cubicBezTo>
                  <a:pt x="21156" y="17125"/>
                  <a:pt x="21219" y="17063"/>
                  <a:pt x="21219" y="16969"/>
                </a:cubicBezTo>
                <a:cubicBezTo>
                  <a:pt x="21219" y="16906"/>
                  <a:pt x="21250" y="16844"/>
                  <a:pt x="21281" y="16781"/>
                </a:cubicBezTo>
                <a:cubicBezTo>
                  <a:pt x="21281" y="16750"/>
                  <a:pt x="21312" y="16719"/>
                  <a:pt x="21375" y="16719"/>
                </a:cubicBezTo>
                <a:cubicBezTo>
                  <a:pt x="21406" y="16719"/>
                  <a:pt x="21375" y="16781"/>
                  <a:pt x="21375" y="16813"/>
                </a:cubicBezTo>
                <a:cubicBezTo>
                  <a:pt x="21375" y="16844"/>
                  <a:pt x="21375" y="16875"/>
                  <a:pt x="21375" y="16906"/>
                </a:cubicBezTo>
                <a:cubicBezTo>
                  <a:pt x="21406" y="16813"/>
                  <a:pt x="21500" y="16750"/>
                  <a:pt x="21437" y="16625"/>
                </a:cubicBezTo>
                <a:cubicBezTo>
                  <a:pt x="21437" y="16594"/>
                  <a:pt x="21437" y="16594"/>
                  <a:pt x="21469" y="16563"/>
                </a:cubicBezTo>
                <a:cubicBezTo>
                  <a:pt x="21469" y="16500"/>
                  <a:pt x="21500" y="16406"/>
                  <a:pt x="21500" y="16344"/>
                </a:cubicBezTo>
                <a:cubicBezTo>
                  <a:pt x="21500" y="16188"/>
                  <a:pt x="21500" y="16031"/>
                  <a:pt x="21594" y="15906"/>
                </a:cubicBezTo>
                <a:cubicBezTo>
                  <a:pt x="21625" y="15844"/>
                  <a:pt x="21625" y="15813"/>
                  <a:pt x="21594" y="15750"/>
                </a:cubicBezTo>
                <a:cubicBezTo>
                  <a:pt x="21562" y="15656"/>
                  <a:pt x="21406" y="15594"/>
                  <a:pt x="21469" y="15438"/>
                </a:cubicBezTo>
                <a:cubicBezTo>
                  <a:pt x="21469" y="15438"/>
                  <a:pt x="21437" y="15438"/>
                  <a:pt x="21437" y="15438"/>
                </a:cubicBezTo>
                <a:cubicBezTo>
                  <a:pt x="21437" y="15438"/>
                  <a:pt x="21406" y="15438"/>
                  <a:pt x="21406" y="15406"/>
                </a:cubicBezTo>
                <a:cubicBezTo>
                  <a:pt x="21406" y="15375"/>
                  <a:pt x="21437" y="15375"/>
                  <a:pt x="21469" y="15375"/>
                </a:cubicBezTo>
                <a:cubicBezTo>
                  <a:pt x="21500" y="15375"/>
                  <a:pt x="21531" y="15406"/>
                  <a:pt x="21594" y="15375"/>
                </a:cubicBezTo>
                <a:cubicBezTo>
                  <a:pt x="21656" y="15344"/>
                  <a:pt x="21656" y="15375"/>
                  <a:pt x="21656" y="15438"/>
                </a:cubicBezTo>
                <a:cubicBezTo>
                  <a:pt x="21656" y="15500"/>
                  <a:pt x="21656" y="15563"/>
                  <a:pt x="21687" y="15625"/>
                </a:cubicBezTo>
                <a:cubicBezTo>
                  <a:pt x="21719" y="15688"/>
                  <a:pt x="21750" y="15688"/>
                  <a:pt x="21781" y="15625"/>
                </a:cubicBezTo>
                <a:cubicBezTo>
                  <a:pt x="21875" y="15500"/>
                  <a:pt x="21875" y="15281"/>
                  <a:pt x="21750" y="15188"/>
                </a:cubicBezTo>
                <a:cubicBezTo>
                  <a:pt x="21594" y="15094"/>
                  <a:pt x="21531" y="14938"/>
                  <a:pt x="21437" y="14813"/>
                </a:cubicBezTo>
                <a:cubicBezTo>
                  <a:pt x="21437" y="14781"/>
                  <a:pt x="21406" y="14750"/>
                  <a:pt x="21375" y="14750"/>
                </a:cubicBezTo>
                <a:cubicBezTo>
                  <a:pt x="21281" y="14719"/>
                  <a:pt x="21187" y="14656"/>
                  <a:pt x="21094" y="14688"/>
                </a:cubicBezTo>
                <a:cubicBezTo>
                  <a:pt x="21031" y="14719"/>
                  <a:pt x="21000" y="14688"/>
                  <a:pt x="20969" y="14656"/>
                </a:cubicBezTo>
                <a:cubicBezTo>
                  <a:pt x="20906" y="14625"/>
                  <a:pt x="20875" y="14625"/>
                  <a:pt x="20844" y="14594"/>
                </a:cubicBezTo>
                <a:cubicBezTo>
                  <a:pt x="20687" y="14500"/>
                  <a:pt x="20500" y="14563"/>
                  <a:pt x="20344" y="14531"/>
                </a:cubicBezTo>
                <a:cubicBezTo>
                  <a:pt x="20281" y="14500"/>
                  <a:pt x="20250" y="14438"/>
                  <a:pt x="20187" y="14438"/>
                </a:cubicBezTo>
                <a:cubicBezTo>
                  <a:pt x="20062" y="14406"/>
                  <a:pt x="19937" y="14406"/>
                  <a:pt x="19875" y="14313"/>
                </a:cubicBezTo>
                <a:cubicBezTo>
                  <a:pt x="19844" y="14281"/>
                  <a:pt x="19812" y="14281"/>
                  <a:pt x="19750" y="14281"/>
                </a:cubicBezTo>
                <a:cubicBezTo>
                  <a:pt x="19594" y="14313"/>
                  <a:pt x="19469" y="14219"/>
                  <a:pt x="19406" y="14063"/>
                </a:cubicBezTo>
                <a:cubicBezTo>
                  <a:pt x="19406" y="14063"/>
                  <a:pt x="19406" y="14031"/>
                  <a:pt x="19375" y="14031"/>
                </a:cubicBezTo>
                <a:cubicBezTo>
                  <a:pt x="19281" y="14000"/>
                  <a:pt x="19156" y="13938"/>
                  <a:pt x="19031" y="13875"/>
                </a:cubicBezTo>
                <a:cubicBezTo>
                  <a:pt x="18906" y="13813"/>
                  <a:pt x="18750" y="13781"/>
                  <a:pt x="18625" y="13719"/>
                </a:cubicBezTo>
                <a:cubicBezTo>
                  <a:pt x="18594" y="13688"/>
                  <a:pt x="18531" y="13688"/>
                  <a:pt x="18500" y="13719"/>
                </a:cubicBezTo>
                <a:cubicBezTo>
                  <a:pt x="18469" y="13750"/>
                  <a:pt x="18437" y="13719"/>
                  <a:pt x="18406" y="13688"/>
                </a:cubicBezTo>
                <a:cubicBezTo>
                  <a:pt x="18406" y="13688"/>
                  <a:pt x="18375" y="13656"/>
                  <a:pt x="18375" y="13625"/>
                </a:cubicBezTo>
                <a:cubicBezTo>
                  <a:pt x="18281" y="13563"/>
                  <a:pt x="18219" y="13594"/>
                  <a:pt x="18125" y="13656"/>
                </a:cubicBezTo>
                <a:cubicBezTo>
                  <a:pt x="18125" y="13656"/>
                  <a:pt x="18125" y="13656"/>
                  <a:pt x="18094" y="13688"/>
                </a:cubicBezTo>
                <a:cubicBezTo>
                  <a:pt x="18094" y="13688"/>
                  <a:pt x="18094" y="13688"/>
                  <a:pt x="18062" y="13688"/>
                </a:cubicBezTo>
                <a:cubicBezTo>
                  <a:pt x="18062" y="13688"/>
                  <a:pt x="18062" y="13719"/>
                  <a:pt x="18031" y="13719"/>
                </a:cubicBezTo>
                <a:cubicBezTo>
                  <a:pt x="18031" y="13719"/>
                  <a:pt x="18031" y="13750"/>
                  <a:pt x="18000" y="13750"/>
                </a:cubicBezTo>
                <a:cubicBezTo>
                  <a:pt x="18000" y="13750"/>
                  <a:pt x="18000" y="13750"/>
                  <a:pt x="18000" y="13750"/>
                </a:cubicBezTo>
                <a:cubicBezTo>
                  <a:pt x="18000" y="13750"/>
                  <a:pt x="18000" y="13750"/>
                  <a:pt x="17969" y="13750"/>
                </a:cubicBezTo>
                <a:cubicBezTo>
                  <a:pt x="17969" y="13750"/>
                  <a:pt x="17969" y="13750"/>
                  <a:pt x="17969" y="13750"/>
                </a:cubicBezTo>
                <a:cubicBezTo>
                  <a:pt x="18000" y="13688"/>
                  <a:pt x="18031" y="13656"/>
                  <a:pt x="18062" y="13625"/>
                </a:cubicBezTo>
                <a:cubicBezTo>
                  <a:pt x="18094" y="13594"/>
                  <a:pt x="18094" y="13594"/>
                  <a:pt x="18125" y="13563"/>
                </a:cubicBezTo>
                <a:cubicBezTo>
                  <a:pt x="18187" y="13500"/>
                  <a:pt x="18281" y="13469"/>
                  <a:pt x="18312" y="13375"/>
                </a:cubicBezTo>
                <a:cubicBezTo>
                  <a:pt x="18375" y="13438"/>
                  <a:pt x="18437" y="13469"/>
                  <a:pt x="18531" y="13438"/>
                </a:cubicBezTo>
                <a:cubicBezTo>
                  <a:pt x="18500" y="13438"/>
                  <a:pt x="18469" y="13406"/>
                  <a:pt x="18437" y="13406"/>
                </a:cubicBezTo>
                <a:cubicBezTo>
                  <a:pt x="18406" y="13375"/>
                  <a:pt x="18375" y="13375"/>
                  <a:pt x="18312" y="13375"/>
                </a:cubicBezTo>
                <a:cubicBezTo>
                  <a:pt x="18281" y="13375"/>
                  <a:pt x="18219" y="13406"/>
                  <a:pt x="18187" y="13406"/>
                </a:cubicBezTo>
                <a:cubicBezTo>
                  <a:pt x="18156" y="13438"/>
                  <a:pt x="18156" y="13438"/>
                  <a:pt x="18125" y="13438"/>
                </a:cubicBezTo>
                <a:cubicBezTo>
                  <a:pt x="18094" y="13438"/>
                  <a:pt x="18031" y="13531"/>
                  <a:pt x="18000" y="13500"/>
                </a:cubicBezTo>
                <a:cubicBezTo>
                  <a:pt x="17937" y="13438"/>
                  <a:pt x="18031" y="13406"/>
                  <a:pt x="18062" y="13344"/>
                </a:cubicBezTo>
                <a:cubicBezTo>
                  <a:pt x="18062" y="13313"/>
                  <a:pt x="18094" y="13281"/>
                  <a:pt x="18062" y="13250"/>
                </a:cubicBezTo>
                <a:cubicBezTo>
                  <a:pt x="18031" y="13188"/>
                  <a:pt x="18000" y="13250"/>
                  <a:pt x="17969" y="13250"/>
                </a:cubicBezTo>
                <a:cubicBezTo>
                  <a:pt x="17969" y="13250"/>
                  <a:pt x="17969" y="13250"/>
                  <a:pt x="17937" y="13250"/>
                </a:cubicBezTo>
                <a:cubicBezTo>
                  <a:pt x="17937" y="13250"/>
                  <a:pt x="17906" y="13281"/>
                  <a:pt x="17906" y="13281"/>
                </a:cubicBezTo>
                <a:cubicBezTo>
                  <a:pt x="17844" y="13281"/>
                  <a:pt x="17781" y="13281"/>
                  <a:pt x="17719" y="13281"/>
                </a:cubicBezTo>
                <a:cubicBezTo>
                  <a:pt x="17719" y="13281"/>
                  <a:pt x="17719" y="13281"/>
                  <a:pt x="17719" y="13281"/>
                </a:cubicBezTo>
                <a:cubicBezTo>
                  <a:pt x="17719" y="13281"/>
                  <a:pt x="17719" y="13281"/>
                  <a:pt x="17719" y="13281"/>
                </a:cubicBezTo>
                <a:cubicBezTo>
                  <a:pt x="17687" y="13281"/>
                  <a:pt x="17687" y="13281"/>
                  <a:pt x="17687" y="13281"/>
                </a:cubicBezTo>
                <a:cubicBezTo>
                  <a:pt x="17656" y="13281"/>
                  <a:pt x="17594" y="13281"/>
                  <a:pt x="17531" y="13281"/>
                </a:cubicBezTo>
                <a:cubicBezTo>
                  <a:pt x="17500" y="13281"/>
                  <a:pt x="17469" y="13281"/>
                  <a:pt x="17469" y="13281"/>
                </a:cubicBezTo>
                <a:cubicBezTo>
                  <a:pt x="17469" y="13281"/>
                  <a:pt x="17469" y="13250"/>
                  <a:pt x="17437" y="13250"/>
                </a:cubicBezTo>
                <a:cubicBezTo>
                  <a:pt x="17437" y="13250"/>
                  <a:pt x="17406" y="13250"/>
                  <a:pt x="17375" y="13250"/>
                </a:cubicBezTo>
                <a:cubicBezTo>
                  <a:pt x="17375" y="13250"/>
                  <a:pt x="17344" y="13281"/>
                  <a:pt x="17344" y="13281"/>
                </a:cubicBezTo>
                <a:cubicBezTo>
                  <a:pt x="17312" y="13281"/>
                  <a:pt x="17281" y="13281"/>
                  <a:pt x="17250" y="13281"/>
                </a:cubicBezTo>
                <a:cubicBezTo>
                  <a:pt x="17156" y="13219"/>
                  <a:pt x="17062" y="13250"/>
                  <a:pt x="16969" y="13250"/>
                </a:cubicBezTo>
                <a:cubicBezTo>
                  <a:pt x="17031" y="13188"/>
                  <a:pt x="17062" y="13219"/>
                  <a:pt x="17094" y="13188"/>
                </a:cubicBezTo>
                <a:cubicBezTo>
                  <a:pt x="17125" y="13188"/>
                  <a:pt x="17187" y="13219"/>
                  <a:pt x="17219" y="13188"/>
                </a:cubicBezTo>
                <a:cubicBezTo>
                  <a:pt x="17250" y="13188"/>
                  <a:pt x="17281" y="13156"/>
                  <a:pt x="17312" y="13125"/>
                </a:cubicBezTo>
                <a:cubicBezTo>
                  <a:pt x="17312" y="13094"/>
                  <a:pt x="17281" y="13063"/>
                  <a:pt x="17281" y="13063"/>
                </a:cubicBezTo>
                <a:cubicBezTo>
                  <a:pt x="17219" y="13031"/>
                  <a:pt x="17187" y="13031"/>
                  <a:pt x="17156" y="13063"/>
                </a:cubicBezTo>
                <a:cubicBezTo>
                  <a:pt x="17156" y="13094"/>
                  <a:pt x="17125" y="13094"/>
                  <a:pt x="17094" y="13125"/>
                </a:cubicBezTo>
                <a:cubicBezTo>
                  <a:pt x="17094" y="13156"/>
                  <a:pt x="17094" y="13156"/>
                  <a:pt x="17062" y="13156"/>
                </a:cubicBezTo>
                <a:cubicBezTo>
                  <a:pt x="17031" y="13156"/>
                  <a:pt x="17031" y="13125"/>
                  <a:pt x="17031" y="13094"/>
                </a:cubicBezTo>
                <a:cubicBezTo>
                  <a:pt x="17031" y="13094"/>
                  <a:pt x="17031" y="13063"/>
                  <a:pt x="17031" y="13031"/>
                </a:cubicBezTo>
                <a:cubicBezTo>
                  <a:pt x="17031" y="13031"/>
                  <a:pt x="17031" y="13031"/>
                  <a:pt x="17031" y="13031"/>
                </a:cubicBezTo>
                <a:cubicBezTo>
                  <a:pt x="17031" y="13031"/>
                  <a:pt x="17031" y="13031"/>
                  <a:pt x="17031" y="13031"/>
                </a:cubicBezTo>
                <a:cubicBezTo>
                  <a:pt x="17031" y="13031"/>
                  <a:pt x="17031" y="13031"/>
                  <a:pt x="17031" y="13031"/>
                </a:cubicBezTo>
                <a:cubicBezTo>
                  <a:pt x="17062" y="13031"/>
                  <a:pt x="17062" y="13000"/>
                  <a:pt x="17062" y="13000"/>
                </a:cubicBezTo>
                <a:cubicBezTo>
                  <a:pt x="17062" y="13000"/>
                  <a:pt x="17062" y="13000"/>
                  <a:pt x="17062" y="13000"/>
                </a:cubicBezTo>
                <a:cubicBezTo>
                  <a:pt x="17062" y="13000"/>
                  <a:pt x="17062" y="12969"/>
                  <a:pt x="17062" y="12969"/>
                </a:cubicBezTo>
                <a:cubicBezTo>
                  <a:pt x="17062" y="12969"/>
                  <a:pt x="17062" y="12969"/>
                  <a:pt x="17062" y="12969"/>
                </a:cubicBezTo>
                <a:cubicBezTo>
                  <a:pt x="17031" y="13000"/>
                  <a:pt x="17031" y="13000"/>
                  <a:pt x="17031" y="13031"/>
                </a:cubicBezTo>
                <a:cubicBezTo>
                  <a:pt x="16969" y="13000"/>
                  <a:pt x="16844" y="13094"/>
                  <a:pt x="16844" y="13188"/>
                </a:cubicBezTo>
                <a:cubicBezTo>
                  <a:pt x="16844" y="13188"/>
                  <a:pt x="16844" y="13219"/>
                  <a:pt x="16844" y="13219"/>
                </a:cubicBezTo>
                <a:cubicBezTo>
                  <a:pt x="16844" y="13250"/>
                  <a:pt x="16812" y="13250"/>
                  <a:pt x="16781" y="13250"/>
                </a:cubicBezTo>
                <a:cubicBezTo>
                  <a:pt x="16750" y="13219"/>
                  <a:pt x="16750" y="13219"/>
                  <a:pt x="16750" y="13188"/>
                </a:cubicBezTo>
                <a:cubicBezTo>
                  <a:pt x="16750" y="13125"/>
                  <a:pt x="16781" y="13094"/>
                  <a:pt x="16812" y="13063"/>
                </a:cubicBezTo>
                <a:cubicBezTo>
                  <a:pt x="16844" y="13031"/>
                  <a:pt x="16875" y="13000"/>
                  <a:pt x="16906" y="12969"/>
                </a:cubicBezTo>
                <a:cubicBezTo>
                  <a:pt x="16719" y="12938"/>
                  <a:pt x="16750" y="12938"/>
                  <a:pt x="16625" y="13063"/>
                </a:cubicBezTo>
                <a:cubicBezTo>
                  <a:pt x="16594" y="13094"/>
                  <a:pt x="16531" y="13094"/>
                  <a:pt x="16531" y="13063"/>
                </a:cubicBezTo>
                <a:cubicBezTo>
                  <a:pt x="16500" y="13031"/>
                  <a:pt x="16500" y="13031"/>
                  <a:pt x="16469" y="13000"/>
                </a:cubicBezTo>
                <a:cubicBezTo>
                  <a:pt x="16437" y="13000"/>
                  <a:pt x="16406" y="13000"/>
                  <a:pt x="16375" y="13000"/>
                </a:cubicBezTo>
                <a:cubicBezTo>
                  <a:pt x="16375" y="13000"/>
                  <a:pt x="16375" y="13000"/>
                  <a:pt x="16375" y="12969"/>
                </a:cubicBezTo>
                <a:cubicBezTo>
                  <a:pt x="16375" y="12969"/>
                  <a:pt x="16375" y="12969"/>
                  <a:pt x="16344" y="12969"/>
                </a:cubicBezTo>
                <a:cubicBezTo>
                  <a:pt x="16344" y="12969"/>
                  <a:pt x="16344" y="12969"/>
                  <a:pt x="16344" y="12969"/>
                </a:cubicBezTo>
                <a:cubicBezTo>
                  <a:pt x="16344" y="12969"/>
                  <a:pt x="16344" y="12969"/>
                  <a:pt x="16344" y="13000"/>
                </a:cubicBezTo>
                <a:cubicBezTo>
                  <a:pt x="16344" y="13000"/>
                  <a:pt x="16344" y="13000"/>
                  <a:pt x="16344" y="13000"/>
                </a:cubicBezTo>
                <a:cubicBezTo>
                  <a:pt x="16344" y="13000"/>
                  <a:pt x="16344" y="13000"/>
                  <a:pt x="16344" y="13000"/>
                </a:cubicBezTo>
                <a:cubicBezTo>
                  <a:pt x="16344" y="13000"/>
                  <a:pt x="16375" y="13000"/>
                  <a:pt x="16375" y="13000"/>
                </a:cubicBezTo>
                <a:cubicBezTo>
                  <a:pt x="16375" y="13031"/>
                  <a:pt x="16375" y="13094"/>
                  <a:pt x="16344" y="13094"/>
                </a:cubicBezTo>
                <a:cubicBezTo>
                  <a:pt x="16219" y="13094"/>
                  <a:pt x="16094" y="13094"/>
                  <a:pt x="15969" y="13063"/>
                </a:cubicBezTo>
                <a:cubicBezTo>
                  <a:pt x="16000" y="13063"/>
                  <a:pt x="16000" y="13031"/>
                  <a:pt x="16000" y="13031"/>
                </a:cubicBezTo>
                <a:cubicBezTo>
                  <a:pt x="16000" y="13031"/>
                  <a:pt x="16000" y="13031"/>
                  <a:pt x="16000" y="13031"/>
                </a:cubicBezTo>
                <a:cubicBezTo>
                  <a:pt x="16000" y="13031"/>
                  <a:pt x="16000" y="13031"/>
                  <a:pt x="16000" y="13031"/>
                </a:cubicBezTo>
                <a:cubicBezTo>
                  <a:pt x="16094" y="13000"/>
                  <a:pt x="16156" y="12969"/>
                  <a:pt x="16250" y="12906"/>
                </a:cubicBezTo>
                <a:cubicBezTo>
                  <a:pt x="16250" y="12906"/>
                  <a:pt x="16281" y="12906"/>
                  <a:pt x="16312" y="12875"/>
                </a:cubicBezTo>
                <a:cubicBezTo>
                  <a:pt x="16375" y="12875"/>
                  <a:pt x="16406" y="12844"/>
                  <a:pt x="16437" y="12844"/>
                </a:cubicBezTo>
                <a:cubicBezTo>
                  <a:pt x="16375" y="12813"/>
                  <a:pt x="16375" y="12781"/>
                  <a:pt x="16344" y="12750"/>
                </a:cubicBezTo>
                <a:cubicBezTo>
                  <a:pt x="16344" y="12688"/>
                  <a:pt x="16312" y="12594"/>
                  <a:pt x="16219" y="12656"/>
                </a:cubicBezTo>
                <a:cubicBezTo>
                  <a:pt x="16219" y="12656"/>
                  <a:pt x="16187" y="12688"/>
                  <a:pt x="16187" y="12688"/>
                </a:cubicBezTo>
                <a:cubicBezTo>
                  <a:pt x="16156" y="12688"/>
                  <a:pt x="16156" y="12688"/>
                  <a:pt x="16156" y="12719"/>
                </a:cubicBezTo>
                <a:cubicBezTo>
                  <a:pt x="16094" y="12719"/>
                  <a:pt x="16062" y="12750"/>
                  <a:pt x="16031" y="12781"/>
                </a:cubicBezTo>
                <a:cubicBezTo>
                  <a:pt x="16000" y="12781"/>
                  <a:pt x="15969" y="12813"/>
                  <a:pt x="15937" y="12813"/>
                </a:cubicBezTo>
                <a:cubicBezTo>
                  <a:pt x="15937" y="12781"/>
                  <a:pt x="15937" y="12750"/>
                  <a:pt x="15937" y="12688"/>
                </a:cubicBezTo>
                <a:cubicBezTo>
                  <a:pt x="15937" y="12688"/>
                  <a:pt x="15937" y="12688"/>
                  <a:pt x="15937" y="12688"/>
                </a:cubicBezTo>
                <a:cubicBezTo>
                  <a:pt x="15937" y="12625"/>
                  <a:pt x="15969" y="12594"/>
                  <a:pt x="15937" y="12563"/>
                </a:cubicBezTo>
                <a:cubicBezTo>
                  <a:pt x="15937" y="12563"/>
                  <a:pt x="15937" y="12563"/>
                  <a:pt x="15937" y="12531"/>
                </a:cubicBezTo>
                <a:cubicBezTo>
                  <a:pt x="15906" y="12500"/>
                  <a:pt x="15875" y="12438"/>
                  <a:pt x="15844" y="12406"/>
                </a:cubicBezTo>
                <a:cubicBezTo>
                  <a:pt x="15812" y="12375"/>
                  <a:pt x="15781" y="12344"/>
                  <a:pt x="15719" y="12344"/>
                </a:cubicBezTo>
                <a:cubicBezTo>
                  <a:pt x="15687" y="12281"/>
                  <a:pt x="15687" y="12219"/>
                  <a:pt x="15656" y="12156"/>
                </a:cubicBezTo>
                <a:cubicBezTo>
                  <a:pt x="15625" y="12156"/>
                  <a:pt x="15625" y="12125"/>
                  <a:pt x="15594" y="12125"/>
                </a:cubicBezTo>
                <a:cubicBezTo>
                  <a:pt x="15562" y="12156"/>
                  <a:pt x="15594" y="12219"/>
                  <a:pt x="15562" y="12281"/>
                </a:cubicBezTo>
                <a:cubicBezTo>
                  <a:pt x="15562" y="12281"/>
                  <a:pt x="15562" y="12281"/>
                  <a:pt x="15562" y="12281"/>
                </a:cubicBezTo>
                <a:cubicBezTo>
                  <a:pt x="15531" y="12250"/>
                  <a:pt x="15531" y="12188"/>
                  <a:pt x="15531" y="12156"/>
                </a:cubicBezTo>
                <a:cubicBezTo>
                  <a:pt x="15531" y="12125"/>
                  <a:pt x="15500" y="12094"/>
                  <a:pt x="15500" y="12094"/>
                </a:cubicBezTo>
                <a:cubicBezTo>
                  <a:pt x="15500" y="12094"/>
                  <a:pt x="15500" y="12063"/>
                  <a:pt x="15500" y="12063"/>
                </a:cubicBezTo>
                <a:cubicBezTo>
                  <a:pt x="15500" y="12063"/>
                  <a:pt x="15500" y="12063"/>
                  <a:pt x="15500" y="12031"/>
                </a:cubicBezTo>
                <a:cubicBezTo>
                  <a:pt x="15406" y="11844"/>
                  <a:pt x="15281" y="11688"/>
                  <a:pt x="15094" y="11563"/>
                </a:cubicBezTo>
                <a:cubicBezTo>
                  <a:pt x="15062" y="11531"/>
                  <a:pt x="15031" y="11500"/>
                  <a:pt x="15000" y="11500"/>
                </a:cubicBezTo>
                <a:cubicBezTo>
                  <a:pt x="15062" y="11656"/>
                  <a:pt x="15156" y="11750"/>
                  <a:pt x="15219" y="11844"/>
                </a:cubicBezTo>
                <a:cubicBezTo>
                  <a:pt x="15312" y="12000"/>
                  <a:pt x="15312" y="12188"/>
                  <a:pt x="15500" y="12281"/>
                </a:cubicBezTo>
                <a:cubicBezTo>
                  <a:pt x="15500" y="12281"/>
                  <a:pt x="15500" y="12281"/>
                  <a:pt x="15500" y="12281"/>
                </a:cubicBezTo>
                <a:cubicBezTo>
                  <a:pt x="15500" y="12281"/>
                  <a:pt x="15500" y="12281"/>
                  <a:pt x="15500" y="12313"/>
                </a:cubicBezTo>
                <a:cubicBezTo>
                  <a:pt x="15469" y="12313"/>
                  <a:pt x="15437" y="12313"/>
                  <a:pt x="15406" y="12313"/>
                </a:cubicBezTo>
                <a:cubicBezTo>
                  <a:pt x="15406" y="12313"/>
                  <a:pt x="15406" y="12313"/>
                  <a:pt x="15406" y="12313"/>
                </a:cubicBezTo>
                <a:cubicBezTo>
                  <a:pt x="15375" y="12313"/>
                  <a:pt x="15375" y="12281"/>
                  <a:pt x="15375" y="12281"/>
                </a:cubicBezTo>
                <a:cubicBezTo>
                  <a:pt x="15344" y="12250"/>
                  <a:pt x="15312" y="12250"/>
                  <a:pt x="15312" y="12219"/>
                </a:cubicBezTo>
                <a:cubicBezTo>
                  <a:pt x="15281" y="12219"/>
                  <a:pt x="15250" y="12219"/>
                  <a:pt x="15219" y="12219"/>
                </a:cubicBezTo>
                <a:cubicBezTo>
                  <a:pt x="15219" y="12188"/>
                  <a:pt x="15219" y="12188"/>
                  <a:pt x="15219" y="12188"/>
                </a:cubicBezTo>
                <a:cubicBezTo>
                  <a:pt x="15219" y="12188"/>
                  <a:pt x="15219" y="12188"/>
                  <a:pt x="15219" y="12188"/>
                </a:cubicBezTo>
                <a:cubicBezTo>
                  <a:pt x="15187" y="12188"/>
                  <a:pt x="15187" y="12188"/>
                  <a:pt x="15187" y="12188"/>
                </a:cubicBezTo>
                <a:cubicBezTo>
                  <a:pt x="15187" y="12188"/>
                  <a:pt x="15187" y="12188"/>
                  <a:pt x="15187" y="12188"/>
                </a:cubicBezTo>
                <a:cubicBezTo>
                  <a:pt x="15187" y="12156"/>
                  <a:pt x="15156" y="12156"/>
                  <a:pt x="15156" y="12156"/>
                </a:cubicBezTo>
                <a:cubicBezTo>
                  <a:pt x="15156" y="12156"/>
                  <a:pt x="15156" y="12156"/>
                  <a:pt x="15156" y="12156"/>
                </a:cubicBezTo>
                <a:cubicBezTo>
                  <a:pt x="15156" y="12156"/>
                  <a:pt x="15156" y="12156"/>
                  <a:pt x="15125" y="12156"/>
                </a:cubicBezTo>
                <a:cubicBezTo>
                  <a:pt x="15125" y="12156"/>
                  <a:pt x="15125" y="12156"/>
                  <a:pt x="15156" y="12156"/>
                </a:cubicBezTo>
                <a:cubicBezTo>
                  <a:pt x="15156" y="12219"/>
                  <a:pt x="15187" y="12219"/>
                  <a:pt x="15219" y="12219"/>
                </a:cubicBezTo>
                <a:cubicBezTo>
                  <a:pt x="15219" y="12219"/>
                  <a:pt x="15219" y="12250"/>
                  <a:pt x="15219" y="12250"/>
                </a:cubicBezTo>
                <a:cubicBezTo>
                  <a:pt x="15250" y="12281"/>
                  <a:pt x="15312" y="12313"/>
                  <a:pt x="15344" y="12344"/>
                </a:cubicBezTo>
                <a:cubicBezTo>
                  <a:pt x="15219" y="12375"/>
                  <a:pt x="15125" y="12375"/>
                  <a:pt x="15031" y="12313"/>
                </a:cubicBezTo>
                <a:cubicBezTo>
                  <a:pt x="15000" y="12313"/>
                  <a:pt x="15000" y="12313"/>
                  <a:pt x="15000" y="12313"/>
                </a:cubicBezTo>
                <a:cubicBezTo>
                  <a:pt x="14969" y="12281"/>
                  <a:pt x="14906" y="12281"/>
                  <a:pt x="14906" y="12250"/>
                </a:cubicBezTo>
                <a:cubicBezTo>
                  <a:pt x="14937" y="12063"/>
                  <a:pt x="14812" y="11969"/>
                  <a:pt x="14656" y="11906"/>
                </a:cubicBezTo>
                <a:cubicBezTo>
                  <a:pt x="14656" y="11875"/>
                  <a:pt x="14656" y="11875"/>
                  <a:pt x="14656" y="11875"/>
                </a:cubicBezTo>
                <a:cubicBezTo>
                  <a:pt x="14656" y="11875"/>
                  <a:pt x="14656" y="11875"/>
                  <a:pt x="14625" y="11875"/>
                </a:cubicBezTo>
                <a:cubicBezTo>
                  <a:pt x="14625" y="11875"/>
                  <a:pt x="14625" y="11875"/>
                  <a:pt x="14625" y="11875"/>
                </a:cubicBezTo>
                <a:cubicBezTo>
                  <a:pt x="14625" y="11875"/>
                  <a:pt x="14625" y="11875"/>
                  <a:pt x="14625" y="11875"/>
                </a:cubicBezTo>
                <a:cubicBezTo>
                  <a:pt x="14625" y="11875"/>
                  <a:pt x="14625" y="11875"/>
                  <a:pt x="14594" y="11875"/>
                </a:cubicBezTo>
                <a:cubicBezTo>
                  <a:pt x="14594" y="11875"/>
                  <a:pt x="14562" y="11875"/>
                  <a:pt x="14562" y="11875"/>
                </a:cubicBezTo>
                <a:cubicBezTo>
                  <a:pt x="14562" y="11875"/>
                  <a:pt x="14562" y="11875"/>
                  <a:pt x="14562" y="11875"/>
                </a:cubicBezTo>
                <a:cubicBezTo>
                  <a:pt x="14562" y="11844"/>
                  <a:pt x="14562" y="11844"/>
                  <a:pt x="14594" y="11844"/>
                </a:cubicBezTo>
                <a:cubicBezTo>
                  <a:pt x="14594" y="11844"/>
                  <a:pt x="14594" y="11844"/>
                  <a:pt x="14594" y="11844"/>
                </a:cubicBezTo>
                <a:cubicBezTo>
                  <a:pt x="14594" y="11844"/>
                  <a:pt x="14594" y="11844"/>
                  <a:pt x="14594" y="11844"/>
                </a:cubicBezTo>
                <a:cubicBezTo>
                  <a:pt x="14594" y="11844"/>
                  <a:pt x="14594" y="11844"/>
                  <a:pt x="14594" y="11844"/>
                </a:cubicBezTo>
                <a:cubicBezTo>
                  <a:pt x="14594" y="11844"/>
                  <a:pt x="14594" y="11844"/>
                  <a:pt x="14625" y="11844"/>
                </a:cubicBezTo>
                <a:cubicBezTo>
                  <a:pt x="14625" y="11844"/>
                  <a:pt x="14625" y="11844"/>
                  <a:pt x="14625" y="11844"/>
                </a:cubicBezTo>
                <a:cubicBezTo>
                  <a:pt x="14625" y="11844"/>
                  <a:pt x="14625" y="11844"/>
                  <a:pt x="14625" y="11844"/>
                </a:cubicBezTo>
                <a:cubicBezTo>
                  <a:pt x="14625" y="11844"/>
                  <a:pt x="14625" y="11844"/>
                  <a:pt x="14625" y="11844"/>
                </a:cubicBezTo>
                <a:cubicBezTo>
                  <a:pt x="14625" y="11813"/>
                  <a:pt x="14625" y="11813"/>
                  <a:pt x="14625" y="11813"/>
                </a:cubicBezTo>
                <a:cubicBezTo>
                  <a:pt x="14594" y="11750"/>
                  <a:pt x="14531" y="11781"/>
                  <a:pt x="14531" y="11719"/>
                </a:cubicBezTo>
                <a:cubicBezTo>
                  <a:pt x="14812" y="11781"/>
                  <a:pt x="15000" y="12031"/>
                  <a:pt x="15281" y="12156"/>
                </a:cubicBezTo>
                <a:cubicBezTo>
                  <a:pt x="15281" y="12125"/>
                  <a:pt x="15281" y="12094"/>
                  <a:pt x="15281" y="12063"/>
                </a:cubicBezTo>
                <a:cubicBezTo>
                  <a:pt x="15125" y="11781"/>
                  <a:pt x="14969" y="11500"/>
                  <a:pt x="14750" y="11281"/>
                </a:cubicBezTo>
                <a:cubicBezTo>
                  <a:pt x="14750" y="11250"/>
                  <a:pt x="14719" y="11219"/>
                  <a:pt x="14750" y="11219"/>
                </a:cubicBezTo>
                <a:cubicBezTo>
                  <a:pt x="14750" y="11219"/>
                  <a:pt x="14750" y="11219"/>
                  <a:pt x="14750" y="11219"/>
                </a:cubicBezTo>
                <a:cubicBezTo>
                  <a:pt x="14875" y="11313"/>
                  <a:pt x="15000" y="11406"/>
                  <a:pt x="15125" y="11500"/>
                </a:cubicBezTo>
                <a:cubicBezTo>
                  <a:pt x="15125" y="11469"/>
                  <a:pt x="15125" y="11438"/>
                  <a:pt x="15094" y="11438"/>
                </a:cubicBezTo>
                <a:cubicBezTo>
                  <a:pt x="15000" y="11281"/>
                  <a:pt x="14906" y="11094"/>
                  <a:pt x="14812" y="10938"/>
                </a:cubicBezTo>
                <a:cubicBezTo>
                  <a:pt x="14812" y="10938"/>
                  <a:pt x="14812" y="10906"/>
                  <a:pt x="14812" y="10906"/>
                </a:cubicBezTo>
                <a:cubicBezTo>
                  <a:pt x="14875" y="10969"/>
                  <a:pt x="14937" y="11063"/>
                  <a:pt x="15000" y="11125"/>
                </a:cubicBezTo>
                <a:cubicBezTo>
                  <a:pt x="15031" y="11063"/>
                  <a:pt x="15000" y="11031"/>
                  <a:pt x="15000" y="11000"/>
                </a:cubicBezTo>
                <a:cubicBezTo>
                  <a:pt x="15062" y="10969"/>
                  <a:pt x="15094" y="11031"/>
                  <a:pt x="15125" y="11063"/>
                </a:cubicBezTo>
                <a:cubicBezTo>
                  <a:pt x="15219" y="11156"/>
                  <a:pt x="15281" y="11250"/>
                  <a:pt x="15344" y="11313"/>
                </a:cubicBezTo>
                <a:cubicBezTo>
                  <a:pt x="15469" y="11469"/>
                  <a:pt x="15500" y="11656"/>
                  <a:pt x="15562" y="11813"/>
                </a:cubicBezTo>
                <a:cubicBezTo>
                  <a:pt x="15594" y="11906"/>
                  <a:pt x="15594" y="12031"/>
                  <a:pt x="15687" y="12094"/>
                </a:cubicBezTo>
                <a:cubicBezTo>
                  <a:pt x="15719" y="11844"/>
                  <a:pt x="15500" y="11281"/>
                  <a:pt x="15375" y="11063"/>
                </a:cubicBezTo>
                <a:cubicBezTo>
                  <a:pt x="15281" y="10875"/>
                  <a:pt x="15187" y="10719"/>
                  <a:pt x="15094" y="10531"/>
                </a:cubicBezTo>
                <a:cubicBezTo>
                  <a:pt x="15094" y="10531"/>
                  <a:pt x="15094" y="10500"/>
                  <a:pt x="15094" y="10500"/>
                </a:cubicBezTo>
                <a:cubicBezTo>
                  <a:pt x="15094" y="10500"/>
                  <a:pt x="15094" y="10500"/>
                  <a:pt x="15094" y="10469"/>
                </a:cubicBezTo>
                <a:cubicBezTo>
                  <a:pt x="15094" y="10469"/>
                  <a:pt x="15094" y="10469"/>
                  <a:pt x="15094" y="10469"/>
                </a:cubicBezTo>
                <a:cubicBezTo>
                  <a:pt x="15094" y="10438"/>
                  <a:pt x="15094" y="10406"/>
                  <a:pt x="15062" y="10375"/>
                </a:cubicBezTo>
                <a:cubicBezTo>
                  <a:pt x="15062" y="10375"/>
                  <a:pt x="15062" y="10344"/>
                  <a:pt x="15031" y="10313"/>
                </a:cubicBezTo>
                <a:cubicBezTo>
                  <a:pt x="15094" y="10313"/>
                  <a:pt x="15125" y="10375"/>
                  <a:pt x="15156" y="10375"/>
                </a:cubicBezTo>
                <a:cubicBezTo>
                  <a:pt x="15219" y="10250"/>
                  <a:pt x="15125" y="10125"/>
                  <a:pt x="15094" y="10000"/>
                </a:cubicBezTo>
                <a:cubicBezTo>
                  <a:pt x="15156" y="10031"/>
                  <a:pt x="15156" y="10063"/>
                  <a:pt x="15187" y="10094"/>
                </a:cubicBezTo>
                <a:cubicBezTo>
                  <a:pt x="15187" y="10125"/>
                  <a:pt x="15187" y="10125"/>
                  <a:pt x="15187" y="10125"/>
                </a:cubicBezTo>
                <a:cubicBezTo>
                  <a:pt x="15187" y="10125"/>
                  <a:pt x="15187" y="10125"/>
                  <a:pt x="15187" y="10125"/>
                </a:cubicBezTo>
                <a:cubicBezTo>
                  <a:pt x="15187" y="10156"/>
                  <a:pt x="15219" y="10188"/>
                  <a:pt x="15219" y="10188"/>
                </a:cubicBezTo>
                <a:cubicBezTo>
                  <a:pt x="15250" y="10188"/>
                  <a:pt x="15250" y="10188"/>
                  <a:pt x="15250" y="10188"/>
                </a:cubicBezTo>
                <a:cubicBezTo>
                  <a:pt x="15250" y="10188"/>
                  <a:pt x="15250" y="10219"/>
                  <a:pt x="15281" y="10219"/>
                </a:cubicBezTo>
                <a:cubicBezTo>
                  <a:pt x="15281" y="10219"/>
                  <a:pt x="15281" y="10219"/>
                  <a:pt x="15281" y="10219"/>
                </a:cubicBezTo>
                <a:cubicBezTo>
                  <a:pt x="15281" y="10188"/>
                  <a:pt x="15281" y="10188"/>
                  <a:pt x="15281" y="10188"/>
                </a:cubicBezTo>
                <a:cubicBezTo>
                  <a:pt x="15281" y="10094"/>
                  <a:pt x="15250" y="10063"/>
                  <a:pt x="15219" y="10000"/>
                </a:cubicBezTo>
                <a:cubicBezTo>
                  <a:pt x="15187" y="9969"/>
                  <a:pt x="15187" y="9969"/>
                  <a:pt x="15156" y="9938"/>
                </a:cubicBezTo>
                <a:cubicBezTo>
                  <a:pt x="15125" y="9875"/>
                  <a:pt x="15062" y="9781"/>
                  <a:pt x="15062" y="9719"/>
                </a:cubicBezTo>
                <a:cubicBezTo>
                  <a:pt x="15062" y="9719"/>
                  <a:pt x="15062" y="9719"/>
                  <a:pt x="15094" y="9719"/>
                </a:cubicBezTo>
                <a:cubicBezTo>
                  <a:pt x="15125" y="9750"/>
                  <a:pt x="15156" y="9750"/>
                  <a:pt x="15187" y="9781"/>
                </a:cubicBezTo>
                <a:cubicBezTo>
                  <a:pt x="15250" y="9906"/>
                  <a:pt x="15312" y="10000"/>
                  <a:pt x="15375" y="10125"/>
                </a:cubicBezTo>
                <a:cubicBezTo>
                  <a:pt x="15375" y="10125"/>
                  <a:pt x="15375" y="10156"/>
                  <a:pt x="15406" y="10156"/>
                </a:cubicBezTo>
                <a:cubicBezTo>
                  <a:pt x="15375" y="10156"/>
                  <a:pt x="15375" y="10156"/>
                  <a:pt x="15375" y="10156"/>
                </a:cubicBezTo>
                <a:cubicBezTo>
                  <a:pt x="15375" y="10188"/>
                  <a:pt x="15375" y="10188"/>
                  <a:pt x="15406" y="10188"/>
                </a:cubicBezTo>
                <a:cubicBezTo>
                  <a:pt x="15406" y="10188"/>
                  <a:pt x="15406" y="10188"/>
                  <a:pt x="15406" y="10188"/>
                </a:cubicBezTo>
                <a:cubicBezTo>
                  <a:pt x="15469" y="10438"/>
                  <a:pt x="15562" y="10656"/>
                  <a:pt x="15656" y="10906"/>
                </a:cubicBezTo>
                <a:cubicBezTo>
                  <a:pt x="15656" y="10594"/>
                  <a:pt x="15562" y="10344"/>
                  <a:pt x="15406" y="10094"/>
                </a:cubicBezTo>
                <a:cubicBezTo>
                  <a:pt x="15437" y="10063"/>
                  <a:pt x="15469" y="10094"/>
                  <a:pt x="15469" y="10094"/>
                </a:cubicBezTo>
                <a:cubicBezTo>
                  <a:pt x="15500" y="10094"/>
                  <a:pt x="15562" y="10156"/>
                  <a:pt x="15562" y="10094"/>
                </a:cubicBezTo>
                <a:cubicBezTo>
                  <a:pt x="15594" y="10094"/>
                  <a:pt x="15594" y="10094"/>
                  <a:pt x="15594" y="10094"/>
                </a:cubicBezTo>
                <a:cubicBezTo>
                  <a:pt x="15594" y="10063"/>
                  <a:pt x="15594" y="10031"/>
                  <a:pt x="15594" y="10031"/>
                </a:cubicBezTo>
                <a:cubicBezTo>
                  <a:pt x="15594" y="10031"/>
                  <a:pt x="15594" y="10031"/>
                  <a:pt x="15594" y="10031"/>
                </a:cubicBezTo>
                <a:cubicBezTo>
                  <a:pt x="15594" y="10031"/>
                  <a:pt x="15594" y="10031"/>
                  <a:pt x="15594" y="10000"/>
                </a:cubicBezTo>
                <a:cubicBezTo>
                  <a:pt x="15594" y="10000"/>
                  <a:pt x="15594" y="10000"/>
                  <a:pt x="15562" y="10000"/>
                </a:cubicBezTo>
                <a:cubicBezTo>
                  <a:pt x="15562" y="9938"/>
                  <a:pt x="15531" y="9906"/>
                  <a:pt x="15531" y="9875"/>
                </a:cubicBezTo>
                <a:cubicBezTo>
                  <a:pt x="15406" y="9688"/>
                  <a:pt x="15281" y="9531"/>
                  <a:pt x="15187" y="9375"/>
                </a:cubicBezTo>
                <a:cubicBezTo>
                  <a:pt x="15156" y="9344"/>
                  <a:pt x="15125" y="9313"/>
                  <a:pt x="15094" y="9281"/>
                </a:cubicBezTo>
                <a:cubicBezTo>
                  <a:pt x="15094" y="9250"/>
                  <a:pt x="15031" y="9219"/>
                  <a:pt x="15062" y="9156"/>
                </a:cubicBezTo>
                <a:cubicBezTo>
                  <a:pt x="15187" y="9250"/>
                  <a:pt x="15312" y="9375"/>
                  <a:pt x="15406" y="9469"/>
                </a:cubicBezTo>
                <a:cubicBezTo>
                  <a:pt x="15406" y="9469"/>
                  <a:pt x="15406" y="9469"/>
                  <a:pt x="15406" y="9469"/>
                </a:cubicBezTo>
                <a:cubicBezTo>
                  <a:pt x="15406" y="9469"/>
                  <a:pt x="15437" y="9500"/>
                  <a:pt x="15437" y="9500"/>
                </a:cubicBezTo>
                <a:cubicBezTo>
                  <a:pt x="15437" y="9500"/>
                  <a:pt x="15437" y="9500"/>
                  <a:pt x="15469" y="9500"/>
                </a:cubicBezTo>
                <a:cubicBezTo>
                  <a:pt x="15469" y="9500"/>
                  <a:pt x="15469" y="9500"/>
                  <a:pt x="15469" y="9500"/>
                </a:cubicBezTo>
                <a:cubicBezTo>
                  <a:pt x="15469" y="9500"/>
                  <a:pt x="15469" y="9531"/>
                  <a:pt x="15500" y="9531"/>
                </a:cubicBezTo>
                <a:cubicBezTo>
                  <a:pt x="15500" y="9531"/>
                  <a:pt x="15500" y="9531"/>
                  <a:pt x="15500" y="9531"/>
                </a:cubicBezTo>
                <a:cubicBezTo>
                  <a:pt x="15531" y="9625"/>
                  <a:pt x="15594" y="9688"/>
                  <a:pt x="15656" y="9781"/>
                </a:cubicBezTo>
                <a:cubicBezTo>
                  <a:pt x="15656" y="9813"/>
                  <a:pt x="15656" y="9813"/>
                  <a:pt x="15656" y="9844"/>
                </a:cubicBezTo>
                <a:cubicBezTo>
                  <a:pt x="15656" y="9844"/>
                  <a:pt x="15656" y="9875"/>
                  <a:pt x="15687" y="9906"/>
                </a:cubicBezTo>
                <a:cubicBezTo>
                  <a:pt x="15687" y="9969"/>
                  <a:pt x="15719" y="10031"/>
                  <a:pt x="15750" y="10063"/>
                </a:cubicBezTo>
                <a:cubicBezTo>
                  <a:pt x="15750" y="10156"/>
                  <a:pt x="15781" y="10281"/>
                  <a:pt x="15781" y="10375"/>
                </a:cubicBezTo>
                <a:cubicBezTo>
                  <a:pt x="15781" y="10406"/>
                  <a:pt x="15781" y="10469"/>
                  <a:pt x="15781" y="10500"/>
                </a:cubicBezTo>
                <a:cubicBezTo>
                  <a:pt x="15750" y="10656"/>
                  <a:pt x="15750" y="10813"/>
                  <a:pt x="15781" y="10938"/>
                </a:cubicBezTo>
                <a:cubicBezTo>
                  <a:pt x="15812" y="11063"/>
                  <a:pt x="15812" y="11188"/>
                  <a:pt x="15844" y="11313"/>
                </a:cubicBezTo>
                <a:cubicBezTo>
                  <a:pt x="15844" y="11656"/>
                  <a:pt x="15937" y="12000"/>
                  <a:pt x="15937" y="12375"/>
                </a:cubicBezTo>
                <a:cubicBezTo>
                  <a:pt x="15937" y="12438"/>
                  <a:pt x="16031" y="12469"/>
                  <a:pt x="16094" y="12469"/>
                </a:cubicBezTo>
                <a:cubicBezTo>
                  <a:pt x="16187" y="12469"/>
                  <a:pt x="16156" y="12406"/>
                  <a:pt x="16156" y="12375"/>
                </a:cubicBezTo>
                <a:cubicBezTo>
                  <a:pt x="16156" y="12000"/>
                  <a:pt x="16125" y="11656"/>
                  <a:pt x="16062" y="11313"/>
                </a:cubicBezTo>
                <a:cubicBezTo>
                  <a:pt x="16000" y="10906"/>
                  <a:pt x="15969" y="10469"/>
                  <a:pt x="15812" y="10094"/>
                </a:cubicBezTo>
                <a:cubicBezTo>
                  <a:pt x="15844" y="10063"/>
                  <a:pt x="15812" y="10031"/>
                  <a:pt x="15781" y="10000"/>
                </a:cubicBezTo>
                <a:cubicBezTo>
                  <a:pt x="15781" y="10000"/>
                  <a:pt x="15781" y="9969"/>
                  <a:pt x="15781" y="9969"/>
                </a:cubicBezTo>
                <a:cubicBezTo>
                  <a:pt x="15750" y="9969"/>
                  <a:pt x="15750" y="9938"/>
                  <a:pt x="15750" y="9938"/>
                </a:cubicBezTo>
                <a:cubicBezTo>
                  <a:pt x="15750" y="9906"/>
                  <a:pt x="15750" y="9906"/>
                  <a:pt x="15750" y="9906"/>
                </a:cubicBezTo>
                <a:cubicBezTo>
                  <a:pt x="15719" y="9844"/>
                  <a:pt x="15750" y="9781"/>
                  <a:pt x="15844" y="9719"/>
                </a:cubicBezTo>
                <a:cubicBezTo>
                  <a:pt x="15875" y="9781"/>
                  <a:pt x="15906" y="9813"/>
                  <a:pt x="15937" y="9844"/>
                </a:cubicBezTo>
                <a:cubicBezTo>
                  <a:pt x="15969" y="9906"/>
                  <a:pt x="16000" y="9969"/>
                  <a:pt x="16000" y="10031"/>
                </a:cubicBezTo>
                <a:cubicBezTo>
                  <a:pt x="16000" y="10031"/>
                  <a:pt x="16000" y="10063"/>
                  <a:pt x="16031" y="10063"/>
                </a:cubicBezTo>
                <a:cubicBezTo>
                  <a:pt x="16125" y="10469"/>
                  <a:pt x="16156" y="10875"/>
                  <a:pt x="16156" y="11281"/>
                </a:cubicBezTo>
                <a:cubicBezTo>
                  <a:pt x="16187" y="11688"/>
                  <a:pt x="16219" y="12063"/>
                  <a:pt x="16219" y="12438"/>
                </a:cubicBezTo>
                <a:cubicBezTo>
                  <a:pt x="16250" y="11938"/>
                  <a:pt x="16344" y="11438"/>
                  <a:pt x="16344" y="10906"/>
                </a:cubicBezTo>
                <a:cubicBezTo>
                  <a:pt x="16344" y="10531"/>
                  <a:pt x="16312" y="10156"/>
                  <a:pt x="16156" y="9813"/>
                </a:cubicBezTo>
                <a:cubicBezTo>
                  <a:pt x="16062" y="9531"/>
                  <a:pt x="15906" y="9313"/>
                  <a:pt x="15719" y="9094"/>
                </a:cubicBezTo>
                <a:cubicBezTo>
                  <a:pt x="15656" y="9000"/>
                  <a:pt x="15562" y="8875"/>
                  <a:pt x="15469" y="8781"/>
                </a:cubicBezTo>
                <a:cubicBezTo>
                  <a:pt x="15500" y="8781"/>
                  <a:pt x="15500" y="8750"/>
                  <a:pt x="15500" y="8750"/>
                </a:cubicBezTo>
                <a:cubicBezTo>
                  <a:pt x="15750" y="9094"/>
                  <a:pt x="16062" y="9344"/>
                  <a:pt x="16312" y="9656"/>
                </a:cubicBezTo>
                <a:cubicBezTo>
                  <a:pt x="16344" y="9625"/>
                  <a:pt x="16312" y="9563"/>
                  <a:pt x="16312" y="9531"/>
                </a:cubicBezTo>
                <a:cubicBezTo>
                  <a:pt x="16219" y="9250"/>
                  <a:pt x="16000" y="9063"/>
                  <a:pt x="15812" y="8844"/>
                </a:cubicBezTo>
                <a:cubicBezTo>
                  <a:pt x="15656" y="8656"/>
                  <a:pt x="15469" y="8531"/>
                  <a:pt x="15344" y="8344"/>
                </a:cubicBezTo>
                <a:cubicBezTo>
                  <a:pt x="15375" y="8313"/>
                  <a:pt x="15437" y="8344"/>
                  <a:pt x="15469" y="8344"/>
                </a:cubicBezTo>
                <a:cubicBezTo>
                  <a:pt x="15500" y="8344"/>
                  <a:pt x="15500" y="8344"/>
                  <a:pt x="15531" y="8344"/>
                </a:cubicBezTo>
                <a:cubicBezTo>
                  <a:pt x="15562" y="8344"/>
                  <a:pt x="15625" y="8375"/>
                  <a:pt x="15656" y="8344"/>
                </a:cubicBezTo>
                <a:cubicBezTo>
                  <a:pt x="15656" y="8344"/>
                  <a:pt x="15687" y="8344"/>
                  <a:pt x="15719" y="8313"/>
                </a:cubicBezTo>
                <a:cubicBezTo>
                  <a:pt x="15719" y="8313"/>
                  <a:pt x="15750" y="8313"/>
                  <a:pt x="15781" y="8313"/>
                </a:cubicBezTo>
                <a:cubicBezTo>
                  <a:pt x="15875" y="8313"/>
                  <a:pt x="15969" y="8281"/>
                  <a:pt x="16031" y="8219"/>
                </a:cubicBezTo>
                <a:cubicBezTo>
                  <a:pt x="16062" y="8188"/>
                  <a:pt x="16062" y="8125"/>
                  <a:pt x="16031" y="8125"/>
                </a:cubicBezTo>
                <a:cubicBezTo>
                  <a:pt x="16031" y="8125"/>
                  <a:pt x="16031" y="8125"/>
                  <a:pt x="16000" y="8156"/>
                </a:cubicBezTo>
                <a:cubicBezTo>
                  <a:pt x="16000" y="8156"/>
                  <a:pt x="16000" y="8156"/>
                  <a:pt x="15969" y="8156"/>
                </a:cubicBezTo>
                <a:cubicBezTo>
                  <a:pt x="15969" y="8156"/>
                  <a:pt x="15937" y="8125"/>
                  <a:pt x="15906" y="8125"/>
                </a:cubicBezTo>
                <a:cubicBezTo>
                  <a:pt x="15875" y="8125"/>
                  <a:pt x="15875" y="8156"/>
                  <a:pt x="15844" y="8156"/>
                </a:cubicBezTo>
                <a:cubicBezTo>
                  <a:pt x="15812" y="8156"/>
                  <a:pt x="15750" y="8156"/>
                  <a:pt x="15719" y="8156"/>
                </a:cubicBezTo>
                <a:cubicBezTo>
                  <a:pt x="15719" y="8063"/>
                  <a:pt x="15844" y="8031"/>
                  <a:pt x="15844" y="7906"/>
                </a:cubicBezTo>
                <a:cubicBezTo>
                  <a:pt x="15812" y="7906"/>
                  <a:pt x="15781" y="7938"/>
                  <a:pt x="15781" y="7938"/>
                </a:cubicBezTo>
                <a:cubicBezTo>
                  <a:pt x="15750" y="7969"/>
                  <a:pt x="15750" y="8000"/>
                  <a:pt x="15719" y="8000"/>
                </a:cubicBezTo>
                <a:cubicBezTo>
                  <a:pt x="15687" y="7969"/>
                  <a:pt x="15687" y="7938"/>
                  <a:pt x="15687" y="7938"/>
                </a:cubicBezTo>
                <a:cubicBezTo>
                  <a:pt x="15656" y="7844"/>
                  <a:pt x="15625" y="7750"/>
                  <a:pt x="15719" y="7719"/>
                </a:cubicBezTo>
                <a:cubicBezTo>
                  <a:pt x="15719" y="7719"/>
                  <a:pt x="15719" y="7688"/>
                  <a:pt x="15719" y="7688"/>
                </a:cubicBezTo>
                <a:cubicBezTo>
                  <a:pt x="15719" y="7688"/>
                  <a:pt x="15719" y="7688"/>
                  <a:pt x="15719" y="7688"/>
                </a:cubicBezTo>
                <a:cubicBezTo>
                  <a:pt x="15750" y="7688"/>
                  <a:pt x="15750" y="7688"/>
                  <a:pt x="15750" y="7656"/>
                </a:cubicBezTo>
                <a:cubicBezTo>
                  <a:pt x="15812" y="7656"/>
                  <a:pt x="15844" y="7625"/>
                  <a:pt x="15906" y="7594"/>
                </a:cubicBezTo>
                <a:cubicBezTo>
                  <a:pt x="15937" y="7594"/>
                  <a:pt x="15969" y="7563"/>
                  <a:pt x="16000" y="7500"/>
                </a:cubicBezTo>
                <a:cubicBezTo>
                  <a:pt x="16000" y="7500"/>
                  <a:pt x="16000" y="7500"/>
                  <a:pt x="16000" y="7500"/>
                </a:cubicBezTo>
                <a:cubicBezTo>
                  <a:pt x="16000" y="7500"/>
                  <a:pt x="16000" y="7500"/>
                  <a:pt x="16000" y="7500"/>
                </a:cubicBezTo>
                <a:cubicBezTo>
                  <a:pt x="16000" y="7500"/>
                  <a:pt x="16000" y="7500"/>
                  <a:pt x="16000" y="7500"/>
                </a:cubicBezTo>
                <a:cubicBezTo>
                  <a:pt x="16000" y="7500"/>
                  <a:pt x="16000" y="7500"/>
                  <a:pt x="16031" y="7500"/>
                </a:cubicBezTo>
                <a:cubicBezTo>
                  <a:pt x="16031" y="7500"/>
                  <a:pt x="16031" y="7500"/>
                  <a:pt x="16031" y="7500"/>
                </a:cubicBezTo>
                <a:cubicBezTo>
                  <a:pt x="16062" y="7469"/>
                  <a:pt x="16094" y="7469"/>
                  <a:pt x="16125" y="7406"/>
                </a:cubicBezTo>
                <a:cubicBezTo>
                  <a:pt x="16187" y="7375"/>
                  <a:pt x="16219" y="7344"/>
                  <a:pt x="16250" y="7313"/>
                </a:cubicBezTo>
                <a:cubicBezTo>
                  <a:pt x="16250" y="7313"/>
                  <a:pt x="16250" y="7313"/>
                  <a:pt x="16250" y="7313"/>
                </a:cubicBezTo>
                <a:cubicBezTo>
                  <a:pt x="16281" y="7281"/>
                  <a:pt x="16281" y="7281"/>
                  <a:pt x="16312" y="7250"/>
                </a:cubicBezTo>
                <a:cubicBezTo>
                  <a:pt x="16531" y="6969"/>
                  <a:pt x="16750" y="6719"/>
                  <a:pt x="16969" y="6438"/>
                </a:cubicBezTo>
                <a:cubicBezTo>
                  <a:pt x="17156" y="6250"/>
                  <a:pt x="17406" y="6125"/>
                  <a:pt x="17500" y="5875"/>
                </a:cubicBezTo>
                <a:cubicBezTo>
                  <a:pt x="17531" y="5875"/>
                  <a:pt x="17531" y="5875"/>
                  <a:pt x="17531" y="5844"/>
                </a:cubicBezTo>
                <a:cubicBezTo>
                  <a:pt x="17562" y="5844"/>
                  <a:pt x="17562" y="5813"/>
                  <a:pt x="17562" y="5813"/>
                </a:cubicBezTo>
                <a:cubicBezTo>
                  <a:pt x="17562" y="5813"/>
                  <a:pt x="17562" y="5781"/>
                  <a:pt x="17562" y="5781"/>
                </a:cubicBezTo>
                <a:cubicBezTo>
                  <a:pt x="17562" y="5781"/>
                  <a:pt x="17562" y="5781"/>
                  <a:pt x="17562" y="5781"/>
                </a:cubicBezTo>
                <a:cubicBezTo>
                  <a:pt x="17562" y="5781"/>
                  <a:pt x="17531" y="5750"/>
                  <a:pt x="17531" y="5719"/>
                </a:cubicBezTo>
                <a:cubicBezTo>
                  <a:pt x="17437" y="5500"/>
                  <a:pt x="17344" y="5313"/>
                  <a:pt x="17250" y="5094"/>
                </a:cubicBezTo>
                <a:cubicBezTo>
                  <a:pt x="17250" y="5094"/>
                  <a:pt x="17250" y="5094"/>
                  <a:pt x="17250" y="5063"/>
                </a:cubicBezTo>
                <a:cubicBezTo>
                  <a:pt x="17281" y="5063"/>
                  <a:pt x="17281" y="5094"/>
                  <a:pt x="17312" y="5094"/>
                </a:cubicBezTo>
                <a:cubicBezTo>
                  <a:pt x="17312" y="5094"/>
                  <a:pt x="17312" y="5094"/>
                  <a:pt x="17344" y="5094"/>
                </a:cubicBezTo>
                <a:cubicBezTo>
                  <a:pt x="17344" y="5094"/>
                  <a:pt x="17344" y="5094"/>
                  <a:pt x="17344" y="5094"/>
                </a:cubicBezTo>
                <a:cubicBezTo>
                  <a:pt x="17406" y="5094"/>
                  <a:pt x="17437" y="5125"/>
                  <a:pt x="17469" y="5125"/>
                </a:cubicBezTo>
                <a:cubicBezTo>
                  <a:pt x="17500" y="5125"/>
                  <a:pt x="17500" y="5125"/>
                  <a:pt x="17500" y="5125"/>
                </a:cubicBezTo>
                <a:cubicBezTo>
                  <a:pt x="17500" y="5125"/>
                  <a:pt x="17500" y="5125"/>
                  <a:pt x="17500" y="5125"/>
                </a:cubicBezTo>
                <a:cubicBezTo>
                  <a:pt x="17562" y="5344"/>
                  <a:pt x="17656" y="5563"/>
                  <a:pt x="17781" y="5750"/>
                </a:cubicBezTo>
                <a:cubicBezTo>
                  <a:pt x="17875" y="5906"/>
                  <a:pt x="17969" y="6000"/>
                  <a:pt x="18094" y="6125"/>
                </a:cubicBezTo>
                <a:cubicBezTo>
                  <a:pt x="18062" y="6125"/>
                  <a:pt x="18031" y="6125"/>
                  <a:pt x="18000" y="6125"/>
                </a:cubicBezTo>
                <a:cubicBezTo>
                  <a:pt x="17906" y="6031"/>
                  <a:pt x="17750" y="6000"/>
                  <a:pt x="17625" y="5906"/>
                </a:cubicBezTo>
                <a:cubicBezTo>
                  <a:pt x="17594" y="6063"/>
                  <a:pt x="17750" y="6156"/>
                  <a:pt x="17844" y="6188"/>
                </a:cubicBezTo>
                <a:cubicBezTo>
                  <a:pt x="17875" y="6219"/>
                  <a:pt x="17875" y="6219"/>
                  <a:pt x="17906" y="6219"/>
                </a:cubicBezTo>
                <a:cubicBezTo>
                  <a:pt x="18000" y="6250"/>
                  <a:pt x="18094" y="6250"/>
                  <a:pt x="18187" y="6156"/>
                </a:cubicBezTo>
                <a:cubicBezTo>
                  <a:pt x="18187" y="6188"/>
                  <a:pt x="18187" y="6219"/>
                  <a:pt x="18187" y="6250"/>
                </a:cubicBezTo>
                <a:cubicBezTo>
                  <a:pt x="18156" y="6313"/>
                  <a:pt x="18156" y="6375"/>
                  <a:pt x="18125" y="6438"/>
                </a:cubicBezTo>
                <a:cubicBezTo>
                  <a:pt x="18125" y="6438"/>
                  <a:pt x="18125" y="6438"/>
                  <a:pt x="18125" y="6438"/>
                </a:cubicBezTo>
                <a:cubicBezTo>
                  <a:pt x="18125" y="6469"/>
                  <a:pt x="18094" y="6500"/>
                  <a:pt x="18094" y="6500"/>
                </a:cubicBezTo>
                <a:cubicBezTo>
                  <a:pt x="18094" y="6531"/>
                  <a:pt x="18062" y="6531"/>
                  <a:pt x="18062" y="6531"/>
                </a:cubicBezTo>
                <a:cubicBezTo>
                  <a:pt x="17844" y="6750"/>
                  <a:pt x="17750" y="7031"/>
                  <a:pt x="17594" y="7281"/>
                </a:cubicBezTo>
                <a:cubicBezTo>
                  <a:pt x="17562" y="7313"/>
                  <a:pt x="17531" y="7375"/>
                  <a:pt x="17562" y="7438"/>
                </a:cubicBezTo>
                <a:cubicBezTo>
                  <a:pt x="17594" y="7438"/>
                  <a:pt x="17625" y="7406"/>
                  <a:pt x="17625" y="7375"/>
                </a:cubicBezTo>
                <a:cubicBezTo>
                  <a:pt x="17656" y="7313"/>
                  <a:pt x="17719" y="7313"/>
                  <a:pt x="17750" y="7313"/>
                </a:cubicBezTo>
                <a:cubicBezTo>
                  <a:pt x="17875" y="7375"/>
                  <a:pt x="18031" y="7313"/>
                  <a:pt x="18125" y="7469"/>
                </a:cubicBezTo>
                <a:cubicBezTo>
                  <a:pt x="18156" y="7469"/>
                  <a:pt x="18187" y="7469"/>
                  <a:pt x="18187" y="7469"/>
                </a:cubicBezTo>
                <a:cubicBezTo>
                  <a:pt x="18125" y="7563"/>
                  <a:pt x="18125" y="7563"/>
                  <a:pt x="18125" y="7594"/>
                </a:cubicBezTo>
                <a:cubicBezTo>
                  <a:pt x="18281" y="7531"/>
                  <a:pt x="18281" y="7531"/>
                  <a:pt x="18406" y="7656"/>
                </a:cubicBezTo>
                <a:cubicBezTo>
                  <a:pt x="18406" y="7688"/>
                  <a:pt x="18437" y="7688"/>
                  <a:pt x="18437" y="7688"/>
                </a:cubicBezTo>
                <a:cubicBezTo>
                  <a:pt x="18531" y="7688"/>
                  <a:pt x="18625" y="7719"/>
                  <a:pt x="18687" y="7750"/>
                </a:cubicBezTo>
                <a:cubicBezTo>
                  <a:pt x="18719" y="7750"/>
                  <a:pt x="18750" y="7781"/>
                  <a:pt x="18781" y="7719"/>
                </a:cubicBezTo>
                <a:cubicBezTo>
                  <a:pt x="18812" y="7688"/>
                  <a:pt x="18781" y="7656"/>
                  <a:pt x="18750" y="7656"/>
                </a:cubicBezTo>
                <a:cubicBezTo>
                  <a:pt x="18625" y="7563"/>
                  <a:pt x="18500" y="7500"/>
                  <a:pt x="18406" y="7438"/>
                </a:cubicBezTo>
                <a:cubicBezTo>
                  <a:pt x="18375" y="7406"/>
                  <a:pt x="18312" y="7406"/>
                  <a:pt x="18344" y="7375"/>
                </a:cubicBezTo>
                <a:cubicBezTo>
                  <a:pt x="18375" y="7344"/>
                  <a:pt x="18406" y="7281"/>
                  <a:pt x="18437" y="7313"/>
                </a:cubicBezTo>
                <a:cubicBezTo>
                  <a:pt x="18562" y="7375"/>
                  <a:pt x="18687" y="7406"/>
                  <a:pt x="18781" y="7500"/>
                </a:cubicBezTo>
                <a:cubicBezTo>
                  <a:pt x="18844" y="7563"/>
                  <a:pt x="18906" y="7594"/>
                  <a:pt x="18969" y="7625"/>
                </a:cubicBezTo>
                <a:cubicBezTo>
                  <a:pt x="19125" y="7688"/>
                  <a:pt x="19312" y="7719"/>
                  <a:pt x="19469" y="7781"/>
                </a:cubicBezTo>
                <a:cubicBezTo>
                  <a:pt x="19656" y="7813"/>
                  <a:pt x="19812" y="7969"/>
                  <a:pt x="20031" y="7906"/>
                </a:cubicBezTo>
                <a:cubicBezTo>
                  <a:pt x="20031" y="7875"/>
                  <a:pt x="20000" y="7875"/>
                  <a:pt x="19969" y="7844"/>
                </a:cubicBezTo>
                <a:cubicBezTo>
                  <a:pt x="19937" y="7844"/>
                  <a:pt x="19937" y="7813"/>
                  <a:pt x="19937" y="7781"/>
                </a:cubicBezTo>
                <a:cubicBezTo>
                  <a:pt x="19969" y="7719"/>
                  <a:pt x="20000" y="7750"/>
                  <a:pt x="20031" y="7750"/>
                </a:cubicBezTo>
                <a:cubicBezTo>
                  <a:pt x="20062" y="7750"/>
                  <a:pt x="20062" y="7750"/>
                  <a:pt x="20094" y="7750"/>
                </a:cubicBezTo>
                <a:cubicBezTo>
                  <a:pt x="20125" y="7750"/>
                  <a:pt x="20125" y="7719"/>
                  <a:pt x="20156" y="7688"/>
                </a:cubicBezTo>
                <a:cubicBezTo>
                  <a:pt x="20156" y="7656"/>
                  <a:pt x="20156" y="7656"/>
                  <a:pt x="20187" y="7656"/>
                </a:cubicBezTo>
                <a:cubicBezTo>
                  <a:pt x="20187" y="7656"/>
                  <a:pt x="20187" y="7656"/>
                  <a:pt x="20187" y="7656"/>
                </a:cubicBezTo>
                <a:cubicBezTo>
                  <a:pt x="20187" y="7656"/>
                  <a:pt x="20187" y="7656"/>
                  <a:pt x="20187" y="7656"/>
                </a:cubicBezTo>
                <a:cubicBezTo>
                  <a:pt x="20187" y="7625"/>
                  <a:pt x="20219" y="7625"/>
                  <a:pt x="20219" y="7625"/>
                </a:cubicBezTo>
                <a:cubicBezTo>
                  <a:pt x="20219" y="7625"/>
                  <a:pt x="20250" y="7625"/>
                  <a:pt x="20250" y="7625"/>
                </a:cubicBezTo>
                <a:cubicBezTo>
                  <a:pt x="20281" y="7656"/>
                  <a:pt x="20344" y="7688"/>
                  <a:pt x="20250" y="7750"/>
                </a:cubicBezTo>
                <a:cubicBezTo>
                  <a:pt x="20219" y="7781"/>
                  <a:pt x="20250" y="7813"/>
                  <a:pt x="20281" y="7813"/>
                </a:cubicBezTo>
                <a:cubicBezTo>
                  <a:pt x="20344" y="7844"/>
                  <a:pt x="20406" y="7844"/>
                  <a:pt x="20469" y="7813"/>
                </a:cubicBezTo>
                <a:cubicBezTo>
                  <a:pt x="20500" y="7813"/>
                  <a:pt x="20562" y="7781"/>
                  <a:pt x="20531" y="7844"/>
                </a:cubicBezTo>
                <a:cubicBezTo>
                  <a:pt x="20500" y="7938"/>
                  <a:pt x="20562" y="7906"/>
                  <a:pt x="20625" y="7906"/>
                </a:cubicBezTo>
                <a:cubicBezTo>
                  <a:pt x="20656" y="7938"/>
                  <a:pt x="20687" y="7875"/>
                  <a:pt x="20719" y="7938"/>
                </a:cubicBezTo>
                <a:cubicBezTo>
                  <a:pt x="20719" y="7969"/>
                  <a:pt x="20719" y="8031"/>
                  <a:pt x="20687" y="8063"/>
                </a:cubicBezTo>
                <a:cubicBezTo>
                  <a:pt x="20687" y="8094"/>
                  <a:pt x="20656" y="8125"/>
                  <a:pt x="20625" y="8156"/>
                </a:cubicBezTo>
                <a:cubicBezTo>
                  <a:pt x="20750" y="8188"/>
                  <a:pt x="20844" y="8219"/>
                  <a:pt x="20969" y="8219"/>
                </a:cubicBezTo>
                <a:cubicBezTo>
                  <a:pt x="21031" y="8219"/>
                  <a:pt x="21094" y="8250"/>
                  <a:pt x="21125" y="8219"/>
                </a:cubicBezTo>
                <a:cubicBezTo>
                  <a:pt x="21219" y="8125"/>
                  <a:pt x="21312" y="8156"/>
                  <a:pt x="21375" y="8188"/>
                </a:cubicBezTo>
                <a:cubicBezTo>
                  <a:pt x="21406" y="8188"/>
                  <a:pt x="21406" y="8188"/>
                  <a:pt x="21406" y="8188"/>
                </a:cubicBezTo>
                <a:cubicBezTo>
                  <a:pt x="21437" y="8188"/>
                  <a:pt x="21437" y="8188"/>
                  <a:pt x="21469" y="8188"/>
                </a:cubicBezTo>
                <a:cubicBezTo>
                  <a:pt x="21469" y="8188"/>
                  <a:pt x="21469" y="8188"/>
                  <a:pt x="21469" y="8188"/>
                </a:cubicBezTo>
                <a:cubicBezTo>
                  <a:pt x="21500" y="8188"/>
                  <a:pt x="21562" y="8188"/>
                  <a:pt x="21594" y="8156"/>
                </a:cubicBezTo>
                <a:cubicBezTo>
                  <a:pt x="21594" y="8156"/>
                  <a:pt x="21625" y="8125"/>
                  <a:pt x="21625" y="8094"/>
                </a:cubicBezTo>
                <a:cubicBezTo>
                  <a:pt x="21625" y="8094"/>
                  <a:pt x="21625" y="8094"/>
                  <a:pt x="21625" y="8094"/>
                </a:cubicBezTo>
                <a:cubicBezTo>
                  <a:pt x="21625" y="8094"/>
                  <a:pt x="21625" y="8094"/>
                  <a:pt x="21625" y="8094"/>
                </a:cubicBezTo>
                <a:cubicBezTo>
                  <a:pt x="21687" y="8094"/>
                  <a:pt x="21719" y="8063"/>
                  <a:pt x="21719" y="8031"/>
                </a:cubicBezTo>
                <a:cubicBezTo>
                  <a:pt x="21750" y="7906"/>
                  <a:pt x="21844" y="7844"/>
                  <a:pt x="21937" y="7750"/>
                </a:cubicBezTo>
                <a:cubicBezTo>
                  <a:pt x="22062" y="7656"/>
                  <a:pt x="22125" y="7469"/>
                  <a:pt x="22281" y="7375"/>
                </a:cubicBezTo>
                <a:cubicBezTo>
                  <a:pt x="22344" y="7313"/>
                  <a:pt x="22406" y="7250"/>
                  <a:pt x="22469" y="7188"/>
                </a:cubicBezTo>
                <a:cubicBezTo>
                  <a:pt x="22500" y="7188"/>
                  <a:pt x="22531" y="7156"/>
                  <a:pt x="22562" y="7125"/>
                </a:cubicBezTo>
                <a:cubicBezTo>
                  <a:pt x="22594" y="7094"/>
                  <a:pt x="22625" y="7063"/>
                  <a:pt x="22625" y="7000"/>
                </a:cubicBezTo>
                <a:cubicBezTo>
                  <a:pt x="22625" y="7000"/>
                  <a:pt x="22625" y="7000"/>
                  <a:pt x="22625" y="7000"/>
                </a:cubicBezTo>
                <a:cubicBezTo>
                  <a:pt x="22625" y="7000"/>
                  <a:pt x="22625" y="7000"/>
                  <a:pt x="22625" y="7000"/>
                </a:cubicBezTo>
                <a:cubicBezTo>
                  <a:pt x="22656" y="7000"/>
                  <a:pt x="22656" y="7000"/>
                  <a:pt x="22656" y="7000"/>
                </a:cubicBezTo>
                <a:cubicBezTo>
                  <a:pt x="22656" y="7000"/>
                  <a:pt x="22656" y="6969"/>
                  <a:pt x="22656" y="6969"/>
                </a:cubicBezTo>
                <a:cubicBezTo>
                  <a:pt x="22656" y="6969"/>
                  <a:pt x="22656" y="6969"/>
                  <a:pt x="22656" y="6969"/>
                </a:cubicBezTo>
                <a:cubicBezTo>
                  <a:pt x="22656" y="6969"/>
                  <a:pt x="22656" y="6938"/>
                  <a:pt x="22656" y="6938"/>
                </a:cubicBezTo>
                <a:cubicBezTo>
                  <a:pt x="22687" y="6938"/>
                  <a:pt x="22687" y="6938"/>
                  <a:pt x="22687" y="6906"/>
                </a:cubicBezTo>
                <a:cubicBezTo>
                  <a:pt x="22687" y="6938"/>
                  <a:pt x="22687" y="6938"/>
                  <a:pt x="22687" y="6938"/>
                </a:cubicBezTo>
                <a:cubicBezTo>
                  <a:pt x="22719" y="6938"/>
                  <a:pt x="22750" y="6938"/>
                  <a:pt x="22750" y="6906"/>
                </a:cubicBezTo>
                <a:cubicBezTo>
                  <a:pt x="22750" y="6906"/>
                  <a:pt x="22750" y="6906"/>
                  <a:pt x="22750" y="6906"/>
                </a:cubicBezTo>
                <a:cubicBezTo>
                  <a:pt x="22750" y="6906"/>
                  <a:pt x="22750" y="6906"/>
                  <a:pt x="22750" y="6906"/>
                </a:cubicBezTo>
                <a:cubicBezTo>
                  <a:pt x="22750" y="6906"/>
                  <a:pt x="22750" y="6875"/>
                  <a:pt x="22750" y="6875"/>
                </a:cubicBezTo>
                <a:cubicBezTo>
                  <a:pt x="22750" y="6875"/>
                  <a:pt x="22750" y="6875"/>
                  <a:pt x="22750" y="6875"/>
                </a:cubicBezTo>
                <a:cubicBezTo>
                  <a:pt x="22750" y="6844"/>
                  <a:pt x="22781" y="6844"/>
                  <a:pt x="22781" y="6844"/>
                </a:cubicBezTo>
                <a:cubicBezTo>
                  <a:pt x="22781" y="6844"/>
                  <a:pt x="22781" y="6844"/>
                  <a:pt x="22781" y="6844"/>
                </a:cubicBezTo>
                <a:cubicBezTo>
                  <a:pt x="22781" y="6813"/>
                  <a:pt x="22781" y="6813"/>
                  <a:pt x="22781" y="6813"/>
                </a:cubicBezTo>
                <a:cubicBezTo>
                  <a:pt x="22781" y="6844"/>
                  <a:pt x="22781" y="6844"/>
                  <a:pt x="22781" y="6844"/>
                </a:cubicBezTo>
                <a:cubicBezTo>
                  <a:pt x="22812" y="6844"/>
                  <a:pt x="22844" y="6813"/>
                  <a:pt x="22844" y="6813"/>
                </a:cubicBezTo>
                <a:cubicBezTo>
                  <a:pt x="22844" y="6813"/>
                  <a:pt x="22844" y="6813"/>
                  <a:pt x="22844" y="6813"/>
                </a:cubicBezTo>
                <a:cubicBezTo>
                  <a:pt x="22844" y="6813"/>
                  <a:pt x="22844" y="6813"/>
                  <a:pt x="22844" y="6781"/>
                </a:cubicBezTo>
                <a:cubicBezTo>
                  <a:pt x="22844" y="6781"/>
                  <a:pt x="22844" y="6781"/>
                  <a:pt x="22844" y="6750"/>
                </a:cubicBezTo>
                <a:cubicBezTo>
                  <a:pt x="22875" y="6750"/>
                  <a:pt x="22875" y="6750"/>
                  <a:pt x="22875" y="6750"/>
                </a:cubicBezTo>
                <a:cubicBezTo>
                  <a:pt x="22906" y="6750"/>
                  <a:pt x="22906" y="6750"/>
                  <a:pt x="22906" y="6750"/>
                </a:cubicBezTo>
                <a:cubicBezTo>
                  <a:pt x="22937" y="6719"/>
                  <a:pt x="22969" y="6719"/>
                  <a:pt x="22969" y="6688"/>
                </a:cubicBezTo>
                <a:cubicBezTo>
                  <a:pt x="22969" y="6656"/>
                  <a:pt x="22969" y="6656"/>
                  <a:pt x="22969" y="6656"/>
                </a:cubicBezTo>
                <a:cubicBezTo>
                  <a:pt x="23000" y="6656"/>
                  <a:pt x="23000" y="6656"/>
                  <a:pt x="23000" y="6656"/>
                </a:cubicBezTo>
                <a:cubicBezTo>
                  <a:pt x="23031" y="6656"/>
                  <a:pt x="23031" y="6625"/>
                  <a:pt x="23031" y="6594"/>
                </a:cubicBezTo>
                <a:cubicBezTo>
                  <a:pt x="23031" y="6594"/>
                  <a:pt x="23031" y="6594"/>
                  <a:pt x="23062" y="6563"/>
                </a:cubicBezTo>
                <a:cubicBezTo>
                  <a:pt x="23062" y="6563"/>
                  <a:pt x="23062" y="6563"/>
                  <a:pt x="23094" y="6563"/>
                </a:cubicBezTo>
                <a:cubicBezTo>
                  <a:pt x="23094" y="6563"/>
                  <a:pt x="23094" y="6563"/>
                  <a:pt x="23125" y="6531"/>
                </a:cubicBezTo>
                <a:cubicBezTo>
                  <a:pt x="23125" y="6531"/>
                  <a:pt x="23125" y="6500"/>
                  <a:pt x="23125" y="6500"/>
                </a:cubicBezTo>
                <a:cubicBezTo>
                  <a:pt x="23125" y="6500"/>
                  <a:pt x="23125" y="6469"/>
                  <a:pt x="23125" y="6469"/>
                </a:cubicBezTo>
                <a:cubicBezTo>
                  <a:pt x="23125" y="6469"/>
                  <a:pt x="23125" y="6469"/>
                  <a:pt x="23125" y="6469"/>
                </a:cubicBezTo>
                <a:cubicBezTo>
                  <a:pt x="23156" y="6469"/>
                  <a:pt x="23156" y="6469"/>
                  <a:pt x="23187" y="6438"/>
                </a:cubicBezTo>
                <a:cubicBezTo>
                  <a:pt x="23187" y="6438"/>
                  <a:pt x="23187" y="6438"/>
                  <a:pt x="23187" y="6438"/>
                </a:cubicBezTo>
                <a:cubicBezTo>
                  <a:pt x="23187" y="6438"/>
                  <a:pt x="23187" y="6438"/>
                  <a:pt x="23187" y="6438"/>
                </a:cubicBezTo>
                <a:cubicBezTo>
                  <a:pt x="23219" y="6375"/>
                  <a:pt x="23219" y="6344"/>
                  <a:pt x="23219" y="6313"/>
                </a:cubicBezTo>
                <a:cubicBezTo>
                  <a:pt x="23250" y="6281"/>
                  <a:pt x="23281" y="6250"/>
                  <a:pt x="23312" y="6188"/>
                </a:cubicBezTo>
                <a:cubicBezTo>
                  <a:pt x="23344" y="6188"/>
                  <a:pt x="23375" y="6188"/>
                  <a:pt x="23375" y="6188"/>
                </a:cubicBezTo>
                <a:cubicBezTo>
                  <a:pt x="23375" y="6219"/>
                  <a:pt x="23375" y="6250"/>
                  <a:pt x="23375" y="6281"/>
                </a:cubicBezTo>
                <a:cubicBezTo>
                  <a:pt x="23375" y="6281"/>
                  <a:pt x="23375" y="6281"/>
                  <a:pt x="23375" y="6281"/>
                </a:cubicBezTo>
                <a:cubicBezTo>
                  <a:pt x="23344" y="6313"/>
                  <a:pt x="23344" y="6313"/>
                  <a:pt x="23344" y="6313"/>
                </a:cubicBezTo>
                <a:cubicBezTo>
                  <a:pt x="23312" y="6375"/>
                  <a:pt x="23250" y="6438"/>
                  <a:pt x="23250" y="6531"/>
                </a:cubicBezTo>
                <a:cubicBezTo>
                  <a:pt x="23281" y="6531"/>
                  <a:pt x="23312" y="6500"/>
                  <a:pt x="23312" y="6500"/>
                </a:cubicBezTo>
                <a:cubicBezTo>
                  <a:pt x="23437" y="6313"/>
                  <a:pt x="23594" y="6188"/>
                  <a:pt x="23719" y="6031"/>
                </a:cubicBezTo>
                <a:cubicBezTo>
                  <a:pt x="23750" y="5969"/>
                  <a:pt x="23812" y="5906"/>
                  <a:pt x="23844" y="5813"/>
                </a:cubicBezTo>
                <a:cubicBezTo>
                  <a:pt x="23875" y="5719"/>
                  <a:pt x="23875" y="5563"/>
                  <a:pt x="24000" y="5500"/>
                </a:cubicBezTo>
                <a:cubicBezTo>
                  <a:pt x="24031" y="5500"/>
                  <a:pt x="24031" y="5469"/>
                  <a:pt x="24031" y="5438"/>
                </a:cubicBezTo>
                <a:cubicBezTo>
                  <a:pt x="24000" y="5406"/>
                  <a:pt x="24000" y="5406"/>
                  <a:pt x="24000" y="5375"/>
                </a:cubicBezTo>
                <a:cubicBezTo>
                  <a:pt x="24000" y="5344"/>
                  <a:pt x="24000" y="5344"/>
                  <a:pt x="24000" y="5313"/>
                </a:cubicBezTo>
                <a:cubicBezTo>
                  <a:pt x="24000" y="5313"/>
                  <a:pt x="24000" y="5313"/>
                  <a:pt x="24000" y="5313"/>
                </a:cubicBezTo>
                <a:cubicBezTo>
                  <a:pt x="24031" y="5344"/>
                  <a:pt x="24062" y="5344"/>
                  <a:pt x="24062" y="5313"/>
                </a:cubicBezTo>
                <a:cubicBezTo>
                  <a:pt x="24062" y="5313"/>
                  <a:pt x="24062" y="5281"/>
                  <a:pt x="24062" y="5281"/>
                </a:cubicBezTo>
                <a:cubicBezTo>
                  <a:pt x="24062" y="5281"/>
                  <a:pt x="24031" y="5250"/>
                  <a:pt x="24031" y="5250"/>
                </a:cubicBezTo>
                <a:cubicBezTo>
                  <a:pt x="24031" y="5250"/>
                  <a:pt x="24031" y="5250"/>
                  <a:pt x="24031" y="5250"/>
                </a:cubicBezTo>
                <a:cubicBezTo>
                  <a:pt x="24031" y="5219"/>
                  <a:pt x="24031" y="5219"/>
                  <a:pt x="24031" y="5219"/>
                </a:cubicBezTo>
                <a:cubicBezTo>
                  <a:pt x="24031" y="5219"/>
                  <a:pt x="24031" y="5188"/>
                  <a:pt x="24062" y="5188"/>
                </a:cubicBezTo>
                <a:cubicBezTo>
                  <a:pt x="24062" y="5188"/>
                  <a:pt x="24062" y="5188"/>
                  <a:pt x="24062" y="5188"/>
                </a:cubicBezTo>
                <a:cubicBezTo>
                  <a:pt x="24062" y="5188"/>
                  <a:pt x="24062" y="5188"/>
                  <a:pt x="24094" y="5188"/>
                </a:cubicBezTo>
                <a:cubicBezTo>
                  <a:pt x="24094" y="5188"/>
                  <a:pt x="24125" y="5156"/>
                  <a:pt x="24094" y="5125"/>
                </a:cubicBezTo>
                <a:cubicBezTo>
                  <a:pt x="24125" y="5125"/>
                  <a:pt x="24125" y="5094"/>
                  <a:pt x="24125" y="5094"/>
                </a:cubicBezTo>
                <a:cubicBezTo>
                  <a:pt x="24187" y="5125"/>
                  <a:pt x="24219" y="5063"/>
                  <a:pt x="24219" y="5063"/>
                </a:cubicBezTo>
                <a:cubicBezTo>
                  <a:pt x="24281" y="5000"/>
                  <a:pt x="24312" y="4938"/>
                  <a:pt x="24375" y="4906"/>
                </a:cubicBezTo>
                <a:cubicBezTo>
                  <a:pt x="24437" y="4781"/>
                  <a:pt x="24562" y="4656"/>
                  <a:pt x="24531" y="4500"/>
                </a:cubicBezTo>
                <a:cubicBezTo>
                  <a:pt x="24531" y="4469"/>
                  <a:pt x="24531" y="4406"/>
                  <a:pt x="24594" y="4438"/>
                </a:cubicBezTo>
                <a:cubicBezTo>
                  <a:pt x="24594" y="4438"/>
                  <a:pt x="24625" y="4438"/>
                  <a:pt x="24625" y="4406"/>
                </a:cubicBezTo>
                <a:cubicBezTo>
                  <a:pt x="24687" y="4406"/>
                  <a:pt x="24656" y="4344"/>
                  <a:pt x="24656" y="4313"/>
                </a:cubicBezTo>
                <a:cubicBezTo>
                  <a:pt x="24656" y="4281"/>
                  <a:pt x="24656" y="4281"/>
                  <a:pt x="24656" y="4250"/>
                </a:cubicBezTo>
                <a:cubicBezTo>
                  <a:pt x="24812" y="4281"/>
                  <a:pt x="24844" y="4375"/>
                  <a:pt x="24750" y="4500"/>
                </a:cubicBezTo>
                <a:cubicBezTo>
                  <a:pt x="24750" y="4531"/>
                  <a:pt x="24719" y="4563"/>
                  <a:pt x="24687" y="4563"/>
                </a:cubicBezTo>
                <a:cubicBezTo>
                  <a:pt x="24594" y="4656"/>
                  <a:pt x="24594" y="4781"/>
                  <a:pt x="24531" y="4906"/>
                </a:cubicBezTo>
                <a:cubicBezTo>
                  <a:pt x="24594" y="4875"/>
                  <a:pt x="24594" y="4844"/>
                  <a:pt x="24625" y="4781"/>
                </a:cubicBezTo>
                <a:cubicBezTo>
                  <a:pt x="24719" y="4656"/>
                  <a:pt x="24781" y="4500"/>
                  <a:pt x="24875" y="4344"/>
                </a:cubicBezTo>
                <a:cubicBezTo>
                  <a:pt x="24937" y="4281"/>
                  <a:pt x="24969" y="4156"/>
                  <a:pt x="25000" y="4031"/>
                </a:cubicBezTo>
                <a:cubicBezTo>
                  <a:pt x="25000" y="3875"/>
                  <a:pt x="25031" y="3688"/>
                  <a:pt x="25062" y="3531"/>
                </a:cubicBezTo>
                <a:cubicBezTo>
                  <a:pt x="25062" y="3531"/>
                  <a:pt x="25062" y="3500"/>
                  <a:pt x="25094" y="3500"/>
                </a:cubicBezTo>
                <a:cubicBezTo>
                  <a:pt x="25094" y="3406"/>
                  <a:pt x="25094" y="3281"/>
                  <a:pt x="25062" y="318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799"/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8666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21">
            <a:extLst>
              <a:ext uri="{FF2B5EF4-FFF2-40B4-BE49-F238E27FC236}">
                <a16:creationId xmlns:a16="http://schemas.microsoft.com/office/drawing/2014/main" id="{B2FD969C-DA13-324A-8F0A-1C7F3976E522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>
            <a:off x="732102" y="729012"/>
            <a:ext cx="6624270" cy="5928490"/>
          </a:xfrm>
          <a:custGeom>
            <a:avLst/>
            <a:gdLst>
              <a:gd name="T0" fmla="*/ 1656 w 1709"/>
              <a:gd name="T1" fmla="*/ 1394 h 1534"/>
              <a:gd name="T2" fmla="*/ 1498 w 1709"/>
              <a:gd name="T3" fmla="*/ 1124 h 1534"/>
              <a:gd name="T4" fmla="*/ 1387 w 1709"/>
              <a:gd name="T5" fmla="*/ 844 h 1534"/>
              <a:gd name="T6" fmla="*/ 1359 w 1709"/>
              <a:gd name="T7" fmla="*/ 695 h 1534"/>
              <a:gd name="T8" fmla="*/ 1227 w 1709"/>
              <a:gd name="T9" fmla="*/ 467 h 1534"/>
              <a:gd name="T10" fmla="*/ 1134 w 1709"/>
              <a:gd name="T11" fmla="*/ 349 h 1534"/>
              <a:gd name="T12" fmla="*/ 730 w 1709"/>
              <a:gd name="T13" fmla="*/ 145 h 1534"/>
              <a:gd name="T14" fmla="*/ 467 w 1709"/>
              <a:gd name="T15" fmla="*/ 195 h 1534"/>
              <a:gd name="T16" fmla="*/ 448 w 1709"/>
              <a:gd name="T17" fmla="*/ 135 h 1534"/>
              <a:gd name="T18" fmla="*/ 277 w 1709"/>
              <a:gd name="T19" fmla="*/ 91 h 1534"/>
              <a:gd name="T20" fmla="*/ 264 w 1709"/>
              <a:gd name="T21" fmla="*/ 452 h 1534"/>
              <a:gd name="T22" fmla="*/ 190 w 1709"/>
              <a:gd name="T23" fmla="*/ 763 h 1534"/>
              <a:gd name="T24" fmla="*/ 139 w 1709"/>
              <a:gd name="T25" fmla="*/ 953 h 1534"/>
              <a:gd name="T26" fmla="*/ 150 w 1709"/>
              <a:gd name="T27" fmla="*/ 1010 h 1534"/>
              <a:gd name="T28" fmla="*/ 277 w 1709"/>
              <a:gd name="T29" fmla="*/ 739 h 1534"/>
              <a:gd name="T30" fmla="*/ 443 w 1709"/>
              <a:gd name="T31" fmla="*/ 758 h 1534"/>
              <a:gd name="T32" fmla="*/ 351 w 1709"/>
              <a:gd name="T33" fmla="*/ 1198 h 1534"/>
              <a:gd name="T34" fmla="*/ 328 w 1709"/>
              <a:gd name="T35" fmla="*/ 1315 h 1534"/>
              <a:gd name="T36" fmla="*/ 415 w 1709"/>
              <a:gd name="T37" fmla="*/ 1373 h 1534"/>
              <a:gd name="T38" fmla="*/ 407 w 1709"/>
              <a:gd name="T39" fmla="*/ 1225 h 1534"/>
              <a:gd name="T40" fmla="*/ 512 w 1709"/>
              <a:gd name="T41" fmla="*/ 999 h 1534"/>
              <a:gd name="T42" fmla="*/ 658 w 1709"/>
              <a:gd name="T43" fmla="*/ 1366 h 1534"/>
              <a:gd name="T44" fmla="*/ 600 w 1709"/>
              <a:gd name="T45" fmla="*/ 1510 h 1534"/>
              <a:gd name="T46" fmla="*/ 795 w 1709"/>
              <a:gd name="T47" fmla="*/ 1434 h 1534"/>
              <a:gd name="T48" fmla="*/ 988 w 1709"/>
              <a:gd name="T49" fmla="*/ 1420 h 1534"/>
              <a:gd name="T50" fmla="*/ 970 w 1709"/>
              <a:gd name="T51" fmla="*/ 1295 h 1534"/>
              <a:gd name="T52" fmla="*/ 1077 w 1709"/>
              <a:gd name="T53" fmla="*/ 988 h 1534"/>
              <a:gd name="T54" fmla="*/ 1559 w 1709"/>
              <a:gd name="T55" fmla="*/ 1350 h 1534"/>
              <a:gd name="T56" fmla="*/ 1684 w 1709"/>
              <a:gd name="T57" fmla="*/ 1516 h 1534"/>
              <a:gd name="T58" fmla="*/ 434 w 1709"/>
              <a:gd name="T59" fmla="*/ 1316 h 1534"/>
              <a:gd name="T60" fmla="*/ 8 w 1709"/>
              <a:gd name="T61" fmla="*/ 1277 h 1534"/>
              <a:gd name="T62" fmla="*/ 17 w 1709"/>
              <a:gd name="T63" fmla="*/ 1245 h 1534"/>
              <a:gd name="T64" fmla="*/ 208 w 1709"/>
              <a:gd name="T65" fmla="*/ 1370 h 1534"/>
              <a:gd name="T66" fmla="*/ 1623 w 1709"/>
              <a:gd name="T67" fmla="*/ 1469 h 1534"/>
              <a:gd name="T68" fmla="*/ 1590 w 1709"/>
              <a:gd name="T69" fmla="*/ 1389 h 1534"/>
              <a:gd name="T70" fmla="*/ 1341 w 1709"/>
              <a:gd name="T71" fmla="*/ 971 h 1534"/>
              <a:gd name="T72" fmla="*/ 1206 w 1709"/>
              <a:gd name="T73" fmla="*/ 518 h 1534"/>
              <a:gd name="T74" fmla="*/ 1133 w 1709"/>
              <a:gd name="T75" fmla="*/ 557 h 1534"/>
              <a:gd name="T76" fmla="*/ 1155 w 1709"/>
              <a:gd name="T77" fmla="*/ 659 h 1534"/>
              <a:gd name="T78" fmla="*/ 1152 w 1709"/>
              <a:gd name="T79" fmla="*/ 439 h 1534"/>
              <a:gd name="T80" fmla="*/ 1017 w 1709"/>
              <a:gd name="T81" fmla="*/ 569 h 1534"/>
              <a:gd name="T82" fmla="*/ 809 w 1709"/>
              <a:gd name="T83" fmla="*/ 665 h 1534"/>
              <a:gd name="T84" fmla="*/ 759 w 1709"/>
              <a:gd name="T85" fmla="*/ 933 h 1534"/>
              <a:gd name="T86" fmla="*/ 875 w 1709"/>
              <a:gd name="T87" fmla="*/ 1321 h 1534"/>
              <a:gd name="T88" fmla="*/ 719 w 1709"/>
              <a:gd name="T89" fmla="*/ 1190 h 1534"/>
              <a:gd name="T90" fmla="*/ 737 w 1709"/>
              <a:gd name="T91" fmla="*/ 943 h 1534"/>
              <a:gd name="T92" fmla="*/ 871 w 1709"/>
              <a:gd name="T93" fmla="*/ 1319 h 1534"/>
              <a:gd name="T94" fmla="*/ 635 w 1709"/>
              <a:gd name="T95" fmla="*/ 916 h 1534"/>
              <a:gd name="T96" fmla="*/ 709 w 1709"/>
              <a:gd name="T97" fmla="*/ 716 h 1534"/>
              <a:gd name="T98" fmla="*/ 701 w 1709"/>
              <a:gd name="T99" fmla="*/ 783 h 1534"/>
              <a:gd name="T100" fmla="*/ 647 w 1709"/>
              <a:gd name="T101" fmla="*/ 755 h 1534"/>
              <a:gd name="T102" fmla="*/ 759 w 1709"/>
              <a:gd name="T103" fmla="*/ 457 h 1534"/>
              <a:gd name="T104" fmla="*/ 841 w 1709"/>
              <a:gd name="T105" fmla="*/ 414 h 1534"/>
              <a:gd name="T106" fmla="*/ 965 w 1709"/>
              <a:gd name="T107" fmla="*/ 446 h 1534"/>
              <a:gd name="T108" fmla="*/ 781 w 1709"/>
              <a:gd name="T109" fmla="*/ 1498 h 1534"/>
              <a:gd name="T110" fmla="*/ 578 w 1709"/>
              <a:gd name="T111" fmla="*/ 884 h 1534"/>
              <a:gd name="T112" fmla="*/ 553 w 1709"/>
              <a:gd name="T113" fmla="*/ 882 h 1534"/>
              <a:gd name="T114" fmla="*/ 554 w 1709"/>
              <a:gd name="T115" fmla="*/ 220 h 1534"/>
              <a:gd name="T116" fmla="*/ 429 w 1709"/>
              <a:gd name="T117" fmla="*/ 181 h 1534"/>
              <a:gd name="T118" fmla="*/ 407 w 1709"/>
              <a:gd name="T119" fmla="*/ 255 h 1534"/>
              <a:gd name="T120" fmla="*/ 282 w 1709"/>
              <a:gd name="T121" fmla="*/ 376 h 1534"/>
              <a:gd name="T122" fmla="*/ 308 w 1709"/>
              <a:gd name="T123" fmla="*/ 166 h 1534"/>
              <a:gd name="T124" fmla="*/ 308 w 1709"/>
              <a:gd name="T125" fmla="*/ 187 h 1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09" h="1534">
                <a:moveTo>
                  <a:pt x="1691" y="1473"/>
                </a:moveTo>
                <a:lnTo>
                  <a:pt x="1691" y="1464"/>
                </a:lnTo>
                <a:lnTo>
                  <a:pt x="1691" y="1457"/>
                </a:lnTo>
                <a:lnTo>
                  <a:pt x="1691" y="1464"/>
                </a:lnTo>
                <a:lnTo>
                  <a:pt x="1691" y="1473"/>
                </a:lnTo>
                <a:lnTo>
                  <a:pt x="1692" y="1475"/>
                </a:lnTo>
                <a:lnTo>
                  <a:pt x="1693" y="1477"/>
                </a:lnTo>
                <a:lnTo>
                  <a:pt x="1692" y="1475"/>
                </a:lnTo>
                <a:lnTo>
                  <a:pt x="1691" y="1473"/>
                </a:lnTo>
                <a:close/>
                <a:moveTo>
                  <a:pt x="819" y="1362"/>
                </a:moveTo>
                <a:lnTo>
                  <a:pt x="820" y="1364"/>
                </a:lnTo>
                <a:lnTo>
                  <a:pt x="821" y="1364"/>
                </a:lnTo>
                <a:lnTo>
                  <a:pt x="822" y="1363"/>
                </a:lnTo>
                <a:lnTo>
                  <a:pt x="823" y="1362"/>
                </a:lnTo>
                <a:lnTo>
                  <a:pt x="826" y="1356"/>
                </a:lnTo>
                <a:lnTo>
                  <a:pt x="829" y="1350"/>
                </a:lnTo>
                <a:lnTo>
                  <a:pt x="832" y="1348"/>
                </a:lnTo>
                <a:lnTo>
                  <a:pt x="834" y="1344"/>
                </a:lnTo>
                <a:lnTo>
                  <a:pt x="836" y="1341"/>
                </a:lnTo>
                <a:lnTo>
                  <a:pt x="837" y="1337"/>
                </a:lnTo>
                <a:lnTo>
                  <a:pt x="835" y="1340"/>
                </a:lnTo>
                <a:lnTo>
                  <a:pt x="832" y="1342"/>
                </a:lnTo>
                <a:lnTo>
                  <a:pt x="829" y="1343"/>
                </a:lnTo>
                <a:lnTo>
                  <a:pt x="828" y="1344"/>
                </a:lnTo>
                <a:lnTo>
                  <a:pt x="828" y="1347"/>
                </a:lnTo>
                <a:lnTo>
                  <a:pt x="827" y="1349"/>
                </a:lnTo>
                <a:lnTo>
                  <a:pt x="825" y="1350"/>
                </a:lnTo>
                <a:lnTo>
                  <a:pt x="822" y="1350"/>
                </a:lnTo>
                <a:lnTo>
                  <a:pt x="820" y="1349"/>
                </a:lnTo>
                <a:lnTo>
                  <a:pt x="818" y="1344"/>
                </a:lnTo>
                <a:lnTo>
                  <a:pt x="818" y="1349"/>
                </a:lnTo>
                <a:lnTo>
                  <a:pt x="818" y="1351"/>
                </a:lnTo>
                <a:lnTo>
                  <a:pt x="815" y="1355"/>
                </a:lnTo>
                <a:lnTo>
                  <a:pt x="812" y="1359"/>
                </a:lnTo>
                <a:lnTo>
                  <a:pt x="815" y="1361"/>
                </a:lnTo>
                <a:lnTo>
                  <a:pt x="819" y="1362"/>
                </a:lnTo>
                <a:close/>
                <a:moveTo>
                  <a:pt x="530" y="897"/>
                </a:moveTo>
                <a:lnTo>
                  <a:pt x="531" y="897"/>
                </a:lnTo>
                <a:lnTo>
                  <a:pt x="532" y="897"/>
                </a:lnTo>
                <a:lnTo>
                  <a:pt x="533" y="897"/>
                </a:lnTo>
                <a:lnTo>
                  <a:pt x="533" y="896"/>
                </a:lnTo>
                <a:lnTo>
                  <a:pt x="532" y="896"/>
                </a:lnTo>
                <a:lnTo>
                  <a:pt x="531" y="896"/>
                </a:lnTo>
                <a:lnTo>
                  <a:pt x="531" y="896"/>
                </a:lnTo>
                <a:lnTo>
                  <a:pt x="530" y="897"/>
                </a:lnTo>
                <a:close/>
                <a:moveTo>
                  <a:pt x="1690" y="1446"/>
                </a:moveTo>
                <a:lnTo>
                  <a:pt x="1690" y="1446"/>
                </a:lnTo>
                <a:lnTo>
                  <a:pt x="1690" y="1446"/>
                </a:lnTo>
                <a:lnTo>
                  <a:pt x="1690" y="1447"/>
                </a:lnTo>
                <a:lnTo>
                  <a:pt x="1690" y="1447"/>
                </a:lnTo>
                <a:lnTo>
                  <a:pt x="1686" y="1450"/>
                </a:lnTo>
                <a:lnTo>
                  <a:pt x="1685" y="1454"/>
                </a:lnTo>
                <a:lnTo>
                  <a:pt x="1682" y="1452"/>
                </a:lnTo>
                <a:lnTo>
                  <a:pt x="1679" y="1448"/>
                </a:lnTo>
                <a:lnTo>
                  <a:pt x="1678" y="1445"/>
                </a:lnTo>
                <a:lnTo>
                  <a:pt x="1677" y="1442"/>
                </a:lnTo>
                <a:lnTo>
                  <a:pt x="1675" y="1441"/>
                </a:lnTo>
                <a:lnTo>
                  <a:pt x="1674" y="1441"/>
                </a:lnTo>
                <a:lnTo>
                  <a:pt x="1669" y="1441"/>
                </a:lnTo>
                <a:lnTo>
                  <a:pt x="1664" y="1445"/>
                </a:lnTo>
                <a:lnTo>
                  <a:pt x="1662" y="1446"/>
                </a:lnTo>
                <a:lnTo>
                  <a:pt x="1658" y="1446"/>
                </a:lnTo>
                <a:lnTo>
                  <a:pt x="1657" y="1445"/>
                </a:lnTo>
                <a:lnTo>
                  <a:pt x="1656" y="1442"/>
                </a:lnTo>
                <a:lnTo>
                  <a:pt x="1654" y="1431"/>
                </a:lnTo>
                <a:lnTo>
                  <a:pt x="1650" y="1419"/>
                </a:lnTo>
                <a:lnTo>
                  <a:pt x="1652" y="1413"/>
                </a:lnTo>
                <a:lnTo>
                  <a:pt x="1652" y="1408"/>
                </a:lnTo>
                <a:lnTo>
                  <a:pt x="1654" y="1408"/>
                </a:lnTo>
                <a:lnTo>
                  <a:pt x="1654" y="1407"/>
                </a:lnTo>
                <a:lnTo>
                  <a:pt x="1654" y="1407"/>
                </a:lnTo>
                <a:lnTo>
                  <a:pt x="1652" y="1406"/>
                </a:lnTo>
                <a:lnTo>
                  <a:pt x="1654" y="1405"/>
                </a:lnTo>
                <a:lnTo>
                  <a:pt x="1654" y="1404"/>
                </a:lnTo>
                <a:lnTo>
                  <a:pt x="1655" y="1400"/>
                </a:lnTo>
                <a:lnTo>
                  <a:pt x="1656" y="1398"/>
                </a:lnTo>
                <a:lnTo>
                  <a:pt x="1656" y="1394"/>
                </a:lnTo>
                <a:lnTo>
                  <a:pt x="1655" y="1392"/>
                </a:lnTo>
                <a:lnTo>
                  <a:pt x="1655" y="1390"/>
                </a:lnTo>
                <a:lnTo>
                  <a:pt x="1655" y="1387"/>
                </a:lnTo>
                <a:lnTo>
                  <a:pt x="1661" y="1387"/>
                </a:lnTo>
                <a:lnTo>
                  <a:pt x="1665" y="1390"/>
                </a:lnTo>
                <a:lnTo>
                  <a:pt x="1667" y="1392"/>
                </a:lnTo>
                <a:lnTo>
                  <a:pt x="1669" y="1393"/>
                </a:lnTo>
                <a:lnTo>
                  <a:pt x="1670" y="1393"/>
                </a:lnTo>
                <a:lnTo>
                  <a:pt x="1672" y="1392"/>
                </a:lnTo>
                <a:lnTo>
                  <a:pt x="1672" y="1391"/>
                </a:lnTo>
                <a:lnTo>
                  <a:pt x="1674" y="1389"/>
                </a:lnTo>
                <a:lnTo>
                  <a:pt x="1672" y="1387"/>
                </a:lnTo>
                <a:lnTo>
                  <a:pt x="1672" y="1385"/>
                </a:lnTo>
                <a:lnTo>
                  <a:pt x="1668" y="1376"/>
                </a:lnTo>
                <a:lnTo>
                  <a:pt x="1662" y="1366"/>
                </a:lnTo>
                <a:lnTo>
                  <a:pt x="1658" y="1363"/>
                </a:lnTo>
                <a:lnTo>
                  <a:pt x="1654" y="1359"/>
                </a:lnTo>
                <a:lnTo>
                  <a:pt x="1649" y="1357"/>
                </a:lnTo>
                <a:lnTo>
                  <a:pt x="1643" y="1355"/>
                </a:lnTo>
                <a:lnTo>
                  <a:pt x="1638" y="1354"/>
                </a:lnTo>
                <a:lnTo>
                  <a:pt x="1635" y="1352"/>
                </a:lnTo>
                <a:lnTo>
                  <a:pt x="1633" y="1351"/>
                </a:lnTo>
                <a:lnTo>
                  <a:pt x="1631" y="1350"/>
                </a:lnTo>
                <a:lnTo>
                  <a:pt x="1630" y="1348"/>
                </a:lnTo>
                <a:lnTo>
                  <a:pt x="1630" y="1344"/>
                </a:lnTo>
                <a:lnTo>
                  <a:pt x="1630" y="1340"/>
                </a:lnTo>
                <a:lnTo>
                  <a:pt x="1630" y="1335"/>
                </a:lnTo>
                <a:lnTo>
                  <a:pt x="1628" y="1331"/>
                </a:lnTo>
                <a:lnTo>
                  <a:pt x="1626" y="1328"/>
                </a:lnTo>
                <a:lnTo>
                  <a:pt x="1620" y="1320"/>
                </a:lnTo>
                <a:lnTo>
                  <a:pt x="1614" y="1310"/>
                </a:lnTo>
                <a:lnTo>
                  <a:pt x="1610" y="1305"/>
                </a:lnTo>
                <a:lnTo>
                  <a:pt x="1607" y="1299"/>
                </a:lnTo>
                <a:lnTo>
                  <a:pt x="1602" y="1294"/>
                </a:lnTo>
                <a:lnTo>
                  <a:pt x="1598" y="1289"/>
                </a:lnTo>
                <a:lnTo>
                  <a:pt x="1598" y="1289"/>
                </a:lnTo>
                <a:lnTo>
                  <a:pt x="1596" y="1282"/>
                </a:lnTo>
                <a:lnTo>
                  <a:pt x="1593" y="1277"/>
                </a:lnTo>
                <a:lnTo>
                  <a:pt x="1589" y="1272"/>
                </a:lnTo>
                <a:lnTo>
                  <a:pt x="1586" y="1266"/>
                </a:lnTo>
                <a:lnTo>
                  <a:pt x="1582" y="1258"/>
                </a:lnTo>
                <a:lnTo>
                  <a:pt x="1578" y="1251"/>
                </a:lnTo>
                <a:lnTo>
                  <a:pt x="1573" y="1244"/>
                </a:lnTo>
                <a:lnTo>
                  <a:pt x="1566" y="1237"/>
                </a:lnTo>
                <a:lnTo>
                  <a:pt x="1566" y="1237"/>
                </a:lnTo>
                <a:lnTo>
                  <a:pt x="1562" y="1228"/>
                </a:lnTo>
                <a:lnTo>
                  <a:pt x="1557" y="1218"/>
                </a:lnTo>
                <a:lnTo>
                  <a:pt x="1550" y="1210"/>
                </a:lnTo>
                <a:lnTo>
                  <a:pt x="1545" y="1201"/>
                </a:lnTo>
                <a:lnTo>
                  <a:pt x="1545" y="1201"/>
                </a:lnTo>
                <a:lnTo>
                  <a:pt x="1544" y="1200"/>
                </a:lnTo>
                <a:lnTo>
                  <a:pt x="1544" y="1201"/>
                </a:lnTo>
                <a:lnTo>
                  <a:pt x="1544" y="1201"/>
                </a:lnTo>
                <a:lnTo>
                  <a:pt x="1544" y="1201"/>
                </a:lnTo>
                <a:lnTo>
                  <a:pt x="1544" y="1200"/>
                </a:lnTo>
                <a:lnTo>
                  <a:pt x="1544" y="1197"/>
                </a:lnTo>
                <a:lnTo>
                  <a:pt x="1541" y="1196"/>
                </a:lnTo>
                <a:lnTo>
                  <a:pt x="1540" y="1190"/>
                </a:lnTo>
                <a:lnTo>
                  <a:pt x="1537" y="1186"/>
                </a:lnTo>
                <a:lnTo>
                  <a:pt x="1533" y="1182"/>
                </a:lnTo>
                <a:lnTo>
                  <a:pt x="1530" y="1177"/>
                </a:lnTo>
                <a:lnTo>
                  <a:pt x="1524" y="1167"/>
                </a:lnTo>
                <a:lnTo>
                  <a:pt x="1518" y="1156"/>
                </a:lnTo>
                <a:lnTo>
                  <a:pt x="1512" y="1147"/>
                </a:lnTo>
                <a:lnTo>
                  <a:pt x="1505" y="1138"/>
                </a:lnTo>
                <a:lnTo>
                  <a:pt x="1505" y="1135"/>
                </a:lnTo>
                <a:lnTo>
                  <a:pt x="1504" y="1134"/>
                </a:lnTo>
                <a:lnTo>
                  <a:pt x="1504" y="1133"/>
                </a:lnTo>
                <a:lnTo>
                  <a:pt x="1503" y="1132"/>
                </a:lnTo>
                <a:lnTo>
                  <a:pt x="1502" y="1131"/>
                </a:lnTo>
                <a:lnTo>
                  <a:pt x="1500" y="1131"/>
                </a:lnTo>
                <a:lnTo>
                  <a:pt x="1500" y="1130"/>
                </a:lnTo>
                <a:lnTo>
                  <a:pt x="1499" y="1128"/>
                </a:lnTo>
                <a:lnTo>
                  <a:pt x="1499" y="1126"/>
                </a:lnTo>
                <a:lnTo>
                  <a:pt x="1498" y="1126"/>
                </a:lnTo>
                <a:lnTo>
                  <a:pt x="1498" y="1126"/>
                </a:lnTo>
                <a:lnTo>
                  <a:pt x="1498" y="1124"/>
                </a:lnTo>
                <a:lnTo>
                  <a:pt x="1498" y="1123"/>
                </a:lnTo>
                <a:lnTo>
                  <a:pt x="1497" y="1121"/>
                </a:lnTo>
                <a:lnTo>
                  <a:pt x="1496" y="1121"/>
                </a:lnTo>
                <a:lnTo>
                  <a:pt x="1495" y="1120"/>
                </a:lnTo>
                <a:lnTo>
                  <a:pt x="1493" y="1120"/>
                </a:lnTo>
                <a:lnTo>
                  <a:pt x="1492" y="1116"/>
                </a:lnTo>
                <a:lnTo>
                  <a:pt x="1490" y="1111"/>
                </a:lnTo>
                <a:lnTo>
                  <a:pt x="1486" y="1107"/>
                </a:lnTo>
                <a:lnTo>
                  <a:pt x="1483" y="1104"/>
                </a:lnTo>
                <a:lnTo>
                  <a:pt x="1483" y="1103"/>
                </a:lnTo>
                <a:lnTo>
                  <a:pt x="1483" y="1103"/>
                </a:lnTo>
                <a:lnTo>
                  <a:pt x="1483" y="1099"/>
                </a:lnTo>
                <a:lnTo>
                  <a:pt x="1482" y="1097"/>
                </a:lnTo>
                <a:lnTo>
                  <a:pt x="1479" y="1091"/>
                </a:lnTo>
                <a:lnTo>
                  <a:pt x="1477" y="1086"/>
                </a:lnTo>
                <a:lnTo>
                  <a:pt x="1474" y="1082"/>
                </a:lnTo>
                <a:lnTo>
                  <a:pt x="1470" y="1078"/>
                </a:lnTo>
                <a:lnTo>
                  <a:pt x="1463" y="1070"/>
                </a:lnTo>
                <a:lnTo>
                  <a:pt x="1455" y="1062"/>
                </a:lnTo>
                <a:lnTo>
                  <a:pt x="1454" y="1059"/>
                </a:lnTo>
                <a:lnTo>
                  <a:pt x="1451" y="1059"/>
                </a:lnTo>
                <a:lnTo>
                  <a:pt x="1451" y="1059"/>
                </a:lnTo>
                <a:lnTo>
                  <a:pt x="1451" y="1059"/>
                </a:lnTo>
                <a:lnTo>
                  <a:pt x="1450" y="1057"/>
                </a:lnTo>
                <a:lnTo>
                  <a:pt x="1450" y="1055"/>
                </a:lnTo>
                <a:lnTo>
                  <a:pt x="1448" y="1055"/>
                </a:lnTo>
                <a:lnTo>
                  <a:pt x="1445" y="1055"/>
                </a:lnTo>
                <a:lnTo>
                  <a:pt x="1445" y="1054"/>
                </a:lnTo>
                <a:lnTo>
                  <a:pt x="1445" y="1054"/>
                </a:lnTo>
                <a:lnTo>
                  <a:pt x="1444" y="1051"/>
                </a:lnTo>
                <a:lnTo>
                  <a:pt x="1442" y="1049"/>
                </a:lnTo>
                <a:lnTo>
                  <a:pt x="1440" y="1047"/>
                </a:lnTo>
                <a:lnTo>
                  <a:pt x="1437" y="1045"/>
                </a:lnTo>
                <a:lnTo>
                  <a:pt x="1424" y="1037"/>
                </a:lnTo>
                <a:lnTo>
                  <a:pt x="1414" y="1028"/>
                </a:lnTo>
                <a:lnTo>
                  <a:pt x="1403" y="1017"/>
                </a:lnTo>
                <a:lnTo>
                  <a:pt x="1395" y="1006"/>
                </a:lnTo>
                <a:lnTo>
                  <a:pt x="1392" y="1002"/>
                </a:lnTo>
                <a:lnTo>
                  <a:pt x="1391" y="999"/>
                </a:lnTo>
                <a:lnTo>
                  <a:pt x="1389" y="996"/>
                </a:lnTo>
                <a:lnTo>
                  <a:pt x="1389" y="994"/>
                </a:lnTo>
                <a:lnTo>
                  <a:pt x="1391" y="992"/>
                </a:lnTo>
                <a:lnTo>
                  <a:pt x="1393" y="989"/>
                </a:lnTo>
                <a:lnTo>
                  <a:pt x="1395" y="989"/>
                </a:lnTo>
                <a:lnTo>
                  <a:pt x="1396" y="989"/>
                </a:lnTo>
                <a:lnTo>
                  <a:pt x="1396" y="988"/>
                </a:lnTo>
                <a:lnTo>
                  <a:pt x="1396" y="986"/>
                </a:lnTo>
                <a:lnTo>
                  <a:pt x="1394" y="984"/>
                </a:lnTo>
                <a:lnTo>
                  <a:pt x="1393" y="981"/>
                </a:lnTo>
                <a:lnTo>
                  <a:pt x="1393" y="972"/>
                </a:lnTo>
                <a:lnTo>
                  <a:pt x="1393" y="964"/>
                </a:lnTo>
                <a:lnTo>
                  <a:pt x="1392" y="951"/>
                </a:lnTo>
                <a:lnTo>
                  <a:pt x="1392" y="939"/>
                </a:lnTo>
                <a:lnTo>
                  <a:pt x="1393" y="933"/>
                </a:lnTo>
                <a:lnTo>
                  <a:pt x="1392" y="930"/>
                </a:lnTo>
                <a:lnTo>
                  <a:pt x="1389" y="926"/>
                </a:lnTo>
                <a:lnTo>
                  <a:pt x="1386" y="923"/>
                </a:lnTo>
                <a:lnTo>
                  <a:pt x="1385" y="922"/>
                </a:lnTo>
                <a:lnTo>
                  <a:pt x="1384" y="921"/>
                </a:lnTo>
                <a:lnTo>
                  <a:pt x="1385" y="919"/>
                </a:lnTo>
                <a:lnTo>
                  <a:pt x="1386" y="917"/>
                </a:lnTo>
                <a:lnTo>
                  <a:pt x="1388" y="915"/>
                </a:lnTo>
                <a:lnTo>
                  <a:pt x="1389" y="912"/>
                </a:lnTo>
                <a:lnTo>
                  <a:pt x="1389" y="909"/>
                </a:lnTo>
                <a:lnTo>
                  <a:pt x="1386" y="905"/>
                </a:lnTo>
                <a:lnTo>
                  <a:pt x="1385" y="904"/>
                </a:lnTo>
                <a:lnTo>
                  <a:pt x="1384" y="903"/>
                </a:lnTo>
                <a:lnTo>
                  <a:pt x="1384" y="902"/>
                </a:lnTo>
                <a:lnTo>
                  <a:pt x="1386" y="901"/>
                </a:lnTo>
                <a:lnTo>
                  <a:pt x="1387" y="898"/>
                </a:lnTo>
                <a:lnTo>
                  <a:pt x="1388" y="897"/>
                </a:lnTo>
                <a:lnTo>
                  <a:pt x="1388" y="895"/>
                </a:lnTo>
                <a:lnTo>
                  <a:pt x="1388" y="893"/>
                </a:lnTo>
                <a:lnTo>
                  <a:pt x="1388" y="880"/>
                </a:lnTo>
                <a:lnTo>
                  <a:pt x="1387" y="868"/>
                </a:lnTo>
                <a:lnTo>
                  <a:pt x="1387" y="856"/>
                </a:lnTo>
                <a:lnTo>
                  <a:pt x="1387" y="844"/>
                </a:lnTo>
                <a:lnTo>
                  <a:pt x="1387" y="831"/>
                </a:lnTo>
                <a:lnTo>
                  <a:pt x="1386" y="819"/>
                </a:lnTo>
                <a:lnTo>
                  <a:pt x="1385" y="806"/>
                </a:lnTo>
                <a:lnTo>
                  <a:pt x="1381" y="795"/>
                </a:lnTo>
                <a:lnTo>
                  <a:pt x="1381" y="792"/>
                </a:lnTo>
                <a:lnTo>
                  <a:pt x="1381" y="790"/>
                </a:lnTo>
                <a:lnTo>
                  <a:pt x="1384" y="784"/>
                </a:lnTo>
                <a:lnTo>
                  <a:pt x="1382" y="779"/>
                </a:lnTo>
                <a:lnTo>
                  <a:pt x="1380" y="776"/>
                </a:lnTo>
                <a:lnTo>
                  <a:pt x="1378" y="772"/>
                </a:lnTo>
                <a:lnTo>
                  <a:pt x="1375" y="769"/>
                </a:lnTo>
                <a:lnTo>
                  <a:pt x="1372" y="765"/>
                </a:lnTo>
                <a:lnTo>
                  <a:pt x="1371" y="761"/>
                </a:lnTo>
                <a:lnTo>
                  <a:pt x="1369" y="756"/>
                </a:lnTo>
                <a:lnTo>
                  <a:pt x="1369" y="756"/>
                </a:lnTo>
                <a:lnTo>
                  <a:pt x="1368" y="756"/>
                </a:lnTo>
                <a:lnTo>
                  <a:pt x="1366" y="755"/>
                </a:lnTo>
                <a:lnTo>
                  <a:pt x="1366" y="754"/>
                </a:lnTo>
                <a:lnTo>
                  <a:pt x="1367" y="751"/>
                </a:lnTo>
                <a:lnTo>
                  <a:pt x="1367" y="750"/>
                </a:lnTo>
                <a:lnTo>
                  <a:pt x="1371" y="749"/>
                </a:lnTo>
                <a:lnTo>
                  <a:pt x="1374" y="750"/>
                </a:lnTo>
                <a:lnTo>
                  <a:pt x="1376" y="753"/>
                </a:lnTo>
                <a:lnTo>
                  <a:pt x="1379" y="755"/>
                </a:lnTo>
                <a:lnTo>
                  <a:pt x="1380" y="755"/>
                </a:lnTo>
                <a:lnTo>
                  <a:pt x="1382" y="755"/>
                </a:lnTo>
                <a:lnTo>
                  <a:pt x="1384" y="753"/>
                </a:lnTo>
                <a:lnTo>
                  <a:pt x="1381" y="750"/>
                </a:lnTo>
                <a:lnTo>
                  <a:pt x="1379" y="749"/>
                </a:lnTo>
                <a:lnTo>
                  <a:pt x="1378" y="747"/>
                </a:lnTo>
                <a:lnTo>
                  <a:pt x="1376" y="746"/>
                </a:lnTo>
                <a:lnTo>
                  <a:pt x="1374" y="746"/>
                </a:lnTo>
                <a:lnTo>
                  <a:pt x="1374" y="746"/>
                </a:lnTo>
                <a:lnTo>
                  <a:pt x="1374" y="746"/>
                </a:lnTo>
                <a:lnTo>
                  <a:pt x="1372" y="742"/>
                </a:lnTo>
                <a:lnTo>
                  <a:pt x="1368" y="741"/>
                </a:lnTo>
                <a:lnTo>
                  <a:pt x="1366" y="741"/>
                </a:lnTo>
                <a:lnTo>
                  <a:pt x="1365" y="739"/>
                </a:lnTo>
                <a:lnTo>
                  <a:pt x="1366" y="737"/>
                </a:lnTo>
                <a:lnTo>
                  <a:pt x="1367" y="735"/>
                </a:lnTo>
                <a:lnTo>
                  <a:pt x="1367" y="735"/>
                </a:lnTo>
                <a:lnTo>
                  <a:pt x="1367" y="735"/>
                </a:lnTo>
                <a:lnTo>
                  <a:pt x="1368" y="735"/>
                </a:lnTo>
                <a:lnTo>
                  <a:pt x="1368" y="735"/>
                </a:lnTo>
                <a:lnTo>
                  <a:pt x="1368" y="735"/>
                </a:lnTo>
                <a:lnTo>
                  <a:pt x="1369" y="735"/>
                </a:lnTo>
                <a:lnTo>
                  <a:pt x="1371" y="735"/>
                </a:lnTo>
                <a:lnTo>
                  <a:pt x="1372" y="736"/>
                </a:lnTo>
                <a:lnTo>
                  <a:pt x="1372" y="736"/>
                </a:lnTo>
                <a:lnTo>
                  <a:pt x="1372" y="736"/>
                </a:lnTo>
                <a:lnTo>
                  <a:pt x="1376" y="739"/>
                </a:lnTo>
                <a:lnTo>
                  <a:pt x="1381" y="741"/>
                </a:lnTo>
                <a:lnTo>
                  <a:pt x="1385" y="744"/>
                </a:lnTo>
                <a:lnTo>
                  <a:pt x="1387" y="749"/>
                </a:lnTo>
                <a:lnTo>
                  <a:pt x="1388" y="744"/>
                </a:lnTo>
                <a:lnTo>
                  <a:pt x="1388" y="740"/>
                </a:lnTo>
                <a:lnTo>
                  <a:pt x="1387" y="736"/>
                </a:lnTo>
                <a:lnTo>
                  <a:pt x="1384" y="733"/>
                </a:lnTo>
                <a:lnTo>
                  <a:pt x="1376" y="726"/>
                </a:lnTo>
                <a:lnTo>
                  <a:pt x="1368" y="721"/>
                </a:lnTo>
                <a:lnTo>
                  <a:pt x="1368" y="718"/>
                </a:lnTo>
                <a:lnTo>
                  <a:pt x="1368" y="714"/>
                </a:lnTo>
                <a:lnTo>
                  <a:pt x="1368" y="713"/>
                </a:lnTo>
                <a:lnTo>
                  <a:pt x="1367" y="711"/>
                </a:lnTo>
                <a:lnTo>
                  <a:pt x="1366" y="709"/>
                </a:lnTo>
                <a:lnTo>
                  <a:pt x="1364" y="709"/>
                </a:lnTo>
                <a:lnTo>
                  <a:pt x="1362" y="708"/>
                </a:lnTo>
                <a:lnTo>
                  <a:pt x="1361" y="708"/>
                </a:lnTo>
                <a:lnTo>
                  <a:pt x="1361" y="706"/>
                </a:lnTo>
                <a:lnTo>
                  <a:pt x="1360" y="704"/>
                </a:lnTo>
                <a:lnTo>
                  <a:pt x="1360" y="702"/>
                </a:lnTo>
                <a:lnTo>
                  <a:pt x="1358" y="701"/>
                </a:lnTo>
                <a:lnTo>
                  <a:pt x="1354" y="700"/>
                </a:lnTo>
                <a:lnTo>
                  <a:pt x="1352" y="699"/>
                </a:lnTo>
                <a:lnTo>
                  <a:pt x="1354" y="698"/>
                </a:lnTo>
                <a:lnTo>
                  <a:pt x="1357" y="697"/>
                </a:lnTo>
                <a:lnTo>
                  <a:pt x="1359" y="695"/>
                </a:lnTo>
                <a:lnTo>
                  <a:pt x="1360" y="693"/>
                </a:lnTo>
                <a:lnTo>
                  <a:pt x="1361" y="688"/>
                </a:lnTo>
                <a:lnTo>
                  <a:pt x="1361" y="683"/>
                </a:lnTo>
                <a:lnTo>
                  <a:pt x="1361" y="679"/>
                </a:lnTo>
                <a:lnTo>
                  <a:pt x="1362" y="678"/>
                </a:lnTo>
                <a:lnTo>
                  <a:pt x="1365" y="678"/>
                </a:lnTo>
                <a:lnTo>
                  <a:pt x="1367" y="678"/>
                </a:lnTo>
                <a:lnTo>
                  <a:pt x="1369" y="679"/>
                </a:lnTo>
                <a:lnTo>
                  <a:pt x="1373" y="681"/>
                </a:lnTo>
                <a:lnTo>
                  <a:pt x="1378" y="685"/>
                </a:lnTo>
                <a:lnTo>
                  <a:pt x="1382" y="690"/>
                </a:lnTo>
                <a:lnTo>
                  <a:pt x="1385" y="691"/>
                </a:lnTo>
                <a:lnTo>
                  <a:pt x="1387" y="693"/>
                </a:lnTo>
                <a:lnTo>
                  <a:pt x="1389" y="694"/>
                </a:lnTo>
                <a:lnTo>
                  <a:pt x="1393" y="694"/>
                </a:lnTo>
                <a:lnTo>
                  <a:pt x="1395" y="694"/>
                </a:lnTo>
                <a:lnTo>
                  <a:pt x="1396" y="693"/>
                </a:lnTo>
                <a:lnTo>
                  <a:pt x="1396" y="691"/>
                </a:lnTo>
                <a:lnTo>
                  <a:pt x="1394" y="688"/>
                </a:lnTo>
                <a:lnTo>
                  <a:pt x="1391" y="687"/>
                </a:lnTo>
                <a:lnTo>
                  <a:pt x="1387" y="685"/>
                </a:lnTo>
                <a:lnTo>
                  <a:pt x="1384" y="681"/>
                </a:lnTo>
                <a:lnTo>
                  <a:pt x="1381" y="678"/>
                </a:lnTo>
                <a:lnTo>
                  <a:pt x="1379" y="677"/>
                </a:lnTo>
                <a:lnTo>
                  <a:pt x="1378" y="676"/>
                </a:lnTo>
                <a:lnTo>
                  <a:pt x="1386" y="677"/>
                </a:lnTo>
                <a:lnTo>
                  <a:pt x="1389" y="677"/>
                </a:lnTo>
                <a:lnTo>
                  <a:pt x="1381" y="670"/>
                </a:lnTo>
                <a:lnTo>
                  <a:pt x="1366" y="657"/>
                </a:lnTo>
                <a:lnTo>
                  <a:pt x="1360" y="651"/>
                </a:lnTo>
                <a:lnTo>
                  <a:pt x="1357" y="648"/>
                </a:lnTo>
                <a:lnTo>
                  <a:pt x="1359" y="648"/>
                </a:lnTo>
                <a:lnTo>
                  <a:pt x="1367" y="653"/>
                </a:lnTo>
                <a:lnTo>
                  <a:pt x="1376" y="660"/>
                </a:lnTo>
                <a:lnTo>
                  <a:pt x="1382" y="663"/>
                </a:lnTo>
                <a:lnTo>
                  <a:pt x="1384" y="663"/>
                </a:lnTo>
                <a:lnTo>
                  <a:pt x="1384" y="662"/>
                </a:lnTo>
                <a:lnTo>
                  <a:pt x="1382" y="660"/>
                </a:lnTo>
                <a:lnTo>
                  <a:pt x="1382" y="658"/>
                </a:lnTo>
                <a:lnTo>
                  <a:pt x="1375" y="645"/>
                </a:lnTo>
                <a:lnTo>
                  <a:pt x="1371" y="631"/>
                </a:lnTo>
                <a:lnTo>
                  <a:pt x="1369" y="625"/>
                </a:lnTo>
                <a:lnTo>
                  <a:pt x="1367" y="618"/>
                </a:lnTo>
                <a:lnTo>
                  <a:pt x="1365" y="613"/>
                </a:lnTo>
                <a:lnTo>
                  <a:pt x="1361" y="606"/>
                </a:lnTo>
                <a:lnTo>
                  <a:pt x="1352" y="593"/>
                </a:lnTo>
                <a:lnTo>
                  <a:pt x="1338" y="579"/>
                </a:lnTo>
                <a:lnTo>
                  <a:pt x="1326" y="567"/>
                </a:lnTo>
                <a:lnTo>
                  <a:pt x="1317" y="560"/>
                </a:lnTo>
                <a:lnTo>
                  <a:pt x="1308" y="553"/>
                </a:lnTo>
                <a:lnTo>
                  <a:pt x="1295" y="540"/>
                </a:lnTo>
                <a:lnTo>
                  <a:pt x="1281" y="526"/>
                </a:lnTo>
                <a:lnTo>
                  <a:pt x="1271" y="516"/>
                </a:lnTo>
                <a:lnTo>
                  <a:pt x="1263" y="503"/>
                </a:lnTo>
                <a:lnTo>
                  <a:pt x="1254" y="488"/>
                </a:lnTo>
                <a:lnTo>
                  <a:pt x="1253" y="484"/>
                </a:lnTo>
                <a:lnTo>
                  <a:pt x="1250" y="482"/>
                </a:lnTo>
                <a:lnTo>
                  <a:pt x="1249" y="482"/>
                </a:lnTo>
                <a:lnTo>
                  <a:pt x="1248" y="482"/>
                </a:lnTo>
                <a:lnTo>
                  <a:pt x="1247" y="487"/>
                </a:lnTo>
                <a:lnTo>
                  <a:pt x="1247" y="492"/>
                </a:lnTo>
                <a:lnTo>
                  <a:pt x="1247" y="499"/>
                </a:lnTo>
                <a:lnTo>
                  <a:pt x="1247" y="504"/>
                </a:lnTo>
                <a:lnTo>
                  <a:pt x="1247" y="504"/>
                </a:lnTo>
                <a:lnTo>
                  <a:pt x="1246" y="499"/>
                </a:lnTo>
                <a:lnTo>
                  <a:pt x="1244" y="491"/>
                </a:lnTo>
                <a:lnTo>
                  <a:pt x="1241" y="482"/>
                </a:lnTo>
                <a:lnTo>
                  <a:pt x="1236" y="474"/>
                </a:lnTo>
                <a:lnTo>
                  <a:pt x="1233" y="467"/>
                </a:lnTo>
                <a:lnTo>
                  <a:pt x="1228" y="461"/>
                </a:lnTo>
                <a:lnTo>
                  <a:pt x="1226" y="456"/>
                </a:lnTo>
                <a:lnTo>
                  <a:pt x="1224" y="456"/>
                </a:lnTo>
                <a:lnTo>
                  <a:pt x="1224" y="456"/>
                </a:lnTo>
                <a:lnTo>
                  <a:pt x="1224" y="457"/>
                </a:lnTo>
                <a:lnTo>
                  <a:pt x="1226" y="459"/>
                </a:lnTo>
                <a:lnTo>
                  <a:pt x="1227" y="463"/>
                </a:lnTo>
                <a:lnTo>
                  <a:pt x="1227" y="467"/>
                </a:lnTo>
                <a:lnTo>
                  <a:pt x="1227" y="469"/>
                </a:lnTo>
                <a:lnTo>
                  <a:pt x="1226" y="471"/>
                </a:lnTo>
                <a:lnTo>
                  <a:pt x="1222" y="474"/>
                </a:lnTo>
                <a:lnTo>
                  <a:pt x="1221" y="474"/>
                </a:lnTo>
                <a:lnTo>
                  <a:pt x="1216" y="462"/>
                </a:lnTo>
                <a:lnTo>
                  <a:pt x="1212" y="452"/>
                </a:lnTo>
                <a:lnTo>
                  <a:pt x="1210" y="449"/>
                </a:lnTo>
                <a:lnTo>
                  <a:pt x="1210" y="447"/>
                </a:lnTo>
                <a:lnTo>
                  <a:pt x="1208" y="447"/>
                </a:lnTo>
                <a:lnTo>
                  <a:pt x="1206" y="449"/>
                </a:lnTo>
                <a:lnTo>
                  <a:pt x="1202" y="448"/>
                </a:lnTo>
                <a:lnTo>
                  <a:pt x="1200" y="447"/>
                </a:lnTo>
                <a:lnTo>
                  <a:pt x="1200" y="439"/>
                </a:lnTo>
                <a:lnTo>
                  <a:pt x="1199" y="431"/>
                </a:lnTo>
                <a:lnTo>
                  <a:pt x="1196" y="422"/>
                </a:lnTo>
                <a:lnTo>
                  <a:pt x="1194" y="415"/>
                </a:lnTo>
                <a:lnTo>
                  <a:pt x="1191" y="407"/>
                </a:lnTo>
                <a:lnTo>
                  <a:pt x="1188" y="398"/>
                </a:lnTo>
                <a:lnTo>
                  <a:pt x="1185" y="390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78" y="381"/>
                </a:lnTo>
                <a:lnTo>
                  <a:pt x="1177" y="379"/>
                </a:lnTo>
                <a:lnTo>
                  <a:pt x="1177" y="379"/>
                </a:lnTo>
                <a:lnTo>
                  <a:pt x="1177" y="379"/>
                </a:lnTo>
                <a:lnTo>
                  <a:pt x="1175" y="378"/>
                </a:lnTo>
                <a:lnTo>
                  <a:pt x="1174" y="376"/>
                </a:lnTo>
                <a:lnTo>
                  <a:pt x="1174" y="377"/>
                </a:lnTo>
                <a:lnTo>
                  <a:pt x="1174" y="378"/>
                </a:lnTo>
                <a:lnTo>
                  <a:pt x="1175" y="379"/>
                </a:lnTo>
                <a:lnTo>
                  <a:pt x="1177" y="379"/>
                </a:lnTo>
                <a:lnTo>
                  <a:pt x="1177" y="379"/>
                </a:lnTo>
                <a:lnTo>
                  <a:pt x="1177" y="379"/>
                </a:lnTo>
                <a:lnTo>
                  <a:pt x="1178" y="381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80" y="389"/>
                </a:lnTo>
                <a:lnTo>
                  <a:pt x="1181" y="393"/>
                </a:lnTo>
                <a:lnTo>
                  <a:pt x="1184" y="400"/>
                </a:lnTo>
                <a:lnTo>
                  <a:pt x="1185" y="408"/>
                </a:lnTo>
                <a:lnTo>
                  <a:pt x="1186" y="415"/>
                </a:lnTo>
                <a:lnTo>
                  <a:pt x="1185" y="424"/>
                </a:lnTo>
                <a:lnTo>
                  <a:pt x="1182" y="414"/>
                </a:lnTo>
                <a:lnTo>
                  <a:pt x="1180" y="405"/>
                </a:lnTo>
                <a:lnTo>
                  <a:pt x="1178" y="400"/>
                </a:lnTo>
                <a:lnTo>
                  <a:pt x="1177" y="396"/>
                </a:lnTo>
                <a:lnTo>
                  <a:pt x="1174" y="391"/>
                </a:lnTo>
                <a:lnTo>
                  <a:pt x="1172" y="386"/>
                </a:lnTo>
                <a:lnTo>
                  <a:pt x="1171" y="392"/>
                </a:lnTo>
                <a:lnTo>
                  <a:pt x="1171" y="397"/>
                </a:lnTo>
                <a:lnTo>
                  <a:pt x="1171" y="407"/>
                </a:lnTo>
                <a:lnTo>
                  <a:pt x="1168" y="418"/>
                </a:lnTo>
                <a:lnTo>
                  <a:pt x="1167" y="427"/>
                </a:lnTo>
                <a:lnTo>
                  <a:pt x="1165" y="438"/>
                </a:lnTo>
                <a:lnTo>
                  <a:pt x="1164" y="439"/>
                </a:lnTo>
                <a:lnTo>
                  <a:pt x="1164" y="441"/>
                </a:lnTo>
                <a:lnTo>
                  <a:pt x="1161" y="441"/>
                </a:lnTo>
                <a:lnTo>
                  <a:pt x="1159" y="440"/>
                </a:lnTo>
                <a:lnTo>
                  <a:pt x="1159" y="435"/>
                </a:lnTo>
                <a:lnTo>
                  <a:pt x="1160" y="431"/>
                </a:lnTo>
                <a:lnTo>
                  <a:pt x="1161" y="425"/>
                </a:lnTo>
                <a:lnTo>
                  <a:pt x="1162" y="419"/>
                </a:lnTo>
                <a:lnTo>
                  <a:pt x="1162" y="413"/>
                </a:lnTo>
                <a:lnTo>
                  <a:pt x="1162" y="407"/>
                </a:lnTo>
                <a:lnTo>
                  <a:pt x="1161" y="401"/>
                </a:lnTo>
                <a:lnTo>
                  <a:pt x="1160" y="396"/>
                </a:lnTo>
                <a:lnTo>
                  <a:pt x="1158" y="390"/>
                </a:lnTo>
                <a:lnTo>
                  <a:pt x="1154" y="384"/>
                </a:lnTo>
                <a:lnTo>
                  <a:pt x="1151" y="379"/>
                </a:lnTo>
                <a:lnTo>
                  <a:pt x="1147" y="374"/>
                </a:lnTo>
                <a:lnTo>
                  <a:pt x="1143" y="365"/>
                </a:lnTo>
                <a:lnTo>
                  <a:pt x="1137" y="356"/>
                </a:lnTo>
                <a:lnTo>
                  <a:pt x="1134" y="349"/>
                </a:lnTo>
                <a:lnTo>
                  <a:pt x="1130" y="343"/>
                </a:lnTo>
                <a:lnTo>
                  <a:pt x="1126" y="338"/>
                </a:lnTo>
                <a:lnTo>
                  <a:pt x="1120" y="334"/>
                </a:lnTo>
                <a:lnTo>
                  <a:pt x="1116" y="330"/>
                </a:lnTo>
                <a:lnTo>
                  <a:pt x="1109" y="328"/>
                </a:lnTo>
                <a:lnTo>
                  <a:pt x="1102" y="325"/>
                </a:lnTo>
                <a:lnTo>
                  <a:pt x="1095" y="324"/>
                </a:lnTo>
                <a:lnTo>
                  <a:pt x="1095" y="323"/>
                </a:lnTo>
                <a:lnTo>
                  <a:pt x="1094" y="323"/>
                </a:lnTo>
                <a:lnTo>
                  <a:pt x="1094" y="323"/>
                </a:lnTo>
                <a:lnTo>
                  <a:pt x="1092" y="323"/>
                </a:lnTo>
                <a:lnTo>
                  <a:pt x="1090" y="322"/>
                </a:lnTo>
                <a:lnTo>
                  <a:pt x="1088" y="318"/>
                </a:lnTo>
                <a:lnTo>
                  <a:pt x="1085" y="316"/>
                </a:lnTo>
                <a:lnTo>
                  <a:pt x="1084" y="313"/>
                </a:lnTo>
                <a:lnTo>
                  <a:pt x="1078" y="296"/>
                </a:lnTo>
                <a:lnTo>
                  <a:pt x="1072" y="280"/>
                </a:lnTo>
                <a:lnTo>
                  <a:pt x="1070" y="275"/>
                </a:lnTo>
                <a:lnTo>
                  <a:pt x="1067" y="271"/>
                </a:lnTo>
                <a:lnTo>
                  <a:pt x="1062" y="267"/>
                </a:lnTo>
                <a:lnTo>
                  <a:pt x="1057" y="266"/>
                </a:lnTo>
                <a:lnTo>
                  <a:pt x="1041" y="262"/>
                </a:lnTo>
                <a:lnTo>
                  <a:pt x="1026" y="260"/>
                </a:lnTo>
                <a:lnTo>
                  <a:pt x="1019" y="259"/>
                </a:lnTo>
                <a:lnTo>
                  <a:pt x="1013" y="255"/>
                </a:lnTo>
                <a:lnTo>
                  <a:pt x="1008" y="251"/>
                </a:lnTo>
                <a:lnTo>
                  <a:pt x="1005" y="245"/>
                </a:lnTo>
                <a:lnTo>
                  <a:pt x="1000" y="236"/>
                </a:lnTo>
                <a:lnTo>
                  <a:pt x="993" y="226"/>
                </a:lnTo>
                <a:lnTo>
                  <a:pt x="989" y="222"/>
                </a:lnTo>
                <a:lnTo>
                  <a:pt x="985" y="218"/>
                </a:lnTo>
                <a:lnTo>
                  <a:pt x="980" y="216"/>
                </a:lnTo>
                <a:lnTo>
                  <a:pt x="974" y="213"/>
                </a:lnTo>
                <a:lnTo>
                  <a:pt x="965" y="212"/>
                </a:lnTo>
                <a:lnTo>
                  <a:pt x="957" y="211"/>
                </a:lnTo>
                <a:lnTo>
                  <a:pt x="947" y="212"/>
                </a:lnTo>
                <a:lnTo>
                  <a:pt x="939" y="213"/>
                </a:lnTo>
                <a:lnTo>
                  <a:pt x="933" y="215"/>
                </a:lnTo>
                <a:lnTo>
                  <a:pt x="930" y="216"/>
                </a:lnTo>
                <a:lnTo>
                  <a:pt x="929" y="206"/>
                </a:lnTo>
                <a:lnTo>
                  <a:pt x="926" y="194"/>
                </a:lnTo>
                <a:lnTo>
                  <a:pt x="922" y="175"/>
                </a:lnTo>
                <a:lnTo>
                  <a:pt x="915" y="154"/>
                </a:lnTo>
                <a:lnTo>
                  <a:pt x="911" y="145"/>
                </a:lnTo>
                <a:lnTo>
                  <a:pt x="908" y="136"/>
                </a:lnTo>
                <a:lnTo>
                  <a:pt x="903" y="129"/>
                </a:lnTo>
                <a:lnTo>
                  <a:pt x="897" y="122"/>
                </a:lnTo>
                <a:lnTo>
                  <a:pt x="888" y="112"/>
                </a:lnTo>
                <a:lnTo>
                  <a:pt x="878" y="105"/>
                </a:lnTo>
                <a:lnTo>
                  <a:pt x="877" y="104"/>
                </a:lnTo>
                <a:lnTo>
                  <a:pt x="875" y="103"/>
                </a:lnTo>
                <a:lnTo>
                  <a:pt x="872" y="101"/>
                </a:lnTo>
                <a:lnTo>
                  <a:pt x="871" y="101"/>
                </a:lnTo>
                <a:lnTo>
                  <a:pt x="870" y="100"/>
                </a:lnTo>
                <a:lnTo>
                  <a:pt x="870" y="100"/>
                </a:lnTo>
                <a:lnTo>
                  <a:pt x="870" y="100"/>
                </a:lnTo>
                <a:lnTo>
                  <a:pt x="854" y="92"/>
                </a:lnTo>
                <a:lnTo>
                  <a:pt x="836" y="84"/>
                </a:lnTo>
                <a:lnTo>
                  <a:pt x="833" y="83"/>
                </a:lnTo>
                <a:lnTo>
                  <a:pt x="829" y="82"/>
                </a:lnTo>
                <a:lnTo>
                  <a:pt x="826" y="82"/>
                </a:lnTo>
                <a:lnTo>
                  <a:pt x="822" y="82"/>
                </a:lnTo>
                <a:lnTo>
                  <a:pt x="812" y="82"/>
                </a:lnTo>
                <a:lnTo>
                  <a:pt x="801" y="84"/>
                </a:lnTo>
                <a:lnTo>
                  <a:pt x="792" y="87"/>
                </a:lnTo>
                <a:lnTo>
                  <a:pt x="784" y="93"/>
                </a:lnTo>
                <a:lnTo>
                  <a:pt x="777" y="99"/>
                </a:lnTo>
                <a:lnTo>
                  <a:pt x="770" y="105"/>
                </a:lnTo>
                <a:lnTo>
                  <a:pt x="757" y="115"/>
                </a:lnTo>
                <a:lnTo>
                  <a:pt x="744" y="127"/>
                </a:lnTo>
                <a:lnTo>
                  <a:pt x="744" y="127"/>
                </a:lnTo>
                <a:lnTo>
                  <a:pt x="744" y="127"/>
                </a:lnTo>
                <a:lnTo>
                  <a:pt x="742" y="129"/>
                </a:lnTo>
                <a:lnTo>
                  <a:pt x="738" y="133"/>
                </a:lnTo>
                <a:lnTo>
                  <a:pt x="738" y="133"/>
                </a:lnTo>
                <a:lnTo>
                  <a:pt x="737" y="134"/>
                </a:lnTo>
                <a:lnTo>
                  <a:pt x="730" y="145"/>
                </a:lnTo>
                <a:lnTo>
                  <a:pt x="724" y="154"/>
                </a:lnTo>
                <a:lnTo>
                  <a:pt x="720" y="164"/>
                </a:lnTo>
                <a:lnTo>
                  <a:pt x="719" y="174"/>
                </a:lnTo>
                <a:lnTo>
                  <a:pt x="717" y="188"/>
                </a:lnTo>
                <a:lnTo>
                  <a:pt x="717" y="194"/>
                </a:lnTo>
                <a:lnTo>
                  <a:pt x="717" y="202"/>
                </a:lnTo>
                <a:lnTo>
                  <a:pt x="718" y="211"/>
                </a:lnTo>
                <a:lnTo>
                  <a:pt x="718" y="216"/>
                </a:lnTo>
                <a:lnTo>
                  <a:pt x="720" y="220"/>
                </a:lnTo>
                <a:lnTo>
                  <a:pt x="723" y="224"/>
                </a:lnTo>
                <a:lnTo>
                  <a:pt x="726" y="227"/>
                </a:lnTo>
                <a:lnTo>
                  <a:pt x="729" y="231"/>
                </a:lnTo>
                <a:lnTo>
                  <a:pt x="732" y="232"/>
                </a:lnTo>
                <a:lnTo>
                  <a:pt x="732" y="230"/>
                </a:lnTo>
                <a:lnTo>
                  <a:pt x="731" y="227"/>
                </a:lnTo>
                <a:lnTo>
                  <a:pt x="732" y="230"/>
                </a:lnTo>
                <a:lnTo>
                  <a:pt x="732" y="232"/>
                </a:lnTo>
                <a:lnTo>
                  <a:pt x="736" y="236"/>
                </a:lnTo>
                <a:lnTo>
                  <a:pt x="738" y="239"/>
                </a:lnTo>
                <a:lnTo>
                  <a:pt x="738" y="243"/>
                </a:lnTo>
                <a:lnTo>
                  <a:pt x="737" y="247"/>
                </a:lnTo>
                <a:lnTo>
                  <a:pt x="733" y="262"/>
                </a:lnTo>
                <a:lnTo>
                  <a:pt x="731" y="279"/>
                </a:lnTo>
                <a:lnTo>
                  <a:pt x="730" y="283"/>
                </a:lnTo>
                <a:lnTo>
                  <a:pt x="732" y="287"/>
                </a:lnTo>
                <a:lnTo>
                  <a:pt x="682" y="289"/>
                </a:lnTo>
                <a:lnTo>
                  <a:pt x="673" y="282"/>
                </a:lnTo>
                <a:lnTo>
                  <a:pt x="661" y="275"/>
                </a:lnTo>
                <a:lnTo>
                  <a:pt x="650" y="269"/>
                </a:lnTo>
                <a:lnTo>
                  <a:pt x="639" y="264"/>
                </a:lnTo>
                <a:lnTo>
                  <a:pt x="637" y="261"/>
                </a:lnTo>
                <a:lnTo>
                  <a:pt x="636" y="260"/>
                </a:lnTo>
                <a:lnTo>
                  <a:pt x="634" y="259"/>
                </a:lnTo>
                <a:lnTo>
                  <a:pt x="632" y="258"/>
                </a:lnTo>
                <a:lnTo>
                  <a:pt x="625" y="252"/>
                </a:lnTo>
                <a:lnTo>
                  <a:pt x="618" y="247"/>
                </a:lnTo>
                <a:lnTo>
                  <a:pt x="619" y="253"/>
                </a:lnTo>
                <a:lnTo>
                  <a:pt x="620" y="259"/>
                </a:lnTo>
                <a:lnTo>
                  <a:pt x="616" y="259"/>
                </a:lnTo>
                <a:lnTo>
                  <a:pt x="614" y="259"/>
                </a:lnTo>
                <a:lnTo>
                  <a:pt x="616" y="259"/>
                </a:lnTo>
                <a:lnTo>
                  <a:pt x="620" y="259"/>
                </a:lnTo>
                <a:lnTo>
                  <a:pt x="619" y="253"/>
                </a:lnTo>
                <a:lnTo>
                  <a:pt x="618" y="247"/>
                </a:lnTo>
                <a:lnTo>
                  <a:pt x="614" y="244"/>
                </a:lnTo>
                <a:lnTo>
                  <a:pt x="611" y="241"/>
                </a:lnTo>
                <a:lnTo>
                  <a:pt x="607" y="239"/>
                </a:lnTo>
                <a:lnTo>
                  <a:pt x="602" y="237"/>
                </a:lnTo>
                <a:lnTo>
                  <a:pt x="599" y="233"/>
                </a:lnTo>
                <a:lnTo>
                  <a:pt x="594" y="231"/>
                </a:lnTo>
                <a:lnTo>
                  <a:pt x="590" y="229"/>
                </a:lnTo>
                <a:lnTo>
                  <a:pt x="585" y="227"/>
                </a:lnTo>
                <a:lnTo>
                  <a:pt x="577" y="223"/>
                </a:lnTo>
                <a:lnTo>
                  <a:pt x="568" y="218"/>
                </a:lnTo>
                <a:lnTo>
                  <a:pt x="559" y="215"/>
                </a:lnTo>
                <a:lnTo>
                  <a:pt x="550" y="211"/>
                </a:lnTo>
                <a:lnTo>
                  <a:pt x="550" y="215"/>
                </a:lnTo>
                <a:lnTo>
                  <a:pt x="551" y="217"/>
                </a:lnTo>
                <a:lnTo>
                  <a:pt x="550" y="215"/>
                </a:lnTo>
                <a:lnTo>
                  <a:pt x="550" y="211"/>
                </a:lnTo>
                <a:lnTo>
                  <a:pt x="546" y="210"/>
                </a:lnTo>
                <a:lnTo>
                  <a:pt x="543" y="210"/>
                </a:lnTo>
                <a:lnTo>
                  <a:pt x="539" y="208"/>
                </a:lnTo>
                <a:lnTo>
                  <a:pt x="536" y="208"/>
                </a:lnTo>
                <a:lnTo>
                  <a:pt x="518" y="208"/>
                </a:lnTo>
                <a:lnTo>
                  <a:pt x="501" y="208"/>
                </a:lnTo>
                <a:lnTo>
                  <a:pt x="499" y="206"/>
                </a:lnTo>
                <a:lnTo>
                  <a:pt x="497" y="206"/>
                </a:lnTo>
                <a:lnTo>
                  <a:pt x="492" y="204"/>
                </a:lnTo>
                <a:lnTo>
                  <a:pt x="487" y="202"/>
                </a:lnTo>
                <a:lnTo>
                  <a:pt x="485" y="199"/>
                </a:lnTo>
                <a:lnTo>
                  <a:pt x="483" y="198"/>
                </a:lnTo>
                <a:lnTo>
                  <a:pt x="481" y="197"/>
                </a:lnTo>
                <a:lnTo>
                  <a:pt x="478" y="197"/>
                </a:lnTo>
                <a:lnTo>
                  <a:pt x="476" y="196"/>
                </a:lnTo>
                <a:lnTo>
                  <a:pt x="474" y="196"/>
                </a:lnTo>
                <a:lnTo>
                  <a:pt x="467" y="195"/>
                </a:lnTo>
                <a:lnTo>
                  <a:pt x="461" y="194"/>
                </a:lnTo>
                <a:lnTo>
                  <a:pt x="459" y="192"/>
                </a:lnTo>
                <a:lnTo>
                  <a:pt x="456" y="190"/>
                </a:lnTo>
                <a:lnTo>
                  <a:pt x="455" y="187"/>
                </a:lnTo>
                <a:lnTo>
                  <a:pt x="454" y="182"/>
                </a:lnTo>
                <a:lnTo>
                  <a:pt x="450" y="197"/>
                </a:lnTo>
                <a:lnTo>
                  <a:pt x="445" y="211"/>
                </a:lnTo>
                <a:lnTo>
                  <a:pt x="442" y="212"/>
                </a:lnTo>
                <a:lnTo>
                  <a:pt x="440" y="213"/>
                </a:lnTo>
                <a:lnTo>
                  <a:pt x="440" y="211"/>
                </a:lnTo>
                <a:lnTo>
                  <a:pt x="440" y="208"/>
                </a:lnTo>
                <a:lnTo>
                  <a:pt x="440" y="205"/>
                </a:lnTo>
                <a:lnTo>
                  <a:pt x="441" y="203"/>
                </a:lnTo>
                <a:lnTo>
                  <a:pt x="443" y="201"/>
                </a:lnTo>
                <a:lnTo>
                  <a:pt x="445" y="198"/>
                </a:lnTo>
                <a:lnTo>
                  <a:pt x="445" y="196"/>
                </a:lnTo>
                <a:lnTo>
                  <a:pt x="445" y="192"/>
                </a:lnTo>
                <a:lnTo>
                  <a:pt x="445" y="180"/>
                </a:lnTo>
                <a:lnTo>
                  <a:pt x="445" y="167"/>
                </a:lnTo>
                <a:lnTo>
                  <a:pt x="445" y="164"/>
                </a:lnTo>
                <a:lnTo>
                  <a:pt x="445" y="163"/>
                </a:lnTo>
                <a:lnTo>
                  <a:pt x="443" y="161"/>
                </a:lnTo>
                <a:lnTo>
                  <a:pt x="441" y="160"/>
                </a:lnTo>
                <a:lnTo>
                  <a:pt x="441" y="156"/>
                </a:lnTo>
                <a:lnTo>
                  <a:pt x="441" y="154"/>
                </a:lnTo>
                <a:lnTo>
                  <a:pt x="439" y="153"/>
                </a:lnTo>
                <a:lnTo>
                  <a:pt x="434" y="152"/>
                </a:lnTo>
                <a:lnTo>
                  <a:pt x="434" y="149"/>
                </a:lnTo>
                <a:lnTo>
                  <a:pt x="433" y="146"/>
                </a:lnTo>
                <a:lnTo>
                  <a:pt x="434" y="140"/>
                </a:lnTo>
                <a:lnTo>
                  <a:pt x="433" y="135"/>
                </a:lnTo>
                <a:lnTo>
                  <a:pt x="433" y="131"/>
                </a:lnTo>
                <a:lnTo>
                  <a:pt x="430" y="126"/>
                </a:lnTo>
                <a:lnTo>
                  <a:pt x="428" y="120"/>
                </a:lnTo>
                <a:lnTo>
                  <a:pt x="425" y="113"/>
                </a:lnTo>
                <a:lnTo>
                  <a:pt x="420" y="107"/>
                </a:lnTo>
                <a:lnTo>
                  <a:pt x="414" y="103"/>
                </a:lnTo>
                <a:lnTo>
                  <a:pt x="416" y="103"/>
                </a:lnTo>
                <a:lnTo>
                  <a:pt x="420" y="101"/>
                </a:lnTo>
                <a:lnTo>
                  <a:pt x="421" y="101"/>
                </a:lnTo>
                <a:lnTo>
                  <a:pt x="422" y="99"/>
                </a:lnTo>
                <a:lnTo>
                  <a:pt x="423" y="96"/>
                </a:lnTo>
                <a:lnTo>
                  <a:pt x="421" y="94"/>
                </a:lnTo>
                <a:lnTo>
                  <a:pt x="420" y="92"/>
                </a:lnTo>
                <a:lnTo>
                  <a:pt x="419" y="91"/>
                </a:lnTo>
                <a:lnTo>
                  <a:pt x="420" y="90"/>
                </a:lnTo>
                <a:lnTo>
                  <a:pt x="422" y="89"/>
                </a:lnTo>
                <a:lnTo>
                  <a:pt x="422" y="91"/>
                </a:lnTo>
                <a:lnTo>
                  <a:pt x="425" y="91"/>
                </a:lnTo>
                <a:lnTo>
                  <a:pt x="426" y="92"/>
                </a:lnTo>
                <a:lnTo>
                  <a:pt x="428" y="92"/>
                </a:lnTo>
                <a:lnTo>
                  <a:pt x="432" y="94"/>
                </a:lnTo>
                <a:lnTo>
                  <a:pt x="434" y="97"/>
                </a:lnTo>
                <a:lnTo>
                  <a:pt x="435" y="96"/>
                </a:lnTo>
                <a:lnTo>
                  <a:pt x="436" y="96"/>
                </a:lnTo>
                <a:lnTo>
                  <a:pt x="435" y="96"/>
                </a:lnTo>
                <a:lnTo>
                  <a:pt x="434" y="97"/>
                </a:lnTo>
                <a:lnTo>
                  <a:pt x="434" y="100"/>
                </a:lnTo>
                <a:lnTo>
                  <a:pt x="435" y="103"/>
                </a:lnTo>
                <a:lnTo>
                  <a:pt x="437" y="104"/>
                </a:lnTo>
                <a:lnTo>
                  <a:pt x="440" y="106"/>
                </a:lnTo>
                <a:lnTo>
                  <a:pt x="440" y="108"/>
                </a:lnTo>
                <a:lnTo>
                  <a:pt x="440" y="111"/>
                </a:lnTo>
                <a:lnTo>
                  <a:pt x="439" y="113"/>
                </a:lnTo>
                <a:lnTo>
                  <a:pt x="437" y="115"/>
                </a:lnTo>
                <a:lnTo>
                  <a:pt x="437" y="117"/>
                </a:lnTo>
                <a:lnTo>
                  <a:pt x="439" y="117"/>
                </a:lnTo>
                <a:lnTo>
                  <a:pt x="441" y="117"/>
                </a:lnTo>
                <a:lnTo>
                  <a:pt x="445" y="117"/>
                </a:lnTo>
                <a:lnTo>
                  <a:pt x="445" y="120"/>
                </a:lnTo>
                <a:lnTo>
                  <a:pt x="445" y="124"/>
                </a:lnTo>
                <a:lnTo>
                  <a:pt x="446" y="128"/>
                </a:lnTo>
                <a:lnTo>
                  <a:pt x="447" y="132"/>
                </a:lnTo>
                <a:lnTo>
                  <a:pt x="448" y="132"/>
                </a:lnTo>
                <a:lnTo>
                  <a:pt x="448" y="133"/>
                </a:lnTo>
                <a:lnTo>
                  <a:pt x="448" y="133"/>
                </a:lnTo>
                <a:lnTo>
                  <a:pt x="448" y="135"/>
                </a:lnTo>
                <a:lnTo>
                  <a:pt x="448" y="138"/>
                </a:lnTo>
                <a:lnTo>
                  <a:pt x="447" y="141"/>
                </a:lnTo>
                <a:lnTo>
                  <a:pt x="448" y="145"/>
                </a:lnTo>
                <a:lnTo>
                  <a:pt x="449" y="148"/>
                </a:lnTo>
                <a:lnTo>
                  <a:pt x="452" y="153"/>
                </a:lnTo>
                <a:lnTo>
                  <a:pt x="452" y="140"/>
                </a:lnTo>
                <a:lnTo>
                  <a:pt x="454" y="139"/>
                </a:lnTo>
                <a:lnTo>
                  <a:pt x="455" y="138"/>
                </a:lnTo>
                <a:lnTo>
                  <a:pt x="456" y="135"/>
                </a:lnTo>
                <a:lnTo>
                  <a:pt x="456" y="134"/>
                </a:lnTo>
                <a:lnTo>
                  <a:pt x="455" y="131"/>
                </a:lnTo>
                <a:lnTo>
                  <a:pt x="455" y="126"/>
                </a:lnTo>
                <a:lnTo>
                  <a:pt x="452" y="125"/>
                </a:lnTo>
                <a:lnTo>
                  <a:pt x="450" y="122"/>
                </a:lnTo>
                <a:lnTo>
                  <a:pt x="450" y="120"/>
                </a:lnTo>
                <a:lnTo>
                  <a:pt x="453" y="117"/>
                </a:lnTo>
                <a:lnTo>
                  <a:pt x="455" y="110"/>
                </a:lnTo>
                <a:lnTo>
                  <a:pt x="455" y="104"/>
                </a:lnTo>
                <a:lnTo>
                  <a:pt x="455" y="101"/>
                </a:lnTo>
                <a:lnTo>
                  <a:pt x="455" y="101"/>
                </a:lnTo>
                <a:lnTo>
                  <a:pt x="454" y="100"/>
                </a:lnTo>
                <a:lnTo>
                  <a:pt x="452" y="101"/>
                </a:lnTo>
                <a:lnTo>
                  <a:pt x="450" y="99"/>
                </a:lnTo>
                <a:lnTo>
                  <a:pt x="450" y="97"/>
                </a:lnTo>
                <a:lnTo>
                  <a:pt x="450" y="93"/>
                </a:lnTo>
                <a:lnTo>
                  <a:pt x="450" y="89"/>
                </a:lnTo>
                <a:lnTo>
                  <a:pt x="450" y="82"/>
                </a:lnTo>
                <a:lnTo>
                  <a:pt x="449" y="75"/>
                </a:lnTo>
                <a:lnTo>
                  <a:pt x="448" y="68"/>
                </a:lnTo>
                <a:lnTo>
                  <a:pt x="446" y="61"/>
                </a:lnTo>
                <a:lnTo>
                  <a:pt x="443" y="51"/>
                </a:lnTo>
                <a:lnTo>
                  <a:pt x="440" y="44"/>
                </a:lnTo>
                <a:lnTo>
                  <a:pt x="436" y="36"/>
                </a:lnTo>
                <a:lnTo>
                  <a:pt x="430" y="29"/>
                </a:lnTo>
                <a:lnTo>
                  <a:pt x="430" y="28"/>
                </a:lnTo>
                <a:lnTo>
                  <a:pt x="429" y="28"/>
                </a:lnTo>
                <a:lnTo>
                  <a:pt x="429" y="26"/>
                </a:lnTo>
                <a:lnTo>
                  <a:pt x="428" y="24"/>
                </a:lnTo>
                <a:lnTo>
                  <a:pt x="427" y="24"/>
                </a:lnTo>
                <a:lnTo>
                  <a:pt x="426" y="24"/>
                </a:lnTo>
                <a:lnTo>
                  <a:pt x="420" y="19"/>
                </a:lnTo>
                <a:lnTo>
                  <a:pt x="413" y="14"/>
                </a:lnTo>
                <a:lnTo>
                  <a:pt x="406" y="10"/>
                </a:lnTo>
                <a:lnTo>
                  <a:pt x="398" y="8"/>
                </a:lnTo>
                <a:lnTo>
                  <a:pt x="395" y="6"/>
                </a:lnTo>
                <a:lnTo>
                  <a:pt x="392" y="5"/>
                </a:lnTo>
                <a:lnTo>
                  <a:pt x="390" y="3"/>
                </a:lnTo>
                <a:lnTo>
                  <a:pt x="386" y="3"/>
                </a:lnTo>
                <a:lnTo>
                  <a:pt x="384" y="3"/>
                </a:lnTo>
                <a:lnTo>
                  <a:pt x="383" y="2"/>
                </a:lnTo>
                <a:lnTo>
                  <a:pt x="373" y="1"/>
                </a:lnTo>
                <a:lnTo>
                  <a:pt x="365" y="0"/>
                </a:lnTo>
                <a:lnTo>
                  <a:pt x="356" y="0"/>
                </a:lnTo>
                <a:lnTo>
                  <a:pt x="346" y="2"/>
                </a:lnTo>
                <a:lnTo>
                  <a:pt x="346" y="2"/>
                </a:lnTo>
                <a:lnTo>
                  <a:pt x="345" y="2"/>
                </a:lnTo>
                <a:lnTo>
                  <a:pt x="333" y="6"/>
                </a:lnTo>
                <a:lnTo>
                  <a:pt x="323" y="10"/>
                </a:lnTo>
                <a:lnTo>
                  <a:pt x="314" y="17"/>
                </a:lnTo>
                <a:lnTo>
                  <a:pt x="303" y="24"/>
                </a:lnTo>
                <a:lnTo>
                  <a:pt x="296" y="30"/>
                </a:lnTo>
                <a:lnTo>
                  <a:pt x="290" y="37"/>
                </a:lnTo>
                <a:lnTo>
                  <a:pt x="285" y="45"/>
                </a:lnTo>
                <a:lnTo>
                  <a:pt x="282" y="55"/>
                </a:lnTo>
                <a:lnTo>
                  <a:pt x="283" y="57"/>
                </a:lnTo>
                <a:lnTo>
                  <a:pt x="284" y="58"/>
                </a:lnTo>
                <a:lnTo>
                  <a:pt x="283" y="57"/>
                </a:lnTo>
                <a:lnTo>
                  <a:pt x="282" y="55"/>
                </a:lnTo>
                <a:lnTo>
                  <a:pt x="280" y="59"/>
                </a:lnTo>
                <a:lnTo>
                  <a:pt x="278" y="65"/>
                </a:lnTo>
                <a:lnTo>
                  <a:pt x="277" y="71"/>
                </a:lnTo>
                <a:lnTo>
                  <a:pt x="276" y="76"/>
                </a:lnTo>
                <a:lnTo>
                  <a:pt x="275" y="79"/>
                </a:lnTo>
                <a:lnTo>
                  <a:pt x="274" y="83"/>
                </a:lnTo>
                <a:lnTo>
                  <a:pt x="275" y="85"/>
                </a:lnTo>
                <a:lnTo>
                  <a:pt x="276" y="89"/>
                </a:lnTo>
                <a:lnTo>
                  <a:pt x="277" y="91"/>
                </a:lnTo>
                <a:lnTo>
                  <a:pt x="277" y="93"/>
                </a:lnTo>
                <a:lnTo>
                  <a:pt x="278" y="106"/>
                </a:lnTo>
                <a:lnTo>
                  <a:pt x="281" y="118"/>
                </a:lnTo>
                <a:lnTo>
                  <a:pt x="283" y="124"/>
                </a:lnTo>
                <a:lnTo>
                  <a:pt x="285" y="131"/>
                </a:lnTo>
                <a:lnTo>
                  <a:pt x="288" y="136"/>
                </a:lnTo>
                <a:lnTo>
                  <a:pt x="287" y="143"/>
                </a:lnTo>
                <a:lnTo>
                  <a:pt x="287" y="143"/>
                </a:lnTo>
                <a:lnTo>
                  <a:pt x="285" y="143"/>
                </a:lnTo>
                <a:lnTo>
                  <a:pt x="283" y="143"/>
                </a:lnTo>
                <a:lnTo>
                  <a:pt x="282" y="145"/>
                </a:lnTo>
                <a:lnTo>
                  <a:pt x="281" y="147"/>
                </a:lnTo>
                <a:lnTo>
                  <a:pt x="281" y="149"/>
                </a:lnTo>
                <a:lnTo>
                  <a:pt x="281" y="152"/>
                </a:lnTo>
                <a:lnTo>
                  <a:pt x="281" y="154"/>
                </a:lnTo>
                <a:lnTo>
                  <a:pt x="282" y="156"/>
                </a:lnTo>
                <a:lnTo>
                  <a:pt x="283" y="157"/>
                </a:lnTo>
                <a:lnTo>
                  <a:pt x="284" y="157"/>
                </a:lnTo>
                <a:lnTo>
                  <a:pt x="288" y="156"/>
                </a:lnTo>
                <a:lnTo>
                  <a:pt x="289" y="156"/>
                </a:lnTo>
                <a:lnTo>
                  <a:pt x="290" y="157"/>
                </a:lnTo>
                <a:lnTo>
                  <a:pt x="289" y="161"/>
                </a:lnTo>
                <a:lnTo>
                  <a:pt x="289" y="166"/>
                </a:lnTo>
                <a:lnTo>
                  <a:pt x="289" y="170"/>
                </a:lnTo>
                <a:lnTo>
                  <a:pt x="289" y="175"/>
                </a:lnTo>
                <a:lnTo>
                  <a:pt x="291" y="178"/>
                </a:lnTo>
                <a:lnTo>
                  <a:pt x="295" y="187"/>
                </a:lnTo>
                <a:lnTo>
                  <a:pt x="301" y="194"/>
                </a:lnTo>
                <a:lnTo>
                  <a:pt x="302" y="195"/>
                </a:lnTo>
                <a:lnTo>
                  <a:pt x="304" y="196"/>
                </a:lnTo>
                <a:lnTo>
                  <a:pt x="307" y="197"/>
                </a:lnTo>
                <a:lnTo>
                  <a:pt x="309" y="196"/>
                </a:lnTo>
                <a:lnTo>
                  <a:pt x="311" y="197"/>
                </a:lnTo>
                <a:lnTo>
                  <a:pt x="312" y="199"/>
                </a:lnTo>
                <a:lnTo>
                  <a:pt x="314" y="202"/>
                </a:lnTo>
                <a:lnTo>
                  <a:pt x="314" y="204"/>
                </a:lnTo>
                <a:lnTo>
                  <a:pt x="315" y="215"/>
                </a:lnTo>
                <a:lnTo>
                  <a:pt x="318" y="224"/>
                </a:lnTo>
                <a:lnTo>
                  <a:pt x="322" y="233"/>
                </a:lnTo>
                <a:lnTo>
                  <a:pt x="328" y="243"/>
                </a:lnTo>
                <a:lnTo>
                  <a:pt x="330" y="246"/>
                </a:lnTo>
                <a:lnTo>
                  <a:pt x="332" y="248"/>
                </a:lnTo>
                <a:lnTo>
                  <a:pt x="335" y="252"/>
                </a:lnTo>
                <a:lnTo>
                  <a:pt x="336" y="254"/>
                </a:lnTo>
                <a:lnTo>
                  <a:pt x="337" y="255"/>
                </a:lnTo>
                <a:lnTo>
                  <a:pt x="337" y="258"/>
                </a:lnTo>
                <a:lnTo>
                  <a:pt x="336" y="259"/>
                </a:lnTo>
                <a:lnTo>
                  <a:pt x="335" y="261"/>
                </a:lnTo>
                <a:lnTo>
                  <a:pt x="319" y="273"/>
                </a:lnTo>
                <a:lnTo>
                  <a:pt x="305" y="286"/>
                </a:lnTo>
                <a:lnTo>
                  <a:pt x="300" y="289"/>
                </a:lnTo>
                <a:lnTo>
                  <a:pt x="295" y="295"/>
                </a:lnTo>
                <a:lnTo>
                  <a:pt x="291" y="300"/>
                </a:lnTo>
                <a:lnTo>
                  <a:pt x="288" y="307"/>
                </a:lnTo>
                <a:lnTo>
                  <a:pt x="284" y="310"/>
                </a:lnTo>
                <a:lnTo>
                  <a:pt x="282" y="315"/>
                </a:lnTo>
                <a:lnTo>
                  <a:pt x="281" y="315"/>
                </a:lnTo>
                <a:lnTo>
                  <a:pt x="281" y="316"/>
                </a:lnTo>
                <a:lnTo>
                  <a:pt x="281" y="316"/>
                </a:lnTo>
                <a:lnTo>
                  <a:pt x="281" y="316"/>
                </a:lnTo>
                <a:lnTo>
                  <a:pt x="276" y="321"/>
                </a:lnTo>
                <a:lnTo>
                  <a:pt x="273" y="324"/>
                </a:lnTo>
                <a:lnTo>
                  <a:pt x="271" y="325"/>
                </a:lnTo>
                <a:lnTo>
                  <a:pt x="270" y="328"/>
                </a:lnTo>
                <a:lnTo>
                  <a:pt x="270" y="331"/>
                </a:lnTo>
                <a:lnTo>
                  <a:pt x="271" y="334"/>
                </a:lnTo>
                <a:lnTo>
                  <a:pt x="268" y="343"/>
                </a:lnTo>
                <a:lnTo>
                  <a:pt x="266" y="352"/>
                </a:lnTo>
                <a:lnTo>
                  <a:pt x="264" y="362"/>
                </a:lnTo>
                <a:lnTo>
                  <a:pt x="263" y="371"/>
                </a:lnTo>
                <a:lnTo>
                  <a:pt x="263" y="389"/>
                </a:lnTo>
                <a:lnTo>
                  <a:pt x="263" y="407"/>
                </a:lnTo>
                <a:lnTo>
                  <a:pt x="263" y="426"/>
                </a:lnTo>
                <a:lnTo>
                  <a:pt x="262" y="443"/>
                </a:lnTo>
                <a:lnTo>
                  <a:pt x="261" y="450"/>
                </a:lnTo>
                <a:lnTo>
                  <a:pt x="263" y="457"/>
                </a:lnTo>
                <a:lnTo>
                  <a:pt x="264" y="452"/>
                </a:lnTo>
                <a:lnTo>
                  <a:pt x="267" y="446"/>
                </a:lnTo>
                <a:lnTo>
                  <a:pt x="269" y="452"/>
                </a:lnTo>
                <a:lnTo>
                  <a:pt x="268" y="457"/>
                </a:lnTo>
                <a:lnTo>
                  <a:pt x="267" y="462"/>
                </a:lnTo>
                <a:lnTo>
                  <a:pt x="266" y="467"/>
                </a:lnTo>
                <a:lnTo>
                  <a:pt x="264" y="473"/>
                </a:lnTo>
                <a:lnTo>
                  <a:pt x="266" y="476"/>
                </a:lnTo>
                <a:lnTo>
                  <a:pt x="268" y="480"/>
                </a:lnTo>
                <a:lnTo>
                  <a:pt x="273" y="482"/>
                </a:lnTo>
                <a:lnTo>
                  <a:pt x="273" y="488"/>
                </a:lnTo>
                <a:lnTo>
                  <a:pt x="273" y="494"/>
                </a:lnTo>
                <a:lnTo>
                  <a:pt x="273" y="494"/>
                </a:lnTo>
                <a:lnTo>
                  <a:pt x="270" y="494"/>
                </a:lnTo>
                <a:lnTo>
                  <a:pt x="270" y="494"/>
                </a:lnTo>
                <a:lnTo>
                  <a:pt x="267" y="511"/>
                </a:lnTo>
                <a:lnTo>
                  <a:pt x="264" y="527"/>
                </a:lnTo>
                <a:lnTo>
                  <a:pt x="264" y="527"/>
                </a:lnTo>
                <a:lnTo>
                  <a:pt x="264" y="529"/>
                </a:lnTo>
                <a:lnTo>
                  <a:pt x="263" y="536"/>
                </a:lnTo>
                <a:lnTo>
                  <a:pt x="261" y="541"/>
                </a:lnTo>
                <a:lnTo>
                  <a:pt x="259" y="543"/>
                </a:lnTo>
                <a:lnTo>
                  <a:pt x="257" y="545"/>
                </a:lnTo>
                <a:lnTo>
                  <a:pt x="257" y="546"/>
                </a:lnTo>
                <a:lnTo>
                  <a:pt x="257" y="548"/>
                </a:lnTo>
                <a:lnTo>
                  <a:pt x="254" y="564"/>
                </a:lnTo>
                <a:lnTo>
                  <a:pt x="250" y="579"/>
                </a:lnTo>
                <a:lnTo>
                  <a:pt x="248" y="588"/>
                </a:lnTo>
                <a:lnTo>
                  <a:pt x="246" y="596"/>
                </a:lnTo>
                <a:lnTo>
                  <a:pt x="242" y="606"/>
                </a:lnTo>
                <a:lnTo>
                  <a:pt x="240" y="614"/>
                </a:lnTo>
                <a:lnTo>
                  <a:pt x="240" y="615"/>
                </a:lnTo>
                <a:lnTo>
                  <a:pt x="239" y="615"/>
                </a:lnTo>
                <a:lnTo>
                  <a:pt x="238" y="615"/>
                </a:lnTo>
                <a:lnTo>
                  <a:pt x="236" y="616"/>
                </a:lnTo>
                <a:lnTo>
                  <a:pt x="235" y="617"/>
                </a:lnTo>
                <a:lnTo>
                  <a:pt x="235" y="618"/>
                </a:lnTo>
                <a:lnTo>
                  <a:pt x="234" y="621"/>
                </a:lnTo>
                <a:lnTo>
                  <a:pt x="233" y="624"/>
                </a:lnTo>
                <a:lnTo>
                  <a:pt x="233" y="624"/>
                </a:lnTo>
                <a:lnTo>
                  <a:pt x="233" y="624"/>
                </a:lnTo>
                <a:lnTo>
                  <a:pt x="231" y="627"/>
                </a:lnTo>
                <a:lnTo>
                  <a:pt x="229" y="628"/>
                </a:lnTo>
                <a:lnTo>
                  <a:pt x="229" y="630"/>
                </a:lnTo>
                <a:lnTo>
                  <a:pt x="229" y="632"/>
                </a:lnTo>
                <a:lnTo>
                  <a:pt x="229" y="632"/>
                </a:lnTo>
                <a:lnTo>
                  <a:pt x="229" y="634"/>
                </a:lnTo>
                <a:lnTo>
                  <a:pt x="227" y="636"/>
                </a:lnTo>
                <a:lnTo>
                  <a:pt x="226" y="638"/>
                </a:lnTo>
                <a:lnTo>
                  <a:pt x="225" y="642"/>
                </a:lnTo>
                <a:lnTo>
                  <a:pt x="225" y="645"/>
                </a:lnTo>
                <a:lnTo>
                  <a:pt x="221" y="652"/>
                </a:lnTo>
                <a:lnTo>
                  <a:pt x="219" y="660"/>
                </a:lnTo>
                <a:lnTo>
                  <a:pt x="216" y="663"/>
                </a:lnTo>
                <a:lnTo>
                  <a:pt x="215" y="666"/>
                </a:lnTo>
                <a:lnTo>
                  <a:pt x="214" y="669"/>
                </a:lnTo>
                <a:lnTo>
                  <a:pt x="214" y="672"/>
                </a:lnTo>
                <a:lnTo>
                  <a:pt x="214" y="672"/>
                </a:lnTo>
                <a:lnTo>
                  <a:pt x="214" y="672"/>
                </a:lnTo>
                <a:lnTo>
                  <a:pt x="214" y="672"/>
                </a:lnTo>
                <a:lnTo>
                  <a:pt x="212" y="674"/>
                </a:lnTo>
                <a:lnTo>
                  <a:pt x="211" y="678"/>
                </a:lnTo>
                <a:lnTo>
                  <a:pt x="211" y="681"/>
                </a:lnTo>
                <a:lnTo>
                  <a:pt x="211" y="685"/>
                </a:lnTo>
                <a:lnTo>
                  <a:pt x="209" y="688"/>
                </a:lnTo>
                <a:lnTo>
                  <a:pt x="209" y="692"/>
                </a:lnTo>
                <a:lnTo>
                  <a:pt x="207" y="693"/>
                </a:lnTo>
                <a:lnTo>
                  <a:pt x="206" y="694"/>
                </a:lnTo>
                <a:lnTo>
                  <a:pt x="202" y="704"/>
                </a:lnTo>
                <a:lnTo>
                  <a:pt x="201" y="713"/>
                </a:lnTo>
                <a:lnTo>
                  <a:pt x="200" y="722"/>
                </a:lnTo>
                <a:lnTo>
                  <a:pt x="199" y="732"/>
                </a:lnTo>
                <a:lnTo>
                  <a:pt x="199" y="736"/>
                </a:lnTo>
                <a:lnTo>
                  <a:pt x="198" y="740"/>
                </a:lnTo>
                <a:lnTo>
                  <a:pt x="194" y="744"/>
                </a:lnTo>
                <a:lnTo>
                  <a:pt x="192" y="750"/>
                </a:lnTo>
                <a:lnTo>
                  <a:pt x="191" y="756"/>
                </a:lnTo>
                <a:lnTo>
                  <a:pt x="190" y="763"/>
                </a:lnTo>
                <a:lnTo>
                  <a:pt x="190" y="770"/>
                </a:lnTo>
                <a:lnTo>
                  <a:pt x="191" y="778"/>
                </a:lnTo>
                <a:lnTo>
                  <a:pt x="192" y="785"/>
                </a:lnTo>
                <a:lnTo>
                  <a:pt x="194" y="793"/>
                </a:lnTo>
                <a:lnTo>
                  <a:pt x="193" y="800"/>
                </a:lnTo>
                <a:lnTo>
                  <a:pt x="190" y="809"/>
                </a:lnTo>
                <a:lnTo>
                  <a:pt x="188" y="810"/>
                </a:lnTo>
                <a:lnTo>
                  <a:pt x="190" y="811"/>
                </a:lnTo>
                <a:lnTo>
                  <a:pt x="186" y="817"/>
                </a:lnTo>
                <a:lnTo>
                  <a:pt x="184" y="824"/>
                </a:lnTo>
                <a:lnTo>
                  <a:pt x="183" y="831"/>
                </a:lnTo>
                <a:lnTo>
                  <a:pt x="184" y="838"/>
                </a:lnTo>
                <a:lnTo>
                  <a:pt x="183" y="838"/>
                </a:lnTo>
                <a:lnTo>
                  <a:pt x="185" y="837"/>
                </a:lnTo>
                <a:lnTo>
                  <a:pt x="186" y="838"/>
                </a:lnTo>
                <a:lnTo>
                  <a:pt x="186" y="839"/>
                </a:lnTo>
                <a:lnTo>
                  <a:pt x="186" y="840"/>
                </a:lnTo>
                <a:lnTo>
                  <a:pt x="186" y="841"/>
                </a:lnTo>
                <a:lnTo>
                  <a:pt x="186" y="842"/>
                </a:lnTo>
                <a:lnTo>
                  <a:pt x="188" y="841"/>
                </a:lnTo>
                <a:lnTo>
                  <a:pt x="190" y="842"/>
                </a:lnTo>
                <a:lnTo>
                  <a:pt x="191" y="844"/>
                </a:lnTo>
                <a:lnTo>
                  <a:pt x="192" y="845"/>
                </a:lnTo>
                <a:lnTo>
                  <a:pt x="192" y="845"/>
                </a:lnTo>
                <a:lnTo>
                  <a:pt x="192" y="846"/>
                </a:lnTo>
                <a:lnTo>
                  <a:pt x="192" y="845"/>
                </a:lnTo>
                <a:lnTo>
                  <a:pt x="192" y="845"/>
                </a:lnTo>
                <a:lnTo>
                  <a:pt x="192" y="847"/>
                </a:lnTo>
                <a:lnTo>
                  <a:pt x="193" y="848"/>
                </a:lnTo>
                <a:lnTo>
                  <a:pt x="192" y="851"/>
                </a:lnTo>
                <a:lnTo>
                  <a:pt x="191" y="852"/>
                </a:lnTo>
                <a:lnTo>
                  <a:pt x="190" y="851"/>
                </a:lnTo>
                <a:lnTo>
                  <a:pt x="188" y="849"/>
                </a:lnTo>
                <a:lnTo>
                  <a:pt x="187" y="848"/>
                </a:lnTo>
                <a:lnTo>
                  <a:pt x="186" y="846"/>
                </a:lnTo>
                <a:lnTo>
                  <a:pt x="185" y="845"/>
                </a:lnTo>
                <a:lnTo>
                  <a:pt x="186" y="842"/>
                </a:lnTo>
                <a:lnTo>
                  <a:pt x="186" y="842"/>
                </a:lnTo>
                <a:lnTo>
                  <a:pt x="186" y="842"/>
                </a:lnTo>
                <a:lnTo>
                  <a:pt x="186" y="842"/>
                </a:lnTo>
                <a:lnTo>
                  <a:pt x="185" y="842"/>
                </a:lnTo>
                <a:lnTo>
                  <a:pt x="184" y="842"/>
                </a:lnTo>
                <a:lnTo>
                  <a:pt x="183" y="840"/>
                </a:lnTo>
                <a:lnTo>
                  <a:pt x="183" y="839"/>
                </a:lnTo>
                <a:lnTo>
                  <a:pt x="183" y="838"/>
                </a:lnTo>
                <a:lnTo>
                  <a:pt x="184" y="838"/>
                </a:lnTo>
                <a:lnTo>
                  <a:pt x="184" y="838"/>
                </a:lnTo>
                <a:lnTo>
                  <a:pt x="181" y="838"/>
                </a:lnTo>
                <a:lnTo>
                  <a:pt x="179" y="840"/>
                </a:lnTo>
                <a:lnTo>
                  <a:pt x="179" y="856"/>
                </a:lnTo>
                <a:lnTo>
                  <a:pt x="177" y="873"/>
                </a:lnTo>
                <a:lnTo>
                  <a:pt x="176" y="882"/>
                </a:lnTo>
                <a:lnTo>
                  <a:pt x="173" y="890"/>
                </a:lnTo>
                <a:lnTo>
                  <a:pt x="171" y="900"/>
                </a:lnTo>
                <a:lnTo>
                  <a:pt x="167" y="908"/>
                </a:lnTo>
                <a:lnTo>
                  <a:pt x="167" y="904"/>
                </a:lnTo>
                <a:lnTo>
                  <a:pt x="166" y="903"/>
                </a:lnTo>
                <a:lnTo>
                  <a:pt x="165" y="903"/>
                </a:lnTo>
                <a:lnTo>
                  <a:pt x="164" y="903"/>
                </a:lnTo>
                <a:lnTo>
                  <a:pt x="163" y="904"/>
                </a:lnTo>
                <a:lnTo>
                  <a:pt x="163" y="905"/>
                </a:lnTo>
                <a:lnTo>
                  <a:pt x="163" y="910"/>
                </a:lnTo>
                <a:lnTo>
                  <a:pt x="164" y="914"/>
                </a:lnTo>
                <a:lnTo>
                  <a:pt x="164" y="916"/>
                </a:lnTo>
                <a:lnTo>
                  <a:pt x="163" y="917"/>
                </a:lnTo>
                <a:lnTo>
                  <a:pt x="160" y="918"/>
                </a:lnTo>
                <a:lnTo>
                  <a:pt x="157" y="918"/>
                </a:lnTo>
                <a:lnTo>
                  <a:pt x="156" y="919"/>
                </a:lnTo>
                <a:lnTo>
                  <a:pt x="154" y="919"/>
                </a:lnTo>
                <a:lnTo>
                  <a:pt x="153" y="921"/>
                </a:lnTo>
                <a:lnTo>
                  <a:pt x="153" y="923"/>
                </a:lnTo>
                <a:lnTo>
                  <a:pt x="153" y="928"/>
                </a:lnTo>
                <a:lnTo>
                  <a:pt x="153" y="932"/>
                </a:lnTo>
                <a:lnTo>
                  <a:pt x="152" y="936"/>
                </a:lnTo>
                <a:lnTo>
                  <a:pt x="150" y="940"/>
                </a:lnTo>
                <a:lnTo>
                  <a:pt x="145" y="947"/>
                </a:lnTo>
                <a:lnTo>
                  <a:pt x="139" y="953"/>
                </a:lnTo>
                <a:lnTo>
                  <a:pt x="135" y="958"/>
                </a:lnTo>
                <a:lnTo>
                  <a:pt x="130" y="963"/>
                </a:lnTo>
                <a:lnTo>
                  <a:pt x="128" y="968"/>
                </a:lnTo>
                <a:lnTo>
                  <a:pt x="126" y="974"/>
                </a:lnTo>
                <a:lnTo>
                  <a:pt x="126" y="977"/>
                </a:lnTo>
                <a:lnTo>
                  <a:pt x="125" y="978"/>
                </a:lnTo>
                <a:lnTo>
                  <a:pt x="124" y="981"/>
                </a:lnTo>
                <a:lnTo>
                  <a:pt x="123" y="986"/>
                </a:lnTo>
                <a:lnTo>
                  <a:pt x="124" y="981"/>
                </a:lnTo>
                <a:lnTo>
                  <a:pt x="125" y="978"/>
                </a:lnTo>
                <a:lnTo>
                  <a:pt x="124" y="972"/>
                </a:lnTo>
                <a:lnTo>
                  <a:pt x="124" y="966"/>
                </a:lnTo>
                <a:lnTo>
                  <a:pt x="122" y="966"/>
                </a:lnTo>
                <a:lnTo>
                  <a:pt x="121" y="968"/>
                </a:lnTo>
                <a:lnTo>
                  <a:pt x="116" y="974"/>
                </a:lnTo>
                <a:lnTo>
                  <a:pt x="110" y="980"/>
                </a:lnTo>
                <a:lnTo>
                  <a:pt x="105" y="985"/>
                </a:lnTo>
                <a:lnTo>
                  <a:pt x="100" y="989"/>
                </a:lnTo>
                <a:lnTo>
                  <a:pt x="96" y="991"/>
                </a:lnTo>
                <a:lnTo>
                  <a:pt x="93" y="994"/>
                </a:lnTo>
                <a:lnTo>
                  <a:pt x="90" y="996"/>
                </a:lnTo>
                <a:lnTo>
                  <a:pt x="89" y="1000"/>
                </a:lnTo>
                <a:lnTo>
                  <a:pt x="89" y="1000"/>
                </a:lnTo>
                <a:lnTo>
                  <a:pt x="88" y="1000"/>
                </a:lnTo>
                <a:lnTo>
                  <a:pt x="87" y="1001"/>
                </a:lnTo>
                <a:lnTo>
                  <a:pt x="88" y="1001"/>
                </a:lnTo>
                <a:lnTo>
                  <a:pt x="89" y="1001"/>
                </a:lnTo>
                <a:lnTo>
                  <a:pt x="90" y="1003"/>
                </a:lnTo>
                <a:lnTo>
                  <a:pt x="93" y="1005"/>
                </a:lnTo>
                <a:lnTo>
                  <a:pt x="95" y="1005"/>
                </a:lnTo>
                <a:lnTo>
                  <a:pt x="98" y="1003"/>
                </a:lnTo>
                <a:lnTo>
                  <a:pt x="107" y="999"/>
                </a:lnTo>
                <a:lnTo>
                  <a:pt x="115" y="994"/>
                </a:lnTo>
                <a:lnTo>
                  <a:pt x="117" y="998"/>
                </a:lnTo>
                <a:lnTo>
                  <a:pt x="118" y="1002"/>
                </a:lnTo>
                <a:lnTo>
                  <a:pt x="118" y="1003"/>
                </a:lnTo>
                <a:lnTo>
                  <a:pt x="117" y="1005"/>
                </a:lnTo>
                <a:lnTo>
                  <a:pt x="115" y="1009"/>
                </a:lnTo>
                <a:lnTo>
                  <a:pt x="115" y="1015"/>
                </a:lnTo>
                <a:lnTo>
                  <a:pt x="115" y="1020"/>
                </a:lnTo>
                <a:lnTo>
                  <a:pt x="115" y="1024"/>
                </a:lnTo>
                <a:lnTo>
                  <a:pt x="115" y="1035"/>
                </a:lnTo>
                <a:lnTo>
                  <a:pt x="114" y="1045"/>
                </a:lnTo>
                <a:lnTo>
                  <a:pt x="114" y="1049"/>
                </a:lnTo>
                <a:lnTo>
                  <a:pt x="116" y="1051"/>
                </a:lnTo>
                <a:lnTo>
                  <a:pt x="117" y="1052"/>
                </a:lnTo>
                <a:lnTo>
                  <a:pt x="118" y="1051"/>
                </a:lnTo>
                <a:lnTo>
                  <a:pt x="119" y="1050"/>
                </a:lnTo>
                <a:lnTo>
                  <a:pt x="121" y="1049"/>
                </a:lnTo>
                <a:lnTo>
                  <a:pt x="122" y="1051"/>
                </a:lnTo>
                <a:lnTo>
                  <a:pt x="123" y="1055"/>
                </a:lnTo>
                <a:lnTo>
                  <a:pt x="123" y="1057"/>
                </a:lnTo>
                <a:lnTo>
                  <a:pt x="123" y="1059"/>
                </a:lnTo>
                <a:lnTo>
                  <a:pt x="121" y="1062"/>
                </a:lnTo>
                <a:lnTo>
                  <a:pt x="121" y="1065"/>
                </a:lnTo>
                <a:lnTo>
                  <a:pt x="121" y="1069"/>
                </a:lnTo>
                <a:lnTo>
                  <a:pt x="123" y="1072"/>
                </a:lnTo>
                <a:lnTo>
                  <a:pt x="123" y="1076"/>
                </a:lnTo>
                <a:lnTo>
                  <a:pt x="124" y="1079"/>
                </a:lnTo>
                <a:lnTo>
                  <a:pt x="124" y="1082"/>
                </a:lnTo>
                <a:lnTo>
                  <a:pt x="126" y="1083"/>
                </a:lnTo>
                <a:lnTo>
                  <a:pt x="129" y="1083"/>
                </a:lnTo>
                <a:lnTo>
                  <a:pt x="131" y="1082"/>
                </a:lnTo>
                <a:lnTo>
                  <a:pt x="133" y="1079"/>
                </a:lnTo>
                <a:lnTo>
                  <a:pt x="137" y="1077"/>
                </a:lnTo>
                <a:lnTo>
                  <a:pt x="139" y="1075"/>
                </a:lnTo>
                <a:lnTo>
                  <a:pt x="142" y="1072"/>
                </a:lnTo>
                <a:lnTo>
                  <a:pt x="143" y="1069"/>
                </a:lnTo>
                <a:lnTo>
                  <a:pt x="143" y="1066"/>
                </a:lnTo>
                <a:lnTo>
                  <a:pt x="144" y="1054"/>
                </a:lnTo>
                <a:lnTo>
                  <a:pt x="145" y="1041"/>
                </a:lnTo>
                <a:lnTo>
                  <a:pt x="147" y="1033"/>
                </a:lnTo>
                <a:lnTo>
                  <a:pt x="147" y="1026"/>
                </a:lnTo>
                <a:lnTo>
                  <a:pt x="147" y="1021"/>
                </a:lnTo>
                <a:lnTo>
                  <a:pt x="147" y="1017"/>
                </a:lnTo>
                <a:lnTo>
                  <a:pt x="149" y="1014"/>
                </a:lnTo>
                <a:lnTo>
                  <a:pt x="150" y="1010"/>
                </a:lnTo>
                <a:lnTo>
                  <a:pt x="154" y="1005"/>
                </a:lnTo>
                <a:lnTo>
                  <a:pt x="159" y="999"/>
                </a:lnTo>
                <a:lnTo>
                  <a:pt x="162" y="996"/>
                </a:lnTo>
                <a:lnTo>
                  <a:pt x="165" y="994"/>
                </a:lnTo>
                <a:lnTo>
                  <a:pt x="169" y="992"/>
                </a:lnTo>
                <a:lnTo>
                  <a:pt x="173" y="992"/>
                </a:lnTo>
                <a:lnTo>
                  <a:pt x="179" y="992"/>
                </a:lnTo>
                <a:lnTo>
                  <a:pt x="184" y="992"/>
                </a:lnTo>
                <a:lnTo>
                  <a:pt x="188" y="994"/>
                </a:lnTo>
                <a:lnTo>
                  <a:pt x="193" y="996"/>
                </a:lnTo>
                <a:lnTo>
                  <a:pt x="197" y="999"/>
                </a:lnTo>
                <a:lnTo>
                  <a:pt x="199" y="1003"/>
                </a:lnTo>
                <a:lnTo>
                  <a:pt x="202" y="1008"/>
                </a:lnTo>
                <a:lnTo>
                  <a:pt x="205" y="1013"/>
                </a:lnTo>
                <a:lnTo>
                  <a:pt x="207" y="1020"/>
                </a:lnTo>
                <a:lnTo>
                  <a:pt x="211" y="1027"/>
                </a:lnTo>
                <a:lnTo>
                  <a:pt x="213" y="1029"/>
                </a:lnTo>
                <a:lnTo>
                  <a:pt x="216" y="1031"/>
                </a:lnTo>
                <a:lnTo>
                  <a:pt x="219" y="1034"/>
                </a:lnTo>
                <a:lnTo>
                  <a:pt x="223" y="1035"/>
                </a:lnTo>
                <a:lnTo>
                  <a:pt x="227" y="1036"/>
                </a:lnTo>
                <a:lnTo>
                  <a:pt x="229" y="1035"/>
                </a:lnTo>
                <a:lnTo>
                  <a:pt x="232" y="1034"/>
                </a:lnTo>
                <a:lnTo>
                  <a:pt x="234" y="1033"/>
                </a:lnTo>
                <a:lnTo>
                  <a:pt x="235" y="1030"/>
                </a:lnTo>
                <a:lnTo>
                  <a:pt x="236" y="1028"/>
                </a:lnTo>
                <a:lnTo>
                  <a:pt x="235" y="1024"/>
                </a:lnTo>
                <a:lnTo>
                  <a:pt x="234" y="1022"/>
                </a:lnTo>
                <a:lnTo>
                  <a:pt x="225" y="1008"/>
                </a:lnTo>
                <a:lnTo>
                  <a:pt x="216" y="993"/>
                </a:lnTo>
                <a:lnTo>
                  <a:pt x="213" y="979"/>
                </a:lnTo>
                <a:lnTo>
                  <a:pt x="209" y="965"/>
                </a:lnTo>
                <a:lnTo>
                  <a:pt x="207" y="956"/>
                </a:lnTo>
                <a:lnTo>
                  <a:pt x="206" y="946"/>
                </a:lnTo>
                <a:lnTo>
                  <a:pt x="204" y="936"/>
                </a:lnTo>
                <a:lnTo>
                  <a:pt x="201" y="926"/>
                </a:lnTo>
                <a:lnTo>
                  <a:pt x="204" y="924"/>
                </a:lnTo>
                <a:lnTo>
                  <a:pt x="206" y="919"/>
                </a:lnTo>
                <a:lnTo>
                  <a:pt x="206" y="911"/>
                </a:lnTo>
                <a:lnTo>
                  <a:pt x="206" y="911"/>
                </a:lnTo>
                <a:lnTo>
                  <a:pt x="206" y="911"/>
                </a:lnTo>
                <a:lnTo>
                  <a:pt x="206" y="902"/>
                </a:lnTo>
                <a:lnTo>
                  <a:pt x="208" y="893"/>
                </a:lnTo>
                <a:lnTo>
                  <a:pt x="211" y="883"/>
                </a:lnTo>
                <a:lnTo>
                  <a:pt x="214" y="874"/>
                </a:lnTo>
                <a:lnTo>
                  <a:pt x="222" y="856"/>
                </a:lnTo>
                <a:lnTo>
                  <a:pt x="231" y="838"/>
                </a:lnTo>
                <a:lnTo>
                  <a:pt x="236" y="824"/>
                </a:lnTo>
                <a:lnTo>
                  <a:pt x="242" y="810"/>
                </a:lnTo>
                <a:lnTo>
                  <a:pt x="243" y="811"/>
                </a:lnTo>
                <a:lnTo>
                  <a:pt x="243" y="811"/>
                </a:lnTo>
                <a:lnTo>
                  <a:pt x="246" y="807"/>
                </a:lnTo>
                <a:lnTo>
                  <a:pt x="246" y="804"/>
                </a:lnTo>
                <a:lnTo>
                  <a:pt x="246" y="803"/>
                </a:lnTo>
                <a:lnTo>
                  <a:pt x="246" y="803"/>
                </a:lnTo>
                <a:lnTo>
                  <a:pt x="249" y="800"/>
                </a:lnTo>
                <a:lnTo>
                  <a:pt x="250" y="798"/>
                </a:lnTo>
                <a:lnTo>
                  <a:pt x="253" y="793"/>
                </a:lnTo>
                <a:lnTo>
                  <a:pt x="254" y="790"/>
                </a:lnTo>
                <a:lnTo>
                  <a:pt x="255" y="786"/>
                </a:lnTo>
                <a:lnTo>
                  <a:pt x="257" y="783"/>
                </a:lnTo>
                <a:lnTo>
                  <a:pt x="259" y="782"/>
                </a:lnTo>
                <a:lnTo>
                  <a:pt x="260" y="778"/>
                </a:lnTo>
                <a:lnTo>
                  <a:pt x="260" y="777"/>
                </a:lnTo>
                <a:lnTo>
                  <a:pt x="260" y="776"/>
                </a:lnTo>
                <a:lnTo>
                  <a:pt x="261" y="774"/>
                </a:lnTo>
                <a:lnTo>
                  <a:pt x="262" y="772"/>
                </a:lnTo>
                <a:lnTo>
                  <a:pt x="262" y="772"/>
                </a:lnTo>
                <a:lnTo>
                  <a:pt x="263" y="772"/>
                </a:lnTo>
                <a:lnTo>
                  <a:pt x="264" y="771"/>
                </a:lnTo>
                <a:lnTo>
                  <a:pt x="266" y="770"/>
                </a:lnTo>
                <a:lnTo>
                  <a:pt x="269" y="758"/>
                </a:lnTo>
                <a:lnTo>
                  <a:pt x="274" y="746"/>
                </a:lnTo>
                <a:lnTo>
                  <a:pt x="275" y="746"/>
                </a:lnTo>
                <a:lnTo>
                  <a:pt x="275" y="744"/>
                </a:lnTo>
                <a:lnTo>
                  <a:pt x="276" y="742"/>
                </a:lnTo>
                <a:lnTo>
                  <a:pt x="277" y="739"/>
                </a:lnTo>
                <a:lnTo>
                  <a:pt x="282" y="722"/>
                </a:lnTo>
                <a:lnTo>
                  <a:pt x="287" y="706"/>
                </a:lnTo>
                <a:lnTo>
                  <a:pt x="290" y="692"/>
                </a:lnTo>
                <a:lnTo>
                  <a:pt x="294" y="679"/>
                </a:lnTo>
                <a:lnTo>
                  <a:pt x="296" y="663"/>
                </a:lnTo>
                <a:lnTo>
                  <a:pt x="298" y="648"/>
                </a:lnTo>
                <a:lnTo>
                  <a:pt x="301" y="632"/>
                </a:lnTo>
                <a:lnTo>
                  <a:pt x="304" y="616"/>
                </a:lnTo>
                <a:lnTo>
                  <a:pt x="311" y="594"/>
                </a:lnTo>
                <a:lnTo>
                  <a:pt x="318" y="572"/>
                </a:lnTo>
                <a:lnTo>
                  <a:pt x="326" y="550"/>
                </a:lnTo>
                <a:lnTo>
                  <a:pt x="333" y="527"/>
                </a:lnTo>
                <a:lnTo>
                  <a:pt x="338" y="513"/>
                </a:lnTo>
                <a:lnTo>
                  <a:pt x="342" y="499"/>
                </a:lnTo>
                <a:lnTo>
                  <a:pt x="344" y="485"/>
                </a:lnTo>
                <a:lnTo>
                  <a:pt x="345" y="470"/>
                </a:lnTo>
                <a:lnTo>
                  <a:pt x="346" y="462"/>
                </a:lnTo>
                <a:lnTo>
                  <a:pt x="347" y="459"/>
                </a:lnTo>
                <a:lnTo>
                  <a:pt x="351" y="459"/>
                </a:lnTo>
                <a:lnTo>
                  <a:pt x="359" y="461"/>
                </a:lnTo>
                <a:lnTo>
                  <a:pt x="365" y="463"/>
                </a:lnTo>
                <a:lnTo>
                  <a:pt x="371" y="467"/>
                </a:lnTo>
                <a:lnTo>
                  <a:pt x="376" y="470"/>
                </a:lnTo>
                <a:lnTo>
                  <a:pt x="380" y="474"/>
                </a:lnTo>
                <a:lnTo>
                  <a:pt x="385" y="478"/>
                </a:lnTo>
                <a:lnTo>
                  <a:pt x="388" y="483"/>
                </a:lnTo>
                <a:lnTo>
                  <a:pt x="391" y="489"/>
                </a:lnTo>
                <a:lnTo>
                  <a:pt x="394" y="495"/>
                </a:lnTo>
                <a:lnTo>
                  <a:pt x="398" y="505"/>
                </a:lnTo>
                <a:lnTo>
                  <a:pt x="401" y="517"/>
                </a:lnTo>
                <a:lnTo>
                  <a:pt x="405" y="527"/>
                </a:lnTo>
                <a:lnTo>
                  <a:pt x="408" y="538"/>
                </a:lnTo>
                <a:lnTo>
                  <a:pt x="414" y="553"/>
                </a:lnTo>
                <a:lnTo>
                  <a:pt x="419" y="567"/>
                </a:lnTo>
                <a:lnTo>
                  <a:pt x="425" y="581"/>
                </a:lnTo>
                <a:lnTo>
                  <a:pt x="432" y="595"/>
                </a:lnTo>
                <a:lnTo>
                  <a:pt x="442" y="609"/>
                </a:lnTo>
                <a:lnTo>
                  <a:pt x="453" y="623"/>
                </a:lnTo>
                <a:lnTo>
                  <a:pt x="464" y="637"/>
                </a:lnTo>
                <a:lnTo>
                  <a:pt x="474" y="651"/>
                </a:lnTo>
                <a:lnTo>
                  <a:pt x="478" y="656"/>
                </a:lnTo>
                <a:lnTo>
                  <a:pt x="482" y="662"/>
                </a:lnTo>
                <a:lnTo>
                  <a:pt x="480" y="663"/>
                </a:lnTo>
                <a:lnTo>
                  <a:pt x="478" y="665"/>
                </a:lnTo>
                <a:lnTo>
                  <a:pt x="478" y="666"/>
                </a:lnTo>
                <a:lnTo>
                  <a:pt x="478" y="669"/>
                </a:lnTo>
                <a:lnTo>
                  <a:pt x="478" y="672"/>
                </a:lnTo>
                <a:lnTo>
                  <a:pt x="477" y="676"/>
                </a:lnTo>
                <a:lnTo>
                  <a:pt x="476" y="677"/>
                </a:lnTo>
                <a:lnTo>
                  <a:pt x="476" y="678"/>
                </a:lnTo>
                <a:lnTo>
                  <a:pt x="475" y="680"/>
                </a:lnTo>
                <a:lnTo>
                  <a:pt x="474" y="684"/>
                </a:lnTo>
                <a:lnTo>
                  <a:pt x="473" y="686"/>
                </a:lnTo>
                <a:lnTo>
                  <a:pt x="474" y="690"/>
                </a:lnTo>
                <a:lnTo>
                  <a:pt x="474" y="695"/>
                </a:lnTo>
                <a:lnTo>
                  <a:pt x="474" y="701"/>
                </a:lnTo>
                <a:lnTo>
                  <a:pt x="474" y="706"/>
                </a:lnTo>
                <a:lnTo>
                  <a:pt x="473" y="709"/>
                </a:lnTo>
                <a:lnTo>
                  <a:pt x="470" y="714"/>
                </a:lnTo>
                <a:lnTo>
                  <a:pt x="467" y="718"/>
                </a:lnTo>
                <a:lnTo>
                  <a:pt x="463" y="721"/>
                </a:lnTo>
                <a:lnTo>
                  <a:pt x="459" y="725"/>
                </a:lnTo>
                <a:lnTo>
                  <a:pt x="456" y="726"/>
                </a:lnTo>
                <a:lnTo>
                  <a:pt x="455" y="728"/>
                </a:lnTo>
                <a:lnTo>
                  <a:pt x="450" y="732"/>
                </a:lnTo>
                <a:lnTo>
                  <a:pt x="447" y="735"/>
                </a:lnTo>
                <a:lnTo>
                  <a:pt x="445" y="740"/>
                </a:lnTo>
                <a:lnTo>
                  <a:pt x="445" y="746"/>
                </a:lnTo>
                <a:lnTo>
                  <a:pt x="445" y="748"/>
                </a:lnTo>
                <a:lnTo>
                  <a:pt x="446" y="750"/>
                </a:lnTo>
                <a:lnTo>
                  <a:pt x="447" y="751"/>
                </a:lnTo>
                <a:lnTo>
                  <a:pt x="447" y="751"/>
                </a:lnTo>
                <a:lnTo>
                  <a:pt x="447" y="751"/>
                </a:lnTo>
                <a:lnTo>
                  <a:pt x="446" y="750"/>
                </a:lnTo>
                <a:lnTo>
                  <a:pt x="446" y="754"/>
                </a:lnTo>
                <a:lnTo>
                  <a:pt x="446" y="756"/>
                </a:lnTo>
                <a:lnTo>
                  <a:pt x="443" y="758"/>
                </a:lnTo>
                <a:lnTo>
                  <a:pt x="442" y="761"/>
                </a:lnTo>
                <a:lnTo>
                  <a:pt x="437" y="765"/>
                </a:lnTo>
                <a:lnTo>
                  <a:pt x="433" y="771"/>
                </a:lnTo>
                <a:lnTo>
                  <a:pt x="425" y="781"/>
                </a:lnTo>
                <a:lnTo>
                  <a:pt x="418" y="791"/>
                </a:lnTo>
                <a:lnTo>
                  <a:pt x="412" y="802"/>
                </a:lnTo>
                <a:lnTo>
                  <a:pt x="406" y="813"/>
                </a:lnTo>
                <a:lnTo>
                  <a:pt x="406" y="814"/>
                </a:lnTo>
                <a:lnTo>
                  <a:pt x="406" y="814"/>
                </a:lnTo>
                <a:lnTo>
                  <a:pt x="404" y="817"/>
                </a:lnTo>
                <a:lnTo>
                  <a:pt x="404" y="819"/>
                </a:lnTo>
                <a:lnTo>
                  <a:pt x="399" y="830"/>
                </a:lnTo>
                <a:lnTo>
                  <a:pt x="394" y="840"/>
                </a:lnTo>
                <a:lnTo>
                  <a:pt x="390" y="849"/>
                </a:lnTo>
                <a:lnTo>
                  <a:pt x="385" y="860"/>
                </a:lnTo>
                <a:lnTo>
                  <a:pt x="378" y="876"/>
                </a:lnTo>
                <a:lnTo>
                  <a:pt x="371" y="891"/>
                </a:lnTo>
                <a:lnTo>
                  <a:pt x="364" y="907"/>
                </a:lnTo>
                <a:lnTo>
                  <a:pt x="359" y="923"/>
                </a:lnTo>
                <a:lnTo>
                  <a:pt x="358" y="925"/>
                </a:lnTo>
                <a:lnTo>
                  <a:pt x="358" y="926"/>
                </a:lnTo>
                <a:lnTo>
                  <a:pt x="356" y="928"/>
                </a:lnTo>
                <a:lnTo>
                  <a:pt x="356" y="929"/>
                </a:lnTo>
                <a:lnTo>
                  <a:pt x="354" y="930"/>
                </a:lnTo>
                <a:lnTo>
                  <a:pt x="353" y="931"/>
                </a:lnTo>
                <a:lnTo>
                  <a:pt x="352" y="932"/>
                </a:lnTo>
                <a:lnTo>
                  <a:pt x="351" y="933"/>
                </a:lnTo>
                <a:lnTo>
                  <a:pt x="350" y="940"/>
                </a:lnTo>
                <a:lnTo>
                  <a:pt x="351" y="947"/>
                </a:lnTo>
                <a:lnTo>
                  <a:pt x="344" y="964"/>
                </a:lnTo>
                <a:lnTo>
                  <a:pt x="338" y="981"/>
                </a:lnTo>
                <a:lnTo>
                  <a:pt x="337" y="985"/>
                </a:lnTo>
                <a:lnTo>
                  <a:pt x="338" y="987"/>
                </a:lnTo>
                <a:lnTo>
                  <a:pt x="339" y="988"/>
                </a:lnTo>
                <a:lnTo>
                  <a:pt x="342" y="989"/>
                </a:lnTo>
                <a:lnTo>
                  <a:pt x="343" y="992"/>
                </a:lnTo>
                <a:lnTo>
                  <a:pt x="344" y="994"/>
                </a:lnTo>
                <a:lnTo>
                  <a:pt x="344" y="995"/>
                </a:lnTo>
                <a:lnTo>
                  <a:pt x="342" y="998"/>
                </a:lnTo>
                <a:lnTo>
                  <a:pt x="339" y="1000"/>
                </a:lnTo>
                <a:lnTo>
                  <a:pt x="337" y="1002"/>
                </a:lnTo>
                <a:lnTo>
                  <a:pt x="336" y="1003"/>
                </a:lnTo>
                <a:lnTo>
                  <a:pt x="336" y="1005"/>
                </a:lnTo>
                <a:lnTo>
                  <a:pt x="337" y="1006"/>
                </a:lnTo>
                <a:lnTo>
                  <a:pt x="340" y="1008"/>
                </a:lnTo>
                <a:lnTo>
                  <a:pt x="339" y="1009"/>
                </a:lnTo>
                <a:lnTo>
                  <a:pt x="339" y="1010"/>
                </a:lnTo>
                <a:lnTo>
                  <a:pt x="332" y="1019"/>
                </a:lnTo>
                <a:lnTo>
                  <a:pt x="324" y="1024"/>
                </a:lnTo>
                <a:lnTo>
                  <a:pt x="322" y="1024"/>
                </a:lnTo>
                <a:lnTo>
                  <a:pt x="319" y="1024"/>
                </a:lnTo>
                <a:lnTo>
                  <a:pt x="319" y="1026"/>
                </a:lnTo>
                <a:lnTo>
                  <a:pt x="319" y="1027"/>
                </a:lnTo>
                <a:lnTo>
                  <a:pt x="319" y="1030"/>
                </a:lnTo>
                <a:lnTo>
                  <a:pt x="319" y="1034"/>
                </a:lnTo>
                <a:lnTo>
                  <a:pt x="319" y="1047"/>
                </a:lnTo>
                <a:lnTo>
                  <a:pt x="319" y="1058"/>
                </a:lnTo>
                <a:lnTo>
                  <a:pt x="319" y="1071"/>
                </a:lnTo>
                <a:lnTo>
                  <a:pt x="318" y="1084"/>
                </a:lnTo>
                <a:lnTo>
                  <a:pt x="318" y="1099"/>
                </a:lnTo>
                <a:lnTo>
                  <a:pt x="318" y="1113"/>
                </a:lnTo>
                <a:lnTo>
                  <a:pt x="319" y="1127"/>
                </a:lnTo>
                <a:lnTo>
                  <a:pt x="322" y="1142"/>
                </a:lnTo>
                <a:lnTo>
                  <a:pt x="324" y="1154"/>
                </a:lnTo>
                <a:lnTo>
                  <a:pt x="329" y="1167"/>
                </a:lnTo>
                <a:lnTo>
                  <a:pt x="333" y="1179"/>
                </a:lnTo>
                <a:lnTo>
                  <a:pt x="339" y="1190"/>
                </a:lnTo>
                <a:lnTo>
                  <a:pt x="342" y="1186"/>
                </a:lnTo>
                <a:lnTo>
                  <a:pt x="344" y="1182"/>
                </a:lnTo>
                <a:lnTo>
                  <a:pt x="345" y="1181"/>
                </a:lnTo>
                <a:lnTo>
                  <a:pt x="346" y="1180"/>
                </a:lnTo>
                <a:lnTo>
                  <a:pt x="349" y="1182"/>
                </a:lnTo>
                <a:lnTo>
                  <a:pt x="350" y="1184"/>
                </a:lnTo>
                <a:lnTo>
                  <a:pt x="351" y="1188"/>
                </a:lnTo>
                <a:lnTo>
                  <a:pt x="351" y="1190"/>
                </a:lnTo>
                <a:lnTo>
                  <a:pt x="350" y="1195"/>
                </a:lnTo>
                <a:lnTo>
                  <a:pt x="351" y="1198"/>
                </a:lnTo>
                <a:lnTo>
                  <a:pt x="352" y="1202"/>
                </a:lnTo>
                <a:lnTo>
                  <a:pt x="356" y="1204"/>
                </a:lnTo>
                <a:lnTo>
                  <a:pt x="357" y="1208"/>
                </a:lnTo>
                <a:lnTo>
                  <a:pt x="359" y="1211"/>
                </a:lnTo>
                <a:lnTo>
                  <a:pt x="359" y="1215"/>
                </a:lnTo>
                <a:lnTo>
                  <a:pt x="358" y="1217"/>
                </a:lnTo>
                <a:lnTo>
                  <a:pt x="354" y="1217"/>
                </a:lnTo>
                <a:lnTo>
                  <a:pt x="351" y="1214"/>
                </a:lnTo>
                <a:lnTo>
                  <a:pt x="350" y="1212"/>
                </a:lnTo>
                <a:lnTo>
                  <a:pt x="349" y="1211"/>
                </a:lnTo>
                <a:lnTo>
                  <a:pt x="347" y="1211"/>
                </a:lnTo>
                <a:lnTo>
                  <a:pt x="345" y="1211"/>
                </a:lnTo>
                <a:lnTo>
                  <a:pt x="347" y="1217"/>
                </a:lnTo>
                <a:lnTo>
                  <a:pt x="350" y="1223"/>
                </a:lnTo>
                <a:lnTo>
                  <a:pt x="353" y="1226"/>
                </a:lnTo>
                <a:lnTo>
                  <a:pt x="359" y="1230"/>
                </a:lnTo>
                <a:lnTo>
                  <a:pt x="360" y="1231"/>
                </a:lnTo>
                <a:lnTo>
                  <a:pt x="361" y="1232"/>
                </a:lnTo>
                <a:lnTo>
                  <a:pt x="361" y="1232"/>
                </a:lnTo>
                <a:lnTo>
                  <a:pt x="363" y="1232"/>
                </a:lnTo>
                <a:lnTo>
                  <a:pt x="365" y="1232"/>
                </a:lnTo>
                <a:lnTo>
                  <a:pt x="366" y="1232"/>
                </a:lnTo>
                <a:lnTo>
                  <a:pt x="367" y="1235"/>
                </a:lnTo>
                <a:lnTo>
                  <a:pt x="368" y="1236"/>
                </a:lnTo>
                <a:lnTo>
                  <a:pt x="370" y="1236"/>
                </a:lnTo>
                <a:lnTo>
                  <a:pt x="372" y="1236"/>
                </a:lnTo>
                <a:lnTo>
                  <a:pt x="376" y="1236"/>
                </a:lnTo>
                <a:lnTo>
                  <a:pt x="379" y="1237"/>
                </a:lnTo>
                <a:lnTo>
                  <a:pt x="373" y="1242"/>
                </a:lnTo>
                <a:lnTo>
                  <a:pt x="368" y="1246"/>
                </a:lnTo>
                <a:lnTo>
                  <a:pt x="367" y="1250"/>
                </a:lnTo>
                <a:lnTo>
                  <a:pt x="366" y="1253"/>
                </a:lnTo>
                <a:lnTo>
                  <a:pt x="366" y="1257"/>
                </a:lnTo>
                <a:lnTo>
                  <a:pt x="366" y="1260"/>
                </a:lnTo>
                <a:lnTo>
                  <a:pt x="366" y="1263"/>
                </a:lnTo>
                <a:lnTo>
                  <a:pt x="367" y="1266"/>
                </a:lnTo>
                <a:lnTo>
                  <a:pt x="366" y="1268"/>
                </a:lnTo>
                <a:lnTo>
                  <a:pt x="364" y="1270"/>
                </a:lnTo>
                <a:lnTo>
                  <a:pt x="365" y="1271"/>
                </a:lnTo>
                <a:lnTo>
                  <a:pt x="365" y="1271"/>
                </a:lnTo>
                <a:lnTo>
                  <a:pt x="365" y="1271"/>
                </a:lnTo>
                <a:lnTo>
                  <a:pt x="364" y="1270"/>
                </a:lnTo>
                <a:lnTo>
                  <a:pt x="364" y="1270"/>
                </a:lnTo>
                <a:lnTo>
                  <a:pt x="363" y="1268"/>
                </a:lnTo>
                <a:lnTo>
                  <a:pt x="364" y="1267"/>
                </a:lnTo>
                <a:lnTo>
                  <a:pt x="364" y="1268"/>
                </a:lnTo>
                <a:lnTo>
                  <a:pt x="363" y="1268"/>
                </a:lnTo>
                <a:lnTo>
                  <a:pt x="361" y="1267"/>
                </a:lnTo>
                <a:lnTo>
                  <a:pt x="360" y="1266"/>
                </a:lnTo>
                <a:lnTo>
                  <a:pt x="358" y="1266"/>
                </a:lnTo>
                <a:lnTo>
                  <a:pt x="358" y="1270"/>
                </a:lnTo>
                <a:lnTo>
                  <a:pt x="357" y="1277"/>
                </a:lnTo>
                <a:lnTo>
                  <a:pt x="357" y="1285"/>
                </a:lnTo>
                <a:lnTo>
                  <a:pt x="358" y="1286"/>
                </a:lnTo>
                <a:lnTo>
                  <a:pt x="357" y="1288"/>
                </a:lnTo>
                <a:lnTo>
                  <a:pt x="356" y="1288"/>
                </a:lnTo>
                <a:lnTo>
                  <a:pt x="353" y="1288"/>
                </a:lnTo>
                <a:lnTo>
                  <a:pt x="352" y="1288"/>
                </a:lnTo>
                <a:lnTo>
                  <a:pt x="352" y="1288"/>
                </a:lnTo>
                <a:lnTo>
                  <a:pt x="354" y="1295"/>
                </a:lnTo>
                <a:lnTo>
                  <a:pt x="358" y="1300"/>
                </a:lnTo>
                <a:lnTo>
                  <a:pt x="360" y="1300"/>
                </a:lnTo>
                <a:lnTo>
                  <a:pt x="363" y="1300"/>
                </a:lnTo>
                <a:lnTo>
                  <a:pt x="364" y="1300"/>
                </a:lnTo>
                <a:lnTo>
                  <a:pt x="366" y="1301"/>
                </a:lnTo>
                <a:lnTo>
                  <a:pt x="366" y="1306"/>
                </a:lnTo>
                <a:lnTo>
                  <a:pt x="365" y="1308"/>
                </a:lnTo>
                <a:lnTo>
                  <a:pt x="363" y="1312"/>
                </a:lnTo>
                <a:lnTo>
                  <a:pt x="359" y="1314"/>
                </a:lnTo>
                <a:lnTo>
                  <a:pt x="357" y="1314"/>
                </a:lnTo>
                <a:lnTo>
                  <a:pt x="354" y="1314"/>
                </a:lnTo>
                <a:lnTo>
                  <a:pt x="347" y="1310"/>
                </a:lnTo>
                <a:lnTo>
                  <a:pt x="343" y="1309"/>
                </a:lnTo>
                <a:lnTo>
                  <a:pt x="338" y="1310"/>
                </a:lnTo>
                <a:lnTo>
                  <a:pt x="335" y="1314"/>
                </a:lnTo>
                <a:lnTo>
                  <a:pt x="331" y="1314"/>
                </a:lnTo>
                <a:lnTo>
                  <a:pt x="328" y="1315"/>
                </a:lnTo>
                <a:lnTo>
                  <a:pt x="324" y="1316"/>
                </a:lnTo>
                <a:lnTo>
                  <a:pt x="322" y="1320"/>
                </a:lnTo>
                <a:lnTo>
                  <a:pt x="317" y="1324"/>
                </a:lnTo>
                <a:lnTo>
                  <a:pt x="312" y="1329"/>
                </a:lnTo>
                <a:lnTo>
                  <a:pt x="307" y="1333"/>
                </a:lnTo>
                <a:lnTo>
                  <a:pt x="301" y="1336"/>
                </a:lnTo>
                <a:lnTo>
                  <a:pt x="289" y="1342"/>
                </a:lnTo>
                <a:lnTo>
                  <a:pt x="280" y="1350"/>
                </a:lnTo>
                <a:lnTo>
                  <a:pt x="277" y="1351"/>
                </a:lnTo>
                <a:lnTo>
                  <a:pt x="276" y="1352"/>
                </a:lnTo>
                <a:lnTo>
                  <a:pt x="276" y="1354"/>
                </a:lnTo>
                <a:lnTo>
                  <a:pt x="275" y="1356"/>
                </a:lnTo>
                <a:lnTo>
                  <a:pt x="297" y="1356"/>
                </a:lnTo>
                <a:lnTo>
                  <a:pt x="295" y="1358"/>
                </a:lnTo>
                <a:lnTo>
                  <a:pt x="294" y="1359"/>
                </a:lnTo>
                <a:lnTo>
                  <a:pt x="290" y="1364"/>
                </a:lnTo>
                <a:lnTo>
                  <a:pt x="285" y="1368"/>
                </a:lnTo>
                <a:lnTo>
                  <a:pt x="282" y="1371"/>
                </a:lnTo>
                <a:lnTo>
                  <a:pt x="277" y="1373"/>
                </a:lnTo>
                <a:lnTo>
                  <a:pt x="273" y="1376"/>
                </a:lnTo>
                <a:lnTo>
                  <a:pt x="267" y="1377"/>
                </a:lnTo>
                <a:lnTo>
                  <a:pt x="261" y="1378"/>
                </a:lnTo>
                <a:lnTo>
                  <a:pt x="255" y="1378"/>
                </a:lnTo>
                <a:lnTo>
                  <a:pt x="247" y="1378"/>
                </a:lnTo>
                <a:lnTo>
                  <a:pt x="242" y="1380"/>
                </a:lnTo>
                <a:lnTo>
                  <a:pt x="241" y="1385"/>
                </a:lnTo>
                <a:lnTo>
                  <a:pt x="241" y="1394"/>
                </a:lnTo>
                <a:lnTo>
                  <a:pt x="241" y="1397"/>
                </a:lnTo>
                <a:lnTo>
                  <a:pt x="242" y="1399"/>
                </a:lnTo>
                <a:lnTo>
                  <a:pt x="246" y="1405"/>
                </a:lnTo>
                <a:lnTo>
                  <a:pt x="250" y="1408"/>
                </a:lnTo>
                <a:lnTo>
                  <a:pt x="256" y="1411"/>
                </a:lnTo>
                <a:lnTo>
                  <a:pt x="263" y="1411"/>
                </a:lnTo>
                <a:lnTo>
                  <a:pt x="273" y="1411"/>
                </a:lnTo>
                <a:lnTo>
                  <a:pt x="283" y="1411"/>
                </a:lnTo>
                <a:lnTo>
                  <a:pt x="300" y="1410"/>
                </a:lnTo>
                <a:lnTo>
                  <a:pt x="315" y="1408"/>
                </a:lnTo>
                <a:lnTo>
                  <a:pt x="331" y="1406"/>
                </a:lnTo>
                <a:lnTo>
                  <a:pt x="346" y="1403"/>
                </a:lnTo>
                <a:lnTo>
                  <a:pt x="349" y="1403"/>
                </a:lnTo>
                <a:lnTo>
                  <a:pt x="351" y="1403"/>
                </a:lnTo>
                <a:lnTo>
                  <a:pt x="363" y="1398"/>
                </a:lnTo>
                <a:lnTo>
                  <a:pt x="376" y="1394"/>
                </a:lnTo>
                <a:lnTo>
                  <a:pt x="387" y="1393"/>
                </a:lnTo>
                <a:lnTo>
                  <a:pt x="400" y="1392"/>
                </a:lnTo>
                <a:lnTo>
                  <a:pt x="406" y="1392"/>
                </a:lnTo>
                <a:lnTo>
                  <a:pt x="411" y="1391"/>
                </a:lnTo>
                <a:lnTo>
                  <a:pt x="416" y="1389"/>
                </a:lnTo>
                <a:lnTo>
                  <a:pt x="421" y="1386"/>
                </a:lnTo>
                <a:lnTo>
                  <a:pt x="404" y="1385"/>
                </a:lnTo>
                <a:lnTo>
                  <a:pt x="387" y="1386"/>
                </a:lnTo>
                <a:lnTo>
                  <a:pt x="370" y="1389"/>
                </a:lnTo>
                <a:lnTo>
                  <a:pt x="353" y="1393"/>
                </a:lnTo>
                <a:lnTo>
                  <a:pt x="350" y="1390"/>
                </a:lnTo>
                <a:lnTo>
                  <a:pt x="345" y="1387"/>
                </a:lnTo>
                <a:lnTo>
                  <a:pt x="344" y="1385"/>
                </a:lnTo>
                <a:lnTo>
                  <a:pt x="343" y="1384"/>
                </a:lnTo>
                <a:lnTo>
                  <a:pt x="342" y="1384"/>
                </a:lnTo>
                <a:lnTo>
                  <a:pt x="339" y="1385"/>
                </a:lnTo>
                <a:lnTo>
                  <a:pt x="336" y="1385"/>
                </a:lnTo>
                <a:lnTo>
                  <a:pt x="332" y="1385"/>
                </a:lnTo>
                <a:lnTo>
                  <a:pt x="328" y="1384"/>
                </a:lnTo>
                <a:lnTo>
                  <a:pt x="323" y="1383"/>
                </a:lnTo>
                <a:lnTo>
                  <a:pt x="329" y="1379"/>
                </a:lnTo>
                <a:lnTo>
                  <a:pt x="335" y="1377"/>
                </a:lnTo>
                <a:lnTo>
                  <a:pt x="340" y="1375"/>
                </a:lnTo>
                <a:lnTo>
                  <a:pt x="346" y="1376"/>
                </a:lnTo>
                <a:lnTo>
                  <a:pt x="359" y="1376"/>
                </a:lnTo>
                <a:lnTo>
                  <a:pt x="372" y="1375"/>
                </a:lnTo>
                <a:lnTo>
                  <a:pt x="370" y="1377"/>
                </a:lnTo>
                <a:lnTo>
                  <a:pt x="368" y="1378"/>
                </a:lnTo>
                <a:lnTo>
                  <a:pt x="378" y="1378"/>
                </a:lnTo>
                <a:lnTo>
                  <a:pt x="387" y="1378"/>
                </a:lnTo>
                <a:lnTo>
                  <a:pt x="394" y="1377"/>
                </a:lnTo>
                <a:lnTo>
                  <a:pt x="401" y="1377"/>
                </a:lnTo>
                <a:lnTo>
                  <a:pt x="408" y="1376"/>
                </a:lnTo>
                <a:lnTo>
                  <a:pt x="415" y="1373"/>
                </a:lnTo>
                <a:lnTo>
                  <a:pt x="422" y="1372"/>
                </a:lnTo>
                <a:lnTo>
                  <a:pt x="429" y="1370"/>
                </a:lnTo>
                <a:lnTo>
                  <a:pt x="435" y="1368"/>
                </a:lnTo>
                <a:lnTo>
                  <a:pt x="441" y="1364"/>
                </a:lnTo>
                <a:lnTo>
                  <a:pt x="441" y="1363"/>
                </a:lnTo>
                <a:lnTo>
                  <a:pt x="442" y="1363"/>
                </a:lnTo>
                <a:lnTo>
                  <a:pt x="443" y="1363"/>
                </a:lnTo>
                <a:lnTo>
                  <a:pt x="442" y="1362"/>
                </a:lnTo>
                <a:lnTo>
                  <a:pt x="441" y="1362"/>
                </a:lnTo>
                <a:lnTo>
                  <a:pt x="439" y="1362"/>
                </a:lnTo>
                <a:lnTo>
                  <a:pt x="440" y="1359"/>
                </a:lnTo>
                <a:lnTo>
                  <a:pt x="440" y="1357"/>
                </a:lnTo>
                <a:lnTo>
                  <a:pt x="437" y="1357"/>
                </a:lnTo>
                <a:lnTo>
                  <a:pt x="435" y="1358"/>
                </a:lnTo>
                <a:lnTo>
                  <a:pt x="430" y="1361"/>
                </a:lnTo>
                <a:lnTo>
                  <a:pt x="427" y="1361"/>
                </a:lnTo>
                <a:lnTo>
                  <a:pt x="426" y="1361"/>
                </a:lnTo>
                <a:lnTo>
                  <a:pt x="423" y="1358"/>
                </a:lnTo>
                <a:lnTo>
                  <a:pt x="422" y="1357"/>
                </a:lnTo>
                <a:lnTo>
                  <a:pt x="421" y="1354"/>
                </a:lnTo>
                <a:lnTo>
                  <a:pt x="421" y="1351"/>
                </a:lnTo>
                <a:lnTo>
                  <a:pt x="420" y="1349"/>
                </a:lnTo>
                <a:lnTo>
                  <a:pt x="419" y="1348"/>
                </a:lnTo>
                <a:lnTo>
                  <a:pt x="418" y="1348"/>
                </a:lnTo>
                <a:lnTo>
                  <a:pt x="415" y="1348"/>
                </a:lnTo>
                <a:lnTo>
                  <a:pt x="413" y="1349"/>
                </a:lnTo>
                <a:lnTo>
                  <a:pt x="412" y="1348"/>
                </a:lnTo>
                <a:lnTo>
                  <a:pt x="412" y="1345"/>
                </a:lnTo>
                <a:lnTo>
                  <a:pt x="414" y="1342"/>
                </a:lnTo>
                <a:lnTo>
                  <a:pt x="415" y="1338"/>
                </a:lnTo>
                <a:lnTo>
                  <a:pt x="416" y="1337"/>
                </a:lnTo>
                <a:lnTo>
                  <a:pt x="415" y="1335"/>
                </a:lnTo>
                <a:lnTo>
                  <a:pt x="414" y="1334"/>
                </a:lnTo>
                <a:lnTo>
                  <a:pt x="412" y="1333"/>
                </a:lnTo>
                <a:lnTo>
                  <a:pt x="411" y="1331"/>
                </a:lnTo>
                <a:lnTo>
                  <a:pt x="411" y="1331"/>
                </a:lnTo>
                <a:lnTo>
                  <a:pt x="411" y="1331"/>
                </a:lnTo>
                <a:lnTo>
                  <a:pt x="411" y="1331"/>
                </a:lnTo>
                <a:lnTo>
                  <a:pt x="412" y="1330"/>
                </a:lnTo>
                <a:lnTo>
                  <a:pt x="413" y="1330"/>
                </a:lnTo>
                <a:lnTo>
                  <a:pt x="419" y="1329"/>
                </a:lnTo>
                <a:lnTo>
                  <a:pt x="422" y="1327"/>
                </a:lnTo>
                <a:lnTo>
                  <a:pt x="425" y="1323"/>
                </a:lnTo>
                <a:lnTo>
                  <a:pt x="425" y="1319"/>
                </a:lnTo>
                <a:lnTo>
                  <a:pt x="425" y="1312"/>
                </a:lnTo>
                <a:lnTo>
                  <a:pt x="422" y="1307"/>
                </a:lnTo>
                <a:lnTo>
                  <a:pt x="419" y="1305"/>
                </a:lnTo>
                <a:lnTo>
                  <a:pt x="413" y="1303"/>
                </a:lnTo>
                <a:lnTo>
                  <a:pt x="411" y="1301"/>
                </a:lnTo>
                <a:lnTo>
                  <a:pt x="408" y="1299"/>
                </a:lnTo>
                <a:lnTo>
                  <a:pt x="412" y="1299"/>
                </a:lnTo>
                <a:lnTo>
                  <a:pt x="413" y="1298"/>
                </a:lnTo>
                <a:lnTo>
                  <a:pt x="414" y="1296"/>
                </a:lnTo>
                <a:lnTo>
                  <a:pt x="414" y="1295"/>
                </a:lnTo>
                <a:lnTo>
                  <a:pt x="414" y="1292"/>
                </a:lnTo>
                <a:lnTo>
                  <a:pt x="414" y="1288"/>
                </a:lnTo>
                <a:lnTo>
                  <a:pt x="418" y="1286"/>
                </a:lnTo>
                <a:lnTo>
                  <a:pt x="422" y="1285"/>
                </a:lnTo>
                <a:lnTo>
                  <a:pt x="427" y="1285"/>
                </a:lnTo>
                <a:lnTo>
                  <a:pt x="430" y="1284"/>
                </a:lnTo>
                <a:lnTo>
                  <a:pt x="425" y="1282"/>
                </a:lnTo>
                <a:lnTo>
                  <a:pt x="419" y="1280"/>
                </a:lnTo>
                <a:lnTo>
                  <a:pt x="415" y="1275"/>
                </a:lnTo>
                <a:lnTo>
                  <a:pt x="414" y="1271"/>
                </a:lnTo>
                <a:lnTo>
                  <a:pt x="413" y="1265"/>
                </a:lnTo>
                <a:lnTo>
                  <a:pt x="414" y="1259"/>
                </a:lnTo>
                <a:lnTo>
                  <a:pt x="416" y="1251"/>
                </a:lnTo>
                <a:lnTo>
                  <a:pt x="416" y="1243"/>
                </a:lnTo>
                <a:lnTo>
                  <a:pt x="415" y="1239"/>
                </a:lnTo>
                <a:lnTo>
                  <a:pt x="414" y="1236"/>
                </a:lnTo>
                <a:lnTo>
                  <a:pt x="412" y="1231"/>
                </a:lnTo>
                <a:lnTo>
                  <a:pt x="408" y="1229"/>
                </a:lnTo>
                <a:lnTo>
                  <a:pt x="408" y="1228"/>
                </a:lnTo>
                <a:lnTo>
                  <a:pt x="409" y="1226"/>
                </a:lnTo>
                <a:lnTo>
                  <a:pt x="407" y="1225"/>
                </a:lnTo>
                <a:lnTo>
                  <a:pt x="406" y="1224"/>
                </a:lnTo>
                <a:lnTo>
                  <a:pt x="407" y="1225"/>
                </a:lnTo>
                <a:lnTo>
                  <a:pt x="409" y="1226"/>
                </a:lnTo>
                <a:lnTo>
                  <a:pt x="412" y="1225"/>
                </a:lnTo>
                <a:lnTo>
                  <a:pt x="413" y="1225"/>
                </a:lnTo>
                <a:lnTo>
                  <a:pt x="414" y="1224"/>
                </a:lnTo>
                <a:lnTo>
                  <a:pt x="415" y="1223"/>
                </a:lnTo>
                <a:lnTo>
                  <a:pt x="415" y="1223"/>
                </a:lnTo>
                <a:lnTo>
                  <a:pt x="416" y="1222"/>
                </a:lnTo>
                <a:lnTo>
                  <a:pt x="419" y="1219"/>
                </a:lnTo>
                <a:lnTo>
                  <a:pt x="421" y="1216"/>
                </a:lnTo>
                <a:lnTo>
                  <a:pt x="422" y="1211"/>
                </a:lnTo>
                <a:lnTo>
                  <a:pt x="423" y="1207"/>
                </a:lnTo>
                <a:lnTo>
                  <a:pt x="425" y="1202"/>
                </a:lnTo>
                <a:lnTo>
                  <a:pt x="423" y="1197"/>
                </a:lnTo>
                <a:lnTo>
                  <a:pt x="423" y="1194"/>
                </a:lnTo>
                <a:lnTo>
                  <a:pt x="422" y="1190"/>
                </a:lnTo>
                <a:lnTo>
                  <a:pt x="420" y="1188"/>
                </a:lnTo>
                <a:lnTo>
                  <a:pt x="416" y="1188"/>
                </a:lnTo>
                <a:lnTo>
                  <a:pt x="416" y="1187"/>
                </a:lnTo>
                <a:lnTo>
                  <a:pt x="415" y="1187"/>
                </a:lnTo>
                <a:lnTo>
                  <a:pt x="415" y="1184"/>
                </a:lnTo>
                <a:lnTo>
                  <a:pt x="415" y="1182"/>
                </a:lnTo>
                <a:lnTo>
                  <a:pt x="415" y="1180"/>
                </a:lnTo>
                <a:lnTo>
                  <a:pt x="418" y="1179"/>
                </a:lnTo>
                <a:lnTo>
                  <a:pt x="421" y="1177"/>
                </a:lnTo>
                <a:lnTo>
                  <a:pt x="423" y="1176"/>
                </a:lnTo>
                <a:lnTo>
                  <a:pt x="425" y="1175"/>
                </a:lnTo>
                <a:lnTo>
                  <a:pt x="425" y="1173"/>
                </a:lnTo>
                <a:lnTo>
                  <a:pt x="423" y="1169"/>
                </a:lnTo>
                <a:lnTo>
                  <a:pt x="421" y="1166"/>
                </a:lnTo>
                <a:lnTo>
                  <a:pt x="420" y="1162"/>
                </a:lnTo>
                <a:lnTo>
                  <a:pt x="419" y="1159"/>
                </a:lnTo>
                <a:lnTo>
                  <a:pt x="418" y="1141"/>
                </a:lnTo>
                <a:lnTo>
                  <a:pt x="415" y="1124"/>
                </a:lnTo>
                <a:lnTo>
                  <a:pt x="414" y="1105"/>
                </a:lnTo>
                <a:lnTo>
                  <a:pt x="412" y="1087"/>
                </a:lnTo>
                <a:lnTo>
                  <a:pt x="412" y="1086"/>
                </a:lnTo>
                <a:lnTo>
                  <a:pt x="412" y="1085"/>
                </a:lnTo>
                <a:lnTo>
                  <a:pt x="409" y="1077"/>
                </a:lnTo>
                <a:lnTo>
                  <a:pt x="408" y="1069"/>
                </a:lnTo>
                <a:lnTo>
                  <a:pt x="407" y="1061"/>
                </a:lnTo>
                <a:lnTo>
                  <a:pt x="406" y="1052"/>
                </a:lnTo>
                <a:lnTo>
                  <a:pt x="402" y="1051"/>
                </a:lnTo>
                <a:lnTo>
                  <a:pt x="399" y="1049"/>
                </a:lnTo>
                <a:lnTo>
                  <a:pt x="402" y="1051"/>
                </a:lnTo>
                <a:lnTo>
                  <a:pt x="406" y="1052"/>
                </a:lnTo>
                <a:lnTo>
                  <a:pt x="406" y="1045"/>
                </a:lnTo>
                <a:lnTo>
                  <a:pt x="407" y="1040"/>
                </a:lnTo>
                <a:lnTo>
                  <a:pt x="408" y="1034"/>
                </a:lnTo>
                <a:lnTo>
                  <a:pt x="409" y="1028"/>
                </a:lnTo>
                <a:lnTo>
                  <a:pt x="413" y="1022"/>
                </a:lnTo>
                <a:lnTo>
                  <a:pt x="416" y="1019"/>
                </a:lnTo>
                <a:lnTo>
                  <a:pt x="402" y="1013"/>
                </a:lnTo>
                <a:lnTo>
                  <a:pt x="387" y="1008"/>
                </a:lnTo>
                <a:lnTo>
                  <a:pt x="373" y="1002"/>
                </a:lnTo>
                <a:lnTo>
                  <a:pt x="359" y="998"/>
                </a:lnTo>
                <a:lnTo>
                  <a:pt x="346" y="1013"/>
                </a:lnTo>
                <a:lnTo>
                  <a:pt x="335" y="1028"/>
                </a:lnTo>
                <a:lnTo>
                  <a:pt x="346" y="1013"/>
                </a:lnTo>
                <a:lnTo>
                  <a:pt x="359" y="998"/>
                </a:lnTo>
                <a:lnTo>
                  <a:pt x="373" y="1002"/>
                </a:lnTo>
                <a:lnTo>
                  <a:pt x="387" y="1008"/>
                </a:lnTo>
                <a:lnTo>
                  <a:pt x="402" y="1013"/>
                </a:lnTo>
                <a:lnTo>
                  <a:pt x="416" y="1019"/>
                </a:lnTo>
                <a:lnTo>
                  <a:pt x="422" y="1014"/>
                </a:lnTo>
                <a:lnTo>
                  <a:pt x="429" y="1012"/>
                </a:lnTo>
                <a:lnTo>
                  <a:pt x="437" y="1009"/>
                </a:lnTo>
                <a:lnTo>
                  <a:pt x="446" y="1008"/>
                </a:lnTo>
                <a:lnTo>
                  <a:pt x="462" y="1008"/>
                </a:lnTo>
                <a:lnTo>
                  <a:pt x="477" y="1009"/>
                </a:lnTo>
                <a:lnTo>
                  <a:pt x="491" y="1010"/>
                </a:lnTo>
                <a:lnTo>
                  <a:pt x="503" y="1012"/>
                </a:lnTo>
                <a:lnTo>
                  <a:pt x="509" y="1014"/>
                </a:lnTo>
                <a:lnTo>
                  <a:pt x="513" y="1015"/>
                </a:lnTo>
                <a:lnTo>
                  <a:pt x="519" y="1019"/>
                </a:lnTo>
                <a:lnTo>
                  <a:pt x="524" y="1021"/>
                </a:lnTo>
                <a:lnTo>
                  <a:pt x="517" y="1010"/>
                </a:lnTo>
                <a:lnTo>
                  <a:pt x="512" y="999"/>
                </a:lnTo>
                <a:lnTo>
                  <a:pt x="517" y="1010"/>
                </a:lnTo>
                <a:lnTo>
                  <a:pt x="524" y="1021"/>
                </a:lnTo>
                <a:lnTo>
                  <a:pt x="528" y="1024"/>
                </a:lnTo>
                <a:lnTo>
                  <a:pt x="531" y="1029"/>
                </a:lnTo>
                <a:lnTo>
                  <a:pt x="535" y="1034"/>
                </a:lnTo>
                <a:lnTo>
                  <a:pt x="537" y="1040"/>
                </a:lnTo>
                <a:lnTo>
                  <a:pt x="542" y="1049"/>
                </a:lnTo>
                <a:lnTo>
                  <a:pt x="547" y="1058"/>
                </a:lnTo>
                <a:lnTo>
                  <a:pt x="553" y="1068"/>
                </a:lnTo>
                <a:lnTo>
                  <a:pt x="560" y="1077"/>
                </a:lnTo>
                <a:lnTo>
                  <a:pt x="565" y="1083"/>
                </a:lnTo>
                <a:lnTo>
                  <a:pt x="571" y="1091"/>
                </a:lnTo>
                <a:lnTo>
                  <a:pt x="575" y="1098"/>
                </a:lnTo>
                <a:lnTo>
                  <a:pt x="579" y="1105"/>
                </a:lnTo>
                <a:lnTo>
                  <a:pt x="580" y="1107"/>
                </a:lnTo>
                <a:lnTo>
                  <a:pt x="581" y="1109"/>
                </a:lnTo>
                <a:lnTo>
                  <a:pt x="587" y="1120"/>
                </a:lnTo>
                <a:lnTo>
                  <a:pt x="592" y="1131"/>
                </a:lnTo>
                <a:lnTo>
                  <a:pt x="597" y="1142"/>
                </a:lnTo>
                <a:lnTo>
                  <a:pt x="602" y="1154"/>
                </a:lnTo>
                <a:lnTo>
                  <a:pt x="604" y="1159"/>
                </a:lnTo>
                <a:lnTo>
                  <a:pt x="606" y="1165"/>
                </a:lnTo>
                <a:lnTo>
                  <a:pt x="609" y="1170"/>
                </a:lnTo>
                <a:lnTo>
                  <a:pt x="613" y="1175"/>
                </a:lnTo>
                <a:lnTo>
                  <a:pt x="613" y="1175"/>
                </a:lnTo>
                <a:lnTo>
                  <a:pt x="613" y="1176"/>
                </a:lnTo>
                <a:lnTo>
                  <a:pt x="614" y="1181"/>
                </a:lnTo>
                <a:lnTo>
                  <a:pt x="618" y="1184"/>
                </a:lnTo>
                <a:lnTo>
                  <a:pt x="618" y="1184"/>
                </a:lnTo>
                <a:lnTo>
                  <a:pt x="618" y="1188"/>
                </a:lnTo>
                <a:lnTo>
                  <a:pt x="619" y="1190"/>
                </a:lnTo>
                <a:lnTo>
                  <a:pt x="621" y="1193"/>
                </a:lnTo>
                <a:lnTo>
                  <a:pt x="622" y="1194"/>
                </a:lnTo>
                <a:lnTo>
                  <a:pt x="622" y="1194"/>
                </a:lnTo>
                <a:lnTo>
                  <a:pt x="629" y="1207"/>
                </a:lnTo>
                <a:lnTo>
                  <a:pt x="636" y="1219"/>
                </a:lnTo>
                <a:lnTo>
                  <a:pt x="642" y="1231"/>
                </a:lnTo>
                <a:lnTo>
                  <a:pt x="649" y="1242"/>
                </a:lnTo>
                <a:lnTo>
                  <a:pt x="655" y="1253"/>
                </a:lnTo>
                <a:lnTo>
                  <a:pt x="661" y="1265"/>
                </a:lnTo>
                <a:lnTo>
                  <a:pt x="661" y="1266"/>
                </a:lnTo>
                <a:lnTo>
                  <a:pt x="662" y="1266"/>
                </a:lnTo>
                <a:lnTo>
                  <a:pt x="662" y="1266"/>
                </a:lnTo>
                <a:lnTo>
                  <a:pt x="664" y="1272"/>
                </a:lnTo>
                <a:lnTo>
                  <a:pt x="667" y="1277"/>
                </a:lnTo>
                <a:lnTo>
                  <a:pt x="674" y="1289"/>
                </a:lnTo>
                <a:lnTo>
                  <a:pt x="680" y="1303"/>
                </a:lnTo>
                <a:lnTo>
                  <a:pt x="684" y="1317"/>
                </a:lnTo>
                <a:lnTo>
                  <a:pt x="687" y="1331"/>
                </a:lnTo>
                <a:lnTo>
                  <a:pt x="688" y="1331"/>
                </a:lnTo>
                <a:lnTo>
                  <a:pt x="688" y="1331"/>
                </a:lnTo>
                <a:lnTo>
                  <a:pt x="688" y="1331"/>
                </a:lnTo>
                <a:lnTo>
                  <a:pt x="687" y="1331"/>
                </a:lnTo>
                <a:lnTo>
                  <a:pt x="684" y="1334"/>
                </a:lnTo>
                <a:lnTo>
                  <a:pt x="681" y="1336"/>
                </a:lnTo>
                <a:lnTo>
                  <a:pt x="677" y="1342"/>
                </a:lnTo>
                <a:lnTo>
                  <a:pt x="675" y="1347"/>
                </a:lnTo>
                <a:lnTo>
                  <a:pt x="675" y="1350"/>
                </a:lnTo>
                <a:lnTo>
                  <a:pt x="675" y="1352"/>
                </a:lnTo>
                <a:lnTo>
                  <a:pt x="676" y="1356"/>
                </a:lnTo>
                <a:lnTo>
                  <a:pt x="678" y="1359"/>
                </a:lnTo>
                <a:lnTo>
                  <a:pt x="680" y="1361"/>
                </a:lnTo>
                <a:lnTo>
                  <a:pt x="678" y="1363"/>
                </a:lnTo>
                <a:lnTo>
                  <a:pt x="677" y="1363"/>
                </a:lnTo>
                <a:lnTo>
                  <a:pt x="675" y="1363"/>
                </a:lnTo>
                <a:lnTo>
                  <a:pt x="667" y="1359"/>
                </a:lnTo>
                <a:lnTo>
                  <a:pt x="660" y="1358"/>
                </a:lnTo>
                <a:lnTo>
                  <a:pt x="657" y="1358"/>
                </a:lnTo>
                <a:lnTo>
                  <a:pt x="655" y="1359"/>
                </a:lnTo>
                <a:lnTo>
                  <a:pt x="654" y="1361"/>
                </a:lnTo>
                <a:lnTo>
                  <a:pt x="653" y="1362"/>
                </a:lnTo>
                <a:lnTo>
                  <a:pt x="653" y="1365"/>
                </a:lnTo>
                <a:lnTo>
                  <a:pt x="654" y="1366"/>
                </a:lnTo>
                <a:lnTo>
                  <a:pt x="656" y="1366"/>
                </a:lnTo>
                <a:lnTo>
                  <a:pt x="658" y="1366"/>
                </a:lnTo>
                <a:lnTo>
                  <a:pt x="658" y="1368"/>
                </a:lnTo>
                <a:lnTo>
                  <a:pt x="658" y="1366"/>
                </a:lnTo>
                <a:lnTo>
                  <a:pt x="658" y="1366"/>
                </a:lnTo>
                <a:lnTo>
                  <a:pt x="661" y="1368"/>
                </a:lnTo>
                <a:lnTo>
                  <a:pt x="663" y="1368"/>
                </a:lnTo>
                <a:lnTo>
                  <a:pt x="673" y="1369"/>
                </a:lnTo>
                <a:lnTo>
                  <a:pt x="682" y="1371"/>
                </a:lnTo>
                <a:lnTo>
                  <a:pt x="683" y="1373"/>
                </a:lnTo>
                <a:lnTo>
                  <a:pt x="683" y="1376"/>
                </a:lnTo>
                <a:lnTo>
                  <a:pt x="684" y="1382"/>
                </a:lnTo>
                <a:lnTo>
                  <a:pt x="688" y="1389"/>
                </a:lnTo>
                <a:lnTo>
                  <a:pt x="690" y="1391"/>
                </a:lnTo>
                <a:lnTo>
                  <a:pt x="692" y="1391"/>
                </a:lnTo>
                <a:lnTo>
                  <a:pt x="697" y="1392"/>
                </a:lnTo>
                <a:lnTo>
                  <a:pt x="699" y="1394"/>
                </a:lnTo>
                <a:lnTo>
                  <a:pt x="701" y="1398"/>
                </a:lnTo>
                <a:lnTo>
                  <a:pt x="701" y="1403"/>
                </a:lnTo>
                <a:lnTo>
                  <a:pt x="696" y="1404"/>
                </a:lnTo>
                <a:lnTo>
                  <a:pt x="690" y="1404"/>
                </a:lnTo>
                <a:lnTo>
                  <a:pt x="689" y="1405"/>
                </a:lnTo>
                <a:lnTo>
                  <a:pt x="687" y="1406"/>
                </a:lnTo>
                <a:lnTo>
                  <a:pt x="685" y="1407"/>
                </a:lnTo>
                <a:lnTo>
                  <a:pt x="684" y="1411"/>
                </a:lnTo>
                <a:lnTo>
                  <a:pt x="690" y="1411"/>
                </a:lnTo>
                <a:lnTo>
                  <a:pt x="697" y="1411"/>
                </a:lnTo>
                <a:lnTo>
                  <a:pt x="703" y="1411"/>
                </a:lnTo>
                <a:lnTo>
                  <a:pt x="709" y="1412"/>
                </a:lnTo>
                <a:lnTo>
                  <a:pt x="715" y="1413"/>
                </a:lnTo>
                <a:lnTo>
                  <a:pt x="720" y="1414"/>
                </a:lnTo>
                <a:lnTo>
                  <a:pt x="715" y="1413"/>
                </a:lnTo>
                <a:lnTo>
                  <a:pt x="709" y="1412"/>
                </a:lnTo>
                <a:lnTo>
                  <a:pt x="703" y="1411"/>
                </a:lnTo>
                <a:lnTo>
                  <a:pt x="697" y="1411"/>
                </a:lnTo>
                <a:lnTo>
                  <a:pt x="690" y="1411"/>
                </a:lnTo>
                <a:lnTo>
                  <a:pt x="684" y="1411"/>
                </a:lnTo>
                <a:lnTo>
                  <a:pt x="680" y="1417"/>
                </a:lnTo>
                <a:lnTo>
                  <a:pt x="675" y="1421"/>
                </a:lnTo>
                <a:lnTo>
                  <a:pt x="671" y="1425"/>
                </a:lnTo>
                <a:lnTo>
                  <a:pt x="670" y="1428"/>
                </a:lnTo>
                <a:lnTo>
                  <a:pt x="669" y="1429"/>
                </a:lnTo>
                <a:lnTo>
                  <a:pt x="668" y="1431"/>
                </a:lnTo>
                <a:lnTo>
                  <a:pt x="664" y="1433"/>
                </a:lnTo>
                <a:lnTo>
                  <a:pt x="662" y="1436"/>
                </a:lnTo>
                <a:lnTo>
                  <a:pt x="661" y="1440"/>
                </a:lnTo>
                <a:lnTo>
                  <a:pt x="660" y="1445"/>
                </a:lnTo>
                <a:lnTo>
                  <a:pt x="657" y="1445"/>
                </a:lnTo>
                <a:lnTo>
                  <a:pt x="656" y="1446"/>
                </a:lnTo>
                <a:lnTo>
                  <a:pt x="650" y="1454"/>
                </a:lnTo>
                <a:lnTo>
                  <a:pt x="644" y="1462"/>
                </a:lnTo>
                <a:lnTo>
                  <a:pt x="647" y="1462"/>
                </a:lnTo>
                <a:lnTo>
                  <a:pt x="649" y="1462"/>
                </a:lnTo>
                <a:lnTo>
                  <a:pt x="649" y="1464"/>
                </a:lnTo>
                <a:lnTo>
                  <a:pt x="650" y="1466"/>
                </a:lnTo>
                <a:lnTo>
                  <a:pt x="651" y="1467"/>
                </a:lnTo>
                <a:lnTo>
                  <a:pt x="654" y="1468"/>
                </a:lnTo>
                <a:lnTo>
                  <a:pt x="654" y="1470"/>
                </a:lnTo>
                <a:lnTo>
                  <a:pt x="654" y="1471"/>
                </a:lnTo>
                <a:lnTo>
                  <a:pt x="653" y="1474"/>
                </a:lnTo>
                <a:lnTo>
                  <a:pt x="650" y="1473"/>
                </a:lnTo>
                <a:lnTo>
                  <a:pt x="647" y="1471"/>
                </a:lnTo>
                <a:lnTo>
                  <a:pt x="643" y="1471"/>
                </a:lnTo>
                <a:lnTo>
                  <a:pt x="640" y="1474"/>
                </a:lnTo>
                <a:lnTo>
                  <a:pt x="637" y="1476"/>
                </a:lnTo>
                <a:lnTo>
                  <a:pt x="632" y="1480"/>
                </a:lnTo>
                <a:lnTo>
                  <a:pt x="626" y="1483"/>
                </a:lnTo>
                <a:lnTo>
                  <a:pt x="620" y="1483"/>
                </a:lnTo>
                <a:lnTo>
                  <a:pt x="615" y="1485"/>
                </a:lnTo>
                <a:lnTo>
                  <a:pt x="612" y="1488"/>
                </a:lnTo>
                <a:lnTo>
                  <a:pt x="608" y="1490"/>
                </a:lnTo>
                <a:lnTo>
                  <a:pt x="605" y="1495"/>
                </a:lnTo>
                <a:lnTo>
                  <a:pt x="602" y="1498"/>
                </a:lnTo>
                <a:lnTo>
                  <a:pt x="601" y="1504"/>
                </a:lnTo>
                <a:lnTo>
                  <a:pt x="600" y="1509"/>
                </a:lnTo>
                <a:lnTo>
                  <a:pt x="600" y="1510"/>
                </a:lnTo>
                <a:lnTo>
                  <a:pt x="600" y="1510"/>
                </a:lnTo>
                <a:lnTo>
                  <a:pt x="605" y="1512"/>
                </a:lnTo>
                <a:lnTo>
                  <a:pt x="609" y="1513"/>
                </a:lnTo>
                <a:lnTo>
                  <a:pt x="605" y="1512"/>
                </a:lnTo>
                <a:lnTo>
                  <a:pt x="600" y="1510"/>
                </a:lnTo>
                <a:lnTo>
                  <a:pt x="599" y="1511"/>
                </a:lnTo>
                <a:lnTo>
                  <a:pt x="599" y="1511"/>
                </a:lnTo>
                <a:lnTo>
                  <a:pt x="598" y="1511"/>
                </a:lnTo>
                <a:lnTo>
                  <a:pt x="599" y="1512"/>
                </a:lnTo>
                <a:lnTo>
                  <a:pt x="599" y="1516"/>
                </a:lnTo>
                <a:lnTo>
                  <a:pt x="600" y="1518"/>
                </a:lnTo>
                <a:lnTo>
                  <a:pt x="595" y="1520"/>
                </a:lnTo>
                <a:lnTo>
                  <a:pt x="591" y="1522"/>
                </a:lnTo>
                <a:lnTo>
                  <a:pt x="588" y="1523"/>
                </a:lnTo>
                <a:lnTo>
                  <a:pt x="587" y="1525"/>
                </a:lnTo>
                <a:lnTo>
                  <a:pt x="587" y="1527"/>
                </a:lnTo>
                <a:lnTo>
                  <a:pt x="588" y="1527"/>
                </a:lnTo>
                <a:lnTo>
                  <a:pt x="595" y="1529"/>
                </a:lnTo>
                <a:lnTo>
                  <a:pt x="602" y="1531"/>
                </a:lnTo>
                <a:lnTo>
                  <a:pt x="609" y="1532"/>
                </a:lnTo>
                <a:lnTo>
                  <a:pt x="616" y="1531"/>
                </a:lnTo>
                <a:lnTo>
                  <a:pt x="618" y="1531"/>
                </a:lnTo>
                <a:lnTo>
                  <a:pt x="619" y="1532"/>
                </a:lnTo>
                <a:lnTo>
                  <a:pt x="628" y="1533"/>
                </a:lnTo>
                <a:lnTo>
                  <a:pt x="636" y="1534"/>
                </a:lnTo>
                <a:lnTo>
                  <a:pt x="644" y="1533"/>
                </a:lnTo>
                <a:lnTo>
                  <a:pt x="653" y="1532"/>
                </a:lnTo>
                <a:lnTo>
                  <a:pt x="655" y="1532"/>
                </a:lnTo>
                <a:lnTo>
                  <a:pt x="656" y="1532"/>
                </a:lnTo>
                <a:lnTo>
                  <a:pt x="662" y="1533"/>
                </a:lnTo>
                <a:lnTo>
                  <a:pt x="668" y="1533"/>
                </a:lnTo>
                <a:lnTo>
                  <a:pt x="674" y="1532"/>
                </a:lnTo>
                <a:lnTo>
                  <a:pt x="680" y="1531"/>
                </a:lnTo>
                <a:lnTo>
                  <a:pt x="681" y="1531"/>
                </a:lnTo>
                <a:lnTo>
                  <a:pt x="682" y="1531"/>
                </a:lnTo>
                <a:lnTo>
                  <a:pt x="684" y="1532"/>
                </a:lnTo>
                <a:lnTo>
                  <a:pt x="685" y="1534"/>
                </a:lnTo>
                <a:lnTo>
                  <a:pt x="687" y="1534"/>
                </a:lnTo>
                <a:lnTo>
                  <a:pt x="689" y="1534"/>
                </a:lnTo>
                <a:lnTo>
                  <a:pt x="691" y="1532"/>
                </a:lnTo>
                <a:lnTo>
                  <a:pt x="695" y="1531"/>
                </a:lnTo>
                <a:lnTo>
                  <a:pt x="704" y="1530"/>
                </a:lnTo>
                <a:lnTo>
                  <a:pt x="715" y="1529"/>
                </a:lnTo>
                <a:lnTo>
                  <a:pt x="724" y="1527"/>
                </a:lnTo>
                <a:lnTo>
                  <a:pt x="733" y="1524"/>
                </a:lnTo>
                <a:lnTo>
                  <a:pt x="747" y="1519"/>
                </a:lnTo>
                <a:lnTo>
                  <a:pt x="761" y="1515"/>
                </a:lnTo>
                <a:lnTo>
                  <a:pt x="775" y="1511"/>
                </a:lnTo>
                <a:lnTo>
                  <a:pt x="791" y="1506"/>
                </a:lnTo>
                <a:lnTo>
                  <a:pt x="802" y="1504"/>
                </a:lnTo>
                <a:lnTo>
                  <a:pt x="813" y="1502"/>
                </a:lnTo>
                <a:lnTo>
                  <a:pt x="816" y="1499"/>
                </a:lnTo>
                <a:lnTo>
                  <a:pt x="818" y="1497"/>
                </a:lnTo>
                <a:lnTo>
                  <a:pt x="818" y="1495"/>
                </a:lnTo>
                <a:lnTo>
                  <a:pt x="816" y="1494"/>
                </a:lnTo>
                <a:lnTo>
                  <a:pt x="814" y="1494"/>
                </a:lnTo>
                <a:lnTo>
                  <a:pt x="813" y="1494"/>
                </a:lnTo>
                <a:lnTo>
                  <a:pt x="799" y="1490"/>
                </a:lnTo>
                <a:lnTo>
                  <a:pt x="785" y="1488"/>
                </a:lnTo>
                <a:lnTo>
                  <a:pt x="781" y="1489"/>
                </a:lnTo>
                <a:lnTo>
                  <a:pt x="778" y="1489"/>
                </a:lnTo>
                <a:lnTo>
                  <a:pt x="774" y="1488"/>
                </a:lnTo>
                <a:lnTo>
                  <a:pt x="772" y="1487"/>
                </a:lnTo>
                <a:lnTo>
                  <a:pt x="787" y="1483"/>
                </a:lnTo>
                <a:lnTo>
                  <a:pt x="804" y="1478"/>
                </a:lnTo>
                <a:lnTo>
                  <a:pt x="819" y="1473"/>
                </a:lnTo>
                <a:lnTo>
                  <a:pt x="833" y="1464"/>
                </a:lnTo>
                <a:lnTo>
                  <a:pt x="835" y="1463"/>
                </a:lnTo>
                <a:lnTo>
                  <a:pt x="837" y="1461"/>
                </a:lnTo>
                <a:lnTo>
                  <a:pt x="839" y="1459"/>
                </a:lnTo>
                <a:lnTo>
                  <a:pt x="839" y="1455"/>
                </a:lnTo>
                <a:lnTo>
                  <a:pt x="837" y="1450"/>
                </a:lnTo>
                <a:lnTo>
                  <a:pt x="835" y="1447"/>
                </a:lnTo>
                <a:lnTo>
                  <a:pt x="832" y="1446"/>
                </a:lnTo>
                <a:lnTo>
                  <a:pt x="827" y="1445"/>
                </a:lnTo>
                <a:lnTo>
                  <a:pt x="819" y="1443"/>
                </a:lnTo>
                <a:lnTo>
                  <a:pt x="812" y="1442"/>
                </a:lnTo>
                <a:lnTo>
                  <a:pt x="807" y="1442"/>
                </a:lnTo>
                <a:lnTo>
                  <a:pt x="804" y="1440"/>
                </a:lnTo>
                <a:lnTo>
                  <a:pt x="800" y="1439"/>
                </a:lnTo>
                <a:lnTo>
                  <a:pt x="796" y="1435"/>
                </a:lnTo>
                <a:lnTo>
                  <a:pt x="795" y="1434"/>
                </a:lnTo>
                <a:lnTo>
                  <a:pt x="793" y="1434"/>
                </a:lnTo>
                <a:lnTo>
                  <a:pt x="791" y="1435"/>
                </a:lnTo>
                <a:lnTo>
                  <a:pt x="789" y="1436"/>
                </a:lnTo>
                <a:lnTo>
                  <a:pt x="782" y="1446"/>
                </a:lnTo>
                <a:lnTo>
                  <a:pt x="774" y="1454"/>
                </a:lnTo>
                <a:lnTo>
                  <a:pt x="767" y="1469"/>
                </a:lnTo>
                <a:lnTo>
                  <a:pt x="760" y="1485"/>
                </a:lnTo>
                <a:lnTo>
                  <a:pt x="760" y="1485"/>
                </a:lnTo>
                <a:lnTo>
                  <a:pt x="760" y="1485"/>
                </a:lnTo>
                <a:lnTo>
                  <a:pt x="760" y="1490"/>
                </a:lnTo>
                <a:lnTo>
                  <a:pt x="759" y="1491"/>
                </a:lnTo>
                <a:lnTo>
                  <a:pt x="757" y="1491"/>
                </a:lnTo>
                <a:lnTo>
                  <a:pt x="754" y="1491"/>
                </a:lnTo>
                <a:lnTo>
                  <a:pt x="749" y="1490"/>
                </a:lnTo>
                <a:lnTo>
                  <a:pt x="742" y="1488"/>
                </a:lnTo>
                <a:lnTo>
                  <a:pt x="746" y="1485"/>
                </a:lnTo>
                <a:lnTo>
                  <a:pt x="749" y="1483"/>
                </a:lnTo>
                <a:lnTo>
                  <a:pt x="750" y="1481"/>
                </a:lnTo>
                <a:lnTo>
                  <a:pt x="751" y="1477"/>
                </a:lnTo>
                <a:lnTo>
                  <a:pt x="745" y="1480"/>
                </a:lnTo>
                <a:lnTo>
                  <a:pt x="739" y="1482"/>
                </a:lnTo>
                <a:lnTo>
                  <a:pt x="737" y="1483"/>
                </a:lnTo>
                <a:lnTo>
                  <a:pt x="735" y="1482"/>
                </a:lnTo>
                <a:lnTo>
                  <a:pt x="735" y="1480"/>
                </a:lnTo>
                <a:lnTo>
                  <a:pt x="736" y="1477"/>
                </a:lnTo>
                <a:lnTo>
                  <a:pt x="739" y="1471"/>
                </a:lnTo>
                <a:lnTo>
                  <a:pt x="739" y="1464"/>
                </a:lnTo>
                <a:lnTo>
                  <a:pt x="745" y="1463"/>
                </a:lnTo>
                <a:lnTo>
                  <a:pt x="750" y="1462"/>
                </a:lnTo>
                <a:lnTo>
                  <a:pt x="753" y="1461"/>
                </a:lnTo>
                <a:lnTo>
                  <a:pt x="757" y="1459"/>
                </a:lnTo>
                <a:lnTo>
                  <a:pt x="759" y="1456"/>
                </a:lnTo>
                <a:lnTo>
                  <a:pt x="760" y="1452"/>
                </a:lnTo>
                <a:lnTo>
                  <a:pt x="764" y="1453"/>
                </a:lnTo>
                <a:lnTo>
                  <a:pt x="768" y="1454"/>
                </a:lnTo>
                <a:lnTo>
                  <a:pt x="770" y="1454"/>
                </a:lnTo>
                <a:lnTo>
                  <a:pt x="771" y="1453"/>
                </a:lnTo>
                <a:lnTo>
                  <a:pt x="771" y="1449"/>
                </a:lnTo>
                <a:lnTo>
                  <a:pt x="771" y="1446"/>
                </a:lnTo>
                <a:lnTo>
                  <a:pt x="773" y="1445"/>
                </a:lnTo>
                <a:lnTo>
                  <a:pt x="774" y="1443"/>
                </a:lnTo>
                <a:lnTo>
                  <a:pt x="775" y="1441"/>
                </a:lnTo>
                <a:lnTo>
                  <a:pt x="775" y="1440"/>
                </a:lnTo>
                <a:lnTo>
                  <a:pt x="773" y="1436"/>
                </a:lnTo>
                <a:lnTo>
                  <a:pt x="771" y="1434"/>
                </a:lnTo>
                <a:lnTo>
                  <a:pt x="770" y="1432"/>
                </a:lnTo>
                <a:lnTo>
                  <a:pt x="771" y="1431"/>
                </a:lnTo>
                <a:lnTo>
                  <a:pt x="775" y="1419"/>
                </a:lnTo>
                <a:lnTo>
                  <a:pt x="780" y="1408"/>
                </a:lnTo>
                <a:lnTo>
                  <a:pt x="782" y="1404"/>
                </a:lnTo>
                <a:lnTo>
                  <a:pt x="782" y="1399"/>
                </a:lnTo>
                <a:lnTo>
                  <a:pt x="782" y="1393"/>
                </a:lnTo>
                <a:lnTo>
                  <a:pt x="782" y="1389"/>
                </a:lnTo>
                <a:lnTo>
                  <a:pt x="789" y="1393"/>
                </a:lnTo>
                <a:lnTo>
                  <a:pt x="795" y="1398"/>
                </a:lnTo>
                <a:lnTo>
                  <a:pt x="798" y="1401"/>
                </a:lnTo>
                <a:lnTo>
                  <a:pt x="799" y="1405"/>
                </a:lnTo>
                <a:lnTo>
                  <a:pt x="800" y="1408"/>
                </a:lnTo>
                <a:lnTo>
                  <a:pt x="800" y="1413"/>
                </a:lnTo>
                <a:lnTo>
                  <a:pt x="801" y="1417"/>
                </a:lnTo>
                <a:lnTo>
                  <a:pt x="805" y="1419"/>
                </a:lnTo>
                <a:lnTo>
                  <a:pt x="808" y="1419"/>
                </a:lnTo>
                <a:lnTo>
                  <a:pt x="812" y="1418"/>
                </a:lnTo>
                <a:lnTo>
                  <a:pt x="816" y="1421"/>
                </a:lnTo>
                <a:lnTo>
                  <a:pt x="822" y="1424"/>
                </a:lnTo>
                <a:lnTo>
                  <a:pt x="822" y="1426"/>
                </a:lnTo>
                <a:lnTo>
                  <a:pt x="823" y="1428"/>
                </a:lnTo>
                <a:lnTo>
                  <a:pt x="825" y="1429"/>
                </a:lnTo>
                <a:lnTo>
                  <a:pt x="826" y="1429"/>
                </a:lnTo>
                <a:lnTo>
                  <a:pt x="829" y="1431"/>
                </a:lnTo>
                <a:lnTo>
                  <a:pt x="833" y="1431"/>
                </a:lnTo>
                <a:lnTo>
                  <a:pt x="869" y="1431"/>
                </a:lnTo>
                <a:lnTo>
                  <a:pt x="906" y="1429"/>
                </a:lnTo>
                <a:lnTo>
                  <a:pt x="943" y="1427"/>
                </a:lnTo>
                <a:lnTo>
                  <a:pt x="980" y="1424"/>
                </a:lnTo>
                <a:lnTo>
                  <a:pt x="984" y="1422"/>
                </a:lnTo>
                <a:lnTo>
                  <a:pt x="988" y="1420"/>
                </a:lnTo>
                <a:lnTo>
                  <a:pt x="988" y="1419"/>
                </a:lnTo>
                <a:lnTo>
                  <a:pt x="989" y="1418"/>
                </a:lnTo>
                <a:lnTo>
                  <a:pt x="988" y="1419"/>
                </a:lnTo>
                <a:lnTo>
                  <a:pt x="988" y="1420"/>
                </a:lnTo>
                <a:lnTo>
                  <a:pt x="992" y="1418"/>
                </a:lnTo>
                <a:lnTo>
                  <a:pt x="995" y="1415"/>
                </a:lnTo>
                <a:lnTo>
                  <a:pt x="998" y="1412"/>
                </a:lnTo>
                <a:lnTo>
                  <a:pt x="1000" y="1408"/>
                </a:lnTo>
                <a:lnTo>
                  <a:pt x="1001" y="1406"/>
                </a:lnTo>
                <a:lnTo>
                  <a:pt x="1001" y="1405"/>
                </a:lnTo>
                <a:lnTo>
                  <a:pt x="1000" y="1404"/>
                </a:lnTo>
                <a:lnTo>
                  <a:pt x="998" y="1404"/>
                </a:lnTo>
                <a:lnTo>
                  <a:pt x="994" y="1405"/>
                </a:lnTo>
                <a:lnTo>
                  <a:pt x="991" y="1404"/>
                </a:lnTo>
                <a:lnTo>
                  <a:pt x="994" y="1400"/>
                </a:lnTo>
                <a:lnTo>
                  <a:pt x="998" y="1397"/>
                </a:lnTo>
                <a:lnTo>
                  <a:pt x="1000" y="1393"/>
                </a:lnTo>
                <a:lnTo>
                  <a:pt x="1000" y="1391"/>
                </a:lnTo>
                <a:lnTo>
                  <a:pt x="1000" y="1387"/>
                </a:lnTo>
                <a:lnTo>
                  <a:pt x="999" y="1384"/>
                </a:lnTo>
                <a:lnTo>
                  <a:pt x="996" y="1380"/>
                </a:lnTo>
                <a:lnTo>
                  <a:pt x="993" y="1377"/>
                </a:lnTo>
                <a:lnTo>
                  <a:pt x="992" y="1377"/>
                </a:lnTo>
                <a:lnTo>
                  <a:pt x="992" y="1376"/>
                </a:lnTo>
                <a:lnTo>
                  <a:pt x="992" y="1375"/>
                </a:lnTo>
                <a:lnTo>
                  <a:pt x="993" y="1373"/>
                </a:lnTo>
                <a:lnTo>
                  <a:pt x="994" y="1370"/>
                </a:lnTo>
                <a:lnTo>
                  <a:pt x="995" y="1365"/>
                </a:lnTo>
                <a:lnTo>
                  <a:pt x="995" y="1361"/>
                </a:lnTo>
                <a:lnTo>
                  <a:pt x="994" y="1359"/>
                </a:lnTo>
                <a:lnTo>
                  <a:pt x="984" y="1351"/>
                </a:lnTo>
                <a:lnTo>
                  <a:pt x="973" y="1343"/>
                </a:lnTo>
                <a:lnTo>
                  <a:pt x="972" y="1343"/>
                </a:lnTo>
                <a:lnTo>
                  <a:pt x="971" y="1344"/>
                </a:lnTo>
                <a:lnTo>
                  <a:pt x="970" y="1345"/>
                </a:lnTo>
                <a:lnTo>
                  <a:pt x="968" y="1347"/>
                </a:lnTo>
                <a:lnTo>
                  <a:pt x="965" y="1349"/>
                </a:lnTo>
                <a:lnTo>
                  <a:pt x="960" y="1351"/>
                </a:lnTo>
                <a:lnTo>
                  <a:pt x="959" y="1348"/>
                </a:lnTo>
                <a:lnTo>
                  <a:pt x="959" y="1343"/>
                </a:lnTo>
                <a:lnTo>
                  <a:pt x="958" y="1338"/>
                </a:lnTo>
                <a:lnTo>
                  <a:pt x="958" y="1334"/>
                </a:lnTo>
                <a:lnTo>
                  <a:pt x="956" y="1330"/>
                </a:lnTo>
                <a:lnTo>
                  <a:pt x="954" y="1327"/>
                </a:lnTo>
                <a:lnTo>
                  <a:pt x="952" y="1324"/>
                </a:lnTo>
                <a:lnTo>
                  <a:pt x="949" y="1322"/>
                </a:lnTo>
                <a:lnTo>
                  <a:pt x="944" y="1320"/>
                </a:lnTo>
                <a:lnTo>
                  <a:pt x="939" y="1319"/>
                </a:lnTo>
                <a:lnTo>
                  <a:pt x="938" y="1317"/>
                </a:lnTo>
                <a:lnTo>
                  <a:pt x="939" y="1316"/>
                </a:lnTo>
                <a:lnTo>
                  <a:pt x="941" y="1316"/>
                </a:lnTo>
                <a:lnTo>
                  <a:pt x="945" y="1316"/>
                </a:lnTo>
                <a:lnTo>
                  <a:pt x="950" y="1319"/>
                </a:lnTo>
                <a:lnTo>
                  <a:pt x="954" y="1319"/>
                </a:lnTo>
                <a:lnTo>
                  <a:pt x="959" y="1317"/>
                </a:lnTo>
                <a:lnTo>
                  <a:pt x="964" y="1314"/>
                </a:lnTo>
                <a:lnTo>
                  <a:pt x="966" y="1312"/>
                </a:lnTo>
                <a:lnTo>
                  <a:pt x="968" y="1309"/>
                </a:lnTo>
                <a:lnTo>
                  <a:pt x="971" y="1307"/>
                </a:lnTo>
                <a:lnTo>
                  <a:pt x="972" y="1303"/>
                </a:lnTo>
                <a:lnTo>
                  <a:pt x="974" y="1308"/>
                </a:lnTo>
                <a:lnTo>
                  <a:pt x="975" y="1312"/>
                </a:lnTo>
                <a:lnTo>
                  <a:pt x="974" y="1316"/>
                </a:lnTo>
                <a:lnTo>
                  <a:pt x="974" y="1321"/>
                </a:lnTo>
                <a:lnTo>
                  <a:pt x="974" y="1323"/>
                </a:lnTo>
                <a:lnTo>
                  <a:pt x="977" y="1326"/>
                </a:lnTo>
                <a:lnTo>
                  <a:pt x="979" y="1324"/>
                </a:lnTo>
                <a:lnTo>
                  <a:pt x="979" y="1322"/>
                </a:lnTo>
                <a:lnTo>
                  <a:pt x="979" y="1314"/>
                </a:lnTo>
                <a:lnTo>
                  <a:pt x="979" y="1306"/>
                </a:lnTo>
                <a:lnTo>
                  <a:pt x="979" y="1303"/>
                </a:lnTo>
                <a:lnTo>
                  <a:pt x="978" y="1301"/>
                </a:lnTo>
                <a:lnTo>
                  <a:pt x="977" y="1300"/>
                </a:lnTo>
                <a:lnTo>
                  <a:pt x="974" y="1300"/>
                </a:lnTo>
                <a:lnTo>
                  <a:pt x="973" y="1298"/>
                </a:lnTo>
                <a:lnTo>
                  <a:pt x="971" y="1296"/>
                </a:lnTo>
                <a:lnTo>
                  <a:pt x="970" y="1295"/>
                </a:lnTo>
                <a:lnTo>
                  <a:pt x="967" y="1296"/>
                </a:lnTo>
                <a:lnTo>
                  <a:pt x="964" y="1298"/>
                </a:lnTo>
                <a:lnTo>
                  <a:pt x="964" y="1300"/>
                </a:lnTo>
                <a:lnTo>
                  <a:pt x="964" y="1302"/>
                </a:lnTo>
                <a:lnTo>
                  <a:pt x="964" y="1306"/>
                </a:lnTo>
                <a:lnTo>
                  <a:pt x="963" y="1306"/>
                </a:lnTo>
                <a:lnTo>
                  <a:pt x="963" y="1307"/>
                </a:lnTo>
                <a:lnTo>
                  <a:pt x="963" y="1307"/>
                </a:lnTo>
                <a:lnTo>
                  <a:pt x="961" y="1307"/>
                </a:lnTo>
                <a:lnTo>
                  <a:pt x="959" y="1306"/>
                </a:lnTo>
                <a:lnTo>
                  <a:pt x="958" y="1303"/>
                </a:lnTo>
                <a:lnTo>
                  <a:pt x="954" y="1291"/>
                </a:lnTo>
                <a:lnTo>
                  <a:pt x="949" y="1278"/>
                </a:lnTo>
                <a:lnTo>
                  <a:pt x="946" y="1272"/>
                </a:lnTo>
                <a:lnTo>
                  <a:pt x="945" y="1267"/>
                </a:lnTo>
                <a:lnTo>
                  <a:pt x="944" y="1261"/>
                </a:lnTo>
                <a:lnTo>
                  <a:pt x="945" y="1258"/>
                </a:lnTo>
                <a:lnTo>
                  <a:pt x="947" y="1252"/>
                </a:lnTo>
                <a:lnTo>
                  <a:pt x="947" y="1246"/>
                </a:lnTo>
                <a:lnTo>
                  <a:pt x="946" y="1242"/>
                </a:lnTo>
                <a:lnTo>
                  <a:pt x="945" y="1237"/>
                </a:lnTo>
                <a:lnTo>
                  <a:pt x="941" y="1223"/>
                </a:lnTo>
                <a:lnTo>
                  <a:pt x="938" y="1209"/>
                </a:lnTo>
                <a:lnTo>
                  <a:pt x="934" y="1195"/>
                </a:lnTo>
                <a:lnTo>
                  <a:pt x="931" y="1181"/>
                </a:lnTo>
                <a:lnTo>
                  <a:pt x="929" y="1168"/>
                </a:lnTo>
                <a:lnTo>
                  <a:pt x="925" y="1155"/>
                </a:lnTo>
                <a:lnTo>
                  <a:pt x="922" y="1140"/>
                </a:lnTo>
                <a:lnTo>
                  <a:pt x="918" y="1124"/>
                </a:lnTo>
                <a:lnTo>
                  <a:pt x="916" y="1110"/>
                </a:lnTo>
                <a:lnTo>
                  <a:pt x="916" y="1097"/>
                </a:lnTo>
                <a:lnTo>
                  <a:pt x="916" y="1084"/>
                </a:lnTo>
                <a:lnTo>
                  <a:pt x="916" y="1070"/>
                </a:lnTo>
                <a:lnTo>
                  <a:pt x="916" y="1065"/>
                </a:lnTo>
                <a:lnTo>
                  <a:pt x="915" y="1061"/>
                </a:lnTo>
                <a:lnTo>
                  <a:pt x="910" y="1043"/>
                </a:lnTo>
                <a:lnTo>
                  <a:pt x="905" y="1026"/>
                </a:lnTo>
                <a:lnTo>
                  <a:pt x="903" y="1020"/>
                </a:lnTo>
                <a:lnTo>
                  <a:pt x="902" y="1013"/>
                </a:lnTo>
                <a:lnTo>
                  <a:pt x="899" y="1006"/>
                </a:lnTo>
                <a:lnTo>
                  <a:pt x="896" y="1000"/>
                </a:lnTo>
                <a:lnTo>
                  <a:pt x="894" y="1005"/>
                </a:lnTo>
                <a:lnTo>
                  <a:pt x="892" y="1009"/>
                </a:lnTo>
                <a:lnTo>
                  <a:pt x="894" y="1005"/>
                </a:lnTo>
                <a:lnTo>
                  <a:pt x="896" y="1000"/>
                </a:lnTo>
                <a:lnTo>
                  <a:pt x="896" y="996"/>
                </a:lnTo>
                <a:lnTo>
                  <a:pt x="896" y="993"/>
                </a:lnTo>
                <a:lnTo>
                  <a:pt x="895" y="991"/>
                </a:lnTo>
                <a:lnTo>
                  <a:pt x="892" y="987"/>
                </a:lnTo>
                <a:lnTo>
                  <a:pt x="891" y="984"/>
                </a:lnTo>
                <a:lnTo>
                  <a:pt x="890" y="979"/>
                </a:lnTo>
                <a:lnTo>
                  <a:pt x="889" y="980"/>
                </a:lnTo>
                <a:lnTo>
                  <a:pt x="888" y="981"/>
                </a:lnTo>
                <a:lnTo>
                  <a:pt x="887" y="986"/>
                </a:lnTo>
                <a:lnTo>
                  <a:pt x="885" y="991"/>
                </a:lnTo>
                <a:lnTo>
                  <a:pt x="887" y="986"/>
                </a:lnTo>
                <a:lnTo>
                  <a:pt x="888" y="981"/>
                </a:lnTo>
                <a:lnTo>
                  <a:pt x="889" y="980"/>
                </a:lnTo>
                <a:lnTo>
                  <a:pt x="890" y="979"/>
                </a:lnTo>
                <a:lnTo>
                  <a:pt x="894" y="974"/>
                </a:lnTo>
                <a:lnTo>
                  <a:pt x="897" y="970"/>
                </a:lnTo>
                <a:lnTo>
                  <a:pt x="902" y="966"/>
                </a:lnTo>
                <a:lnTo>
                  <a:pt x="908" y="963"/>
                </a:lnTo>
                <a:lnTo>
                  <a:pt x="926" y="977"/>
                </a:lnTo>
                <a:lnTo>
                  <a:pt x="945" y="989"/>
                </a:lnTo>
                <a:lnTo>
                  <a:pt x="964" y="1002"/>
                </a:lnTo>
                <a:lnTo>
                  <a:pt x="981" y="1016"/>
                </a:lnTo>
                <a:lnTo>
                  <a:pt x="995" y="1027"/>
                </a:lnTo>
                <a:lnTo>
                  <a:pt x="1010" y="1037"/>
                </a:lnTo>
                <a:lnTo>
                  <a:pt x="1014" y="1040"/>
                </a:lnTo>
                <a:lnTo>
                  <a:pt x="1016" y="1040"/>
                </a:lnTo>
                <a:lnTo>
                  <a:pt x="1020" y="1038"/>
                </a:lnTo>
                <a:lnTo>
                  <a:pt x="1023" y="1036"/>
                </a:lnTo>
                <a:lnTo>
                  <a:pt x="1032" y="1028"/>
                </a:lnTo>
                <a:lnTo>
                  <a:pt x="1040" y="1021"/>
                </a:lnTo>
                <a:lnTo>
                  <a:pt x="1060" y="1005"/>
                </a:lnTo>
                <a:lnTo>
                  <a:pt x="1077" y="988"/>
                </a:lnTo>
                <a:lnTo>
                  <a:pt x="1096" y="972"/>
                </a:lnTo>
                <a:lnTo>
                  <a:pt x="1113" y="954"/>
                </a:lnTo>
                <a:lnTo>
                  <a:pt x="1122" y="944"/>
                </a:lnTo>
                <a:lnTo>
                  <a:pt x="1131" y="935"/>
                </a:lnTo>
                <a:lnTo>
                  <a:pt x="1139" y="925"/>
                </a:lnTo>
                <a:lnTo>
                  <a:pt x="1147" y="915"/>
                </a:lnTo>
                <a:lnTo>
                  <a:pt x="1148" y="912"/>
                </a:lnTo>
                <a:lnTo>
                  <a:pt x="1151" y="910"/>
                </a:lnTo>
                <a:lnTo>
                  <a:pt x="1152" y="910"/>
                </a:lnTo>
                <a:lnTo>
                  <a:pt x="1153" y="910"/>
                </a:lnTo>
                <a:lnTo>
                  <a:pt x="1154" y="911"/>
                </a:lnTo>
                <a:lnTo>
                  <a:pt x="1155" y="912"/>
                </a:lnTo>
                <a:lnTo>
                  <a:pt x="1157" y="916"/>
                </a:lnTo>
                <a:lnTo>
                  <a:pt x="1158" y="918"/>
                </a:lnTo>
                <a:lnTo>
                  <a:pt x="1164" y="933"/>
                </a:lnTo>
                <a:lnTo>
                  <a:pt x="1171" y="949"/>
                </a:lnTo>
                <a:lnTo>
                  <a:pt x="1178" y="964"/>
                </a:lnTo>
                <a:lnTo>
                  <a:pt x="1185" y="979"/>
                </a:lnTo>
                <a:lnTo>
                  <a:pt x="1184" y="985"/>
                </a:lnTo>
                <a:lnTo>
                  <a:pt x="1184" y="989"/>
                </a:lnTo>
                <a:lnTo>
                  <a:pt x="1184" y="1000"/>
                </a:lnTo>
                <a:lnTo>
                  <a:pt x="1184" y="1010"/>
                </a:lnTo>
                <a:lnTo>
                  <a:pt x="1184" y="1020"/>
                </a:lnTo>
                <a:lnTo>
                  <a:pt x="1185" y="1028"/>
                </a:lnTo>
                <a:lnTo>
                  <a:pt x="1186" y="1031"/>
                </a:lnTo>
                <a:lnTo>
                  <a:pt x="1186" y="1035"/>
                </a:lnTo>
                <a:lnTo>
                  <a:pt x="1184" y="1041"/>
                </a:lnTo>
                <a:lnTo>
                  <a:pt x="1184" y="1047"/>
                </a:lnTo>
                <a:lnTo>
                  <a:pt x="1184" y="1052"/>
                </a:lnTo>
                <a:lnTo>
                  <a:pt x="1184" y="1058"/>
                </a:lnTo>
                <a:lnTo>
                  <a:pt x="1184" y="1062"/>
                </a:lnTo>
                <a:lnTo>
                  <a:pt x="1185" y="1065"/>
                </a:lnTo>
                <a:lnTo>
                  <a:pt x="1187" y="1066"/>
                </a:lnTo>
                <a:lnTo>
                  <a:pt x="1191" y="1068"/>
                </a:lnTo>
                <a:lnTo>
                  <a:pt x="1200" y="1069"/>
                </a:lnTo>
                <a:lnTo>
                  <a:pt x="1208" y="1070"/>
                </a:lnTo>
                <a:lnTo>
                  <a:pt x="1217" y="1070"/>
                </a:lnTo>
                <a:lnTo>
                  <a:pt x="1227" y="1069"/>
                </a:lnTo>
                <a:lnTo>
                  <a:pt x="1244" y="1065"/>
                </a:lnTo>
                <a:lnTo>
                  <a:pt x="1261" y="1061"/>
                </a:lnTo>
                <a:lnTo>
                  <a:pt x="1277" y="1057"/>
                </a:lnTo>
                <a:lnTo>
                  <a:pt x="1295" y="1051"/>
                </a:lnTo>
                <a:lnTo>
                  <a:pt x="1297" y="1051"/>
                </a:lnTo>
                <a:lnTo>
                  <a:pt x="1299" y="1052"/>
                </a:lnTo>
                <a:lnTo>
                  <a:pt x="1300" y="1054"/>
                </a:lnTo>
                <a:lnTo>
                  <a:pt x="1303" y="1056"/>
                </a:lnTo>
                <a:lnTo>
                  <a:pt x="1311" y="1066"/>
                </a:lnTo>
                <a:lnTo>
                  <a:pt x="1319" y="1076"/>
                </a:lnTo>
                <a:lnTo>
                  <a:pt x="1329" y="1086"/>
                </a:lnTo>
                <a:lnTo>
                  <a:pt x="1339" y="1094"/>
                </a:lnTo>
                <a:lnTo>
                  <a:pt x="1339" y="1094"/>
                </a:lnTo>
                <a:lnTo>
                  <a:pt x="1348" y="1104"/>
                </a:lnTo>
                <a:lnTo>
                  <a:pt x="1358" y="1112"/>
                </a:lnTo>
                <a:lnTo>
                  <a:pt x="1367" y="1121"/>
                </a:lnTo>
                <a:lnTo>
                  <a:pt x="1376" y="1130"/>
                </a:lnTo>
                <a:lnTo>
                  <a:pt x="1378" y="1131"/>
                </a:lnTo>
                <a:lnTo>
                  <a:pt x="1378" y="1131"/>
                </a:lnTo>
                <a:lnTo>
                  <a:pt x="1387" y="1146"/>
                </a:lnTo>
                <a:lnTo>
                  <a:pt x="1396" y="1160"/>
                </a:lnTo>
                <a:lnTo>
                  <a:pt x="1410" y="1179"/>
                </a:lnTo>
                <a:lnTo>
                  <a:pt x="1427" y="1195"/>
                </a:lnTo>
                <a:lnTo>
                  <a:pt x="1443" y="1212"/>
                </a:lnTo>
                <a:lnTo>
                  <a:pt x="1458" y="1230"/>
                </a:lnTo>
                <a:lnTo>
                  <a:pt x="1460" y="1231"/>
                </a:lnTo>
                <a:lnTo>
                  <a:pt x="1462" y="1231"/>
                </a:lnTo>
                <a:lnTo>
                  <a:pt x="1463" y="1236"/>
                </a:lnTo>
                <a:lnTo>
                  <a:pt x="1467" y="1239"/>
                </a:lnTo>
                <a:lnTo>
                  <a:pt x="1481" y="1254"/>
                </a:lnTo>
                <a:lnTo>
                  <a:pt x="1496" y="1268"/>
                </a:lnTo>
                <a:lnTo>
                  <a:pt x="1509" y="1282"/>
                </a:lnTo>
                <a:lnTo>
                  <a:pt x="1521" y="1295"/>
                </a:lnTo>
                <a:lnTo>
                  <a:pt x="1534" y="1309"/>
                </a:lnTo>
                <a:lnTo>
                  <a:pt x="1544" y="1324"/>
                </a:lnTo>
                <a:lnTo>
                  <a:pt x="1546" y="1330"/>
                </a:lnTo>
                <a:lnTo>
                  <a:pt x="1550" y="1338"/>
                </a:lnTo>
                <a:lnTo>
                  <a:pt x="1554" y="1345"/>
                </a:lnTo>
                <a:lnTo>
                  <a:pt x="1559" y="1350"/>
                </a:lnTo>
                <a:lnTo>
                  <a:pt x="1559" y="1351"/>
                </a:lnTo>
                <a:lnTo>
                  <a:pt x="1559" y="1352"/>
                </a:lnTo>
                <a:lnTo>
                  <a:pt x="1559" y="1361"/>
                </a:lnTo>
                <a:lnTo>
                  <a:pt x="1561" y="1368"/>
                </a:lnTo>
                <a:lnTo>
                  <a:pt x="1558" y="1369"/>
                </a:lnTo>
                <a:lnTo>
                  <a:pt x="1557" y="1371"/>
                </a:lnTo>
                <a:lnTo>
                  <a:pt x="1557" y="1372"/>
                </a:lnTo>
                <a:lnTo>
                  <a:pt x="1558" y="1373"/>
                </a:lnTo>
                <a:lnTo>
                  <a:pt x="1560" y="1377"/>
                </a:lnTo>
                <a:lnTo>
                  <a:pt x="1561" y="1380"/>
                </a:lnTo>
                <a:lnTo>
                  <a:pt x="1561" y="1384"/>
                </a:lnTo>
                <a:lnTo>
                  <a:pt x="1562" y="1386"/>
                </a:lnTo>
                <a:lnTo>
                  <a:pt x="1565" y="1391"/>
                </a:lnTo>
                <a:lnTo>
                  <a:pt x="1566" y="1393"/>
                </a:lnTo>
                <a:lnTo>
                  <a:pt x="1565" y="1397"/>
                </a:lnTo>
                <a:lnTo>
                  <a:pt x="1562" y="1401"/>
                </a:lnTo>
                <a:lnTo>
                  <a:pt x="1560" y="1403"/>
                </a:lnTo>
                <a:lnTo>
                  <a:pt x="1560" y="1406"/>
                </a:lnTo>
                <a:lnTo>
                  <a:pt x="1560" y="1408"/>
                </a:lnTo>
                <a:lnTo>
                  <a:pt x="1561" y="1412"/>
                </a:lnTo>
                <a:lnTo>
                  <a:pt x="1564" y="1414"/>
                </a:lnTo>
                <a:lnTo>
                  <a:pt x="1565" y="1419"/>
                </a:lnTo>
                <a:lnTo>
                  <a:pt x="1565" y="1422"/>
                </a:lnTo>
                <a:lnTo>
                  <a:pt x="1565" y="1426"/>
                </a:lnTo>
                <a:lnTo>
                  <a:pt x="1568" y="1421"/>
                </a:lnTo>
                <a:lnTo>
                  <a:pt x="1572" y="1419"/>
                </a:lnTo>
                <a:lnTo>
                  <a:pt x="1572" y="1420"/>
                </a:lnTo>
                <a:lnTo>
                  <a:pt x="1573" y="1421"/>
                </a:lnTo>
                <a:lnTo>
                  <a:pt x="1572" y="1432"/>
                </a:lnTo>
                <a:lnTo>
                  <a:pt x="1572" y="1441"/>
                </a:lnTo>
                <a:lnTo>
                  <a:pt x="1572" y="1450"/>
                </a:lnTo>
                <a:lnTo>
                  <a:pt x="1572" y="1461"/>
                </a:lnTo>
                <a:lnTo>
                  <a:pt x="1571" y="1466"/>
                </a:lnTo>
                <a:lnTo>
                  <a:pt x="1569" y="1471"/>
                </a:lnTo>
                <a:lnTo>
                  <a:pt x="1569" y="1476"/>
                </a:lnTo>
                <a:lnTo>
                  <a:pt x="1571" y="1482"/>
                </a:lnTo>
                <a:lnTo>
                  <a:pt x="1571" y="1482"/>
                </a:lnTo>
                <a:lnTo>
                  <a:pt x="1572" y="1482"/>
                </a:lnTo>
                <a:lnTo>
                  <a:pt x="1571" y="1482"/>
                </a:lnTo>
                <a:lnTo>
                  <a:pt x="1571" y="1482"/>
                </a:lnTo>
                <a:lnTo>
                  <a:pt x="1569" y="1482"/>
                </a:lnTo>
                <a:lnTo>
                  <a:pt x="1568" y="1483"/>
                </a:lnTo>
                <a:lnTo>
                  <a:pt x="1567" y="1484"/>
                </a:lnTo>
                <a:lnTo>
                  <a:pt x="1566" y="1484"/>
                </a:lnTo>
                <a:lnTo>
                  <a:pt x="1566" y="1485"/>
                </a:lnTo>
                <a:lnTo>
                  <a:pt x="1567" y="1487"/>
                </a:lnTo>
                <a:lnTo>
                  <a:pt x="1567" y="1488"/>
                </a:lnTo>
                <a:lnTo>
                  <a:pt x="1567" y="1489"/>
                </a:lnTo>
                <a:lnTo>
                  <a:pt x="1567" y="1490"/>
                </a:lnTo>
                <a:lnTo>
                  <a:pt x="1568" y="1491"/>
                </a:lnTo>
                <a:lnTo>
                  <a:pt x="1568" y="1494"/>
                </a:lnTo>
                <a:lnTo>
                  <a:pt x="1568" y="1495"/>
                </a:lnTo>
                <a:lnTo>
                  <a:pt x="1568" y="1496"/>
                </a:lnTo>
                <a:lnTo>
                  <a:pt x="1569" y="1497"/>
                </a:lnTo>
                <a:lnTo>
                  <a:pt x="1571" y="1497"/>
                </a:lnTo>
                <a:lnTo>
                  <a:pt x="1569" y="1499"/>
                </a:lnTo>
                <a:lnTo>
                  <a:pt x="1569" y="1502"/>
                </a:lnTo>
                <a:lnTo>
                  <a:pt x="1568" y="1503"/>
                </a:lnTo>
                <a:lnTo>
                  <a:pt x="1568" y="1504"/>
                </a:lnTo>
                <a:lnTo>
                  <a:pt x="1568" y="1505"/>
                </a:lnTo>
                <a:lnTo>
                  <a:pt x="1569" y="1508"/>
                </a:lnTo>
                <a:lnTo>
                  <a:pt x="1564" y="1506"/>
                </a:lnTo>
                <a:lnTo>
                  <a:pt x="1561" y="1509"/>
                </a:lnTo>
                <a:lnTo>
                  <a:pt x="1559" y="1511"/>
                </a:lnTo>
                <a:lnTo>
                  <a:pt x="1558" y="1516"/>
                </a:lnTo>
                <a:lnTo>
                  <a:pt x="1559" y="1520"/>
                </a:lnTo>
                <a:lnTo>
                  <a:pt x="1560" y="1524"/>
                </a:lnTo>
                <a:lnTo>
                  <a:pt x="1564" y="1526"/>
                </a:lnTo>
                <a:lnTo>
                  <a:pt x="1568" y="1529"/>
                </a:lnTo>
                <a:lnTo>
                  <a:pt x="1582" y="1531"/>
                </a:lnTo>
                <a:lnTo>
                  <a:pt x="1598" y="1532"/>
                </a:lnTo>
                <a:lnTo>
                  <a:pt x="1616" y="1532"/>
                </a:lnTo>
                <a:lnTo>
                  <a:pt x="1635" y="1530"/>
                </a:lnTo>
                <a:lnTo>
                  <a:pt x="1654" y="1526"/>
                </a:lnTo>
                <a:lnTo>
                  <a:pt x="1672" y="1523"/>
                </a:lnTo>
                <a:lnTo>
                  <a:pt x="1679" y="1519"/>
                </a:lnTo>
                <a:lnTo>
                  <a:pt x="1684" y="1516"/>
                </a:lnTo>
                <a:lnTo>
                  <a:pt x="1688" y="1510"/>
                </a:lnTo>
                <a:lnTo>
                  <a:pt x="1691" y="1504"/>
                </a:lnTo>
                <a:lnTo>
                  <a:pt x="1692" y="1502"/>
                </a:lnTo>
                <a:lnTo>
                  <a:pt x="1691" y="1499"/>
                </a:lnTo>
                <a:lnTo>
                  <a:pt x="1691" y="1498"/>
                </a:lnTo>
                <a:lnTo>
                  <a:pt x="1690" y="1497"/>
                </a:lnTo>
                <a:lnTo>
                  <a:pt x="1686" y="1495"/>
                </a:lnTo>
                <a:lnTo>
                  <a:pt x="1685" y="1492"/>
                </a:lnTo>
                <a:lnTo>
                  <a:pt x="1685" y="1492"/>
                </a:lnTo>
                <a:lnTo>
                  <a:pt x="1685" y="1491"/>
                </a:lnTo>
                <a:lnTo>
                  <a:pt x="1689" y="1489"/>
                </a:lnTo>
                <a:lnTo>
                  <a:pt x="1692" y="1487"/>
                </a:lnTo>
                <a:lnTo>
                  <a:pt x="1698" y="1482"/>
                </a:lnTo>
                <a:lnTo>
                  <a:pt x="1703" y="1476"/>
                </a:lnTo>
                <a:lnTo>
                  <a:pt x="1706" y="1468"/>
                </a:lnTo>
                <a:lnTo>
                  <a:pt x="1709" y="1459"/>
                </a:lnTo>
                <a:lnTo>
                  <a:pt x="1709" y="1454"/>
                </a:lnTo>
                <a:lnTo>
                  <a:pt x="1709" y="1450"/>
                </a:lnTo>
                <a:lnTo>
                  <a:pt x="1707" y="1446"/>
                </a:lnTo>
                <a:lnTo>
                  <a:pt x="1705" y="1441"/>
                </a:lnTo>
                <a:lnTo>
                  <a:pt x="1704" y="1438"/>
                </a:lnTo>
                <a:lnTo>
                  <a:pt x="1702" y="1434"/>
                </a:lnTo>
                <a:lnTo>
                  <a:pt x="1699" y="1427"/>
                </a:lnTo>
                <a:lnTo>
                  <a:pt x="1697" y="1421"/>
                </a:lnTo>
                <a:lnTo>
                  <a:pt x="1695" y="1414"/>
                </a:lnTo>
                <a:lnTo>
                  <a:pt x="1689" y="1410"/>
                </a:lnTo>
                <a:lnTo>
                  <a:pt x="1689" y="1408"/>
                </a:lnTo>
                <a:lnTo>
                  <a:pt x="1686" y="1407"/>
                </a:lnTo>
                <a:lnTo>
                  <a:pt x="1685" y="1408"/>
                </a:lnTo>
                <a:lnTo>
                  <a:pt x="1685" y="1411"/>
                </a:lnTo>
                <a:lnTo>
                  <a:pt x="1688" y="1424"/>
                </a:lnTo>
                <a:lnTo>
                  <a:pt x="1689" y="1436"/>
                </a:lnTo>
                <a:lnTo>
                  <a:pt x="1689" y="1439"/>
                </a:lnTo>
                <a:lnTo>
                  <a:pt x="1690" y="1440"/>
                </a:lnTo>
                <a:lnTo>
                  <a:pt x="1691" y="1440"/>
                </a:lnTo>
                <a:lnTo>
                  <a:pt x="1693" y="1439"/>
                </a:lnTo>
                <a:lnTo>
                  <a:pt x="1695" y="1439"/>
                </a:lnTo>
                <a:lnTo>
                  <a:pt x="1697" y="1440"/>
                </a:lnTo>
                <a:lnTo>
                  <a:pt x="1698" y="1442"/>
                </a:lnTo>
                <a:lnTo>
                  <a:pt x="1698" y="1445"/>
                </a:lnTo>
                <a:lnTo>
                  <a:pt x="1695" y="1449"/>
                </a:lnTo>
                <a:lnTo>
                  <a:pt x="1692" y="1455"/>
                </a:lnTo>
                <a:lnTo>
                  <a:pt x="1692" y="1454"/>
                </a:lnTo>
                <a:lnTo>
                  <a:pt x="1692" y="1454"/>
                </a:lnTo>
                <a:lnTo>
                  <a:pt x="1691" y="1455"/>
                </a:lnTo>
                <a:lnTo>
                  <a:pt x="1690" y="1456"/>
                </a:lnTo>
                <a:lnTo>
                  <a:pt x="1688" y="1459"/>
                </a:lnTo>
                <a:lnTo>
                  <a:pt x="1688" y="1460"/>
                </a:lnTo>
                <a:lnTo>
                  <a:pt x="1688" y="1459"/>
                </a:lnTo>
                <a:lnTo>
                  <a:pt x="1690" y="1456"/>
                </a:lnTo>
                <a:lnTo>
                  <a:pt x="1691" y="1455"/>
                </a:lnTo>
                <a:lnTo>
                  <a:pt x="1692" y="1454"/>
                </a:lnTo>
                <a:lnTo>
                  <a:pt x="1691" y="1450"/>
                </a:lnTo>
                <a:lnTo>
                  <a:pt x="1690" y="1447"/>
                </a:lnTo>
                <a:lnTo>
                  <a:pt x="1690" y="1447"/>
                </a:lnTo>
                <a:lnTo>
                  <a:pt x="1690" y="1446"/>
                </a:lnTo>
                <a:lnTo>
                  <a:pt x="1690" y="1446"/>
                </a:lnTo>
                <a:close/>
                <a:moveTo>
                  <a:pt x="1691" y="1446"/>
                </a:moveTo>
                <a:lnTo>
                  <a:pt x="1691" y="1446"/>
                </a:lnTo>
                <a:lnTo>
                  <a:pt x="1690" y="1446"/>
                </a:lnTo>
                <a:lnTo>
                  <a:pt x="1691" y="1446"/>
                </a:lnTo>
                <a:lnTo>
                  <a:pt x="1691" y="1446"/>
                </a:lnTo>
                <a:lnTo>
                  <a:pt x="1691" y="1446"/>
                </a:lnTo>
                <a:lnTo>
                  <a:pt x="1691" y="1446"/>
                </a:lnTo>
                <a:close/>
                <a:moveTo>
                  <a:pt x="252" y="810"/>
                </a:moveTo>
                <a:lnTo>
                  <a:pt x="252" y="810"/>
                </a:lnTo>
                <a:lnTo>
                  <a:pt x="250" y="810"/>
                </a:lnTo>
                <a:lnTo>
                  <a:pt x="252" y="811"/>
                </a:lnTo>
                <a:lnTo>
                  <a:pt x="252" y="811"/>
                </a:lnTo>
                <a:lnTo>
                  <a:pt x="253" y="811"/>
                </a:lnTo>
                <a:lnTo>
                  <a:pt x="253" y="811"/>
                </a:lnTo>
                <a:lnTo>
                  <a:pt x="253" y="810"/>
                </a:lnTo>
                <a:lnTo>
                  <a:pt x="252" y="810"/>
                </a:lnTo>
                <a:close/>
                <a:moveTo>
                  <a:pt x="434" y="1317"/>
                </a:moveTo>
                <a:lnTo>
                  <a:pt x="433" y="1317"/>
                </a:lnTo>
                <a:lnTo>
                  <a:pt x="433" y="1317"/>
                </a:lnTo>
                <a:lnTo>
                  <a:pt x="434" y="1316"/>
                </a:lnTo>
                <a:lnTo>
                  <a:pt x="434" y="1316"/>
                </a:lnTo>
                <a:lnTo>
                  <a:pt x="434" y="1317"/>
                </a:lnTo>
                <a:lnTo>
                  <a:pt x="434" y="1317"/>
                </a:lnTo>
                <a:close/>
                <a:moveTo>
                  <a:pt x="433" y="1302"/>
                </a:moveTo>
                <a:lnTo>
                  <a:pt x="430" y="1302"/>
                </a:lnTo>
                <a:lnTo>
                  <a:pt x="429" y="1303"/>
                </a:lnTo>
                <a:lnTo>
                  <a:pt x="429" y="1305"/>
                </a:lnTo>
                <a:lnTo>
                  <a:pt x="429" y="1307"/>
                </a:lnTo>
                <a:lnTo>
                  <a:pt x="429" y="1314"/>
                </a:lnTo>
                <a:lnTo>
                  <a:pt x="430" y="1322"/>
                </a:lnTo>
                <a:lnTo>
                  <a:pt x="433" y="1324"/>
                </a:lnTo>
                <a:lnTo>
                  <a:pt x="435" y="1324"/>
                </a:lnTo>
                <a:lnTo>
                  <a:pt x="437" y="1324"/>
                </a:lnTo>
                <a:lnTo>
                  <a:pt x="439" y="1323"/>
                </a:lnTo>
                <a:lnTo>
                  <a:pt x="440" y="1322"/>
                </a:lnTo>
                <a:lnTo>
                  <a:pt x="440" y="1321"/>
                </a:lnTo>
                <a:lnTo>
                  <a:pt x="440" y="1317"/>
                </a:lnTo>
                <a:lnTo>
                  <a:pt x="440" y="1314"/>
                </a:lnTo>
                <a:lnTo>
                  <a:pt x="440" y="1302"/>
                </a:lnTo>
                <a:lnTo>
                  <a:pt x="440" y="1292"/>
                </a:lnTo>
                <a:lnTo>
                  <a:pt x="439" y="1292"/>
                </a:lnTo>
                <a:lnTo>
                  <a:pt x="437" y="1292"/>
                </a:lnTo>
                <a:lnTo>
                  <a:pt x="437" y="1303"/>
                </a:lnTo>
                <a:lnTo>
                  <a:pt x="437" y="1314"/>
                </a:lnTo>
                <a:lnTo>
                  <a:pt x="436" y="1315"/>
                </a:lnTo>
                <a:lnTo>
                  <a:pt x="434" y="1315"/>
                </a:lnTo>
                <a:lnTo>
                  <a:pt x="434" y="1310"/>
                </a:lnTo>
                <a:lnTo>
                  <a:pt x="434" y="1306"/>
                </a:lnTo>
                <a:lnTo>
                  <a:pt x="434" y="1303"/>
                </a:lnTo>
                <a:lnTo>
                  <a:pt x="433" y="1302"/>
                </a:lnTo>
                <a:close/>
                <a:moveTo>
                  <a:pt x="192" y="1307"/>
                </a:moveTo>
                <a:lnTo>
                  <a:pt x="200" y="1305"/>
                </a:lnTo>
                <a:lnTo>
                  <a:pt x="207" y="1305"/>
                </a:lnTo>
                <a:lnTo>
                  <a:pt x="200" y="1305"/>
                </a:lnTo>
                <a:lnTo>
                  <a:pt x="192" y="1307"/>
                </a:lnTo>
                <a:close/>
                <a:moveTo>
                  <a:pt x="187" y="1310"/>
                </a:moveTo>
                <a:lnTo>
                  <a:pt x="183" y="1307"/>
                </a:lnTo>
                <a:lnTo>
                  <a:pt x="178" y="1302"/>
                </a:lnTo>
                <a:lnTo>
                  <a:pt x="183" y="1307"/>
                </a:lnTo>
                <a:lnTo>
                  <a:pt x="187" y="1310"/>
                </a:lnTo>
                <a:close/>
                <a:moveTo>
                  <a:pt x="129" y="1369"/>
                </a:moveTo>
                <a:lnTo>
                  <a:pt x="126" y="1366"/>
                </a:lnTo>
                <a:lnTo>
                  <a:pt x="125" y="1365"/>
                </a:lnTo>
                <a:lnTo>
                  <a:pt x="126" y="1366"/>
                </a:lnTo>
                <a:lnTo>
                  <a:pt x="129" y="1369"/>
                </a:lnTo>
                <a:lnTo>
                  <a:pt x="136" y="1377"/>
                </a:lnTo>
                <a:lnTo>
                  <a:pt x="142" y="1384"/>
                </a:lnTo>
                <a:lnTo>
                  <a:pt x="136" y="1377"/>
                </a:lnTo>
                <a:lnTo>
                  <a:pt x="129" y="1369"/>
                </a:lnTo>
                <a:close/>
                <a:moveTo>
                  <a:pt x="125" y="1380"/>
                </a:moveTo>
                <a:lnTo>
                  <a:pt x="124" y="1380"/>
                </a:lnTo>
                <a:lnTo>
                  <a:pt x="124" y="1379"/>
                </a:lnTo>
                <a:lnTo>
                  <a:pt x="124" y="1380"/>
                </a:lnTo>
                <a:lnTo>
                  <a:pt x="125" y="1380"/>
                </a:lnTo>
                <a:lnTo>
                  <a:pt x="128" y="1382"/>
                </a:lnTo>
                <a:lnTo>
                  <a:pt x="129" y="1383"/>
                </a:lnTo>
                <a:lnTo>
                  <a:pt x="128" y="1382"/>
                </a:lnTo>
                <a:lnTo>
                  <a:pt x="125" y="1380"/>
                </a:lnTo>
                <a:close/>
                <a:moveTo>
                  <a:pt x="114" y="1368"/>
                </a:moveTo>
                <a:lnTo>
                  <a:pt x="115" y="1369"/>
                </a:lnTo>
                <a:lnTo>
                  <a:pt x="117" y="1370"/>
                </a:lnTo>
                <a:lnTo>
                  <a:pt x="115" y="1369"/>
                </a:lnTo>
                <a:lnTo>
                  <a:pt x="114" y="1368"/>
                </a:lnTo>
                <a:close/>
                <a:moveTo>
                  <a:pt x="20" y="1245"/>
                </a:moveTo>
                <a:lnTo>
                  <a:pt x="31" y="1245"/>
                </a:lnTo>
                <a:lnTo>
                  <a:pt x="40" y="1243"/>
                </a:lnTo>
                <a:lnTo>
                  <a:pt x="31" y="1245"/>
                </a:lnTo>
                <a:lnTo>
                  <a:pt x="20" y="1245"/>
                </a:lnTo>
                <a:close/>
                <a:moveTo>
                  <a:pt x="9" y="1275"/>
                </a:moveTo>
                <a:lnTo>
                  <a:pt x="9" y="1275"/>
                </a:lnTo>
                <a:lnTo>
                  <a:pt x="9" y="1274"/>
                </a:lnTo>
                <a:lnTo>
                  <a:pt x="9" y="1275"/>
                </a:lnTo>
                <a:lnTo>
                  <a:pt x="9" y="1275"/>
                </a:lnTo>
                <a:lnTo>
                  <a:pt x="9" y="1275"/>
                </a:lnTo>
                <a:close/>
                <a:moveTo>
                  <a:pt x="8" y="1278"/>
                </a:moveTo>
                <a:lnTo>
                  <a:pt x="8" y="1277"/>
                </a:lnTo>
                <a:lnTo>
                  <a:pt x="8" y="1277"/>
                </a:lnTo>
                <a:lnTo>
                  <a:pt x="8" y="1277"/>
                </a:lnTo>
                <a:lnTo>
                  <a:pt x="8" y="1278"/>
                </a:lnTo>
                <a:close/>
                <a:moveTo>
                  <a:pt x="5" y="1287"/>
                </a:moveTo>
                <a:lnTo>
                  <a:pt x="4" y="1287"/>
                </a:lnTo>
                <a:lnTo>
                  <a:pt x="2" y="1287"/>
                </a:lnTo>
                <a:lnTo>
                  <a:pt x="4" y="1287"/>
                </a:lnTo>
                <a:lnTo>
                  <a:pt x="5" y="1287"/>
                </a:lnTo>
                <a:lnTo>
                  <a:pt x="5" y="1285"/>
                </a:lnTo>
                <a:lnTo>
                  <a:pt x="6" y="1284"/>
                </a:lnTo>
                <a:lnTo>
                  <a:pt x="5" y="1285"/>
                </a:lnTo>
                <a:lnTo>
                  <a:pt x="5" y="1287"/>
                </a:lnTo>
                <a:close/>
                <a:moveTo>
                  <a:pt x="231" y="1268"/>
                </a:moveTo>
                <a:lnTo>
                  <a:pt x="227" y="1260"/>
                </a:lnTo>
                <a:lnTo>
                  <a:pt x="225" y="1252"/>
                </a:lnTo>
                <a:lnTo>
                  <a:pt x="222" y="1245"/>
                </a:lnTo>
                <a:lnTo>
                  <a:pt x="219" y="1239"/>
                </a:lnTo>
                <a:lnTo>
                  <a:pt x="214" y="1232"/>
                </a:lnTo>
                <a:lnTo>
                  <a:pt x="209" y="1226"/>
                </a:lnTo>
                <a:lnTo>
                  <a:pt x="209" y="1226"/>
                </a:lnTo>
                <a:lnTo>
                  <a:pt x="208" y="1225"/>
                </a:lnTo>
                <a:lnTo>
                  <a:pt x="205" y="1218"/>
                </a:lnTo>
                <a:lnTo>
                  <a:pt x="201" y="1212"/>
                </a:lnTo>
                <a:lnTo>
                  <a:pt x="195" y="1208"/>
                </a:lnTo>
                <a:lnTo>
                  <a:pt x="188" y="1204"/>
                </a:lnTo>
                <a:lnTo>
                  <a:pt x="187" y="1204"/>
                </a:lnTo>
                <a:lnTo>
                  <a:pt x="187" y="1204"/>
                </a:lnTo>
                <a:lnTo>
                  <a:pt x="185" y="1200"/>
                </a:lnTo>
                <a:lnTo>
                  <a:pt x="181" y="1197"/>
                </a:lnTo>
                <a:lnTo>
                  <a:pt x="177" y="1195"/>
                </a:lnTo>
                <a:lnTo>
                  <a:pt x="172" y="1194"/>
                </a:lnTo>
                <a:lnTo>
                  <a:pt x="166" y="1189"/>
                </a:lnTo>
                <a:lnTo>
                  <a:pt x="159" y="1187"/>
                </a:lnTo>
                <a:lnTo>
                  <a:pt x="152" y="1184"/>
                </a:lnTo>
                <a:lnTo>
                  <a:pt x="145" y="1182"/>
                </a:lnTo>
                <a:lnTo>
                  <a:pt x="138" y="1181"/>
                </a:lnTo>
                <a:lnTo>
                  <a:pt x="131" y="1180"/>
                </a:lnTo>
                <a:lnTo>
                  <a:pt x="124" y="1180"/>
                </a:lnTo>
                <a:lnTo>
                  <a:pt x="117" y="1181"/>
                </a:lnTo>
                <a:lnTo>
                  <a:pt x="116" y="1181"/>
                </a:lnTo>
                <a:lnTo>
                  <a:pt x="115" y="1183"/>
                </a:lnTo>
                <a:lnTo>
                  <a:pt x="115" y="1183"/>
                </a:lnTo>
                <a:lnTo>
                  <a:pt x="115" y="1183"/>
                </a:lnTo>
                <a:lnTo>
                  <a:pt x="115" y="1183"/>
                </a:lnTo>
                <a:lnTo>
                  <a:pt x="115" y="1183"/>
                </a:lnTo>
                <a:lnTo>
                  <a:pt x="111" y="1186"/>
                </a:lnTo>
                <a:lnTo>
                  <a:pt x="109" y="1189"/>
                </a:lnTo>
                <a:lnTo>
                  <a:pt x="109" y="1189"/>
                </a:lnTo>
                <a:lnTo>
                  <a:pt x="109" y="1188"/>
                </a:lnTo>
                <a:lnTo>
                  <a:pt x="109" y="1187"/>
                </a:lnTo>
                <a:lnTo>
                  <a:pt x="108" y="1184"/>
                </a:lnTo>
                <a:lnTo>
                  <a:pt x="105" y="1183"/>
                </a:lnTo>
                <a:lnTo>
                  <a:pt x="102" y="1183"/>
                </a:lnTo>
                <a:lnTo>
                  <a:pt x="100" y="1183"/>
                </a:lnTo>
                <a:lnTo>
                  <a:pt x="97" y="1183"/>
                </a:lnTo>
                <a:lnTo>
                  <a:pt x="95" y="1184"/>
                </a:lnTo>
                <a:lnTo>
                  <a:pt x="95" y="1188"/>
                </a:lnTo>
                <a:lnTo>
                  <a:pt x="95" y="1191"/>
                </a:lnTo>
                <a:lnTo>
                  <a:pt x="95" y="1195"/>
                </a:lnTo>
                <a:lnTo>
                  <a:pt x="94" y="1198"/>
                </a:lnTo>
                <a:lnTo>
                  <a:pt x="91" y="1201"/>
                </a:lnTo>
                <a:lnTo>
                  <a:pt x="87" y="1207"/>
                </a:lnTo>
                <a:lnTo>
                  <a:pt x="82" y="1211"/>
                </a:lnTo>
                <a:lnTo>
                  <a:pt x="80" y="1212"/>
                </a:lnTo>
                <a:lnTo>
                  <a:pt x="78" y="1215"/>
                </a:lnTo>
                <a:lnTo>
                  <a:pt x="77" y="1219"/>
                </a:lnTo>
                <a:lnTo>
                  <a:pt x="75" y="1221"/>
                </a:lnTo>
                <a:lnTo>
                  <a:pt x="73" y="1222"/>
                </a:lnTo>
                <a:lnTo>
                  <a:pt x="69" y="1221"/>
                </a:lnTo>
                <a:lnTo>
                  <a:pt x="66" y="1221"/>
                </a:lnTo>
                <a:lnTo>
                  <a:pt x="61" y="1221"/>
                </a:lnTo>
                <a:lnTo>
                  <a:pt x="43" y="1225"/>
                </a:lnTo>
                <a:lnTo>
                  <a:pt x="26" y="1232"/>
                </a:lnTo>
                <a:lnTo>
                  <a:pt x="22" y="1233"/>
                </a:lnTo>
                <a:lnTo>
                  <a:pt x="19" y="1236"/>
                </a:lnTo>
                <a:lnTo>
                  <a:pt x="17" y="1239"/>
                </a:lnTo>
                <a:lnTo>
                  <a:pt x="15" y="1244"/>
                </a:lnTo>
                <a:lnTo>
                  <a:pt x="17" y="1245"/>
                </a:lnTo>
                <a:lnTo>
                  <a:pt x="17" y="1245"/>
                </a:lnTo>
                <a:lnTo>
                  <a:pt x="17" y="1245"/>
                </a:lnTo>
                <a:lnTo>
                  <a:pt x="15" y="1244"/>
                </a:lnTo>
                <a:lnTo>
                  <a:pt x="12" y="1250"/>
                </a:lnTo>
                <a:lnTo>
                  <a:pt x="9" y="1257"/>
                </a:lnTo>
                <a:lnTo>
                  <a:pt x="9" y="1263"/>
                </a:lnTo>
                <a:lnTo>
                  <a:pt x="11" y="1268"/>
                </a:lnTo>
                <a:lnTo>
                  <a:pt x="14" y="1264"/>
                </a:lnTo>
                <a:lnTo>
                  <a:pt x="18" y="1258"/>
                </a:lnTo>
                <a:lnTo>
                  <a:pt x="14" y="1264"/>
                </a:lnTo>
                <a:lnTo>
                  <a:pt x="11" y="1268"/>
                </a:lnTo>
                <a:lnTo>
                  <a:pt x="9" y="1263"/>
                </a:lnTo>
                <a:lnTo>
                  <a:pt x="9" y="1257"/>
                </a:lnTo>
                <a:lnTo>
                  <a:pt x="6" y="1264"/>
                </a:lnTo>
                <a:lnTo>
                  <a:pt x="4" y="1272"/>
                </a:lnTo>
                <a:lnTo>
                  <a:pt x="2" y="1279"/>
                </a:lnTo>
                <a:lnTo>
                  <a:pt x="2" y="1287"/>
                </a:lnTo>
                <a:lnTo>
                  <a:pt x="2" y="1287"/>
                </a:lnTo>
                <a:lnTo>
                  <a:pt x="2" y="1289"/>
                </a:lnTo>
                <a:lnTo>
                  <a:pt x="2" y="1291"/>
                </a:lnTo>
                <a:lnTo>
                  <a:pt x="0" y="1300"/>
                </a:lnTo>
                <a:lnTo>
                  <a:pt x="0" y="1308"/>
                </a:lnTo>
                <a:lnTo>
                  <a:pt x="1" y="1316"/>
                </a:lnTo>
                <a:lnTo>
                  <a:pt x="5" y="1324"/>
                </a:lnTo>
                <a:lnTo>
                  <a:pt x="7" y="1333"/>
                </a:lnTo>
                <a:lnTo>
                  <a:pt x="9" y="1342"/>
                </a:lnTo>
                <a:lnTo>
                  <a:pt x="11" y="1345"/>
                </a:lnTo>
                <a:lnTo>
                  <a:pt x="11" y="1348"/>
                </a:lnTo>
                <a:lnTo>
                  <a:pt x="13" y="1350"/>
                </a:lnTo>
                <a:lnTo>
                  <a:pt x="15" y="1352"/>
                </a:lnTo>
                <a:lnTo>
                  <a:pt x="15" y="1352"/>
                </a:lnTo>
                <a:lnTo>
                  <a:pt x="15" y="1354"/>
                </a:lnTo>
                <a:lnTo>
                  <a:pt x="15" y="1356"/>
                </a:lnTo>
                <a:lnTo>
                  <a:pt x="17" y="1358"/>
                </a:lnTo>
                <a:lnTo>
                  <a:pt x="18" y="1359"/>
                </a:lnTo>
                <a:lnTo>
                  <a:pt x="20" y="1361"/>
                </a:lnTo>
                <a:lnTo>
                  <a:pt x="21" y="1362"/>
                </a:lnTo>
                <a:lnTo>
                  <a:pt x="21" y="1362"/>
                </a:lnTo>
                <a:lnTo>
                  <a:pt x="22" y="1366"/>
                </a:lnTo>
                <a:lnTo>
                  <a:pt x="25" y="1370"/>
                </a:lnTo>
                <a:lnTo>
                  <a:pt x="27" y="1373"/>
                </a:lnTo>
                <a:lnTo>
                  <a:pt x="32" y="1376"/>
                </a:lnTo>
                <a:lnTo>
                  <a:pt x="32" y="1376"/>
                </a:lnTo>
                <a:lnTo>
                  <a:pt x="32" y="1379"/>
                </a:lnTo>
                <a:lnTo>
                  <a:pt x="34" y="1382"/>
                </a:lnTo>
                <a:lnTo>
                  <a:pt x="43" y="1389"/>
                </a:lnTo>
                <a:lnTo>
                  <a:pt x="53" y="1396"/>
                </a:lnTo>
                <a:lnTo>
                  <a:pt x="63" y="1401"/>
                </a:lnTo>
                <a:lnTo>
                  <a:pt x="75" y="1406"/>
                </a:lnTo>
                <a:lnTo>
                  <a:pt x="88" y="1410"/>
                </a:lnTo>
                <a:lnTo>
                  <a:pt x="101" y="1413"/>
                </a:lnTo>
                <a:lnTo>
                  <a:pt x="110" y="1414"/>
                </a:lnTo>
                <a:lnTo>
                  <a:pt x="121" y="1414"/>
                </a:lnTo>
                <a:lnTo>
                  <a:pt x="125" y="1413"/>
                </a:lnTo>
                <a:lnTo>
                  <a:pt x="131" y="1412"/>
                </a:lnTo>
                <a:lnTo>
                  <a:pt x="136" y="1411"/>
                </a:lnTo>
                <a:lnTo>
                  <a:pt x="142" y="1412"/>
                </a:lnTo>
                <a:lnTo>
                  <a:pt x="144" y="1412"/>
                </a:lnTo>
                <a:lnTo>
                  <a:pt x="145" y="1412"/>
                </a:lnTo>
                <a:lnTo>
                  <a:pt x="147" y="1411"/>
                </a:lnTo>
                <a:lnTo>
                  <a:pt x="149" y="1408"/>
                </a:lnTo>
                <a:lnTo>
                  <a:pt x="151" y="1408"/>
                </a:lnTo>
                <a:lnTo>
                  <a:pt x="153" y="1407"/>
                </a:lnTo>
                <a:lnTo>
                  <a:pt x="156" y="1408"/>
                </a:lnTo>
                <a:lnTo>
                  <a:pt x="158" y="1408"/>
                </a:lnTo>
                <a:lnTo>
                  <a:pt x="160" y="1407"/>
                </a:lnTo>
                <a:lnTo>
                  <a:pt x="162" y="1405"/>
                </a:lnTo>
                <a:lnTo>
                  <a:pt x="172" y="1400"/>
                </a:lnTo>
                <a:lnTo>
                  <a:pt x="181" y="1394"/>
                </a:lnTo>
                <a:lnTo>
                  <a:pt x="191" y="1387"/>
                </a:lnTo>
                <a:lnTo>
                  <a:pt x="199" y="1379"/>
                </a:lnTo>
                <a:lnTo>
                  <a:pt x="199" y="1379"/>
                </a:lnTo>
                <a:lnTo>
                  <a:pt x="200" y="1378"/>
                </a:lnTo>
                <a:lnTo>
                  <a:pt x="200" y="1378"/>
                </a:lnTo>
                <a:lnTo>
                  <a:pt x="200" y="1378"/>
                </a:lnTo>
                <a:lnTo>
                  <a:pt x="205" y="1375"/>
                </a:lnTo>
                <a:lnTo>
                  <a:pt x="208" y="1370"/>
                </a:lnTo>
                <a:lnTo>
                  <a:pt x="212" y="1366"/>
                </a:lnTo>
                <a:lnTo>
                  <a:pt x="215" y="1361"/>
                </a:lnTo>
                <a:lnTo>
                  <a:pt x="220" y="1355"/>
                </a:lnTo>
                <a:lnTo>
                  <a:pt x="223" y="1347"/>
                </a:lnTo>
                <a:lnTo>
                  <a:pt x="227" y="1338"/>
                </a:lnTo>
                <a:lnTo>
                  <a:pt x="229" y="1331"/>
                </a:lnTo>
                <a:lnTo>
                  <a:pt x="225" y="1333"/>
                </a:lnTo>
                <a:lnTo>
                  <a:pt x="221" y="1336"/>
                </a:lnTo>
                <a:lnTo>
                  <a:pt x="219" y="1340"/>
                </a:lnTo>
                <a:lnTo>
                  <a:pt x="215" y="1343"/>
                </a:lnTo>
                <a:lnTo>
                  <a:pt x="219" y="1340"/>
                </a:lnTo>
                <a:lnTo>
                  <a:pt x="221" y="1336"/>
                </a:lnTo>
                <a:lnTo>
                  <a:pt x="225" y="1333"/>
                </a:lnTo>
                <a:lnTo>
                  <a:pt x="229" y="1331"/>
                </a:lnTo>
                <a:lnTo>
                  <a:pt x="229" y="1328"/>
                </a:lnTo>
                <a:lnTo>
                  <a:pt x="231" y="1326"/>
                </a:lnTo>
                <a:lnTo>
                  <a:pt x="232" y="1324"/>
                </a:lnTo>
                <a:lnTo>
                  <a:pt x="233" y="1323"/>
                </a:lnTo>
                <a:lnTo>
                  <a:pt x="234" y="1313"/>
                </a:lnTo>
                <a:lnTo>
                  <a:pt x="235" y="1302"/>
                </a:lnTo>
                <a:lnTo>
                  <a:pt x="235" y="1291"/>
                </a:lnTo>
                <a:lnTo>
                  <a:pt x="234" y="1280"/>
                </a:lnTo>
                <a:lnTo>
                  <a:pt x="234" y="1277"/>
                </a:lnTo>
                <a:lnTo>
                  <a:pt x="234" y="1274"/>
                </a:lnTo>
                <a:lnTo>
                  <a:pt x="233" y="1271"/>
                </a:lnTo>
                <a:lnTo>
                  <a:pt x="231" y="1268"/>
                </a:lnTo>
                <a:close/>
                <a:moveTo>
                  <a:pt x="1683" y="1467"/>
                </a:moveTo>
                <a:lnTo>
                  <a:pt x="1684" y="1467"/>
                </a:lnTo>
                <a:lnTo>
                  <a:pt x="1685" y="1467"/>
                </a:lnTo>
                <a:lnTo>
                  <a:pt x="1686" y="1467"/>
                </a:lnTo>
                <a:lnTo>
                  <a:pt x="1686" y="1466"/>
                </a:lnTo>
                <a:lnTo>
                  <a:pt x="1686" y="1467"/>
                </a:lnTo>
                <a:lnTo>
                  <a:pt x="1685" y="1467"/>
                </a:lnTo>
                <a:lnTo>
                  <a:pt x="1684" y="1467"/>
                </a:lnTo>
                <a:lnTo>
                  <a:pt x="1683" y="1467"/>
                </a:lnTo>
                <a:close/>
                <a:moveTo>
                  <a:pt x="1670" y="1473"/>
                </a:moveTo>
                <a:lnTo>
                  <a:pt x="1674" y="1471"/>
                </a:lnTo>
                <a:lnTo>
                  <a:pt x="1677" y="1470"/>
                </a:lnTo>
                <a:lnTo>
                  <a:pt x="1679" y="1468"/>
                </a:lnTo>
                <a:lnTo>
                  <a:pt x="1682" y="1466"/>
                </a:lnTo>
                <a:lnTo>
                  <a:pt x="1682" y="1466"/>
                </a:lnTo>
                <a:lnTo>
                  <a:pt x="1679" y="1468"/>
                </a:lnTo>
                <a:lnTo>
                  <a:pt x="1677" y="1470"/>
                </a:lnTo>
                <a:lnTo>
                  <a:pt x="1674" y="1471"/>
                </a:lnTo>
                <a:lnTo>
                  <a:pt x="1670" y="1473"/>
                </a:lnTo>
                <a:close/>
                <a:moveTo>
                  <a:pt x="1643" y="1487"/>
                </a:moveTo>
                <a:lnTo>
                  <a:pt x="1643" y="1487"/>
                </a:lnTo>
                <a:lnTo>
                  <a:pt x="1642" y="1488"/>
                </a:lnTo>
                <a:lnTo>
                  <a:pt x="1643" y="1487"/>
                </a:lnTo>
                <a:lnTo>
                  <a:pt x="1643" y="1487"/>
                </a:lnTo>
                <a:lnTo>
                  <a:pt x="1652" y="1487"/>
                </a:lnTo>
                <a:lnTo>
                  <a:pt x="1661" y="1487"/>
                </a:lnTo>
                <a:lnTo>
                  <a:pt x="1652" y="1487"/>
                </a:lnTo>
                <a:lnTo>
                  <a:pt x="1643" y="1487"/>
                </a:lnTo>
                <a:close/>
                <a:moveTo>
                  <a:pt x="1635" y="1488"/>
                </a:moveTo>
                <a:lnTo>
                  <a:pt x="1634" y="1489"/>
                </a:lnTo>
                <a:lnTo>
                  <a:pt x="1633" y="1489"/>
                </a:lnTo>
                <a:lnTo>
                  <a:pt x="1634" y="1489"/>
                </a:lnTo>
                <a:lnTo>
                  <a:pt x="1635" y="1488"/>
                </a:lnTo>
                <a:lnTo>
                  <a:pt x="1638" y="1487"/>
                </a:lnTo>
                <a:lnTo>
                  <a:pt x="1641" y="1487"/>
                </a:lnTo>
                <a:lnTo>
                  <a:pt x="1638" y="1487"/>
                </a:lnTo>
                <a:lnTo>
                  <a:pt x="1635" y="1488"/>
                </a:lnTo>
                <a:close/>
                <a:moveTo>
                  <a:pt x="1628" y="1489"/>
                </a:moveTo>
                <a:lnTo>
                  <a:pt x="1627" y="1490"/>
                </a:lnTo>
                <a:lnTo>
                  <a:pt x="1626" y="1491"/>
                </a:lnTo>
                <a:lnTo>
                  <a:pt x="1627" y="1490"/>
                </a:lnTo>
                <a:lnTo>
                  <a:pt x="1628" y="1489"/>
                </a:lnTo>
                <a:lnTo>
                  <a:pt x="1629" y="1489"/>
                </a:lnTo>
                <a:lnTo>
                  <a:pt x="1631" y="1489"/>
                </a:lnTo>
                <a:lnTo>
                  <a:pt x="1629" y="1489"/>
                </a:lnTo>
                <a:lnTo>
                  <a:pt x="1628" y="1489"/>
                </a:lnTo>
                <a:close/>
                <a:moveTo>
                  <a:pt x="1623" y="1469"/>
                </a:moveTo>
                <a:lnTo>
                  <a:pt x="1621" y="1468"/>
                </a:lnTo>
                <a:lnTo>
                  <a:pt x="1620" y="1469"/>
                </a:lnTo>
                <a:lnTo>
                  <a:pt x="1621" y="1468"/>
                </a:lnTo>
                <a:lnTo>
                  <a:pt x="1623" y="1469"/>
                </a:lnTo>
                <a:lnTo>
                  <a:pt x="1623" y="1468"/>
                </a:lnTo>
                <a:lnTo>
                  <a:pt x="1624" y="1467"/>
                </a:lnTo>
                <a:lnTo>
                  <a:pt x="1623" y="1464"/>
                </a:lnTo>
                <a:lnTo>
                  <a:pt x="1624" y="1462"/>
                </a:lnTo>
                <a:lnTo>
                  <a:pt x="1627" y="1460"/>
                </a:lnTo>
                <a:lnTo>
                  <a:pt x="1630" y="1460"/>
                </a:lnTo>
                <a:lnTo>
                  <a:pt x="1640" y="1460"/>
                </a:lnTo>
                <a:lnTo>
                  <a:pt x="1648" y="1462"/>
                </a:lnTo>
                <a:lnTo>
                  <a:pt x="1642" y="1466"/>
                </a:lnTo>
                <a:lnTo>
                  <a:pt x="1636" y="1467"/>
                </a:lnTo>
                <a:lnTo>
                  <a:pt x="1630" y="1467"/>
                </a:lnTo>
                <a:lnTo>
                  <a:pt x="1624" y="1467"/>
                </a:lnTo>
                <a:lnTo>
                  <a:pt x="1623" y="1468"/>
                </a:lnTo>
                <a:lnTo>
                  <a:pt x="1623" y="1469"/>
                </a:lnTo>
                <a:close/>
                <a:moveTo>
                  <a:pt x="1617" y="1397"/>
                </a:moveTo>
                <a:lnTo>
                  <a:pt x="1619" y="1398"/>
                </a:lnTo>
                <a:lnTo>
                  <a:pt x="1619" y="1398"/>
                </a:lnTo>
                <a:lnTo>
                  <a:pt x="1622" y="1397"/>
                </a:lnTo>
                <a:lnTo>
                  <a:pt x="1626" y="1397"/>
                </a:lnTo>
                <a:lnTo>
                  <a:pt x="1626" y="1397"/>
                </a:lnTo>
                <a:lnTo>
                  <a:pt x="1622" y="1397"/>
                </a:lnTo>
                <a:lnTo>
                  <a:pt x="1619" y="1398"/>
                </a:lnTo>
                <a:lnTo>
                  <a:pt x="1619" y="1398"/>
                </a:lnTo>
                <a:lnTo>
                  <a:pt x="1617" y="1397"/>
                </a:lnTo>
                <a:close/>
                <a:moveTo>
                  <a:pt x="1616" y="1410"/>
                </a:moveTo>
                <a:lnTo>
                  <a:pt x="1612" y="1408"/>
                </a:lnTo>
                <a:lnTo>
                  <a:pt x="1608" y="1410"/>
                </a:lnTo>
                <a:lnTo>
                  <a:pt x="1612" y="1408"/>
                </a:lnTo>
                <a:lnTo>
                  <a:pt x="1616" y="1410"/>
                </a:lnTo>
                <a:lnTo>
                  <a:pt x="1616" y="1410"/>
                </a:lnTo>
                <a:lnTo>
                  <a:pt x="1616" y="1410"/>
                </a:lnTo>
                <a:lnTo>
                  <a:pt x="1616" y="1410"/>
                </a:lnTo>
                <a:close/>
                <a:moveTo>
                  <a:pt x="1613" y="1473"/>
                </a:moveTo>
                <a:lnTo>
                  <a:pt x="1612" y="1473"/>
                </a:lnTo>
                <a:lnTo>
                  <a:pt x="1609" y="1473"/>
                </a:lnTo>
                <a:lnTo>
                  <a:pt x="1612" y="1473"/>
                </a:lnTo>
                <a:lnTo>
                  <a:pt x="1613" y="1473"/>
                </a:lnTo>
                <a:lnTo>
                  <a:pt x="1614" y="1470"/>
                </a:lnTo>
                <a:lnTo>
                  <a:pt x="1615" y="1469"/>
                </a:lnTo>
                <a:lnTo>
                  <a:pt x="1614" y="1470"/>
                </a:lnTo>
                <a:lnTo>
                  <a:pt x="1613" y="1473"/>
                </a:lnTo>
                <a:close/>
                <a:moveTo>
                  <a:pt x="1603" y="1337"/>
                </a:moveTo>
                <a:lnTo>
                  <a:pt x="1607" y="1337"/>
                </a:lnTo>
                <a:lnTo>
                  <a:pt x="1610" y="1336"/>
                </a:lnTo>
                <a:lnTo>
                  <a:pt x="1612" y="1337"/>
                </a:lnTo>
                <a:lnTo>
                  <a:pt x="1613" y="1337"/>
                </a:lnTo>
                <a:lnTo>
                  <a:pt x="1620" y="1342"/>
                </a:lnTo>
                <a:lnTo>
                  <a:pt x="1626" y="1348"/>
                </a:lnTo>
                <a:lnTo>
                  <a:pt x="1614" y="1342"/>
                </a:lnTo>
                <a:lnTo>
                  <a:pt x="1603" y="1337"/>
                </a:lnTo>
                <a:close/>
                <a:moveTo>
                  <a:pt x="1596" y="1408"/>
                </a:moveTo>
                <a:lnTo>
                  <a:pt x="1599" y="1408"/>
                </a:lnTo>
                <a:lnTo>
                  <a:pt x="1601" y="1407"/>
                </a:lnTo>
                <a:lnTo>
                  <a:pt x="1602" y="1405"/>
                </a:lnTo>
                <a:lnTo>
                  <a:pt x="1605" y="1404"/>
                </a:lnTo>
                <a:lnTo>
                  <a:pt x="1602" y="1405"/>
                </a:lnTo>
                <a:lnTo>
                  <a:pt x="1601" y="1407"/>
                </a:lnTo>
                <a:lnTo>
                  <a:pt x="1599" y="1408"/>
                </a:lnTo>
                <a:lnTo>
                  <a:pt x="1596" y="1408"/>
                </a:lnTo>
                <a:close/>
                <a:moveTo>
                  <a:pt x="1595" y="1308"/>
                </a:moveTo>
                <a:lnTo>
                  <a:pt x="1594" y="1308"/>
                </a:lnTo>
                <a:lnTo>
                  <a:pt x="1593" y="1306"/>
                </a:lnTo>
                <a:lnTo>
                  <a:pt x="1595" y="1303"/>
                </a:lnTo>
                <a:lnTo>
                  <a:pt x="1598" y="1302"/>
                </a:lnTo>
                <a:lnTo>
                  <a:pt x="1599" y="1300"/>
                </a:lnTo>
                <a:lnTo>
                  <a:pt x="1599" y="1298"/>
                </a:lnTo>
                <a:lnTo>
                  <a:pt x="1599" y="1300"/>
                </a:lnTo>
                <a:lnTo>
                  <a:pt x="1598" y="1302"/>
                </a:lnTo>
                <a:lnTo>
                  <a:pt x="1595" y="1303"/>
                </a:lnTo>
                <a:lnTo>
                  <a:pt x="1593" y="1306"/>
                </a:lnTo>
                <a:lnTo>
                  <a:pt x="1594" y="1308"/>
                </a:lnTo>
                <a:lnTo>
                  <a:pt x="1595" y="1308"/>
                </a:lnTo>
                <a:close/>
                <a:moveTo>
                  <a:pt x="1593" y="1391"/>
                </a:moveTo>
                <a:lnTo>
                  <a:pt x="1594" y="1390"/>
                </a:lnTo>
                <a:lnTo>
                  <a:pt x="1594" y="1389"/>
                </a:lnTo>
                <a:lnTo>
                  <a:pt x="1592" y="1389"/>
                </a:lnTo>
                <a:lnTo>
                  <a:pt x="1590" y="1389"/>
                </a:lnTo>
                <a:lnTo>
                  <a:pt x="1592" y="1389"/>
                </a:lnTo>
                <a:lnTo>
                  <a:pt x="1594" y="1389"/>
                </a:lnTo>
                <a:lnTo>
                  <a:pt x="1594" y="1390"/>
                </a:lnTo>
                <a:lnTo>
                  <a:pt x="1593" y="1391"/>
                </a:lnTo>
                <a:close/>
                <a:moveTo>
                  <a:pt x="1592" y="1476"/>
                </a:moveTo>
                <a:lnTo>
                  <a:pt x="1588" y="1475"/>
                </a:lnTo>
                <a:lnTo>
                  <a:pt x="1586" y="1476"/>
                </a:lnTo>
                <a:lnTo>
                  <a:pt x="1588" y="1475"/>
                </a:lnTo>
                <a:lnTo>
                  <a:pt x="1592" y="1476"/>
                </a:lnTo>
                <a:lnTo>
                  <a:pt x="1593" y="1474"/>
                </a:lnTo>
                <a:lnTo>
                  <a:pt x="1593" y="1473"/>
                </a:lnTo>
                <a:lnTo>
                  <a:pt x="1593" y="1474"/>
                </a:lnTo>
                <a:lnTo>
                  <a:pt x="1592" y="1476"/>
                </a:lnTo>
                <a:close/>
                <a:moveTo>
                  <a:pt x="1578" y="1454"/>
                </a:moveTo>
                <a:lnTo>
                  <a:pt x="1578" y="1455"/>
                </a:lnTo>
                <a:lnTo>
                  <a:pt x="1579" y="1455"/>
                </a:lnTo>
                <a:lnTo>
                  <a:pt x="1581" y="1456"/>
                </a:lnTo>
                <a:lnTo>
                  <a:pt x="1583" y="1456"/>
                </a:lnTo>
                <a:lnTo>
                  <a:pt x="1581" y="1456"/>
                </a:lnTo>
                <a:lnTo>
                  <a:pt x="1579" y="1455"/>
                </a:lnTo>
                <a:lnTo>
                  <a:pt x="1578" y="1455"/>
                </a:lnTo>
                <a:lnTo>
                  <a:pt x="1578" y="1454"/>
                </a:lnTo>
                <a:close/>
                <a:moveTo>
                  <a:pt x="1558" y="1324"/>
                </a:moveTo>
                <a:lnTo>
                  <a:pt x="1557" y="1324"/>
                </a:lnTo>
                <a:lnTo>
                  <a:pt x="1554" y="1324"/>
                </a:lnTo>
                <a:lnTo>
                  <a:pt x="1557" y="1324"/>
                </a:lnTo>
                <a:lnTo>
                  <a:pt x="1558" y="1324"/>
                </a:lnTo>
                <a:lnTo>
                  <a:pt x="1571" y="1316"/>
                </a:lnTo>
                <a:lnTo>
                  <a:pt x="1583" y="1310"/>
                </a:lnTo>
                <a:lnTo>
                  <a:pt x="1571" y="1316"/>
                </a:lnTo>
                <a:lnTo>
                  <a:pt x="1558" y="1324"/>
                </a:lnTo>
                <a:close/>
                <a:moveTo>
                  <a:pt x="1562" y="1344"/>
                </a:moveTo>
                <a:lnTo>
                  <a:pt x="1564" y="1341"/>
                </a:lnTo>
                <a:lnTo>
                  <a:pt x="1567" y="1338"/>
                </a:lnTo>
                <a:lnTo>
                  <a:pt x="1567" y="1338"/>
                </a:lnTo>
                <a:lnTo>
                  <a:pt x="1564" y="1341"/>
                </a:lnTo>
                <a:lnTo>
                  <a:pt x="1562" y="1344"/>
                </a:lnTo>
                <a:close/>
                <a:moveTo>
                  <a:pt x="1589" y="1406"/>
                </a:moveTo>
                <a:lnTo>
                  <a:pt x="1590" y="1408"/>
                </a:lnTo>
                <a:lnTo>
                  <a:pt x="1593" y="1408"/>
                </a:lnTo>
                <a:lnTo>
                  <a:pt x="1590" y="1408"/>
                </a:lnTo>
                <a:lnTo>
                  <a:pt x="1589" y="1406"/>
                </a:lnTo>
                <a:lnTo>
                  <a:pt x="1586" y="1407"/>
                </a:lnTo>
                <a:lnTo>
                  <a:pt x="1583" y="1408"/>
                </a:lnTo>
                <a:lnTo>
                  <a:pt x="1586" y="1407"/>
                </a:lnTo>
                <a:lnTo>
                  <a:pt x="1589" y="1406"/>
                </a:lnTo>
                <a:close/>
                <a:moveTo>
                  <a:pt x="1629" y="1418"/>
                </a:moveTo>
                <a:lnTo>
                  <a:pt x="1628" y="1417"/>
                </a:lnTo>
                <a:lnTo>
                  <a:pt x="1628" y="1414"/>
                </a:lnTo>
                <a:lnTo>
                  <a:pt x="1628" y="1417"/>
                </a:lnTo>
                <a:lnTo>
                  <a:pt x="1629" y="1418"/>
                </a:lnTo>
                <a:close/>
                <a:moveTo>
                  <a:pt x="1654" y="1473"/>
                </a:moveTo>
                <a:lnTo>
                  <a:pt x="1654" y="1473"/>
                </a:lnTo>
                <a:lnTo>
                  <a:pt x="1655" y="1473"/>
                </a:lnTo>
                <a:lnTo>
                  <a:pt x="1654" y="1473"/>
                </a:lnTo>
                <a:lnTo>
                  <a:pt x="1654" y="1473"/>
                </a:lnTo>
                <a:lnTo>
                  <a:pt x="1652" y="1471"/>
                </a:lnTo>
                <a:lnTo>
                  <a:pt x="1651" y="1470"/>
                </a:lnTo>
                <a:lnTo>
                  <a:pt x="1652" y="1471"/>
                </a:lnTo>
                <a:lnTo>
                  <a:pt x="1654" y="1473"/>
                </a:lnTo>
                <a:close/>
                <a:moveTo>
                  <a:pt x="1520" y="1180"/>
                </a:moveTo>
                <a:lnTo>
                  <a:pt x="1514" y="1183"/>
                </a:lnTo>
                <a:lnTo>
                  <a:pt x="1510" y="1187"/>
                </a:lnTo>
                <a:lnTo>
                  <a:pt x="1514" y="1183"/>
                </a:lnTo>
                <a:lnTo>
                  <a:pt x="1520" y="1180"/>
                </a:lnTo>
                <a:lnTo>
                  <a:pt x="1521" y="1177"/>
                </a:lnTo>
                <a:lnTo>
                  <a:pt x="1521" y="1176"/>
                </a:lnTo>
                <a:lnTo>
                  <a:pt x="1521" y="1177"/>
                </a:lnTo>
                <a:lnTo>
                  <a:pt x="1520" y="1180"/>
                </a:lnTo>
                <a:close/>
                <a:moveTo>
                  <a:pt x="1341" y="971"/>
                </a:moveTo>
                <a:lnTo>
                  <a:pt x="1332" y="970"/>
                </a:lnTo>
                <a:lnTo>
                  <a:pt x="1324" y="970"/>
                </a:lnTo>
                <a:lnTo>
                  <a:pt x="1332" y="970"/>
                </a:lnTo>
                <a:lnTo>
                  <a:pt x="1341" y="971"/>
                </a:lnTo>
                <a:lnTo>
                  <a:pt x="1343" y="971"/>
                </a:lnTo>
                <a:lnTo>
                  <a:pt x="1341" y="971"/>
                </a:lnTo>
                <a:lnTo>
                  <a:pt x="1341" y="971"/>
                </a:lnTo>
                <a:close/>
                <a:moveTo>
                  <a:pt x="1319" y="971"/>
                </a:moveTo>
                <a:lnTo>
                  <a:pt x="1319" y="971"/>
                </a:lnTo>
                <a:lnTo>
                  <a:pt x="1322" y="978"/>
                </a:lnTo>
                <a:lnTo>
                  <a:pt x="1324" y="984"/>
                </a:lnTo>
                <a:lnTo>
                  <a:pt x="1322" y="978"/>
                </a:lnTo>
                <a:lnTo>
                  <a:pt x="1319" y="971"/>
                </a:lnTo>
                <a:close/>
                <a:moveTo>
                  <a:pt x="1312" y="970"/>
                </a:moveTo>
                <a:lnTo>
                  <a:pt x="1312" y="970"/>
                </a:lnTo>
                <a:lnTo>
                  <a:pt x="1315" y="970"/>
                </a:lnTo>
                <a:lnTo>
                  <a:pt x="1317" y="968"/>
                </a:lnTo>
                <a:lnTo>
                  <a:pt x="1315" y="970"/>
                </a:lnTo>
                <a:lnTo>
                  <a:pt x="1312" y="970"/>
                </a:lnTo>
                <a:close/>
                <a:moveTo>
                  <a:pt x="1311" y="970"/>
                </a:moveTo>
                <a:lnTo>
                  <a:pt x="1306" y="971"/>
                </a:lnTo>
                <a:lnTo>
                  <a:pt x="1302" y="972"/>
                </a:lnTo>
                <a:lnTo>
                  <a:pt x="1306" y="971"/>
                </a:lnTo>
                <a:lnTo>
                  <a:pt x="1311" y="970"/>
                </a:lnTo>
                <a:lnTo>
                  <a:pt x="1312" y="970"/>
                </a:lnTo>
                <a:lnTo>
                  <a:pt x="1312" y="970"/>
                </a:lnTo>
                <a:lnTo>
                  <a:pt x="1312" y="970"/>
                </a:lnTo>
                <a:lnTo>
                  <a:pt x="1311" y="970"/>
                </a:lnTo>
                <a:close/>
                <a:moveTo>
                  <a:pt x="1279" y="1017"/>
                </a:moveTo>
                <a:lnTo>
                  <a:pt x="1279" y="1016"/>
                </a:lnTo>
                <a:lnTo>
                  <a:pt x="1278" y="1015"/>
                </a:lnTo>
                <a:lnTo>
                  <a:pt x="1278" y="1014"/>
                </a:lnTo>
                <a:lnTo>
                  <a:pt x="1277" y="1013"/>
                </a:lnTo>
                <a:lnTo>
                  <a:pt x="1277" y="1012"/>
                </a:lnTo>
                <a:lnTo>
                  <a:pt x="1276" y="1010"/>
                </a:lnTo>
                <a:lnTo>
                  <a:pt x="1277" y="1012"/>
                </a:lnTo>
                <a:lnTo>
                  <a:pt x="1277" y="1013"/>
                </a:lnTo>
                <a:lnTo>
                  <a:pt x="1278" y="1014"/>
                </a:lnTo>
                <a:lnTo>
                  <a:pt x="1278" y="1015"/>
                </a:lnTo>
                <a:lnTo>
                  <a:pt x="1279" y="1016"/>
                </a:lnTo>
                <a:lnTo>
                  <a:pt x="1279" y="1017"/>
                </a:lnTo>
                <a:lnTo>
                  <a:pt x="1279" y="1019"/>
                </a:lnTo>
                <a:lnTo>
                  <a:pt x="1279" y="1019"/>
                </a:lnTo>
                <a:lnTo>
                  <a:pt x="1279" y="1019"/>
                </a:lnTo>
                <a:lnTo>
                  <a:pt x="1279" y="1017"/>
                </a:lnTo>
                <a:close/>
                <a:moveTo>
                  <a:pt x="1276" y="1010"/>
                </a:moveTo>
                <a:lnTo>
                  <a:pt x="1274" y="1003"/>
                </a:lnTo>
                <a:lnTo>
                  <a:pt x="1269" y="996"/>
                </a:lnTo>
                <a:lnTo>
                  <a:pt x="1274" y="1003"/>
                </a:lnTo>
                <a:lnTo>
                  <a:pt x="1276" y="1010"/>
                </a:lnTo>
                <a:close/>
                <a:moveTo>
                  <a:pt x="1268" y="986"/>
                </a:moveTo>
                <a:lnTo>
                  <a:pt x="1269" y="984"/>
                </a:lnTo>
                <a:lnTo>
                  <a:pt x="1271" y="982"/>
                </a:lnTo>
                <a:lnTo>
                  <a:pt x="1269" y="984"/>
                </a:lnTo>
                <a:lnTo>
                  <a:pt x="1268" y="986"/>
                </a:lnTo>
                <a:close/>
                <a:moveTo>
                  <a:pt x="1250" y="622"/>
                </a:moveTo>
                <a:lnTo>
                  <a:pt x="1249" y="623"/>
                </a:lnTo>
                <a:lnTo>
                  <a:pt x="1249" y="624"/>
                </a:lnTo>
                <a:lnTo>
                  <a:pt x="1249" y="623"/>
                </a:lnTo>
                <a:lnTo>
                  <a:pt x="1250" y="622"/>
                </a:lnTo>
                <a:lnTo>
                  <a:pt x="1254" y="618"/>
                </a:lnTo>
                <a:lnTo>
                  <a:pt x="1257" y="616"/>
                </a:lnTo>
                <a:lnTo>
                  <a:pt x="1254" y="618"/>
                </a:lnTo>
                <a:lnTo>
                  <a:pt x="1250" y="622"/>
                </a:lnTo>
                <a:close/>
                <a:moveTo>
                  <a:pt x="1275" y="621"/>
                </a:moveTo>
                <a:lnTo>
                  <a:pt x="1272" y="620"/>
                </a:lnTo>
                <a:lnTo>
                  <a:pt x="1270" y="620"/>
                </a:lnTo>
                <a:lnTo>
                  <a:pt x="1272" y="620"/>
                </a:lnTo>
                <a:lnTo>
                  <a:pt x="1275" y="621"/>
                </a:lnTo>
                <a:close/>
                <a:moveTo>
                  <a:pt x="1233" y="952"/>
                </a:moveTo>
                <a:lnTo>
                  <a:pt x="1233" y="952"/>
                </a:lnTo>
                <a:lnTo>
                  <a:pt x="1231" y="951"/>
                </a:lnTo>
                <a:lnTo>
                  <a:pt x="1233" y="952"/>
                </a:lnTo>
                <a:lnTo>
                  <a:pt x="1233" y="952"/>
                </a:lnTo>
                <a:lnTo>
                  <a:pt x="1233" y="952"/>
                </a:lnTo>
                <a:lnTo>
                  <a:pt x="1234" y="952"/>
                </a:lnTo>
                <a:lnTo>
                  <a:pt x="1233" y="952"/>
                </a:lnTo>
                <a:lnTo>
                  <a:pt x="1233" y="952"/>
                </a:lnTo>
                <a:close/>
                <a:moveTo>
                  <a:pt x="1212" y="553"/>
                </a:moveTo>
                <a:lnTo>
                  <a:pt x="1212" y="551"/>
                </a:lnTo>
                <a:lnTo>
                  <a:pt x="1210" y="551"/>
                </a:lnTo>
                <a:lnTo>
                  <a:pt x="1209" y="543"/>
                </a:lnTo>
                <a:lnTo>
                  <a:pt x="1207" y="536"/>
                </a:lnTo>
                <a:lnTo>
                  <a:pt x="1206" y="518"/>
                </a:lnTo>
                <a:lnTo>
                  <a:pt x="1203" y="501"/>
                </a:lnTo>
                <a:lnTo>
                  <a:pt x="1202" y="492"/>
                </a:lnTo>
                <a:lnTo>
                  <a:pt x="1200" y="483"/>
                </a:lnTo>
                <a:lnTo>
                  <a:pt x="1198" y="475"/>
                </a:lnTo>
                <a:lnTo>
                  <a:pt x="1194" y="467"/>
                </a:lnTo>
                <a:lnTo>
                  <a:pt x="1194" y="459"/>
                </a:lnTo>
                <a:lnTo>
                  <a:pt x="1198" y="464"/>
                </a:lnTo>
                <a:lnTo>
                  <a:pt x="1201" y="469"/>
                </a:lnTo>
                <a:lnTo>
                  <a:pt x="1202" y="466"/>
                </a:lnTo>
                <a:lnTo>
                  <a:pt x="1205" y="462"/>
                </a:lnTo>
                <a:lnTo>
                  <a:pt x="1205" y="461"/>
                </a:lnTo>
                <a:lnTo>
                  <a:pt x="1205" y="460"/>
                </a:lnTo>
                <a:lnTo>
                  <a:pt x="1205" y="461"/>
                </a:lnTo>
                <a:lnTo>
                  <a:pt x="1205" y="462"/>
                </a:lnTo>
                <a:lnTo>
                  <a:pt x="1205" y="470"/>
                </a:lnTo>
                <a:lnTo>
                  <a:pt x="1206" y="478"/>
                </a:lnTo>
                <a:lnTo>
                  <a:pt x="1205" y="481"/>
                </a:lnTo>
                <a:lnTo>
                  <a:pt x="1205" y="483"/>
                </a:lnTo>
                <a:lnTo>
                  <a:pt x="1206" y="485"/>
                </a:lnTo>
                <a:lnTo>
                  <a:pt x="1207" y="488"/>
                </a:lnTo>
                <a:lnTo>
                  <a:pt x="1208" y="498"/>
                </a:lnTo>
                <a:lnTo>
                  <a:pt x="1210" y="510"/>
                </a:lnTo>
                <a:lnTo>
                  <a:pt x="1213" y="511"/>
                </a:lnTo>
                <a:lnTo>
                  <a:pt x="1214" y="512"/>
                </a:lnTo>
                <a:lnTo>
                  <a:pt x="1213" y="511"/>
                </a:lnTo>
                <a:lnTo>
                  <a:pt x="1210" y="510"/>
                </a:lnTo>
                <a:lnTo>
                  <a:pt x="1212" y="526"/>
                </a:lnTo>
                <a:lnTo>
                  <a:pt x="1214" y="543"/>
                </a:lnTo>
                <a:lnTo>
                  <a:pt x="1215" y="546"/>
                </a:lnTo>
                <a:lnTo>
                  <a:pt x="1215" y="550"/>
                </a:lnTo>
                <a:lnTo>
                  <a:pt x="1215" y="553"/>
                </a:lnTo>
                <a:lnTo>
                  <a:pt x="1214" y="555"/>
                </a:lnTo>
                <a:lnTo>
                  <a:pt x="1213" y="554"/>
                </a:lnTo>
                <a:lnTo>
                  <a:pt x="1212" y="553"/>
                </a:lnTo>
                <a:close/>
                <a:moveTo>
                  <a:pt x="1207" y="483"/>
                </a:moveTo>
                <a:lnTo>
                  <a:pt x="1207" y="482"/>
                </a:lnTo>
                <a:lnTo>
                  <a:pt x="1206" y="480"/>
                </a:lnTo>
                <a:lnTo>
                  <a:pt x="1207" y="482"/>
                </a:lnTo>
                <a:lnTo>
                  <a:pt x="1207" y="483"/>
                </a:lnTo>
                <a:close/>
                <a:moveTo>
                  <a:pt x="1188" y="431"/>
                </a:moveTo>
                <a:lnTo>
                  <a:pt x="1187" y="429"/>
                </a:lnTo>
                <a:lnTo>
                  <a:pt x="1187" y="428"/>
                </a:lnTo>
                <a:lnTo>
                  <a:pt x="1187" y="428"/>
                </a:lnTo>
                <a:lnTo>
                  <a:pt x="1188" y="428"/>
                </a:lnTo>
                <a:lnTo>
                  <a:pt x="1188" y="429"/>
                </a:lnTo>
                <a:lnTo>
                  <a:pt x="1189" y="429"/>
                </a:lnTo>
                <a:lnTo>
                  <a:pt x="1188" y="431"/>
                </a:lnTo>
                <a:lnTo>
                  <a:pt x="1188" y="431"/>
                </a:lnTo>
                <a:close/>
                <a:moveTo>
                  <a:pt x="1179" y="464"/>
                </a:moveTo>
                <a:lnTo>
                  <a:pt x="1177" y="460"/>
                </a:lnTo>
                <a:lnTo>
                  <a:pt x="1175" y="455"/>
                </a:lnTo>
                <a:lnTo>
                  <a:pt x="1177" y="447"/>
                </a:lnTo>
                <a:lnTo>
                  <a:pt x="1180" y="432"/>
                </a:lnTo>
                <a:lnTo>
                  <a:pt x="1179" y="448"/>
                </a:lnTo>
                <a:lnTo>
                  <a:pt x="1179" y="464"/>
                </a:lnTo>
                <a:close/>
                <a:moveTo>
                  <a:pt x="1159" y="665"/>
                </a:moveTo>
                <a:lnTo>
                  <a:pt x="1157" y="665"/>
                </a:lnTo>
                <a:lnTo>
                  <a:pt x="1155" y="667"/>
                </a:lnTo>
                <a:lnTo>
                  <a:pt x="1155" y="667"/>
                </a:lnTo>
                <a:lnTo>
                  <a:pt x="1154" y="667"/>
                </a:lnTo>
                <a:lnTo>
                  <a:pt x="1153" y="666"/>
                </a:lnTo>
                <a:lnTo>
                  <a:pt x="1153" y="665"/>
                </a:lnTo>
                <a:lnTo>
                  <a:pt x="1150" y="655"/>
                </a:lnTo>
                <a:lnTo>
                  <a:pt x="1146" y="644"/>
                </a:lnTo>
                <a:lnTo>
                  <a:pt x="1144" y="632"/>
                </a:lnTo>
                <a:lnTo>
                  <a:pt x="1141" y="622"/>
                </a:lnTo>
                <a:lnTo>
                  <a:pt x="1139" y="610"/>
                </a:lnTo>
                <a:lnTo>
                  <a:pt x="1137" y="600"/>
                </a:lnTo>
                <a:lnTo>
                  <a:pt x="1138" y="596"/>
                </a:lnTo>
                <a:lnTo>
                  <a:pt x="1138" y="594"/>
                </a:lnTo>
                <a:lnTo>
                  <a:pt x="1140" y="588"/>
                </a:lnTo>
                <a:lnTo>
                  <a:pt x="1140" y="581"/>
                </a:lnTo>
                <a:lnTo>
                  <a:pt x="1140" y="574"/>
                </a:lnTo>
                <a:lnTo>
                  <a:pt x="1138" y="567"/>
                </a:lnTo>
                <a:lnTo>
                  <a:pt x="1137" y="562"/>
                </a:lnTo>
                <a:lnTo>
                  <a:pt x="1137" y="557"/>
                </a:lnTo>
                <a:lnTo>
                  <a:pt x="1133" y="557"/>
                </a:lnTo>
                <a:lnTo>
                  <a:pt x="1131" y="558"/>
                </a:lnTo>
                <a:lnTo>
                  <a:pt x="1133" y="557"/>
                </a:lnTo>
                <a:lnTo>
                  <a:pt x="1137" y="557"/>
                </a:lnTo>
                <a:lnTo>
                  <a:pt x="1137" y="548"/>
                </a:lnTo>
                <a:lnTo>
                  <a:pt x="1136" y="540"/>
                </a:lnTo>
                <a:lnTo>
                  <a:pt x="1133" y="532"/>
                </a:lnTo>
                <a:lnTo>
                  <a:pt x="1131" y="524"/>
                </a:lnTo>
                <a:lnTo>
                  <a:pt x="1130" y="513"/>
                </a:lnTo>
                <a:lnTo>
                  <a:pt x="1127" y="503"/>
                </a:lnTo>
                <a:lnTo>
                  <a:pt x="1125" y="494"/>
                </a:lnTo>
                <a:lnTo>
                  <a:pt x="1120" y="485"/>
                </a:lnTo>
                <a:lnTo>
                  <a:pt x="1117" y="478"/>
                </a:lnTo>
                <a:lnTo>
                  <a:pt x="1115" y="473"/>
                </a:lnTo>
                <a:lnTo>
                  <a:pt x="1112" y="466"/>
                </a:lnTo>
                <a:lnTo>
                  <a:pt x="1111" y="459"/>
                </a:lnTo>
                <a:lnTo>
                  <a:pt x="1110" y="446"/>
                </a:lnTo>
                <a:lnTo>
                  <a:pt x="1111" y="432"/>
                </a:lnTo>
                <a:lnTo>
                  <a:pt x="1110" y="420"/>
                </a:lnTo>
                <a:lnTo>
                  <a:pt x="1109" y="408"/>
                </a:lnTo>
                <a:lnTo>
                  <a:pt x="1106" y="397"/>
                </a:lnTo>
                <a:lnTo>
                  <a:pt x="1104" y="385"/>
                </a:lnTo>
                <a:lnTo>
                  <a:pt x="1104" y="381"/>
                </a:lnTo>
                <a:lnTo>
                  <a:pt x="1104" y="378"/>
                </a:lnTo>
                <a:lnTo>
                  <a:pt x="1105" y="376"/>
                </a:lnTo>
                <a:lnTo>
                  <a:pt x="1109" y="374"/>
                </a:lnTo>
                <a:lnTo>
                  <a:pt x="1112" y="374"/>
                </a:lnTo>
                <a:lnTo>
                  <a:pt x="1115" y="376"/>
                </a:lnTo>
                <a:lnTo>
                  <a:pt x="1116" y="379"/>
                </a:lnTo>
                <a:lnTo>
                  <a:pt x="1116" y="383"/>
                </a:lnTo>
                <a:lnTo>
                  <a:pt x="1119" y="398"/>
                </a:lnTo>
                <a:lnTo>
                  <a:pt x="1122" y="413"/>
                </a:lnTo>
                <a:lnTo>
                  <a:pt x="1122" y="417"/>
                </a:lnTo>
                <a:lnTo>
                  <a:pt x="1124" y="420"/>
                </a:lnTo>
                <a:lnTo>
                  <a:pt x="1124" y="424"/>
                </a:lnTo>
                <a:lnTo>
                  <a:pt x="1124" y="427"/>
                </a:lnTo>
                <a:lnTo>
                  <a:pt x="1122" y="427"/>
                </a:lnTo>
                <a:lnTo>
                  <a:pt x="1122" y="428"/>
                </a:lnTo>
                <a:lnTo>
                  <a:pt x="1122" y="429"/>
                </a:lnTo>
                <a:lnTo>
                  <a:pt x="1123" y="431"/>
                </a:lnTo>
                <a:lnTo>
                  <a:pt x="1124" y="429"/>
                </a:lnTo>
                <a:lnTo>
                  <a:pt x="1124" y="428"/>
                </a:lnTo>
                <a:lnTo>
                  <a:pt x="1124" y="429"/>
                </a:lnTo>
                <a:lnTo>
                  <a:pt x="1123" y="431"/>
                </a:lnTo>
                <a:lnTo>
                  <a:pt x="1123" y="436"/>
                </a:lnTo>
                <a:lnTo>
                  <a:pt x="1123" y="442"/>
                </a:lnTo>
                <a:lnTo>
                  <a:pt x="1122" y="445"/>
                </a:lnTo>
                <a:lnTo>
                  <a:pt x="1120" y="448"/>
                </a:lnTo>
                <a:lnTo>
                  <a:pt x="1122" y="450"/>
                </a:lnTo>
                <a:lnTo>
                  <a:pt x="1124" y="453"/>
                </a:lnTo>
                <a:lnTo>
                  <a:pt x="1124" y="455"/>
                </a:lnTo>
                <a:lnTo>
                  <a:pt x="1124" y="456"/>
                </a:lnTo>
                <a:lnTo>
                  <a:pt x="1124" y="459"/>
                </a:lnTo>
                <a:lnTo>
                  <a:pt x="1124" y="460"/>
                </a:lnTo>
                <a:lnTo>
                  <a:pt x="1124" y="461"/>
                </a:lnTo>
                <a:lnTo>
                  <a:pt x="1126" y="462"/>
                </a:lnTo>
                <a:lnTo>
                  <a:pt x="1130" y="477"/>
                </a:lnTo>
                <a:lnTo>
                  <a:pt x="1134" y="492"/>
                </a:lnTo>
                <a:lnTo>
                  <a:pt x="1137" y="504"/>
                </a:lnTo>
                <a:lnTo>
                  <a:pt x="1140" y="516"/>
                </a:lnTo>
                <a:lnTo>
                  <a:pt x="1143" y="527"/>
                </a:lnTo>
                <a:lnTo>
                  <a:pt x="1145" y="538"/>
                </a:lnTo>
                <a:lnTo>
                  <a:pt x="1147" y="548"/>
                </a:lnTo>
                <a:lnTo>
                  <a:pt x="1148" y="558"/>
                </a:lnTo>
                <a:lnTo>
                  <a:pt x="1150" y="568"/>
                </a:lnTo>
                <a:lnTo>
                  <a:pt x="1150" y="578"/>
                </a:lnTo>
                <a:lnTo>
                  <a:pt x="1150" y="588"/>
                </a:lnTo>
                <a:lnTo>
                  <a:pt x="1151" y="599"/>
                </a:lnTo>
                <a:lnTo>
                  <a:pt x="1152" y="609"/>
                </a:lnTo>
                <a:lnTo>
                  <a:pt x="1152" y="620"/>
                </a:lnTo>
                <a:lnTo>
                  <a:pt x="1153" y="622"/>
                </a:lnTo>
                <a:lnTo>
                  <a:pt x="1154" y="625"/>
                </a:lnTo>
                <a:lnTo>
                  <a:pt x="1153" y="622"/>
                </a:lnTo>
                <a:lnTo>
                  <a:pt x="1152" y="620"/>
                </a:lnTo>
                <a:lnTo>
                  <a:pt x="1152" y="630"/>
                </a:lnTo>
                <a:lnTo>
                  <a:pt x="1153" y="639"/>
                </a:lnTo>
                <a:lnTo>
                  <a:pt x="1154" y="650"/>
                </a:lnTo>
                <a:lnTo>
                  <a:pt x="1155" y="659"/>
                </a:lnTo>
                <a:lnTo>
                  <a:pt x="1157" y="663"/>
                </a:lnTo>
                <a:lnTo>
                  <a:pt x="1159" y="665"/>
                </a:lnTo>
                <a:lnTo>
                  <a:pt x="1161" y="665"/>
                </a:lnTo>
                <a:lnTo>
                  <a:pt x="1164" y="666"/>
                </a:lnTo>
                <a:lnTo>
                  <a:pt x="1161" y="665"/>
                </a:lnTo>
                <a:lnTo>
                  <a:pt x="1159" y="665"/>
                </a:lnTo>
                <a:close/>
                <a:moveTo>
                  <a:pt x="1148" y="721"/>
                </a:moveTo>
                <a:lnTo>
                  <a:pt x="1148" y="723"/>
                </a:lnTo>
                <a:lnTo>
                  <a:pt x="1147" y="723"/>
                </a:lnTo>
                <a:lnTo>
                  <a:pt x="1148" y="723"/>
                </a:lnTo>
                <a:lnTo>
                  <a:pt x="1148" y="721"/>
                </a:lnTo>
                <a:lnTo>
                  <a:pt x="1150" y="719"/>
                </a:lnTo>
                <a:lnTo>
                  <a:pt x="1150" y="716"/>
                </a:lnTo>
                <a:lnTo>
                  <a:pt x="1150" y="719"/>
                </a:lnTo>
                <a:lnTo>
                  <a:pt x="1148" y="721"/>
                </a:lnTo>
                <a:close/>
                <a:moveTo>
                  <a:pt x="1145" y="725"/>
                </a:moveTo>
                <a:lnTo>
                  <a:pt x="1145" y="730"/>
                </a:lnTo>
                <a:lnTo>
                  <a:pt x="1141" y="735"/>
                </a:lnTo>
                <a:lnTo>
                  <a:pt x="1139" y="739"/>
                </a:lnTo>
                <a:lnTo>
                  <a:pt x="1134" y="741"/>
                </a:lnTo>
                <a:lnTo>
                  <a:pt x="1139" y="739"/>
                </a:lnTo>
                <a:lnTo>
                  <a:pt x="1141" y="735"/>
                </a:lnTo>
                <a:lnTo>
                  <a:pt x="1145" y="730"/>
                </a:lnTo>
                <a:lnTo>
                  <a:pt x="1145" y="725"/>
                </a:lnTo>
                <a:lnTo>
                  <a:pt x="1146" y="725"/>
                </a:lnTo>
                <a:lnTo>
                  <a:pt x="1146" y="725"/>
                </a:lnTo>
                <a:lnTo>
                  <a:pt x="1145" y="725"/>
                </a:lnTo>
                <a:close/>
                <a:moveTo>
                  <a:pt x="1111" y="478"/>
                </a:moveTo>
                <a:lnTo>
                  <a:pt x="1111" y="477"/>
                </a:lnTo>
                <a:lnTo>
                  <a:pt x="1111" y="477"/>
                </a:lnTo>
                <a:lnTo>
                  <a:pt x="1111" y="477"/>
                </a:lnTo>
                <a:lnTo>
                  <a:pt x="1111" y="478"/>
                </a:lnTo>
                <a:lnTo>
                  <a:pt x="1115" y="480"/>
                </a:lnTo>
                <a:lnTo>
                  <a:pt x="1116" y="483"/>
                </a:lnTo>
                <a:lnTo>
                  <a:pt x="1117" y="485"/>
                </a:lnTo>
                <a:lnTo>
                  <a:pt x="1118" y="488"/>
                </a:lnTo>
                <a:lnTo>
                  <a:pt x="1117" y="485"/>
                </a:lnTo>
                <a:lnTo>
                  <a:pt x="1116" y="483"/>
                </a:lnTo>
                <a:lnTo>
                  <a:pt x="1115" y="480"/>
                </a:lnTo>
                <a:lnTo>
                  <a:pt x="1111" y="478"/>
                </a:lnTo>
                <a:close/>
                <a:moveTo>
                  <a:pt x="1143" y="483"/>
                </a:moveTo>
                <a:lnTo>
                  <a:pt x="1143" y="485"/>
                </a:lnTo>
                <a:lnTo>
                  <a:pt x="1143" y="488"/>
                </a:lnTo>
                <a:lnTo>
                  <a:pt x="1143" y="485"/>
                </a:lnTo>
                <a:lnTo>
                  <a:pt x="1143" y="483"/>
                </a:lnTo>
                <a:close/>
                <a:moveTo>
                  <a:pt x="1147" y="443"/>
                </a:moveTo>
                <a:lnTo>
                  <a:pt x="1148" y="443"/>
                </a:lnTo>
                <a:lnTo>
                  <a:pt x="1148" y="442"/>
                </a:lnTo>
                <a:lnTo>
                  <a:pt x="1148" y="443"/>
                </a:lnTo>
                <a:lnTo>
                  <a:pt x="1147" y="443"/>
                </a:lnTo>
                <a:lnTo>
                  <a:pt x="1145" y="445"/>
                </a:lnTo>
                <a:lnTo>
                  <a:pt x="1144" y="446"/>
                </a:lnTo>
                <a:lnTo>
                  <a:pt x="1145" y="445"/>
                </a:lnTo>
                <a:lnTo>
                  <a:pt x="1147" y="443"/>
                </a:lnTo>
                <a:close/>
                <a:moveTo>
                  <a:pt x="1154" y="499"/>
                </a:moveTo>
                <a:lnTo>
                  <a:pt x="1152" y="496"/>
                </a:lnTo>
                <a:lnTo>
                  <a:pt x="1150" y="492"/>
                </a:lnTo>
                <a:lnTo>
                  <a:pt x="1152" y="496"/>
                </a:lnTo>
                <a:lnTo>
                  <a:pt x="1154" y="499"/>
                </a:lnTo>
                <a:close/>
                <a:moveTo>
                  <a:pt x="1145" y="429"/>
                </a:moveTo>
                <a:lnTo>
                  <a:pt x="1148" y="417"/>
                </a:lnTo>
                <a:lnTo>
                  <a:pt x="1152" y="404"/>
                </a:lnTo>
                <a:lnTo>
                  <a:pt x="1153" y="401"/>
                </a:lnTo>
                <a:lnTo>
                  <a:pt x="1154" y="400"/>
                </a:lnTo>
                <a:lnTo>
                  <a:pt x="1155" y="400"/>
                </a:lnTo>
                <a:lnTo>
                  <a:pt x="1157" y="400"/>
                </a:lnTo>
                <a:lnTo>
                  <a:pt x="1158" y="406"/>
                </a:lnTo>
                <a:lnTo>
                  <a:pt x="1159" y="411"/>
                </a:lnTo>
                <a:lnTo>
                  <a:pt x="1159" y="417"/>
                </a:lnTo>
                <a:lnTo>
                  <a:pt x="1158" y="421"/>
                </a:lnTo>
                <a:lnTo>
                  <a:pt x="1158" y="426"/>
                </a:lnTo>
                <a:lnTo>
                  <a:pt x="1157" y="429"/>
                </a:lnTo>
                <a:lnTo>
                  <a:pt x="1154" y="434"/>
                </a:lnTo>
                <a:lnTo>
                  <a:pt x="1152" y="438"/>
                </a:lnTo>
                <a:lnTo>
                  <a:pt x="1152" y="439"/>
                </a:lnTo>
                <a:lnTo>
                  <a:pt x="1152" y="439"/>
                </a:lnTo>
                <a:lnTo>
                  <a:pt x="1152" y="439"/>
                </a:lnTo>
                <a:lnTo>
                  <a:pt x="1152" y="438"/>
                </a:lnTo>
                <a:lnTo>
                  <a:pt x="1148" y="438"/>
                </a:lnTo>
                <a:lnTo>
                  <a:pt x="1146" y="436"/>
                </a:lnTo>
                <a:lnTo>
                  <a:pt x="1145" y="434"/>
                </a:lnTo>
                <a:lnTo>
                  <a:pt x="1145" y="429"/>
                </a:lnTo>
                <a:close/>
                <a:moveTo>
                  <a:pt x="1083" y="373"/>
                </a:moveTo>
                <a:lnTo>
                  <a:pt x="1081" y="373"/>
                </a:lnTo>
                <a:lnTo>
                  <a:pt x="1079" y="372"/>
                </a:lnTo>
                <a:lnTo>
                  <a:pt x="1079" y="371"/>
                </a:lnTo>
                <a:lnTo>
                  <a:pt x="1078" y="370"/>
                </a:lnTo>
                <a:lnTo>
                  <a:pt x="1076" y="367"/>
                </a:lnTo>
                <a:lnTo>
                  <a:pt x="1075" y="367"/>
                </a:lnTo>
                <a:lnTo>
                  <a:pt x="1072" y="367"/>
                </a:lnTo>
                <a:lnTo>
                  <a:pt x="1070" y="369"/>
                </a:lnTo>
                <a:lnTo>
                  <a:pt x="1067" y="371"/>
                </a:lnTo>
                <a:lnTo>
                  <a:pt x="1064" y="377"/>
                </a:lnTo>
                <a:lnTo>
                  <a:pt x="1063" y="379"/>
                </a:lnTo>
                <a:lnTo>
                  <a:pt x="1062" y="383"/>
                </a:lnTo>
                <a:lnTo>
                  <a:pt x="1060" y="384"/>
                </a:lnTo>
                <a:lnTo>
                  <a:pt x="1056" y="385"/>
                </a:lnTo>
                <a:lnTo>
                  <a:pt x="1053" y="383"/>
                </a:lnTo>
                <a:lnTo>
                  <a:pt x="1050" y="380"/>
                </a:lnTo>
                <a:lnTo>
                  <a:pt x="1049" y="377"/>
                </a:lnTo>
                <a:lnTo>
                  <a:pt x="1049" y="373"/>
                </a:lnTo>
                <a:lnTo>
                  <a:pt x="1049" y="371"/>
                </a:lnTo>
                <a:lnTo>
                  <a:pt x="1048" y="367"/>
                </a:lnTo>
                <a:lnTo>
                  <a:pt x="1050" y="363"/>
                </a:lnTo>
                <a:lnTo>
                  <a:pt x="1055" y="358"/>
                </a:lnTo>
                <a:lnTo>
                  <a:pt x="1060" y="355"/>
                </a:lnTo>
                <a:lnTo>
                  <a:pt x="1062" y="350"/>
                </a:lnTo>
                <a:lnTo>
                  <a:pt x="1063" y="348"/>
                </a:lnTo>
                <a:lnTo>
                  <a:pt x="1063" y="345"/>
                </a:lnTo>
                <a:lnTo>
                  <a:pt x="1062" y="342"/>
                </a:lnTo>
                <a:lnTo>
                  <a:pt x="1058" y="339"/>
                </a:lnTo>
                <a:lnTo>
                  <a:pt x="1057" y="337"/>
                </a:lnTo>
                <a:lnTo>
                  <a:pt x="1057" y="336"/>
                </a:lnTo>
                <a:lnTo>
                  <a:pt x="1058" y="334"/>
                </a:lnTo>
                <a:lnTo>
                  <a:pt x="1061" y="334"/>
                </a:lnTo>
                <a:lnTo>
                  <a:pt x="1064" y="332"/>
                </a:lnTo>
                <a:lnTo>
                  <a:pt x="1068" y="331"/>
                </a:lnTo>
                <a:lnTo>
                  <a:pt x="1071" y="331"/>
                </a:lnTo>
                <a:lnTo>
                  <a:pt x="1074" y="332"/>
                </a:lnTo>
                <a:lnTo>
                  <a:pt x="1074" y="335"/>
                </a:lnTo>
                <a:lnTo>
                  <a:pt x="1072" y="337"/>
                </a:lnTo>
                <a:lnTo>
                  <a:pt x="1071" y="341"/>
                </a:lnTo>
                <a:lnTo>
                  <a:pt x="1071" y="344"/>
                </a:lnTo>
                <a:lnTo>
                  <a:pt x="1072" y="346"/>
                </a:lnTo>
                <a:lnTo>
                  <a:pt x="1075" y="350"/>
                </a:lnTo>
                <a:lnTo>
                  <a:pt x="1079" y="357"/>
                </a:lnTo>
                <a:lnTo>
                  <a:pt x="1083" y="365"/>
                </a:lnTo>
                <a:lnTo>
                  <a:pt x="1084" y="367"/>
                </a:lnTo>
                <a:lnTo>
                  <a:pt x="1084" y="369"/>
                </a:lnTo>
                <a:lnTo>
                  <a:pt x="1084" y="371"/>
                </a:lnTo>
                <a:lnTo>
                  <a:pt x="1083" y="373"/>
                </a:lnTo>
                <a:close/>
                <a:moveTo>
                  <a:pt x="1034" y="345"/>
                </a:moveTo>
                <a:lnTo>
                  <a:pt x="1037" y="343"/>
                </a:lnTo>
                <a:lnTo>
                  <a:pt x="1039" y="341"/>
                </a:lnTo>
                <a:lnTo>
                  <a:pt x="1039" y="341"/>
                </a:lnTo>
                <a:lnTo>
                  <a:pt x="1039" y="341"/>
                </a:lnTo>
                <a:lnTo>
                  <a:pt x="1039" y="341"/>
                </a:lnTo>
                <a:lnTo>
                  <a:pt x="1039" y="341"/>
                </a:lnTo>
                <a:lnTo>
                  <a:pt x="1037" y="343"/>
                </a:lnTo>
                <a:lnTo>
                  <a:pt x="1034" y="345"/>
                </a:lnTo>
                <a:close/>
                <a:moveTo>
                  <a:pt x="1026" y="357"/>
                </a:moveTo>
                <a:lnTo>
                  <a:pt x="1026" y="355"/>
                </a:lnTo>
                <a:lnTo>
                  <a:pt x="1026" y="352"/>
                </a:lnTo>
                <a:lnTo>
                  <a:pt x="1026" y="351"/>
                </a:lnTo>
                <a:lnTo>
                  <a:pt x="1026" y="351"/>
                </a:lnTo>
                <a:lnTo>
                  <a:pt x="1026" y="351"/>
                </a:lnTo>
                <a:lnTo>
                  <a:pt x="1026" y="352"/>
                </a:lnTo>
                <a:lnTo>
                  <a:pt x="1026" y="355"/>
                </a:lnTo>
                <a:lnTo>
                  <a:pt x="1026" y="357"/>
                </a:lnTo>
                <a:close/>
                <a:moveTo>
                  <a:pt x="1017" y="569"/>
                </a:moveTo>
                <a:lnTo>
                  <a:pt x="1017" y="561"/>
                </a:lnTo>
                <a:lnTo>
                  <a:pt x="1016" y="553"/>
                </a:lnTo>
                <a:lnTo>
                  <a:pt x="1017" y="561"/>
                </a:lnTo>
                <a:lnTo>
                  <a:pt x="1017" y="569"/>
                </a:lnTo>
                <a:lnTo>
                  <a:pt x="1020" y="571"/>
                </a:lnTo>
                <a:lnTo>
                  <a:pt x="1021" y="572"/>
                </a:lnTo>
                <a:lnTo>
                  <a:pt x="1020" y="571"/>
                </a:lnTo>
                <a:lnTo>
                  <a:pt x="1017" y="569"/>
                </a:lnTo>
                <a:close/>
                <a:moveTo>
                  <a:pt x="1006" y="419"/>
                </a:moveTo>
                <a:lnTo>
                  <a:pt x="1006" y="417"/>
                </a:lnTo>
                <a:lnTo>
                  <a:pt x="1003" y="415"/>
                </a:lnTo>
                <a:lnTo>
                  <a:pt x="1006" y="417"/>
                </a:lnTo>
                <a:lnTo>
                  <a:pt x="1006" y="419"/>
                </a:lnTo>
                <a:close/>
                <a:moveTo>
                  <a:pt x="1000" y="483"/>
                </a:moveTo>
                <a:lnTo>
                  <a:pt x="1000" y="483"/>
                </a:lnTo>
                <a:lnTo>
                  <a:pt x="999" y="482"/>
                </a:lnTo>
                <a:lnTo>
                  <a:pt x="998" y="481"/>
                </a:lnTo>
                <a:lnTo>
                  <a:pt x="999" y="482"/>
                </a:lnTo>
                <a:lnTo>
                  <a:pt x="1000" y="483"/>
                </a:lnTo>
                <a:lnTo>
                  <a:pt x="1000" y="483"/>
                </a:lnTo>
                <a:lnTo>
                  <a:pt x="1000" y="487"/>
                </a:lnTo>
                <a:lnTo>
                  <a:pt x="1000" y="490"/>
                </a:lnTo>
                <a:lnTo>
                  <a:pt x="1001" y="494"/>
                </a:lnTo>
                <a:lnTo>
                  <a:pt x="1003" y="497"/>
                </a:lnTo>
                <a:lnTo>
                  <a:pt x="1001" y="494"/>
                </a:lnTo>
                <a:lnTo>
                  <a:pt x="1000" y="490"/>
                </a:lnTo>
                <a:lnTo>
                  <a:pt x="1000" y="487"/>
                </a:lnTo>
                <a:lnTo>
                  <a:pt x="1000" y="483"/>
                </a:lnTo>
                <a:close/>
                <a:moveTo>
                  <a:pt x="995" y="681"/>
                </a:moveTo>
                <a:lnTo>
                  <a:pt x="992" y="683"/>
                </a:lnTo>
                <a:lnTo>
                  <a:pt x="987" y="685"/>
                </a:lnTo>
                <a:lnTo>
                  <a:pt x="992" y="683"/>
                </a:lnTo>
                <a:lnTo>
                  <a:pt x="995" y="681"/>
                </a:lnTo>
                <a:close/>
                <a:moveTo>
                  <a:pt x="985" y="442"/>
                </a:moveTo>
                <a:lnTo>
                  <a:pt x="982" y="449"/>
                </a:lnTo>
                <a:lnTo>
                  <a:pt x="980" y="457"/>
                </a:lnTo>
                <a:lnTo>
                  <a:pt x="982" y="449"/>
                </a:lnTo>
                <a:lnTo>
                  <a:pt x="985" y="442"/>
                </a:lnTo>
                <a:lnTo>
                  <a:pt x="986" y="445"/>
                </a:lnTo>
                <a:lnTo>
                  <a:pt x="986" y="447"/>
                </a:lnTo>
                <a:lnTo>
                  <a:pt x="986" y="445"/>
                </a:lnTo>
                <a:lnTo>
                  <a:pt x="985" y="442"/>
                </a:lnTo>
                <a:close/>
                <a:moveTo>
                  <a:pt x="979" y="489"/>
                </a:moveTo>
                <a:lnTo>
                  <a:pt x="978" y="490"/>
                </a:lnTo>
                <a:lnTo>
                  <a:pt x="977" y="491"/>
                </a:lnTo>
                <a:lnTo>
                  <a:pt x="978" y="490"/>
                </a:lnTo>
                <a:lnTo>
                  <a:pt x="979" y="489"/>
                </a:lnTo>
                <a:lnTo>
                  <a:pt x="981" y="490"/>
                </a:lnTo>
                <a:lnTo>
                  <a:pt x="981" y="491"/>
                </a:lnTo>
                <a:lnTo>
                  <a:pt x="981" y="490"/>
                </a:lnTo>
                <a:lnTo>
                  <a:pt x="979" y="489"/>
                </a:lnTo>
                <a:close/>
                <a:moveTo>
                  <a:pt x="979" y="688"/>
                </a:moveTo>
                <a:lnTo>
                  <a:pt x="970" y="693"/>
                </a:lnTo>
                <a:lnTo>
                  <a:pt x="959" y="697"/>
                </a:lnTo>
                <a:lnTo>
                  <a:pt x="949" y="701"/>
                </a:lnTo>
                <a:lnTo>
                  <a:pt x="938" y="705"/>
                </a:lnTo>
                <a:lnTo>
                  <a:pt x="936" y="704"/>
                </a:lnTo>
                <a:lnTo>
                  <a:pt x="933" y="705"/>
                </a:lnTo>
                <a:lnTo>
                  <a:pt x="923" y="707"/>
                </a:lnTo>
                <a:lnTo>
                  <a:pt x="912" y="709"/>
                </a:lnTo>
                <a:lnTo>
                  <a:pt x="902" y="711"/>
                </a:lnTo>
                <a:lnTo>
                  <a:pt x="891" y="713"/>
                </a:lnTo>
                <a:lnTo>
                  <a:pt x="880" y="714"/>
                </a:lnTo>
                <a:lnTo>
                  <a:pt x="868" y="716"/>
                </a:lnTo>
                <a:lnTo>
                  <a:pt x="857" y="718"/>
                </a:lnTo>
                <a:lnTo>
                  <a:pt x="846" y="720"/>
                </a:lnTo>
                <a:lnTo>
                  <a:pt x="836" y="720"/>
                </a:lnTo>
                <a:lnTo>
                  <a:pt x="828" y="720"/>
                </a:lnTo>
                <a:lnTo>
                  <a:pt x="819" y="719"/>
                </a:lnTo>
                <a:lnTo>
                  <a:pt x="811" y="718"/>
                </a:lnTo>
                <a:lnTo>
                  <a:pt x="806" y="713"/>
                </a:lnTo>
                <a:lnTo>
                  <a:pt x="801" y="709"/>
                </a:lnTo>
                <a:lnTo>
                  <a:pt x="802" y="704"/>
                </a:lnTo>
                <a:lnTo>
                  <a:pt x="804" y="700"/>
                </a:lnTo>
                <a:lnTo>
                  <a:pt x="807" y="697"/>
                </a:lnTo>
                <a:lnTo>
                  <a:pt x="809" y="693"/>
                </a:lnTo>
                <a:lnTo>
                  <a:pt x="812" y="690"/>
                </a:lnTo>
                <a:lnTo>
                  <a:pt x="812" y="686"/>
                </a:lnTo>
                <a:lnTo>
                  <a:pt x="812" y="681"/>
                </a:lnTo>
                <a:lnTo>
                  <a:pt x="812" y="678"/>
                </a:lnTo>
                <a:lnTo>
                  <a:pt x="809" y="665"/>
                </a:lnTo>
                <a:lnTo>
                  <a:pt x="807" y="653"/>
                </a:lnTo>
                <a:lnTo>
                  <a:pt x="806" y="641"/>
                </a:lnTo>
                <a:lnTo>
                  <a:pt x="806" y="628"/>
                </a:lnTo>
                <a:lnTo>
                  <a:pt x="807" y="622"/>
                </a:lnTo>
                <a:lnTo>
                  <a:pt x="806" y="617"/>
                </a:lnTo>
                <a:lnTo>
                  <a:pt x="805" y="611"/>
                </a:lnTo>
                <a:lnTo>
                  <a:pt x="801" y="607"/>
                </a:lnTo>
                <a:lnTo>
                  <a:pt x="795" y="600"/>
                </a:lnTo>
                <a:lnTo>
                  <a:pt x="791" y="593"/>
                </a:lnTo>
                <a:lnTo>
                  <a:pt x="786" y="585"/>
                </a:lnTo>
                <a:lnTo>
                  <a:pt x="782" y="576"/>
                </a:lnTo>
                <a:lnTo>
                  <a:pt x="787" y="571"/>
                </a:lnTo>
                <a:lnTo>
                  <a:pt x="793" y="565"/>
                </a:lnTo>
                <a:lnTo>
                  <a:pt x="800" y="560"/>
                </a:lnTo>
                <a:lnTo>
                  <a:pt x="806" y="555"/>
                </a:lnTo>
                <a:lnTo>
                  <a:pt x="815" y="547"/>
                </a:lnTo>
                <a:lnTo>
                  <a:pt x="825" y="538"/>
                </a:lnTo>
                <a:lnTo>
                  <a:pt x="834" y="527"/>
                </a:lnTo>
                <a:lnTo>
                  <a:pt x="842" y="518"/>
                </a:lnTo>
                <a:lnTo>
                  <a:pt x="853" y="505"/>
                </a:lnTo>
                <a:lnTo>
                  <a:pt x="864" y="492"/>
                </a:lnTo>
                <a:lnTo>
                  <a:pt x="867" y="495"/>
                </a:lnTo>
                <a:lnTo>
                  <a:pt x="868" y="497"/>
                </a:lnTo>
                <a:lnTo>
                  <a:pt x="874" y="515"/>
                </a:lnTo>
                <a:lnTo>
                  <a:pt x="881" y="531"/>
                </a:lnTo>
                <a:lnTo>
                  <a:pt x="888" y="547"/>
                </a:lnTo>
                <a:lnTo>
                  <a:pt x="895" y="564"/>
                </a:lnTo>
                <a:lnTo>
                  <a:pt x="895" y="564"/>
                </a:lnTo>
                <a:lnTo>
                  <a:pt x="896" y="562"/>
                </a:lnTo>
                <a:lnTo>
                  <a:pt x="895" y="564"/>
                </a:lnTo>
                <a:lnTo>
                  <a:pt x="895" y="564"/>
                </a:lnTo>
                <a:lnTo>
                  <a:pt x="895" y="564"/>
                </a:lnTo>
                <a:lnTo>
                  <a:pt x="895" y="564"/>
                </a:lnTo>
                <a:lnTo>
                  <a:pt x="896" y="566"/>
                </a:lnTo>
                <a:lnTo>
                  <a:pt x="896" y="568"/>
                </a:lnTo>
                <a:lnTo>
                  <a:pt x="901" y="579"/>
                </a:lnTo>
                <a:lnTo>
                  <a:pt x="906" y="588"/>
                </a:lnTo>
                <a:lnTo>
                  <a:pt x="912" y="599"/>
                </a:lnTo>
                <a:lnTo>
                  <a:pt x="919" y="608"/>
                </a:lnTo>
                <a:lnTo>
                  <a:pt x="933" y="625"/>
                </a:lnTo>
                <a:lnTo>
                  <a:pt x="947" y="643"/>
                </a:lnTo>
                <a:lnTo>
                  <a:pt x="963" y="662"/>
                </a:lnTo>
                <a:lnTo>
                  <a:pt x="977" y="679"/>
                </a:lnTo>
                <a:lnTo>
                  <a:pt x="978" y="680"/>
                </a:lnTo>
                <a:lnTo>
                  <a:pt x="980" y="683"/>
                </a:lnTo>
                <a:lnTo>
                  <a:pt x="980" y="685"/>
                </a:lnTo>
                <a:lnTo>
                  <a:pt x="979" y="688"/>
                </a:lnTo>
                <a:close/>
                <a:moveTo>
                  <a:pt x="922" y="951"/>
                </a:moveTo>
                <a:lnTo>
                  <a:pt x="917" y="954"/>
                </a:lnTo>
                <a:lnTo>
                  <a:pt x="912" y="958"/>
                </a:lnTo>
                <a:lnTo>
                  <a:pt x="917" y="954"/>
                </a:lnTo>
                <a:lnTo>
                  <a:pt x="922" y="951"/>
                </a:lnTo>
                <a:close/>
                <a:moveTo>
                  <a:pt x="887" y="779"/>
                </a:moveTo>
                <a:lnTo>
                  <a:pt x="876" y="790"/>
                </a:lnTo>
                <a:lnTo>
                  <a:pt x="868" y="800"/>
                </a:lnTo>
                <a:lnTo>
                  <a:pt x="868" y="805"/>
                </a:lnTo>
                <a:lnTo>
                  <a:pt x="870" y="807"/>
                </a:lnTo>
                <a:lnTo>
                  <a:pt x="868" y="805"/>
                </a:lnTo>
                <a:lnTo>
                  <a:pt x="868" y="800"/>
                </a:lnTo>
                <a:lnTo>
                  <a:pt x="863" y="806"/>
                </a:lnTo>
                <a:lnTo>
                  <a:pt x="858" y="812"/>
                </a:lnTo>
                <a:lnTo>
                  <a:pt x="856" y="812"/>
                </a:lnTo>
                <a:lnTo>
                  <a:pt x="854" y="813"/>
                </a:lnTo>
                <a:lnTo>
                  <a:pt x="850" y="820"/>
                </a:lnTo>
                <a:lnTo>
                  <a:pt x="846" y="826"/>
                </a:lnTo>
                <a:lnTo>
                  <a:pt x="841" y="831"/>
                </a:lnTo>
                <a:lnTo>
                  <a:pt x="835" y="837"/>
                </a:lnTo>
                <a:lnTo>
                  <a:pt x="826" y="846"/>
                </a:lnTo>
                <a:lnTo>
                  <a:pt x="816" y="856"/>
                </a:lnTo>
                <a:lnTo>
                  <a:pt x="807" y="867"/>
                </a:lnTo>
                <a:lnTo>
                  <a:pt x="798" y="877"/>
                </a:lnTo>
                <a:lnTo>
                  <a:pt x="782" y="894"/>
                </a:lnTo>
                <a:lnTo>
                  <a:pt x="768" y="910"/>
                </a:lnTo>
                <a:lnTo>
                  <a:pt x="765" y="916"/>
                </a:lnTo>
                <a:lnTo>
                  <a:pt x="763" y="922"/>
                </a:lnTo>
                <a:lnTo>
                  <a:pt x="760" y="928"/>
                </a:lnTo>
                <a:lnTo>
                  <a:pt x="759" y="933"/>
                </a:lnTo>
                <a:lnTo>
                  <a:pt x="757" y="939"/>
                </a:lnTo>
                <a:lnTo>
                  <a:pt x="757" y="945"/>
                </a:lnTo>
                <a:lnTo>
                  <a:pt x="757" y="951"/>
                </a:lnTo>
                <a:lnTo>
                  <a:pt x="758" y="957"/>
                </a:lnTo>
                <a:lnTo>
                  <a:pt x="763" y="972"/>
                </a:lnTo>
                <a:lnTo>
                  <a:pt x="767" y="986"/>
                </a:lnTo>
                <a:lnTo>
                  <a:pt x="771" y="1001"/>
                </a:lnTo>
                <a:lnTo>
                  <a:pt x="775" y="1015"/>
                </a:lnTo>
                <a:lnTo>
                  <a:pt x="777" y="1019"/>
                </a:lnTo>
                <a:lnTo>
                  <a:pt x="779" y="1021"/>
                </a:lnTo>
                <a:lnTo>
                  <a:pt x="779" y="1021"/>
                </a:lnTo>
                <a:lnTo>
                  <a:pt x="779" y="1021"/>
                </a:lnTo>
                <a:lnTo>
                  <a:pt x="785" y="1036"/>
                </a:lnTo>
                <a:lnTo>
                  <a:pt x="792" y="1052"/>
                </a:lnTo>
                <a:lnTo>
                  <a:pt x="796" y="1072"/>
                </a:lnTo>
                <a:lnTo>
                  <a:pt x="804" y="1092"/>
                </a:lnTo>
                <a:lnTo>
                  <a:pt x="811" y="1111"/>
                </a:lnTo>
                <a:lnTo>
                  <a:pt x="820" y="1130"/>
                </a:lnTo>
                <a:lnTo>
                  <a:pt x="834" y="1160"/>
                </a:lnTo>
                <a:lnTo>
                  <a:pt x="849" y="1190"/>
                </a:lnTo>
                <a:lnTo>
                  <a:pt x="856" y="1207"/>
                </a:lnTo>
                <a:lnTo>
                  <a:pt x="862" y="1222"/>
                </a:lnTo>
                <a:lnTo>
                  <a:pt x="868" y="1237"/>
                </a:lnTo>
                <a:lnTo>
                  <a:pt x="874" y="1253"/>
                </a:lnTo>
                <a:lnTo>
                  <a:pt x="875" y="1257"/>
                </a:lnTo>
                <a:lnTo>
                  <a:pt x="877" y="1260"/>
                </a:lnTo>
                <a:lnTo>
                  <a:pt x="880" y="1261"/>
                </a:lnTo>
                <a:lnTo>
                  <a:pt x="883" y="1261"/>
                </a:lnTo>
                <a:lnTo>
                  <a:pt x="885" y="1261"/>
                </a:lnTo>
                <a:lnTo>
                  <a:pt x="887" y="1263"/>
                </a:lnTo>
                <a:lnTo>
                  <a:pt x="889" y="1261"/>
                </a:lnTo>
                <a:lnTo>
                  <a:pt x="890" y="1261"/>
                </a:lnTo>
                <a:lnTo>
                  <a:pt x="889" y="1261"/>
                </a:lnTo>
                <a:lnTo>
                  <a:pt x="887" y="1263"/>
                </a:lnTo>
                <a:lnTo>
                  <a:pt x="888" y="1270"/>
                </a:lnTo>
                <a:lnTo>
                  <a:pt x="887" y="1278"/>
                </a:lnTo>
                <a:lnTo>
                  <a:pt x="887" y="1278"/>
                </a:lnTo>
                <a:lnTo>
                  <a:pt x="887" y="1277"/>
                </a:lnTo>
                <a:lnTo>
                  <a:pt x="884" y="1275"/>
                </a:lnTo>
                <a:lnTo>
                  <a:pt x="882" y="1273"/>
                </a:lnTo>
                <a:lnTo>
                  <a:pt x="878" y="1272"/>
                </a:lnTo>
                <a:lnTo>
                  <a:pt x="877" y="1273"/>
                </a:lnTo>
                <a:lnTo>
                  <a:pt x="876" y="1275"/>
                </a:lnTo>
                <a:lnTo>
                  <a:pt x="878" y="1277"/>
                </a:lnTo>
                <a:lnTo>
                  <a:pt x="881" y="1279"/>
                </a:lnTo>
                <a:lnTo>
                  <a:pt x="882" y="1281"/>
                </a:lnTo>
                <a:lnTo>
                  <a:pt x="884" y="1284"/>
                </a:lnTo>
                <a:lnTo>
                  <a:pt x="885" y="1286"/>
                </a:lnTo>
                <a:lnTo>
                  <a:pt x="885" y="1289"/>
                </a:lnTo>
                <a:lnTo>
                  <a:pt x="884" y="1293"/>
                </a:lnTo>
                <a:lnTo>
                  <a:pt x="883" y="1296"/>
                </a:lnTo>
                <a:lnTo>
                  <a:pt x="881" y="1300"/>
                </a:lnTo>
                <a:lnTo>
                  <a:pt x="880" y="1301"/>
                </a:lnTo>
                <a:lnTo>
                  <a:pt x="880" y="1303"/>
                </a:lnTo>
                <a:lnTo>
                  <a:pt x="881" y="1305"/>
                </a:lnTo>
                <a:lnTo>
                  <a:pt x="883" y="1305"/>
                </a:lnTo>
                <a:lnTo>
                  <a:pt x="883" y="1306"/>
                </a:lnTo>
                <a:lnTo>
                  <a:pt x="883" y="1306"/>
                </a:lnTo>
                <a:lnTo>
                  <a:pt x="889" y="1303"/>
                </a:lnTo>
                <a:lnTo>
                  <a:pt x="895" y="1302"/>
                </a:lnTo>
                <a:lnTo>
                  <a:pt x="889" y="1303"/>
                </a:lnTo>
                <a:lnTo>
                  <a:pt x="883" y="1306"/>
                </a:lnTo>
                <a:lnTo>
                  <a:pt x="885" y="1309"/>
                </a:lnTo>
                <a:lnTo>
                  <a:pt x="884" y="1312"/>
                </a:lnTo>
                <a:lnTo>
                  <a:pt x="883" y="1312"/>
                </a:lnTo>
                <a:lnTo>
                  <a:pt x="880" y="1312"/>
                </a:lnTo>
                <a:lnTo>
                  <a:pt x="877" y="1312"/>
                </a:lnTo>
                <a:lnTo>
                  <a:pt x="877" y="1312"/>
                </a:lnTo>
                <a:lnTo>
                  <a:pt x="876" y="1314"/>
                </a:lnTo>
                <a:lnTo>
                  <a:pt x="876" y="1319"/>
                </a:lnTo>
                <a:lnTo>
                  <a:pt x="881" y="1320"/>
                </a:lnTo>
                <a:lnTo>
                  <a:pt x="883" y="1322"/>
                </a:lnTo>
                <a:lnTo>
                  <a:pt x="881" y="1320"/>
                </a:lnTo>
                <a:lnTo>
                  <a:pt x="876" y="1319"/>
                </a:lnTo>
                <a:lnTo>
                  <a:pt x="876" y="1320"/>
                </a:lnTo>
                <a:lnTo>
                  <a:pt x="875" y="1320"/>
                </a:lnTo>
                <a:lnTo>
                  <a:pt x="875" y="1321"/>
                </a:lnTo>
                <a:lnTo>
                  <a:pt x="875" y="1321"/>
                </a:lnTo>
                <a:lnTo>
                  <a:pt x="875" y="1321"/>
                </a:lnTo>
                <a:lnTo>
                  <a:pt x="875" y="1320"/>
                </a:lnTo>
                <a:lnTo>
                  <a:pt x="875" y="1314"/>
                </a:lnTo>
                <a:lnTo>
                  <a:pt x="875" y="1309"/>
                </a:lnTo>
                <a:lnTo>
                  <a:pt x="876" y="1308"/>
                </a:lnTo>
                <a:lnTo>
                  <a:pt x="876" y="1307"/>
                </a:lnTo>
                <a:lnTo>
                  <a:pt x="876" y="1305"/>
                </a:lnTo>
                <a:lnTo>
                  <a:pt x="875" y="1303"/>
                </a:lnTo>
                <a:lnTo>
                  <a:pt x="872" y="1303"/>
                </a:lnTo>
                <a:lnTo>
                  <a:pt x="870" y="1306"/>
                </a:lnTo>
                <a:lnTo>
                  <a:pt x="868" y="1307"/>
                </a:lnTo>
                <a:lnTo>
                  <a:pt x="864" y="1308"/>
                </a:lnTo>
                <a:lnTo>
                  <a:pt x="860" y="1313"/>
                </a:lnTo>
                <a:lnTo>
                  <a:pt x="855" y="1319"/>
                </a:lnTo>
                <a:lnTo>
                  <a:pt x="854" y="1322"/>
                </a:lnTo>
                <a:lnTo>
                  <a:pt x="853" y="1324"/>
                </a:lnTo>
                <a:lnTo>
                  <a:pt x="853" y="1328"/>
                </a:lnTo>
                <a:lnTo>
                  <a:pt x="854" y="1331"/>
                </a:lnTo>
                <a:lnTo>
                  <a:pt x="846" y="1341"/>
                </a:lnTo>
                <a:lnTo>
                  <a:pt x="837" y="1350"/>
                </a:lnTo>
                <a:lnTo>
                  <a:pt x="834" y="1352"/>
                </a:lnTo>
                <a:lnTo>
                  <a:pt x="832" y="1356"/>
                </a:lnTo>
                <a:lnTo>
                  <a:pt x="829" y="1358"/>
                </a:lnTo>
                <a:lnTo>
                  <a:pt x="827" y="1363"/>
                </a:lnTo>
                <a:lnTo>
                  <a:pt x="826" y="1365"/>
                </a:lnTo>
                <a:lnTo>
                  <a:pt x="823" y="1369"/>
                </a:lnTo>
                <a:lnTo>
                  <a:pt x="820" y="1371"/>
                </a:lnTo>
                <a:lnTo>
                  <a:pt x="816" y="1372"/>
                </a:lnTo>
                <a:lnTo>
                  <a:pt x="807" y="1377"/>
                </a:lnTo>
                <a:lnTo>
                  <a:pt x="799" y="1383"/>
                </a:lnTo>
                <a:lnTo>
                  <a:pt x="804" y="1387"/>
                </a:lnTo>
                <a:lnTo>
                  <a:pt x="807" y="1393"/>
                </a:lnTo>
                <a:lnTo>
                  <a:pt x="807" y="1393"/>
                </a:lnTo>
                <a:lnTo>
                  <a:pt x="808" y="1393"/>
                </a:lnTo>
                <a:lnTo>
                  <a:pt x="807" y="1393"/>
                </a:lnTo>
                <a:lnTo>
                  <a:pt x="807" y="1393"/>
                </a:lnTo>
                <a:lnTo>
                  <a:pt x="804" y="1387"/>
                </a:lnTo>
                <a:lnTo>
                  <a:pt x="799" y="1383"/>
                </a:lnTo>
                <a:lnTo>
                  <a:pt x="793" y="1380"/>
                </a:lnTo>
                <a:lnTo>
                  <a:pt x="786" y="1380"/>
                </a:lnTo>
                <a:lnTo>
                  <a:pt x="786" y="1383"/>
                </a:lnTo>
                <a:lnTo>
                  <a:pt x="786" y="1385"/>
                </a:lnTo>
                <a:lnTo>
                  <a:pt x="786" y="1383"/>
                </a:lnTo>
                <a:lnTo>
                  <a:pt x="786" y="1380"/>
                </a:lnTo>
                <a:lnTo>
                  <a:pt x="778" y="1372"/>
                </a:lnTo>
                <a:lnTo>
                  <a:pt x="768" y="1365"/>
                </a:lnTo>
                <a:lnTo>
                  <a:pt x="767" y="1364"/>
                </a:lnTo>
                <a:lnTo>
                  <a:pt x="766" y="1363"/>
                </a:lnTo>
                <a:lnTo>
                  <a:pt x="761" y="1352"/>
                </a:lnTo>
                <a:lnTo>
                  <a:pt x="757" y="1343"/>
                </a:lnTo>
                <a:lnTo>
                  <a:pt x="752" y="1333"/>
                </a:lnTo>
                <a:lnTo>
                  <a:pt x="746" y="1323"/>
                </a:lnTo>
                <a:lnTo>
                  <a:pt x="747" y="1320"/>
                </a:lnTo>
                <a:lnTo>
                  <a:pt x="746" y="1315"/>
                </a:lnTo>
                <a:lnTo>
                  <a:pt x="740" y="1300"/>
                </a:lnTo>
                <a:lnTo>
                  <a:pt x="736" y="1284"/>
                </a:lnTo>
                <a:lnTo>
                  <a:pt x="731" y="1267"/>
                </a:lnTo>
                <a:lnTo>
                  <a:pt x="727" y="1251"/>
                </a:lnTo>
                <a:lnTo>
                  <a:pt x="726" y="1249"/>
                </a:lnTo>
                <a:lnTo>
                  <a:pt x="724" y="1245"/>
                </a:lnTo>
                <a:lnTo>
                  <a:pt x="725" y="1244"/>
                </a:lnTo>
                <a:lnTo>
                  <a:pt x="726" y="1243"/>
                </a:lnTo>
                <a:lnTo>
                  <a:pt x="724" y="1235"/>
                </a:lnTo>
                <a:lnTo>
                  <a:pt x="720" y="1228"/>
                </a:lnTo>
                <a:lnTo>
                  <a:pt x="724" y="1235"/>
                </a:lnTo>
                <a:lnTo>
                  <a:pt x="726" y="1243"/>
                </a:lnTo>
                <a:lnTo>
                  <a:pt x="727" y="1242"/>
                </a:lnTo>
                <a:lnTo>
                  <a:pt x="730" y="1240"/>
                </a:lnTo>
                <a:lnTo>
                  <a:pt x="732" y="1240"/>
                </a:lnTo>
                <a:lnTo>
                  <a:pt x="735" y="1240"/>
                </a:lnTo>
                <a:lnTo>
                  <a:pt x="736" y="1238"/>
                </a:lnTo>
                <a:lnTo>
                  <a:pt x="736" y="1236"/>
                </a:lnTo>
                <a:lnTo>
                  <a:pt x="731" y="1226"/>
                </a:lnTo>
                <a:lnTo>
                  <a:pt x="729" y="1216"/>
                </a:lnTo>
                <a:lnTo>
                  <a:pt x="724" y="1203"/>
                </a:lnTo>
                <a:lnTo>
                  <a:pt x="719" y="1190"/>
                </a:lnTo>
                <a:lnTo>
                  <a:pt x="715" y="1176"/>
                </a:lnTo>
                <a:lnTo>
                  <a:pt x="708" y="1165"/>
                </a:lnTo>
                <a:lnTo>
                  <a:pt x="708" y="1163"/>
                </a:lnTo>
                <a:lnTo>
                  <a:pt x="708" y="1162"/>
                </a:lnTo>
                <a:lnTo>
                  <a:pt x="706" y="1159"/>
                </a:lnTo>
                <a:lnTo>
                  <a:pt x="706" y="1156"/>
                </a:lnTo>
                <a:lnTo>
                  <a:pt x="705" y="1154"/>
                </a:lnTo>
                <a:lnTo>
                  <a:pt x="703" y="1153"/>
                </a:lnTo>
                <a:lnTo>
                  <a:pt x="698" y="1141"/>
                </a:lnTo>
                <a:lnTo>
                  <a:pt x="695" y="1128"/>
                </a:lnTo>
                <a:lnTo>
                  <a:pt x="690" y="1117"/>
                </a:lnTo>
                <a:lnTo>
                  <a:pt x="685" y="1105"/>
                </a:lnTo>
                <a:lnTo>
                  <a:pt x="685" y="1101"/>
                </a:lnTo>
                <a:lnTo>
                  <a:pt x="685" y="1099"/>
                </a:lnTo>
                <a:lnTo>
                  <a:pt x="684" y="1098"/>
                </a:lnTo>
                <a:lnTo>
                  <a:pt x="682" y="1096"/>
                </a:lnTo>
                <a:lnTo>
                  <a:pt x="681" y="1094"/>
                </a:lnTo>
                <a:lnTo>
                  <a:pt x="681" y="1092"/>
                </a:lnTo>
                <a:lnTo>
                  <a:pt x="681" y="1090"/>
                </a:lnTo>
                <a:lnTo>
                  <a:pt x="680" y="1089"/>
                </a:lnTo>
                <a:lnTo>
                  <a:pt x="678" y="1086"/>
                </a:lnTo>
                <a:lnTo>
                  <a:pt x="676" y="1085"/>
                </a:lnTo>
                <a:lnTo>
                  <a:pt x="676" y="1083"/>
                </a:lnTo>
                <a:lnTo>
                  <a:pt x="675" y="1080"/>
                </a:lnTo>
                <a:lnTo>
                  <a:pt x="675" y="1080"/>
                </a:lnTo>
                <a:lnTo>
                  <a:pt x="675" y="1078"/>
                </a:lnTo>
                <a:lnTo>
                  <a:pt x="675" y="1076"/>
                </a:lnTo>
                <a:lnTo>
                  <a:pt x="673" y="1075"/>
                </a:lnTo>
                <a:lnTo>
                  <a:pt x="670" y="1073"/>
                </a:lnTo>
                <a:lnTo>
                  <a:pt x="670" y="1071"/>
                </a:lnTo>
                <a:lnTo>
                  <a:pt x="670" y="1070"/>
                </a:lnTo>
                <a:lnTo>
                  <a:pt x="670" y="1066"/>
                </a:lnTo>
                <a:lnTo>
                  <a:pt x="669" y="1064"/>
                </a:lnTo>
                <a:lnTo>
                  <a:pt x="668" y="1061"/>
                </a:lnTo>
                <a:lnTo>
                  <a:pt x="666" y="1059"/>
                </a:lnTo>
                <a:lnTo>
                  <a:pt x="666" y="1058"/>
                </a:lnTo>
                <a:lnTo>
                  <a:pt x="666" y="1057"/>
                </a:lnTo>
                <a:lnTo>
                  <a:pt x="669" y="1057"/>
                </a:lnTo>
                <a:lnTo>
                  <a:pt x="674" y="1058"/>
                </a:lnTo>
                <a:lnTo>
                  <a:pt x="664" y="1042"/>
                </a:lnTo>
                <a:lnTo>
                  <a:pt x="655" y="1028"/>
                </a:lnTo>
                <a:lnTo>
                  <a:pt x="654" y="1027"/>
                </a:lnTo>
                <a:lnTo>
                  <a:pt x="651" y="1024"/>
                </a:lnTo>
                <a:lnTo>
                  <a:pt x="653" y="1021"/>
                </a:lnTo>
                <a:lnTo>
                  <a:pt x="655" y="1019"/>
                </a:lnTo>
                <a:lnTo>
                  <a:pt x="663" y="1027"/>
                </a:lnTo>
                <a:lnTo>
                  <a:pt x="671" y="1035"/>
                </a:lnTo>
                <a:lnTo>
                  <a:pt x="678" y="1043"/>
                </a:lnTo>
                <a:lnTo>
                  <a:pt x="685" y="1050"/>
                </a:lnTo>
                <a:lnTo>
                  <a:pt x="694" y="1056"/>
                </a:lnTo>
                <a:lnTo>
                  <a:pt x="704" y="1061"/>
                </a:lnTo>
                <a:lnTo>
                  <a:pt x="709" y="1063"/>
                </a:lnTo>
                <a:lnTo>
                  <a:pt x="713" y="1062"/>
                </a:lnTo>
                <a:lnTo>
                  <a:pt x="718" y="1061"/>
                </a:lnTo>
                <a:lnTo>
                  <a:pt x="723" y="1057"/>
                </a:lnTo>
                <a:lnTo>
                  <a:pt x="725" y="1054"/>
                </a:lnTo>
                <a:lnTo>
                  <a:pt x="725" y="1050"/>
                </a:lnTo>
                <a:lnTo>
                  <a:pt x="724" y="1045"/>
                </a:lnTo>
                <a:lnTo>
                  <a:pt x="723" y="1042"/>
                </a:lnTo>
                <a:lnTo>
                  <a:pt x="724" y="1040"/>
                </a:lnTo>
                <a:lnTo>
                  <a:pt x="726" y="1038"/>
                </a:lnTo>
                <a:lnTo>
                  <a:pt x="727" y="1026"/>
                </a:lnTo>
                <a:lnTo>
                  <a:pt x="730" y="1013"/>
                </a:lnTo>
                <a:lnTo>
                  <a:pt x="730" y="1009"/>
                </a:lnTo>
                <a:lnTo>
                  <a:pt x="731" y="1006"/>
                </a:lnTo>
                <a:lnTo>
                  <a:pt x="732" y="1002"/>
                </a:lnTo>
                <a:lnTo>
                  <a:pt x="733" y="998"/>
                </a:lnTo>
                <a:lnTo>
                  <a:pt x="732" y="994"/>
                </a:lnTo>
                <a:lnTo>
                  <a:pt x="731" y="989"/>
                </a:lnTo>
                <a:lnTo>
                  <a:pt x="731" y="982"/>
                </a:lnTo>
                <a:lnTo>
                  <a:pt x="730" y="975"/>
                </a:lnTo>
                <a:lnTo>
                  <a:pt x="730" y="973"/>
                </a:lnTo>
                <a:lnTo>
                  <a:pt x="731" y="972"/>
                </a:lnTo>
                <a:lnTo>
                  <a:pt x="730" y="970"/>
                </a:lnTo>
                <a:lnTo>
                  <a:pt x="729" y="968"/>
                </a:lnTo>
                <a:lnTo>
                  <a:pt x="733" y="956"/>
                </a:lnTo>
                <a:lnTo>
                  <a:pt x="737" y="943"/>
                </a:lnTo>
                <a:lnTo>
                  <a:pt x="739" y="930"/>
                </a:lnTo>
                <a:lnTo>
                  <a:pt x="740" y="917"/>
                </a:lnTo>
                <a:lnTo>
                  <a:pt x="742" y="903"/>
                </a:lnTo>
                <a:lnTo>
                  <a:pt x="743" y="890"/>
                </a:lnTo>
                <a:lnTo>
                  <a:pt x="745" y="877"/>
                </a:lnTo>
                <a:lnTo>
                  <a:pt x="747" y="865"/>
                </a:lnTo>
                <a:lnTo>
                  <a:pt x="750" y="854"/>
                </a:lnTo>
                <a:lnTo>
                  <a:pt x="752" y="844"/>
                </a:lnTo>
                <a:lnTo>
                  <a:pt x="754" y="833"/>
                </a:lnTo>
                <a:lnTo>
                  <a:pt x="754" y="823"/>
                </a:lnTo>
                <a:lnTo>
                  <a:pt x="761" y="817"/>
                </a:lnTo>
                <a:lnTo>
                  <a:pt x="770" y="813"/>
                </a:lnTo>
                <a:lnTo>
                  <a:pt x="779" y="811"/>
                </a:lnTo>
                <a:lnTo>
                  <a:pt x="787" y="810"/>
                </a:lnTo>
                <a:lnTo>
                  <a:pt x="801" y="807"/>
                </a:lnTo>
                <a:lnTo>
                  <a:pt x="814" y="804"/>
                </a:lnTo>
                <a:lnTo>
                  <a:pt x="826" y="798"/>
                </a:lnTo>
                <a:lnTo>
                  <a:pt x="837" y="791"/>
                </a:lnTo>
                <a:lnTo>
                  <a:pt x="848" y="784"/>
                </a:lnTo>
                <a:lnTo>
                  <a:pt x="861" y="781"/>
                </a:lnTo>
                <a:lnTo>
                  <a:pt x="871" y="778"/>
                </a:lnTo>
                <a:lnTo>
                  <a:pt x="882" y="777"/>
                </a:lnTo>
                <a:lnTo>
                  <a:pt x="883" y="777"/>
                </a:lnTo>
                <a:lnTo>
                  <a:pt x="885" y="777"/>
                </a:lnTo>
                <a:lnTo>
                  <a:pt x="887" y="778"/>
                </a:lnTo>
                <a:lnTo>
                  <a:pt x="887" y="779"/>
                </a:lnTo>
                <a:lnTo>
                  <a:pt x="887" y="779"/>
                </a:lnTo>
                <a:lnTo>
                  <a:pt x="888" y="779"/>
                </a:lnTo>
                <a:lnTo>
                  <a:pt x="887" y="779"/>
                </a:lnTo>
                <a:lnTo>
                  <a:pt x="887" y="779"/>
                </a:lnTo>
                <a:close/>
                <a:moveTo>
                  <a:pt x="885" y="1037"/>
                </a:moveTo>
                <a:lnTo>
                  <a:pt x="889" y="1040"/>
                </a:lnTo>
                <a:lnTo>
                  <a:pt x="890" y="1043"/>
                </a:lnTo>
                <a:lnTo>
                  <a:pt x="889" y="1040"/>
                </a:lnTo>
                <a:lnTo>
                  <a:pt x="885" y="1037"/>
                </a:lnTo>
                <a:lnTo>
                  <a:pt x="885" y="1036"/>
                </a:lnTo>
                <a:lnTo>
                  <a:pt x="885" y="1035"/>
                </a:lnTo>
                <a:lnTo>
                  <a:pt x="885" y="1036"/>
                </a:lnTo>
                <a:lnTo>
                  <a:pt x="885" y="1037"/>
                </a:lnTo>
                <a:close/>
                <a:moveTo>
                  <a:pt x="898" y="1399"/>
                </a:moveTo>
                <a:lnTo>
                  <a:pt x="898" y="1399"/>
                </a:lnTo>
                <a:lnTo>
                  <a:pt x="899" y="1399"/>
                </a:lnTo>
                <a:lnTo>
                  <a:pt x="899" y="1398"/>
                </a:lnTo>
                <a:lnTo>
                  <a:pt x="899" y="1399"/>
                </a:lnTo>
                <a:lnTo>
                  <a:pt x="898" y="1399"/>
                </a:lnTo>
                <a:lnTo>
                  <a:pt x="898" y="1403"/>
                </a:lnTo>
                <a:lnTo>
                  <a:pt x="898" y="1406"/>
                </a:lnTo>
                <a:lnTo>
                  <a:pt x="897" y="1407"/>
                </a:lnTo>
                <a:lnTo>
                  <a:pt x="895" y="1408"/>
                </a:lnTo>
                <a:lnTo>
                  <a:pt x="891" y="1408"/>
                </a:lnTo>
                <a:lnTo>
                  <a:pt x="889" y="1408"/>
                </a:lnTo>
                <a:lnTo>
                  <a:pt x="891" y="1408"/>
                </a:lnTo>
                <a:lnTo>
                  <a:pt x="895" y="1408"/>
                </a:lnTo>
                <a:lnTo>
                  <a:pt x="897" y="1407"/>
                </a:lnTo>
                <a:lnTo>
                  <a:pt x="898" y="1406"/>
                </a:lnTo>
                <a:lnTo>
                  <a:pt x="898" y="1403"/>
                </a:lnTo>
                <a:lnTo>
                  <a:pt x="898" y="1399"/>
                </a:lnTo>
                <a:close/>
                <a:moveTo>
                  <a:pt x="927" y="1261"/>
                </a:moveTo>
                <a:lnTo>
                  <a:pt x="913" y="1261"/>
                </a:lnTo>
                <a:lnTo>
                  <a:pt x="901" y="1263"/>
                </a:lnTo>
                <a:lnTo>
                  <a:pt x="902" y="1265"/>
                </a:lnTo>
                <a:lnTo>
                  <a:pt x="904" y="1266"/>
                </a:lnTo>
                <a:lnTo>
                  <a:pt x="902" y="1265"/>
                </a:lnTo>
                <a:lnTo>
                  <a:pt x="901" y="1263"/>
                </a:lnTo>
                <a:lnTo>
                  <a:pt x="913" y="1261"/>
                </a:lnTo>
                <a:lnTo>
                  <a:pt x="927" y="1261"/>
                </a:lnTo>
                <a:close/>
                <a:moveTo>
                  <a:pt x="869" y="1323"/>
                </a:moveTo>
                <a:lnTo>
                  <a:pt x="863" y="1326"/>
                </a:lnTo>
                <a:lnTo>
                  <a:pt x="857" y="1329"/>
                </a:lnTo>
                <a:lnTo>
                  <a:pt x="860" y="1322"/>
                </a:lnTo>
                <a:lnTo>
                  <a:pt x="864" y="1315"/>
                </a:lnTo>
                <a:lnTo>
                  <a:pt x="865" y="1314"/>
                </a:lnTo>
                <a:lnTo>
                  <a:pt x="867" y="1314"/>
                </a:lnTo>
                <a:lnTo>
                  <a:pt x="868" y="1314"/>
                </a:lnTo>
                <a:lnTo>
                  <a:pt x="869" y="1315"/>
                </a:lnTo>
                <a:lnTo>
                  <a:pt x="870" y="1317"/>
                </a:lnTo>
                <a:lnTo>
                  <a:pt x="871" y="1319"/>
                </a:lnTo>
                <a:lnTo>
                  <a:pt x="871" y="1321"/>
                </a:lnTo>
                <a:lnTo>
                  <a:pt x="869" y="1323"/>
                </a:lnTo>
                <a:close/>
                <a:moveTo>
                  <a:pt x="813" y="1394"/>
                </a:moveTo>
                <a:lnTo>
                  <a:pt x="816" y="1398"/>
                </a:lnTo>
                <a:lnTo>
                  <a:pt x="820" y="1401"/>
                </a:lnTo>
                <a:lnTo>
                  <a:pt x="816" y="1398"/>
                </a:lnTo>
                <a:lnTo>
                  <a:pt x="813" y="1394"/>
                </a:lnTo>
                <a:close/>
                <a:moveTo>
                  <a:pt x="777" y="1384"/>
                </a:moveTo>
                <a:lnTo>
                  <a:pt x="779" y="1383"/>
                </a:lnTo>
                <a:lnTo>
                  <a:pt x="779" y="1382"/>
                </a:lnTo>
                <a:lnTo>
                  <a:pt x="779" y="1383"/>
                </a:lnTo>
                <a:lnTo>
                  <a:pt x="777" y="1384"/>
                </a:lnTo>
                <a:lnTo>
                  <a:pt x="777" y="1384"/>
                </a:lnTo>
                <a:close/>
                <a:moveTo>
                  <a:pt x="764" y="1405"/>
                </a:moveTo>
                <a:lnTo>
                  <a:pt x="758" y="1401"/>
                </a:lnTo>
                <a:lnTo>
                  <a:pt x="753" y="1398"/>
                </a:lnTo>
                <a:lnTo>
                  <a:pt x="758" y="1401"/>
                </a:lnTo>
                <a:lnTo>
                  <a:pt x="764" y="1405"/>
                </a:lnTo>
                <a:lnTo>
                  <a:pt x="765" y="1406"/>
                </a:lnTo>
                <a:lnTo>
                  <a:pt x="766" y="1408"/>
                </a:lnTo>
                <a:lnTo>
                  <a:pt x="765" y="1406"/>
                </a:lnTo>
                <a:lnTo>
                  <a:pt x="764" y="1405"/>
                </a:lnTo>
                <a:close/>
                <a:moveTo>
                  <a:pt x="750" y="1393"/>
                </a:moveTo>
                <a:lnTo>
                  <a:pt x="751" y="1389"/>
                </a:lnTo>
                <a:lnTo>
                  <a:pt x="752" y="1386"/>
                </a:lnTo>
                <a:lnTo>
                  <a:pt x="751" y="1389"/>
                </a:lnTo>
                <a:lnTo>
                  <a:pt x="750" y="1393"/>
                </a:lnTo>
                <a:close/>
                <a:moveTo>
                  <a:pt x="733" y="1401"/>
                </a:moveTo>
                <a:lnTo>
                  <a:pt x="733" y="1398"/>
                </a:lnTo>
                <a:lnTo>
                  <a:pt x="731" y="1394"/>
                </a:lnTo>
                <a:lnTo>
                  <a:pt x="733" y="1398"/>
                </a:lnTo>
                <a:lnTo>
                  <a:pt x="733" y="1401"/>
                </a:lnTo>
                <a:close/>
                <a:moveTo>
                  <a:pt x="691" y="1259"/>
                </a:moveTo>
                <a:lnTo>
                  <a:pt x="687" y="1260"/>
                </a:lnTo>
                <a:lnTo>
                  <a:pt x="682" y="1261"/>
                </a:lnTo>
                <a:lnTo>
                  <a:pt x="687" y="1260"/>
                </a:lnTo>
                <a:lnTo>
                  <a:pt x="691" y="1259"/>
                </a:lnTo>
                <a:lnTo>
                  <a:pt x="697" y="1256"/>
                </a:lnTo>
                <a:lnTo>
                  <a:pt x="704" y="1252"/>
                </a:lnTo>
                <a:lnTo>
                  <a:pt x="697" y="1256"/>
                </a:lnTo>
                <a:lnTo>
                  <a:pt x="691" y="1259"/>
                </a:lnTo>
                <a:close/>
                <a:moveTo>
                  <a:pt x="690" y="1330"/>
                </a:moveTo>
                <a:lnTo>
                  <a:pt x="694" y="1330"/>
                </a:lnTo>
                <a:lnTo>
                  <a:pt x="696" y="1329"/>
                </a:lnTo>
                <a:lnTo>
                  <a:pt x="694" y="1330"/>
                </a:lnTo>
                <a:lnTo>
                  <a:pt x="690" y="1330"/>
                </a:lnTo>
                <a:close/>
                <a:moveTo>
                  <a:pt x="684" y="1369"/>
                </a:moveTo>
                <a:lnTo>
                  <a:pt x="687" y="1368"/>
                </a:lnTo>
                <a:lnTo>
                  <a:pt x="690" y="1368"/>
                </a:lnTo>
                <a:lnTo>
                  <a:pt x="687" y="1368"/>
                </a:lnTo>
                <a:lnTo>
                  <a:pt x="684" y="1369"/>
                </a:lnTo>
                <a:close/>
                <a:moveTo>
                  <a:pt x="653" y="992"/>
                </a:moveTo>
                <a:lnTo>
                  <a:pt x="658" y="999"/>
                </a:lnTo>
                <a:lnTo>
                  <a:pt x="666" y="1005"/>
                </a:lnTo>
                <a:lnTo>
                  <a:pt x="658" y="999"/>
                </a:lnTo>
                <a:lnTo>
                  <a:pt x="653" y="992"/>
                </a:lnTo>
                <a:lnTo>
                  <a:pt x="649" y="989"/>
                </a:lnTo>
                <a:lnTo>
                  <a:pt x="647" y="987"/>
                </a:lnTo>
                <a:lnTo>
                  <a:pt x="649" y="989"/>
                </a:lnTo>
                <a:lnTo>
                  <a:pt x="653" y="992"/>
                </a:lnTo>
                <a:close/>
                <a:moveTo>
                  <a:pt x="639" y="854"/>
                </a:moveTo>
                <a:lnTo>
                  <a:pt x="637" y="853"/>
                </a:lnTo>
                <a:lnTo>
                  <a:pt x="636" y="852"/>
                </a:lnTo>
                <a:lnTo>
                  <a:pt x="637" y="853"/>
                </a:lnTo>
                <a:lnTo>
                  <a:pt x="639" y="854"/>
                </a:lnTo>
                <a:lnTo>
                  <a:pt x="642" y="851"/>
                </a:lnTo>
                <a:lnTo>
                  <a:pt x="643" y="848"/>
                </a:lnTo>
                <a:lnTo>
                  <a:pt x="642" y="851"/>
                </a:lnTo>
                <a:lnTo>
                  <a:pt x="639" y="854"/>
                </a:lnTo>
                <a:close/>
                <a:moveTo>
                  <a:pt x="634" y="915"/>
                </a:moveTo>
                <a:lnTo>
                  <a:pt x="635" y="916"/>
                </a:lnTo>
                <a:lnTo>
                  <a:pt x="636" y="916"/>
                </a:lnTo>
                <a:lnTo>
                  <a:pt x="637" y="916"/>
                </a:lnTo>
                <a:lnTo>
                  <a:pt x="639" y="915"/>
                </a:lnTo>
                <a:lnTo>
                  <a:pt x="637" y="916"/>
                </a:lnTo>
                <a:lnTo>
                  <a:pt x="636" y="916"/>
                </a:lnTo>
                <a:lnTo>
                  <a:pt x="635" y="916"/>
                </a:lnTo>
                <a:lnTo>
                  <a:pt x="634" y="915"/>
                </a:lnTo>
                <a:close/>
                <a:moveTo>
                  <a:pt x="633" y="960"/>
                </a:moveTo>
                <a:lnTo>
                  <a:pt x="634" y="965"/>
                </a:lnTo>
                <a:lnTo>
                  <a:pt x="635" y="970"/>
                </a:lnTo>
                <a:lnTo>
                  <a:pt x="634" y="965"/>
                </a:lnTo>
                <a:lnTo>
                  <a:pt x="633" y="960"/>
                </a:lnTo>
                <a:close/>
                <a:moveTo>
                  <a:pt x="632" y="890"/>
                </a:moveTo>
                <a:lnTo>
                  <a:pt x="632" y="886"/>
                </a:lnTo>
                <a:lnTo>
                  <a:pt x="632" y="881"/>
                </a:lnTo>
                <a:lnTo>
                  <a:pt x="632" y="886"/>
                </a:lnTo>
                <a:lnTo>
                  <a:pt x="632" y="890"/>
                </a:lnTo>
                <a:lnTo>
                  <a:pt x="633" y="890"/>
                </a:lnTo>
                <a:lnTo>
                  <a:pt x="633" y="890"/>
                </a:lnTo>
                <a:lnTo>
                  <a:pt x="633" y="890"/>
                </a:lnTo>
                <a:lnTo>
                  <a:pt x="632" y="890"/>
                </a:lnTo>
                <a:close/>
                <a:moveTo>
                  <a:pt x="625" y="615"/>
                </a:moveTo>
                <a:lnTo>
                  <a:pt x="630" y="614"/>
                </a:lnTo>
                <a:lnTo>
                  <a:pt x="635" y="611"/>
                </a:lnTo>
                <a:lnTo>
                  <a:pt x="639" y="608"/>
                </a:lnTo>
                <a:lnTo>
                  <a:pt x="642" y="607"/>
                </a:lnTo>
                <a:lnTo>
                  <a:pt x="639" y="608"/>
                </a:lnTo>
                <a:lnTo>
                  <a:pt x="635" y="611"/>
                </a:lnTo>
                <a:lnTo>
                  <a:pt x="630" y="614"/>
                </a:lnTo>
                <a:lnTo>
                  <a:pt x="625" y="615"/>
                </a:lnTo>
                <a:close/>
                <a:moveTo>
                  <a:pt x="621" y="945"/>
                </a:moveTo>
                <a:lnTo>
                  <a:pt x="619" y="943"/>
                </a:lnTo>
                <a:lnTo>
                  <a:pt x="618" y="940"/>
                </a:lnTo>
                <a:lnTo>
                  <a:pt x="619" y="943"/>
                </a:lnTo>
                <a:lnTo>
                  <a:pt x="621" y="945"/>
                </a:lnTo>
                <a:lnTo>
                  <a:pt x="622" y="947"/>
                </a:lnTo>
                <a:lnTo>
                  <a:pt x="625" y="951"/>
                </a:lnTo>
                <a:lnTo>
                  <a:pt x="622" y="947"/>
                </a:lnTo>
                <a:lnTo>
                  <a:pt x="621" y="945"/>
                </a:lnTo>
                <a:close/>
                <a:moveTo>
                  <a:pt x="621" y="275"/>
                </a:moveTo>
                <a:lnTo>
                  <a:pt x="622" y="275"/>
                </a:lnTo>
                <a:lnTo>
                  <a:pt x="623" y="274"/>
                </a:lnTo>
                <a:lnTo>
                  <a:pt x="622" y="275"/>
                </a:lnTo>
                <a:lnTo>
                  <a:pt x="621" y="275"/>
                </a:lnTo>
                <a:lnTo>
                  <a:pt x="620" y="274"/>
                </a:lnTo>
                <a:lnTo>
                  <a:pt x="620" y="274"/>
                </a:lnTo>
                <a:lnTo>
                  <a:pt x="620" y="274"/>
                </a:lnTo>
                <a:lnTo>
                  <a:pt x="621" y="275"/>
                </a:lnTo>
                <a:close/>
                <a:moveTo>
                  <a:pt x="630" y="273"/>
                </a:moveTo>
                <a:lnTo>
                  <a:pt x="632" y="273"/>
                </a:lnTo>
                <a:lnTo>
                  <a:pt x="634" y="273"/>
                </a:lnTo>
                <a:lnTo>
                  <a:pt x="643" y="274"/>
                </a:lnTo>
                <a:lnTo>
                  <a:pt x="651" y="276"/>
                </a:lnTo>
                <a:lnTo>
                  <a:pt x="658" y="281"/>
                </a:lnTo>
                <a:lnTo>
                  <a:pt x="667" y="286"/>
                </a:lnTo>
                <a:lnTo>
                  <a:pt x="680" y="296"/>
                </a:lnTo>
                <a:lnTo>
                  <a:pt x="692" y="308"/>
                </a:lnTo>
                <a:lnTo>
                  <a:pt x="695" y="309"/>
                </a:lnTo>
                <a:lnTo>
                  <a:pt x="696" y="311"/>
                </a:lnTo>
                <a:lnTo>
                  <a:pt x="699" y="313"/>
                </a:lnTo>
                <a:lnTo>
                  <a:pt x="701" y="313"/>
                </a:lnTo>
                <a:lnTo>
                  <a:pt x="698" y="315"/>
                </a:lnTo>
                <a:lnTo>
                  <a:pt x="696" y="316"/>
                </a:lnTo>
                <a:lnTo>
                  <a:pt x="694" y="318"/>
                </a:lnTo>
                <a:lnTo>
                  <a:pt x="690" y="317"/>
                </a:lnTo>
                <a:lnTo>
                  <a:pt x="688" y="316"/>
                </a:lnTo>
                <a:lnTo>
                  <a:pt x="685" y="314"/>
                </a:lnTo>
                <a:lnTo>
                  <a:pt x="670" y="302"/>
                </a:lnTo>
                <a:lnTo>
                  <a:pt x="655" y="289"/>
                </a:lnTo>
                <a:lnTo>
                  <a:pt x="654" y="288"/>
                </a:lnTo>
                <a:lnTo>
                  <a:pt x="654" y="287"/>
                </a:lnTo>
                <a:lnTo>
                  <a:pt x="653" y="287"/>
                </a:lnTo>
                <a:lnTo>
                  <a:pt x="650" y="288"/>
                </a:lnTo>
                <a:lnTo>
                  <a:pt x="648" y="287"/>
                </a:lnTo>
                <a:lnTo>
                  <a:pt x="646" y="285"/>
                </a:lnTo>
                <a:lnTo>
                  <a:pt x="646" y="285"/>
                </a:lnTo>
                <a:lnTo>
                  <a:pt x="643" y="281"/>
                </a:lnTo>
                <a:lnTo>
                  <a:pt x="639" y="278"/>
                </a:lnTo>
                <a:lnTo>
                  <a:pt x="634" y="276"/>
                </a:lnTo>
                <a:lnTo>
                  <a:pt x="630" y="273"/>
                </a:lnTo>
                <a:lnTo>
                  <a:pt x="630" y="273"/>
                </a:lnTo>
                <a:close/>
                <a:moveTo>
                  <a:pt x="716" y="702"/>
                </a:moveTo>
                <a:lnTo>
                  <a:pt x="709" y="716"/>
                </a:lnTo>
                <a:lnTo>
                  <a:pt x="702" y="729"/>
                </a:lnTo>
                <a:lnTo>
                  <a:pt x="687" y="732"/>
                </a:lnTo>
                <a:lnTo>
                  <a:pt x="673" y="733"/>
                </a:lnTo>
                <a:lnTo>
                  <a:pt x="687" y="732"/>
                </a:lnTo>
                <a:lnTo>
                  <a:pt x="702" y="729"/>
                </a:lnTo>
                <a:lnTo>
                  <a:pt x="709" y="716"/>
                </a:lnTo>
                <a:lnTo>
                  <a:pt x="716" y="702"/>
                </a:lnTo>
                <a:close/>
                <a:moveTo>
                  <a:pt x="703" y="678"/>
                </a:moveTo>
                <a:lnTo>
                  <a:pt x="703" y="678"/>
                </a:lnTo>
                <a:lnTo>
                  <a:pt x="703" y="678"/>
                </a:lnTo>
                <a:lnTo>
                  <a:pt x="703" y="678"/>
                </a:lnTo>
                <a:lnTo>
                  <a:pt x="702" y="680"/>
                </a:lnTo>
                <a:lnTo>
                  <a:pt x="702" y="683"/>
                </a:lnTo>
                <a:lnTo>
                  <a:pt x="702" y="680"/>
                </a:lnTo>
                <a:lnTo>
                  <a:pt x="703" y="678"/>
                </a:lnTo>
                <a:close/>
                <a:moveTo>
                  <a:pt x="727" y="524"/>
                </a:moveTo>
                <a:lnTo>
                  <a:pt x="727" y="523"/>
                </a:lnTo>
                <a:lnTo>
                  <a:pt x="729" y="522"/>
                </a:lnTo>
                <a:lnTo>
                  <a:pt x="727" y="523"/>
                </a:lnTo>
                <a:lnTo>
                  <a:pt x="727" y="524"/>
                </a:lnTo>
                <a:lnTo>
                  <a:pt x="715" y="536"/>
                </a:lnTo>
                <a:lnTo>
                  <a:pt x="702" y="548"/>
                </a:lnTo>
                <a:lnTo>
                  <a:pt x="715" y="536"/>
                </a:lnTo>
                <a:lnTo>
                  <a:pt x="727" y="524"/>
                </a:lnTo>
                <a:close/>
                <a:moveTo>
                  <a:pt x="718" y="701"/>
                </a:moveTo>
                <a:lnTo>
                  <a:pt x="720" y="702"/>
                </a:lnTo>
                <a:lnTo>
                  <a:pt x="724" y="702"/>
                </a:lnTo>
                <a:lnTo>
                  <a:pt x="720" y="702"/>
                </a:lnTo>
                <a:lnTo>
                  <a:pt x="718" y="701"/>
                </a:lnTo>
                <a:lnTo>
                  <a:pt x="711" y="694"/>
                </a:lnTo>
                <a:lnTo>
                  <a:pt x="704" y="686"/>
                </a:lnTo>
                <a:lnTo>
                  <a:pt x="711" y="694"/>
                </a:lnTo>
                <a:lnTo>
                  <a:pt x="718" y="701"/>
                </a:lnTo>
                <a:close/>
                <a:moveTo>
                  <a:pt x="723" y="681"/>
                </a:moveTo>
                <a:lnTo>
                  <a:pt x="723" y="681"/>
                </a:lnTo>
                <a:lnTo>
                  <a:pt x="718" y="679"/>
                </a:lnTo>
                <a:lnTo>
                  <a:pt x="712" y="676"/>
                </a:lnTo>
                <a:lnTo>
                  <a:pt x="718" y="679"/>
                </a:lnTo>
                <a:lnTo>
                  <a:pt x="723" y="681"/>
                </a:lnTo>
                <a:close/>
                <a:moveTo>
                  <a:pt x="711" y="636"/>
                </a:moveTo>
                <a:lnTo>
                  <a:pt x="708" y="642"/>
                </a:lnTo>
                <a:lnTo>
                  <a:pt x="704" y="646"/>
                </a:lnTo>
                <a:lnTo>
                  <a:pt x="708" y="642"/>
                </a:lnTo>
                <a:lnTo>
                  <a:pt x="711" y="636"/>
                </a:lnTo>
                <a:lnTo>
                  <a:pt x="713" y="629"/>
                </a:lnTo>
                <a:lnTo>
                  <a:pt x="716" y="622"/>
                </a:lnTo>
                <a:lnTo>
                  <a:pt x="713" y="629"/>
                </a:lnTo>
                <a:lnTo>
                  <a:pt x="711" y="636"/>
                </a:lnTo>
                <a:close/>
                <a:moveTo>
                  <a:pt x="709" y="730"/>
                </a:moveTo>
                <a:lnTo>
                  <a:pt x="717" y="729"/>
                </a:lnTo>
                <a:lnTo>
                  <a:pt x="724" y="728"/>
                </a:lnTo>
                <a:lnTo>
                  <a:pt x="727" y="723"/>
                </a:lnTo>
                <a:lnTo>
                  <a:pt x="731" y="719"/>
                </a:lnTo>
                <a:lnTo>
                  <a:pt x="727" y="723"/>
                </a:lnTo>
                <a:lnTo>
                  <a:pt x="724" y="728"/>
                </a:lnTo>
                <a:lnTo>
                  <a:pt x="717" y="729"/>
                </a:lnTo>
                <a:lnTo>
                  <a:pt x="709" y="730"/>
                </a:lnTo>
                <a:close/>
                <a:moveTo>
                  <a:pt x="713" y="782"/>
                </a:moveTo>
                <a:lnTo>
                  <a:pt x="709" y="784"/>
                </a:lnTo>
                <a:lnTo>
                  <a:pt x="704" y="786"/>
                </a:lnTo>
                <a:lnTo>
                  <a:pt x="709" y="784"/>
                </a:lnTo>
                <a:lnTo>
                  <a:pt x="713" y="782"/>
                </a:lnTo>
                <a:close/>
                <a:moveTo>
                  <a:pt x="713" y="758"/>
                </a:moveTo>
                <a:lnTo>
                  <a:pt x="713" y="758"/>
                </a:lnTo>
                <a:lnTo>
                  <a:pt x="713" y="761"/>
                </a:lnTo>
                <a:lnTo>
                  <a:pt x="712" y="762"/>
                </a:lnTo>
                <a:lnTo>
                  <a:pt x="711" y="762"/>
                </a:lnTo>
                <a:lnTo>
                  <a:pt x="710" y="761"/>
                </a:lnTo>
                <a:lnTo>
                  <a:pt x="711" y="762"/>
                </a:lnTo>
                <a:lnTo>
                  <a:pt x="712" y="762"/>
                </a:lnTo>
                <a:lnTo>
                  <a:pt x="713" y="761"/>
                </a:lnTo>
                <a:lnTo>
                  <a:pt x="713" y="758"/>
                </a:lnTo>
                <a:close/>
                <a:moveTo>
                  <a:pt x="701" y="783"/>
                </a:moveTo>
                <a:lnTo>
                  <a:pt x="706" y="781"/>
                </a:lnTo>
                <a:lnTo>
                  <a:pt x="712" y="779"/>
                </a:lnTo>
                <a:lnTo>
                  <a:pt x="706" y="781"/>
                </a:lnTo>
                <a:lnTo>
                  <a:pt x="701" y="783"/>
                </a:lnTo>
                <a:close/>
                <a:moveTo>
                  <a:pt x="692" y="996"/>
                </a:moveTo>
                <a:lnTo>
                  <a:pt x="698" y="999"/>
                </a:lnTo>
                <a:lnTo>
                  <a:pt x="703" y="1003"/>
                </a:lnTo>
                <a:lnTo>
                  <a:pt x="698" y="999"/>
                </a:lnTo>
                <a:lnTo>
                  <a:pt x="692" y="996"/>
                </a:lnTo>
                <a:lnTo>
                  <a:pt x="685" y="989"/>
                </a:lnTo>
                <a:lnTo>
                  <a:pt x="678" y="984"/>
                </a:lnTo>
                <a:lnTo>
                  <a:pt x="685" y="989"/>
                </a:lnTo>
                <a:lnTo>
                  <a:pt x="692" y="996"/>
                </a:lnTo>
                <a:close/>
                <a:moveTo>
                  <a:pt x="670" y="756"/>
                </a:moveTo>
                <a:lnTo>
                  <a:pt x="671" y="755"/>
                </a:lnTo>
                <a:lnTo>
                  <a:pt x="673" y="755"/>
                </a:lnTo>
                <a:lnTo>
                  <a:pt x="671" y="755"/>
                </a:lnTo>
                <a:lnTo>
                  <a:pt x="670" y="756"/>
                </a:lnTo>
                <a:close/>
                <a:moveTo>
                  <a:pt x="673" y="760"/>
                </a:moveTo>
                <a:lnTo>
                  <a:pt x="670" y="764"/>
                </a:lnTo>
                <a:lnTo>
                  <a:pt x="670" y="770"/>
                </a:lnTo>
                <a:lnTo>
                  <a:pt x="670" y="770"/>
                </a:lnTo>
                <a:lnTo>
                  <a:pt x="669" y="771"/>
                </a:lnTo>
                <a:lnTo>
                  <a:pt x="670" y="770"/>
                </a:lnTo>
                <a:lnTo>
                  <a:pt x="670" y="770"/>
                </a:lnTo>
                <a:lnTo>
                  <a:pt x="670" y="764"/>
                </a:lnTo>
                <a:lnTo>
                  <a:pt x="673" y="760"/>
                </a:lnTo>
                <a:close/>
                <a:moveTo>
                  <a:pt x="669" y="760"/>
                </a:moveTo>
                <a:lnTo>
                  <a:pt x="666" y="756"/>
                </a:lnTo>
                <a:lnTo>
                  <a:pt x="663" y="755"/>
                </a:lnTo>
                <a:lnTo>
                  <a:pt x="666" y="756"/>
                </a:lnTo>
                <a:lnTo>
                  <a:pt x="669" y="760"/>
                </a:lnTo>
                <a:close/>
                <a:moveTo>
                  <a:pt x="655" y="816"/>
                </a:moveTo>
                <a:lnTo>
                  <a:pt x="661" y="818"/>
                </a:lnTo>
                <a:lnTo>
                  <a:pt x="666" y="819"/>
                </a:lnTo>
                <a:lnTo>
                  <a:pt x="661" y="818"/>
                </a:lnTo>
                <a:lnTo>
                  <a:pt x="655" y="816"/>
                </a:lnTo>
                <a:lnTo>
                  <a:pt x="655" y="816"/>
                </a:lnTo>
                <a:close/>
                <a:moveTo>
                  <a:pt x="655" y="795"/>
                </a:moveTo>
                <a:lnTo>
                  <a:pt x="656" y="795"/>
                </a:lnTo>
                <a:lnTo>
                  <a:pt x="657" y="796"/>
                </a:lnTo>
                <a:lnTo>
                  <a:pt x="656" y="795"/>
                </a:lnTo>
                <a:lnTo>
                  <a:pt x="655" y="795"/>
                </a:lnTo>
                <a:close/>
                <a:moveTo>
                  <a:pt x="662" y="776"/>
                </a:moveTo>
                <a:lnTo>
                  <a:pt x="660" y="777"/>
                </a:lnTo>
                <a:lnTo>
                  <a:pt x="657" y="777"/>
                </a:lnTo>
                <a:lnTo>
                  <a:pt x="660" y="777"/>
                </a:lnTo>
                <a:lnTo>
                  <a:pt x="662" y="776"/>
                </a:lnTo>
                <a:close/>
                <a:moveTo>
                  <a:pt x="635" y="592"/>
                </a:moveTo>
                <a:lnTo>
                  <a:pt x="646" y="592"/>
                </a:lnTo>
                <a:lnTo>
                  <a:pt x="655" y="592"/>
                </a:lnTo>
                <a:lnTo>
                  <a:pt x="646" y="592"/>
                </a:lnTo>
                <a:lnTo>
                  <a:pt x="635" y="592"/>
                </a:lnTo>
                <a:close/>
                <a:moveTo>
                  <a:pt x="637" y="616"/>
                </a:moveTo>
                <a:lnTo>
                  <a:pt x="643" y="618"/>
                </a:lnTo>
                <a:lnTo>
                  <a:pt x="649" y="618"/>
                </a:lnTo>
                <a:lnTo>
                  <a:pt x="650" y="620"/>
                </a:lnTo>
                <a:lnTo>
                  <a:pt x="651" y="621"/>
                </a:lnTo>
                <a:lnTo>
                  <a:pt x="653" y="620"/>
                </a:lnTo>
                <a:lnTo>
                  <a:pt x="654" y="620"/>
                </a:lnTo>
                <a:lnTo>
                  <a:pt x="653" y="620"/>
                </a:lnTo>
                <a:lnTo>
                  <a:pt x="651" y="621"/>
                </a:lnTo>
                <a:lnTo>
                  <a:pt x="650" y="620"/>
                </a:lnTo>
                <a:lnTo>
                  <a:pt x="649" y="618"/>
                </a:lnTo>
                <a:lnTo>
                  <a:pt x="643" y="618"/>
                </a:lnTo>
                <a:lnTo>
                  <a:pt x="637" y="616"/>
                </a:lnTo>
                <a:close/>
                <a:moveTo>
                  <a:pt x="636" y="693"/>
                </a:moveTo>
                <a:lnTo>
                  <a:pt x="636" y="693"/>
                </a:lnTo>
                <a:lnTo>
                  <a:pt x="635" y="692"/>
                </a:lnTo>
                <a:lnTo>
                  <a:pt x="636" y="693"/>
                </a:lnTo>
                <a:lnTo>
                  <a:pt x="636" y="693"/>
                </a:lnTo>
                <a:lnTo>
                  <a:pt x="639" y="697"/>
                </a:lnTo>
                <a:lnTo>
                  <a:pt x="642" y="698"/>
                </a:lnTo>
                <a:lnTo>
                  <a:pt x="639" y="697"/>
                </a:lnTo>
                <a:lnTo>
                  <a:pt x="636" y="693"/>
                </a:lnTo>
                <a:close/>
                <a:moveTo>
                  <a:pt x="641" y="746"/>
                </a:moveTo>
                <a:lnTo>
                  <a:pt x="641" y="747"/>
                </a:lnTo>
                <a:lnTo>
                  <a:pt x="642" y="749"/>
                </a:lnTo>
                <a:lnTo>
                  <a:pt x="643" y="753"/>
                </a:lnTo>
                <a:lnTo>
                  <a:pt x="644" y="754"/>
                </a:lnTo>
                <a:lnTo>
                  <a:pt x="647" y="755"/>
                </a:lnTo>
                <a:lnTo>
                  <a:pt x="649" y="756"/>
                </a:lnTo>
                <a:lnTo>
                  <a:pt x="647" y="755"/>
                </a:lnTo>
                <a:lnTo>
                  <a:pt x="644" y="754"/>
                </a:lnTo>
                <a:lnTo>
                  <a:pt x="643" y="753"/>
                </a:lnTo>
                <a:lnTo>
                  <a:pt x="642" y="749"/>
                </a:lnTo>
                <a:lnTo>
                  <a:pt x="641" y="747"/>
                </a:lnTo>
                <a:lnTo>
                  <a:pt x="641" y="746"/>
                </a:lnTo>
                <a:close/>
                <a:moveTo>
                  <a:pt x="649" y="777"/>
                </a:moveTo>
                <a:lnTo>
                  <a:pt x="649" y="777"/>
                </a:lnTo>
                <a:lnTo>
                  <a:pt x="649" y="777"/>
                </a:lnTo>
                <a:lnTo>
                  <a:pt x="649" y="777"/>
                </a:lnTo>
                <a:lnTo>
                  <a:pt x="655" y="774"/>
                </a:lnTo>
                <a:lnTo>
                  <a:pt x="661" y="771"/>
                </a:lnTo>
                <a:lnTo>
                  <a:pt x="655" y="774"/>
                </a:lnTo>
                <a:lnTo>
                  <a:pt x="649" y="777"/>
                </a:lnTo>
                <a:close/>
                <a:moveTo>
                  <a:pt x="663" y="792"/>
                </a:moveTo>
                <a:lnTo>
                  <a:pt x="662" y="792"/>
                </a:lnTo>
                <a:lnTo>
                  <a:pt x="661" y="792"/>
                </a:lnTo>
                <a:lnTo>
                  <a:pt x="662" y="792"/>
                </a:lnTo>
                <a:lnTo>
                  <a:pt x="663" y="792"/>
                </a:lnTo>
                <a:lnTo>
                  <a:pt x="671" y="790"/>
                </a:lnTo>
                <a:lnTo>
                  <a:pt x="681" y="788"/>
                </a:lnTo>
                <a:lnTo>
                  <a:pt x="671" y="790"/>
                </a:lnTo>
                <a:lnTo>
                  <a:pt x="663" y="792"/>
                </a:lnTo>
                <a:close/>
                <a:moveTo>
                  <a:pt x="669" y="819"/>
                </a:moveTo>
                <a:lnTo>
                  <a:pt x="669" y="820"/>
                </a:lnTo>
                <a:lnTo>
                  <a:pt x="668" y="823"/>
                </a:lnTo>
                <a:lnTo>
                  <a:pt x="669" y="820"/>
                </a:lnTo>
                <a:lnTo>
                  <a:pt x="669" y="819"/>
                </a:lnTo>
                <a:lnTo>
                  <a:pt x="670" y="818"/>
                </a:lnTo>
                <a:lnTo>
                  <a:pt x="670" y="818"/>
                </a:lnTo>
                <a:lnTo>
                  <a:pt x="670" y="818"/>
                </a:lnTo>
                <a:lnTo>
                  <a:pt x="669" y="819"/>
                </a:lnTo>
                <a:close/>
                <a:moveTo>
                  <a:pt x="670" y="911"/>
                </a:moveTo>
                <a:lnTo>
                  <a:pt x="670" y="914"/>
                </a:lnTo>
                <a:lnTo>
                  <a:pt x="671" y="916"/>
                </a:lnTo>
                <a:lnTo>
                  <a:pt x="670" y="914"/>
                </a:lnTo>
                <a:lnTo>
                  <a:pt x="670" y="911"/>
                </a:lnTo>
                <a:close/>
                <a:moveTo>
                  <a:pt x="751" y="593"/>
                </a:moveTo>
                <a:lnTo>
                  <a:pt x="737" y="601"/>
                </a:lnTo>
                <a:lnTo>
                  <a:pt x="723" y="610"/>
                </a:lnTo>
                <a:lnTo>
                  <a:pt x="723" y="610"/>
                </a:lnTo>
                <a:lnTo>
                  <a:pt x="723" y="611"/>
                </a:lnTo>
                <a:lnTo>
                  <a:pt x="723" y="610"/>
                </a:lnTo>
                <a:lnTo>
                  <a:pt x="723" y="610"/>
                </a:lnTo>
                <a:lnTo>
                  <a:pt x="737" y="601"/>
                </a:lnTo>
                <a:lnTo>
                  <a:pt x="751" y="593"/>
                </a:lnTo>
                <a:close/>
                <a:moveTo>
                  <a:pt x="737" y="709"/>
                </a:moveTo>
                <a:lnTo>
                  <a:pt x="736" y="709"/>
                </a:lnTo>
                <a:lnTo>
                  <a:pt x="735" y="711"/>
                </a:lnTo>
                <a:lnTo>
                  <a:pt x="735" y="711"/>
                </a:lnTo>
                <a:lnTo>
                  <a:pt x="733" y="712"/>
                </a:lnTo>
                <a:lnTo>
                  <a:pt x="732" y="711"/>
                </a:lnTo>
                <a:lnTo>
                  <a:pt x="732" y="711"/>
                </a:lnTo>
                <a:lnTo>
                  <a:pt x="732" y="711"/>
                </a:lnTo>
                <a:lnTo>
                  <a:pt x="733" y="712"/>
                </a:lnTo>
                <a:lnTo>
                  <a:pt x="735" y="711"/>
                </a:lnTo>
                <a:lnTo>
                  <a:pt x="735" y="711"/>
                </a:lnTo>
                <a:lnTo>
                  <a:pt x="736" y="709"/>
                </a:lnTo>
                <a:lnTo>
                  <a:pt x="737" y="709"/>
                </a:lnTo>
                <a:close/>
                <a:moveTo>
                  <a:pt x="731" y="704"/>
                </a:moveTo>
                <a:lnTo>
                  <a:pt x="735" y="705"/>
                </a:lnTo>
                <a:lnTo>
                  <a:pt x="738" y="708"/>
                </a:lnTo>
                <a:lnTo>
                  <a:pt x="745" y="711"/>
                </a:lnTo>
                <a:lnTo>
                  <a:pt x="751" y="714"/>
                </a:lnTo>
                <a:lnTo>
                  <a:pt x="745" y="711"/>
                </a:lnTo>
                <a:lnTo>
                  <a:pt x="738" y="708"/>
                </a:lnTo>
                <a:lnTo>
                  <a:pt x="735" y="705"/>
                </a:lnTo>
                <a:lnTo>
                  <a:pt x="731" y="704"/>
                </a:lnTo>
                <a:close/>
                <a:moveTo>
                  <a:pt x="753" y="455"/>
                </a:moveTo>
                <a:lnTo>
                  <a:pt x="754" y="454"/>
                </a:lnTo>
                <a:lnTo>
                  <a:pt x="756" y="452"/>
                </a:lnTo>
                <a:lnTo>
                  <a:pt x="754" y="454"/>
                </a:lnTo>
                <a:lnTo>
                  <a:pt x="753" y="455"/>
                </a:lnTo>
                <a:lnTo>
                  <a:pt x="753" y="455"/>
                </a:lnTo>
                <a:lnTo>
                  <a:pt x="757" y="457"/>
                </a:lnTo>
                <a:lnTo>
                  <a:pt x="759" y="457"/>
                </a:lnTo>
                <a:lnTo>
                  <a:pt x="764" y="460"/>
                </a:lnTo>
                <a:lnTo>
                  <a:pt x="765" y="463"/>
                </a:lnTo>
                <a:lnTo>
                  <a:pt x="765" y="467"/>
                </a:lnTo>
                <a:lnTo>
                  <a:pt x="763" y="470"/>
                </a:lnTo>
                <a:lnTo>
                  <a:pt x="760" y="474"/>
                </a:lnTo>
                <a:lnTo>
                  <a:pt x="759" y="478"/>
                </a:lnTo>
                <a:lnTo>
                  <a:pt x="756" y="482"/>
                </a:lnTo>
                <a:lnTo>
                  <a:pt x="751" y="484"/>
                </a:lnTo>
                <a:lnTo>
                  <a:pt x="751" y="487"/>
                </a:lnTo>
                <a:lnTo>
                  <a:pt x="752" y="489"/>
                </a:lnTo>
                <a:lnTo>
                  <a:pt x="751" y="487"/>
                </a:lnTo>
                <a:lnTo>
                  <a:pt x="751" y="484"/>
                </a:lnTo>
                <a:lnTo>
                  <a:pt x="749" y="482"/>
                </a:lnTo>
                <a:lnTo>
                  <a:pt x="747" y="478"/>
                </a:lnTo>
                <a:lnTo>
                  <a:pt x="744" y="474"/>
                </a:lnTo>
                <a:lnTo>
                  <a:pt x="740" y="468"/>
                </a:lnTo>
                <a:lnTo>
                  <a:pt x="737" y="459"/>
                </a:lnTo>
                <a:lnTo>
                  <a:pt x="735" y="449"/>
                </a:lnTo>
                <a:lnTo>
                  <a:pt x="744" y="453"/>
                </a:lnTo>
                <a:lnTo>
                  <a:pt x="753" y="455"/>
                </a:lnTo>
                <a:close/>
                <a:moveTo>
                  <a:pt x="735" y="227"/>
                </a:moveTo>
                <a:lnTo>
                  <a:pt x="737" y="227"/>
                </a:lnTo>
                <a:lnTo>
                  <a:pt x="739" y="226"/>
                </a:lnTo>
                <a:lnTo>
                  <a:pt x="740" y="226"/>
                </a:lnTo>
                <a:lnTo>
                  <a:pt x="740" y="226"/>
                </a:lnTo>
                <a:lnTo>
                  <a:pt x="740" y="226"/>
                </a:lnTo>
                <a:lnTo>
                  <a:pt x="739" y="226"/>
                </a:lnTo>
                <a:lnTo>
                  <a:pt x="737" y="227"/>
                </a:lnTo>
                <a:lnTo>
                  <a:pt x="735" y="227"/>
                </a:lnTo>
                <a:close/>
                <a:moveTo>
                  <a:pt x="733" y="227"/>
                </a:moveTo>
                <a:lnTo>
                  <a:pt x="735" y="225"/>
                </a:lnTo>
                <a:lnTo>
                  <a:pt x="735" y="222"/>
                </a:lnTo>
                <a:lnTo>
                  <a:pt x="735" y="225"/>
                </a:lnTo>
                <a:lnTo>
                  <a:pt x="733" y="227"/>
                </a:lnTo>
                <a:close/>
                <a:moveTo>
                  <a:pt x="780" y="698"/>
                </a:moveTo>
                <a:lnTo>
                  <a:pt x="782" y="699"/>
                </a:lnTo>
                <a:lnTo>
                  <a:pt x="785" y="699"/>
                </a:lnTo>
                <a:lnTo>
                  <a:pt x="782" y="699"/>
                </a:lnTo>
                <a:lnTo>
                  <a:pt x="780" y="698"/>
                </a:lnTo>
                <a:lnTo>
                  <a:pt x="780" y="698"/>
                </a:lnTo>
                <a:lnTo>
                  <a:pt x="780" y="698"/>
                </a:lnTo>
                <a:lnTo>
                  <a:pt x="780" y="698"/>
                </a:lnTo>
                <a:close/>
                <a:moveTo>
                  <a:pt x="786" y="377"/>
                </a:moveTo>
                <a:lnTo>
                  <a:pt x="786" y="378"/>
                </a:lnTo>
                <a:lnTo>
                  <a:pt x="786" y="378"/>
                </a:lnTo>
                <a:lnTo>
                  <a:pt x="795" y="376"/>
                </a:lnTo>
                <a:lnTo>
                  <a:pt x="804" y="372"/>
                </a:lnTo>
                <a:lnTo>
                  <a:pt x="813" y="369"/>
                </a:lnTo>
                <a:lnTo>
                  <a:pt x="821" y="363"/>
                </a:lnTo>
                <a:lnTo>
                  <a:pt x="828" y="359"/>
                </a:lnTo>
                <a:lnTo>
                  <a:pt x="832" y="358"/>
                </a:lnTo>
                <a:lnTo>
                  <a:pt x="835" y="360"/>
                </a:lnTo>
                <a:lnTo>
                  <a:pt x="839" y="367"/>
                </a:lnTo>
                <a:lnTo>
                  <a:pt x="840" y="367"/>
                </a:lnTo>
                <a:lnTo>
                  <a:pt x="840" y="367"/>
                </a:lnTo>
                <a:lnTo>
                  <a:pt x="840" y="369"/>
                </a:lnTo>
                <a:lnTo>
                  <a:pt x="841" y="369"/>
                </a:lnTo>
                <a:lnTo>
                  <a:pt x="841" y="371"/>
                </a:lnTo>
                <a:lnTo>
                  <a:pt x="841" y="372"/>
                </a:lnTo>
                <a:lnTo>
                  <a:pt x="840" y="373"/>
                </a:lnTo>
                <a:lnTo>
                  <a:pt x="840" y="374"/>
                </a:lnTo>
                <a:lnTo>
                  <a:pt x="840" y="376"/>
                </a:lnTo>
                <a:lnTo>
                  <a:pt x="840" y="377"/>
                </a:lnTo>
                <a:lnTo>
                  <a:pt x="839" y="381"/>
                </a:lnTo>
                <a:lnTo>
                  <a:pt x="837" y="386"/>
                </a:lnTo>
                <a:lnTo>
                  <a:pt x="839" y="391"/>
                </a:lnTo>
                <a:lnTo>
                  <a:pt x="839" y="396"/>
                </a:lnTo>
                <a:lnTo>
                  <a:pt x="839" y="399"/>
                </a:lnTo>
                <a:lnTo>
                  <a:pt x="839" y="401"/>
                </a:lnTo>
                <a:lnTo>
                  <a:pt x="840" y="404"/>
                </a:lnTo>
                <a:lnTo>
                  <a:pt x="841" y="407"/>
                </a:lnTo>
                <a:lnTo>
                  <a:pt x="840" y="404"/>
                </a:lnTo>
                <a:lnTo>
                  <a:pt x="839" y="401"/>
                </a:lnTo>
                <a:lnTo>
                  <a:pt x="839" y="405"/>
                </a:lnTo>
                <a:lnTo>
                  <a:pt x="839" y="408"/>
                </a:lnTo>
                <a:lnTo>
                  <a:pt x="839" y="412"/>
                </a:lnTo>
                <a:lnTo>
                  <a:pt x="841" y="414"/>
                </a:lnTo>
                <a:lnTo>
                  <a:pt x="841" y="418"/>
                </a:lnTo>
                <a:lnTo>
                  <a:pt x="841" y="420"/>
                </a:lnTo>
                <a:lnTo>
                  <a:pt x="830" y="414"/>
                </a:lnTo>
                <a:lnTo>
                  <a:pt x="821" y="406"/>
                </a:lnTo>
                <a:lnTo>
                  <a:pt x="811" y="399"/>
                </a:lnTo>
                <a:lnTo>
                  <a:pt x="801" y="392"/>
                </a:lnTo>
                <a:lnTo>
                  <a:pt x="799" y="391"/>
                </a:lnTo>
                <a:lnTo>
                  <a:pt x="796" y="390"/>
                </a:lnTo>
                <a:lnTo>
                  <a:pt x="796" y="390"/>
                </a:lnTo>
                <a:lnTo>
                  <a:pt x="792" y="385"/>
                </a:lnTo>
                <a:lnTo>
                  <a:pt x="787" y="383"/>
                </a:lnTo>
                <a:lnTo>
                  <a:pt x="786" y="381"/>
                </a:lnTo>
                <a:lnTo>
                  <a:pt x="785" y="379"/>
                </a:lnTo>
                <a:lnTo>
                  <a:pt x="786" y="379"/>
                </a:lnTo>
                <a:lnTo>
                  <a:pt x="786" y="378"/>
                </a:lnTo>
                <a:lnTo>
                  <a:pt x="786" y="378"/>
                </a:lnTo>
                <a:lnTo>
                  <a:pt x="786" y="377"/>
                </a:lnTo>
                <a:close/>
                <a:moveTo>
                  <a:pt x="860" y="348"/>
                </a:moveTo>
                <a:lnTo>
                  <a:pt x="860" y="348"/>
                </a:lnTo>
                <a:lnTo>
                  <a:pt x="861" y="348"/>
                </a:lnTo>
                <a:lnTo>
                  <a:pt x="860" y="348"/>
                </a:lnTo>
                <a:lnTo>
                  <a:pt x="860" y="348"/>
                </a:lnTo>
                <a:lnTo>
                  <a:pt x="857" y="348"/>
                </a:lnTo>
                <a:lnTo>
                  <a:pt x="855" y="346"/>
                </a:lnTo>
                <a:lnTo>
                  <a:pt x="857" y="348"/>
                </a:lnTo>
                <a:lnTo>
                  <a:pt x="860" y="348"/>
                </a:lnTo>
                <a:close/>
                <a:moveTo>
                  <a:pt x="880" y="262"/>
                </a:moveTo>
                <a:lnTo>
                  <a:pt x="882" y="264"/>
                </a:lnTo>
                <a:lnTo>
                  <a:pt x="883" y="266"/>
                </a:lnTo>
                <a:lnTo>
                  <a:pt x="882" y="264"/>
                </a:lnTo>
                <a:lnTo>
                  <a:pt x="880" y="262"/>
                </a:lnTo>
                <a:lnTo>
                  <a:pt x="880" y="262"/>
                </a:lnTo>
                <a:lnTo>
                  <a:pt x="880" y="262"/>
                </a:lnTo>
                <a:lnTo>
                  <a:pt x="880" y="262"/>
                </a:lnTo>
                <a:close/>
                <a:moveTo>
                  <a:pt x="932" y="287"/>
                </a:moveTo>
                <a:lnTo>
                  <a:pt x="932" y="290"/>
                </a:lnTo>
                <a:lnTo>
                  <a:pt x="931" y="294"/>
                </a:lnTo>
                <a:lnTo>
                  <a:pt x="932" y="290"/>
                </a:lnTo>
                <a:lnTo>
                  <a:pt x="932" y="287"/>
                </a:lnTo>
                <a:close/>
                <a:moveTo>
                  <a:pt x="954" y="447"/>
                </a:moveTo>
                <a:lnTo>
                  <a:pt x="953" y="441"/>
                </a:lnTo>
                <a:lnTo>
                  <a:pt x="953" y="435"/>
                </a:lnTo>
                <a:lnTo>
                  <a:pt x="949" y="441"/>
                </a:lnTo>
                <a:lnTo>
                  <a:pt x="946" y="446"/>
                </a:lnTo>
                <a:lnTo>
                  <a:pt x="949" y="441"/>
                </a:lnTo>
                <a:lnTo>
                  <a:pt x="953" y="435"/>
                </a:lnTo>
                <a:lnTo>
                  <a:pt x="956" y="428"/>
                </a:lnTo>
                <a:lnTo>
                  <a:pt x="957" y="421"/>
                </a:lnTo>
                <a:lnTo>
                  <a:pt x="956" y="428"/>
                </a:lnTo>
                <a:lnTo>
                  <a:pt x="953" y="435"/>
                </a:lnTo>
                <a:lnTo>
                  <a:pt x="953" y="441"/>
                </a:lnTo>
                <a:lnTo>
                  <a:pt x="954" y="447"/>
                </a:lnTo>
                <a:close/>
                <a:moveTo>
                  <a:pt x="951" y="415"/>
                </a:moveTo>
                <a:lnTo>
                  <a:pt x="952" y="408"/>
                </a:lnTo>
                <a:lnTo>
                  <a:pt x="954" y="400"/>
                </a:lnTo>
                <a:lnTo>
                  <a:pt x="956" y="398"/>
                </a:lnTo>
                <a:lnTo>
                  <a:pt x="957" y="396"/>
                </a:lnTo>
                <a:lnTo>
                  <a:pt x="958" y="396"/>
                </a:lnTo>
                <a:lnTo>
                  <a:pt x="961" y="396"/>
                </a:lnTo>
                <a:lnTo>
                  <a:pt x="963" y="397"/>
                </a:lnTo>
                <a:lnTo>
                  <a:pt x="964" y="399"/>
                </a:lnTo>
                <a:lnTo>
                  <a:pt x="964" y="401"/>
                </a:lnTo>
                <a:lnTo>
                  <a:pt x="963" y="403"/>
                </a:lnTo>
                <a:lnTo>
                  <a:pt x="960" y="410"/>
                </a:lnTo>
                <a:lnTo>
                  <a:pt x="958" y="415"/>
                </a:lnTo>
                <a:lnTo>
                  <a:pt x="956" y="417"/>
                </a:lnTo>
                <a:lnTo>
                  <a:pt x="954" y="418"/>
                </a:lnTo>
                <a:lnTo>
                  <a:pt x="953" y="419"/>
                </a:lnTo>
                <a:lnTo>
                  <a:pt x="952" y="419"/>
                </a:lnTo>
                <a:lnTo>
                  <a:pt x="952" y="418"/>
                </a:lnTo>
                <a:lnTo>
                  <a:pt x="951" y="415"/>
                </a:lnTo>
                <a:lnTo>
                  <a:pt x="944" y="429"/>
                </a:lnTo>
                <a:lnTo>
                  <a:pt x="937" y="445"/>
                </a:lnTo>
                <a:lnTo>
                  <a:pt x="944" y="429"/>
                </a:lnTo>
                <a:lnTo>
                  <a:pt x="951" y="415"/>
                </a:lnTo>
                <a:close/>
                <a:moveTo>
                  <a:pt x="967" y="446"/>
                </a:moveTo>
                <a:lnTo>
                  <a:pt x="965" y="446"/>
                </a:lnTo>
                <a:lnTo>
                  <a:pt x="964" y="445"/>
                </a:lnTo>
                <a:lnTo>
                  <a:pt x="963" y="443"/>
                </a:lnTo>
                <a:lnTo>
                  <a:pt x="963" y="442"/>
                </a:lnTo>
                <a:lnTo>
                  <a:pt x="963" y="443"/>
                </a:lnTo>
                <a:lnTo>
                  <a:pt x="964" y="445"/>
                </a:lnTo>
                <a:lnTo>
                  <a:pt x="965" y="446"/>
                </a:lnTo>
                <a:lnTo>
                  <a:pt x="967" y="446"/>
                </a:lnTo>
                <a:close/>
                <a:moveTo>
                  <a:pt x="970" y="279"/>
                </a:moveTo>
                <a:lnTo>
                  <a:pt x="973" y="269"/>
                </a:lnTo>
                <a:lnTo>
                  <a:pt x="975" y="260"/>
                </a:lnTo>
                <a:lnTo>
                  <a:pt x="973" y="269"/>
                </a:lnTo>
                <a:lnTo>
                  <a:pt x="970" y="279"/>
                </a:lnTo>
                <a:lnTo>
                  <a:pt x="968" y="280"/>
                </a:lnTo>
                <a:lnTo>
                  <a:pt x="967" y="279"/>
                </a:lnTo>
                <a:lnTo>
                  <a:pt x="968" y="280"/>
                </a:lnTo>
                <a:lnTo>
                  <a:pt x="970" y="279"/>
                </a:lnTo>
                <a:close/>
                <a:moveTo>
                  <a:pt x="995" y="410"/>
                </a:moveTo>
                <a:lnTo>
                  <a:pt x="996" y="410"/>
                </a:lnTo>
                <a:lnTo>
                  <a:pt x="999" y="410"/>
                </a:lnTo>
                <a:lnTo>
                  <a:pt x="999" y="407"/>
                </a:lnTo>
                <a:lnTo>
                  <a:pt x="999" y="406"/>
                </a:lnTo>
                <a:lnTo>
                  <a:pt x="999" y="406"/>
                </a:lnTo>
                <a:lnTo>
                  <a:pt x="999" y="407"/>
                </a:lnTo>
                <a:lnTo>
                  <a:pt x="999" y="410"/>
                </a:lnTo>
                <a:lnTo>
                  <a:pt x="999" y="417"/>
                </a:lnTo>
                <a:lnTo>
                  <a:pt x="999" y="424"/>
                </a:lnTo>
                <a:lnTo>
                  <a:pt x="999" y="417"/>
                </a:lnTo>
                <a:lnTo>
                  <a:pt x="999" y="410"/>
                </a:lnTo>
                <a:lnTo>
                  <a:pt x="996" y="410"/>
                </a:lnTo>
                <a:lnTo>
                  <a:pt x="995" y="410"/>
                </a:lnTo>
                <a:lnTo>
                  <a:pt x="995" y="407"/>
                </a:lnTo>
                <a:lnTo>
                  <a:pt x="995" y="406"/>
                </a:lnTo>
                <a:lnTo>
                  <a:pt x="995" y="407"/>
                </a:lnTo>
                <a:lnTo>
                  <a:pt x="995" y="410"/>
                </a:lnTo>
                <a:close/>
                <a:moveTo>
                  <a:pt x="938" y="1257"/>
                </a:moveTo>
                <a:lnTo>
                  <a:pt x="940" y="1256"/>
                </a:lnTo>
                <a:lnTo>
                  <a:pt x="941" y="1254"/>
                </a:lnTo>
                <a:lnTo>
                  <a:pt x="940" y="1256"/>
                </a:lnTo>
                <a:lnTo>
                  <a:pt x="938" y="1257"/>
                </a:lnTo>
                <a:lnTo>
                  <a:pt x="937" y="1257"/>
                </a:lnTo>
                <a:lnTo>
                  <a:pt x="937" y="1257"/>
                </a:lnTo>
                <a:lnTo>
                  <a:pt x="938" y="1257"/>
                </a:lnTo>
                <a:close/>
                <a:moveTo>
                  <a:pt x="958" y="1310"/>
                </a:moveTo>
                <a:lnTo>
                  <a:pt x="958" y="1310"/>
                </a:lnTo>
                <a:lnTo>
                  <a:pt x="957" y="1310"/>
                </a:lnTo>
                <a:lnTo>
                  <a:pt x="958" y="1310"/>
                </a:lnTo>
                <a:lnTo>
                  <a:pt x="958" y="1310"/>
                </a:lnTo>
                <a:close/>
                <a:moveTo>
                  <a:pt x="958" y="1405"/>
                </a:moveTo>
                <a:lnTo>
                  <a:pt x="951" y="1405"/>
                </a:lnTo>
                <a:lnTo>
                  <a:pt x="944" y="1405"/>
                </a:lnTo>
                <a:lnTo>
                  <a:pt x="951" y="1405"/>
                </a:lnTo>
                <a:lnTo>
                  <a:pt x="958" y="1405"/>
                </a:lnTo>
                <a:close/>
                <a:moveTo>
                  <a:pt x="981" y="1382"/>
                </a:moveTo>
                <a:lnTo>
                  <a:pt x="982" y="1382"/>
                </a:lnTo>
                <a:lnTo>
                  <a:pt x="985" y="1383"/>
                </a:lnTo>
                <a:lnTo>
                  <a:pt x="982" y="1382"/>
                </a:lnTo>
                <a:lnTo>
                  <a:pt x="981" y="1382"/>
                </a:lnTo>
                <a:lnTo>
                  <a:pt x="977" y="1377"/>
                </a:lnTo>
                <a:lnTo>
                  <a:pt x="974" y="1373"/>
                </a:lnTo>
                <a:lnTo>
                  <a:pt x="973" y="1368"/>
                </a:lnTo>
                <a:lnTo>
                  <a:pt x="973" y="1363"/>
                </a:lnTo>
                <a:lnTo>
                  <a:pt x="973" y="1368"/>
                </a:lnTo>
                <a:lnTo>
                  <a:pt x="974" y="1373"/>
                </a:lnTo>
                <a:lnTo>
                  <a:pt x="977" y="1377"/>
                </a:lnTo>
                <a:lnTo>
                  <a:pt x="981" y="1382"/>
                </a:lnTo>
                <a:close/>
                <a:moveTo>
                  <a:pt x="754" y="1502"/>
                </a:moveTo>
                <a:lnTo>
                  <a:pt x="757" y="1502"/>
                </a:lnTo>
                <a:lnTo>
                  <a:pt x="759" y="1499"/>
                </a:lnTo>
                <a:lnTo>
                  <a:pt x="759" y="1497"/>
                </a:lnTo>
                <a:lnTo>
                  <a:pt x="760" y="1495"/>
                </a:lnTo>
                <a:lnTo>
                  <a:pt x="763" y="1492"/>
                </a:lnTo>
                <a:lnTo>
                  <a:pt x="764" y="1492"/>
                </a:lnTo>
                <a:lnTo>
                  <a:pt x="768" y="1491"/>
                </a:lnTo>
                <a:lnTo>
                  <a:pt x="773" y="1492"/>
                </a:lnTo>
                <a:lnTo>
                  <a:pt x="781" y="1494"/>
                </a:lnTo>
                <a:lnTo>
                  <a:pt x="789" y="1495"/>
                </a:lnTo>
                <a:lnTo>
                  <a:pt x="781" y="1498"/>
                </a:lnTo>
                <a:lnTo>
                  <a:pt x="772" y="1501"/>
                </a:lnTo>
                <a:lnTo>
                  <a:pt x="763" y="1503"/>
                </a:lnTo>
                <a:lnTo>
                  <a:pt x="753" y="1504"/>
                </a:lnTo>
                <a:lnTo>
                  <a:pt x="754" y="1503"/>
                </a:lnTo>
                <a:lnTo>
                  <a:pt x="754" y="1502"/>
                </a:lnTo>
                <a:lnTo>
                  <a:pt x="753" y="1502"/>
                </a:lnTo>
                <a:lnTo>
                  <a:pt x="752" y="1503"/>
                </a:lnTo>
                <a:lnTo>
                  <a:pt x="753" y="1502"/>
                </a:lnTo>
                <a:lnTo>
                  <a:pt x="754" y="1502"/>
                </a:lnTo>
                <a:close/>
                <a:moveTo>
                  <a:pt x="716" y="1469"/>
                </a:moveTo>
                <a:lnTo>
                  <a:pt x="715" y="1471"/>
                </a:lnTo>
                <a:lnTo>
                  <a:pt x="713" y="1474"/>
                </a:lnTo>
                <a:lnTo>
                  <a:pt x="715" y="1471"/>
                </a:lnTo>
                <a:lnTo>
                  <a:pt x="716" y="1469"/>
                </a:lnTo>
                <a:close/>
                <a:moveTo>
                  <a:pt x="709" y="1523"/>
                </a:moveTo>
                <a:lnTo>
                  <a:pt x="709" y="1524"/>
                </a:lnTo>
                <a:lnTo>
                  <a:pt x="708" y="1525"/>
                </a:lnTo>
                <a:lnTo>
                  <a:pt x="709" y="1524"/>
                </a:lnTo>
                <a:lnTo>
                  <a:pt x="709" y="1523"/>
                </a:lnTo>
                <a:lnTo>
                  <a:pt x="711" y="1523"/>
                </a:lnTo>
                <a:lnTo>
                  <a:pt x="712" y="1523"/>
                </a:lnTo>
                <a:lnTo>
                  <a:pt x="711" y="1523"/>
                </a:lnTo>
                <a:lnTo>
                  <a:pt x="709" y="1523"/>
                </a:lnTo>
                <a:close/>
                <a:moveTo>
                  <a:pt x="696" y="1476"/>
                </a:moveTo>
                <a:lnTo>
                  <a:pt x="694" y="1478"/>
                </a:lnTo>
                <a:lnTo>
                  <a:pt x="691" y="1480"/>
                </a:lnTo>
                <a:lnTo>
                  <a:pt x="689" y="1481"/>
                </a:lnTo>
                <a:lnTo>
                  <a:pt x="687" y="1481"/>
                </a:lnTo>
                <a:lnTo>
                  <a:pt x="689" y="1481"/>
                </a:lnTo>
                <a:lnTo>
                  <a:pt x="691" y="1480"/>
                </a:lnTo>
                <a:lnTo>
                  <a:pt x="694" y="1478"/>
                </a:lnTo>
                <a:lnTo>
                  <a:pt x="696" y="1476"/>
                </a:lnTo>
                <a:lnTo>
                  <a:pt x="702" y="1475"/>
                </a:lnTo>
                <a:lnTo>
                  <a:pt x="708" y="1471"/>
                </a:lnTo>
                <a:lnTo>
                  <a:pt x="702" y="1475"/>
                </a:lnTo>
                <a:lnTo>
                  <a:pt x="696" y="1476"/>
                </a:lnTo>
                <a:close/>
                <a:moveTo>
                  <a:pt x="701" y="1495"/>
                </a:moveTo>
                <a:lnTo>
                  <a:pt x="698" y="1496"/>
                </a:lnTo>
                <a:lnTo>
                  <a:pt x="696" y="1497"/>
                </a:lnTo>
                <a:lnTo>
                  <a:pt x="695" y="1499"/>
                </a:lnTo>
                <a:lnTo>
                  <a:pt x="695" y="1502"/>
                </a:lnTo>
                <a:lnTo>
                  <a:pt x="695" y="1499"/>
                </a:lnTo>
                <a:lnTo>
                  <a:pt x="696" y="1497"/>
                </a:lnTo>
                <a:lnTo>
                  <a:pt x="698" y="1496"/>
                </a:lnTo>
                <a:lnTo>
                  <a:pt x="701" y="1495"/>
                </a:lnTo>
                <a:lnTo>
                  <a:pt x="702" y="1494"/>
                </a:lnTo>
                <a:lnTo>
                  <a:pt x="702" y="1491"/>
                </a:lnTo>
                <a:lnTo>
                  <a:pt x="702" y="1494"/>
                </a:lnTo>
                <a:lnTo>
                  <a:pt x="701" y="1495"/>
                </a:lnTo>
                <a:close/>
                <a:moveTo>
                  <a:pt x="668" y="1478"/>
                </a:moveTo>
                <a:lnTo>
                  <a:pt x="669" y="1474"/>
                </a:lnTo>
                <a:lnTo>
                  <a:pt x="670" y="1469"/>
                </a:lnTo>
                <a:lnTo>
                  <a:pt x="671" y="1466"/>
                </a:lnTo>
                <a:lnTo>
                  <a:pt x="674" y="1462"/>
                </a:lnTo>
                <a:lnTo>
                  <a:pt x="671" y="1466"/>
                </a:lnTo>
                <a:lnTo>
                  <a:pt x="670" y="1469"/>
                </a:lnTo>
                <a:lnTo>
                  <a:pt x="669" y="1474"/>
                </a:lnTo>
                <a:lnTo>
                  <a:pt x="668" y="1478"/>
                </a:lnTo>
                <a:close/>
                <a:moveTo>
                  <a:pt x="608" y="678"/>
                </a:moveTo>
                <a:lnTo>
                  <a:pt x="611" y="683"/>
                </a:lnTo>
                <a:lnTo>
                  <a:pt x="612" y="688"/>
                </a:lnTo>
                <a:lnTo>
                  <a:pt x="611" y="683"/>
                </a:lnTo>
                <a:lnTo>
                  <a:pt x="608" y="678"/>
                </a:lnTo>
                <a:close/>
                <a:moveTo>
                  <a:pt x="588" y="631"/>
                </a:moveTo>
                <a:lnTo>
                  <a:pt x="595" y="616"/>
                </a:lnTo>
                <a:lnTo>
                  <a:pt x="601" y="601"/>
                </a:lnTo>
                <a:lnTo>
                  <a:pt x="595" y="616"/>
                </a:lnTo>
                <a:lnTo>
                  <a:pt x="588" y="631"/>
                </a:lnTo>
                <a:close/>
                <a:moveTo>
                  <a:pt x="578" y="884"/>
                </a:moveTo>
                <a:lnTo>
                  <a:pt x="572" y="888"/>
                </a:lnTo>
                <a:lnTo>
                  <a:pt x="566" y="890"/>
                </a:lnTo>
                <a:lnTo>
                  <a:pt x="572" y="888"/>
                </a:lnTo>
                <a:lnTo>
                  <a:pt x="578" y="884"/>
                </a:lnTo>
                <a:lnTo>
                  <a:pt x="584" y="881"/>
                </a:lnTo>
                <a:lnTo>
                  <a:pt x="591" y="880"/>
                </a:lnTo>
                <a:lnTo>
                  <a:pt x="584" y="881"/>
                </a:lnTo>
                <a:lnTo>
                  <a:pt x="578" y="884"/>
                </a:lnTo>
                <a:close/>
                <a:moveTo>
                  <a:pt x="572" y="251"/>
                </a:moveTo>
                <a:lnTo>
                  <a:pt x="570" y="250"/>
                </a:lnTo>
                <a:lnTo>
                  <a:pt x="566" y="250"/>
                </a:lnTo>
                <a:lnTo>
                  <a:pt x="570" y="250"/>
                </a:lnTo>
                <a:lnTo>
                  <a:pt x="572" y="251"/>
                </a:lnTo>
                <a:close/>
                <a:moveTo>
                  <a:pt x="578" y="659"/>
                </a:moveTo>
                <a:lnTo>
                  <a:pt x="577" y="657"/>
                </a:lnTo>
                <a:lnTo>
                  <a:pt x="578" y="655"/>
                </a:lnTo>
                <a:lnTo>
                  <a:pt x="577" y="657"/>
                </a:lnTo>
                <a:lnTo>
                  <a:pt x="578" y="659"/>
                </a:lnTo>
                <a:close/>
                <a:moveTo>
                  <a:pt x="579" y="238"/>
                </a:moveTo>
                <a:lnTo>
                  <a:pt x="577" y="245"/>
                </a:lnTo>
                <a:lnTo>
                  <a:pt x="574" y="252"/>
                </a:lnTo>
                <a:lnTo>
                  <a:pt x="577" y="245"/>
                </a:lnTo>
                <a:lnTo>
                  <a:pt x="579" y="238"/>
                </a:lnTo>
                <a:close/>
                <a:moveTo>
                  <a:pt x="586" y="374"/>
                </a:moveTo>
                <a:lnTo>
                  <a:pt x="582" y="371"/>
                </a:lnTo>
                <a:lnTo>
                  <a:pt x="580" y="367"/>
                </a:lnTo>
                <a:lnTo>
                  <a:pt x="582" y="371"/>
                </a:lnTo>
                <a:lnTo>
                  <a:pt x="586" y="374"/>
                </a:lnTo>
                <a:close/>
                <a:moveTo>
                  <a:pt x="588" y="239"/>
                </a:moveTo>
                <a:lnTo>
                  <a:pt x="591" y="243"/>
                </a:lnTo>
                <a:lnTo>
                  <a:pt x="592" y="246"/>
                </a:lnTo>
                <a:lnTo>
                  <a:pt x="591" y="243"/>
                </a:lnTo>
                <a:lnTo>
                  <a:pt x="588" y="239"/>
                </a:lnTo>
                <a:lnTo>
                  <a:pt x="587" y="238"/>
                </a:lnTo>
                <a:lnTo>
                  <a:pt x="586" y="238"/>
                </a:lnTo>
                <a:lnTo>
                  <a:pt x="587" y="238"/>
                </a:lnTo>
                <a:lnTo>
                  <a:pt x="588" y="239"/>
                </a:lnTo>
                <a:close/>
                <a:moveTo>
                  <a:pt x="599" y="266"/>
                </a:moveTo>
                <a:lnTo>
                  <a:pt x="598" y="262"/>
                </a:lnTo>
                <a:lnTo>
                  <a:pt x="597" y="259"/>
                </a:lnTo>
                <a:lnTo>
                  <a:pt x="594" y="257"/>
                </a:lnTo>
                <a:lnTo>
                  <a:pt x="592" y="254"/>
                </a:lnTo>
                <a:lnTo>
                  <a:pt x="594" y="257"/>
                </a:lnTo>
                <a:lnTo>
                  <a:pt x="597" y="259"/>
                </a:lnTo>
                <a:lnTo>
                  <a:pt x="598" y="262"/>
                </a:lnTo>
                <a:lnTo>
                  <a:pt x="599" y="266"/>
                </a:lnTo>
                <a:close/>
                <a:moveTo>
                  <a:pt x="598" y="253"/>
                </a:moveTo>
                <a:lnTo>
                  <a:pt x="595" y="252"/>
                </a:lnTo>
                <a:lnTo>
                  <a:pt x="593" y="250"/>
                </a:lnTo>
                <a:lnTo>
                  <a:pt x="592" y="248"/>
                </a:lnTo>
                <a:lnTo>
                  <a:pt x="592" y="247"/>
                </a:lnTo>
                <a:lnTo>
                  <a:pt x="592" y="248"/>
                </a:lnTo>
                <a:lnTo>
                  <a:pt x="593" y="250"/>
                </a:lnTo>
                <a:lnTo>
                  <a:pt x="595" y="252"/>
                </a:lnTo>
                <a:lnTo>
                  <a:pt x="598" y="253"/>
                </a:lnTo>
                <a:close/>
                <a:moveTo>
                  <a:pt x="554" y="884"/>
                </a:moveTo>
                <a:lnTo>
                  <a:pt x="550" y="886"/>
                </a:lnTo>
                <a:lnTo>
                  <a:pt x="546" y="887"/>
                </a:lnTo>
                <a:lnTo>
                  <a:pt x="542" y="888"/>
                </a:lnTo>
                <a:lnTo>
                  <a:pt x="539" y="891"/>
                </a:lnTo>
                <a:lnTo>
                  <a:pt x="535" y="897"/>
                </a:lnTo>
                <a:lnTo>
                  <a:pt x="529" y="901"/>
                </a:lnTo>
                <a:lnTo>
                  <a:pt x="523" y="901"/>
                </a:lnTo>
                <a:lnTo>
                  <a:pt x="517" y="901"/>
                </a:lnTo>
                <a:lnTo>
                  <a:pt x="513" y="901"/>
                </a:lnTo>
                <a:lnTo>
                  <a:pt x="511" y="903"/>
                </a:lnTo>
                <a:lnTo>
                  <a:pt x="511" y="902"/>
                </a:lnTo>
                <a:lnTo>
                  <a:pt x="510" y="901"/>
                </a:lnTo>
                <a:lnTo>
                  <a:pt x="512" y="895"/>
                </a:lnTo>
                <a:lnTo>
                  <a:pt x="515" y="889"/>
                </a:lnTo>
                <a:lnTo>
                  <a:pt x="517" y="884"/>
                </a:lnTo>
                <a:lnTo>
                  <a:pt x="522" y="880"/>
                </a:lnTo>
                <a:lnTo>
                  <a:pt x="528" y="876"/>
                </a:lnTo>
                <a:lnTo>
                  <a:pt x="533" y="875"/>
                </a:lnTo>
                <a:lnTo>
                  <a:pt x="538" y="875"/>
                </a:lnTo>
                <a:lnTo>
                  <a:pt x="544" y="876"/>
                </a:lnTo>
                <a:lnTo>
                  <a:pt x="543" y="876"/>
                </a:lnTo>
                <a:lnTo>
                  <a:pt x="542" y="876"/>
                </a:lnTo>
                <a:lnTo>
                  <a:pt x="542" y="877"/>
                </a:lnTo>
                <a:lnTo>
                  <a:pt x="540" y="880"/>
                </a:lnTo>
                <a:lnTo>
                  <a:pt x="543" y="881"/>
                </a:lnTo>
                <a:lnTo>
                  <a:pt x="545" y="882"/>
                </a:lnTo>
                <a:lnTo>
                  <a:pt x="547" y="882"/>
                </a:lnTo>
                <a:lnTo>
                  <a:pt x="550" y="882"/>
                </a:lnTo>
                <a:lnTo>
                  <a:pt x="553" y="882"/>
                </a:lnTo>
                <a:lnTo>
                  <a:pt x="554" y="884"/>
                </a:lnTo>
                <a:lnTo>
                  <a:pt x="557" y="884"/>
                </a:lnTo>
                <a:lnTo>
                  <a:pt x="559" y="886"/>
                </a:lnTo>
                <a:lnTo>
                  <a:pt x="557" y="884"/>
                </a:lnTo>
                <a:lnTo>
                  <a:pt x="554" y="884"/>
                </a:lnTo>
                <a:close/>
                <a:moveTo>
                  <a:pt x="530" y="903"/>
                </a:moveTo>
                <a:lnTo>
                  <a:pt x="538" y="903"/>
                </a:lnTo>
                <a:lnTo>
                  <a:pt x="547" y="905"/>
                </a:lnTo>
                <a:lnTo>
                  <a:pt x="538" y="903"/>
                </a:lnTo>
                <a:lnTo>
                  <a:pt x="530" y="903"/>
                </a:lnTo>
                <a:close/>
                <a:moveTo>
                  <a:pt x="513" y="907"/>
                </a:moveTo>
                <a:lnTo>
                  <a:pt x="516" y="905"/>
                </a:lnTo>
                <a:lnTo>
                  <a:pt x="517" y="903"/>
                </a:lnTo>
                <a:lnTo>
                  <a:pt x="517" y="903"/>
                </a:lnTo>
                <a:lnTo>
                  <a:pt x="517" y="903"/>
                </a:lnTo>
                <a:lnTo>
                  <a:pt x="517" y="903"/>
                </a:lnTo>
                <a:lnTo>
                  <a:pt x="516" y="905"/>
                </a:lnTo>
                <a:lnTo>
                  <a:pt x="513" y="907"/>
                </a:lnTo>
                <a:close/>
                <a:moveTo>
                  <a:pt x="521" y="928"/>
                </a:moveTo>
                <a:lnTo>
                  <a:pt x="519" y="931"/>
                </a:lnTo>
                <a:lnTo>
                  <a:pt x="518" y="936"/>
                </a:lnTo>
                <a:lnTo>
                  <a:pt x="515" y="936"/>
                </a:lnTo>
                <a:lnTo>
                  <a:pt x="512" y="938"/>
                </a:lnTo>
                <a:lnTo>
                  <a:pt x="510" y="940"/>
                </a:lnTo>
                <a:lnTo>
                  <a:pt x="509" y="944"/>
                </a:lnTo>
                <a:lnTo>
                  <a:pt x="511" y="944"/>
                </a:lnTo>
                <a:lnTo>
                  <a:pt x="512" y="944"/>
                </a:lnTo>
                <a:lnTo>
                  <a:pt x="512" y="951"/>
                </a:lnTo>
                <a:lnTo>
                  <a:pt x="512" y="958"/>
                </a:lnTo>
                <a:lnTo>
                  <a:pt x="512" y="951"/>
                </a:lnTo>
                <a:lnTo>
                  <a:pt x="512" y="944"/>
                </a:lnTo>
                <a:lnTo>
                  <a:pt x="511" y="944"/>
                </a:lnTo>
                <a:lnTo>
                  <a:pt x="509" y="944"/>
                </a:lnTo>
                <a:lnTo>
                  <a:pt x="509" y="944"/>
                </a:lnTo>
                <a:lnTo>
                  <a:pt x="508" y="944"/>
                </a:lnTo>
                <a:lnTo>
                  <a:pt x="508" y="944"/>
                </a:lnTo>
                <a:lnTo>
                  <a:pt x="505" y="945"/>
                </a:lnTo>
                <a:lnTo>
                  <a:pt x="504" y="945"/>
                </a:lnTo>
                <a:lnTo>
                  <a:pt x="504" y="947"/>
                </a:lnTo>
                <a:lnTo>
                  <a:pt x="504" y="949"/>
                </a:lnTo>
                <a:lnTo>
                  <a:pt x="503" y="950"/>
                </a:lnTo>
                <a:lnTo>
                  <a:pt x="503" y="950"/>
                </a:lnTo>
                <a:lnTo>
                  <a:pt x="501" y="949"/>
                </a:lnTo>
                <a:lnTo>
                  <a:pt x="497" y="949"/>
                </a:lnTo>
                <a:lnTo>
                  <a:pt x="499" y="940"/>
                </a:lnTo>
                <a:lnTo>
                  <a:pt x="503" y="933"/>
                </a:lnTo>
                <a:lnTo>
                  <a:pt x="509" y="931"/>
                </a:lnTo>
                <a:lnTo>
                  <a:pt x="513" y="926"/>
                </a:lnTo>
                <a:lnTo>
                  <a:pt x="516" y="924"/>
                </a:lnTo>
                <a:lnTo>
                  <a:pt x="518" y="924"/>
                </a:lnTo>
                <a:lnTo>
                  <a:pt x="519" y="925"/>
                </a:lnTo>
                <a:lnTo>
                  <a:pt x="521" y="928"/>
                </a:lnTo>
                <a:lnTo>
                  <a:pt x="521" y="928"/>
                </a:lnTo>
                <a:close/>
                <a:moveTo>
                  <a:pt x="501" y="956"/>
                </a:moveTo>
                <a:lnTo>
                  <a:pt x="502" y="953"/>
                </a:lnTo>
                <a:lnTo>
                  <a:pt x="503" y="951"/>
                </a:lnTo>
                <a:lnTo>
                  <a:pt x="502" y="953"/>
                </a:lnTo>
                <a:lnTo>
                  <a:pt x="501" y="956"/>
                </a:lnTo>
                <a:close/>
                <a:moveTo>
                  <a:pt x="535" y="227"/>
                </a:moveTo>
                <a:lnTo>
                  <a:pt x="533" y="229"/>
                </a:lnTo>
                <a:lnTo>
                  <a:pt x="533" y="230"/>
                </a:lnTo>
                <a:lnTo>
                  <a:pt x="533" y="229"/>
                </a:lnTo>
                <a:lnTo>
                  <a:pt x="535" y="227"/>
                </a:lnTo>
                <a:close/>
                <a:moveTo>
                  <a:pt x="549" y="540"/>
                </a:moveTo>
                <a:lnTo>
                  <a:pt x="550" y="544"/>
                </a:lnTo>
                <a:lnTo>
                  <a:pt x="550" y="547"/>
                </a:lnTo>
                <a:lnTo>
                  <a:pt x="550" y="551"/>
                </a:lnTo>
                <a:lnTo>
                  <a:pt x="549" y="554"/>
                </a:lnTo>
                <a:lnTo>
                  <a:pt x="547" y="558"/>
                </a:lnTo>
                <a:lnTo>
                  <a:pt x="545" y="560"/>
                </a:lnTo>
                <a:lnTo>
                  <a:pt x="547" y="558"/>
                </a:lnTo>
                <a:lnTo>
                  <a:pt x="549" y="554"/>
                </a:lnTo>
                <a:lnTo>
                  <a:pt x="550" y="551"/>
                </a:lnTo>
                <a:lnTo>
                  <a:pt x="550" y="547"/>
                </a:lnTo>
                <a:lnTo>
                  <a:pt x="550" y="544"/>
                </a:lnTo>
                <a:lnTo>
                  <a:pt x="549" y="540"/>
                </a:lnTo>
                <a:close/>
                <a:moveTo>
                  <a:pt x="554" y="220"/>
                </a:moveTo>
                <a:lnTo>
                  <a:pt x="556" y="219"/>
                </a:lnTo>
                <a:lnTo>
                  <a:pt x="557" y="218"/>
                </a:lnTo>
                <a:lnTo>
                  <a:pt x="556" y="219"/>
                </a:lnTo>
                <a:lnTo>
                  <a:pt x="554" y="220"/>
                </a:lnTo>
                <a:lnTo>
                  <a:pt x="553" y="220"/>
                </a:lnTo>
                <a:lnTo>
                  <a:pt x="552" y="218"/>
                </a:lnTo>
                <a:lnTo>
                  <a:pt x="553" y="219"/>
                </a:lnTo>
                <a:lnTo>
                  <a:pt x="554" y="220"/>
                </a:lnTo>
                <a:close/>
                <a:moveTo>
                  <a:pt x="329" y="1035"/>
                </a:moveTo>
                <a:lnTo>
                  <a:pt x="330" y="1031"/>
                </a:lnTo>
                <a:lnTo>
                  <a:pt x="332" y="1027"/>
                </a:lnTo>
                <a:lnTo>
                  <a:pt x="330" y="1031"/>
                </a:lnTo>
                <a:lnTo>
                  <a:pt x="329" y="1035"/>
                </a:lnTo>
                <a:close/>
                <a:moveTo>
                  <a:pt x="364" y="1186"/>
                </a:moveTo>
                <a:lnTo>
                  <a:pt x="361" y="1187"/>
                </a:lnTo>
                <a:lnTo>
                  <a:pt x="358" y="1187"/>
                </a:lnTo>
                <a:lnTo>
                  <a:pt x="361" y="1187"/>
                </a:lnTo>
                <a:lnTo>
                  <a:pt x="364" y="1186"/>
                </a:lnTo>
                <a:close/>
                <a:moveTo>
                  <a:pt x="379" y="1043"/>
                </a:moveTo>
                <a:lnTo>
                  <a:pt x="381" y="1044"/>
                </a:lnTo>
                <a:lnTo>
                  <a:pt x="384" y="1044"/>
                </a:lnTo>
                <a:lnTo>
                  <a:pt x="381" y="1044"/>
                </a:lnTo>
                <a:lnTo>
                  <a:pt x="379" y="1043"/>
                </a:lnTo>
                <a:close/>
                <a:moveTo>
                  <a:pt x="406" y="1345"/>
                </a:moveTo>
                <a:lnTo>
                  <a:pt x="401" y="1350"/>
                </a:lnTo>
                <a:lnTo>
                  <a:pt x="397" y="1352"/>
                </a:lnTo>
                <a:lnTo>
                  <a:pt x="401" y="1350"/>
                </a:lnTo>
                <a:lnTo>
                  <a:pt x="406" y="1345"/>
                </a:lnTo>
                <a:close/>
                <a:moveTo>
                  <a:pt x="466" y="197"/>
                </a:moveTo>
                <a:lnTo>
                  <a:pt x="467" y="199"/>
                </a:lnTo>
                <a:lnTo>
                  <a:pt x="467" y="203"/>
                </a:lnTo>
                <a:lnTo>
                  <a:pt x="467" y="199"/>
                </a:lnTo>
                <a:lnTo>
                  <a:pt x="466" y="197"/>
                </a:lnTo>
                <a:close/>
                <a:moveTo>
                  <a:pt x="455" y="302"/>
                </a:moveTo>
                <a:lnTo>
                  <a:pt x="454" y="307"/>
                </a:lnTo>
                <a:lnTo>
                  <a:pt x="450" y="311"/>
                </a:lnTo>
                <a:lnTo>
                  <a:pt x="447" y="316"/>
                </a:lnTo>
                <a:lnTo>
                  <a:pt x="443" y="320"/>
                </a:lnTo>
                <a:lnTo>
                  <a:pt x="447" y="316"/>
                </a:lnTo>
                <a:lnTo>
                  <a:pt x="450" y="311"/>
                </a:lnTo>
                <a:lnTo>
                  <a:pt x="454" y="307"/>
                </a:lnTo>
                <a:lnTo>
                  <a:pt x="455" y="302"/>
                </a:lnTo>
                <a:lnTo>
                  <a:pt x="459" y="300"/>
                </a:lnTo>
                <a:lnTo>
                  <a:pt x="461" y="296"/>
                </a:lnTo>
                <a:lnTo>
                  <a:pt x="459" y="300"/>
                </a:lnTo>
                <a:lnTo>
                  <a:pt x="455" y="302"/>
                </a:lnTo>
                <a:close/>
                <a:moveTo>
                  <a:pt x="447" y="280"/>
                </a:moveTo>
                <a:lnTo>
                  <a:pt x="448" y="278"/>
                </a:lnTo>
                <a:lnTo>
                  <a:pt x="448" y="275"/>
                </a:lnTo>
                <a:lnTo>
                  <a:pt x="449" y="274"/>
                </a:lnTo>
                <a:lnTo>
                  <a:pt x="450" y="273"/>
                </a:lnTo>
                <a:lnTo>
                  <a:pt x="449" y="274"/>
                </a:lnTo>
                <a:lnTo>
                  <a:pt x="448" y="275"/>
                </a:lnTo>
                <a:lnTo>
                  <a:pt x="448" y="278"/>
                </a:lnTo>
                <a:lnTo>
                  <a:pt x="447" y="280"/>
                </a:lnTo>
                <a:lnTo>
                  <a:pt x="443" y="286"/>
                </a:lnTo>
                <a:lnTo>
                  <a:pt x="440" y="292"/>
                </a:lnTo>
                <a:lnTo>
                  <a:pt x="443" y="286"/>
                </a:lnTo>
                <a:lnTo>
                  <a:pt x="447" y="280"/>
                </a:lnTo>
                <a:close/>
                <a:moveTo>
                  <a:pt x="430" y="268"/>
                </a:moveTo>
                <a:lnTo>
                  <a:pt x="434" y="262"/>
                </a:lnTo>
                <a:lnTo>
                  <a:pt x="440" y="259"/>
                </a:lnTo>
                <a:lnTo>
                  <a:pt x="442" y="250"/>
                </a:lnTo>
                <a:lnTo>
                  <a:pt x="447" y="241"/>
                </a:lnTo>
                <a:lnTo>
                  <a:pt x="442" y="250"/>
                </a:lnTo>
                <a:lnTo>
                  <a:pt x="440" y="259"/>
                </a:lnTo>
                <a:lnTo>
                  <a:pt x="434" y="262"/>
                </a:lnTo>
                <a:lnTo>
                  <a:pt x="430" y="268"/>
                </a:lnTo>
                <a:close/>
                <a:moveTo>
                  <a:pt x="441" y="173"/>
                </a:moveTo>
                <a:lnTo>
                  <a:pt x="440" y="176"/>
                </a:lnTo>
                <a:lnTo>
                  <a:pt x="437" y="178"/>
                </a:lnTo>
                <a:lnTo>
                  <a:pt x="434" y="180"/>
                </a:lnTo>
                <a:lnTo>
                  <a:pt x="429" y="181"/>
                </a:lnTo>
                <a:lnTo>
                  <a:pt x="433" y="184"/>
                </a:lnTo>
                <a:lnTo>
                  <a:pt x="436" y="187"/>
                </a:lnTo>
                <a:lnTo>
                  <a:pt x="433" y="184"/>
                </a:lnTo>
                <a:lnTo>
                  <a:pt x="429" y="181"/>
                </a:lnTo>
                <a:lnTo>
                  <a:pt x="434" y="180"/>
                </a:lnTo>
                <a:lnTo>
                  <a:pt x="437" y="178"/>
                </a:lnTo>
                <a:lnTo>
                  <a:pt x="440" y="176"/>
                </a:lnTo>
                <a:lnTo>
                  <a:pt x="441" y="173"/>
                </a:lnTo>
                <a:close/>
                <a:moveTo>
                  <a:pt x="429" y="156"/>
                </a:moveTo>
                <a:lnTo>
                  <a:pt x="429" y="155"/>
                </a:lnTo>
                <a:lnTo>
                  <a:pt x="429" y="154"/>
                </a:lnTo>
                <a:lnTo>
                  <a:pt x="429" y="155"/>
                </a:lnTo>
                <a:lnTo>
                  <a:pt x="429" y="156"/>
                </a:lnTo>
                <a:lnTo>
                  <a:pt x="429" y="156"/>
                </a:lnTo>
                <a:close/>
                <a:moveTo>
                  <a:pt x="443" y="216"/>
                </a:moveTo>
                <a:lnTo>
                  <a:pt x="441" y="222"/>
                </a:lnTo>
                <a:lnTo>
                  <a:pt x="437" y="227"/>
                </a:lnTo>
                <a:lnTo>
                  <a:pt x="437" y="227"/>
                </a:lnTo>
                <a:lnTo>
                  <a:pt x="441" y="222"/>
                </a:lnTo>
                <a:lnTo>
                  <a:pt x="443" y="216"/>
                </a:lnTo>
                <a:close/>
                <a:moveTo>
                  <a:pt x="416" y="199"/>
                </a:moveTo>
                <a:lnTo>
                  <a:pt x="416" y="203"/>
                </a:lnTo>
                <a:lnTo>
                  <a:pt x="416" y="205"/>
                </a:lnTo>
                <a:lnTo>
                  <a:pt x="414" y="208"/>
                </a:lnTo>
                <a:lnTo>
                  <a:pt x="413" y="210"/>
                </a:lnTo>
                <a:lnTo>
                  <a:pt x="413" y="212"/>
                </a:lnTo>
                <a:lnTo>
                  <a:pt x="414" y="213"/>
                </a:lnTo>
                <a:lnTo>
                  <a:pt x="416" y="217"/>
                </a:lnTo>
                <a:lnTo>
                  <a:pt x="418" y="220"/>
                </a:lnTo>
                <a:lnTo>
                  <a:pt x="418" y="224"/>
                </a:lnTo>
                <a:lnTo>
                  <a:pt x="416" y="227"/>
                </a:lnTo>
                <a:lnTo>
                  <a:pt x="414" y="229"/>
                </a:lnTo>
                <a:lnTo>
                  <a:pt x="413" y="231"/>
                </a:lnTo>
                <a:lnTo>
                  <a:pt x="412" y="231"/>
                </a:lnTo>
                <a:lnTo>
                  <a:pt x="411" y="232"/>
                </a:lnTo>
                <a:lnTo>
                  <a:pt x="406" y="226"/>
                </a:lnTo>
                <a:lnTo>
                  <a:pt x="404" y="219"/>
                </a:lnTo>
                <a:lnTo>
                  <a:pt x="400" y="206"/>
                </a:lnTo>
                <a:lnTo>
                  <a:pt x="397" y="192"/>
                </a:lnTo>
                <a:lnTo>
                  <a:pt x="395" y="189"/>
                </a:lnTo>
                <a:lnTo>
                  <a:pt x="397" y="184"/>
                </a:lnTo>
                <a:lnTo>
                  <a:pt x="399" y="182"/>
                </a:lnTo>
                <a:lnTo>
                  <a:pt x="402" y="180"/>
                </a:lnTo>
                <a:lnTo>
                  <a:pt x="402" y="181"/>
                </a:lnTo>
                <a:lnTo>
                  <a:pt x="404" y="183"/>
                </a:lnTo>
                <a:lnTo>
                  <a:pt x="402" y="184"/>
                </a:lnTo>
                <a:lnTo>
                  <a:pt x="404" y="184"/>
                </a:lnTo>
                <a:lnTo>
                  <a:pt x="404" y="184"/>
                </a:lnTo>
                <a:lnTo>
                  <a:pt x="406" y="185"/>
                </a:lnTo>
                <a:lnTo>
                  <a:pt x="408" y="187"/>
                </a:lnTo>
                <a:lnTo>
                  <a:pt x="409" y="187"/>
                </a:lnTo>
                <a:lnTo>
                  <a:pt x="411" y="187"/>
                </a:lnTo>
                <a:lnTo>
                  <a:pt x="409" y="187"/>
                </a:lnTo>
                <a:lnTo>
                  <a:pt x="408" y="187"/>
                </a:lnTo>
                <a:lnTo>
                  <a:pt x="409" y="189"/>
                </a:lnTo>
                <a:lnTo>
                  <a:pt x="411" y="190"/>
                </a:lnTo>
                <a:lnTo>
                  <a:pt x="412" y="189"/>
                </a:lnTo>
                <a:lnTo>
                  <a:pt x="414" y="189"/>
                </a:lnTo>
                <a:lnTo>
                  <a:pt x="415" y="189"/>
                </a:lnTo>
                <a:lnTo>
                  <a:pt x="418" y="190"/>
                </a:lnTo>
                <a:lnTo>
                  <a:pt x="418" y="190"/>
                </a:lnTo>
                <a:lnTo>
                  <a:pt x="419" y="191"/>
                </a:lnTo>
                <a:lnTo>
                  <a:pt x="419" y="191"/>
                </a:lnTo>
                <a:lnTo>
                  <a:pt x="419" y="191"/>
                </a:lnTo>
                <a:lnTo>
                  <a:pt x="416" y="194"/>
                </a:lnTo>
                <a:lnTo>
                  <a:pt x="415" y="195"/>
                </a:lnTo>
                <a:lnTo>
                  <a:pt x="415" y="197"/>
                </a:lnTo>
                <a:lnTo>
                  <a:pt x="416" y="199"/>
                </a:lnTo>
                <a:close/>
                <a:moveTo>
                  <a:pt x="413" y="246"/>
                </a:moveTo>
                <a:lnTo>
                  <a:pt x="413" y="247"/>
                </a:lnTo>
                <a:lnTo>
                  <a:pt x="412" y="247"/>
                </a:lnTo>
                <a:lnTo>
                  <a:pt x="413" y="247"/>
                </a:lnTo>
                <a:lnTo>
                  <a:pt x="413" y="246"/>
                </a:lnTo>
                <a:lnTo>
                  <a:pt x="414" y="245"/>
                </a:lnTo>
                <a:lnTo>
                  <a:pt x="415" y="244"/>
                </a:lnTo>
                <a:lnTo>
                  <a:pt x="414" y="245"/>
                </a:lnTo>
                <a:lnTo>
                  <a:pt x="413" y="246"/>
                </a:lnTo>
                <a:close/>
                <a:moveTo>
                  <a:pt x="414" y="260"/>
                </a:moveTo>
                <a:lnTo>
                  <a:pt x="412" y="257"/>
                </a:lnTo>
                <a:lnTo>
                  <a:pt x="411" y="255"/>
                </a:lnTo>
                <a:lnTo>
                  <a:pt x="407" y="255"/>
                </a:lnTo>
                <a:lnTo>
                  <a:pt x="405" y="255"/>
                </a:lnTo>
                <a:lnTo>
                  <a:pt x="407" y="255"/>
                </a:lnTo>
                <a:lnTo>
                  <a:pt x="411" y="255"/>
                </a:lnTo>
                <a:lnTo>
                  <a:pt x="412" y="257"/>
                </a:lnTo>
                <a:lnTo>
                  <a:pt x="414" y="260"/>
                </a:lnTo>
                <a:close/>
                <a:moveTo>
                  <a:pt x="394" y="233"/>
                </a:moveTo>
                <a:lnTo>
                  <a:pt x="388" y="232"/>
                </a:lnTo>
                <a:lnTo>
                  <a:pt x="384" y="230"/>
                </a:lnTo>
                <a:lnTo>
                  <a:pt x="388" y="232"/>
                </a:lnTo>
                <a:lnTo>
                  <a:pt x="394" y="233"/>
                </a:lnTo>
                <a:lnTo>
                  <a:pt x="399" y="236"/>
                </a:lnTo>
                <a:lnTo>
                  <a:pt x="402" y="237"/>
                </a:lnTo>
                <a:lnTo>
                  <a:pt x="407" y="236"/>
                </a:lnTo>
                <a:lnTo>
                  <a:pt x="412" y="233"/>
                </a:lnTo>
                <a:lnTo>
                  <a:pt x="407" y="236"/>
                </a:lnTo>
                <a:lnTo>
                  <a:pt x="402" y="237"/>
                </a:lnTo>
                <a:lnTo>
                  <a:pt x="399" y="236"/>
                </a:lnTo>
                <a:lnTo>
                  <a:pt x="394" y="233"/>
                </a:lnTo>
                <a:close/>
                <a:moveTo>
                  <a:pt x="391" y="315"/>
                </a:moveTo>
                <a:lnTo>
                  <a:pt x="386" y="313"/>
                </a:lnTo>
                <a:lnTo>
                  <a:pt x="384" y="309"/>
                </a:lnTo>
                <a:lnTo>
                  <a:pt x="380" y="306"/>
                </a:lnTo>
                <a:lnTo>
                  <a:pt x="378" y="301"/>
                </a:lnTo>
                <a:lnTo>
                  <a:pt x="372" y="296"/>
                </a:lnTo>
                <a:lnTo>
                  <a:pt x="365" y="290"/>
                </a:lnTo>
                <a:lnTo>
                  <a:pt x="372" y="296"/>
                </a:lnTo>
                <a:lnTo>
                  <a:pt x="378" y="301"/>
                </a:lnTo>
                <a:lnTo>
                  <a:pt x="380" y="306"/>
                </a:lnTo>
                <a:lnTo>
                  <a:pt x="384" y="309"/>
                </a:lnTo>
                <a:lnTo>
                  <a:pt x="386" y="313"/>
                </a:lnTo>
                <a:lnTo>
                  <a:pt x="391" y="315"/>
                </a:lnTo>
                <a:lnTo>
                  <a:pt x="391" y="315"/>
                </a:lnTo>
                <a:lnTo>
                  <a:pt x="392" y="315"/>
                </a:lnTo>
                <a:lnTo>
                  <a:pt x="391" y="315"/>
                </a:lnTo>
                <a:lnTo>
                  <a:pt x="391" y="315"/>
                </a:lnTo>
                <a:close/>
                <a:moveTo>
                  <a:pt x="402" y="180"/>
                </a:moveTo>
                <a:lnTo>
                  <a:pt x="404" y="177"/>
                </a:lnTo>
                <a:lnTo>
                  <a:pt x="404" y="176"/>
                </a:lnTo>
                <a:lnTo>
                  <a:pt x="404" y="177"/>
                </a:lnTo>
                <a:lnTo>
                  <a:pt x="402" y="180"/>
                </a:lnTo>
                <a:lnTo>
                  <a:pt x="405" y="180"/>
                </a:lnTo>
                <a:lnTo>
                  <a:pt x="406" y="181"/>
                </a:lnTo>
                <a:lnTo>
                  <a:pt x="405" y="180"/>
                </a:lnTo>
                <a:lnTo>
                  <a:pt x="402" y="180"/>
                </a:lnTo>
                <a:lnTo>
                  <a:pt x="402" y="180"/>
                </a:lnTo>
                <a:close/>
                <a:moveTo>
                  <a:pt x="397" y="119"/>
                </a:moveTo>
                <a:lnTo>
                  <a:pt x="401" y="126"/>
                </a:lnTo>
                <a:lnTo>
                  <a:pt x="407" y="131"/>
                </a:lnTo>
                <a:lnTo>
                  <a:pt x="401" y="126"/>
                </a:lnTo>
                <a:lnTo>
                  <a:pt x="397" y="119"/>
                </a:lnTo>
                <a:lnTo>
                  <a:pt x="395" y="118"/>
                </a:lnTo>
                <a:lnTo>
                  <a:pt x="394" y="117"/>
                </a:lnTo>
                <a:lnTo>
                  <a:pt x="395" y="118"/>
                </a:lnTo>
                <a:lnTo>
                  <a:pt x="397" y="119"/>
                </a:lnTo>
                <a:close/>
                <a:moveTo>
                  <a:pt x="423" y="30"/>
                </a:moveTo>
                <a:lnTo>
                  <a:pt x="413" y="23"/>
                </a:lnTo>
                <a:lnTo>
                  <a:pt x="402" y="16"/>
                </a:lnTo>
                <a:lnTo>
                  <a:pt x="413" y="23"/>
                </a:lnTo>
                <a:lnTo>
                  <a:pt x="423" y="30"/>
                </a:lnTo>
                <a:close/>
                <a:moveTo>
                  <a:pt x="356" y="286"/>
                </a:moveTo>
                <a:lnTo>
                  <a:pt x="356" y="286"/>
                </a:lnTo>
                <a:lnTo>
                  <a:pt x="356" y="286"/>
                </a:lnTo>
                <a:lnTo>
                  <a:pt x="354" y="285"/>
                </a:lnTo>
                <a:lnTo>
                  <a:pt x="354" y="285"/>
                </a:lnTo>
                <a:lnTo>
                  <a:pt x="354" y="285"/>
                </a:lnTo>
                <a:lnTo>
                  <a:pt x="356" y="286"/>
                </a:lnTo>
                <a:lnTo>
                  <a:pt x="356" y="286"/>
                </a:lnTo>
                <a:lnTo>
                  <a:pt x="356" y="286"/>
                </a:lnTo>
                <a:close/>
                <a:moveTo>
                  <a:pt x="282" y="376"/>
                </a:moveTo>
                <a:lnTo>
                  <a:pt x="285" y="386"/>
                </a:lnTo>
                <a:lnTo>
                  <a:pt x="288" y="397"/>
                </a:lnTo>
                <a:lnTo>
                  <a:pt x="291" y="406"/>
                </a:lnTo>
                <a:lnTo>
                  <a:pt x="296" y="415"/>
                </a:lnTo>
                <a:lnTo>
                  <a:pt x="291" y="406"/>
                </a:lnTo>
                <a:lnTo>
                  <a:pt x="288" y="397"/>
                </a:lnTo>
                <a:lnTo>
                  <a:pt x="285" y="386"/>
                </a:lnTo>
                <a:lnTo>
                  <a:pt x="282" y="376"/>
                </a:lnTo>
                <a:close/>
                <a:moveTo>
                  <a:pt x="277" y="373"/>
                </a:moveTo>
                <a:lnTo>
                  <a:pt x="278" y="376"/>
                </a:lnTo>
                <a:lnTo>
                  <a:pt x="281" y="376"/>
                </a:lnTo>
                <a:lnTo>
                  <a:pt x="278" y="376"/>
                </a:lnTo>
                <a:lnTo>
                  <a:pt x="277" y="373"/>
                </a:lnTo>
                <a:close/>
                <a:moveTo>
                  <a:pt x="273" y="508"/>
                </a:moveTo>
                <a:lnTo>
                  <a:pt x="273" y="508"/>
                </a:lnTo>
                <a:lnTo>
                  <a:pt x="273" y="509"/>
                </a:lnTo>
                <a:lnTo>
                  <a:pt x="273" y="508"/>
                </a:lnTo>
                <a:lnTo>
                  <a:pt x="273" y="508"/>
                </a:lnTo>
                <a:lnTo>
                  <a:pt x="274" y="505"/>
                </a:lnTo>
                <a:lnTo>
                  <a:pt x="275" y="503"/>
                </a:lnTo>
                <a:lnTo>
                  <a:pt x="274" y="505"/>
                </a:lnTo>
                <a:lnTo>
                  <a:pt x="273" y="508"/>
                </a:lnTo>
                <a:close/>
                <a:moveTo>
                  <a:pt x="209" y="802"/>
                </a:moveTo>
                <a:lnTo>
                  <a:pt x="211" y="800"/>
                </a:lnTo>
                <a:lnTo>
                  <a:pt x="212" y="798"/>
                </a:lnTo>
                <a:lnTo>
                  <a:pt x="211" y="800"/>
                </a:lnTo>
                <a:lnTo>
                  <a:pt x="209" y="802"/>
                </a:lnTo>
                <a:close/>
                <a:moveTo>
                  <a:pt x="167" y="908"/>
                </a:moveTo>
                <a:lnTo>
                  <a:pt x="169" y="910"/>
                </a:lnTo>
                <a:lnTo>
                  <a:pt x="171" y="911"/>
                </a:lnTo>
                <a:lnTo>
                  <a:pt x="173" y="911"/>
                </a:lnTo>
                <a:lnTo>
                  <a:pt x="176" y="912"/>
                </a:lnTo>
                <a:lnTo>
                  <a:pt x="173" y="911"/>
                </a:lnTo>
                <a:lnTo>
                  <a:pt x="171" y="911"/>
                </a:lnTo>
                <a:lnTo>
                  <a:pt x="169" y="910"/>
                </a:lnTo>
                <a:lnTo>
                  <a:pt x="167" y="908"/>
                </a:lnTo>
                <a:close/>
                <a:moveTo>
                  <a:pt x="157" y="922"/>
                </a:moveTo>
                <a:lnTo>
                  <a:pt x="157" y="922"/>
                </a:lnTo>
                <a:lnTo>
                  <a:pt x="159" y="923"/>
                </a:lnTo>
                <a:lnTo>
                  <a:pt x="162" y="924"/>
                </a:lnTo>
                <a:lnTo>
                  <a:pt x="159" y="923"/>
                </a:lnTo>
                <a:lnTo>
                  <a:pt x="157" y="922"/>
                </a:lnTo>
                <a:close/>
                <a:moveTo>
                  <a:pt x="140" y="965"/>
                </a:moveTo>
                <a:lnTo>
                  <a:pt x="138" y="972"/>
                </a:lnTo>
                <a:lnTo>
                  <a:pt x="136" y="979"/>
                </a:lnTo>
                <a:lnTo>
                  <a:pt x="136" y="981"/>
                </a:lnTo>
                <a:lnTo>
                  <a:pt x="136" y="982"/>
                </a:lnTo>
                <a:lnTo>
                  <a:pt x="133" y="978"/>
                </a:lnTo>
                <a:lnTo>
                  <a:pt x="133" y="972"/>
                </a:lnTo>
                <a:lnTo>
                  <a:pt x="135" y="966"/>
                </a:lnTo>
                <a:lnTo>
                  <a:pt x="136" y="961"/>
                </a:lnTo>
                <a:lnTo>
                  <a:pt x="137" y="959"/>
                </a:lnTo>
                <a:lnTo>
                  <a:pt x="139" y="960"/>
                </a:lnTo>
                <a:lnTo>
                  <a:pt x="140" y="961"/>
                </a:lnTo>
                <a:lnTo>
                  <a:pt x="140" y="965"/>
                </a:lnTo>
                <a:close/>
                <a:moveTo>
                  <a:pt x="270" y="360"/>
                </a:moveTo>
                <a:lnTo>
                  <a:pt x="270" y="359"/>
                </a:lnTo>
                <a:lnTo>
                  <a:pt x="269" y="358"/>
                </a:lnTo>
                <a:lnTo>
                  <a:pt x="269" y="356"/>
                </a:lnTo>
                <a:lnTo>
                  <a:pt x="269" y="353"/>
                </a:lnTo>
                <a:lnTo>
                  <a:pt x="269" y="356"/>
                </a:lnTo>
                <a:lnTo>
                  <a:pt x="269" y="358"/>
                </a:lnTo>
                <a:lnTo>
                  <a:pt x="270" y="359"/>
                </a:lnTo>
                <a:lnTo>
                  <a:pt x="270" y="360"/>
                </a:lnTo>
                <a:close/>
                <a:moveTo>
                  <a:pt x="268" y="389"/>
                </a:moveTo>
                <a:lnTo>
                  <a:pt x="267" y="380"/>
                </a:lnTo>
                <a:lnTo>
                  <a:pt x="267" y="372"/>
                </a:lnTo>
                <a:lnTo>
                  <a:pt x="267" y="380"/>
                </a:lnTo>
                <a:lnTo>
                  <a:pt x="268" y="389"/>
                </a:lnTo>
                <a:close/>
                <a:moveTo>
                  <a:pt x="331" y="201"/>
                </a:moveTo>
                <a:lnTo>
                  <a:pt x="330" y="202"/>
                </a:lnTo>
                <a:lnTo>
                  <a:pt x="330" y="204"/>
                </a:lnTo>
                <a:lnTo>
                  <a:pt x="329" y="206"/>
                </a:lnTo>
                <a:lnTo>
                  <a:pt x="330" y="209"/>
                </a:lnTo>
                <a:lnTo>
                  <a:pt x="330" y="211"/>
                </a:lnTo>
                <a:lnTo>
                  <a:pt x="329" y="212"/>
                </a:lnTo>
                <a:lnTo>
                  <a:pt x="328" y="212"/>
                </a:lnTo>
                <a:lnTo>
                  <a:pt x="325" y="212"/>
                </a:lnTo>
                <a:lnTo>
                  <a:pt x="317" y="196"/>
                </a:lnTo>
                <a:lnTo>
                  <a:pt x="310" y="178"/>
                </a:lnTo>
                <a:lnTo>
                  <a:pt x="310" y="178"/>
                </a:lnTo>
                <a:lnTo>
                  <a:pt x="311" y="175"/>
                </a:lnTo>
                <a:lnTo>
                  <a:pt x="309" y="171"/>
                </a:lnTo>
                <a:lnTo>
                  <a:pt x="308" y="168"/>
                </a:lnTo>
                <a:lnTo>
                  <a:pt x="308" y="166"/>
                </a:lnTo>
                <a:lnTo>
                  <a:pt x="308" y="164"/>
                </a:lnTo>
                <a:lnTo>
                  <a:pt x="307" y="164"/>
                </a:lnTo>
                <a:lnTo>
                  <a:pt x="308" y="164"/>
                </a:lnTo>
                <a:lnTo>
                  <a:pt x="308" y="166"/>
                </a:lnTo>
                <a:lnTo>
                  <a:pt x="308" y="164"/>
                </a:lnTo>
                <a:lnTo>
                  <a:pt x="308" y="164"/>
                </a:lnTo>
                <a:lnTo>
                  <a:pt x="308" y="164"/>
                </a:lnTo>
                <a:lnTo>
                  <a:pt x="308" y="163"/>
                </a:lnTo>
                <a:lnTo>
                  <a:pt x="308" y="162"/>
                </a:lnTo>
                <a:lnTo>
                  <a:pt x="307" y="161"/>
                </a:lnTo>
                <a:lnTo>
                  <a:pt x="305" y="157"/>
                </a:lnTo>
                <a:lnTo>
                  <a:pt x="305" y="154"/>
                </a:lnTo>
                <a:lnTo>
                  <a:pt x="305" y="157"/>
                </a:lnTo>
                <a:lnTo>
                  <a:pt x="307" y="161"/>
                </a:lnTo>
                <a:lnTo>
                  <a:pt x="309" y="159"/>
                </a:lnTo>
                <a:lnTo>
                  <a:pt x="309" y="155"/>
                </a:lnTo>
                <a:lnTo>
                  <a:pt x="312" y="154"/>
                </a:lnTo>
                <a:lnTo>
                  <a:pt x="316" y="154"/>
                </a:lnTo>
                <a:lnTo>
                  <a:pt x="315" y="152"/>
                </a:lnTo>
                <a:lnTo>
                  <a:pt x="314" y="149"/>
                </a:lnTo>
                <a:lnTo>
                  <a:pt x="312" y="146"/>
                </a:lnTo>
                <a:lnTo>
                  <a:pt x="312" y="142"/>
                </a:lnTo>
                <a:lnTo>
                  <a:pt x="312" y="146"/>
                </a:lnTo>
                <a:lnTo>
                  <a:pt x="314" y="149"/>
                </a:lnTo>
                <a:lnTo>
                  <a:pt x="315" y="152"/>
                </a:lnTo>
                <a:lnTo>
                  <a:pt x="316" y="154"/>
                </a:lnTo>
                <a:lnTo>
                  <a:pt x="316" y="154"/>
                </a:lnTo>
                <a:lnTo>
                  <a:pt x="319" y="156"/>
                </a:lnTo>
                <a:lnTo>
                  <a:pt x="322" y="159"/>
                </a:lnTo>
                <a:lnTo>
                  <a:pt x="324" y="161"/>
                </a:lnTo>
                <a:lnTo>
                  <a:pt x="324" y="163"/>
                </a:lnTo>
                <a:lnTo>
                  <a:pt x="324" y="161"/>
                </a:lnTo>
                <a:lnTo>
                  <a:pt x="322" y="159"/>
                </a:lnTo>
                <a:lnTo>
                  <a:pt x="319" y="156"/>
                </a:lnTo>
                <a:lnTo>
                  <a:pt x="316" y="154"/>
                </a:lnTo>
                <a:lnTo>
                  <a:pt x="317" y="159"/>
                </a:lnTo>
                <a:lnTo>
                  <a:pt x="318" y="163"/>
                </a:lnTo>
                <a:lnTo>
                  <a:pt x="321" y="166"/>
                </a:lnTo>
                <a:lnTo>
                  <a:pt x="325" y="168"/>
                </a:lnTo>
                <a:lnTo>
                  <a:pt x="325" y="168"/>
                </a:lnTo>
                <a:lnTo>
                  <a:pt x="328" y="169"/>
                </a:lnTo>
                <a:lnTo>
                  <a:pt x="328" y="170"/>
                </a:lnTo>
                <a:lnTo>
                  <a:pt x="328" y="169"/>
                </a:lnTo>
                <a:lnTo>
                  <a:pt x="325" y="168"/>
                </a:lnTo>
                <a:lnTo>
                  <a:pt x="323" y="173"/>
                </a:lnTo>
                <a:lnTo>
                  <a:pt x="321" y="177"/>
                </a:lnTo>
                <a:lnTo>
                  <a:pt x="319" y="180"/>
                </a:lnTo>
                <a:lnTo>
                  <a:pt x="321" y="182"/>
                </a:lnTo>
                <a:lnTo>
                  <a:pt x="322" y="184"/>
                </a:lnTo>
                <a:lnTo>
                  <a:pt x="324" y="187"/>
                </a:lnTo>
                <a:lnTo>
                  <a:pt x="325" y="187"/>
                </a:lnTo>
                <a:lnTo>
                  <a:pt x="325" y="188"/>
                </a:lnTo>
                <a:lnTo>
                  <a:pt x="326" y="190"/>
                </a:lnTo>
                <a:lnTo>
                  <a:pt x="328" y="194"/>
                </a:lnTo>
                <a:lnTo>
                  <a:pt x="328" y="195"/>
                </a:lnTo>
                <a:lnTo>
                  <a:pt x="329" y="196"/>
                </a:lnTo>
                <a:lnTo>
                  <a:pt x="330" y="198"/>
                </a:lnTo>
                <a:lnTo>
                  <a:pt x="331" y="201"/>
                </a:lnTo>
                <a:lnTo>
                  <a:pt x="332" y="201"/>
                </a:lnTo>
                <a:lnTo>
                  <a:pt x="333" y="201"/>
                </a:lnTo>
                <a:lnTo>
                  <a:pt x="332" y="201"/>
                </a:lnTo>
                <a:lnTo>
                  <a:pt x="331" y="201"/>
                </a:lnTo>
                <a:close/>
                <a:moveTo>
                  <a:pt x="309" y="191"/>
                </a:moveTo>
                <a:lnTo>
                  <a:pt x="309" y="189"/>
                </a:lnTo>
                <a:lnTo>
                  <a:pt x="308" y="187"/>
                </a:lnTo>
                <a:lnTo>
                  <a:pt x="307" y="185"/>
                </a:lnTo>
                <a:lnTo>
                  <a:pt x="307" y="183"/>
                </a:lnTo>
                <a:lnTo>
                  <a:pt x="307" y="185"/>
                </a:lnTo>
                <a:lnTo>
                  <a:pt x="308" y="187"/>
                </a:lnTo>
                <a:lnTo>
                  <a:pt x="309" y="185"/>
                </a:lnTo>
                <a:lnTo>
                  <a:pt x="309" y="185"/>
                </a:lnTo>
                <a:lnTo>
                  <a:pt x="310" y="183"/>
                </a:lnTo>
                <a:lnTo>
                  <a:pt x="310" y="181"/>
                </a:lnTo>
                <a:lnTo>
                  <a:pt x="310" y="183"/>
                </a:lnTo>
                <a:lnTo>
                  <a:pt x="309" y="185"/>
                </a:lnTo>
                <a:lnTo>
                  <a:pt x="309" y="185"/>
                </a:lnTo>
                <a:lnTo>
                  <a:pt x="308" y="187"/>
                </a:lnTo>
                <a:lnTo>
                  <a:pt x="309" y="189"/>
                </a:lnTo>
                <a:lnTo>
                  <a:pt x="309" y="191"/>
                </a:lnTo>
                <a:close/>
                <a:moveTo>
                  <a:pt x="307" y="149"/>
                </a:moveTo>
                <a:lnTo>
                  <a:pt x="305" y="152"/>
                </a:lnTo>
                <a:lnTo>
                  <a:pt x="305" y="153"/>
                </a:lnTo>
                <a:lnTo>
                  <a:pt x="305" y="153"/>
                </a:lnTo>
                <a:lnTo>
                  <a:pt x="305" y="152"/>
                </a:lnTo>
                <a:lnTo>
                  <a:pt x="307" y="149"/>
                </a:lnTo>
                <a:close/>
                <a:moveTo>
                  <a:pt x="288" y="142"/>
                </a:moveTo>
                <a:lnTo>
                  <a:pt x="288" y="142"/>
                </a:lnTo>
                <a:lnTo>
                  <a:pt x="288" y="143"/>
                </a:lnTo>
                <a:lnTo>
                  <a:pt x="288" y="142"/>
                </a:lnTo>
                <a:lnTo>
                  <a:pt x="289" y="143"/>
                </a:lnTo>
                <a:lnTo>
                  <a:pt x="291" y="146"/>
                </a:lnTo>
                <a:lnTo>
                  <a:pt x="289" y="147"/>
                </a:lnTo>
                <a:lnTo>
                  <a:pt x="288" y="146"/>
                </a:lnTo>
                <a:lnTo>
                  <a:pt x="288" y="145"/>
                </a:lnTo>
                <a:lnTo>
                  <a:pt x="288" y="14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799">
                <a:solidFill>
                  <a:schemeClr val="lt1"/>
                </a:solidFill>
              </a:defRPr>
            </a:lvl1pPr>
          </a:lstStyle>
          <a:p>
            <a:pPr lvl="0" algn="ctr"/>
            <a:endParaRPr lang="en-US" sz="4799"/>
          </a:p>
        </p:txBody>
      </p:sp>
    </p:spTree>
    <p:extLst>
      <p:ext uri="{BB962C8B-B14F-4D97-AF65-F5344CB8AC3E}">
        <p14:creationId xmlns:p14="http://schemas.microsoft.com/office/powerpoint/2010/main" val="400678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2">
            <a:extLst>
              <a:ext uri="{FF2B5EF4-FFF2-40B4-BE49-F238E27FC236}">
                <a16:creationId xmlns:a16="http://schemas.microsoft.com/office/drawing/2014/main" id="{37E65D4A-8F7D-5E49-8086-FF57467869AF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5340014" y="477014"/>
            <a:ext cx="6443877" cy="6380986"/>
          </a:xfrm>
          <a:custGeom>
            <a:avLst/>
            <a:gdLst>
              <a:gd name="T0" fmla="*/ 1488 w 1562"/>
              <a:gd name="T1" fmla="*/ 995 h 1609"/>
              <a:gd name="T2" fmla="*/ 1423 w 1562"/>
              <a:gd name="T3" fmla="*/ 1455 h 1609"/>
              <a:gd name="T4" fmla="*/ 1366 w 1562"/>
              <a:gd name="T5" fmla="*/ 1007 h 1609"/>
              <a:gd name="T6" fmla="*/ 1320 w 1562"/>
              <a:gd name="T7" fmla="*/ 1173 h 1609"/>
              <a:gd name="T8" fmla="*/ 1256 w 1562"/>
              <a:gd name="T9" fmla="*/ 1019 h 1609"/>
              <a:gd name="T10" fmla="*/ 1205 w 1562"/>
              <a:gd name="T11" fmla="*/ 995 h 1609"/>
              <a:gd name="T12" fmla="*/ 1113 w 1562"/>
              <a:gd name="T13" fmla="*/ 1223 h 1609"/>
              <a:gd name="T14" fmla="*/ 1060 w 1562"/>
              <a:gd name="T15" fmla="*/ 1001 h 1609"/>
              <a:gd name="T16" fmla="*/ 969 w 1562"/>
              <a:gd name="T17" fmla="*/ 1122 h 1609"/>
              <a:gd name="T18" fmla="*/ 800 w 1562"/>
              <a:gd name="T19" fmla="*/ 1414 h 1609"/>
              <a:gd name="T20" fmla="*/ 703 w 1562"/>
              <a:gd name="T21" fmla="*/ 836 h 1609"/>
              <a:gd name="T22" fmla="*/ 681 w 1562"/>
              <a:gd name="T23" fmla="*/ 980 h 1609"/>
              <a:gd name="T24" fmla="*/ 645 w 1562"/>
              <a:gd name="T25" fmla="*/ 1015 h 1609"/>
              <a:gd name="T26" fmla="*/ 656 w 1562"/>
              <a:gd name="T27" fmla="*/ 984 h 1609"/>
              <a:gd name="T28" fmla="*/ 477 w 1562"/>
              <a:gd name="T29" fmla="*/ 1227 h 1609"/>
              <a:gd name="T30" fmla="*/ 362 w 1562"/>
              <a:gd name="T31" fmla="*/ 1155 h 1609"/>
              <a:gd name="T32" fmla="*/ 315 w 1562"/>
              <a:gd name="T33" fmla="*/ 1105 h 1609"/>
              <a:gd name="T34" fmla="*/ 172 w 1562"/>
              <a:gd name="T35" fmla="*/ 908 h 1609"/>
              <a:gd name="T36" fmla="*/ 324 w 1562"/>
              <a:gd name="T37" fmla="*/ 822 h 1609"/>
              <a:gd name="T38" fmla="*/ 852 w 1562"/>
              <a:gd name="T39" fmla="*/ 421 h 1609"/>
              <a:gd name="T40" fmla="*/ 490 w 1562"/>
              <a:gd name="T41" fmla="*/ 633 h 1609"/>
              <a:gd name="T42" fmla="*/ 1529 w 1562"/>
              <a:gd name="T43" fmla="*/ 1053 h 1609"/>
              <a:gd name="T44" fmla="*/ 1263 w 1562"/>
              <a:gd name="T45" fmla="*/ 895 h 1609"/>
              <a:gd name="T46" fmla="*/ 918 w 1562"/>
              <a:gd name="T47" fmla="*/ 830 h 1609"/>
              <a:gd name="T48" fmla="*/ 1155 w 1562"/>
              <a:gd name="T49" fmla="*/ 822 h 1609"/>
              <a:gd name="T50" fmla="*/ 1079 w 1562"/>
              <a:gd name="T51" fmla="*/ 708 h 1609"/>
              <a:gd name="T52" fmla="*/ 943 w 1562"/>
              <a:gd name="T53" fmla="*/ 612 h 1609"/>
              <a:gd name="T54" fmla="*/ 912 w 1562"/>
              <a:gd name="T55" fmla="*/ 369 h 1609"/>
              <a:gd name="T56" fmla="*/ 1377 w 1562"/>
              <a:gd name="T57" fmla="*/ 36 h 1609"/>
              <a:gd name="T58" fmla="*/ 479 w 1562"/>
              <a:gd name="T59" fmla="*/ 665 h 1609"/>
              <a:gd name="T60" fmla="*/ 938 w 1562"/>
              <a:gd name="T61" fmla="*/ 655 h 1609"/>
              <a:gd name="T62" fmla="*/ 543 w 1562"/>
              <a:gd name="T63" fmla="*/ 679 h 1609"/>
              <a:gd name="T64" fmla="*/ 338 w 1562"/>
              <a:gd name="T65" fmla="*/ 599 h 1609"/>
              <a:gd name="T66" fmla="*/ 285 w 1562"/>
              <a:gd name="T67" fmla="*/ 707 h 1609"/>
              <a:gd name="T68" fmla="*/ 169 w 1562"/>
              <a:gd name="T69" fmla="*/ 817 h 1609"/>
              <a:gd name="T70" fmla="*/ 32 w 1562"/>
              <a:gd name="T71" fmla="*/ 694 h 1609"/>
              <a:gd name="T72" fmla="*/ 130 w 1562"/>
              <a:gd name="T73" fmla="*/ 805 h 1609"/>
              <a:gd name="T74" fmla="*/ 73 w 1562"/>
              <a:gd name="T75" fmla="*/ 864 h 1609"/>
              <a:gd name="T76" fmla="*/ 8 w 1562"/>
              <a:gd name="T77" fmla="*/ 878 h 1609"/>
              <a:gd name="T78" fmla="*/ 291 w 1562"/>
              <a:gd name="T79" fmla="*/ 1105 h 1609"/>
              <a:gd name="T80" fmla="*/ 1417 w 1562"/>
              <a:gd name="T81" fmla="*/ 1545 h 1609"/>
              <a:gd name="T82" fmla="*/ 984 w 1562"/>
              <a:gd name="T83" fmla="*/ 551 h 1609"/>
              <a:gd name="T84" fmla="*/ 1328 w 1562"/>
              <a:gd name="T85" fmla="*/ 742 h 1609"/>
              <a:gd name="T86" fmla="*/ 1344 w 1562"/>
              <a:gd name="T87" fmla="*/ 416 h 1609"/>
              <a:gd name="T88" fmla="*/ 1346 w 1562"/>
              <a:gd name="T89" fmla="*/ 686 h 1609"/>
              <a:gd name="T90" fmla="*/ 1202 w 1562"/>
              <a:gd name="T91" fmla="*/ 542 h 1609"/>
              <a:gd name="T92" fmla="*/ 1174 w 1562"/>
              <a:gd name="T93" fmla="*/ 757 h 1609"/>
              <a:gd name="T94" fmla="*/ 1314 w 1562"/>
              <a:gd name="T95" fmla="*/ 711 h 1609"/>
              <a:gd name="T96" fmla="*/ 1128 w 1562"/>
              <a:gd name="T97" fmla="*/ 360 h 1609"/>
              <a:gd name="T98" fmla="*/ 1142 w 1562"/>
              <a:gd name="T99" fmla="*/ 329 h 1609"/>
              <a:gd name="T100" fmla="*/ 1104 w 1562"/>
              <a:gd name="T101" fmla="*/ 332 h 1609"/>
              <a:gd name="T102" fmla="*/ 1330 w 1562"/>
              <a:gd name="T103" fmla="*/ 218 h 1609"/>
              <a:gd name="T104" fmla="*/ 984 w 1562"/>
              <a:gd name="T105" fmla="*/ 335 h 1609"/>
              <a:gd name="T106" fmla="*/ 1128 w 1562"/>
              <a:gd name="T107" fmla="*/ 505 h 1609"/>
              <a:gd name="T108" fmla="*/ 1374 w 1562"/>
              <a:gd name="T109" fmla="*/ 431 h 1609"/>
              <a:gd name="T110" fmla="*/ 1254 w 1562"/>
              <a:gd name="T111" fmla="*/ 342 h 1609"/>
              <a:gd name="T112" fmla="*/ 1363 w 1562"/>
              <a:gd name="T113" fmla="*/ 268 h 1609"/>
              <a:gd name="T114" fmla="*/ 1388 w 1562"/>
              <a:gd name="T115" fmla="*/ 731 h 1609"/>
              <a:gd name="T116" fmla="*/ 1377 w 1562"/>
              <a:gd name="T117" fmla="*/ 876 h 1609"/>
              <a:gd name="T118" fmla="*/ 1420 w 1562"/>
              <a:gd name="T119" fmla="*/ 623 h 1609"/>
              <a:gd name="T120" fmla="*/ 304 w 1562"/>
              <a:gd name="T121" fmla="*/ 677 h 1609"/>
              <a:gd name="T122" fmla="*/ 334 w 1562"/>
              <a:gd name="T123" fmla="*/ 648 h 1609"/>
              <a:gd name="T124" fmla="*/ 1408 w 1562"/>
              <a:gd name="T125" fmla="*/ 687 h 1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62" h="1609">
                <a:moveTo>
                  <a:pt x="1422" y="403"/>
                </a:moveTo>
                <a:lnTo>
                  <a:pt x="1422" y="410"/>
                </a:lnTo>
                <a:lnTo>
                  <a:pt x="1423" y="416"/>
                </a:lnTo>
                <a:lnTo>
                  <a:pt x="1424" y="418"/>
                </a:lnTo>
                <a:lnTo>
                  <a:pt x="1426" y="420"/>
                </a:lnTo>
                <a:lnTo>
                  <a:pt x="1430" y="421"/>
                </a:lnTo>
                <a:lnTo>
                  <a:pt x="1435" y="423"/>
                </a:lnTo>
                <a:lnTo>
                  <a:pt x="1439" y="425"/>
                </a:lnTo>
                <a:lnTo>
                  <a:pt x="1443" y="428"/>
                </a:lnTo>
                <a:lnTo>
                  <a:pt x="1446" y="431"/>
                </a:lnTo>
                <a:lnTo>
                  <a:pt x="1450" y="430"/>
                </a:lnTo>
                <a:lnTo>
                  <a:pt x="1451" y="426"/>
                </a:lnTo>
                <a:lnTo>
                  <a:pt x="1451" y="421"/>
                </a:lnTo>
                <a:lnTo>
                  <a:pt x="1451" y="398"/>
                </a:lnTo>
                <a:lnTo>
                  <a:pt x="1449" y="376"/>
                </a:lnTo>
                <a:lnTo>
                  <a:pt x="1446" y="354"/>
                </a:lnTo>
                <a:lnTo>
                  <a:pt x="1442" y="332"/>
                </a:lnTo>
                <a:lnTo>
                  <a:pt x="1438" y="319"/>
                </a:lnTo>
                <a:lnTo>
                  <a:pt x="1436" y="307"/>
                </a:lnTo>
                <a:lnTo>
                  <a:pt x="1431" y="296"/>
                </a:lnTo>
                <a:lnTo>
                  <a:pt x="1425" y="285"/>
                </a:lnTo>
                <a:lnTo>
                  <a:pt x="1428" y="295"/>
                </a:lnTo>
                <a:lnTo>
                  <a:pt x="1429" y="305"/>
                </a:lnTo>
                <a:lnTo>
                  <a:pt x="1428" y="311"/>
                </a:lnTo>
                <a:lnTo>
                  <a:pt x="1426" y="316"/>
                </a:lnTo>
                <a:lnTo>
                  <a:pt x="1426" y="322"/>
                </a:lnTo>
                <a:lnTo>
                  <a:pt x="1428" y="328"/>
                </a:lnTo>
                <a:lnTo>
                  <a:pt x="1428" y="335"/>
                </a:lnTo>
                <a:lnTo>
                  <a:pt x="1428" y="341"/>
                </a:lnTo>
                <a:lnTo>
                  <a:pt x="1426" y="347"/>
                </a:lnTo>
                <a:lnTo>
                  <a:pt x="1425" y="353"/>
                </a:lnTo>
                <a:lnTo>
                  <a:pt x="1423" y="358"/>
                </a:lnTo>
                <a:lnTo>
                  <a:pt x="1422" y="365"/>
                </a:lnTo>
                <a:lnTo>
                  <a:pt x="1422" y="371"/>
                </a:lnTo>
                <a:lnTo>
                  <a:pt x="1422" y="377"/>
                </a:lnTo>
                <a:lnTo>
                  <a:pt x="1422" y="390"/>
                </a:lnTo>
                <a:lnTo>
                  <a:pt x="1422" y="403"/>
                </a:lnTo>
                <a:close/>
                <a:moveTo>
                  <a:pt x="1499" y="1129"/>
                </a:moveTo>
                <a:lnTo>
                  <a:pt x="1500" y="1129"/>
                </a:lnTo>
                <a:lnTo>
                  <a:pt x="1500" y="1129"/>
                </a:lnTo>
                <a:lnTo>
                  <a:pt x="1500" y="1129"/>
                </a:lnTo>
                <a:lnTo>
                  <a:pt x="1499" y="1129"/>
                </a:lnTo>
                <a:close/>
                <a:moveTo>
                  <a:pt x="1482" y="1228"/>
                </a:moveTo>
                <a:lnTo>
                  <a:pt x="1480" y="1230"/>
                </a:lnTo>
                <a:lnTo>
                  <a:pt x="1479" y="1231"/>
                </a:lnTo>
                <a:lnTo>
                  <a:pt x="1480" y="1230"/>
                </a:lnTo>
                <a:lnTo>
                  <a:pt x="1482" y="1228"/>
                </a:lnTo>
                <a:lnTo>
                  <a:pt x="1491" y="1218"/>
                </a:lnTo>
                <a:lnTo>
                  <a:pt x="1499" y="1209"/>
                </a:lnTo>
                <a:lnTo>
                  <a:pt x="1491" y="1218"/>
                </a:lnTo>
                <a:lnTo>
                  <a:pt x="1482" y="1228"/>
                </a:lnTo>
                <a:close/>
                <a:moveTo>
                  <a:pt x="1491" y="1274"/>
                </a:moveTo>
                <a:lnTo>
                  <a:pt x="1491" y="1274"/>
                </a:lnTo>
                <a:lnTo>
                  <a:pt x="1491" y="1274"/>
                </a:lnTo>
                <a:lnTo>
                  <a:pt x="1492" y="1273"/>
                </a:lnTo>
                <a:lnTo>
                  <a:pt x="1493" y="1272"/>
                </a:lnTo>
                <a:lnTo>
                  <a:pt x="1492" y="1273"/>
                </a:lnTo>
                <a:lnTo>
                  <a:pt x="1491" y="1274"/>
                </a:lnTo>
                <a:close/>
                <a:moveTo>
                  <a:pt x="1485" y="1280"/>
                </a:moveTo>
                <a:lnTo>
                  <a:pt x="1485" y="1280"/>
                </a:lnTo>
                <a:lnTo>
                  <a:pt x="1484" y="1281"/>
                </a:lnTo>
                <a:lnTo>
                  <a:pt x="1485" y="1280"/>
                </a:lnTo>
                <a:lnTo>
                  <a:pt x="1485" y="1280"/>
                </a:lnTo>
                <a:lnTo>
                  <a:pt x="1486" y="1277"/>
                </a:lnTo>
                <a:lnTo>
                  <a:pt x="1488" y="1276"/>
                </a:lnTo>
                <a:lnTo>
                  <a:pt x="1486" y="1277"/>
                </a:lnTo>
                <a:lnTo>
                  <a:pt x="1485" y="1280"/>
                </a:lnTo>
                <a:close/>
                <a:moveTo>
                  <a:pt x="1491" y="995"/>
                </a:moveTo>
                <a:lnTo>
                  <a:pt x="1489" y="995"/>
                </a:lnTo>
                <a:lnTo>
                  <a:pt x="1488" y="995"/>
                </a:lnTo>
                <a:lnTo>
                  <a:pt x="1489" y="995"/>
                </a:lnTo>
                <a:lnTo>
                  <a:pt x="1491" y="995"/>
                </a:lnTo>
                <a:close/>
                <a:moveTo>
                  <a:pt x="1474" y="1232"/>
                </a:moveTo>
                <a:lnTo>
                  <a:pt x="1470" y="1237"/>
                </a:lnTo>
                <a:lnTo>
                  <a:pt x="1464" y="1242"/>
                </a:lnTo>
                <a:lnTo>
                  <a:pt x="1459" y="1245"/>
                </a:lnTo>
                <a:lnTo>
                  <a:pt x="1452" y="1249"/>
                </a:lnTo>
                <a:lnTo>
                  <a:pt x="1459" y="1245"/>
                </a:lnTo>
                <a:lnTo>
                  <a:pt x="1464" y="1242"/>
                </a:lnTo>
                <a:lnTo>
                  <a:pt x="1470" y="1237"/>
                </a:lnTo>
                <a:lnTo>
                  <a:pt x="1474" y="1232"/>
                </a:lnTo>
                <a:lnTo>
                  <a:pt x="1475" y="1232"/>
                </a:lnTo>
                <a:lnTo>
                  <a:pt x="1477" y="1231"/>
                </a:lnTo>
                <a:lnTo>
                  <a:pt x="1475" y="1232"/>
                </a:lnTo>
                <a:lnTo>
                  <a:pt x="1474" y="1232"/>
                </a:lnTo>
                <a:close/>
                <a:moveTo>
                  <a:pt x="1471" y="1304"/>
                </a:moveTo>
                <a:lnTo>
                  <a:pt x="1473" y="1304"/>
                </a:lnTo>
                <a:lnTo>
                  <a:pt x="1474" y="1304"/>
                </a:lnTo>
                <a:lnTo>
                  <a:pt x="1473" y="1304"/>
                </a:lnTo>
                <a:lnTo>
                  <a:pt x="1471" y="1304"/>
                </a:lnTo>
                <a:close/>
                <a:moveTo>
                  <a:pt x="1471" y="1300"/>
                </a:moveTo>
                <a:lnTo>
                  <a:pt x="1471" y="1300"/>
                </a:lnTo>
                <a:lnTo>
                  <a:pt x="1471" y="1300"/>
                </a:lnTo>
                <a:lnTo>
                  <a:pt x="1471" y="1300"/>
                </a:lnTo>
                <a:lnTo>
                  <a:pt x="1471" y="1300"/>
                </a:lnTo>
                <a:close/>
                <a:moveTo>
                  <a:pt x="1459" y="1330"/>
                </a:moveTo>
                <a:lnTo>
                  <a:pt x="1461" y="1332"/>
                </a:lnTo>
                <a:lnTo>
                  <a:pt x="1464" y="1332"/>
                </a:lnTo>
                <a:lnTo>
                  <a:pt x="1461" y="1332"/>
                </a:lnTo>
                <a:lnTo>
                  <a:pt x="1459" y="1330"/>
                </a:lnTo>
                <a:close/>
                <a:moveTo>
                  <a:pt x="1453" y="1315"/>
                </a:moveTo>
                <a:lnTo>
                  <a:pt x="1452" y="1318"/>
                </a:lnTo>
                <a:lnTo>
                  <a:pt x="1451" y="1319"/>
                </a:lnTo>
                <a:lnTo>
                  <a:pt x="1452" y="1318"/>
                </a:lnTo>
                <a:lnTo>
                  <a:pt x="1453" y="1315"/>
                </a:lnTo>
                <a:close/>
                <a:moveTo>
                  <a:pt x="1461" y="1016"/>
                </a:moveTo>
                <a:lnTo>
                  <a:pt x="1463" y="1018"/>
                </a:lnTo>
                <a:lnTo>
                  <a:pt x="1463" y="1019"/>
                </a:lnTo>
                <a:lnTo>
                  <a:pt x="1463" y="1018"/>
                </a:lnTo>
                <a:lnTo>
                  <a:pt x="1461" y="1016"/>
                </a:lnTo>
                <a:lnTo>
                  <a:pt x="1461" y="1014"/>
                </a:lnTo>
                <a:lnTo>
                  <a:pt x="1460" y="1012"/>
                </a:lnTo>
                <a:lnTo>
                  <a:pt x="1461" y="1014"/>
                </a:lnTo>
                <a:lnTo>
                  <a:pt x="1461" y="1016"/>
                </a:lnTo>
                <a:close/>
                <a:moveTo>
                  <a:pt x="1463" y="987"/>
                </a:moveTo>
                <a:lnTo>
                  <a:pt x="1463" y="991"/>
                </a:lnTo>
                <a:lnTo>
                  <a:pt x="1463" y="994"/>
                </a:lnTo>
                <a:lnTo>
                  <a:pt x="1463" y="991"/>
                </a:lnTo>
                <a:lnTo>
                  <a:pt x="1463" y="987"/>
                </a:lnTo>
                <a:close/>
                <a:moveTo>
                  <a:pt x="1471" y="962"/>
                </a:moveTo>
                <a:lnTo>
                  <a:pt x="1471" y="962"/>
                </a:lnTo>
                <a:lnTo>
                  <a:pt x="1470" y="963"/>
                </a:lnTo>
                <a:lnTo>
                  <a:pt x="1471" y="962"/>
                </a:lnTo>
                <a:lnTo>
                  <a:pt x="1471" y="962"/>
                </a:lnTo>
                <a:close/>
                <a:moveTo>
                  <a:pt x="1444" y="964"/>
                </a:moveTo>
                <a:lnTo>
                  <a:pt x="1445" y="964"/>
                </a:lnTo>
                <a:lnTo>
                  <a:pt x="1445" y="964"/>
                </a:lnTo>
                <a:lnTo>
                  <a:pt x="1445" y="964"/>
                </a:lnTo>
                <a:lnTo>
                  <a:pt x="1444" y="964"/>
                </a:lnTo>
                <a:close/>
                <a:moveTo>
                  <a:pt x="1409" y="1018"/>
                </a:moveTo>
                <a:lnTo>
                  <a:pt x="1410" y="1014"/>
                </a:lnTo>
                <a:lnTo>
                  <a:pt x="1411" y="1009"/>
                </a:lnTo>
                <a:lnTo>
                  <a:pt x="1410" y="1014"/>
                </a:lnTo>
                <a:lnTo>
                  <a:pt x="1409" y="1018"/>
                </a:lnTo>
                <a:lnTo>
                  <a:pt x="1422" y="1020"/>
                </a:lnTo>
                <a:lnTo>
                  <a:pt x="1432" y="1024"/>
                </a:lnTo>
                <a:lnTo>
                  <a:pt x="1422" y="1020"/>
                </a:lnTo>
                <a:lnTo>
                  <a:pt x="1409" y="1018"/>
                </a:lnTo>
                <a:close/>
                <a:moveTo>
                  <a:pt x="1423" y="1459"/>
                </a:moveTo>
                <a:lnTo>
                  <a:pt x="1423" y="1455"/>
                </a:lnTo>
                <a:lnTo>
                  <a:pt x="1424" y="1452"/>
                </a:lnTo>
                <a:lnTo>
                  <a:pt x="1423" y="1455"/>
                </a:lnTo>
                <a:lnTo>
                  <a:pt x="1423" y="1459"/>
                </a:lnTo>
                <a:close/>
                <a:moveTo>
                  <a:pt x="1394" y="1050"/>
                </a:moveTo>
                <a:lnTo>
                  <a:pt x="1403" y="1055"/>
                </a:lnTo>
                <a:lnTo>
                  <a:pt x="1411" y="1060"/>
                </a:lnTo>
                <a:lnTo>
                  <a:pt x="1403" y="1055"/>
                </a:lnTo>
                <a:lnTo>
                  <a:pt x="1394" y="1050"/>
                </a:lnTo>
                <a:close/>
                <a:moveTo>
                  <a:pt x="1402" y="1094"/>
                </a:moveTo>
                <a:lnTo>
                  <a:pt x="1401" y="1094"/>
                </a:lnTo>
                <a:lnTo>
                  <a:pt x="1398" y="1092"/>
                </a:lnTo>
                <a:lnTo>
                  <a:pt x="1401" y="1094"/>
                </a:lnTo>
                <a:lnTo>
                  <a:pt x="1402" y="1094"/>
                </a:lnTo>
                <a:lnTo>
                  <a:pt x="1405" y="1095"/>
                </a:lnTo>
                <a:lnTo>
                  <a:pt x="1409" y="1095"/>
                </a:lnTo>
                <a:lnTo>
                  <a:pt x="1405" y="1095"/>
                </a:lnTo>
                <a:lnTo>
                  <a:pt x="1402" y="1094"/>
                </a:lnTo>
                <a:close/>
                <a:moveTo>
                  <a:pt x="1395" y="1036"/>
                </a:moveTo>
                <a:lnTo>
                  <a:pt x="1396" y="1036"/>
                </a:lnTo>
                <a:lnTo>
                  <a:pt x="1396" y="1036"/>
                </a:lnTo>
                <a:lnTo>
                  <a:pt x="1396" y="1036"/>
                </a:lnTo>
                <a:lnTo>
                  <a:pt x="1395" y="1036"/>
                </a:lnTo>
                <a:lnTo>
                  <a:pt x="1394" y="1041"/>
                </a:lnTo>
                <a:lnTo>
                  <a:pt x="1391" y="1045"/>
                </a:lnTo>
                <a:lnTo>
                  <a:pt x="1394" y="1041"/>
                </a:lnTo>
                <a:lnTo>
                  <a:pt x="1395" y="1036"/>
                </a:lnTo>
                <a:close/>
                <a:moveTo>
                  <a:pt x="1389" y="1047"/>
                </a:moveTo>
                <a:lnTo>
                  <a:pt x="1378" y="1046"/>
                </a:lnTo>
                <a:lnTo>
                  <a:pt x="1369" y="1043"/>
                </a:lnTo>
                <a:lnTo>
                  <a:pt x="1378" y="1046"/>
                </a:lnTo>
                <a:lnTo>
                  <a:pt x="1389" y="1047"/>
                </a:lnTo>
                <a:close/>
                <a:moveTo>
                  <a:pt x="1383" y="1061"/>
                </a:moveTo>
                <a:lnTo>
                  <a:pt x="1373" y="1061"/>
                </a:lnTo>
                <a:lnTo>
                  <a:pt x="1363" y="1060"/>
                </a:lnTo>
                <a:lnTo>
                  <a:pt x="1373" y="1061"/>
                </a:lnTo>
                <a:lnTo>
                  <a:pt x="1383" y="1061"/>
                </a:lnTo>
                <a:lnTo>
                  <a:pt x="1383" y="1061"/>
                </a:lnTo>
                <a:close/>
                <a:moveTo>
                  <a:pt x="1370" y="1088"/>
                </a:moveTo>
                <a:lnTo>
                  <a:pt x="1371" y="1088"/>
                </a:lnTo>
                <a:lnTo>
                  <a:pt x="1371" y="1088"/>
                </a:lnTo>
                <a:lnTo>
                  <a:pt x="1371" y="1088"/>
                </a:lnTo>
                <a:lnTo>
                  <a:pt x="1370" y="1088"/>
                </a:lnTo>
                <a:lnTo>
                  <a:pt x="1369" y="1087"/>
                </a:lnTo>
                <a:lnTo>
                  <a:pt x="1370" y="1085"/>
                </a:lnTo>
                <a:lnTo>
                  <a:pt x="1369" y="1087"/>
                </a:lnTo>
                <a:lnTo>
                  <a:pt x="1370" y="1088"/>
                </a:lnTo>
                <a:close/>
                <a:moveTo>
                  <a:pt x="1367" y="1549"/>
                </a:moveTo>
                <a:lnTo>
                  <a:pt x="1362" y="1545"/>
                </a:lnTo>
                <a:lnTo>
                  <a:pt x="1360" y="1539"/>
                </a:lnTo>
                <a:lnTo>
                  <a:pt x="1362" y="1545"/>
                </a:lnTo>
                <a:lnTo>
                  <a:pt x="1367" y="1549"/>
                </a:lnTo>
                <a:lnTo>
                  <a:pt x="1373" y="1560"/>
                </a:lnTo>
                <a:lnTo>
                  <a:pt x="1380" y="1572"/>
                </a:lnTo>
                <a:lnTo>
                  <a:pt x="1373" y="1560"/>
                </a:lnTo>
                <a:lnTo>
                  <a:pt x="1367" y="1549"/>
                </a:lnTo>
                <a:close/>
                <a:moveTo>
                  <a:pt x="1354" y="1553"/>
                </a:moveTo>
                <a:lnTo>
                  <a:pt x="1356" y="1556"/>
                </a:lnTo>
                <a:lnTo>
                  <a:pt x="1359" y="1558"/>
                </a:lnTo>
                <a:lnTo>
                  <a:pt x="1359" y="1558"/>
                </a:lnTo>
                <a:lnTo>
                  <a:pt x="1360" y="1558"/>
                </a:lnTo>
                <a:lnTo>
                  <a:pt x="1359" y="1558"/>
                </a:lnTo>
                <a:lnTo>
                  <a:pt x="1359" y="1558"/>
                </a:lnTo>
                <a:lnTo>
                  <a:pt x="1356" y="1556"/>
                </a:lnTo>
                <a:lnTo>
                  <a:pt x="1354" y="1553"/>
                </a:lnTo>
                <a:close/>
                <a:moveTo>
                  <a:pt x="1353" y="1000"/>
                </a:moveTo>
                <a:lnTo>
                  <a:pt x="1353" y="1002"/>
                </a:lnTo>
                <a:lnTo>
                  <a:pt x="1353" y="1006"/>
                </a:lnTo>
                <a:lnTo>
                  <a:pt x="1366" y="1007"/>
                </a:lnTo>
                <a:lnTo>
                  <a:pt x="1378" y="1008"/>
                </a:lnTo>
                <a:lnTo>
                  <a:pt x="1366" y="1007"/>
                </a:lnTo>
                <a:lnTo>
                  <a:pt x="1353" y="1006"/>
                </a:lnTo>
                <a:lnTo>
                  <a:pt x="1353" y="1002"/>
                </a:lnTo>
                <a:lnTo>
                  <a:pt x="1353" y="1000"/>
                </a:lnTo>
                <a:close/>
                <a:moveTo>
                  <a:pt x="1357" y="994"/>
                </a:moveTo>
                <a:lnTo>
                  <a:pt x="1355" y="993"/>
                </a:lnTo>
                <a:lnTo>
                  <a:pt x="1354" y="993"/>
                </a:lnTo>
                <a:lnTo>
                  <a:pt x="1355" y="993"/>
                </a:lnTo>
                <a:lnTo>
                  <a:pt x="1357" y="994"/>
                </a:lnTo>
                <a:close/>
                <a:moveTo>
                  <a:pt x="1404" y="1038"/>
                </a:moveTo>
                <a:lnTo>
                  <a:pt x="1404" y="1036"/>
                </a:lnTo>
                <a:lnTo>
                  <a:pt x="1404" y="1036"/>
                </a:lnTo>
                <a:lnTo>
                  <a:pt x="1404" y="1036"/>
                </a:lnTo>
                <a:lnTo>
                  <a:pt x="1404" y="1038"/>
                </a:lnTo>
                <a:lnTo>
                  <a:pt x="1401" y="1040"/>
                </a:lnTo>
                <a:lnTo>
                  <a:pt x="1399" y="1043"/>
                </a:lnTo>
                <a:lnTo>
                  <a:pt x="1401" y="1040"/>
                </a:lnTo>
                <a:lnTo>
                  <a:pt x="1404" y="1038"/>
                </a:lnTo>
                <a:close/>
                <a:moveTo>
                  <a:pt x="1404" y="1034"/>
                </a:moveTo>
                <a:lnTo>
                  <a:pt x="1402" y="1033"/>
                </a:lnTo>
                <a:lnTo>
                  <a:pt x="1401" y="1032"/>
                </a:lnTo>
                <a:lnTo>
                  <a:pt x="1402" y="1033"/>
                </a:lnTo>
                <a:lnTo>
                  <a:pt x="1404" y="1034"/>
                </a:lnTo>
                <a:close/>
                <a:moveTo>
                  <a:pt x="1405" y="1027"/>
                </a:moveTo>
                <a:lnTo>
                  <a:pt x="1405" y="1027"/>
                </a:lnTo>
                <a:lnTo>
                  <a:pt x="1405" y="1026"/>
                </a:lnTo>
                <a:lnTo>
                  <a:pt x="1405" y="1027"/>
                </a:lnTo>
                <a:lnTo>
                  <a:pt x="1405" y="1027"/>
                </a:lnTo>
                <a:close/>
                <a:moveTo>
                  <a:pt x="1413" y="964"/>
                </a:moveTo>
                <a:lnTo>
                  <a:pt x="1413" y="962"/>
                </a:lnTo>
                <a:lnTo>
                  <a:pt x="1415" y="962"/>
                </a:lnTo>
                <a:lnTo>
                  <a:pt x="1413" y="962"/>
                </a:lnTo>
                <a:lnTo>
                  <a:pt x="1413" y="964"/>
                </a:lnTo>
                <a:lnTo>
                  <a:pt x="1410" y="963"/>
                </a:lnTo>
                <a:lnTo>
                  <a:pt x="1406" y="963"/>
                </a:lnTo>
                <a:lnTo>
                  <a:pt x="1410" y="963"/>
                </a:lnTo>
                <a:lnTo>
                  <a:pt x="1413" y="964"/>
                </a:lnTo>
                <a:close/>
                <a:moveTo>
                  <a:pt x="1418" y="965"/>
                </a:moveTo>
                <a:lnTo>
                  <a:pt x="1418" y="967"/>
                </a:lnTo>
                <a:lnTo>
                  <a:pt x="1417" y="970"/>
                </a:lnTo>
                <a:lnTo>
                  <a:pt x="1418" y="967"/>
                </a:lnTo>
                <a:lnTo>
                  <a:pt x="1418" y="965"/>
                </a:lnTo>
                <a:close/>
                <a:moveTo>
                  <a:pt x="1418" y="918"/>
                </a:moveTo>
                <a:lnTo>
                  <a:pt x="1417" y="916"/>
                </a:lnTo>
                <a:lnTo>
                  <a:pt x="1415" y="915"/>
                </a:lnTo>
                <a:lnTo>
                  <a:pt x="1417" y="916"/>
                </a:lnTo>
                <a:lnTo>
                  <a:pt x="1418" y="918"/>
                </a:lnTo>
                <a:close/>
                <a:moveTo>
                  <a:pt x="1336" y="1033"/>
                </a:moveTo>
                <a:lnTo>
                  <a:pt x="1332" y="1038"/>
                </a:lnTo>
                <a:lnTo>
                  <a:pt x="1328" y="1042"/>
                </a:lnTo>
                <a:lnTo>
                  <a:pt x="1332" y="1038"/>
                </a:lnTo>
                <a:lnTo>
                  <a:pt x="1336" y="1033"/>
                </a:lnTo>
                <a:lnTo>
                  <a:pt x="1337" y="1029"/>
                </a:lnTo>
                <a:lnTo>
                  <a:pt x="1340" y="1027"/>
                </a:lnTo>
                <a:lnTo>
                  <a:pt x="1337" y="1029"/>
                </a:lnTo>
                <a:lnTo>
                  <a:pt x="1336" y="1033"/>
                </a:lnTo>
                <a:close/>
                <a:moveTo>
                  <a:pt x="1326" y="1120"/>
                </a:moveTo>
                <a:lnTo>
                  <a:pt x="1332" y="1125"/>
                </a:lnTo>
                <a:lnTo>
                  <a:pt x="1337" y="1129"/>
                </a:lnTo>
                <a:lnTo>
                  <a:pt x="1332" y="1125"/>
                </a:lnTo>
                <a:lnTo>
                  <a:pt x="1326" y="1120"/>
                </a:lnTo>
                <a:close/>
                <a:moveTo>
                  <a:pt x="1335" y="1383"/>
                </a:moveTo>
                <a:lnTo>
                  <a:pt x="1336" y="1382"/>
                </a:lnTo>
                <a:lnTo>
                  <a:pt x="1337" y="1379"/>
                </a:lnTo>
                <a:lnTo>
                  <a:pt x="1336" y="1382"/>
                </a:lnTo>
                <a:lnTo>
                  <a:pt x="1335" y="1383"/>
                </a:lnTo>
                <a:close/>
                <a:moveTo>
                  <a:pt x="1320" y="1173"/>
                </a:moveTo>
                <a:lnTo>
                  <a:pt x="1320" y="1173"/>
                </a:lnTo>
                <a:lnTo>
                  <a:pt x="1320" y="1173"/>
                </a:lnTo>
                <a:lnTo>
                  <a:pt x="1320" y="1173"/>
                </a:lnTo>
                <a:lnTo>
                  <a:pt x="1320" y="1173"/>
                </a:lnTo>
                <a:close/>
                <a:moveTo>
                  <a:pt x="1304" y="1127"/>
                </a:moveTo>
                <a:lnTo>
                  <a:pt x="1299" y="1131"/>
                </a:lnTo>
                <a:lnTo>
                  <a:pt x="1294" y="1133"/>
                </a:lnTo>
                <a:lnTo>
                  <a:pt x="1299" y="1131"/>
                </a:lnTo>
                <a:lnTo>
                  <a:pt x="1304" y="1127"/>
                </a:lnTo>
                <a:lnTo>
                  <a:pt x="1311" y="1124"/>
                </a:lnTo>
                <a:lnTo>
                  <a:pt x="1319" y="1119"/>
                </a:lnTo>
                <a:lnTo>
                  <a:pt x="1311" y="1124"/>
                </a:lnTo>
                <a:lnTo>
                  <a:pt x="1304" y="1127"/>
                </a:lnTo>
                <a:close/>
                <a:moveTo>
                  <a:pt x="1314" y="1126"/>
                </a:moveTo>
                <a:lnTo>
                  <a:pt x="1314" y="1126"/>
                </a:lnTo>
                <a:lnTo>
                  <a:pt x="1315" y="1125"/>
                </a:lnTo>
                <a:lnTo>
                  <a:pt x="1314" y="1126"/>
                </a:lnTo>
                <a:lnTo>
                  <a:pt x="1314" y="1126"/>
                </a:lnTo>
                <a:close/>
                <a:moveTo>
                  <a:pt x="1311" y="1202"/>
                </a:moveTo>
                <a:lnTo>
                  <a:pt x="1312" y="1203"/>
                </a:lnTo>
                <a:lnTo>
                  <a:pt x="1313" y="1203"/>
                </a:lnTo>
                <a:lnTo>
                  <a:pt x="1312" y="1203"/>
                </a:lnTo>
                <a:lnTo>
                  <a:pt x="1311" y="1202"/>
                </a:lnTo>
                <a:close/>
                <a:moveTo>
                  <a:pt x="1298" y="1196"/>
                </a:moveTo>
                <a:lnTo>
                  <a:pt x="1299" y="1196"/>
                </a:lnTo>
                <a:lnTo>
                  <a:pt x="1299" y="1197"/>
                </a:lnTo>
                <a:lnTo>
                  <a:pt x="1299" y="1196"/>
                </a:lnTo>
                <a:lnTo>
                  <a:pt x="1298" y="1196"/>
                </a:lnTo>
                <a:close/>
                <a:moveTo>
                  <a:pt x="1298" y="1519"/>
                </a:moveTo>
                <a:lnTo>
                  <a:pt x="1302" y="1525"/>
                </a:lnTo>
                <a:lnTo>
                  <a:pt x="1306" y="1532"/>
                </a:lnTo>
                <a:lnTo>
                  <a:pt x="1302" y="1525"/>
                </a:lnTo>
                <a:lnTo>
                  <a:pt x="1298" y="1519"/>
                </a:lnTo>
                <a:close/>
                <a:moveTo>
                  <a:pt x="1286" y="1145"/>
                </a:moveTo>
                <a:lnTo>
                  <a:pt x="1283" y="1146"/>
                </a:lnTo>
                <a:lnTo>
                  <a:pt x="1280" y="1147"/>
                </a:lnTo>
                <a:lnTo>
                  <a:pt x="1283" y="1146"/>
                </a:lnTo>
                <a:lnTo>
                  <a:pt x="1286" y="1145"/>
                </a:lnTo>
                <a:lnTo>
                  <a:pt x="1287" y="1147"/>
                </a:lnTo>
                <a:lnTo>
                  <a:pt x="1288" y="1150"/>
                </a:lnTo>
                <a:lnTo>
                  <a:pt x="1291" y="1151"/>
                </a:lnTo>
                <a:lnTo>
                  <a:pt x="1293" y="1152"/>
                </a:lnTo>
                <a:lnTo>
                  <a:pt x="1291" y="1151"/>
                </a:lnTo>
                <a:lnTo>
                  <a:pt x="1288" y="1150"/>
                </a:lnTo>
                <a:lnTo>
                  <a:pt x="1287" y="1147"/>
                </a:lnTo>
                <a:lnTo>
                  <a:pt x="1286" y="1145"/>
                </a:lnTo>
                <a:close/>
                <a:moveTo>
                  <a:pt x="1290" y="1195"/>
                </a:moveTo>
                <a:lnTo>
                  <a:pt x="1287" y="1195"/>
                </a:lnTo>
                <a:lnTo>
                  <a:pt x="1286" y="1195"/>
                </a:lnTo>
                <a:lnTo>
                  <a:pt x="1283" y="1195"/>
                </a:lnTo>
                <a:lnTo>
                  <a:pt x="1279" y="1197"/>
                </a:lnTo>
                <a:lnTo>
                  <a:pt x="1283" y="1195"/>
                </a:lnTo>
                <a:lnTo>
                  <a:pt x="1286" y="1195"/>
                </a:lnTo>
                <a:lnTo>
                  <a:pt x="1287" y="1193"/>
                </a:lnTo>
                <a:lnTo>
                  <a:pt x="1288" y="1193"/>
                </a:lnTo>
                <a:lnTo>
                  <a:pt x="1287" y="1193"/>
                </a:lnTo>
                <a:lnTo>
                  <a:pt x="1286" y="1195"/>
                </a:lnTo>
                <a:lnTo>
                  <a:pt x="1287" y="1195"/>
                </a:lnTo>
                <a:lnTo>
                  <a:pt x="1290" y="1195"/>
                </a:lnTo>
                <a:lnTo>
                  <a:pt x="1291" y="1195"/>
                </a:lnTo>
                <a:lnTo>
                  <a:pt x="1292" y="1195"/>
                </a:lnTo>
                <a:lnTo>
                  <a:pt x="1291" y="1195"/>
                </a:lnTo>
                <a:lnTo>
                  <a:pt x="1290" y="1195"/>
                </a:lnTo>
                <a:close/>
                <a:moveTo>
                  <a:pt x="1273" y="1202"/>
                </a:moveTo>
                <a:lnTo>
                  <a:pt x="1273" y="1201"/>
                </a:lnTo>
                <a:lnTo>
                  <a:pt x="1274" y="1201"/>
                </a:lnTo>
                <a:lnTo>
                  <a:pt x="1273" y="1201"/>
                </a:lnTo>
                <a:lnTo>
                  <a:pt x="1273" y="1202"/>
                </a:lnTo>
                <a:close/>
                <a:moveTo>
                  <a:pt x="1265" y="1020"/>
                </a:moveTo>
                <a:lnTo>
                  <a:pt x="1264" y="1022"/>
                </a:lnTo>
                <a:lnTo>
                  <a:pt x="1264" y="1024"/>
                </a:lnTo>
                <a:lnTo>
                  <a:pt x="1264" y="1022"/>
                </a:lnTo>
                <a:lnTo>
                  <a:pt x="1265" y="1020"/>
                </a:lnTo>
                <a:lnTo>
                  <a:pt x="1256" y="1019"/>
                </a:lnTo>
                <a:lnTo>
                  <a:pt x="1247" y="1019"/>
                </a:lnTo>
                <a:lnTo>
                  <a:pt x="1244" y="1020"/>
                </a:lnTo>
                <a:lnTo>
                  <a:pt x="1240" y="1022"/>
                </a:lnTo>
                <a:lnTo>
                  <a:pt x="1237" y="1025"/>
                </a:lnTo>
                <a:lnTo>
                  <a:pt x="1233" y="1028"/>
                </a:lnTo>
                <a:lnTo>
                  <a:pt x="1228" y="1032"/>
                </a:lnTo>
                <a:lnTo>
                  <a:pt x="1222" y="1034"/>
                </a:lnTo>
                <a:lnTo>
                  <a:pt x="1218" y="1034"/>
                </a:lnTo>
                <a:lnTo>
                  <a:pt x="1217" y="1038"/>
                </a:lnTo>
                <a:lnTo>
                  <a:pt x="1224" y="1038"/>
                </a:lnTo>
                <a:lnTo>
                  <a:pt x="1230" y="1038"/>
                </a:lnTo>
                <a:lnTo>
                  <a:pt x="1224" y="1038"/>
                </a:lnTo>
                <a:lnTo>
                  <a:pt x="1217" y="1038"/>
                </a:lnTo>
                <a:lnTo>
                  <a:pt x="1215" y="1038"/>
                </a:lnTo>
                <a:lnTo>
                  <a:pt x="1212" y="1038"/>
                </a:lnTo>
                <a:lnTo>
                  <a:pt x="1209" y="1036"/>
                </a:lnTo>
                <a:lnTo>
                  <a:pt x="1207" y="1035"/>
                </a:lnTo>
                <a:lnTo>
                  <a:pt x="1209" y="1031"/>
                </a:lnTo>
                <a:lnTo>
                  <a:pt x="1211" y="1026"/>
                </a:lnTo>
                <a:lnTo>
                  <a:pt x="1216" y="1024"/>
                </a:lnTo>
                <a:lnTo>
                  <a:pt x="1222" y="1020"/>
                </a:lnTo>
                <a:lnTo>
                  <a:pt x="1228" y="1020"/>
                </a:lnTo>
                <a:lnTo>
                  <a:pt x="1235" y="1019"/>
                </a:lnTo>
                <a:lnTo>
                  <a:pt x="1236" y="1016"/>
                </a:lnTo>
                <a:lnTo>
                  <a:pt x="1238" y="1015"/>
                </a:lnTo>
                <a:lnTo>
                  <a:pt x="1236" y="1016"/>
                </a:lnTo>
                <a:lnTo>
                  <a:pt x="1235" y="1019"/>
                </a:lnTo>
                <a:lnTo>
                  <a:pt x="1237" y="1019"/>
                </a:lnTo>
                <a:lnTo>
                  <a:pt x="1239" y="1019"/>
                </a:lnTo>
                <a:lnTo>
                  <a:pt x="1240" y="1018"/>
                </a:lnTo>
                <a:lnTo>
                  <a:pt x="1243" y="1015"/>
                </a:lnTo>
                <a:lnTo>
                  <a:pt x="1249" y="1015"/>
                </a:lnTo>
                <a:lnTo>
                  <a:pt x="1256" y="1015"/>
                </a:lnTo>
                <a:lnTo>
                  <a:pt x="1260" y="1016"/>
                </a:lnTo>
                <a:lnTo>
                  <a:pt x="1265" y="1019"/>
                </a:lnTo>
                <a:lnTo>
                  <a:pt x="1265" y="1020"/>
                </a:lnTo>
                <a:lnTo>
                  <a:pt x="1265" y="1020"/>
                </a:lnTo>
                <a:close/>
                <a:moveTo>
                  <a:pt x="1264" y="1440"/>
                </a:moveTo>
                <a:lnTo>
                  <a:pt x="1263" y="1440"/>
                </a:lnTo>
                <a:lnTo>
                  <a:pt x="1263" y="1439"/>
                </a:lnTo>
                <a:lnTo>
                  <a:pt x="1263" y="1440"/>
                </a:lnTo>
                <a:lnTo>
                  <a:pt x="1264" y="1440"/>
                </a:lnTo>
                <a:close/>
                <a:moveTo>
                  <a:pt x="1261" y="1599"/>
                </a:moveTo>
                <a:lnTo>
                  <a:pt x="1261" y="1599"/>
                </a:lnTo>
                <a:lnTo>
                  <a:pt x="1261" y="1599"/>
                </a:lnTo>
                <a:lnTo>
                  <a:pt x="1261" y="1599"/>
                </a:lnTo>
                <a:lnTo>
                  <a:pt x="1261" y="1599"/>
                </a:lnTo>
                <a:close/>
                <a:moveTo>
                  <a:pt x="1240" y="1140"/>
                </a:moveTo>
                <a:lnTo>
                  <a:pt x="1236" y="1144"/>
                </a:lnTo>
                <a:lnTo>
                  <a:pt x="1229" y="1146"/>
                </a:lnTo>
                <a:lnTo>
                  <a:pt x="1236" y="1144"/>
                </a:lnTo>
                <a:lnTo>
                  <a:pt x="1240" y="1140"/>
                </a:lnTo>
                <a:lnTo>
                  <a:pt x="1244" y="1139"/>
                </a:lnTo>
                <a:lnTo>
                  <a:pt x="1247" y="1139"/>
                </a:lnTo>
                <a:lnTo>
                  <a:pt x="1244" y="1139"/>
                </a:lnTo>
                <a:lnTo>
                  <a:pt x="1240" y="1140"/>
                </a:lnTo>
                <a:close/>
                <a:moveTo>
                  <a:pt x="1216" y="1057"/>
                </a:moveTo>
                <a:lnTo>
                  <a:pt x="1216" y="1057"/>
                </a:lnTo>
                <a:lnTo>
                  <a:pt x="1216" y="1056"/>
                </a:lnTo>
                <a:lnTo>
                  <a:pt x="1216" y="1057"/>
                </a:lnTo>
                <a:lnTo>
                  <a:pt x="1216" y="1057"/>
                </a:lnTo>
                <a:close/>
                <a:moveTo>
                  <a:pt x="1205" y="995"/>
                </a:moveTo>
                <a:lnTo>
                  <a:pt x="1207" y="995"/>
                </a:lnTo>
                <a:lnTo>
                  <a:pt x="1208" y="995"/>
                </a:lnTo>
                <a:lnTo>
                  <a:pt x="1211" y="993"/>
                </a:lnTo>
                <a:lnTo>
                  <a:pt x="1215" y="991"/>
                </a:lnTo>
                <a:lnTo>
                  <a:pt x="1211" y="993"/>
                </a:lnTo>
                <a:lnTo>
                  <a:pt x="1208" y="995"/>
                </a:lnTo>
                <a:lnTo>
                  <a:pt x="1207" y="995"/>
                </a:lnTo>
                <a:lnTo>
                  <a:pt x="1205" y="995"/>
                </a:lnTo>
                <a:close/>
                <a:moveTo>
                  <a:pt x="1205" y="1036"/>
                </a:move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close/>
                <a:moveTo>
                  <a:pt x="1236" y="985"/>
                </a:moveTo>
                <a:lnTo>
                  <a:pt x="1236" y="983"/>
                </a:lnTo>
                <a:lnTo>
                  <a:pt x="1237" y="980"/>
                </a:lnTo>
                <a:lnTo>
                  <a:pt x="1236" y="983"/>
                </a:lnTo>
                <a:lnTo>
                  <a:pt x="1236" y="985"/>
                </a:lnTo>
                <a:lnTo>
                  <a:pt x="1233" y="986"/>
                </a:lnTo>
                <a:lnTo>
                  <a:pt x="1231" y="986"/>
                </a:lnTo>
                <a:lnTo>
                  <a:pt x="1233" y="986"/>
                </a:lnTo>
                <a:lnTo>
                  <a:pt x="1236" y="985"/>
                </a:lnTo>
                <a:close/>
                <a:moveTo>
                  <a:pt x="1290" y="1071"/>
                </a:moveTo>
                <a:lnTo>
                  <a:pt x="1288" y="1073"/>
                </a:lnTo>
                <a:lnTo>
                  <a:pt x="1286" y="1073"/>
                </a:lnTo>
                <a:lnTo>
                  <a:pt x="1284" y="1075"/>
                </a:lnTo>
                <a:lnTo>
                  <a:pt x="1281" y="1076"/>
                </a:lnTo>
                <a:lnTo>
                  <a:pt x="1284" y="1075"/>
                </a:lnTo>
                <a:lnTo>
                  <a:pt x="1286" y="1073"/>
                </a:lnTo>
                <a:lnTo>
                  <a:pt x="1288" y="1073"/>
                </a:lnTo>
                <a:lnTo>
                  <a:pt x="1290" y="1071"/>
                </a:lnTo>
                <a:close/>
                <a:moveTo>
                  <a:pt x="1297" y="967"/>
                </a:moveTo>
                <a:lnTo>
                  <a:pt x="1285" y="970"/>
                </a:lnTo>
                <a:lnTo>
                  <a:pt x="1273" y="973"/>
                </a:lnTo>
                <a:lnTo>
                  <a:pt x="1261" y="977"/>
                </a:lnTo>
                <a:lnTo>
                  <a:pt x="1250" y="980"/>
                </a:lnTo>
                <a:lnTo>
                  <a:pt x="1261" y="977"/>
                </a:lnTo>
                <a:lnTo>
                  <a:pt x="1273" y="973"/>
                </a:lnTo>
                <a:lnTo>
                  <a:pt x="1285" y="970"/>
                </a:lnTo>
                <a:lnTo>
                  <a:pt x="1297" y="967"/>
                </a:lnTo>
                <a:close/>
                <a:moveTo>
                  <a:pt x="1260" y="918"/>
                </a:moveTo>
                <a:lnTo>
                  <a:pt x="1259" y="914"/>
                </a:lnTo>
                <a:lnTo>
                  <a:pt x="1256" y="910"/>
                </a:lnTo>
                <a:lnTo>
                  <a:pt x="1259" y="914"/>
                </a:lnTo>
                <a:lnTo>
                  <a:pt x="1260" y="918"/>
                </a:lnTo>
                <a:close/>
                <a:moveTo>
                  <a:pt x="1263" y="930"/>
                </a:moveTo>
                <a:lnTo>
                  <a:pt x="1263" y="930"/>
                </a:lnTo>
                <a:lnTo>
                  <a:pt x="1260" y="930"/>
                </a:lnTo>
                <a:lnTo>
                  <a:pt x="1259" y="930"/>
                </a:lnTo>
                <a:lnTo>
                  <a:pt x="1260" y="930"/>
                </a:lnTo>
                <a:lnTo>
                  <a:pt x="1263" y="930"/>
                </a:lnTo>
                <a:close/>
                <a:moveTo>
                  <a:pt x="1267" y="942"/>
                </a:moveTo>
                <a:lnTo>
                  <a:pt x="1265" y="938"/>
                </a:lnTo>
                <a:lnTo>
                  <a:pt x="1264" y="934"/>
                </a:lnTo>
                <a:lnTo>
                  <a:pt x="1265" y="938"/>
                </a:lnTo>
                <a:lnTo>
                  <a:pt x="1267" y="942"/>
                </a:lnTo>
                <a:close/>
                <a:moveTo>
                  <a:pt x="1268" y="928"/>
                </a:moveTo>
                <a:lnTo>
                  <a:pt x="1283" y="928"/>
                </a:lnTo>
                <a:lnTo>
                  <a:pt x="1298" y="927"/>
                </a:lnTo>
                <a:lnTo>
                  <a:pt x="1283" y="928"/>
                </a:lnTo>
                <a:lnTo>
                  <a:pt x="1268" y="928"/>
                </a:lnTo>
                <a:close/>
                <a:moveTo>
                  <a:pt x="1318" y="1057"/>
                </a:moveTo>
                <a:lnTo>
                  <a:pt x="1315" y="1061"/>
                </a:lnTo>
                <a:lnTo>
                  <a:pt x="1314" y="1064"/>
                </a:lnTo>
                <a:lnTo>
                  <a:pt x="1315" y="1061"/>
                </a:lnTo>
                <a:lnTo>
                  <a:pt x="1318" y="1057"/>
                </a:lnTo>
                <a:close/>
                <a:moveTo>
                  <a:pt x="1190" y="1185"/>
                </a:moveTo>
                <a:lnTo>
                  <a:pt x="1188" y="1185"/>
                </a:lnTo>
                <a:lnTo>
                  <a:pt x="1185" y="1183"/>
                </a:lnTo>
                <a:lnTo>
                  <a:pt x="1188" y="1185"/>
                </a:lnTo>
                <a:lnTo>
                  <a:pt x="1190" y="1185"/>
                </a:lnTo>
                <a:lnTo>
                  <a:pt x="1190" y="1185"/>
                </a:lnTo>
                <a:lnTo>
                  <a:pt x="1190" y="1185"/>
                </a:lnTo>
                <a:close/>
                <a:moveTo>
                  <a:pt x="1146" y="1204"/>
                </a:moveTo>
                <a:lnTo>
                  <a:pt x="1129" y="1214"/>
                </a:lnTo>
                <a:lnTo>
                  <a:pt x="1113" y="1223"/>
                </a:lnTo>
                <a:lnTo>
                  <a:pt x="1097" y="1234"/>
                </a:lnTo>
                <a:lnTo>
                  <a:pt x="1081" y="1244"/>
                </a:lnTo>
                <a:lnTo>
                  <a:pt x="1097" y="1234"/>
                </a:lnTo>
                <a:lnTo>
                  <a:pt x="1113" y="1223"/>
                </a:lnTo>
                <a:lnTo>
                  <a:pt x="1129" y="1214"/>
                </a:lnTo>
                <a:lnTo>
                  <a:pt x="1146" y="1204"/>
                </a:lnTo>
                <a:lnTo>
                  <a:pt x="1146" y="1204"/>
                </a:lnTo>
                <a:lnTo>
                  <a:pt x="1155" y="1200"/>
                </a:lnTo>
                <a:lnTo>
                  <a:pt x="1164" y="1195"/>
                </a:lnTo>
                <a:lnTo>
                  <a:pt x="1174" y="1189"/>
                </a:lnTo>
                <a:lnTo>
                  <a:pt x="1184" y="1185"/>
                </a:lnTo>
                <a:lnTo>
                  <a:pt x="1174" y="1189"/>
                </a:lnTo>
                <a:lnTo>
                  <a:pt x="1164" y="1195"/>
                </a:lnTo>
                <a:lnTo>
                  <a:pt x="1155" y="1200"/>
                </a:lnTo>
                <a:lnTo>
                  <a:pt x="1146" y="1204"/>
                </a:lnTo>
                <a:close/>
                <a:moveTo>
                  <a:pt x="1162" y="1203"/>
                </a:moveTo>
                <a:lnTo>
                  <a:pt x="1160" y="1204"/>
                </a:lnTo>
                <a:lnTo>
                  <a:pt x="1157" y="1207"/>
                </a:lnTo>
                <a:lnTo>
                  <a:pt x="1156" y="1207"/>
                </a:lnTo>
                <a:lnTo>
                  <a:pt x="1156" y="1207"/>
                </a:lnTo>
                <a:lnTo>
                  <a:pt x="1156" y="1207"/>
                </a:lnTo>
                <a:lnTo>
                  <a:pt x="1157" y="1207"/>
                </a:lnTo>
                <a:lnTo>
                  <a:pt x="1160" y="1204"/>
                </a:lnTo>
                <a:lnTo>
                  <a:pt x="1162" y="1203"/>
                </a:lnTo>
                <a:lnTo>
                  <a:pt x="1164" y="1201"/>
                </a:lnTo>
                <a:lnTo>
                  <a:pt x="1167" y="1200"/>
                </a:lnTo>
                <a:lnTo>
                  <a:pt x="1164" y="1201"/>
                </a:lnTo>
                <a:lnTo>
                  <a:pt x="1162" y="1203"/>
                </a:lnTo>
                <a:close/>
                <a:moveTo>
                  <a:pt x="1161" y="1497"/>
                </a:moveTo>
                <a:lnTo>
                  <a:pt x="1163" y="1493"/>
                </a:lnTo>
                <a:lnTo>
                  <a:pt x="1166" y="1489"/>
                </a:lnTo>
                <a:lnTo>
                  <a:pt x="1163" y="1493"/>
                </a:lnTo>
                <a:lnTo>
                  <a:pt x="1161" y="1497"/>
                </a:lnTo>
                <a:close/>
                <a:moveTo>
                  <a:pt x="1160" y="1497"/>
                </a:moveTo>
                <a:lnTo>
                  <a:pt x="1160" y="1497"/>
                </a:lnTo>
                <a:lnTo>
                  <a:pt x="1160" y="1496"/>
                </a:lnTo>
                <a:lnTo>
                  <a:pt x="1160" y="1497"/>
                </a:lnTo>
                <a:lnTo>
                  <a:pt x="1160" y="1497"/>
                </a:lnTo>
                <a:lnTo>
                  <a:pt x="1160" y="1497"/>
                </a:lnTo>
                <a:close/>
                <a:moveTo>
                  <a:pt x="1080" y="984"/>
                </a:moveTo>
                <a:lnTo>
                  <a:pt x="1080" y="985"/>
                </a:lnTo>
                <a:lnTo>
                  <a:pt x="1080" y="984"/>
                </a:lnTo>
                <a:close/>
                <a:moveTo>
                  <a:pt x="1074" y="990"/>
                </a:moveTo>
                <a:lnTo>
                  <a:pt x="1074" y="990"/>
                </a:lnTo>
                <a:lnTo>
                  <a:pt x="1074" y="990"/>
                </a:lnTo>
                <a:lnTo>
                  <a:pt x="1074" y="990"/>
                </a:lnTo>
                <a:lnTo>
                  <a:pt x="1076" y="987"/>
                </a:lnTo>
                <a:lnTo>
                  <a:pt x="1077" y="985"/>
                </a:lnTo>
                <a:lnTo>
                  <a:pt x="1076" y="987"/>
                </a:lnTo>
                <a:lnTo>
                  <a:pt x="1074" y="990"/>
                </a:lnTo>
                <a:close/>
                <a:moveTo>
                  <a:pt x="1069" y="995"/>
                </a:moveTo>
                <a:lnTo>
                  <a:pt x="1069" y="995"/>
                </a:lnTo>
                <a:lnTo>
                  <a:pt x="1069" y="995"/>
                </a:lnTo>
                <a:lnTo>
                  <a:pt x="1069" y="995"/>
                </a:lnTo>
                <a:lnTo>
                  <a:pt x="1070" y="992"/>
                </a:lnTo>
                <a:lnTo>
                  <a:pt x="1072" y="990"/>
                </a:lnTo>
                <a:lnTo>
                  <a:pt x="1070" y="992"/>
                </a:lnTo>
                <a:lnTo>
                  <a:pt x="1069" y="995"/>
                </a:lnTo>
                <a:close/>
                <a:moveTo>
                  <a:pt x="1061" y="1001"/>
                </a:moveTo>
                <a:lnTo>
                  <a:pt x="1061" y="1001"/>
                </a:lnTo>
                <a:lnTo>
                  <a:pt x="1061" y="1001"/>
                </a:lnTo>
                <a:lnTo>
                  <a:pt x="1061" y="1001"/>
                </a:lnTo>
                <a:close/>
                <a:moveTo>
                  <a:pt x="1057" y="1006"/>
                </a:moveTo>
                <a:lnTo>
                  <a:pt x="1057" y="1006"/>
                </a:lnTo>
                <a:lnTo>
                  <a:pt x="1057" y="1007"/>
                </a:lnTo>
                <a:lnTo>
                  <a:pt x="1057" y="1006"/>
                </a:lnTo>
                <a:lnTo>
                  <a:pt x="1057" y="1005"/>
                </a:lnTo>
                <a:lnTo>
                  <a:pt x="1057" y="1002"/>
                </a:lnTo>
                <a:lnTo>
                  <a:pt x="1058" y="1002"/>
                </a:lnTo>
                <a:lnTo>
                  <a:pt x="1060" y="1001"/>
                </a:lnTo>
                <a:lnTo>
                  <a:pt x="1058" y="1002"/>
                </a:lnTo>
                <a:lnTo>
                  <a:pt x="1057" y="1002"/>
                </a:lnTo>
                <a:lnTo>
                  <a:pt x="1057" y="1005"/>
                </a:lnTo>
                <a:lnTo>
                  <a:pt x="1057" y="1006"/>
                </a:lnTo>
                <a:close/>
                <a:moveTo>
                  <a:pt x="1087" y="978"/>
                </a:moveTo>
                <a:lnTo>
                  <a:pt x="1088" y="976"/>
                </a:lnTo>
                <a:lnTo>
                  <a:pt x="1090" y="974"/>
                </a:lnTo>
                <a:lnTo>
                  <a:pt x="1088" y="976"/>
                </a:lnTo>
                <a:lnTo>
                  <a:pt x="1087" y="978"/>
                </a:lnTo>
                <a:lnTo>
                  <a:pt x="1086" y="979"/>
                </a:lnTo>
                <a:lnTo>
                  <a:pt x="1085" y="980"/>
                </a:lnTo>
                <a:lnTo>
                  <a:pt x="1086" y="979"/>
                </a:lnTo>
                <a:lnTo>
                  <a:pt x="1087" y="978"/>
                </a:lnTo>
                <a:close/>
                <a:moveTo>
                  <a:pt x="1109" y="1059"/>
                </a:moveTo>
                <a:lnTo>
                  <a:pt x="1107" y="1062"/>
                </a:lnTo>
                <a:lnTo>
                  <a:pt x="1105" y="1064"/>
                </a:lnTo>
                <a:lnTo>
                  <a:pt x="1107" y="1062"/>
                </a:lnTo>
                <a:lnTo>
                  <a:pt x="1109" y="1059"/>
                </a:lnTo>
                <a:close/>
                <a:moveTo>
                  <a:pt x="1109" y="962"/>
                </a:moveTo>
                <a:lnTo>
                  <a:pt x="1107" y="960"/>
                </a:lnTo>
                <a:lnTo>
                  <a:pt x="1106" y="959"/>
                </a:lnTo>
                <a:lnTo>
                  <a:pt x="1107" y="960"/>
                </a:lnTo>
                <a:lnTo>
                  <a:pt x="1109" y="962"/>
                </a:lnTo>
                <a:close/>
                <a:moveTo>
                  <a:pt x="1119" y="1049"/>
                </a:moveTo>
                <a:lnTo>
                  <a:pt x="1116" y="1053"/>
                </a:lnTo>
                <a:lnTo>
                  <a:pt x="1113" y="1056"/>
                </a:lnTo>
                <a:lnTo>
                  <a:pt x="1116" y="1053"/>
                </a:lnTo>
                <a:lnTo>
                  <a:pt x="1119" y="1049"/>
                </a:lnTo>
                <a:close/>
                <a:moveTo>
                  <a:pt x="1134" y="944"/>
                </a:moveTo>
                <a:lnTo>
                  <a:pt x="1133" y="944"/>
                </a:lnTo>
                <a:lnTo>
                  <a:pt x="1133" y="945"/>
                </a:lnTo>
                <a:lnTo>
                  <a:pt x="1133" y="944"/>
                </a:lnTo>
                <a:lnTo>
                  <a:pt x="1134" y="944"/>
                </a:lnTo>
                <a:close/>
                <a:moveTo>
                  <a:pt x="1012" y="1050"/>
                </a:moveTo>
                <a:lnTo>
                  <a:pt x="1012" y="1049"/>
                </a:lnTo>
                <a:lnTo>
                  <a:pt x="1012" y="1047"/>
                </a:lnTo>
                <a:lnTo>
                  <a:pt x="1012" y="1049"/>
                </a:lnTo>
                <a:lnTo>
                  <a:pt x="1012" y="1050"/>
                </a:lnTo>
                <a:lnTo>
                  <a:pt x="1025" y="1035"/>
                </a:lnTo>
                <a:lnTo>
                  <a:pt x="1039" y="1021"/>
                </a:lnTo>
                <a:lnTo>
                  <a:pt x="1025" y="1035"/>
                </a:lnTo>
                <a:lnTo>
                  <a:pt x="1012" y="1050"/>
                </a:lnTo>
                <a:close/>
                <a:moveTo>
                  <a:pt x="1035" y="1053"/>
                </a:moveTo>
                <a:lnTo>
                  <a:pt x="1030" y="1059"/>
                </a:lnTo>
                <a:lnTo>
                  <a:pt x="1026" y="1064"/>
                </a:lnTo>
                <a:lnTo>
                  <a:pt x="1024" y="1070"/>
                </a:lnTo>
                <a:lnTo>
                  <a:pt x="1021" y="1076"/>
                </a:lnTo>
                <a:lnTo>
                  <a:pt x="1024" y="1070"/>
                </a:lnTo>
                <a:lnTo>
                  <a:pt x="1026" y="1064"/>
                </a:lnTo>
                <a:lnTo>
                  <a:pt x="1030" y="1059"/>
                </a:lnTo>
                <a:lnTo>
                  <a:pt x="1035" y="1053"/>
                </a:lnTo>
                <a:close/>
                <a:moveTo>
                  <a:pt x="985" y="1092"/>
                </a:moveTo>
                <a:lnTo>
                  <a:pt x="985" y="1092"/>
                </a:lnTo>
                <a:lnTo>
                  <a:pt x="984" y="1092"/>
                </a:lnTo>
                <a:lnTo>
                  <a:pt x="985" y="1092"/>
                </a:lnTo>
                <a:lnTo>
                  <a:pt x="985" y="1089"/>
                </a:lnTo>
                <a:lnTo>
                  <a:pt x="987" y="1088"/>
                </a:lnTo>
                <a:lnTo>
                  <a:pt x="985" y="1089"/>
                </a:lnTo>
                <a:lnTo>
                  <a:pt x="985" y="1092"/>
                </a:lnTo>
                <a:close/>
                <a:moveTo>
                  <a:pt x="973" y="1130"/>
                </a:moveTo>
                <a:lnTo>
                  <a:pt x="971" y="1132"/>
                </a:lnTo>
                <a:lnTo>
                  <a:pt x="969" y="1133"/>
                </a:lnTo>
                <a:lnTo>
                  <a:pt x="971" y="1132"/>
                </a:lnTo>
                <a:lnTo>
                  <a:pt x="973" y="1130"/>
                </a:lnTo>
                <a:lnTo>
                  <a:pt x="976" y="1129"/>
                </a:lnTo>
                <a:lnTo>
                  <a:pt x="980" y="1129"/>
                </a:lnTo>
                <a:lnTo>
                  <a:pt x="976" y="1129"/>
                </a:lnTo>
                <a:lnTo>
                  <a:pt x="973" y="1130"/>
                </a:lnTo>
                <a:close/>
                <a:moveTo>
                  <a:pt x="969" y="1123"/>
                </a:moveTo>
                <a:lnTo>
                  <a:pt x="969" y="1122"/>
                </a:lnTo>
                <a:lnTo>
                  <a:pt x="969" y="1122"/>
                </a:lnTo>
                <a:lnTo>
                  <a:pt x="970" y="1122"/>
                </a:lnTo>
                <a:lnTo>
                  <a:pt x="970" y="1120"/>
                </a:lnTo>
                <a:lnTo>
                  <a:pt x="970" y="1122"/>
                </a:lnTo>
                <a:lnTo>
                  <a:pt x="969" y="1122"/>
                </a:lnTo>
                <a:lnTo>
                  <a:pt x="969" y="1122"/>
                </a:lnTo>
                <a:lnTo>
                  <a:pt x="969" y="1123"/>
                </a:lnTo>
                <a:close/>
                <a:moveTo>
                  <a:pt x="971" y="1117"/>
                </a:moveTo>
                <a:lnTo>
                  <a:pt x="975" y="1109"/>
                </a:lnTo>
                <a:lnTo>
                  <a:pt x="978" y="1101"/>
                </a:lnTo>
                <a:lnTo>
                  <a:pt x="975" y="1109"/>
                </a:lnTo>
                <a:lnTo>
                  <a:pt x="971" y="1117"/>
                </a:lnTo>
                <a:lnTo>
                  <a:pt x="971" y="1119"/>
                </a:lnTo>
                <a:lnTo>
                  <a:pt x="970" y="1120"/>
                </a:lnTo>
                <a:lnTo>
                  <a:pt x="971" y="1119"/>
                </a:lnTo>
                <a:lnTo>
                  <a:pt x="971" y="1117"/>
                </a:lnTo>
                <a:close/>
                <a:moveTo>
                  <a:pt x="945" y="1495"/>
                </a:moveTo>
                <a:lnTo>
                  <a:pt x="945" y="1495"/>
                </a:lnTo>
                <a:lnTo>
                  <a:pt x="946" y="1482"/>
                </a:lnTo>
                <a:lnTo>
                  <a:pt x="945" y="1469"/>
                </a:lnTo>
                <a:lnTo>
                  <a:pt x="946" y="1482"/>
                </a:lnTo>
                <a:lnTo>
                  <a:pt x="945" y="1495"/>
                </a:lnTo>
                <a:close/>
                <a:moveTo>
                  <a:pt x="909" y="1141"/>
                </a:moveTo>
                <a:lnTo>
                  <a:pt x="916" y="1139"/>
                </a:lnTo>
                <a:lnTo>
                  <a:pt x="924" y="1139"/>
                </a:lnTo>
                <a:lnTo>
                  <a:pt x="916" y="1139"/>
                </a:lnTo>
                <a:lnTo>
                  <a:pt x="909" y="1141"/>
                </a:lnTo>
                <a:close/>
                <a:moveTo>
                  <a:pt x="881" y="1145"/>
                </a:moveTo>
                <a:lnTo>
                  <a:pt x="881" y="1145"/>
                </a:lnTo>
                <a:lnTo>
                  <a:pt x="881" y="1145"/>
                </a:lnTo>
                <a:lnTo>
                  <a:pt x="881" y="1145"/>
                </a:lnTo>
                <a:lnTo>
                  <a:pt x="887" y="1144"/>
                </a:lnTo>
                <a:lnTo>
                  <a:pt x="893" y="1145"/>
                </a:lnTo>
                <a:lnTo>
                  <a:pt x="887" y="1144"/>
                </a:lnTo>
                <a:lnTo>
                  <a:pt x="881" y="1145"/>
                </a:lnTo>
                <a:close/>
                <a:moveTo>
                  <a:pt x="879" y="1145"/>
                </a:moveTo>
                <a:lnTo>
                  <a:pt x="878" y="1145"/>
                </a:lnTo>
                <a:lnTo>
                  <a:pt x="877" y="1145"/>
                </a:lnTo>
                <a:lnTo>
                  <a:pt x="878" y="1145"/>
                </a:lnTo>
                <a:lnTo>
                  <a:pt x="879" y="1145"/>
                </a:lnTo>
                <a:lnTo>
                  <a:pt x="879" y="1145"/>
                </a:lnTo>
                <a:lnTo>
                  <a:pt x="880" y="1145"/>
                </a:lnTo>
                <a:lnTo>
                  <a:pt x="879" y="1145"/>
                </a:lnTo>
                <a:lnTo>
                  <a:pt x="879" y="1145"/>
                </a:lnTo>
                <a:close/>
                <a:moveTo>
                  <a:pt x="823" y="1353"/>
                </a:moveTo>
                <a:lnTo>
                  <a:pt x="825" y="1348"/>
                </a:lnTo>
                <a:lnTo>
                  <a:pt x="828" y="1342"/>
                </a:lnTo>
                <a:lnTo>
                  <a:pt x="825" y="1348"/>
                </a:lnTo>
                <a:lnTo>
                  <a:pt x="823" y="1353"/>
                </a:lnTo>
                <a:close/>
                <a:moveTo>
                  <a:pt x="818" y="1410"/>
                </a:moveTo>
                <a:lnTo>
                  <a:pt x="818" y="1409"/>
                </a:lnTo>
                <a:lnTo>
                  <a:pt x="819" y="1407"/>
                </a:lnTo>
                <a:lnTo>
                  <a:pt x="818" y="1409"/>
                </a:lnTo>
                <a:lnTo>
                  <a:pt x="818" y="1410"/>
                </a:lnTo>
                <a:close/>
                <a:moveTo>
                  <a:pt x="801" y="780"/>
                </a:moveTo>
                <a:lnTo>
                  <a:pt x="798" y="780"/>
                </a:lnTo>
                <a:lnTo>
                  <a:pt x="797" y="780"/>
                </a:lnTo>
                <a:lnTo>
                  <a:pt x="798" y="780"/>
                </a:lnTo>
                <a:lnTo>
                  <a:pt x="801" y="780"/>
                </a:lnTo>
                <a:lnTo>
                  <a:pt x="804" y="782"/>
                </a:lnTo>
                <a:lnTo>
                  <a:pt x="807" y="784"/>
                </a:lnTo>
                <a:lnTo>
                  <a:pt x="810" y="784"/>
                </a:lnTo>
                <a:lnTo>
                  <a:pt x="815" y="784"/>
                </a:lnTo>
                <a:lnTo>
                  <a:pt x="810" y="784"/>
                </a:lnTo>
                <a:lnTo>
                  <a:pt x="807" y="784"/>
                </a:lnTo>
                <a:lnTo>
                  <a:pt x="804" y="782"/>
                </a:lnTo>
                <a:lnTo>
                  <a:pt x="801" y="780"/>
                </a:lnTo>
                <a:close/>
                <a:moveTo>
                  <a:pt x="805" y="1416"/>
                </a:moveTo>
                <a:lnTo>
                  <a:pt x="802" y="1414"/>
                </a:lnTo>
                <a:lnTo>
                  <a:pt x="800" y="1414"/>
                </a:lnTo>
                <a:lnTo>
                  <a:pt x="802" y="1414"/>
                </a:lnTo>
                <a:lnTo>
                  <a:pt x="805" y="1416"/>
                </a:lnTo>
                <a:lnTo>
                  <a:pt x="807" y="1416"/>
                </a:lnTo>
                <a:lnTo>
                  <a:pt x="809" y="1414"/>
                </a:lnTo>
                <a:lnTo>
                  <a:pt x="807" y="1416"/>
                </a:lnTo>
                <a:lnTo>
                  <a:pt x="805" y="1416"/>
                </a:lnTo>
                <a:close/>
                <a:moveTo>
                  <a:pt x="797" y="1431"/>
                </a:move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close/>
                <a:moveTo>
                  <a:pt x="795" y="759"/>
                </a:moveTo>
                <a:lnTo>
                  <a:pt x="795" y="763"/>
                </a:lnTo>
                <a:lnTo>
                  <a:pt x="794" y="767"/>
                </a:lnTo>
                <a:lnTo>
                  <a:pt x="795" y="770"/>
                </a:lnTo>
                <a:lnTo>
                  <a:pt x="796" y="774"/>
                </a:lnTo>
                <a:lnTo>
                  <a:pt x="800" y="775"/>
                </a:lnTo>
                <a:lnTo>
                  <a:pt x="801" y="778"/>
                </a:lnTo>
                <a:lnTo>
                  <a:pt x="800" y="775"/>
                </a:lnTo>
                <a:lnTo>
                  <a:pt x="796" y="774"/>
                </a:lnTo>
                <a:lnTo>
                  <a:pt x="795" y="770"/>
                </a:lnTo>
                <a:lnTo>
                  <a:pt x="794" y="767"/>
                </a:lnTo>
                <a:lnTo>
                  <a:pt x="795" y="763"/>
                </a:lnTo>
                <a:lnTo>
                  <a:pt x="795" y="759"/>
                </a:lnTo>
                <a:close/>
                <a:moveTo>
                  <a:pt x="801" y="780"/>
                </a:moveTo>
                <a:lnTo>
                  <a:pt x="802" y="780"/>
                </a:lnTo>
                <a:lnTo>
                  <a:pt x="803" y="780"/>
                </a:lnTo>
                <a:lnTo>
                  <a:pt x="802" y="780"/>
                </a:lnTo>
                <a:lnTo>
                  <a:pt x="801" y="780"/>
                </a:lnTo>
                <a:close/>
                <a:moveTo>
                  <a:pt x="756" y="1465"/>
                </a:moveTo>
                <a:lnTo>
                  <a:pt x="756" y="1463"/>
                </a:lnTo>
                <a:lnTo>
                  <a:pt x="755" y="1463"/>
                </a:lnTo>
                <a:lnTo>
                  <a:pt x="756" y="1463"/>
                </a:lnTo>
                <a:lnTo>
                  <a:pt x="756" y="1465"/>
                </a:lnTo>
                <a:close/>
                <a:moveTo>
                  <a:pt x="734" y="1567"/>
                </a:moveTo>
                <a:lnTo>
                  <a:pt x="734" y="1567"/>
                </a:lnTo>
                <a:lnTo>
                  <a:pt x="734" y="1567"/>
                </a:lnTo>
                <a:lnTo>
                  <a:pt x="734" y="1567"/>
                </a:lnTo>
                <a:lnTo>
                  <a:pt x="734" y="1567"/>
                </a:lnTo>
                <a:lnTo>
                  <a:pt x="735" y="1567"/>
                </a:lnTo>
                <a:lnTo>
                  <a:pt x="735" y="1567"/>
                </a:lnTo>
                <a:lnTo>
                  <a:pt x="735" y="1567"/>
                </a:lnTo>
                <a:lnTo>
                  <a:pt x="734" y="1567"/>
                </a:lnTo>
                <a:close/>
                <a:moveTo>
                  <a:pt x="728" y="1567"/>
                </a:moveTo>
                <a:lnTo>
                  <a:pt x="728" y="1567"/>
                </a:lnTo>
                <a:lnTo>
                  <a:pt x="728" y="1567"/>
                </a:lnTo>
                <a:lnTo>
                  <a:pt x="728" y="1567"/>
                </a:lnTo>
                <a:lnTo>
                  <a:pt x="728" y="1567"/>
                </a:lnTo>
                <a:close/>
                <a:moveTo>
                  <a:pt x="717" y="1402"/>
                </a:moveTo>
                <a:lnTo>
                  <a:pt x="713" y="1423"/>
                </a:lnTo>
                <a:lnTo>
                  <a:pt x="711" y="1444"/>
                </a:lnTo>
                <a:lnTo>
                  <a:pt x="710" y="1465"/>
                </a:lnTo>
                <a:lnTo>
                  <a:pt x="710" y="1486"/>
                </a:lnTo>
                <a:lnTo>
                  <a:pt x="710" y="1486"/>
                </a:lnTo>
                <a:lnTo>
                  <a:pt x="708" y="1486"/>
                </a:lnTo>
                <a:lnTo>
                  <a:pt x="710" y="1486"/>
                </a:lnTo>
                <a:lnTo>
                  <a:pt x="710" y="1486"/>
                </a:lnTo>
                <a:lnTo>
                  <a:pt x="710" y="1465"/>
                </a:lnTo>
                <a:lnTo>
                  <a:pt x="711" y="1444"/>
                </a:lnTo>
                <a:lnTo>
                  <a:pt x="713" y="1423"/>
                </a:lnTo>
                <a:lnTo>
                  <a:pt x="717" y="1402"/>
                </a:lnTo>
                <a:lnTo>
                  <a:pt x="718" y="1399"/>
                </a:lnTo>
                <a:lnTo>
                  <a:pt x="718" y="1397"/>
                </a:lnTo>
                <a:lnTo>
                  <a:pt x="718" y="1399"/>
                </a:lnTo>
                <a:lnTo>
                  <a:pt x="717" y="1402"/>
                </a:lnTo>
                <a:close/>
                <a:moveTo>
                  <a:pt x="703" y="836"/>
                </a:moveTo>
                <a:lnTo>
                  <a:pt x="705" y="834"/>
                </a:lnTo>
                <a:lnTo>
                  <a:pt x="706" y="831"/>
                </a:lnTo>
                <a:lnTo>
                  <a:pt x="707" y="830"/>
                </a:lnTo>
                <a:lnTo>
                  <a:pt x="710" y="830"/>
                </a:lnTo>
                <a:lnTo>
                  <a:pt x="707" y="830"/>
                </a:lnTo>
                <a:lnTo>
                  <a:pt x="706" y="831"/>
                </a:lnTo>
                <a:lnTo>
                  <a:pt x="705" y="834"/>
                </a:lnTo>
                <a:lnTo>
                  <a:pt x="703" y="836"/>
                </a:lnTo>
                <a:close/>
                <a:moveTo>
                  <a:pt x="699" y="794"/>
                </a:moveTo>
                <a:lnTo>
                  <a:pt x="700" y="792"/>
                </a:lnTo>
                <a:lnTo>
                  <a:pt x="703" y="791"/>
                </a:lnTo>
                <a:lnTo>
                  <a:pt x="700" y="792"/>
                </a:lnTo>
                <a:lnTo>
                  <a:pt x="699" y="794"/>
                </a:lnTo>
                <a:close/>
                <a:moveTo>
                  <a:pt x="698" y="719"/>
                </a:moveTo>
                <a:lnTo>
                  <a:pt x="698" y="719"/>
                </a:lnTo>
                <a:lnTo>
                  <a:pt x="699" y="718"/>
                </a:lnTo>
                <a:lnTo>
                  <a:pt x="698" y="719"/>
                </a:lnTo>
                <a:lnTo>
                  <a:pt x="698" y="719"/>
                </a:lnTo>
                <a:close/>
                <a:moveTo>
                  <a:pt x="692" y="1582"/>
                </a:moveTo>
                <a:lnTo>
                  <a:pt x="691" y="1585"/>
                </a:lnTo>
                <a:lnTo>
                  <a:pt x="691" y="1587"/>
                </a:lnTo>
                <a:lnTo>
                  <a:pt x="691" y="1585"/>
                </a:lnTo>
                <a:lnTo>
                  <a:pt x="692" y="1582"/>
                </a:lnTo>
                <a:lnTo>
                  <a:pt x="694" y="1589"/>
                </a:lnTo>
                <a:lnTo>
                  <a:pt x="697" y="1595"/>
                </a:lnTo>
                <a:lnTo>
                  <a:pt x="694" y="1589"/>
                </a:lnTo>
                <a:lnTo>
                  <a:pt x="692" y="1582"/>
                </a:lnTo>
                <a:close/>
                <a:moveTo>
                  <a:pt x="687" y="951"/>
                </a:moveTo>
                <a:lnTo>
                  <a:pt x="687" y="958"/>
                </a:lnTo>
                <a:lnTo>
                  <a:pt x="686" y="966"/>
                </a:lnTo>
                <a:lnTo>
                  <a:pt x="687" y="958"/>
                </a:lnTo>
                <a:lnTo>
                  <a:pt x="687" y="951"/>
                </a:lnTo>
                <a:lnTo>
                  <a:pt x="687" y="948"/>
                </a:lnTo>
                <a:lnTo>
                  <a:pt x="688" y="945"/>
                </a:lnTo>
                <a:lnTo>
                  <a:pt x="688" y="945"/>
                </a:lnTo>
                <a:lnTo>
                  <a:pt x="690" y="944"/>
                </a:lnTo>
                <a:lnTo>
                  <a:pt x="688" y="945"/>
                </a:lnTo>
                <a:lnTo>
                  <a:pt x="688" y="945"/>
                </a:lnTo>
                <a:lnTo>
                  <a:pt x="687" y="948"/>
                </a:lnTo>
                <a:lnTo>
                  <a:pt x="687" y="951"/>
                </a:lnTo>
                <a:close/>
                <a:moveTo>
                  <a:pt x="678" y="1509"/>
                </a:moveTo>
                <a:lnTo>
                  <a:pt x="683" y="1493"/>
                </a:lnTo>
                <a:lnTo>
                  <a:pt x="687" y="1477"/>
                </a:lnTo>
                <a:lnTo>
                  <a:pt x="683" y="1493"/>
                </a:lnTo>
                <a:lnTo>
                  <a:pt x="678" y="1509"/>
                </a:lnTo>
                <a:close/>
                <a:moveTo>
                  <a:pt x="677" y="1005"/>
                </a:moveTo>
                <a:lnTo>
                  <a:pt x="677" y="1004"/>
                </a:lnTo>
                <a:lnTo>
                  <a:pt x="676" y="1002"/>
                </a:lnTo>
                <a:lnTo>
                  <a:pt x="677" y="1001"/>
                </a:lnTo>
                <a:lnTo>
                  <a:pt x="677" y="999"/>
                </a:lnTo>
                <a:lnTo>
                  <a:pt x="677" y="1001"/>
                </a:lnTo>
                <a:lnTo>
                  <a:pt x="676" y="1002"/>
                </a:lnTo>
                <a:lnTo>
                  <a:pt x="677" y="1004"/>
                </a:lnTo>
                <a:lnTo>
                  <a:pt x="677" y="1005"/>
                </a:lnTo>
                <a:close/>
                <a:moveTo>
                  <a:pt x="677" y="1543"/>
                </a:moveTo>
                <a:lnTo>
                  <a:pt x="676" y="1543"/>
                </a:lnTo>
                <a:lnTo>
                  <a:pt x="676" y="1543"/>
                </a:lnTo>
                <a:lnTo>
                  <a:pt x="676" y="1543"/>
                </a:lnTo>
                <a:lnTo>
                  <a:pt x="677" y="1543"/>
                </a:lnTo>
                <a:close/>
                <a:moveTo>
                  <a:pt x="676" y="1009"/>
                </a:moveTo>
                <a:lnTo>
                  <a:pt x="676" y="1007"/>
                </a:lnTo>
                <a:lnTo>
                  <a:pt x="676" y="1006"/>
                </a:lnTo>
                <a:lnTo>
                  <a:pt x="676" y="1007"/>
                </a:lnTo>
                <a:lnTo>
                  <a:pt x="676" y="1009"/>
                </a:lnTo>
                <a:close/>
                <a:moveTo>
                  <a:pt x="670" y="1067"/>
                </a:moveTo>
                <a:lnTo>
                  <a:pt x="671" y="1067"/>
                </a:lnTo>
                <a:lnTo>
                  <a:pt x="671" y="1066"/>
                </a:lnTo>
                <a:lnTo>
                  <a:pt x="671" y="1067"/>
                </a:lnTo>
                <a:lnTo>
                  <a:pt x="670" y="1067"/>
                </a:lnTo>
                <a:close/>
                <a:moveTo>
                  <a:pt x="681" y="980"/>
                </a:moveTo>
                <a:lnTo>
                  <a:pt x="681" y="977"/>
                </a:lnTo>
                <a:lnTo>
                  <a:pt x="681" y="973"/>
                </a:lnTo>
                <a:lnTo>
                  <a:pt x="681" y="977"/>
                </a:lnTo>
                <a:lnTo>
                  <a:pt x="681" y="980"/>
                </a:lnTo>
                <a:lnTo>
                  <a:pt x="681" y="980"/>
                </a:lnTo>
                <a:close/>
                <a:moveTo>
                  <a:pt x="693" y="924"/>
                </a:moveTo>
                <a:lnTo>
                  <a:pt x="694" y="924"/>
                </a:lnTo>
                <a:lnTo>
                  <a:pt x="694" y="924"/>
                </a:lnTo>
                <a:lnTo>
                  <a:pt x="694" y="924"/>
                </a:lnTo>
                <a:lnTo>
                  <a:pt x="693" y="924"/>
                </a:lnTo>
                <a:lnTo>
                  <a:pt x="693" y="929"/>
                </a:lnTo>
                <a:lnTo>
                  <a:pt x="692" y="932"/>
                </a:lnTo>
                <a:lnTo>
                  <a:pt x="693" y="929"/>
                </a:lnTo>
                <a:lnTo>
                  <a:pt x="693" y="924"/>
                </a:lnTo>
                <a:close/>
                <a:moveTo>
                  <a:pt x="715" y="784"/>
                </a:moveTo>
                <a:lnTo>
                  <a:pt x="715" y="783"/>
                </a:lnTo>
                <a:lnTo>
                  <a:pt x="715" y="781"/>
                </a:lnTo>
                <a:lnTo>
                  <a:pt x="714" y="780"/>
                </a:lnTo>
                <a:lnTo>
                  <a:pt x="713" y="780"/>
                </a:lnTo>
                <a:lnTo>
                  <a:pt x="714" y="780"/>
                </a:lnTo>
                <a:lnTo>
                  <a:pt x="715" y="781"/>
                </a:lnTo>
                <a:lnTo>
                  <a:pt x="715" y="781"/>
                </a:lnTo>
                <a:lnTo>
                  <a:pt x="715" y="783"/>
                </a:lnTo>
                <a:lnTo>
                  <a:pt x="715" y="784"/>
                </a:lnTo>
                <a:lnTo>
                  <a:pt x="712" y="784"/>
                </a:lnTo>
                <a:lnTo>
                  <a:pt x="708" y="785"/>
                </a:lnTo>
                <a:lnTo>
                  <a:pt x="706" y="787"/>
                </a:lnTo>
                <a:lnTo>
                  <a:pt x="704" y="789"/>
                </a:lnTo>
                <a:lnTo>
                  <a:pt x="706" y="787"/>
                </a:lnTo>
                <a:lnTo>
                  <a:pt x="708" y="785"/>
                </a:lnTo>
                <a:lnTo>
                  <a:pt x="712" y="784"/>
                </a:lnTo>
                <a:lnTo>
                  <a:pt x="715" y="784"/>
                </a:lnTo>
                <a:close/>
                <a:moveTo>
                  <a:pt x="666" y="1090"/>
                </a:moveTo>
                <a:lnTo>
                  <a:pt x="659" y="1089"/>
                </a:lnTo>
                <a:lnTo>
                  <a:pt x="652" y="1087"/>
                </a:lnTo>
                <a:lnTo>
                  <a:pt x="659" y="1089"/>
                </a:lnTo>
                <a:lnTo>
                  <a:pt x="666" y="1090"/>
                </a:lnTo>
                <a:lnTo>
                  <a:pt x="666" y="1087"/>
                </a:lnTo>
                <a:lnTo>
                  <a:pt x="667" y="1083"/>
                </a:lnTo>
                <a:lnTo>
                  <a:pt x="666" y="1087"/>
                </a:lnTo>
                <a:lnTo>
                  <a:pt x="666" y="1090"/>
                </a:lnTo>
                <a:close/>
                <a:moveTo>
                  <a:pt x="664" y="1420"/>
                </a:moveTo>
                <a:lnTo>
                  <a:pt x="664" y="1418"/>
                </a:lnTo>
                <a:lnTo>
                  <a:pt x="663" y="1416"/>
                </a:lnTo>
                <a:lnTo>
                  <a:pt x="664" y="1418"/>
                </a:lnTo>
                <a:lnTo>
                  <a:pt x="664" y="1420"/>
                </a:lnTo>
                <a:close/>
                <a:moveTo>
                  <a:pt x="662" y="1414"/>
                </a:moveTo>
                <a:lnTo>
                  <a:pt x="659" y="1407"/>
                </a:lnTo>
                <a:lnTo>
                  <a:pt x="657" y="1402"/>
                </a:lnTo>
                <a:lnTo>
                  <a:pt x="659" y="1407"/>
                </a:lnTo>
                <a:lnTo>
                  <a:pt x="662" y="1414"/>
                </a:lnTo>
                <a:close/>
                <a:moveTo>
                  <a:pt x="652" y="1577"/>
                </a:moveTo>
                <a:lnTo>
                  <a:pt x="651" y="1575"/>
                </a:lnTo>
                <a:lnTo>
                  <a:pt x="650" y="1574"/>
                </a:lnTo>
                <a:lnTo>
                  <a:pt x="651" y="1575"/>
                </a:lnTo>
                <a:lnTo>
                  <a:pt x="652" y="1577"/>
                </a:lnTo>
                <a:close/>
                <a:moveTo>
                  <a:pt x="648" y="1008"/>
                </a:moveTo>
                <a:lnTo>
                  <a:pt x="648" y="1005"/>
                </a:lnTo>
                <a:lnTo>
                  <a:pt x="650" y="1001"/>
                </a:lnTo>
                <a:lnTo>
                  <a:pt x="648" y="1005"/>
                </a:lnTo>
                <a:lnTo>
                  <a:pt x="648" y="1008"/>
                </a:lnTo>
                <a:close/>
                <a:moveTo>
                  <a:pt x="648" y="1588"/>
                </a:moveTo>
                <a:lnTo>
                  <a:pt x="648" y="1585"/>
                </a:lnTo>
                <a:lnTo>
                  <a:pt x="646" y="1582"/>
                </a:lnTo>
                <a:lnTo>
                  <a:pt x="649" y="1584"/>
                </a:lnTo>
                <a:lnTo>
                  <a:pt x="649" y="1585"/>
                </a:lnTo>
                <a:lnTo>
                  <a:pt x="648" y="1586"/>
                </a:lnTo>
                <a:lnTo>
                  <a:pt x="648" y="1588"/>
                </a:lnTo>
                <a:close/>
                <a:moveTo>
                  <a:pt x="646" y="1014"/>
                </a:moveTo>
                <a:lnTo>
                  <a:pt x="645" y="1015"/>
                </a:lnTo>
                <a:lnTo>
                  <a:pt x="644" y="1016"/>
                </a:lnTo>
                <a:lnTo>
                  <a:pt x="645" y="1015"/>
                </a:lnTo>
                <a:lnTo>
                  <a:pt x="646" y="1014"/>
                </a:lnTo>
                <a:lnTo>
                  <a:pt x="646" y="1014"/>
                </a:lnTo>
                <a:lnTo>
                  <a:pt x="646" y="1013"/>
                </a:lnTo>
                <a:lnTo>
                  <a:pt x="646" y="1014"/>
                </a:lnTo>
                <a:lnTo>
                  <a:pt x="646" y="1014"/>
                </a:lnTo>
                <a:close/>
                <a:moveTo>
                  <a:pt x="639" y="1488"/>
                </a:moveTo>
                <a:lnTo>
                  <a:pt x="638" y="1487"/>
                </a:lnTo>
                <a:lnTo>
                  <a:pt x="638" y="1486"/>
                </a:lnTo>
                <a:lnTo>
                  <a:pt x="638" y="1487"/>
                </a:lnTo>
                <a:lnTo>
                  <a:pt x="639" y="1488"/>
                </a:lnTo>
                <a:lnTo>
                  <a:pt x="643" y="1486"/>
                </a:lnTo>
                <a:lnTo>
                  <a:pt x="644" y="1482"/>
                </a:lnTo>
                <a:lnTo>
                  <a:pt x="643" y="1486"/>
                </a:lnTo>
                <a:lnTo>
                  <a:pt x="639" y="1488"/>
                </a:lnTo>
                <a:close/>
                <a:moveTo>
                  <a:pt x="641" y="1551"/>
                </a:moveTo>
                <a:lnTo>
                  <a:pt x="639" y="1546"/>
                </a:lnTo>
                <a:lnTo>
                  <a:pt x="639" y="1543"/>
                </a:lnTo>
                <a:lnTo>
                  <a:pt x="639" y="1546"/>
                </a:lnTo>
                <a:lnTo>
                  <a:pt x="641" y="1551"/>
                </a:lnTo>
                <a:lnTo>
                  <a:pt x="641" y="1556"/>
                </a:lnTo>
                <a:lnTo>
                  <a:pt x="641" y="1559"/>
                </a:lnTo>
                <a:lnTo>
                  <a:pt x="641" y="1556"/>
                </a:lnTo>
                <a:lnTo>
                  <a:pt x="641" y="1551"/>
                </a:lnTo>
                <a:close/>
                <a:moveTo>
                  <a:pt x="632" y="883"/>
                </a:moveTo>
                <a:lnTo>
                  <a:pt x="631" y="887"/>
                </a:lnTo>
                <a:lnTo>
                  <a:pt x="630" y="890"/>
                </a:lnTo>
                <a:lnTo>
                  <a:pt x="631" y="887"/>
                </a:lnTo>
                <a:lnTo>
                  <a:pt x="632" y="883"/>
                </a:lnTo>
                <a:lnTo>
                  <a:pt x="634" y="883"/>
                </a:lnTo>
                <a:lnTo>
                  <a:pt x="635" y="883"/>
                </a:lnTo>
                <a:lnTo>
                  <a:pt x="634" y="883"/>
                </a:lnTo>
                <a:lnTo>
                  <a:pt x="632" y="883"/>
                </a:lnTo>
                <a:close/>
                <a:moveTo>
                  <a:pt x="629" y="893"/>
                </a:moveTo>
                <a:lnTo>
                  <a:pt x="629" y="894"/>
                </a:lnTo>
                <a:lnTo>
                  <a:pt x="628" y="894"/>
                </a:lnTo>
                <a:lnTo>
                  <a:pt x="629" y="894"/>
                </a:lnTo>
                <a:lnTo>
                  <a:pt x="629" y="893"/>
                </a:lnTo>
                <a:lnTo>
                  <a:pt x="630" y="895"/>
                </a:lnTo>
                <a:lnTo>
                  <a:pt x="630" y="896"/>
                </a:lnTo>
                <a:lnTo>
                  <a:pt x="630" y="895"/>
                </a:lnTo>
                <a:lnTo>
                  <a:pt x="629" y="893"/>
                </a:lnTo>
                <a:close/>
                <a:moveTo>
                  <a:pt x="619" y="788"/>
                </a:moveTo>
                <a:lnTo>
                  <a:pt x="615" y="784"/>
                </a:lnTo>
                <a:lnTo>
                  <a:pt x="609" y="781"/>
                </a:lnTo>
                <a:lnTo>
                  <a:pt x="615" y="784"/>
                </a:lnTo>
                <a:lnTo>
                  <a:pt x="619" y="788"/>
                </a:lnTo>
                <a:lnTo>
                  <a:pt x="624" y="791"/>
                </a:lnTo>
                <a:lnTo>
                  <a:pt x="630" y="792"/>
                </a:lnTo>
                <a:lnTo>
                  <a:pt x="624" y="791"/>
                </a:lnTo>
                <a:lnTo>
                  <a:pt x="619" y="788"/>
                </a:lnTo>
                <a:close/>
                <a:moveTo>
                  <a:pt x="616" y="881"/>
                </a:moveTo>
                <a:lnTo>
                  <a:pt x="614" y="881"/>
                </a:lnTo>
                <a:lnTo>
                  <a:pt x="611" y="880"/>
                </a:lnTo>
                <a:lnTo>
                  <a:pt x="614" y="881"/>
                </a:lnTo>
                <a:lnTo>
                  <a:pt x="616" y="881"/>
                </a:lnTo>
                <a:close/>
                <a:moveTo>
                  <a:pt x="638" y="1493"/>
                </a:moveTo>
                <a:lnTo>
                  <a:pt x="637" y="1494"/>
                </a:lnTo>
                <a:lnTo>
                  <a:pt x="638" y="1496"/>
                </a:lnTo>
                <a:lnTo>
                  <a:pt x="638" y="1500"/>
                </a:lnTo>
                <a:lnTo>
                  <a:pt x="639" y="1503"/>
                </a:lnTo>
                <a:lnTo>
                  <a:pt x="638" y="1500"/>
                </a:lnTo>
                <a:lnTo>
                  <a:pt x="638" y="1496"/>
                </a:lnTo>
                <a:lnTo>
                  <a:pt x="637" y="1494"/>
                </a:lnTo>
                <a:lnTo>
                  <a:pt x="638" y="1493"/>
                </a:lnTo>
                <a:close/>
                <a:moveTo>
                  <a:pt x="659" y="970"/>
                </a:moveTo>
                <a:lnTo>
                  <a:pt x="656" y="984"/>
                </a:lnTo>
                <a:lnTo>
                  <a:pt x="651" y="999"/>
                </a:lnTo>
                <a:lnTo>
                  <a:pt x="656" y="984"/>
                </a:lnTo>
                <a:lnTo>
                  <a:pt x="659" y="970"/>
                </a:lnTo>
                <a:close/>
                <a:moveTo>
                  <a:pt x="588" y="930"/>
                </a:moveTo>
                <a:lnTo>
                  <a:pt x="588" y="929"/>
                </a:lnTo>
                <a:lnTo>
                  <a:pt x="587" y="929"/>
                </a:lnTo>
                <a:lnTo>
                  <a:pt x="588" y="929"/>
                </a:lnTo>
                <a:lnTo>
                  <a:pt x="588" y="930"/>
                </a:lnTo>
                <a:close/>
                <a:moveTo>
                  <a:pt x="574" y="825"/>
                </a:moveTo>
                <a:lnTo>
                  <a:pt x="575" y="824"/>
                </a:lnTo>
                <a:lnTo>
                  <a:pt x="575" y="824"/>
                </a:lnTo>
                <a:lnTo>
                  <a:pt x="575" y="824"/>
                </a:lnTo>
                <a:lnTo>
                  <a:pt x="574" y="825"/>
                </a:lnTo>
                <a:close/>
                <a:moveTo>
                  <a:pt x="561" y="822"/>
                </a:moveTo>
                <a:lnTo>
                  <a:pt x="559" y="822"/>
                </a:lnTo>
                <a:lnTo>
                  <a:pt x="557" y="822"/>
                </a:lnTo>
                <a:lnTo>
                  <a:pt x="559" y="822"/>
                </a:lnTo>
                <a:lnTo>
                  <a:pt x="561" y="822"/>
                </a:lnTo>
                <a:lnTo>
                  <a:pt x="562" y="823"/>
                </a:lnTo>
                <a:lnTo>
                  <a:pt x="563" y="823"/>
                </a:lnTo>
                <a:lnTo>
                  <a:pt x="562" y="823"/>
                </a:lnTo>
                <a:lnTo>
                  <a:pt x="561" y="822"/>
                </a:lnTo>
                <a:close/>
                <a:moveTo>
                  <a:pt x="556" y="1061"/>
                </a:moveTo>
                <a:lnTo>
                  <a:pt x="555" y="1061"/>
                </a:lnTo>
                <a:lnTo>
                  <a:pt x="554" y="1061"/>
                </a:lnTo>
                <a:lnTo>
                  <a:pt x="555" y="1061"/>
                </a:lnTo>
                <a:lnTo>
                  <a:pt x="556" y="1061"/>
                </a:lnTo>
                <a:close/>
                <a:moveTo>
                  <a:pt x="526" y="871"/>
                </a:moveTo>
                <a:lnTo>
                  <a:pt x="520" y="871"/>
                </a:lnTo>
                <a:lnTo>
                  <a:pt x="514" y="871"/>
                </a:lnTo>
                <a:lnTo>
                  <a:pt x="512" y="869"/>
                </a:lnTo>
                <a:lnTo>
                  <a:pt x="511" y="868"/>
                </a:lnTo>
                <a:lnTo>
                  <a:pt x="512" y="869"/>
                </a:lnTo>
                <a:lnTo>
                  <a:pt x="514" y="871"/>
                </a:lnTo>
                <a:lnTo>
                  <a:pt x="520" y="871"/>
                </a:lnTo>
                <a:lnTo>
                  <a:pt x="526" y="871"/>
                </a:lnTo>
                <a:lnTo>
                  <a:pt x="533" y="873"/>
                </a:lnTo>
                <a:lnTo>
                  <a:pt x="539" y="873"/>
                </a:lnTo>
                <a:lnTo>
                  <a:pt x="533" y="873"/>
                </a:lnTo>
                <a:lnTo>
                  <a:pt x="526" y="871"/>
                </a:lnTo>
                <a:close/>
                <a:moveTo>
                  <a:pt x="527" y="998"/>
                </a:moveTo>
                <a:lnTo>
                  <a:pt x="528" y="999"/>
                </a:lnTo>
                <a:lnTo>
                  <a:pt x="531" y="1001"/>
                </a:lnTo>
                <a:lnTo>
                  <a:pt x="528" y="999"/>
                </a:lnTo>
                <a:lnTo>
                  <a:pt x="527" y="998"/>
                </a:lnTo>
                <a:close/>
                <a:moveTo>
                  <a:pt x="510" y="964"/>
                </a:moveTo>
                <a:lnTo>
                  <a:pt x="510" y="964"/>
                </a:lnTo>
                <a:lnTo>
                  <a:pt x="511" y="964"/>
                </a:lnTo>
                <a:lnTo>
                  <a:pt x="510" y="964"/>
                </a:lnTo>
                <a:lnTo>
                  <a:pt x="510" y="964"/>
                </a:lnTo>
                <a:close/>
                <a:moveTo>
                  <a:pt x="506" y="861"/>
                </a:moveTo>
                <a:lnTo>
                  <a:pt x="507" y="860"/>
                </a:lnTo>
                <a:lnTo>
                  <a:pt x="510" y="859"/>
                </a:lnTo>
                <a:lnTo>
                  <a:pt x="510" y="860"/>
                </a:lnTo>
                <a:lnTo>
                  <a:pt x="510" y="861"/>
                </a:lnTo>
                <a:lnTo>
                  <a:pt x="510" y="860"/>
                </a:lnTo>
                <a:lnTo>
                  <a:pt x="510" y="859"/>
                </a:lnTo>
                <a:lnTo>
                  <a:pt x="507" y="860"/>
                </a:lnTo>
                <a:lnTo>
                  <a:pt x="506" y="861"/>
                </a:lnTo>
                <a:close/>
                <a:moveTo>
                  <a:pt x="496" y="788"/>
                </a:moveTo>
                <a:lnTo>
                  <a:pt x="496" y="783"/>
                </a:lnTo>
                <a:lnTo>
                  <a:pt x="494" y="780"/>
                </a:lnTo>
                <a:lnTo>
                  <a:pt x="496" y="783"/>
                </a:lnTo>
                <a:lnTo>
                  <a:pt x="496" y="788"/>
                </a:lnTo>
                <a:close/>
                <a:moveTo>
                  <a:pt x="477" y="1230"/>
                </a:moveTo>
                <a:lnTo>
                  <a:pt x="477" y="1227"/>
                </a:lnTo>
                <a:lnTo>
                  <a:pt x="477" y="1224"/>
                </a:lnTo>
                <a:lnTo>
                  <a:pt x="476" y="1223"/>
                </a:lnTo>
                <a:lnTo>
                  <a:pt x="473" y="1222"/>
                </a:lnTo>
                <a:lnTo>
                  <a:pt x="476" y="1223"/>
                </a:lnTo>
                <a:lnTo>
                  <a:pt x="477" y="1224"/>
                </a:lnTo>
                <a:lnTo>
                  <a:pt x="477" y="1227"/>
                </a:lnTo>
                <a:lnTo>
                  <a:pt x="477" y="1230"/>
                </a:lnTo>
                <a:close/>
                <a:moveTo>
                  <a:pt x="471" y="735"/>
                </a:moveTo>
                <a:lnTo>
                  <a:pt x="467" y="736"/>
                </a:lnTo>
                <a:lnTo>
                  <a:pt x="465" y="738"/>
                </a:lnTo>
                <a:lnTo>
                  <a:pt x="463" y="740"/>
                </a:lnTo>
                <a:lnTo>
                  <a:pt x="460" y="741"/>
                </a:lnTo>
                <a:lnTo>
                  <a:pt x="460" y="743"/>
                </a:lnTo>
                <a:lnTo>
                  <a:pt x="459" y="745"/>
                </a:lnTo>
                <a:lnTo>
                  <a:pt x="458" y="746"/>
                </a:lnTo>
                <a:lnTo>
                  <a:pt x="457" y="746"/>
                </a:lnTo>
                <a:lnTo>
                  <a:pt x="458" y="746"/>
                </a:lnTo>
                <a:lnTo>
                  <a:pt x="459" y="745"/>
                </a:lnTo>
                <a:lnTo>
                  <a:pt x="460" y="743"/>
                </a:lnTo>
                <a:lnTo>
                  <a:pt x="460" y="741"/>
                </a:lnTo>
                <a:lnTo>
                  <a:pt x="463" y="740"/>
                </a:lnTo>
                <a:lnTo>
                  <a:pt x="465" y="738"/>
                </a:lnTo>
                <a:lnTo>
                  <a:pt x="467" y="736"/>
                </a:lnTo>
                <a:lnTo>
                  <a:pt x="471" y="735"/>
                </a:lnTo>
                <a:close/>
                <a:moveTo>
                  <a:pt x="448" y="757"/>
                </a:moveTo>
                <a:lnTo>
                  <a:pt x="446" y="763"/>
                </a:lnTo>
                <a:lnTo>
                  <a:pt x="446" y="769"/>
                </a:lnTo>
                <a:lnTo>
                  <a:pt x="446" y="763"/>
                </a:lnTo>
                <a:lnTo>
                  <a:pt x="448" y="757"/>
                </a:lnTo>
                <a:lnTo>
                  <a:pt x="453" y="756"/>
                </a:lnTo>
                <a:lnTo>
                  <a:pt x="458" y="754"/>
                </a:lnTo>
                <a:lnTo>
                  <a:pt x="453" y="756"/>
                </a:lnTo>
                <a:lnTo>
                  <a:pt x="448" y="757"/>
                </a:lnTo>
                <a:close/>
                <a:moveTo>
                  <a:pt x="441" y="1192"/>
                </a:moveTo>
                <a:lnTo>
                  <a:pt x="434" y="1189"/>
                </a:lnTo>
                <a:lnTo>
                  <a:pt x="428" y="1187"/>
                </a:lnTo>
                <a:lnTo>
                  <a:pt x="422" y="1182"/>
                </a:lnTo>
                <a:lnTo>
                  <a:pt x="416" y="1178"/>
                </a:lnTo>
                <a:lnTo>
                  <a:pt x="422" y="1182"/>
                </a:lnTo>
                <a:lnTo>
                  <a:pt x="428" y="1187"/>
                </a:lnTo>
                <a:lnTo>
                  <a:pt x="434" y="1189"/>
                </a:lnTo>
                <a:lnTo>
                  <a:pt x="441" y="1192"/>
                </a:lnTo>
                <a:lnTo>
                  <a:pt x="442" y="1195"/>
                </a:lnTo>
                <a:lnTo>
                  <a:pt x="444" y="1199"/>
                </a:lnTo>
                <a:lnTo>
                  <a:pt x="442" y="1195"/>
                </a:lnTo>
                <a:lnTo>
                  <a:pt x="441" y="1192"/>
                </a:lnTo>
                <a:close/>
                <a:moveTo>
                  <a:pt x="391" y="787"/>
                </a:moveTo>
                <a:lnTo>
                  <a:pt x="389" y="788"/>
                </a:lnTo>
                <a:lnTo>
                  <a:pt x="388" y="788"/>
                </a:lnTo>
                <a:lnTo>
                  <a:pt x="389" y="788"/>
                </a:lnTo>
                <a:lnTo>
                  <a:pt x="391" y="787"/>
                </a:lnTo>
                <a:lnTo>
                  <a:pt x="401" y="780"/>
                </a:lnTo>
                <a:lnTo>
                  <a:pt x="410" y="773"/>
                </a:lnTo>
                <a:lnTo>
                  <a:pt x="401" y="780"/>
                </a:lnTo>
                <a:lnTo>
                  <a:pt x="391" y="787"/>
                </a:lnTo>
                <a:close/>
                <a:moveTo>
                  <a:pt x="404" y="1022"/>
                </a:moveTo>
                <a:lnTo>
                  <a:pt x="405" y="1020"/>
                </a:lnTo>
                <a:lnTo>
                  <a:pt x="405" y="1016"/>
                </a:lnTo>
                <a:lnTo>
                  <a:pt x="405" y="1020"/>
                </a:lnTo>
                <a:lnTo>
                  <a:pt x="404" y="1022"/>
                </a:lnTo>
                <a:close/>
                <a:moveTo>
                  <a:pt x="398" y="1020"/>
                </a:moveTo>
                <a:lnTo>
                  <a:pt x="398" y="1020"/>
                </a:lnTo>
                <a:lnTo>
                  <a:pt x="400" y="1020"/>
                </a:lnTo>
                <a:lnTo>
                  <a:pt x="398" y="1020"/>
                </a:lnTo>
                <a:lnTo>
                  <a:pt x="398" y="1020"/>
                </a:lnTo>
                <a:close/>
                <a:moveTo>
                  <a:pt x="347" y="845"/>
                </a:moveTo>
                <a:lnTo>
                  <a:pt x="346" y="846"/>
                </a:lnTo>
                <a:lnTo>
                  <a:pt x="345" y="847"/>
                </a:lnTo>
                <a:lnTo>
                  <a:pt x="346" y="846"/>
                </a:lnTo>
                <a:lnTo>
                  <a:pt x="347" y="845"/>
                </a:lnTo>
                <a:lnTo>
                  <a:pt x="362" y="844"/>
                </a:lnTo>
                <a:lnTo>
                  <a:pt x="379" y="844"/>
                </a:lnTo>
                <a:lnTo>
                  <a:pt x="362" y="844"/>
                </a:lnTo>
                <a:lnTo>
                  <a:pt x="347" y="845"/>
                </a:lnTo>
                <a:close/>
                <a:moveTo>
                  <a:pt x="361" y="1155"/>
                </a:moveTo>
                <a:lnTo>
                  <a:pt x="362" y="1155"/>
                </a:lnTo>
                <a:lnTo>
                  <a:pt x="363" y="1155"/>
                </a:lnTo>
                <a:lnTo>
                  <a:pt x="362" y="1155"/>
                </a:lnTo>
                <a:lnTo>
                  <a:pt x="361" y="1155"/>
                </a:lnTo>
                <a:close/>
                <a:moveTo>
                  <a:pt x="354" y="1148"/>
                </a:moveTo>
                <a:lnTo>
                  <a:pt x="356" y="1150"/>
                </a:lnTo>
                <a:lnTo>
                  <a:pt x="359" y="1152"/>
                </a:lnTo>
                <a:lnTo>
                  <a:pt x="356" y="1150"/>
                </a:lnTo>
                <a:lnTo>
                  <a:pt x="354" y="1148"/>
                </a:lnTo>
                <a:close/>
                <a:moveTo>
                  <a:pt x="348" y="1143"/>
                </a:moveTo>
                <a:lnTo>
                  <a:pt x="352" y="1145"/>
                </a:lnTo>
                <a:lnTo>
                  <a:pt x="354" y="1147"/>
                </a:lnTo>
                <a:lnTo>
                  <a:pt x="352" y="1145"/>
                </a:lnTo>
                <a:lnTo>
                  <a:pt x="348" y="1143"/>
                </a:lnTo>
                <a:close/>
                <a:moveTo>
                  <a:pt x="348" y="736"/>
                </a:moveTo>
                <a:lnTo>
                  <a:pt x="346" y="736"/>
                </a:lnTo>
                <a:lnTo>
                  <a:pt x="345" y="736"/>
                </a:lnTo>
                <a:lnTo>
                  <a:pt x="346" y="736"/>
                </a:lnTo>
                <a:lnTo>
                  <a:pt x="348" y="736"/>
                </a:lnTo>
                <a:close/>
                <a:moveTo>
                  <a:pt x="351" y="764"/>
                </a:moveTo>
                <a:lnTo>
                  <a:pt x="352" y="763"/>
                </a:lnTo>
                <a:lnTo>
                  <a:pt x="353" y="762"/>
                </a:lnTo>
                <a:lnTo>
                  <a:pt x="354" y="759"/>
                </a:lnTo>
                <a:lnTo>
                  <a:pt x="355" y="756"/>
                </a:lnTo>
                <a:lnTo>
                  <a:pt x="354" y="759"/>
                </a:lnTo>
                <a:lnTo>
                  <a:pt x="353" y="762"/>
                </a:lnTo>
                <a:lnTo>
                  <a:pt x="352" y="763"/>
                </a:lnTo>
                <a:lnTo>
                  <a:pt x="351" y="764"/>
                </a:lnTo>
                <a:close/>
                <a:moveTo>
                  <a:pt x="355" y="755"/>
                </a:moveTo>
                <a:lnTo>
                  <a:pt x="358" y="755"/>
                </a:lnTo>
                <a:lnTo>
                  <a:pt x="359" y="755"/>
                </a:lnTo>
                <a:lnTo>
                  <a:pt x="358" y="755"/>
                </a:lnTo>
                <a:lnTo>
                  <a:pt x="355" y="755"/>
                </a:lnTo>
                <a:lnTo>
                  <a:pt x="355" y="755"/>
                </a:lnTo>
                <a:close/>
                <a:moveTo>
                  <a:pt x="358" y="749"/>
                </a:moveTo>
                <a:lnTo>
                  <a:pt x="358" y="745"/>
                </a:lnTo>
                <a:lnTo>
                  <a:pt x="358" y="741"/>
                </a:lnTo>
                <a:lnTo>
                  <a:pt x="358" y="745"/>
                </a:lnTo>
                <a:lnTo>
                  <a:pt x="358" y="749"/>
                </a:lnTo>
                <a:lnTo>
                  <a:pt x="358" y="752"/>
                </a:lnTo>
                <a:lnTo>
                  <a:pt x="356" y="753"/>
                </a:lnTo>
                <a:lnTo>
                  <a:pt x="358" y="752"/>
                </a:lnTo>
                <a:lnTo>
                  <a:pt x="358" y="749"/>
                </a:lnTo>
                <a:close/>
                <a:moveTo>
                  <a:pt x="335" y="1122"/>
                </a:moveTo>
                <a:lnTo>
                  <a:pt x="336" y="1122"/>
                </a:lnTo>
                <a:lnTo>
                  <a:pt x="338" y="1122"/>
                </a:lnTo>
                <a:lnTo>
                  <a:pt x="336" y="1122"/>
                </a:lnTo>
                <a:lnTo>
                  <a:pt x="335" y="1122"/>
                </a:lnTo>
                <a:close/>
                <a:moveTo>
                  <a:pt x="334" y="1120"/>
                </a:moveTo>
                <a:lnTo>
                  <a:pt x="334" y="1120"/>
                </a:lnTo>
                <a:lnTo>
                  <a:pt x="334" y="1120"/>
                </a:lnTo>
                <a:lnTo>
                  <a:pt x="334" y="1120"/>
                </a:lnTo>
                <a:lnTo>
                  <a:pt x="334" y="1120"/>
                </a:lnTo>
                <a:close/>
                <a:moveTo>
                  <a:pt x="332" y="1116"/>
                </a:moveTo>
                <a:lnTo>
                  <a:pt x="332" y="1117"/>
                </a:lnTo>
                <a:lnTo>
                  <a:pt x="333" y="1118"/>
                </a:lnTo>
                <a:lnTo>
                  <a:pt x="332" y="1117"/>
                </a:lnTo>
                <a:lnTo>
                  <a:pt x="332" y="1116"/>
                </a:lnTo>
                <a:close/>
                <a:moveTo>
                  <a:pt x="319" y="1111"/>
                </a:moveTo>
                <a:lnTo>
                  <a:pt x="324" y="1115"/>
                </a:lnTo>
                <a:lnTo>
                  <a:pt x="328" y="1116"/>
                </a:lnTo>
                <a:lnTo>
                  <a:pt x="324" y="1115"/>
                </a:lnTo>
                <a:lnTo>
                  <a:pt x="319" y="1111"/>
                </a:lnTo>
                <a:close/>
                <a:moveTo>
                  <a:pt x="314" y="1104"/>
                </a:moveTo>
                <a:lnTo>
                  <a:pt x="300" y="1097"/>
                </a:lnTo>
                <a:lnTo>
                  <a:pt x="286" y="1088"/>
                </a:lnTo>
                <a:lnTo>
                  <a:pt x="300" y="1097"/>
                </a:lnTo>
                <a:lnTo>
                  <a:pt x="314" y="1104"/>
                </a:lnTo>
                <a:lnTo>
                  <a:pt x="315" y="1105"/>
                </a:lnTo>
                <a:lnTo>
                  <a:pt x="315" y="1105"/>
                </a:lnTo>
                <a:lnTo>
                  <a:pt x="315" y="1105"/>
                </a:lnTo>
                <a:lnTo>
                  <a:pt x="314" y="1104"/>
                </a:lnTo>
                <a:close/>
                <a:moveTo>
                  <a:pt x="286" y="806"/>
                </a:moveTo>
                <a:lnTo>
                  <a:pt x="287" y="808"/>
                </a:lnTo>
                <a:lnTo>
                  <a:pt x="290" y="809"/>
                </a:lnTo>
                <a:lnTo>
                  <a:pt x="290" y="809"/>
                </a:lnTo>
                <a:lnTo>
                  <a:pt x="287" y="808"/>
                </a:lnTo>
                <a:lnTo>
                  <a:pt x="286" y="806"/>
                </a:lnTo>
                <a:close/>
                <a:moveTo>
                  <a:pt x="284" y="798"/>
                </a:moveTo>
                <a:lnTo>
                  <a:pt x="285" y="799"/>
                </a:lnTo>
                <a:lnTo>
                  <a:pt x="286" y="801"/>
                </a:lnTo>
                <a:lnTo>
                  <a:pt x="286" y="803"/>
                </a:lnTo>
                <a:lnTo>
                  <a:pt x="286" y="804"/>
                </a:lnTo>
                <a:lnTo>
                  <a:pt x="286" y="803"/>
                </a:lnTo>
                <a:lnTo>
                  <a:pt x="286" y="801"/>
                </a:lnTo>
                <a:lnTo>
                  <a:pt x="285" y="799"/>
                </a:lnTo>
                <a:lnTo>
                  <a:pt x="284" y="798"/>
                </a:lnTo>
                <a:close/>
                <a:moveTo>
                  <a:pt x="282" y="808"/>
                </a:moveTo>
                <a:lnTo>
                  <a:pt x="283" y="809"/>
                </a:lnTo>
                <a:lnTo>
                  <a:pt x="283" y="810"/>
                </a:lnTo>
                <a:lnTo>
                  <a:pt x="283" y="809"/>
                </a:lnTo>
                <a:lnTo>
                  <a:pt x="282" y="808"/>
                </a:lnTo>
                <a:close/>
                <a:moveTo>
                  <a:pt x="276" y="1081"/>
                </a:moveTo>
                <a:lnTo>
                  <a:pt x="279" y="1085"/>
                </a:lnTo>
                <a:lnTo>
                  <a:pt x="283" y="1090"/>
                </a:lnTo>
                <a:lnTo>
                  <a:pt x="279" y="1085"/>
                </a:lnTo>
                <a:lnTo>
                  <a:pt x="276" y="1081"/>
                </a:lnTo>
                <a:close/>
                <a:moveTo>
                  <a:pt x="266" y="1077"/>
                </a:moveTo>
                <a:lnTo>
                  <a:pt x="269" y="1080"/>
                </a:lnTo>
                <a:lnTo>
                  <a:pt x="272" y="1081"/>
                </a:lnTo>
                <a:lnTo>
                  <a:pt x="269" y="1080"/>
                </a:lnTo>
                <a:lnTo>
                  <a:pt x="266" y="1077"/>
                </a:lnTo>
                <a:close/>
                <a:moveTo>
                  <a:pt x="263" y="985"/>
                </a:moveTo>
                <a:lnTo>
                  <a:pt x="263" y="985"/>
                </a:lnTo>
                <a:lnTo>
                  <a:pt x="263" y="984"/>
                </a:lnTo>
                <a:lnTo>
                  <a:pt x="263" y="984"/>
                </a:lnTo>
                <a:lnTo>
                  <a:pt x="263" y="984"/>
                </a:lnTo>
                <a:lnTo>
                  <a:pt x="263" y="985"/>
                </a:lnTo>
                <a:lnTo>
                  <a:pt x="263" y="985"/>
                </a:lnTo>
                <a:lnTo>
                  <a:pt x="263" y="985"/>
                </a:lnTo>
                <a:close/>
                <a:moveTo>
                  <a:pt x="236" y="903"/>
                </a:moveTo>
                <a:lnTo>
                  <a:pt x="225" y="910"/>
                </a:lnTo>
                <a:lnTo>
                  <a:pt x="215" y="917"/>
                </a:lnTo>
                <a:lnTo>
                  <a:pt x="206" y="924"/>
                </a:lnTo>
                <a:lnTo>
                  <a:pt x="196" y="934"/>
                </a:lnTo>
                <a:lnTo>
                  <a:pt x="196" y="927"/>
                </a:lnTo>
                <a:lnTo>
                  <a:pt x="197" y="920"/>
                </a:lnTo>
                <a:lnTo>
                  <a:pt x="200" y="913"/>
                </a:lnTo>
                <a:lnTo>
                  <a:pt x="202" y="906"/>
                </a:lnTo>
                <a:lnTo>
                  <a:pt x="199" y="907"/>
                </a:lnTo>
                <a:lnTo>
                  <a:pt x="195" y="908"/>
                </a:lnTo>
                <a:lnTo>
                  <a:pt x="193" y="910"/>
                </a:lnTo>
                <a:lnTo>
                  <a:pt x="191" y="913"/>
                </a:lnTo>
                <a:lnTo>
                  <a:pt x="190" y="920"/>
                </a:lnTo>
                <a:lnTo>
                  <a:pt x="188" y="925"/>
                </a:lnTo>
                <a:lnTo>
                  <a:pt x="186" y="932"/>
                </a:lnTo>
                <a:lnTo>
                  <a:pt x="182" y="938"/>
                </a:lnTo>
                <a:lnTo>
                  <a:pt x="177" y="943"/>
                </a:lnTo>
                <a:lnTo>
                  <a:pt x="173" y="946"/>
                </a:lnTo>
                <a:lnTo>
                  <a:pt x="170" y="948"/>
                </a:lnTo>
                <a:lnTo>
                  <a:pt x="168" y="949"/>
                </a:lnTo>
                <a:lnTo>
                  <a:pt x="168" y="948"/>
                </a:lnTo>
                <a:lnTo>
                  <a:pt x="167" y="944"/>
                </a:lnTo>
                <a:lnTo>
                  <a:pt x="170" y="941"/>
                </a:lnTo>
                <a:lnTo>
                  <a:pt x="173" y="937"/>
                </a:lnTo>
                <a:lnTo>
                  <a:pt x="173" y="932"/>
                </a:lnTo>
                <a:lnTo>
                  <a:pt x="172" y="928"/>
                </a:lnTo>
                <a:lnTo>
                  <a:pt x="169" y="921"/>
                </a:lnTo>
                <a:lnTo>
                  <a:pt x="169" y="914"/>
                </a:lnTo>
                <a:lnTo>
                  <a:pt x="169" y="911"/>
                </a:lnTo>
                <a:lnTo>
                  <a:pt x="172" y="908"/>
                </a:lnTo>
                <a:lnTo>
                  <a:pt x="174" y="906"/>
                </a:lnTo>
                <a:lnTo>
                  <a:pt x="177" y="903"/>
                </a:lnTo>
                <a:lnTo>
                  <a:pt x="177" y="902"/>
                </a:lnTo>
                <a:lnTo>
                  <a:pt x="176" y="900"/>
                </a:lnTo>
                <a:lnTo>
                  <a:pt x="181" y="895"/>
                </a:lnTo>
                <a:lnTo>
                  <a:pt x="187" y="893"/>
                </a:lnTo>
                <a:lnTo>
                  <a:pt x="188" y="894"/>
                </a:lnTo>
                <a:lnTo>
                  <a:pt x="189" y="893"/>
                </a:lnTo>
                <a:lnTo>
                  <a:pt x="189" y="893"/>
                </a:lnTo>
                <a:lnTo>
                  <a:pt x="189" y="890"/>
                </a:lnTo>
                <a:lnTo>
                  <a:pt x="191" y="890"/>
                </a:lnTo>
                <a:lnTo>
                  <a:pt x="194" y="889"/>
                </a:lnTo>
                <a:lnTo>
                  <a:pt x="197" y="887"/>
                </a:lnTo>
                <a:lnTo>
                  <a:pt x="201" y="886"/>
                </a:lnTo>
                <a:lnTo>
                  <a:pt x="197" y="887"/>
                </a:lnTo>
                <a:lnTo>
                  <a:pt x="194" y="889"/>
                </a:lnTo>
                <a:lnTo>
                  <a:pt x="195" y="896"/>
                </a:lnTo>
                <a:lnTo>
                  <a:pt x="195" y="904"/>
                </a:lnTo>
                <a:lnTo>
                  <a:pt x="199" y="901"/>
                </a:lnTo>
                <a:lnTo>
                  <a:pt x="202" y="897"/>
                </a:lnTo>
                <a:lnTo>
                  <a:pt x="204" y="894"/>
                </a:lnTo>
                <a:lnTo>
                  <a:pt x="207" y="890"/>
                </a:lnTo>
                <a:lnTo>
                  <a:pt x="210" y="889"/>
                </a:lnTo>
                <a:lnTo>
                  <a:pt x="216" y="889"/>
                </a:lnTo>
                <a:lnTo>
                  <a:pt x="220" y="888"/>
                </a:lnTo>
                <a:lnTo>
                  <a:pt x="224" y="887"/>
                </a:lnTo>
                <a:lnTo>
                  <a:pt x="228" y="883"/>
                </a:lnTo>
                <a:lnTo>
                  <a:pt x="230" y="878"/>
                </a:lnTo>
                <a:lnTo>
                  <a:pt x="231" y="878"/>
                </a:lnTo>
                <a:lnTo>
                  <a:pt x="232" y="878"/>
                </a:lnTo>
                <a:lnTo>
                  <a:pt x="232" y="879"/>
                </a:lnTo>
                <a:lnTo>
                  <a:pt x="234" y="879"/>
                </a:lnTo>
                <a:lnTo>
                  <a:pt x="235" y="879"/>
                </a:lnTo>
                <a:lnTo>
                  <a:pt x="236" y="876"/>
                </a:lnTo>
                <a:lnTo>
                  <a:pt x="245" y="876"/>
                </a:lnTo>
                <a:lnTo>
                  <a:pt x="255" y="876"/>
                </a:lnTo>
                <a:lnTo>
                  <a:pt x="259" y="883"/>
                </a:lnTo>
                <a:lnTo>
                  <a:pt x="264" y="889"/>
                </a:lnTo>
                <a:lnTo>
                  <a:pt x="256" y="892"/>
                </a:lnTo>
                <a:lnTo>
                  <a:pt x="250" y="895"/>
                </a:lnTo>
                <a:lnTo>
                  <a:pt x="243" y="899"/>
                </a:lnTo>
                <a:lnTo>
                  <a:pt x="236" y="903"/>
                </a:lnTo>
                <a:close/>
                <a:moveTo>
                  <a:pt x="266" y="759"/>
                </a:moveTo>
                <a:lnTo>
                  <a:pt x="269" y="764"/>
                </a:lnTo>
                <a:lnTo>
                  <a:pt x="270" y="770"/>
                </a:lnTo>
                <a:lnTo>
                  <a:pt x="269" y="764"/>
                </a:lnTo>
                <a:lnTo>
                  <a:pt x="266" y="759"/>
                </a:lnTo>
                <a:lnTo>
                  <a:pt x="265" y="755"/>
                </a:lnTo>
                <a:lnTo>
                  <a:pt x="264" y="750"/>
                </a:lnTo>
                <a:lnTo>
                  <a:pt x="265" y="755"/>
                </a:lnTo>
                <a:lnTo>
                  <a:pt x="266" y="759"/>
                </a:lnTo>
                <a:close/>
                <a:moveTo>
                  <a:pt x="278" y="777"/>
                </a:moveTo>
                <a:lnTo>
                  <a:pt x="277" y="778"/>
                </a:lnTo>
                <a:lnTo>
                  <a:pt x="276" y="780"/>
                </a:lnTo>
                <a:lnTo>
                  <a:pt x="277" y="778"/>
                </a:lnTo>
                <a:lnTo>
                  <a:pt x="278" y="777"/>
                </a:lnTo>
                <a:close/>
                <a:moveTo>
                  <a:pt x="299" y="805"/>
                </a:moveTo>
                <a:lnTo>
                  <a:pt x="299" y="805"/>
                </a:lnTo>
                <a:lnTo>
                  <a:pt x="299" y="804"/>
                </a:lnTo>
                <a:lnTo>
                  <a:pt x="299" y="805"/>
                </a:lnTo>
                <a:lnTo>
                  <a:pt x="298" y="806"/>
                </a:lnTo>
                <a:lnTo>
                  <a:pt x="297" y="808"/>
                </a:lnTo>
                <a:lnTo>
                  <a:pt x="296" y="809"/>
                </a:lnTo>
                <a:lnTo>
                  <a:pt x="293" y="809"/>
                </a:lnTo>
                <a:lnTo>
                  <a:pt x="296" y="809"/>
                </a:lnTo>
                <a:lnTo>
                  <a:pt x="297" y="808"/>
                </a:lnTo>
                <a:lnTo>
                  <a:pt x="298" y="806"/>
                </a:lnTo>
                <a:lnTo>
                  <a:pt x="299" y="805"/>
                </a:lnTo>
                <a:close/>
                <a:moveTo>
                  <a:pt x="325" y="822"/>
                </a:moveTo>
                <a:lnTo>
                  <a:pt x="324" y="822"/>
                </a:lnTo>
                <a:lnTo>
                  <a:pt x="322" y="824"/>
                </a:lnTo>
                <a:lnTo>
                  <a:pt x="322" y="825"/>
                </a:lnTo>
                <a:lnTo>
                  <a:pt x="322" y="825"/>
                </a:lnTo>
                <a:lnTo>
                  <a:pt x="322" y="824"/>
                </a:lnTo>
                <a:lnTo>
                  <a:pt x="324" y="822"/>
                </a:lnTo>
                <a:lnTo>
                  <a:pt x="325" y="822"/>
                </a:lnTo>
                <a:close/>
                <a:moveTo>
                  <a:pt x="324" y="764"/>
                </a:moveTo>
                <a:lnTo>
                  <a:pt x="321" y="766"/>
                </a:lnTo>
                <a:lnTo>
                  <a:pt x="320" y="768"/>
                </a:lnTo>
                <a:lnTo>
                  <a:pt x="321" y="766"/>
                </a:lnTo>
                <a:lnTo>
                  <a:pt x="324" y="764"/>
                </a:lnTo>
                <a:close/>
                <a:moveTo>
                  <a:pt x="118" y="920"/>
                </a:moveTo>
                <a:lnTo>
                  <a:pt x="120" y="918"/>
                </a:lnTo>
                <a:lnTo>
                  <a:pt x="121" y="917"/>
                </a:lnTo>
                <a:lnTo>
                  <a:pt x="122" y="917"/>
                </a:lnTo>
                <a:lnTo>
                  <a:pt x="125" y="918"/>
                </a:lnTo>
                <a:lnTo>
                  <a:pt x="122" y="917"/>
                </a:lnTo>
                <a:lnTo>
                  <a:pt x="121" y="917"/>
                </a:lnTo>
                <a:lnTo>
                  <a:pt x="120" y="918"/>
                </a:lnTo>
                <a:lnTo>
                  <a:pt x="118" y="920"/>
                </a:lnTo>
                <a:close/>
                <a:moveTo>
                  <a:pt x="55" y="843"/>
                </a:moveTo>
                <a:lnTo>
                  <a:pt x="48" y="844"/>
                </a:lnTo>
                <a:lnTo>
                  <a:pt x="39" y="844"/>
                </a:lnTo>
                <a:lnTo>
                  <a:pt x="48" y="844"/>
                </a:lnTo>
                <a:lnTo>
                  <a:pt x="55" y="843"/>
                </a:lnTo>
                <a:close/>
                <a:moveTo>
                  <a:pt x="25" y="854"/>
                </a:moveTo>
                <a:lnTo>
                  <a:pt x="23" y="857"/>
                </a:lnTo>
                <a:lnTo>
                  <a:pt x="22" y="859"/>
                </a:lnTo>
                <a:lnTo>
                  <a:pt x="21" y="860"/>
                </a:lnTo>
                <a:lnTo>
                  <a:pt x="20" y="860"/>
                </a:lnTo>
                <a:lnTo>
                  <a:pt x="21" y="860"/>
                </a:lnTo>
                <a:lnTo>
                  <a:pt x="22" y="859"/>
                </a:lnTo>
                <a:lnTo>
                  <a:pt x="23" y="857"/>
                </a:lnTo>
                <a:lnTo>
                  <a:pt x="25" y="854"/>
                </a:lnTo>
                <a:close/>
                <a:moveTo>
                  <a:pt x="152" y="719"/>
                </a:moveTo>
                <a:lnTo>
                  <a:pt x="165" y="720"/>
                </a:lnTo>
                <a:lnTo>
                  <a:pt x="177" y="721"/>
                </a:lnTo>
                <a:lnTo>
                  <a:pt x="165" y="720"/>
                </a:lnTo>
                <a:lnTo>
                  <a:pt x="152" y="719"/>
                </a:lnTo>
                <a:close/>
                <a:moveTo>
                  <a:pt x="964" y="691"/>
                </a:moveTo>
                <a:lnTo>
                  <a:pt x="964" y="689"/>
                </a:lnTo>
                <a:lnTo>
                  <a:pt x="964" y="687"/>
                </a:lnTo>
                <a:lnTo>
                  <a:pt x="964" y="689"/>
                </a:lnTo>
                <a:lnTo>
                  <a:pt x="964" y="691"/>
                </a:lnTo>
                <a:close/>
                <a:moveTo>
                  <a:pt x="924" y="546"/>
                </a:moveTo>
                <a:lnTo>
                  <a:pt x="921" y="552"/>
                </a:lnTo>
                <a:lnTo>
                  <a:pt x="920" y="558"/>
                </a:lnTo>
                <a:lnTo>
                  <a:pt x="921" y="565"/>
                </a:lnTo>
                <a:lnTo>
                  <a:pt x="921" y="572"/>
                </a:lnTo>
                <a:lnTo>
                  <a:pt x="921" y="579"/>
                </a:lnTo>
                <a:lnTo>
                  <a:pt x="920" y="588"/>
                </a:lnTo>
                <a:lnTo>
                  <a:pt x="914" y="581"/>
                </a:lnTo>
                <a:lnTo>
                  <a:pt x="909" y="574"/>
                </a:lnTo>
                <a:lnTo>
                  <a:pt x="908" y="571"/>
                </a:lnTo>
                <a:lnTo>
                  <a:pt x="907" y="567"/>
                </a:lnTo>
                <a:lnTo>
                  <a:pt x="906" y="564"/>
                </a:lnTo>
                <a:lnTo>
                  <a:pt x="906" y="559"/>
                </a:lnTo>
                <a:lnTo>
                  <a:pt x="905" y="550"/>
                </a:lnTo>
                <a:lnTo>
                  <a:pt x="905" y="539"/>
                </a:lnTo>
                <a:lnTo>
                  <a:pt x="906" y="537"/>
                </a:lnTo>
                <a:lnTo>
                  <a:pt x="907" y="535"/>
                </a:lnTo>
                <a:lnTo>
                  <a:pt x="908" y="535"/>
                </a:lnTo>
                <a:lnTo>
                  <a:pt x="911" y="535"/>
                </a:lnTo>
                <a:lnTo>
                  <a:pt x="915" y="538"/>
                </a:lnTo>
                <a:lnTo>
                  <a:pt x="920" y="540"/>
                </a:lnTo>
                <a:lnTo>
                  <a:pt x="922" y="540"/>
                </a:lnTo>
                <a:lnTo>
                  <a:pt x="925" y="542"/>
                </a:lnTo>
                <a:lnTo>
                  <a:pt x="925" y="543"/>
                </a:lnTo>
                <a:lnTo>
                  <a:pt x="924" y="546"/>
                </a:lnTo>
                <a:close/>
                <a:moveTo>
                  <a:pt x="852" y="421"/>
                </a:moveTo>
                <a:lnTo>
                  <a:pt x="862" y="416"/>
                </a:lnTo>
                <a:lnTo>
                  <a:pt x="871" y="410"/>
                </a:lnTo>
                <a:lnTo>
                  <a:pt x="862" y="416"/>
                </a:lnTo>
                <a:lnTo>
                  <a:pt x="852" y="421"/>
                </a:lnTo>
                <a:close/>
                <a:moveTo>
                  <a:pt x="852" y="412"/>
                </a:moveTo>
                <a:lnTo>
                  <a:pt x="856" y="406"/>
                </a:lnTo>
                <a:lnTo>
                  <a:pt x="859" y="403"/>
                </a:lnTo>
                <a:lnTo>
                  <a:pt x="865" y="399"/>
                </a:lnTo>
                <a:lnTo>
                  <a:pt x="870" y="396"/>
                </a:lnTo>
                <a:lnTo>
                  <a:pt x="865" y="399"/>
                </a:lnTo>
                <a:lnTo>
                  <a:pt x="859" y="403"/>
                </a:lnTo>
                <a:lnTo>
                  <a:pt x="856" y="406"/>
                </a:lnTo>
                <a:lnTo>
                  <a:pt x="852" y="412"/>
                </a:lnTo>
                <a:close/>
                <a:moveTo>
                  <a:pt x="840" y="423"/>
                </a:moveTo>
                <a:lnTo>
                  <a:pt x="842" y="419"/>
                </a:lnTo>
                <a:lnTo>
                  <a:pt x="843" y="417"/>
                </a:lnTo>
                <a:lnTo>
                  <a:pt x="842" y="419"/>
                </a:lnTo>
                <a:lnTo>
                  <a:pt x="840" y="423"/>
                </a:lnTo>
                <a:close/>
                <a:moveTo>
                  <a:pt x="837" y="428"/>
                </a:moveTo>
                <a:lnTo>
                  <a:pt x="837" y="428"/>
                </a:lnTo>
                <a:lnTo>
                  <a:pt x="837" y="428"/>
                </a:lnTo>
                <a:lnTo>
                  <a:pt x="837" y="428"/>
                </a:lnTo>
                <a:lnTo>
                  <a:pt x="838" y="428"/>
                </a:lnTo>
                <a:lnTo>
                  <a:pt x="840" y="428"/>
                </a:lnTo>
                <a:lnTo>
                  <a:pt x="838" y="428"/>
                </a:lnTo>
                <a:lnTo>
                  <a:pt x="837" y="428"/>
                </a:lnTo>
                <a:close/>
                <a:moveTo>
                  <a:pt x="746" y="484"/>
                </a:moveTo>
                <a:lnTo>
                  <a:pt x="745" y="488"/>
                </a:lnTo>
                <a:lnTo>
                  <a:pt x="743" y="491"/>
                </a:lnTo>
                <a:lnTo>
                  <a:pt x="745" y="488"/>
                </a:lnTo>
                <a:lnTo>
                  <a:pt x="746" y="484"/>
                </a:lnTo>
                <a:lnTo>
                  <a:pt x="747" y="483"/>
                </a:lnTo>
                <a:lnTo>
                  <a:pt x="748" y="482"/>
                </a:lnTo>
                <a:lnTo>
                  <a:pt x="747" y="483"/>
                </a:lnTo>
                <a:lnTo>
                  <a:pt x="746" y="484"/>
                </a:lnTo>
                <a:close/>
                <a:moveTo>
                  <a:pt x="514" y="626"/>
                </a:moveTo>
                <a:lnTo>
                  <a:pt x="519" y="626"/>
                </a:lnTo>
                <a:lnTo>
                  <a:pt x="522" y="624"/>
                </a:lnTo>
                <a:lnTo>
                  <a:pt x="525" y="624"/>
                </a:lnTo>
                <a:lnTo>
                  <a:pt x="527" y="622"/>
                </a:lnTo>
                <a:lnTo>
                  <a:pt x="528" y="621"/>
                </a:lnTo>
                <a:lnTo>
                  <a:pt x="529" y="617"/>
                </a:lnTo>
                <a:lnTo>
                  <a:pt x="529" y="615"/>
                </a:lnTo>
                <a:lnTo>
                  <a:pt x="528" y="612"/>
                </a:lnTo>
                <a:lnTo>
                  <a:pt x="539" y="606"/>
                </a:lnTo>
                <a:lnTo>
                  <a:pt x="549" y="600"/>
                </a:lnTo>
                <a:lnTo>
                  <a:pt x="560" y="594"/>
                </a:lnTo>
                <a:lnTo>
                  <a:pt x="570" y="588"/>
                </a:lnTo>
                <a:lnTo>
                  <a:pt x="560" y="594"/>
                </a:lnTo>
                <a:lnTo>
                  <a:pt x="549" y="600"/>
                </a:lnTo>
                <a:lnTo>
                  <a:pt x="539" y="606"/>
                </a:lnTo>
                <a:lnTo>
                  <a:pt x="528" y="612"/>
                </a:lnTo>
                <a:lnTo>
                  <a:pt x="529" y="615"/>
                </a:lnTo>
                <a:lnTo>
                  <a:pt x="529" y="617"/>
                </a:lnTo>
                <a:lnTo>
                  <a:pt x="528" y="621"/>
                </a:lnTo>
                <a:lnTo>
                  <a:pt x="527" y="622"/>
                </a:lnTo>
                <a:lnTo>
                  <a:pt x="525" y="624"/>
                </a:lnTo>
                <a:lnTo>
                  <a:pt x="522" y="624"/>
                </a:lnTo>
                <a:lnTo>
                  <a:pt x="519" y="626"/>
                </a:lnTo>
                <a:lnTo>
                  <a:pt x="514" y="626"/>
                </a:lnTo>
                <a:close/>
                <a:moveTo>
                  <a:pt x="510" y="624"/>
                </a:moveTo>
                <a:lnTo>
                  <a:pt x="510" y="624"/>
                </a:lnTo>
                <a:lnTo>
                  <a:pt x="511" y="624"/>
                </a:lnTo>
                <a:lnTo>
                  <a:pt x="510" y="624"/>
                </a:lnTo>
                <a:lnTo>
                  <a:pt x="510" y="624"/>
                </a:lnTo>
                <a:close/>
                <a:moveTo>
                  <a:pt x="490" y="633"/>
                </a:moveTo>
                <a:lnTo>
                  <a:pt x="489" y="631"/>
                </a:lnTo>
                <a:lnTo>
                  <a:pt x="489" y="631"/>
                </a:lnTo>
                <a:lnTo>
                  <a:pt x="489" y="631"/>
                </a:lnTo>
                <a:lnTo>
                  <a:pt x="490" y="633"/>
                </a:lnTo>
                <a:lnTo>
                  <a:pt x="490" y="633"/>
                </a:lnTo>
                <a:close/>
                <a:moveTo>
                  <a:pt x="479" y="633"/>
                </a:moveTo>
                <a:lnTo>
                  <a:pt x="479" y="633"/>
                </a:lnTo>
                <a:lnTo>
                  <a:pt x="479" y="633"/>
                </a:lnTo>
                <a:lnTo>
                  <a:pt x="479" y="633"/>
                </a:lnTo>
                <a:lnTo>
                  <a:pt x="479" y="633"/>
                </a:lnTo>
                <a:close/>
                <a:moveTo>
                  <a:pt x="460" y="645"/>
                </a:moveTo>
                <a:lnTo>
                  <a:pt x="462" y="641"/>
                </a:lnTo>
                <a:lnTo>
                  <a:pt x="464" y="637"/>
                </a:lnTo>
                <a:lnTo>
                  <a:pt x="467" y="634"/>
                </a:lnTo>
                <a:lnTo>
                  <a:pt x="471" y="631"/>
                </a:lnTo>
                <a:lnTo>
                  <a:pt x="467" y="634"/>
                </a:lnTo>
                <a:lnTo>
                  <a:pt x="464" y="637"/>
                </a:lnTo>
                <a:lnTo>
                  <a:pt x="462" y="641"/>
                </a:lnTo>
                <a:lnTo>
                  <a:pt x="460" y="645"/>
                </a:lnTo>
                <a:close/>
                <a:moveTo>
                  <a:pt x="1194" y="117"/>
                </a:moveTo>
                <a:lnTo>
                  <a:pt x="1194" y="117"/>
                </a:lnTo>
                <a:lnTo>
                  <a:pt x="1194" y="116"/>
                </a:lnTo>
                <a:lnTo>
                  <a:pt x="1192" y="116"/>
                </a:lnTo>
                <a:lnTo>
                  <a:pt x="1194" y="116"/>
                </a:lnTo>
                <a:lnTo>
                  <a:pt x="1194" y="117"/>
                </a:lnTo>
                <a:close/>
                <a:moveTo>
                  <a:pt x="989" y="655"/>
                </a:moveTo>
                <a:lnTo>
                  <a:pt x="989" y="655"/>
                </a:lnTo>
                <a:lnTo>
                  <a:pt x="983" y="649"/>
                </a:lnTo>
                <a:lnTo>
                  <a:pt x="975" y="644"/>
                </a:lnTo>
                <a:lnTo>
                  <a:pt x="983" y="649"/>
                </a:lnTo>
                <a:lnTo>
                  <a:pt x="989" y="655"/>
                </a:lnTo>
                <a:close/>
                <a:moveTo>
                  <a:pt x="1021" y="694"/>
                </a:moveTo>
                <a:lnTo>
                  <a:pt x="1021" y="696"/>
                </a:lnTo>
                <a:lnTo>
                  <a:pt x="1021" y="697"/>
                </a:lnTo>
                <a:lnTo>
                  <a:pt x="1021" y="698"/>
                </a:lnTo>
                <a:lnTo>
                  <a:pt x="1021" y="699"/>
                </a:lnTo>
                <a:lnTo>
                  <a:pt x="1021" y="698"/>
                </a:lnTo>
                <a:lnTo>
                  <a:pt x="1021" y="697"/>
                </a:lnTo>
                <a:lnTo>
                  <a:pt x="1021" y="696"/>
                </a:lnTo>
                <a:lnTo>
                  <a:pt x="1021" y="694"/>
                </a:lnTo>
                <a:close/>
                <a:moveTo>
                  <a:pt x="1033" y="713"/>
                </a:moveTo>
                <a:lnTo>
                  <a:pt x="1030" y="711"/>
                </a:lnTo>
                <a:lnTo>
                  <a:pt x="1026" y="710"/>
                </a:lnTo>
                <a:lnTo>
                  <a:pt x="1030" y="711"/>
                </a:lnTo>
                <a:lnTo>
                  <a:pt x="1033" y="713"/>
                </a:lnTo>
                <a:close/>
                <a:moveTo>
                  <a:pt x="1031" y="701"/>
                </a:moveTo>
                <a:lnTo>
                  <a:pt x="1030" y="701"/>
                </a:lnTo>
                <a:lnTo>
                  <a:pt x="1029" y="701"/>
                </a:lnTo>
                <a:lnTo>
                  <a:pt x="1029" y="701"/>
                </a:lnTo>
                <a:lnTo>
                  <a:pt x="1030" y="701"/>
                </a:lnTo>
                <a:lnTo>
                  <a:pt x="1031" y="701"/>
                </a:lnTo>
                <a:close/>
                <a:moveTo>
                  <a:pt x="1536" y="1214"/>
                </a:moveTo>
                <a:lnTo>
                  <a:pt x="1536" y="1208"/>
                </a:lnTo>
                <a:lnTo>
                  <a:pt x="1536" y="1202"/>
                </a:lnTo>
                <a:lnTo>
                  <a:pt x="1536" y="1196"/>
                </a:lnTo>
                <a:lnTo>
                  <a:pt x="1535" y="1190"/>
                </a:lnTo>
                <a:lnTo>
                  <a:pt x="1530" y="1181"/>
                </a:lnTo>
                <a:lnTo>
                  <a:pt x="1525" y="1171"/>
                </a:lnTo>
                <a:lnTo>
                  <a:pt x="1525" y="1169"/>
                </a:lnTo>
                <a:lnTo>
                  <a:pt x="1525" y="1167"/>
                </a:lnTo>
                <a:lnTo>
                  <a:pt x="1525" y="1166"/>
                </a:lnTo>
                <a:lnTo>
                  <a:pt x="1526" y="1165"/>
                </a:lnTo>
                <a:lnTo>
                  <a:pt x="1526" y="1158"/>
                </a:lnTo>
                <a:lnTo>
                  <a:pt x="1527" y="1152"/>
                </a:lnTo>
                <a:lnTo>
                  <a:pt x="1527" y="1147"/>
                </a:lnTo>
                <a:lnTo>
                  <a:pt x="1528" y="1143"/>
                </a:lnTo>
                <a:lnTo>
                  <a:pt x="1530" y="1136"/>
                </a:lnTo>
                <a:lnTo>
                  <a:pt x="1532" y="1129"/>
                </a:lnTo>
                <a:lnTo>
                  <a:pt x="1532" y="1120"/>
                </a:lnTo>
                <a:lnTo>
                  <a:pt x="1533" y="1112"/>
                </a:lnTo>
                <a:lnTo>
                  <a:pt x="1534" y="1098"/>
                </a:lnTo>
                <a:lnTo>
                  <a:pt x="1534" y="1083"/>
                </a:lnTo>
                <a:lnTo>
                  <a:pt x="1533" y="1068"/>
                </a:lnTo>
                <a:lnTo>
                  <a:pt x="1529" y="1053"/>
                </a:lnTo>
                <a:lnTo>
                  <a:pt x="1526" y="1039"/>
                </a:lnTo>
                <a:lnTo>
                  <a:pt x="1521" y="1026"/>
                </a:lnTo>
                <a:lnTo>
                  <a:pt x="1515" y="1013"/>
                </a:lnTo>
                <a:lnTo>
                  <a:pt x="1509" y="1000"/>
                </a:lnTo>
                <a:lnTo>
                  <a:pt x="1501" y="988"/>
                </a:lnTo>
                <a:lnTo>
                  <a:pt x="1493" y="977"/>
                </a:lnTo>
                <a:lnTo>
                  <a:pt x="1484" y="966"/>
                </a:lnTo>
                <a:lnTo>
                  <a:pt x="1473" y="956"/>
                </a:lnTo>
                <a:lnTo>
                  <a:pt x="1471" y="953"/>
                </a:lnTo>
                <a:lnTo>
                  <a:pt x="1466" y="952"/>
                </a:lnTo>
                <a:lnTo>
                  <a:pt x="1465" y="949"/>
                </a:lnTo>
                <a:lnTo>
                  <a:pt x="1463" y="946"/>
                </a:lnTo>
                <a:lnTo>
                  <a:pt x="1459" y="944"/>
                </a:lnTo>
                <a:lnTo>
                  <a:pt x="1457" y="943"/>
                </a:lnTo>
                <a:lnTo>
                  <a:pt x="1457" y="945"/>
                </a:lnTo>
                <a:lnTo>
                  <a:pt x="1457" y="946"/>
                </a:lnTo>
                <a:lnTo>
                  <a:pt x="1457" y="945"/>
                </a:lnTo>
                <a:lnTo>
                  <a:pt x="1457" y="943"/>
                </a:lnTo>
                <a:lnTo>
                  <a:pt x="1440" y="925"/>
                </a:lnTo>
                <a:lnTo>
                  <a:pt x="1423" y="910"/>
                </a:lnTo>
                <a:lnTo>
                  <a:pt x="1417" y="902"/>
                </a:lnTo>
                <a:lnTo>
                  <a:pt x="1412" y="895"/>
                </a:lnTo>
                <a:lnTo>
                  <a:pt x="1411" y="892"/>
                </a:lnTo>
                <a:lnTo>
                  <a:pt x="1410" y="888"/>
                </a:lnTo>
                <a:lnTo>
                  <a:pt x="1409" y="886"/>
                </a:lnTo>
                <a:lnTo>
                  <a:pt x="1406" y="883"/>
                </a:lnTo>
                <a:lnTo>
                  <a:pt x="1406" y="888"/>
                </a:lnTo>
                <a:lnTo>
                  <a:pt x="1406" y="892"/>
                </a:lnTo>
                <a:lnTo>
                  <a:pt x="1406" y="894"/>
                </a:lnTo>
                <a:lnTo>
                  <a:pt x="1405" y="896"/>
                </a:lnTo>
                <a:lnTo>
                  <a:pt x="1403" y="897"/>
                </a:lnTo>
                <a:lnTo>
                  <a:pt x="1401" y="899"/>
                </a:lnTo>
                <a:lnTo>
                  <a:pt x="1396" y="899"/>
                </a:lnTo>
                <a:lnTo>
                  <a:pt x="1391" y="899"/>
                </a:lnTo>
                <a:lnTo>
                  <a:pt x="1384" y="899"/>
                </a:lnTo>
                <a:lnTo>
                  <a:pt x="1376" y="899"/>
                </a:lnTo>
                <a:lnTo>
                  <a:pt x="1373" y="899"/>
                </a:lnTo>
                <a:lnTo>
                  <a:pt x="1371" y="900"/>
                </a:lnTo>
                <a:lnTo>
                  <a:pt x="1370" y="902"/>
                </a:lnTo>
                <a:lnTo>
                  <a:pt x="1371" y="904"/>
                </a:lnTo>
                <a:lnTo>
                  <a:pt x="1371" y="910"/>
                </a:lnTo>
                <a:lnTo>
                  <a:pt x="1373" y="916"/>
                </a:lnTo>
                <a:lnTo>
                  <a:pt x="1371" y="922"/>
                </a:lnTo>
                <a:lnTo>
                  <a:pt x="1369" y="928"/>
                </a:lnTo>
                <a:lnTo>
                  <a:pt x="1369" y="928"/>
                </a:lnTo>
                <a:lnTo>
                  <a:pt x="1368" y="918"/>
                </a:lnTo>
                <a:lnTo>
                  <a:pt x="1368" y="910"/>
                </a:lnTo>
                <a:lnTo>
                  <a:pt x="1367" y="907"/>
                </a:lnTo>
                <a:lnTo>
                  <a:pt x="1367" y="903"/>
                </a:lnTo>
                <a:lnTo>
                  <a:pt x="1366" y="901"/>
                </a:lnTo>
                <a:lnTo>
                  <a:pt x="1362" y="899"/>
                </a:lnTo>
                <a:lnTo>
                  <a:pt x="1349" y="899"/>
                </a:lnTo>
                <a:lnTo>
                  <a:pt x="1335" y="899"/>
                </a:lnTo>
                <a:lnTo>
                  <a:pt x="1334" y="899"/>
                </a:lnTo>
                <a:lnTo>
                  <a:pt x="1332" y="899"/>
                </a:lnTo>
                <a:lnTo>
                  <a:pt x="1328" y="895"/>
                </a:lnTo>
                <a:lnTo>
                  <a:pt x="1323" y="895"/>
                </a:lnTo>
                <a:lnTo>
                  <a:pt x="1320" y="895"/>
                </a:lnTo>
                <a:lnTo>
                  <a:pt x="1315" y="897"/>
                </a:lnTo>
                <a:lnTo>
                  <a:pt x="1315" y="897"/>
                </a:lnTo>
                <a:lnTo>
                  <a:pt x="1314" y="899"/>
                </a:lnTo>
                <a:lnTo>
                  <a:pt x="1305" y="897"/>
                </a:lnTo>
                <a:lnTo>
                  <a:pt x="1294" y="899"/>
                </a:lnTo>
                <a:lnTo>
                  <a:pt x="1285" y="900"/>
                </a:lnTo>
                <a:lnTo>
                  <a:pt x="1274" y="901"/>
                </a:lnTo>
                <a:lnTo>
                  <a:pt x="1270" y="901"/>
                </a:lnTo>
                <a:lnTo>
                  <a:pt x="1266" y="900"/>
                </a:lnTo>
                <a:lnTo>
                  <a:pt x="1265" y="899"/>
                </a:lnTo>
                <a:lnTo>
                  <a:pt x="1264" y="897"/>
                </a:lnTo>
                <a:lnTo>
                  <a:pt x="1263" y="895"/>
                </a:lnTo>
                <a:lnTo>
                  <a:pt x="1263" y="892"/>
                </a:lnTo>
                <a:lnTo>
                  <a:pt x="1263" y="889"/>
                </a:lnTo>
                <a:lnTo>
                  <a:pt x="1260" y="888"/>
                </a:lnTo>
                <a:lnTo>
                  <a:pt x="1258" y="887"/>
                </a:lnTo>
                <a:lnTo>
                  <a:pt x="1256" y="888"/>
                </a:lnTo>
                <a:lnTo>
                  <a:pt x="1250" y="890"/>
                </a:lnTo>
                <a:lnTo>
                  <a:pt x="1244" y="894"/>
                </a:lnTo>
                <a:lnTo>
                  <a:pt x="1239" y="897"/>
                </a:lnTo>
                <a:lnTo>
                  <a:pt x="1235" y="903"/>
                </a:lnTo>
                <a:lnTo>
                  <a:pt x="1226" y="909"/>
                </a:lnTo>
                <a:lnTo>
                  <a:pt x="1218" y="916"/>
                </a:lnTo>
                <a:lnTo>
                  <a:pt x="1209" y="922"/>
                </a:lnTo>
                <a:lnTo>
                  <a:pt x="1199" y="925"/>
                </a:lnTo>
                <a:lnTo>
                  <a:pt x="1189" y="934"/>
                </a:lnTo>
                <a:lnTo>
                  <a:pt x="1177" y="941"/>
                </a:lnTo>
                <a:lnTo>
                  <a:pt x="1176" y="939"/>
                </a:lnTo>
                <a:lnTo>
                  <a:pt x="1175" y="938"/>
                </a:lnTo>
                <a:lnTo>
                  <a:pt x="1182" y="930"/>
                </a:lnTo>
                <a:lnTo>
                  <a:pt x="1189" y="921"/>
                </a:lnTo>
                <a:lnTo>
                  <a:pt x="1194" y="915"/>
                </a:lnTo>
                <a:lnTo>
                  <a:pt x="1198" y="910"/>
                </a:lnTo>
                <a:lnTo>
                  <a:pt x="1201" y="909"/>
                </a:lnTo>
                <a:lnTo>
                  <a:pt x="1202" y="908"/>
                </a:lnTo>
                <a:lnTo>
                  <a:pt x="1203" y="907"/>
                </a:lnTo>
                <a:lnTo>
                  <a:pt x="1202" y="904"/>
                </a:lnTo>
                <a:lnTo>
                  <a:pt x="1199" y="902"/>
                </a:lnTo>
                <a:lnTo>
                  <a:pt x="1197" y="902"/>
                </a:lnTo>
                <a:lnTo>
                  <a:pt x="1195" y="902"/>
                </a:lnTo>
                <a:lnTo>
                  <a:pt x="1194" y="903"/>
                </a:lnTo>
                <a:lnTo>
                  <a:pt x="1187" y="910"/>
                </a:lnTo>
                <a:lnTo>
                  <a:pt x="1180" y="916"/>
                </a:lnTo>
                <a:lnTo>
                  <a:pt x="1182" y="910"/>
                </a:lnTo>
                <a:lnTo>
                  <a:pt x="1183" y="904"/>
                </a:lnTo>
                <a:lnTo>
                  <a:pt x="1166" y="911"/>
                </a:lnTo>
                <a:lnTo>
                  <a:pt x="1148" y="918"/>
                </a:lnTo>
                <a:lnTo>
                  <a:pt x="1130" y="927"/>
                </a:lnTo>
                <a:lnTo>
                  <a:pt x="1113" y="935"/>
                </a:lnTo>
                <a:lnTo>
                  <a:pt x="1078" y="951"/>
                </a:lnTo>
                <a:lnTo>
                  <a:pt x="1044" y="970"/>
                </a:lnTo>
                <a:lnTo>
                  <a:pt x="1040" y="971"/>
                </a:lnTo>
                <a:lnTo>
                  <a:pt x="1037" y="973"/>
                </a:lnTo>
                <a:lnTo>
                  <a:pt x="1021" y="980"/>
                </a:lnTo>
                <a:lnTo>
                  <a:pt x="1004" y="987"/>
                </a:lnTo>
                <a:lnTo>
                  <a:pt x="988" y="995"/>
                </a:lnTo>
                <a:lnTo>
                  <a:pt x="971" y="1004"/>
                </a:lnTo>
                <a:lnTo>
                  <a:pt x="969" y="1004"/>
                </a:lnTo>
                <a:lnTo>
                  <a:pt x="967" y="1004"/>
                </a:lnTo>
                <a:lnTo>
                  <a:pt x="964" y="1009"/>
                </a:lnTo>
                <a:lnTo>
                  <a:pt x="963" y="1016"/>
                </a:lnTo>
                <a:lnTo>
                  <a:pt x="964" y="1009"/>
                </a:lnTo>
                <a:lnTo>
                  <a:pt x="967" y="1004"/>
                </a:lnTo>
                <a:lnTo>
                  <a:pt x="960" y="991"/>
                </a:lnTo>
                <a:lnTo>
                  <a:pt x="954" y="979"/>
                </a:lnTo>
                <a:lnTo>
                  <a:pt x="950" y="970"/>
                </a:lnTo>
                <a:lnTo>
                  <a:pt x="947" y="959"/>
                </a:lnTo>
                <a:lnTo>
                  <a:pt x="942" y="949"/>
                </a:lnTo>
                <a:lnTo>
                  <a:pt x="940" y="938"/>
                </a:lnTo>
                <a:lnTo>
                  <a:pt x="940" y="936"/>
                </a:lnTo>
                <a:lnTo>
                  <a:pt x="939" y="934"/>
                </a:lnTo>
                <a:lnTo>
                  <a:pt x="934" y="916"/>
                </a:lnTo>
                <a:lnTo>
                  <a:pt x="929" y="900"/>
                </a:lnTo>
                <a:lnTo>
                  <a:pt x="928" y="892"/>
                </a:lnTo>
                <a:lnTo>
                  <a:pt x="926" y="882"/>
                </a:lnTo>
                <a:lnTo>
                  <a:pt x="925" y="873"/>
                </a:lnTo>
                <a:lnTo>
                  <a:pt x="922" y="865"/>
                </a:lnTo>
                <a:lnTo>
                  <a:pt x="921" y="855"/>
                </a:lnTo>
                <a:lnTo>
                  <a:pt x="920" y="847"/>
                </a:lnTo>
                <a:lnTo>
                  <a:pt x="920" y="841"/>
                </a:lnTo>
                <a:lnTo>
                  <a:pt x="918" y="838"/>
                </a:lnTo>
                <a:lnTo>
                  <a:pt x="918" y="830"/>
                </a:lnTo>
                <a:lnTo>
                  <a:pt x="918" y="823"/>
                </a:lnTo>
                <a:lnTo>
                  <a:pt x="918" y="817"/>
                </a:lnTo>
                <a:lnTo>
                  <a:pt x="918" y="810"/>
                </a:lnTo>
                <a:lnTo>
                  <a:pt x="919" y="806"/>
                </a:lnTo>
                <a:lnTo>
                  <a:pt x="918" y="802"/>
                </a:lnTo>
                <a:lnTo>
                  <a:pt x="918" y="801"/>
                </a:lnTo>
                <a:lnTo>
                  <a:pt x="918" y="798"/>
                </a:lnTo>
                <a:lnTo>
                  <a:pt x="920" y="790"/>
                </a:lnTo>
                <a:lnTo>
                  <a:pt x="920" y="782"/>
                </a:lnTo>
                <a:lnTo>
                  <a:pt x="924" y="768"/>
                </a:lnTo>
                <a:lnTo>
                  <a:pt x="926" y="755"/>
                </a:lnTo>
                <a:lnTo>
                  <a:pt x="928" y="749"/>
                </a:lnTo>
                <a:lnTo>
                  <a:pt x="931" y="743"/>
                </a:lnTo>
                <a:lnTo>
                  <a:pt x="934" y="738"/>
                </a:lnTo>
                <a:lnTo>
                  <a:pt x="938" y="732"/>
                </a:lnTo>
                <a:lnTo>
                  <a:pt x="943" y="726"/>
                </a:lnTo>
                <a:lnTo>
                  <a:pt x="950" y="720"/>
                </a:lnTo>
                <a:lnTo>
                  <a:pt x="957" y="714"/>
                </a:lnTo>
                <a:lnTo>
                  <a:pt x="964" y="710"/>
                </a:lnTo>
                <a:lnTo>
                  <a:pt x="966" y="712"/>
                </a:lnTo>
                <a:lnTo>
                  <a:pt x="964" y="715"/>
                </a:lnTo>
                <a:lnTo>
                  <a:pt x="960" y="724"/>
                </a:lnTo>
                <a:lnTo>
                  <a:pt x="956" y="732"/>
                </a:lnTo>
                <a:lnTo>
                  <a:pt x="954" y="740"/>
                </a:lnTo>
                <a:lnTo>
                  <a:pt x="952" y="749"/>
                </a:lnTo>
                <a:lnTo>
                  <a:pt x="950" y="755"/>
                </a:lnTo>
                <a:lnTo>
                  <a:pt x="949" y="761"/>
                </a:lnTo>
                <a:lnTo>
                  <a:pt x="949" y="767"/>
                </a:lnTo>
                <a:lnTo>
                  <a:pt x="950" y="771"/>
                </a:lnTo>
                <a:lnTo>
                  <a:pt x="953" y="782"/>
                </a:lnTo>
                <a:lnTo>
                  <a:pt x="959" y="792"/>
                </a:lnTo>
                <a:lnTo>
                  <a:pt x="967" y="808"/>
                </a:lnTo>
                <a:lnTo>
                  <a:pt x="977" y="823"/>
                </a:lnTo>
                <a:lnTo>
                  <a:pt x="987" y="838"/>
                </a:lnTo>
                <a:lnTo>
                  <a:pt x="996" y="854"/>
                </a:lnTo>
                <a:lnTo>
                  <a:pt x="1001" y="860"/>
                </a:lnTo>
                <a:lnTo>
                  <a:pt x="1004" y="867"/>
                </a:lnTo>
                <a:lnTo>
                  <a:pt x="1010" y="872"/>
                </a:lnTo>
                <a:lnTo>
                  <a:pt x="1016" y="876"/>
                </a:lnTo>
                <a:lnTo>
                  <a:pt x="1026" y="881"/>
                </a:lnTo>
                <a:lnTo>
                  <a:pt x="1036" y="885"/>
                </a:lnTo>
                <a:lnTo>
                  <a:pt x="1046" y="888"/>
                </a:lnTo>
                <a:lnTo>
                  <a:pt x="1056" y="890"/>
                </a:lnTo>
                <a:lnTo>
                  <a:pt x="1066" y="892"/>
                </a:lnTo>
                <a:lnTo>
                  <a:pt x="1077" y="893"/>
                </a:lnTo>
                <a:lnTo>
                  <a:pt x="1087" y="893"/>
                </a:lnTo>
                <a:lnTo>
                  <a:pt x="1098" y="893"/>
                </a:lnTo>
                <a:lnTo>
                  <a:pt x="1102" y="894"/>
                </a:lnTo>
                <a:lnTo>
                  <a:pt x="1107" y="894"/>
                </a:lnTo>
                <a:lnTo>
                  <a:pt x="1112" y="892"/>
                </a:lnTo>
                <a:lnTo>
                  <a:pt x="1115" y="890"/>
                </a:lnTo>
                <a:lnTo>
                  <a:pt x="1122" y="885"/>
                </a:lnTo>
                <a:lnTo>
                  <a:pt x="1129" y="880"/>
                </a:lnTo>
                <a:lnTo>
                  <a:pt x="1135" y="875"/>
                </a:lnTo>
                <a:lnTo>
                  <a:pt x="1139" y="871"/>
                </a:lnTo>
                <a:lnTo>
                  <a:pt x="1141" y="865"/>
                </a:lnTo>
                <a:lnTo>
                  <a:pt x="1142" y="860"/>
                </a:lnTo>
                <a:lnTo>
                  <a:pt x="1148" y="847"/>
                </a:lnTo>
                <a:lnTo>
                  <a:pt x="1154" y="837"/>
                </a:lnTo>
                <a:lnTo>
                  <a:pt x="1156" y="833"/>
                </a:lnTo>
                <a:lnTo>
                  <a:pt x="1159" y="830"/>
                </a:lnTo>
                <a:lnTo>
                  <a:pt x="1159" y="829"/>
                </a:lnTo>
                <a:lnTo>
                  <a:pt x="1159" y="827"/>
                </a:lnTo>
                <a:lnTo>
                  <a:pt x="1156" y="825"/>
                </a:lnTo>
                <a:lnTo>
                  <a:pt x="1154" y="824"/>
                </a:lnTo>
                <a:lnTo>
                  <a:pt x="1153" y="823"/>
                </a:lnTo>
                <a:lnTo>
                  <a:pt x="1152" y="822"/>
                </a:lnTo>
                <a:lnTo>
                  <a:pt x="1150" y="820"/>
                </a:lnTo>
                <a:lnTo>
                  <a:pt x="1150" y="818"/>
                </a:lnTo>
                <a:lnTo>
                  <a:pt x="1155" y="822"/>
                </a:lnTo>
                <a:lnTo>
                  <a:pt x="1160" y="824"/>
                </a:lnTo>
                <a:lnTo>
                  <a:pt x="1161" y="818"/>
                </a:lnTo>
                <a:lnTo>
                  <a:pt x="1161" y="816"/>
                </a:lnTo>
                <a:lnTo>
                  <a:pt x="1157" y="813"/>
                </a:lnTo>
                <a:lnTo>
                  <a:pt x="1153" y="813"/>
                </a:lnTo>
                <a:lnTo>
                  <a:pt x="1149" y="813"/>
                </a:lnTo>
                <a:lnTo>
                  <a:pt x="1147" y="813"/>
                </a:lnTo>
                <a:lnTo>
                  <a:pt x="1146" y="813"/>
                </a:lnTo>
                <a:lnTo>
                  <a:pt x="1145" y="812"/>
                </a:lnTo>
                <a:lnTo>
                  <a:pt x="1143" y="811"/>
                </a:lnTo>
                <a:lnTo>
                  <a:pt x="1143" y="809"/>
                </a:lnTo>
                <a:lnTo>
                  <a:pt x="1143" y="803"/>
                </a:lnTo>
                <a:lnTo>
                  <a:pt x="1143" y="798"/>
                </a:lnTo>
                <a:lnTo>
                  <a:pt x="1143" y="796"/>
                </a:lnTo>
                <a:lnTo>
                  <a:pt x="1145" y="795"/>
                </a:lnTo>
                <a:lnTo>
                  <a:pt x="1147" y="792"/>
                </a:lnTo>
                <a:lnTo>
                  <a:pt x="1149" y="792"/>
                </a:lnTo>
                <a:lnTo>
                  <a:pt x="1154" y="790"/>
                </a:lnTo>
                <a:lnTo>
                  <a:pt x="1159" y="787"/>
                </a:lnTo>
                <a:lnTo>
                  <a:pt x="1161" y="787"/>
                </a:lnTo>
                <a:lnTo>
                  <a:pt x="1163" y="785"/>
                </a:lnTo>
                <a:lnTo>
                  <a:pt x="1167" y="785"/>
                </a:lnTo>
                <a:lnTo>
                  <a:pt x="1169" y="787"/>
                </a:lnTo>
                <a:lnTo>
                  <a:pt x="1171" y="782"/>
                </a:lnTo>
                <a:lnTo>
                  <a:pt x="1175" y="777"/>
                </a:lnTo>
                <a:lnTo>
                  <a:pt x="1173" y="776"/>
                </a:lnTo>
                <a:lnTo>
                  <a:pt x="1171" y="774"/>
                </a:lnTo>
                <a:lnTo>
                  <a:pt x="1171" y="771"/>
                </a:lnTo>
                <a:lnTo>
                  <a:pt x="1171" y="769"/>
                </a:lnTo>
                <a:lnTo>
                  <a:pt x="1171" y="767"/>
                </a:lnTo>
                <a:lnTo>
                  <a:pt x="1171" y="764"/>
                </a:lnTo>
                <a:lnTo>
                  <a:pt x="1169" y="763"/>
                </a:lnTo>
                <a:lnTo>
                  <a:pt x="1166" y="762"/>
                </a:lnTo>
                <a:lnTo>
                  <a:pt x="1166" y="762"/>
                </a:lnTo>
                <a:lnTo>
                  <a:pt x="1162" y="759"/>
                </a:lnTo>
                <a:lnTo>
                  <a:pt x="1157" y="755"/>
                </a:lnTo>
                <a:lnTo>
                  <a:pt x="1153" y="753"/>
                </a:lnTo>
                <a:lnTo>
                  <a:pt x="1148" y="752"/>
                </a:lnTo>
                <a:lnTo>
                  <a:pt x="1143" y="750"/>
                </a:lnTo>
                <a:lnTo>
                  <a:pt x="1140" y="747"/>
                </a:lnTo>
                <a:lnTo>
                  <a:pt x="1138" y="743"/>
                </a:lnTo>
                <a:lnTo>
                  <a:pt x="1136" y="740"/>
                </a:lnTo>
                <a:lnTo>
                  <a:pt x="1134" y="735"/>
                </a:lnTo>
                <a:lnTo>
                  <a:pt x="1132" y="732"/>
                </a:lnTo>
                <a:lnTo>
                  <a:pt x="1128" y="731"/>
                </a:lnTo>
                <a:lnTo>
                  <a:pt x="1125" y="729"/>
                </a:lnTo>
                <a:lnTo>
                  <a:pt x="1121" y="728"/>
                </a:lnTo>
                <a:lnTo>
                  <a:pt x="1119" y="728"/>
                </a:lnTo>
                <a:lnTo>
                  <a:pt x="1118" y="729"/>
                </a:lnTo>
                <a:lnTo>
                  <a:pt x="1118" y="731"/>
                </a:lnTo>
                <a:lnTo>
                  <a:pt x="1118" y="733"/>
                </a:lnTo>
                <a:lnTo>
                  <a:pt x="1119" y="734"/>
                </a:lnTo>
                <a:lnTo>
                  <a:pt x="1120" y="736"/>
                </a:lnTo>
                <a:lnTo>
                  <a:pt x="1119" y="739"/>
                </a:lnTo>
                <a:lnTo>
                  <a:pt x="1118" y="739"/>
                </a:lnTo>
                <a:lnTo>
                  <a:pt x="1115" y="739"/>
                </a:lnTo>
                <a:lnTo>
                  <a:pt x="1108" y="734"/>
                </a:lnTo>
                <a:lnTo>
                  <a:pt x="1104" y="728"/>
                </a:lnTo>
                <a:lnTo>
                  <a:pt x="1102" y="725"/>
                </a:lnTo>
                <a:lnTo>
                  <a:pt x="1099" y="722"/>
                </a:lnTo>
                <a:lnTo>
                  <a:pt x="1097" y="722"/>
                </a:lnTo>
                <a:lnTo>
                  <a:pt x="1093" y="722"/>
                </a:lnTo>
                <a:lnTo>
                  <a:pt x="1088" y="724"/>
                </a:lnTo>
                <a:lnTo>
                  <a:pt x="1086" y="722"/>
                </a:lnTo>
                <a:lnTo>
                  <a:pt x="1084" y="720"/>
                </a:lnTo>
                <a:lnTo>
                  <a:pt x="1083" y="717"/>
                </a:lnTo>
                <a:lnTo>
                  <a:pt x="1083" y="714"/>
                </a:lnTo>
                <a:lnTo>
                  <a:pt x="1083" y="712"/>
                </a:lnTo>
                <a:lnTo>
                  <a:pt x="1081" y="710"/>
                </a:lnTo>
                <a:lnTo>
                  <a:pt x="1079" y="708"/>
                </a:lnTo>
                <a:lnTo>
                  <a:pt x="1077" y="712"/>
                </a:lnTo>
                <a:lnTo>
                  <a:pt x="1074" y="715"/>
                </a:lnTo>
                <a:lnTo>
                  <a:pt x="1072" y="712"/>
                </a:lnTo>
                <a:lnTo>
                  <a:pt x="1069" y="708"/>
                </a:lnTo>
                <a:lnTo>
                  <a:pt x="1064" y="706"/>
                </a:lnTo>
                <a:lnTo>
                  <a:pt x="1059" y="705"/>
                </a:lnTo>
                <a:lnTo>
                  <a:pt x="1059" y="703"/>
                </a:lnTo>
                <a:lnTo>
                  <a:pt x="1058" y="700"/>
                </a:lnTo>
                <a:lnTo>
                  <a:pt x="1057" y="699"/>
                </a:lnTo>
                <a:lnTo>
                  <a:pt x="1056" y="699"/>
                </a:lnTo>
                <a:lnTo>
                  <a:pt x="1052" y="699"/>
                </a:lnTo>
                <a:lnTo>
                  <a:pt x="1049" y="700"/>
                </a:lnTo>
                <a:lnTo>
                  <a:pt x="1040" y="698"/>
                </a:lnTo>
                <a:lnTo>
                  <a:pt x="1031" y="696"/>
                </a:lnTo>
                <a:lnTo>
                  <a:pt x="1031" y="692"/>
                </a:lnTo>
                <a:lnTo>
                  <a:pt x="1032" y="689"/>
                </a:lnTo>
                <a:lnTo>
                  <a:pt x="1036" y="687"/>
                </a:lnTo>
                <a:lnTo>
                  <a:pt x="1039" y="686"/>
                </a:lnTo>
                <a:lnTo>
                  <a:pt x="1042" y="686"/>
                </a:lnTo>
                <a:lnTo>
                  <a:pt x="1043" y="685"/>
                </a:lnTo>
                <a:lnTo>
                  <a:pt x="1044" y="683"/>
                </a:lnTo>
                <a:lnTo>
                  <a:pt x="1044" y="680"/>
                </a:lnTo>
                <a:lnTo>
                  <a:pt x="1044" y="678"/>
                </a:lnTo>
                <a:lnTo>
                  <a:pt x="1042" y="677"/>
                </a:lnTo>
                <a:lnTo>
                  <a:pt x="1039" y="677"/>
                </a:lnTo>
                <a:lnTo>
                  <a:pt x="1038" y="677"/>
                </a:lnTo>
                <a:lnTo>
                  <a:pt x="1035" y="678"/>
                </a:lnTo>
                <a:lnTo>
                  <a:pt x="1031" y="678"/>
                </a:lnTo>
                <a:lnTo>
                  <a:pt x="1029" y="679"/>
                </a:lnTo>
                <a:lnTo>
                  <a:pt x="1025" y="682"/>
                </a:lnTo>
                <a:lnTo>
                  <a:pt x="1019" y="678"/>
                </a:lnTo>
                <a:lnTo>
                  <a:pt x="1014" y="673"/>
                </a:lnTo>
                <a:lnTo>
                  <a:pt x="1010" y="668"/>
                </a:lnTo>
                <a:lnTo>
                  <a:pt x="1007" y="662"/>
                </a:lnTo>
                <a:lnTo>
                  <a:pt x="1010" y="662"/>
                </a:lnTo>
                <a:lnTo>
                  <a:pt x="1015" y="663"/>
                </a:lnTo>
                <a:lnTo>
                  <a:pt x="1023" y="666"/>
                </a:lnTo>
                <a:lnTo>
                  <a:pt x="1032" y="669"/>
                </a:lnTo>
                <a:lnTo>
                  <a:pt x="1040" y="671"/>
                </a:lnTo>
                <a:lnTo>
                  <a:pt x="1050" y="672"/>
                </a:lnTo>
                <a:lnTo>
                  <a:pt x="1067" y="673"/>
                </a:lnTo>
                <a:lnTo>
                  <a:pt x="1086" y="673"/>
                </a:lnTo>
                <a:lnTo>
                  <a:pt x="1090" y="673"/>
                </a:lnTo>
                <a:lnTo>
                  <a:pt x="1093" y="672"/>
                </a:lnTo>
                <a:lnTo>
                  <a:pt x="1097" y="671"/>
                </a:lnTo>
                <a:lnTo>
                  <a:pt x="1100" y="669"/>
                </a:lnTo>
                <a:lnTo>
                  <a:pt x="1095" y="668"/>
                </a:lnTo>
                <a:lnTo>
                  <a:pt x="1091" y="668"/>
                </a:lnTo>
                <a:lnTo>
                  <a:pt x="1086" y="668"/>
                </a:lnTo>
                <a:lnTo>
                  <a:pt x="1083" y="669"/>
                </a:lnTo>
                <a:lnTo>
                  <a:pt x="1078" y="671"/>
                </a:lnTo>
                <a:lnTo>
                  <a:pt x="1073" y="671"/>
                </a:lnTo>
                <a:lnTo>
                  <a:pt x="1069" y="671"/>
                </a:lnTo>
                <a:lnTo>
                  <a:pt x="1064" y="671"/>
                </a:lnTo>
                <a:lnTo>
                  <a:pt x="1051" y="669"/>
                </a:lnTo>
                <a:lnTo>
                  <a:pt x="1038" y="665"/>
                </a:lnTo>
                <a:lnTo>
                  <a:pt x="1025" y="662"/>
                </a:lnTo>
                <a:lnTo>
                  <a:pt x="1014" y="658"/>
                </a:lnTo>
                <a:lnTo>
                  <a:pt x="1002" y="652"/>
                </a:lnTo>
                <a:lnTo>
                  <a:pt x="990" y="648"/>
                </a:lnTo>
                <a:lnTo>
                  <a:pt x="978" y="641"/>
                </a:lnTo>
                <a:lnTo>
                  <a:pt x="968" y="634"/>
                </a:lnTo>
                <a:lnTo>
                  <a:pt x="963" y="630"/>
                </a:lnTo>
                <a:lnTo>
                  <a:pt x="960" y="627"/>
                </a:lnTo>
                <a:lnTo>
                  <a:pt x="955" y="623"/>
                </a:lnTo>
                <a:lnTo>
                  <a:pt x="949" y="622"/>
                </a:lnTo>
                <a:lnTo>
                  <a:pt x="949" y="622"/>
                </a:lnTo>
                <a:lnTo>
                  <a:pt x="949" y="619"/>
                </a:lnTo>
                <a:lnTo>
                  <a:pt x="948" y="616"/>
                </a:lnTo>
                <a:lnTo>
                  <a:pt x="943" y="612"/>
                </a:lnTo>
                <a:lnTo>
                  <a:pt x="941" y="608"/>
                </a:lnTo>
                <a:lnTo>
                  <a:pt x="939" y="603"/>
                </a:lnTo>
                <a:lnTo>
                  <a:pt x="938" y="599"/>
                </a:lnTo>
                <a:lnTo>
                  <a:pt x="938" y="595"/>
                </a:lnTo>
                <a:lnTo>
                  <a:pt x="939" y="591"/>
                </a:lnTo>
                <a:lnTo>
                  <a:pt x="940" y="585"/>
                </a:lnTo>
                <a:lnTo>
                  <a:pt x="943" y="580"/>
                </a:lnTo>
                <a:lnTo>
                  <a:pt x="945" y="574"/>
                </a:lnTo>
                <a:lnTo>
                  <a:pt x="945" y="567"/>
                </a:lnTo>
                <a:lnTo>
                  <a:pt x="946" y="565"/>
                </a:lnTo>
                <a:lnTo>
                  <a:pt x="947" y="563"/>
                </a:lnTo>
                <a:lnTo>
                  <a:pt x="948" y="560"/>
                </a:lnTo>
                <a:lnTo>
                  <a:pt x="952" y="558"/>
                </a:lnTo>
                <a:lnTo>
                  <a:pt x="952" y="557"/>
                </a:lnTo>
                <a:lnTo>
                  <a:pt x="950" y="556"/>
                </a:lnTo>
                <a:lnTo>
                  <a:pt x="943" y="550"/>
                </a:lnTo>
                <a:lnTo>
                  <a:pt x="938" y="543"/>
                </a:lnTo>
                <a:lnTo>
                  <a:pt x="934" y="539"/>
                </a:lnTo>
                <a:lnTo>
                  <a:pt x="931" y="537"/>
                </a:lnTo>
                <a:lnTo>
                  <a:pt x="926" y="536"/>
                </a:lnTo>
                <a:lnTo>
                  <a:pt x="921" y="535"/>
                </a:lnTo>
                <a:lnTo>
                  <a:pt x="914" y="529"/>
                </a:lnTo>
                <a:lnTo>
                  <a:pt x="907" y="523"/>
                </a:lnTo>
                <a:lnTo>
                  <a:pt x="906" y="521"/>
                </a:lnTo>
                <a:lnTo>
                  <a:pt x="905" y="519"/>
                </a:lnTo>
                <a:lnTo>
                  <a:pt x="902" y="516"/>
                </a:lnTo>
                <a:lnTo>
                  <a:pt x="902" y="512"/>
                </a:lnTo>
                <a:lnTo>
                  <a:pt x="919" y="523"/>
                </a:lnTo>
                <a:lnTo>
                  <a:pt x="935" y="532"/>
                </a:lnTo>
                <a:lnTo>
                  <a:pt x="953" y="540"/>
                </a:lnTo>
                <a:lnTo>
                  <a:pt x="970" y="547"/>
                </a:lnTo>
                <a:lnTo>
                  <a:pt x="967" y="542"/>
                </a:lnTo>
                <a:lnTo>
                  <a:pt x="962" y="537"/>
                </a:lnTo>
                <a:lnTo>
                  <a:pt x="954" y="530"/>
                </a:lnTo>
                <a:lnTo>
                  <a:pt x="947" y="522"/>
                </a:lnTo>
                <a:lnTo>
                  <a:pt x="941" y="514"/>
                </a:lnTo>
                <a:lnTo>
                  <a:pt x="936" y="505"/>
                </a:lnTo>
                <a:lnTo>
                  <a:pt x="928" y="487"/>
                </a:lnTo>
                <a:lnTo>
                  <a:pt x="924" y="467"/>
                </a:lnTo>
                <a:lnTo>
                  <a:pt x="922" y="462"/>
                </a:lnTo>
                <a:lnTo>
                  <a:pt x="924" y="459"/>
                </a:lnTo>
                <a:lnTo>
                  <a:pt x="927" y="458"/>
                </a:lnTo>
                <a:lnTo>
                  <a:pt x="932" y="456"/>
                </a:lnTo>
                <a:lnTo>
                  <a:pt x="938" y="460"/>
                </a:lnTo>
                <a:lnTo>
                  <a:pt x="942" y="463"/>
                </a:lnTo>
                <a:lnTo>
                  <a:pt x="948" y="468"/>
                </a:lnTo>
                <a:lnTo>
                  <a:pt x="955" y="470"/>
                </a:lnTo>
                <a:lnTo>
                  <a:pt x="961" y="473"/>
                </a:lnTo>
                <a:lnTo>
                  <a:pt x="968" y="474"/>
                </a:lnTo>
                <a:lnTo>
                  <a:pt x="970" y="474"/>
                </a:lnTo>
                <a:lnTo>
                  <a:pt x="971" y="473"/>
                </a:lnTo>
                <a:lnTo>
                  <a:pt x="971" y="470"/>
                </a:lnTo>
                <a:lnTo>
                  <a:pt x="970" y="469"/>
                </a:lnTo>
                <a:lnTo>
                  <a:pt x="963" y="463"/>
                </a:lnTo>
                <a:lnTo>
                  <a:pt x="957" y="458"/>
                </a:lnTo>
                <a:lnTo>
                  <a:pt x="950" y="453"/>
                </a:lnTo>
                <a:lnTo>
                  <a:pt x="941" y="449"/>
                </a:lnTo>
                <a:lnTo>
                  <a:pt x="938" y="447"/>
                </a:lnTo>
                <a:lnTo>
                  <a:pt x="934" y="444"/>
                </a:lnTo>
                <a:lnTo>
                  <a:pt x="925" y="437"/>
                </a:lnTo>
                <a:lnTo>
                  <a:pt x="915" y="428"/>
                </a:lnTo>
                <a:lnTo>
                  <a:pt x="912" y="425"/>
                </a:lnTo>
                <a:lnTo>
                  <a:pt x="908" y="420"/>
                </a:lnTo>
                <a:lnTo>
                  <a:pt x="905" y="414"/>
                </a:lnTo>
                <a:lnTo>
                  <a:pt x="904" y="409"/>
                </a:lnTo>
                <a:lnTo>
                  <a:pt x="904" y="404"/>
                </a:lnTo>
                <a:lnTo>
                  <a:pt x="904" y="399"/>
                </a:lnTo>
                <a:lnTo>
                  <a:pt x="904" y="399"/>
                </a:lnTo>
                <a:lnTo>
                  <a:pt x="908" y="385"/>
                </a:lnTo>
                <a:lnTo>
                  <a:pt x="912" y="369"/>
                </a:lnTo>
                <a:lnTo>
                  <a:pt x="914" y="354"/>
                </a:lnTo>
                <a:lnTo>
                  <a:pt x="918" y="339"/>
                </a:lnTo>
                <a:lnTo>
                  <a:pt x="924" y="322"/>
                </a:lnTo>
                <a:lnTo>
                  <a:pt x="929" y="307"/>
                </a:lnTo>
                <a:lnTo>
                  <a:pt x="936" y="292"/>
                </a:lnTo>
                <a:lnTo>
                  <a:pt x="943" y="277"/>
                </a:lnTo>
                <a:lnTo>
                  <a:pt x="953" y="263"/>
                </a:lnTo>
                <a:lnTo>
                  <a:pt x="963" y="249"/>
                </a:lnTo>
                <a:lnTo>
                  <a:pt x="975" y="236"/>
                </a:lnTo>
                <a:lnTo>
                  <a:pt x="987" y="224"/>
                </a:lnTo>
                <a:lnTo>
                  <a:pt x="1000" y="214"/>
                </a:lnTo>
                <a:lnTo>
                  <a:pt x="1014" y="204"/>
                </a:lnTo>
                <a:lnTo>
                  <a:pt x="1029" y="196"/>
                </a:lnTo>
                <a:lnTo>
                  <a:pt x="1045" y="188"/>
                </a:lnTo>
                <a:lnTo>
                  <a:pt x="1054" y="184"/>
                </a:lnTo>
                <a:lnTo>
                  <a:pt x="1064" y="181"/>
                </a:lnTo>
                <a:lnTo>
                  <a:pt x="1072" y="177"/>
                </a:lnTo>
                <a:lnTo>
                  <a:pt x="1081" y="173"/>
                </a:lnTo>
                <a:lnTo>
                  <a:pt x="1099" y="169"/>
                </a:lnTo>
                <a:lnTo>
                  <a:pt x="1115" y="166"/>
                </a:lnTo>
                <a:lnTo>
                  <a:pt x="1136" y="163"/>
                </a:lnTo>
                <a:lnTo>
                  <a:pt x="1157" y="161"/>
                </a:lnTo>
                <a:lnTo>
                  <a:pt x="1177" y="161"/>
                </a:lnTo>
                <a:lnTo>
                  <a:pt x="1198" y="161"/>
                </a:lnTo>
                <a:lnTo>
                  <a:pt x="1210" y="161"/>
                </a:lnTo>
                <a:lnTo>
                  <a:pt x="1221" y="163"/>
                </a:lnTo>
                <a:lnTo>
                  <a:pt x="1231" y="166"/>
                </a:lnTo>
                <a:lnTo>
                  <a:pt x="1242" y="167"/>
                </a:lnTo>
                <a:lnTo>
                  <a:pt x="1252" y="168"/>
                </a:lnTo>
                <a:lnTo>
                  <a:pt x="1264" y="170"/>
                </a:lnTo>
                <a:lnTo>
                  <a:pt x="1264" y="167"/>
                </a:lnTo>
                <a:lnTo>
                  <a:pt x="1265" y="166"/>
                </a:lnTo>
                <a:lnTo>
                  <a:pt x="1266" y="163"/>
                </a:lnTo>
                <a:lnTo>
                  <a:pt x="1268" y="162"/>
                </a:lnTo>
                <a:lnTo>
                  <a:pt x="1272" y="160"/>
                </a:lnTo>
                <a:lnTo>
                  <a:pt x="1275" y="159"/>
                </a:lnTo>
                <a:lnTo>
                  <a:pt x="1278" y="159"/>
                </a:lnTo>
                <a:lnTo>
                  <a:pt x="1279" y="158"/>
                </a:lnTo>
                <a:lnTo>
                  <a:pt x="1280" y="156"/>
                </a:lnTo>
                <a:lnTo>
                  <a:pt x="1280" y="155"/>
                </a:lnTo>
                <a:lnTo>
                  <a:pt x="1281" y="154"/>
                </a:lnTo>
                <a:lnTo>
                  <a:pt x="1283" y="153"/>
                </a:lnTo>
                <a:lnTo>
                  <a:pt x="1284" y="153"/>
                </a:lnTo>
                <a:lnTo>
                  <a:pt x="1285" y="153"/>
                </a:lnTo>
                <a:lnTo>
                  <a:pt x="1286" y="152"/>
                </a:lnTo>
                <a:lnTo>
                  <a:pt x="1286" y="149"/>
                </a:lnTo>
                <a:lnTo>
                  <a:pt x="1301" y="141"/>
                </a:lnTo>
                <a:lnTo>
                  <a:pt x="1315" y="131"/>
                </a:lnTo>
                <a:lnTo>
                  <a:pt x="1329" y="121"/>
                </a:lnTo>
                <a:lnTo>
                  <a:pt x="1344" y="112"/>
                </a:lnTo>
                <a:lnTo>
                  <a:pt x="1355" y="104"/>
                </a:lnTo>
                <a:lnTo>
                  <a:pt x="1367" y="97"/>
                </a:lnTo>
                <a:lnTo>
                  <a:pt x="1373" y="92"/>
                </a:lnTo>
                <a:lnTo>
                  <a:pt x="1376" y="88"/>
                </a:lnTo>
                <a:lnTo>
                  <a:pt x="1378" y="85"/>
                </a:lnTo>
                <a:lnTo>
                  <a:pt x="1381" y="83"/>
                </a:lnTo>
                <a:lnTo>
                  <a:pt x="1384" y="82"/>
                </a:lnTo>
                <a:lnTo>
                  <a:pt x="1388" y="82"/>
                </a:lnTo>
                <a:lnTo>
                  <a:pt x="1388" y="81"/>
                </a:lnTo>
                <a:lnTo>
                  <a:pt x="1389" y="79"/>
                </a:lnTo>
                <a:lnTo>
                  <a:pt x="1389" y="72"/>
                </a:lnTo>
                <a:lnTo>
                  <a:pt x="1389" y="65"/>
                </a:lnTo>
                <a:lnTo>
                  <a:pt x="1388" y="62"/>
                </a:lnTo>
                <a:lnTo>
                  <a:pt x="1387" y="58"/>
                </a:lnTo>
                <a:lnTo>
                  <a:pt x="1385" y="55"/>
                </a:lnTo>
                <a:lnTo>
                  <a:pt x="1383" y="51"/>
                </a:lnTo>
                <a:lnTo>
                  <a:pt x="1383" y="49"/>
                </a:lnTo>
                <a:lnTo>
                  <a:pt x="1383" y="47"/>
                </a:lnTo>
                <a:lnTo>
                  <a:pt x="1381" y="41"/>
                </a:lnTo>
                <a:lnTo>
                  <a:pt x="1377" y="36"/>
                </a:lnTo>
                <a:lnTo>
                  <a:pt x="1371" y="28"/>
                </a:lnTo>
                <a:lnTo>
                  <a:pt x="1366" y="21"/>
                </a:lnTo>
                <a:lnTo>
                  <a:pt x="1357" y="14"/>
                </a:lnTo>
                <a:lnTo>
                  <a:pt x="1348" y="8"/>
                </a:lnTo>
                <a:lnTo>
                  <a:pt x="1339" y="4"/>
                </a:lnTo>
                <a:lnTo>
                  <a:pt x="1328" y="0"/>
                </a:lnTo>
                <a:lnTo>
                  <a:pt x="1318" y="0"/>
                </a:lnTo>
                <a:lnTo>
                  <a:pt x="1307" y="1"/>
                </a:lnTo>
                <a:lnTo>
                  <a:pt x="1298" y="5"/>
                </a:lnTo>
                <a:lnTo>
                  <a:pt x="1290" y="9"/>
                </a:lnTo>
                <a:lnTo>
                  <a:pt x="1283" y="14"/>
                </a:lnTo>
                <a:lnTo>
                  <a:pt x="1274" y="20"/>
                </a:lnTo>
                <a:lnTo>
                  <a:pt x="1247" y="37"/>
                </a:lnTo>
                <a:lnTo>
                  <a:pt x="1221" y="55"/>
                </a:lnTo>
                <a:lnTo>
                  <a:pt x="1194" y="74"/>
                </a:lnTo>
                <a:lnTo>
                  <a:pt x="1167" y="92"/>
                </a:lnTo>
                <a:lnTo>
                  <a:pt x="1135" y="114"/>
                </a:lnTo>
                <a:lnTo>
                  <a:pt x="1102" y="135"/>
                </a:lnTo>
                <a:lnTo>
                  <a:pt x="1071" y="158"/>
                </a:lnTo>
                <a:lnTo>
                  <a:pt x="1039" y="180"/>
                </a:lnTo>
                <a:lnTo>
                  <a:pt x="1024" y="191"/>
                </a:lnTo>
                <a:lnTo>
                  <a:pt x="1009" y="202"/>
                </a:lnTo>
                <a:lnTo>
                  <a:pt x="994" y="212"/>
                </a:lnTo>
                <a:lnTo>
                  <a:pt x="978" y="223"/>
                </a:lnTo>
                <a:lnTo>
                  <a:pt x="952" y="243"/>
                </a:lnTo>
                <a:lnTo>
                  <a:pt x="926" y="264"/>
                </a:lnTo>
                <a:lnTo>
                  <a:pt x="899" y="284"/>
                </a:lnTo>
                <a:lnTo>
                  <a:pt x="872" y="305"/>
                </a:lnTo>
                <a:lnTo>
                  <a:pt x="851" y="322"/>
                </a:lnTo>
                <a:lnTo>
                  <a:pt x="830" y="339"/>
                </a:lnTo>
                <a:lnTo>
                  <a:pt x="808" y="356"/>
                </a:lnTo>
                <a:lnTo>
                  <a:pt x="786" y="372"/>
                </a:lnTo>
                <a:lnTo>
                  <a:pt x="766" y="388"/>
                </a:lnTo>
                <a:lnTo>
                  <a:pt x="746" y="402"/>
                </a:lnTo>
                <a:lnTo>
                  <a:pt x="727" y="417"/>
                </a:lnTo>
                <a:lnTo>
                  <a:pt x="707" y="432"/>
                </a:lnTo>
                <a:lnTo>
                  <a:pt x="700" y="437"/>
                </a:lnTo>
                <a:lnTo>
                  <a:pt x="693" y="440"/>
                </a:lnTo>
                <a:lnTo>
                  <a:pt x="663" y="463"/>
                </a:lnTo>
                <a:lnTo>
                  <a:pt x="631" y="487"/>
                </a:lnTo>
                <a:lnTo>
                  <a:pt x="600" y="509"/>
                </a:lnTo>
                <a:lnTo>
                  <a:pt x="568" y="531"/>
                </a:lnTo>
                <a:lnTo>
                  <a:pt x="532" y="557"/>
                </a:lnTo>
                <a:lnTo>
                  <a:pt x="496" y="581"/>
                </a:lnTo>
                <a:lnTo>
                  <a:pt x="459" y="607"/>
                </a:lnTo>
                <a:lnTo>
                  <a:pt x="422" y="631"/>
                </a:lnTo>
                <a:lnTo>
                  <a:pt x="417" y="635"/>
                </a:lnTo>
                <a:lnTo>
                  <a:pt x="415" y="638"/>
                </a:lnTo>
                <a:lnTo>
                  <a:pt x="417" y="641"/>
                </a:lnTo>
                <a:lnTo>
                  <a:pt x="422" y="644"/>
                </a:lnTo>
                <a:lnTo>
                  <a:pt x="423" y="647"/>
                </a:lnTo>
                <a:lnTo>
                  <a:pt x="424" y="649"/>
                </a:lnTo>
                <a:lnTo>
                  <a:pt x="424" y="650"/>
                </a:lnTo>
                <a:lnTo>
                  <a:pt x="424" y="650"/>
                </a:lnTo>
                <a:lnTo>
                  <a:pt x="427" y="654"/>
                </a:lnTo>
                <a:lnTo>
                  <a:pt x="429" y="657"/>
                </a:lnTo>
                <a:lnTo>
                  <a:pt x="435" y="668"/>
                </a:lnTo>
                <a:lnTo>
                  <a:pt x="441" y="678"/>
                </a:lnTo>
                <a:lnTo>
                  <a:pt x="443" y="683"/>
                </a:lnTo>
                <a:lnTo>
                  <a:pt x="445" y="685"/>
                </a:lnTo>
                <a:lnTo>
                  <a:pt x="448" y="685"/>
                </a:lnTo>
                <a:lnTo>
                  <a:pt x="450" y="685"/>
                </a:lnTo>
                <a:lnTo>
                  <a:pt x="451" y="684"/>
                </a:lnTo>
                <a:lnTo>
                  <a:pt x="455" y="683"/>
                </a:lnTo>
                <a:lnTo>
                  <a:pt x="463" y="678"/>
                </a:lnTo>
                <a:lnTo>
                  <a:pt x="470" y="671"/>
                </a:lnTo>
                <a:lnTo>
                  <a:pt x="471" y="671"/>
                </a:lnTo>
                <a:lnTo>
                  <a:pt x="471" y="671"/>
                </a:lnTo>
                <a:lnTo>
                  <a:pt x="476" y="669"/>
                </a:lnTo>
                <a:lnTo>
                  <a:pt x="479" y="665"/>
                </a:lnTo>
                <a:lnTo>
                  <a:pt x="480" y="665"/>
                </a:lnTo>
                <a:lnTo>
                  <a:pt x="480" y="665"/>
                </a:lnTo>
                <a:lnTo>
                  <a:pt x="483" y="665"/>
                </a:lnTo>
                <a:lnTo>
                  <a:pt x="484" y="664"/>
                </a:lnTo>
                <a:lnTo>
                  <a:pt x="485" y="663"/>
                </a:lnTo>
                <a:lnTo>
                  <a:pt x="485" y="662"/>
                </a:lnTo>
                <a:lnTo>
                  <a:pt x="487" y="659"/>
                </a:lnTo>
                <a:lnTo>
                  <a:pt x="489" y="656"/>
                </a:lnTo>
                <a:lnTo>
                  <a:pt x="492" y="656"/>
                </a:lnTo>
                <a:lnTo>
                  <a:pt x="494" y="655"/>
                </a:lnTo>
                <a:lnTo>
                  <a:pt x="507" y="647"/>
                </a:lnTo>
                <a:lnTo>
                  <a:pt x="520" y="638"/>
                </a:lnTo>
                <a:lnTo>
                  <a:pt x="549" y="620"/>
                </a:lnTo>
                <a:lnTo>
                  <a:pt x="577" y="601"/>
                </a:lnTo>
                <a:lnTo>
                  <a:pt x="607" y="584"/>
                </a:lnTo>
                <a:lnTo>
                  <a:pt x="635" y="565"/>
                </a:lnTo>
                <a:lnTo>
                  <a:pt x="637" y="564"/>
                </a:lnTo>
                <a:lnTo>
                  <a:pt x="638" y="564"/>
                </a:lnTo>
                <a:lnTo>
                  <a:pt x="667" y="546"/>
                </a:lnTo>
                <a:lnTo>
                  <a:pt x="695" y="529"/>
                </a:lnTo>
                <a:lnTo>
                  <a:pt x="725" y="511"/>
                </a:lnTo>
                <a:lnTo>
                  <a:pt x="753" y="494"/>
                </a:lnTo>
                <a:lnTo>
                  <a:pt x="788" y="473"/>
                </a:lnTo>
                <a:lnTo>
                  <a:pt x="823" y="453"/>
                </a:lnTo>
                <a:lnTo>
                  <a:pt x="858" y="433"/>
                </a:lnTo>
                <a:lnTo>
                  <a:pt x="893" y="413"/>
                </a:lnTo>
                <a:lnTo>
                  <a:pt x="895" y="412"/>
                </a:lnTo>
                <a:lnTo>
                  <a:pt x="897" y="412"/>
                </a:lnTo>
                <a:lnTo>
                  <a:pt x="898" y="413"/>
                </a:lnTo>
                <a:lnTo>
                  <a:pt x="899" y="416"/>
                </a:lnTo>
                <a:lnTo>
                  <a:pt x="900" y="423"/>
                </a:lnTo>
                <a:lnTo>
                  <a:pt x="901" y="431"/>
                </a:lnTo>
                <a:lnTo>
                  <a:pt x="901" y="440"/>
                </a:lnTo>
                <a:lnTo>
                  <a:pt x="900" y="448"/>
                </a:lnTo>
                <a:lnTo>
                  <a:pt x="900" y="451"/>
                </a:lnTo>
                <a:lnTo>
                  <a:pt x="900" y="452"/>
                </a:lnTo>
                <a:lnTo>
                  <a:pt x="900" y="456"/>
                </a:lnTo>
                <a:lnTo>
                  <a:pt x="900" y="460"/>
                </a:lnTo>
                <a:lnTo>
                  <a:pt x="900" y="462"/>
                </a:lnTo>
                <a:lnTo>
                  <a:pt x="900" y="463"/>
                </a:lnTo>
                <a:lnTo>
                  <a:pt x="900" y="474"/>
                </a:lnTo>
                <a:lnTo>
                  <a:pt x="900" y="484"/>
                </a:lnTo>
                <a:lnTo>
                  <a:pt x="900" y="490"/>
                </a:lnTo>
                <a:lnTo>
                  <a:pt x="899" y="495"/>
                </a:lnTo>
                <a:lnTo>
                  <a:pt x="897" y="501"/>
                </a:lnTo>
                <a:lnTo>
                  <a:pt x="894" y="505"/>
                </a:lnTo>
                <a:lnTo>
                  <a:pt x="893" y="508"/>
                </a:lnTo>
                <a:lnTo>
                  <a:pt x="894" y="511"/>
                </a:lnTo>
                <a:lnTo>
                  <a:pt x="895" y="516"/>
                </a:lnTo>
                <a:lnTo>
                  <a:pt x="895" y="522"/>
                </a:lnTo>
                <a:lnTo>
                  <a:pt x="895" y="526"/>
                </a:lnTo>
                <a:lnTo>
                  <a:pt x="894" y="531"/>
                </a:lnTo>
                <a:lnTo>
                  <a:pt x="893" y="538"/>
                </a:lnTo>
                <a:lnTo>
                  <a:pt x="894" y="545"/>
                </a:lnTo>
                <a:lnTo>
                  <a:pt x="895" y="552"/>
                </a:lnTo>
                <a:lnTo>
                  <a:pt x="897" y="558"/>
                </a:lnTo>
                <a:lnTo>
                  <a:pt x="904" y="571"/>
                </a:lnTo>
                <a:lnTo>
                  <a:pt x="911" y="582"/>
                </a:lnTo>
                <a:lnTo>
                  <a:pt x="921" y="598"/>
                </a:lnTo>
                <a:lnTo>
                  <a:pt x="932" y="614"/>
                </a:lnTo>
                <a:lnTo>
                  <a:pt x="936" y="616"/>
                </a:lnTo>
                <a:lnTo>
                  <a:pt x="939" y="619"/>
                </a:lnTo>
                <a:lnTo>
                  <a:pt x="936" y="616"/>
                </a:lnTo>
                <a:lnTo>
                  <a:pt x="932" y="614"/>
                </a:lnTo>
                <a:lnTo>
                  <a:pt x="932" y="627"/>
                </a:lnTo>
                <a:lnTo>
                  <a:pt x="931" y="641"/>
                </a:lnTo>
                <a:lnTo>
                  <a:pt x="931" y="644"/>
                </a:lnTo>
                <a:lnTo>
                  <a:pt x="932" y="649"/>
                </a:lnTo>
                <a:lnTo>
                  <a:pt x="934" y="651"/>
                </a:lnTo>
                <a:lnTo>
                  <a:pt x="938" y="655"/>
                </a:lnTo>
                <a:lnTo>
                  <a:pt x="938" y="656"/>
                </a:lnTo>
                <a:lnTo>
                  <a:pt x="939" y="658"/>
                </a:lnTo>
                <a:lnTo>
                  <a:pt x="939" y="659"/>
                </a:lnTo>
                <a:lnTo>
                  <a:pt x="940" y="659"/>
                </a:lnTo>
                <a:lnTo>
                  <a:pt x="947" y="664"/>
                </a:lnTo>
                <a:lnTo>
                  <a:pt x="953" y="670"/>
                </a:lnTo>
                <a:lnTo>
                  <a:pt x="956" y="672"/>
                </a:lnTo>
                <a:lnTo>
                  <a:pt x="959" y="676"/>
                </a:lnTo>
                <a:lnTo>
                  <a:pt x="960" y="679"/>
                </a:lnTo>
                <a:lnTo>
                  <a:pt x="961" y="684"/>
                </a:lnTo>
                <a:lnTo>
                  <a:pt x="961" y="687"/>
                </a:lnTo>
                <a:lnTo>
                  <a:pt x="961" y="690"/>
                </a:lnTo>
                <a:lnTo>
                  <a:pt x="959" y="692"/>
                </a:lnTo>
                <a:lnTo>
                  <a:pt x="955" y="692"/>
                </a:lnTo>
                <a:lnTo>
                  <a:pt x="943" y="693"/>
                </a:lnTo>
                <a:lnTo>
                  <a:pt x="932" y="693"/>
                </a:lnTo>
                <a:lnTo>
                  <a:pt x="920" y="693"/>
                </a:lnTo>
                <a:lnTo>
                  <a:pt x="909" y="691"/>
                </a:lnTo>
                <a:lnTo>
                  <a:pt x="901" y="690"/>
                </a:lnTo>
                <a:lnTo>
                  <a:pt x="893" y="689"/>
                </a:lnTo>
                <a:lnTo>
                  <a:pt x="888" y="687"/>
                </a:lnTo>
                <a:lnTo>
                  <a:pt x="885" y="689"/>
                </a:lnTo>
                <a:lnTo>
                  <a:pt x="880" y="689"/>
                </a:lnTo>
                <a:lnTo>
                  <a:pt x="877" y="691"/>
                </a:lnTo>
                <a:lnTo>
                  <a:pt x="871" y="693"/>
                </a:lnTo>
                <a:lnTo>
                  <a:pt x="865" y="694"/>
                </a:lnTo>
                <a:lnTo>
                  <a:pt x="860" y="694"/>
                </a:lnTo>
                <a:lnTo>
                  <a:pt x="855" y="696"/>
                </a:lnTo>
                <a:lnTo>
                  <a:pt x="846" y="696"/>
                </a:lnTo>
                <a:lnTo>
                  <a:pt x="838" y="696"/>
                </a:lnTo>
                <a:lnTo>
                  <a:pt x="831" y="694"/>
                </a:lnTo>
                <a:lnTo>
                  <a:pt x="823" y="691"/>
                </a:lnTo>
                <a:lnTo>
                  <a:pt x="819" y="691"/>
                </a:lnTo>
                <a:lnTo>
                  <a:pt x="816" y="691"/>
                </a:lnTo>
                <a:lnTo>
                  <a:pt x="808" y="691"/>
                </a:lnTo>
                <a:lnTo>
                  <a:pt x="801" y="693"/>
                </a:lnTo>
                <a:lnTo>
                  <a:pt x="793" y="696"/>
                </a:lnTo>
                <a:lnTo>
                  <a:pt x="786" y="699"/>
                </a:lnTo>
                <a:lnTo>
                  <a:pt x="781" y="703"/>
                </a:lnTo>
                <a:lnTo>
                  <a:pt x="776" y="705"/>
                </a:lnTo>
                <a:lnTo>
                  <a:pt x="771" y="707"/>
                </a:lnTo>
                <a:lnTo>
                  <a:pt x="766" y="708"/>
                </a:lnTo>
                <a:lnTo>
                  <a:pt x="766" y="708"/>
                </a:lnTo>
                <a:lnTo>
                  <a:pt x="761" y="707"/>
                </a:lnTo>
                <a:lnTo>
                  <a:pt x="756" y="707"/>
                </a:lnTo>
                <a:lnTo>
                  <a:pt x="753" y="707"/>
                </a:lnTo>
                <a:lnTo>
                  <a:pt x="748" y="708"/>
                </a:lnTo>
                <a:lnTo>
                  <a:pt x="739" y="711"/>
                </a:lnTo>
                <a:lnTo>
                  <a:pt x="731" y="713"/>
                </a:lnTo>
                <a:lnTo>
                  <a:pt x="722" y="712"/>
                </a:lnTo>
                <a:lnTo>
                  <a:pt x="713" y="711"/>
                </a:lnTo>
                <a:lnTo>
                  <a:pt x="710" y="708"/>
                </a:lnTo>
                <a:lnTo>
                  <a:pt x="706" y="707"/>
                </a:lnTo>
                <a:lnTo>
                  <a:pt x="697" y="704"/>
                </a:lnTo>
                <a:lnTo>
                  <a:pt x="687" y="701"/>
                </a:lnTo>
                <a:lnTo>
                  <a:pt x="679" y="701"/>
                </a:lnTo>
                <a:lnTo>
                  <a:pt x="670" y="701"/>
                </a:lnTo>
                <a:lnTo>
                  <a:pt x="653" y="698"/>
                </a:lnTo>
                <a:lnTo>
                  <a:pt x="638" y="697"/>
                </a:lnTo>
                <a:lnTo>
                  <a:pt x="625" y="696"/>
                </a:lnTo>
                <a:lnTo>
                  <a:pt x="612" y="694"/>
                </a:lnTo>
                <a:lnTo>
                  <a:pt x="600" y="694"/>
                </a:lnTo>
                <a:lnTo>
                  <a:pt x="588" y="694"/>
                </a:lnTo>
                <a:lnTo>
                  <a:pt x="579" y="693"/>
                </a:lnTo>
                <a:lnTo>
                  <a:pt x="572" y="691"/>
                </a:lnTo>
                <a:lnTo>
                  <a:pt x="563" y="689"/>
                </a:lnTo>
                <a:lnTo>
                  <a:pt x="556" y="684"/>
                </a:lnTo>
                <a:lnTo>
                  <a:pt x="552" y="682"/>
                </a:lnTo>
                <a:lnTo>
                  <a:pt x="547" y="679"/>
                </a:lnTo>
                <a:lnTo>
                  <a:pt x="543" y="679"/>
                </a:lnTo>
                <a:lnTo>
                  <a:pt x="539" y="679"/>
                </a:lnTo>
                <a:lnTo>
                  <a:pt x="535" y="679"/>
                </a:lnTo>
                <a:lnTo>
                  <a:pt x="531" y="682"/>
                </a:lnTo>
                <a:lnTo>
                  <a:pt x="527" y="684"/>
                </a:lnTo>
                <a:lnTo>
                  <a:pt x="522" y="687"/>
                </a:lnTo>
                <a:lnTo>
                  <a:pt x="519" y="689"/>
                </a:lnTo>
                <a:lnTo>
                  <a:pt x="515" y="691"/>
                </a:lnTo>
                <a:lnTo>
                  <a:pt x="500" y="691"/>
                </a:lnTo>
                <a:lnTo>
                  <a:pt x="485" y="694"/>
                </a:lnTo>
                <a:lnTo>
                  <a:pt x="478" y="694"/>
                </a:lnTo>
                <a:lnTo>
                  <a:pt x="472" y="694"/>
                </a:lnTo>
                <a:lnTo>
                  <a:pt x="469" y="696"/>
                </a:lnTo>
                <a:lnTo>
                  <a:pt x="466" y="698"/>
                </a:lnTo>
                <a:lnTo>
                  <a:pt x="465" y="700"/>
                </a:lnTo>
                <a:lnTo>
                  <a:pt x="466" y="705"/>
                </a:lnTo>
                <a:lnTo>
                  <a:pt x="467" y="710"/>
                </a:lnTo>
                <a:lnTo>
                  <a:pt x="470" y="717"/>
                </a:lnTo>
                <a:lnTo>
                  <a:pt x="471" y="718"/>
                </a:lnTo>
                <a:lnTo>
                  <a:pt x="473" y="719"/>
                </a:lnTo>
                <a:lnTo>
                  <a:pt x="471" y="718"/>
                </a:lnTo>
                <a:lnTo>
                  <a:pt x="470" y="717"/>
                </a:lnTo>
                <a:lnTo>
                  <a:pt x="467" y="720"/>
                </a:lnTo>
                <a:lnTo>
                  <a:pt x="469" y="724"/>
                </a:lnTo>
                <a:lnTo>
                  <a:pt x="470" y="727"/>
                </a:lnTo>
                <a:lnTo>
                  <a:pt x="470" y="729"/>
                </a:lnTo>
                <a:lnTo>
                  <a:pt x="469" y="731"/>
                </a:lnTo>
                <a:lnTo>
                  <a:pt x="467" y="731"/>
                </a:lnTo>
                <a:lnTo>
                  <a:pt x="466" y="731"/>
                </a:lnTo>
                <a:lnTo>
                  <a:pt x="464" y="731"/>
                </a:lnTo>
                <a:lnTo>
                  <a:pt x="459" y="731"/>
                </a:lnTo>
                <a:lnTo>
                  <a:pt x="453" y="731"/>
                </a:lnTo>
                <a:lnTo>
                  <a:pt x="449" y="731"/>
                </a:lnTo>
                <a:lnTo>
                  <a:pt x="443" y="733"/>
                </a:lnTo>
                <a:lnTo>
                  <a:pt x="439" y="734"/>
                </a:lnTo>
                <a:lnTo>
                  <a:pt x="435" y="735"/>
                </a:lnTo>
                <a:lnTo>
                  <a:pt x="429" y="735"/>
                </a:lnTo>
                <a:lnTo>
                  <a:pt x="424" y="734"/>
                </a:lnTo>
                <a:lnTo>
                  <a:pt x="424" y="729"/>
                </a:lnTo>
                <a:lnTo>
                  <a:pt x="423" y="726"/>
                </a:lnTo>
                <a:lnTo>
                  <a:pt x="428" y="714"/>
                </a:lnTo>
                <a:lnTo>
                  <a:pt x="434" y="701"/>
                </a:lnTo>
                <a:lnTo>
                  <a:pt x="434" y="701"/>
                </a:lnTo>
                <a:lnTo>
                  <a:pt x="435" y="700"/>
                </a:lnTo>
                <a:lnTo>
                  <a:pt x="436" y="699"/>
                </a:lnTo>
                <a:lnTo>
                  <a:pt x="436" y="698"/>
                </a:lnTo>
                <a:lnTo>
                  <a:pt x="436" y="696"/>
                </a:lnTo>
                <a:lnTo>
                  <a:pt x="436" y="690"/>
                </a:lnTo>
                <a:lnTo>
                  <a:pt x="436" y="684"/>
                </a:lnTo>
                <a:lnTo>
                  <a:pt x="434" y="679"/>
                </a:lnTo>
                <a:lnTo>
                  <a:pt x="430" y="675"/>
                </a:lnTo>
                <a:lnTo>
                  <a:pt x="430" y="672"/>
                </a:lnTo>
                <a:lnTo>
                  <a:pt x="430" y="669"/>
                </a:lnTo>
                <a:lnTo>
                  <a:pt x="429" y="666"/>
                </a:lnTo>
                <a:lnTo>
                  <a:pt x="427" y="665"/>
                </a:lnTo>
                <a:lnTo>
                  <a:pt x="427" y="665"/>
                </a:lnTo>
                <a:lnTo>
                  <a:pt x="427" y="663"/>
                </a:lnTo>
                <a:lnTo>
                  <a:pt x="424" y="662"/>
                </a:lnTo>
                <a:lnTo>
                  <a:pt x="414" y="648"/>
                </a:lnTo>
                <a:lnTo>
                  <a:pt x="402" y="634"/>
                </a:lnTo>
                <a:lnTo>
                  <a:pt x="390" y="620"/>
                </a:lnTo>
                <a:lnTo>
                  <a:pt x="379" y="606"/>
                </a:lnTo>
                <a:lnTo>
                  <a:pt x="375" y="601"/>
                </a:lnTo>
                <a:lnTo>
                  <a:pt x="372" y="598"/>
                </a:lnTo>
                <a:lnTo>
                  <a:pt x="368" y="596"/>
                </a:lnTo>
                <a:lnTo>
                  <a:pt x="365" y="594"/>
                </a:lnTo>
                <a:lnTo>
                  <a:pt x="360" y="594"/>
                </a:lnTo>
                <a:lnTo>
                  <a:pt x="356" y="594"/>
                </a:lnTo>
                <a:lnTo>
                  <a:pt x="352" y="594"/>
                </a:lnTo>
                <a:lnTo>
                  <a:pt x="346" y="596"/>
                </a:lnTo>
                <a:lnTo>
                  <a:pt x="338" y="599"/>
                </a:lnTo>
                <a:lnTo>
                  <a:pt x="328" y="601"/>
                </a:lnTo>
                <a:lnTo>
                  <a:pt x="319" y="602"/>
                </a:lnTo>
                <a:lnTo>
                  <a:pt x="310" y="603"/>
                </a:lnTo>
                <a:lnTo>
                  <a:pt x="300" y="605"/>
                </a:lnTo>
                <a:lnTo>
                  <a:pt x="291" y="607"/>
                </a:lnTo>
                <a:lnTo>
                  <a:pt x="284" y="612"/>
                </a:lnTo>
                <a:lnTo>
                  <a:pt x="277" y="619"/>
                </a:lnTo>
                <a:lnTo>
                  <a:pt x="271" y="624"/>
                </a:lnTo>
                <a:lnTo>
                  <a:pt x="267" y="631"/>
                </a:lnTo>
                <a:lnTo>
                  <a:pt x="271" y="630"/>
                </a:lnTo>
                <a:lnTo>
                  <a:pt x="276" y="629"/>
                </a:lnTo>
                <a:lnTo>
                  <a:pt x="279" y="626"/>
                </a:lnTo>
                <a:lnTo>
                  <a:pt x="282" y="623"/>
                </a:lnTo>
                <a:lnTo>
                  <a:pt x="289" y="619"/>
                </a:lnTo>
                <a:lnTo>
                  <a:pt x="296" y="614"/>
                </a:lnTo>
                <a:lnTo>
                  <a:pt x="304" y="612"/>
                </a:lnTo>
                <a:lnTo>
                  <a:pt x="311" y="609"/>
                </a:lnTo>
                <a:lnTo>
                  <a:pt x="319" y="608"/>
                </a:lnTo>
                <a:lnTo>
                  <a:pt x="327" y="608"/>
                </a:lnTo>
                <a:lnTo>
                  <a:pt x="335" y="609"/>
                </a:lnTo>
                <a:lnTo>
                  <a:pt x="344" y="610"/>
                </a:lnTo>
                <a:lnTo>
                  <a:pt x="347" y="612"/>
                </a:lnTo>
                <a:lnTo>
                  <a:pt x="351" y="614"/>
                </a:lnTo>
                <a:lnTo>
                  <a:pt x="353" y="616"/>
                </a:lnTo>
                <a:lnTo>
                  <a:pt x="352" y="619"/>
                </a:lnTo>
                <a:lnTo>
                  <a:pt x="351" y="623"/>
                </a:lnTo>
                <a:lnTo>
                  <a:pt x="351" y="627"/>
                </a:lnTo>
                <a:lnTo>
                  <a:pt x="352" y="630"/>
                </a:lnTo>
                <a:lnTo>
                  <a:pt x="354" y="634"/>
                </a:lnTo>
                <a:lnTo>
                  <a:pt x="361" y="648"/>
                </a:lnTo>
                <a:lnTo>
                  <a:pt x="370" y="661"/>
                </a:lnTo>
                <a:lnTo>
                  <a:pt x="379" y="675"/>
                </a:lnTo>
                <a:lnTo>
                  <a:pt x="386" y="689"/>
                </a:lnTo>
                <a:lnTo>
                  <a:pt x="386" y="692"/>
                </a:lnTo>
                <a:lnTo>
                  <a:pt x="386" y="696"/>
                </a:lnTo>
                <a:lnTo>
                  <a:pt x="387" y="696"/>
                </a:lnTo>
                <a:lnTo>
                  <a:pt x="387" y="697"/>
                </a:lnTo>
                <a:lnTo>
                  <a:pt x="387" y="696"/>
                </a:lnTo>
                <a:lnTo>
                  <a:pt x="386" y="696"/>
                </a:lnTo>
                <a:lnTo>
                  <a:pt x="384" y="698"/>
                </a:lnTo>
                <a:lnTo>
                  <a:pt x="382" y="699"/>
                </a:lnTo>
                <a:lnTo>
                  <a:pt x="366" y="699"/>
                </a:lnTo>
                <a:lnTo>
                  <a:pt x="351" y="700"/>
                </a:lnTo>
                <a:lnTo>
                  <a:pt x="347" y="698"/>
                </a:lnTo>
                <a:lnTo>
                  <a:pt x="346" y="696"/>
                </a:lnTo>
                <a:lnTo>
                  <a:pt x="340" y="684"/>
                </a:lnTo>
                <a:lnTo>
                  <a:pt x="334" y="673"/>
                </a:lnTo>
                <a:lnTo>
                  <a:pt x="327" y="663"/>
                </a:lnTo>
                <a:lnTo>
                  <a:pt x="320" y="652"/>
                </a:lnTo>
                <a:lnTo>
                  <a:pt x="318" y="650"/>
                </a:lnTo>
                <a:lnTo>
                  <a:pt x="315" y="649"/>
                </a:lnTo>
                <a:lnTo>
                  <a:pt x="312" y="649"/>
                </a:lnTo>
                <a:lnTo>
                  <a:pt x="308" y="650"/>
                </a:lnTo>
                <a:lnTo>
                  <a:pt x="306" y="652"/>
                </a:lnTo>
                <a:lnTo>
                  <a:pt x="306" y="655"/>
                </a:lnTo>
                <a:lnTo>
                  <a:pt x="306" y="658"/>
                </a:lnTo>
                <a:lnTo>
                  <a:pt x="307" y="661"/>
                </a:lnTo>
                <a:lnTo>
                  <a:pt x="311" y="666"/>
                </a:lnTo>
                <a:lnTo>
                  <a:pt x="314" y="672"/>
                </a:lnTo>
                <a:lnTo>
                  <a:pt x="320" y="683"/>
                </a:lnTo>
                <a:lnTo>
                  <a:pt x="326" y="692"/>
                </a:lnTo>
                <a:lnTo>
                  <a:pt x="332" y="703"/>
                </a:lnTo>
                <a:lnTo>
                  <a:pt x="339" y="713"/>
                </a:lnTo>
                <a:lnTo>
                  <a:pt x="328" y="714"/>
                </a:lnTo>
                <a:lnTo>
                  <a:pt x="320" y="717"/>
                </a:lnTo>
                <a:lnTo>
                  <a:pt x="311" y="719"/>
                </a:lnTo>
                <a:lnTo>
                  <a:pt x="301" y="720"/>
                </a:lnTo>
                <a:lnTo>
                  <a:pt x="296" y="719"/>
                </a:lnTo>
                <a:lnTo>
                  <a:pt x="292" y="717"/>
                </a:lnTo>
                <a:lnTo>
                  <a:pt x="285" y="707"/>
                </a:lnTo>
                <a:lnTo>
                  <a:pt x="279" y="698"/>
                </a:lnTo>
                <a:lnTo>
                  <a:pt x="272" y="690"/>
                </a:lnTo>
                <a:lnTo>
                  <a:pt x="264" y="682"/>
                </a:lnTo>
                <a:lnTo>
                  <a:pt x="262" y="679"/>
                </a:lnTo>
                <a:lnTo>
                  <a:pt x="258" y="678"/>
                </a:lnTo>
                <a:lnTo>
                  <a:pt x="256" y="679"/>
                </a:lnTo>
                <a:lnTo>
                  <a:pt x="252" y="680"/>
                </a:lnTo>
                <a:lnTo>
                  <a:pt x="250" y="682"/>
                </a:lnTo>
                <a:lnTo>
                  <a:pt x="249" y="685"/>
                </a:lnTo>
                <a:lnTo>
                  <a:pt x="249" y="687"/>
                </a:lnTo>
                <a:lnTo>
                  <a:pt x="250" y="691"/>
                </a:lnTo>
                <a:lnTo>
                  <a:pt x="252" y="697"/>
                </a:lnTo>
                <a:lnTo>
                  <a:pt x="256" y="701"/>
                </a:lnTo>
                <a:lnTo>
                  <a:pt x="264" y="710"/>
                </a:lnTo>
                <a:lnTo>
                  <a:pt x="272" y="719"/>
                </a:lnTo>
                <a:lnTo>
                  <a:pt x="280" y="728"/>
                </a:lnTo>
                <a:lnTo>
                  <a:pt x="287" y="739"/>
                </a:lnTo>
                <a:lnTo>
                  <a:pt x="283" y="739"/>
                </a:lnTo>
                <a:lnTo>
                  <a:pt x="279" y="740"/>
                </a:lnTo>
                <a:lnTo>
                  <a:pt x="276" y="739"/>
                </a:lnTo>
                <a:lnTo>
                  <a:pt x="272" y="738"/>
                </a:lnTo>
                <a:lnTo>
                  <a:pt x="265" y="735"/>
                </a:lnTo>
                <a:lnTo>
                  <a:pt x="257" y="734"/>
                </a:lnTo>
                <a:lnTo>
                  <a:pt x="258" y="736"/>
                </a:lnTo>
                <a:lnTo>
                  <a:pt x="258" y="740"/>
                </a:lnTo>
                <a:lnTo>
                  <a:pt x="259" y="741"/>
                </a:lnTo>
                <a:lnTo>
                  <a:pt x="260" y="741"/>
                </a:lnTo>
                <a:lnTo>
                  <a:pt x="262" y="745"/>
                </a:lnTo>
                <a:lnTo>
                  <a:pt x="262" y="747"/>
                </a:lnTo>
                <a:lnTo>
                  <a:pt x="258" y="750"/>
                </a:lnTo>
                <a:lnTo>
                  <a:pt x="257" y="755"/>
                </a:lnTo>
                <a:lnTo>
                  <a:pt x="256" y="760"/>
                </a:lnTo>
                <a:lnTo>
                  <a:pt x="255" y="766"/>
                </a:lnTo>
                <a:lnTo>
                  <a:pt x="253" y="780"/>
                </a:lnTo>
                <a:lnTo>
                  <a:pt x="252" y="795"/>
                </a:lnTo>
                <a:lnTo>
                  <a:pt x="251" y="802"/>
                </a:lnTo>
                <a:lnTo>
                  <a:pt x="249" y="809"/>
                </a:lnTo>
                <a:lnTo>
                  <a:pt x="246" y="816"/>
                </a:lnTo>
                <a:lnTo>
                  <a:pt x="243" y="823"/>
                </a:lnTo>
                <a:lnTo>
                  <a:pt x="242" y="827"/>
                </a:lnTo>
                <a:lnTo>
                  <a:pt x="241" y="832"/>
                </a:lnTo>
                <a:lnTo>
                  <a:pt x="241" y="837"/>
                </a:lnTo>
                <a:lnTo>
                  <a:pt x="242" y="841"/>
                </a:lnTo>
                <a:lnTo>
                  <a:pt x="244" y="851"/>
                </a:lnTo>
                <a:lnTo>
                  <a:pt x="246" y="859"/>
                </a:lnTo>
                <a:lnTo>
                  <a:pt x="248" y="860"/>
                </a:lnTo>
                <a:lnTo>
                  <a:pt x="250" y="861"/>
                </a:lnTo>
                <a:lnTo>
                  <a:pt x="252" y="864"/>
                </a:lnTo>
                <a:lnTo>
                  <a:pt x="253" y="866"/>
                </a:lnTo>
                <a:lnTo>
                  <a:pt x="245" y="866"/>
                </a:lnTo>
                <a:lnTo>
                  <a:pt x="238" y="865"/>
                </a:lnTo>
                <a:lnTo>
                  <a:pt x="234" y="861"/>
                </a:lnTo>
                <a:lnTo>
                  <a:pt x="228" y="860"/>
                </a:lnTo>
                <a:lnTo>
                  <a:pt x="223" y="861"/>
                </a:lnTo>
                <a:lnTo>
                  <a:pt x="218" y="865"/>
                </a:lnTo>
                <a:lnTo>
                  <a:pt x="207" y="866"/>
                </a:lnTo>
                <a:lnTo>
                  <a:pt x="195" y="869"/>
                </a:lnTo>
                <a:lnTo>
                  <a:pt x="190" y="871"/>
                </a:lnTo>
                <a:lnTo>
                  <a:pt x="186" y="869"/>
                </a:lnTo>
                <a:lnTo>
                  <a:pt x="182" y="867"/>
                </a:lnTo>
                <a:lnTo>
                  <a:pt x="179" y="864"/>
                </a:lnTo>
                <a:lnTo>
                  <a:pt x="176" y="855"/>
                </a:lnTo>
                <a:lnTo>
                  <a:pt x="173" y="847"/>
                </a:lnTo>
                <a:lnTo>
                  <a:pt x="172" y="839"/>
                </a:lnTo>
                <a:lnTo>
                  <a:pt x="169" y="831"/>
                </a:lnTo>
                <a:lnTo>
                  <a:pt x="170" y="826"/>
                </a:lnTo>
                <a:lnTo>
                  <a:pt x="172" y="823"/>
                </a:lnTo>
                <a:lnTo>
                  <a:pt x="172" y="820"/>
                </a:lnTo>
                <a:lnTo>
                  <a:pt x="170" y="819"/>
                </a:lnTo>
                <a:lnTo>
                  <a:pt x="169" y="817"/>
                </a:lnTo>
                <a:lnTo>
                  <a:pt x="167" y="816"/>
                </a:lnTo>
                <a:lnTo>
                  <a:pt x="163" y="799"/>
                </a:lnTo>
                <a:lnTo>
                  <a:pt x="162" y="784"/>
                </a:lnTo>
                <a:lnTo>
                  <a:pt x="162" y="780"/>
                </a:lnTo>
                <a:lnTo>
                  <a:pt x="163" y="775"/>
                </a:lnTo>
                <a:lnTo>
                  <a:pt x="165" y="771"/>
                </a:lnTo>
                <a:lnTo>
                  <a:pt x="167" y="768"/>
                </a:lnTo>
                <a:lnTo>
                  <a:pt x="183" y="752"/>
                </a:lnTo>
                <a:lnTo>
                  <a:pt x="201" y="736"/>
                </a:lnTo>
                <a:lnTo>
                  <a:pt x="203" y="734"/>
                </a:lnTo>
                <a:lnTo>
                  <a:pt x="208" y="734"/>
                </a:lnTo>
                <a:lnTo>
                  <a:pt x="217" y="732"/>
                </a:lnTo>
                <a:lnTo>
                  <a:pt x="227" y="728"/>
                </a:lnTo>
                <a:lnTo>
                  <a:pt x="230" y="727"/>
                </a:lnTo>
                <a:lnTo>
                  <a:pt x="230" y="725"/>
                </a:lnTo>
                <a:lnTo>
                  <a:pt x="230" y="724"/>
                </a:lnTo>
                <a:lnTo>
                  <a:pt x="229" y="722"/>
                </a:lnTo>
                <a:lnTo>
                  <a:pt x="227" y="722"/>
                </a:lnTo>
                <a:lnTo>
                  <a:pt x="225" y="724"/>
                </a:lnTo>
                <a:lnTo>
                  <a:pt x="216" y="724"/>
                </a:lnTo>
                <a:lnTo>
                  <a:pt x="206" y="724"/>
                </a:lnTo>
                <a:lnTo>
                  <a:pt x="196" y="722"/>
                </a:lnTo>
                <a:lnTo>
                  <a:pt x="186" y="721"/>
                </a:lnTo>
                <a:lnTo>
                  <a:pt x="186" y="719"/>
                </a:lnTo>
                <a:lnTo>
                  <a:pt x="184" y="715"/>
                </a:lnTo>
                <a:lnTo>
                  <a:pt x="188" y="712"/>
                </a:lnTo>
                <a:lnTo>
                  <a:pt x="188" y="708"/>
                </a:lnTo>
                <a:lnTo>
                  <a:pt x="195" y="697"/>
                </a:lnTo>
                <a:lnTo>
                  <a:pt x="202" y="685"/>
                </a:lnTo>
                <a:lnTo>
                  <a:pt x="204" y="684"/>
                </a:lnTo>
                <a:lnTo>
                  <a:pt x="207" y="682"/>
                </a:lnTo>
                <a:lnTo>
                  <a:pt x="208" y="679"/>
                </a:lnTo>
                <a:lnTo>
                  <a:pt x="209" y="677"/>
                </a:lnTo>
                <a:lnTo>
                  <a:pt x="208" y="675"/>
                </a:lnTo>
                <a:lnTo>
                  <a:pt x="206" y="672"/>
                </a:lnTo>
                <a:lnTo>
                  <a:pt x="203" y="671"/>
                </a:lnTo>
                <a:lnTo>
                  <a:pt x="201" y="670"/>
                </a:lnTo>
                <a:lnTo>
                  <a:pt x="195" y="668"/>
                </a:lnTo>
                <a:lnTo>
                  <a:pt x="190" y="664"/>
                </a:lnTo>
                <a:lnTo>
                  <a:pt x="176" y="658"/>
                </a:lnTo>
                <a:lnTo>
                  <a:pt x="161" y="655"/>
                </a:lnTo>
                <a:lnTo>
                  <a:pt x="152" y="654"/>
                </a:lnTo>
                <a:lnTo>
                  <a:pt x="141" y="655"/>
                </a:lnTo>
                <a:lnTo>
                  <a:pt x="132" y="657"/>
                </a:lnTo>
                <a:lnTo>
                  <a:pt x="122" y="657"/>
                </a:lnTo>
                <a:lnTo>
                  <a:pt x="120" y="657"/>
                </a:lnTo>
                <a:lnTo>
                  <a:pt x="118" y="658"/>
                </a:lnTo>
                <a:lnTo>
                  <a:pt x="117" y="659"/>
                </a:lnTo>
                <a:lnTo>
                  <a:pt x="115" y="662"/>
                </a:lnTo>
                <a:lnTo>
                  <a:pt x="112" y="662"/>
                </a:lnTo>
                <a:lnTo>
                  <a:pt x="108" y="662"/>
                </a:lnTo>
                <a:lnTo>
                  <a:pt x="107" y="662"/>
                </a:lnTo>
                <a:lnTo>
                  <a:pt x="105" y="661"/>
                </a:lnTo>
                <a:lnTo>
                  <a:pt x="104" y="659"/>
                </a:lnTo>
                <a:lnTo>
                  <a:pt x="103" y="657"/>
                </a:lnTo>
                <a:lnTo>
                  <a:pt x="101" y="657"/>
                </a:lnTo>
                <a:lnTo>
                  <a:pt x="100" y="658"/>
                </a:lnTo>
                <a:lnTo>
                  <a:pt x="96" y="663"/>
                </a:lnTo>
                <a:lnTo>
                  <a:pt x="92" y="666"/>
                </a:lnTo>
                <a:lnTo>
                  <a:pt x="87" y="669"/>
                </a:lnTo>
                <a:lnTo>
                  <a:pt x="82" y="671"/>
                </a:lnTo>
                <a:lnTo>
                  <a:pt x="72" y="675"/>
                </a:lnTo>
                <a:lnTo>
                  <a:pt x="63" y="679"/>
                </a:lnTo>
                <a:lnTo>
                  <a:pt x="56" y="683"/>
                </a:lnTo>
                <a:lnTo>
                  <a:pt x="49" y="685"/>
                </a:lnTo>
                <a:lnTo>
                  <a:pt x="45" y="686"/>
                </a:lnTo>
                <a:lnTo>
                  <a:pt x="42" y="687"/>
                </a:lnTo>
                <a:lnTo>
                  <a:pt x="38" y="690"/>
                </a:lnTo>
                <a:lnTo>
                  <a:pt x="36" y="693"/>
                </a:lnTo>
                <a:lnTo>
                  <a:pt x="32" y="694"/>
                </a:lnTo>
                <a:lnTo>
                  <a:pt x="28" y="697"/>
                </a:lnTo>
                <a:lnTo>
                  <a:pt x="17" y="711"/>
                </a:lnTo>
                <a:lnTo>
                  <a:pt x="8" y="725"/>
                </a:lnTo>
                <a:lnTo>
                  <a:pt x="4" y="729"/>
                </a:lnTo>
                <a:lnTo>
                  <a:pt x="2" y="735"/>
                </a:lnTo>
                <a:lnTo>
                  <a:pt x="2" y="742"/>
                </a:lnTo>
                <a:lnTo>
                  <a:pt x="0" y="748"/>
                </a:lnTo>
                <a:lnTo>
                  <a:pt x="1" y="750"/>
                </a:lnTo>
                <a:lnTo>
                  <a:pt x="3" y="753"/>
                </a:lnTo>
                <a:lnTo>
                  <a:pt x="6" y="752"/>
                </a:lnTo>
                <a:lnTo>
                  <a:pt x="7" y="748"/>
                </a:lnTo>
                <a:lnTo>
                  <a:pt x="7" y="745"/>
                </a:lnTo>
                <a:lnTo>
                  <a:pt x="10" y="742"/>
                </a:lnTo>
                <a:lnTo>
                  <a:pt x="15" y="745"/>
                </a:lnTo>
                <a:lnTo>
                  <a:pt x="21" y="749"/>
                </a:lnTo>
                <a:lnTo>
                  <a:pt x="23" y="752"/>
                </a:lnTo>
                <a:lnTo>
                  <a:pt x="25" y="755"/>
                </a:lnTo>
                <a:lnTo>
                  <a:pt x="27" y="757"/>
                </a:lnTo>
                <a:lnTo>
                  <a:pt x="27" y="760"/>
                </a:lnTo>
                <a:lnTo>
                  <a:pt x="25" y="763"/>
                </a:lnTo>
                <a:lnTo>
                  <a:pt x="25" y="766"/>
                </a:lnTo>
                <a:lnTo>
                  <a:pt x="25" y="768"/>
                </a:lnTo>
                <a:lnTo>
                  <a:pt x="27" y="769"/>
                </a:lnTo>
                <a:lnTo>
                  <a:pt x="31" y="770"/>
                </a:lnTo>
                <a:lnTo>
                  <a:pt x="36" y="770"/>
                </a:lnTo>
                <a:lnTo>
                  <a:pt x="42" y="770"/>
                </a:lnTo>
                <a:lnTo>
                  <a:pt x="48" y="770"/>
                </a:lnTo>
                <a:lnTo>
                  <a:pt x="48" y="773"/>
                </a:lnTo>
                <a:lnTo>
                  <a:pt x="46" y="775"/>
                </a:lnTo>
                <a:lnTo>
                  <a:pt x="45" y="776"/>
                </a:lnTo>
                <a:lnTo>
                  <a:pt x="44" y="776"/>
                </a:lnTo>
                <a:lnTo>
                  <a:pt x="44" y="777"/>
                </a:lnTo>
                <a:lnTo>
                  <a:pt x="43" y="780"/>
                </a:lnTo>
                <a:lnTo>
                  <a:pt x="42" y="783"/>
                </a:lnTo>
                <a:lnTo>
                  <a:pt x="42" y="787"/>
                </a:lnTo>
                <a:lnTo>
                  <a:pt x="46" y="788"/>
                </a:lnTo>
                <a:lnTo>
                  <a:pt x="51" y="788"/>
                </a:lnTo>
                <a:lnTo>
                  <a:pt x="56" y="788"/>
                </a:lnTo>
                <a:lnTo>
                  <a:pt x="61" y="787"/>
                </a:lnTo>
                <a:lnTo>
                  <a:pt x="68" y="781"/>
                </a:lnTo>
                <a:lnTo>
                  <a:pt x="76" y="776"/>
                </a:lnTo>
                <a:lnTo>
                  <a:pt x="83" y="769"/>
                </a:lnTo>
                <a:lnTo>
                  <a:pt x="90" y="761"/>
                </a:lnTo>
                <a:lnTo>
                  <a:pt x="98" y="754"/>
                </a:lnTo>
                <a:lnTo>
                  <a:pt x="106" y="749"/>
                </a:lnTo>
                <a:lnTo>
                  <a:pt x="108" y="748"/>
                </a:lnTo>
                <a:lnTo>
                  <a:pt x="111" y="747"/>
                </a:lnTo>
                <a:lnTo>
                  <a:pt x="114" y="746"/>
                </a:lnTo>
                <a:lnTo>
                  <a:pt x="117" y="747"/>
                </a:lnTo>
                <a:lnTo>
                  <a:pt x="120" y="747"/>
                </a:lnTo>
                <a:lnTo>
                  <a:pt x="121" y="746"/>
                </a:lnTo>
                <a:lnTo>
                  <a:pt x="121" y="745"/>
                </a:lnTo>
                <a:lnTo>
                  <a:pt x="121" y="741"/>
                </a:lnTo>
                <a:lnTo>
                  <a:pt x="127" y="739"/>
                </a:lnTo>
                <a:lnTo>
                  <a:pt x="133" y="736"/>
                </a:lnTo>
                <a:lnTo>
                  <a:pt x="139" y="735"/>
                </a:lnTo>
                <a:lnTo>
                  <a:pt x="146" y="734"/>
                </a:lnTo>
                <a:lnTo>
                  <a:pt x="158" y="733"/>
                </a:lnTo>
                <a:lnTo>
                  <a:pt x="170" y="732"/>
                </a:lnTo>
                <a:lnTo>
                  <a:pt x="175" y="731"/>
                </a:lnTo>
                <a:lnTo>
                  <a:pt x="180" y="731"/>
                </a:lnTo>
                <a:lnTo>
                  <a:pt x="174" y="740"/>
                </a:lnTo>
                <a:lnTo>
                  <a:pt x="168" y="748"/>
                </a:lnTo>
                <a:lnTo>
                  <a:pt x="161" y="755"/>
                </a:lnTo>
                <a:lnTo>
                  <a:pt x="153" y="762"/>
                </a:lnTo>
                <a:lnTo>
                  <a:pt x="142" y="775"/>
                </a:lnTo>
                <a:lnTo>
                  <a:pt x="133" y="789"/>
                </a:lnTo>
                <a:lnTo>
                  <a:pt x="131" y="795"/>
                </a:lnTo>
                <a:lnTo>
                  <a:pt x="130" y="801"/>
                </a:lnTo>
                <a:lnTo>
                  <a:pt x="130" y="805"/>
                </a:lnTo>
                <a:lnTo>
                  <a:pt x="131" y="812"/>
                </a:lnTo>
                <a:lnTo>
                  <a:pt x="134" y="823"/>
                </a:lnTo>
                <a:lnTo>
                  <a:pt x="137" y="834"/>
                </a:lnTo>
                <a:lnTo>
                  <a:pt x="133" y="840"/>
                </a:lnTo>
                <a:lnTo>
                  <a:pt x="128" y="846"/>
                </a:lnTo>
                <a:lnTo>
                  <a:pt x="122" y="857"/>
                </a:lnTo>
                <a:lnTo>
                  <a:pt x="118" y="868"/>
                </a:lnTo>
                <a:lnTo>
                  <a:pt x="117" y="872"/>
                </a:lnTo>
                <a:lnTo>
                  <a:pt x="114" y="875"/>
                </a:lnTo>
                <a:lnTo>
                  <a:pt x="113" y="880"/>
                </a:lnTo>
                <a:lnTo>
                  <a:pt x="113" y="886"/>
                </a:lnTo>
                <a:lnTo>
                  <a:pt x="119" y="875"/>
                </a:lnTo>
                <a:lnTo>
                  <a:pt x="125" y="866"/>
                </a:lnTo>
                <a:lnTo>
                  <a:pt x="130" y="858"/>
                </a:lnTo>
                <a:lnTo>
                  <a:pt x="133" y="847"/>
                </a:lnTo>
                <a:lnTo>
                  <a:pt x="135" y="845"/>
                </a:lnTo>
                <a:lnTo>
                  <a:pt x="139" y="844"/>
                </a:lnTo>
                <a:lnTo>
                  <a:pt x="139" y="851"/>
                </a:lnTo>
                <a:lnTo>
                  <a:pt x="141" y="857"/>
                </a:lnTo>
                <a:lnTo>
                  <a:pt x="147" y="867"/>
                </a:lnTo>
                <a:lnTo>
                  <a:pt x="153" y="878"/>
                </a:lnTo>
                <a:lnTo>
                  <a:pt x="159" y="888"/>
                </a:lnTo>
                <a:lnTo>
                  <a:pt x="165" y="899"/>
                </a:lnTo>
                <a:lnTo>
                  <a:pt x="166" y="900"/>
                </a:lnTo>
                <a:lnTo>
                  <a:pt x="167" y="900"/>
                </a:lnTo>
                <a:lnTo>
                  <a:pt x="166" y="900"/>
                </a:lnTo>
                <a:lnTo>
                  <a:pt x="165" y="899"/>
                </a:lnTo>
                <a:lnTo>
                  <a:pt x="161" y="899"/>
                </a:lnTo>
                <a:lnTo>
                  <a:pt x="159" y="900"/>
                </a:lnTo>
                <a:lnTo>
                  <a:pt x="156" y="901"/>
                </a:lnTo>
                <a:lnTo>
                  <a:pt x="155" y="904"/>
                </a:lnTo>
                <a:lnTo>
                  <a:pt x="153" y="908"/>
                </a:lnTo>
                <a:lnTo>
                  <a:pt x="149" y="911"/>
                </a:lnTo>
                <a:lnTo>
                  <a:pt x="144" y="908"/>
                </a:lnTo>
                <a:lnTo>
                  <a:pt x="138" y="903"/>
                </a:lnTo>
                <a:lnTo>
                  <a:pt x="133" y="900"/>
                </a:lnTo>
                <a:lnTo>
                  <a:pt x="127" y="899"/>
                </a:lnTo>
                <a:lnTo>
                  <a:pt x="122" y="897"/>
                </a:lnTo>
                <a:lnTo>
                  <a:pt x="118" y="899"/>
                </a:lnTo>
                <a:lnTo>
                  <a:pt x="113" y="901"/>
                </a:lnTo>
                <a:lnTo>
                  <a:pt x="110" y="903"/>
                </a:lnTo>
                <a:lnTo>
                  <a:pt x="106" y="907"/>
                </a:lnTo>
                <a:lnTo>
                  <a:pt x="103" y="910"/>
                </a:lnTo>
                <a:lnTo>
                  <a:pt x="103" y="909"/>
                </a:lnTo>
                <a:lnTo>
                  <a:pt x="101" y="908"/>
                </a:lnTo>
                <a:lnTo>
                  <a:pt x="101" y="907"/>
                </a:lnTo>
                <a:lnTo>
                  <a:pt x="99" y="907"/>
                </a:lnTo>
                <a:lnTo>
                  <a:pt x="99" y="906"/>
                </a:lnTo>
                <a:lnTo>
                  <a:pt x="99" y="904"/>
                </a:lnTo>
                <a:lnTo>
                  <a:pt x="94" y="896"/>
                </a:lnTo>
                <a:lnTo>
                  <a:pt x="87" y="889"/>
                </a:lnTo>
                <a:lnTo>
                  <a:pt x="87" y="886"/>
                </a:lnTo>
                <a:lnTo>
                  <a:pt x="86" y="883"/>
                </a:lnTo>
                <a:lnTo>
                  <a:pt x="85" y="880"/>
                </a:lnTo>
                <a:lnTo>
                  <a:pt x="82" y="878"/>
                </a:lnTo>
                <a:lnTo>
                  <a:pt x="82" y="876"/>
                </a:lnTo>
                <a:lnTo>
                  <a:pt x="82" y="874"/>
                </a:lnTo>
                <a:lnTo>
                  <a:pt x="80" y="873"/>
                </a:lnTo>
                <a:lnTo>
                  <a:pt x="78" y="872"/>
                </a:lnTo>
                <a:lnTo>
                  <a:pt x="76" y="868"/>
                </a:lnTo>
                <a:lnTo>
                  <a:pt x="73" y="864"/>
                </a:lnTo>
                <a:lnTo>
                  <a:pt x="71" y="865"/>
                </a:lnTo>
                <a:lnTo>
                  <a:pt x="70" y="866"/>
                </a:lnTo>
                <a:lnTo>
                  <a:pt x="70" y="871"/>
                </a:lnTo>
                <a:lnTo>
                  <a:pt x="71" y="875"/>
                </a:lnTo>
                <a:lnTo>
                  <a:pt x="70" y="871"/>
                </a:lnTo>
                <a:lnTo>
                  <a:pt x="70" y="866"/>
                </a:lnTo>
                <a:lnTo>
                  <a:pt x="70" y="866"/>
                </a:lnTo>
                <a:lnTo>
                  <a:pt x="71" y="865"/>
                </a:lnTo>
                <a:lnTo>
                  <a:pt x="73" y="864"/>
                </a:lnTo>
                <a:lnTo>
                  <a:pt x="71" y="859"/>
                </a:lnTo>
                <a:lnTo>
                  <a:pt x="70" y="853"/>
                </a:lnTo>
                <a:lnTo>
                  <a:pt x="70" y="850"/>
                </a:lnTo>
                <a:lnTo>
                  <a:pt x="70" y="846"/>
                </a:lnTo>
                <a:lnTo>
                  <a:pt x="70" y="845"/>
                </a:lnTo>
                <a:lnTo>
                  <a:pt x="69" y="844"/>
                </a:lnTo>
                <a:lnTo>
                  <a:pt x="68" y="843"/>
                </a:lnTo>
                <a:lnTo>
                  <a:pt x="65" y="843"/>
                </a:lnTo>
                <a:lnTo>
                  <a:pt x="65" y="841"/>
                </a:lnTo>
                <a:lnTo>
                  <a:pt x="64" y="840"/>
                </a:lnTo>
                <a:lnTo>
                  <a:pt x="63" y="838"/>
                </a:lnTo>
                <a:lnTo>
                  <a:pt x="62" y="838"/>
                </a:lnTo>
                <a:lnTo>
                  <a:pt x="61" y="838"/>
                </a:lnTo>
                <a:lnTo>
                  <a:pt x="58" y="839"/>
                </a:lnTo>
                <a:lnTo>
                  <a:pt x="55" y="839"/>
                </a:lnTo>
                <a:lnTo>
                  <a:pt x="49" y="824"/>
                </a:lnTo>
                <a:lnTo>
                  <a:pt x="42" y="810"/>
                </a:lnTo>
                <a:lnTo>
                  <a:pt x="38" y="812"/>
                </a:lnTo>
                <a:lnTo>
                  <a:pt x="35" y="815"/>
                </a:lnTo>
                <a:lnTo>
                  <a:pt x="38" y="812"/>
                </a:lnTo>
                <a:lnTo>
                  <a:pt x="42" y="810"/>
                </a:lnTo>
                <a:lnTo>
                  <a:pt x="43" y="806"/>
                </a:lnTo>
                <a:lnTo>
                  <a:pt x="44" y="803"/>
                </a:lnTo>
                <a:lnTo>
                  <a:pt x="53" y="802"/>
                </a:lnTo>
                <a:lnTo>
                  <a:pt x="63" y="799"/>
                </a:lnTo>
                <a:lnTo>
                  <a:pt x="72" y="796"/>
                </a:lnTo>
                <a:lnTo>
                  <a:pt x="82" y="795"/>
                </a:lnTo>
                <a:lnTo>
                  <a:pt x="87" y="794"/>
                </a:lnTo>
                <a:lnTo>
                  <a:pt x="94" y="791"/>
                </a:lnTo>
                <a:lnTo>
                  <a:pt x="96" y="790"/>
                </a:lnTo>
                <a:lnTo>
                  <a:pt x="97" y="787"/>
                </a:lnTo>
                <a:lnTo>
                  <a:pt x="96" y="785"/>
                </a:lnTo>
                <a:lnTo>
                  <a:pt x="93" y="785"/>
                </a:lnTo>
                <a:lnTo>
                  <a:pt x="85" y="785"/>
                </a:lnTo>
                <a:lnTo>
                  <a:pt x="77" y="785"/>
                </a:lnTo>
                <a:lnTo>
                  <a:pt x="70" y="788"/>
                </a:lnTo>
                <a:lnTo>
                  <a:pt x="63" y="790"/>
                </a:lnTo>
                <a:lnTo>
                  <a:pt x="62" y="788"/>
                </a:lnTo>
                <a:lnTo>
                  <a:pt x="61" y="787"/>
                </a:lnTo>
                <a:lnTo>
                  <a:pt x="56" y="788"/>
                </a:lnTo>
                <a:lnTo>
                  <a:pt x="51" y="788"/>
                </a:lnTo>
                <a:lnTo>
                  <a:pt x="46" y="788"/>
                </a:lnTo>
                <a:lnTo>
                  <a:pt x="42" y="787"/>
                </a:lnTo>
                <a:lnTo>
                  <a:pt x="38" y="788"/>
                </a:lnTo>
                <a:lnTo>
                  <a:pt x="37" y="789"/>
                </a:lnTo>
                <a:lnTo>
                  <a:pt x="35" y="791"/>
                </a:lnTo>
                <a:lnTo>
                  <a:pt x="34" y="794"/>
                </a:lnTo>
                <a:lnTo>
                  <a:pt x="31" y="801"/>
                </a:lnTo>
                <a:lnTo>
                  <a:pt x="29" y="806"/>
                </a:lnTo>
                <a:lnTo>
                  <a:pt x="28" y="815"/>
                </a:lnTo>
                <a:lnTo>
                  <a:pt x="27" y="822"/>
                </a:lnTo>
                <a:lnTo>
                  <a:pt x="21" y="827"/>
                </a:lnTo>
                <a:lnTo>
                  <a:pt x="16" y="833"/>
                </a:lnTo>
                <a:lnTo>
                  <a:pt x="15" y="836"/>
                </a:lnTo>
                <a:lnTo>
                  <a:pt x="13" y="840"/>
                </a:lnTo>
                <a:lnTo>
                  <a:pt x="13" y="844"/>
                </a:lnTo>
                <a:lnTo>
                  <a:pt x="13" y="847"/>
                </a:lnTo>
                <a:lnTo>
                  <a:pt x="11" y="850"/>
                </a:lnTo>
                <a:lnTo>
                  <a:pt x="10" y="851"/>
                </a:lnTo>
                <a:lnTo>
                  <a:pt x="11" y="852"/>
                </a:lnTo>
                <a:lnTo>
                  <a:pt x="13" y="853"/>
                </a:lnTo>
                <a:lnTo>
                  <a:pt x="13" y="854"/>
                </a:lnTo>
                <a:lnTo>
                  <a:pt x="13" y="855"/>
                </a:lnTo>
                <a:lnTo>
                  <a:pt x="10" y="857"/>
                </a:lnTo>
                <a:lnTo>
                  <a:pt x="9" y="859"/>
                </a:lnTo>
                <a:lnTo>
                  <a:pt x="9" y="861"/>
                </a:lnTo>
                <a:lnTo>
                  <a:pt x="9" y="862"/>
                </a:lnTo>
                <a:lnTo>
                  <a:pt x="10" y="867"/>
                </a:lnTo>
                <a:lnTo>
                  <a:pt x="11" y="871"/>
                </a:lnTo>
                <a:lnTo>
                  <a:pt x="8" y="878"/>
                </a:lnTo>
                <a:lnTo>
                  <a:pt x="6" y="886"/>
                </a:lnTo>
                <a:lnTo>
                  <a:pt x="4" y="889"/>
                </a:lnTo>
                <a:lnTo>
                  <a:pt x="4" y="893"/>
                </a:lnTo>
                <a:lnTo>
                  <a:pt x="6" y="897"/>
                </a:lnTo>
                <a:lnTo>
                  <a:pt x="7" y="901"/>
                </a:lnTo>
                <a:lnTo>
                  <a:pt x="10" y="911"/>
                </a:lnTo>
                <a:lnTo>
                  <a:pt x="14" y="922"/>
                </a:lnTo>
                <a:lnTo>
                  <a:pt x="18" y="931"/>
                </a:lnTo>
                <a:lnTo>
                  <a:pt x="24" y="941"/>
                </a:lnTo>
                <a:lnTo>
                  <a:pt x="34" y="950"/>
                </a:lnTo>
                <a:lnTo>
                  <a:pt x="43" y="958"/>
                </a:lnTo>
                <a:lnTo>
                  <a:pt x="48" y="962"/>
                </a:lnTo>
                <a:lnTo>
                  <a:pt x="53" y="964"/>
                </a:lnTo>
                <a:lnTo>
                  <a:pt x="59" y="966"/>
                </a:lnTo>
                <a:lnTo>
                  <a:pt x="66" y="967"/>
                </a:lnTo>
                <a:lnTo>
                  <a:pt x="72" y="967"/>
                </a:lnTo>
                <a:lnTo>
                  <a:pt x="78" y="967"/>
                </a:lnTo>
                <a:lnTo>
                  <a:pt x="84" y="965"/>
                </a:lnTo>
                <a:lnTo>
                  <a:pt x="90" y="962"/>
                </a:lnTo>
                <a:lnTo>
                  <a:pt x="91" y="962"/>
                </a:lnTo>
                <a:lnTo>
                  <a:pt x="93" y="960"/>
                </a:lnTo>
                <a:lnTo>
                  <a:pt x="98" y="956"/>
                </a:lnTo>
                <a:lnTo>
                  <a:pt x="101" y="955"/>
                </a:lnTo>
                <a:lnTo>
                  <a:pt x="103" y="957"/>
                </a:lnTo>
                <a:lnTo>
                  <a:pt x="105" y="964"/>
                </a:lnTo>
                <a:lnTo>
                  <a:pt x="106" y="969"/>
                </a:lnTo>
                <a:lnTo>
                  <a:pt x="108" y="973"/>
                </a:lnTo>
                <a:lnTo>
                  <a:pt x="111" y="977"/>
                </a:lnTo>
                <a:lnTo>
                  <a:pt x="114" y="980"/>
                </a:lnTo>
                <a:lnTo>
                  <a:pt x="118" y="983"/>
                </a:lnTo>
                <a:lnTo>
                  <a:pt x="122" y="985"/>
                </a:lnTo>
                <a:lnTo>
                  <a:pt x="128" y="985"/>
                </a:lnTo>
                <a:lnTo>
                  <a:pt x="134" y="985"/>
                </a:lnTo>
                <a:lnTo>
                  <a:pt x="140" y="985"/>
                </a:lnTo>
                <a:lnTo>
                  <a:pt x="146" y="987"/>
                </a:lnTo>
                <a:lnTo>
                  <a:pt x="154" y="995"/>
                </a:lnTo>
                <a:lnTo>
                  <a:pt x="161" y="1004"/>
                </a:lnTo>
                <a:lnTo>
                  <a:pt x="167" y="1008"/>
                </a:lnTo>
                <a:lnTo>
                  <a:pt x="172" y="1012"/>
                </a:lnTo>
                <a:lnTo>
                  <a:pt x="176" y="1018"/>
                </a:lnTo>
                <a:lnTo>
                  <a:pt x="181" y="1022"/>
                </a:lnTo>
                <a:lnTo>
                  <a:pt x="188" y="1033"/>
                </a:lnTo>
                <a:lnTo>
                  <a:pt x="196" y="1043"/>
                </a:lnTo>
                <a:lnTo>
                  <a:pt x="200" y="1049"/>
                </a:lnTo>
                <a:lnTo>
                  <a:pt x="204" y="1050"/>
                </a:lnTo>
                <a:lnTo>
                  <a:pt x="208" y="1050"/>
                </a:lnTo>
                <a:lnTo>
                  <a:pt x="214" y="1047"/>
                </a:lnTo>
                <a:lnTo>
                  <a:pt x="216" y="1043"/>
                </a:lnTo>
                <a:lnTo>
                  <a:pt x="220" y="1040"/>
                </a:lnTo>
                <a:lnTo>
                  <a:pt x="221" y="1039"/>
                </a:lnTo>
                <a:lnTo>
                  <a:pt x="222" y="1039"/>
                </a:lnTo>
                <a:lnTo>
                  <a:pt x="223" y="1040"/>
                </a:lnTo>
                <a:lnTo>
                  <a:pt x="224" y="1041"/>
                </a:lnTo>
                <a:lnTo>
                  <a:pt x="228" y="1049"/>
                </a:lnTo>
                <a:lnTo>
                  <a:pt x="231" y="1055"/>
                </a:lnTo>
                <a:lnTo>
                  <a:pt x="234" y="1056"/>
                </a:lnTo>
                <a:lnTo>
                  <a:pt x="236" y="1057"/>
                </a:lnTo>
                <a:lnTo>
                  <a:pt x="239" y="1059"/>
                </a:lnTo>
                <a:lnTo>
                  <a:pt x="242" y="1059"/>
                </a:lnTo>
                <a:lnTo>
                  <a:pt x="243" y="1059"/>
                </a:lnTo>
                <a:lnTo>
                  <a:pt x="243" y="1059"/>
                </a:lnTo>
                <a:lnTo>
                  <a:pt x="243" y="1061"/>
                </a:lnTo>
                <a:lnTo>
                  <a:pt x="244" y="1062"/>
                </a:lnTo>
                <a:lnTo>
                  <a:pt x="245" y="1063"/>
                </a:lnTo>
                <a:lnTo>
                  <a:pt x="248" y="1064"/>
                </a:lnTo>
                <a:lnTo>
                  <a:pt x="253" y="1074"/>
                </a:lnTo>
                <a:lnTo>
                  <a:pt x="262" y="1081"/>
                </a:lnTo>
                <a:lnTo>
                  <a:pt x="270" y="1088"/>
                </a:lnTo>
                <a:lnTo>
                  <a:pt x="279" y="1095"/>
                </a:lnTo>
                <a:lnTo>
                  <a:pt x="291" y="1105"/>
                </a:lnTo>
                <a:lnTo>
                  <a:pt x="303" y="1117"/>
                </a:lnTo>
                <a:lnTo>
                  <a:pt x="314" y="1129"/>
                </a:lnTo>
                <a:lnTo>
                  <a:pt x="327" y="1138"/>
                </a:lnTo>
                <a:lnTo>
                  <a:pt x="344" y="1151"/>
                </a:lnTo>
                <a:lnTo>
                  <a:pt x="361" y="1164"/>
                </a:lnTo>
                <a:lnTo>
                  <a:pt x="361" y="1164"/>
                </a:lnTo>
                <a:lnTo>
                  <a:pt x="369" y="1172"/>
                </a:lnTo>
                <a:lnTo>
                  <a:pt x="379" y="1180"/>
                </a:lnTo>
                <a:lnTo>
                  <a:pt x="388" y="1187"/>
                </a:lnTo>
                <a:lnTo>
                  <a:pt x="397" y="1195"/>
                </a:lnTo>
                <a:lnTo>
                  <a:pt x="402" y="1199"/>
                </a:lnTo>
                <a:lnTo>
                  <a:pt x="407" y="1203"/>
                </a:lnTo>
                <a:lnTo>
                  <a:pt x="412" y="1207"/>
                </a:lnTo>
                <a:lnTo>
                  <a:pt x="418" y="1209"/>
                </a:lnTo>
                <a:lnTo>
                  <a:pt x="420" y="1207"/>
                </a:lnTo>
                <a:lnTo>
                  <a:pt x="422" y="1204"/>
                </a:lnTo>
                <a:lnTo>
                  <a:pt x="420" y="1207"/>
                </a:lnTo>
                <a:lnTo>
                  <a:pt x="418" y="1209"/>
                </a:lnTo>
                <a:lnTo>
                  <a:pt x="429" y="1220"/>
                </a:lnTo>
                <a:lnTo>
                  <a:pt x="438" y="1229"/>
                </a:lnTo>
                <a:lnTo>
                  <a:pt x="450" y="1238"/>
                </a:lnTo>
                <a:lnTo>
                  <a:pt x="462" y="1246"/>
                </a:lnTo>
                <a:lnTo>
                  <a:pt x="481" y="1262"/>
                </a:lnTo>
                <a:lnTo>
                  <a:pt x="501" y="1277"/>
                </a:lnTo>
                <a:lnTo>
                  <a:pt x="521" y="1292"/>
                </a:lnTo>
                <a:lnTo>
                  <a:pt x="542" y="1306"/>
                </a:lnTo>
                <a:lnTo>
                  <a:pt x="554" y="1313"/>
                </a:lnTo>
                <a:lnTo>
                  <a:pt x="566" y="1321"/>
                </a:lnTo>
                <a:lnTo>
                  <a:pt x="577" y="1329"/>
                </a:lnTo>
                <a:lnTo>
                  <a:pt x="589" y="1339"/>
                </a:lnTo>
                <a:lnTo>
                  <a:pt x="607" y="1347"/>
                </a:lnTo>
                <a:lnTo>
                  <a:pt x="624" y="1355"/>
                </a:lnTo>
                <a:lnTo>
                  <a:pt x="628" y="1360"/>
                </a:lnTo>
                <a:lnTo>
                  <a:pt x="630" y="1364"/>
                </a:lnTo>
                <a:lnTo>
                  <a:pt x="630" y="1388"/>
                </a:lnTo>
                <a:lnTo>
                  <a:pt x="629" y="1411"/>
                </a:lnTo>
                <a:lnTo>
                  <a:pt x="626" y="1434"/>
                </a:lnTo>
                <a:lnTo>
                  <a:pt x="623" y="1456"/>
                </a:lnTo>
                <a:lnTo>
                  <a:pt x="619" y="1481"/>
                </a:lnTo>
                <a:lnTo>
                  <a:pt x="617" y="1505"/>
                </a:lnTo>
                <a:lnTo>
                  <a:pt x="615" y="1530"/>
                </a:lnTo>
                <a:lnTo>
                  <a:pt x="614" y="1554"/>
                </a:lnTo>
                <a:lnTo>
                  <a:pt x="612" y="1568"/>
                </a:lnTo>
                <a:lnTo>
                  <a:pt x="612" y="1581"/>
                </a:lnTo>
                <a:lnTo>
                  <a:pt x="612" y="1595"/>
                </a:lnTo>
                <a:lnTo>
                  <a:pt x="612" y="1609"/>
                </a:lnTo>
                <a:lnTo>
                  <a:pt x="651" y="1609"/>
                </a:lnTo>
                <a:lnTo>
                  <a:pt x="651" y="1609"/>
                </a:lnTo>
                <a:lnTo>
                  <a:pt x="650" y="1608"/>
                </a:lnTo>
                <a:lnTo>
                  <a:pt x="650" y="1603"/>
                </a:lnTo>
                <a:lnTo>
                  <a:pt x="650" y="1600"/>
                </a:lnTo>
                <a:lnTo>
                  <a:pt x="648" y="1598"/>
                </a:lnTo>
                <a:lnTo>
                  <a:pt x="648" y="1596"/>
                </a:lnTo>
                <a:lnTo>
                  <a:pt x="648" y="1598"/>
                </a:lnTo>
                <a:lnTo>
                  <a:pt x="650" y="1600"/>
                </a:lnTo>
                <a:lnTo>
                  <a:pt x="651" y="1595"/>
                </a:lnTo>
                <a:lnTo>
                  <a:pt x="651" y="1589"/>
                </a:lnTo>
                <a:lnTo>
                  <a:pt x="653" y="1600"/>
                </a:lnTo>
                <a:lnTo>
                  <a:pt x="657" y="1609"/>
                </a:lnTo>
                <a:lnTo>
                  <a:pt x="1349" y="1609"/>
                </a:lnTo>
                <a:lnTo>
                  <a:pt x="1399" y="1609"/>
                </a:lnTo>
                <a:lnTo>
                  <a:pt x="1399" y="1603"/>
                </a:lnTo>
                <a:lnTo>
                  <a:pt x="1398" y="1596"/>
                </a:lnTo>
                <a:lnTo>
                  <a:pt x="1397" y="1588"/>
                </a:lnTo>
                <a:lnTo>
                  <a:pt x="1396" y="1581"/>
                </a:lnTo>
                <a:lnTo>
                  <a:pt x="1397" y="1573"/>
                </a:lnTo>
                <a:lnTo>
                  <a:pt x="1398" y="1565"/>
                </a:lnTo>
                <a:lnTo>
                  <a:pt x="1405" y="1559"/>
                </a:lnTo>
                <a:lnTo>
                  <a:pt x="1411" y="1552"/>
                </a:lnTo>
                <a:lnTo>
                  <a:pt x="1417" y="1545"/>
                </a:lnTo>
                <a:lnTo>
                  <a:pt x="1423" y="1537"/>
                </a:lnTo>
                <a:lnTo>
                  <a:pt x="1426" y="1533"/>
                </a:lnTo>
                <a:lnTo>
                  <a:pt x="1428" y="1529"/>
                </a:lnTo>
                <a:lnTo>
                  <a:pt x="1429" y="1523"/>
                </a:lnTo>
                <a:lnTo>
                  <a:pt x="1428" y="1518"/>
                </a:lnTo>
                <a:lnTo>
                  <a:pt x="1426" y="1512"/>
                </a:lnTo>
                <a:lnTo>
                  <a:pt x="1426" y="1507"/>
                </a:lnTo>
                <a:lnTo>
                  <a:pt x="1426" y="1501"/>
                </a:lnTo>
                <a:lnTo>
                  <a:pt x="1428" y="1495"/>
                </a:lnTo>
                <a:lnTo>
                  <a:pt x="1432" y="1480"/>
                </a:lnTo>
                <a:lnTo>
                  <a:pt x="1437" y="1465"/>
                </a:lnTo>
                <a:lnTo>
                  <a:pt x="1443" y="1451"/>
                </a:lnTo>
                <a:lnTo>
                  <a:pt x="1447" y="1435"/>
                </a:lnTo>
                <a:lnTo>
                  <a:pt x="1451" y="1424"/>
                </a:lnTo>
                <a:lnTo>
                  <a:pt x="1456" y="1412"/>
                </a:lnTo>
                <a:lnTo>
                  <a:pt x="1459" y="1402"/>
                </a:lnTo>
                <a:lnTo>
                  <a:pt x="1463" y="1390"/>
                </a:lnTo>
                <a:lnTo>
                  <a:pt x="1465" y="1377"/>
                </a:lnTo>
                <a:lnTo>
                  <a:pt x="1470" y="1365"/>
                </a:lnTo>
                <a:lnTo>
                  <a:pt x="1473" y="1354"/>
                </a:lnTo>
                <a:lnTo>
                  <a:pt x="1477" y="1342"/>
                </a:lnTo>
                <a:lnTo>
                  <a:pt x="1481" y="1329"/>
                </a:lnTo>
                <a:lnTo>
                  <a:pt x="1486" y="1318"/>
                </a:lnTo>
                <a:lnTo>
                  <a:pt x="1489" y="1305"/>
                </a:lnTo>
                <a:lnTo>
                  <a:pt x="1491" y="1291"/>
                </a:lnTo>
                <a:lnTo>
                  <a:pt x="1492" y="1287"/>
                </a:lnTo>
                <a:lnTo>
                  <a:pt x="1494" y="1284"/>
                </a:lnTo>
                <a:lnTo>
                  <a:pt x="1509" y="1267"/>
                </a:lnTo>
                <a:lnTo>
                  <a:pt x="1525" y="1252"/>
                </a:lnTo>
                <a:lnTo>
                  <a:pt x="1529" y="1249"/>
                </a:lnTo>
                <a:lnTo>
                  <a:pt x="1533" y="1245"/>
                </a:lnTo>
                <a:lnTo>
                  <a:pt x="1536" y="1241"/>
                </a:lnTo>
                <a:lnTo>
                  <a:pt x="1536" y="1235"/>
                </a:lnTo>
                <a:lnTo>
                  <a:pt x="1537" y="1224"/>
                </a:lnTo>
                <a:lnTo>
                  <a:pt x="1536" y="1214"/>
                </a:lnTo>
                <a:close/>
                <a:moveTo>
                  <a:pt x="106" y="761"/>
                </a:moveTo>
                <a:lnTo>
                  <a:pt x="120" y="756"/>
                </a:lnTo>
                <a:lnTo>
                  <a:pt x="134" y="752"/>
                </a:lnTo>
                <a:lnTo>
                  <a:pt x="126" y="750"/>
                </a:lnTo>
                <a:lnTo>
                  <a:pt x="119" y="752"/>
                </a:lnTo>
                <a:lnTo>
                  <a:pt x="112" y="754"/>
                </a:lnTo>
                <a:lnTo>
                  <a:pt x="105" y="756"/>
                </a:lnTo>
                <a:lnTo>
                  <a:pt x="103" y="759"/>
                </a:lnTo>
                <a:lnTo>
                  <a:pt x="103" y="761"/>
                </a:lnTo>
                <a:lnTo>
                  <a:pt x="104" y="762"/>
                </a:lnTo>
                <a:lnTo>
                  <a:pt x="106" y="761"/>
                </a:lnTo>
                <a:close/>
                <a:moveTo>
                  <a:pt x="1028" y="589"/>
                </a:move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19" y="585"/>
                </a:lnTo>
                <a:lnTo>
                  <a:pt x="1012" y="579"/>
                </a:lnTo>
                <a:lnTo>
                  <a:pt x="1010" y="574"/>
                </a:lnTo>
                <a:lnTo>
                  <a:pt x="1007" y="570"/>
                </a:lnTo>
                <a:lnTo>
                  <a:pt x="996" y="557"/>
                </a:lnTo>
                <a:lnTo>
                  <a:pt x="985" y="544"/>
                </a:lnTo>
                <a:lnTo>
                  <a:pt x="975" y="531"/>
                </a:lnTo>
                <a:lnTo>
                  <a:pt x="966" y="517"/>
                </a:lnTo>
                <a:lnTo>
                  <a:pt x="962" y="509"/>
                </a:lnTo>
                <a:lnTo>
                  <a:pt x="957" y="502"/>
                </a:lnTo>
                <a:lnTo>
                  <a:pt x="956" y="508"/>
                </a:lnTo>
                <a:lnTo>
                  <a:pt x="957" y="514"/>
                </a:lnTo>
                <a:lnTo>
                  <a:pt x="960" y="517"/>
                </a:lnTo>
                <a:lnTo>
                  <a:pt x="963" y="522"/>
                </a:lnTo>
                <a:lnTo>
                  <a:pt x="973" y="537"/>
                </a:lnTo>
                <a:lnTo>
                  <a:pt x="984" y="551"/>
                </a:lnTo>
                <a:lnTo>
                  <a:pt x="997" y="566"/>
                </a:lnTo>
                <a:lnTo>
                  <a:pt x="1011" y="581"/>
                </a:lnTo>
                <a:lnTo>
                  <a:pt x="1016" y="587"/>
                </a:lnTo>
                <a:lnTo>
                  <a:pt x="1021" y="593"/>
                </a:lnTo>
                <a:lnTo>
                  <a:pt x="1026" y="598"/>
                </a:lnTo>
                <a:lnTo>
                  <a:pt x="1033" y="600"/>
                </a:lnTo>
                <a:lnTo>
                  <a:pt x="1036" y="601"/>
                </a:lnTo>
                <a:lnTo>
                  <a:pt x="1037" y="601"/>
                </a:lnTo>
                <a:lnTo>
                  <a:pt x="1038" y="601"/>
                </a:lnTo>
                <a:lnTo>
                  <a:pt x="1039" y="600"/>
                </a:lnTo>
                <a:lnTo>
                  <a:pt x="1039" y="598"/>
                </a:lnTo>
                <a:lnTo>
                  <a:pt x="1038" y="596"/>
                </a:lnTo>
                <a:lnTo>
                  <a:pt x="1037" y="596"/>
                </a:lnTo>
                <a:lnTo>
                  <a:pt x="1036" y="595"/>
                </a:lnTo>
                <a:lnTo>
                  <a:pt x="1033" y="594"/>
                </a:lnTo>
                <a:lnTo>
                  <a:pt x="1031" y="594"/>
                </a:lnTo>
                <a:lnTo>
                  <a:pt x="1029" y="593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close/>
                <a:moveTo>
                  <a:pt x="1360" y="219"/>
                </a:moveTo>
                <a:lnTo>
                  <a:pt x="1360" y="218"/>
                </a:lnTo>
                <a:lnTo>
                  <a:pt x="1360" y="217"/>
                </a:lnTo>
                <a:lnTo>
                  <a:pt x="1360" y="217"/>
                </a:lnTo>
                <a:lnTo>
                  <a:pt x="1360" y="218"/>
                </a:lnTo>
                <a:lnTo>
                  <a:pt x="1359" y="219"/>
                </a:lnTo>
                <a:lnTo>
                  <a:pt x="1360" y="219"/>
                </a:lnTo>
                <a:lnTo>
                  <a:pt x="1360" y="219"/>
                </a:lnTo>
                <a:close/>
                <a:moveTo>
                  <a:pt x="1018" y="649"/>
                </a:moveTo>
                <a:lnTo>
                  <a:pt x="1021" y="650"/>
                </a:lnTo>
                <a:lnTo>
                  <a:pt x="1022" y="651"/>
                </a:lnTo>
                <a:lnTo>
                  <a:pt x="1024" y="650"/>
                </a:lnTo>
                <a:lnTo>
                  <a:pt x="1026" y="650"/>
                </a:lnTo>
                <a:lnTo>
                  <a:pt x="1029" y="649"/>
                </a:lnTo>
                <a:lnTo>
                  <a:pt x="1032" y="648"/>
                </a:lnTo>
                <a:lnTo>
                  <a:pt x="1036" y="645"/>
                </a:lnTo>
                <a:lnTo>
                  <a:pt x="1037" y="641"/>
                </a:lnTo>
                <a:lnTo>
                  <a:pt x="1035" y="642"/>
                </a:lnTo>
                <a:lnTo>
                  <a:pt x="1032" y="644"/>
                </a:lnTo>
                <a:lnTo>
                  <a:pt x="1031" y="644"/>
                </a:lnTo>
                <a:lnTo>
                  <a:pt x="1028" y="643"/>
                </a:lnTo>
                <a:lnTo>
                  <a:pt x="1026" y="642"/>
                </a:lnTo>
                <a:lnTo>
                  <a:pt x="1025" y="641"/>
                </a:lnTo>
                <a:lnTo>
                  <a:pt x="1024" y="641"/>
                </a:lnTo>
                <a:lnTo>
                  <a:pt x="1023" y="642"/>
                </a:lnTo>
                <a:lnTo>
                  <a:pt x="1021" y="644"/>
                </a:lnTo>
                <a:lnTo>
                  <a:pt x="1018" y="645"/>
                </a:lnTo>
                <a:lnTo>
                  <a:pt x="1017" y="647"/>
                </a:lnTo>
                <a:lnTo>
                  <a:pt x="1018" y="649"/>
                </a:lnTo>
                <a:close/>
                <a:moveTo>
                  <a:pt x="1321" y="763"/>
                </a:moveTo>
                <a:lnTo>
                  <a:pt x="1326" y="764"/>
                </a:lnTo>
                <a:lnTo>
                  <a:pt x="1334" y="763"/>
                </a:lnTo>
                <a:lnTo>
                  <a:pt x="1341" y="762"/>
                </a:lnTo>
                <a:lnTo>
                  <a:pt x="1347" y="759"/>
                </a:lnTo>
                <a:lnTo>
                  <a:pt x="1349" y="759"/>
                </a:lnTo>
                <a:lnTo>
                  <a:pt x="1352" y="756"/>
                </a:lnTo>
                <a:lnTo>
                  <a:pt x="1353" y="753"/>
                </a:lnTo>
                <a:lnTo>
                  <a:pt x="1355" y="750"/>
                </a:lnTo>
                <a:lnTo>
                  <a:pt x="1361" y="747"/>
                </a:lnTo>
                <a:lnTo>
                  <a:pt x="1367" y="743"/>
                </a:lnTo>
                <a:lnTo>
                  <a:pt x="1370" y="741"/>
                </a:lnTo>
                <a:lnTo>
                  <a:pt x="1371" y="739"/>
                </a:lnTo>
                <a:lnTo>
                  <a:pt x="1369" y="736"/>
                </a:lnTo>
                <a:lnTo>
                  <a:pt x="1366" y="735"/>
                </a:lnTo>
                <a:lnTo>
                  <a:pt x="1352" y="735"/>
                </a:lnTo>
                <a:lnTo>
                  <a:pt x="1337" y="735"/>
                </a:lnTo>
                <a:lnTo>
                  <a:pt x="1337" y="736"/>
                </a:lnTo>
                <a:lnTo>
                  <a:pt x="1337" y="739"/>
                </a:lnTo>
                <a:lnTo>
                  <a:pt x="1328" y="742"/>
                </a:lnTo>
                <a:lnTo>
                  <a:pt x="1323" y="747"/>
                </a:lnTo>
                <a:lnTo>
                  <a:pt x="1322" y="749"/>
                </a:lnTo>
                <a:lnTo>
                  <a:pt x="1321" y="752"/>
                </a:lnTo>
                <a:lnTo>
                  <a:pt x="1321" y="755"/>
                </a:lnTo>
                <a:lnTo>
                  <a:pt x="1321" y="759"/>
                </a:lnTo>
                <a:lnTo>
                  <a:pt x="1320" y="761"/>
                </a:lnTo>
                <a:lnTo>
                  <a:pt x="1321" y="763"/>
                </a:lnTo>
                <a:close/>
                <a:moveTo>
                  <a:pt x="1023" y="635"/>
                </a:moveTo>
                <a:lnTo>
                  <a:pt x="1026" y="634"/>
                </a:lnTo>
                <a:lnTo>
                  <a:pt x="1029" y="633"/>
                </a:lnTo>
                <a:lnTo>
                  <a:pt x="1031" y="630"/>
                </a:lnTo>
                <a:lnTo>
                  <a:pt x="1032" y="627"/>
                </a:lnTo>
                <a:lnTo>
                  <a:pt x="1032" y="624"/>
                </a:lnTo>
                <a:lnTo>
                  <a:pt x="1030" y="623"/>
                </a:lnTo>
                <a:lnTo>
                  <a:pt x="1029" y="623"/>
                </a:lnTo>
                <a:lnTo>
                  <a:pt x="1026" y="623"/>
                </a:lnTo>
                <a:lnTo>
                  <a:pt x="1024" y="624"/>
                </a:lnTo>
                <a:lnTo>
                  <a:pt x="1021" y="626"/>
                </a:lnTo>
                <a:lnTo>
                  <a:pt x="1019" y="628"/>
                </a:lnTo>
                <a:lnTo>
                  <a:pt x="1018" y="631"/>
                </a:lnTo>
                <a:lnTo>
                  <a:pt x="1021" y="634"/>
                </a:lnTo>
                <a:lnTo>
                  <a:pt x="1023" y="635"/>
                </a:lnTo>
                <a:close/>
                <a:moveTo>
                  <a:pt x="1056" y="550"/>
                </a:moveTo>
                <a:lnTo>
                  <a:pt x="1056" y="546"/>
                </a:lnTo>
                <a:lnTo>
                  <a:pt x="1056" y="543"/>
                </a:lnTo>
                <a:lnTo>
                  <a:pt x="1052" y="542"/>
                </a:lnTo>
                <a:lnTo>
                  <a:pt x="1047" y="542"/>
                </a:lnTo>
                <a:lnTo>
                  <a:pt x="1045" y="543"/>
                </a:lnTo>
                <a:lnTo>
                  <a:pt x="1043" y="544"/>
                </a:lnTo>
                <a:lnTo>
                  <a:pt x="1040" y="545"/>
                </a:lnTo>
                <a:lnTo>
                  <a:pt x="1039" y="546"/>
                </a:lnTo>
                <a:lnTo>
                  <a:pt x="1038" y="551"/>
                </a:lnTo>
                <a:lnTo>
                  <a:pt x="1037" y="554"/>
                </a:lnTo>
                <a:lnTo>
                  <a:pt x="1037" y="556"/>
                </a:lnTo>
                <a:lnTo>
                  <a:pt x="1037" y="557"/>
                </a:lnTo>
                <a:lnTo>
                  <a:pt x="1033" y="556"/>
                </a:lnTo>
                <a:lnTo>
                  <a:pt x="1031" y="553"/>
                </a:lnTo>
                <a:lnTo>
                  <a:pt x="1030" y="551"/>
                </a:lnTo>
                <a:lnTo>
                  <a:pt x="1029" y="547"/>
                </a:lnTo>
                <a:lnTo>
                  <a:pt x="1029" y="538"/>
                </a:lnTo>
                <a:lnTo>
                  <a:pt x="1029" y="528"/>
                </a:lnTo>
                <a:lnTo>
                  <a:pt x="1026" y="532"/>
                </a:lnTo>
                <a:lnTo>
                  <a:pt x="1024" y="538"/>
                </a:lnTo>
                <a:lnTo>
                  <a:pt x="1024" y="545"/>
                </a:lnTo>
                <a:lnTo>
                  <a:pt x="1024" y="553"/>
                </a:lnTo>
                <a:lnTo>
                  <a:pt x="1026" y="560"/>
                </a:lnTo>
                <a:lnTo>
                  <a:pt x="1029" y="568"/>
                </a:lnTo>
                <a:lnTo>
                  <a:pt x="1032" y="574"/>
                </a:lnTo>
                <a:lnTo>
                  <a:pt x="1037" y="580"/>
                </a:lnTo>
                <a:lnTo>
                  <a:pt x="1038" y="581"/>
                </a:lnTo>
                <a:lnTo>
                  <a:pt x="1040" y="582"/>
                </a:lnTo>
                <a:lnTo>
                  <a:pt x="1042" y="585"/>
                </a:lnTo>
                <a:lnTo>
                  <a:pt x="1043" y="587"/>
                </a:lnTo>
                <a:lnTo>
                  <a:pt x="1045" y="589"/>
                </a:lnTo>
                <a:lnTo>
                  <a:pt x="1047" y="589"/>
                </a:lnTo>
                <a:lnTo>
                  <a:pt x="1050" y="587"/>
                </a:lnTo>
                <a:lnTo>
                  <a:pt x="1052" y="585"/>
                </a:lnTo>
                <a:lnTo>
                  <a:pt x="1053" y="582"/>
                </a:lnTo>
                <a:lnTo>
                  <a:pt x="1052" y="578"/>
                </a:lnTo>
                <a:lnTo>
                  <a:pt x="1052" y="577"/>
                </a:lnTo>
                <a:lnTo>
                  <a:pt x="1052" y="575"/>
                </a:lnTo>
                <a:lnTo>
                  <a:pt x="1052" y="567"/>
                </a:lnTo>
                <a:lnTo>
                  <a:pt x="1052" y="559"/>
                </a:lnTo>
                <a:lnTo>
                  <a:pt x="1054" y="556"/>
                </a:lnTo>
                <a:lnTo>
                  <a:pt x="1056" y="550"/>
                </a:lnTo>
                <a:close/>
                <a:moveTo>
                  <a:pt x="1340" y="423"/>
                </a:moveTo>
                <a:lnTo>
                  <a:pt x="1343" y="421"/>
                </a:lnTo>
                <a:lnTo>
                  <a:pt x="1344" y="420"/>
                </a:lnTo>
                <a:lnTo>
                  <a:pt x="1344" y="418"/>
                </a:lnTo>
                <a:lnTo>
                  <a:pt x="1344" y="416"/>
                </a:lnTo>
                <a:lnTo>
                  <a:pt x="1346" y="411"/>
                </a:lnTo>
                <a:lnTo>
                  <a:pt x="1347" y="409"/>
                </a:lnTo>
                <a:lnTo>
                  <a:pt x="1350" y="407"/>
                </a:lnTo>
                <a:lnTo>
                  <a:pt x="1355" y="407"/>
                </a:lnTo>
                <a:lnTo>
                  <a:pt x="1356" y="406"/>
                </a:lnTo>
                <a:lnTo>
                  <a:pt x="1359" y="405"/>
                </a:lnTo>
                <a:lnTo>
                  <a:pt x="1360" y="404"/>
                </a:lnTo>
                <a:lnTo>
                  <a:pt x="1360" y="402"/>
                </a:lnTo>
                <a:lnTo>
                  <a:pt x="1359" y="399"/>
                </a:lnTo>
                <a:lnTo>
                  <a:pt x="1357" y="398"/>
                </a:lnTo>
                <a:lnTo>
                  <a:pt x="1356" y="398"/>
                </a:lnTo>
                <a:lnTo>
                  <a:pt x="1354" y="398"/>
                </a:lnTo>
                <a:lnTo>
                  <a:pt x="1349" y="398"/>
                </a:lnTo>
                <a:lnTo>
                  <a:pt x="1346" y="399"/>
                </a:lnTo>
                <a:lnTo>
                  <a:pt x="1343" y="400"/>
                </a:lnTo>
                <a:lnTo>
                  <a:pt x="1341" y="402"/>
                </a:lnTo>
                <a:lnTo>
                  <a:pt x="1339" y="404"/>
                </a:lnTo>
                <a:lnTo>
                  <a:pt x="1336" y="407"/>
                </a:lnTo>
                <a:lnTo>
                  <a:pt x="1336" y="411"/>
                </a:lnTo>
                <a:lnTo>
                  <a:pt x="1335" y="416"/>
                </a:lnTo>
                <a:lnTo>
                  <a:pt x="1336" y="417"/>
                </a:lnTo>
                <a:lnTo>
                  <a:pt x="1336" y="419"/>
                </a:lnTo>
                <a:lnTo>
                  <a:pt x="1336" y="421"/>
                </a:lnTo>
                <a:lnTo>
                  <a:pt x="1340" y="423"/>
                </a:lnTo>
                <a:close/>
                <a:moveTo>
                  <a:pt x="1080" y="547"/>
                </a:moveTo>
                <a:lnTo>
                  <a:pt x="1090" y="546"/>
                </a:lnTo>
                <a:lnTo>
                  <a:pt x="1100" y="546"/>
                </a:lnTo>
                <a:lnTo>
                  <a:pt x="1109" y="546"/>
                </a:lnTo>
                <a:lnTo>
                  <a:pt x="1119" y="547"/>
                </a:lnTo>
                <a:lnTo>
                  <a:pt x="1122" y="547"/>
                </a:lnTo>
                <a:lnTo>
                  <a:pt x="1123" y="545"/>
                </a:lnTo>
                <a:lnTo>
                  <a:pt x="1123" y="542"/>
                </a:lnTo>
                <a:lnTo>
                  <a:pt x="1121" y="537"/>
                </a:lnTo>
                <a:lnTo>
                  <a:pt x="1118" y="533"/>
                </a:lnTo>
                <a:lnTo>
                  <a:pt x="1114" y="531"/>
                </a:lnTo>
                <a:lnTo>
                  <a:pt x="1101" y="528"/>
                </a:lnTo>
                <a:lnTo>
                  <a:pt x="1088" y="523"/>
                </a:lnTo>
                <a:lnTo>
                  <a:pt x="1076" y="519"/>
                </a:lnTo>
                <a:lnTo>
                  <a:pt x="1063" y="515"/>
                </a:lnTo>
                <a:lnTo>
                  <a:pt x="1054" y="512"/>
                </a:lnTo>
                <a:lnTo>
                  <a:pt x="1045" y="510"/>
                </a:lnTo>
                <a:lnTo>
                  <a:pt x="1036" y="509"/>
                </a:lnTo>
                <a:lnTo>
                  <a:pt x="1028" y="509"/>
                </a:lnTo>
                <a:lnTo>
                  <a:pt x="1022" y="509"/>
                </a:lnTo>
                <a:lnTo>
                  <a:pt x="1016" y="508"/>
                </a:lnTo>
                <a:lnTo>
                  <a:pt x="1011" y="507"/>
                </a:lnTo>
                <a:lnTo>
                  <a:pt x="1007" y="505"/>
                </a:lnTo>
                <a:lnTo>
                  <a:pt x="993" y="500"/>
                </a:lnTo>
                <a:lnTo>
                  <a:pt x="980" y="491"/>
                </a:lnTo>
                <a:lnTo>
                  <a:pt x="977" y="490"/>
                </a:lnTo>
                <a:lnTo>
                  <a:pt x="974" y="489"/>
                </a:lnTo>
                <a:lnTo>
                  <a:pt x="970" y="489"/>
                </a:lnTo>
                <a:lnTo>
                  <a:pt x="966" y="490"/>
                </a:lnTo>
                <a:lnTo>
                  <a:pt x="980" y="498"/>
                </a:lnTo>
                <a:lnTo>
                  <a:pt x="994" y="507"/>
                </a:lnTo>
                <a:lnTo>
                  <a:pt x="1008" y="514"/>
                </a:lnTo>
                <a:lnTo>
                  <a:pt x="1023" y="519"/>
                </a:lnTo>
                <a:lnTo>
                  <a:pt x="1026" y="523"/>
                </a:lnTo>
                <a:lnTo>
                  <a:pt x="1031" y="525"/>
                </a:lnTo>
                <a:lnTo>
                  <a:pt x="1047" y="532"/>
                </a:lnTo>
                <a:lnTo>
                  <a:pt x="1063" y="542"/>
                </a:lnTo>
                <a:lnTo>
                  <a:pt x="1066" y="546"/>
                </a:lnTo>
                <a:lnTo>
                  <a:pt x="1071" y="547"/>
                </a:lnTo>
                <a:lnTo>
                  <a:pt x="1076" y="549"/>
                </a:lnTo>
                <a:lnTo>
                  <a:pt x="1080" y="547"/>
                </a:lnTo>
                <a:close/>
                <a:moveTo>
                  <a:pt x="1332" y="696"/>
                </a:moveTo>
                <a:lnTo>
                  <a:pt x="1334" y="694"/>
                </a:lnTo>
                <a:lnTo>
                  <a:pt x="1336" y="693"/>
                </a:lnTo>
                <a:lnTo>
                  <a:pt x="1341" y="690"/>
                </a:lnTo>
                <a:lnTo>
                  <a:pt x="1346" y="686"/>
                </a:lnTo>
                <a:lnTo>
                  <a:pt x="1349" y="685"/>
                </a:lnTo>
                <a:lnTo>
                  <a:pt x="1352" y="685"/>
                </a:lnTo>
                <a:lnTo>
                  <a:pt x="1355" y="686"/>
                </a:lnTo>
                <a:lnTo>
                  <a:pt x="1359" y="687"/>
                </a:lnTo>
                <a:lnTo>
                  <a:pt x="1360" y="687"/>
                </a:lnTo>
                <a:lnTo>
                  <a:pt x="1362" y="685"/>
                </a:lnTo>
                <a:lnTo>
                  <a:pt x="1364" y="682"/>
                </a:lnTo>
                <a:lnTo>
                  <a:pt x="1368" y="677"/>
                </a:lnTo>
                <a:lnTo>
                  <a:pt x="1369" y="676"/>
                </a:lnTo>
                <a:lnTo>
                  <a:pt x="1371" y="675"/>
                </a:lnTo>
                <a:lnTo>
                  <a:pt x="1374" y="673"/>
                </a:lnTo>
                <a:lnTo>
                  <a:pt x="1377" y="673"/>
                </a:lnTo>
                <a:lnTo>
                  <a:pt x="1375" y="670"/>
                </a:lnTo>
                <a:lnTo>
                  <a:pt x="1370" y="668"/>
                </a:lnTo>
                <a:lnTo>
                  <a:pt x="1363" y="666"/>
                </a:lnTo>
                <a:lnTo>
                  <a:pt x="1357" y="665"/>
                </a:lnTo>
                <a:lnTo>
                  <a:pt x="1352" y="666"/>
                </a:lnTo>
                <a:lnTo>
                  <a:pt x="1347" y="668"/>
                </a:lnTo>
                <a:lnTo>
                  <a:pt x="1342" y="669"/>
                </a:lnTo>
                <a:lnTo>
                  <a:pt x="1337" y="672"/>
                </a:lnTo>
                <a:lnTo>
                  <a:pt x="1333" y="677"/>
                </a:lnTo>
                <a:lnTo>
                  <a:pt x="1328" y="682"/>
                </a:lnTo>
                <a:lnTo>
                  <a:pt x="1328" y="683"/>
                </a:lnTo>
                <a:lnTo>
                  <a:pt x="1327" y="683"/>
                </a:lnTo>
                <a:lnTo>
                  <a:pt x="1325" y="680"/>
                </a:lnTo>
                <a:lnTo>
                  <a:pt x="1322" y="678"/>
                </a:lnTo>
                <a:lnTo>
                  <a:pt x="1322" y="676"/>
                </a:lnTo>
                <a:lnTo>
                  <a:pt x="1321" y="673"/>
                </a:lnTo>
                <a:lnTo>
                  <a:pt x="1322" y="669"/>
                </a:lnTo>
                <a:lnTo>
                  <a:pt x="1322" y="663"/>
                </a:lnTo>
                <a:lnTo>
                  <a:pt x="1321" y="655"/>
                </a:lnTo>
                <a:lnTo>
                  <a:pt x="1319" y="647"/>
                </a:lnTo>
                <a:lnTo>
                  <a:pt x="1318" y="642"/>
                </a:lnTo>
                <a:lnTo>
                  <a:pt x="1315" y="640"/>
                </a:lnTo>
                <a:lnTo>
                  <a:pt x="1312" y="636"/>
                </a:lnTo>
                <a:lnTo>
                  <a:pt x="1307" y="634"/>
                </a:lnTo>
                <a:lnTo>
                  <a:pt x="1302" y="631"/>
                </a:lnTo>
                <a:lnTo>
                  <a:pt x="1299" y="628"/>
                </a:lnTo>
                <a:lnTo>
                  <a:pt x="1295" y="623"/>
                </a:lnTo>
                <a:lnTo>
                  <a:pt x="1292" y="620"/>
                </a:lnTo>
                <a:lnTo>
                  <a:pt x="1290" y="616"/>
                </a:lnTo>
                <a:lnTo>
                  <a:pt x="1290" y="613"/>
                </a:lnTo>
                <a:lnTo>
                  <a:pt x="1290" y="610"/>
                </a:lnTo>
                <a:lnTo>
                  <a:pt x="1292" y="607"/>
                </a:lnTo>
                <a:lnTo>
                  <a:pt x="1295" y="603"/>
                </a:lnTo>
                <a:lnTo>
                  <a:pt x="1298" y="598"/>
                </a:lnTo>
                <a:lnTo>
                  <a:pt x="1298" y="593"/>
                </a:lnTo>
                <a:lnTo>
                  <a:pt x="1298" y="587"/>
                </a:lnTo>
                <a:lnTo>
                  <a:pt x="1294" y="578"/>
                </a:lnTo>
                <a:lnTo>
                  <a:pt x="1288" y="568"/>
                </a:lnTo>
                <a:lnTo>
                  <a:pt x="1287" y="566"/>
                </a:lnTo>
                <a:lnTo>
                  <a:pt x="1285" y="565"/>
                </a:lnTo>
                <a:lnTo>
                  <a:pt x="1283" y="564"/>
                </a:lnTo>
                <a:lnTo>
                  <a:pt x="1279" y="564"/>
                </a:lnTo>
                <a:lnTo>
                  <a:pt x="1274" y="564"/>
                </a:lnTo>
                <a:lnTo>
                  <a:pt x="1270" y="564"/>
                </a:lnTo>
                <a:lnTo>
                  <a:pt x="1265" y="563"/>
                </a:lnTo>
                <a:lnTo>
                  <a:pt x="1261" y="560"/>
                </a:lnTo>
                <a:lnTo>
                  <a:pt x="1254" y="554"/>
                </a:lnTo>
                <a:lnTo>
                  <a:pt x="1249" y="549"/>
                </a:lnTo>
                <a:lnTo>
                  <a:pt x="1243" y="543"/>
                </a:lnTo>
                <a:lnTo>
                  <a:pt x="1235" y="539"/>
                </a:lnTo>
                <a:lnTo>
                  <a:pt x="1226" y="536"/>
                </a:lnTo>
                <a:lnTo>
                  <a:pt x="1218" y="535"/>
                </a:lnTo>
                <a:lnTo>
                  <a:pt x="1214" y="535"/>
                </a:lnTo>
                <a:lnTo>
                  <a:pt x="1209" y="536"/>
                </a:lnTo>
                <a:lnTo>
                  <a:pt x="1207" y="536"/>
                </a:lnTo>
                <a:lnTo>
                  <a:pt x="1205" y="537"/>
                </a:lnTo>
                <a:lnTo>
                  <a:pt x="1203" y="539"/>
                </a:lnTo>
                <a:lnTo>
                  <a:pt x="1202" y="542"/>
                </a:lnTo>
                <a:lnTo>
                  <a:pt x="1199" y="545"/>
                </a:lnTo>
                <a:lnTo>
                  <a:pt x="1196" y="547"/>
                </a:lnTo>
                <a:lnTo>
                  <a:pt x="1194" y="549"/>
                </a:lnTo>
                <a:lnTo>
                  <a:pt x="1192" y="551"/>
                </a:lnTo>
                <a:lnTo>
                  <a:pt x="1190" y="561"/>
                </a:lnTo>
                <a:lnTo>
                  <a:pt x="1188" y="571"/>
                </a:lnTo>
                <a:lnTo>
                  <a:pt x="1187" y="581"/>
                </a:lnTo>
                <a:lnTo>
                  <a:pt x="1188" y="591"/>
                </a:lnTo>
                <a:lnTo>
                  <a:pt x="1191" y="606"/>
                </a:lnTo>
                <a:lnTo>
                  <a:pt x="1194" y="620"/>
                </a:lnTo>
                <a:lnTo>
                  <a:pt x="1195" y="634"/>
                </a:lnTo>
                <a:lnTo>
                  <a:pt x="1195" y="649"/>
                </a:lnTo>
                <a:lnTo>
                  <a:pt x="1195" y="654"/>
                </a:lnTo>
                <a:lnTo>
                  <a:pt x="1195" y="659"/>
                </a:lnTo>
                <a:lnTo>
                  <a:pt x="1194" y="664"/>
                </a:lnTo>
                <a:lnTo>
                  <a:pt x="1194" y="668"/>
                </a:lnTo>
                <a:lnTo>
                  <a:pt x="1194" y="672"/>
                </a:lnTo>
                <a:lnTo>
                  <a:pt x="1194" y="675"/>
                </a:lnTo>
                <a:lnTo>
                  <a:pt x="1191" y="676"/>
                </a:lnTo>
                <a:lnTo>
                  <a:pt x="1188" y="678"/>
                </a:lnTo>
                <a:lnTo>
                  <a:pt x="1180" y="683"/>
                </a:lnTo>
                <a:lnTo>
                  <a:pt x="1171" y="685"/>
                </a:lnTo>
                <a:lnTo>
                  <a:pt x="1170" y="689"/>
                </a:lnTo>
                <a:lnTo>
                  <a:pt x="1169" y="691"/>
                </a:lnTo>
                <a:lnTo>
                  <a:pt x="1168" y="693"/>
                </a:lnTo>
                <a:lnTo>
                  <a:pt x="1166" y="694"/>
                </a:lnTo>
                <a:lnTo>
                  <a:pt x="1161" y="696"/>
                </a:lnTo>
                <a:lnTo>
                  <a:pt x="1156" y="698"/>
                </a:lnTo>
                <a:lnTo>
                  <a:pt x="1153" y="700"/>
                </a:lnTo>
                <a:lnTo>
                  <a:pt x="1150" y="704"/>
                </a:lnTo>
                <a:lnTo>
                  <a:pt x="1149" y="706"/>
                </a:lnTo>
                <a:lnTo>
                  <a:pt x="1149" y="708"/>
                </a:lnTo>
                <a:lnTo>
                  <a:pt x="1149" y="712"/>
                </a:lnTo>
                <a:lnTo>
                  <a:pt x="1148" y="714"/>
                </a:lnTo>
                <a:lnTo>
                  <a:pt x="1147" y="717"/>
                </a:lnTo>
                <a:lnTo>
                  <a:pt x="1146" y="718"/>
                </a:lnTo>
                <a:lnTo>
                  <a:pt x="1141" y="718"/>
                </a:lnTo>
                <a:lnTo>
                  <a:pt x="1136" y="717"/>
                </a:lnTo>
                <a:lnTo>
                  <a:pt x="1136" y="719"/>
                </a:lnTo>
                <a:lnTo>
                  <a:pt x="1138" y="721"/>
                </a:lnTo>
                <a:lnTo>
                  <a:pt x="1139" y="724"/>
                </a:lnTo>
                <a:lnTo>
                  <a:pt x="1141" y="725"/>
                </a:lnTo>
                <a:lnTo>
                  <a:pt x="1143" y="725"/>
                </a:lnTo>
                <a:lnTo>
                  <a:pt x="1146" y="725"/>
                </a:lnTo>
                <a:lnTo>
                  <a:pt x="1148" y="726"/>
                </a:lnTo>
                <a:lnTo>
                  <a:pt x="1148" y="728"/>
                </a:lnTo>
                <a:lnTo>
                  <a:pt x="1147" y="729"/>
                </a:lnTo>
                <a:lnTo>
                  <a:pt x="1145" y="731"/>
                </a:lnTo>
                <a:lnTo>
                  <a:pt x="1141" y="729"/>
                </a:lnTo>
                <a:lnTo>
                  <a:pt x="1139" y="728"/>
                </a:lnTo>
                <a:lnTo>
                  <a:pt x="1138" y="728"/>
                </a:lnTo>
                <a:lnTo>
                  <a:pt x="1135" y="728"/>
                </a:lnTo>
                <a:lnTo>
                  <a:pt x="1139" y="733"/>
                </a:lnTo>
                <a:lnTo>
                  <a:pt x="1143" y="738"/>
                </a:lnTo>
                <a:lnTo>
                  <a:pt x="1143" y="741"/>
                </a:lnTo>
                <a:lnTo>
                  <a:pt x="1145" y="743"/>
                </a:lnTo>
                <a:lnTo>
                  <a:pt x="1146" y="745"/>
                </a:lnTo>
                <a:lnTo>
                  <a:pt x="1147" y="746"/>
                </a:lnTo>
                <a:lnTo>
                  <a:pt x="1150" y="745"/>
                </a:lnTo>
                <a:lnTo>
                  <a:pt x="1155" y="743"/>
                </a:lnTo>
                <a:lnTo>
                  <a:pt x="1160" y="742"/>
                </a:lnTo>
                <a:lnTo>
                  <a:pt x="1163" y="742"/>
                </a:lnTo>
                <a:lnTo>
                  <a:pt x="1166" y="743"/>
                </a:lnTo>
                <a:lnTo>
                  <a:pt x="1167" y="745"/>
                </a:lnTo>
                <a:lnTo>
                  <a:pt x="1167" y="747"/>
                </a:lnTo>
                <a:lnTo>
                  <a:pt x="1167" y="750"/>
                </a:lnTo>
                <a:lnTo>
                  <a:pt x="1168" y="754"/>
                </a:lnTo>
                <a:lnTo>
                  <a:pt x="1169" y="755"/>
                </a:lnTo>
                <a:lnTo>
                  <a:pt x="1170" y="756"/>
                </a:lnTo>
                <a:lnTo>
                  <a:pt x="1174" y="757"/>
                </a:lnTo>
                <a:lnTo>
                  <a:pt x="1180" y="757"/>
                </a:lnTo>
                <a:lnTo>
                  <a:pt x="1183" y="760"/>
                </a:lnTo>
                <a:lnTo>
                  <a:pt x="1185" y="761"/>
                </a:lnTo>
                <a:lnTo>
                  <a:pt x="1187" y="763"/>
                </a:lnTo>
                <a:lnTo>
                  <a:pt x="1188" y="766"/>
                </a:lnTo>
                <a:lnTo>
                  <a:pt x="1188" y="769"/>
                </a:lnTo>
                <a:lnTo>
                  <a:pt x="1189" y="771"/>
                </a:lnTo>
                <a:lnTo>
                  <a:pt x="1190" y="774"/>
                </a:lnTo>
                <a:lnTo>
                  <a:pt x="1192" y="775"/>
                </a:lnTo>
                <a:lnTo>
                  <a:pt x="1195" y="776"/>
                </a:lnTo>
                <a:lnTo>
                  <a:pt x="1199" y="777"/>
                </a:lnTo>
                <a:lnTo>
                  <a:pt x="1204" y="778"/>
                </a:lnTo>
                <a:lnTo>
                  <a:pt x="1209" y="781"/>
                </a:lnTo>
                <a:lnTo>
                  <a:pt x="1212" y="782"/>
                </a:lnTo>
                <a:lnTo>
                  <a:pt x="1216" y="782"/>
                </a:lnTo>
                <a:lnTo>
                  <a:pt x="1218" y="781"/>
                </a:lnTo>
                <a:lnTo>
                  <a:pt x="1221" y="778"/>
                </a:lnTo>
                <a:lnTo>
                  <a:pt x="1223" y="776"/>
                </a:lnTo>
                <a:lnTo>
                  <a:pt x="1225" y="773"/>
                </a:lnTo>
                <a:lnTo>
                  <a:pt x="1228" y="769"/>
                </a:lnTo>
                <a:lnTo>
                  <a:pt x="1230" y="764"/>
                </a:lnTo>
                <a:lnTo>
                  <a:pt x="1232" y="762"/>
                </a:lnTo>
                <a:lnTo>
                  <a:pt x="1233" y="761"/>
                </a:lnTo>
                <a:lnTo>
                  <a:pt x="1236" y="760"/>
                </a:lnTo>
                <a:lnTo>
                  <a:pt x="1238" y="760"/>
                </a:lnTo>
                <a:lnTo>
                  <a:pt x="1240" y="761"/>
                </a:lnTo>
                <a:lnTo>
                  <a:pt x="1244" y="763"/>
                </a:lnTo>
                <a:lnTo>
                  <a:pt x="1246" y="767"/>
                </a:lnTo>
                <a:lnTo>
                  <a:pt x="1249" y="768"/>
                </a:lnTo>
                <a:lnTo>
                  <a:pt x="1250" y="768"/>
                </a:lnTo>
                <a:lnTo>
                  <a:pt x="1252" y="768"/>
                </a:lnTo>
                <a:lnTo>
                  <a:pt x="1253" y="767"/>
                </a:lnTo>
                <a:lnTo>
                  <a:pt x="1254" y="764"/>
                </a:lnTo>
                <a:lnTo>
                  <a:pt x="1257" y="763"/>
                </a:lnTo>
                <a:lnTo>
                  <a:pt x="1258" y="764"/>
                </a:lnTo>
                <a:lnTo>
                  <a:pt x="1260" y="767"/>
                </a:lnTo>
                <a:lnTo>
                  <a:pt x="1261" y="768"/>
                </a:lnTo>
                <a:lnTo>
                  <a:pt x="1263" y="768"/>
                </a:lnTo>
                <a:lnTo>
                  <a:pt x="1265" y="768"/>
                </a:lnTo>
                <a:lnTo>
                  <a:pt x="1266" y="767"/>
                </a:lnTo>
                <a:lnTo>
                  <a:pt x="1266" y="766"/>
                </a:lnTo>
                <a:lnTo>
                  <a:pt x="1266" y="764"/>
                </a:lnTo>
                <a:lnTo>
                  <a:pt x="1265" y="763"/>
                </a:lnTo>
                <a:lnTo>
                  <a:pt x="1264" y="762"/>
                </a:lnTo>
                <a:lnTo>
                  <a:pt x="1261" y="760"/>
                </a:lnTo>
                <a:lnTo>
                  <a:pt x="1259" y="757"/>
                </a:lnTo>
                <a:lnTo>
                  <a:pt x="1257" y="755"/>
                </a:lnTo>
                <a:lnTo>
                  <a:pt x="1256" y="752"/>
                </a:lnTo>
                <a:lnTo>
                  <a:pt x="1261" y="750"/>
                </a:lnTo>
                <a:lnTo>
                  <a:pt x="1267" y="750"/>
                </a:lnTo>
                <a:lnTo>
                  <a:pt x="1273" y="752"/>
                </a:lnTo>
                <a:lnTo>
                  <a:pt x="1279" y="754"/>
                </a:lnTo>
                <a:lnTo>
                  <a:pt x="1283" y="754"/>
                </a:lnTo>
                <a:lnTo>
                  <a:pt x="1286" y="755"/>
                </a:lnTo>
                <a:lnTo>
                  <a:pt x="1290" y="754"/>
                </a:lnTo>
                <a:lnTo>
                  <a:pt x="1291" y="754"/>
                </a:lnTo>
                <a:lnTo>
                  <a:pt x="1292" y="750"/>
                </a:lnTo>
                <a:lnTo>
                  <a:pt x="1294" y="747"/>
                </a:lnTo>
                <a:lnTo>
                  <a:pt x="1297" y="745"/>
                </a:lnTo>
                <a:lnTo>
                  <a:pt x="1300" y="742"/>
                </a:lnTo>
                <a:lnTo>
                  <a:pt x="1302" y="740"/>
                </a:lnTo>
                <a:lnTo>
                  <a:pt x="1305" y="736"/>
                </a:lnTo>
                <a:lnTo>
                  <a:pt x="1305" y="733"/>
                </a:lnTo>
                <a:lnTo>
                  <a:pt x="1304" y="728"/>
                </a:lnTo>
                <a:lnTo>
                  <a:pt x="1306" y="727"/>
                </a:lnTo>
                <a:lnTo>
                  <a:pt x="1308" y="726"/>
                </a:lnTo>
                <a:lnTo>
                  <a:pt x="1309" y="724"/>
                </a:lnTo>
                <a:lnTo>
                  <a:pt x="1311" y="721"/>
                </a:lnTo>
                <a:lnTo>
                  <a:pt x="1312" y="715"/>
                </a:lnTo>
                <a:lnTo>
                  <a:pt x="1314" y="711"/>
                </a:lnTo>
                <a:lnTo>
                  <a:pt x="1316" y="712"/>
                </a:lnTo>
                <a:lnTo>
                  <a:pt x="1319" y="712"/>
                </a:lnTo>
                <a:lnTo>
                  <a:pt x="1320" y="710"/>
                </a:lnTo>
                <a:lnTo>
                  <a:pt x="1319" y="707"/>
                </a:lnTo>
                <a:lnTo>
                  <a:pt x="1319" y="706"/>
                </a:lnTo>
                <a:lnTo>
                  <a:pt x="1320" y="705"/>
                </a:lnTo>
                <a:lnTo>
                  <a:pt x="1325" y="706"/>
                </a:lnTo>
                <a:lnTo>
                  <a:pt x="1329" y="705"/>
                </a:lnTo>
                <a:lnTo>
                  <a:pt x="1330" y="701"/>
                </a:lnTo>
                <a:lnTo>
                  <a:pt x="1332" y="696"/>
                </a:lnTo>
                <a:close/>
                <a:moveTo>
                  <a:pt x="1152" y="252"/>
                </a:moveTo>
                <a:lnTo>
                  <a:pt x="1161" y="253"/>
                </a:lnTo>
                <a:lnTo>
                  <a:pt x="1170" y="257"/>
                </a:lnTo>
                <a:lnTo>
                  <a:pt x="1178" y="259"/>
                </a:lnTo>
                <a:lnTo>
                  <a:pt x="1188" y="264"/>
                </a:lnTo>
                <a:lnTo>
                  <a:pt x="1204" y="273"/>
                </a:lnTo>
                <a:lnTo>
                  <a:pt x="1219" y="285"/>
                </a:lnTo>
                <a:lnTo>
                  <a:pt x="1210" y="282"/>
                </a:lnTo>
                <a:lnTo>
                  <a:pt x="1201" y="280"/>
                </a:lnTo>
                <a:lnTo>
                  <a:pt x="1191" y="277"/>
                </a:lnTo>
                <a:lnTo>
                  <a:pt x="1183" y="272"/>
                </a:lnTo>
                <a:lnTo>
                  <a:pt x="1168" y="263"/>
                </a:lnTo>
                <a:lnTo>
                  <a:pt x="1152" y="252"/>
                </a:lnTo>
                <a:close/>
                <a:moveTo>
                  <a:pt x="1214" y="490"/>
                </a:moveTo>
                <a:lnTo>
                  <a:pt x="1212" y="490"/>
                </a:lnTo>
                <a:lnTo>
                  <a:pt x="1211" y="491"/>
                </a:lnTo>
                <a:lnTo>
                  <a:pt x="1198" y="490"/>
                </a:lnTo>
                <a:lnTo>
                  <a:pt x="1185" y="488"/>
                </a:lnTo>
                <a:lnTo>
                  <a:pt x="1173" y="487"/>
                </a:lnTo>
                <a:lnTo>
                  <a:pt x="1160" y="484"/>
                </a:lnTo>
                <a:lnTo>
                  <a:pt x="1162" y="481"/>
                </a:lnTo>
                <a:lnTo>
                  <a:pt x="1166" y="479"/>
                </a:lnTo>
                <a:lnTo>
                  <a:pt x="1170" y="476"/>
                </a:lnTo>
                <a:lnTo>
                  <a:pt x="1175" y="475"/>
                </a:lnTo>
                <a:lnTo>
                  <a:pt x="1180" y="474"/>
                </a:lnTo>
                <a:lnTo>
                  <a:pt x="1185" y="475"/>
                </a:lnTo>
                <a:lnTo>
                  <a:pt x="1190" y="476"/>
                </a:lnTo>
                <a:lnTo>
                  <a:pt x="1194" y="477"/>
                </a:lnTo>
                <a:lnTo>
                  <a:pt x="1203" y="484"/>
                </a:lnTo>
                <a:lnTo>
                  <a:pt x="1214" y="490"/>
                </a:lnTo>
                <a:close/>
                <a:moveTo>
                  <a:pt x="1235" y="502"/>
                </a:moveTo>
                <a:lnTo>
                  <a:pt x="1233" y="501"/>
                </a:lnTo>
                <a:lnTo>
                  <a:pt x="1231" y="501"/>
                </a:lnTo>
                <a:lnTo>
                  <a:pt x="1233" y="501"/>
                </a:lnTo>
                <a:lnTo>
                  <a:pt x="1235" y="502"/>
                </a:lnTo>
                <a:close/>
                <a:moveTo>
                  <a:pt x="1150" y="375"/>
                </a:moveTo>
                <a:lnTo>
                  <a:pt x="1133" y="375"/>
                </a:lnTo>
                <a:lnTo>
                  <a:pt x="1114" y="375"/>
                </a:lnTo>
                <a:lnTo>
                  <a:pt x="1097" y="375"/>
                </a:lnTo>
                <a:lnTo>
                  <a:pt x="1079" y="375"/>
                </a:lnTo>
                <a:lnTo>
                  <a:pt x="1079" y="374"/>
                </a:lnTo>
                <a:lnTo>
                  <a:pt x="1078" y="374"/>
                </a:lnTo>
                <a:lnTo>
                  <a:pt x="1078" y="372"/>
                </a:lnTo>
                <a:lnTo>
                  <a:pt x="1078" y="372"/>
                </a:lnTo>
                <a:lnTo>
                  <a:pt x="1078" y="372"/>
                </a:lnTo>
                <a:lnTo>
                  <a:pt x="1078" y="371"/>
                </a:lnTo>
                <a:lnTo>
                  <a:pt x="1078" y="371"/>
                </a:lnTo>
                <a:lnTo>
                  <a:pt x="1077" y="372"/>
                </a:lnTo>
                <a:lnTo>
                  <a:pt x="1074" y="367"/>
                </a:lnTo>
                <a:lnTo>
                  <a:pt x="1070" y="361"/>
                </a:lnTo>
                <a:lnTo>
                  <a:pt x="1065" y="357"/>
                </a:lnTo>
                <a:lnTo>
                  <a:pt x="1058" y="355"/>
                </a:lnTo>
                <a:lnTo>
                  <a:pt x="1059" y="354"/>
                </a:lnTo>
                <a:lnTo>
                  <a:pt x="1059" y="353"/>
                </a:lnTo>
                <a:lnTo>
                  <a:pt x="1070" y="353"/>
                </a:lnTo>
                <a:lnTo>
                  <a:pt x="1080" y="354"/>
                </a:lnTo>
                <a:lnTo>
                  <a:pt x="1092" y="354"/>
                </a:lnTo>
                <a:lnTo>
                  <a:pt x="1102" y="356"/>
                </a:lnTo>
                <a:lnTo>
                  <a:pt x="1115" y="357"/>
                </a:lnTo>
                <a:lnTo>
                  <a:pt x="1128" y="360"/>
                </a:lnTo>
                <a:lnTo>
                  <a:pt x="1142" y="361"/>
                </a:lnTo>
                <a:lnTo>
                  <a:pt x="1155" y="362"/>
                </a:lnTo>
                <a:lnTo>
                  <a:pt x="1157" y="363"/>
                </a:lnTo>
                <a:lnTo>
                  <a:pt x="1160" y="364"/>
                </a:lnTo>
                <a:lnTo>
                  <a:pt x="1161" y="368"/>
                </a:lnTo>
                <a:lnTo>
                  <a:pt x="1161" y="370"/>
                </a:lnTo>
                <a:lnTo>
                  <a:pt x="1160" y="372"/>
                </a:lnTo>
                <a:lnTo>
                  <a:pt x="1159" y="374"/>
                </a:lnTo>
                <a:lnTo>
                  <a:pt x="1155" y="375"/>
                </a:lnTo>
                <a:lnTo>
                  <a:pt x="1150" y="375"/>
                </a:lnTo>
                <a:close/>
                <a:moveTo>
                  <a:pt x="1122" y="480"/>
                </a:moveTo>
                <a:lnTo>
                  <a:pt x="1121" y="483"/>
                </a:lnTo>
                <a:lnTo>
                  <a:pt x="1122" y="487"/>
                </a:lnTo>
                <a:lnTo>
                  <a:pt x="1125" y="489"/>
                </a:lnTo>
                <a:lnTo>
                  <a:pt x="1129" y="490"/>
                </a:lnTo>
                <a:lnTo>
                  <a:pt x="1129" y="493"/>
                </a:lnTo>
                <a:lnTo>
                  <a:pt x="1128" y="495"/>
                </a:lnTo>
                <a:lnTo>
                  <a:pt x="1126" y="496"/>
                </a:lnTo>
                <a:lnTo>
                  <a:pt x="1123" y="496"/>
                </a:lnTo>
                <a:lnTo>
                  <a:pt x="1120" y="494"/>
                </a:lnTo>
                <a:lnTo>
                  <a:pt x="1116" y="493"/>
                </a:lnTo>
                <a:lnTo>
                  <a:pt x="1113" y="491"/>
                </a:lnTo>
                <a:lnTo>
                  <a:pt x="1108" y="490"/>
                </a:lnTo>
                <a:lnTo>
                  <a:pt x="1099" y="489"/>
                </a:lnTo>
                <a:lnTo>
                  <a:pt x="1090" y="488"/>
                </a:lnTo>
                <a:lnTo>
                  <a:pt x="1080" y="487"/>
                </a:lnTo>
                <a:lnTo>
                  <a:pt x="1071" y="486"/>
                </a:lnTo>
                <a:lnTo>
                  <a:pt x="1067" y="483"/>
                </a:lnTo>
                <a:lnTo>
                  <a:pt x="1064" y="480"/>
                </a:lnTo>
                <a:lnTo>
                  <a:pt x="1058" y="473"/>
                </a:lnTo>
                <a:lnTo>
                  <a:pt x="1053" y="465"/>
                </a:lnTo>
                <a:lnTo>
                  <a:pt x="1050" y="456"/>
                </a:lnTo>
                <a:lnTo>
                  <a:pt x="1049" y="447"/>
                </a:lnTo>
                <a:lnTo>
                  <a:pt x="1052" y="445"/>
                </a:lnTo>
                <a:lnTo>
                  <a:pt x="1053" y="441"/>
                </a:lnTo>
                <a:lnTo>
                  <a:pt x="1054" y="435"/>
                </a:lnTo>
                <a:lnTo>
                  <a:pt x="1057" y="431"/>
                </a:lnTo>
                <a:lnTo>
                  <a:pt x="1061" y="426"/>
                </a:lnTo>
                <a:lnTo>
                  <a:pt x="1065" y="423"/>
                </a:lnTo>
                <a:lnTo>
                  <a:pt x="1071" y="420"/>
                </a:lnTo>
                <a:lnTo>
                  <a:pt x="1077" y="419"/>
                </a:lnTo>
                <a:lnTo>
                  <a:pt x="1081" y="419"/>
                </a:lnTo>
                <a:lnTo>
                  <a:pt x="1087" y="420"/>
                </a:lnTo>
                <a:lnTo>
                  <a:pt x="1104" y="424"/>
                </a:lnTo>
                <a:lnTo>
                  <a:pt x="1119" y="428"/>
                </a:lnTo>
                <a:lnTo>
                  <a:pt x="1135" y="432"/>
                </a:lnTo>
                <a:lnTo>
                  <a:pt x="1150" y="437"/>
                </a:lnTo>
                <a:lnTo>
                  <a:pt x="1153" y="438"/>
                </a:lnTo>
                <a:lnTo>
                  <a:pt x="1156" y="439"/>
                </a:lnTo>
                <a:lnTo>
                  <a:pt x="1149" y="441"/>
                </a:lnTo>
                <a:lnTo>
                  <a:pt x="1142" y="445"/>
                </a:lnTo>
                <a:lnTo>
                  <a:pt x="1138" y="449"/>
                </a:lnTo>
                <a:lnTo>
                  <a:pt x="1133" y="454"/>
                </a:lnTo>
                <a:lnTo>
                  <a:pt x="1129" y="460"/>
                </a:lnTo>
                <a:lnTo>
                  <a:pt x="1126" y="466"/>
                </a:lnTo>
                <a:lnTo>
                  <a:pt x="1123" y="473"/>
                </a:lnTo>
                <a:lnTo>
                  <a:pt x="1122" y="480"/>
                </a:lnTo>
                <a:close/>
                <a:moveTo>
                  <a:pt x="1135" y="339"/>
                </a:moveTo>
                <a:lnTo>
                  <a:pt x="1135" y="337"/>
                </a:lnTo>
                <a:lnTo>
                  <a:pt x="1135" y="337"/>
                </a:lnTo>
                <a:lnTo>
                  <a:pt x="1135" y="337"/>
                </a:lnTo>
                <a:lnTo>
                  <a:pt x="1135" y="339"/>
                </a:lnTo>
                <a:close/>
                <a:moveTo>
                  <a:pt x="1135" y="336"/>
                </a:moveTo>
                <a:lnTo>
                  <a:pt x="1136" y="335"/>
                </a:lnTo>
                <a:lnTo>
                  <a:pt x="1138" y="334"/>
                </a:lnTo>
                <a:lnTo>
                  <a:pt x="1136" y="335"/>
                </a:lnTo>
                <a:lnTo>
                  <a:pt x="1135" y="336"/>
                </a:lnTo>
                <a:close/>
                <a:moveTo>
                  <a:pt x="1141" y="332"/>
                </a:moveTo>
                <a:lnTo>
                  <a:pt x="1141" y="330"/>
                </a:lnTo>
                <a:lnTo>
                  <a:pt x="1142" y="329"/>
                </a:lnTo>
                <a:lnTo>
                  <a:pt x="1143" y="328"/>
                </a:lnTo>
                <a:lnTo>
                  <a:pt x="1143" y="327"/>
                </a:lnTo>
                <a:lnTo>
                  <a:pt x="1143" y="328"/>
                </a:lnTo>
                <a:lnTo>
                  <a:pt x="1142" y="329"/>
                </a:lnTo>
                <a:lnTo>
                  <a:pt x="1141" y="330"/>
                </a:lnTo>
                <a:lnTo>
                  <a:pt x="1141" y="332"/>
                </a:lnTo>
                <a:close/>
                <a:moveTo>
                  <a:pt x="1146" y="332"/>
                </a:moveTo>
                <a:lnTo>
                  <a:pt x="1143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3" y="332"/>
                </a:lnTo>
                <a:lnTo>
                  <a:pt x="1146" y="332"/>
                </a:lnTo>
                <a:close/>
                <a:moveTo>
                  <a:pt x="1159" y="316"/>
                </a:moveTo>
                <a:lnTo>
                  <a:pt x="1157" y="318"/>
                </a:lnTo>
                <a:lnTo>
                  <a:pt x="1157" y="318"/>
                </a:lnTo>
                <a:lnTo>
                  <a:pt x="1157" y="318"/>
                </a:lnTo>
                <a:lnTo>
                  <a:pt x="1159" y="316"/>
                </a:lnTo>
                <a:close/>
                <a:moveTo>
                  <a:pt x="1071" y="301"/>
                </a:moveTo>
                <a:lnTo>
                  <a:pt x="1073" y="301"/>
                </a:lnTo>
                <a:lnTo>
                  <a:pt x="1074" y="299"/>
                </a:lnTo>
                <a:lnTo>
                  <a:pt x="1074" y="299"/>
                </a:lnTo>
                <a:lnTo>
                  <a:pt x="1076" y="298"/>
                </a:lnTo>
                <a:lnTo>
                  <a:pt x="1076" y="296"/>
                </a:lnTo>
                <a:lnTo>
                  <a:pt x="1077" y="296"/>
                </a:lnTo>
                <a:lnTo>
                  <a:pt x="1076" y="296"/>
                </a:lnTo>
                <a:lnTo>
                  <a:pt x="1076" y="295"/>
                </a:lnTo>
                <a:lnTo>
                  <a:pt x="1074" y="291"/>
                </a:lnTo>
                <a:lnTo>
                  <a:pt x="1076" y="286"/>
                </a:lnTo>
                <a:lnTo>
                  <a:pt x="1077" y="286"/>
                </a:lnTo>
                <a:lnTo>
                  <a:pt x="1077" y="285"/>
                </a:lnTo>
                <a:lnTo>
                  <a:pt x="1077" y="285"/>
                </a:lnTo>
                <a:lnTo>
                  <a:pt x="1077" y="285"/>
                </a:lnTo>
                <a:lnTo>
                  <a:pt x="1077" y="282"/>
                </a:lnTo>
                <a:lnTo>
                  <a:pt x="1077" y="279"/>
                </a:lnTo>
                <a:lnTo>
                  <a:pt x="1080" y="277"/>
                </a:lnTo>
                <a:lnTo>
                  <a:pt x="1085" y="274"/>
                </a:lnTo>
                <a:lnTo>
                  <a:pt x="1090" y="272"/>
                </a:lnTo>
                <a:lnTo>
                  <a:pt x="1094" y="271"/>
                </a:lnTo>
                <a:lnTo>
                  <a:pt x="1104" y="271"/>
                </a:lnTo>
                <a:lnTo>
                  <a:pt x="1113" y="271"/>
                </a:lnTo>
                <a:lnTo>
                  <a:pt x="1122" y="270"/>
                </a:lnTo>
                <a:lnTo>
                  <a:pt x="1132" y="271"/>
                </a:lnTo>
                <a:lnTo>
                  <a:pt x="1141" y="271"/>
                </a:lnTo>
                <a:lnTo>
                  <a:pt x="1150" y="273"/>
                </a:lnTo>
                <a:lnTo>
                  <a:pt x="1153" y="273"/>
                </a:lnTo>
                <a:lnTo>
                  <a:pt x="1156" y="272"/>
                </a:lnTo>
                <a:lnTo>
                  <a:pt x="1159" y="273"/>
                </a:lnTo>
                <a:lnTo>
                  <a:pt x="1160" y="275"/>
                </a:lnTo>
                <a:lnTo>
                  <a:pt x="1160" y="278"/>
                </a:lnTo>
                <a:lnTo>
                  <a:pt x="1160" y="280"/>
                </a:lnTo>
                <a:lnTo>
                  <a:pt x="1159" y="284"/>
                </a:lnTo>
                <a:lnTo>
                  <a:pt x="1156" y="286"/>
                </a:lnTo>
                <a:lnTo>
                  <a:pt x="1154" y="289"/>
                </a:lnTo>
                <a:lnTo>
                  <a:pt x="1150" y="293"/>
                </a:lnTo>
                <a:lnTo>
                  <a:pt x="1148" y="298"/>
                </a:lnTo>
                <a:lnTo>
                  <a:pt x="1147" y="302"/>
                </a:lnTo>
                <a:lnTo>
                  <a:pt x="1146" y="302"/>
                </a:lnTo>
                <a:lnTo>
                  <a:pt x="1146" y="304"/>
                </a:lnTo>
                <a:lnTo>
                  <a:pt x="1145" y="304"/>
                </a:lnTo>
                <a:lnTo>
                  <a:pt x="1143" y="304"/>
                </a:lnTo>
                <a:lnTo>
                  <a:pt x="1143" y="305"/>
                </a:lnTo>
                <a:lnTo>
                  <a:pt x="1143" y="306"/>
                </a:lnTo>
                <a:lnTo>
                  <a:pt x="1138" y="312"/>
                </a:lnTo>
                <a:lnTo>
                  <a:pt x="1132" y="316"/>
                </a:lnTo>
                <a:lnTo>
                  <a:pt x="1125" y="321"/>
                </a:lnTo>
                <a:lnTo>
                  <a:pt x="1118" y="325"/>
                </a:lnTo>
                <a:lnTo>
                  <a:pt x="1104" y="332"/>
                </a:lnTo>
                <a:lnTo>
                  <a:pt x="1088" y="339"/>
                </a:lnTo>
                <a:lnTo>
                  <a:pt x="1102" y="342"/>
                </a:lnTo>
                <a:lnTo>
                  <a:pt x="1116" y="344"/>
                </a:lnTo>
                <a:lnTo>
                  <a:pt x="1116" y="344"/>
                </a:lnTo>
                <a:lnTo>
                  <a:pt x="1116" y="344"/>
                </a:lnTo>
                <a:lnTo>
                  <a:pt x="1121" y="347"/>
                </a:lnTo>
                <a:lnTo>
                  <a:pt x="1127" y="348"/>
                </a:lnTo>
                <a:lnTo>
                  <a:pt x="1119" y="349"/>
                </a:lnTo>
                <a:lnTo>
                  <a:pt x="1112" y="349"/>
                </a:lnTo>
                <a:lnTo>
                  <a:pt x="1095" y="348"/>
                </a:lnTo>
                <a:lnTo>
                  <a:pt x="1080" y="347"/>
                </a:lnTo>
                <a:lnTo>
                  <a:pt x="1077" y="344"/>
                </a:lnTo>
                <a:lnTo>
                  <a:pt x="1074" y="342"/>
                </a:lnTo>
                <a:lnTo>
                  <a:pt x="1072" y="340"/>
                </a:lnTo>
                <a:lnTo>
                  <a:pt x="1072" y="336"/>
                </a:lnTo>
                <a:lnTo>
                  <a:pt x="1074" y="339"/>
                </a:lnTo>
                <a:lnTo>
                  <a:pt x="1078" y="340"/>
                </a:lnTo>
                <a:lnTo>
                  <a:pt x="1080" y="339"/>
                </a:lnTo>
                <a:lnTo>
                  <a:pt x="1080" y="336"/>
                </a:lnTo>
                <a:lnTo>
                  <a:pt x="1079" y="335"/>
                </a:lnTo>
                <a:lnTo>
                  <a:pt x="1078" y="333"/>
                </a:lnTo>
                <a:lnTo>
                  <a:pt x="1076" y="325"/>
                </a:lnTo>
                <a:lnTo>
                  <a:pt x="1076" y="316"/>
                </a:lnTo>
                <a:lnTo>
                  <a:pt x="1076" y="313"/>
                </a:lnTo>
                <a:lnTo>
                  <a:pt x="1074" y="308"/>
                </a:lnTo>
                <a:lnTo>
                  <a:pt x="1073" y="305"/>
                </a:lnTo>
                <a:lnTo>
                  <a:pt x="1071" y="301"/>
                </a:lnTo>
                <a:lnTo>
                  <a:pt x="1067" y="301"/>
                </a:lnTo>
                <a:lnTo>
                  <a:pt x="1065" y="300"/>
                </a:lnTo>
                <a:lnTo>
                  <a:pt x="1064" y="298"/>
                </a:lnTo>
                <a:lnTo>
                  <a:pt x="1064" y="294"/>
                </a:lnTo>
                <a:lnTo>
                  <a:pt x="1064" y="298"/>
                </a:lnTo>
                <a:lnTo>
                  <a:pt x="1065" y="300"/>
                </a:lnTo>
                <a:lnTo>
                  <a:pt x="1067" y="301"/>
                </a:lnTo>
                <a:lnTo>
                  <a:pt x="1071" y="301"/>
                </a:lnTo>
                <a:close/>
                <a:moveTo>
                  <a:pt x="1259" y="508"/>
                </a:moveTo>
                <a:lnTo>
                  <a:pt x="1253" y="505"/>
                </a:lnTo>
                <a:lnTo>
                  <a:pt x="1247" y="504"/>
                </a:lnTo>
                <a:lnTo>
                  <a:pt x="1253" y="505"/>
                </a:lnTo>
                <a:lnTo>
                  <a:pt x="1259" y="508"/>
                </a:lnTo>
                <a:close/>
                <a:moveTo>
                  <a:pt x="1343" y="263"/>
                </a:moveTo>
                <a:lnTo>
                  <a:pt x="1332" y="258"/>
                </a:lnTo>
                <a:lnTo>
                  <a:pt x="1319" y="256"/>
                </a:lnTo>
                <a:lnTo>
                  <a:pt x="1316" y="254"/>
                </a:lnTo>
                <a:lnTo>
                  <a:pt x="1314" y="252"/>
                </a:lnTo>
                <a:lnTo>
                  <a:pt x="1312" y="252"/>
                </a:lnTo>
                <a:lnTo>
                  <a:pt x="1311" y="251"/>
                </a:lnTo>
                <a:lnTo>
                  <a:pt x="1309" y="250"/>
                </a:lnTo>
                <a:lnTo>
                  <a:pt x="1309" y="247"/>
                </a:lnTo>
                <a:lnTo>
                  <a:pt x="1309" y="245"/>
                </a:lnTo>
                <a:lnTo>
                  <a:pt x="1312" y="244"/>
                </a:lnTo>
                <a:lnTo>
                  <a:pt x="1314" y="243"/>
                </a:lnTo>
                <a:lnTo>
                  <a:pt x="1315" y="243"/>
                </a:lnTo>
                <a:lnTo>
                  <a:pt x="1319" y="243"/>
                </a:lnTo>
                <a:lnTo>
                  <a:pt x="1321" y="243"/>
                </a:lnTo>
                <a:lnTo>
                  <a:pt x="1333" y="244"/>
                </a:lnTo>
                <a:lnTo>
                  <a:pt x="1344" y="244"/>
                </a:lnTo>
                <a:lnTo>
                  <a:pt x="1356" y="244"/>
                </a:lnTo>
                <a:lnTo>
                  <a:pt x="1368" y="244"/>
                </a:lnTo>
                <a:lnTo>
                  <a:pt x="1371" y="243"/>
                </a:lnTo>
                <a:lnTo>
                  <a:pt x="1374" y="240"/>
                </a:lnTo>
                <a:lnTo>
                  <a:pt x="1375" y="237"/>
                </a:lnTo>
                <a:lnTo>
                  <a:pt x="1373" y="233"/>
                </a:lnTo>
                <a:lnTo>
                  <a:pt x="1369" y="230"/>
                </a:lnTo>
                <a:lnTo>
                  <a:pt x="1367" y="225"/>
                </a:lnTo>
                <a:lnTo>
                  <a:pt x="1362" y="223"/>
                </a:lnTo>
                <a:lnTo>
                  <a:pt x="1357" y="222"/>
                </a:lnTo>
                <a:lnTo>
                  <a:pt x="1350" y="223"/>
                </a:lnTo>
                <a:lnTo>
                  <a:pt x="1343" y="222"/>
                </a:lnTo>
                <a:lnTo>
                  <a:pt x="1330" y="218"/>
                </a:lnTo>
                <a:lnTo>
                  <a:pt x="1318" y="215"/>
                </a:lnTo>
                <a:lnTo>
                  <a:pt x="1305" y="212"/>
                </a:lnTo>
                <a:lnTo>
                  <a:pt x="1292" y="210"/>
                </a:lnTo>
                <a:lnTo>
                  <a:pt x="1288" y="209"/>
                </a:lnTo>
                <a:lnTo>
                  <a:pt x="1286" y="207"/>
                </a:lnTo>
                <a:lnTo>
                  <a:pt x="1285" y="205"/>
                </a:lnTo>
                <a:lnTo>
                  <a:pt x="1285" y="204"/>
                </a:lnTo>
                <a:lnTo>
                  <a:pt x="1286" y="203"/>
                </a:lnTo>
                <a:lnTo>
                  <a:pt x="1288" y="203"/>
                </a:lnTo>
                <a:lnTo>
                  <a:pt x="1298" y="204"/>
                </a:lnTo>
                <a:lnTo>
                  <a:pt x="1308" y="205"/>
                </a:lnTo>
                <a:lnTo>
                  <a:pt x="1319" y="205"/>
                </a:lnTo>
                <a:lnTo>
                  <a:pt x="1329" y="205"/>
                </a:lnTo>
                <a:lnTo>
                  <a:pt x="1332" y="205"/>
                </a:lnTo>
                <a:lnTo>
                  <a:pt x="1334" y="204"/>
                </a:lnTo>
                <a:lnTo>
                  <a:pt x="1335" y="202"/>
                </a:lnTo>
                <a:lnTo>
                  <a:pt x="1336" y="200"/>
                </a:lnTo>
                <a:lnTo>
                  <a:pt x="1336" y="200"/>
                </a:lnTo>
                <a:lnTo>
                  <a:pt x="1336" y="200"/>
                </a:lnTo>
                <a:lnTo>
                  <a:pt x="1334" y="200"/>
                </a:lnTo>
                <a:lnTo>
                  <a:pt x="1332" y="200"/>
                </a:lnTo>
                <a:lnTo>
                  <a:pt x="1330" y="198"/>
                </a:lnTo>
                <a:lnTo>
                  <a:pt x="1328" y="197"/>
                </a:lnTo>
                <a:lnTo>
                  <a:pt x="1321" y="193"/>
                </a:lnTo>
                <a:lnTo>
                  <a:pt x="1314" y="189"/>
                </a:lnTo>
                <a:lnTo>
                  <a:pt x="1300" y="184"/>
                </a:lnTo>
                <a:lnTo>
                  <a:pt x="1285" y="181"/>
                </a:lnTo>
                <a:lnTo>
                  <a:pt x="1266" y="177"/>
                </a:lnTo>
                <a:lnTo>
                  <a:pt x="1249" y="174"/>
                </a:lnTo>
                <a:lnTo>
                  <a:pt x="1230" y="172"/>
                </a:lnTo>
                <a:lnTo>
                  <a:pt x="1211" y="170"/>
                </a:lnTo>
                <a:lnTo>
                  <a:pt x="1191" y="170"/>
                </a:lnTo>
                <a:lnTo>
                  <a:pt x="1171" y="170"/>
                </a:lnTo>
                <a:lnTo>
                  <a:pt x="1152" y="170"/>
                </a:lnTo>
                <a:lnTo>
                  <a:pt x="1132" y="172"/>
                </a:lnTo>
                <a:lnTo>
                  <a:pt x="1119" y="173"/>
                </a:lnTo>
                <a:lnTo>
                  <a:pt x="1107" y="176"/>
                </a:lnTo>
                <a:lnTo>
                  <a:pt x="1095" y="179"/>
                </a:lnTo>
                <a:lnTo>
                  <a:pt x="1085" y="183"/>
                </a:lnTo>
                <a:lnTo>
                  <a:pt x="1073" y="189"/>
                </a:lnTo>
                <a:lnTo>
                  <a:pt x="1061" y="195"/>
                </a:lnTo>
                <a:lnTo>
                  <a:pt x="1050" y="200"/>
                </a:lnTo>
                <a:lnTo>
                  <a:pt x="1038" y="207"/>
                </a:lnTo>
                <a:lnTo>
                  <a:pt x="1032" y="211"/>
                </a:lnTo>
                <a:lnTo>
                  <a:pt x="1026" y="216"/>
                </a:lnTo>
                <a:lnTo>
                  <a:pt x="1022" y="222"/>
                </a:lnTo>
                <a:lnTo>
                  <a:pt x="1018" y="229"/>
                </a:lnTo>
                <a:lnTo>
                  <a:pt x="1015" y="235"/>
                </a:lnTo>
                <a:lnTo>
                  <a:pt x="1014" y="242"/>
                </a:lnTo>
                <a:lnTo>
                  <a:pt x="1014" y="249"/>
                </a:lnTo>
                <a:lnTo>
                  <a:pt x="1015" y="256"/>
                </a:lnTo>
                <a:lnTo>
                  <a:pt x="1016" y="265"/>
                </a:lnTo>
                <a:lnTo>
                  <a:pt x="1016" y="273"/>
                </a:lnTo>
                <a:lnTo>
                  <a:pt x="1016" y="282"/>
                </a:lnTo>
                <a:lnTo>
                  <a:pt x="1016" y="291"/>
                </a:lnTo>
                <a:lnTo>
                  <a:pt x="1016" y="299"/>
                </a:lnTo>
                <a:lnTo>
                  <a:pt x="1015" y="308"/>
                </a:lnTo>
                <a:lnTo>
                  <a:pt x="1014" y="312"/>
                </a:lnTo>
                <a:lnTo>
                  <a:pt x="1014" y="316"/>
                </a:lnTo>
                <a:lnTo>
                  <a:pt x="1015" y="320"/>
                </a:lnTo>
                <a:lnTo>
                  <a:pt x="1017" y="325"/>
                </a:lnTo>
                <a:lnTo>
                  <a:pt x="1017" y="326"/>
                </a:lnTo>
                <a:lnTo>
                  <a:pt x="1017" y="328"/>
                </a:lnTo>
                <a:lnTo>
                  <a:pt x="1016" y="329"/>
                </a:lnTo>
                <a:lnTo>
                  <a:pt x="1014" y="330"/>
                </a:lnTo>
                <a:lnTo>
                  <a:pt x="1005" y="333"/>
                </a:lnTo>
                <a:lnTo>
                  <a:pt x="997" y="335"/>
                </a:lnTo>
                <a:lnTo>
                  <a:pt x="993" y="335"/>
                </a:lnTo>
                <a:lnTo>
                  <a:pt x="988" y="335"/>
                </a:lnTo>
                <a:lnTo>
                  <a:pt x="984" y="335"/>
                </a:lnTo>
                <a:lnTo>
                  <a:pt x="980" y="333"/>
                </a:lnTo>
                <a:lnTo>
                  <a:pt x="976" y="332"/>
                </a:lnTo>
                <a:lnTo>
                  <a:pt x="973" y="332"/>
                </a:lnTo>
                <a:lnTo>
                  <a:pt x="969" y="332"/>
                </a:lnTo>
                <a:lnTo>
                  <a:pt x="966" y="333"/>
                </a:lnTo>
                <a:lnTo>
                  <a:pt x="967" y="335"/>
                </a:lnTo>
                <a:lnTo>
                  <a:pt x="969" y="337"/>
                </a:lnTo>
                <a:lnTo>
                  <a:pt x="971" y="337"/>
                </a:lnTo>
                <a:lnTo>
                  <a:pt x="973" y="339"/>
                </a:lnTo>
                <a:lnTo>
                  <a:pt x="985" y="341"/>
                </a:lnTo>
                <a:lnTo>
                  <a:pt x="997" y="346"/>
                </a:lnTo>
                <a:lnTo>
                  <a:pt x="1003" y="349"/>
                </a:lnTo>
                <a:lnTo>
                  <a:pt x="1008" y="353"/>
                </a:lnTo>
                <a:lnTo>
                  <a:pt x="1012" y="357"/>
                </a:lnTo>
                <a:lnTo>
                  <a:pt x="1016" y="363"/>
                </a:lnTo>
                <a:lnTo>
                  <a:pt x="1019" y="367"/>
                </a:lnTo>
                <a:lnTo>
                  <a:pt x="1024" y="370"/>
                </a:lnTo>
                <a:lnTo>
                  <a:pt x="1028" y="372"/>
                </a:lnTo>
                <a:lnTo>
                  <a:pt x="1030" y="376"/>
                </a:lnTo>
                <a:lnTo>
                  <a:pt x="1032" y="381"/>
                </a:lnTo>
                <a:lnTo>
                  <a:pt x="1033" y="384"/>
                </a:lnTo>
                <a:lnTo>
                  <a:pt x="1036" y="389"/>
                </a:lnTo>
                <a:lnTo>
                  <a:pt x="1036" y="392"/>
                </a:lnTo>
                <a:lnTo>
                  <a:pt x="1036" y="396"/>
                </a:lnTo>
                <a:lnTo>
                  <a:pt x="1035" y="398"/>
                </a:lnTo>
                <a:lnTo>
                  <a:pt x="1032" y="399"/>
                </a:lnTo>
                <a:lnTo>
                  <a:pt x="1030" y="402"/>
                </a:lnTo>
                <a:lnTo>
                  <a:pt x="1026" y="402"/>
                </a:lnTo>
                <a:lnTo>
                  <a:pt x="1022" y="402"/>
                </a:lnTo>
                <a:lnTo>
                  <a:pt x="1011" y="400"/>
                </a:lnTo>
                <a:lnTo>
                  <a:pt x="1000" y="402"/>
                </a:lnTo>
                <a:lnTo>
                  <a:pt x="989" y="404"/>
                </a:lnTo>
                <a:lnTo>
                  <a:pt x="977" y="406"/>
                </a:lnTo>
                <a:lnTo>
                  <a:pt x="974" y="406"/>
                </a:lnTo>
                <a:lnTo>
                  <a:pt x="970" y="409"/>
                </a:lnTo>
                <a:lnTo>
                  <a:pt x="967" y="411"/>
                </a:lnTo>
                <a:lnTo>
                  <a:pt x="963" y="413"/>
                </a:lnTo>
                <a:lnTo>
                  <a:pt x="961" y="417"/>
                </a:lnTo>
                <a:lnTo>
                  <a:pt x="960" y="420"/>
                </a:lnTo>
                <a:lnTo>
                  <a:pt x="960" y="424"/>
                </a:lnTo>
                <a:lnTo>
                  <a:pt x="960" y="427"/>
                </a:lnTo>
                <a:lnTo>
                  <a:pt x="963" y="427"/>
                </a:lnTo>
                <a:lnTo>
                  <a:pt x="966" y="428"/>
                </a:lnTo>
                <a:lnTo>
                  <a:pt x="967" y="430"/>
                </a:lnTo>
                <a:lnTo>
                  <a:pt x="967" y="431"/>
                </a:lnTo>
                <a:lnTo>
                  <a:pt x="967" y="434"/>
                </a:lnTo>
                <a:lnTo>
                  <a:pt x="966" y="438"/>
                </a:lnTo>
                <a:lnTo>
                  <a:pt x="967" y="440"/>
                </a:lnTo>
                <a:lnTo>
                  <a:pt x="967" y="444"/>
                </a:lnTo>
                <a:lnTo>
                  <a:pt x="969" y="445"/>
                </a:lnTo>
                <a:lnTo>
                  <a:pt x="973" y="446"/>
                </a:lnTo>
                <a:lnTo>
                  <a:pt x="975" y="448"/>
                </a:lnTo>
                <a:lnTo>
                  <a:pt x="976" y="451"/>
                </a:lnTo>
                <a:lnTo>
                  <a:pt x="982" y="458"/>
                </a:lnTo>
                <a:lnTo>
                  <a:pt x="990" y="463"/>
                </a:lnTo>
                <a:lnTo>
                  <a:pt x="997" y="468"/>
                </a:lnTo>
                <a:lnTo>
                  <a:pt x="1005" y="472"/>
                </a:lnTo>
                <a:lnTo>
                  <a:pt x="1015" y="475"/>
                </a:lnTo>
                <a:lnTo>
                  <a:pt x="1024" y="480"/>
                </a:lnTo>
                <a:lnTo>
                  <a:pt x="1033" y="483"/>
                </a:lnTo>
                <a:lnTo>
                  <a:pt x="1043" y="487"/>
                </a:lnTo>
                <a:lnTo>
                  <a:pt x="1060" y="494"/>
                </a:lnTo>
                <a:lnTo>
                  <a:pt x="1078" y="501"/>
                </a:lnTo>
                <a:lnTo>
                  <a:pt x="1087" y="504"/>
                </a:lnTo>
                <a:lnTo>
                  <a:pt x="1097" y="507"/>
                </a:lnTo>
                <a:lnTo>
                  <a:pt x="1106" y="508"/>
                </a:lnTo>
                <a:lnTo>
                  <a:pt x="1115" y="509"/>
                </a:lnTo>
                <a:lnTo>
                  <a:pt x="1121" y="509"/>
                </a:lnTo>
                <a:lnTo>
                  <a:pt x="1125" y="508"/>
                </a:lnTo>
                <a:lnTo>
                  <a:pt x="1128" y="505"/>
                </a:lnTo>
                <a:lnTo>
                  <a:pt x="1130" y="501"/>
                </a:lnTo>
                <a:lnTo>
                  <a:pt x="1133" y="498"/>
                </a:lnTo>
                <a:lnTo>
                  <a:pt x="1135" y="495"/>
                </a:lnTo>
                <a:lnTo>
                  <a:pt x="1139" y="494"/>
                </a:lnTo>
                <a:lnTo>
                  <a:pt x="1142" y="493"/>
                </a:lnTo>
                <a:lnTo>
                  <a:pt x="1146" y="491"/>
                </a:lnTo>
                <a:lnTo>
                  <a:pt x="1149" y="491"/>
                </a:lnTo>
                <a:lnTo>
                  <a:pt x="1150" y="490"/>
                </a:lnTo>
                <a:lnTo>
                  <a:pt x="1153" y="489"/>
                </a:lnTo>
                <a:lnTo>
                  <a:pt x="1150" y="490"/>
                </a:lnTo>
                <a:lnTo>
                  <a:pt x="1149" y="491"/>
                </a:lnTo>
                <a:lnTo>
                  <a:pt x="1161" y="493"/>
                </a:lnTo>
                <a:lnTo>
                  <a:pt x="1174" y="495"/>
                </a:lnTo>
                <a:lnTo>
                  <a:pt x="1185" y="497"/>
                </a:lnTo>
                <a:lnTo>
                  <a:pt x="1197" y="500"/>
                </a:lnTo>
                <a:lnTo>
                  <a:pt x="1208" y="501"/>
                </a:lnTo>
                <a:lnTo>
                  <a:pt x="1217" y="503"/>
                </a:lnTo>
                <a:lnTo>
                  <a:pt x="1226" y="504"/>
                </a:lnTo>
                <a:lnTo>
                  <a:pt x="1236" y="507"/>
                </a:lnTo>
                <a:lnTo>
                  <a:pt x="1249" y="510"/>
                </a:lnTo>
                <a:lnTo>
                  <a:pt x="1261" y="514"/>
                </a:lnTo>
                <a:lnTo>
                  <a:pt x="1275" y="516"/>
                </a:lnTo>
                <a:lnTo>
                  <a:pt x="1288" y="517"/>
                </a:lnTo>
                <a:lnTo>
                  <a:pt x="1292" y="519"/>
                </a:lnTo>
                <a:lnTo>
                  <a:pt x="1295" y="519"/>
                </a:lnTo>
                <a:lnTo>
                  <a:pt x="1299" y="519"/>
                </a:lnTo>
                <a:lnTo>
                  <a:pt x="1301" y="519"/>
                </a:lnTo>
                <a:lnTo>
                  <a:pt x="1302" y="521"/>
                </a:lnTo>
                <a:lnTo>
                  <a:pt x="1305" y="522"/>
                </a:lnTo>
                <a:lnTo>
                  <a:pt x="1322" y="524"/>
                </a:lnTo>
                <a:lnTo>
                  <a:pt x="1340" y="525"/>
                </a:lnTo>
                <a:lnTo>
                  <a:pt x="1359" y="524"/>
                </a:lnTo>
                <a:lnTo>
                  <a:pt x="1376" y="522"/>
                </a:lnTo>
                <a:lnTo>
                  <a:pt x="1394" y="521"/>
                </a:lnTo>
                <a:lnTo>
                  <a:pt x="1412" y="519"/>
                </a:lnTo>
                <a:lnTo>
                  <a:pt x="1420" y="519"/>
                </a:lnTo>
                <a:lnTo>
                  <a:pt x="1430" y="518"/>
                </a:lnTo>
                <a:lnTo>
                  <a:pt x="1439" y="517"/>
                </a:lnTo>
                <a:lnTo>
                  <a:pt x="1449" y="515"/>
                </a:lnTo>
                <a:lnTo>
                  <a:pt x="1463" y="511"/>
                </a:lnTo>
                <a:lnTo>
                  <a:pt x="1478" y="509"/>
                </a:lnTo>
                <a:lnTo>
                  <a:pt x="1493" y="508"/>
                </a:lnTo>
                <a:lnTo>
                  <a:pt x="1508" y="508"/>
                </a:lnTo>
                <a:lnTo>
                  <a:pt x="1513" y="508"/>
                </a:lnTo>
                <a:lnTo>
                  <a:pt x="1516" y="505"/>
                </a:lnTo>
                <a:lnTo>
                  <a:pt x="1518" y="504"/>
                </a:lnTo>
                <a:lnTo>
                  <a:pt x="1519" y="503"/>
                </a:lnTo>
                <a:lnTo>
                  <a:pt x="1519" y="502"/>
                </a:lnTo>
                <a:lnTo>
                  <a:pt x="1516" y="500"/>
                </a:lnTo>
                <a:lnTo>
                  <a:pt x="1502" y="489"/>
                </a:lnTo>
                <a:lnTo>
                  <a:pt x="1487" y="480"/>
                </a:lnTo>
                <a:lnTo>
                  <a:pt x="1479" y="473"/>
                </a:lnTo>
                <a:lnTo>
                  <a:pt x="1471" y="467"/>
                </a:lnTo>
                <a:lnTo>
                  <a:pt x="1461" y="462"/>
                </a:lnTo>
                <a:lnTo>
                  <a:pt x="1452" y="458"/>
                </a:lnTo>
                <a:lnTo>
                  <a:pt x="1444" y="452"/>
                </a:lnTo>
                <a:lnTo>
                  <a:pt x="1436" y="445"/>
                </a:lnTo>
                <a:lnTo>
                  <a:pt x="1430" y="441"/>
                </a:lnTo>
                <a:lnTo>
                  <a:pt x="1424" y="438"/>
                </a:lnTo>
                <a:lnTo>
                  <a:pt x="1418" y="435"/>
                </a:lnTo>
                <a:lnTo>
                  <a:pt x="1412" y="434"/>
                </a:lnTo>
                <a:lnTo>
                  <a:pt x="1406" y="434"/>
                </a:lnTo>
                <a:lnTo>
                  <a:pt x="1401" y="434"/>
                </a:lnTo>
                <a:lnTo>
                  <a:pt x="1394" y="435"/>
                </a:lnTo>
                <a:lnTo>
                  <a:pt x="1388" y="437"/>
                </a:lnTo>
                <a:lnTo>
                  <a:pt x="1380" y="439"/>
                </a:lnTo>
                <a:lnTo>
                  <a:pt x="1374" y="439"/>
                </a:lnTo>
                <a:lnTo>
                  <a:pt x="1373" y="438"/>
                </a:lnTo>
                <a:lnTo>
                  <a:pt x="1373" y="434"/>
                </a:lnTo>
                <a:lnTo>
                  <a:pt x="1374" y="431"/>
                </a:lnTo>
                <a:lnTo>
                  <a:pt x="1375" y="427"/>
                </a:lnTo>
                <a:lnTo>
                  <a:pt x="1375" y="426"/>
                </a:lnTo>
                <a:lnTo>
                  <a:pt x="1375" y="424"/>
                </a:lnTo>
                <a:lnTo>
                  <a:pt x="1375" y="421"/>
                </a:lnTo>
                <a:lnTo>
                  <a:pt x="1373" y="419"/>
                </a:lnTo>
                <a:lnTo>
                  <a:pt x="1369" y="419"/>
                </a:lnTo>
                <a:lnTo>
                  <a:pt x="1367" y="420"/>
                </a:lnTo>
                <a:lnTo>
                  <a:pt x="1367" y="424"/>
                </a:lnTo>
                <a:lnTo>
                  <a:pt x="1366" y="427"/>
                </a:lnTo>
                <a:lnTo>
                  <a:pt x="1363" y="430"/>
                </a:lnTo>
                <a:lnTo>
                  <a:pt x="1361" y="432"/>
                </a:lnTo>
                <a:lnTo>
                  <a:pt x="1356" y="434"/>
                </a:lnTo>
                <a:lnTo>
                  <a:pt x="1352" y="439"/>
                </a:lnTo>
                <a:lnTo>
                  <a:pt x="1349" y="442"/>
                </a:lnTo>
                <a:lnTo>
                  <a:pt x="1347" y="444"/>
                </a:lnTo>
                <a:lnTo>
                  <a:pt x="1343" y="445"/>
                </a:lnTo>
                <a:lnTo>
                  <a:pt x="1341" y="446"/>
                </a:lnTo>
                <a:lnTo>
                  <a:pt x="1335" y="446"/>
                </a:lnTo>
                <a:lnTo>
                  <a:pt x="1332" y="447"/>
                </a:lnTo>
                <a:lnTo>
                  <a:pt x="1321" y="451"/>
                </a:lnTo>
                <a:lnTo>
                  <a:pt x="1312" y="452"/>
                </a:lnTo>
                <a:lnTo>
                  <a:pt x="1301" y="453"/>
                </a:lnTo>
                <a:lnTo>
                  <a:pt x="1292" y="455"/>
                </a:lnTo>
                <a:lnTo>
                  <a:pt x="1281" y="456"/>
                </a:lnTo>
                <a:lnTo>
                  <a:pt x="1270" y="458"/>
                </a:lnTo>
                <a:lnTo>
                  <a:pt x="1258" y="458"/>
                </a:lnTo>
                <a:lnTo>
                  <a:pt x="1246" y="456"/>
                </a:lnTo>
                <a:lnTo>
                  <a:pt x="1239" y="456"/>
                </a:lnTo>
                <a:lnTo>
                  <a:pt x="1233" y="455"/>
                </a:lnTo>
                <a:lnTo>
                  <a:pt x="1228" y="453"/>
                </a:lnTo>
                <a:lnTo>
                  <a:pt x="1222" y="451"/>
                </a:lnTo>
                <a:lnTo>
                  <a:pt x="1216" y="448"/>
                </a:lnTo>
                <a:lnTo>
                  <a:pt x="1210" y="444"/>
                </a:lnTo>
                <a:lnTo>
                  <a:pt x="1207" y="439"/>
                </a:lnTo>
                <a:lnTo>
                  <a:pt x="1202" y="433"/>
                </a:lnTo>
                <a:lnTo>
                  <a:pt x="1199" y="428"/>
                </a:lnTo>
                <a:lnTo>
                  <a:pt x="1198" y="425"/>
                </a:lnTo>
                <a:lnTo>
                  <a:pt x="1197" y="421"/>
                </a:lnTo>
                <a:lnTo>
                  <a:pt x="1197" y="419"/>
                </a:lnTo>
                <a:lnTo>
                  <a:pt x="1198" y="417"/>
                </a:lnTo>
                <a:lnTo>
                  <a:pt x="1201" y="414"/>
                </a:lnTo>
                <a:lnTo>
                  <a:pt x="1204" y="411"/>
                </a:lnTo>
                <a:lnTo>
                  <a:pt x="1209" y="409"/>
                </a:lnTo>
                <a:lnTo>
                  <a:pt x="1212" y="407"/>
                </a:lnTo>
                <a:lnTo>
                  <a:pt x="1215" y="405"/>
                </a:lnTo>
                <a:lnTo>
                  <a:pt x="1217" y="402"/>
                </a:lnTo>
                <a:lnTo>
                  <a:pt x="1218" y="398"/>
                </a:lnTo>
                <a:lnTo>
                  <a:pt x="1221" y="391"/>
                </a:lnTo>
                <a:lnTo>
                  <a:pt x="1223" y="384"/>
                </a:lnTo>
                <a:lnTo>
                  <a:pt x="1228" y="378"/>
                </a:lnTo>
                <a:lnTo>
                  <a:pt x="1233" y="372"/>
                </a:lnTo>
                <a:lnTo>
                  <a:pt x="1244" y="365"/>
                </a:lnTo>
                <a:lnTo>
                  <a:pt x="1254" y="360"/>
                </a:lnTo>
                <a:lnTo>
                  <a:pt x="1272" y="348"/>
                </a:lnTo>
                <a:lnTo>
                  <a:pt x="1290" y="334"/>
                </a:lnTo>
                <a:lnTo>
                  <a:pt x="1291" y="333"/>
                </a:lnTo>
                <a:lnTo>
                  <a:pt x="1293" y="330"/>
                </a:lnTo>
                <a:lnTo>
                  <a:pt x="1293" y="328"/>
                </a:lnTo>
                <a:lnTo>
                  <a:pt x="1293" y="326"/>
                </a:lnTo>
                <a:lnTo>
                  <a:pt x="1292" y="325"/>
                </a:lnTo>
                <a:lnTo>
                  <a:pt x="1290" y="325"/>
                </a:lnTo>
                <a:lnTo>
                  <a:pt x="1284" y="326"/>
                </a:lnTo>
                <a:lnTo>
                  <a:pt x="1279" y="327"/>
                </a:lnTo>
                <a:lnTo>
                  <a:pt x="1274" y="327"/>
                </a:lnTo>
                <a:lnTo>
                  <a:pt x="1270" y="325"/>
                </a:lnTo>
                <a:lnTo>
                  <a:pt x="1267" y="326"/>
                </a:lnTo>
                <a:lnTo>
                  <a:pt x="1267" y="327"/>
                </a:lnTo>
                <a:lnTo>
                  <a:pt x="1265" y="332"/>
                </a:lnTo>
                <a:lnTo>
                  <a:pt x="1261" y="335"/>
                </a:lnTo>
                <a:lnTo>
                  <a:pt x="1254" y="342"/>
                </a:lnTo>
                <a:lnTo>
                  <a:pt x="1246" y="347"/>
                </a:lnTo>
                <a:lnTo>
                  <a:pt x="1238" y="353"/>
                </a:lnTo>
                <a:lnTo>
                  <a:pt x="1230" y="357"/>
                </a:lnTo>
                <a:lnTo>
                  <a:pt x="1228" y="358"/>
                </a:lnTo>
                <a:lnTo>
                  <a:pt x="1226" y="358"/>
                </a:lnTo>
                <a:lnTo>
                  <a:pt x="1224" y="357"/>
                </a:lnTo>
                <a:lnTo>
                  <a:pt x="1224" y="355"/>
                </a:lnTo>
                <a:lnTo>
                  <a:pt x="1223" y="355"/>
                </a:lnTo>
                <a:lnTo>
                  <a:pt x="1223" y="354"/>
                </a:lnTo>
                <a:lnTo>
                  <a:pt x="1223" y="355"/>
                </a:lnTo>
                <a:lnTo>
                  <a:pt x="1224" y="355"/>
                </a:lnTo>
                <a:lnTo>
                  <a:pt x="1230" y="351"/>
                </a:lnTo>
                <a:lnTo>
                  <a:pt x="1237" y="348"/>
                </a:lnTo>
                <a:lnTo>
                  <a:pt x="1243" y="343"/>
                </a:lnTo>
                <a:lnTo>
                  <a:pt x="1247" y="337"/>
                </a:lnTo>
                <a:lnTo>
                  <a:pt x="1247" y="337"/>
                </a:lnTo>
                <a:lnTo>
                  <a:pt x="1247" y="337"/>
                </a:lnTo>
                <a:lnTo>
                  <a:pt x="1247" y="337"/>
                </a:lnTo>
                <a:lnTo>
                  <a:pt x="1247" y="337"/>
                </a:lnTo>
                <a:lnTo>
                  <a:pt x="1252" y="336"/>
                </a:lnTo>
                <a:lnTo>
                  <a:pt x="1254" y="335"/>
                </a:lnTo>
                <a:lnTo>
                  <a:pt x="1257" y="333"/>
                </a:lnTo>
                <a:lnTo>
                  <a:pt x="1258" y="330"/>
                </a:lnTo>
                <a:lnTo>
                  <a:pt x="1259" y="323"/>
                </a:lnTo>
                <a:lnTo>
                  <a:pt x="1263" y="318"/>
                </a:lnTo>
                <a:lnTo>
                  <a:pt x="1264" y="315"/>
                </a:lnTo>
                <a:lnTo>
                  <a:pt x="1265" y="312"/>
                </a:lnTo>
                <a:lnTo>
                  <a:pt x="1265" y="308"/>
                </a:lnTo>
                <a:lnTo>
                  <a:pt x="1264" y="305"/>
                </a:lnTo>
                <a:lnTo>
                  <a:pt x="1263" y="301"/>
                </a:lnTo>
                <a:lnTo>
                  <a:pt x="1263" y="298"/>
                </a:lnTo>
                <a:lnTo>
                  <a:pt x="1264" y="295"/>
                </a:lnTo>
                <a:lnTo>
                  <a:pt x="1266" y="293"/>
                </a:lnTo>
                <a:lnTo>
                  <a:pt x="1270" y="289"/>
                </a:lnTo>
                <a:lnTo>
                  <a:pt x="1273" y="287"/>
                </a:lnTo>
                <a:lnTo>
                  <a:pt x="1275" y="285"/>
                </a:lnTo>
                <a:lnTo>
                  <a:pt x="1279" y="285"/>
                </a:lnTo>
                <a:lnTo>
                  <a:pt x="1283" y="286"/>
                </a:lnTo>
                <a:lnTo>
                  <a:pt x="1287" y="286"/>
                </a:lnTo>
                <a:lnTo>
                  <a:pt x="1291" y="285"/>
                </a:lnTo>
                <a:lnTo>
                  <a:pt x="1294" y="285"/>
                </a:lnTo>
                <a:lnTo>
                  <a:pt x="1307" y="282"/>
                </a:lnTo>
                <a:lnTo>
                  <a:pt x="1321" y="280"/>
                </a:lnTo>
                <a:lnTo>
                  <a:pt x="1330" y="279"/>
                </a:lnTo>
                <a:lnTo>
                  <a:pt x="1339" y="279"/>
                </a:lnTo>
                <a:lnTo>
                  <a:pt x="1348" y="278"/>
                </a:lnTo>
                <a:lnTo>
                  <a:pt x="1357" y="275"/>
                </a:lnTo>
                <a:lnTo>
                  <a:pt x="1362" y="274"/>
                </a:lnTo>
                <a:lnTo>
                  <a:pt x="1368" y="273"/>
                </a:lnTo>
                <a:lnTo>
                  <a:pt x="1373" y="273"/>
                </a:lnTo>
                <a:lnTo>
                  <a:pt x="1378" y="273"/>
                </a:lnTo>
                <a:lnTo>
                  <a:pt x="1389" y="274"/>
                </a:lnTo>
                <a:lnTo>
                  <a:pt x="1399" y="278"/>
                </a:lnTo>
                <a:lnTo>
                  <a:pt x="1403" y="278"/>
                </a:lnTo>
                <a:lnTo>
                  <a:pt x="1406" y="277"/>
                </a:lnTo>
                <a:lnTo>
                  <a:pt x="1409" y="274"/>
                </a:lnTo>
                <a:lnTo>
                  <a:pt x="1411" y="271"/>
                </a:lnTo>
                <a:lnTo>
                  <a:pt x="1411" y="267"/>
                </a:lnTo>
                <a:lnTo>
                  <a:pt x="1409" y="265"/>
                </a:lnTo>
                <a:lnTo>
                  <a:pt x="1406" y="265"/>
                </a:lnTo>
                <a:lnTo>
                  <a:pt x="1405" y="265"/>
                </a:lnTo>
                <a:lnTo>
                  <a:pt x="1405" y="266"/>
                </a:lnTo>
                <a:lnTo>
                  <a:pt x="1404" y="267"/>
                </a:lnTo>
                <a:lnTo>
                  <a:pt x="1402" y="271"/>
                </a:lnTo>
                <a:lnTo>
                  <a:pt x="1398" y="272"/>
                </a:lnTo>
                <a:lnTo>
                  <a:pt x="1395" y="273"/>
                </a:lnTo>
                <a:lnTo>
                  <a:pt x="1391" y="273"/>
                </a:lnTo>
                <a:lnTo>
                  <a:pt x="1381" y="271"/>
                </a:lnTo>
                <a:lnTo>
                  <a:pt x="1369" y="268"/>
                </a:lnTo>
                <a:lnTo>
                  <a:pt x="1363" y="268"/>
                </a:lnTo>
                <a:lnTo>
                  <a:pt x="1356" y="267"/>
                </a:lnTo>
                <a:lnTo>
                  <a:pt x="1349" y="265"/>
                </a:lnTo>
                <a:lnTo>
                  <a:pt x="1343" y="263"/>
                </a:lnTo>
                <a:close/>
                <a:moveTo>
                  <a:pt x="1411" y="259"/>
                </a:moveTo>
                <a:lnTo>
                  <a:pt x="1410" y="257"/>
                </a:lnTo>
                <a:lnTo>
                  <a:pt x="1408" y="257"/>
                </a:lnTo>
                <a:lnTo>
                  <a:pt x="1409" y="258"/>
                </a:lnTo>
                <a:lnTo>
                  <a:pt x="1411" y="259"/>
                </a:lnTo>
                <a:close/>
                <a:moveTo>
                  <a:pt x="1389" y="728"/>
                </a:moveTo>
                <a:lnTo>
                  <a:pt x="1389" y="726"/>
                </a:lnTo>
                <a:lnTo>
                  <a:pt x="1390" y="725"/>
                </a:lnTo>
                <a:lnTo>
                  <a:pt x="1388" y="726"/>
                </a:lnTo>
                <a:lnTo>
                  <a:pt x="1389" y="728"/>
                </a:lnTo>
                <a:close/>
                <a:moveTo>
                  <a:pt x="1384" y="93"/>
                </a:moveTo>
                <a:lnTo>
                  <a:pt x="1383" y="95"/>
                </a:lnTo>
                <a:lnTo>
                  <a:pt x="1382" y="97"/>
                </a:lnTo>
                <a:lnTo>
                  <a:pt x="1361" y="112"/>
                </a:lnTo>
                <a:lnTo>
                  <a:pt x="1339" y="127"/>
                </a:lnTo>
                <a:lnTo>
                  <a:pt x="1316" y="141"/>
                </a:lnTo>
                <a:lnTo>
                  <a:pt x="1295" y="156"/>
                </a:lnTo>
                <a:lnTo>
                  <a:pt x="1290" y="160"/>
                </a:lnTo>
                <a:lnTo>
                  <a:pt x="1284" y="162"/>
                </a:lnTo>
                <a:lnTo>
                  <a:pt x="1278" y="166"/>
                </a:lnTo>
                <a:lnTo>
                  <a:pt x="1274" y="172"/>
                </a:lnTo>
                <a:lnTo>
                  <a:pt x="1278" y="174"/>
                </a:lnTo>
                <a:lnTo>
                  <a:pt x="1283" y="176"/>
                </a:lnTo>
                <a:lnTo>
                  <a:pt x="1287" y="176"/>
                </a:lnTo>
                <a:lnTo>
                  <a:pt x="1292" y="177"/>
                </a:lnTo>
                <a:lnTo>
                  <a:pt x="1291" y="175"/>
                </a:lnTo>
                <a:lnTo>
                  <a:pt x="1290" y="174"/>
                </a:lnTo>
                <a:lnTo>
                  <a:pt x="1290" y="172"/>
                </a:lnTo>
                <a:lnTo>
                  <a:pt x="1292" y="169"/>
                </a:lnTo>
                <a:lnTo>
                  <a:pt x="1311" y="158"/>
                </a:lnTo>
                <a:lnTo>
                  <a:pt x="1329" y="145"/>
                </a:lnTo>
                <a:lnTo>
                  <a:pt x="1348" y="133"/>
                </a:lnTo>
                <a:lnTo>
                  <a:pt x="1367" y="120"/>
                </a:lnTo>
                <a:lnTo>
                  <a:pt x="1373" y="116"/>
                </a:lnTo>
                <a:lnTo>
                  <a:pt x="1377" y="111"/>
                </a:lnTo>
                <a:lnTo>
                  <a:pt x="1382" y="105"/>
                </a:lnTo>
                <a:lnTo>
                  <a:pt x="1383" y="98"/>
                </a:lnTo>
                <a:lnTo>
                  <a:pt x="1385" y="96"/>
                </a:lnTo>
                <a:lnTo>
                  <a:pt x="1384" y="93"/>
                </a:lnTo>
                <a:close/>
                <a:moveTo>
                  <a:pt x="1494" y="518"/>
                </a:moveTo>
                <a:lnTo>
                  <a:pt x="1489" y="517"/>
                </a:lnTo>
                <a:lnTo>
                  <a:pt x="1485" y="519"/>
                </a:lnTo>
                <a:lnTo>
                  <a:pt x="1489" y="519"/>
                </a:lnTo>
                <a:lnTo>
                  <a:pt x="1494" y="518"/>
                </a:lnTo>
                <a:close/>
                <a:moveTo>
                  <a:pt x="1399" y="871"/>
                </a:moveTo>
                <a:lnTo>
                  <a:pt x="1399" y="868"/>
                </a:lnTo>
                <a:lnTo>
                  <a:pt x="1398" y="867"/>
                </a:lnTo>
                <a:lnTo>
                  <a:pt x="1397" y="866"/>
                </a:lnTo>
                <a:lnTo>
                  <a:pt x="1395" y="865"/>
                </a:lnTo>
                <a:lnTo>
                  <a:pt x="1394" y="861"/>
                </a:lnTo>
                <a:lnTo>
                  <a:pt x="1392" y="859"/>
                </a:lnTo>
                <a:lnTo>
                  <a:pt x="1390" y="857"/>
                </a:lnTo>
                <a:lnTo>
                  <a:pt x="1388" y="854"/>
                </a:lnTo>
                <a:lnTo>
                  <a:pt x="1382" y="848"/>
                </a:lnTo>
                <a:lnTo>
                  <a:pt x="1377" y="840"/>
                </a:lnTo>
                <a:lnTo>
                  <a:pt x="1375" y="826"/>
                </a:lnTo>
                <a:lnTo>
                  <a:pt x="1374" y="812"/>
                </a:lnTo>
                <a:lnTo>
                  <a:pt x="1376" y="798"/>
                </a:lnTo>
                <a:lnTo>
                  <a:pt x="1378" y="784"/>
                </a:lnTo>
                <a:lnTo>
                  <a:pt x="1382" y="775"/>
                </a:lnTo>
                <a:lnTo>
                  <a:pt x="1385" y="764"/>
                </a:lnTo>
                <a:lnTo>
                  <a:pt x="1388" y="755"/>
                </a:lnTo>
                <a:lnTo>
                  <a:pt x="1391" y="745"/>
                </a:lnTo>
                <a:lnTo>
                  <a:pt x="1391" y="741"/>
                </a:lnTo>
                <a:lnTo>
                  <a:pt x="1391" y="738"/>
                </a:lnTo>
                <a:lnTo>
                  <a:pt x="1390" y="734"/>
                </a:lnTo>
                <a:lnTo>
                  <a:pt x="1388" y="731"/>
                </a:lnTo>
                <a:lnTo>
                  <a:pt x="1388" y="735"/>
                </a:lnTo>
                <a:lnTo>
                  <a:pt x="1388" y="740"/>
                </a:lnTo>
                <a:lnTo>
                  <a:pt x="1388" y="743"/>
                </a:lnTo>
                <a:lnTo>
                  <a:pt x="1388" y="746"/>
                </a:lnTo>
                <a:lnTo>
                  <a:pt x="1385" y="748"/>
                </a:lnTo>
                <a:lnTo>
                  <a:pt x="1383" y="749"/>
                </a:lnTo>
                <a:lnTo>
                  <a:pt x="1383" y="747"/>
                </a:lnTo>
                <a:lnTo>
                  <a:pt x="1382" y="745"/>
                </a:lnTo>
                <a:lnTo>
                  <a:pt x="1381" y="743"/>
                </a:lnTo>
                <a:lnTo>
                  <a:pt x="1377" y="743"/>
                </a:lnTo>
                <a:lnTo>
                  <a:pt x="1380" y="753"/>
                </a:lnTo>
                <a:lnTo>
                  <a:pt x="1378" y="760"/>
                </a:lnTo>
                <a:lnTo>
                  <a:pt x="1374" y="764"/>
                </a:lnTo>
                <a:lnTo>
                  <a:pt x="1363" y="770"/>
                </a:lnTo>
                <a:lnTo>
                  <a:pt x="1360" y="771"/>
                </a:lnTo>
                <a:lnTo>
                  <a:pt x="1356" y="774"/>
                </a:lnTo>
                <a:lnTo>
                  <a:pt x="1352" y="776"/>
                </a:lnTo>
                <a:lnTo>
                  <a:pt x="1349" y="781"/>
                </a:lnTo>
                <a:lnTo>
                  <a:pt x="1353" y="781"/>
                </a:lnTo>
                <a:lnTo>
                  <a:pt x="1356" y="781"/>
                </a:lnTo>
                <a:lnTo>
                  <a:pt x="1359" y="782"/>
                </a:lnTo>
                <a:lnTo>
                  <a:pt x="1360" y="784"/>
                </a:lnTo>
                <a:lnTo>
                  <a:pt x="1362" y="789"/>
                </a:lnTo>
                <a:lnTo>
                  <a:pt x="1363" y="794"/>
                </a:lnTo>
                <a:lnTo>
                  <a:pt x="1367" y="806"/>
                </a:lnTo>
                <a:lnTo>
                  <a:pt x="1367" y="818"/>
                </a:lnTo>
                <a:lnTo>
                  <a:pt x="1367" y="824"/>
                </a:lnTo>
                <a:lnTo>
                  <a:pt x="1364" y="830"/>
                </a:lnTo>
                <a:lnTo>
                  <a:pt x="1362" y="834"/>
                </a:lnTo>
                <a:lnTo>
                  <a:pt x="1357" y="840"/>
                </a:lnTo>
                <a:lnTo>
                  <a:pt x="1355" y="843"/>
                </a:lnTo>
                <a:lnTo>
                  <a:pt x="1354" y="844"/>
                </a:lnTo>
                <a:lnTo>
                  <a:pt x="1352" y="845"/>
                </a:lnTo>
                <a:lnTo>
                  <a:pt x="1349" y="844"/>
                </a:lnTo>
                <a:lnTo>
                  <a:pt x="1348" y="841"/>
                </a:lnTo>
                <a:lnTo>
                  <a:pt x="1348" y="839"/>
                </a:lnTo>
                <a:lnTo>
                  <a:pt x="1349" y="837"/>
                </a:lnTo>
                <a:lnTo>
                  <a:pt x="1349" y="834"/>
                </a:lnTo>
                <a:lnTo>
                  <a:pt x="1354" y="825"/>
                </a:lnTo>
                <a:lnTo>
                  <a:pt x="1359" y="815"/>
                </a:lnTo>
                <a:lnTo>
                  <a:pt x="1357" y="813"/>
                </a:lnTo>
                <a:lnTo>
                  <a:pt x="1356" y="813"/>
                </a:lnTo>
                <a:lnTo>
                  <a:pt x="1349" y="824"/>
                </a:lnTo>
                <a:lnTo>
                  <a:pt x="1344" y="837"/>
                </a:lnTo>
                <a:lnTo>
                  <a:pt x="1341" y="843"/>
                </a:lnTo>
                <a:lnTo>
                  <a:pt x="1339" y="848"/>
                </a:lnTo>
                <a:lnTo>
                  <a:pt x="1335" y="854"/>
                </a:lnTo>
                <a:lnTo>
                  <a:pt x="1330" y="859"/>
                </a:lnTo>
                <a:lnTo>
                  <a:pt x="1337" y="860"/>
                </a:lnTo>
                <a:lnTo>
                  <a:pt x="1344" y="859"/>
                </a:lnTo>
                <a:lnTo>
                  <a:pt x="1350" y="855"/>
                </a:lnTo>
                <a:lnTo>
                  <a:pt x="1354" y="852"/>
                </a:lnTo>
                <a:lnTo>
                  <a:pt x="1357" y="850"/>
                </a:lnTo>
                <a:lnTo>
                  <a:pt x="1360" y="848"/>
                </a:lnTo>
                <a:lnTo>
                  <a:pt x="1362" y="847"/>
                </a:lnTo>
                <a:lnTo>
                  <a:pt x="1364" y="847"/>
                </a:lnTo>
                <a:lnTo>
                  <a:pt x="1368" y="848"/>
                </a:lnTo>
                <a:lnTo>
                  <a:pt x="1373" y="851"/>
                </a:lnTo>
                <a:lnTo>
                  <a:pt x="1377" y="852"/>
                </a:lnTo>
                <a:lnTo>
                  <a:pt x="1378" y="853"/>
                </a:lnTo>
                <a:lnTo>
                  <a:pt x="1378" y="855"/>
                </a:lnTo>
                <a:lnTo>
                  <a:pt x="1377" y="859"/>
                </a:lnTo>
                <a:lnTo>
                  <a:pt x="1375" y="862"/>
                </a:lnTo>
                <a:lnTo>
                  <a:pt x="1373" y="866"/>
                </a:lnTo>
                <a:lnTo>
                  <a:pt x="1371" y="868"/>
                </a:lnTo>
                <a:lnTo>
                  <a:pt x="1371" y="871"/>
                </a:lnTo>
                <a:lnTo>
                  <a:pt x="1371" y="873"/>
                </a:lnTo>
                <a:lnTo>
                  <a:pt x="1373" y="875"/>
                </a:lnTo>
                <a:lnTo>
                  <a:pt x="1375" y="876"/>
                </a:lnTo>
                <a:lnTo>
                  <a:pt x="1377" y="876"/>
                </a:lnTo>
                <a:lnTo>
                  <a:pt x="1380" y="875"/>
                </a:lnTo>
                <a:lnTo>
                  <a:pt x="1382" y="873"/>
                </a:lnTo>
                <a:lnTo>
                  <a:pt x="1384" y="871"/>
                </a:lnTo>
                <a:lnTo>
                  <a:pt x="1388" y="868"/>
                </a:lnTo>
                <a:lnTo>
                  <a:pt x="1390" y="866"/>
                </a:lnTo>
                <a:lnTo>
                  <a:pt x="1395" y="865"/>
                </a:lnTo>
                <a:lnTo>
                  <a:pt x="1395" y="867"/>
                </a:lnTo>
                <a:lnTo>
                  <a:pt x="1396" y="869"/>
                </a:lnTo>
                <a:lnTo>
                  <a:pt x="1397" y="871"/>
                </a:lnTo>
                <a:lnTo>
                  <a:pt x="1399" y="871"/>
                </a:lnTo>
                <a:close/>
                <a:moveTo>
                  <a:pt x="1405" y="882"/>
                </a:moveTo>
                <a:lnTo>
                  <a:pt x="1405" y="879"/>
                </a:lnTo>
                <a:lnTo>
                  <a:pt x="1404" y="876"/>
                </a:lnTo>
                <a:lnTo>
                  <a:pt x="1402" y="874"/>
                </a:lnTo>
                <a:lnTo>
                  <a:pt x="1401" y="872"/>
                </a:lnTo>
                <a:lnTo>
                  <a:pt x="1401" y="875"/>
                </a:lnTo>
                <a:lnTo>
                  <a:pt x="1401" y="878"/>
                </a:lnTo>
                <a:lnTo>
                  <a:pt x="1403" y="880"/>
                </a:lnTo>
                <a:lnTo>
                  <a:pt x="1405" y="882"/>
                </a:lnTo>
                <a:close/>
                <a:moveTo>
                  <a:pt x="1418" y="578"/>
                </a:moveTo>
                <a:lnTo>
                  <a:pt x="1418" y="582"/>
                </a:lnTo>
                <a:lnTo>
                  <a:pt x="1418" y="586"/>
                </a:lnTo>
                <a:lnTo>
                  <a:pt x="1419" y="591"/>
                </a:lnTo>
                <a:lnTo>
                  <a:pt x="1423" y="594"/>
                </a:lnTo>
                <a:lnTo>
                  <a:pt x="1422" y="589"/>
                </a:lnTo>
                <a:lnTo>
                  <a:pt x="1422" y="585"/>
                </a:lnTo>
                <a:lnTo>
                  <a:pt x="1419" y="581"/>
                </a:lnTo>
                <a:lnTo>
                  <a:pt x="1418" y="578"/>
                </a:lnTo>
                <a:close/>
                <a:moveTo>
                  <a:pt x="1417" y="577"/>
                </a:moveTo>
                <a:lnTo>
                  <a:pt x="1417" y="571"/>
                </a:lnTo>
                <a:lnTo>
                  <a:pt x="1416" y="566"/>
                </a:lnTo>
                <a:lnTo>
                  <a:pt x="1413" y="561"/>
                </a:lnTo>
                <a:lnTo>
                  <a:pt x="1411" y="558"/>
                </a:lnTo>
                <a:lnTo>
                  <a:pt x="1411" y="563"/>
                </a:lnTo>
                <a:lnTo>
                  <a:pt x="1412" y="567"/>
                </a:lnTo>
                <a:lnTo>
                  <a:pt x="1413" y="572"/>
                </a:lnTo>
                <a:lnTo>
                  <a:pt x="1417" y="577"/>
                </a:lnTo>
                <a:close/>
                <a:moveTo>
                  <a:pt x="456" y="720"/>
                </a:moveTo>
                <a:lnTo>
                  <a:pt x="458" y="719"/>
                </a:lnTo>
                <a:lnTo>
                  <a:pt x="460" y="719"/>
                </a:lnTo>
                <a:lnTo>
                  <a:pt x="463" y="719"/>
                </a:lnTo>
                <a:lnTo>
                  <a:pt x="464" y="717"/>
                </a:lnTo>
                <a:lnTo>
                  <a:pt x="463" y="714"/>
                </a:lnTo>
                <a:lnTo>
                  <a:pt x="460" y="713"/>
                </a:lnTo>
                <a:lnTo>
                  <a:pt x="458" y="713"/>
                </a:lnTo>
                <a:lnTo>
                  <a:pt x="456" y="713"/>
                </a:lnTo>
                <a:lnTo>
                  <a:pt x="455" y="713"/>
                </a:lnTo>
                <a:lnTo>
                  <a:pt x="452" y="713"/>
                </a:lnTo>
                <a:lnTo>
                  <a:pt x="451" y="713"/>
                </a:lnTo>
                <a:lnTo>
                  <a:pt x="450" y="715"/>
                </a:lnTo>
                <a:lnTo>
                  <a:pt x="450" y="718"/>
                </a:lnTo>
                <a:lnTo>
                  <a:pt x="451" y="719"/>
                </a:lnTo>
                <a:lnTo>
                  <a:pt x="453" y="720"/>
                </a:lnTo>
                <a:lnTo>
                  <a:pt x="456" y="720"/>
                </a:lnTo>
                <a:close/>
                <a:moveTo>
                  <a:pt x="1419" y="662"/>
                </a:moveTo>
                <a:lnTo>
                  <a:pt x="1424" y="661"/>
                </a:lnTo>
                <a:lnTo>
                  <a:pt x="1426" y="658"/>
                </a:lnTo>
                <a:lnTo>
                  <a:pt x="1429" y="656"/>
                </a:lnTo>
                <a:lnTo>
                  <a:pt x="1430" y="654"/>
                </a:lnTo>
                <a:lnTo>
                  <a:pt x="1432" y="647"/>
                </a:lnTo>
                <a:lnTo>
                  <a:pt x="1435" y="640"/>
                </a:lnTo>
                <a:lnTo>
                  <a:pt x="1431" y="643"/>
                </a:lnTo>
                <a:lnTo>
                  <a:pt x="1429" y="648"/>
                </a:lnTo>
                <a:lnTo>
                  <a:pt x="1426" y="651"/>
                </a:lnTo>
                <a:lnTo>
                  <a:pt x="1422" y="654"/>
                </a:lnTo>
                <a:lnTo>
                  <a:pt x="1423" y="647"/>
                </a:lnTo>
                <a:lnTo>
                  <a:pt x="1423" y="641"/>
                </a:lnTo>
                <a:lnTo>
                  <a:pt x="1423" y="635"/>
                </a:lnTo>
                <a:lnTo>
                  <a:pt x="1422" y="629"/>
                </a:lnTo>
                <a:lnTo>
                  <a:pt x="1420" y="623"/>
                </a:lnTo>
                <a:lnTo>
                  <a:pt x="1418" y="617"/>
                </a:lnTo>
                <a:lnTo>
                  <a:pt x="1413" y="613"/>
                </a:lnTo>
                <a:lnTo>
                  <a:pt x="1410" y="607"/>
                </a:lnTo>
                <a:lnTo>
                  <a:pt x="1406" y="605"/>
                </a:lnTo>
                <a:lnTo>
                  <a:pt x="1404" y="603"/>
                </a:lnTo>
                <a:lnTo>
                  <a:pt x="1401" y="602"/>
                </a:lnTo>
                <a:lnTo>
                  <a:pt x="1398" y="603"/>
                </a:lnTo>
                <a:lnTo>
                  <a:pt x="1392" y="605"/>
                </a:lnTo>
                <a:lnTo>
                  <a:pt x="1389" y="603"/>
                </a:lnTo>
                <a:lnTo>
                  <a:pt x="1385" y="601"/>
                </a:lnTo>
                <a:lnTo>
                  <a:pt x="1383" y="596"/>
                </a:lnTo>
                <a:lnTo>
                  <a:pt x="1380" y="593"/>
                </a:lnTo>
                <a:lnTo>
                  <a:pt x="1377" y="592"/>
                </a:lnTo>
                <a:lnTo>
                  <a:pt x="1373" y="592"/>
                </a:lnTo>
                <a:lnTo>
                  <a:pt x="1369" y="593"/>
                </a:lnTo>
                <a:lnTo>
                  <a:pt x="1364" y="596"/>
                </a:lnTo>
                <a:lnTo>
                  <a:pt x="1361" y="600"/>
                </a:lnTo>
                <a:lnTo>
                  <a:pt x="1357" y="603"/>
                </a:lnTo>
                <a:lnTo>
                  <a:pt x="1356" y="607"/>
                </a:lnTo>
                <a:lnTo>
                  <a:pt x="1354" y="612"/>
                </a:lnTo>
                <a:lnTo>
                  <a:pt x="1354" y="615"/>
                </a:lnTo>
                <a:lnTo>
                  <a:pt x="1354" y="621"/>
                </a:lnTo>
                <a:lnTo>
                  <a:pt x="1355" y="627"/>
                </a:lnTo>
                <a:lnTo>
                  <a:pt x="1355" y="627"/>
                </a:lnTo>
                <a:lnTo>
                  <a:pt x="1353" y="634"/>
                </a:lnTo>
                <a:lnTo>
                  <a:pt x="1350" y="642"/>
                </a:lnTo>
                <a:lnTo>
                  <a:pt x="1350" y="645"/>
                </a:lnTo>
                <a:lnTo>
                  <a:pt x="1352" y="649"/>
                </a:lnTo>
                <a:lnTo>
                  <a:pt x="1353" y="652"/>
                </a:lnTo>
                <a:lnTo>
                  <a:pt x="1355" y="657"/>
                </a:lnTo>
                <a:lnTo>
                  <a:pt x="1355" y="658"/>
                </a:lnTo>
                <a:lnTo>
                  <a:pt x="1357" y="659"/>
                </a:lnTo>
                <a:lnTo>
                  <a:pt x="1359" y="659"/>
                </a:lnTo>
                <a:lnTo>
                  <a:pt x="1360" y="657"/>
                </a:lnTo>
                <a:lnTo>
                  <a:pt x="1362" y="656"/>
                </a:lnTo>
                <a:lnTo>
                  <a:pt x="1363" y="656"/>
                </a:lnTo>
                <a:lnTo>
                  <a:pt x="1366" y="655"/>
                </a:lnTo>
                <a:lnTo>
                  <a:pt x="1367" y="652"/>
                </a:lnTo>
                <a:lnTo>
                  <a:pt x="1367" y="652"/>
                </a:lnTo>
                <a:lnTo>
                  <a:pt x="1368" y="652"/>
                </a:lnTo>
                <a:lnTo>
                  <a:pt x="1373" y="649"/>
                </a:lnTo>
                <a:lnTo>
                  <a:pt x="1377" y="647"/>
                </a:lnTo>
                <a:lnTo>
                  <a:pt x="1382" y="645"/>
                </a:lnTo>
                <a:lnTo>
                  <a:pt x="1385" y="644"/>
                </a:lnTo>
                <a:lnTo>
                  <a:pt x="1390" y="645"/>
                </a:lnTo>
                <a:lnTo>
                  <a:pt x="1395" y="647"/>
                </a:lnTo>
                <a:lnTo>
                  <a:pt x="1399" y="650"/>
                </a:lnTo>
                <a:lnTo>
                  <a:pt x="1403" y="654"/>
                </a:lnTo>
                <a:lnTo>
                  <a:pt x="1403" y="657"/>
                </a:lnTo>
                <a:lnTo>
                  <a:pt x="1403" y="659"/>
                </a:lnTo>
                <a:lnTo>
                  <a:pt x="1399" y="661"/>
                </a:lnTo>
                <a:lnTo>
                  <a:pt x="1398" y="663"/>
                </a:lnTo>
                <a:lnTo>
                  <a:pt x="1399" y="665"/>
                </a:lnTo>
                <a:lnTo>
                  <a:pt x="1402" y="668"/>
                </a:lnTo>
                <a:lnTo>
                  <a:pt x="1411" y="665"/>
                </a:lnTo>
                <a:lnTo>
                  <a:pt x="1419" y="662"/>
                </a:lnTo>
                <a:close/>
                <a:moveTo>
                  <a:pt x="300" y="677"/>
                </a:moveTo>
                <a:lnTo>
                  <a:pt x="297" y="678"/>
                </a:lnTo>
                <a:lnTo>
                  <a:pt x="293" y="680"/>
                </a:lnTo>
                <a:lnTo>
                  <a:pt x="290" y="683"/>
                </a:lnTo>
                <a:lnTo>
                  <a:pt x="286" y="686"/>
                </a:lnTo>
                <a:lnTo>
                  <a:pt x="286" y="687"/>
                </a:lnTo>
                <a:lnTo>
                  <a:pt x="287" y="687"/>
                </a:lnTo>
                <a:lnTo>
                  <a:pt x="289" y="689"/>
                </a:lnTo>
                <a:lnTo>
                  <a:pt x="290" y="689"/>
                </a:lnTo>
                <a:lnTo>
                  <a:pt x="293" y="687"/>
                </a:lnTo>
                <a:lnTo>
                  <a:pt x="299" y="684"/>
                </a:lnTo>
                <a:lnTo>
                  <a:pt x="303" y="680"/>
                </a:lnTo>
                <a:lnTo>
                  <a:pt x="305" y="679"/>
                </a:lnTo>
                <a:lnTo>
                  <a:pt x="304" y="677"/>
                </a:lnTo>
                <a:lnTo>
                  <a:pt x="300" y="677"/>
                </a:lnTo>
                <a:close/>
                <a:moveTo>
                  <a:pt x="356" y="656"/>
                </a:moveTo>
                <a:lnTo>
                  <a:pt x="354" y="656"/>
                </a:lnTo>
                <a:lnTo>
                  <a:pt x="352" y="656"/>
                </a:lnTo>
                <a:lnTo>
                  <a:pt x="349" y="657"/>
                </a:lnTo>
                <a:lnTo>
                  <a:pt x="346" y="657"/>
                </a:lnTo>
                <a:lnTo>
                  <a:pt x="344" y="659"/>
                </a:lnTo>
                <a:lnTo>
                  <a:pt x="344" y="661"/>
                </a:lnTo>
                <a:lnTo>
                  <a:pt x="344" y="662"/>
                </a:lnTo>
                <a:lnTo>
                  <a:pt x="345" y="663"/>
                </a:lnTo>
                <a:lnTo>
                  <a:pt x="346" y="663"/>
                </a:lnTo>
                <a:lnTo>
                  <a:pt x="347" y="663"/>
                </a:lnTo>
                <a:lnTo>
                  <a:pt x="349" y="662"/>
                </a:lnTo>
                <a:lnTo>
                  <a:pt x="353" y="662"/>
                </a:lnTo>
                <a:lnTo>
                  <a:pt x="354" y="662"/>
                </a:lnTo>
                <a:lnTo>
                  <a:pt x="356" y="661"/>
                </a:lnTo>
                <a:lnTo>
                  <a:pt x="358" y="661"/>
                </a:lnTo>
                <a:lnTo>
                  <a:pt x="360" y="661"/>
                </a:lnTo>
                <a:lnTo>
                  <a:pt x="361" y="661"/>
                </a:lnTo>
                <a:lnTo>
                  <a:pt x="362" y="658"/>
                </a:lnTo>
                <a:lnTo>
                  <a:pt x="361" y="656"/>
                </a:lnTo>
                <a:lnTo>
                  <a:pt x="360" y="656"/>
                </a:lnTo>
                <a:lnTo>
                  <a:pt x="358" y="656"/>
                </a:lnTo>
                <a:lnTo>
                  <a:pt x="356" y="656"/>
                </a:lnTo>
                <a:close/>
                <a:moveTo>
                  <a:pt x="355" y="680"/>
                </a:moveTo>
                <a:lnTo>
                  <a:pt x="358" y="683"/>
                </a:lnTo>
                <a:lnTo>
                  <a:pt x="359" y="683"/>
                </a:lnTo>
                <a:lnTo>
                  <a:pt x="361" y="683"/>
                </a:lnTo>
                <a:lnTo>
                  <a:pt x="363" y="683"/>
                </a:lnTo>
                <a:lnTo>
                  <a:pt x="366" y="683"/>
                </a:lnTo>
                <a:lnTo>
                  <a:pt x="368" y="683"/>
                </a:lnTo>
                <a:lnTo>
                  <a:pt x="370" y="683"/>
                </a:lnTo>
                <a:lnTo>
                  <a:pt x="373" y="682"/>
                </a:lnTo>
                <a:lnTo>
                  <a:pt x="374" y="680"/>
                </a:lnTo>
                <a:lnTo>
                  <a:pt x="374" y="678"/>
                </a:lnTo>
                <a:lnTo>
                  <a:pt x="374" y="675"/>
                </a:lnTo>
                <a:lnTo>
                  <a:pt x="372" y="673"/>
                </a:lnTo>
                <a:lnTo>
                  <a:pt x="369" y="673"/>
                </a:lnTo>
                <a:lnTo>
                  <a:pt x="367" y="673"/>
                </a:lnTo>
                <a:lnTo>
                  <a:pt x="365" y="675"/>
                </a:lnTo>
                <a:lnTo>
                  <a:pt x="362" y="676"/>
                </a:lnTo>
                <a:lnTo>
                  <a:pt x="360" y="676"/>
                </a:lnTo>
                <a:lnTo>
                  <a:pt x="358" y="677"/>
                </a:lnTo>
                <a:lnTo>
                  <a:pt x="356" y="677"/>
                </a:lnTo>
                <a:lnTo>
                  <a:pt x="355" y="678"/>
                </a:lnTo>
                <a:lnTo>
                  <a:pt x="355" y="679"/>
                </a:lnTo>
                <a:lnTo>
                  <a:pt x="355" y="680"/>
                </a:lnTo>
                <a:close/>
                <a:moveTo>
                  <a:pt x="317" y="703"/>
                </a:moveTo>
                <a:lnTo>
                  <a:pt x="319" y="701"/>
                </a:lnTo>
                <a:lnTo>
                  <a:pt x="320" y="700"/>
                </a:lnTo>
                <a:lnTo>
                  <a:pt x="320" y="699"/>
                </a:lnTo>
                <a:lnTo>
                  <a:pt x="320" y="698"/>
                </a:lnTo>
                <a:lnTo>
                  <a:pt x="319" y="697"/>
                </a:lnTo>
                <a:lnTo>
                  <a:pt x="318" y="696"/>
                </a:lnTo>
                <a:lnTo>
                  <a:pt x="315" y="696"/>
                </a:lnTo>
                <a:lnTo>
                  <a:pt x="314" y="696"/>
                </a:lnTo>
                <a:lnTo>
                  <a:pt x="307" y="699"/>
                </a:lnTo>
                <a:lnTo>
                  <a:pt x="298" y="704"/>
                </a:lnTo>
                <a:lnTo>
                  <a:pt x="304" y="705"/>
                </a:lnTo>
                <a:lnTo>
                  <a:pt x="308" y="706"/>
                </a:lnTo>
                <a:lnTo>
                  <a:pt x="313" y="705"/>
                </a:lnTo>
                <a:lnTo>
                  <a:pt x="317" y="703"/>
                </a:lnTo>
                <a:close/>
                <a:moveTo>
                  <a:pt x="345" y="638"/>
                </a:moveTo>
                <a:lnTo>
                  <a:pt x="340" y="638"/>
                </a:lnTo>
                <a:lnTo>
                  <a:pt x="335" y="640"/>
                </a:lnTo>
                <a:lnTo>
                  <a:pt x="332" y="641"/>
                </a:lnTo>
                <a:lnTo>
                  <a:pt x="327" y="644"/>
                </a:lnTo>
                <a:lnTo>
                  <a:pt x="329" y="647"/>
                </a:lnTo>
                <a:lnTo>
                  <a:pt x="332" y="648"/>
                </a:lnTo>
                <a:lnTo>
                  <a:pt x="334" y="648"/>
                </a:lnTo>
                <a:lnTo>
                  <a:pt x="336" y="648"/>
                </a:lnTo>
                <a:lnTo>
                  <a:pt x="341" y="645"/>
                </a:lnTo>
                <a:lnTo>
                  <a:pt x="346" y="645"/>
                </a:lnTo>
                <a:lnTo>
                  <a:pt x="347" y="645"/>
                </a:lnTo>
                <a:lnTo>
                  <a:pt x="348" y="644"/>
                </a:lnTo>
                <a:lnTo>
                  <a:pt x="349" y="643"/>
                </a:lnTo>
                <a:lnTo>
                  <a:pt x="349" y="642"/>
                </a:lnTo>
                <a:lnTo>
                  <a:pt x="348" y="640"/>
                </a:lnTo>
                <a:lnTo>
                  <a:pt x="345" y="638"/>
                </a:lnTo>
                <a:close/>
                <a:moveTo>
                  <a:pt x="285" y="659"/>
                </a:moveTo>
                <a:lnTo>
                  <a:pt x="280" y="662"/>
                </a:lnTo>
                <a:lnTo>
                  <a:pt x="275" y="664"/>
                </a:lnTo>
                <a:lnTo>
                  <a:pt x="271" y="668"/>
                </a:lnTo>
                <a:lnTo>
                  <a:pt x="266" y="673"/>
                </a:lnTo>
                <a:lnTo>
                  <a:pt x="270" y="673"/>
                </a:lnTo>
                <a:lnTo>
                  <a:pt x="273" y="673"/>
                </a:lnTo>
                <a:lnTo>
                  <a:pt x="276" y="672"/>
                </a:lnTo>
                <a:lnTo>
                  <a:pt x="279" y="670"/>
                </a:lnTo>
                <a:lnTo>
                  <a:pt x="284" y="668"/>
                </a:lnTo>
                <a:lnTo>
                  <a:pt x="290" y="665"/>
                </a:lnTo>
                <a:lnTo>
                  <a:pt x="290" y="663"/>
                </a:lnTo>
                <a:lnTo>
                  <a:pt x="290" y="662"/>
                </a:lnTo>
                <a:lnTo>
                  <a:pt x="289" y="659"/>
                </a:lnTo>
                <a:lnTo>
                  <a:pt x="285" y="659"/>
                </a:lnTo>
                <a:close/>
                <a:moveTo>
                  <a:pt x="1408" y="256"/>
                </a:moveTo>
                <a:lnTo>
                  <a:pt x="1404" y="251"/>
                </a:lnTo>
                <a:lnTo>
                  <a:pt x="1401" y="247"/>
                </a:lnTo>
                <a:lnTo>
                  <a:pt x="1397" y="244"/>
                </a:lnTo>
                <a:lnTo>
                  <a:pt x="1392" y="240"/>
                </a:lnTo>
                <a:lnTo>
                  <a:pt x="1394" y="249"/>
                </a:lnTo>
                <a:lnTo>
                  <a:pt x="1397" y="256"/>
                </a:lnTo>
                <a:lnTo>
                  <a:pt x="1399" y="259"/>
                </a:lnTo>
                <a:lnTo>
                  <a:pt x="1402" y="260"/>
                </a:lnTo>
                <a:lnTo>
                  <a:pt x="1405" y="259"/>
                </a:lnTo>
                <a:lnTo>
                  <a:pt x="1408" y="256"/>
                </a:lnTo>
                <a:close/>
                <a:moveTo>
                  <a:pt x="1558" y="507"/>
                </a:moveTo>
                <a:lnTo>
                  <a:pt x="1555" y="505"/>
                </a:lnTo>
                <a:lnTo>
                  <a:pt x="1551" y="505"/>
                </a:lnTo>
                <a:lnTo>
                  <a:pt x="1547" y="507"/>
                </a:lnTo>
                <a:lnTo>
                  <a:pt x="1541" y="508"/>
                </a:lnTo>
                <a:lnTo>
                  <a:pt x="1532" y="510"/>
                </a:lnTo>
                <a:lnTo>
                  <a:pt x="1522" y="512"/>
                </a:lnTo>
                <a:lnTo>
                  <a:pt x="1512" y="515"/>
                </a:lnTo>
                <a:lnTo>
                  <a:pt x="1502" y="517"/>
                </a:lnTo>
                <a:lnTo>
                  <a:pt x="1516" y="517"/>
                </a:lnTo>
                <a:lnTo>
                  <a:pt x="1529" y="515"/>
                </a:lnTo>
                <a:lnTo>
                  <a:pt x="1542" y="514"/>
                </a:lnTo>
                <a:lnTo>
                  <a:pt x="1556" y="515"/>
                </a:lnTo>
                <a:lnTo>
                  <a:pt x="1557" y="515"/>
                </a:lnTo>
                <a:lnTo>
                  <a:pt x="1558" y="514"/>
                </a:lnTo>
                <a:lnTo>
                  <a:pt x="1560" y="514"/>
                </a:lnTo>
                <a:lnTo>
                  <a:pt x="1561" y="514"/>
                </a:lnTo>
                <a:lnTo>
                  <a:pt x="1562" y="512"/>
                </a:lnTo>
                <a:lnTo>
                  <a:pt x="1562" y="511"/>
                </a:lnTo>
                <a:lnTo>
                  <a:pt x="1561" y="508"/>
                </a:lnTo>
                <a:lnTo>
                  <a:pt x="1558" y="507"/>
                </a:lnTo>
                <a:close/>
                <a:moveTo>
                  <a:pt x="1402" y="671"/>
                </a:moveTo>
                <a:lnTo>
                  <a:pt x="1399" y="685"/>
                </a:lnTo>
                <a:lnTo>
                  <a:pt x="1401" y="700"/>
                </a:lnTo>
                <a:lnTo>
                  <a:pt x="1399" y="706"/>
                </a:lnTo>
                <a:lnTo>
                  <a:pt x="1398" y="708"/>
                </a:lnTo>
                <a:lnTo>
                  <a:pt x="1395" y="708"/>
                </a:lnTo>
                <a:lnTo>
                  <a:pt x="1389" y="706"/>
                </a:lnTo>
                <a:lnTo>
                  <a:pt x="1390" y="715"/>
                </a:lnTo>
                <a:lnTo>
                  <a:pt x="1391" y="724"/>
                </a:lnTo>
                <a:lnTo>
                  <a:pt x="1397" y="717"/>
                </a:lnTo>
                <a:lnTo>
                  <a:pt x="1402" y="710"/>
                </a:lnTo>
                <a:lnTo>
                  <a:pt x="1405" y="701"/>
                </a:lnTo>
                <a:lnTo>
                  <a:pt x="1408" y="693"/>
                </a:lnTo>
                <a:lnTo>
                  <a:pt x="1408" y="687"/>
                </a:lnTo>
                <a:lnTo>
                  <a:pt x="1408" y="682"/>
                </a:lnTo>
                <a:lnTo>
                  <a:pt x="1408" y="679"/>
                </a:lnTo>
                <a:lnTo>
                  <a:pt x="1406" y="676"/>
                </a:lnTo>
                <a:lnTo>
                  <a:pt x="1404" y="673"/>
                </a:lnTo>
                <a:lnTo>
                  <a:pt x="1402" y="671"/>
                </a:lnTo>
                <a:close/>
                <a:moveTo>
                  <a:pt x="1348" y="848"/>
                </a:moveTo>
                <a:lnTo>
                  <a:pt x="1348" y="848"/>
                </a:lnTo>
                <a:lnTo>
                  <a:pt x="1348" y="848"/>
                </a:lnTo>
                <a:lnTo>
                  <a:pt x="1348" y="848"/>
                </a:lnTo>
                <a:lnTo>
                  <a:pt x="1348" y="84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799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85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2">
            <a:extLst>
              <a:ext uri="{FF2B5EF4-FFF2-40B4-BE49-F238E27FC236}">
                <a16:creationId xmlns:a16="http://schemas.microsoft.com/office/drawing/2014/main" id="{42BA67AF-A436-8342-BF77-C7AC7D6A8D69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408108" y="189015"/>
            <a:ext cx="6047885" cy="6481260"/>
          </a:xfrm>
          <a:custGeom>
            <a:avLst/>
            <a:gdLst>
              <a:gd name="T0" fmla="*/ 857 w 979"/>
              <a:gd name="T1" fmla="*/ 522 h 840"/>
              <a:gd name="T2" fmla="*/ 763 w 979"/>
              <a:gd name="T3" fmla="*/ 607 h 840"/>
              <a:gd name="T4" fmla="*/ 513 w 979"/>
              <a:gd name="T5" fmla="*/ 498 h 840"/>
              <a:gd name="T6" fmla="*/ 529 w 979"/>
              <a:gd name="T7" fmla="*/ 418 h 840"/>
              <a:gd name="T8" fmla="*/ 564 w 979"/>
              <a:gd name="T9" fmla="*/ 398 h 840"/>
              <a:gd name="T10" fmla="*/ 566 w 979"/>
              <a:gd name="T11" fmla="*/ 381 h 840"/>
              <a:gd name="T12" fmla="*/ 589 w 979"/>
              <a:gd name="T13" fmla="*/ 339 h 840"/>
              <a:gd name="T14" fmla="*/ 609 w 979"/>
              <a:gd name="T15" fmla="*/ 294 h 840"/>
              <a:gd name="T16" fmla="*/ 502 w 979"/>
              <a:gd name="T17" fmla="*/ 262 h 840"/>
              <a:gd name="T18" fmla="*/ 462 w 979"/>
              <a:gd name="T19" fmla="*/ 283 h 840"/>
              <a:gd name="T20" fmla="*/ 458 w 979"/>
              <a:gd name="T21" fmla="*/ 269 h 840"/>
              <a:gd name="T22" fmla="*/ 409 w 979"/>
              <a:gd name="T23" fmla="*/ 222 h 840"/>
              <a:gd name="T24" fmla="*/ 231 w 979"/>
              <a:gd name="T25" fmla="*/ 42 h 840"/>
              <a:gd name="T26" fmla="*/ 149 w 979"/>
              <a:gd name="T27" fmla="*/ 27 h 840"/>
              <a:gd name="T28" fmla="*/ 174 w 979"/>
              <a:gd name="T29" fmla="*/ 76 h 840"/>
              <a:gd name="T30" fmla="*/ 121 w 979"/>
              <a:gd name="T31" fmla="*/ 92 h 840"/>
              <a:gd name="T32" fmla="*/ 318 w 979"/>
              <a:gd name="T33" fmla="*/ 197 h 840"/>
              <a:gd name="T34" fmla="*/ 395 w 979"/>
              <a:gd name="T35" fmla="*/ 298 h 840"/>
              <a:gd name="T36" fmla="*/ 383 w 979"/>
              <a:gd name="T37" fmla="*/ 359 h 840"/>
              <a:gd name="T38" fmla="*/ 384 w 979"/>
              <a:gd name="T39" fmla="*/ 359 h 840"/>
              <a:gd name="T40" fmla="*/ 420 w 979"/>
              <a:gd name="T41" fmla="*/ 358 h 840"/>
              <a:gd name="T42" fmla="*/ 405 w 979"/>
              <a:gd name="T43" fmla="*/ 407 h 840"/>
              <a:gd name="T44" fmla="*/ 382 w 979"/>
              <a:gd name="T45" fmla="*/ 404 h 840"/>
              <a:gd name="T46" fmla="*/ 367 w 979"/>
              <a:gd name="T47" fmla="*/ 405 h 840"/>
              <a:gd name="T48" fmla="*/ 356 w 979"/>
              <a:gd name="T49" fmla="*/ 423 h 840"/>
              <a:gd name="T50" fmla="*/ 359 w 979"/>
              <a:gd name="T51" fmla="*/ 448 h 840"/>
              <a:gd name="T52" fmla="*/ 328 w 979"/>
              <a:gd name="T53" fmla="*/ 627 h 840"/>
              <a:gd name="T54" fmla="*/ 318 w 979"/>
              <a:gd name="T55" fmla="*/ 715 h 840"/>
              <a:gd name="T56" fmla="*/ 260 w 979"/>
              <a:gd name="T57" fmla="*/ 721 h 840"/>
              <a:gd name="T58" fmla="*/ 182 w 979"/>
              <a:gd name="T59" fmla="*/ 705 h 840"/>
              <a:gd name="T60" fmla="*/ 21 w 979"/>
              <a:gd name="T61" fmla="*/ 723 h 840"/>
              <a:gd name="T62" fmla="*/ 252 w 979"/>
              <a:gd name="T63" fmla="*/ 796 h 840"/>
              <a:gd name="T64" fmla="*/ 418 w 979"/>
              <a:gd name="T65" fmla="*/ 677 h 840"/>
              <a:gd name="T66" fmla="*/ 732 w 979"/>
              <a:gd name="T67" fmla="*/ 669 h 840"/>
              <a:gd name="T68" fmla="*/ 875 w 979"/>
              <a:gd name="T69" fmla="*/ 494 h 840"/>
              <a:gd name="T70" fmla="*/ 562 w 979"/>
              <a:gd name="T71" fmla="*/ 374 h 840"/>
              <a:gd name="T72" fmla="*/ 543 w 979"/>
              <a:gd name="T73" fmla="*/ 407 h 840"/>
              <a:gd name="T74" fmla="*/ 462 w 979"/>
              <a:gd name="T75" fmla="*/ 274 h 840"/>
              <a:gd name="T76" fmla="*/ 190 w 979"/>
              <a:gd name="T77" fmla="*/ 93 h 840"/>
              <a:gd name="T78" fmla="*/ 332 w 979"/>
              <a:gd name="T79" fmla="*/ 201 h 840"/>
              <a:gd name="T80" fmla="*/ 399 w 979"/>
              <a:gd name="T81" fmla="*/ 227 h 840"/>
              <a:gd name="T82" fmla="*/ 370 w 979"/>
              <a:gd name="T83" fmla="*/ 429 h 840"/>
              <a:gd name="T84" fmla="*/ 201 w 979"/>
              <a:gd name="T85" fmla="*/ 737 h 840"/>
              <a:gd name="T86" fmla="*/ 352 w 979"/>
              <a:gd name="T87" fmla="*/ 470 h 840"/>
              <a:gd name="T88" fmla="*/ 363 w 979"/>
              <a:gd name="T89" fmla="*/ 488 h 840"/>
              <a:gd name="T90" fmla="*/ 413 w 979"/>
              <a:gd name="T91" fmla="*/ 472 h 840"/>
              <a:gd name="T92" fmla="*/ 400 w 979"/>
              <a:gd name="T93" fmla="*/ 459 h 840"/>
              <a:gd name="T94" fmla="*/ 403 w 979"/>
              <a:gd name="T95" fmla="*/ 475 h 840"/>
              <a:gd name="T96" fmla="*/ 442 w 979"/>
              <a:gd name="T97" fmla="*/ 260 h 840"/>
              <a:gd name="T98" fmla="*/ 422 w 979"/>
              <a:gd name="T99" fmla="*/ 454 h 840"/>
              <a:gd name="T100" fmla="*/ 435 w 979"/>
              <a:gd name="T101" fmla="*/ 483 h 840"/>
              <a:gd name="T102" fmla="*/ 454 w 979"/>
              <a:gd name="T103" fmla="*/ 465 h 840"/>
              <a:gd name="T104" fmla="*/ 472 w 979"/>
              <a:gd name="T105" fmla="*/ 472 h 840"/>
              <a:gd name="T106" fmla="*/ 490 w 979"/>
              <a:gd name="T107" fmla="*/ 332 h 840"/>
              <a:gd name="T108" fmla="*/ 563 w 979"/>
              <a:gd name="T109" fmla="*/ 558 h 840"/>
              <a:gd name="T110" fmla="*/ 564 w 979"/>
              <a:gd name="T111" fmla="*/ 558 h 840"/>
              <a:gd name="T112" fmla="*/ 895 w 979"/>
              <a:gd name="T113" fmla="*/ 617 h 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79" h="840">
                <a:moveTo>
                  <a:pt x="976" y="522"/>
                </a:moveTo>
                <a:cubicBezTo>
                  <a:pt x="969" y="520"/>
                  <a:pt x="971" y="508"/>
                  <a:pt x="968" y="502"/>
                </a:cubicBezTo>
                <a:cubicBezTo>
                  <a:pt x="964" y="494"/>
                  <a:pt x="954" y="486"/>
                  <a:pt x="946" y="483"/>
                </a:cubicBezTo>
                <a:cubicBezTo>
                  <a:pt x="936" y="479"/>
                  <a:pt x="910" y="473"/>
                  <a:pt x="901" y="482"/>
                </a:cubicBezTo>
                <a:cubicBezTo>
                  <a:pt x="898" y="473"/>
                  <a:pt x="882" y="481"/>
                  <a:pt x="877" y="485"/>
                </a:cubicBezTo>
                <a:cubicBezTo>
                  <a:pt x="868" y="493"/>
                  <a:pt x="861" y="504"/>
                  <a:pt x="862" y="516"/>
                </a:cubicBezTo>
                <a:cubicBezTo>
                  <a:pt x="856" y="516"/>
                  <a:pt x="856" y="520"/>
                  <a:pt x="859" y="522"/>
                </a:cubicBezTo>
                <a:cubicBezTo>
                  <a:pt x="858" y="522"/>
                  <a:pt x="857" y="522"/>
                  <a:pt x="857" y="522"/>
                </a:cubicBezTo>
                <a:cubicBezTo>
                  <a:pt x="856" y="531"/>
                  <a:pt x="851" y="540"/>
                  <a:pt x="856" y="549"/>
                </a:cubicBezTo>
                <a:cubicBezTo>
                  <a:pt x="862" y="563"/>
                  <a:pt x="867" y="575"/>
                  <a:pt x="879" y="584"/>
                </a:cubicBezTo>
                <a:cubicBezTo>
                  <a:pt x="883" y="587"/>
                  <a:pt x="888" y="590"/>
                  <a:pt x="892" y="592"/>
                </a:cubicBezTo>
                <a:cubicBezTo>
                  <a:pt x="883" y="593"/>
                  <a:pt x="871" y="598"/>
                  <a:pt x="866" y="600"/>
                </a:cubicBezTo>
                <a:cubicBezTo>
                  <a:pt x="847" y="605"/>
                  <a:pt x="826" y="606"/>
                  <a:pt x="808" y="602"/>
                </a:cubicBezTo>
                <a:cubicBezTo>
                  <a:pt x="800" y="600"/>
                  <a:pt x="793" y="596"/>
                  <a:pt x="784" y="597"/>
                </a:cubicBezTo>
                <a:cubicBezTo>
                  <a:pt x="780" y="598"/>
                  <a:pt x="777" y="600"/>
                  <a:pt x="774" y="602"/>
                </a:cubicBezTo>
                <a:cubicBezTo>
                  <a:pt x="769" y="605"/>
                  <a:pt x="771" y="607"/>
                  <a:pt x="763" y="607"/>
                </a:cubicBezTo>
                <a:cubicBezTo>
                  <a:pt x="747" y="607"/>
                  <a:pt x="727" y="602"/>
                  <a:pt x="711" y="597"/>
                </a:cubicBezTo>
                <a:cubicBezTo>
                  <a:pt x="692" y="592"/>
                  <a:pt x="674" y="585"/>
                  <a:pt x="657" y="577"/>
                </a:cubicBezTo>
                <a:cubicBezTo>
                  <a:pt x="652" y="575"/>
                  <a:pt x="644" y="569"/>
                  <a:pt x="637" y="566"/>
                </a:cubicBezTo>
                <a:cubicBezTo>
                  <a:pt x="628" y="562"/>
                  <a:pt x="618" y="558"/>
                  <a:pt x="608" y="555"/>
                </a:cubicBezTo>
                <a:cubicBezTo>
                  <a:pt x="597" y="551"/>
                  <a:pt x="589" y="549"/>
                  <a:pt x="580" y="541"/>
                </a:cubicBezTo>
                <a:cubicBezTo>
                  <a:pt x="572" y="535"/>
                  <a:pt x="566" y="526"/>
                  <a:pt x="558" y="521"/>
                </a:cubicBezTo>
                <a:cubicBezTo>
                  <a:pt x="543" y="512"/>
                  <a:pt x="522" y="518"/>
                  <a:pt x="509" y="507"/>
                </a:cubicBezTo>
                <a:cubicBezTo>
                  <a:pt x="504" y="503"/>
                  <a:pt x="507" y="502"/>
                  <a:pt x="513" y="498"/>
                </a:cubicBezTo>
                <a:cubicBezTo>
                  <a:pt x="522" y="492"/>
                  <a:pt x="533" y="487"/>
                  <a:pt x="540" y="479"/>
                </a:cubicBezTo>
                <a:cubicBezTo>
                  <a:pt x="545" y="474"/>
                  <a:pt x="547" y="466"/>
                  <a:pt x="554" y="464"/>
                </a:cubicBezTo>
                <a:cubicBezTo>
                  <a:pt x="553" y="464"/>
                  <a:pt x="553" y="464"/>
                  <a:pt x="553" y="463"/>
                </a:cubicBezTo>
                <a:cubicBezTo>
                  <a:pt x="569" y="465"/>
                  <a:pt x="563" y="444"/>
                  <a:pt x="553" y="439"/>
                </a:cubicBezTo>
                <a:cubicBezTo>
                  <a:pt x="551" y="438"/>
                  <a:pt x="546" y="440"/>
                  <a:pt x="544" y="438"/>
                </a:cubicBezTo>
                <a:cubicBezTo>
                  <a:pt x="542" y="436"/>
                  <a:pt x="544" y="432"/>
                  <a:pt x="544" y="430"/>
                </a:cubicBezTo>
                <a:cubicBezTo>
                  <a:pt x="541" y="422"/>
                  <a:pt x="542" y="426"/>
                  <a:pt x="536" y="423"/>
                </a:cubicBezTo>
                <a:cubicBezTo>
                  <a:pt x="532" y="422"/>
                  <a:pt x="530" y="424"/>
                  <a:pt x="529" y="418"/>
                </a:cubicBezTo>
                <a:cubicBezTo>
                  <a:pt x="534" y="418"/>
                  <a:pt x="542" y="416"/>
                  <a:pt x="546" y="413"/>
                </a:cubicBezTo>
                <a:cubicBezTo>
                  <a:pt x="549" y="412"/>
                  <a:pt x="550" y="408"/>
                  <a:pt x="551" y="407"/>
                </a:cubicBezTo>
                <a:cubicBezTo>
                  <a:pt x="554" y="407"/>
                  <a:pt x="556" y="407"/>
                  <a:pt x="558" y="407"/>
                </a:cubicBezTo>
                <a:cubicBezTo>
                  <a:pt x="556" y="406"/>
                  <a:pt x="554" y="405"/>
                  <a:pt x="553" y="403"/>
                </a:cubicBezTo>
                <a:cubicBezTo>
                  <a:pt x="568" y="402"/>
                  <a:pt x="594" y="421"/>
                  <a:pt x="585" y="438"/>
                </a:cubicBezTo>
                <a:cubicBezTo>
                  <a:pt x="595" y="440"/>
                  <a:pt x="586" y="420"/>
                  <a:pt x="583" y="416"/>
                </a:cubicBezTo>
                <a:cubicBezTo>
                  <a:pt x="576" y="406"/>
                  <a:pt x="568" y="404"/>
                  <a:pt x="558" y="400"/>
                </a:cubicBezTo>
                <a:cubicBezTo>
                  <a:pt x="549" y="396"/>
                  <a:pt x="558" y="396"/>
                  <a:pt x="564" y="398"/>
                </a:cubicBezTo>
                <a:cubicBezTo>
                  <a:pt x="574" y="401"/>
                  <a:pt x="586" y="410"/>
                  <a:pt x="591" y="420"/>
                </a:cubicBezTo>
                <a:cubicBezTo>
                  <a:pt x="592" y="410"/>
                  <a:pt x="580" y="404"/>
                  <a:pt x="575" y="399"/>
                </a:cubicBezTo>
                <a:cubicBezTo>
                  <a:pt x="582" y="399"/>
                  <a:pt x="584" y="406"/>
                  <a:pt x="591" y="407"/>
                </a:cubicBezTo>
                <a:cubicBezTo>
                  <a:pt x="590" y="406"/>
                  <a:pt x="589" y="404"/>
                  <a:pt x="588" y="402"/>
                </a:cubicBezTo>
                <a:cubicBezTo>
                  <a:pt x="589" y="403"/>
                  <a:pt x="591" y="404"/>
                  <a:pt x="593" y="405"/>
                </a:cubicBezTo>
                <a:cubicBezTo>
                  <a:pt x="590" y="399"/>
                  <a:pt x="585" y="394"/>
                  <a:pt x="582" y="389"/>
                </a:cubicBezTo>
                <a:cubicBezTo>
                  <a:pt x="588" y="389"/>
                  <a:pt x="592" y="395"/>
                  <a:pt x="598" y="397"/>
                </a:cubicBezTo>
                <a:cubicBezTo>
                  <a:pt x="593" y="384"/>
                  <a:pt x="573" y="388"/>
                  <a:pt x="566" y="381"/>
                </a:cubicBezTo>
                <a:cubicBezTo>
                  <a:pt x="566" y="373"/>
                  <a:pt x="574" y="382"/>
                  <a:pt x="578" y="381"/>
                </a:cubicBezTo>
                <a:cubicBezTo>
                  <a:pt x="583" y="379"/>
                  <a:pt x="569" y="377"/>
                  <a:pt x="570" y="374"/>
                </a:cubicBezTo>
                <a:cubicBezTo>
                  <a:pt x="570" y="374"/>
                  <a:pt x="571" y="375"/>
                  <a:pt x="572" y="375"/>
                </a:cubicBezTo>
                <a:cubicBezTo>
                  <a:pt x="573" y="374"/>
                  <a:pt x="575" y="372"/>
                  <a:pt x="576" y="370"/>
                </a:cubicBezTo>
                <a:cubicBezTo>
                  <a:pt x="574" y="371"/>
                  <a:pt x="573" y="370"/>
                  <a:pt x="572" y="370"/>
                </a:cubicBezTo>
                <a:cubicBezTo>
                  <a:pt x="573" y="365"/>
                  <a:pt x="584" y="354"/>
                  <a:pt x="581" y="349"/>
                </a:cubicBezTo>
                <a:cubicBezTo>
                  <a:pt x="586" y="347"/>
                  <a:pt x="589" y="343"/>
                  <a:pt x="590" y="338"/>
                </a:cubicBezTo>
                <a:cubicBezTo>
                  <a:pt x="589" y="338"/>
                  <a:pt x="589" y="339"/>
                  <a:pt x="589" y="339"/>
                </a:cubicBezTo>
                <a:cubicBezTo>
                  <a:pt x="588" y="340"/>
                  <a:pt x="587" y="340"/>
                  <a:pt x="586" y="341"/>
                </a:cubicBezTo>
                <a:cubicBezTo>
                  <a:pt x="587" y="340"/>
                  <a:pt x="588" y="339"/>
                  <a:pt x="589" y="339"/>
                </a:cubicBezTo>
                <a:cubicBezTo>
                  <a:pt x="590" y="336"/>
                  <a:pt x="589" y="332"/>
                  <a:pt x="591" y="328"/>
                </a:cubicBezTo>
                <a:cubicBezTo>
                  <a:pt x="594" y="324"/>
                  <a:pt x="597" y="324"/>
                  <a:pt x="600" y="320"/>
                </a:cubicBezTo>
                <a:cubicBezTo>
                  <a:pt x="601" y="318"/>
                  <a:pt x="601" y="316"/>
                  <a:pt x="602" y="314"/>
                </a:cubicBezTo>
                <a:cubicBezTo>
                  <a:pt x="603" y="313"/>
                  <a:pt x="605" y="314"/>
                  <a:pt x="606" y="312"/>
                </a:cubicBezTo>
                <a:cubicBezTo>
                  <a:pt x="608" y="308"/>
                  <a:pt x="606" y="303"/>
                  <a:pt x="610" y="302"/>
                </a:cubicBezTo>
                <a:cubicBezTo>
                  <a:pt x="604" y="296"/>
                  <a:pt x="610" y="296"/>
                  <a:pt x="609" y="294"/>
                </a:cubicBezTo>
                <a:cubicBezTo>
                  <a:pt x="608" y="290"/>
                  <a:pt x="597" y="284"/>
                  <a:pt x="608" y="284"/>
                </a:cubicBezTo>
                <a:cubicBezTo>
                  <a:pt x="606" y="281"/>
                  <a:pt x="606" y="282"/>
                  <a:pt x="607" y="279"/>
                </a:cubicBezTo>
                <a:cubicBezTo>
                  <a:pt x="596" y="275"/>
                  <a:pt x="599" y="264"/>
                  <a:pt x="585" y="261"/>
                </a:cubicBezTo>
                <a:cubicBezTo>
                  <a:pt x="590" y="254"/>
                  <a:pt x="584" y="255"/>
                  <a:pt x="581" y="254"/>
                </a:cubicBezTo>
                <a:cubicBezTo>
                  <a:pt x="577" y="252"/>
                  <a:pt x="574" y="249"/>
                  <a:pt x="570" y="246"/>
                </a:cubicBezTo>
                <a:cubicBezTo>
                  <a:pt x="557" y="240"/>
                  <a:pt x="538" y="241"/>
                  <a:pt x="526" y="244"/>
                </a:cubicBezTo>
                <a:cubicBezTo>
                  <a:pt x="520" y="246"/>
                  <a:pt x="516" y="248"/>
                  <a:pt x="511" y="250"/>
                </a:cubicBezTo>
                <a:cubicBezTo>
                  <a:pt x="503" y="254"/>
                  <a:pt x="504" y="254"/>
                  <a:pt x="502" y="262"/>
                </a:cubicBezTo>
                <a:cubicBezTo>
                  <a:pt x="500" y="269"/>
                  <a:pt x="498" y="276"/>
                  <a:pt x="495" y="283"/>
                </a:cubicBezTo>
                <a:cubicBezTo>
                  <a:pt x="494" y="285"/>
                  <a:pt x="492" y="292"/>
                  <a:pt x="490" y="292"/>
                </a:cubicBezTo>
                <a:cubicBezTo>
                  <a:pt x="483" y="295"/>
                  <a:pt x="486" y="288"/>
                  <a:pt x="482" y="287"/>
                </a:cubicBezTo>
                <a:cubicBezTo>
                  <a:pt x="481" y="286"/>
                  <a:pt x="477" y="295"/>
                  <a:pt x="478" y="285"/>
                </a:cubicBezTo>
                <a:cubicBezTo>
                  <a:pt x="472" y="290"/>
                  <a:pt x="470" y="290"/>
                  <a:pt x="467" y="281"/>
                </a:cubicBezTo>
                <a:cubicBezTo>
                  <a:pt x="466" y="280"/>
                  <a:pt x="468" y="274"/>
                  <a:pt x="466" y="274"/>
                </a:cubicBezTo>
                <a:cubicBezTo>
                  <a:pt x="463" y="275"/>
                  <a:pt x="466" y="277"/>
                  <a:pt x="464" y="278"/>
                </a:cubicBezTo>
                <a:cubicBezTo>
                  <a:pt x="463" y="280"/>
                  <a:pt x="463" y="282"/>
                  <a:pt x="462" y="283"/>
                </a:cubicBezTo>
                <a:cubicBezTo>
                  <a:pt x="462" y="283"/>
                  <a:pt x="462" y="284"/>
                  <a:pt x="462" y="284"/>
                </a:cubicBezTo>
                <a:cubicBezTo>
                  <a:pt x="462" y="284"/>
                  <a:pt x="462" y="284"/>
                  <a:pt x="461" y="284"/>
                </a:cubicBezTo>
                <a:cubicBezTo>
                  <a:pt x="460" y="284"/>
                  <a:pt x="459" y="284"/>
                  <a:pt x="457" y="281"/>
                </a:cubicBezTo>
                <a:cubicBezTo>
                  <a:pt x="458" y="282"/>
                  <a:pt x="460" y="283"/>
                  <a:pt x="461" y="284"/>
                </a:cubicBezTo>
                <a:cubicBezTo>
                  <a:pt x="461" y="283"/>
                  <a:pt x="462" y="283"/>
                  <a:pt x="462" y="283"/>
                </a:cubicBezTo>
                <a:cubicBezTo>
                  <a:pt x="461" y="278"/>
                  <a:pt x="466" y="272"/>
                  <a:pt x="461" y="269"/>
                </a:cubicBezTo>
                <a:cubicBezTo>
                  <a:pt x="459" y="272"/>
                  <a:pt x="457" y="281"/>
                  <a:pt x="452" y="280"/>
                </a:cubicBezTo>
                <a:cubicBezTo>
                  <a:pt x="447" y="279"/>
                  <a:pt x="457" y="271"/>
                  <a:pt x="458" y="269"/>
                </a:cubicBezTo>
                <a:cubicBezTo>
                  <a:pt x="456" y="270"/>
                  <a:pt x="448" y="278"/>
                  <a:pt x="448" y="271"/>
                </a:cubicBezTo>
                <a:cubicBezTo>
                  <a:pt x="448" y="268"/>
                  <a:pt x="456" y="270"/>
                  <a:pt x="453" y="264"/>
                </a:cubicBezTo>
                <a:cubicBezTo>
                  <a:pt x="448" y="269"/>
                  <a:pt x="449" y="261"/>
                  <a:pt x="447" y="258"/>
                </a:cubicBezTo>
                <a:cubicBezTo>
                  <a:pt x="446" y="256"/>
                  <a:pt x="439" y="248"/>
                  <a:pt x="438" y="248"/>
                </a:cubicBezTo>
                <a:cubicBezTo>
                  <a:pt x="442" y="241"/>
                  <a:pt x="431" y="239"/>
                  <a:pt x="426" y="242"/>
                </a:cubicBezTo>
                <a:cubicBezTo>
                  <a:pt x="431" y="235"/>
                  <a:pt x="417" y="231"/>
                  <a:pt x="413" y="237"/>
                </a:cubicBezTo>
                <a:cubicBezTo>
                  <a:pt x="418" y="231"/>
                  <a:pt x="411" y="228"/>
                  <a:pt x="407" y="223"/>
                </a:cubicBezTo>
                <a:cubicBezTo>
                  <a:pt x="408" y="223"/>
                  <a:pt x="408" y="222"/>
                  <a:pt x="409" y="222"/>
                </a:cubicBezTo>
                <a:cubicBezTo>
                  <a:pt x="402" y="219"/>
                  <a:pt x="396" y="209"/>
                  <a:pt x="391" y="204"/>
                </a:cubicBezTo>
                <a:cubicBezTo>
                  <a:pt x="384" y="197"/>
                  <a:pt x="376" y="190"/>
                  <a:pt x="369" y="184"/>
                </a:cubicBezTo>
                <a:cubicBezTo>
                  <a:pt x="357" y="174"/>
                  <a:pt x="348" y="164"/>
                  <a:pt x="339" y="154"/>
                </a:cubicBezTo>
                <a:cubicBezTo>
                  <a:pt x="326" y="141"/>
                  <a:pt x="311" y="131"/>
                  <a:pt x="296" y="121"/>
                </a:cubicBezTo>
                <a:cubicBezTo>
                  <a:pt x="287" y="116"/>
                  <a:pt x="278" y="109"/>
                  <a:pt x="269" y="104"/>
                </a:cubicBezTo>
                <a:cubicBezTo>
                  <a:pt x="265" y="102"/>
                  <a:pt x="253" y="95"/>
                  <a:pt x="253" y="96"/>
                </a:cubicBezTo>
                <a:cubicBezTo>
                  <a:pt x="241" y="91"/>
                  <a:pt x="213" y="77"/>
                  <a:pt x="218" y="61"/>
                </a:cubicBezTo>
                <a:cubicBezTo>
                  <a:pt x="220" y="54"/>
                  <a:pt x="232" y="51"/>
                  <a:pt x="231" y="42"/>
                </a:cubicBezTo>
                <a:cubicBezTo>
                  <a:pt x="230" y="36"/>
                  <a:pt x="229" y="38"/>
                  <a:pt x="224" y="40"/>
                </a:cubicBezTo>
                <a:cubicBezTo>
                  <a:pt x="217" y="45"/>
                  <a:pt x="201" y="68"/>
                  <a:pt x="203" y="45"/>
                </a:cubicBezTo>
                <a:cubicBezTo>
                  <a:pt x="204" y="37"/>
                  <a:pt x="211" y="24"/>
                  <a:pt x="209" y="16"/>
                </a:cubicBezTo>
                <a:cubicBezTo>
                  <a:pt x="207" y="9"/>
                  <a:pt x="202" y="13"/>
                  <a:pt x="200" y="19"/>
                </a:cubicBezTo>
                <a:cubicBezTo>
                  <a:pt x="199" y="25"/>
                  <a:pt x="196" y="52"/>
                  <a:pt x="188" y="49"/>
                </a:cubicBezTo>
                <a:cubicBezTo>
                  <a:pt x="178" y="46"/>
                  <a:pt x="184" y="0"/>
                  <a:pt x="172" y="0"/>
                </a:cubicBezTo>
                <a:cubicBezTo>
                  <a:pt x="165" y="0"/>
                  <a:pt x="175" y="35"/>
                  <a:pt x="175" y="40"/>
                </a:cubicBezTo>
                <a:cubicBezTo>
                  <a:pt x="175" y="68"/>
                  <a:pt x="155" y="36"/>
                  <a:pt x="149" y="27"/>
                </a:cubicBezTo>
                <a:cubicBezTo>
                  <a:pt x="147" y="24"/>
                  <a:pt x="143" y="12"/>
                  <a:pt x="138" y="17"/>
                </a:cubicBezTo>
                <a:cubicBezTo>
                  <a:pt x="134" y="22"/>
                  <a:pt x="145" y="33"/>
                  <a:pt x="147" y="37"/>
                </a:cubicBezTo>
                <a:cubicBezTo>
                  <a:pt x="154" y="46"/>
                  <a:pt x="159" y="56"/>
                  <a:pt x="169" y="68"/>
                </a:cubicBezTo>
                <a:cubicBezTo>
                  <a:pt x="172" y="64"/>
                  <a:pt x="166" y="61"/>
                  <a:pt x="165" y="57"/>
                </a:cubicBezTo>
                <a:cubicBezTo>
                  <a:pt x="167" y="60"/>
                  <a:pt x="168" y="59"/>
                  <a:pt x="171" y="60"/>
                </a:cubicBezTo>
                <a:cubicBezTo>
                  <a:pt x="171" y="53"/>
                  <a:pt x="174" y="55"/>
                  <a:pt x="175" y="62"/>
                </a:cubicBezTo>
                <a:cubicBezTo>
                  <a:pt x="175" y="66"/>
                  <a:pt x="176" y="74"/>
                  <a:pt x="171" y="72"/>
                </a:cubicBezTo>
                <a:cubicBezTo>
                  <a:pt x="172" y="75"/>
                  <a:pt x="171" y="75"/>
                  <a:pt x="174" y="76"/>
                </a:cubicBezTo>
                <a:cubicBezTo>
                  <a:pt x="173" y="78"/>
                  <a:pt x="176" y="78"/>
                  <a:pt x="176" y="81"/>
                </a:cubicBezTo>
                <a:cubicBezTo>
                  <a:pt x="177" y="87"/>
                  <a:pt x="174" y="81"/>
                  <a:pt x="174" y="81"/>
                </a:cubicBezTo>
                <a:cubicBezTo>
                  <a:pt x="172" y="80"/>
                  <a:pt x="171" y="75"/>
                  <a:pt x="168" y="76"/>
                </a:cubicBezTo>
                <a:cubicBezTo>
                  <a:pt x="166" y="77"/>
                  <a:pt x="167" y="81"/>
                  <a:pt x="165" y="82"/>
                </a:cubicBezTo>
                <a:cubicBezTo>
                  <a:pt x="161" y="86"/>
                  <a:pt x="151" y="89"/>
                  <a:pt x="144" y="87"/>
                </a:cubicBezTo>
                <a:cubicBezTo>
                  <a:pt x="139" y="86"/>
                  <a:pt x="131" y="81"/>
                  <a:pt x="127" y="87"/>
                </a:cubicBezTo>
                <a:cubicBezTo>
                  <a:pt x="128" y="85"/>
                  <a:pt x="128" y="85"/>
                  <a:pt x="130" y="84"/>
                </a:cubicBezTo>
                <a:cubicBezTo>
                  <a:pt x="124" y="83"/>
                  <a:pt x="120" y="87"/>
                  <a:pt x="121" y="92"/>
                </a:cubicBezTo>
                <a:cubicBezTo>
                  <a:pt x="122" y="97"/>
                  <a:pt x="128" y="98"/>
                  <a:pt x="133" y="99"/>
                </a:cubicBezTo>
                <a:cubicBezTo>
                  <a:pt x="139" y="100"/>
                  <a:pt x="145" y="98"/>
                  <a:pt x="150" y="99"/>
                </a:cubicBezTo>
                <a:cubicBezTo>
                  <a:pt x="155" y="100"/>
                  <a:pt x="160" y="103"/>
                  <a:pt x="166" y="103"/>
                </a:cubicBezTo>
                <a:cubicBezTo>
                  <a:pt x="175" y="104"/>
                  <a:pt x="185" y="101"/>
                  <a:pt x="194" y="102"/>
                </a:cubicBezTo>
                <a:cubicBezTo>
                  <a:pt x="205" y="103"/>
                  <a:pt x="217" y="115"/>
                  <a:pt x="225" y="121"/>
                </a:cubicBezTo>
                <a:cubicBezTo>
                  <a:pt x="244" y="135"/>
                  <a:pt x="258" y="151"/>
                  <a:pt x="279" y="165"/>
                </a:cubicBezTo>
                <a:cubicBezTo>
                  <a:pt x="289" y="171"/>
                  <a:pt x="297" y="176"/>
                  <a:pt x="305" y="184"/>
                </a:cubicBezTo>
                <a:cubicBezTo>
                  <a:pt x="309" y="188"/>
                  <a:pt x="314" y="194"/>
                  <a:pt x="318" y="197"/>
                </a:cubicBezTo>
                <a:cubicBezTo>
                  <a:pt x="323" y="200"/>
                  <a:pt x="322" y="197"/>
                  <a:pt x="325" y="202"/>
                </a:cubicBezTo>
                <a:cubicBezTo>
                  <a:pt x="330" y="209"/>
                  <a:pt x="332" y="217"/>
                  <a:pt x="337" y="224"/>
                </a:cubicBezTo>
                <a:cubicBezTo>
                  <a:pt x="341" y="230"/>
                  <a:pt x="346" y="236"/>
                  <a:pt x="351" y="242"/>
                </a:cubicBezTo>
                <a:cubicBezTo>
                  <a:pt x="357" y="249"/>
                  <a:pt x="371" y="260"/>
                  <a:pt x="372" y="268"/>
                </a:cubicBezTo>
                <a:cubicBezTo>
                  <a:pt x="372" y="267"/>
                  <a:pt x="372" y="267"/>
                  <a:pt x="371" y="266"/>
                </a:cubicBezTo>
                <a:cubicBezTo>
                  <a:pt x="374" y="268"/>
                  <a:pt x="379" y="271"/>
                  <a:pt x="381" y="273"/>
                </a:cubicBezTo>
                <a:cubicBezTo>
                  <a:pt x="381" y="275"/>
                  <a:pt x="381" y="277"/>
                  <a:pt x="382" y="279"/>
                </a:cubicBezTo>
                <a:cubicBezTo>
                  <a:pt x="386" y="286"/>
                  <a:pt x="392" y="289"/>
                  <a:pt x="395" y="298"/>
                </a:cubicBezTo>
                <a:cubicBezTo>
                  <a:pt x="395" y="297"/>
                  <a:pt x="396" y="296"/>
                  <a:pt x="396" y="296"/>
                </a:cubicBezTo>
                <a:cubicBezTo>
                  <a:pt x="397" y="293"/>
                  <a:pt x="398" y="290"/>
                  <a:pt x="400" y="288"/>
                </a:cubicBezTo>
                <a:cubicBezTo>
                  <a:pt x="398" y="290"/>
                  <a:pt x="397" y="293"/>
                  <a:pt x="396" y="296"/>
                </a:cubicBezTo>
                <a:cubicBezTo>
                  <a:pt x="395" y="298"/>
                  <a:pt x="395" y="300"/>
                  <a:pt x="396" y="302"/>
                </a:cubicBezTo>
                <a:cubicBezTo>
                  <a:pt x="396" y="301"/>
                  <a:pt x="397" y="301"/>
                  <a:pt x="397" y="300"/>
                </a:cubicBezTo>
                <a:cubicBezTo>
                  <a:pt x="398" y="304"/>
                  <a:pt x="399" y="310"/>
                  <a:pt x="401" y="313"/>
                </a:cubicBezTo>
                <a:cubicBezTo>
                  <a:pt x="399" y="321"/>
                  <a:pt x="398" y="333"/>
                  <a:pt x="394" y="340"/>
                </a:cubicBezTo>
                <a:cubicBezTo>
                  <a:pt x="390" y="346"/>
                  <a:pt x="385" y="352"/>
                  <a:pt x="383" y="359"/>
                </a:cubicBezTo>
                <a:cubicBezTo>
                  <a:pt x="378" y="364"/>
                  <a:pt x="372" y="376"/>
                  <a:pt x="368" y="383"/>
                </a:cubicBezTo>
                <a:cubicBezTo>
                  <a:pt x="363" y="389"/>
                  <a:pt x="360" y="394"/>
                  <a:pt x="365" y="402"/>
                </a:cubicBezTo>
                <a:cubicBezTo>
                  <a:pt x="365" y="400"/>
                  <a:pt x="366" y="398"/>
                  <a:pt x="366" y="396"/>
                </a:cubicBezTo>
                <a:cubicBezTo>
                  <a:pt x="367" y="396"/>
                  <a:pt x="368" y="397"/>
                  <a:pt x="368" y="398"/>
                </a:cubicBezTo>
                <a:cubicBezTo>
                  <a:pt x="368" y="395"/>
                  <a:pt x="369" y="394"/>
                  <a:pt x="370" y="391"/>
                </a:cubicBezTo>
                <a:cubicBezTo>
                  <a:pt x="371" y="392"/>
                  <a:pt x="371" y="393"/>
                  <a:pt x="372" y="394"/>
                </a:cubicBezTo>
                <a:cubicBezTo>
                  <a:pt x="373" y="387"/>
                  <a:pt x="374" y="380"/>
                  <a:pt x="377" y="373"/>
                </a:cubicBezTo>
                <a:cubicBezTo>
                  <a:pt x="378" y="369"/>
                  <a:pt x="383" y="363"/>
                  <a:pt x="384" y="359"/>
                </a:cubicBezTo>
                <a:cubicBezTo>
                  <a:pt x="392" y="358"/>
                  <a:pt x="404" y="324"/>
                  <a:pt x="401" y="314"/>
                </a:cubicBezTo>
                <a:cubicBezTo>
                  <a:pt x="401" y="311"/>
                  <a:pt x="399" y="303"/>
                  <a:pt x="397" y="299"/>
                </a:cubicBezTo>
                <a:cubicBezTo>
                  <a:pt x="398" y="296"/>
                  <a:pt x="398" y="294"/>
                  <a:pt x="400" y="292"/>
                </a:cubicBezTo>
                <a:cubicBezTo>
                  <a:pt x="400" y="294"/>
                  <a:pt x="401" y="296"/>
                  <a:pt x="401" y="298"/>
                </a:cubicBezTo>
                <a:cubicBezTo>
                  <a:pt x="405" y="292"/>
                  <a:pt x="409" y="315"/>
                  <a:pt x="407" y="319"/>
                </a:cubicBezTo>
                <a:cubicBezTo>
                  <a:pt x="415" y="319"/>
                  <a:pt x="412" y="335"/>
                  <a:pt x="413" y="340"/>
                </a:cubicBezTo>
                <a:cubicBezTo>
                  <a:pt x="414" y="346"/>
                  <a:pt x="417" y="350"/>
                  <a:pt x="419" y="355"/>
                </a:cubicBezTo>
                <a:cubicBezTo>
                  <a:pt x="419" y="355"/>
                  <a:pt x="420" y="356"/>
                  <a:pt x="420" y="358"/>
                </a:cubicBezTo>
                <a:cubicBezTo>
                  <a:pt x="420" y="357"/>
                  <a:pt x="419" y="356"/>
                  <a:pt x="419" y="355"/>
                </a:cubicBezTo>
                <a:cubicBezTo>
                  <a:pt x="418" y="354"/>
                  <a:pt x="416" y="355"/>
                  <a:pt x="415" y="358"/>
                </a:cubicBezTo>
                <a:cubicBezTo>
                  <a:pt x="413" y="363"/>
                  <a:pt x="416" y="373"/>
                  <a:pt x="415" y="379"/>
                </a:cubicBezTo>
                <a:cubicBezTo>
                  <a:pt x="414" y="383"/>
                  <a:pt x="410" y="410"/>
                  <a:pt x="404" y="402"/>
                </a:cubicBezTo>
                <a:cubicBezTo>
                  <a:pt x="404" y="404"/>
                  <a:pt x="405" y="405"/>
                  <a:pt x="405" y="407"/>
                </a:cubicBezTo>
                <a:cubicBezTo>
                  <a:pt x="405" y="407"/>
                  <a:pt x="405" y="407"/>
                  <a:pt x="405" y="407"/>
                </a:cubicBezTo>
                <a:cubicBezTo>
                  <a:pt x="405" y="408"/>
                  <a:pt x="405" y="409"/>
                  <a:pt x="404" y="411"/>
                </a:cubicBezTo>
                <a:cubicBezTo>
                  <a:pt x="405" y="409"/>
                  <a:pt x="405" y="408"/>
                  <a:pt x="405" y="407"/>
                </a:cubicBezTo>
                <a:cubicBezTo>
                  <a:pt x="405" y="407"/>
                  <a:pt x="404" y="406"/>
                  <a:pt x="404" y="406"/>
                </a:cubicBezTo>
                <a:cubicBezTo>
                  <a:pt x="403" y="408"/>
                  <a:pt x="402" y="408"/>
                  <a:pt x="401" y="411"/>
                </a:cubicBezTo>
                <a:cubicBezTo>
                  <a:pt x="393" y="410"/>
                  <a:pt x="392" y="391"/>
                  <a:pt x="392" y="384"/>
                </a:cubicBezTo>
                <a:cubicBezTo>
                  <a:pt x="391" y="392"/>
                  <a:pt x="391" y="399"/>
                  <a:pt x="393" y="407"/>
                </a:cubicBezTo>
                <a:cubicBezTo>
                  <a:pt x="394" y="412"/>
                  <a:pt x="397" y="417"/>
                  <a:pt x="394" y="421"/>
                </a:cubicBezTo>
                <a:cubicBezTo>
                  <a:pt x="391" y="416"/>
                  <a:pt x="389" y="410"/>
                  <a:pt x="386" y="405"/>
                </a:cubicBezTo>
                <a:cubicBezTo>
                  <a:pt x="386" y="408"/>
                  <a:pt x="386" y="411"/>
                  <a:pt x="387" y="414"/>
                </a:cubicBezTo>
                <a:cubicBezTo>
                  <a:pt x="385" y="410"/>
                  <a:pt x="383" y="408"/>
                  <a:pt x="382" y="404"/>
                </a:cubicBezTo>
                <a:cubicBezTo>
                  <a:pt x="382" y="405"/>
                  <a:pt x="382" y="407"/>
                  <a:pt x="382" y="408"/>
                </a:cubicBezTo>
                <a:cubicBezTo>
                  <a:pt x="380" y="405"/>
                  <a:pt x="379" y="402"/>
                  <a:pt x="378" y="399"/>
                </a:cubicBezTo>
                <a:cubicBezTo>
                  <a:pt x="378" y="407"/>
                  <a:pt x="384" y="416"/>
                  <a:pt x="383" y="423"/>
                </a:cubicBezTo>
                <a:cubicBezTo>
                  <a:pt x="380" y="421"/>
                  <a:pt x="380" y="417"/>
                  <a:pt x="378" y="414"/>
                </a:cubicBezTo>
                <a:cubicBezTo>
                  <a:pt x="376" y="411"/>
                  <a:pt x="373" y="411"/>
                  <a:pt x="372" y="406"/>
                </a:cubicBezTo>
                <a:cubicBezTo>
                  <a:pt x="372" y="408"/>
                  <a:pt x="371" y="410"/>
                  <a:pt x="372" y="412"/>
                </a:cubicBezTo>
                <a:cubicBezTo>
                  <a:pt x="371" y="412"/>
                  <a:pt x="371" y="412"/>
                  <a:pt x="370" y="412"/>
                </a:cubicBezTo>
                <a:cubicBezTo>
                  <a:pt x="369" y="410"/>
                  <a:pt x="367" y="408"/>
                  <a:pt x="367" y="405"/>
                </a:cubicBezTo>
                <a:cubicBezTo>
                  <a:pt x="368" y="414"/>
                  <a:pt x="373" y="421"/>
                  <a:pt x="375" y="430"/>
                </a:cubicBezTo>
                <a:cubicBezTo>
                  <a:pt x="367" y="422"/>
                  <a:pt x="369" y="415"/>
                  <a:pt x="363" y="407"/>
                </a:cubicBezTo>
                <a:cubicBezTo>
                  <a:pt x="358" y="400"/>
                  <a:pt x="360" y="406"/>
                  <a:pt x="362" y="411"/>
                </a:cubicBezTo>
                <a:cubicBezTo>
                  <a:pt x="362" y="410"/>
                  <a:pt x="363" y="409"/>
                  <a:pt x="363" y="408"/>
                </a:cubicBezTo>
                <a:cubicBezTo>
                  <a:pt x="364" y="415"/>
                  <a:pt x="365" y="420"/>
                  <a:pt x="368" y="425"/>
                </a:cubicBezTo>
                <a:cubicBezTo>
                  <a:pt x="365" y="424"/>
                  <a:pt x="363" y="422"/>
                  <a:pt x="363" y="419"/>
                </a:cubicBezTo>
                <a:cubicBezTo>
                  <a:pt x="362" y="425"/>
                  <a:pt x="370" y="435"/>
                  <a:pt x="374" y="441"/>
                </a:cubicBezTo>
                <a:cubicBezTo>
                  <a:pt x="365" y="436"/>
                  <a:pt x="362" y="430"/>
                  <a:pt x="356" y="423"/>
                </a:cubicBezTo>
                <a:cubicBezTo>
                  <a:pt x="358" y="432"/>
                  <a:pt x="366" y="438"/>
                  <a:pt x="371" y="445"/>
                </a:cubicBezTo>
                <a:cubicBezTo>
                  <a:pt x="369" y="442"/>
                  <a:pt x="352" y="426"/>
                  <a:pt x="351" y="426"/>
                </a:cubicBezTo>
                <a:cubicBezTo>
                  <a:pt x="350" y="430"/>
                  <a:pt x="365" y="443"/>
                  <a:pt x="368" y="445"/>
                </a:cubicBezTo>
                <a:cubicBezTo>
                  <a:pt x="368" y="447"/>
                  <a:pt x="369" y="449"/>
                  <a:pt x="371" y="451"/>
                </a:cubicBezTo>
                <a:cubicBezTo>
                  <a:pt x="363" y="448"/>
                  <a:pt x="359" y="437"/>
                  <a:pt x="352" y="433"/>
                </a:cubicBezTo>
                <a:cubicBezTo>
                  <a:pt x="353" y="436"/>
                  <a:pt x="355" y="437"/>
                  <a:pt x="356" y="440"/>
                </a:cubicBezTo>
                <a:cubicBezTo>
                  <a:pt x="356" y="441"/>
                  <a:pt x="355" y="442"/>
                  <a:pt x="355" y="444"/>
                </a:cubicBezTo>
                <a:cubicBezTo>
                  <a:pt x="356" y="446"/>
                  <a:pt x="359" y="446"/>
                  <a:pt x="359" y="448"/>
                </a:cubicBezTo>
                <a:cubicBezTo>
                  <a:pt x="359" y="447"/>
                  <a:pt x="359" y="457"/>
                  <a:pt x="359" y="457"/>
                </a:cubicBezTo>
                <a:cubicBezTo>
                  <a:pt x="356" y="462"/>
                  <a:pt x="350" y="460"/>
                  <a:pt x="345" y="458"/>
                </a:cubicBezTo>
                <a:cubicBezTo>
                  <a:pt x="345" y="461"/>
                  <a:pt x="344" y="462"/>
                  <a:pt x="345" y="465"/>
                </a:cubicBezTo>
                <a:cubicBezTo>
                  <a:pt x="333" y="463"/>
                  <a:pt x="324" y="467"/>
                  <a:pt x="316" y="477"/>
                </a:cubicBezTo>
                <a:cubicBezTo>
                  <a:pt x="311" y="484"/>
                  <a:pt x="294" y="508"/>
                  <a:pt x="296" y="514"/>
                </a:cubicBezTo>
                <a:cubicBezTo>
                  <a:pt x="287" y="523"/>
                  <a:pt x="293" y="541"/>
                  <a:pt x="295" y="552"/>
                </a:cubicBezTo>
                <a:cubicBezTo>
                  <a:pt x="297" y="565"/>
                  <a:pt x="299" y="575"/>
                  <a:pt x="305" y="585"/>
                </a:cubicBezTo>
                <a:cubicBezTo>
                  <a:pt x="314" y="600"/>
                  <a:pt x="328" y="608"/>
                  <a:pt x="328" y="627"/>
                </a:cubicBezTo>
                <a:cubicBezTo>
                  <a:pt x="327" y="644"/>
                  <a:pt x="317" y="660"/>
                  <a:pt x="318" y="676"/>
                </a:cubicBezTo>
                <a:cubicBezTo>
                  <a:pt x="321" y="671"/>
                  <a:pt x="333" y="662"/>
                  <a:pt x="340" y="660"/>
                </a:cubicBezTo>
                <a:cubicBezTo>
                  <a:pt x="339" y="664"/>
                  <a:pt x="338" y="673"/>
                  <a:pt x="336" y="676"/>
                </a:cubicBezTo>
                <a:cubicBezTo>
                  <a:pt x="332" y="682"/>
                  <a:pt x="335" y="677"/>
                  <a:pt x="332" y="675"/>
                </a:cubicBezTo>
                <a:cubicBezTo>
                  <a:pt x="330" y="674"/>
                  <a:pt x="332" y="669"/>
                  <a:pt x="326" y="673"/>
                </a:cubicBezTo>
                <a:cubicBezTo>
                  <a:pt x="321" y="676"/>
                  <a:pt x="323" y="685"/>
                  <a:pt x="321" y="690"/>
                </a:cubicBezTo>
                <a:cubicBezTo>
                  <a:pt x="320" y="693"/>
                  <a:pt x="317" y="695"/>
                  <a:pt x="317" y="700"/>
                </a:cubicBezTo>
                <a:cubicBezTo>
                  <a:pt x="316" y="705"/>
                  <a:pt x="319" y="710"/>
                  <a:pt x="318" y="715"/>
                </a:cubicBezTo>
                <a:cubicBezTo>
                  <a:pt x="318" y="716"/>
                  <a:pt x="319" y="718"/>
                  <a:pt x="319" y="719"/>
                </a:cubicBezTo>
                <a:cubicBezTo>
                  <a:pt x="319" y="720"/>
                  <a:pt x="317" y="721"/>
                  <a:pt x="317" y="722"/>
                </a:cubicBezTo>
                <a:cubicBezTo>
                  <a:pt x="317" y="725"/>
                  <a:pt x="318" y="727"/>
                  <a:pt x="318" y="730"/>
                </a:cubicBezTo>
                <a:cubicBezTo>
                  <a:pt x="319" y="729"/>
                  <a:pt x="320" y="729"/>
                  <a:pt x="321" y="729"/>
                </a:cubicBezTo>
                <a:cubicBezTo>
                  <a:pt x="324" y="741"/>
                  <a:pt x="310" y="756"/>
                  <a:pt x="302" y="764"/>
                </a:cubicBezTo>
                <a:cubicBezTo>
                  <a:pt x="301" y="758"/>
                  <a:pt x="306" y="753"/>
                  <a:pt x="306" y="749"/>
                </a:cubicBezTo>
                <a:cubicBezTo>
                  <a:pt x="306" y="741"/>
                  <a:pt x="296" y="736"/>
                  <a:pt x="288" y="732"/>
                </a:cubicBezTo>
                <a:cubicBezTo>
                  <a:pt x="279" y="727"/>
                  <a:pt x="270" y="722"/>
                  <a:pt x="260" y="721"/>
                </a:cubicBezTo>
                <a:cubicBezTo>
                  <a:pt x="255" y="720"/>
                  <a:pt x="249" y="718"/>
                  <a:pt x="244" y="720"/>
                </a:cubicBezTo>
                <a:cubicBezTo>
                  <a:pt x="238" y="722"/>
                  <a:pt x="237" y="728"/>
                  <a:pt x="233" y="731"/>
                </a:cubicBezTo>
                <a:cubicBezTo>
                  <a:pt x="224" y="736"/>
                  <a:pt x="223" y="728"/>
                  <a:pt x="230" y="723"/>
                </a:cubicBezTo>
                <a:cubicBezTo>
                  <a:pt x="232" y="722"/>
                  <a:pt x="239" y="721"/>
                  <a:pt x="238" y="719"/>
                </a:cubicBezTo>
                <a:cubicBezTo>
                  <a:pt x="238" y="718"/>
                  <a:pt x="229" y="717"/>
                  <a:pt x="228" y="717"/>
                </a:cubicBezTo>
                <a:cubicBezTo>
                  <a:pt x="224" y="717"/>
                  <a:pt x="219" y="719"/>
                  <a:pt x="215" y="718"/>
                </a:cubicBezTo>
                <a:cubicBezTo>
                  <a:pt x="211" y="717"/>
                  <a:pt x="207" y="712"/>
                  <a:pt x="202" y="710"/>
                </a:cubicBezTo>
                <a:cubicBezTo>
                  <a:pt x="196" y="708"/>
                  <a:pt x="187" y="706"/>
                  <a:pt x="182" y="705"/>
                </a:cubicBezTo>
                <a:cubicBezTo>
                  <a:pt x="179" y="705"/>
                  <a:pt x="171" y="703"/>
                  <a:pt x="168" y="701"/>
                </a:cubicBezTo>
                <a:cubicBezTo>
                  <a:pt x="164" y="698"/>
                  <a:pt x="164" y="692"/>
                  <a:pt x="164" y="686"/>
                </a:cubicBezTo>
                <a:cubicBezTo>
                  <a:pt x="163" y="675"/>
                  <a:pt x="160" y="664"/>
                  <a:pt x="150" y="658"/>
                </a:cubicBezTo>
                <a:cubicBezTo>
                  <a:pt x="132" y="648"/>
                  <a:pt x="109" y="669"/>
                  <a:pt x="93" y="676"/>
                </a:cubicBezTo>
                <a:cubicBezTo>
                  <a:pt x="82" y="682"/>
                  <a:pt x="69" y="679"/>
                  <a:pt x="56" y="682"/>
                </a:cubicBezTo>
                <a:cubicBezTo>
                  <a:pt x="45" y="684"/>
                  <a:pt x="32" y="689"/>
                  <a:pt x="22" y="694"/>
                </a:cubicBezTo>
                <a:cubicBezTo>
                  <a:pt x="14" y="698"/>
                  <a:pt x="0" y="704"/>
                  <a:pt x="2" y="714"/>
                </a:cubicBezTo>
                <a:cubicBezTo>
                  <a:pt x="3" y="724"/>
                  <a:pt x="13" y="724"/>
                  <a:pt x="21" y="723"/>
                </a:cubicBezTo>
                <a:cubicBezTo>
                  <a:pt x="34" y="723"/>
                  <a:pt x="46" y="721"/>
                  <a:pt x="59" y="724"/>
                </a:cubicBezTo>
                <a:cubicBezTo>
                  <a:pt x="72" y="726"/>
                  <a:pt x="83" y="733"/>
                  <a:pt x="96" y="734"/>
                </a:cubicBezTo>
                <a:cubicBezTo>
                  <a:pt x="101" y="735"/>
                  <a:pt x="106" y="736"/>
                  <a:pt x="109" y="735"/>
                </a:cubicBezTo>
                <a:cubicBezTo>
                  <a:pt x="111" y="735"/>
                  <a:pt x="112" y="732"/>
                  <a:pt x="116" y="731"/>
                </a:cubicBezTo>
                <a:cubicBezTo>
                  <a:pt x="128" y="730"/>
                  <a:pt x="142" y="744"/>
                  <a:pt x="153" y="742"/>
                </a:cubicBezTo>
                <a:cubicBezTo>
                  <a:pt x="155" y="744"/>
                  <a:pt x="165" y="747"/>
                  <a:pt x="168" y="749"/>
                </a:cubicBezTo>
                <a:cubicBezTo>
                  <a:pt x="179" y="753"/>
                  <a:pt x="188" y="756"/>
                  <a:pt x="198" y="762"/>
                </a:cubicBezTo>
                <a:cubicBezTo>
                  <a:pt x="216" y="773"/>
                  <a:pt x="233" y="786"/>
                  <a:pt x="252" y="796"/>
                </a:cubicBezTo>
                <a:cubicBezTo>
                  <a:pt x="261" y="800"/>
                  <a:pt x="271" y="803"/>
                  <a:pt x="281" y="809"/>
                </a:cubicBezTo>
                <a:cubicBezTo>
                  <a:pt x="290" y="814"/>
                  <a:pt x="298" y="821"/>
                  <a:pt x="307" y="826"/>
                </a:cubicBezTo>
                <a:cubicBezTo>
                  <a:pt x="326" y="838"/>
                  <a:pt x="340" y="840"/>
                  <a:pt x="356" y="823"/>
                </a:cubicBezTo>
                <a:cubicBezTo>
                  <a:pt x="372" y="805"/>
                  <a:pt x="382" y="784"/>
                  <a:pt x="394" y="763"/>
                </a:cubicBezTo>
                <a:cubicBezTo>
                  <a:pt x="392" y="764"/>
                  <a:pt x="391" y="764"/>
                  <a:pt x="389" y="765"/>
                </a:cubicBezTo>
                <a:cubicBezTo>
                  <a:pt x="403" y="760"/>
                  <a:pt x="413" y="731"/>
                  <a:pt x="415" y="717"/>
                </a:cubicBezTo>
                <a:cubicBezTo>
                  <a:pt x="416" y="711"/>
                  <a:pt x="424" y="683"/>
                  <a:pt x="415" y="685"/>
                </a:cubicBezTo>
                <a:cubicBezTo>
                  <a:pt x="416" y="680"/>
                  <a:pt x="414" y="675"/>
                  <a:pt x="418" y="677"/>
                </a:cubicBezTo>
                <a:cubicBezTo>
                  <a:pt x="424" y="678"/>
                  <a:pt x="423" y="691"/>
                  <a:pt x="427" y="693"/>
                </a:cubicBezTo>
                <a:cubicBezTo>
                  <a:pt x="432" y="673"/>
                  <a:pt x="440" y="652"/>
                  <a:pt x="444" y="631"/>
                </a:cubicBezTo>
                <a:cubicBezTo>
                  <a:pt x="449" y="612"/>
                  <a:pt x="456" y="597"/>
                  <a:pt x="476" y="594"/>
                </a:cubicBezTo>
                <a:cubicBezTo>
                  <a:pt x="493" y="592"/>
                  <a:pt x="518" y="584"/>
                  <a:pt x="532" y="593"/>
                </a:cubicBezTo>
                <a:cubicBezTo>
                  <a:pt x="551" y="605"/>
                  <a:pt x="567" y="620"/>
                  <a:pt x="588" y="627"/>
                </a:cubicBezTo>
                <a:cubicBezTo>
                  <a:pt x="601" y="632"/>
                  <a:pt x="613" y="633"/>
                  <a:pt x="626" y="634"/>
                </a:cubicBezTo>
                <a:cubicBezTo>
                  <a:pt x="645" y="634"/>
                  <a:pt x="665" y="638"/>
                  <a:pt x="683" y="642"/>
                </a:cubicBezTo>
                <a:cubicBezTo>
                  <a:pt x="702" y="646"/>
                  <a:pt x="724" y="649"/>
                  <a:pt x="732" y="669"/>
                </a:cubicBezTo>
                <a:cubicBezTo>
                  <a:pt x="740" y="689"/>
                  <a:pt x="754" y="706"/>
                  <a:pt x="776" y="694"/>
                </a:cubicBezTo>
                <a:cubicBezTo>
                  <a:pt x="796" y="684"/>
                  <a:pt x="809" y="663"/>
                  <a:pt x="830" y="655"/>
                </a:cubicBezTo>
                <a:cubicBezTo>
                  <a:pt x="848" y="649"/>
                  <a:pt x="864" y="646"/>
                  <a:pt x="880" y="635"/>
                </a:cubicBezTo>
                <a:cubicBezTo>
                  <a:pt x="890" y="628"/>
                  <a:pt x="910" y="614"/>
                  <a:pt x="908" y="601"/>
                </a:cubicBezTo>
                <a:cubicBezTo>
                  <a:pt x="908" y="599"/>
                  <a:pt x="907" y="597"/>
                  <a:pt x="906" y="596"/>
                </a:cubicBezTo>
                <a:cubicBezTo>
                  <a:pt x="929" y="600"/>
                  <a:pt x="954" y="591"/>
                  <a:pt x="967" y="569"/>
                </a:cubicBezTo>
                <a:cubicBezTo>
                  <a:pt x="975" y="556"/>
                  <a:pt x="979" y="536"/>
                  <a:pt x="976" y="522"/>
                </a:cubicBezTo>
                <a:close/>
                <a:moveTo>
                  <a:pt x="875" y="494"/>
                </a:moveTo>
                <a:cubicBezTo>
                  <a:pt x="875" y="495"/>
                  <a:pt x="875" y="495"/>
                  <a:pt x="875" y="496"/>
                </a:cubicBezTo>
                <a:cubicBezTo>
                  <a:pt x="870" y="499"/>
                  <a:pt x="867" y="503"/>
                  <a:pt x="866" y="510"/>
                </a:cubicBezTo>
                <a:cubicBezTo>
                  <a:pt x="866" y="504"/>
                  <a:pt x="870" y="497"/>
                  <a:pt x="875" y="494"/>
                </a:cubicBezTo>
                <a:cubicBezTo>
                  <a:pt x="876" y="494"/>
                  <a:pt x="876" y="494"/>
                  <a:pt x="877" y="493"/>
                </a:cubicBezTo>
                <a:cubicBezTo>
                  <a:pt x="876" y="493"/>
                  <a:pt x="876" y="494"/>
                  <a:pt x="875" y="494"/>
                </a:cubicBezTo>
                <a:close/>
                <a:moveTo>
                  <a:pt x="564" y="377"/>
                </a:moveTo>
                <a:cubicBezTo>
                  <a:pt x="565" y="378"/>
                  <a:pt x="563" y="377"/>
                  <a:pt x="563" y="377"/>
                </a:cubicBezTo>
                <a:cubicBezTo>
                  <a:pt x="563" y="376"/>
                  <a:pt x="562" y="375"/>
                  <a:pt x="562" y="374"/>
                </a:cubicBezTo>
                <a:cubicBezTo>
                  <a:pt x="562" y="375"/>
                  <a:pt x="563" y="376"/>
                  <a:pt x="564" y="377"/>
                </a:cubicBezTo>
                <a:close/>
                <a:moveTo>
                  <a:pt x="555" y="378"/>
                </a:moveTo>
                <a:cubicBezTo>
                  <a:pt x="556" y="378"/>
                  <a:pt x="557" y="378"/>
                  <a:pt x="557" y="377"/>
                </a:cubicBezTo>
                <a:cubicBezTo>
                  <a:pt x="556" y="378"/>
                  <a:pt x="555" y="379"/>
                  <a:pt x="553" y="380"/>
                </a:cubicBezTo>
                <a:cubicBezTo>
                  <a:pt x="554" y="379"/>
                  <a:pt x="555" y="379"/>
                  <a:pt x="555" y="378"/>
                </a:cubicBezTo>
                <a:close/>
                <a:moveTo>
                  <a:pt x="543" y="407"/>
                </a:moveTo>
                <a:cubicBezTo>
                  <a:pt x="539" y="407"/>
                  <a:pt x="536" y="408"/>
                  <a:pt x="533" y="410"/>
                </a:cubicBezTo>
                <a:cubicBezTo>
                  <a:pt x="536" y="408"/>
                  <a:pt x="539" y="407"/>
                  <a:pt x="543" y="407"/>
                </a:cubicBezTo>
                <a:close/>
                <a:moveTo>
                  <a:pt x="527" y="332"/>
                </a:moveTo>
                <a:cubicBezTo>
                  <a:pt x="528" y="331"/>
                  <a:pt x="529" y="331"/>
                  <a:pt x="529" y="330"/>
                </a:cubicBezTo>
                <a:cubicBezTo>
                  <a:pt x="528" y="332"/>
                  <a:pt x="528" y="332"/>
                  <a:pt x="527" y="334"/>
                </a:cubicBezTo>
                <a:cubicBezTo>
                  <a:pt x="527" y="334"/>
                  <a:pt x="527" y="332"/>
                  <a:pt x="527" y="332"/>
                </a:cubicBezTo>
                <a:close/>
                <a:moveTo>
                  <a:pt x="518" y="344"/>
                </a:moveTo>
                <a:cubicBezTo>
                  <a:pt x="517" y="342"/>
                  <a:pt x="517" y="341"/>
                  <a:pt x="517" y="339"/>
                </a:cubicBezTo>
                <a:cubicBezTo>
                  <a:pt x="517" y="341"/>
                  <a:pt x="517" y="342"/>
                  <a:pt x="518" y="344"/>
                </a:cubicBezTo>
                <a:close/>
                <a:moveTo>
                  <a:pt x="462" y="274"/>
                </a:moveTo>
                <a:cubicBezTo>
                  <a:pt x="462" y="277"/>
                  <a:pt x="460" y="279"/>
                  <a:pt x="457" y="281"/>
                </a:cubicBezTo>
                <a:cubicBezTo>
                  <a:pt x="457" y="277"/>
                  <a:pt x="458" y="275"/>
                  <a:pt x="462" y="274"/>
                </a:cubicBezTo>
                <a:close/>
                <a:moveTo>
                  <a:pt x="190" y="93"/>
                </a:moveTo>
                <a:cubicBezTo>
                  <a:pt x="189" y="91"/>
                  <a:pt x="189" y="90"/>
                  <a:pt x="187" y="90"/>
                </a:cubicBezTo>
                <a:cubicBezTo>
                  <a:pt x="186" y="90"/>
                  <a:pt x="185" y="90"/>
                  <a:pt x="184" y="90"/>
                </a:cubicBezTo>
                <a:cubicBezTo>
                  <a:pt x="186" y="90"/>
                  <a:pt x="187" y="90"/>
                  <a:pt x="187" y="90"/>
                </a:cubicBezTo>
                <a:cubicBezTo>
                  <a:pt x="188" y="90"/>
                  <a:pt x="189" y="90"/>
                  <a:pt x="189" y="90"/>
                </a:cubicBezTo>
                <a:cubicBezTo>
                  <a:pt x="190" y="91"/>
                  <a:pt x="190" y="92"/>
                  <a:pt x="190" y="93"/>
                </a:cubicBezTo>
                <a:close/>
                <a:moveTo>
                  <a:pt x="264" y="150"/>
                </a:moveTo>
                <a:cubicBezTo>
                  <a:pt x="263" y="149"/>
                  <a:pt x="262" y="149"/>
                  <a:pt x="261" y="148"/>
                </a:cubicBezTo>
                <a:cubicBezTo>
                  <a:pt x="261" y="148"/>
                  <a:pt x="262" y="148"/>
                  <a:pt x="263" y="149"/>
                </a:cubicBezTo>
                <a:cubicBezTo>
                  <a:pt x="263" y="149"/>
                  <a:pt x="264" y="149"/>
                  <a:pt x="264" y="150"/>
                </a:cubicBezTo>
                <a:cubicBezTo>
                  <a:pt x="270" y="153"/>
                  <a:pt x="276" y="158"/>
                  <a:pt x="281" y="161"/>
                </a:cubicBezTo>
                <a:cubicBezTo>
                  <a:pt x="275" y="157"/>
                  <a:pt x="270" y="154"/>
                  <a:pt x="264" y="150"/>
                </a:cubicBezTo>
                <a:close/>
                <a:moveTo>
                  <a:pt x="334" y="203"/>
                </a:moveTo>
                <a:cubicBezTo>
                  <a:pt x="334" y="203"/>
                  <a:pt x="333" y="202"/>
                  <a:pt x="332" y="201"/>
                </a:cubicBezTo>
                <a:cubicBezTo>
                  <a:pt x="334" y="202"/>
                  <a:pt x="335" y="204"/>
                  <a:pt x="337" y="206"/>
                </a:cubicBezTo>
                <a:cubicBezTo>
                  <a:pt x="336" y="205"/>
                  <a:pt x="335" y="204"/>
                  <a:pt x="334" y="203"/>
                </a:cubicBezTo>
                <a:close/>
                <a:moveTo>
                  <a:pt x="397" y="228"/>
                </a:moveTo>
                <a:cubicBezTo>
                  <a:pt x="398" y="228"/>
                  <a:pt x="398" y="228"/>
                  <a:pt x="399" y="228"/>
                </a:cubicBezTo>
                <a:cubicBezTo>
                  <a:pt x="398" y="228"/>
                  <a:pt x="398" y="229"/>
                  <a:pt x="397" y="228"/>
                </a:cubicBezTo>
                <a:close/>
                <a:moveTo>
                  <a:pt x="399" y="227"/>
                </a:moveTo>
                <a:cubicBezTo>
                  <a:pt x="400" y="226"/>
                  <a:pt x="399" y="224"/>
                  <a:pt x="399" y="223"/>
                </a:cubicBezTo>
                <a:cubicBezTo>
                  <a:pt x="400" y="224"/>
                  <a:pt x="400" y="226"/>
                  <a:pt x="399" y="227"/>
                </a:cubicBezTo>
                <a:close/>
                <a:moveTo>
                  <a:pt x="409" y="315"/>
                </a:moveTo>
                <a:cubicBezTo>
                  <a:pt x="409" y="316"/>
                  <a:pt x="412" y="315"/>
                  <a:pt x="409" y="315"/>
                </a:cubicBezTo>
                <a:close/>
                <a:moveTo>
                  <a:pt x="410" y="242"/>
                </a:moveTo>
                <a:cubicBezTo>
                  <a:pt x="411" y="241"/>
                  <a:pt x="412" y="241"/>
                  <a:pt x="412" y="240"/>
                </a:cubicBezTo>
                <a:cubicBezTo>
                  <a:pt x="413" y="239"/>
                  <a:pt x="412" y="241"/>
                  <a:pt x="410" y="242"/>
                </a:cubicBezTo>
                <a:close/>
                <a:moveTo>
                  <a:pt x="370" y="429"/>
                </a:moveTo>
                <a:cubicBezTo>
                  <a:pt x="368" y="428"/>
                  <a:pt x="368" y="427"/>
                  <a:pt x="368" y="426"/>
                </a:cubicBezTo>
                <a:cubicBezTo>
                  <a:pt x="368" y="427"/>
                  <a:pt x="370" y="427"/>
                  <a:pt x="370" y="429"/>
                </a:cubicBezTo>
                <a:cubicBezTo>
                  <a:pt x="371" y="430"/>
                  <a:pt x="371" y="431"/>
                  <a:pt x="372" y="432"/>
                </a:cubicBezTo>
                <a:cubicBezTo>
                  <a:pt x="371" y="431"/>
                  <a:pt x="370" y="431"/>
                  <a:pt x="370" y="429"/>
                </a:cubicBezTo>
                <a:close/>
                <a:moveTo>
                  <a:pt x="197" y="738"/>
                </a:moveTo>
                <a:cubicBezTo>
                  <a:pt x="198" y="738"/>
                  <a:pt x="199" y="738"/>
                  <a:pt x="200" y="737"/>
                </a:cubicBezTo>
                <a:cubicBezTo>
                  <a:pt x="199" y="738"/>
                  <a:pt x="198" y="738"/>
                  <a:pt x="197" y="738"/>
                </a:cubicBezTo>
                <a:close/>
                <a:moveTo>
                  <a:pt x="201" y="737"/>
                </a:moveTo>
                <a:cubicBezTo>
                  <a:pt x="201" y="737"/>
                  <a:pt x="202" y="736"/>
                  <a:pt x="203" y="735"/>
                </a:cubicBezTo>
                <a:cubicBezTo>
                  <a:pt x="205" y="735"/>
                  <a:pt x="203" y="736"/>
                  <a:pt x="201" y="737"/>
                </a:cubicBezTo>
                <a:close/>
                <a:moveTo>
                  <a:pt x="328" y="721"/>
                </a:moveTo>
                <a:cubicBezTo>
                  <a:pt x="328" y="721"/>
                  <a:pt x="328" y="721"/>
                  <a:pt x="327" y="721"/>
                </a:cubicBezTo>
                <a:cubicBezTo>
                  <a:pt x="327" y="721"/>
                  <a:pt x="327" y="721"/>
                  <a:pt x="327" y="721"/>
                </a:cubicBezTo>
                <a:cubicBezTo>
                  <a:pt x="326" y="722"/>
                  <a:pt x="327" y="722"/>
                  <a:pt x="327" y="721"/>
                </a:cubicBezTo>
                <a:cubicBezTo>
                  <a:pt x="329" y="720"/>
                  <a:pt x="328" y="720"/>
                  <a:pt x="328" y="718"/>
                </a:cubicBezTo>
                <a:cubicBezTo>
                  <a:pt x="328" y="719"/>
                  <a:pt x="328" y="720"/>
                  <a:pt x="328" y="721"/>
                </a:cubicBezTo>
                <a:close/>
                <a:moveTo>
                  <a:pt x="352" y="470"/>
                </a:moveTo>
                <a:cubicBezTo>
                  <a:pt x="352" y="469"/>
                  <a:pt x="352" y="469"/>
                  <a:pt x="352" y="470"/>
                </a:cubicBezTo>
                <a:close/>
                <a:moveTo>
                  <a:pt x="357" y="469"/>
                </a:moveTo>
                <a:cubicBezTo>
                  <a:pt x="356" y="469"/>
                  <a:pt x="357" y="467"/>
                  <a:pt x="357" y="469"/>
                </a:cubicBezTo>
                <a:close/>
                <a:moveTo>
                  <a:pt x="359" y="450"/>
                </a:moveTo>
                <a:cubicBezTo>
                  <a:pt x="361" y="451"/>
                  <a:pt x="362" y="450"/>
                  <a:pt x="363" y="452"/>
                </a:cubicBezTo>
                <a:cubicBezTo>
                  <a:pt x="360" y="453"/>
                  <a:pt x="361" y="451"/>
                  <a:pt x="359" y="450"/>
                </a:cubicBezTo>
                <a:close/>
                <a:moveTo>
                  <a:pt x="363" y="488"/>
                </a:moveTo>
                <a:cubicBezTo>
                  <a:pt x="366" y="486"/>
                  <a:pt x="370" y="486"/>
                  <a:pt x="374" y="486"/>
                </a:cubicBezTo>
                <a:cubicBezTo>
                  <a:pt x="370" y="486"/>
                  <a:pt x="366" y="486"/>
                  <a:pt x="363" y="488"/>
                </a:cubicBezTo>
                <a:close/>
                <a:moveTo>
                  <a:pt x="383" y="408"/>
                </a:moveTo>
                <a:cubicBezTo>
                  <a:pt x="383" y="409"/>
                  <a:pt x="383" y="410"/>
                  <a:pt x="383" y="411"/>
                </a:cubicBezTo>
                <a:cubicBezTo>
                  <a:pt x="383" y="410"/>
                  <a:pt x="382" y="409"/>
                  <a:pt x="383" y="408"/>
                </a:cubicBezTo>
                <a:close/>
                <a:moveTo>
                  <a:pt x="383" y="473"/>
                </a:moveTo>
                <a:cubicBezTo>
                  <a:pt x="382" y="471"/>
                  <a:pt x="383" y="473"/>
                  <a:pt x="383" y="473"/>
                </a:cubicBezTo>
                <a:cubicBezTo>
                  <a:pt x="385" y="474"/>
                  <a:pt x="388" y="475"/>
                  <a:pt x="390" y="475"/>
                </a:cubicBezTo>
                <a:cubicBezTo>
                  <a:pt x="388" y="475"/>
                  <a:pt x="385" y="474"/>
                  <a:pt x="383" y="473"/>
                </a:cubicBezTo>
                <a:close/>
                <a:moveTo>
                  <a:pt x="413" y="472"/>
                </a:moveTo>
                <a:cubicBezTo>
                  <a:pt x="413" y="472"/>
                  <a:pt x="412" y="472"/>
                  <a:pt x="411" y="472"/>
                </a:cubicBezTo>
                <a:cubicBezTo>
                  <a:pt x="409" y="473"/>
                  <a:pt x="408" y="474"/>
                  <a:pt x="406" y="474"/>
                </a:cubicBezTo>
                <a:cubicBezTo>
                  <a:pt x="407" y="474"/>
                  <a:pt x="409" y="473"/>
                  <a:pt x="411" y="472"/>
                </a:cubicBezTo>
                <a:cubicBezTo>
                  <a:pt x="412" y="471"/>
                  <a:pt x="413" y="470"/>
                  <a:pt x="412" y="468"/>
                </a:cubicBezTo>
                <a:cubicBezTo>
                  <a:pt x="413" y="470"/>
                  <a:pt x="411" y="470"/>
                  <a:pt x="413" y="472"/>
                </a:cubicBezTo>
                <a:close/>
                <a:moveTo>
                  <a:pt x="412" y="453"/>
                </a:moveTo>
                <a:cubicBezTo>
                  <a:pt x="411" y="454"/>
                  <a:pt x="410" y="455"/>
                  <a:pt x="409" y="455"/>
                </a:cubicBezTo>
                <a:cubicBezTo>
                  <a:pt x="406" y="456"/>
                  <a:pt x="403" y="457"/>
                  <a:pt x="400" y="459"/>
                </a:cubicBezTo>
                <a:cubicBezTo>
                  <a:pt x="404" y="457"/>
                  <a:pt x="408" y="455"/>
                  <a:pt x="412" y="453"/>
                </a:cubicBezTo>
                <a:close/>
                <a:moveTo>
                  <a:pt x="409" y="465"/>
                </a:moveTo>
                <a:cubicBezTo>
                  <a:pt x="409" y="465"/>
                  <a:pt x="408" y="465"/>
                  <a:pt x="407" y="466"/>
                </a:cubicBezTo>
                <a:cubicBezTo>
                  <a:pt x="403" y="465"/>
                  <a:pt x="399" y="465"/>
                  <a:pt x="396" y="464"/>
                </a:cubicBezTo>
                <a:cubicBezTo>
                  <a:pt x="401" y="465"/>
                  <a:pt x="405" y="465"/>
                  <a:pt x="409" y="465"/>
                </a:cubicBezTo>
                <a:close/>
                <a:moveTo>
                  <a:pt x="403" y="475"/>
                </a:moveTo>
                <a:cubicBezTo>
                  <a:pt x="404" y="478"/>
                  <a:pt x="405" y="479"/>
                  <a:pt x="407" y="480"/>
                </a:cubicBezTo>
                <a:cubicBezTo>
                  <a:pt x="406" y="479"/>
                  <a:pt x="404" y="478"/>
                  <a:pt x="403" y="475"/>
                </a:cubicBezTo>
                <a:close/>
                <a:moveTo>
                  <a:pt x="409" y="670"/>
                </a:moveTo>
                <a:cubicBezTo>
                  <a:pt x="409" y="669"/>
                  <a:pt x="410" y="670"/>
                  <a:pt x="410" y="671"/>
                </a:cubicBezTo>
                <a:cubicBezTo>
                  <a:pt x="412" y="671"/>
                  <a:pt x="413" y="672"/>
                  <a:pt x="415" y="673"/>
                </a:cubicBezTo>
                <a:cubicBezTo>
                  <a:pt x="413" y="672"/>
                  <a:pt x="411" y="671"/>
                  <a:pt x="409" y="670"/>
                </a:cubicBezTo>
                <a:close/>
                <a:moveTo>
                  <a:pt x="442" y="260"/>
                </a:moveTo>
                <a:cubicBezTo>
                  <a:pt x="443" y="258"/>
                  <a:pt x="442" y="261"/>
                  <a:pt x="441" y="261"/>
                </a:cubicBezTo>
                <a:cubicBezTo>
                  <a:pt x="440" y="262"/>
                  <a:pt x="439" y="261"/>
                  <a:pt x="438" y="263"/>
                </a:cubicBezTo>
                <a:cubicBezTo>
                  <a:pt x="439" y="262"/>
                  <a:pt x="441" y="261"/>
                  <a:pt x="442" y="260"/>
                </a:cubicBezTo>
                <a:close/>
                <a:moveTo>
                  <a:pt x="423" y="252"/>
                </a:moveTo>
                <a:cubicBezTo>
                  <a:pt x="423" y="253"/>
                  <a:pt x="423" y="254"/>
                  <a:pt x="422" y="255"/>
                </a:cubicBezTo>
                <a:cubicBezTo>
                  <a:pt x="422" y="255"/>
                  <a:pt x="421" y="255"/>
                  <a:pt x="421" y="256"/>
                </a:cubicBezTo>
                <a:cubicBezTo>
                  <a:pt x="422" y="255"/>
                  <a:pt x="423" y="254"/>
                  <a:pt x="423" y="252"/>
                </a:cubicBezTo>
                <a:close/>
                <a:moveTo>
                  <a:pt x="422" y="454"/>
                </a:moveTo>
                <a:cubicBezTo>
                  <a:pt x="422" y="454"/>
                  <a:pt x="421" y="454"/>
                  <a:pt x="420" y="454"/>
                </a:cubicBezTo>
                <a:cubicBezTo>
                  <a:pt x="422" y="454"/>
                  <a:pt x="423" y="453"/>
                  <a:pt x="424" y="452"/>
                </a:cubicBezTo>
                <a:cubicBezTo>
                  <a:pt x="423" y="453"/>
                  <a:pt x="423" y="454"/>
                  <a:pt x="422" y="454"/>
                </a:cubicBezTo>
                <a:close/>
                <a:moveTo>
                  <a:pt x="426" y="467"/>
                </a:moveTo>
                <a:cubicBezTo>
                  <a:pt x="427" y="465"/>
                  <a:pt x="427" y="465"/>
                  <a:pt x="426" y="467"/>
                </a:cubicBezTo>
                <a:close/>
                <a:moveTo>
                  <a:pt x="433" y="363"/>
                </a:moveTo>
                <a:cubicBezTo>
                  <a:pt x="430" y="356"/>
                  <a:pt x="424" y="346"/>
                  <a:pt x="424" y="338"/>
                </a:cubicBezTo>
                <a:cubicBezTo>
                  <a:pt x="428" y="343"/>
                  <a:pt x="435" y="357"/>
                  <a:pt x="433" y="363"/>
                </a:cubicBezTo>
                <a:close/>
                <a:moveTo>
                  <a:pt x="447" y="475"/>
                </a:moveTo>
                <a:cubicBezTo>
                  <a:pt x="446" y="475"/>
                  <a:pt x="446" y="476"/>
                  <a:pt x="445" y="476"/>
                </a:cubicBezTo>
                <a:cubicBezTo>
                  <a:pt x="442" y="479"/>
                  <a:pt x="438" y="482"/>
                  <a:pt x="435" y="483"/>
                </a:cubicBezTo>
                <a:cubicBezTo>
                  <a:pt x="439" y="482"/>
                  <a:pt x="442" y="479"/>
                  <a:pt x="445" y="476"/>
                </a:cubicBezTo>
                <a:cubicBezTo>
                  <a:pt x="447" y="474"/>
                  <a:pt x="449" y="472"/>
                  <a:pt x="449" y="469"/>
                </a:cubicBezTo>
                <a:cubicBezTo>
                  <a:pt x="449" y="472"/>
                  <a:pt x="448" y="473"/>
                  <a:pt x="447" y="475"/>
                </a:cubicBezTo>
                <a:close/>
                <a:moveTo>
                  <a:pt x="450" y="467"/>
                </a:moveTo>
                <a:cubicBezTo>
                  <a:pt x="451" y="466"/>
                  <a:pt x="451" y="466"/>
                  <a:pt x="452" y="466"/>
                </a:cubicBezTo>
                <a:cubicBezTo>
                  <a:pt x="451" y="466"/>
                  <a:pt x="451" y="467"/>
                  <a:pt x="450" y="467"/>
                </a:cubicBezTo>
                <a:close/>
                <a:moveTo>
                  <a:pt x="455" y="465"/>
                </a:moveTo>
                <a:cubicBezTo>
                  <a:pt x="455" y="465"/>
                  <a:pt x="454" y="465"/>
                  <a:pt x="454" y="465"/>
                </a:cubicBezTo>
                <a:cubicBezTo>
                  <a:pt x="454" y="465"/>
                  <a:pt x="454" y="465"/>
                  <a:pt x="454" y="465"/>
                </a:cubicBezTo>
                <a:cubicBezTo>
                  <a:pt x="454" y="465"/>
                  <a:pt x="456" y="466"/>
                  <a:pt x="455" y="465"/>
                </a:cubicBezTo>
                <a:close/>
                <a:moveTo>
                  <a:pt x="472" y="472"/>
                </a:moveTo>
                <a:cubicBezTo>
                  <a:pt x="474" y="472"/>
                  <a:pt x="474" y="471"/>
                  <a:pt x="474" y="470"/>
                </a:cubicBezTo>
                <a:cubicBezTo>
                  <a:pt x="474" y="468"/>
                  <a:pt x="474" y="466"/>
                  <a:pt x="472" y="464"/>
                </a:cubicBezTo>
                <a:cubicBezTo>
                  <a:pt x="474" y="466"/>
                  <a:pt x="475" y="469"/>
                  <a:pt x="474" y="470"/>
                </a:cubicBezTo>
                <a:cubicBezTo>
                  <a:pt x="474" y="471"/>
                  <a:pt x="475" y="471"/>
                  <a:pt x="475" y="472"/>
                </a:cubicBezTo>
                <a:cubicBezTo>
                  <a:pt x="474" y="472"/>
                  <a:pt x="473" y="472"/>
                  <a:pt x="472" y="472"/>
                </a:cubicBezTo>
                <a:close/>
                <a:moveTo>
                  <a:pt x="480" y="504"/>
                </a:moveTo>
                <a:cubicBezTo>
                  <a:pt x="480" y="503"/>
                  <a:pt x="479" y="504"/>
                  <a:pt x="480" y="503"/>
                </a:cubicBezTo>
                <a:cubicBezTo>
                  <a:pt x="481" y="502"/>
                  <a:pt x="480" y="503"/>
                  <a:pt x="480" y="504"/>
                </a:cubicBezTo>
                <a:close/>
                <a:moveTo>
                  <a:pt x="483" y="501"/>
                </a:moveTo>
                <a:cubicBezTo>
                  <a:pt x="483" y="501"/>
                  <a:pt x="483" y="501"/>
                  <a:pt x="484" y="501"/>
                </a:cubicBezTo>
                <a:cubicBezTo>
                  <a:pt x="483" y="502"/>
                  <a:pt x="483" y="503"/>
                  <a:pt x="483" y="501"/>
                </a:cubicBezTo>
                <a:close/>
                <a:moveTo>
                  <a:pt x="490" y="332"/>
                </a:moveTo>
                <a:cubicBezTo>
                  <a:pt x="491" y="331"/>
                  <a:pt x="491" y="330"/>
                  <a:pt x="490" y="332"/>
                </a:cubicBezTo>
                <a:close/>
                <a:moveTo>
                  <a:pt x="524" y="581"/>
                </a:moveTo>
                <a:cubicBezTo>
                  <a:pt x="525" y="582"/>
                  <a:pt x="525" y="583"/>
                  <a:pt x="524" y="581"/>
                </a:cubicBezTo>
                <a:close/>
                <a:moveTo>
                  <a:pt x="560" y="568"/>
                </a:moveTo>
                <a:cubicBezTo>
                  <a:pt x="561" y="566"/>
                  <a:pt x="561" y="565"/>
                  <a:pt x="562" y="564"/>
                </a:cubicBezTo>
                <a:cubicBezTo>
                  <a:pt x="562" y="563"/>
                  <a:pt x="561" y="567"/>
                  <a:pt x="560" y="568"/>
                </a:cubicBezTo>
                <a:close/>
                <a:moveTo>
                  <a:pt x="563" y="558"/>
                </a:moveTo>
                <a:cubicBezTo>
                  <a:pt x="561" y="557"/>
                  <a:pt x="560" y="556"/>
                  <a:pt x="559" y="555"/>
                </a:cubicBezTo>
                <a:cubicBezTo>
                  <a:pt x="560" y="556"/>
                  <a:pt x="565" y="559"/>
                  <a:pt x="563" y="558"/>
                </a:cubicBezTo>
                <a:close/>
                <a:moveTo>
                  <a:pt x="563" y="540"/>
                </a:moveTo>
                <a:cubicBezTo>
                  <a:pt x="563" y="539"/>
                  <a:pt x="564" y="538"/>
                  <a:pt x="564" y="538"/>
                </a:cubicBezTo>
                <a:cubicBezTo>
                  <a:pt x="564" y="537"/>
                  <a:pt x="564" y="537"/>
                  <a:pt x="564" y="537"/>
                </a:cubicBezTo>
                <a:cubicBezTo>
                  <a:pt x="564" y="537"/>
                  <a:pt x="564" y="538"/>
                  <a:pt x="564" y="538"/>
                </a:cubicBezTo>
                <a:cubicBezTo>
                  <a:pt x="564" y="538"/>
                  <a:pt x="563" y="540"/>
                  <a:pt x="563" y="540"/>
                </a:cubicBezTo>
                <a:close/>
                <a:moveTo>
                  <a:pt x="564" y="558"/>
                </a:moveTo>
                <a:cubicBezTo>
                  <a:pt x="565" y="558"/>
                  <a:pt x="564" y="557"/>
                  <a:pt x="565" y="558"/>
                </a:cubicBezTo>
                <a:cubicBezTo>
                  <a:pt x="566" y="559"/>
                  <a:pt x="565" y="558"/>
                  <a:pt x="564" y="558"/>
                </a:cubicBezTo>
                <a:close/>
                <a:moveTo>
                  <a:pt x="609" y="566"/>
                </a:moveTo>
                <a:cubicBezTo>
                  <a:pt x="609" y="564"/>
                  <a:pt x="610" y="563"/>
                  <a:pt x="608" y="564"/>
                </a:cubicBezTo>
                <a:cubicBezTo>
                  <a:pt x="611" y="563"/>
                  <a:pt x="609" y="564"/>
                  <a:pt x="609" y="566"/>
                </a:cubicBezTo>
                <a:close/>
                <a:moveTo>
                  <a:pt x="740" y="612"/>
                </a:moveTo>
                <a:cubicBezTo>
                  <a:pt x="740" y="610"/>
                  <a:pt x="741" y="610"/>
                  <a:pt x="742" y="609"/>
                </a:cubicBezTo>
                <a:cubicBezTo>
                  <a:pt x="743" y="608"/>
                  <a:pt x="744" y="609"/>
                  <a:pt x="746" y="609"/>
                </a:cubicBezTo>
                <a:cubicBezTo>
                  <a:pt x="742" y="608"/>
                  <a:pt x="742" y="609"/>
                  <a:pt x="740" y="612"/>
                </a:cubicBezTo>
                <a:close/>
                <a:moveTo>
                  <a:pt x="895" y="617"/>
                </a:moveTo>
                <a:cubicBezTo>
                  <a:pt x="894" y="617"/>
                  <a:pt x="894" y="617"/>
                  <a:pt x="894" y="617"/>
                </a:cubicBezTo>
                <a:cubicBezTo>
                  <a:pt x="894" y="617"/>
                  <a:pt x="893" y="617"/>
                  <a:pt x="893" y="617"/>
                </a:cubicBezTo>
                <a:cubicBezTo>
                  <a:pt x="894" y="617"/>
                  <a:pt x="893" y="615"/>
                  <a:pt x="894" y="617"/>
                </a:cubicBezTo>
                <a:cubicBezTo>
                  <a:pt x="895" y="617"/>
                  <a:pt x="895" y="617"/>
                  <a:pt x="895" y="61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799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466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364">
            <a:extLst>
              <a:ext uri="{FF2B5EF4-FFF2-40B4-BE49-F238E27FC236}">
                <a16:creationId xmlns:a16="http://schemas.microsoft.com/office/drawing/2014/main" id="{1176C3B8-EFCC-C449-8CF0-2BE598A2F51B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5664008" y="621013"/>
            <a:ext cx="6155882" cy="6236987"/>
          </a:xfrm>
          <a:custGeom>
            <a:avLst/>
            <a:gdLst>
              <a:gd name="T0" fmla="*/ 718 w 745"/>
              <a:gd name="T1" fmla="*/ 154 h 705"/>
              <a:gd name="T2" fmla="*/ 661 w 745"/>
              <a:gd name="T3" fmla="*/ 190 h 705"/>
              <a:gd name="T4" fmla="*/ 547 w 745"/>
              <a:gd name="T5" fmla="*/ 230 h 705"/>
              <a:gd name="T6" fmla="*/ 654 w 745"/>
              <a:gd name="T7" fmla="*/ 146 h 705"/>
              <a:gd name="T8" fmla="*/ 693 w 745"/>
              <a:gd name="T9" fmla="*/ 90 h 705"/>
              <a:gd name="T10" fmla="*/ 585 w 745"/>
              <a:gd name="T11" fmla="*/ 41 h 705"/>
              <a:gd name="T12" fmla="*/ 439 w 745"/>
              <a:gd name="T13" fmla="*/ 63 h 705"/>
              <a:gd name="T14" fmla="*/ 224 w 745"/>
              <a:gd name="T15" fmla="*/ 56 h 705"/>
              <a:gd name="T16" fmla="*/ 102 w 745"/>
              <a:gd name="T17" fmla="*/ 54 h 705"/>
              <a:gd name="T18" fmla="*/ 69 w 745"/>
              <a:gd name="T19" fmla="*/ 71 h 705"/>
              <a:gd name="T20" fmla="*/ 68 w 745"/>
              <a:gd name="T21" fmla="*/ 106 h 705"/>
              <a:gd name="T22" fmla="*/ 157 w 745"/>
              <a:gd name="T23" fmla="*/ 115 h 705"/>
              <a:gd name="T24" fmla="*/ 249 w 745"/>
              <a:gd name="T25" fmla="*/ 166 h 705"/>
              <a:gd name="T26" fmla="*/ 182 w 745"/>
              <a:gd name="T27" fmla="*/ 416 h 705"/>
              <a:gd name="T28" fmla="*/ 280 w 745"/>
              <a:gd name="T29" fmla="*/ 405 h 705"/>
              <a:gd name="T30" fmla="*/ 423 w 745"/>
              <a:gd name="T31" fmla="*/ 393 h 705"/>
              <a:gd name="T32" fmla="*/ 337 w 745"/>
              <a:gd name="T33" fmla="*/ 421 h 705"/>
              <a:gd name="T34" fmla="*/ 209 w 745"/>
              <a:gd name="T35" fmla="*/ 426 h 705"/>
              <a:gd name="T36" fmla="*/ 146 w 745"/>
              <a:gd name="T37" fmla="*/ 436 h 705"/>
              <a:gd name="T38" fmla="*/ 139 w 745"/>
              <a:gd name="T39" fmla="*/ 488 h 705"/>
              <a:gd name="T40" fmla="*/ 31 w 745"/>
              <a:gd name="T41" fmla="*/ 612 h 705"/>
              <a:gd name="T42" fmla="*/ 57 w 745"/>
              <a:gd name="T43" fmla="*/ 669 h 705"/>
              <a:gd name="T44" fmla="*/ 83 w 745"/>
              <a:gd name="T45" fmla="*/ 695 h 705"/>
              <a:gd name="T46" fmla="*/ 93 w 745"/>
              <a:gd name="T47" fmla="*/ 705 h 705"/>
              <a:gd name="T48" fmla="*/ 160 w 745"/>
              <a:gd name="T49" fmla="*/ 671 h 705"/>
              <a:gd name="T50" fmla="*/ 127 w 745"/>
              <a:gd name="T51" fmla="*/ 636 h 705"/>
              <a:gd name="T52" fmla="*/ 177 w 745"/>
              <a:gd name="T53" fmla="*/ 580 h 705"/>
              <a:gd name="T54" fmla="*/ 256 w 745"/>
              <a:gd name="T55" fmla="*/ 538 h 705"/>
              <a:gd name="T56" fmla="*/ 453 w 745"/>
              <a:gd name="T57" fmla="*/ 462 h 705"/>
              <a:gd name="T58" fmla="*/ 388 w 745"/>
              <a:gd name="T59" fmla="*/ 285 h 705"/>
              <a:gd name="T60" fmla="*/ 422 w 745"/>
              <a:gd name="T61" fmla="*/ 224 h 705"/>
              <a:gd name="T62" fmla="*/ 577 w 745"/>
              <a:gd name="T63" fmla="*/ 337 h 705"/>
              <a:gd name="T64" fmla="*/ 682 w 745"/>
              <a:gd name="T65" fmla="*/ 54 h 705"/>
              <a:gd name="T66" fmla="*/ 671 w 745"/>
              <a:gd name="T67" fmla="*/ 107 h 705"/>
              <a:gd name="T68" fmla="*/ 612 w 745"/>
              <a:gd name="T69" fmla="*/ 68 h 705"/>
              <a:gd name="T70" fmla="*/ 612 w 745"/>
              <a:gd name="T71" fmla="*/ 68 h 705"/>
              <a:gd name="T72" fmla="*/ 610 w 745"/>
              <a:gd name="T73" fmla="*/ 57 h 705"/>
              <a:gd name="T74" fmla="*/ 204 w 745"/>
              <a:gd name="T75" fmla="*/ 332 h 705"/>
              <a:gd name="T76" fmla="*/ 82 w 745"/>
              <a:gd name="T77" fmla="*/ 667 h 705"/>
              <a:gd name="T78" fmla="*/ 95 w 745"/>
              <a:gd name="T79" fmla="*/ 634 h 705"/>
              <a:gd name="T80" fmla="*/ 125 w 745"/>
              <a:gd name="T81" fmla="*/ 661 h 705"/>
              <a:gd name="T82" fmla="*/ 121 w 745"/>
              <a:gd name="T83" fmla="*/ 666 h 705"/>
              <a:gd name="T84" fmla="*/ 135 w 745"/>
              <a:gd name="T85" fmla="*/ 672 h 705"/>
              <a:gd name="T86" fmla="*/ 106 w 745"/>
              <a:gd name="T87" fmla="*/ 674 h 705"/>
              <a:gd name="T88" fmla="*/ 160 w 745"/>
              <a:gd name="T89" fmla="*/ 565 h 705"/>
              <a:gd name="T90" fmla="*/ 259 w 745"/>
              <a:gd name="T91" fmla="*/ 524 h 705"/>
              <a:gd name="T92" fmla="*/ 377 w 745"/>
              <a:gd name="T93" fmla="*/ 471 h 705"/>
              <a:gd name="T94" fmla="*/ 382 w 745"/>
              <a:gd name="T95" fmla="*/ 358 h 705"/>
              <a:gd name="T96" fmla="*/ 261 w 745"/>
              <a:gd name="T97" fmla="*/ 239 h 705"/>
              <a:gd name="T98" fmla="*/ 278 w 745"/>
              <a:gd name="T99" fmla="*/ 265 h 705"/>
              <a:gd name="T100" fmla="*/ 289 w 745"/>
              <a:gd name="T101" fmla="*/ 280 h 705"/>
              <a:gd name="T102" fmla="*/ 315 w 745"/>
              <a:gd name="T103" fmla="*/ 239 h 705"/>
              <a:gd name="T104" fmla="*/ 350 w 745"/>
              <a:gd name="T105" fmla="*/ 321 h 705"/>
              <a:gd name="T106" fmla="*/ 463 w 745"/>
              <a:gd name="T107" fmla="*/ 169 h 705"/>
              <a:gd name="T108" fmla="*/ 402 w 745"/>
              <a:gd name="T109" fmla="*/ 177 h 705"/>
              <a:gd name="T110" fmla="*/ 344 w 745"/>
              <a:gd name="T111" fmla="*/ 175 h 705"/>
              <a:gd name="T112" fmla="*/ 276 w 745"/>
              <a:gd name="T113" fmla="*/ 177 h 705"/>
              <a:gd name="T114" fmla="*/ 301 w 745"/>
              <a:gd name="T115" fmla="*/ 155 h 705"/>
              <a:gd name="T116" fmla="*/ 463 w 745"/>
              <a:gd name="T117" fmla="*/ 169 h 7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45" h="705">
                <a:moveTo>
                  <a:pt x="740" y="177"/>
                </a:moveTo>
                <a:cubicBezTo>
                  <a:pt x="732" y="174"/>
                  <a:pt x="721" y="195"/>
                  <a:pt x="715" y="199"/>
                </a:cubicBezTo>
                <a:cubicBezTo>
                  <a:pt x="712" y="193"/>
                  <a:pt x="722" y="184"/>
                  <a:pt x="724" y="178"/>
                </a:cubicBezTo>
                <a:cubicBezTo>
                  <a:pt x="726" y="174"/>
                  <a:pt x="735" y="158"/>
                  <a:pt x="732" y="154"/>
                </a:cubicBezTo>
                <a:cubicBezTo>
                  <a:pt x="725" y="144"/>
                  <a:pt x="710" y="181"/>
                  <a:pt x="706" y="186"/>
                </a:cubicBezTo>
                <a:cubicBezTo>
                  <a:pt x="706" y="185"/>
                  <a:pt x="705" y="185"/>
                  <a:pt x="705" y="185"/>
                </a:cubicBezTo>
                <a:cubicBezTo>
                  <a:pt x="708" y="174"/>
                  <a:pt x="714" y="164"/>
                  <a:pt x="718" y="154"/>
                </a:cubicBezTo>
                <a:cubicBezTo>
                  <a:pt x="719" y="149"/>
                  <a:pt x="725" y="133"/>
                  <a:pt x="713" y="140"/>
                </a:cubicBezTo>
                <a:cubicBezTo>
                  <a:pt x="712" y="141"/>
                  <a:pt x="711" y="145"/>
                  <a:pt x="709" y="147"/>
                </a:cubicBezTo>
                <a:cubicBezTo>
                  <a:pt x="706" y="149"/>
                  <a:pt x="701" y="151"/>
                  <a:pt x="698" y="154"/>
                </a:cubicBezTo>
                <a:cubicBezTo>
                  <a:pt x="688" y="162"/>
                  <a:pt x="682" y="175"/>
                  <a:pt x="676" y="187"/>
                </a:cubicBezTo>
                <a:cubicBezTo>
                  <a:pt x="676" y="182"/>
                  <a:pt x="667" y="161"/>
                  <a:pt x="659" y="165"/>
                </a:cubicBezTo>
                <a:cubicBezTo>
                  <a:pt x="654" y="168"/>
                  <a:pt x="660" y="172"/>
                  <a:pt x="661" y="174"/>
                </a:cubicBezTo>
                <a:cubicBezTo>
                  <a:pt x="663" y="181"/>
                  <a:pt x="663" y="184"/>
                  <a:pt x="661" y="190"/>
                </a:cubicBezTo>
                <a:cubicBezTo>
                  <a:pt x="658" y="202"/>
                  <a:pt x="658" y="206"/>
                  <a:pt x="660" y="217"/>
                </a:cubicBezTo>
                <a:cubicBezTo>
                  <a:pt x="661" y="224"/>
                  <a:pt x="662" y="228"/>
                  <a:pt x="657" y="233"/>
                </a:cubicBezTo>
                <a:cubicBezTo>
                  <a:pt x="651" y="241"/>
                  <a:pt x="640" y="246"/>
                  <a:pt x="632" y="252"/>
                </a:cubicBezTo>
                <a:cubicBezTo>
                  <a:pt x="622" y="259"/>
                  <a:pt x="613" y="264"/>
                  <a:pt x="601" y="268"/>
                </a:cubicBezTo>
                <a:cubicBezTo>
                  <a:pt x="593" y="270"/>
                  <a:pt x="577" y="279"/>
                  <a:pt x="570" y="276"/>
                </a:cubicBezTo>
                <a:cubicBezTo>
                  <a:pt x="564" y="274"/>
                  <a:pt x="565" y="265"/>
                  <a:pt x="563" y="259"/>
                </a:cubicBezTo>
                <a:cubicBezTo>
                  <a:pt x="558" y="250"/>
                  <a:pt x="551" y="240"/>
                  <a:pt x="547" y="230"/>
                </a:cubicBezTo>
                <a:cubicBezTo>
                  <a:pt x="543" y="219"/>
                  <a:pt x="549" y="207"/>
                  <a:pt x="548" y="196"/>
                </a:cubicBezTo>
                <a:cubicBezTo>
                  <a:pt x="548" y="182"/>
                  <a:pt x="541" y="170"/>
                  <a:pt x="539" y="156"/>
                </a:cubicBezTo>
                <a:cubicBezTo>
                  <a:pt x="538" y="145"/>
                  <a:pt x="546" y="142"/>
                  <a:pt x="556" y="140"/>
                </a:cubicBezTo>
                <a:cubicBezTo>
                  <a:pt x="568" y="137"/>
                  <a:pt x="579" y="142"/>
                  <a:pt x="591" y="139"/>
                </a:cubicBezTo>
                <a:cubicBezTo>
                  <a:pt x="602" y="136"/>
                  <a:pt x="608" y="140"/>
                  <a:pt x="617" y="147"/>
                </a:cubicBezTo>
                <a:cubicBezTo>
                  <a:pt x="628" y="155"/>
                  <a:pt x="630" y="161"/>
                  <a:pt x="642" y="152"/>
                </a:cubicBezTo>
                <a:cubicBezTo>
                  <a:pt x="648" y="147"/>
                  <a:pt x="649" y="151"/>
                  <a:pt x="654" y="146"/>
                </a:cubicBezTo>
                <a:cubicBezTo>
                  <a:pt x="655" y="144"/>
                  <a:pt x="654" y="141"/>
                  <a:pt x="655" y="140"/>
                </a:cubicBezTo>
                <a:cubicBezTo>
                  <a:pt x="656" y="139"/>
                  <a:pt x="658" y="140"/>
                  <a:pt x="658" y="140"/>
                </a:cubicBezTo>
                <a:cubicBezTo>
                  <a:pt x="659" y="139"/>
                  <a:pt x="663" y="139"/>
                  <a:pt x="664" y="138"/>
                </a:cubicBezTo>
                <a:cubicBezTo>
                  <a:pt x="665" y="137"/>
                  <a:pt x="664" y="134"/>
                  <a:pt x="667" y="132"/>
                </a:cubicBezTo>
                <a:cubicBezTo>
                  <a:pt x="669" y="130"/>
                  <a:pt x="674" y="134"/>
                  <a:pt x="677" y="131"/>
                </a:cubicBezTo>
                <a:cubicBezTo>
                  <a:pt x="680" y="128"/>
                  <a:pt x="678" y="117"/>
                  <a:pt x="679" y="113"/>
                </a:cubicBezTo>
                <a:cubicBezTo>
                  <a:pt x="681" y="103"/>
                  <a:pt x="689" y="100"/>
                  <a:pt x="693" y="90"/>
                </a:cubicBezTo>
                <a:cubicBezTo>
                  <a:pt x="695" y="86"/>
                  <a:pt x="697" y="81"/>
                  <a:pt x="698" y="77"/>
                </a:cubicBezTo>
                <a:cubicBezTo>
                  <a:pt x="699" y="72"/>
                  <a:pt x="697" y="68"/>
                  <a:pt x="700" y="64"/>
                </a:cubicBezTo>
                <a:cubicBezTo>
                  <a:pt x="699" y="64"/>
                  <a:pt x="699" y="64"/>
                  <a:pt x="698" y="64"/>
                </a:cubicBezTo>
                <a:cubicBezTo>
                  <a:pt x="707" y="59"/>
                  <a:pt x="685" y="29"/>
                  <a:pt x="680" y="24"/>
                </a:cubicBezTo>
                <a:cubicBezTo>
                  <a:pt x="668" y="12"/>
                  <a:pt x="653" y="4"/>
                  <a:pt x="639" y="2"/>
                </a:cubicBezTo>
                <a:cubicBezTo>
                  <a:pt x="624" y="0"/>
                  <a:pt x="614" y="7"/>
                  <a:pt x="603" y="16"/>
                </a:cubicBezTo>
                <a:cubicBezTo>
                  <a:pt x="594" y="23"/>
                  <a:pt x="589" y="30"/>
                  <a:pt x="585" y="41"/>
                </a:cubicBezTo>
                <a:cubicBezTo>
                  <a:pt x="582" y="48"/>
                  <a:pt x="579" y="53"/>
                  <a:pt x="576" y="59"/>
                </a:cubicBezTo>
                <a:cubicBezTo>
                  <a:pt x="576" y="60"/>
                  <a:pt x="573" y="66"/>
                  <a:pt x="572" y="67"/>
                </a:cubicBezTo>
                <a:cubicBezTo>
                  <a:pt x="571" y="67"/>
                  <a:pt x="565" y="69"/>
                  <a:pt x="563" y="70"/>
                </a:cubicBezTo>
                <a:cubicBezTo>
                  <a:pt x="550" y="75"/>
                  <a:pt x="544" y="78"/>
                  <a:pt x="531" y="72"/>
                </a:cubicBezTo>
                <a:cubicBezTo>
                  <a:pt x="520" y="68"/>
                  <a:pt x="511" y="68"/>
                  <a:pt x="500" y="66"/>
                </a:cubicBezTo>
                <a:cubicBezTo>
                  <a:pt x="491" y="65"/>
                  <a:pt x="482" y="62"/>
                  <a:pt x="472" y="63"/>
                </a:cubicBezTo>
                <a:cubicBezTo>
                  <a:pt x="461" y="63"/>
                  <a:pt x="450" y="62"/>
                  <a:pt x="439" y="63"/>
                </a:cubicBezTo>
                <a:cubicBezTo>
                  <a:pt x="434" y="63"/>
                  <a:pt x="430" y="66"/>
                  <a:pt x="426" y="67"/>
                </a:cubicBezTo>
                <a:cubicBezTo>
                  <a:pt x="421" y="68"/>
                  <a:pt x="415" y="67"/>
                  <a:pt x="410" y="66"/>
                </a:cubicBezTo>
                <a:cubicBezTo>
                  <a:pt x="399" y="64"/>
                  <a:pt x="389" y="63"/>
                  <a:pt x="378" y="64"/>
                </a:cubicBezTo>
                <a:cubicBezTo>
                  <a:pt x="365" y="65"/>
                  <a:pt x="354" y="65"/>
                  <a:pt x="341" y="62"/>
                </a:cubicBezTo>
                <a:cubicBezTo>
                  <a:pt x="328" y="59"/>
                  <a:pt x="319" y="53"/>
                  <a:pt x="306" y="54"/>
                </a:cubicBezTo>
                <a:cubicBezTo>
                  <a:pt x="292" y="54"/>
                  <a:pt x="278" y="54"/>
                  <a:pt x="265" y="55"/>
                </a:cubicBezTo>
                <a:cubicBezTo>
                  <a:pt x="251" y="56"/>
                  <a:pt x="238" y="57"/>
                  <a:pt x="224" y="56"/>
                </a:cubicBezTo>
                <a:cubicBezTo>
                  <a:pt x="214" y="55"/>
                  <a:pt x="208" y="61"/>
                  <a:pt x="197" y="63"/>
                </a:cubicBezTo>
                <a:cubicBezTo>
                  <a:pt x="197" y="64"/>
                  <a:pt x="197" y="64"/>
                  <a:pt x="197" y="64"/>
                </a:cubicBezTo>
                <a:cubicBezTo>
                  <a:pt x="198" y="66"/>
                  <a:pt x="197" y="64"/>
                  <a:pt x="197" y="63"/>
                </a:cubicBezTo>
                <a:cubicBezTo>
                  <a:pt x="184" y="68"/>
                  <a:pt x="171" y="74"/>
                  <a:pt x="159" y="77"/>
                </a:cubicBezTo>
                <a:cubicBezTo>
                  <a:pt x="145" y="81"/>
                  <a:pt x="139" y="74"/>
                  <a:pt x="128" y="68"/>
                </a:cubicBezTo>
                <a:cubicBezTo>
                  <a:pt x="123" y="66"/>
                  <a:pt x="117" y="64"/>
                  <a:pt x="112" y="62"/>
                </a:cubicBezTo>
                <a:cubicBezTo>
                  <a:pt x="105" y="60"/>
                  <a:pt x="106" y="58"/>
                  <a:pt x="102" y="54"/>
                </a:cubicBezTo>
                <a:cubicBezTo>
                  <a:pt x="98" y="50"/>
                  <a:pt x="85" y="34"/>
                  <a:pt x="78" y="40"/>
                </a:cubicBezTo>
                <a:cubicBezTo>
                  <a:pt x="82" y="45"/>
                  <a:pt x="96" y="57"/>
                  <a:pt x="95" y="64"/>
                </a:cubicBezTo>
                <a:cubicBezTo>
                  <a:pt x="94" y="75"/>
                  <a:pt x="80" y="58"/>
                  <a:pt x="74" y="55"/>
                </a:cubicBezTo>
                <a:cubicBezTo>
                  <a:pt x="70" y="53"/>
                  <a:pt x="42" y="41"/>
                  <a:pt x="52" y="55"/>
                </a:cubicBezTo>
                <a:cubicBezTo>
                  <a:pt x="55" y="59"/>
                  <a:pt x="65" y="61"/>
                  <a:pt x="69" y="64"/>
                </a:cubicBezTo>
                <a:cubicBezTo>
                  <a:pt x="74" y="67"/>
                  <a:pt x="81" y="73"/>
                  <a:pt x="83" y="77"/>
                </a:cubicBezTo>
                <a:cubicBezTo>
                  <a:pt x="80" y="79"/>
                  <a:pt x="73" y="73"/>
                  <a:pt x="69" y="71"/>
                </a:cubicBezTo>
                <a:cubicBezTo>
                  <a:pt x="62" y="67"/>
                  <a:pt x="52" y="60"/>
                  <a:pt x="43" y="59"/>
                </a:cubicBezTo>
                <a:cubicBezTo>
                  <a:pt x="39" y="58"/>
                  <a:pt x="34" y="58"/>
                  <a:pt x="37" y="65"/>
                </a:cubicBezTo>
                <a:cubicBezTo>
                  <a:pt x="39" y="71"/>
                  <a:pt x="54" y="76"/>
                  <a:pt x="59" y="79"/>
                </a:cubicBezTo>
                <a:cubicBezTo>
                  <a:pt x="62" y="81"/>
                  <a:pt x="76" y="87"/>
                  <a:pt x="76" y="91"/>
                </a:cubicBezTo>
                <a:cubicBezTo>
                  <a:pt x="77" y="97"/>
                  <a:pt x="62" y="92"/>
                  <a:pt x="59" y="91"/>
                </a:cubicBezTo>
                <a:cubicBezTo>
                  <a:pt x="52" y="89"/>
                  <a:pt x="20" y="82"/>
                  <a:pt x="38" y="96"/>
                </a:cubicBezTo>
                <a:cubicBezTo>
                  <a:pt x="46" y="102"/>
                  <a:pt x="58" y="104"/>
                  <a:pt x="68" y="106"/>
                </a:cubicBezTo>
                <a:cubicBezTo>
                  <a:pt x="78" y="108"/>
                  <a:pt x="87" y="112"/>
                  <a:pt x="97" y="117"/>
                </a:cubicBezTo>
                <a:cubicBezTo>
                  <a:pt x="97" y="115"/>
                  <a:pt x="97" y="115"/>
                  <a:pt x="98" y="114"/>
                </a:cubicBezTo>
                <a:cubicBezTo>
                  <a:pt x="97" y="117"/>
                  <a:pt x="103" y="123"/>
                  <a:pt x="102" y="129"/>
                </a:cubicBezTo>
                <a:cubicBezTo>
                  <a:pt x="99" y="138"/>
                  <a:pt x="95" y="144"/>
                  <a:pt x="102" y="153"/>
                </a:cubicBezTo>
                <a:cubicBezTo>
                  <a:pt x="109" y="161"/>
                  <a:pt x="110" y="157"/>
                  <a:pt x="110" y="150"/>
                </a:cubicBezTo>
                <a:cubicBezTo>
                  <a:pt x="111" y="135"/>
                  <a:pt x="116" y="134"/>
                  <a:pt x="127" y="125"/>
                </a:cubicBezTo>
                <a:cubicBezTo>
                  <a:pt x="138" y="116"/>
                  <a:pt x="143" y="117"/>
                  <a:pt x="157" y="115"/>
                </a:cubicBezTo>
                <a:cubicBezTo>
                  <a:pt x="172" y="113"/>
                  <a:pt x="186" y="112"/>
                  <a:pt x="200" y="111"/>
                </a:cubicBezTo>
                <a:cubicBezTo>
                  <a:pt x="222" y="109"/>
                  <a:pt x="242" y="114"/>
                  <a:pt x="261" y="115"/>
                </a:cubicBezTo>
                <a:cubicBezTo>
                  <a:pt x="273" y="115"/>
                  <a:pt x="282" y="113"/>
                  <a:pt x="293" y="112"/>
                </a:cubicBezTo>
                <a:cubicBezTo>
                  <a:pt x="311" y="110"/>
                  <a:pt x="321" y="110"/>
                  <a:pt x="337" y="120"/>
                </a:cubicBezTo>
                <a:cubicBezTo>
                  <a:pt x="321" y="128"/>
                  <a:pt x="307" y="138"/>
                  <a:pt x="292" y="148"/>
                </a:cubicBezTo>
                <a:cubicBezTo>
                  <a:pt x="285" y="153"/>
                  <a:pt x="277" y="160"/>
                  <a:pt x="268" y="162"/>
                </a:cubicBezTo>
                <a:cubicBezTo>
                  <a:pt x="261" y="163"/>
                  <a:pt x="257" y="162"/>
                  <a:pt x="249" y="166"/>
                </a:cubicBezTo>
                <a:cubicBezTo>
                  <a:pt x="232" y="174"/>
                  <a:pt x="216" y="181"/>
                  <a:pt x="203" y="195"/>
                </a:cubicBezTo>
                <a:cubicBezTo>
                  <a:pt x="190" y="208"/>
                  <a:pt x="185" y="228"/>
                  <a:pt x="184" y="246"/>
                </a:cubicBezTo>
                <a:cubicBezTo>
                  <a:pt x="184" y="262"/>
                  <a:pt x="189" y="276"/>
                  <a:pt x="187" y="292"/>
                </a:cubicBezTo>
                <a:cubicBezTo>
                  <a:pt x="185" y="311"/>
                  <a:pt x="183" y="330"/>
                  <a:pt x="179" y="349"/>
                </a:cubicBezTo>
                <a:cubicBezTo>
                  <a:pt x="177" y="362"/>
                  <a:pt x="178" y="379"/>
                  <a:pt x="178" y="393"/>
                </a:cubicBezTo>
                <a:cubicBezTo>
                  <a:pt x="178" y="398"/>
                  <a:pt x="178" y="403"/>
                  <a:pt x="178" y="407"/>
                </a:cubicBezTo>
                <a:cubicBezTo>
                  <a:pt x="178" y="414"/>
                  <a:pt x="177" y="415"/>
                  <a:pt x="182" y="416"/>
                </a:cubicBezTo>
                <a:cubicBezTo>
                  <a:pt x="187" y="418"/>
                  <a:pt x="200" y="414"/>
                  <a:pt x="205" y="412"/>
                </a:cubicBezTo>
                <a:cubicBezTo>
                  <a:pt x="215" y="407"/>
                  <a:pt x="208" y="404"/>
                  <a:pt x="206" y="395"/>
                </a:cubicBezTo>
                <a:cubicBezTo>
                  <a:pt x="204" y="391"/>
                  <a:pt x="204" y="384"/>
                  <a:pt x="205" y="379"/>
                </a:cubicBezTo>
                <a:cubicBezTo>
                  <a:pt x="205" y="368"/>
                  <a:pt x="208" y="357"/>
                  <a:pt x="213" y="348"/>
                </a:cubicBezTo>
                <a:cubicBezTo>
                  <a:pt x="218" y="340"/>
                  <a:pt x="225" y="336"/>
                  <a:pt x="231" y="330"/>
                </a:cubicBezTo>
                <a:cubicBezTo>
                  <a:pt x="241" y="347"/>
                  <a:pt x="253" y="364"/>
                  <a:pt x="265" y="382"/>
                </a:cubicBezTo>
                <a:cubicBezTo>
                  <a:pt x="269" y="389"/>
                  <a:pt x="274" y="400"/>
                  <a:pt x="280" y="405"/>
                </a:cubicBezTo>
                <a:cubicBezTo>
                  <a:pt x="287" y="409"/>
                  <a:pt x="294" y="406"/>
                  <a:pt x="302" y="405"/>
                </a:cubicBezTo>
                <a:cubicBezTo>
                  <a:pt x="318" y="401"/>
                  <a:pt x="332" y="397"/>
                  <a:pt x="348" y="395"/>
                </a:cubicBezTo>
                <a:cubicBezTo>
                  <a:pt x="363" y="393"/>
                  <a:pt x="387" y="399"/>
                  <a:pt x="386" y="376"/>
                </a:cubicBezTo>
                <a:cubicBezTo>
                  <a:pt x="386" y="366"/>
                  <a:pt x="383" y="365"/>
                  <a:pt x="392" y="368"/>
                </a:cubicBezTo>
                <a:cubicBezTo>
                  <a:pt x="399" y="371"/>
                  <a:pt x="405" y="374"/>
                  <a:pt x="412" y="372"/>
                </a:cubicBezTo>
                <a:cubicBezTo>
                  <a:pt x="417" y="370"/>
                  <a:pt x="428" y="359"/>
                  <a:pt x="434" y="350"/>
                </a:cubicBezTo>
                <a:cubicBezTo>
                  <a:pt x="430" y="365"/>
                  <a:pt x="432" y="386"/>
                  <a:pt x="423" y="393"/>
                </a:cubicBezTo>
                <a:cubicBezTo>
                  <a:pt x="418" y="396"/>
                  <a:pt x="410" y="398"/>
                  <a:pt x="413" y="404"/>
                </a:cubicBezTo>
                <a:cubicBezTo>
                  <a:pt x="415" y="409"/>
                  <a:pt x="426" y="409"/>
                  <a:pt x="426" y="417"/>
                </a:cubicBezTo>
                <a:cubicBezTo>
                  <a:pt x="418" y="418"/>
                  <a:pt x="413" y="411"/>
                  <a:pt x="406" y="408"/>
                </a:cubicBezTo>
                <a:cubicBezTo>
                  <a:pt x="398" y="404"/>
                  <a:pt x="388" y="403"/>
                  <a:pt x="380" y="404"/>
                </a:cubicBezTo>
                <a:cubicBezTo>
                  <a:pt x="372" y="405"/>
                  <a:pt x="371" y="411"/>
                  <a:pt x="363" y="413"/>
                </a:cubicBezTo>
                <a:cubicBezTo>
                  <a:pt x="359" y="415"/>
                  <a:pt x="354" y="415"/>
                  <a:pt x="350" y="416"/>
                </a:cubicBezTo>
                <a:cubicBezTo>
                  <a:pt x="346" y="418"/>
                  <a:pt x="342" y="420"/>
                  <a:pt x="337" y="421"/>
                </a:cubicBezTo>
                <a:cubicBezTo>
                  <a:pt x="328" y="424"/>
                  <a:pt x="319" y="424"/>
                  <a:pt x="308" y="425"/>
                </a:cubicBezTo>
                <a:cubicBezTo>
                  <a:pt x="299" y="426"/>
                  <a:pt x="291" y="428"/>
                  <a:pt x="281" y="427"/>
                </a:cubicBezTo>
                <a:cubicBezTo>
                  <a:pt x="271" y="427"/>
                  <a:pt x="262" y="429"/>
                  <a:pt x="252" y="431"/>
                </a:cubicBezTo>
                <a:cubicBezTo>
                  <a:pt x="245" y="433"/>
                  <a:pt x="231" y="434"/>
                  <a:pt x="226" y="438"/>
                </a:cubicBezTo>
                <a:cubicBezTo>
                  <a:pt x="227" y="438"/>
                  <a:pt x="229" y="438"/>
                  <a:pt x="231" y="438"/>
                </a:cubicBezTo>
                <a:cubicBezTo>
                  <a:pt x="221" y="442"/>
                  <a:pt x="226" y="434"/>
                  <a:pt x="222" y="429"/>
                </a:cubicBezTo>
                <a:cubicBezTo>
                  <a:pt x="220" y="426"/>
                  <a:pt x="213" y="426"/>
                  <a:pt x="209" y="426"/>
                </a:cubicBezTo>
                <a:cubicBezTo>
                  <a:pt x="204" y="426"/>
                  <a:pt x="199" y="427"/>
                  <a:pt x="194" y="428"/>
                </a:cubicBezTo>
                <a:cubicBezTo>
                  <a:pt x="188" y="429"/>
                  <a:pt x="187" y="427"/>
                  <a:pt x="182" y="431"/>
                </a:cubicBezTo>
                <a:cubicBezTo>
                  <a:pt x="183" y="427"/>
                  <a:pt x="178" y="425"/>
                  <a:pt x="177" y="422"/>
                </a:cubicBezTo>
                <a:cubicBezTo>
                  <a:pt x="174" y="430"/>
                  <a:pt x="168" y="424"/>
                  <a:pt x="160" y="429"/>
                </a:cubicBezTo>
                <a:cubicBezTo>
                  <a:pt x="153" y="435"/>
                  <a:pt x="152" y="445"/>
                  <a:pt x="152" y="453"/>
                </a:cubicBezTo>
                <a:cubicBezTo>
                  <a:pt x="151" y="449"/>
                  <a:pt x="151" y="444"/>
                  <a:pt x="149" y="441"/>
                </a:cubicBezTo>
                <a:cubicBezTo>
                  <a:pt x="149" y="440"/>
                  <a:pt x="146" y="439"/>
                  <a:pt x="146" y="436"/>
                </a:cubicBezTo>
                <a:cubicBezTo>
                  <a:pt x="143" y="441"/>
                  <a:pt x="143" y="445"/>
                  <a:pt x="142" y="450"/>
                </a:cubicBezTo>
                <a:cubicBezTo>
                  <a:pt x="141" y="445"/>
                  <a:pt x="141" y="440"/>
                  <a:pt x="142" y="435"/>
                </a:cubicBezTo>
                <a:cubicBezTo>
                  <a:pt x="139" y="441"/>
                  <a:pt x="137" y="449"/>
                  <a:pt x="138" y="455"/>
                </a:cubicBezTo>
                <a:cubicBezTo>
                  <a:pt x="138" y="451"/>
                  <a:pt x="137" y="448"/>
                  <a:pt x="136" y="444"/>
                </a:cubicBezTo>
                <a:cubicBezTo>
                  <a:pt x="134" y="447"/>
                  <a:pt x="133" y="451"/>
                  <a:pt x="134" y="455"/>
                </a:cubicBezTo>
                <a:cubicBezTo>
                  <a:pt x="130" y="455"/>
                  <a:pt x="133" y="448"/>
                  <a:pt x="132" y="444"/>
                </a:cubicBezTo>
                <a:cubicBezTo>
                  <a:pt x="122" y="447"/>
                  <a:pt x="135" y="482"/>
                  <a:pt x="139" y="488"/>
                </a:cubicBezTo>
                <a:cubicBezTo>
                  <a:pt x="141" y="492"/>
                  <a:pt x="146" y="495"/>
                  <a:pt x="147" y="501"/>
                </a:cubicBezTo>
                <a:cubicBezTo>
                  <a:pt x="148" y="508"/>
                  <a:pt x="145" y="517"/>
                  <a:pt x="145" y="525"/>
                </a:cubicBezTo>
                <a:cubicBezTo>
                  <a:pt x="145" y="535"/>
                  <a:pt x="145" y="534"/>
                  <a:pt x="138" y="541"/>
                </a:cubicBezTo>
                <a:cubicBezTo>
                  <a:pt x="130" y="548"/>
                  <a:pt x="121" y="554"/>
                  <a:pt x="113" y="561"/>
                </a:cubicBezTo>
                <a:cubicBezTo>
                  <a:pt x="96" y="574"/>
                  <a:pt x="80" y="587"/>
                  <a:pt x="64" y="600"/>
                </a:cubicBezTo>
                <a:cubicBezTo>
                  <a:pt x="58" y="605"/>
                  <a:pt x="49" y="615"/>
                  <a:pt x="41" y="615"/>
                </a:cubicBezTo>
                <a:cubicBezTo>
                  <a:pt x="37" y="615"/>
                  <a:pt x="37" y="610"/>
                  <a:pt x="31" y="612"/>
                </a:cubicBezTo>
                <a:cubicBezTo>
                  <a:pt x="34" y="615"/>
                  <a:pt x="36" y="619"/>
                  <a:pt x="34" y="623"/>
                </a:cubicBezTo>
                <a:cubicBezTo>
                  <a:pt x="34" y="622"/>
                  <a:pt x="33" y="622"/>
                  <a:pt x="33" y="621"/>
                </a:cubicBezTo>
                <a:cubicBezTo>
                  <a:pt x="31" y="625"/>
                  <a:pt x="26" y="627"/>
                  <a:pt x="30" y="631"/>
                </a:cubicBezTo>
                <a:cubicBezTo>
                  <a:pt x="28" y="634"/>
                  <a:pt x="25" y="634"/>
                  <a:pt x="21" y="631"/>
                </a:cubicBezTo>
                <a:cubicBezTo>
                  <a:pt x="27" y="639"/>
                  <a:pt x="33" y="647"/>
                  <a:pt x="40" y="654"/>
                </a:cubicBezTo>
                <a:cubicBezTo>
                  <a:pt x="44" y="658"/>
                  <a:pt x="55" y="664"/>
                  <a:pt x="55" y="669"/>
                </a:cubicBezTo>
                <a:cubicBezTo>
                  <a:pt x="55" y="669"/>
                  <a:pt x="57" y="669"/>
                  <a:pt x="57" y="669"/>
                </a:cubicBezTo>
                <a:cubicBezTo>
                  <a:pt x="57" y="669"/>
                  <a:pt x="57" y="670"/>
                  <a:pt x="57" y="669"/>
                </a:cubicBezTo>
                <a:cubicBezTo>
                  <a:pt x="56" y="670"/>
                  <a:pt x="54" y="671"/>
                  <a:pt x="52" y="671"/>
                </a:cubicBezTo>
                <a:cubicBezTo>
                  <a:pt x="57" y="675"/>
                  <a:pt x="66" y="676"/>
                  <a:pt x="70" y="681"/>
                </a:cubicBezTo>
                <a:cubicBezTo>
                  <a:pt x="72" y="683"/>
                  <a:pt x="71" y="686"/>
                  <a:pt x="73" y="688"/>
                </a:cubicBezTo>
                <a:cubicBezTo>
                  <a:pt x="74" y="689"/>
                  <a:pt x="79" y="690"/>
                  <a:pt x="80" y="691"/>
                </a:cubicBezTo>
                <a:cubicBezTo>
                  <a:pt x="83" y="692"/>
                  <a:pt x="84" y="695"/>
                  <a:pt x="87" y="695"/>
                </a:cubicBezTo>
                <a:cubicBezTo>
                  <a:pt x="85" y="695"/>
                  <a:pt x="84" y="696"/>
                  <a:pt x="83" y="695"/>
                </a:cubicBezTo>
                <a:cubicBezTo>
                  <a:pt x="84" y="698"/>
                  <a:pt x="84" y="699"/>
                  <a:pt x="85" y="701"/>
                </a:cubicBezTo>
                <a:cubicBezTo>
                  <a:pt x="78" y="697"/>
                  <a:pt x="49" y="683"/>
                  <a:pt x="31" y="662"/>
                </a:cubicBezTo>
                <a:cubicBezTo>
                  <a:pt x="11" y="638"/>
                  <a:pt x="26" y="651"/>
                  <a:pt x="34" y="661"/>
                </a:cubicBezTo>
                <a:cubicBezTo>
                  <a:pt x="42" y="671"/>
                  <a:pt x="37" y="655"/>
                  <a:pt x="25" y="646"/>
                </a:cubicBezTo>
                <a:cubicBezTo>
                  <a:pt x="12" y="636"/>
                  <a:pt x="15" y="633"/>
                  <a:pt x="15" y="633"/>
                </a:cubicBezTo>
                <a:cubicBezTo>
                  <a:pt x="15" y="633"/>
                  <a:pt x="0" y="641"/>
                  <a:pt x="25" y="664"/>
                </a:cubicBezTo>
                <a:cubicBezTo>
                  <a:pt x="50" y="688"/>
                  <a:pt x="72" y="703"/>
                  <a:pt x="93" y="705"/>
                </a:cubicBezTo>
                <a:cubicBezTo>
                  <a:pt x="92" y="705"/>
                  <a:pt x="92" y="705"/>
                  <a:pt x="92" y="705"/>
                </a:cubicBezTo>
                <a:cubicBezTo>
                  <a:pt x="96" y="705"/>
                  <a:pt x="101" y="705"/>
                  <a:pt x="105" y="705"/>
                </a:cubicBezTo>
                <a:cubicBezTo>
                  <a:pt x="121" y="705"/>
                  <a:pt x="137" y="705"/>
                  <a:pt x="153" y="703"/>
                </a:cubicBezTo>
                <a:cubicBezTo>
                  <a:pt x="152" y="703"/>
                  <a:pt x="157" y="703"/>
                  <a:pt x="160" y="702"/>
                </a:cubicBezTo>
                <a:cubicBezTo>
                  <a:pt x="160" y="702"/>
                  <a:pt x="160" y="702"/>
                  <a:pt x="160" y="702"/>
                </a:cubicBezTo>
                <a:cubicBezTo>
                  <a:pt x="160" y="702"/>
                  <a:pt x="177" y="701"/>
                  <a:pt x="180" y="699"/>
                </a:cubicBezTo>
                <a:cubicBezTo>
                  <a:pt x="184" y="697"/>
                  <a:pt x="182" y="675"/>
                  <a:pt x="160" y="671"/>
                </a:cubicBezTo>
                <a:cubicBezTo>
                  <a:pt x="143" y="668"/>
                  <a:pt x="131" y="659"/>
                  <a:pt x="127" y="656"/>
                </a:cubicBezTo>
                <a:cubicBezTo>
                  <a:pt x="127" y="655"/>
                  <a:pt x="126" y="655"/>
                  <a:pt x="126" y="654"/>
                </a:cubicBezTo>
                <a:cubicBezTo>
                  <a:pt x="126" y="654"/>
                  <a:pt x="126" y="654"/>
                  <a:pt x="126" y="654"/>
                </a:cubicBezTo>
                <a:cubicBezTo>
                  <a:pt x="126" y="654"/>
                  <a:pt x="126" y="654"/>
                  <a:pt x="126" y="654"/>
                </a:cubicBezTo>
                <a:cubicBezTo>
                  <a:pt x="125" y="654"/>
                  <a:pt x="125" y="654"/>
                  <a:pt x="125" y="653"/>
                </a:cubicBezTo>
                <a:cubicBezTo>
                  <a:pt x="120" y="650"/>
                  <a:pt x="112" y="650"/>
                  <a:pt x="110" y="645"/>
                </a:cubicBezTo>
                <a:cubicBezTo>
                  <a:pt x="103" y="632"/>
                  <a:pt x="119" y="632"/>
                  <a:pt x="127" y="636"/>
                </a:cubicBezTo>
                <a:cubicBezTo>
                  <a:pt x="124" y="632"/>
                  <a:pt x="118" y="631"/>
                  <a:pt x="113" y="631"/>
                </a:cubicBezTo>
                <a:cubicBezTo>
                  <a:pt x="114" y="630"/>
                  <a:pt x="114" y="629"/>
                  <a:pt x="115" y="628"/>
                </a:cubicBezTo>
                <a:cubicBezTo>
                  <a:pt x="114" y="629"/>
                  <a:pt x="112" y="629"/>
                  <a:pt x="110" y="629"/>
                </a:cubicBezTo>
                <a:cubicBezTo>
                  <a:pt x="100" y="630"/>
                  <a:pt x="110" y="619"/>
                  <a:pt x="115" y="616"/>
                </a:cubicBezTo>
                <a:cubicBezTo>
                  <a:pt x="126" y="606"/>
                  <a:pt x="142" y="600"/>
                  <a:pt x="156" y="594"/>
                </a:cubicBezTo>
                <a:cubicBezTo>
                  <a:pt x="161" y="592"/>
                  <a:pt x="167" y="590"/>
                  <a:pt x="171" y="587"/>
                </a:cubicBezTo>
                <a:cubicBezTo>
                  <a:pt x="173" y="586"/>
                  <a:pt x="175" y="582"/>
                  <a:pt x="177" y="580"/>
                </a:cubicBezTo>
                <a:cubicBezTo>
                  <a:pt x="176" y="580"/>
                  <a:pt x="176" y="580"/>
                  <a:pt x="176" y="579"/>
                </a:cubicBezTo>
                <a:cubicBezTo>
                  <a:pt x="182" y="578"/>
                  <a:pt x="173" y="576"/>
                  <a:pt x="175" y="572"/>
                </a:cubicBezTo>
                <a:cubicBezTo>
                  <a:pt x="177" y="568"/>
                  <a:pt x="180" y="570"/>
                  <a:pt x="181" y="574"/>
                </a:cubicBezTo>
                <a:cubicBezTo>
                  <a:pt x="185" y="569"/>
                  <a:pt x="185" y="564"/>
                  <a:pt x="188" y="561"/>
                </a:cubicBezTo>
                <a:cubicBezTo>
                  <a:pt x="187" y="562"/>
                  <a:pt x="193" y="560"/>
                  <a:pt x="193" y="560"/>
                </a:cubicBezTo>
                <a:cubicBezTo>
                  <a:pt x="196" y="558"/>
                  <a:pt x="200" y="555"/>
                  <a:pt x="203" y="554"/>
                </a:cubicBezTo>
                <a:cubicBezTo>
                  <a:pt x="220" y="547"/>
                  <a:pt x="239" y="545"/>
                  <a:pt x="256" y="538"/>
                </a:cubicBezTo>
                <a:cubicBezTo>
                  <a:pt x="268" y="533"/>
                  <a:pt x="292" y="525"/>
                  <a:pt x="300" y="516"/>
                </a:cubicBezTo>
                <a:cubicBezTo>
                  <a:pt x="307" y="508"/>
                  <a:pt x="303" y="495"/>
                  <a:pt x="309" y="489"/>
                </a:cubicBezTo>
                <a:cubicBezTo>
                  <a:pt x="307" y="487"/>
                  <a:pt x="307" y="481"/>
                  <a:pt x="310" y="479"/>
                </a:cubicBezTo>
                <a:cubicBezTo>
                  <a:pt x="315" y="475"/>
                  <a:pt x="330" y="478"/>
                  <a:pt x="336" y="478"/>
                </a:cubicBezTo>
                <a:cubicBezTo>
                  <a:pt x="351" y="478"/>
                  <a:pt x="361" y="477"/>
                  <a:pt x="375" y="476"/>
                </a:cubicBezTo>
                <a:cubicBezTo>
                  <a:pt x="393" y="474"/>
                  <a:pt x="410" y="468"/>
                  <a:pt x="427" y="466"/>
                </a:cubicBezTo>
                <a:cubicBezTo>
                  <a:pt x="434" y="465"/>
                  <a:pt x="446" y="466"/>
                  <a:pt x="453" y="462"/>
                </a:cubicBezTo>
                <a:cubicBezTo>
                  <a:pt x="452" y="462"/>
                  <a:pt x="451" y="461"/>
                  <a:pt x="450" y="461"/>
                </a:cubicBezTo>
                <a:cubicBezTo>
                  <a:pt x="456" y="465"/>
                  <a:pt x="471" y="452"/>
                  <a:pt x="475" y="448"/>
                </a:cubicBezTo>
                <a:cubicBezTo>
                  <a:pt x="483" y="440"/>
                  <a:pt x="486" y="432"/>
                  <a:pt x="487" y="421"/>
                </a:cubicBezTo>
                <a:cubicBezTo>
                  <a:pt x="490" y="398"/>
                  <a:pt x="452" y="357"/>
                  <a:pt x="438" y="340"/>
                </a:cubicBezTo>
                <a:cubicBezTo>
                  <a:pt x="438" y="340"/>
                  <a:pt x="438" y="340"/>
                  <a:pt x="438" y="341"/>
                </a:cubicBezTo>
                <a:cubicBezTo>
                  <a:pt x="437" y="333"/>
                  <a:pt x="427" y="327"/>
                  <a:pt x="421" y="320"/>
                </a:cubicBezTo>
                <a:cubicBezTo>
                  <a:pt x="410" y="308"/>
                  <a:pt x="400" y="293"/>
                  <a:pt x="388" y="285"/>
                </a:cubicBezTo>
                <a:cubicBezTo>
                  <a:pt x="381" y="280"/>
                  <a:pt x="382" y="273"/>
                  <a:pt x="378" y="267"/>
                </a:cubicBezTo>
                <a:cubicBezTo>
                  <a:pt x="372" y="259"/>
                  <a:pt x="365" y="263"/>
                  <a:pt x="359" y="259"/>
                </a:cubicBezTo>
                <a:cubicBezTo>
                  <a:pt x="356" y="256"/>
                  <a:pt x="356" y="252"/>
                  <a:pt x="354" y="249"/>
                </a:cubicBezTo>
                <a:cubicBezTo>
                  <a:pt x="352" y="245"/>
                  <a:pt x="345" y="245"/>
                  <a:pt x="349" y="239"/>
                </a:cubicBezTo>
                <a:cubicBezTo>
                  <a:pt x="351" y="236"/>
                  <a:pt x="373" y="230"/>
                  <a:pt x="374" y="230"/>
                </a:cubicBezTo>
                <a:cubicBezTo>
                  <a:pt x="376" y="228"/>
                  <a:pt x="392" y="229"/>
                  <a:pt x="397" y="228"/>
                </a:cubicBezTo>
                <a:cubicBezTo>
                  <a:pt x="405" y="227"/>
                  <a:pt x="414" y="225"/>
                  <a:pt x="422" y="224"/>
                </a:cubicBezTo>
                <a:cubicBezTo>
                  <a:pt x="429" y="222"/>
                  <a:pt x="434" y="219"/>
                  <a:pt x="441" y="215"/>
                </a:cubicBezTo>
                <a:cubicBezTo>
                  <a:pt x="449" y="210"/>
                  <a:pt x="458" y="213"/>
                  <a:pt x="468" y="212"/>
                </a:cubicBezTo>
                <a:cubicBezTo>
                  <a:pt x="480" y="210"/>
                  <a:pt x="483" y="205"/>
                  <a:pt x="486" y="219"/>
                </a:cubicBezTo>
                <a:cubicBezTo>
                  <a:pt x="490" y="239"/>
                  <a:pt x="494" y="259"/>
                  <a:pt x="503" y="278"/>
                </a:cubicBezTo>
                <a:cubicBezTo>
                  <a:pt x="511" y="295"/>
                  <a:pt x="520" y="313"/>
                  <a:pt x="530" y="329"/>
                </a:cubicBezTo>
                <a:cubicBezTo>
                  <a:pt x="535" y="336"/>
                  <a:pt x="542" y="346"/>
                  <a:pt x="551" y="348"/>
                </a:cubicBezTo>
                <a:cubicBezTo>
                  <a:pt x="562" y="351"/>
                  <a:pt x="569" y="341"/>
                  <a:pt x="577" y="337"/>
                </a:cubicBezTo>
                <a:cubicBezTo>
                  <a:pt x="593" y="328"/>
                  <a:pt x="610" y="322"/>
                  <a:pt x="624" y="311"/>
                </a:cubicBezTo>
                <a:cubicBezTo>
                  <a:pt x="641" y="299"/>
                  <a:pt x="655" y="283"/>
                  <a:pt x="669" y="268"/>
                </a:cubicBezTo>
                <a:cubicBezTo>
                  <a:pt x="683" y="252"/>
                  <a:pt x="703" y="243"/>
                  <a:pt x="713" y="225"/>
                </a:cubicBezTo>
                <a:cubicBezTo>
                  <a:pt x="718" y="214"/>
                  <a:pt x="723" y="208"/>
                  <a:pt x="730" y="200"/>
                </a:cubicBezTo>
                <a:cubicBezTo>
                  <a:pt x="734" y="196"/>
                  <a:pt x="745" y="181"/>
                  <a:pt x="740" y="177"/>
                </a:cubicBezTo>
                <a:close/>
                <a:moveTo>
                  <a:pt x="685" y="56"/>
                </a:moveTo>
                <a:cubicBezTo>
                  <a:pt x="684" y="55"/>
                  <a:pt x="683" y="55"/>
                  <a:pt x="682" y="54"/>
                </a:cubicBezTo>
                <a:cubicBezTo>
                  <a:pt x="682" y="54"/>
                  <a:pt x="684" y="55"/>
                  <a:pt x="685" y="56"/>
                </a:cubicBezTo>
                <a:close/>
                <a:moveTo>
                  <a:pt x="671" y="107"/>
                </a:moveTo>
                <a:cubicBezTo>
                  <a:pt x="671" y="106"/>
                  <a:pt x="671" y="106"/>
                  <a:pt x="671" y="106"/>
                </a:cubicBezTo>
                <a:cubicBezTo>
                  <a:pt x="673" y="105"/>
                  <a:pt x="673" y="104"/>
                  <a:pt x="675" y="104"/>
                </a:cubicBezTo>
                <a:cubicBezTo>
                  <a:pt x="673" y="105"/>
                  <a:pt x="672" y="106"/>
                  <a:pt x="671" y="107"/>
                </a:cubicBezTo>
                <a:cubicBezTo>
                  <a:pt x="671" y="107"/>
                  <a:pt x="671" y="108"/>
                  <a:pt x="670" y="108"/>
                </a:cubicBezTo>
                <a:cubicBezTo>
                  <a:pt x="671" y="107"/>
                  <a:pt x="671" y="107"/>
                  <a:pt x="671" y="107"/>
                </a:cubicBezTo>
                <a:close/>
                <a:moveTo>
                  <a:pt x="621" y="71"/>
                </a:moveTo>
                <a:cubicBezTo>
                  <a:pt x="620" y="72"/>
                  <a:pt x="620" y="72"/>
                  <a:pt x="620" y="73"/>
                </a:cubicBezTo>
                <a:cubicBezTo>
                  <a:pt x="621" y="72"/>
                  <a:pt x="622" y="70"/>
                  <a:pt x="621" y="71"/>
                </a:cubicBezTo>
                <a:close/>
                <a:moveTo>
                  <a:pt x="621" y="65"/>
                </a:moveTo>
                <a:cubicBezTo>
                  <a:pt x="621" y="64"/>
                  <a:pt x="621" y="63"/>
                  <a:pt x="620" y="63"/>
                </a:cubicBezTo>
                <a:cubicBezTo>
                  <a:pt x="621" y="63"/>
                  <a:pt x="621" y="64"/>
                  <a:pt x="621" y="65"/>
                </a:cubicBezTo>
                <a:close/>
                <a:moveTo>
                  <a:pt x="612" y="68"/>
                </a:moveTo>
                <a:cubicBezTo>
                  <a:pt x="613" y="68"/>
                  <a:pt x="613" y="67"/>
                  <a:pt x="614" y="67"/>
                </a:cubicBezTo>
                <a:cubicBezTo>
                  <a:pt x="615" y="66"/>
                  <a:pt x="615" y="66"/>
                  <a:pt x="617" y="66"/>
                </a:cubicBezTo>
                <a:cubicBezTo>
                  <a:pt x="616" y="66"/>
                  <a:pt x="615" y="67"/>
                  <a:pt x="614" y="67"/>
                </a:cubicBezTo>
                <a:cubicBezTo>
                  <a:pt x="614" y="67"/>
                  <a:pt x="614" y="67"/>
                  <a:pt x="613" y="68"/>
                </a:cubicBezTo>
                <a:cubicBezTo>
                  <a:pt x="613" y="68"/>
                  <a:pt x="612" y="68"/>
                  <a:pt x="612" y="68"/>
                </a:cubicBezTo>
                <a:cubicBezTo>
                  <a:pt x="611" y="69"/>
                  <a:pt x="610" y="70"/>
                  <a:pt x="610" y="70"/>
                </a:cubicBezTo>
                <a:cubicBezTo>
                  <a:pt x="610" y="69"/>
                  <a:pt x="611" y="69"/>
                  <a:pt x="612" y="68"/>
                </a:cubicBezTo>
                <a:close/>
                <a:moveTo>
                  <a:pt x="608" y="52"/>
                </a:moveTo>
                <a:cubicBezTo>
                  <a:pt x="607" y="53"/>
                  <a:pt x="607" y="54"/>
                  <a:pt x="607" y="55"/>
                </a:cubicBezTo>
                <a:cubicBezTo>
                  <a:pt x="607" y="54"/>
                  <a:pt x="607" y="53"/>
                  <a:pt x="608" y="52"/>
                </a:cubicBezTo>
                <a:cubicBezTo>
                  <a:pt x="607" y="52"/>
                  <a:pt x="604" y="52"/>
                  <a:pt x="608" y="52"/>
                </a:cubicBezTo>
                <a:close/>
                <a:moveTo>
                  <a:pt x="610" y="57"/>
                </a:moveTo>
                <a:cubicBezTo>
                  <a:pt x="607" y="58"/>
                  <a:pt x="603" y="59"/>
                  <a:pt x="601" y="61"/>
                </a:cubicBezTo>
                <a:cubicBezTo>
                  <a:pt x="603" y="59"/>
                  <a:pt x="607" y="58"/>
                  <a:pt x="610" y="57"/>
                </a:cubicBezTo>
                <a:close/>
                <a:moveTo>
                  <a:pt x="99" y="113"/>
                </a:moveTo>
                <a:cubicBezTo>
                  <a:pt x="100" y="112"/>
                  <a:pt x="101" y="112"/>
                  <a:pt x="103" y="111"/>
                </a:cubicBezTo>
                <a:cubicBezTo>
                  <a:pt x="101" y="112"/>
                  <a:pt x="100" y="112"/>
                  <a:pt x="99" y="113"/>
                </a:cubicBezTo>
                <a:close/>
                <a:moveTo>
                  <a:pt x="143" y="86"/>
                </a:moveTo>
                <a:cubicBezTo>
                  <a:pt x="146" y="87"/>
                  <a:pt x="147" y="90"/>
                  <a:pt x="149" y="93"/>
                </a:cubicBezTo>
                <a:cubicBezTo>
                  <a:pt x="147" y="90"/>
                  <a:pt x="146" y="87"/>
                  <a:pt x="143" y="86"/>
                </a:cubicBezTo>
                <a:close/>
                <a:moveTo>
                  <a:pt x="204" y="332"/>
                </a:moveTo>
                <a:cubicBezTo>
                  <a:pt x="203" y="334"/>
                  <a:pt x="203" y="333"/>
                  <a:pt x="204" y="332"/>
                </a:cubicBezTo>
                <a:close/>
                <a:moveTo>
                  <a:pt x="81" y="649"/>
                </a:moveTo>
                <a:cubicBezTo>
                  <a:pt x="80" y="649"/>
                  <a:pt x="79" y="649"/>
                  <a:pt x="81" y="649"/>
                </a:cubicBezTo>
                <a:close/>
                <a:moveTo>
                  <a:pt x="82" y="667"/>
                </a:moveTo>
                <a:cubicBezTo>
                  <a:pt x="83" y="667"/>
                  <a:pt x="83" y="666"/>
                  <a:pt x="84" y="665"/>
                </a:cubicBezTo>
                <a:cubicBezTo>
                  <a:pt x="85" y="665"/>
                  <a:pt x="86" y="665"/>
                  <a:pt x="87" y="664"/>
                </a:cubicBezTo>
                <a:cubicBezTo>
                  <a:pt x="85" y="665"/>
                  <a:pt x="84" y="666"/>
                  <a:pt x="82" y="667"/>
                </a:cubicBezTo>
                <a:close/>
                <a:moveTo>
                  <a:pt x="102" y="635"/>
                </a:moveTo>
                <a:cubicBezTo>
                  <a:pt x="101" y="636"/>
                  <a:pt x="100" y="637"/>
                  <a:pt x="98" y="636"/>
                </a:cubicBezTo>
                <a:cubicBezTo>
                  <a:pt x="100" y="637"/>
                  <a:pt x="101" y="636"/>
                  <a:pt x="102" y="635"/>
                </a:cubicBezTo>
                <a:close/>
                <a:moveTo>
                  <a:pt x="95" y="634"/>
                </a:moveTo>
                <a:cubicBezTo>
                  <a:pt x="97" y="638"/>
                  <a:pt x="95" y="636"/>
                  <a:pt x="98" y="638"/>
                </a:cubicBezTo>
                <a:cubicBezTo>
                  <a:pt x="97" y="638"/>
                  <a:pt x="96" y="638"/>
                  <a:pt x="95" y="637"/>
                </a:cubicBezTo>
                <a:cubicBezTo>
                  <a:pt x="95" y="637"/>
                  <a:pt x="95" y="635"/>
                  <a:pt x="95" y="634"/>
                </a:cubicBezTo>
                <a:close/>
                <a:moveTo>
                  <a:pt x="95" y="691"/>
                </a:moveTo>
                <a:cubicBezTo>
                  <a:pt x="97" y="691"/>
                  <a:pt x="98" y="691"/>
                  <a:pt x="100" y="691"/>
                </a:cubicBezTo>
                <a:cubicBezTo>
                  <a:pt x="97" y="691"/>
                  <a:pt x="95" y="691"/>
                  <a:pt x="93" y="691"/>
                </a:cubicBezTo>
                <a:cubicBezTo>
                  <a:pt x="94" y="691"/>
                  <a:pt x="94" y="691"/>
                  <a:pt x="95" y="691"/>
                </a:cubicBezTo>
                <a:close/>
                <a:moveTo>
                  <a:pt x="123" y="662"/>
                </a:moveTo>
                <a:cubicBezTo>
                  <a:pt x="123" y="662"/>
                  <a:pt x="124" y="661"/>
                  <a:pt x="124" y="661"/>
                </a:cubicBezTo>
                <a:cubicBezTo>
                  <a:pt x="124" y="661"/>
                  <a:pt x="125" y="661"/>
                  <a:pt x="125" y="661"/>
                </a:cubicBezTo>
                <a:cubicBezTo>
                  <a:pt x="125" y="661"/>
                  <a:pt x="126" y="661"/>
                  <a:pt x="126" y="661"/>
                </a:cubicBezTo>
                <a:cubicBezTo>
                  <a:pt x="125" y="661"/>
                  <a:pt x="124" y="661"/>
                  <a:pt x="124" y="661"/>
                </a:cubicBezTo>
                <a:cubicBezTo>
                  <a:pt x="123" y="662"/>
                  <a:pt x="122" y="663"/>
                  <a:pt x="123" y="665"/>
                </a:cubicBezTo>
                <a:cubicBezTo>
                  <a:pt x="123" y="664"/>
                  <a:pt x="122" y="663"/>
                  <a:pt x="123" y="662"/>
                </a:cubicBezTo>
                <a:close/>
                <a:moveTo>
                  <a:pt x="121" y="666"/>
                </a:moveTo>
                <a:cubicBezTo>
                  <a:pt x="121" y="666"/>
                  <a:pt x="113" y="674"/>
                  <a:pt x="110" y="677"/>
                </a:cubicBezTo>
                <a:cubicBezTo>
                  <a:pt x="114" y="673"/>
                  <a:pt x="117" y="669"/>
                  <a:pt x="121" y="666"/>
                </a:cubicBezTo>
                <a:close/>
                <a:moveTo>
                  <a:pt x="129" y="693"/>
                </a:moveTo>
                <a:cubicBezTo>
                  <a:pt x="127" y="693"/>
                  <a:pt x="122" y="692"/>
                  <a:pt x="122" y="692"/>
                </a:cubicBezTo>
                <a:cubicBezTo>
                  <a:pt x="121" y="691"/>
                  <a:pt x="121" y="688"/>
                  <a:pt x="121" y="688"/>
                </a:cubicBezTo>
                <a:cubicBezTo>
                  <a:pt x="118" y="687"/>
                  <a:pt x="119" y="684"/>
                  <a:pt x="115" y="686"/>
                </a:cubicBezTo>
                <a:cubicBezTo>
                  <a:pt x="115" y="680"/>
                  <a:pt x="120" y="676"/>
                  <a:pt x="123" y="670"/>
                </a:cubicBezTo>
                <a:cubicBezTo>
                  <a:pt x="124" y="678"/>
                  <a:pt x="118" y="683"/>
                  <a:pt x="130" y="676"/>
                </a:cubicBezTo>
                <a:cubicBezTo>
                  <a:pt x="133" y="674"/>
                  <a:pt x="134" y="673"/>
                  <a:pt x="135" y="672"/>
                </a:cubicBezTo>
                <a:cubicBezTo>
                  <a:pt x="138" y="673"/>
                  <a:pt x="141" y="675"/>
                  <a:pt x="144" y="676"/>
                </a:cubicBezTo>
                <a:cubicBezTo>
                  <a:pt x="169" y="683"/>
                  <a:pt x="172" y="676"/>
                  <a:pt x="176" y="686"/>
                </a:cubicBezTo>
                <a:cubicBezTo>
                  <a:pt x="180" y="694"/>
                  <a:pt x="160" y="699"/>
                  <a:pt x="141" y="702"/>
                </a:cubicBezTo>
                <a:cubicBezTo>
                  <a:pt x="127" y="702"/>
                  <a:pt x="113" y="703"/>
                  <a:pt x="98" y="699"/>
                </a:cubicBezTo>
                <a:cubicBezTo>
                  <a:pt x="106" y="700"/>
                  <a:pt x="102" y="694"/>
                  <a:pt x="105" y="692"/>
                </a:cubicBezTo>
                <a:cubicBezTo>
                  <a:pt x="109" y="689"/>
                  <a:pt x="124" y="693"/>
                  <a:pt x="129" y="693"/>
                </a:cubicBezTo>
                <a:close/>
                <a:moveTo>
                  <a:pt x="106" y="674"/>
                </a:moveTo>
                <a:cubicBezTo>
                  <a:pt x="105" y="675"/>
                  <a:pt x="106" y="676"/>
                  <a:pt x="105" y="676"/>
                </a:cubicBezTo>
                <a:cubicBezTo>
                  <a:pt x="104" y="677"/>
                  <a:pt x="103" y="676"/>
                  <a:pt x="102" y="677"/>
                </a:cubicBezTo>
                <a:cubicBezTo>
                  <a:pt x="104" y="675"/>
                  <a:pt x="104" y="676"/>
                  <a:pt x="106" y="674"/>
                </a:cubicBezTo>
                <a:close/>
                <a:moveTo>
                  <a:pt x="160" y="565"/>
                </a:moveTo>
                <a:cubicBezTo>
                  <a:pt x="158" y="560"/>
                  <a:pt x="155" y="555"/>
                  <a:pt x="153" y="551"/>
                </a:cubicBezTo>
                <a:cubicBezTo>
                  <a:pt x="158" y="561"/>
                  <a:pt x="163" y="567"/>
                  <a:pt x="171" y="576"/>
                </a:cubicBezTo>
                <a:cubicBezTo>
                  <a:pt x="167" y="572"/>
                  <a:pt x="164" y="568"/>
                  <a:pt x="160" y="565"/>
                </a:cubicBezTo>
                <a:close/>
                <a:moveTo>
                  <a:pt x="261" y="517"/>
                </a:moveTo>
                <a:cubicBezTo>
                  <a:pt x="260" y="518"/>
                  <a:pt x="259" y="518"/>
                  <a:pt x="259" y="519"/>
                </a:cubicBezTo>
                <a:cubicBezTo>
                  <a:pt x="259" y="518"/>
                  <a:pt x="259" y="518"/>
                  <a:pt x="261" y="517"/>
                </a:cubicBezTo>
                <a:close/>
                <a:moveTo>
                  <a:pt x="259" y="524"/>
                </a:moveTo>
                <a:cubicBezTo>
                  <a:pt x="258" y="523"/>
                  <a:pt x="258" y="523"/>
                  <a:pt x="258" y="522"/>
                </a:cubicBezTo>
                <a:cubicBezTo>
                  <a:pt x="258" y="522"/>
                  <a:pt x="258" y="521"/>
                  <a:pt x="258" y="521"/>
                </a:cubicBezTo>
                <a:cubicBezTo>
                  <a:pt x="258" y="522"/>
                  <a:pt x="258" y="523"/>
                  <a:pt x="259" y="524"/>
                </a:cubicBezTo>
                <a:cubicBezTo>
                  <a:pt x="259" y="526"/>
                  <a:pt x="260" y="527"/>
                  <a:pt x="262" y="528"/>
                </a:cubicBezTo>
                <a:cubicBezTo>
                  <a:pt x="260" y="527"/>
                  <a:pt x="259" y="526"/>
                  <a:pt x="259" y="524"/>
                </a:cubicBezTo>
                <a:close/>
                <a:moveTo>
                  <a:pt x="372" y="473"/>
                </a:moveTo>
                <a:cubicBezTo>
                  <a:pt x="372" y="473"/>
                  <a:pt x="371" y="474"/>
                  <a:pt x="369" y="473"/>
                </a:cubicBezTo>
                <a:cubicBezTo>
                  <a:pt x="370" y="473"/>
                  <a:pt x="371" y="473"/>
                  <a:pt x="372" y="473"/>
                </a:cubicBezTo>
                <a:cubicBezTo>
                  <a:pt x="373" y="472"/>
                  <a:pt x="374" y="472"/>
                  <a:pt x="374" y="471"/>
                </a:cubicBezTo>
                <a:cubicBezTo>
                  <a:pt x="375" y="471"/>
                  <a:pt x="376" y="471"/>
                  <a:pt x="377" y="471"/>
                </a:cubicBezTo>
                <a:cubicBezTo>
                  <a:pt x="375" y="472"/>
                  <a:pt x="374" y="472"/>
                  <a:pt x="372" y="473"/>
                </a:cubicBezTo>
                <a:close/>
                <a:moveTo>
                  <a:pt x="386" y="359"/>
                </a:moveTo>
                <a:cubicBezTo>
                  <a:pt x="385" y="360"/>
                  <a:pt x="384" y="359"/>
                  <a:pt x="383" y="360"/>
                </a:cubicBezTo>
                <a:cubicBezTo>
                  <a:pt x="384" y="359"/>
                  <a:pt x="385" y="359"/>
                  <a:pt x="386" y="359"/>
                </a:cubicBezTo>
                <a:close/>
                <a:moveTo>
                  <a:pt x="380" y="357"/>
                </a:moveTo>
                <a:cubicBezTo>
                  <a:pt x="380" y="357"/>
                  <a:pt x="380" y="357"/>
                  <a:pt x="380" y="357"/>
                </a:cubicBezTo>
                <a:cubicBezTo>
                  <a:pt x="381" y="358"/>
                  <a:pt x="382" y="357"/>
                  <a:pt x="382" y="358"/>
                </a:cubicBezTo>
                <a:cubicBezTo>
                  <a:pt x="381" y="358"/>
                  <a:pt x="381" y="357"/>
                  <a:pt x="380" y="357"/>
                </a:cubicBezTo>
                <a:cubicBezTo>
                  <a:pt x="378" y="356"/>
                  <a:pt x="377" y="356"/>
                  <a:pt x="376" y="355"/>
                </a:cubicBezTo>
                <a:cubicBezTo>
                  <a:pt x="377" y="355"/>
                  <a:pt x="378" y="356"/>
                  <a:pt x="380" y="357"/>
                </a:cubicBezTo>
                <a:close/>
                <a:moveTo>
                  <a:pt x="261" y="239"/>
                </a:moveTo>
                <a:cubicBezTo>
                  <a:pt x="260" y="238"/>
                  <a:pt x="260" y="237"/>
                  <a:pt x="259" y="236"/>
                </a:cubicBezTo>
                <a:cubicBezTo>
                  <a:pt x="260" y="238"/>
                  <a:pt x="261" y="239"/>
                  <a:pt x="262" y="240"/>
                </a:cubicBezTo>
                <a:cubicBezTo>
                  <a:pt x="262" y="240"/>
                  <a:pt x="261" y="239"/>
                  <a:pt x="261" y="239"/>
                </a:cubicBezTo>
                <a:close/>
                <a:moveTo>
                  <a:pt x="276" y="276"/>
                </a:moveTo>
                <a:cubicBezTo>
                  <a:pt x="275" y="276"/>
                  <a:pt x="276" y="276"/>
                  <a:pt x="276" y="276"/>
                </a:cubicBezTo>
                <a:close/>
                <a:moveTo>
                  <a:pt x="272" y="239"/>
                </a:moveTo>
                <a:cubicBezTo>
                  <a:pt x="273" y="240"/>
                  <a:pt x="275" y="242"/>
                  <a:pt x="276" y="243"/>
                </a:cubicBezTo>
                <a:cubicBezTo>
                  <a:pt x="276" y="244"/>
                  <a:pt x="276" y="244"/>
                  <a:pt x="277" y="245"/>
                </a:cubicBezTo>
                <a:cubicBezTo>
                  <a:pt x="275" y="243"/>
                  <a:pt x="274" y="240"/>
                  <a:pt x="272" y="239"/>
                </a:cubicBezTo>
                <a:close/>
                <a:moveTo>
                  <a:pt x="278" y="265"/>
                </a:moveTo>
                <a:cubicBezTo>
                  <a:pt x="280" y="266"/>
                  <a:pt x="279" y="267"/>
                  <a:pt x="280" y="268"/>
                </a:cubicBezTo>
                <a:cubicBezTo>
                  <a:pt x="279" y="267"/>
                  <a:pt x="279" y="266"/>
                  <a:pt x="278" y="265"/>
                </a:cubicBezTo>
                <a:close/>
                <a:moveTo>
                  <a:pt x="285" y="279"/>
                </a:moveTo>
                <a:cubicBezTo>
                  <a:pt x="284" y="280"/>
                  <a:pt x="283" y="280"/>
                  <a:pt x="281" y="280"/>
                </a:cubicBezTo>
                <a:cubicBezTo>
                  <a:pt x="283" y="279"/>
                  <a:pt x="284" y="279"/>
                  <a:pt x="285" y="279"/>
                </a:cubicBezTo>
                <a:cubicBezTo>
                  <a:pt x="286" y="279"/>
                  <a:pt x="286" y="279"/>
                  <a:pt x="287" y="278"/>
                </a:cubicBezTo>
                <a:cubicBezTo>
                  <a:pt x="287" y="279"/>
                  <a:pt x="288" y="280"/>
                  <a:pt x="289" y="280"/>
                </a:cubicBezTo>
                <a:cubicBezTo>
                  <a:pt x="288" y="279"/>
                  <a:pt x="287" y="279"/>
                  <a:pt x="285" y="279"/>
                </a:cubicBezTo>
                <a:close/>
                <a:moveTo>
                  <a:pt x="287" y="213"/>
                </a:moveTo>
                <a:cubicBezTo>
                  <a:pt x="287" y="214"/>
                  <a:pt x="287" y="215"/>
                  <a:pt x="288" y="216"/>
                </a:cubicBezTo>
                <a:cubicBezTo>
                  <a:pt x="289" y="217"/>
                  <a:pt x="288" y="219"/>
                  <a:pt x="288" y="220"/>
                </a:cubicBezTo>
                <a:cubicBezTo>
                  <a:pt x="288" y="217"/>
                  <a:pt x="287" y="215"/>
                  <a:pt x="287" y="213"/>
                </a:cubicBezTo>
                <a:close/>
                <a:moveTo>
                  <a:pt x="316" y="242"/>
                </a:moveTo>
                <a:cubicBezTo>
                  <a:pt x="315" y="240"/>
                  <a:pt x="314" y="236"/>
                  <a:pt x="315" y="239"/>
                </a:cubicBezTo>
                <a:cubicBezTo>
                  <a:pt x="315" y="240"/>
                  <a:pt x="315" y="241"/>
                  <a:pt x="316" y="242"/>
                </a:cubicBezTo>
                <a:cubicBezTo>
                  <a:pt x="316" y="242"/>
                  <a:pt x="316" y="242"/>
                  <a:pt x="316" y="242"/>
                </a:cubicBezTo>
                <a:cubicBezTo>
                  <a:pt x="316" y="243"/>
                  <a:pt x="316" y="243"/>
                  <a:pt x="316" y="244"/>
                </a:cubicBezTo>
                <a:cubicBezTo>
                  <a:pt x="316" y="243"/>
                  <a:pt x="316" y="243"/>
                  <a:pt x="316" y="242"/>
                </a:cubicBezTo>
                <a:close/>
                <a:moveTo>
                  <a:pt x="328" y="291"/>
                </a:moveTo>
                <a:cubicBezTo>
                  <a:pt x="327" y="294"/>
                  <a:pt x="328" y="290"/>
                  <a:pt x="328" y="291"/>
                </a:cubicBezTo>
                <a:close/>
                <a:moveTo>
                  <a:pt x="350" y="321"/>
                </a:moveTo>
                <a:cubicBezTo>
                  <a:pt x="352" y="322"/>
                  <a:pt x="348" y="321"/>
                  <a:pt x="347" y="321"/>
                </a:cubicBezTo>
                <a:cubicBezTo>
                  <a:pt x="348" y="321"/>
                  <a:pt x="349" y="321"/>
                  <a:pt x="350" y="321"/>
                </a:cubicBezTo>
                <a:close/>
                <a:moveTo>
                  <a:pt x="420" y="221"/>
                </a:moveTo>
                <a:cubicBezTo>
                  <a:pt x="420" y="221"/>
                  <a:pt x="419" y="221"/>
                  <a:pt x="419" y="221"/>
                </a:cubicBezTo>
                <a:cubicBezTo>
                  <a:pt x="420" y="221"/>
                  <a:pt x="421" y="220"/>
                  <a:pt x="422" y="219"/>
                </a:cubicBezTo>
                <a:cubicBezTo>
                  <a:pt x="421" y="220"/>
                  <a:pt x="421" y="221"/>
                  <a:pt x="420" y="221"/>
                </a:cubicBezTo>
                <a:close/>
                <a:moveTo>
                  <a:pt x="463" y="169"/>
                </a:moveTo>
                <a:cubicBezTo>
                  <a:pt x="460" y="170"/>
                  <a:pt x="467" y="181"/>
                  <a:pt x="456" y="180"/>
                </a:cubicBezTo>
                <a:cubicBezTo>
                  <a:pt x="452" y="180"/>
                  <a:pt x="451" y="173"/>
                  <a:pt x="445" y="176"/>
                </a:cubicBezTo>
                <a:cubicBezTo>
                  <a:pt x="442" y="178"/>
                  <a:pt x="441" y="187"/>
                  <a:pt x="438" y="187"/>
                </a:cubicBezTo>
                <a:cubicBezTo>
                  <a:pt x="432" y="187"/>
                  <a:pt x="436" y="172"/>
                  <a:pt x="425" y="172"/>
                </a:cubicBezTo>
                <a:cubicBezTo>
                  <a:pt x="423" y="172"/>
                  <a:pt x="418" y="174"/>
                  <a:pt x="416" y="174"/>
                </a:cubicBezTo>
                <a:cubicBezTo>
                  <a:pt x="415" y="175"/>
                  <a:pt x="408" y="181"/>
                  <a:pt x="409" y="180"/>
                </a:cubicBezTo>
                <a:cubicBezTo>
                  <a:pt x="406" y="181"/>
                  <a:pt x="405" y="177"/>
                  <a:pt x="402" y="177"/>
                </a:cubicBezTo>
                <a:cubicBezTo>
                  <a:pt x="398" y="178"/>
                  <a:pt x="399" y="183"/>
                  <a:pt x="397" y="184"/>
                </a:cubicBezTo>
                <a:cubicBezTo>
                  <a:pt x="391" y="187"/>
                  <a:pt x="385" y="174"/>
                  <a:pt x="380" y="172"/>
                </a:cubicBezTo>
                <a:cubicBezTo>
                  <a:pt x="377" y="171"/>
                  <a:pt x="374" y="174"/>
                  <a:pt x="370" y="173"/>
                </a:cubicBezTo>
                <a:cubicBezTo>
                  <a:pt x="367" y="172"/>
                  <a:pt x="369" y="167"/>
                  <a:pt x="363" y="169"/>
                </a:cubicBezTo>
                <a:cubicBezTo>
                  <a:pt x="360" y="171"/>
                  <a:pt x="363" y="177"/>
                  <a:pt x="357" y="176"/>
                </a:cubicBezTo>
                <a:cubicBezTo>
                  <a:pt x="354" y="176"/>
                  <a:pt x="354" y="170"/>
                  <a:pt x="349" y="171"/>
                </a:cubicBezTo>
                <a:cubicBezTo>
                  <a:pt x="348" y="171"/>
                  <a:pt x="346" y="175"/>
                  <a:pt x="344" y="175"/>
                </a:cubicBezTo>
                <a:cubicBezTo>
                  <a:pt x="343" y="176"/>
                  <a:pt x="339" y="174"/>
                  <a:pt x="337" y="174"/>
                </a:cubicBezTo>
                <a:cubicBezTo>
                  <a:pt x="331" y="175"/>
                  <a:pt x="327" y="177"/>
                  <a:pt x="324" y="183"/>
                </a:cubicBezTo>
                <a:cubicBezTo>
                  <a:pt x="318" y="193"/>
                  <a:pt x="325" y="198"/>
                  <a:pt x="330" y="206"/>
                </a:cubicBezTo>
                <a:cubicBezTo>
                  <a:pt x="325" y="199"/>
                  <a:pt x="316" y="208"/>
                  <a:pt x="311" y="212"/>
                </a:cubicBezTo>
                <a:cubicBezTo>
                  <a:pt x="314" y="203"/>
                  <a:pt x="327" y="205"/>
                  <a:pt x="318" y="194"/>
                </a:cubicBezTo>
                <a:cubicBezTo>
                  <a:pt x="314" y="188"/>
                  <a:pt x="302" y="179"/>
                  <a:pt x="296" y="177"/>
                </a:cubicBezTo>
                <a:cubicBezTo>
                  <a:pt x="292" y="176"/>
                  <a:pt x="280" y="176"/>
                  <a:pt x="276" y="177"/>
                </a:cubicBezTo>
                <a:cubicBezTo>
                  <a:pt x="271" y="178"/>
                  <a:pt x="271" y="180"/>
                  <a:pt x="265" y="179"/>
                </a:cubicBezTo>
                <a:cubicBezTo>
                  <a:pt x="262" y="179"/>
                  <a:pt x="258" y="176"/>
                  <a:pt x="255" y="177"/>
                </a:cubicBezTo>
                <a:cubicBezTo>
                  <a:pt x="258" y="181"/>
                  <a:pt x="253" y="178"/>
                  <a:pt x="250" y="180"/>
                </a:cubicBezTo>
                <a:cubicBezTo>
                  <a:pt x="248" y="181"/>
                  <a:pt x="242" y="188"/>
                  <a:pt x="239" y="184"/>
                </a:cubicBezTo>
                <a:cubicBezTo>
                  <a:pt x="237" y="182"/>
                  <a:pt x="258" y="173"/>
                  <a:pt x="245" y="174"/>
                </a:cubicBezTo>
                <a:cubicBezTo>
                  <a:pt x="248" y="169"/>
                  <a:pt x="265" y="169"/>
                  <a:pt x="258" y="165"/>
                </a:cubicBezTo>
                <a:cubicBezTo>
                  <a:pt x="275" y="166"/>
                  <a:pt x="286" y="163"/>
                  <a:pt x="301" y="155"/>
                </a:cubicBezTo>
                <a:cubicBezTo>
                  <a:pt x="306" y="153"/>
                  <a:pt x="311" y="149"/>
                  <a:pt x="316" y="148"/>
                </a:cubicBezTo>
                <a:cubicBezTo>
                  <a:pt x="324" y="145"/>
                  <a:pt x="328" y="145"/>
                  <a:pt x="336" y="139"/>
                </a:cubicBezTo>
                <a:cubicBezTo>
                  <a:pt x="341" y="135"/>
                  <a:pt x="346" y="128"/>
                  <a:pt x="353" y="126"/>
                </a:cubicBezTo>
                <a:cubicBezTo>
                  <a:pt x="359" y="124"/>
                  <a:pt x="368" y="128"/>
                  <a:pt x="374" y="130"/>
                </a:cubicBezTo>
                <a:cubicBezTo>
                  <a:pt x="390" y="134"/>
                  <a:pt x="406" y="136"/>
                  <a:pt x="421" y="140"/>
                </a:cubicBezTo>
                <a:cubicBezTo>
                  <a:pt x="438" y="144"/>
                  <a:pt x="449" y="162"/>
                  <a:pt x="464" y="168"/>
                </a:cubicBezTo>
                <a:cubicBezTo>
                  <a:pt x="464" y="170"/>
                  <a:pt x="464" y="169"/>
                  <a:pt x="463" y="169"/>
                </a:cubicBezTo>
                <a:close/>
                <a:moveTo>
                  <a:pt x="513" y="81"/>
                </a:moveTo>
                <a:cubicBezTo>
                  <a:pt x="516" y="78"/>
                  <a:pt x="517" y="74"/>
                  <a:pt x="514" y="71"/>
                </a:cubicBezTo>
                <a:cubicBezTo>
                  <a:pt x="517" y="74"/>
                  <a:pt x="516" y="78"/>
                  <a:pt x="513" y="8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799"/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797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7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7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02">
            <a:extLst>
              <a:ext uri="{FF2B5EF4-FFF2-40B4-BE49-F238E27FC236}">
                <a16:creationId xmlns:a16="http://schemas.microsoft.com/office/drawing/2014/main" id="{660C24A8-D3DD-B24B-AB13-0A6C854AEAAA}"/>
              </a:ext>
            </a:extLst>
          </p:cNvPr>
          <p:cNvSpPr>
            <a:spLocks noGrp="1" noEditPoints="1"/>
          </p:cNvSpPr>
          <p:nvPr>
            <p:ph type="pic" sz="quarter" idx="29"/>
          </p:nvPr>
        </p:nvSpPr>
        <p:spPr bwMode="auto">
          <a:xfrm flipH="1">
            <a:off x="6944" y="801012"/>
            <a:ext cx="7097036" cy="6056988"/>
          </a:xfrm>
          <a:custGeom>
            <a:avLst/>
            <a:gdLst>
              <a:gd name="T0" fmla="*/ 32250 w 33125"/>
              <a:gd name="T1" fmla="*/ 12469 h 29406"/>
              <a:gd name="T2" fmla="*/ 31875 w 33125"/>
              <a:gd name="T3" fmla="*/ 11469 h 29406"/>
              <a:gd name="T4" fmla="*/ 28281 w 33125"/>
              <a:gd name="T5" fmla="*/ 7375 h 29406"/>
              <a:gd name="T6" fmla="*/ 26844 w 33125"/>
              <a:gd name="T7" fmla="*/ 5875 h 29406"/>
              <a:gd name="T8" fmla="*/ 23000 w 33125"/>
              <a:gd name="T9" fmla="*/ 3688 h 29406"/>
              <a:gd name="T10" fmla="*/ 23406 w 33125"/>
              <a:gd name="T11" fmla="*/ 6406 h 29406"/>
              <a:gd name="T12" fmla="*/ 26875 w 33125"/>
              <a:gd name="T13" fmla="*/ 9156 h 29406"/>
              <a:gd name="T14" fmla="*/ 24687 w 33125"/>
              <a:gd name="T15" fmla="*/ 10438 h 29406"/>
              <a:gd name="T16" fmla="*/ 21375 w 33125"/>
              <a:gd name="T17" fmla="*/ 10719 h 29406"/>
              <a:gd name="T18" fmla="*/ 21281 w 33125"/>
              <a:gd name="T19" fmla="*/ 10250 h 29406"/>
              <a:gd name="T20" fmla="*/ 20281 w 33125"/>
              <a:gd name="T21" fmla="*/ 9625 h 29406"/>
              <a:gd name="T22" fmla="*/ 19281 w 33125"/>
              <a:gd name="T23" fmla="*/ 9625 h 29406"/>
              <a:gd name="T24" fmla="*/ 18187 w 33125"/>
              <a:gd name="T25" fmla="*/ 7531 h 29406"/>
              <a:gd name="T26" fmla="*/ 17594 w 33125"/>
              <a:gd name="T27" fmla="*/ 5938 h 29406"/>
              <a:gd name="T28" fmla="*/ 18937 w 33125"/>
              <a:gd name="T29" fmla="*/ 8688 h 29406"/>
              <a:gd name="T30" fmla="*/ 20594 w 33125"/>
              <a:gd name="T31" fmla="*/ 6938 h 29406"/>
              <a:gd name="T32" fmla="*/ 20625 w 33125"/>
              <a:gd name="T33" fmla="*/ 3625 h 29406"/>
              <a:gd name="T34" fmla="*/ 20250 w 33125"/>
              <a:gd name="T35" fmla="*/ 3000 h 29406"/>
              <a:gd name="T36" fmla="*/ 18812 w 33125"/>
              <a:gd name="T37" fmla="*/ 1406 h 29406"/>
              <a:gd name="T38" fmla="*/ 16437 w 33125"/>
              <a:gd name="T39" fmla="*/ 1250 h 29406"/>
              <a:gd name="T40" fmla="*/ 14250 w 33125"/>
              <a:gd name="T41" fmla="*/ 1844 h 29406"/>
              <a:gd name="T42" fmla="*/ 13312 w 33125"/>
              <a:gd name="T43" fmla="*/ 2344 h 29406"/>
              <a:gd name="T44" fmla="*/ 13000 w 33125"/>
              <a:gd name="T45" fmla="*/ 2656 h 29406"/>
              <a:gd name="T46" fmla="*/ 13219 w 33125"/>
              <a:gd name="T47" fmla="*/ 5531 h 29406"/>
              <a:gd name="T48" fmla="*/ 13406 w 33125"/>
              <a:gd name="T49" fmla="*/ 8656 h 29406"/>
              <a:gd name="T50" fmla="*/ 14250 w 33125"/>
              <a:gd name="T51" fmla="*/ 10313 h 29406"/>
              <a:gd name="T52" fmla="*/ 13187 w 33125"/>
              <a:gd name="T53" fmla="*/ 10781 h 29406"/>
              <a:gd name="T54" fmla="*/ 9594 w 33125"/>
              <a:gd name="T55" fmla="*/ 9594 h 29406"/>
              <a:gd name="T56" fmla="*/ 9531 w 33125"/>
              <a:gd name="T57" fmla="*/ 9375 h 29406"/>
              <a:gd name="T58" fmla="*/ 4437 w 33125"/>
              <a:gd name="T59" fmla="*/ 4406 h 29406"/>
              <a:gd name="T60" fmla="*/ 1250 w 33125"/>
              <a:gd name="T61" fmla="*/ 125 h 29406"/>
              <a:gd name="T62" fmla="*/ 125 w 33125"/>
              <a:gd name="T63" fmla="*/ 1906 h 29406"/>
              <a:gd name="T64" fmla="*/ 2812 w 33125"/>
              <a:gd name="T65" fmla="*/ 5500 h 29406"/>
              <a:gd name="T66" fmla="*/ 5281 w 33125"/>
              <a:gd name="T67" fmla="*/ 9688 h 29406"/>
              <a:gd name="T68" fmla="*/ 8312 w 33125"/>
              <a:gd name="T69" fmla="*/ 12188 h 29406"/>
              <a:gd name="T70" fmla="*/ 12687 w 33125"/>
              <a:gd name="T71" fmla="*/ 14750 h 29406"/>
              <a:gd name="T72" fmla="*/ 14562 w 33125"/>
              <a:gd name="T73" fmla="*/ 15625 h 29406"/>
              <a:gd name="T74" fmla="*/ 15906 w 33125"/>
              <a:gd name="T75" fmla="*/ 19563 h 29406"/>
              <a:gd name="T76" fmla="*/ 17219 w 33125"/>
              <a:gd name="T77" fmla="*/ 24781 h 29406"/>
              <a:gd name="T78" fmla="*/ 25844 w 33125"/>
              <a:gd name="T79" fmla="*/ 29063 h 29406"/>
              <a:gd name="T80" fmla="*/ 26781 w 33125"/>
              <a:gd name="T81" fmla="*/ 21594 h 29406"/>
              <a:gd name="T82" fmla="*/ 26812 w 33125"/>
              <a:gd name="T83" fmla="*/ 19344 h 29406"/>
              <a:gd name="T84" fmla="*/ 27000 w 33125"/>
              <a:gd name="T85" fmla="*/ 16094 h 29406"/>
              <a:gd name="T86" fmla="*/ 30125 w 33125"/>
              <a:gd name="T87" fmla="*/ 16250 h 29406"/>
              <a:gd name="T88" fmla="*/ 26812 w 33125"/>
              <a:gd name="T89" fmla="*/ 8875 h 29406"/>
              <a:gd name="T90" fmla="*/ 17656 w 33125"/>
              <a:gd name="T91" fmla="*/ 5781 h 29406"/>
              <a:gd name="T92" fmla="*/ 1031 w 33125"/>
              <a:gd name="T93" fmla="*/ 781 h 29406"/>
              <a:gd name="T94" fmla="*/ 6375 w 33125"/>
              <a:gd name="T95" fmla="*/ 6563 h 29406"/>
              <a:gd name="T96" fmla="*/ 11594 w 33125"/>
              <a:gd name="T97" fmla="*/ 14313 h 29406"/>
              <a:gd name="T98" fmla="*/ 15812 w 33125"/>
              <a:gd name="T99" fmla="*/ 18344 h 29406"/>
              <a:gd name="T100" fmla="*/ 26437 w 33125"/>
              <a:gd name="T101" fmla="*/ 17250 h 29406"/>
              <a:gd name="T102" fmla="*/ 24969 w 33125"/>
              <a:gd name="T103" fmla="*/ 16563 h 29406"/>
              <a:gd name="T104" fmla="*/ 21719 w 33125"/>
              <a:gd name="T105" fmla="*/ 10813 h 29406"/>
              <a:gd name="T106" fmla="*/ 17031 w 33125"/>
              <a:gd name="T107" fmla="*/ 9344 h 29406"/>
              <a:gd name="T108" fmla="*/ 16500 w 33125"/>
              <a:gd name="T109" fmla="*/ 7813 h 29406"/>
              <a:gd name="T110" fmla="*/ 16219 w 33125"/>
              <a:gd name="T111" fmla="*/ 6938 h 29406"/>
              <a:gd name="T112" fmla="*/ 14094 w 33125"/>
              <a:gd name="T113" fmla="*/ 11438 h 29406"/>
              <a:gd name="T114" fmla="*/ 13937 w 33125"/>
              <a:gd name="T115" fmla="*/ 14750 h 29406"/>
              <a:gd name="T116" fmla="*/ 29031 w 33125"/>
              <a:gd name="T117" fmla="*/ 15000 h 29406"/>
              <a:gd name="T118" fmla="*/ 31656 w 33125"/>
              <a:gd name="T119" fmla="*/ 11531 h 29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125" h="29406">
                <a:moveTo>
                  <a:pt x="33000" y="14531"/>
                </a:moveTo>
                <a:cubicBezTo>
                  <a:pt x="32937" y="14406"/>
                  <a:pt x="32844" y="14406"/>
                  <a:pt x="32719" y="14375"/>
                </a:cubicBezTo>
                <a:cubicBezTo>
                  <a:pt x="32687" y="14375"/>
                  <a:pt x="32656" y="14313"/>
                  <a:pt x="32656" y="14281"/>
                </a:cubicBezTo>
                <a:cubicBezTo>
                  <a:pt x="32594" y="14156"/>
                  <a:pt x="32562" y="14000"/>
                  <a:pt x="32562" y="13844"/>
                </a:cubicBezTo>
                <a:cubicBezTo>
                  <a:pt x="32594" y="13750"/>
                  <a:pt x="32625" y="13688"/>
                  <a:pt x="32531" y="13625"/>
                </a:cubicBezTo>
                <a:cubicBezTo>
                  <a:pt x="32594" y="13563"/>
                  <a:pt x="32437" y="13469"/>
                  <a:pt x="32562" y="13438"/>
                </a:cubicBezTo>
                <a:cubicBezTo>
                  <a:pt x="32594" y="13406"/>
                  <a:pt x="32562" y="13344"/>
                  <a:pt x="32562" y="13281"/>
                </a:cubicBezTo>
                <a:cubicBezTo>
                  <a:pt x="32469" y="13094"/>
                  <a:pt x="32312" y="12938"/>
                  <a:pt x="32312" y="12719"/>
                </a:cubicBezTo>
                <a:cubicBezTo>
                  <a:pt x="32312" y="12625"/>
                  <a:pt x="32281" y="12531"/>
                  <a:pt x="32250" y="12469"/>
                </a:cubicBezTo>
                <a:cubicBezTo>
                  <a:pt x="32344" y="12438"/>
                  <a:pt x="32312" y="12563"/>
                  <a:pt x="32406" y="12563"/>
                </a:cubicBezTo>
                <a:cubicBezTo>
                  <a:pt x="32406" y="12500"/>
                  <a:pt x="32406" y="12406"/>
                  <a:pt x="32437" y="12375"/>
                </a:cubicBezTo>
                <a:cubicBezTo>
                  <a:pt x="32531" y="12344"/>
                  <a:pt x="32469" y="12281"/>
                  <a:pt x="32469" y="12250"/>
                </a:cubicBezTo>
                <a:cubicBezTo>
                  <a:pt x="32437" y="12188"/>
                  <a:pt x="32375" y="12156"/>
                  <a:pt x="32312" y="12125"/>
                </a:cubicBezTo>
                <a:cubicBezTo>
                  <a:pt x="32312" y="12188"/>
                  <a:pt x="32219" y="12188"/>
                  <a:pt x="32219" y="12281"/>
                </a:cubicBezTo>
                <a:cubicBezTo>
                  <a:pt x="32219" y="12281"/>
                  <a:pt x="32219" y="12313"/>
                  <a:pt x="32187" y="12313"/>
                </a:cubicBezTo>
                <a:cubicBezTo>
                  <a:pt x="32062" y="12156"/>
                  <a:pt x="32125" y="11969"/>
                  <a:pt x="32031" y="11781"/>
                </a:cubicBezTo>
                <a:cubicBezTo>
                  <a:pt x="31969" y="11719"/>
                  <a:pt x="31906" y="11656"/>
                  <a:pt x="31906" y="11563"/>
                </a:cubicBezTo>
                <a:cubicBezTo>
                  <a:pt x="31906" y="11531"/>
                  <a:pt x="31781" y="11500"/>
                  <a:pt x="31875" y="11469"/>
                </a:cubicBezTo>
                <a:cubicBezTo>
                  <a:pt x="31969" y="11406"/>
                  <a:pt x="32000" y="11500"/>
                  <a:pt x="32000" y="11531"/>
                </a:cubicBezTo>
                <a:cubicBezTo>
                  <a:pt x="32000" y="11656"/>
                  <a:pt x="32094" y="11688"/>
                  <a:pt x="32156" y="11750"/>
                </a:cubicBezTo>
                <a:cubicBezTo>
                  <a:pt x="32187" y="11656"/>
                  <a:pt x="32125" y="11625"/>
                  <a:pt x="32094" y="11563"/>
                </a:cubicBezTo>
                <a:cubicBezTo>
                  <a:pt x="31875" y="11125"/>
                  <a:pt x="31656" y="10688"/>
                  <a:pt x="31375" y="10281"/>
                </a:cubicBezTo>
                <a:cubicBezTo>
                  <a:pt x="31219" y="10031"/>
                  <a:pt x="31031" y="9813"/>
                  <a:pt x="30844" y="9594"/>
                </a:cubicBezTo>
                <a:cubicBezTo>
                  <a:pt x="30719" y="9469"/>
                  <a:pt x="30625" y="9344"/>
                  <a:pt x="30500" y="9219"/>
                </a:cubicBezTo>
                <a:cubicBezTo>
                  <a:pt x="29969" y="8719"/>
                  <a:pt x="29406" y="8188"/>
                  <a:pt x="28812" y="7719"/>
                </a:cubicBezTo>
                <a:cubicBezTo>
                  <a:pt x="28656" y="7625"/>
                  <a:pt x="28531" y="7406"/>
                  <a:pt x="28312" y="7406"/>
                </a:cubicBezTo>
                <a:cubicBezTo>
                  <a:pt x="28281" y="7406"/>
                  <a:pt x="28250" y="7375"/>
                  <a:pt x="28281" y="7375"/>
                </a:cubicBezTo>
                <a:cubicBezTo>
                  <a:pt x="28281" y="7250"/>
                  <a:pt x="28219" y="7250"/>
                  <a:pt x="28156" y="7188"/>
                </a:cubicBezTo>
                <a:cubicBezTo>
                  <a:pt x="28031" y="7063"/>
                  <a:pt x="27875" y="6969"/>
                  <a:pt x="27750" y="6844"/>
                </a:cubicBezTo>
                <a:cubicBezTo>
                  <a:pt x="27687" y="6813"/>
                  <a:pt x="27625" y="6750"/>
                  <a:pt x="27625" y="6656"/>
                </a:cubicBezTo>
                <a:cubicBezTo>
                  <a:pt x="27625" y="6656"/>
                  <a:pt x="27625" y="6656"/>
                  <a:pt x="27625" y="6656"/>
                </a:cubicBezTo>
                <a:cubicBezTo>
                  <a:pt x="27625" y="6625"/>
                  <a:pt x="27625" y="6625"/>
                  <a:pt x="27625" y="6625"/>
                </a:cubicBezTo>
                <a:cubicBezTo>
                  <a:pt x="27625" y="6625"/>
                  <a:pt x="27625" y="6625"/>
                  <a:pt x="27625" y="6594"/>
                </a:cubicBezTo>
                <a:cubicBezTo>
                  <a:pt x="27625" y="6594"/>
                  <a:pt x="27594" y="6594"/>
                  <a:pt x="27594" y="6563"/>
                </a:cubicBezTo>
                <a:cubicBezTo>
                  <a:pt x="27594" y="6563"/>
                  <a:pt x="27562" y="6594"/>
                  <a:pt x="27562" y="6563"/>
                </a:cubicBezTo>
                <a:cubicBezTo>
                  <a:pt x="27281" y="6375"/>
                  <a:pt x="27094" y="6094"/>
                  <a:pt x="26844" y="5875"/>
                </a:cubicBezTo>
                <a:cubicBezTo>
                  <a:pt x="26687" y="5719"/>
                  <a:pt x="26531" y="5531"/>
                  <a:pt x="26344" y="5344"/>
                </a:cubicBezTo>
                <a:cubicBezTo>
                  <a:pt x="26219" y="5219"/>
                  <a:pt x="26031" y="5125"/>
                  <a:pt x="25875" y="5031"/>
                </a:cubicBezTo>
                <a:cubicBezTo>
                  <a:pt x="25750" y="4875"/>
                  <a:pt x="25625" y="4719"/>
                  <a:pt x="25531" y="4563"/>
                </a:cubicBezTo>
                <a:cubicBezTo>
                  <a:pt x="25219" y="4156"/>
                  <a:pt x="24781" y="3906"/>
                  <a:pt x="24437" y="3563"/>
                </a:cubicBezTo>
                <a:cubicBezTo>
                  <a:pt x="24375" y="3500"/>
                  <a:pt x="24312" y="3469"/>
                  <a:pt x="24250" y="3438"/>
                </a:cubicBezTo>
                <a:cubicBezTo>
                  <a:pt x="24156" y="3344"/>
                  <a:pt x="23906" y="3344"/>
                  <a:pt x="23844" y="3406"/>
                </a:cubicBezTo>
                <a:cubicBezTo>
                  <a:pt x="23750" y="3500"/>
                  <a:pt x="23687" y="3469"/>
                  <a:pt x="23625" y="3438"/>
                </a:cubicBezTo>
                <a:cubicBezTo>
                  <a:pt x="23500" y="3344"/>
                  <a:pt x="23344" y="3281"/>
                  <a:pt x="23219" y="3375"/>
                </a:cubicBezTo>
                <a:cubicBezTo>
                  <a:pt x="23094" y="3438"/>
                  <a:pt x="23031" y="3531"/>
                  <a:pt x="23000" y="3688"/>
                </a:cubicBezTo>
                <a:cubicBezTo>
                  <a:pt x="22937" y="3750"/>
                  <a:pt x="22812" y="3719"/>
                  <a:pt x="22781" y="3844"/>
                </a:cubicBezTo>
                <a:cubicBezTo>
                  <a:pt x="22625" y="3875"/>
                  <a:pt x="22625" y="4000"/>
                  <a:pt x="22594" y="4125"/>
                </a:cubicBezTo>
                <a:cubicBezTo>
                  <a:pt x="22531" y="4188"/>
                  <a:pt x="22500" y="4313"/>
                  <a:pt x="22406" y="4375"/>
                </a:cubicBezTo>
                <a:cubicBezTo>
                  <a:pt x="22344" y="4469"/>
                  <a:pt x="22281" y="4500"/>
                  <a:pt x="22281" y="4594"/>
                </a:cubicBezTo>
                <a:cubicBezTo>
                  <a:pt x="22250" y="5094"/>
                  <a:pt x="22125" y="5594"/>
                  <a:pt x="22250" y="6094"/>
                </a:cubicBezTo>
                <a:cubicBezTo>
                  <a:pt x="22281" y="6188"/>
                  <a:pt x="22344" y="6250"/>
                  <a:pt x="22406" y="6281"/>
                </a:cubicBezTo>
                <a:cubicBezTo>
                  <a:pt x="22562" y="6375"/>
                  <a:pt x="22781" y="6375"/>
                  <a:pt x="22937" y="6500"/>
                </a:cubicBezTo>
                <a:cubicBezTo>
                  <a:pt x="23000" y="6531"/>
                  <a:pt x="23062" y="6531"/>
                  <a:pt x="23125" y="6469"/>
                </a:cubicBezTo>
                <a:cubicBezTo>
                  <a:pt x="23219" y="6406"/>
                  <a:pt x="23312" y="6375"/>
                  <a:pt x="23406" y="6406"/>
                </a:cubicBezTo>
                <a:cubicBezTo>
                  <a:pt x="23437" y="6406"/>
                  <a:pt x="23500" y="6438"/>
                  <a:pt x="23531" y="6375"/>
                </a:cubicBezTo>
                <a:cubicBezTo>
                  <a:pt x="23625" y="6281"/>
                  <a:pt x="23750" y="6281"/>
                  <a:pt x="23844" y="6188"/>
                </a:cubicBezTo>
                <a:cubicBezTo>
                  <a:pt x="23937" y="6281"/>
                  <a:pt x="24094" y="6344"/>
                  <a:pt x="24219" y="6406"/>
                </a:cubicBezTo>
                <a:cubicBezTo>
                  <a:pt x="24312" y="6438"/>
                  <a:pt x="24375" y="6469"/>
                  <a:pt x="24469" y="6438"/>
                </a:cubicBezTo>
                <a:cubicBezTo>
                  <a:pt x="24531" y="6469"/>
                  <a:pt x="24594" y="6500"/>
                  <a:pt x="24656" y="6500"/>
                </a:cubicBezTo>
                <a:cubicBezTo>
                  <a:pt x="24875" y="6500"/>
                  <a:pt x="25062" y="6625"/>
                  <a:pt x="25219" y="6719"/>
                </a:cubicBezTo>
                <a:cubicBezTo>
                  <a:pt x="25406" y="6875"/>
                  <a:pt x="25531" y="7094"/>
                  <a:pt x="25687" y="7219"/>
                </a:cubicBezTo>
                <a:cubicBezTo>
                  <a:pt x="25687" y="7250"/>
                  <a:pt x="25687" y="7281"/>
                  <a:pt x="25687" y="7281"/>
                </a:cubicBezTo>
                <a:cubicBezTo>
                  <a:pt x="26094" y="7906"/>
                  <a:pt x="26469" y="8531"/>
                  <a:pt x="26875" y="9156"/>
                </a:cubicBezTo>
                <a:cubicBezTo>
                  <a:pt x="27062" y="9469"/>
                  <a:pt x="27156" y="9813"/>
                  <a:pt x="27312" y="10125"/>
                </a:cubicBezTo>
                <a:cubicBezTo>
                  <a:pt x="27437" y="10344"/>
                  <a:pt x="27531" y="10563"/>
                  <a:pt x="27625" y="10781"/>
                </a:cubicBezTo>
                <a:cubicBezTo>
                  <a:pt x="27656" y="10813"/>
                  <a:pt x="27687" y="10875"/>
                  <a:pt x="27625" y="10875"/>
                </a:cubicBezTo>
                <a:cubicBezTo>
                  <a:pt x="27469" y="10875"/>
                  <a:pt x="27344" y="10906"/>
                  <a:pt x="27219" y="10875"/>
                </a:cubicBezTo>
                <a:cubicBezTo>
                  <a:pt x="27000" y="10781"/>
                  <a:pt x="26750" y="10719"/>
                  <a:pt x="26500" y="10563"/>
                </a:cubicBezTo>
                <a:cubicBezTo>
                  <a:pt x="26312" y="10469"/>
                  <a:pt x="26094" y="10375"/>
                  <a:pt x="25875" y="10500"/>
                </a:cubicBezTo>
                <a:cubicBezTo>
                  <a:pt x="25812" y="10531"/>
                  <a:pt x="25719" y="10531"/>
                  <a:pt x="25656" y="10531"/>
                </a:cubicBezTo>
                <a:cubicBezTo>
                  <a:pt x="25469" y="10500"/>
                  <a:pt x="25281" y="10438"/>
                  <a:pt x="25094" y="10438"/>
                </a:cubicBezTo>
                <a:cubicBezTo>
                  <a:pt x="24969" y="10438"/>
                  <a:pt x="24812" y="10438"/>
                  <a:pt x="24687" y="10438"/>
                </a:cubicBezTo>
                <a:cubicBezTo>
                  <a:pt x="24625" y="10438"/>
                  <a:pt x="24594" y="10406"/>
                  <a:pt x="24562" y="10375"/>
                </a:cubicBezTo>
                <a:cubicBezTo>
                  <a:pt x="24375" y="10188"/>
                  <a:pt x="24156" y="10031"/>
                  <a:pt x="23875" y="10000"/>
                </a:cubicBezTo>
                <a:cubicBezTo>
                  <a:pt x="23562" y="9969"/>
                  <a:pt x="23219" y="9969"/>
                  <a:pt x="22969" y="10250"/>
                </a:cubicBezTo>
                <a:cubicBezTo>
                  <a:pt x="22875" y="10344"/>
                  <a:pt x="22750" y="10344"/>
                  <a:pt x="22625" y="10219"/>
                </a:cubicBezTo>
                <a:cubicBezTo>
                  <a:pt x="22594" y="10188"/>
                  <a:pt x="22531" y="10125"/>
                  <a:pt x="22469" y="10063"/>
                </a:cubicBezTo>
                <a:cubicBezTo>
                  <a:pt x="22406" y="9969"/>
                  <a:pt x="22312" y="9969"/>
                  <a:pt x="22250" y="10031"/>
                </a:cubicBezTo>
                <a:cubicBezTo>
                  <a:pt x="21937" y="10250"/>
                  <a:pt x="21687" y="10531"/>
                  <a:pt x="21500" y="10875"/>
                </a:cubicBezTo>
                <a:cubicBezTo>
                  <a:pt x="21344" y="11031"/>
                  <a:pt x="21187" y="11219"/>
                  <a:pt x="21000" y="11375"/>
                </a:cubicBezTo>
                <a:cubicBezTo>
                  <a:pt x="21125" y="11156"/>
                  <a:pt x="21250" y="10938"/>
                  <a:pt x="21375" y="10719"/>
                </a:cubicBezTo>
                <a:cubicBezTo>
                  <a:pt x="21406" y="10688"/>
                  <a:pt x="21437" y="10625"/>
                  <a:pt x="21469" y="10563"/>
                </a:cubicBezTo>
                <a:cubicBezTo>
                  <a:pt x="21469" y="10563"/>
                  <a:pt x="21469" y="10563"/>
                  <a:pt x="21469" y="10563"/>
                </a:cubicBezTo>
                <a:cubicBezTo>
                  <a:pt x="21562" y="10531"/>
                  <a:pt x="21562" y="10406"/>
                  <a:pt x="21625" y="10344"/>
                </a:cubicBezTo>
                <a:cubicBezTo>
                  <a:pt x="21750" y="10250"/>
                  <a:pt x="21844" y="10094"/>
                  <a:pt x="21969" y="9969"/>
                </a:cubicBezTo>
                <a:cubicBezTo>
                  <a:pt x="22000" y="9938"/>
                  <a:pt x="22031" y="9906"/>
                  <a:pt x="22000" y="9875"/>
                </a:cubicBezTo>
                <a:cubicBezTo>
                  <a:pt x="21969" y="9844"/>
                  <a:pt x="21937" y="9875"/>
                  <a:pt x="21906" y="9875"/>
                </a:cubicBezTo>
                <a:cubicBezTo>
                  <a:pt x="21875" y="9906"/>
                  <a:pt x="21844" y="9906"/>
                  <a:pt x="21844" y="9906"/>
                </a:cubicBezTo>
                <a:cubicBezTo>
                  <a:pt x="21687" y="10031"/>
                  <a:pt x="21531" y="10125"/>
                  <a:pt x="21344" y="10156"/>
                </a:cubicBezTo>
                <a:cubicBezTo>
                  <a:pt x="21281" y="10188"/>
                  <a:pt x="21250" y="10188"/>
                  <a:pt x="21281" y="10250"/>
                </a:cubicBezTo>
                <a:cubicBezTo>
                  <a:pt x="21281" y="10250"/>
                  <a:pt x="21281" y="10250"/>
                  <a:pt x="21281" y="10250"/>
                </a:cubicBezTo>
                <a:cubicBezTo>
                  <a:pt x="21187" y="10375"/>
                  <a:pt x="21062" y="10469"/>
                  <a:pt x="20969" y="10563"/>
                </a:cubicBezTo>
                <a:cubicBezTo>
                  <a:pt x="21062" y="10469"/>
                  <a:pt x="21187" y="10375"/>
                  <a:pt x="21281" y="10250"/>
                </a:cubicBezTo>
                <a:cubicBezTo>
                  <a:pt x="21250" y="10250"/>
                  <a:pt x="21219" y="10250"/>
                  <a:pt x="21187" y="10219"/>
                </a:cubicBezTo>
                <a:cubicBezTo>
                  <a:pt x="21094" y="10125"/>
                  <a:pt x="21062" y="9938"/>
                  <a:pt x="20875" y="9969"/>
                </a:cubicBezTo>
                <a:cubicBezTo>
                  <a:pt x="20875" y="9844"/>
                  <a:pt x="20719" y="9938"/>
                  <a:pt x="20687" y="9875"/>
                </a:cubicBezTo>
                <a:cubicBezTo>
                  <a:pt x="20625" y="9688"/>
                  <a:pt x="20500" y="9625"/>
                  <a:pt x="20344" y="9563"/>
                </a:cubicBezTo>
                <a:cubicBezTo>
                  <a:pt x="20344" y="9531"/>
                  <a:pt x="20312" y="9531"/>
                  <a:pt x="20281" y="9531"/>
                </a:cubicBezTo>
                <a:cubicBezTo>
                  <a:pt x="20250" y="9563"/>
                  <a:pt x="20281" y="9594"/>
                  <a:pt x="20281" y="9625"/>
                </a:cubicBezTo>
                <a:cubicBezTo>
                  <a:pt x="20281" y="9656"/>
                  <a:pt x="20281" y="9688"/>
                  <a:pt x="20312" y="9719"/>
                </a:cubicBezTo>
                <a:cubicBezTo>
                  <a:pt x="20375" y="9781"/>
                  <a:pt x="20281" y="9813"/>
                  <a:pt x="20250" y="9844"/>
                </a:cubicBezTo>
                <a:cubicBezTo>
                  <a:pt x="20219" y="9875"/>
                  <a:pt x="20156" y="9875"/>
                  <a:pt x="20125" y="9813"/>
                </a:cubicBezTo>
                <a:cubicBezTo>
                  <a:pt x="20094" y="9688"/>
                  <a:pt x="20031" y="9688"/>
                  <a:pt x="19906" y="9781"/>
                </a:cubicBezTo>
                <a:cubicBezTo>
                  <a:pt x="19844" y="9813"/>
                  <a:pt x="19750" y="9750"/>
                  <a:pt x="19719" y="9875"/>
                </a:cubicBezTo>
                <a:cubicBezTo>
                  <a:pt x="19719" y="9906"/>
                  <a:pt x="19687" y="9875"/>
                  <a:pt x="19656" y="9844"/>
                </a:cubicBezTo>
                <a:cubicBezTo>
                  <a:pt x="19656" y="9813"/>
                  <a:pt x="19625" y="9813"/>
                  <a:pt x="19594" y="9813"/>
                </a:cubicBezTo>
                <a:cubicBezTo>
                  <a:pt x="19500" y="9781"/>
                  <a:pt x="19406" y="9781"/>
                  <a:pt x="19375" y="9656"/>
                </a:cubicBezTo>
                <a:cubicBezTo>
                  <a:pt x="19375" y="9594"/>
                  <a:pt x="19344" y="9594"/>
                  <a:pt x="19281" y="9625"/>
                </a:cubicBezTo>
                <a:cubicBezTo>
                  <a:pt x="19125" y="9688"/>
                  <a:pt x="18969" y="9688"/>
                  <a:pt x="18812" y="9750"/>
                </a:cubicBezTo>
                <a:cubicBezTo>
                  <a:pt x="18719" y="9813"/>
                  <a:pt x="18625" y="9750"/>
                  <a:pt x="18625" y="9625"/>
                </a:cubicBezTo>
                <a:cubicBezTo>
                  <a:pt x="18625" y="9531"/>
                  <a:pt x="18625" y="9406"/>
                  <a:pt x="18562" y="9313"/>
                </a:cubicBezTo>
                <a:cubicBezTo>
                  <a:pt x="18469" y="9188"/>
                  <a:pt x="18375" y="9063"/>
                  <a:pt x="18281" y="8906"/>
                </a:cubicBezTo>
                <a:cubicBezTo>
                  <a:pt x="18156" y="8688"/>
                  <a:pt x="18125" y="8438"/>
                  <a:pt x="18062" y="8219"/>
                </a:cubicBezTo>
                <a:cubicBezTo>
                  <a:pt x="18031" y="8063"/>
                  <a:pt x="18094" y="7906"/>
                  <a:pt x="18125" y="7781"/>
                </a:cubicBezTo>
                <a:cubicBezTo>
                  <a:pt x="18125" y="7750"/>
                  <a:pt x="18156" y="7719"/>
                  <a:pt x="18094" y="7688"/>
                </a:cubicBezTo>
                <a:cubicBezTo>
                  <a:pt x="18031" y="7656"/>
                  <a:pt x="18031" y="7625"/>
                  <a:pt x="18125" y="7594"/>
                </a:cubicBezTo>
                <a:cubicBezTo>
                  <a:pt x="18156" y="7594"/>
                  <a:pt x="18187" y="7563"/>
                  <a:pt x="18187" y="7531"/>
                </a:cubicBezTo>
                <a:cubicBezTo>
                  <a:pt x="18125" y="7406"/>
                  <a:pt x="18219" y="7281"/>
                  <a:pt x="18156" y="7156"/>
                </a:cubicBezTo>
                <a:cubicBezTo>
                  <a:pt x="18031" y="7344"/>
                  <a:pt x="17969" y="7563"/>
                  <a:pt x="17781" y="7688"/>
                </a:cubicBezTo>
                <a:cubicBezTo>
                  <a:pt x="17875" y="7469"/>
                  <a:pt x="18000" y="7281"/>
                  <a:pt x="18125" y="7063"/>
                </a:cubicBezTo>
                <a:cubicBezTo>
                  <a:pt x="18281" y="6844"/>
                  <a:pt x="18250" y="6594"/>
                  <a:pt x="18156" y="6344"/>
                </a:cubicBezTo>
                <a:cubicBezTo>
                  <a:pt x="18156" y="6281"/>
                  <a:pt x="18156" y="6188"/>
                  <a:pt x="18062" y="6188"/>
                </a:cubicBezTo>
                <a:cubicBezTo>
                  <a:pt x="18062" y="6188"/>
                  <a:pt x="18062" y="6188"/>
                  <a:pt x="18062" y="6188"/>
                </a:cubicBezTo>
                <a:cubicBezTo>
                  <a:pt x="18062" y="6094"/>
                  <a:pt x="18000" y="6094"/>
                  <a:pt x="17937" y="6094"/>
                </a:cubicBezTo>
                <a:cubicBezTo>
                  <a:pt x="17937" y="6063"/>
                  <a:pt x="17906" y="6063"/>
                  <a:pt x="17875" y="6063"/>
                </a:cubicBezTo>
                <a:cubicBezTo>
                  <a:pt x="17812" y="5938"/>
                  <a:pt x="17719" y="5938"/>
                  <a:pt x="17594" y="5938"/>
                </a:cubicBezTo>
                <a:cubicBezTo>
                  <a:pt x="17625" y="5906"/>
                  <a:pt x="17687" y="5906"/>
                  <a:pt x="17687" y="5875"/>
                </a:cubicBezTo>
                <a:cubicBezTo>
                  <a:pt x="17750" y="5875"/>
                  <a:pt x="17844" y="5844"/>
                  <a:pt x="17906" y="5906"/>
                </a:cubicBezTo>
                <a:cubicBezTo>
                  <a:pt x="18219" y="6031"/>
                  <a:pt x="18406" y="6375"/>
                  <a:pt x="18312" y="6719"/>
                </a:cubicBezTo>
                <a:cubicBezTo>
                  <a:pt x="18281" y="6875"/>
                  <a:pt x="18312" y="7000"/>
                  <a:pt x="18375" y="7125"/>
                </a:cubicBezTo>
                <a:cubicBezTo>
                  <a:pt x="18375" y="7219"/>
                  <a:pt x="18406" y="7281"/>
                  <a:pt x="18406" y="7375"/>
                </a:cubicBezTo>
                <a:cubicBezTo>
                  <a:pt x="18437" y="7531"/>
                  <a:pt x="18437" y="7688"/>
                  <a:pt x="18500" y="7844"/>
                </a:cubicBezTo>
                <a:cubicBezTo>
                  <a:pt x="18531" y="7938"/>
                  <a:pt x="18531" y="8063"/>
                  <a:pt x="18625" y="8156"/>
                </a:cubicBezTo>
                <a:cubicBezTo>
                  <a:pt x="18719" y="8219"/>
                  <a:pt x="18719" y="8344"/>
                  <a:pt x="18719" y="8438"/>
                </a:cubicBezTo>
                <a:cubicBezTo>
                  <a:pt x="18719" y="8531"/>
                  <a:pt x="18812" y="8688"/>
                  <a:pt x="18937" y="8688"/>
                </a:cubicBezTo>
                <a:cubicBezTo>
                  <a:pt x="19062" y="8656"/>
                  <a:pt x="19125" y="8750"/>
                  <a:pt x="19219" y="8813"/>
                </a:cubicBezTo>
                <a:cubicBezTo>
                  <a:pt x="19250" y="8844"/>
                  <a:pt x="19281" y="8938"/>
                  <a:pt x="19344" y="8938"/>
                </a:cubicBezTo>
                <a:cubicBezTo>
                  <a:pt x="19594" y="8938"/>
                  <a:pt x="19719" y="9219"/>
                  <a:pt x="19969" y="9188"/>
                </a:cubicBezTo>
                <a:cubicBezTo>
                  <a:pt x="19969" y="9188"/>
                  <a:pt x="20000" y="9219"/>
                  <a:pt x="20031" y="9250"/>
                </a:cubicBezTo>
                <a:cubicBezTo>
                  <a:pt x="20125" y="9281"/>
                  <a:pt x="20219" y="9281"/>
                  <a:pt x="20281" y="9125"/>
                </a:cubicBezTo>
                <a:cubicBezTo>
                  <a:pt x="20406" y="9125"/>
                  <a:pt x="20344" y="8969"/>
                  <a:pt x="20375" y="8969"/>
                </a:cubicBezTo>
                <a:cubicBezTo>
                  <a:pt x="20562" y="8875"/>
                  <a:pt x="20406" y="8781"/>
                  <a:pt x="20406" y="8688"/>
                </a:cubicBezTo>
                <a:cubicBezTo>
                  <a:pt x="20375" y="8500"/>
                  <a:pt x="20312" y="8344"/>
                  <a:pt x="20312" y="8156"/>
                </a:cubicBezTo>
                <a:cubicBezTo>
                  <a:pt x="20344" y="7719"/>
                  <a:pt x="20437" y="7344"/>
                  <a:pt x="20594" y="6938"/>
                </a:cubicBezTo>
                <a:cubicBezTo>
                  <a:pt x="20687" y="6719"/>
                  <a:pt x="20750" y="6500"/>
                  <a:pt x="20781" y="6250"/>
                </a:cubicBezTo>
                <a:cubicBezTo>
                  <a:pt x="20812" y="6000"/>
                  <a:pt x="20750" y="5781"/>
                  <a:pt x="20781" y="5531"/>
                </a:cubicBezTo>
                <a:cubicBezTo>
                  <a:pt x="20812" y="5375"/>
                  <a:pt x="20844" y="5219"/>
                  <a:pt x="20781" y="5094"/>
                </a:cubicBezTo>
                <a:cubicBezTo>
                  <a:pt x="20750" y="4938"/>
                  <a:pt x="20687" y="4813"/>
                  <a:pt x="20625" y="4656"/>
                </a:cubicBezTo>
                <a:cubicBezTo>
                  <a:pt x="20625" y="4656"/>
                  <a:pt x="20625" y="4625"/>
                  <a:pt x="20625" y="4594"/>
                </a:cubicBezTo>
                <a:cubicBezTo>
                  <a:pt x="20625" y="4563"/>
                  <a:pt x="20625" y="4531"/>
                  <a:pt x="20625" y="4500"/>
                </a:cubicBezTo>
                <a:cubicBezTo>
                  <a:pt x="20625" y="4375"/>
                  <a:pt x="20531" y="4250"/>
                  <a:pt x="20594" y="4125"/>
                </a:cubicBezTo>
                <a:cubicBezTo>
                  <a:pt x="20625" y="4063"/>
                  <a:pt x="20625" y="3969"/>
                  <a:pt x="20594" y="3906"/>
                </a:cubicBezTo>
                <a:cubicBezTo>
                  <a:pt x="20562" y="3813"/>
                  <a:pt x="20562" y="3719"/>
                  <a:pt x="20625" y="3625"/>
                </a:cubicBezTo>
                <a:cubicBezTo>
                  <a:pt x="20656" y="3563"/>
                  <a:pt x="20656" y="3469"/>
                  <a:pt x="20594" y="3438"/>
                </a:cubicBezTo>
                <a:cubicBezTo>
                  <a:pt x="20562" y="3406"/>
                  <a:pt x="20500" y="3406"/>
                  <a:pt x="20437" y="3469"/>
                </a:cubicBezTo>
                <a:cubicBezTo>
                  <a:pt x="20406" y="3500"/>
                  <a:pt x="20312" y="3500"/>
                  <a:pt x="20250" y="3469"/>
                </a:cubicBezTo>
                <a:cubicBezTo>
                  <a:pt x="20250" y="3344"/>
                  <a:pt x="20250" y="3250"/>
                  <a:pt x="20344" y="3188"/>
                </a:cubicBezTo>
                <a:cubicBezTo>
                  <a:pt x="20312" y="3125"/>
                  <a:pt x="20187" y="3219"/>
                  <a:pt x="20219" y="3094"/>
                </a:cubicBezTo>
                <a:cubicBezTo>
                  <a:pt x="20281" y="3063"/>
                  <a:pt x="20250" y="3031"/>
                  <a:pt x="20250" y="3000"/>
                </a:cubicBezTo>
                <a:cubicBezTo>
                  <a:pt x="20250" y="3000"/>
                  <a:pt x="20250" y="3000"/>
                  <a:pt x="20250" y="3000"/>
                </a:cubicBezTo>
                <a:cubicBezTo>
                  <a:pt x="20312" y="3000"/>
                  <a:pt x="20375" y="3000"/>
                  <a:pt x="20344" y="2906"/>
                </a:cubicBezTo>
                <a:cubicBezTo>
                  <a:pt x="20312" y="2938"/>
                  <a:pt x="20281" y="2969"/>
                  <a:pt x="20250" y="3000"/>
                </a:cubicBezTo>
                <a:cubicBezTo>
                  <a:pt x="20250" y="3000"/>
                  <a:pt x="20250" y="3000"/>
                  <a:pt x="20250" y="3000"/>
                </a:cubicBezTo>
                <a:cubicBezTo>
                  <a:pt x="20250" y="3000"/>
                  <a:pt x="20250" y="3000"/>
                  <a:pt x="20250" y="3000"/>
                </a:cubicBezTo>
                <a:cubicBezTo>
                  <a:pt x="20125" y="3000"/>
                  <a:pt x="20156" y="2906"/>
                  <a:pt x="20125" y="2813"/>
                </a:cubicBezTo>
                <a:cubicBezTo>
                  <a:pt x="20031" y="2844"/>
                  <a:pt x="20031" y="2750"/>
                  <a:pt x="20000" y="2719"/>
                </a:cubicBezTo>
                <a:cubicBezTo>
                  <a:pt x="19937" y="2531"/>
                  <a:pt x="19812" y="2406"/>
                  <a:pt x="19625" y="2313"/>
                </a:cubicBezTo>
                <a:cubicBezTo>
                  <a:pt x="19469" y="2250"/>
                  <a:pt x="19281" y="2156"/>
                  <a:pt x="19250" y="1938"/>
                </a:cubicBezTo>
                <a:cubicBezTo>
                  <a:pt x="19219" y="1844"/>
                  <a:pt x="19187" y="1750"/>
                  <a:pt x="19094" y="1719"/>
                </a:cubicBezTo>
                <a:cubicBezTo>
                  <a:pt x="18937" y="1531"/>
                  <a:pt x="18875" y="1500"/>
                  <a:pt x="18781" y="1594"/>
                </a:cubicBezTo>
                <a:cubicBezTo>
                  <a:pt x="18781" y="1531"/>
                  <a:pt x="18781" y="1469"/>
                  <a:pt x="18812" y="1406"/>
                </a:cubicBezTo>
                <a:cubicBezTo>
                  <a:pt x="18844" y="1313"/>
                  <a:pt x="18812" y="1250"/>
                  <a:pt x="18687" y="1281"/>
                </a:cubicBezTo>
                <a:cubicBezTo>
                  <a:pt x="18594" y="1188"/>
                  <a:pt x="18437" y="1219"/>
                  <a:pt x="18344" y="1156"/>
                </a:cubicBezTo>
                <a:cubicBezTo>
                  <a:pt x="18312" y="1125"/>
                  <a:pt x="18281" y="1094"/>
                  <a:pt x="18219" y="1125"/>
                </a:cubicBezTo>
                <a:cubicBezTo>
                  <a:pt x="18000" y="1125"/>
                  <a:pt x="17812" y="1188"/>
                  <a:pt x="17625" y="1250"/>
                </a:cubicBezTo>
                <a:cubicBezTo>
                  <a:pt x="17594" y="1219"/>
                  <a:pt x="17687" y="1156"/>
                  <a:pt x="17625" y="1156"/>
                </a:cubicBezTo>
                <a:cubicBezTo>
                  <a:pt x="17469" y="1125"/>
                  <a:pt x="17312" y="1031"/>
                  <a:pt x="17156" y="1094"/>
                </a:cubicBezTo>
                <a:cubicBezTo>
                  <a:pt x="16969" y="1156"/>
                  <a:pt x="16750" y="1250"/>
                  <a:pt x="16531" y="1188"/>
                </a:cubicBezTo>
                <a:cubicBezTo>
                  <a:pt x="16469" y="1188"/>
                  <a:pt x="16469" y="1219"/>
                  <a:pt x="16469" y="1250"/>
                </a:cubicBezTo>
                <a:cubicBezTo>
                  <a:pt x="16469" y="1250"/>
                  <a:pt x="16437" y="1250"/>
                  <a:pt x="16437" y="1250"/>
                </a:cubicBezTo>
                <a:cubicBezTo>
                  <a:pt x="16375" y="1250"/>
                  <a:pt x="16312" y="1281"/>
                  <a:pt x="16250" y="1281"/>
                </a:cubicBezTo>
                <a:cubicBezTo>
                  <a:pt x="16250" y="1250"/>
                  <a:pt x="16219" y="1250"/>
                  <a:pt x="16219" y="1250"/>
                </a:cubicBezTo>
                <a:cubicBezTo>
                  <a:pt x="16219" y="1219"/>
                  <a:pt x="16219" y="1156"/>
                  <a:pt x="16187" y="1219"/>
                </a:cubicBezTo>
                <a:cubicBezTo>
                  <a:pt x="16125" y="1313"/>
                  <a:pt x="16062" y="1344"/>
                  <a:pt x="15969" y="1344"/>
                </a:cubicBezTo>
                <a:cubicBezTo>
                  <a:pt x="15844" y="1406"/>
                  <a:pt x="15719" y="1313"/>
                  <a:pt x="15625" y="1344"/>
                </a:cubicBezTo>
                <a:cubicBezTo>
                  <a:pt x="15437" y="1406"/>
                  <a:pt x="15219" y="1344"/>
                  <a:pt x="15062" y="1500"/>
                </a:cubicBezTo>
                <a:cubicBezTo>
                  <a:pt x="15062" y="1500"/>
                  <a:pt x="15031" y="1500"/>
                  <a:pt x="15000" y="1500"/>
                </a:cubicBezTo>
                <a:cubicBezTo>
                  <a:pt x="14812" y="1531"/>
                  <a:pt x="14625" y="1563"/>
                  <a:pt x="14500" y="1719"/>
                </a:cubicBezTo>
                <a:cubicBezTo>
                  <a:pt x="14437" y="1813"/>
                  <a:pt x="14344" y="1813"/>
                  <a:pt x="14250" y="1844"/>
                </a:cubicBezTo>
                <a:cubicBezTo>
                  <a:pt x="14125" y="1844"/>
                  <a:pt x="14000" y="1875"/>
                  <a:pt x="13906" y="1969"/>
                </a:cubicBezTo>
                <a:cubicBezTo>
                  <a:pt x="13906" y="1969"/>
                  <a:pt x="13906" y="1969"/>
                  <a:pt x="13906" y="1969"/>
                </a:cubicBezTo>
                <a:cubicBezTo>
                  <a:pt x="13781" y="1938"/>
                  <a:pt x="13750" y="2031"/>
                  <a:pt x="13719" y="2125"/>
                </a:cubicBezTo>
                <a:cubicBezTo>
                  <a:pt x="13719" y="2156"/>
                  <a:pt x="13719" y="2156"/>
                  <a:pt x="13719" y="2188"/>
                </a:cubicBezTo>
                <a:cubicBezTo>
                  <a:pt x="13562" y="2219"/>
                  <a:pt x="13687" y="2094"/>
                  <a:pt x="13625" y="2063"/>
                </a:cubicBezTo>
                <a:cubicBezTo>
                  <a:pt x="13594" y="2063"/>
                  <a:pt x="13562" y="2094"/>
                  <a:pt x="13531" y="2094"/>
                </a:cubicBezTo>
                <a:cubicBezTo>
                  <a:pt x="13437" y="2156"/>
                  <a:pt x="13469" y="2313"/>
                  <a:pt x="13312" y="2313"/>
                </a:cubicBezTo>
                <a:cubicBezTo>
                  <a:pt x="13312" y="2313"/>
                  <a:pt x="13312" y="2344"/>
                  <a:pt x="13344" y="2344"/>
                </a:cubicBezTo>
                <a:cubicBezTo>
                  <a:pt x="13312" y="2344"/>
                  <a:pt x="13312" y="2344"/>
                  <a:pt x="13312" y="2344"/>
                </a:cubicBezTo>
                <a:cubicBezTo>
                  <a:pt x="13281" y="2375"/>
                  <a:pt x="13281" y="2375"/>
                  <a:pt x="13281" y="2406"/>
                </a:cubicBezTo>
                <a:cubicBezTo>
                  <a:pt x="13281" y="2469"/>
                  <a:pt x="13281" y="2531"/>
                  <a:pt x="13281" y="2563"/>
                </a:cubicBezTo>
                <a:cubicBezTo>
                  <a:pt x="13281" y="2625"/>
                  <a:pt x="13281" y="2656"/>
                  <a:pt x="13344" y="2656"/>
                </a:cubicBezTo>
                <a:cubicBezTo>
                  <a:pt x="13344" y="2656"/>
                  <a:pt x="13344" y="2656"/>
                  <a:pt x="13344" y="2656"/>
                </a:cubicBezTo>
                <a:cubicBezTo>
                  <a:pt x="13406" y="2781"/>
                  <a:pt x="13344" y="2906"/>
                  <a:pt x="13344" y="3031"/>
                </a:cubicBezTo>
                <a:cubicBezTo>
                  <a:pt x="13312" y="3031"/>
                  <a:pt x="13281" y="2969"/>
                  <a:pt x="13250" y="2969"/>
                </a:cubicBezTo>
                <a:cubicBezTo>
                  <a:pt x="13281" y="2781"/>
                  <a:pt x="13156" y="2656"/>
                  <a:pt x="13187" y="2500"/>
                </a:cubicBezTo>
                <a:cubicBezTo>
                  <a:pt x="13094" y="2531"/>
                  <a:pt x="13094" y="2656"/>
                  <a:pt x="13094" y="2719"/>
                </a:cubicBezTo>
                <a:cubicBezTo>
                  <a:pt x="13062" y="2719"/>
                  <a:pt x="13031" y="2688"/>
                  <a:pt x="13000" y="2656"/>
                </a:cubicBezTo>
                <a:cubicBezTo>
                  <a:pt x="13031" y="2813"/>
                  <a:pt x="13094" y="2938"/>
                  <a:pt x="13094" y="3094"/>
                </a:cubicBezTo>
                <a:cubicBezTo>
                  <a:pt x="13094" y="3344"/>
                  <a:pt x="13000" y="3219"/>
                  <a:pt x="12969" y="3188"/>
                </a:cubicBezTo>
                <a:cubicBezTo>
                  <a:pt x="13000" y="3250"/>
                  <a:pt x="13125" y="3250"/>
                  <a:pt x="13187" y="3344"/>
                </a:cubicBezTo>
                <a:cubicBezTo>
                  <a:pt x="13281" y="3500"/>
                  <a:pt x="13437" y="3594"/>
                  <a:pt x="13625" y="3594"/>
                </a:cubicBezTo>
                <a:cubicBezTo>
                  <a:pt x="13625" y="3625"/>
                  <a:pt x="13656" y="3656"/>
                  <a:pt x="13687" y="3625"/>
                </a:cubicBezTo>
                <a:cubicBezTo>
                  <a:pt x="13719" y="3656"/>
                  <a:pt x="13781" y="3688"/>
                  <a:pt x="13812" y="3719"/>
                </a:cubicBezTo>
                <a:cubicBezTo>
                  <a:pt x="13875" y="3781"/>
                  <a:pt x="14094" y="3750"/>
                  <a:pt x="14000" y="3906"/>
                </a:cubicBezTo>
                <a:cubicBezTo>
                  <a:pt x="13844" y="4188"/>
                  <a:pt x="13719" y="4469"/>
                  <a:pt x="13594" y="4750"/>
                </a:cubicBezTo>
                <a:cubicBezTo>
                  <a:pt x="13469" y="5031"/>
                  <a:pt x="13312" y="5250"/>
                  <a:pt x="13219" y="5531"/>
                </a:cubicBezTo>
                <a:cubicBezTo>
                  <a:pt x="13125" y="5719"/>
                  <a:pt x="13094" y="5906"/>
                  <a:pt x="13219" y="6125"/>
                </a:cubicBezTo>
                <a:cubicBezTo>
                  <a:pt x="13281" y="6219"/>
                  <a:pt x="13312" y="6375"/>
                  <a:pt x="13219" y="6469"/>
                </a:cubicBezTo>
                <a:cubicBezTo>
                  <a:pt x="13000" y="6719"/>
                  <a:pt x="12875" y="7031"/>
                  <a:pt x="12656" y="7313"/>
                </a:cubicBezTo>
                <a:cubicBezTo>
                  <a:pt x="12469" y="7563"/>
                  <a:pt x="12562" y="7875"/>
                  <a:pt x="12875" y="7969"/>
                </a:cubicBezTo>
                <a:cubicBezTo>
                  <a:pt x="13031" y="8031"/>
                  <a:pt x="13156" y="8063"/>
                  <a:pt x="13156" y="8250"/>
                </a:cubicBezTo>
                <a:cubicBezTo>
                  <a:pt x="13156" y="8250"/>
                  <a:pt x="13156" y="8250"/>
                  <a:pt x="13187" y="8281"/>
                </a:cubicBezTo>
                <a:cubicBezTo>
                  <a:pt x="13187" y="8313"/>
                  <a:pt x="13187" y="8344"/>
                  <a:pt x="13187" y="8406"/>
                </a:cubicBezTo>
                <a:cubicBezTo>
                  <a:pt x="13187" y="8500"/>
                  <a:pt x="13219" y="8594"/>
                  <a:pt x="13344" y="8594"/>
                </a:cubicBezTo>
                <a:cubicBezTo>
                  <a:pt x="13375" y="8625"/>
                  <a:pt x="13375" y="8656"/>
                  <a:pt x="13406" y="8656"/>
                </a:cubicBezTo>
                <a:cubicBezTo>
                  <a:pt x="13500" y="8750"/>
                  <a:pt x="13437" y="8844"/>
                  <a:pt x="13437" y="8938"/>
                </a:cubicBezTo>
                <a:cubicBezTo>
                  <a:pt x="13437" y="9000"/>
                  <a:pt x="13500" y="9031"/>
                  <a:pt x="13531" y="9000"/>
                </a:cubicBezTo>
                <a:cubicBezTo>
                  <a:pt x="13687" y="8938"/>
                  <a:pt x="13781" y="9000"/>
                  <a:pt x="13906" y="9031"/>
                </a:cubicBezTo>
                <a:cubicBezTo>
                  <a:pt x="14156" y="9219"/>
                  <a:pt x="14312" y="9469"/>
                  <a:pt x="14375" y="9750"/>
                </a:cubicBezTo>
                <a:cubicBezTo>
                  <a:pt x="14375" y="9781"/>
                  <a:pt x="14375" y="9813"/>
                  <a:pt x="14437" y="9813"/>
                </a:cubicBezTo>
                <a:cubicBezTo>
                  <a:pt x="14437" y="9813"/>
                  <a:pt x="14437" y="9844"/>
                  <a:pt x="14437" y="9844"/>
                </a:cubicBezTo>
                <a:cubicBezTo>
                  <a:pt x="14437" y="9844"/>
                  <a:pt x="14437" y="9844"/>
                  <a:pt x="14437" y="9844"/>
                </a:cubicBezTo>
                <a:cubicBezTo>
                  <a:pt x="14406" y="9906"/>
                  <a:pt x="14375" y="9969"/>
                  <a:pt x="14375" y="10063"/>
                </a:cubicBezTo>
                <a:cubicBezTo>
                  <a:pt x="14344" y="10156"/>
                  <a:pt x="14312" y="10250"/>
                  <a:pt x="14250" y="10313"/>
                </a:cubicBezTo>
                <a:cubicBezTo>
                  <a:pt x="14250" y="10313"/>
                  <a:pt x="14250" y="10313"/>
                  <a:pt x="14219" y="10313"/>
                </a:cubicBezTo>
                <a:cubicBezTo>
                  <a:pt x="14250" y="10313"/>
                  <a:pt x="14250" y="10313"/>
                  <a:pt x="14250" y="10344"/>
                </a:cubicBezTo>
                <a:cubicBezTo>
                  <a:pt x="14250" y="10344"/>
                  <a:pt x="14250" y="10375"/>
                  <a:pt x="14250" y="10375"/>
                </a:cubicBezTo>
                <a:cubicBezTo>
                  <a:pt x="14187" y="10563"/>
                  <a:pt x="14125" y="10719"/>
                  <a:pt x="14344" y="10813"/>
                </a:cubicBezTo>
                <a:cubicBezTo>
                  <a:pt x="14375" y="10844"/>
                  <a:pt x="14406" y="10875"/>
                  <a:pt x="14406" y="10938"/>
                </a:cubicBezTo>
                <a:cubicBezTo>
                  <a:pt x="14406" y="10969"/>
                  <a:pt x="14344" y="11000"/>
                  <a:pt x="14312" y="10969"/>
                </a:cubicBezTo>
                <a:cubicBezTo>
                  <a:pt x="14156" y="10688"/>
                  <a:pt x="13937" y="10781"/>
                  <a:pt x="13687" y="10813"/>
                </a:cubicBezTo>
                <a:cubicBezTo>
                  <a:pt x="13562" y="10813"/>
                  <a:pt x="13406" y="10906"/>
                  <a:pt x="13281" y="10781"/>
                </a:cubicBezTo>
                <a:cubicBezTo>
                  <a:pt x="13250" y="10781"/>
                  <a:pt x="13219" y="10781"/>
                  <a:pt x="13187" y="10781"/>
                </a:cubicBezTo>
                <a:cubicBezTo>
                  <a:pt x="13031" y="10781"/>
                  <a:pt x="12875" y="10750"/>
                  <a:pt x="12781" y="10594"/>
                </a:cubicBezTo>
                <a:cubicBezTo>
                  <a:pt x="12687" y="10500"/>
                  <a:pt x="12562" y="10469"/>
                  <a:pt x="12437" y="10531"/>
                </a:cubicBezTo>
                <a:cubicBezTo>
                  <a:pt x="12344" y="10531"/>
                  <a:pt x="12312" y="10594"/>
                  <a:pt x="12281" y="10625"/>
                </a:cubicBezTo>
                <a:cubicBezTo>
                  <a:pt x="12187" y="10469"/>
                  <a:pt x="12156" y="10281"/>
                  <a:pt x="11906" y="10313"/>
                </a:cubicBezTo>
                <a:cubicBezTo>
                  <a:pt x="11906" y="10313"/>
                  <a:pt x="11906" y="10281"/>
                  <a:pt x="11906" y="10281"/>
                </a:cubicBezTo>
                <a:cubicBezTo>
                  <a:pt x="11719" y="10094"/>
                  <a:pt x="11469" y="10000"/>
                  <a:pt x="11219" y="9906"/>
                </a:cubicBezTo>
                <a:cubicBezTo>
                  <a:pt x="10969" y="9781"/>
                  <a:pt x="10719" y="9688"/>
                  <a:pt x="10437" y="9594"/>
                </a:cubicBezTo>
                <a:cubicBezTo>
                  <a:pt x="10219" y="9531"/>
                  <a:pt x="10031" y="9469"/>
                  <a:pt x="9812" y="9531"/>
                </a:cubicBezTo>
                <a:cubicBezTo>
                  <a:pt x="9750" y="9563"/>
                  <a:pt x="9656" y="9594"/>
                  <a:pt x="9594" y="9594"/>
                </a:cubicBezTo>
                <a:cubicBezTo>
                  <a:pt x="9375" y="9656"/>
                  <a:pt x="9125" y="9594"/>
                  <a:pt x="8906" y="9688"/>
                </a:cubicBezTo>
                <a:cubicBezTo>
                  <a:pt x="8812" y="9719"/>
                  <a:pt x="8719" y="9688"/>
                  <a:pt x="8625" y="9656"/>
                </a:cubicBezTo>
                <a:cubicBezTo>
                  <a:pt x="8469" y="9594"/>
                  <a:pt x="8344" y="9563"/>
                  <a:pt x="8219" y="9531"/>
                </a:cubicBezTo>
                <a:cubicBezTo>
                  <a:pt x="8187" y="9531"/>
                  <a:pt x="8125" y="9531"/>
                  <a:pt x="8125" y="9500"/>
                </a:cubicBezTo>
                <a:cubicBezTo>
                  <a:pt x="8187" y="9438"/>
                  <a:pt x="8094" y="9375"/>
                  <a:pt x="8156" y="9344"/>
                </a:cubicBezTo>
                <a:cubicBezTo>
                  <a:pt x="8187" y="9313"/>
                  <a:pt x="8250" y="9313"/>
                  <a:pt x="8281" y="9375"/>
                </a:cubicBezTo>
                <a:cubicBezTo>
                  <a:pt x="8344" y="9469"/>
                  <a:pt x="8469" y="9469"/>
                  <a:pt x="8562" y="9500"/>
                </a:cubicBezTo>
                <a:cubicBezTo>
                  <a:pt x="8875" y="9563"/>
                  <a:pt x="9156" y="9500"/>
                  <a:pt x="9469" y="9438"/>
                </a:cubicBezTo>
                <a:cubicBezTo>
                  <a:pt x="9500" y="9438"/>
                  <a:pt x="9531" y="9438"/>
                  <a:pt x="9531" y="9375"/>
                </a:cubicBezTo>
                <a:cubicBezTo>
                  <a:pt x="9531" y="9344"/>
                  <a:pt x="9469" y="9375"/>
                  <a:pt x="9437" y="9344"/>
                </a:cubicBezTo>
                <a:cubicBezTo>
                  <a:pt x="9500" y="9313"/>
                  <a:pt x="9562" y="9344"/>
                  <a:pt x="9625" y="9281"/>
                </a:cubicBezTo>
                <a:cubicBezTo>
                  <a:pt x="9500" y="9188"/>
                  <a:pt x="9406" y="9094"/>
                  <a:pt x="9312" y="9000"/>
                </a:cubicBezTo>
                <a:cubicBezTo>
                  <a:pt x="9062" y="8750"/>
                  <a:pt x="8875" y="8469"/>
                  <a:pt x="8625" y="8219"/>
                </a:cubicBezTo>
                <a:cubicBezTo>
                  <a:pt x="8219" y="7844"/>
                  <a:pt x="7781" y="7500"/>
                  <a:pt x="7344" y="7125"/>
                </a:cubicBezTo>
                <a:cubicBezTo>
                  <a:pt x="6969" y="6813"/>
                  <a:pt x="6594" y="6469"/>
                  <a:pt x="6187" y="6188"/>
                </a:cubicBezTo>
                <a:cubicBezTo>
                  <a:pt x="6031" y="6063"/>
                  <a:pt x="5844" y="5938"/>
                  <a:pt x="5687" y="5813"/>
                </a:cubicBezTo>
                <a:cubicBezTo>
                  <a:pt x="5500" y="5625"/>
                  <a:pt x="5344" y="5438"/>
                  <a:pt x="5156" y="5250"/>
                </a:cubicBezTo>
                <a:cubicBezTo>
                  <a:pt x="4906" y="4969"/>
                  <a:pt x="4719" y="4656"/>
                  <a:pt x="4437" y="4406"/>
                </a:cubicBezTo>
                <a:cubicBezTo>
                  <a:pt x="4156" y="4156"/>
                  <a:pt x="3969" y="3844"/>
                  <a:pt x="3719" y="3594"/>
                </a:cubicBezTo>
                <a:cubicBezTo>
                  <a:pt x="3437" y="3313"/>
                  <a:pt x="3219" y="3000"/>
                  <a:pt x="3000" y="2656"/>
                </a:cubicBezTo>
                <a:cubicBezTo>
                  <a:pt x="2969" y="2594"/>
                  <a:pt x="2969" y="2563"/>
                  <a:pt x="2969" y="2500"/>
                </a:cubicBezTo>
                <a:cubicBezTo>
                  <a:pt x="2969" y="2156"/>
                  <a:pt x="2969" y="1813"/>
                  <a:pt x="3000" y="1469"/>
                </a:cubicBezTo>
                <a:cubicBezTo>
                  <a:pt x="3031" y="1313"/>
                  <a:pt x="3000" y="1156"/>
                  <a:pt x="2812" y="1063"/>
                </a:cubicBezTo>
                <a:cubicBezTo>
                  <a:pt x="2719" y="1000"/>
                  <a:pt x="2594" y="906"/>
                  <a:pt x="2625" y="781"/>
                </a:cubicBezTo>
                <a:cubicBezTo>
                  <a:pt x="2687" y="531"/>
                  <a:pt x="2469" y="406"/>
                  <a:pt x="2344" y="250"/>
                </a:cubicBezTo>
                <a:cubicBezTo>
                  <a:pt x="2312" y="219"/>
                  <a:pt x="2250" y="188"/>
                  <a:pt x="2219" y="188"/>
                </a:cubicBezTo>
                <a:cubicBezTo>
                  <a:pt x="1906" y="125"/>
                  <a:pt x="1594" y="0"/>
                  <a:pt x="1250" y="125"/>
                </a:cubicBezTo>
                <a:cubicBezTo>
                  <a:pt x="1219" y="125"/>
                  <a:pt x="1125" y="156"/>
                  <a:pt x="1094" y="219"/>
                </a:cubicBezTo>
                <a:cubicBezTo>
                  <a:pt x="1031" y="219"/>
                  <a:pt x="1031" y="281"/>
                  <a:pt x="1000" y="344"/>
                </a:cubicBezTo>
                <a:cubicBezTo>
                  <a:pt x="937" y="375"/>
                  <a:pt x="875" y="406"/>
                  <a:pt x="781" y="438"/>
                </a:cubicBezTo>
                <a:cubicBezTo>
                  <a:pt x="594" y="500"/>
                  <a:pt x="500" y="594"/>
                  <a:pt x="500" y="781"/>
                </a:cubicBezTo>
                <a:cubicBezTo>
                  <a:pt x="500" y="781"/>
                  <a:pt x="500" y="813"/>
                  <a:pt x="500" y="844"/>
                </a:cubicBezTo>
                <a:cubicBezTo>
                  <a:pt x="469" y="906"/>
                  <a:pt x="562" y="1000"/>
                  <a:pt x="500" y="1063"/>
                </a:cubicBezTo>
                <a:cubicBezTo>
                  <a:pt x="312" y="1188"/>
                  <a:pt x="156" y="1313"/>
                  <a:pt x="219" y="1563"/>
                </a:cubicBezTo>
                <a:cubicBezTo>
                  <a:pt x="250" y="1656"/>
                  <a:pt x="250" y="1719"/>
                  <a:pt x="156" y="1781"/>
                </a:cubicBezTo>
                <a:cubicBezTo>
                  <a:pt x="125" y="1813"/>
                  <a:pt x="125" y="1844"/>
                  <a:pt x="125" y="1906"/>
                </a:cubicBezTo>
                <a:cubicBezTo>
                  <a:pt x="125" y="1906"/>
                  <a:pt x="94" y="1906"/>
                  <a:pt x="94" y="1906"/>
                </a:cubicBezTo>
                <a:cubicBezTo>
                  <a:pt x="62" y="1938"/>
                  <a:pt x="31" y="1969"/>
                  <a:pt x="31" y="2031"/>
                </a:cubicBezTo>
                <a:cubicBezTo>
                  <a:pt x="0" y="2219"/>
                  <a:pt x="62" y="2375"/>
                  <a:pt x="219" y="2500"/>
                </a:cubicBezTo>
                <a:cubicBezTo>
                  <a:pt x="219" y="2625"/>
                  <a:pt x="312" y="2719"/>
                  <a:pt x="437" y="2781"/>
                </a:cubicBezTo>
                <a:cubicBezTo>
                  <a:pt x="500" y="2844"/>
                  <a:pt x="500" y="2938"/>
                  <a:pt x="562" y="3000"/>
                </a:cubicBezTo>
                <a:cubicBezTo>
                  <a:pt x="687" y="3219"/>
                  <a:pt x="906" y="3375"/>
                  <a:pt x="1094" y="3563"/>
                </a:cubicBezTo>
                <a:cubicBezTo>
                  <a:pt x="1281" y="3781"/>
                  <a:pt x="1500" y="4000"/>
                  <a:pt x="1781" y="4125"/>
                </a:cubicBezTo>
                <a:cubicBezTo>
                  <a:pt x="1875" y="4156"/>
                  <a:pt x="1969" y="4250"/>
                  <a:pt x="2031" y="4344"/>
                </a:cubicBezTo>
                <a:cubicBezTo>
                  <a:pt x="2344" y="4719"/>
                  <a:pt x="2594" y="5094"/>
                  <a:pt x="2812" y="5500"/>
                </a:cubicBezTo>
                <a:cubicBezTo>
                  <a:pt x="2812" y="5531"/>
                  <a:pt x="2844" y="5594"/>
                  <a:pt x="2875" y="5625"/>
                </a:cubicBezTo>
                <a:cubicBezTo>
                  <a:pt x="2875" y="5625"/>
                  <a:pt x="2875" y="5625"/>
                  <a:pt x="2875" y="5625"/>
                </a:cubicBezTo>
                <a:cubicBezTo>
                  <a:pt x="2875" y="5656"/>
                  <a:pt x="2906" y="5719"/>
                  <a:pt x="2937" y="5750"/>
                </a:cubicBezTo>
                <a:cubicBezTo>
                  <a:pt x="2937" y="5750"/>
                  <a:pt x="2969" y="5750"/>
                  <a:pt x="2969" y="5781"/>
                </a:cubicBezTo>
                <a:cubicBezTo>
                  <a:pt x="2969" y="5813"/>
                  <a:pt x="2969" y="5844"/>
                  <a:pt x="3000" y="5844"/>
                </a:cubicBezTo>
                <a:cubicBezTo>
                  <a:pt x="3000" y="5844"/>
                  <a:pt x="3000" y="5844"/>
                  <a:pt x="3000" y="5844"/>
                </a:cubicBezTo>
                <a:cubicBezTo>
                  <a:pt x="3031" y="5938"/>
                  <a:pt x="3062" y="6000"/>
                  <a:pt x="3125" y="6063"/>
                </a:cubicBezTo>
                <a:cubicBezTo>
                  <a:pt x="3469" y="6625"/>
                  <a:pt x="3781" y="7188"/>
                  <a:pt x="4062" y="7781"/>
                </a:cubicBezTo>
                <a:cubicBezTo>
                  <a:pt x="4375" y="8469"/>
                  <a:pt x="4750" y="9125"/>
                  <a:pt x="5281" y="9688"/>
                </a:cubicBezTo>
                <a:cubicBezTo>
                  <a:pt x="5562" y="10000"/>
                  <a:pt x="5844" y="10375"/>
                  <a:pt x="6219" y="10625"/>
                </a:cubicBezTo>
                <a:cubicBezTo>
                  <a:pt x="6219" y="10625"/>
                  <a:pt x="6219" y="10625"/>
                  <a:pt x="6219" y="10625"/>
                </a:cubicBezTo>
                <a:cubicBezTo>
                  <a:pt x="6219" y="10625"/>
                  <a:pt x="6219" y="10625"/>
                  <a:pt x="6219" y="10625"/>
                </a:cubicBezTo>
                <a:cubicBezTo>
                  <a:pt x="6250" y="10656"/>
                  <a:pt x="6250" y="10719"/>
                  <a:pt x="6312" y="10719"/>
                </a:cubicBezTo>
                <a:cubicBezTo>
                  <a:pt x="6312" y="10719"/>
                  <a:pt x="6312" y="10719"/>
                  <a:pt x="6312" y="10719"/>
                </a:cubicBezTo>
                <a:cubicBezTo>
                  <a:pt x="6500" y="10938"/>
                  <a:pt x="6687" y="11094"/>
                  <a:pt x="6937" y="11188"/>
                </a:cubicBezTo>
                <a:cubicBezTo>
                  <a:pt x="7094" y="11281"/>
                  <a:pt x="7281" y="11406"/>
                  <a:pt x="7469" y="11500"/>
                </a:cubicBezTo>
                <a:cubicBezTo>
                  <a:pt x="7719" y="11688"/>
                  <a:pt x="7969" y="11875"/>
                  <a:pt x="8219" y="12094"/>
                </a:cubicBezTo>
                <a:cubicBezTo>
                  <a:pt x="8219" y="12156"/>
                  <a:pt x="8250" y="12188"/>
                  <a:pt x="8312" y="12188"/>
                </a:cubicBezTo>
                <a:cubicBezTo>
                  <a:pt x="8312" y="12219"/>
                  <a:pt x="8312" y="12250"/>
                  <a:pt x="8344" y="12250"/>
                </a:cubicBezTo>
                <a:cubicBezTo>
                  <a:pt x="8562" y="12406"/>
                  <a:pt x="8750" y="12563"/>
                  <a:pt x="8969" y="12719"/>
                </a:cubicBezTo>
                <a:cubicBezTo>
                  <a:pt x="9187" y="12844"/>
                  <a:pt x="9375" y="13031"/>
                  <a:pt x="9594" y="13125"/>
                </a:cubicBezTo>
                <a:cubicBezTo>
                  <a:pt x="9781" y="13281"/>
                  <a:pt x="9969" y="13375"/>
                  <a:pt x="10156" y="13500"/>
                </a:cubicBezTo>
                <a:cubicBezTo>
                  <a:pt x="10531" y="13781"/>
                  <a:pt x="10937" y="14031"/>
                  <a:pt x="11344" y="14219"/>
                </a:cubicBezTo>
                <a:cubicBezTo>
                  <a:pt x="11406" y="14281"/>
                  <a:pt x="11500" y="14313"/>
                  <a:pt x="11594" y="14313"/>
                </a:cubicBezTo>
                <a:cubicBezTo>
                  <a:pt x="11594" y="14313"/>
                  <a:pt x="11594" y="14344"/>
                  <a:pt x="11625" y="14344"/>
                </a:cubicBezTo>
                <a:cubicBezTo>
                  <a:pt x="11969" y="14500"/>
                  <a:pt x="12312" y="14656"/>
                  <a:pt x="12687" y="14750"/>
                </a:cubicBezTo>
                <a:cubicBezTo>
                  <a:pt x="12687" y="14750"/>
                  <a:pt x="12687" y="14750"/>
                  <a:pt x="12687" y="14750"/>
                </a:cubicBezTo>
                <a:cubicBezTo>
                  <a:pt x="12719" y="14750"/>
                  <a:pt x="12719" y="14781"/>
                  <a:pt x="12750" y="14781"/>
                </a:cubicBezTo>
                <a:cubicBezTo>
                  <a:pt x="12750" y="14781"/>
                  <a:pt x="12750" y="14781"/>
                  <a:pt x="12750" y="14781"/>
                </a:cubicBezTo>
                <a:cubicBezTo>
                  <a:pt x="12781" y="14875"/>
                  <a:pt x="12906" y="14813"/>
                  <a:pt x="12906" y="14906"/>
                </a:cubicBezTo>
                <a:cubicBezTo>
                  <a:pt x="12875" y="15031"/>
                  <a:pt x="12906" y="15063"/>
                  <a:pt x="13000" y="15063"/>
                </a:cubicBezTo>
                <a:cubicBezTo>
                  <a:pt x="13094" y="15031"/>
                  <a:pt x="13187" y="15031"/>
                  <a:pt x="13250" y="15000"/>
                </a:cubicBezTo>
                <a:cubicBezTo>
                  <a:pt x="13500" y="15031"/>
                  <a:pt x="13719" y="15031"/>
                  <a:pt x="13937" y="15125"/>
                </a:cubicBezTo>
                <a:cubicBezTo>
                  <a:pt x="14062" y="15219"/>
                  <a:pt x="14219" y="15250"/>
                  <a:pt x="14375" y="15281"/>
                </a:cubicBezTo>
                <a:cubicBezTo>
                  <a:pt x="14437" y="15313"/>
                  <a:pt x="14469" y="15344"/>
                  <a:pt x="14500" y="15438"/>
                </a:cubicBezTo>
                <a:cubicBezTo>
                  <a:pt x="14500" y="15500"/>
                  <a:pt x="14500" y="15563"/>
                  <a:pt x="14562" y="15625"/>
                </a:cubicBezTo>
                <a:cubicBezTo>
                  <a:pt x="14562" y="15688"/>
                  <a:pt x="14562" y="15750"/>
                  <a:pt x="14594" y="15781"/>
                </a:cubicBezTo>
                <a:cubicBezTo>
                  <a:pt x="14656" y="16031"/>
                  <a:pt x="14750" y="16250"/>
                  <a:pt x="14812" y="16500"/>
                </a:cubicBezTo>
                <a:cubicBezTo>
                  <a:pt x="14937" y="16875"/>
                  <a:pt x="15094" y="17250"/>
                  <a:pt x="15281" y="17594"/>
                </a:cubicBezTo>
                <a:cubicBezTo>
                  <a:pt x="15375" y="17750"/>
                  <a:pt x="15437" y="17906"/>
                  <a:pt x="15562" y="18063"/>
                </a:cubicBezTo>
                <a:cubicBezTo>
                  <a:pt x="15562" y="18063"/>
                  <a:pt x="15562" y="18063"/>
                  <a:pt x="15562" y="18063"/>
                </a:cubicBezTo>
                <a:cubicBezTo>
                  <a:pt x="15562" y="18125"/>
                  <a:pt x="15625" y="18188"/>
                  <a:pt x="15625" y="18250"/>
                </a:cubicBezTo>
                <a:cubicBezTo>
                  <a:pt x="15656" y="18438"/>
                  <a:pt x="15656" y="18625"/>
                  <a:pt x="15750" y="18781"/>
                </a:cubicBezTo>
                <a:cubicBezTo>
                  <a:pt x="15750" y="18813"/>
                  <a:pt x="15750" y="18813"/>
                  <a:pt x="15750" y="18844"/>
                </a:cubicBezTo>
                <a:cubicBezTo>
                  <a:pt x="15781" y="19094"/>
                  <a:pt x="15844" y="19313"/>
                  <a:pt x="15906" y="19563"/>
                </a:cubicBezTo>
                <a:cubicBezTo>
                  <a:pt x="15937" y="19719"/>
                  <a:pt x="15937" y="19875"/>
                  <a:pt x="16031" y="20000"/>
                </a:cubicBezTo>
                <a:cubicBezTo>
                  <a:pt x="16031" y="20000"/>
                  <a:pt x="16031" y="20000"/>
                  <a:pt x="16031" y="20000"/>
                </a:cubicBezTo>
                <a:cubicBezTo>
                  <a:pt x="16062" y="20281"/>
                  <a:pt x="16125" y="20563"/>
                  <a:pt x="16219" y="20813"/>
                </a:cubicBezTo>
                <a:cubicBezTo>
                  <a:pt x="16219" y="20813"/>
                  <a:pt x="16219" y="20813"/>
                  <a:pt x="16219" y="20813"/>
                </a:cubicBezTo>
                <a:cubicBezTo>
                  <a:pt x="16219" y="21063"/>
                  <a:pt x="16312" y="21281"/>
                  <a:pt x="16344" y="21500"/>
                </a:cubicBezTo>
                <a:cubicBezTo>
                  <a:pt x="16437" y="21875"/>
                  <a:pt x="16500" y="22281"/>
                  <a:pt x="16594" y="22656"/>
                </a:cubicBezTo>
                <a:cubicBezTo>
                  <a:pt x="16719" y="23094"/>
                  <a:pt x="16812" y="23500"/>
                  <a:pt x="16937" y="23938"/>
                </a:cubicBezTo>
                <a:cubicBezTo>
                  <a:pt x="17031" y="24219"/>
                  <a:pt x="17094" y="24531"/>
                  <a:pt x="17219" y="24781"/>
                </a:cubicBezTo>
                <a:cubicBezTo>
                  <a:pt x="17219" y="24781"/>
                  <a:pt x="17219" y="24781"/>
                  <a:pt x="17219" y="24781"/>
                </a:cubicBezTo>
                <a:cubicBezTo>
                  <a:pt x="17219" y="24844"/>
                  <a:pt x="17219" y="24906"/>
                  <a:pt x="17250" y="24969"/>
                </a:cubicBezTo>
                <a:cubicBezTo>
                  <a:pt x="17281" y="25313"/>
                  <a:pt x="17344" y="25656"/>
                  <a:pt x="17406" y="26000"/>
                </a:cubicBezTo>
                <a:cubicBezTo>
                  <a:pt x="17469" y="26531"/>
                  <a:pt x="17531" y="27063"/>
                  <a:pt x="17594" y="27594"/>
                </a:cubicBezTo>
                <a:cubicBezTo>
                  <a:pt x="17656" y="28094"/>
                  <a:pt x="17719" y="28594"/>
                  <a:pt x="17781" y="29063"/>
                </a:cubicBezTo>
                <a:cubicBezTo>
                  <a:pt x="17844" y="29063"/>
                  <a:pt x="17906" y="29063"/>
                  <a:pt x="17969" y="29063"/>
                </a:cubicBezTo>
                <a:cubicBezTo>
                  <a:pt x="18031" y="29063"/>
                  <a:pt x="18094" y="29063"/>
                  <a:pt x="18125" y="29063"/>
                </a:cubicBezTo>
                <a:cubicBezTo>
                  <a:pt x="18125" y="29063"/>
                  <a:pt x="18125" y="29063"/>
                  <a:pt x="18125" y="29063"/>
                </a:cubicBezTo>
                <a:cubicBezTo>
                  <a:pt x="18156" y="29063"/>
                  <a:pt x="18156" y="29063"/>
                  <a:pt x="18156" y="29063"/>
                </a:cubicBezTo>
                <a:cubicBezTo>
                  <a:pt x="18344" y="29406"/>
                  <a:pt x="23250" y="29219"/>
                  <a:pt x="25844" y="29063"/>
                </a:cubicBezTo>
                <a:cubicBezTo>
                  <a:pt x="26656" y="29063"/>
                  <a:pt x="27469" y="29063"/>
                  <a:pt x="28250" y="29063"/>
                </a:cubicBezTo>
                <a:cubicBezTo>
                  <a:pt x="28187" y="28719"/>
                  <a:pt x="28031" y="28406"/>
                  <a:pt x="27937" y="28063"/>
                </a:cubicBezTo>
                <a:cubicBezTo>
                  <a:pt x="27875" y="27906"/>
                  <a:pt x="27750" y="27781"/>
                  <a:pt x="27781" y="27594"/>
                </a:cubicBezTo>
                <a:cubicBezTo>
                  <a:pt x="27906" y="27031"/>
                  <a:pt x="27875" y="26438"/>
                  <a:pt x="27781" y="25875"/>
                </a:cubicBezTo>
                <a:cubicBezTo>
                  <a:pt x="27625" y="25063"/>
                  <a:pt x="27437" y="24219"/>
                  <a:pt x="27187" y="23438"/>
                </a:cubicBezTo>
                <a:cubicBezTo>
                  <a:pt x="27094" y="23188"/>
                  <a:pt x="27031" y="22938"/>
                  <a:pt x="27031" y="22688"/>
                </a:cubicBezTo>
                <a:cubicBezTo>
                  <a:pt x="27031" y="22500"/>
                  <a:pt x="27000" y="22313"/>
                  <a:pt x="26844" y="22188"/>
                </a:cubicBezTo>
                <a:cubicBezTo>
                  <a:pt x="26687" y="22031"/>
                  <a:pt x="26625" y="21813"/>
                  <a:pt x="26594" y="21594"/>
                </a:cubicBezTo>
                <a:cubicBezTo>
                  <a:pt x="26656" y="21656"/>
                  <a:pt x="26719" y="21656"/>
                  <a:pt x="26781" y="21594"/>
                </a:cubicBezTo>
                <a:cubicBezTo>
                  <a:pt x="26844" y="21563"/>
                  <a:pt x="26875" y="21594"/>
                  <a:pt x="26906" y="21625"/>
                </a:cubicBezTo>
                <a:cubicBezTo>
                  <a:pt x="26937" y="21656"/>
                  <a:pt x="26937" y="21688"/>
                  <a:pt x="26906" y="21719"/>
                </a:cubicBezTo>
                <a:cubicBezTo>
                  <a:pt x="26750" y="21813"/>
                  <a:pt x="26812" y="21875"/>
                  <a:pt x="26875" y="21969"/>
                </a:cubicBezTo>
                <a:cubicBezTo>
                  <a:pt x="26937" y="22031"/>
                  <a:pt x="27000" y="22094"/>
                  <a:pt x="27062" y="22156"/>
                </a:cubicBezTo>
                <a:cubicBezTo>
                  <a:pt x="27125" y="22219"/>
                  <a:pt x="27125" y="22281"/>
                  <a:pt x="27125" y="22344"/>
                </a:cubicBezTo>
                <a:cubicBezTo>
                  <a:pt x="27062" y="22594"/>
                  <a:pt x="27156" y="22844"/>
                  <a:pt x="27156" y="23094"/>
                </a:cubicBezTo>
                <a:cubicBezTo>
                  <a:pt x="27187" y="23094"/>
                  <a:pt x="27187" y="23063"/>
                  <a:pt x="27219" y="23031"/>
                </a:cubicBezTo>
                <a:cubicBezTo>
                  <a:pt x="27406" y="22438"/>
                  <a:pt x="27406" y="21813"/>
                  <a:pt x="27312" y="21188"/>
                </a:cubicBezTo>
                <a:cubicBezTo>
                  <a:pt x="27219" y="20563"/>
                  <a:pt x="27000" y="19969"/>
                  <a:pt x="26812" y="19344"/>
                </a:cubicBezTo>
                <a:cubicBezTo>
                  <a:pt x="26750" y="19219"/>
                  <a:pt x="26687" y="19094"/>
                  <a:pt x="26687" y="18938"/>
                </a:cubicBezTo>
                <a:cubicBezTo>
                  <a:pt x="26812" y="19094"/>
                  <a:pt x="26875" y="19313"/>
                  <a:pt x="26937" y="19531"/>
                </a:cubicBezTo>
                <a:cubicBezTo>
                  <a:pt x="26969" y="19375"/>
                  <a:pt x="27031" y="19250"/>
                  <a:pt x="27031" y="19094"/>
                </a:cubicBezTo>
                <a:cubicBezTo>
                  <a:pt x="27031" y="18688"/>
                  <a:pt x="27031" y="18250"/>
                  <a:pt x="26906" y="17875"/>
                </a:cubicBezTo>
                <a:cubicBezTo>
                  <a:pt x="26875" y="17781"/>
                  <a:pt x="26844" y="17719"/>
                  <a:pt x="26875" y="17625"/>
                </a:cubicBezTo>
                <a:cubicBezTo>
                  <a:pt x="26937" y="17375"/>
                  <a:pt x="26906" y="17094"/>
                  <a:pt x="26906" y="16844"/>
                </a:cubicBezTo>
                <a:cubicBezTo>
                  <a:pt x="26906" y="16781"/>
                  <a:pt x="26906" y="16719"/>
                  <a:pt x="26937" y="16688"/>
                </a:cubicBezTo>
                <a:cubicBezTo>
                  <a:pt x="27125" y="16563"/>
                  <a:pt x="27125" y="16375"/>
                  <a:pt x="27000" y="16219"/>
                </a:cubicBezTo>
                <a:cubicBezTo>
                  <a:pt x="27000" y="16156"/>
                  <a:pt x="26969" y="16125"/>
                  <a:pt x="27000" y="16094"/>
                </a:cubicBezTo>
                <a:cubicBezTo>
                  <a:pt x="27062" y="16031"/>
                  <a:pt x="27094" y="16125"/>
                  <a:pt x="27125" y="16125"/>
                </a:cubicBezTo>
                <a:cubicBezTo>
                  <a:pt x="27156" y="16125"/>
                  <a:pt x="27187" y="16156"/>
                  <a:pt x="27187" y="16156"/>
                </a:cubicBezTo>
                <a:cubicBezTo>
                  <a:pt x="27219" y="16156"/>
                  <a:pt x="27250" y="16156"/>
                  <a:pt x="27281" y="16156"/>
                </a:cubicBezTo>
                <a:cubicBezTo>
                  <a:pt x="27250" y="16156"/>
                  <a:pt x="27219" y="16156"/>
                  <a:pt x="27187" y="16156"/>
                </a:cubicBezTo>
                <a:cubicBezTo>
                  <a:pt x="27219" y="16219"/>
                  <a:pt x="27250" y="16219"/>
                  <a:pt x="27281" y="16219"/>
                </a:cubicBezTo>
                <a:cubicBezTo>
                  <a:pt x="27500" y="16188"/>
                  <a:pt x="27656" y="16344"/>
                  <a:pt x="27812" y="16438"/>
                </a:cubicBezTo>
                <a:cubicBezTo>
                  <a:pt x="28125" y="16688"/>
                  <a:pt x="28469" y="16688"/>
                  <a:pt x="28812" y="16531"/>
                </a:cubicBezTo>
                <a:cubicBezTo>
                  <a:pt x="28969" y="16500"/>
                  <a:pt x="29125" y="16375"/>
                  <a:pt x="29312" y="16344"/>
                </a:cubicBezTo>
                <a:cubicBezTo>
                  <a:pt x="29594" y="16313"/>
                  <a:pt x="29844" y="16313"/>
                  <a:pt x="30125" y="16250"/>
                </a:cubicBezTo>
                <a:cubicBezTo>
                  <a:pt x="30344" y="16156"/>
                  <a:pt x="30594" y="16063"/>
                  <a:pt x="30844" y="16031"/>
                </a:cubicBezTo>
                <a:cubicBezTo>
                  <a:pt x="31156" y="15969"/>
                  <a:pt x="31406" y="15844"/>
                  <a:pt x="31687" y="15688"/>
                </a:cubicBezTo>
                <a:cubicBezTo>
                  <a:pt x="32062" y="15531"/>
                  <a:pt x="32344" y="15281"/>
                  <a:pt x="32687" y="15094"/>
                </a:cubicBezTo>
                <a:cubicBezTo>
                  <a:pt x="32875" y="14969"/>
                  <a:pt x="33000" y="14781"/>
                  <a:pt x="33125" y="14563"/>
                </a:cubicBezTo>
                <a:cubicBezTo>
                  <a:pt x="33062" y="14563"/>
                  <a:pt x="33000" y="14594"/>
                  <a:pt x="33000" y="14531"/>
                </a:cubicBezTo>
                <a:close/>
                <a:moveTo>
                  <a:pt x="22687" y="4875"/>
                </a:moveTo>
                <a:cubicBezTo>
                  <a:pt x="22687" y="4844"/>
                  <a:pt x="22687" y="4813"/>
                  <a:pt x="22656" y="4813"/>
                </a:cubicBezTo>
                <a:cubicBezTo>
                  <a:pt x="22687" y="4813"/>
                  <a:pt x="22687" y="4844"/>
                  <a:pt x="22687" y="4875"/>
                </a:cubicBezTo>
                <a:close/>
                <a:moveTo>
                  <a:pt x="26812" y="8875"/>
                </a:moveTo>
                <a:cubicBezTo>
                  <a:pt x="26875" y="8938"/>
                  <a:pt x="26906" y="8969"/>
                  <a:pt x="26969" y="9000"/>
                </a:cubicBezTo>
                <a:cubicBezTo>
                  <a:pt x="26906" y="8969"/>
                  <a:pt x="26875" y="8938"/>
                  <a:pt x="26812" y="8875"/>
                </a:cubicBezTo>
                <a:close/>
                <a:moveTo>
                  <a:pt x="19812" y="2594"/>
                </a:moveTo>
                <a:cubicBezTo>
                  <a:pt x="19812" y="2594"/>
                  <a:pt x="19844" y="2563"/>
                  <a:pt x="19875" y="2594"/>
                </a:cubicBezTo>
                <a:cubicBezTo>
                  <a:pt x="19844" y="2563"/>
                  <a:pt x="19812" y="2594"/>
                  <a:pt x="19812" y="2594"/>
                </a:cubicBezTo>
                <a:cubicBezTo>
                  <a:pt x="19719" y="2625"/>
                  <a:pt x="19719" y="2563"/>
                  <a:pt x="19687" y="2531"/>
                </a:cubicBezTo>
                <a:cubicBezTo>
                  <a:pt x="19719" y="2563"/>
                  <a:pt x="19719" y="2625"/>
                  <a:pt x="19812" y="2594"/>
                </a:cubicBezTo>
                <a:close/>
                <a:moveTo>
                  <a:pt x="17687" y="5875"/>
                </a:moveTo>
                <a:cubicBezTo>
                  <a:pt x="17687" y="5844"/>
                  <a:pt x="17687" y="5813"/>
                  <a:pt x="17656" y="5781"/>
                </a:cubicBezTo>
                <a:cubicBezTo>
                  <a:pt x="17687" y="5813"/>
                  <a:pt x="17687" y="5844"/>
                  <a:pt x="17687" y="5875"/>
                </a:cubicBezTo>
                <a:cubicBezTo>
                  <a:pt x="17687" y="5875"/>
                  <a:pt x="17687" y="5875"/>
                  <a:pt x="17687" y="5875"/>
                </a:cubicBezTo>
                <a:close/>
                <a:moveTo>
                  <a:pt x="13469" y="8625"/>
                </a:moveTo>
                <a:cubicBezTo>
                  <a:pt x="13469" y="8625"/>
                  <a:pt x="13469" y="8625"/>
                  <a:pt x="13469" y="8625"/>
                </a:cubicBezTo>
                <a:cubicBezTo>
                  <a:pt x="13500" y="8625"/>
                  <a:pt x="13531" y="8625"/>
                  <a:pt x="13562" y="8656"/>
                </a:cubicBezTo>
                <a:cubicBezTo>
                  <a:pt x="13531" y="8625"/>
                  <a:pt x="13500" y="8625"/>
                  <a:pt x="13469" y="8625"/>
                </a:cubicBezTo>
                <a:close/>
                <a:moveTo>
                  <a:pt x="1031" y="781"/>
                </a:moveTo>
                <a:cubicBezTo>
                  <a:pt x="1031" y="781"/>
                  <a:pt x="1062" y="750"/>
                  <a:pt x="1031" y="719"/>
                </a:cubicBezTo>
                <a:cubicBezTo>
                  <a:pt x="1062" y="750"/>
                  <a:pt x="1031" y="781"/>
                  <a:pt x="1031" y="781"/>
                </a:cubicBezTo>
                <a:close/>
                <a:moveTo>
                  <a:pt x="3719" y="6469"/>
                </a:moveTo>
                <a:cubicBezTo>
                  <a:pt x="3719" y="6438"/>
                  <a:pt x="3719" y="6438"/>
                  <a:pt x="3719" y="6406"/>
                </a:cubicBezTo>
                <a:cubicBezTo>
                  <a:pt x="3719" y="6438"/>
                  <a:pt x="3719" y="6438"/>
                  <a:pt x="3719" y="6469"/>
                </a:cubicBezTo>
                <a:close/>
                <a:moveTo>
                  <a:pt x="3875" y="7031"/>
                </a:moveTo>
                <a:cubicBezTo>
                  <a:pt x="3875" y="7000"/>
                  <a:pt x="3875" y="7000"/>
                  <a:pt x="3875" y="7000"/>
                </a:cubicBezTo>
                <a:cubicBezTo>
                  <a:pt x="3875" y="7000"/>
                  <a:pt x="3875" y="7000"/>
                  <a:pt x="3875" y="7031"/>
                </a:cubicBezTo>
                <a:close/>
                <a:moveTo>
                  <a:pt x="6406" y="6563"/>
                </a:moveTo>
                <a:cubicBezTo>
                  <a:pt x="6406" y="6563"/>
                  <a:pt x="6406" y="6563"/>
                  <a:pt x="6406" y="6563"/>
                </a:cubicBezTo>
                <a:cubicBezTo>
                  <a:pt x="6375" y="6563"/>
                  <a:pt x="6375" y="6563"/>
                  <a:pt x="6375" y="6563"/>
                </a:cubicBezTo>
                <a:cubicBezTo>
                  <a:pt x="6375" y="6563"/>
                  <a:pt x="6375" y="6563"/>
                  <a:pt x="6406" y="6563"/>
                </a:cubicBezTo>
                <a:close/>
                <a:moveTo>
                  <a:pt x="6906" y="8750"/>
                </a:moveTo>
                <a:cubicBezTo>
                  <a:pt x="6906" y="8781"/>
                  <a:pt x="6906" y="8844"/>
                  <a:pt x="6937" y="8875"/>
                </a:cubicBezTo>
                <a:cubicBezTo>
                  <a:pt x="6906" y="8844"/>
                  <a:pt x="6906" y="8781"/>
                  <a:pt x="6906" y="8750"/>
                </a:cubicBezTo>
                <a:close/>
                <a:moveTo>
                  <a:pt x="11594" y="14313"/>
                </a:move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lose/>
                <a:moveTo>
                  <a:pt x="15812" y="18594"/>
                </a:moveTo>
                <a:cubicBezTo>
                  <a:pt x="15812" y="18594"/>
                  <a:pt x="15812" y="18594"/>
                  <a:pt x="15812" y="18594"/>
                </a:cubicBezTo>
                <a:cubicBezTo>
                  <a:pt x="15844" y="18594"/>
                  <a:pt x="15844" y="18625"/>
                  <a:pt x="15875" y="18625"/>
                </a:cubicBezTo>
                <a:cubicBezTo>
                  <a:pt x="15844" y="18625"/>
                  <a:pt x="15844" y="18594"/>
                  <a:pt x="15812" y="18594"/>
                </a:cubicBezTo>
                <a:close/>
                <a:moveTo>
                  <a:pt x="15812" y="18344"/>
                </a:moveTo>
                <a:cubicBezTo>
                  <a:pt x="15906" y="18469"/>
                  <a:pt x="16000" y="18594"/>
                  <a:pt x="16094" y="18688"/>
                </a:cubicBezTo>
                <a:cubicBezTo>
                  <a:pt x="16000" y="18594"/>
                  <a:pt x="15906" y="18469"/>
                  <a:pt x="15812" y="18344"/>
                </a:cubicBezTo>
                <a:close/>
                <a:moveTo>
                  <a:pt x="25844" y="11313"/>
                </a:moveTo>
                <a:cubicBezTo>
                  <a:pt x="25875" y="11313"/>
                  <a:pt x="25875" y="11281"/>
                  <a:pt x="25906" y="11281"/>
                </a:cubicBezTo>
                <a:cubicBezTo>
                  <a:pt x="25875" y="11281"/>
                  <a:pt x="25875" y="11313"/>
                  <a:pt x="25844" y="11313"/>
                </a:cubicBezTo>
                <a:close/>
                <a:moveTo>
                  <a:pt x="25844" y="17750"/>
                </a:moveTo>
                <a:cubicBezTo>
                  <a:pt x="25844" y="17750"/>
                  <a:pt x="25844" y="17750"/>
                  <a:pt x="25844" y="17750"/>
                </a:cubicBezTo>
                <a:cubicBezTo>
                  <a:pt x="25844" y="17781"/>
                  <a:pt x="25844" y="17813"/>
                  <a:pt x="25812" y="17844"/>
                </a:cubicBezTo>
                <a:cubicBezTo>
                  <a:pt x="25844" y="17813"/>
                  <a:pt x="25844" y="17781"/>
                  <a:pt x="25844" y="17750"/>
                </a:cubicBezTo>
                <a:close/>
                <a:moveTo>
                  <a:pt x="26469" y="17438"/>
                </a:moveTo>
                <a:cubicBezTo>
                  <a:pt x="26437" y="17375"/>
                  <a:pt x="26437" y="17313"/>
                  <a:pt x="26437" y="17250"/>
                </a:cubicBezTo>
                <a:cubicBezTo>
                  <a:pt x="26437" y="17313"/>
                  <a:pt x="26437" y="17375"/>
                  <a:pt x="26469" y="17438"/>
                </a:cubicBezTo>
                <a:close/>
                <a:moveTo>
                  <a:pt x="25469" y="10906"/>
                </a:moveTo>
                <a:cubicBezTo>
                  <a:pt x="25469" y="10906"/>
                  <a:pt x="25469" y="10906"/>
                  <a:pt x="25469" y="10906"/>
                </a:cubicBezTo>
                <a:cubicBezTo>
                  <a:pt x="25469" y="10906"/>
                  <a:pt x="25469" y="10906"/>
                  <a:pt x="25469" y="10906"/>
                </a:cubicBezTo>
                <a:cubicBezTo>
                  <a:pt x="25469" y="10906"/>
                  <a:pt x="25469" y="10906"/>
                  <a:pt x="25469" y="10906"/>
                </a:cubicBezTo>
                <a:close/>
                <a:moveTo>
                  <a:pt x="24969" y="16563"/>
                </a:moveTo>
                <a:cubicBezTo>
                  <a:pt x="24969" y="16563"/>
                  <a:pt x="24969" y="16563"/>
                  <a:pt x="24969" y="16563"/>
                </a:cubicBezTo>
                <a:cubicBezTo>
                  <a:pt x="24969" y="16563"/>
                  <a:pt x="24969" y="16563"/>
                  <a:pt x="24937" y="16594"/>
                </a:cubicBezTo>
                <a:cubicBezTo>
                  <a:pt x="24969" y="16563"/>
                  <a:pt x="24969" y="16563"/>
                  <a:pt x="24969" y="16563"/>
                </a:cubicBezTo>
                <a:close/>
                <a:moveTo>
                  <a:pt x="24969" y="16813"/>
                </a:moveTo>
                <a:cubicBezTo>
                  <a:pt x="24969" y="16813"/>
                  <a:pt x="24969" y="16844"/>
                  <a:pt x="24937" y="16844"/>
                </a:cubicBezTo>
                <a:cubicBezTo>
                  <a:pt x="24969" y="16844"/>
                  <a:pt x="24969" y="16813"/>
                  <a:pt x="24969" y="16813"/>
                </a:cubicBezTo>
                <a:close/>
                <a:moveTo>
                  <a:pt x="22906" y="10500"/>
                </a:moveTo>
                <a:cubicBezTo>
                  <a:pt x="22906" y="10500"/>
                  <a:pt x="22906" y="10500"/>
                  <a:pt x="22906" y="10500"/>
                </a:cubicBezTo>
                <a:cubicBezTo>
                  <a:pt x="22906" y="10500"/>
                  <a:pt x="22906" y="10500"/>
                  <a:pt x="22906" y="10500"/>
                </a:cubicBezTo>
                <a:cubicBezTo>
                  <a:pt x="22906" y="10500"/>
                  <a:pt x="22906" y="10500"/>
                  <a:pt x="22906" y="10500"/>
                </a:cubicBezTo>
                <a:close/>
                <a:moveTo>
                  <a:pt x="21844" y="10750"/>
                </a:moveTo>
                <a:cubicBezTo>
                  <a:pt x="21781" y="10750"/>
                  <a:pt x="21750" y="10781"/>
                  <a:pt x="21719" y="10813"/>
                </a:cubicBezTo>
                <a:cubicBezTo>
                  <a:pt x="21750" y="10781"/>
                  <a:pt x="21781" y="10750"/>
                  <a:pt x="21844" y="10750"/>
                </a:cubicBezTo>
                <a:close/>
                <a:moveTo>
                  <a:pt x="18000" y="10000"/>
                </a:moveTo>
                <a:cubicBezTo>
                  <a:pt x="17969" y="9969"/>
                  <a:pt x="17937" y="9969"/>
                  <a:pt x="17906" y="9938"/>
                </a:cubicBezTo>
                <a:cubicBezTo>
                  <a:pt x="17937" y="9969"/>
                  <a:pt x="17969" y="9969"/>
                  <a:pt x="18000" y="10000"/>
                </a:cubicBezTo>
                <a:close/>
                <a:moveTo>
                  <a:pt x="17031" y="9344"/>
                </a:moveTo>
                <a:cubicBezTo>
                  <a:pt x="17031" y="9406"/>
                  <a:pt x="17031" y="9469"/>
                  <a:pt x="17031" y="9531"/>
                </a:cubicBezTo>
                <a:cubicBezTo>
                  <a:pt x="17031" y="9469"/>
                  <a:pt x="17031" y="9406"/>
                  <a:pt x="17031" y="9344"/>
                </a:cubicBezTo>
                <a:cubicBezTo>
                  <a:pt x="17031" y="9313"/>
                  <a:pt x="17031" y="9281"/>
                  <a:pt x="17031" y="9250"/>
                </a:cubicBezTo>
                <a:cubicBezTo>
                  <a:pt x="17031" y="9281"/>
                  <a:pt x="17031" y="9313"/>
                  <a:pt x="17031" y="9344"/>
                </a:cubicBezTo>
                <a:close/>
                <a:moveTo>
                  <a:pt x="16500" y="7719"/>
                </a:moveTo>
                <a:cubicBezTo>
                  <a:pt x="16500" y="7719"/>
                  <a:pt x="16500" y="7719"/>
                  <a:pt x="16500" y="7719"/>
                </a:cubicBezTo>
                <a:cubicBezTo>
                  <a:pt x="16500" y="7688"/>
                  <a:pt x="16469" y="7688"/>
                  <a:pt x="16469" y="7656"/>
                </a:cubicBezTo>
                <a:cubicBezTo>
                  <a:pt x="16469" y="7688"/>
                  <a:pt x="16500" y="7688"/>
                  <a:pt x="16500" y="7719"/>
                </a:cubicBezTo>
                <a:close/>
                <a:moveTo>
                  <a:pt x="16500" y="7813"/>
                </a:moveTo>
                <a:cubicBezTo>
                  <a:pt x="16500" y="7781"/>
                  <a:pt x="16500" y="7750"/>
                  <a:pt x="16500" y="7719"/>
                </a:cubicBezTo>
                <a:cubicBezTo>
                  <a:pt x="16500" y="7750"/>
                  <a:pt x="16500" y="7781"/>
                  <a:pt x="16500" y="7813"/>
                </a:cubicBezTo>
                <a:cubicBezTo>
                  <a:pt x="16500" y="7844"/>
                  <a:pt x="16469" y="7875"/>
                  <a:pt x="16469" y="7906"/>
                </a:cubicBezTo>
                <a:cubicBezTo>
                  <a:pt x="16469" y="7875"/>
                  <a:pt x="16500" y="7844"/>
                  <a:pt x="16500" y="7813"/>
                </a:cubicBezTo>
                <a:close/>
                <a:moveTo>
                  <a:pt x="16281" y="7125"/>
                </a:moveTo>
                <a:cubicBezTo>
                  <a:pt x="16281" y="7125"/>
                  <a:pt x="16281" y="7094"/>
                  <a:pt x="16281" y="7094"/>
                </a:cubicBezTo>
                <a:cubicBezTo>
                  <a:pt x="16281" y="7094"/>
                  <a:pt x="16281" y="7125"/>
                  <a:pt x="16281" y="7125"/>
                </a:cubicBezTo>
                <a:close/>
                <a:moveTo>
                  <a:pt x="16219" y="6625"/>
                </a:moveTo>
                <a:cubicBezTo>
                  <a:pt x="16219" y="6656"/>
                  <a:pt x="16219" y="6688"/>
                  <a:pt x="16219" y="6688"/>
                </a:cubicBezTo>
                <a:cubicBezTo>
                  <a:pt x="16219" y="6688"/>
                  <a:pt x="16219" y="6656"/>
                  <a:pt x="16219" y="6625"/>
                </a:cubicBezTo>
                <a:cubicBezTo>
                  <a:pt x="16219" y="6625"/>
                  <a:pt x="16219" y="6625"/>
                  <a:pt x="16219" y="6625"/>
                </a:cubicBezTo>
                <a:close/>
                <a:moveTo>
                  <a:pt x="16250" y="6938"/>
                </a:moveTo>
                <a:cubicBezTo>
                  <a:pt x="16250" y="6938"/>
                  <a:pt x="16219" y="6938"/>
                  <a:pt x="16219" y="6938"/>
                </a:cubicBezTo>
                <a:cubicBezTo>
                  <a:pt x="16219" y="6938"/>
                  <a:pt x="16250" y="6938"/>
                  <a:pt x="16250" y="6938"/>
                </a:cubicBezTo>
                <a:close/>
                <a:moveTo>
                  <a:pt x="14437" y="9750"/>
                </a:moveTo>
                <a:cubicBezTo>
                  <a:pt x="14562" y="9750"/>
                  <a:pt x="14500" y="9875"/>
                  <a:pt x="14531" y="9906"/>
                </a:cubicBezTo>
                <a:cubicBezTo>
                  <a:pt x="14500" y="9875"/>
                  <a:pt x="14562" y="9750"/>
                  <a:pt x="14437" y="9750"/>
                </a:cubicBezTo>
                <a:cubicBezTo>
                  <a:pt x="14437" y="9750"/>
                  <a:pt x="14437" y="9750"/>
                  <a:pt x="14437" y="9750"/>
                </a:cubicBezTo>
                <a:close/>
                <a:moveTo>
                  <a:pt x="14094" y="11438"/>
                </a:moveTo>
                <a:cubicBezTo>
                  <a:pt x="14094" y="11438"/>
                  <a:pt x="14094" y="11469"/>
                  <a:pt x="14094" y="11469"/>
                </a:cubicBezTo>
                <a:cubicBezTo>
                  <a:pt x="14094" y="11469"/>
                  <a:pt x="14094" y="11469"/>
                  <a:pt x="14094" y="11469"/>
                </a:cubicBezTo>
                <a:cubicBezTo>
                  <a:pt x="14094" y="11469"/>
                  <a:pt x="14094" y="11438"/>
                  <a:pt x="14094" y="11438"/>
                </a:cubicBezTo>
                <a:cubicBezTo>
                  <a:pt x="14062" y="11406"/>
                  <a:pt x="14031" y="11375"/>
                  <a:pt x="13969" y="11375"/>
                </a:cubicBezTo>
                <a:cubicBezTo>
                  <a:pt x="14031" y="11375"/>
                  <a:pt x="14062" y="11406"/>
                  <a:pt x="14094" y="11438"/>
                </a:cubicBezTo>
                <a:close/>
                <a:moveTo>
                  <a:pt x="13812" y="11031"/>
                </a:moveTo>
                <a:cubicBezTo>
                  <a:pt x="13781" y="11094"/>
                  <a:pt x="13750" y="11156"/>
                  <a:pt x="13750" y="11188"/>
                </a:cubicBezTo>
                <a:cubicBezTo>
                  <a:pt x="13750" y="11156"/>
                  <a:pt x="13781" y="11094"/>
                  <a:pt x="13812" y="11031"/>
                </a:cubicBezTo>
                <a:close/>
                <a:moveTo>
                  <a:pt x="13937" y="14750"/>
                </a:moveTo>
                <a:cubicBezTo>
                  <a:pt x="13937" y="14750"/>
                  <a:pt x="13937" y="14750"/>
                  <a:pt x="13937" y="14750"/>
                </a:cubicBezTo>
                <a:cubicBezTo>
                  <a:pt x="13937" y="14750"/>
                  <a:pt x="13937" y="14781"/>
                  <a:pt x="13937" y="14781"/>
                </a:cubicBezTo>
                <a:cubicBezTo>
                  <a:pt x="13937" y="14781"/>
                  <a:pt x="13937" y="14750"/>
                  <a:pt x="13937" y="14750"/>
                </a:cubicBezTo>
                <a:close/>
                <a:moveTo>
                  <a:pt x="16187" y="18250"/>
                </a:moveTo>
                <a:cubicBezTo>
                  <a:pt x="16219" y="18281"/>
                  <a:pt x="16250" y="18281"/>
                  <a:pt x="16281" y="18313"/>
                </a:cubicBezTo>
                <a:cubicBezTo>
                  <a:pt x="16250" y="18281"/>
                  <a:pt x="16219" y="18281"/>
                  <a:pt x="16187" y="18250"/>
                </a:cubicBezTo>
                <a:close/>
                <a:moveTo>
                  <a:pt x="26875" y="15531"/>
                </a:moveTo>
                <a:cubicBezTo>
                  <a:pt x="26906" y="15563"/>
                  <a:pt x="26906" y="15594"/>
                  <a:pt x="26937" y="15625"/>
                </a:cubicBezTo>
                <a:cubicBezTo>
                  <a:pt x="26906" y="15594"/>
                  <a:pt x="26906" y="15563"/>
                  <a:pt x="26875" y="15531"/>
                </a:cubicBezTo>
                <a:close/>
                <a:moveTo>
                  <a:pt x="29031" y="15000"/>
                </a:moveTo>
                <a:cubicBezTo>
                  <a:pt x="29062" y="15063"/>
                  <a:pt x="29094" y="15094"/>
                  <a:pt x="29125" y="15156"/>
                </a:cubicBezTo>
                <a:cubicBezTo>
                  <a:pt x="29094" y="15094"/>
                  <a:pt x="29062" y="15063"/>
                  <a:pt x="29031" y="15000"/>
                </a:cubicBezTo>
                <a:close/>
                <a:moveTo>
                  <a:pt x="31656" y="11531"/>
                </a:moveTo>
                <a:cubicBezTo>
                  <a:pt x="31656" y="11531"/>
                  <a:pt x="31656" y="11531"/>
                  <a:pt x="31656" y="11563"/>
                </a:cubicBezTo>
                <a:cubicBezTo>
                  <a:pt x="31656" y="11531"/>
                  <a:pt x="31656" y="11531"/>
                  <a:pt x="31656" y="11531"/>
                </a:cubicBezTo>
                <a:close/>
                <a:moveTo>
                  <a:pt x="30875" y="10406"/>
                </a:moveTo>
                <a:cubicBezTo>
                  <a:pt x="30781" y="10375"/>
                  <a:pt x="30719" y="10406"/>
                  <a:pt x="30656" y="10375"/>
                </a:cubicBezTo>
                <a:cubicBezTo>
                  <a:pt x="30656" y="10375"/>
                  <a:pt x="30656" y="10375"/>
                  <a:pt x="30656" y="10375"/>
                </a:cubicBezTo>
                <a:cubicBezTo>
                  <a:pt x="30719" y="10406"/>
                  <a:pt x="30781" y="10375"/>
                  <a:pt x="30875" y="10406"/>
                </a:cubicBezTo>
                <a:close/>
                <a:moveTo>
                  <a:pt x="31531" y="11406"/>
                </a:moveTo>
                <a:cubicBezTo>
                  <a:pt x="31531" y="11469"/>
                  <a:pt x="31562" y="11500"/>
                  <a:pt x="31656" y="11531"/>
                </a:cubicBezTo>
                <a:cubicBezTo>
                  <a:pt x="31656" y="11531"/>
                  <a:pt x="31656" y="11531"/>
                  <a:pt x="31656" y="11531"/>
                </a:cubicBezTo>
                <a:cubicBezTo>
                  <a:pt x="31562" y="11500"/>
                  <a:pt x="31531" y="11469"/>
                  <a:pt x="31531" y="11406"/>
                </a:cubicBezTo>
                <a:close/>
                <a:moveTo>
                  <a:pt x="31812" y="11875"/>
                </a:moveTo>
                <a:cubicBezTo>
                  <a:pt x="31812" y="11875"/>
                  <a:pt x="31812" y="11875"/>
                  <a:pt x="31812" y="11875"/>
                </a:cubicBezTo>
                <a:cubicBezTo>
                  <a:pt x="31844" y="11906"/>
                  <a:pt x="31875" y="11938"/>
                  <a:pt x="31937" y="11969"/>
                </a:cubicBezTo>
                <a:cubicBezTo>
                  <a:pt x="31875" y="11938"/>
                  <a:pt x="31844" y="11906"/>
                  <a:pt x="31812" y="1187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4167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06">
            <a:extLst>
              <a:ext uri="{FF2B5EF4-FFF2-40B4-BE49-F238E27FC236}">
                <a16:creationId xmlns:a16="http://schemas.microsoft.com/office/drawing/2014/main" id="{D0D51A30-7EAF-734C-B1B2-E160BA292562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 flipH="1">
            <a:off x="5088019" y="1269010"/>
            <a:ext cx="6707988" cy="5588990"/>
          </a:xfrm>
          <a:custGeom>
            <a:avLst/>
            <a:gdLst>
              <a:gd name="T0" fmla="*/ 10906 w 30687"/>
              <a:gd name="T1" fmla="*/ 24313 h 25813"/>
              <a:gd name="T2" fmla="*/ 29500 w 30687"/>
              <a:gd name="T3" fmla="*/ 22938 h 25813"/>
              <a:gd name="T4" fmla="*/ 29125 w 30687"/>
              <a:gd name="T5" fmla="*/ 21438 h 25813"/>
              <a:gd name="T6" fmla="*/ 28906 w 30687"/>
              <a:gd name="T7" fmla="*/ 20344 h 25813"/>
              <a:gd name="T8" fmla="*/ 28750 w 30687"/>
              <a:gd name="T9" fmla="*/ 19563 h 25813"/>
              <a:gd name="T10" fmla="*/ 27812 w 30687"/>
              <a:gd name="T11" fmla="*/ 16750 h 25813"/>
              <a:gd name="T12" fmla="*/ 23781 w 30687"/>
              <a:gd name="T13" fmla="*/ 14000 h 25813"/>
              <a:gd name="T14" fmla="*/ 21687 w 30687"/>
              <a:gd name="T15" fmla="*/ 11750 h 25813"/>
              <a:gd name="T16" fmla="*/ 22469 w 30687"/>
              <a:gd name="T17" fmla="*/ 10313 h 25813"/>
              <a:gd name="T18" fmla="*/ 23437 w 30687"/>
              <a:gd name="T19" fmla="*/ 9250 h 25813"/>
              <a:gd name="T20" fmla="*/ 24094 w 30687"/>
              <a:gd name="T21" fmla="*/ 4031 h 25813"/>
              <a:gd name="T22" fmla="*/ 22969 w 30687"/>
              <a:gd name="T23" fmla="*/ 875 h 25813"/>
              <a:gd name="T24" fmla="*/ 17906 w 30687"/>
              <a:gd name="T25" fmla="*/ 3781 h 25813"/>
              <a:gd name="T26" fmla="*/ 15812 w 30687"/>
              <a:gd name="T27" fmla="*/ 7344 h 25813"/>
              <a:gd name="T28" fmla="*/ 16687 w 30687"/>
              <a:gd name="T29" fmla="*/ 8344 h 25813"/>
              <a:gd name="T30" fmla="*/ 12687 w 30687"/>
              <a:gd name="T31" fmla="*/ 5906 h 25813"/>
              <a:gd name="T32" fmla="*/ 10031 w 30687"/>
              <a:gd name="T33" fmla="*/ 5375 h 25813"/>
              <a:gd name="T34" fmla="*/ 9594 w 30687"/>
              <a:gd name="T35" fmla="*/ 5531 h 25813"/>
              <a:gd name="T36" fmla="*/ 2312 w 30687"/>
              <a:gd name="T37" fmla="*/ 375 h 25813"/>
              <a:gd name="T38" fmla="*/ 2219 w 30687"/>
              <a:gd name="T39" fmla="*/ 3063 h 25813"/>
              <a:gd name="T40" fmla="*/ 1656 w 30687"/>
              <a:gd name="T41" fmla="*/ 344 h 25813"/>
              <a:gd name="T42" fmla="*/ 5656 w 30687"/>
              <a:gd name="T43" fmla="*/ 5156 h 25813"/>
              <a:gd name="T44" fmla="*/ 9094 w 30687"/>
              <a:gd name="T45" fmla="*/ 7406 h 25813"/>
              <a:gd name="T46" fmla="*/ 9375 w 30687"/>
              <a:gd name="T47" fmla="*/ 8125 h 25813"/>
              <a:gd name="T48" fmla="*/ 9500 w 30687"/>
              <a:gd name="T49" fmla="*/ 9000 h 25813"/>
              <a:gd name="T50" fmla="*/ 7750 w 30687"/>
              <a:gd name="T51" fmla="*/ 13219 h 25813"/>
              <a:gd name="T52" fmla="*/ 7156 w 30687"/>
              <a:gd name="T53" fmla="*/ 14875 h 25813"/>
              <a:gd name="T54" fmla="*/ 6750 w 30687"/>
              <a:gd name="T55" fmla="*/ 14250 h 25813"/>
              <a:gd name="T56" fmla="*/ 8281 w 30687"/>
              <a:gd name="T57" fmla="*/ 10531 h 25813"/>
              <a:gd name="T58" fmla="*/ 6125 w 30687"/>
              <a:gd name="T59" fmla="*/ 13969 h 25813"/>
              <a:gd name="T60" fmla="*/ 5969 w 30687"/>
              <a:gd name="T61" fmla="*/ 14719 h 25813"/>
              <a:gd name="T62" fmla="*/ 7281 w 30687"/>
              <a:gd name="T63" fmla="*/ 19500 h 25813"/>
              <a:gd name="T64" fmla="*/ 11344 w 30687"/>
              <a:gd name="T65" fmla="*/ 21219 h 25813"/>
              <a:gd name="T66" fmla="*/ 11219 w 30687"/>
              <a:gd name="T67" fmla="*/ 23344 h 25813"/>
              <a:gd name="T68" fmla="*/ 11281 w 30687"/>
              <a:gd name="T69" fmla="*/ 25813 h 25813"/>
              <a:gd name="T70" fmla="*/ 22969 w 30687"/>
              <a:gd name="T71" fmla="*/ 25469 h 25813"/>
              <a:gd name="T72" fmla="*/ 23531 w 30687"/>
              <a:gd name="T73" fmla="*/ 24344 h 25813"/>
              <a:gd name="T74" fmla="*/ 23875 w 30687"/>
              <a:gd name="T75" fmla="*/ 23688 h 25813"/>
              <a:gd name="T76" fmla="*/ 24094 w 30687"/>
              <a:gd name="T77" fmla="*/ 23094 h 25813"/>
              <a:gd name="T78" fmla="*/ 25594 w 30687"/>
              <a:gd name="T79" fmla="*/ 22125 h 25813"/>
              <a:gd name="T80" fmla="*/ 27594 w 30687"/>
              <a:gd name="T81" fmla="*/ 25594 h 25813"/>
              <a:gd name="T82" fmla="*/ 23094 w 30687"/>
              <a:gd name="T83" fmla="*/ 5469 h 25813"/>
              <a:gd name="T84" fmla="*/ 16719 w 30687"/>
              <a:gd name="T85" fmla="*/ 6969 h 25813"/>
              <a:gd name="T86" fmla="*/ 17437 w 30687"/>
              <a:gd name="T87" fmla="*/ 6719 h 25813"/>
              <a:gd name="T88" fmla="*/ 17062 w 30687"/>
              <a:gd name="T89" fmla="*/ 6688 h 25813"/>
              <a:gd name="T90" fmla="*/ 17000 w 30687"/>
              <a:gd name="T91" fmla="*/ 6500 h 25813"/>
              <a:gd name="T92" fmla="*/ 11594 w 30687"/>
              <a:gd name="T93" fmla="*/ 16781 h 25813"/>
              <a:gd name="T94" fmla="*/ 13312 w 30687"/>
              <a:gd name="T95" fmla="*/ 24938 h 25813"/>
              <a:gd name="T96" fmla="*/ 17906 w 30687"/>
              <a:gd name="T97" fmla="*/ 12156 h 25813"/>
              <a:gd name="T98" fmla="*/ 16625 w 30687"/>
              <a:gd name="T99" fmla="*/ 13281 h 25813"/>
              <a:gd name="T100" fmla="*/ 12594 w 30687"/>
              <a:gd name="T101" fmla="*/ 13875 h 25813"/>
              <a:gd name="T102" fmla="*/ 9750 w 30687"/>
              <a:gd name="T103" fmla="*/ 15188 h 25813"/>
              <a:gd name="T104" fmla="*/ 11844 w 30687"/>
              <a:gd name="T105" fmla="*/ 8563 h 25813"/>
              <a:gd name="T106" fmla="*/ 16562 w 30687"/>
              <a:gd name="T107" fmla="*/ 9844 h 25813"/>
              <a:gd name="T108" fmla="*/ 16719 w 30687"/>
              <a:gd name="T109" fmla="*/ 11188 h 25813"/>
              <a:gd name="T110" fmla="*/ 17250 w 30687"/>
              <a:gd name="T111" fmla="*/ 11563 h 25813"/>
              <a:gd name="T112" fmla="*/ 18344 w 30687"/>
              <a:gd name="T113" fmla="*/ 9469 h 25813"/>
              <a:gd name="T114" fmla="*/ 18625 w 30687"/>
              <a:gd name="T115" fmla="*/ 18469 h 25813"/>
              <a:gd name="T116" fmla="*/ 18687 w 30687"/>
              <a:gd name="T117" fmla="*/ 20125 h 25813"/>
              <a:gd name="T118" fmla="*/ 20500 w 30687"/>
              <a:gd name="T119" fmla="*/ 17531 h 25813"/>
              <a:gd name="T120" fmla="*/ 23219 w 30687"/>
              <a:gd name="T121" fmla="*/ 24781 h 25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687" h="25813">
                <a:moveTo>
                  <a:pt x="10906" y="22469"/>
                </a:moveTo>
                <a:cubicBezTo>
                  <a:pt x="10812" y="22906"/>
                  <a:pt x="10687" y="23344"/>
                  <a:pt x="10594" y="23781"/>
                </a:cubicBezTo>
                <a:cubicBezTo>
                  <a:pt x="10531" y="24031"/>
                  <a:pt x="10469" y="24281"/>
                  <a:pt x="10437" y="24531"/>
                </a:cubicBezTo>
                <a:cubicBezTo>
                  <a:pt x="10344" y="24719"/>
                  <a:pt x="10312" y="24906"/>
                  <a:pt x="10281" y="25125"/>
                </a:cubicBezTo>
                <a:cubicBezTo>
                  <a:pt x="10250" y="25188"/>
                  <a:pt x="10250" y="25250"/>
                  <a:pt x="10219" y="25313"/>
                </a:cubicBezTo>
                <a:cubicBezTo>
                  <a:pt x="10187" y="25469"/>
                  <a:pt x="10125" y="25656"/>
                  <a:pt x="10094" y="25813"/>
                </a:cubicBezTo>
                <a:cubicBezTo>
                  <a:pt x="10906" y="25813"/>
                  <a:pt x="10906" y="25813"/>
                  <a:pt x="10906" y="25813"/>
                </a:cubicBezTo>
                <a:cubicBezTo>
                  <a:pt x="10875" y="25438"/>
                  <a:pt x="10875" y="25031"/>
                  <a:pt x="10906" y="24656"/>
                </a:cubicBezTo>
                <a:cubicBezTo>
                  <a:pt x="10906" y="24531"/>
                  <a:pt x="10906" y="24406"/>
                  <a:pt x="10906" y="24313"/>
                </a:cubicBezTo>
                <a:cubicBezTo>
                  <a:pt x="11031" y="23656"/>
                  <a:pt x="10969" y="23000"/>
                  <a:pt x="11000" y="22375"/>
                </a:cubicBezTo>
                <a:cubicBezTo>
                  <a:pt x="11031" y="22188"/>
                  <a:pt x="11125" y="22031"/>
                  <a:pt x="11094" y="21875"/>
                </a:cubicBezTo>
                <a:cubicBezTo>
                  <a:pt x="11000" y="22063"/>
                  <a:pt x="10937" y="22250"/>
                  <a:pt x="10906" y="22469"/>
                </a:cubicBezTo>
                <a:close/>
                <a:moveTo>
                  <a:pt x="30437" y="25344"/>
                </a:moveTo>
                <a:cubicBezTo>
                  <a:pt x="30406" y="25281"/>
                  <a:pt x="30406" y="25250"/>
                  <a:pt x="30344" y="25219"/>
                </a:cubicBezTo>
                <a:cubicBezTo>
                  <a:pt x="30250" y="25063"/>
                  <a:pt x="30187" y="24906"/>
                  <a:pt x="30094" y="24719"/>
                </a:cubicBezTo>
                <a:cubicBezTo>
                  <a:pt x="29937" y="24438"/>
                  <a:pt x="29844" y="24094"/>
                  <a:pt x="29719" y="23750"/>
                </a:cubicBezTo>
                <a:cubicBezTo>
                  <a:pt x="29750" y="23719"/>
                  <a:pt x="29719" y="23656"/>
                  <a:pt x="29687" y="23625"/>
                </a:cubicBezTo>
                <a:cubicBezTo>
                  <a:pt x="29625" y="23375"/>
                  <a:pt x="29531" y="23156"/>
                  <a:pt x="29500" y="22938"/>
                </a:cubicBezTo>
                <a:cubicBezTo>
                  <a:pt x="29469" y="22688"/>
                  <a:pt x="29500" y="22469"/>
                  <a:pt x="29375" y="22250"/>
                </a:cubicBezTo>
                <a:cubicBezTo>
                  <a:pt x="29250" y="22063"/>
                  <a:pt x="29250" y="21844"/>
                  <a:pt x="29187" y="21656"/>
                </a:cubicBezTo>
                <a:cubicBezTo>
                  <a:pt x="29187" y="21625"/>
                  <a:pt x="29156" y="21594"/>
                  <a:pt x="29156" y="21594"/>
                </a:cubicBezTo>
                <a:cubicBezTo>
                  <a:pt x="29125" y="21594"/>
                  <a:pt x="29062" y="21594"/>
                  <a:pt x="29062" y="21656"/>
                </a:cubicBezTo>
                <a:cubicBezTo>
                  <a:pt x="29062" y="21656"/>
                  <a:pt x="29062" y="21656"/>
                  <a:pt x="29062" y="21656"/>
                </a:cubicBezTo>
                <a:cubicBezTo>
                  <a:pt x="29031" y="21656"/>
                  <a:pt x="29000" y="21656"/>
                  <a:pt x="28969" y="21656"/>
                </a:cubicBezTo>
                <a:cubicBezTo>
                  <a:pt x="28969" y="21656"/>
                  <a:pt x="28969" y="21656"/>
                  <a:pt x="28969" y="21656"/>
                </a:cubicBezTo>
                <a:cubicBezTo>
                  <a:pt x="28969" y="21656"/>
                  <a:pt x="28969" y="21656"/>
                  <a:pt x="28969" y="21656"/>
                </a:cubicBezTo>
                <a:cubicBezTo>
                  <a:pt x="29000" y="21563"/>
                  <a:pt x="29094" y="21500"/>
                  <a:pt x="29125" y="21438"/>
                </a:cubicBezTo>
                <a:cubicBezTo>
                  <a:pt x="29219" y="21313"/>
                  <a:pt x="29156" y="21219"/>
                  <a:pt x="29031" y="21188"/>
                </a:cubicBezTo>
                <a:cubicBezTo>
                  <a:pt x="28937" y="21188"/>
                  <a:pt x="28969" y="21156"/>
                  <a:pt x="29000" y="21094"/>
                </a:cubicBezTo>
                <a:cubicBezTo>
                  <a:pt x="29094" y="20938"/>
                  <a:pt x="29094" y="20906"/>
                  <a:pt x="28906" y="20781"/>
                </a:cubicBezTo>
                <a:cubicBezTo>
                  <a:pt x="28937" y="20750"/>
                  <a:pt x="28969" y="20719"/>
                  <a:pt x="29000" y="20656"/>
                </a:cubicBezTo>
                <a:cubicBezTo>
                  <a:pt x="29031" y="20594"/>
                  <a:pt x="29094" y="20563"/>
                  <a:pt x="29000" y="20500"/>
                </a:cubicBezTo>
                <a:cubicBezTo>
                  <a:pt x="28906" y="20500"/>
                  <a:pt x="28937" y="20406"/>
                  <a:pt x="28906" y="20375"/>
                </a:cubicBezTo>
                <a:cubicBezTo>
                  <a:pt x="28906" y="20375"/>
                  <a:pt x="28906" y="20375"/>
                  <a:pt x="28906" y="20344"/>
                </a:cubicBezTo>
                <a:cubicBezTo>
                  <a:pt x="28906" y="20344"/>
                  <a:pt x="28906" y="20344"/>
                  <a:pt x="28906" y="20344"/>
                </a:cubicBezTo>
                <a:cubicBezTo>
                  <a:pt x="28906" y="20344"/>
                  <a:pt x="28906" y="20344"/>
                  <a:pt x="28906" y="20344"/>
                </a:cubicBezTo>
                <a:cubicBezTo>
                  <a:pt x="28875" y="20188"/>
                  <a:pt x="28844" y="20063"/>
                  <a:pt x="28687" y="20031"/>
                </a:cubicBezTo>
                <a:cubicBezTo>
                  <a:pt x="28687" y="20000"/>
                  <a:pt x="28687" y="19969"/>
                  <a:pt x="28625" y="19938"/>
                </a:cubicBezTo>
                <a:cubicBezTo>
                  <a:pt x="28531" y="19875"/>
                  <a:pt x="28469" y="19781"/>
                  <a:pt x="28406" y="19656"/>
                </a:cubicBezTo>
                <a:cubicBezTo>
                  <a:pt x="28406" y="19625"/>
                  <a:pt x="28406" y="19594"/>
                  <a:pt x="28375" y="19563"/>
                </a:cubicBezTo>
                <a:cubicBezTo>
                  <a:pt x="28469" y="19469"/>
                  <a:pt x="28500" y="19625"/>
                  <a:pt x="28562" y="19625"/>
                </a:cubicBezTo>
                <a:cubicBezTo>
                  <a:pt x="28594" y="19688"/>
                  <a:pt x="28625" y="19781"/>
                  <a:pt x="28687" y="19813"/>
                </a:cubicBezTo>
                <a:cubicBezTo>
                  <a:pt x="28750" y="19875"/>
                  <a:pt x="28812" y="19938"/>
                  <a:pt x="28844" y="19906"/>
                </a:cubicBezTo>
                <a:cubicBezTo>
                  <a:pt x="28906" y="19844"/>
                  <a:pt x="28875" y="19750"/>
                  <a:pt x="28844" y="19688"/>
                </a:cubicBezTo>
                <a:cubicBezTo>
                  <a:pt x="28812" y="19656"/>
                  <a:pt x="28750" y="19594"/>
                  <a:pt x="28750" y="19563"/>
                </a:cubicBezTo>
                <a:cubicBezTo>
                  <a:pt x="28625" y="19219"/>
                  <a:pt x="28437" y="18906"/>
                  <a:pt x="28250" y="18625"/>
                </a:cubicBezTo>
                <a:cubicBezTo>
                  <a:pt x="28219" y="18563"/>
                  <a:pt x="28219" y="18531"/>
                  <a:pt x="28219" y="18500"/>
                </a:cubicBezTo>
                <a:cubicBezTo>
                  <a:pt x="28375" y="18563"/>
                  <a:pt x="28250" y="18375"/>
                  <a:pt x="28375" y="18406"/>
                </a:cubicBezTo>
                <a:cubicBezTo>
                  <a:pt x="28375" y="18406"/>
                  <a:pt x="28375" y="18469"/>
                  <a:pt x="28469" y="18531"/>
                </a:cubicBezTo>
                <a:cubicBezTo>
                  <a:pt x="28406" y="18375"/>
                  <a:pt x="28375" y="18219"/>
                  <a:pt x="28312" y="18125"/>
                </a:cubicBezTo>
                <a:cubicBezTo>
                  <a:pt x="28187" y="17938"/>
                  <a:pt x="28250" y="17688"/>
                  <a:pt x="28094" y="17500"/>
                </a:cubicBezTo>
                <a:cubicBezTo>
                  <a:pt x="28094" y="17469"/>
                  <a:pt x="28094" y="17406"/>
                  <a:pt x="28125" y="17406"/>
                </a:cubicBezTo>
                <a:cubicBezTo>
                  <a:pt x="28219" y="17438"/>
                  <a:pt x="28187" y="17406"/>
                  <a:pt x="28156" y="17375"/>
                </a:cubicBezTo>
                <a:cubicBezTo>
                  <a:pt x="28031" y="17156"/>
                  <a:pt x="27937" y="16938"/>
                  <a:pt x="27812" y="16750"/>
                </a:cubicBezTo>
                <a:cubicBezTo>
                  <a:pt x="27500" y="16219"/>
                  <a:pt x="27125" y="15781"/>
                  <a:pt x="26656" y="15406"/>
                </a:cubicBezTo>
                <a:cubicBezTo>
                  <a:pt x="26625" y="15375"/>
                  <a:pt x="26625" y="15375"/>
                  <a:pt x="26625" y="15344"/>
                </a:cubicBezTo>
                <a:cubicBezTo>
                  <a:pt x="26625" y="15188"/>
                  <a:pt x="26500" y="15156"/>
                  <a:pt x="26375" y="15125"/>
                </a:cubicBezTo>
                <a:cubicBezTo>
                  <a:pt x="26250" y="15094"/>
                  <a:pt x="26094" y="15063"/>
                  <a:pt x="25969" y="15031"/>
                </a:cubicBezTo>
                <a:cubicBezTo>
                  <a:pt x="25844" y="14969"/>
                  <a:pt x="25656" y="14969"/>
                  <a:pt x="25625" y="14844"/>
                </a:cubicBezTo>
                <a:cubicBezTo>
                  <a:pt x="25594" y="14719"/>
                  <a:pt x="25500" y="14656"/>
                  <a:pt x="25406" y="14688"/>
                </a:cubicBezTo>
                <a:cubicBezTo>
                  <a:pt x="25125" y="14688"/>
                  <a:pt x="24906" y="14500"/>
                  <a:pt x="24656" y="14406"/>
                </a:cubicBezTo>
                <a:cubicBezTo>
                  <a:pt x="24500" y="14344"/>
                  <a:pt x="24406" y="14188"/>
                  <a:pt x="24219" y="14188"/>
                </a:cubicBezTo>
                <a:cubicBezTo>
                  <a:pt x="24062" y="14156"/>
                  <a:pt x="23937" y="14094"/>
                  <a:pt x="23781" y="14000"/>
                </a:cubicBezTo>
                <a:cubicBezTo>
                  <a:pt x="23562" y="13906"/>
                  <a:pt x="23375" y="13688"/>
                  <a:pt x="23094" y="13656"/>
                </a:cubicBezTo>
                <a:cubicBezTo>
                  <a:pt x="23062" y="13656"/>
                  <a:pt x="23031" y="13625"/>
                  <a:pt x="23031" y="13594"/>
                </a:cubicBezTo>
                <a:cubicBezTo>
                  <a:pt x="22937" y="13375"/>
                  <a:pt x="22750" y="13250"/>
                  <a:pt x="22625" y="13063"/>
                </a:cubicBezTo>
                <a:cubicBezTo>
                  <a:pt x="22500" y="12906"/>
                  <a:pt x="22406" y="12719"/>
                  <a:pt x="22250" y="12625"/>
                </a:cubicBezTo>
                <a:cubicBezTo>
                  <a:pt x="22250" y="12594"/>
                  <a:pt x="22219" y="12563"/>
                  <a:pt x="22219" y="12563"/>
                </a:cubicBezTo>
                <a:cubicBezTo>
                  <a:pt x="22031" y="12563"/>
                  <a:pt x="22000" y="12438"/>
                  <a:pt x="21969" y="12313"/>
                </a:cubicBezTo>
                <a:cubicBezTo>
                  <a:pt x="21937" y="12250"/>
                  <a:pt x="21937" y="12188"/>
                  <a:pt x="21906" y="12125"/>
                </a:cubicBezTo>
                <a:cubicBezTo>
                  <a:pt x="21875" y="12063"/>
                  <a:pt x="21906" y="11938"/>
                  <a:pt x="21781" y="11875"/>
                </a:cubicBezTo>
                <a:cubicBezTo>
                  <a:pt x="21781" y="11813"/>
                  <a:pt x="21719" y="11781"/>
                  <a:pt x="21687" y="11750"/>
                </a:cubicBezTo>
                <a:cubicBezTo>
                  <a:pt x="21656" y="11688"/>
                  <a:pt x="21562" y="11688"/>
                  <a:pt x="21594" y="11594"/>
                </a:cubicBezTo>
                <a:cubicBezTo>
                  <a:pt x="21625" y="11594"/>
                  <a:pt x="21656" y="11594"/>
                  <a:pt x="21687" y="11563"/>
                </a:cubicBezTo>
                <a:cubicBezTo>
                  <a:pt x="21719" y="11531"/>
                  <a:pt x="21750" y="11406"/>
                  <a:pt x="21844" y="11469"/>
                </a:cubicBezTo>
                <a:cubicBezTo>
                  <a:pt x="21844" y="11469"/>
                  <a:pt x="21937" y="11406"/>
                  <a:pt x="21937" y="11344"/>
                </a:cubicBezTo>
                <a:cubicBezTo>
                  <a:pt x="21969" y="11281"/>
                  <a:pt x="21906" y="11313"/>
                  <a:pt x="21875" y="11313"/>
                </a:cubicBezTo>
                <a:cubicBezTo>
                  <a:pt x="21875" y="11281"/>
                  <a:pt x="21906" y="11250"/>
                  <a:pt x="21906" y="11250"/>
                </a:cubicBezTo>
                <a:cubicBezTo>
                  <a:pt x="21781" y="11125"/>
                  <a:pt x="21937" y="11063"/>
                  <a:pt x="21969" y="10969"/>
                </a:cubicBezTo>
                <a:cubicBezTo>
                  <a:pt x="22125" y="10906"/>
                  <a:pt x="22219" y="10781"/>
                  <a:pt x="22250" y="10625"/>
                </a:cubicBezTo>
                <a:cubicBezTo>
                  <a:pt x="22281" y="10500"/>
                  <a:pt x="22375" y="10438"/>
                  <a:pt x="22469" y="10313"/>
                </a:cubicBezTo>
                <a:cubicBezTo>
                  <a:pt x="22500" y="10406"/>
                  <a:pt x="22375" y="10469"/>
                  <a:pt x="22437" y="10563"/>
                </a:cubicBezTo>
                <a:cubicBezTo>
                  <a:pt x="22344" y="10625"/>
                  <a:pt x="22312" y="10719"/>
                  <a:pt x="22281" y="10813"/>
                </a:cubicBezTo>
                <a:cubicBezTo>
                  <a:pt x="22281" y="10844"/>
                  <a:pt x="22281" y="10844"/>
                  <a:pt x="22281" y="10844"/>
                </a:cubicBezTo>
                <a:cubicBezTo>
                  <a:pt x="22406" y="10813"/>
                  <a:pt x="22437" y="10719"/>
                  <a:pt x="22469" y="10594"/>
                </a:cubicBezTo>
                <a:cubicBezTo>
                  <a:pt x="22500" y="10656"/>
                  <a:pt x="22500" y="10500"/>
                  <a:pt x="22531" y="10594"/>
                </a:cubicBezTo>
                <a:cubicBezTo>
                  <a:pt x="22500" y="10719"/>
                  <a:pt x="22375" y="10813"/>
                  <a:pt x="22312" y="10969"/>
                </a:cubicBezTo>
                <a:cubicBezTo>
                  <a:pt x="22531" y="10969"/>
                  <a:pt x="22687" y="10875"/>
                  <a:pt x="22844" y="10781"/>
                </a:cubicBezTo>
                <a:cubicBezTo>
                  <a:pt x="23062" y="10688"/>
                  <a:pt x="23250" y="10531"/>
                  <a:pt x="23312" y="10250"/>
                </a:cubicBezTo>
                <a:cubicBezTo>
                  <a:pt x="23375" y="9906"/>
                  <a:pt x="23406" y="9563"/>
                  <a:pt x="23437" y="9250"/>
                </a:cubicBezTo>
                <a:cubicBezTo>
                  <a:pt x="23469" y="8844"/>
                  <a:pt x="23469" y="8469"/>
                  <a:pt x="23250" y="8125"/>
                </a:cubicBezTo>
                <a:cubicBezTo>
                  <a:pt x="23219" y="8063"/>
                  <a:pt x="23125" y="7969"/>
                  <a:pt x="23219" y="7844"/>
                </a:cubicBezTo>
                <a:cubicBezTo>
                  <a:pt x="23375" y="7594"/>
                  <a:pt x="23281" y="7594"/>
                  <a:pt x="23125" y="7438"/>
                </a:cubicBezTo>
                <a:cubicBezTo>
                  <a:pt x="23094" y="7281"/>
                  <a:pt x="23125" y="7125"/>
                  <a:pt x="23187" y="7000"/>
                </a:cubicBezTo>
                <a:cubicBezTo>
                  <a:pt x="23406" y="6375"/>
                  <a:pt x="23594" y="5781"/>
                  <a:pt x="23812" y="5156"/>
                </a:cubicBezTo>
                <a:cubicBezTo>
                  <a:pt x="23844" y="5031"/>
                  <a:pt x="23875" y="4875"/>
                  <a:pt x="23937" y="4750"/>
                </a:cubicBezTo>
                <a:cubicBezTo>
                  <a:pt x="24031" y="4656"/>
                  <a:pt x="23969" y="4531"/>
                  <a:pt x="23875" y="4438"/>
                </a:cubicBezTo>
                <a:cubicBezTo>
                  <a:pt x="23844" y="4406"/>
                  <a:pt x="23844" y="4375"/>
                  <a:pt x="23844" y="4313"/>
                </a:cubicBezTo>
                <a:cubicBezTo>
                  <a:pt x="23875" y="4188"/>
                  <a:pt x="24000" y="4125"/>
                  <a:pt x="24094" y="4031"/>
                </a:cubicBezTo>
                <a:cubicBezTo>
                  <a:pt x="24156" y="3938"/>
                  <a:pt x="24219" y="3875"/>
                  <a:pt x="24094" y="3813"/>
                </a:cubicBezTo>
                <a:cubicBezTo>
                  <a:pt x="24094" y="3719"/>
                  <a:pt x="24062" y="3625"/>
                  <a:pt x="24156" y="3594"/>
                </a:cubicBezTo>
                <a:cubicBezTo>
                  <a:pt x="24219" y="3656"/>
                  <a:pt x="24250" y="3781"/>
                  <a:pt x="24375" y="3750"/>
                </a:cubicBezTo>
                <a:cubicBezTo>
                  <a:pt x="24469" y="3750"/>
                  <a:pt x="24469" y="3625"/>
                  <a:pt x="24500" y="3531"/>
                </a:cubicBezTo>
                <a:cubicBezTo>
                  <a:pt x="24594" y="3250"/>
                  <a:pt x="24531" y="2969"/>
                  <a:pt x="24469" y="2688"/>
                </a:cubicBezTo>
                <a:cubicBezTo>
                  <a:pt x="24469" y="2500"/>
                  <a:pt x="24312" y="2406"/>
                  <a:pt x="24250" y="2219"/>
                </a:cubicBezTo>
                <a:cubicBezTo>
                  <a:pt x="24250" y="2156"/>
                  <a:pt x="24219" y="2063"/>
                  <a:pt x="24187" y="2000"/>
                </a:cubicBezTo>
                <a:cubicBezTo>
                  <a:pt x="24000" y="1719"/>
                  <a:pt x="23781" y="1469"/>
                  <a:pt x="23562" y="1250"/>
                </a:cubicBezTo>
                <a:cubicBezTo>
                  <a:pt x="23406" y="1063"/>
                  <a:pt x="23219" y="938"/>
                  <a:pt x="22969" y="875"/>
                </a:cubicBezTo>
                <a:cubicBezTo>
                  <a:pt x="22750" y="844"/>
                  <a:pt x="22531" y="875"/>
                  <a:pt x="22344" y="781"/>
                </a:cubicBezTo>
                <a:cubicBezTo>
                  <a:pt x="22312" y="750"/>
                  <a:pt x="22250" y="719"/>
                  <a:pt x="22219" y="688"/>
                </a:cubicBezTo>
                <a:cubicBezTo>
                  <a:pt x="21937" y="469"/>
                  <a:pt x="21687" y="188"/>
                  <a:pt x="21281" y="94"/>
                </a:cubicBezTo>
                <a:cubicBezTo>
                  <a:pt x="21062" y="31"/>
                  <a:pt x="20781" y="0"/>
                  <a:pt x="20562" y="94"/>
                </a:cubicBezTo>
                <a:cubicBezTo>
                  <a:pt x="20375" y="219"/>
                  <a:pt x="20125" y="250"/>
                  <a:pt x="19937" y="344"/>
                </a:cubicBezTo>
                <a:cubicBezTo>
                  <a:pt x="19625" y="406"/>
                  <a:pt x="19344" y="500"/>
                  <a:pt x="19219" y="813"/>
                </a:cubicBezTo>
                <a:cubicBezTo>
                  <a:pt x="19125" y="1063"/>
                  <a:pt x="18969" y="1281"/>
                  <a:pt x="18844" y="1500"/>
                </a:cubicBezTo>
                <a:cubicBezTo>
                  <a:pt x="18562" y="1938"/>
                  <a:pt x="18375" y="2438"/>
                  <a:pt x="18219" y="2938"/>
                </a:cubicBezTo>
                <a:cubicBezTo>
                  <a:pt x="18125" y="3219"/>
                  <a:pt x="18094" y="3531"/>
                  <a:pt x="17906" y="3781"/>
                </a:cubicBezTo>
                <a:cubicBezTo>
                  <a:pt x="17781" y="4000"/>
                  <a:pt x="17625" y="4188"/>
                  <a:pt x="17500" y="4406"/>
                </a:cubicBezTo>
                <a:cubicBezTo>
                  <a:pt x="17344" y="4438"/>
                  <a:pt x="17156" y="4469"/>
                  <a:pt x="17000" y="4438"/>
                </a:cubicBezTo>
                <a:cubicBezTo>
                  <a:pt x="16812" y="4406"/>
                  <a:pt x="16625" y="4313"/>
                  <a:pt x="16437" y="4250"/>
                </a:cubicBezTo>
                <a:cubicBezTo>
                  <a:pt x="16281" y="4188"/>
                  <a:pt x="16219" y="4219"/>
                  <a:pt x="16125" y="4344"/>
                </a:cubicBezTo>
                <a:cubicBezTo>
                  <a:pt x="16094" y="4438"/>
                  <a:pt x="16031" y="4531"/>
                  <a:pt x="15969" y="4625"/>
                </a:cubicBezTo>
                <a:cubicBezTo>
                  <a:pt x="15719" y="4938"/>
                  <a:pt x="15594" y="5344"/>
                  <a:pt x="15531" y="5719"/>
                </a:cubicBezTo>
                <a:cubicBezTo>
                  <a:pt x="15469" y="6000"/>
                  <a:pt x="15531" y="6281"/>
                  <a:pt x="15500" y="6594"/>
                </a:cubicBezTo>
                <a:cubicBezTo>
                  <a:pt x="15500" y="6750"/>
                  <a:pt x="15562" y="6938"/>
                  <a:pt x="15687" y="7063"/>
                </a:cubicBezTo>
                <a:cubicBezTo>
                  <a:pt x="15750" y="7125"/>
                  <a:pt x="15812" y="7219"/>
                  <a:pt x="15812" y="7344"/>
                </a:cubicBezTo>
                <a:cubicBezTo>
                  <a:pt x="15812" y="7406"/>
                  <a:pt x="15812" y="7438"/>
                  <a:pt x="15875" y="7500"/>
                </a:cubicBezTo>
                <a:cubicBezTo>
                  <a:pt x="15937" y="7563"/>
                  <a:pt x="15937" y="7625"/>
                  <a:pt x="15969" y="7719"/>
                </a:cubicBezTo>
                <a:cubicBezTo>
                  <a:pt x="16000" y="8031"/>
                  <a:pt x="16187" y="8250"/>
                  <a:pt x="16469" y="8375"/>
                </a:cubicBezTo>
                <a:cubicBezTo>
                  <a:pt x="16562" y="8188"/>
                  <a:pt x="16500" y="8000"/>
                  <a:pt x="16594" y="7813"/>
                </a:cubicBezTo>
                <a:cubicBezTo>
                  <a:pt x="16562" y="7938"/>
                  <a:pt x="16531" y="8063"/>
                  <a:pt x="16719" y="8094"/>
                </a:cubicBezTo>
                <a:cubicBezTo>
                  <a:pt x="16750" y="8094"/>
                  <a:pt x="16750" y="8125"/>
                  <a:pt x="16781" y="8188"/>
                </a:cubicBezTo>
                <a:cubicBezTo>
                  <a:pt x="16781" y="8250"/>
                  <a:pt x="16781" y="8281"/>
                  <a:pt x="16844" y="8344"/>
                </a:cubicBezTo>
                <a:cubicBezTo>
                  <a:pt x="16875" y="8406"/>
                  <a:pt x="16875" y="8469"/>
                  <a:pt x="16781" y="8500"/>
                </a:cubicBezTo>
                <a:cubicBezTo>
                  <a:pt x="16781" y="8406"/>
                  <a:pt x="16750" y="8344"/>
                  <a:pt x="16687" y="8344"/>
                </a:cubicBezTo>
                <a:cubicBezTo>
                  <a:pt x="16625" y="8313"/>
                  <a:pt x="16594" y="8406"/>
                  <a:pt x="16562" y="8438"/>
                </a:cubicBezTo>
                <a:cubicBezTo>
                  <a:pt x="16562" y="8469"/>
                  <a:pt x="16562" y="8500"/>
                  <a:pt x="16531" y="8500"/>
                </a:cubicBezTo>
                <a:cubicBezTo>
                  <a:pt x="16469" y="8688"/>
                  <a:pt x="16250" y="8781"/>
                  <a:pt x="16094" y="8688"/>
                </a:cubicBezTo>
                <a:cubicBezTo>
                  <a:pt x="16031" y="8656"/>
                  <a:pt x="15969" y="8625"/>
                  <a:pt x="15937" y="8625"/>
                </a:cubicBezTo>
                <a:cubicBezTo>
                  <a:pt x="15594" y="8500"/>
                  <a:pt x="15281" y="8406"/>
                  <a:pt x="14969" y="8281"/>
                </a:cubicBezTo>
                <a:cubicBezTo>
                  <a:pt x="14469" y="8063"/>
                  <a:pt x="13937" y="7875"/>
                  <a:pt x="13437" y="7656"/>
                </a:cubicBezTo>
                <a:cubicBezTo>
                  <a:pt x="13094" y="7500"/>
                  <a:pt x="12750" y="7375"/>
                  <a:pt x="12437" y="7156"/>
                </a:cubicBezTo>
                <a:cubicBezTo>
                  <a:pt x="12500" y="6844"/>
                  <a:pt x="12594" y="6500"/>
                  <a:pt x="12781" y="6219"/>
                </a:cubicBezTo>
                <a:cubicBezTo>
                  <a:pt x="12906" y="6063"/>
                  <a:pt x="12875" y="5969"/>
                  <a:pt x="12687" y="5906"/>
                </a:cubicBezTo>
                <a:cubicBezTo>
                  <a:pt x="12687" y="5844"/>
                  <a:pt x="12625" y="5844"/>
                  <a:pt x="12594" y="5844"/>
                </a:cubicBezTo>
                <a:cubicBezTo>
                  <a:pt x="12406" y="5906"/>
                  <a:pt x="12219" y="5969"/>
                  <a:pt x="12062" y="6125"/>
                </a:cubicBezTo>
                <a:cubicBezTo>
                  <a:pt x="12000" y="6125"/>
                  <a:pt x="12000" y="6094"/>
                  <a:pt x="11969" y="6031"/>
                </a:cubicBezTo>
                <a:cubicBezTo>
                  <a:pt x="11969" y="5938"/>
                  <a:pt x="11875" y="5875"/>
                  <a:pt x="11812" y="5844"/>
                </a:cubicBezTo>
                <a:cubicBezTo>
                  <a:pt x="11594" y="5813"/>
                  <a:pt x="11406" y="5656"/>
                  <a:pt x="11187" y="5531"/>
                </a:cubicBezTo>
                <a:cubicBezTo>
                  <a:pt x="11062" y="5469"/>
                  <a:pt x="10969" y="5531"/>
                  <a:pt x="10844" y="5531"/>
                </a:cubicBezTo>
                <a:cubicBezTo>
                  <a:pt x="10812" y="5469"/>
                  <a:pt x="10781" y="5438"/>
                  <a:pt x="10719" y="5406"/>
                </a:cubicBezTo>
                <a:cubicBezTo>
                  <a:pt x="10594" y="5281"/>
                  <a:pt x="10437" y="5344"/>
                  <a:pt x="10312" y="5406"/>
                </a:cubicBezTo>
                <a:cubicBezTo>
                  <a:pt x="10219" y="5438"/>
                  <a:pt x="10125" y="5469"/>
                  <a:pt x="10031" y="5375"/>
                </a:cubicBezTo>
                <a:cubicBezTo>
                  <a:pt x="10000" y="5313"/>
                  <a:pt x="9906" y="5344"/>
                  <a:pt x="9844" y="5313"/>
                </a:cubicBezTo>
                <a:cubicBezTo>
                  <a:pt x="9812" y="5281"/>
                  <a:pt x="9781" y="5313"/>
                  <a:pt x="9781" y="5344"/>
                </a:cubicBezTo>
                <a:cubicBezTo>
                  <a:pt x="9750" y="5375"/>
                  <a:pt x="9781" y="5375"/>
                  <a:pt x="9812" y="5406"/>
                </a:cubicBezTo>
                <a:cubicBezTo>
                  <a:pt x="9906" y="5438"/>
                  <a:pt x="10000" y="5469"/>
                  <a:pt x="10094" y="5500"/>
                </a:cubicBezTo>
                <a:cubicBezTo>
                  <a:pt x="10156" y="5563"/>
                  <a:pt x="10187" y="5656"/>
                  <a:pt x="10094" y="5688"/>
                </a:cubicBezTo>
                <a:cubicBezTo>
                  <a:pt x="10000" y="5719"/>
                  <a:pt x="9969" y="5781"/>
                  <a:pt x="9937" y="5875"/>
                </a:cubicBezTo>
                <a:cubicBezTo>
                  <a:pt x="9906" y="5781"/>
                  <a:pt x="9844" y="5688"/>
                  <a:pt x="9750" y="5750"/>
                </a:cubicBezTo>
                <a:cubicBezTo>
                  <a:pt x="9750" y="5750"/>
                  <a:pt x="9750" y="5750"/>
                  <a:pt x="9750" y="5750"/>
                </a:cubicBezTo>
                <a:cubicBezTo>
                  <a:pt x="9781" y="5594"/>
                  <a:pt x="9656" y="5563"/>
                  <a:pt x="9594" y="5531"/>
                </a:cubicBezTo>
                <a:cubicBezTo>
                  <a:pt x="9531" y="5531"/>
                  <a:pt x="9469" y="5563"/>
                  <a:pt x="9469" y="5625"/>
                </a:cubicBezTo>
                <a:cubicBezTo>
                  <a:pt x="9250" y="5594"/>
                  <a:pt x="9062" y="5500"/>
                  <a:pt x="8875" y="5375"/>
                </a:cubicBezTo>
                <a:cubicBezTo>
                  <a:pt x="8312" y="5094"/>
                  <a:pt x="7781" y="4781"/>
                  <a:pt x="7219" y="4469"/>
                </a:cubicBezTo>
                <a:cubicBezTo>
                  <a:pt x="6812" y="4219"/>
                  <a:pt x="6406" y="3969"/>
                  <a:pt x="6000" y="3750"/>
                </a:cubicBezTo>
                <a:cubicBezTo>
                  <a:pt x="5562" y="3500"/>
                  <a:pt x="5187" y="3156"/>
                  <a:pt x="4781" y="2844"/>
                </a:cubicBezTo>
                <a:cubicBezTo>
                  <a:pt x="4062" y="2313"/>
                  <a:pt x="3469" y="1688"/>
                  <a:pt x="3031" y="906"/>
                </a:cubicBezTo>
                <a:cubicBezTo>
                  <a:pt x="2875" y="688"/>
                  <a:pt x="2781" y="438"/>
                  <a:pt x="2531" y="344"/>
                </a:cubicBezTo>
                <a:cubicBezTo>
                  <a:pt x="2500" y="344"/>
                  <a:pt x="2469" y="344"/>
                  <a:pt x="2437" y="344"/>
                </a:cubicBezTo>
                <a:cubicBezTo>
                  <a:pt x="2406" y="344"/>
                  <a:pt x="2344" y="313"/>
                  <a:pt x="2312" y="375"/>
                </a:cubicBezTo>
                <a:cubicBezTo>
                  <a:pt x="2281" y="438"/>
                  <a:pt x="2344" y="500"/>
                  <a:pt x="2375" y="531"/>
                </a:cubicBezTo>
                <a:cubicBezTo>
                  <a:pt x="2469" y="625"/>
                  <a:pt x="2469" y="750"/>
                  <a:pt x="2500" y="844"/>
                </a:cubicBezTo>
                <a:cubicBezTo>
                  <a:pt x="2594" y="1094"/>
                  <a:pt x="2594" y="1344"/>
                  <a:pt x="2656" y="1563"/>
                </a:cubicBezTo>
                <a:cubicBezTo>
                  <a:pt x="2687" y="1656"/>
                  <a:pt x="2687" y="1781"/>
                  <a:pt x="2656" y="1875"/>
                </a:cubicBezTo>
                <a:cubicBezTo>
                  <a:pt x="2594" y="2156"/>
                  <a:pt x="2531" y="2406"/>
                  <a:pt x="2437" y="2688"/>
                </a:cubicBezTo>
                <a:cubicBezTo>
                  <a:pt x="2437" y="2719"/>
                  <a:pt x="2406" y="2750"/>
                  <a:pt x="2375" y="2750"/>
                </a:cubicBezTo>
                <a:cubicBezTo>
                  <a:pt x="2375" y="2781"/>
                  <a:pt x="2344" y="2813"/>
                  <a:pt x="2344" y="2844"/>
                </a:cubicBezTo>
                <a:cubicBezTo>
                  <a:pt x="2281" y="2844"/>
                  <a:pt x="2250" y="2875"/>
                  <a:pt x="2281" y="2938"/>
                </a:cubicBezTo>
                <a:cubicBezTo>
                  <a:pt x="2281" y="2969"/>
                  <a:pt x="2250" y="3031"/>
                  <a:pt x="2219" y="3063"/>
                </a:cubicBezTo>
                <a:cubicBezTo>
                  <a:pt x="2187" y="3250"/>
                  <a:pt x="2031" y="3344"/>
                  <a:pt x="1937" y="3469"/>
                </a:cubicBezTo>
                <a:cubicBezTo>
                  <a:pt x="1844" y="3594"/>
                  <a:pt x="1719" y="3719"/>
                  <a:pt x="1562" y="3750"/>
                </a:cubicBezTo>
                <a:cubicBezTo>
                  <a:pt x="1469" y="3781"/>
                  <a:pt x="1375" y="3813"/>
                  <a:pt x="1312" y="3750"/>
                </a:cubicBezTo>
                <a:cubicBezTo>
                  <a:pt x="1219" y="3656"/>
                  <a:pt x="1281" y="3563"/>
                  <a:pt x="1344" y="3500"/>
                </a:cubicBezTo>
                <a:cubicBezTo>
                  <a:pt x="1594" y="3219"/>
                  <a:pt x="1844" y="2938"/>
                  <a:pt x="2031" y="2594"/>
                </a:cubicBezTo>
                <a:cubicBezTo>
                  <a:pt x="2250" y="2125"/>
                  <a:pt x="2406" y="1656"/>
                  <a:pt x="2312" y="1125"/>
                </a:cubicBezTo>
                <a:cubicBezTo>
                  <a:pt x="2281" y="875"/>
                  <a:pt x="2344" y="594"/>
                  <a:pt x="2094" y="438"/>
                </a:cubicBezTo>
                <a:cubicBezTo>
                  <a:pt x="2062" y="406"/>
                  <a:pt x="2062" y="406"/>
                  <a:pt x="2062" y="375"/>
                </a:cubicBezTo>
                <a:cubicBezTo>
                  <a:pt x="1906" y="469"/>
                  <a:pt x="1812" y="250"/>
                  <a:pt x="1656" y="344"/>
                </a:cubicBezTo>
                <a:cubicBezTo>
                  <a:pt x="1625" y="375"/>
                  <a:pt x="1562" y="406"/>
                  <a:pt x="1531" y="344"/>
                </a:cubicBezTo>
                <a:cubicBezTo>
                  <a:pt x="1281" y="438"/>
                  <a:pt x="1094" y="594"/>
                  <a:pt x="906" y="813"/>
                </a:cubicBezTo>
                <a:cubicBezTo>
                  <a:pt x="500" y="1313"/>
                  <a:pt x="250" y="1875"/>
                  <a:pt x="94" y="2500"/>
                </a:cubicBezTo>
                <a:cubicBezTo>
                  <a:pt x="0" y="2875"/>
                  <a:pt x="0" y="3281"/>
                  <a:pt x="156" y="3656"/>
                </a:cubicBezTo>
                <a:cubicBezTo>
                  <a:pt x="219" y="3875"/>
                  <a:pt x="312" y="4063"/>
                  <a:pt x="531" y="4125"/>
                </a:cubicBezTo>
                <a:cubicBezTo>
                  <a:pt x="687" y="4188"/>
                  <a:pt x="812" y="4250"/>
                  <a:pt x="969" y="4344"/>
                </a:cubicBezTo>
                <a:cubicBezTo>
                  <a:pt x="1062" y="4375"/>
                  <a:pt x="1156" y="4375"/>
                  <a:pt x="1219" y="4375"/>
                </a:cubicBezTo>
                <a:cubicBezTo>
                  <a:pt x="2062" y="4313"/>
                  <a:pt x="2844" y="4281"/>
                  <a:pt x="3656" y="4531"/>
                </a:cubicBezTo>
                <a:cubicBezTo>
                  <a:pt x="4312" y="4719"/>
                  <a:pt x="5000" y="4875"/>
                  <a:pt x="5656" y="5156"/>
                </a:cubicBezTo>
                <a:cubicBezTo>
                  <a:pt x="6125" y="5375"/>
                  <a:pt x="6625" y="5563"/>
                  <a:pt x="7094" y="5781"/>
                </a:cubicBezTo>
                <a:cubicBezTo>
                  <a:pt x="7625" y="6000"/>
                  <a:pt x="8125" y="6219"/>
                  <a:pt x="8656" y="6406"/>
                </a:cubicBezTo>
                <a:cubicBezTo>
                  <a:pt x="8656" y="6438"/>
                  <a:pt x="8656" y="6438"/>
                  <a:pt x="8656" y="6438"/>
                </a:cubicBezTo>
                <a:cubicBezTo>
                  <a:pt x="8844" y="6500"/>
                  <a:pt x="8875" y="6594"/>
                  <a:pt x="8812" y="6750"/>
                </a:cubicBezTo>
                <a:cubicBezTo>
                  <a:pt x="8781" y="6813"/>
                  <a:pt x="8781" y="6875"/>
                  <a:pt x="8844" y="6875"/>
                </a:cubicBezTo>
                <a:cubicBezTo>
                  <a:pt x="8875" y="6906"/>
                  <a:pt x="8937" y="6906"/>
                  <a:pt x="8906" y="6938"/>
                </a:cubicBezTo>
                <a:cubicBezTo>
                  <a:pt x="8812" y="7094"/>
                  <a:pt x="9062" y="7219"/>
                  <a:pt x="9000" y="7375"/>
                </a:cubicBezTo>
                <a:cubicBezTo>
                  <a:pt x="8969" y="7406"/>
                  <a:pt x="9000" y="7438"/>
                  <a:pt x="9000" y="7438"/>
                </a:cubicBezTo>
                <a:cubicBezTo>
                  <a:pt x="9062" y="7469"/>
                  <a:pt x="9062" y="7438"/>
                  <a:pt x="9094" y="7406"/>
                </a:cubicBezTo>
                <a:cubicBezTo>
                  <a:pt x="9094" y="7344"/>
                  <a:pt x="9187" y="7344"/>
                  <a:pt x="9156" y="7281"/>
                </a:cubicBezTo>
                <a:cubicBezTo>
                  <a:pt x="9156" y="7156"/>
                  <a:pt x="9250" y="7156"/>
                  <a:pt x="9344" y="7156"/>
                </a:cubicBezTo>
                <a:cubicBezTo>
                  <a:pt x="9406" y="7156"/>
                  <a:pt x="9437" y="7219"/>
                  <a:pt x="9469" y="7313"/>
                </a:cubicBezTo>
                <a:cubicBezTo>
                  <a:pt x="9469" y="7406"/>
                  <a:pt x="9531" y="7500"/>
                  <a:pt x="9469" y="7594"/>
                </a:cubicBezTo>
                <a:cubicBezTo>
                  <a:pt x="9437" y="7656"/>
                  <a:pt x="9500" y="7719"/>
                  <a:pt x="9562" y="7719"/>
                </a:cubicBezTo>
                <a:cubicBezTo>
                  <a:pt x="9594" y="7719"/>
                  <a:pt x="9656" y="7750"/>
                  <a:pt x="9719" y="7750"/>
                </a:cubicBezTo>
                <a:cubicBezTo>
                  <a:pt x="9719" y="7781"/>
                  <a:pt x="9719" y="7813"/>
                  <a:pt x="9719" y="7844"/>
                </a:cubicBezTo>
                <a:cubicBezTo>
                  <a:pt x="9562" y="7844"/>
                  <a:pt x="9469" y="7875"/>
                  <a:pt x="9469" y="8031"/>
                </a:cubicBezTo>
                <a:cubicBezTo>
                  <a:pt x="9469" y="8094"/>
                  <a:pt x="9406" y="8125"/>
                  <a:pt x="9375" y="8125"/>
                </a:cubicBezTo>
                <a:cubicBezTo>
                  <a:pt x="9281" y="8125"/>
                  <a:pt x="9312" y="8063"/>
                  <a:pt x="9312" y="8031"/>
                </a:cubicBezTo>
                <a:cubicBezTo>
                  <a:pt x="9312" y="8000"/>
                  <a:pt x="9312" y="7969"/>
                  <a:pt x="9312" y="7938"/>
                </a:cubicBezTo>
                <a:cubicBezTo>
                  <a:pt x="9281" y="7969"/>
                  <a:pt x="9281" y="8031"/>
                  <a:pt x="9250" y="8031"/>
                </a:cubicBezTo>
                <a:cubicBezTo>
                  <a:pt x="9031" y="8063"/>
                  <a:pt x="9156" y="8281"/>
                  <a:pt x="9187" y="8281"/>
                </a:cubicBezTo>
                <a:cubicBezTo>
                  <a:pt x="9344" y="8438"/>
                  <a:pt x="9219" y="8531"/>
                  <a:pt x="9125" y="8594"/>
                </a:cubicBezTo>
                <a:cubicBezTo>
                  <a:pt x="9125" y="8625"/>
                  <a:pt x="9062" y="8656"/>
                  <a:pt x="9125" y="8656"/>
                </a:cubicBezTo>
                <a:cubicBezTo>
                  <a:pt x="9187" y="8719"/>
                  <a:pt x="9187" y="8750"/>
                  <a:pt x="9187" y="8813"/>
                </a:cubicBezTo>
                <a:cubicBezTo>
                  <a:pt x="9187" y="8875"/>
                  <a:pt x="9219" y="8875"/>
                  <a:pt x="9281" y="8875"/>
                </a:cubicBezTo>
                <a:cubicBezTo>
                  <a:pt x="9406" y="8844"/>
                  <a:pt x="9531" y="8906"/>
                  <a:pt x="9500" y="9000"/>
                </a:cubicBezTo>
                <a:cubicBezTo>
                  <a:pt x="9469" y="9313"/>
                  <a:pt x="9344" y="9563"/>
                  <a:pt x="9156" y="9813"/>
                </a:cubicBezTo>
                <a:cubicBezTo>
                  <a:pt x="9094" y="9906"/>
                  <a:pt x="8937" y="9938"/>
                  <a:pt x="8906" y="10063"/>
                </a:cubicBezTo>
                <a:cubicBezTo>
                  <a:pt x="8781" y="10281"/>
                  <a:pt x="8687" y="10531"/>
                  <a:pt x="8625" y="10781"/>
                </a:cubicBezTo>
                <a:cubicBezTo>
                  <a:pt x="8562" y="10906"/>
                  <a:pt x="8500" y="11031"/>
                  <a:pt x="8437" y="11125"/>
                </a:cubicBezTo>
                <a:cubicBezTo>
                  <a:pt x="8344" y="11313"/>
                  <a:pt x="8281" y="11531"/>
                  <a:pt x="8219" y="11719"/>
                </a:cubicBezTo>
                <a:cubicBezTo>
                  <a:pt x="8156" y="11906"/>
                  <a:pt x="8094" y="12125"/>
                  <a:pt x="8000" y="12313"/>
                </a:cubicBezTo>
                <a:cubicBezTo>
                  <a:pt x="7906" y="12500"/>
                  <a:pt x="7812" y="12688"/>
                  <a:pt x="7844" y="12938"/>
                </a:cubicBezTo>
                <a:cubicBezTo>
                  <a:pt x="7875" y="12969"/>
                  <a:pt x="7844" y="13031"/>
                  <a:pt x="7844" y="13094"/>
                </a:cubicBezTo>
                <a:cubicBezTo>
                  <a:pt x="7812" y="13156"/>
                  <a:pt x="7719" y="13125"/>
                  <a:pt x="7750" y="13219"/>
                </a:cubicBezTo>
                <a:cubicBezTo>
                  <a:pt x="7750" y="13344"/>
                  <a:pt x="7687" y="13438"/>
                  <a:pt x="7562" y="13469"/>
                </a:cubicBezTo>
                <a:cubicBezTo>
                  <a:pt x="7687" y="13594"/>
                  <a:pt x="7687" y="13656"/>
                  <a:pt x="7531" y="13781"/>
                </a:cubicBezTo>
                <a:cubicBezTo>
                  <a:pt x="7500" y="13781"/>
                  <a:pt x="7469" y="13813"/>
                  <a:pt x="7500" y="13813"/>
                </a:cubicBezTo>
                <a:cubicBezTo>
                  <a:pt x="7594" y="13938"/>
                  <a:pt x="7500" y="13969"/>
                  <a:pt x="7437" y="14000"/>
                </a:cubicBezTo>
                <a:cubicBezTo>
                  <a:pt x="7344" y="14063"/>
                  <a:pt x="7344" y="14125"/>
                  <a:pt x="7344" y="14219"/>
                </a:cubicBezTo>
                <a:cubicBezTo>
                  <a:pt x="7375" y="14375"/>
                  <a:pt x="7312" y="14469"/>
                  <a:pt x="7250" y="14594"/>
                </a:cubicBezTo>
                <a:cubicBezTo>
                  <a:pt x="7219" y="14656"/>
                  <a:pt x="7156" y="14719"/>
                  <a:pt x="7125" y="14719"/>
                </a:cubicBezTo>
                <a:cubicBezTo>
                  <a:pt x="6969" y="14656"/>
                  <a:pt x="7000" y="14813"/>
                  <a:pt x="6937" y="14844"/>
                </a:cubicBezTo>
                <a:cubicBezTo>
                  <a:pt x="7031" y="14875"/>
                  <a:pt x="7094" y="14844"/>
                  <a:pt x="7156" y="14875"/>
                </a:cubicBezTo>
                <a:cubicBezTo>
                  <a:pt x="7125" y="15000"/>
                  <a:pt x="7000" y="15031"/>
                  <a:pt x="6937" y="15094"/>
                </a:cubicBezTo>
                <a:cubicBezTo>
                  <a:pt x="6906" y="15063"/>
                  <a:pt x="6969" y="15000"/>
                  <a:pt x="6906" y="14969"/>
                </a:cubicBezTo>
                <a:cubicBezTo>
                  <a:pt x="6844" y="15063"/>
                  <a:pt x="6687" y="15031"/>
                  <a:pt x="6656" y="15188"/>
                </a:cubicBezTo>
                <a:cubicBezTo>
                  <a:pt x="6562" y="15156"/>
                  <a:pt x="6562" y="15313"/>
                  <a:pt x="6469" y="15219"/>
                </a:cubicBezTo>
                <a:cubicBezTo>
                  <a:pt x="6406" y="15156"/>
                  <a:pt x="6469" y="15094"/>
                  <a:pt x="6562" y="15063"/>
                </a:cubicBezTo>
                <a:cubicBezTo>
                  <a:pt x="6625" y="15031"/>
                  <a:pt x="6594" y="15000"/>
                  <a:pt x="6594" y="14969"/>
                </a:cubicBezTo>
                <a:cubicBezTo>
                  <a:pt x="6625" y="14844"/>
                  <a:pt x="6562" y="14688"/>
                  <a:pt x="6750" y="14625"/>
                </a:cubicBezTo>
                <a:cubicBezTo>
                  <a:pt x="6812" y="14594"/>
                  <a:pt x="6844" y="14500"/>
                  <a:pt x="6844" y="14438"/>
                </a:cubicBezTo>
                <a:cubicBezTo>
                  <a:pt x="6687" y="14438"/>
                  <a:pt x="6781" y="14313"/>
                  <a:pt x="6750" y="14250"/>
                </a:cubicBezTo>
                <a:cubicBezTo>
                  <a:pt x="6750" y="14156"/>
                  <a:pt x="6812" y="14063"/>
                  <a:pt x="6719" y="14000"/>
                </a:cubicBezTo>
                <a:cubicBezTo>
                  <a:pt x="6937" y="13969"/>
                  <a:pt x="7031" y="13844"/>
                  <a:pt x="6969" y="13656"/>
                </a:cubicBezTo>
                <a:cubicBezTo>
                  <a:pt x="6937" y="13594"/>
                  <a:pt x="6906" y="13563"/>
                  <a:pt x="6969" y="13500"/>
                </a:cubicBezTo>
                <a:cubicBezTo>
                  <a:pt x="7031" y="13438"/>
                  <a:pt x="7062" y="13375"/>
                  <a:pt x="7094" y="13281"/>
                </a:cubicBezTo>
                <a:cubicBezTo>
                  <a:pt x="7187" y="13125"/>
                  <a:pt x="7219" y="12906"/>
                  <a:pt x="7375" y="12750"/>
                </a:cubicBezTo>
                <a:cubicBezTo>
                  <a:pt x="7406" y="12688"/>
                  <a:pt x="7437" y="12656"/>
                  <a:pt x="7437" y="12594"/>
                </a:cubicBezTo>
                <a:cubicBezTo>
                  <a:pt x="7469" y="12438"/>
                  <a:pt x="7406" y="12250"/>
                  <a:pt x="7500" y="12125"/>
                </a:cubicBezTo>
                <a:cubicBezTo>
                  <a:pt x="7625" y="11906"/>
                  <a:pt x="7656" y="11688"/>
                  <a:pt x="7750" y="11438"/>
                </a:cubicBezTo>
                <a:cubicBezTo>
                  <a:pt x="7906" y="11125"/>
                  <a:pt x="8062" y="10813"/>
                  <a:pt x="8281" y="10531"/>
                </a:cubicBezTo>
                <a:cubicBezTo>
                  <a:pt x="8344" y="10406"/>
                  <a:pt x="8250" y="10375"/>
                  <a:pt x="8250" y="10313"/>
                </a:cubicBezTo>
                <a:cubicBezTo>
                  <a:pt x="8250" y="10281"/>
                  <a:pt x="8250" y="10250"/>
                  <a:pt x="8219" y="10250"/>
                </a:cubicBezTo>
                <a:cubicBezTo>
                  <a:pt x="8156" y="10281"/>
                  <a:pt x="8125" y="10344"/>
                  <a:pt x="8094" y="10406"/>
                </a:cubicBezTo>
                <a:cubicBezTo>
                  <a:pt x="8062" y="10469"/>
                  <a:pt x="8062" y="10594"/>
                  <a:pt x="8000" y="10625"/>
                </a:cubicBezTo>
                <a:cubicBezTo>
                  <a:pt x="7906" y="10656"/>
                  <a:pt x="7875" y="10688"/>
                  <a:pt x="7844" y="10781"/>
                </a:cubicBezTo>
                <a:cubicBezTo>
                  <a:pt x="7719" y="11031"/>
                  <a:pt x="7594" y="11313"/>
                  <a:pt x="7437" y="11563"/>
                </a:cubicBezTo>
                <a:cubicBezTo>
                  <a:pt x="7312" y="11813"/>
                  <a:pt x="7187" y="12094"/>
                  <a:pt x="7031" y="12313"/>
                </a:cubicBezTo>
                <a:cubicBezTo>
                  <a:pt x="6781" y="12719"/>
                  <a:pt x="6562" y="13125"/>
                  <a:pt x="6312" y="13531"/>
                </a:cubicBezTo>
                <a:cubicBezTo>
                  <a:pt x="6250" y="13656"/>
                  <a:pt x="6187" y="13813"/>
                  <a:pt x="6125" y="13969"/>
                </a:cubicBezTo>
                <a:cubicBezTo>
                  <a:pt x="6094" y="14063"/>
                  <a:pt x="6125" y="14219"/>
                  <a:pt x="6094" y="14313"/>
                </a:cubicBezTo>
                <a:cubicBezTo>
                  <a:pt x="6094" y="14313"/>
                  <a:pt x="6094" y="14313"/>
                  <a:pt x="6094" y="14313"/>
                </a:cubicBezTo>
                <a:cubicBezTo>
                  <a:pt x="6094" y="14313"/>
                  <a:pt x="6094" y="14313"/>
                  <a:pt x="6094" y="14313"/>
                </a:cubicBezTo>
                <a:cubicBezTo>
                  <a:pt x="6094" y="14313"/>
                  <a:pt x="6094" y="14313"/>
                  <a:pt x="6094" y="14313"/>
                </a:cubicBezTo>
                <a:cubicBezTo>
                  <a:pt x="6094" y="14313"/>
                  <a:pt x="6062" y="14344"/>
                  <a:pt x="6062" y="14344"/>
                </a:cubicBezTo>
                <a:cubicBezTo>
                  <a:pt x="6062" y="14344"/>
                  <a:pt x="6094" y="14344"/>
                  <a:pt x="6094" y="14344"/>
                </a:cubicBezTo>
                <a:cubicBezTo>
                  <a:pt x="6062" y="14406"/>
                  <a:pt x="6031" y="14438"/>
                  <a:pt x="6000" y="14500"/>
                </a:cubicBezTo>
                <a:cubicBezTo>
                  <a:pt x="6000" y="14500"/>
                  <a:pt x="6000" y="14531"/>
                  <a:pt x="6000" y="14531"/>
                </a:cubicBezTo>
                <a:cubicBezTo>
                  <a:pt x="6062" y="14594"/>
                  <a:pt x="6000" y="14656"/>
                  <a:pt x="5969" y="14719"/>
                </a:cubicBezTo>
                <a:cubicBezTo>
                  <a:pt x="5781" y="15094"/>
                  <a:pt x="5687" y="15500"/>
                  <a:pt x="5531" y="15906"/>
                </a:cubicBezTo>
                <a:cubicBezTo>
                  <a:pt x="5500" y="16031"/>
                  <a:pt x="5500" y="16156"/>
                  <a:pt x="5437" y="16250"/>
                </a:cubicBezTo>
                <a:cubicBezTo>
                  <a:pt x="5375" y="16344"/>
                  <a:pt x="5312" y="16438"/>
                  <a:pt x="5344" y="16563"/>
                </a:cubicBezTo>
                <a:cubicBezTo>
                  <a:pt x="5344" y="16719"/>
                  <a:pt x="5312" y="16875"/>
                  <a:pt x="5281" y="17031"/>
                </a:cubicBezTo>
                <a:cubicBezTo>
                  <a:pt x="5156" y="17531"/>
                  <a:pt x="5219" y="18031"/>
                  <a:pt x="5250" y="18531"/>
                </a:cubicBezTo>
                <a:cubicBezTo>
                  <a:pt x="5281" y="18688"/>
                  <a:pt x="5281" y="18844"/>
                  <a:pt x="5406" y="18938"/>
                </a:cubicBezTo>
                <a:cubicBezTo>
                  <a:pt x="5500" y="19031"/>
                  <a:pt x="5562" y="19156"/>
                  <a:pt x="5719" y="19219"/>
                </a:cubicBezTo>
                <a:cubicBezTo>
                  <a:pt x="5937" y="19313"/>
                  <a:pt x="6156" y="19406"/>
                  <a:pt x="6406" y="19438"/>
                </a:cubicBezTo>
                <a:cubicBezTo>
                  <a:pt x="6687" y="19469"/>
                  <a:pt x="7000" y="19500"/>
                  <a:pt x="7281" y="19500"/>
                </a:cubicBezTo>
                <a:cubicBezTo>
                  <a:pt x="8250" y="19469"/>
                  <a:pt x="9187" y="19531"/>
                  <a:pt x="10156" y="19438"/>
                </a:cubicBezTo>
                <a:cubicBezTo>
                  <a:pt x="10281" y="19438"/>
                  <a:pt x="10406" y="19438"/>
                  <a:pt x="10500" y="19531"/>
                </a:cubicBezTo>
                <a:cubicBezTo>
                  <a:pt x="10562" y="19594"/>
                  <a:pt x="10625" y="19625"/>
                  <a:pt x="10719" y="19656"/>
                </a:cubicBezTo>
                <a:cubicBezTo>
                  <a:pt x="11062" y="19750"/>
                  <a:pt x="11312" y="19563"/>
                  <a:pt x="11562" y="19344"/>
                </a:cubicBezTo>
                <a:cubicBezTo>
                  <a:pt x="11625" y="19375"/>
                  <a:pt x="11625" y="19438"/>
                  <a:pt x="11594" y="19500"/>
                </a:cubicBezTo>
                <a:cubicBezTo>
                  <a:pt x="11594" y="19625"/>
                  <a:pt x="11562" y="19750"/>
                  <a:pt x="11562" y="19875"/>
                </a:cubicBezTo>
                <a:cubicBezTo>
                  <a:pt x="11531" y="19906"/>
                  <a:pt x="11500" y="19938"/>
                  <a:pt x="11500" y="19969"/>
                </a:cubicBezTo>
                <a:cubicBezTo>
                  <a:pt x="11500" y="20344"/>
                  <a:pt x="11375" y="20688"/>
                  <a:pt x="11344" y="21063"/>
                </a:cubicBezTo>
                <a:cubicBezTo>
                  <a:pt x="11375" y="21125"/>
                  <a:pt x="11281" y="21156"/>
                  <a:pt x="11344" y="21219"/>
                </a:cubicBezTo>
                <a:cubicBezTo>
                  <a:pt x="11344" y="21219"/>
                  <a:pt x="11344" y="21219"/>
                  <a:pt x="11344" y="21219"/>
                </a:cubicBezTo>
                <a:cubicBezTo>
                  <a:pt x="11281" y="21344"/>
                  <a:pt x="11281" y="21500"/>
                  <a:pt x="11281" y="21625"/>
                </a:cubicBezTo>
                <a:cubicBezTo>
                  <a:pt x="11312" y="21813"/>
                  <a:pt x="11250" y="21969"/>
                  <a:pt x="11250" y="22125"/>
                </a:cubicBezTo>
                <a:cubicBezTo>
                  <a:pt x="11281" y="22219"/>
                  <a:pt x="11125" y="22313"/>
                  <a:pt x="11187" y="22375"/>
                </a:cubicBezTo>
                <a:cubicBezTo>
                  <a:pt x="11312" y="22531"/>
                  <a:pt x="11219" y="22625"/>
                  <a:pt x="11219" y="22750"/>
                </a:cubicBezTo>
                <a:cubicBezTo>
                  <a:pt x="11187" y="22875"/>
                  <a:pt x="11187" y="22969"/>
                  <a:pt x="11219" y="23063"/>
                </a:cubicBezTo>
                <a:cubicBezTo>
                  <a:pt x="11219" y="23063"/>
                  <a:pt x="11219" y="23063"/>
                  <a:pt x="11219" y="23063"/>
                </a:cubicBezTo>
                <a:cubicBezTo>
                  <a:pt x="11156" y="23125"/>
                  <a:pt x="11156" y="23188"/>
                  <a:pt x="11187" y="23250"/>
                </a:cubicBezTo>
                <a:cubicBezTo>
                  <a:pt x="11187" y="23313"/>
                  <a:pt x="11187" y="23313"/>
                  <a:pt x="11219" y="23344"/>
                </a:cubicBezTo>
                <a:cubicBezTo>
                  <a:pt x="11187" y="23500"/>
                  <a:pt x="11219" y="23656"/>
                  <a:pt x="11219" y="23813"/>
                </a:cubicBezTo>
                <a:cubicBezTo>
                  <a:pt x="11219" y="24000"/>
                  <a:pt x="11250" y="24219"/>
                  <a:pt x="11250" y="24406"/>
                </a:cubicBezTo>
                <a:cubicBezTo>
                  <a:pt x="11250" y="24563"/>
                  <a:pt x="11219" y="24688"/>
                  <a:pt x="11312" y="24813"/>
                </a:cubicBezTo>
                <a:cubicBezTo>
                  <a:pt x="11375" y="24875"/>
                  <a:pt x="11344" y="24969"/>
                  <a:pt x="11344" y="25031"/>
                </a:cubicBezTo>
                <a:cubicBezTo>
                  <a:pt x="11312" y="25125"/>
                  <a:pt x="11281" y="25250"/>
                  <a:pt x="11344" y="25344"/>
                </a:cubicBezTo>
                <a:cubicBezTo>
                  <a:pt x="11281" y="25469"/>
                  <a:pt x="11281" y="25563"/>
                  <a:pt x="11281" y="25688"/>
                </a:cubicBezTo>
                <a:cubicBezTo>
                  <a:pt x="11500" y="25750"/>
                  <a:pt x="11687" y="25781"/>
                  <a:pt x="11906" y="25813"/>
                </a:cubicBezTo>
                <a:cubicBezTo>
                  <a:pt x="11687" y="25781"/>
                  <a:pt x="11500" y="25750"/>
                  <a:pt x="11281" y="25688"/>
                </a:cubicBezTo>
                <a:cubicBezTo>
                  <a:pt x="11281" y="25719"/>
                  <a:pt x="11281" y="25781"/>
                  <a:pt x="11281" y="25813"/>
                </a:cubicBezTo>
                <a:cubicBezTo>
                  <a:pt x="22812" y="25813"/>
                  <a:pt x="22812" y="25813"/>
                  <a:pt x="22812" y="25813"/>
                </a:cubicBezTo>
                <a:cubicBezTo>
                  <a:pt x="22844" y="25781"/>
                  <a:pt x="22844" y="25750"/>
                  <a:pt x="22875" y="25719"/>
                </a:cubicBezTo>
                <a:cubicBezTo>
                  <a:pt x="22844" y="25750"/>
                  <a:pt x="22844" y="25781"/>
                  <a:pt x="22812" y="25813"/>
                </a:cubicBezTo>
                <a:cubicBezTo>
                  <a:pt x="23281" y="25813"/>
                  <a:pt x="23281" y="25813"/>
                  <a:pt x="23281" y="25813"/>
                </a:cubicBezTo>
                <a:cubicBezTo>
                  <a:pt x="23250" y="25813"/>
                  <a:pt x="23250" y="25781"/>
                  <a:pt x="23250" y="25781"/>
                </a:cubicBezTo>
                <a:cubicBezTo>
                  <a:pt x="23187" y="25750"/>
                  <a:pt x="23156" y="25688"/>
                  <a:pt x="23187" y="25625"/>
                </a:cubicBezTo>
                <a:cubicBezTo>
                  <a:pt x="23219" y="25563"/>
                  <a:pt x="23250" y="25469"/>
                  <a:pt x="23187" y="25406"/>
                </a:cubicBezTo>
                <a:cubicBezTo>
                  <a:pt x="23125" y="25375"/>
                  <a:pt x="23062" y="25469"/>
                  <a:pt x="23000" y="25531"/>
                </a:cubicBezTo>
                <a:cubicBezTo>
                  <a:pt x="22969" y="25531"/>
                  <a:pt x="23000" y="25500"/>
                  <a:pt x="22969" y="25469"/>
                </a:cubicBezTo>
                <a:cubicBezTo>
                  <a:pt x="23187" y="25313"/>
                  <a:pt x="23312" y="25094"/>
                  <a:pt x="23437" y="24875"/>
                </a:cubicBezTo>
                <a:cubicBezTo>
                  <a:pt x="23469" y="24844"/>
                  <a:pt x="23531" y="24781"/>
                  <a:pt x="23469" y="24781"/>
                </a:cubicBezTo>
                <a:cubicBezTo>
                  <a:pt x="23406" y="24750"/>
                  <a:pt x="23437" y="24594"/>
                  <a:pt x="23281" y="24656"/>
                </a:cubicBezTo>
                <a:cubicBezTo>
                  <a:pt x="23281" y="24656"/>
                  <a:pt x="23281" y="24656"/>
                  <a:pt x="23281" y="24656"/>
                </a:cubicBezTo>
                <a:cubicBezTo>
                  <a:pt x="23281" y="24594"/>
                  <a:pt x="23312" y="24531"/>
                  <a:pt x="23344" y="24469"/>
                </a:cubicBezTo>
                <a:cubicBezTo>
                  <a:pt x="23375" y="24438"/>
                  <a:pt x="23406" y="24375"/>
                  <a:pt x="23437" y="24469"/>
                </a:cubicBezTo>
                <a:cubicBezTo>
                  <a:pt x="23469" y="24531"/>
                  <a:pt x="23500" y="24531"/>
                  <a:pt x="23562" y="24531"/>
                </a:cubicBezTo>
                <a:cubicBezTo>
                  <a:pt x="23594" y="24531"/>
                  <a:pt x="23594" y="24500"/>
                  <a:pt x="23594" y="24469"/>
                </a:cubicBezTo>
                <a:cubicBezTo>
                  <a:pt x="23594" y="24406"/>
                  <a:pt x="23594" y="24344"/>
                  <a:pt x="23531" y="24344"/>
                </a:cubicBezTo>
                <a:cubicBezTo>
                  <a:pt x="23469" y="24344"/>
                  <a:pt x="23469" y="24344"/>
                  <a:pt x="23469" y="24313"/>
                </a:cubicBezTo>
                <a:cubicBezTo>
                  <a:pt x="23500" y="24250"/>
                  <a:pt x="23500" y="24188"/>
                  <a:pt x="23562" y="24156"/>
                </a:cubicBezTo>
                <a:cubicBezTo>
                  <a:pt x="23625" y="24125"/>
                  <a:pt x="23625" y="24156"/>
                  <a:pt x="23625" y="24188"/>
                </a:cubicBezTo>
                <a:cubicBezTo>
                  <a:pt x="23687" y="24250"/>
                  <a:pt x="23719" y="24219"/>
                  <a:pt x="23750" y="24156"/>
                </a:cubicBezTo>
                <a:cubicBezTo>
                  <a:pt x="23812" y="24094"/>
                  <a:pt x="23844" y="24031"/>
                  <a:pt x="23875" y="23969"/>
                </a:cubicBezTo>
                <a:cubicBezTo>
                  <a:pt x="23875" y="23906"/>
                  <a:pt x="23812" y="23906"/>
                  <a:pt x="23781" y="23875"/>
                </a:cubicBezTo>
                <a:cubicBezTo>
                  <a:pt x="23781" y="23844"/>
                  <a:pt x="23781" y="23813"/>
                  <a:pt x="23781" y="23781"/>
                </a:cubicBezTo>
                <a:cubicBezTo>
                  <a:pt x="23781" y="23781"/>
                  <a:pt x="23781" y="23781"/>
                  <a:pt x="23781" y="23781"/>
                </a:cubicBezTo>
                <a:cubicBezTo>
                  <a:pt x="23844" y="23781"/>
                  <a:pt x="23875" y="23750"/>
                  <a:pt x="23875" y="23688"/>
                </a:cubicBezTo>
                <a:cubicBezTo>
                  <a:pt x="24000" y="23656"/>
                  <a:pt x="24000" y="23563"/>
                  <a:pt x="24031" y="23469"/>
                </a:cubicBezTo>
                <a:cubicBezTo>
                  <a:pt x="24031" y="23469"/>
                  <a:pt x="24031" y="23469"/>
                  <a:pt x="24031" y="23469"/>
                </a:cubicBezTo>
                <a:cubicBezTo>
                  <a:pt x="24031" y="23406"/>
                  <a:pt x="24094" y="23344"/>
                  <a:pt x="24062" y="23281"/>
                </a:cubicBezTo>
                <a:cubicBezTo>
                  <a:pt x="24062" y="23281"/>
                  <a:pt x="24062" y="23281"/>
                  <a:pt x="24062" y="23281"/>
                </a:cubicBezTo>
                <a:cubicBezTo>
                  <a:pt x="24062" y="23281"/>
                  <a:pt x="24062" y="23281"/>
                  <a:pt x="24062" y="23281"/>
                </a:cubicBezTo>
                <a:cubicBezTo>
                  <a:pt x="24219" y="23281"/>
                  <a:pt x="24156" y="23125"/>
                  <a:pt x="24250" y="23094"/>
                </a:cubicBezTo>
                <a:cubicBezTo>
                  <a:pt x="24187" y="23031"/>
                  <a:pt x="24156" y="23125"/>
                  <a:pt x="24125" y="23094"/>
                </a:cubicBezTo>
                <a:cubicBezTo>
                  <a:pt x="24125" y="23094"/>
                  <a:pt x="24125" y="23094"/>
                  <a:pt x="24094" y="23094"/>
                </a:cubicBezTo>
                <a:cubicBezTo>
                  <a:pt x="24094" y="23094"/>
                  <a:pt x="24094" y="23094"/>
                  <a:pt x="24094" y="23094"/>
                </a:cubicBezTo>
                <a:cubicBezTo>
                  <a:pt x="24156" y="22938"/>
                  <a:pt x="24250" y="22844"/>
                  <a:pt x="24344" y="22719"/>
                </a:cubicBezTo>
                <a:cubicBezTo>
                  <a:pt x="24562" y="22563"/>
                  <a:pt x="24656" y="22313"/>
                  <a:pt x="24844" y="22125"/>
                </a:cubicBezTo>
                <a:cubicBezTo>
                  <a:pt x="24937" y="22000"/>
                  <a:pt x="25062" y="21844"/>
                  <a:pt x="25187" y="21688"/>
                </a:cubicBezTo>
                <a:cubicBezTo>
                  <a:pt x="25281" y="21563"/>
                  <a:pt x="25281" y="21563"/>
                  <a:pt x="25375" y="21750"/>
                </a:cubicBezTo>
                <a:cubicBezTo>
                  <a:pt x="25375" y="21750"/>
                  <a:pt x="25375" y="21750"/>
                  <a:pt x="25375" y="21750"/>
                </a:cubicBezTo>
                <a:cubicBezTo>
                  <a:pt x="25375" y="21750"/>
                  <a:pt x="25375" y="21750"/>
                  <a:pt x="25406" y="21750"/>
                </a:cubicBezTo>
                <a:cubicBezTo>
                  <a:pt x="25406" y="21750"/>
                  <a:pt x="25406" y="21781"/>
                  <a:pt x="25437" y="21781"/>
                </a:cubicBezTo>
                <a:cubicBezTo>
                  <a:pt x="25437" y="21781"/>
                  <a:pt x="25437" y="21781"/>
                  <a:pt x="25437" y="21781"/>
                </a:cubicBezTo>
                <a:cubicBezTo>
                  <a:pt x="25469" y="21906"/>
                  <a:pt x="25500" y="22031"/>
                  <a:pt x="25594" y="22125"/>
                </a:cubicBezTo>
                <a:cubicBezTo>
                  <a:pt x="25594" y="22156"/>
                  <a:pt x="25625" y="22188"/>
                  <a:pt x="25625" y="22188"/>
                </a:cubicBezTo>
                <a:cubicBezTo>
                  <a:pt x="25687" y="22188"/>
                  <a:pt x="25687" y="22219"/>
                  <a:pt x="25687" y="22250"/>
                </a:cubicBezTo>
                <a:cubicBezTo>
                  <a:pt x="25687" y="22281"/>
                  <a:pt x="25719" y="22281"/>
                  <a:pt x="25719" y="22281"/>
                </a:cubicBezTo>
                <a:cubicBezTo>
                  <a:pt x="25719" y="22281"/>
                  <a:pt x="25719" y="22313"/>
                  <a:pt x="25719" y="22313"/>
                </a:cubicBezTo>
                <a:cubicBezTo>
                  <a:pt x="25719" y="22469"/>
                  <a:pt x="25812" y="22594"/>
                  <a:pt x="25875" y="22719"/>
                </a:cubicBezTo>
                <a:cubicBezTo>
                  <a:pt x="26094" y="23188"/>
                  <a:pt x="26250" y="23656"/>
                  <a:pt x="26469" y="24094"/>
                </a:cubicBezTo>
                <a:cubicBezTo>
                  <a:pt x="26656" y="24438"/>
                  <a:pt x="26812" y="24781"/>
                  <a:pt x="27062" y="25063"/>
                </a:cubicBezTo>
                <a:cubicBezTo>
                  <a:pt x="27062" y="25094"/>
                  <a:pt x="27062" y="25094"/>
                  <a:pt x="27094" y="25125"/>
                </a:cubicBezTo>
                <a:cubicBezTo>
                  <a:pt x="27281" y="25281"/>
                  <a:pt x="27469" y="25375"/>
                  <a:pt x="27594" y="25594"/>
                </a:cubicBezTo>
                <a:cubicBezTo>
                  <a:pt x="27625" y="25656"/>
                  <a:pt x="27594" y="25781"/>
                  <a:pt x="27687" y="25813"/>
                </a:cubicBezTo>
                <a:cubicBezTo>
                  <a:pt x="27687" y="25813"/>
                  <a:pt x="27687" y="25813"/>
                  <a:pt x="27687" y="25813"/>
                </a:cubicBezTo>
                <a:cubicBezTo>
                  <a:pt x="30687" y="25813"/>
                  <a:pt x="30687" y="25813"/>
                  <a:pt x="30687" y="25813"/>
                </a:cubicBezTo>
                <a:cubicBezTo>
                  <a:pt x="30625" y="25656"/>
                  <a:pt x="30562" y="25500"/>
                  <a:pt x="30437" y="25375"/>
                </a:cubicBezTo>
                <a:cubicBezTo>
                  <a:pt x="30437" y="25344"/>
                  <a:pt x="30437" y="25344"/>
                  <a:pt x="30437" y="25344"/>
                </a:cubicBezTo>
                <a:close/>
                <a:moveTo>
                  <a:pt x="23125" y="5250"/>
                </a:moveTo>
                <a:cubicBezTo>
                  <a:pt x="23125" y="5250"/>
                  <a:pt x="23125" y="5250"/>
                  <a:pt x="23125" y="5250"/>
                </a:cubicBezTo>
                <a:cubicBezTo>
                  <a:pt x="23125" y="5250"/>
                  <a:pt x="23125" y="5250"/>
                  <a:pt x="23125" y="5250"/>
                </a:cubicBezTo>
                <a:cubicBezTo>
                  <a:pt x="23125" y="5344"/>
                  <a:pt x="23125" y="5406"/>
                  <a:pt x="23094" y="5469"/>
                </a:cubicBezTo>
                <a:cubicBezTo>
                  <a:pt x="23125" y="5406"/>
                  <a:pt x="23125" y="5344"/>
                  <a:pt x="23125" y="5250"/>
                </a:cubicBezTo>
                <a:close/>
                <a:moveTo>
                  <a:pt x="16594" y="7156"/>
                </a:moveTo>
                <a:cubicBezTo>
                  <a:pt x="16562" y="7094"/>
                  <a:pt x="16562" y="7063"/>
                  <a:pt x="16531" y="7000"/>
                </a:cubicBezTo>
                <a:cubicBezTo>
                  <a:pt x="16562" y="7063"/>
                  <a:pt x="16562" y="7094"/>
                  <a:pt x="16594" y="7156"/>
                </a:cubicBezTo>
                <a:cubicBezTo>
                  <a:pt x="16594" y="7219"/>
                  <a:pt x="16625" y="7281"/>
                  <a:pt x="16656" y="7344"/>
                </a:cubicBezTo>
                <a:cubicBezTo>
                  <a:pt x="16625" y="7281"/>
                  <a:pt x="16594" y="7219"/>
                  <a:pt x="16594" y="7156"/>
                </a:cubicBezTo>
                <a:close/>
                <a:moveTo>
                  <a:pt x="16719" y="6969"/>
                </a:moveTo>
                <a:cubicBezTo>
                  <a:pt x="16656" y="6813"/>
                  <a:pt x="16656" y="6781"/>
                  <a:pt x="16594" y="6781"/>
                </a:cubicBezTo>
                <a:cubicBezTo>
                  <a:pt x="16656" y="6781"/>
                  <a:pt x="16656" y="6813"/>
                  <a:pt x="16719" y="6969"/>
                </a:cubicBezTo>
                <a:cubicBezTo>
                  <a:pt x="16719" y="6969"/>
                  <a:pt x="16719" y="6969"/>
                  <a:pt x="16719" y="6969"/>
                </a:cubicBezTo>
                <a:close/>
                <a:moveTo>
                  <a:pt x="2312" y="2938"/>
                </a:moveTo>
                <a:cubicBezTo>
                  <a:pt x="2312" y="2938"/>
                  <a:pt x="2344" y="2906"/>
                  <a:pt x="2344" y="2906"/>
                </a:cubicBezTo>
                <a:cubicBezTo>
                  <a:pt x="2344" y="2906"/>
                  <a:pt x="2312" y="2938"/>
                  <a:pt x="2312" y="2938"/>
                </a:cubicBezTo>
                <a:close/>
                <a:moveTo>
                  <a:pt x="4531" y="3625"/>
                </a:moveTo>
                <a:cubicBezTo>
                  <a:pt x="4562" y="3594"/>
                  <a:pt x="4562" y="3563"/>
                  <a:pt x="4594" y="3531"/>
                </a:cubicBezTo>
                <a:cubicBezTo>
                  <a:pt x="4562" y="3563"/>
                  <a:pt x="4562" y="3594"/>
                  <a:pt x="4531" y="3625"/>
                </a:cubicBezTo>
                <a:close/>
                <a:moveTo>
                  <a:pt x="17437" y="6469"/>
                </a:moveTo>
                <a:cubicBezTo>
                  <a:pt x="17469" y="6563"/>
                  <a:pt x="17469" y="6656"/>
                  <a:pt x="17437" y="6719"/>
                </a:cubicBezTo>
                <a:cubicBezTo>
                  <a:pt x="17469" y="6656"/>
                  <a:pt x="17469" y="6563"/>
                  <a:pt x="17437" y="6469"/>
                </a:cubicBezTo>
                <a:cubicBezTo>
                  <a:pt x="17375" y="6500"/>
                  <a:pt x="17344" y="6531"/>
                  <a:pt x="17312" y="6563"/>
                </a:cubicBezTo>
                <a:cubicBezTo>
                  <a:pt x="17344" y="6531"/>
                  <a:pt x="17375" y="6500"/>
                  <a:pt x="17437" y="6469"/>
                </a:cubicBezTo>
                <a:close/>
                <a:moveTo>
                  <a:pt x="17219" y="6719"/>
                </a:moveTo>
                <a:cubicBezTo>
                  <a:pt x="17187" y="6750"/>
                  <a:pt x="17156" y="6719"/>
                  <a:pt x="17094" y="6719"/>
                </a:cubicBezTo>
                <a:cubicBezTo>
                  <a:pt x="17062" y="6844"/>
                  <a:pt x="16969" y="6938"/>
                  <a:pt x="16937" y="7094"/>
                </a:cubicBezTo>
                <a:cubicBezTo>
                  <a:pt x="16969" y="6938"/>
                  <a:pt x="17062" y="6844"/>
                  <a:pt x="17094" y="6719"/>
                </a:cubicBezTo>
                <a:cubicBezTo>
                  <a:pt x="17094" y="6688"/>
                  <a:pt x="17062" y="6688"/>
                  <a:pt x="17062" y="6688"/>
                </a:cubicBezTo>
                <a:cubicBezTo>
                  <a:pt x="17062" y="6688"/>
                  <a:pt x="17062" y="6688"/>
                  <a:pt x="17062" y="6688"/>
                </a:cubicBezTo>
                <a:cubicBezTo>
                  <a:pt x="17062" y="6688"/>
                  <a:pt x="17094" y="6688"/>
                  <a:pt x="17094" y="6719"/>
                </a:cubicBezTo>
                <a:cubicBezTo>
                  <a:pt x="17156" y="6719"/>
                  <a:pt x="17187" y="6750"/>
                  <a:pt x="17219" y="6719"/>
                </a:cubicBezTo>
                <a:close/>
                <a:moveTo>
                  <a:pt x="17156" y="11313"/>
                </a:moveTo>
                <a:cubicBezTo>
                  <a:pt x="17125" y="11313"/>
                  <a:pt x="17125" y="11281"/>
                  <a:pt x="17125" y="11281"/>
                </a:cubicBezTo>
                <a:cubicBezTo>
                  <a:pt x="17125" y="11281"/>
                  <a:pt x="17125" y="11313"/>
                  <a:pt x="17156" y="11313"/>
                </a:cubicBezTo>
                <a:close/>
                <a:moveTo>
                  <a:pt x="17062" y="6500"/>
                </a:moveTo>
                <a:cubicBezTo>
                  <a:pt x="17062" y="6500"/>
                  <a:pt x="17062" y="6500"/>
                  <a:pt x="17062" y="6500"/>
                </a:cubicBezTo>
                <a:cubicBezTo>
                  <a:pt x="17062" y="6500"/>
                  <a:pt x="17062" y="6500"/>
                  <a:pt x="17062" y="6500"/>
                </a:cubicBezTo>
                <a:cubicBezTo>
                  <a:pt x="17031" y="6500"/>
                  <a:pt x="17031" y="6500"/>
                  <a:pt x="17000" y="6500"/>
                </a:cubicBezTo>
                <a:cubicBezTo>
                  <a:pt x="17031" y="6500"/>
                  <a:pt x="17031" y="6500"/>
                  <a:pt x="17062" y="6500"/>
                </a:cubicBezTo>
                <a:close/>
                <a:moveTo>
                  <a:pt x="17031" y="6750"/>
                </a:moveTo>
                <a:cubicBezTo>
                  <a:pt x="16969" y="6750"/>
                  <a:pt x="16906" y="6750"/>
                  <a:pt x="16875" y="6781"/>
                </a:cubicBezTo>
                <a:cubicBezTo>
                  <a:pt x="16906" y="6750"/>
                  <a:pt x="16969" y="6750"/>
                  <a:pt x="17031" y="6750"/>
                </a:cubicBezTo>
                <a:close/>
                <a:moveTo>
                  <a:pt x="11594" y="16781"/>
                </a:moveTo>
                <a:cubicBezTo>
                  <a:pt x="11531" y="16750"/>
                  <a:pt x="11500" y="16719"/>
                  <a:pt x="11500" y="16688"/>
                </a:cubicBezTo>
                <a:cubicBezTo>
                  <a:pt x="11469" y="16656"/>
                  <a:pt x="11469" y="16594"/>
                  <a:pt x="11437" y="16563"/>
                </a:cubicBezTo>
                <a:cubicBezTo>
                  <a:pt x="11469" y="16594"/>
                  <a:pt x="11469" y="16656"/>
                  <a:pt x="11500" y="16688"/>
                </a:cubicBezTo>
                <a:cubicBezTo>
                  <a:pt x="11500" y="16719"/>
                  <a:pt x="11531" y="16750"/>
                  <a:pt x="11594" y="16781"/>
                </a:cubicBezTo>
                <a:close/>
                <a:moveTo>
                  <a:pt x="12531" y="16500"/>
                </a:moveTo>
                <a:cubicBezTo>
                  <a:pt x="12531" y="16500"/>
                  <a:pt x="12500" y="16531"/>
                  <a:pt x="12437" y="16563"/>
                </a:cubicBezTo>
                <a:cubicBezTo>
                  <a:pt x="12500" y="16531"/>
                  <a:pt x="12531" y="16500"/>
                  <a:pt x="12531" y="16500"/>
                </a:cubicBezTo>
                <a:cubicBezTo>
                  <a:pt x="12625" y="16500"/>
                  <a:pt x="12687" y="16531"/>
                  <a:pt x="12719" y="16594"/>
                </a:cubicBezTo>
                <a:cubicBezTo>
                  <a:pt x="12687" y="16531"/>
                  <a:pt x="12625" y="16500"/>
                  <a:pt x="12531" y="16500"/>
                </a:cubicBezTo>
                <a:close/>
                <a:moveTo>
                  <a:pt x="12406" y="16594"/>
                </a:moveTo>
                <a:cubicBezTo>
                  <a:pt x="12437" y="16594"/>
                  <a:pt x="12437" y="16594"/>
                  <a:pt x="12437" y="16563"/>
                </a:cubicBezTo>
                <a:cubicBezTo>
                  <a:pt x="12437" y="16594"/>
                  <a:pt x="12437" y="16594"/>
                  <a:pt x="12406" y="16594"/>
                </a:cubicBezTo>
                <a:close/>
                <a:moveTo>
                  <a:pt x="13312" y="24938"/>
                </a:moveTo>
                <a:cubicBezTo>
                  <a:pt x="13312" y="24938"/>
                  <a:pt x="13312" y="24938"/>
                  <a:pt x="13312" y="24938"/>
                </a:cubicBezTo>
                <a:cubicBezTo>
                  <a:pt x="13312" y="24844"/>
                  <a:pt x="13312" y="24781"/>
                  <a:pt x="13344" y="24688"/>
                </a:cubicBezTo>
                <a:cubicBezTo>
                  <a:pt x="13312" y="24781"/>
                  <a:pt x="13312" y="24844"/>
                  <a:pt x="13312" y="24938"/>
                </a:cubicBezTo>
                <a:close/>
                <a:moveTo>
                  <a:pt x="17656" y="12469"/>
                </a:moveTo>
                <a:cubicBezTo>
                  <a:pt x="17719" y="12438"/>
                  <a:pt x="17781" y="12406"/>
                  <a:pt x="17812" y="12344"/>
                </a:cubicBezTo>
                <a:cubicBezTo>
                  <a:pt x="17781" y="12406"/>
                  <a:pt x="17719" y="12438"/>
                  <a:pt x="17656" y="12469"/>
                </a:cubicBezTo>
                <a:close/>
                <a:moveTo>
                  <a:pt x="18187" y="12000"/>
                </a:moveTo>
                <a:cubicBezTo>
                  <a:pt x="18156" y="12094"/>
                  <a:pt x="18062" y="12156"/>
                  <a:pt x="17969" y="12156"/>
                </a:cubicBezTo>
                <a:cubicBezTo>
                  <a:pt x="17937" y="12156"/>
                  <a:pt x="17906" y="12156"/>
                  <a:pt x="17906" y="12156"/>
                </a:cubicBezTo>
                <a:cubicBezTo>
                  <a:pt x="17844" y="12156"/>
                  <a:pt x="17844" y="12188"/>
                  <a:pt x="17875" y="12219"/>
                </a:cubicBezTo>
                <a:cubicBezTo>
                  <a:pt x="17844" y="12219"/>
                  <a:pt x="17844" y="12250"/>
                  <a:pt x="17844" y="12250"/>
                </a:cubicBezTo>
                <a:cubicBezTo>
                  <a:pt x="17719" y="12281"/>
                  <a:pt x="17656" y="12375"/>
                  <a:pt x="17594" y="12500"/>
                </a:cubicBezTo>
                <a:cubicBezTo>
                  <a:pt x="17562" y="12500"/>
                  <a:pt x="17531" y="12500"/>
                  <a:pt x="17531" y="12531"/>
                </a:cubicBezTo>
                <a:cubicBezTo>
                  <a:pt x="17562" y="12594"/>
                  <a:pt x="17562" y="12625"/>
                  <a:pt x="17531" y="12656"/>
                </a:cubicBezTo>
                <a:cubicBezTo>
                  <a:pt x="17562" y="12625"/>
                  <a:pt x="17562" y="12594"/>
                  <a:pt x="17531" y="12531"/>
                </a:cubicBezTo>
                <a:cubicBezTo>
                  <a:pt x="17469" y="12594"/>
                  <a:pt x="17375" y="12625"/>
                  <a:pt x="17344" y="12719"/>
                </a:cubicBezTo>
                <a:cubicBezTo>
                  <a:pt x="17187" y="12781"/>
                  <a:pt x="17125" y="12938"/>
                  <a:pt x="17000" y="13031"/>
                </a:cubicBezTo>
                <a:cubicBezTo>
                  <a:pt x="16875" y="13125"/>
                  <a:pt x="16750" y="13219"/>
                  <a:pt x="16625" y="13281"/>
                </a:cubicBezTo>
                <a:cubicBezTo>
                  <a:pt x="16187" y="13438"/>
                  <a:pt x="15750" y="13469"/>
                  <a:pt x="15375" y="13656"/>
                </a:cubicBezTo>
                <a:cubicBezTo>
                  <a:pt x="15281" y="13719"/>
                  <a:pt x="15156" y="13688"/>
                  <a:pt x="15062" y="13688"/>
                </a:cubicBezTo>
                <a:cubicBezTo>
                  <a:pt x="14906" y="13656"/>
                  <a:pt x="14719" y="13688"/>
                  <a:pt x="14562" y="13781"/>
                </a:cubicBezTo>
                <a:cubicBezTo>
                  <a:pt x="14406" y="13938"/>
                  <a:pt x="14219" y="13813"/>
                  <a:pt x="14094" y="13750"/>
                </a:cubicBezTo>
                <a:cubicBezTo>
                  <a:pt x="13969" y="13719"/>
                  <a:pt x="13875" y="13688"/>
                  <a:pt x="13781" y="13781"/>
                </a:cubicBezTo>
                <a:cubicBezTo>
                  <a:pt x="13656" y="13844"/>
                  <a:pt x="13531" y="13844"/>
                  <a:pt x="13406" y="13813"/>
                </a:cubicBezTo>
                <a:cubicBezTo>
                  <a:pt x="13312" y="13781"/>
                  <a:pt x="13219" y="13781"/>
                  <a:pt x="13125" y="13844"/>
                </a:cubicBezTo>
                <a:cubicBezTo>
                  <a:pt x="13062" y="13906"/>
                  <a:pt x="12937" y="13875"/>
                  <a:pt x="12875" y="13844"/>
                </a:cubicBezTo>
                <a:cubicBezTo>
                  <a:pt x="12750" y="13781"/>
                  <a:pt x="12687" y="13781"/>
                  <a:pt x="12594" y="13875"/>
                </a:cubicBezTo>
                <a:cubicBezTo>
                  <a:pt x="12562" y="13938"/>
                  <a:pt x="12531" y="13969"/>
                  <a:pt x="12469" y="13906"/>
                </a:cubicBezTo>
                <a:cubicBezTo>
                  <a:pt x="12437" y="13875"/>
                  <a:pt x="12375" y="13906"/>
                  <a:pt x="12344" y="13938"/>
                </a:cubicBezTo>
                <a:cubicBezTo>
                  <a:pt x="12219" y="14063"/>
                  <a:pt x="12062" y="14063"/>
                  <a:pt x="11875" y="14063"/>
                </a:cubicBezTo>
                <a:cubicBezTo>
                  <a:pt x="11531" y="14125"/>
                  <a:pt x="11219" y="14219"/>
                  <a:pt x="10906" y="14406"/>
                </a:cubicBezTo>
                <a:cubicBezTo>
                  <a:pt x="10844" y="14469"/>
                  <a:pt x="10750" y="14469"/>
                  <a:pt x="10687" y="14500"/>
                </a:cubicBezTo>
                <a:cubicBezTo>
                  <a:pt x="10531" y="14594"/>
                  <a:pt x="10500" y="14719"/>
                  <a:pt x="10344" y="14813"/>
                </a:cubicBezTo>
                <a:cubicBezTo>
                  <a:pt x="10250" y="14875"/>
                  <a:pt x="10094" y="14844"/>
                  <a:pt x="10031" y="14938"/>
                </a:cubicBezTo>
                <a:cubicBezTo>
                  <a:pt x="10062" y="14969"/>
                  <a:pt x="10094" y="14969"/>
                  <a:pt x="10125" y="15000"/>
                </a:cubicBezTo>
                <a:cubicBezTo>
                  <a:pt x="10031" y="15125"/>
                  <a:pt x="9875" y="15125"/>
                  <a:pt x="9750" y="15188"/>
                </a:cubicBezTo>
                <a:cubicBezTo>
                  <a:pt x="9750" y="15188"/>
                  <a:pt x="9750" y="15188"/>
                  <a:pt x="9750" y="15188"/>
                </a:cubicBezTo>
                <a:cubicBezTo>
                  <a:pt x="9562" y="15344"/>
                  <a:pt x="9344" y="15438"/>
                  <a:pt x="9094" y="15438"/>
                </a:cubicBezTo>
                <a:cubicBezTo>
                  <a:pt x="9062" y="15188"/>
                  <a:pt x="9156" y="14969"/>
                  <a:pt x="9187" y="14750"/>
                </a:cubicBezTo>
                <a:cubicBezTo>
                  <a:pt x="9312" y="14156"/>
                  <a:pt x="9437" y="13563"/>
                  <a:pt x="9562" y="12969"/>
                </a:cubicBezTo>
                <a:cubicBezTo>
                  <a:pt x="9625" y="12656"/>
                  <a:pt x="9719" y="12375"/>
                  <a:pt x="9812" y="12094"/>
                </a:cubicBezTo>
                <a:cubicBezTo>
                  <a:pt x="9937" y="11594"/>
                  <a:pt x="10062" y="11125"/>
                  <a:pt x="10250" y="10656"/>
                </a:cubicBezTo>
                <a:cubicBezTo>
                  <a:pt x="10406" y="10250"/>
                  <a:pt x="10562" y="9813"/>
                  <a:pt x="10844" y="9438"/>
                </a:cubicBezTo>
                <a:cubicBezTo>
                  <a:pt x="10937" y="9281"/>
                  <a:pt x="11125" y="9188"/>
                  <a:pt x="11281" y="9063"/>
                </a:cubicBezTo>
                <a:cubicBezTo>
                  <a:pt x="11469" y="8906"/>
                  <a:pt x="11656" y="8750"/>
                  <a:pt x="11844" y="8563"/>
                </a:cubicBezTo>
                <a:cubicBezTo>
                  <a:pt x="11875" y="8500"/>
                  <a:pt x="11937" y="8500"/>
                  <a:pt x="12000" y="8469"/>
                </a:cubicBezTo>
                <a:cubicBezTo>
                  <a:pt x="12187" y="8313"/>
                  <a:pt x="12281" y="8156"/>
                  <a:pt x="12250" y="7969"/>
                </a:cubicBezTo>
                <a:cubicBezTo>
                  <a:pt x="12469" y="8000"/>
                  <a:pt x="12656" y="8094"/>
                  <a:pt x="12844" y="8156"/>
                </a:cubicBezTo>
                <a:cubicBezTo>
                  <a:pt x="13156" y="8250"/>
                  <a:pt x="13437" y="8375"/>
                  <a:pt x="13750" y="8500"/>
                </a:cubicBezTo>
                <a:cubicBezTo>
                  <a:pt x="14094" y="8625"/>
                  <a:pt x="14406" y="8750"/>
                  <a:pt x="14750" y="8875"/>
                </a:cubicBezTo>
                <a:cubicBezTo>
                  <a:pt x="15156" y="8969"/>
                  <a:pt x="15531" y="9125"/>
                  <a:pt x="15906" y="9188"/>
                </a:cubicBezTo>
                <a:cubicBezTo>
                  <a:pt x="16094" y="9219"/>
                  <a:pt x="16344" y="9469"/>
                  <a:pt x="16375" y="9625"/>
                </a:cubicBezTo>
                <a:cubicBezTo>
                  <a:pt x="16406" y="9750"/>
                  <a:pt x="16437" y="9781"/>
                  <a:pt x="16594" y="9781"/>
                </a:cubicBezTo>
                <a:cubicBezTo>
                  <a:pt x="16625" y="9844"/>
                  <a:pt x="16594" y="9844"/>
                  <a:pt x="16562" y="9844"/>
                </a:cubicBezTo>
                <a:cubicBezTo>
                  <a:pt x="16531" y="9844"/>
                  <a:pt x="16500" y="9875"/>
                  <a:pt x="16469" y="9875"/>
                </a:cubicBezTo>
                <a:cubicBezTo>
                  <a:pt x="16656" y="10000"/>
                  <a:pt x="16687" y="10125"/>
                  <a:pt x="16594" y="10313"/>
                </a:cubicBezTo>
                <a:cubicBezTo>
                  <a:pt x="16531" y="10219"/>
                  <a:pt x="16625" y="10094"/>
                  <a:pt x="16500" y="10031"/>
                </a:cubicBezTo>
                <a:cubicBezTo>
                  <a:pt x="16437" y="10406"/>
                  <a:pt x="16531" y="10750"/>
                  <a:pt x="16594" y="11094"/>
                </a:cubicBezTo>
                <a:cubicBezTo>
                  <a:pt x="16594" y="11125"/>
                  <a:pt x="16625" y="11188"/>
                  <a:pt x="16687" y="11188"/>
                </a:cubicBezTo>
                <a:cubicBezTo>
                  <a:pt x="16687" y="11188"/>
                  <a:pt x="16687" y="11188"/>
                  <a:pt x="16687" y="11188"/>
                </a:cubicBezTo>
                <a:cubicBezTo>
                  <a:pt x="16656" y="11250"/>
                  <a:pt x="16687" y="11313"/>
                  <a:pt x="16781" y="11375"/>
                </a:cubicBezTo>
                <a:cubicBezTo>
                  <a:pt x="16781" y="11281"/>
                  <a:pt x="16687" y="11250"/>
                  <a:pt x="16719" y="11188"/>
                </a:cubicBezTo>
                <a:cubicBezTo>
                  <a:pt x="16719" y="11188"/>
                  <a:pt x="16719" y="11188"/>
                  <a:pt x="16719" y="11188"/>
                </a:cubicBezTo>
                <a:cubicBezTo>
                  <a:pt x="16687" y="11188"/>
                  <a:pt x="16687" y="11188"/>
                  <a:pt x="16687" y="11188"/>
                </a:cubicBezTo>
                <a:cubicBezTo>
                  <a:pt x="16687" y="11125"/>
                  <a:pt x="16719" y="11125"/>
                  <a:pt x="16750" y="11125"/>
                </a:cubicBezTo>
                <a:cubicBezTo>
                  <a:pt x="16781" y="11094"/>
                  <a:pt x="16844" y="11063"/>
                  <a:pt x="16781" y="11000"/>
                </a:cubicBezTo>
                <a:cubicBezTo>
                  <a:pt x="16781" y="11000"/>
                  <a:pt x="16781" y="10906"/>
                  <a:pt x="16781" y="10906"/>
                </a:cubicBezTo>
                <a:cubicBezTo>
                  <a:pt x="16844" y="10906"/>
                  <a:pt x="16844" y="10938"/>
                  <a:pt x="16875" y="11000"/>
                </a:cubicBezTo>
                <a:cubicBezTo>
                  <a:pt x="16875" y="11156"/>
                  <a:pt x="17000" y="11250"/>
                  <a:pt x="17094" y="11406"/>
                </a:cubicBezTo>
                <a:cubicBezTo>
                  <a:pt x="17094" y="11406"/>
                  <a:pt x="17125" y="11406"/>
                  <a:pt x="17156" y="11406"/>
                </a:cubicBezTo>
                <a:cubicBezTo>
                  <a:pt x="17125" y="11469"/>
                  <a:pt x="17219" y="11500"/>
                  <a:pt x="17250" y="11563"/>
                </a:cubicBezTo>
                <a:cubicBezTo>
                  <a:pt x="17250" y="11563"/>
                  <a:pt x="17250" y="11563"/>
                  <a:pt x="17250" y="11563"/>
                </a:cubicBezTo>
                <a:cubicBezTo>
                  <a:pt x="17281" y="11656"/>
                  <a:pt x="17375" y="11688"/>
                  <a:pt x="17437" y="11719"/>
                </a:cubicBezTo>
                <a:cubicBezTo>
                  <a:pt x="17437" y="11781"/>
                  <a:pt x="17375" y="11719"/>
                  <a:pt x="17375" y="11781"/>
                </a:cubicBezTo>
                <a:cubicBezTo>
                  <a:pt x="17594" y="11750"/>
                  <a:pt x="17781" y="11844"/>
                  <a:pt x="17969" y="11875"/>
                </a:cubicBezTo>
                <a:cubicBezTo>
                  <a:pt x="18062" y="11875"/>
                  <a:pt x="18187" y="11938"/>
                  <a:pt x="18187" y="12000"/>
                </a:cubicBezTo>
                <a:close/>
                <a:moveTo>
                  <a:pt x="18312" y="9438"/>
                </a:moveTo>
                <a:cubicBezTo>
                  <a:pt x="18312" y="9438"/>
                  <a:pt x="18281" y="9469"/>
                  <a:pt x="18281" y="9469"/>
                </a:cubicBezTo>
                <a:cubicBezTo>
                  <a:pt x="18281" y="9469"/>
                  <a:pt x="18312" y="9438"/>
                  <a:pt x="18312" y="9438"/>
                </a:cubicBezTo>
                <a:cubicBezTo>
                  <a:pt x="18312" y="9438"/>
                  <a:pt x="18312" y="9438"/>
                  <a:pt x="18312" y="9438"/>
                </a:cubicBezTo>
                <a:cubicBezTo>
                  <a:pt x="18312" y="9469"/>
                  <a:pt x="18312" y="9469"/>
                  <a:pt x="18344" y="9469"/>
                </a:cubicBezTo>
                <a:cubicBezTo>
                  <a:pt x="18312" y="9469"/>
                  <a:pt x="18312" y="9469"/>
                  <a:pt x="18312" y="9438"/>
                </a:cubicBezTo>
                <a:close/>
                <a:moveTo>
                  <a:pt x="18500" y="18469"/>
                </a:moveTo>
                <a:cubicBezTo>
                  <a:pt x="18531" y="18375"/>
                  <a:pt x="18594" y="18281"/>
                  <a:pt x="18656" y="18188"/>
                </a:cubicBezTo>
                <a:cubicBezTo>
                  <a:pt x="18594" y="18281"/>
                  <a:pt x="18531" y="18375"/>
                  <a:pt x="18500" y="18469"/>
                </a:cubicBezTo>
                <a:cubicBezTo>
                  <a:pt x="18500" y="18469"/>
                  <a:pt x="18500" y="18469"/>
                  <a:pt x="18500" y="18469"/>
                </a:cubicBezTo>
                <a:close/>
                <a:moveTo>
                  <a:pt x="18687" y="18500"/>
                </a:moveTo>
                <a:cubicBezTo>
                  <a:pt x="18687" y="18500"/>
                  <a:pt x="18656" y="18469"/>
                  <a:pt x="18656" y="18469"/>
                </a:cubicBezTo>
                <a:cubicBezTo>
                  <a:pt x="18656" y="18469"/>
                  <a:pt x="18687" y="18500"/>
                  <a:pt x="18687" y="18500"/>
                </a:cubicBezTo>
                <a:close/>
                <a:moveTo>
                  <a:pt x="18625" y="18469"/>
                </a:moveTo>
                <a:cubicBezTo>
                  <a:pt x="18594" y="18469"/>
                  <a:pt x="18594" y="18469"/>
                  <a:pt x="18594" y="18469"/>
                </a:cubicBezTo>
                <a:cubicBezTo>
                  <a:pt x="18594" y="18469"/>
                  <a:pt x="18594" y="18469"/>
                  <a:pt x="18625" y="18469"/>
                </a:cubicBezTo>
                <a:close/>
                <a:moveTo>
                  <a:pt x="18687" y="20125"/>
                </a:moveTo>
                <a:cubicBezTo>
                  <a:pt x="18687" y="20156"/>
                  <a:pt x="18656" y="20188"/>
                  <a:pt x="18656" y="20219"/>
                </a:cubicBezTo>
                <a:cubicBezTo>
                  <a:pt x="18625" y="20281"/>
                  <a:pt x="18594" y="20313"/>
                  <a:pt x="18562" y="20375"/>
                </a:cubicBezTo>
                <a:cubicBezTo>
                  <a:pt x="18594" y="20313"/>
                  <a:pt x="18625" y="20281"/>
                  <a:pt x="18656" y="20219"/>
                </a:cubicBezTo>
                <a:cubicBezTo>
                  <a:pt x="18656" y="20188"/>
                  <a:pt x="18687" y="20156"/>
                  <a:pt x="18687" y="20125"/>
                </a:cubicBezTo>
                <a:cubicBezTo>
                  <a:pt x="18719" y="20063"/>
                  <a:pt x="18719" y="20031"/>
                  <a:pt x="18719" y="20000"/>
                </a:cubicBezTo>
                <a:cubicBezTo>
                  <a:pt x="18719" y="20031"/>
                  <a:pt x="18719" y="20063"/>
                  <a:pt x="18687" y="20125"/>
                </a:cubicBezTo>
                <a:close/>
                <a:moveTo>
                  <a:pt x="18750" y="19938"/>
                </a:moveTo>
                <a:cubicBezTo>
                  <a:pt x="18750" y="19906"/>
                  <a:pt x="18750" y="19875"/>
                  <a:pt x="18750" y="19813"/>
                </a:cubicBezTo>
                <a:cubicBezTo>
                  <a:pt x="18750" y="19875"/>
                  <a:pt x="18750" y="19906"/>
                  <a:pt x="18750" y="19938"/>
                </a:cubicBezTo>
                <a:close/>
                <a:moveTo>
                  <a:pt x="19875" y="17625"/>
                </a:moveTo>
                <a:cubicBezTo>
                  <a:pt x="19844" y="17688"/>
                  <a:pt x="19844" y="17750"/>
                  <a:pt x="19844" y="17813"/>
                </a:cubicBezTo>
                <a:cubicBezTo>
                  <a:pt x="19844" y="17813"/>
                  <a:pt x="19844" y="17813"/>
                  <a:pt x="19844" y="17813"/>
                </a:cubicBezTo>
                <a:cubicBezTo>
                  <a:pt x="19844" y="17750"/>
                  <a:pt x="19844" y="17688"/>
                  <a:pt x="19875" y="17625"/>
                </a:cubicBezTo>
                <a:close/>
                <a:moveTo>
                  <a:pt x="20531" y="17531"/>
                </a:moveTo>
                <a:cubicBezTo>
                  <a:pt x="20500" y="17531"/>
                  <a:pt x="20500" y="17531"/>
                  <a:pt x="20500" y="17531"/>
                </a:cubicBezTo>
                <a:cubicBezTo>
                  <a:pt x="20500" y="17531"/>
                  <a:pt x="20500" y="17531"/>
                  <a:pt x="20531" y="17531"/>
                </a:cubicBezTo>
                <a:cubicBezTo>
                  <a:pt x="20531" y="17531"/>
                  <a:pt x="20531" y="17531"/>
                  <a:pt x="20531" y="17531"/>
                </a:cubicBezTo>
                <a:close/>
                <a:moveTo>
                  <a:pt x="23250" y="24750"/>
                </a:moveTo>
                <a:cubicBezTo>
                  <a:pt x="23250" y="24719"/>
                  <a:pt x="23281" y="24688"/>
                  <a:pt x="23281" y="24688"/>
                </a:cubicBezTo>
                <a:cubicBezTo>
                  <a:pt x="23281" y="24688"/>
                  <a:pt x="23250" y="24719"/>
                  <a:pt x="23250" y="24750"/>
                </a:cubicBezTo>
                <a:close/>
                <a:moveTo>
                  <a:pt x="23187" y="24844"/>
                </a:moveTo>
                <a:cubicBezTo>
                  <a:pt x="23219" y="24813"/>
                  <a:pt x="23219" y="24813"/>
                  <a:pt x="23219" y="24781"/>
                </a:cubicBezTo>
                <a:cubicBezTo>
                  <a:pt x="23219" y="24813"/>
                  <a:pt x="23219" y="24813"/>
                  <a:pt x="23187" y="24844"/>
                </a:cubicBezTo>
                <a:close/>
                <a:moveTo>
                  <a:pt x="23219" y="24781"/>
                </a:moveTo>
                <a:cubicBezTo>
                  <a:pt x="23219" y="24781"/>
                  <a:pt x="23219" y="24781"/>
                  <a:pt x="23219" y="24781"/>
                </a:cubicBezTo>
                <a:cubicBezTo>
                  <a:pt x="23219" y="24781"/>
                  <a:pt x="23219" y="24781"/>
                  <a:pt x="23219" y="24781"/>
                </a:cubicBezTo>
                <a:close/>
                <a:moveTo>
                  <a:pt x="23250" y="24750"/>
                </a:moveTo>
                <a:cubicBezTo>
                  <a:pt x="23250" y="24750"/>
                  <a:pt x="23250" y="24750"/>
                  <a:pt x="23250" y="24750"/>
                </a:cubicBezTo>
                <a:cubicBezTo>
                  <a:pt x="23250" y="24750"/>
                  <a:pt x="23250" y="24750"/>
                  <a:pt x="23250" y="24750"/>
                </a:cubicBezTo>
                <a:close/>
                <a:moveTo>
                  <a:pt x="28625" y="20500"/>
                </a:moveTo>
                <a:cubicBezTo>
                  <a:pt x="28625" y="20469"/>
                  <a:pt x="28625" y="20438"/>
                  <a:pt x="28656" y="20438"/>
                </a:cubicBezTo>
                <a:cubicBezTo>
                  <a:pt x="28625" y="20438"/>
                  <a:pt x="28625" y="20469"/>
                  <a:pt x="28625" y="2050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0914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90600"/>
            <a:ext cx="10972801" cy="508000"/>
          </a:xfrm>
        </p:spPr>
        <p:txBody>
          <a:bodyPr>
            <a:noAutofit/>
          </a:bodyPr>
          <a:lstStyle>
            <a:lvl1pPr marL="0" indent="0">
              <a:buNone/>
              <a:defRPr sz="1866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31589316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20">
            <a:extLst>
              <a:ext uri="{FF2B5EF4-FFF2-40B4-BE49-F238E27FC236}">
                <a16:creationId xmlns:a16="http://schemas.microsoft.com/office/drawing/2014/main" id="{DC72D5E0-E818-5B4E-B6CD-953BF3707667}"/>
              </a:ext>
            </a:extLst>
          </p:cNvPr>
          <p:cNvSpPr>
            <a:spLocks noGrp="1" noEditPoints="1"/>
          </p:cNvSpPr>
          <p:nvPr>
            <p:ph type="pic" sz="quarter" idx="29"/>
          </p:nvPr>
        </p:nvSpPr>
        <p:spPr bwMode="auto">
          <a:xfrm>
            <a:off x="228112" y="295339"/>
            <a:ext cx="6260351" cy="6562661"/>
          </a:xfrm>
          <a:custGeom>
            <a:avLst/>
            <a:gdLst>
              <a:gd name="T0" fmla="*/ 1323 w 1482"/>
              <a:gd name="T1" fmla="*/ 1334 h 1662"/>
              <a:gd name="T2" fmla="*/ 365 w 1482"/>
              <a:gd name="T3" fmla="*/ 689 h 1662"/>
              <a:gd name="T4" fmla="*/ 131 w 1482"/>
              <a:gd name="T5" fmla="*/ 971 h 1662"/>
              <a:gd name="T6" fmla="*/ 1365 w 1482"/>
              <a:gd name="T7" fmla="*/ 1155 h 1662"/>
              <a:gd name="T8" fmla="*/ 1206 w 1482"/>
              <a:gd name="T9" fmla="*/ 641 h 1662"/>
              <a:gd name="T10" fmla="*/ 921 w 1482"/>
              <a:gd name="T11" fmla="*/ 359 h 1662"/>
              <a:gd name="T12" fmla="*/ 692 w 1482"/>
              <a:gd name="T13" fmla="*/ 354 h 1662"/>
              <a:gd name="T14" fmla="*/ 1359 w 1482"/>
              <a:gd name="T15" fmla="*/ 1399 h 1662"/>
              <a:gd name="T16" fmla="*/ 1260 w 1482"/>
              <a:gd name="T17" fmla="*/ 1085 h 1662"/>
              <a:gd name="T18" fmla="*/ 1240 w 1482"/>
              <a:gd name="T19" fmla="*/ 899 h 1662"/>
              <a:gd name="T20" fmla="*/ 1206 w 1482"/>
              <a:gd name="T21" fmla="*/ 958 h 1662"/>
              <a:gd name="T22" fmla="*/ 1075 w 1482"/>
              <a:gd name="T23" fmla="*/ 1427 h 1662"/>
              <a:gd name="T24" fmla="*/ 957 w 1482"/>
              <a:gd name="T25" fmla="*/ 1061 h 1662"/>
              <a:gd name="T26" fmla="*/ 989 w 1482"/>
              <a:gd name="T27" fmla="*/ 1138 h 1662"/>
              <a:gd name="T28" fmla="*/ 813 w 1482"/>
              <a:gd name="T29" fmla="*/ 1438 h 1662"/>
              <a:gd name="T30" fmla="*/ 647 w 1482"/>
              <a:gd name="T31" fmla="*/ 1238 h 1662"/>
              <a:gd name="T32" fmla="*/ 499 w 1482"/>
              <a:gd name="T33" fmla="*/ 1276 h 1662"/>
              <a:gd name="T34" fmla="*/ 356 w 1482"/>
              <a:gd name="T35" fmla="*/ 1329 h 1662"/>
              <a:gd name="T36" fmla="*/ 580 w 1482"/>
              <a:gd name="T37" fmla="*/ 1244 h 1662"/>
              <a:gd name="T38" fmla="*/ 930 w 1482"/>
              <a:gd name="T39" fmla="*/ 1142 h 1662"/>
              <a:gd name="T40" fmla="*/ 262 w 1482"/>
              <a:gd name="T41" fmla="*/ 1062 h 1662"/>
              <a:gd name="T42" fmla="*/ 219 w 1482"/>
              <a:gd name="T43" fmla="*/ 1277 h 1662"/>
              <a:gd name="T44" fmla="*/ 246 w 1482"/>
              <a:gd name="T45" fmla="*/ 1046 h 1662"/>
              <a:gd name="T46" fmla="*/ 380 w 1482"/>
              <a:gd name="T47" fmla="*/ 824 h 1662"/>
              <a:gd name="T48" fmla="*/ 624 w 1482"/>
              <a:gd name="T49" fmla="*/ 729 h 1662"/>
              <a:gd name="T50" fmla="*/ 967 w 1482"/>
              <a:gd name="T51" fmla="*/ 622 h 1662"/>
              <a:gd name="T52" fmla="*/ 462 w 1482"/>
              <a:gd name="T53" fmla="*/ 657 h 1662"/>
              <a:gd name="T54" fmla="*/ 587 w 1482"/>
              <a:gd name="T55" fmla="*/ 552 h 1662"/>
              <a:gd name="T56" fmla="*/ 674 w 1482"/>
              <a:gd name="T57" fmla="*/ 460 h 1662"/>
              <a:gd name="T58" fmla="*/ 732 w 1482"/>
              <a:gd name="T59" fmla="*/ 343 h 1662"/>
              <a:gd name="T60" fmla="*/ 787 w 1482"/>
              <a:gd name="T61" fmla="*/ 672 h 1662"/>
              <a:gd name="T62" fmla="*/ 653 w 1482"/>
              <a:gd name="T63" fmla="*/ 711 h 1662"/>
              <a:gd name="T64" fmla="*/ 800 w 1482"/>
              <a:gd name="T65" fmla="*/ 323 h 1662"/>
              <a:gd name="T66" fmla="*/ 849 w 1482"/>
              <a:gd name="T67" fmla="*/ 303 h 1662"/>
              <a:gd name="T68" fmla="*/ 944 w 1482"/>
              <a:gd name="T69" fmla="*/ 433 h 1662"/>
              <a:gd name="T70" fmla="*/ 866 w 1482"/>
              <a:gd name="T71" fmla="*/ 567 h 1662"/>
              <a:gd name="T72" fmla="*/ 966 w 1482"/>
              <a:gd name="T73" fmla="*/ 495 h 1662"/>
              <a:gd name="T74" fmla="*/ 990 w 1482"/>
              <a:gd name="T75" fmla="*/ 601 h 1662"/>
              <a:gd name="T76" fmla="*/ 957 w 1482"/>
              <a:gd name="T77" fmla="*/ 852 h 1662"/>
              <a:gd name="T78" fmla="*/ 766 w 1482"/>
              <a:gd name="T79" fmla="*/ 722 h 1662"/>
              <a:gd name="T80" fmla="*/ 558 w 1482"/>
              <a:gd name="T81" fmla="*/ 788 h 1662"/>
              <a:gd name="T82" fmla="*/ 543 w 1482"/>
              <a:gd name="T83" fmla="*/ 817 h 1662"/>
              <a:gd name="T84" fmla="*/ 965 w 1482"/>
              <a:gd name="T85" fmla="*/ 903 h 1662"/>
              <a:gd name="T86" fmla="*/ 137 w 1482"/>
              <a:gd name="T87" fmla="*/ 928 h 1662"/>
              <a:gd name="T88" fmla="*/ 370 w 1482"/>
              <a:gd name="T89" fmla="*/ 916 h 1662"/>
              <a:gd name="T90" fmla="*/ 612 w 1482"/>
              <a:gd name="T91" fmla="*/ 474 h 1662"/>
              <a:gd name="T92" fmla="*/ 917 w 1482"/>
              <a:gd name="T93" fmla="*/ 771 h 1662"/>
              <a:gd name="T94" fmla="*/ 455 w 1482"/>
              <a:gd name="T95" fmla="*/ 1220 h 1662"/>
              <a:gd name="T96" fmla="*/ 344 w 1482"/>
              <a:gd name="T97" fmla="*/ 923 h 1662"/>
              <a:gd name="T98" fmla="*/ 307 w 1482"/>
              <a:gd name="T99" fmla="*/ 1231 h 1662"/>
              <a:gd name="T100" fmla="*/ 378 w 1482"/>
              <a:gd name="T101" fmla="*/ 1023 h 1662"/>
              <a:gd name="T102" fmla="*/ 647 w 1482"/>
              <a:gd name="T103" fmla="*/ 894 h 1662"/>
              <a:gd name="T104" fmla="*/ 825 w 1482"/>
              <a:gd name="T105" fmla="*/ 1054 h 1662"/>
              <a:gd name="T106" fmla="*/ 708 w 1482"/>
              <a:gd name="T107" fmla="*/ 1148 h 1662"/>
              <a:gd name="T108" fmla="*/ 675 w 1482"/>
              <a:gd name="T109" fmla="*/ 1004 h 1662"/>
              <a:gd name="T110" fmla="*/ 598 w 1482"/>
              <a:gd name="T111" fmla="*/ 1196 h 1662"/>
              <a:gd name="T112" fmla="*/ 349 w 1482"/>
              <a:gd name="T113" fmla="*/ 1105 h 1662"/>
              <a:gd name="T114" fmla="*/ 434 w 1482"/>
              <a:gd name="T115" fmla="*/ 1125 h 1662"/>
              <a:gd name="T116" fmla="*/ 647 w 1482"/>
              <a:gd name="T117" fmla="*/ 1008 h 1662"/>
              <a:gd name="T118" fmla="*/ 854 w 1482"/>
              <a:gd name="T119" fmla="*/ 920 h 1662"/>
              <a:gd name="T120" fmla="*/ 860 w 1482"/>
              <a:gd name="T121" fmla="*/ 1123 h 1662"/>
              <a:gd name="T122" fmla="*/ 824 w 1482"/>
              <a:gd name="T123" fmla="*/ 7 h 1662"/>
              <a:gd name="T124" fmla="*/ 566 w 1482"/>
              <a:gd name="T125" fmla="*/ 473 h 1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82" h="1662">
                <a:moveTo>
                  <a:pt x="1447" y="1507"/>
                </a:moveTo>
                <a:lnTo>
                  <a:pt x="1447" y="1504"/>
                </a:lnTo>
                <a:lnTo>
                  <a:pt x="1446" y="1504"/>
                </a:lnTo>
                <a:lnTo>
                  <a:pt x="1447" y="1504"/>
                </a:lnTo>
                <a:lnTo>
                  <a:pt x="1447" y="1507"/>
                </a:lnTo>
                <a:lnTo>
                  <a:pt x="1448" y="1508"/>
                </a:lnTo>
                <a:lnTo>
                  <a:pt x="1448" y="1509"/>
                </a:lnTo>
                <a:lnTo>
                  <a:pt x="1448" y="1508"/>
                </a:lnTo>
                <a:lnTo>
                  <a:pt x="1447" y="1507"/>
                </a:lnTo>
                <a:close/>
                <a:moveTo>
                  <a:pt x="1314" y="1316"/>
                </a:moveTo>
                <a:lnTo>
                  <a:pt x="1314" y="1316"/>
                </a:lnTo>
                <a:lnTo>
                  <a:pt x="1314" y="1315"/>
                </a:lnTo>
                <a:lnTo>
                  <a:pt x="1314" y="1315"/>
                </a:lnTo>
                <a:lnTo>
                  <a:pt x="1312" y="1316"/>
                </a:lnTo>
                <a:lnTo>
                  <a:pt x="1312" y="1316"/>
                </a:lnTo>
                <a:lnTo>
                  <a:pt x="1308" y="1305"/>
                </a:lnTo>
                <a:lnTo>
                  <a:pt x="1308" y="1293"/>
                </a:lnTo>
                <a:lnTo>
                  <a:pt x="1308" y="1291"/>
                </a:lnTo>
                <a:lnTo>
                  <a:pt x="1308" y="1288"/>
                </a:lnTo>
                <a:lnTo>
                  <a:pt x="1307" y="1287"/>
                </a:lnTo>
                <a:lnTo>
                  <a:pt x="1305" y="1286"/>
                </a:lnTo>
                <a:lnTo>
                  <a:pt x="1307" y="1287"/>
                </a:lnTo>
                <a:lnTo>
                  <a:pt x="1308" y="1288"/>
                </a:lnTo>
                <a:lnTo>
                  <a:pt x="1311" y="1284"/>
                </a:lnTo>
                <a:lnTo>
                  <a:pt x="1315" y="1280"/>
                </a:lnTo>
                <a:lnTo>
                  <a:pt x="1315" y="1279"/>
                </a:lnTo>
                <a:lnTo>
                  <a:pt x="1314" y="1278"/>
                </a:lnTo>
                <a:lnTo>
                  <a:pt x="1309" y="1274"/>
                </a:lnTo>
                <a:lnTo>
                  <a:pt x="1305" y="1273"/>
                </a:lnTo>
                <a:lnTo>
                  <a:pt x="1301" y="1274"/>
                </a:lnTo>
                <a:lnTo>
                  <a:pt x="1296" y="1274"/>
                </a:lnTo>
                <a:lnTo>
                  <a:pt x="1290" y="1271"/>
                </a:lnTo>
                <a:lnTo>
                  <a:pt x="1286" y="1264"/>
                </a:lnTo>
                <a:lnTo>
                  <a:pt x="1286" y="1263"/>
                </a:lnTo>
                <a:lnTo>
                  <a:pt x="1287" y="1262"/>
                </a:lnTo>
                <a:lnTo>
                  <a:pt x="1289" y="1262"/>
                </a:lnTo>
                <a:lnTo>
                  <a:pt x="1290" y="1264"/>
                </a:lnTo>
                <a:lnTo>
                  <a:pt x="1295" y="1265"/>
                </a:lnTo>
                <a:lnTo>
                  <a:pt x="1300" y="1263"/>
                </a:lnTo>
                <a:lnTo>
                  <a:pt x="1298" y="1260"/>
                </a:lnTo>
                <a:lnTo>
                  <a:pt x="1295" y="1259"/>
                </a:lnTo>
                <a:lnTo>
                  <a:pt x="1289" y="1256"/>
                </a:lnTo>
                <a:lnTo>
                  <a:pt x="1284" y="1251"/>
                </a:lnTo>
                <a:lnTo>
                  <a:pt x="1284" y="1251"/>
                </a:lnTo>
                <a:lnTo>
                  <a:pt x="1286" y="1251"/>
                </a:lnTo>
                <a:lnTo>
                  <a:pt x="1286" y="1249"/>
                </a:lnTo>
                <a:lnTo>
                  <a:pt x="1284" y="1249"/>
                </a:lnTo>
                <a:lnTo>
                  <a:pt x="1284" y="1246"/>
                </a:lnTo>
                <a:lnTo>
                  <a:pt x="1284" y="1245"/>
                </a:lnTo>
                <a:lnTo>
                  <a:pt x="1287" y="1245"/>
                </a:lnTo>
                <a:lnTo>
                  <a:pt x="1288" y="1246"/>
                </a:lnTo>
                <a:lnTo>
                  <a:pt x="1293" y="1249"/>
                </a:lnTo>
                <a:lnTo>
                  <a:pt x="1297" y="1249"/>
                </a:lnTo>
                <a:lnTo>
                  <a:pt x="1298" y="1246"/>
                </a:lnTo>
                <a:lnTo>
                  <a:pt x="1298" y="1244"/>
                </a:lnTo>
                <a:lnTo>
                  <a:pt x="1296" y="1241"/>
                </a:lnTo>
                <a:lnTo>
                  <a:pt x="1293" y="1239"/>
                </a:lnTo>
                <a:lnTo>
                  <a:pt x="1288" y="1238"/>
                </a:lnTo>
                <a:lnTo>
                  <a:pt x="1284" y="1237"/>
                </a:lnTo>
                <a:lnTo>
                  <a:pt x="1284" y="1237"/>
                </a:lnTo>
                <a:lnTo>
                  <a:pt x="1284" y="1237"/>
                </a:lnTo>
                <a:lnTo>
                  <a:pt x="1284" y="1237"/>
                </a:lnTo>
                <a:lnTo>
                  <a:pt x="1284" y="1237"/>
                </a:lnTo>
                <a:lnTo>
                  <a:pt x="1283" y="1237"/>
                </a:lnTo>
                <a:lnTo>
                  <a:pt x="1283" y="1237"/>
                </a:lnTo>
                <a:lnTo>
                  <a:pt x="1283" y="1231"/>
                </a:lnTo>
                <a:lnTo>
                  <a:pt x="1282" y="1227"/>
                </a:lnTo>
                <a:lnTo>
                  <a:pt x="1280" y="1225"/>
                </a:lnTo>
                <a:lnTo>
                  <a:pt x="1276" y="1225"/>
                </a:lnTo>
                <a:lnTo>
                  <a:pt x="1273" y="1228"/>
                </a:lnTo>
                <a:lnTo>
                  <a:pt x="1268" y="1228"/>
                </a:lnTo>
                <a:lnTo>
                  <a:pt x="1267" y="1224"/>
                </a:lnTo>
                <a:lnTo>
                  <a:pt x="1268" y="1221"/>
                </a:lnTo>
                <a:lnTo>
                  <a:pt x="1269" y="1218"/>
                </a:lnTo>
                <a:lnTo>
                  <a:pt x="1273" y="1218"/>
                </a:lnTo>
                <a:lnTo>
                  <a:pt x="1274" y="1222"/>
                </a:lnTo>
                <a:lnTo>
                  <a:pt x="1276" y="1225"/>
                </a:lnTo>
                <a:lnTo>
                  <a:pt x="1280" y="1225"/>
                </a:lnTo>
                <a:lnTo>
                  <a:pt x="1282" y="1227"/>
                </a:lnTo>
                <a:lnTo>
                  <a:pt x="1283" y="1225"/>
                </a:lnTo>
                <a:lnTo>
                  <a:pt x="1284" y="1224"/>
                </a:lnTo>
                <a:lnTo>
                  <a:pt x="1286" y="1225"/>
                </a:lnTo>
                <a:lnTo>
                  <a:pt x="1287" y="1227"/>
                </a:lnTo>
                <a:lnTo>
                  <a:pt x="1289" y="1229"/>
                </a:lnTo>
                <a:lnTo>
                  <a:pt x="1293" y="1229"/>
                </a:lnTo>
                <a:lnTo>
                  <a:pt x="1295" y="1228"/>
                </a:lnTo>
                <a:lnTo>
                  <a:pt x="1296" y="1225"/>
                </a:lnTo>
                <a:lnTo>
                  <a:pt x="1295" y="1222"/>
                </a:lnTo>
                <a:lnTo>
                  <a:pt x="1291" y="1220"/>
                </a:lnTo>
                <a:lnTo>
                  <a:pt x="1288" y="1218"/>
                </a:lnTo>
                <a:lnTo>
                  <a:pt x="1283" y="1217"/>
                </a:lnTo>
                <a:lnTo>
                  <a:pt x="1282" y="1215"/>
                </a:lnTo>
                <a:lnTo>
                  <a:pt x="1281" y="1213"/>
                </a:lnTo>
                <a:lnTo>
                  <a:pt x="1281" y="1211"/>
                </a:lnTo>
                <a:lnTo>
                  <a:pt x="1280" y="1209"/>
                </a:lnTo>
                <a:lnTo>
                  <a:pt x="1280" y="1207"/>
                </a:lnTo>
                <a:lnTo>
                  <a:pt x="1280" y="1205"/>
                </a:lnTo>
                <a:lnTo>
                  <a:pt x="1282" y="1205"/>
                </a:lnTo>
                <a:lnTo>
                  <a:pt x="1283" y="1207"/>
                </a:lnTo>
                <a:lnTo>
                  <a:pt x="1288" y="1210"/>
                </a:lnTo>
                <a:lnTo>
                  <a:pt x="1293" y="1208"/>
                </a:lnTo>
                <a:lnTo>
                  <a:pt x="1293" y="1203"/>
                </a:lnTo>
                <a:lnTo>
                  <a:pt x="1288" y="1200"/>
                </a:lnTo>
                <a:lnTo>
                  <a:pt x="1281" y="1195"/>
                </a:lnTo>
                <a:lnTo>
                  <a:pt x="1280" y="1187"/>
                </a:lnTo>
                <a:lnTo>
                  <a:pt x="1281" y="1188"/>
                </a:lnTo>
                <a:lnTo>
                  <a:pt x="1282" y="1188"/>
                </a:lnTo>
                <a:lnTo>
                  <a:pt x="1286" y="1191"/>
                </a:lnTo>
                <a:lnTo>
                  <a:pt x="1290" y="1189"/>
                </a:lnTo>
                <a:lnTo>
                  <a:pt x="1291" y="1186"/>
                </a:lnTo>
                <a:lnTo>
                  <a:pt x="1288" y="1181"/>
                </a:lnTo>
                <a:lnTo>
                  <a:pt x="1283" y="1179"/>
                </a:lnTo>
                <a:lnTo>
                  <a:pt x="1277" y="1177"/>
                </a:lnTo>
                <a:lnTo>
                  <a:pt x="1277" y="1172"/>
                </a:lnTo>
                <a:lnTo>
                  <a:pt x="1277" y="1167"/>
                </a:lnTo>
                <a:lnTo>
                  <a:pt x="1275" y="1167"/>
                </a:lnTo>
                <a:lnTo>
                  <a:pt x="1274" y="1167"/>
                </a:lnTo>
                <a:lnTo>
                  <a:pt x="1272" y="1167"/>
                </a:lnTo>
                <a:lnTo>
                  <a:pt x="1269" y="1168"/>
                </a:lnTo>
                <a:lnTo>
                  <a:pt x="1266" y="1169"/>
                </a:lnTo>
                <a:lnTo>
                  <a:pt x="1263" y="1166"/>
                </a:lnTo>
                <a:lnTo>
                  <a:pt x="1262" y="1161"/>
                </a:lnTo>
                <a:lnTo>
                  <a:pt x="1267" y="1159"/>
                </a:lnTo>
                <a:lnTo>
                  <a:pt x="1269" y="1163"/>
                </a:lnTo>
                <a:lnTo>
                  <a:pt x="1274" y="1167"/>
                </a:lnTo>
                <a:lnTo>
                  <a:pt x="1275" y="1167"/>
                </a:lnTo>
                <a:lnTo>
                  <a:pt x="1277" y="1167"/>
                </a:lnTo>
                <a:lnTo>
                  <a:pt x="1279" y="1167"/>
                </a:lnTo>
                <a:lnTo>
                  <a:pt x="1280" y="1167"/>
                </a:lnTo>
                <a:lnTo>
                  <a:pt x="1280" y="1167"/>
                </a:lnTo>
                <a:lnTo>
                  <a:pt x="1283" y="1170"/>
                </a:lnTo>
                <a:lnTo>
                  <a:pt x="1288" y="1169"/>
                </a:lnTo>
                <a:lnTo>
                  <a:pt x="1289" y="1163"/>
                </a:lnTo>
                <a:lnTo>
                  <a:pt x="1283" y="1161"/>
                </a:lnTo>
                <a:lnTo>
                  <a:pt x="1282" y="1160"/>
                </a:lnTo>
                <a:lnTo>
                  <a:pt x="1280" y="1159"/>
                </a:lnTo>
                <a:lnTo>
                  <a:pt x="1277" y="1156"/>
                </a:lnTo>
                <a:lnTo>
                  <a:pt x="1276" y="1153"/>
                </a:lnTo>
                <a:lnTo>
                  <a:pt x="1276" y="1153"/>
                </a:lnTo>
                <a:lnTo>
                  <a:pt x="1276" y="1152"/>
                </a:lnTo>
                <a:lnTo>
                  <a:pt x="1276" y="1152"/>
                </a:lnTo>
                <a:lnTo>
                  <a:pt x="1276" y="1151"/>
                </a:lnTo>
                <a:lnTo>
                  <a:pt x="1276" y="1151"/>
                </a:lnTo>
                <a:lnTo>
                  <a:pt x="1276" y="1149"/>
                </a:lnTo>
                <a:lnTo>
                  <a:pt x="1275" y="1148"/>
                </a:lnTo>
                <a:lnTo>
                  <a:pt x="1275" y="1147"/>
                </a:lnTo>
                <a:lnTo>
                  <a:pt x="1275" y="1147"/>
                </a:lnTo>
                <a:lnTo>
                  <a:pt x="1274" y="1147"/>
                </a:lnTo>
                <a:lnTo>
                  <a:pt x="1274" y="1147"/>
                </a:lnTo>
                <a:lnTo>
                  <a:pt x="1276" y="1147"/>
                </a:lnTo>
                <a:lnTo>
                  <a:pt x="1279" y="1147"/>
                </a:lnTo>
                <a:lnTo>
                  <a:pt x="1283" y="1152"/>
                </a:lnTo>
                <a:lnTo>
                  <a:pt x="1288" y="1149"/>
                </a:lnTo>
                <a:lnTo>
                  <a:pt x="1287" y="1145"/>
                </a:lnTo>
                <a:lnTo>
                  <a:pt x="1282" y="1141"/>
                </a:lnTo>
                <a:lnTo>
                  <a:pt x="1281" y="1140"/>
                </a:lnTo>
                <a:lnTo>
                  <a:pt x="1280" y="1140"/>
                </a:lnTo>
                <a:lnTo>
                  <a:pt x="1275" y="1135"/>
                </a:lnTo>
                <a:lnTo>
                  <a:pt x="1276" y="1130"/>
                </a:lnTo>
                <a:lnTo>
                  <a:pt x="1283" y="1133"/>
                </a:lnTo>
                <a:lnTo>
                  <a:pt x="1290" y="1132"/>
                </a:lnTo>
                <a:lnTo>
                  <a:pt x="1290" y="1133"/>
                </a:lnTo>
                <a:lnTo>
                  <a:pt x="1290" y="1133"/>
                </a:lnTo>
                <a:lnTo>
                  <a:pt x="1291" y="1133"/>
                </a:lnTo>
                <a:lnTo>
                  <a:pt x="1291" y="1133"/>
                </a:lnTo>
                <a:lnTo>
                  <a:pt x="1291" y="1133"/>
                </a:lnTo>
                <a:lnTo>
                  <a:pt x="1290" y="1133"/>
                </a:lnTo>
                <a:lnTo>
                  <a:pt x="1290" y="1138"/>
                </a:lnTo>
                <a:lnTo>
                  <a:pt x="1291" y="1141"/>
                </a:lnTo>
                <a:lnTo>
                  <a:pt x="1294" y="1156"/>
                </a:lnTo>
                <a:lnTo>
                  <a:pt x="1297" y="1170"/>
                </a:lnTo>
                <a:lnTo>
                  <a:pt x="1297" y="1182"/>
                </a:lnTo>
                <a:lnTo>
                  <a:pt x="1296" y="1194"/>
                </a:lnTo>
                <a:lnTo>
                  <a:pt x="1296" y="1196"/>
                </a:lnTo>
                <a:lnTo>
                  <a:pt x="1297" y="1198"/>
                </a:lnTo>
                <a:lnTo>
                  <a:pt x="1308" y="1218"/>
                </a:lnTo>
                <a:lnTo>
                  <a:pt x="1308" y="1239"/>
                </a:lnTo>
                <a:lnTo>
                  <a:pt x="1309" y="1251"/>
                </a:lnTo>
                <a:lnTo>
                  <a:pt x="1314" y="1262"/>
                </a:lnTo>
                <a:lnTo>
                  <a:pt x="1315" y="1270"/>
                </a:lnTo>
                <a:lnTo>
                  <a:pt x="1314" y="1278"/>
                </a:lnTo>
                <a:lnTo>
                  <a:pt x="1315" y="1279"/>
                </a:lnTo>
                <a:lnTo>
                  <a:pt x="1315" y="1280"/>
                </a:lnTo>
                <a:lnTo>
                  <a:pt x="1316" y="1281"/>
                </a:lnTo>
                <a:lnTo>
                  <a:pt x="1316" y="1281"/>
                </a:lnTo>
                <a:lnTo>
                  <a:pt x="1317" y="1283"/>
                </a:lnTo>
                <a:lnTo>
                  <a:pt x="1318" y="1283"/>
                </a:lnTo>
                <a:lnTo>
                  <a:pt x="1317" y="1283"/>
                </a:lnTo>
                <a:lnTo>
                  <a:pt x="1316" y="1281"/>
                </a:lnTo>
                <a:lnTo>
                  <a:pt x="1316" y="1284"/>
                </a:lnTo>
                <a:lnTo>
                  <a:pt x="1317" y="1286"/>
                </a:lnTo>
                <a:lnTo>
                  <a:pt x="1318" y="1286"/>
                </a:lnTo>
                <a:lnTo>
                  <a:pt x="1318" y="1284"/>
                </a:lnTo>
                <a:lnTo>
                  <a:pt x="1319" y="1285"/>
                </a:lnTo>
                <a:lnTo>
                  <a:pt x="1321" y="1286"/>
                </a:lnTo>
                <a:lnTo>
                  <a:pt x="1321" y="1288"/>
                </a:lnTo>
                <a:lnTo>
                  <a:pt x="1319" y="1290"/>
                </a:lnTo>
                <a:lnTo>
                  <a:pt x="1314" y="1295"/>
                </a:lnTo>
                <a:lnTo>
                  <a:pt x="1318" y="1301"/>
                </a:lnTo>
                <a:lnTo>
                  <a:pt x="1318" y="1304"/>
                </a:lnTo>
                <a:lnTo>
                  <a:pt x="1318" y="1306"/>
                </a:lnTo>
                <a:lnTo>
                  <a:pt x="1319" y="1308"/>
                </a:lnTo>
                <a:lnTo>
                  <a:pt x="1321" y="1312"/>
                </a:lnTo>
                <a:lnTo>
                  <a:pt x="1321" y="1313"/>
                </a:lnTo>
                <a:lnTo>
                  <a:pt x="1321" y="1315"/>
                </a:lnTo>
                <a:lnTo>
                  <a:pt x="1318" y="1314"/>
                </a:lnTo>
                <a:lnTo>
                  <a:pt x="1321" y="1312"/>
                </a:lnTo>
                <a:lnTo>
                  <a:pt x="1319" y="1308"/>
                </a:lnTo>
                <a:lnTo>
                  <a:pt x="1318" y="1306"/>
                </a:lnTo>
                <a:lnTo>
                  <a:pt x="1315" y="1306"/>
                </a:lnTo>
                <a:lnTo>
                  <a:pt x="1314" y="1308"/>
                </a:lnTo>
                <a:lnTo>
                  <a:pt x="1314" y="1312"/>
                </a:lnTo>
                <a:lnTo>
                  <a:pt x="1314" y="1316"/>
                </a:lnTo>
                <a:close/>
                <a:moveTo>
                  <a:pt x="1312" y="1316"/>
                </a:moveTo>
                <a:lnTo>
                  <a:pt x="1314" y="1316"/>
                </a:lnTo>
                <a:lnTo>
                  <a:pt x="1314" y="1316"/>
                </a:lnTo>
                <a:lnTo>
                  <a:pt x="1314" y="1316"/>
                </a:lnTo>
                <a:lnTo>
                  <a:pt x="1314" y="1316"/>
                </a:lnTo>
                <a:lnTo>
                  <a:pt x="1318" y="1321"/>
                </a:lnTo>
                <a:lnTo>
                  <a:pt x="1323" y="1325"/>
                </a:lnTo>
                <a:lnTo>
                  <a:pt x="1323" y="1323"/>
                </a:lnTo>
                <a:lnTo>
                  <a:pt x="1323" y="1321"/>
                </a:lnTo>
                <a:lnTo>
                  <a:pt x="1323" y="1323"/>
                </a:lnTo>
                <a:lnTo>
                  <a:pt x="1323" y="1325"/>
                </a:lnTo>
                <a:lnTo>
                  <a:pt x="1325" y="1327"/>
                </a:lnTo>
                <a:lnTo>
                  <a:pt x="1326" y="1329"/>
                </a:lnTo>
                <a:lnTo>
                  <a:pt x="1328" y="1330"/>
                </a:lnTo>
                <a:lnTo>
                  <a:pt x="1329" y="1333"/>
                </a:lnTo>
                <a:lnTo>
                  <a:pt x="1328" y="1334"/>
                </a:lnTo>
                <a:lnTo>
                  <a:pt x="1326" y="1334"/>
                </a:lnTo>
                <a:lnTo>
                  <a:pt x="1323" y="1334"/>
                </a:lnTo>
                <a:lnTo>
                  <a:pt x="1321" y="1332"/>
                </a:lnTo>
                <a:lnTo>
                  <a:pt x="1321" y="1330"/>
                </a:lnTo>
                <a:lnTo>
                  <a:pt x="1321" y="1328"/>
                </a:lnTo>
                <a:lnTo>
                  <a:pt x="1318" y="1334"/>
                </a:lnTo>
                <a:lnTo>
                  <a:pt x="1317" y="1340"/>
                </a:lnTo>
                <a:lnTo>
                  <a:pt x="1315" y="1327"/>
                </a:lnTo>
                <a:lnTo>
                  <a:pt x="1312" y="1316"/>
                </a:lnTo>
                <a:close/>
                <a:moveTo>
                  <a:pt x="686" y="337"/>
                </a:moveTo>
                <a:lnTo>
                  <a:pt x="686" y="337"/>
                </a:lnTo>
                <a:lnTo>
                  <a:pt x="686" y="337"/>
                </a:lnTo>
                <a:lnTo>
                  <a:pt x="686" y="337"/>
                </a:lnTo>
                <a:lnTo>
                  <a:pt x="681" y="334"/>
                </a:lnTo>
                <a:lnTo>
                  <a:pt x="676" y="336"/>
                </a:lnTo>
                <a:lnTo>
                  <a:pt x="669" y="343"/>
                </a:lnTo>
                <a:lnTo>
                  <a:pt x="661" y="349"/>
                </a:lnTo>
                <a:lnTo>
                  <a:pt x="647" y="357"/>
                </a:lnTo>
                <a:lnTo>
                  <a:pt x="635" y="368"/>
                </a:lnTo>
                <a:lnTo>
                  <a:pt x="634" y="369"/>
                </a:lnTo>
                <a:lnTo>
                  <a:pt x="633" y="369"/>
                </a:lnTo>
                <a:lnTo>
                  <a:pt x="627" y="372"/>
                </a:lnTo>
                <a:lnTo>
                  <a:pt x="627" y="365"/>
                </a:lnTo>
                <a:lnTo>
                  <a:pt x="626" y="362"/>
                </a:lnTo>
                <a:lnTo>
                  <a:pt x="624" y="359"/>
                </a:lnTo>
                <a:lnTo>
                  <a:pt x="617" y="361"/>
                </a:lnTo>
                <a:lnTo>
                  <a:pt x="607" y="359"/>
                </a:lnTo>
                <a:lnTo>
                  <a:pt x="617" y="365"/>
                </a:lnTo>
                <a:lnTo>
                  <a:pt x="621" y="375"/>
                </a:lnTo>
                <a:lnTo>
                  <a:pt x="621" y="375"/>
                </a:lnTo>
                <a:lnTo>
                  <a:pt x="619" y="376"/>
                </a:lnTo>
                <a:lnTo>
                  <a:pt x="619" y="377"/>
                </a:lnTo>
                <a:lnTo>
                  <a:pt x="618" y="378"/>
                </a:lnTo>
                <a:lnTo>
                  <a:pt x="617" y="378"/>
                </a:lnTo>
                <a:lnTo>
                  <a:pt x="614" y="378"/>
                </a:lnTo>
                <a:lnTo>
                  <a:pt x="614" y="379"/>
                </a:lnTo>
                <a:lnTo>
                  <a:pt x="598" y="379"/>
                </a:lnTo>
                <a:lnTo>
                  <a:pt x="594" y="386"/>
                </a:lnTo>
                <a:lnTo>
                  <a:pt x="599" y="384"/>
                </a:lnTo>
                <a:lnTo>
                  <a:pt x="605" y="384"/>
                </a:lnTo>
                <a:lnTo>
                  <a:pt x="605" y="386"/>
                </a:lnTo>
                <a:lnTo>
                  <a:pt x="604" y="387"/>
                </a:lnTo>
                <a:lnTo>
                  <a:pt x="604" y="387"/>
                </a:lnTo>
                <a:lnTo>
                  <a:pt x="594" y="391"/>
                </a:lnTo>
                <a:lnTo>
                  <a:pt x="586" y="393"/>
                </a:lnTo>
                <a:lnTo>
                  <a:pt x="580" y="394"/>
                </a:lnTo>
                <a:lnTo>
                  <a:pt x="575" y="391"/>
                </a:lnTo>
                <a:lnTo>
                  <a:pt x="584" y="389"/>
                </a:lnTo>
                <a:lnTo>
                  <a:pt x="591" y="384"/>
                </a:lnTo>
                <a:lnTo>
                  <a:pt x="587" y="384"/>
                </a:lnTo>
                <a:lnTo>
                  <a:pt x="583" y="385"/>
                </a:lnTo>
                <a:lnTo>
                  <a:pt x="576" y="387"/>
                </a:lnTo>
                <a:lnTo>
                  <a:pt x="573" y="380"/>
                </a:lnTo>
                <a:lnTo>
                  <a:pt x="573" y="378"/>
                </a:lnTo>
                <a:lnTo>
                  <a:pt x="571" y="377"/>
                </a:lnTo>
                <a:lnTo>
                  <a:pt x="570" y="378"/>
                </a:lnTo>
                <a:lnTo>
                  <a:pt x="569" y="379"/>
                </a:lnTo>
                <a:lnTo>
                  <a:pt x="568" y="389"/>
                </a:lnTo>
                <a:lnTo>
                  <a:pt x="573" y="398"/>
                </a:lnTo>
                <a:lnTo>
                  <a:pt x="576" y="401"/>
                </a:lnTo>
                <a:lnTo>
                  <a:pt x="577" y="406"/>
                </a:lnTo>
                <a:lnTo>
                  <a:pt x="573" y="404"/>
                </a:lnTo>
                <a:lnTo>
                  <a:pt x="570" y="400"/>
                </a:lnTo>
                <a:lnTo>
                  <a:pt x="568" y="398"/>
                </a:lnTo>
                <a:lnTo>
                  <a:pt x="564" y="399"/>
                </a:lnTo>
                <a:lnTo>
                  <a:pt x="558" y="406"/>
                </a:lnTo>
                <a:lnTo>
                  <a:pt x="556" y="415"/>
                </a:lnTo>
                <a:lnTo>
                  <a:pt x="559" y="424"/>
                </a:lnTo>
                <a:lnTo>
                  <a:pt x="566" y="431"/>
                </a:lnTo>
                <a:lnTo>
                  <a:pt x="564" y="434"/>
                </a:lnTo>
                <a:lnTo>
                  <a:pt x="568" y="435"/>
                </a:lnTo>
                <a:lnTo>
                  <a:pt x="568" y="435"/>
                </a:lnTo>
                <a:lnTo>
                  <a:pt x="568" y="441"/>
                </a:lnTo>
                <a:lnTo>
                  <a:pt x="572" y="446"/>
                </a:lnTo>
                <a:lnTo>
                  <a:pt x="578" y="450"/>
                </a:lnTo>
                <a:lnTo>
                  <a:pt x="582" y="443"/>
                </a:lnTo>
                <a:lnTo>
                  <a:pt x="583" y="440"/>
                </a:lnTo>
                <a:lnTo>
                  <a:pt x="584" y="435"/>
                </a:lnTo>
                <a:lnTo>
                  <a:pt x="586" y="447"/>
                </a:lnTo>
                <a:lnTo>
                  <a:pt x="591" y="460"/>
                </a:lnTo>
                <a:lnTo>
                  <a:pt x="592" y="447"/>
                </a:lnTo>
                <a:lnTo>
                  <a:pt x="593" y="435"/>
                </a:lnTo>
                <a:lnTo>
                  <a:pt x="598" y="434"/>
                </a:lnTo>
                <a:lnTo>
                  <a:pt x="599" y="438"/>
                </a:lnTo>
                <a:lnTo>
                  <a:pt x="599" y="446"/>
                </a:lnTo>
                <a:lnTo>
                  <a:pt x="598" y="454"/>
                </a:lnTo>
                <a:lnTo>
                  <a:pt x="597" y="464"/>
                </a:lnTo>
                <a:lnTo>
                  <a:pt x="597" y="475"/>
                </a:lnTo>
                <a:lnTo>
                  <a:pt x="598" y="476"/>
                </a:lnTo>
                <a:lnTo>
                  <a:pt x="600" y="476"/>
                </a:lnTo>
                <a:lnTo>
                  <a:pt x="603" y="476"/>
                </a:lnTo>
                <a:lnTo>
                  <a:pt x="604" y="478"/>
                </a:lnTo>
                <a:lnTo>
                  <a:pt x="601" y="481"/>
                </a:lnTo>
                <a:lnTo>
                  <a:pt x="599" y="481"/>
                </a:lnTo>
                <a:lnTo>
                  <a:pt x="594" y="480"/>
                </a:lnTo>
                <a:lnTo>
                  <a:pt x="594" y="484"/>
                </a:lnTo>
                <a:lnTo>
                  <a:pt x="594" y="491"/>
                </a:lnTo>
                <a:lnTo>
                  <a:pt x="593" y="497"/>
                </a:lnTo>
                <a:lnTo>
                  <a:pt x="593" y="505"/>
                </a:lnTo>
                <a:lnTo>
                  <a:pt x="587" y="510"/>
                </a:lnTo>
                <a:lnTo>
                  <a:pt x="587" y="511"/>
                </a:lnTo>
                <a:lnTo>
                  <a:pt x="587" y="511"/>
                </a:lnTo>
                <a:lnTo>
                  <a:pt x="591" y="511"/>
                </a:lnTo>
                <a:lnTo>
                  <a:pt x="593" y="516"/>
                </a:lnTo>
                <a:lnTo>
                  <a:pt x="593" y="518"/>
                </a:lnTo>
                <a:lnTo>
                  <a:pt x="596" y="519"/>
                </a:lnTo>
                <a:lnTo>
                  <a:pt x="598" y="518"/>
                </a:lnTo>
                <a:lnTo>
                  <a:pt x="598" y="515"/>
                </a:lnTo>
                <a:lnTo>
                  <a:pt x="599" y="514"/>
                </a:lnTo>
                <a:lnTo>
                  <a:pt x="600" y="512"/>
                </a:lnTo>
                <a:lnTo>
                  <a:pt x="601" y="521"/>
                </a:lnTo>
                <a:lnTo>
                  <a:pt x="597" y="526"/>
                </a:lnTo>
                <a:lnTo>
                  <a:pt x="591" y="530"/>
                </a:lnTo>
                <a:lnTo>
                  <a:pt x="584" y="524"/>
                </a:lnTo>
                <a:lnTo>
                  <a:pt x="579" y="533"/>
                </a:lnTo>
                <a:lnTo>
                  <a:pt x="570" y="535"/>
                </a:lnTo>
                <a:lnTo>
                  <a:pt x="559" y="538"/>
                </a:lnTo>
                <a:lnTo>
                  <a:pt x="548" y="540"/>
                </a:lnTo>
                <a:lnTo>
                  <a:pt x="555" y="525"/>
                </a:lnTo>
                <a:lnTo>
                  <a:pt x="570" y="517"/>
                </a:lnTo>
                <a:lnTo>
                  <a:pt x="579" y="516"/>
                </a:lnTo>
                <a:lnTo>
                  <a:pt x="587" y="511"/>
                </a:lnTo>
                <a:lnTo>
                  <a:pt x="587" y="511"/>
                </a:lnTo>
                <a:lnTo>
                  <a:pt x="587" y="510"/>
                </a:lnTo>
                <a:lnTo>
                  <a:pt x="571" y="514"/>
                </a:lnTo>
                <a:lnTo>
                  <a:pt x="555" y="518"/>
                </a:lnTo>
                <a:lnTo>
                  <a:pt x="552" y="518"/>
                </a:lnTo>
                <a:lnTo>
                  <a:pt x="551" y="517"/>
                </a:lnTo>
                <a:lnTo>
                  <a:pt x="548" y="514"/>
                </a:lnTo>
                <a:lnTo>
                  <a:pt x="545" y="518"/>
                </a:lnTo>
                <a:lnTo>
                  <a:pt x="539" y="523"/>
                </a:lnTo>
                <a:lnTo>
                  <a:pt x="532" y="523"/>
                </a:lnTo>
                <a:lnTo>
                  <a:pt x="531" y="521"/>
                </a:lnTo>
                <a:lnTo>
                  <a:pt x="532" y="515"/>
                </a:lnTo>
                <a:lnTo>
                  <a:pt x="531" y="512"/>
                </a:lnTo>
                <a:lnTo>
                  <a:pt x="531" y="509"/>
                </a:lnTo>
                <a:lnTo>
                  <a:pt x="531" y="507"/>
                </a:lnTo>
                <a:lnTo>
                  <a:pt x="529" y="505"/>
                </a:lnTo>
                <a:lnTo>
                  <a:pt x="528" y="507"/>
                </a:lnTo>
                <a:lnTo>
                  <a:pt x="527" y="509"/>
                </a:lnTo>
                <a:lnTo>
                  <a:pt x="523" y="517"/>
                </a:lnTo>
                <a:lnTo>
                  <a:pt x="522" y="528"/>
                </a:lnTo>
                <a:lnTo>
                  <a:pt x="520" y="528"/>
                </a:lnTo>
                <a:lnTo>
                  <a:pt x="520" y="529"/>
                </a:lnTo>
                <a:lnTo>
                  <a:pt x="521" y="529"/>
                </a:lnTo>
                <a:lnTo>
                  <a:pt x="522" y="530"/>
                </a:lnTo>
                <a:lnTo>
                  <a:pt x="523" y="544"/>
                </a:lnTo>
                <a:lnTo>
                  <a:pt x="518" y="558"/>
                </a:lnTo>
                <a:lnTo>
                  <a:pt x="514" y="560"/>
                </a:lnTo>
                <a:lnTo>
                  <a:pt x="510" y="564"/>
                </a:lnTo>
                <a:lnTo>
                  <a:pt x="514" y="561"/>
                </a:lnTo>
                <a:lnTo>
                  <a:pt x="517" y="564"/>
                </a:lnTo>
                <a:lnTo>
                  <a:pt x="518" y="568"/>
                </a:lnTo>
                <a:lnTo>
                  <a:pt x="518" y="572"/>
                </a:lnTo>
                <a:lnTo>
                  <a:pt x="520" y="573"/>
                </a:lnTo>
                <a:lnTo>
                  <a:pt x="518" y="574"/>
                </a:lnTo>
                <a:lnTo>
                  <a:pt x="517" y="574"/>
                </a:lnTo>
                <a:lnTo>
                  <a:pt x="517" y="573"/>
                </a:lnTo>
                <a:lnTo>
                  <a:pt x="513" y="575"/>
                </a:lnTo>
                <a:lnTo>
                  <a:pt x="516" y="578"/>
                </a:lnTo>
                <a:lnTo>
                  <a:pt x="524" y="585"/>
                </a:lnTo>
                <a:lnTo>
                  <a:pt x="529" y="594"/>
                </a:lnTo>
                <a:lnTo>
                  <a:pt x="530" y="596"/>
                </a:lnTo>
                <a:lnTo>
                  <a:pt x="528" y="599"/>
                </a:lnTo>
                <a:lnTo>
                  <a:pt x="527" y="599"/>
                </a:lnTo>
                <a:lnTo>
                  <a:pt x="525" y="596"/>
                </a:lnTo>
                <a:lnTo>
                  <a:pt x="523" y="595"/>
                </a:lnTo>
                <a:lnTo>
                  <a:pt x="522" y="596"/>
                </a:lnTo>
                <a:lnTo>
                  <a:pt x="520" y="599"/>
                </a:lnTo>
                <a:lnTo>
                  <a:pt x="521" y="601"/>
                </a:lnTo>
                <a:lnTo>
                  <a:pt x="523" y="601"/>
                </a:lnTo>
                <a:lnTo>
                  <a:pt x="524" y="602"/>
                </a:lnTo>
                <a:lnTo>
                  <a:pt x="524" y="603"/>
                </a:lnTo>
                <a:lnTo>
                  <a:pt x="524" y="605"/>
                </a:lnTo>
                <a:lnTo>
                  <a:pt x="523" y="606"/>
                </a:lnTo>
                <a:lnTo>
                  <a:pt x="522" y="608"/>
                </a:lnTo>
                <a:lnTo>
                  <a:pt x="523" y="609"/>
                </a:lnTo>
                <a:lnTo>
                  <a:pt x="524" y="610"/>
                </a:lnTo>
                <a:lnTo>
                  <a:pt x="523" y="609"/>
                </a:lnTo>
                <a:lnTo>
                  <a:pt x="522" y="608"/>
                </a:lnTo>
                <a:lnTo>
                  <a:pt x="518" y="612"/>
                </a:lnTo>
                <a:lnTo>
                  <a:pt x="515" y="615"/>
                </a:lnTo>
                <a:lnTo>
                  <a:pt x="504" y="623"/>
                </a:lnTo>
                <a:lnTo>
                  <a:pt x="496" y="634"/>
                </a:lnTo>
                <a:lnTo>
                  <a:pt x="496" y="635"/>
                </a:lnTo>
                <a:lnTo>
                  <a:pt x="496" y="635"/>
                </a:lnTo>
                <a:lnTo>
                  <a:pt x="495" y="635"/>
                </a:lnTo>
                <a:lnTo>
                  <a:pt x="493" y="635"/>
                </a:lnTo>
                <a:lnTo>
                  <a:pt x="476" y="637"/>
                </a:lnTo>
                <a:lnTo>
                  <a:pt x="461" y="629"/>
                </a:lnTo>
                <a:lnTo>
                  <a:pt x="461" y="629"/>
                </a:lnTo>
                <a:lnTo>
                  <a:pt x="461" y="629"/>
                </a:lnTo>
                <a:lnTo>
                  <a:pt x="466" y="626"/>
                </a:lnTo>
                <a:lnTo>
                  <a:pt x="469" y="621"/>
                </a:lnTo>
                <a:lnTo>
                  <a:pt x="466" y="617"/>
                </a:lnTo>
                <a:lnTo>
                  <a:pt x="462" y="615"/>
                </a:lnTo>
                <a:lnTo>
                  <a:pt x="459" y="617"/>
                </a:lnTo>
                <a:lnTo>
                  <a:pt x="456" y="621"/>
                </a:lnTo>
                <a:lnTo>
                  <a:pt x="456" y="623"/>
                </a:lnTo>
                <a:lnTo>
                  <a:pt x="456" y="623"/>
                </a:lnTo>
                <a:lnTo>
                  <a:pt x="461" y="624"/>
                </a:lnTo>
                <a:lnTo>
                  <a:pt x="461" y="629"/>
                </a:lnTo>
                <a:lnTo>
                  <a:pt x="458" y="629"/>
                </a:lnTo>
                <a:lnTo>
                  <a:pt x="456" y="633"/>
                </a:lnTo>
                <a:lnTo>
                  <a:pt x="444" y="643"/>
                </a:lnTo>
                <a:lnTo>
                  <a:pt x="432" y="654"/>
                </a:lnTo>
                <a:lnTo>
                  <a:pt x="438" y="652"/>
                </a:lnTo>
                <a:lnTo>
                  <a:pt x="444" y="655"/>
                </a:lnTo>
                <a:lnTo>
                  <a:pt x="434" y="661"/>
                </a:lnTo>
                <a:lnTo>
                  <a:pt x="432" y="672"/>
                </a:lnTo>
                <a:lnTo>
                  <a:pt x="426" y="675"/>
                </a:lnTo>
                <a:lnTo>
                  <a:pt x="420" y="675"/>
                </a:lnTo>
                <a:lnTo>
                  <a:pt x="417" y="673"/>
                </a:lnTo>
                <a:lnTo>
                  <a:pt x="414" y="670"/>
                </a:lnTo>
                <a:lnTo>
                  <a:pt x="406" y="679"/>
                </a:lnTo>
                <a:lnTo>
                  <a:pt x="394" y="676"/>
                </a:lnTo>
                <a:lnTo>
                  <a:pt x="393" y="676"/>
                </a:lnTo>
                <a:lnTo>
                  <a:pt x="393" y="677"/>
                </a:lnTo>
                <a:lnTo>
                  <a:pt x="390" y="679"/>
                </a:lnTo>
                <a:lnTo>
                  <a:pt x="387" y="683"/>
                </a:lnTo>
                <a:lnTo>
                  <a:pt x="380" y="685"/>
                </a:lnTo>
                <a:lnTo>
                  <a:pt x="375" y="685"/>
                </a:lnTo>
                <a:lnTo>
                  <a:pt x="373" y="677"/>
                </a:lnTo>
                <a:lnTo>
                  <a:pt x="378" y="669"/>
                </a:lnTo>
                <a:lnTo>
                  <a:pt x="378" y="666"/>
                </a:lnTo>
                <a:lnTo>
                  <a:pt x="377" y="664"/>
                </a:lnTo>
                <a:lnTo>
                  <a:pt x="375" y="663"/>
                </a:lnTo>
                <a:lnTo>
                  <a:pt x="372" y="664"/>
                </a:lnTo>
                <a:lnTo>
                  <a:pt x="371" y="665"/>
                </a:lnTo>
                <a:lnTo>
                  <a:pt x="371" y="668"/>
                </a:lnTo>
                <a:lnTo>
                  <a:pt x="371" y="678"/>
                </a:lnTo>
                <a:lnTo>
                  <a:pt x="368" y="687"/>
                </a:lnTo>
                <a:lnTo>
                  <a:pt x="365" y="689"/>
                </a:lnTo>
                <a:lnTo>
                  <a:pt x="364" y="690"/>
                </a:lnTo>
                <a:lnTo>
                  <a:pt x="361" y="690"/>
                </a:lnTo>
                <a:lnTo>
                  <a:pt x="357" y="690"/>
                </a:lnTo>
                <a:lnTo>
                  <a:pt x="354" y="687"/>
                </a:lnTo>
                <a:lnTo>
                  <a:pt x="352" y="683"/>
                </a:lnTo>
                <a:lnTo>
                  <a:pt x="349" y="687"/>
                </a:lnTo>
                <a:lnTo>
                  <a:pt x="347" y="693"/>
                </a:lnTo>
                <a:lnTo>
                  <a:pt x="341" y="694"/>
                </a:lnTo>
                <a:lnTo>
                  <a:pt x="335" y="696"/>
                </a:lnTo>
                <a:lnTo>
                  <a:pt x="333" y="694"/>
                </a:lnTo>
                <a:lnTo>
                  <a:pt x="331" y="693"/>
                </a:lnTo>
                <a:lnTo>
                  <a:pt x="331" y="686"/>
                </a:lnTo>
                <a:lnTo>
                  <a:pt x="334" y="680"/>
                </a:lnTo>
                <a:lnTo>
                  <a:pt x="336" y="677"/>
                </a:lnTo>
                <a:lnTo>
                  <a:pt x="335" y="675"/>
                </a:lnTo>
                <a:lnTo>
                  <a:pt x="333" y="673"/>
                </a:lnTo>
                <a:lnTo>
                  <a:pt x="330" y="675"/>
                </a:lnTo>
                <a:lnTo>
                  <a:pt x="328" y="677"/>
                </a:lnTo>
                <a:lnTo>
                  <a:pt x="329" y="679"/>
                </a:lnTo>
                <a:lnTo>
                  <a:pt x="329" y="690"/>
                </a:lnTo>
                <a:lnTo>
                  <a:pt x="324" y="698"/>
                </a:lnTo>
                <a:lnTo>
                  <a:pt x="316" y="693"/>
                </a:lnTo>
                <a:lnTo>
                  <a:pt x="308" y="691"/>
                </a:lnTo>
                <a:lnTo>
                  <a:pt x="302" y="687"/>
                </a:lnTo>
                <a:lnTo>
                  <a:pt x="297" y="684"/>
                </a:lnTo>
                <a:lnTo>
                  <a:pt x="297" y="684"/>
                </a:lnTo>
                <a:lnTo>
                  <a:pt x="297" y="684"/>
                </a:lnTo>
                <a:lnTo>
                  <a:pt x="297" y="684"/>
                </a:lnTo>
                <a:lnTo>
                  <a:pt x="297" y="683"/>
                </a:lnTo>
                <a:lnTo>
                  <a:pt x="297" y="683"/>
                </a:lnTo>
                <a:lnTo>
                  <a:pt x="302" y="678"/>
                </a:lnTo>
                <a:lnTo>
                  <a:pt x="297" y="673"/>
                </a:lnTo>
                <a:lnTo>
                  <a:pt x="295" y="672"/>
                </a:lnTo>
                <a:lnTo>
                  <a:pt x="295" y="669"/>
                </a:lnTo>
                <a:lnTo>
                  <a:pt x="297" y="655"/>
                </a:lnTo>
                <a:lnTo>
                  <a:pt x="304" y="642"/>
                </a:lnTo>
                <a:lnTo>
                  <a:pt x="306" y="641"/>
                </a:lnTo>
                <a:lnTo>
                  <a:pt x="306" y="638"/>
                </a:lnTo>
                <a:lnTo>
                  <a:pt x="306" y="620"/>
                </a:lnTo>
                <a:lnTo>
                  <a:pt x="308" y="600"/>
                </a:lnTo>
                <a:lnTo>
                  <a:pt x="308" y="598"/>
                </a:lnTo>
                <a:lnTo>
                  <a:pt x="306" y="596"/>
                </a:lnTo>
                <a:lnTo>
                  <a:pt x="303" y="596"/>
                </a:lnTo>
                <a:lnTo>
                  <a:pt x="303" y="600"/>
                </a:lnTo>
                <a:lnTo>
                  <a:pt x="299" y="615"/>
                </a:lnTo>
                <a:lnTo>
                  <a:pt x="297" y="630"/>
                </a:lnTo>
                <a:lnTo>
                  <a:pt x="297" y="633"/>
                </a:lnTo>
                <a:lnTo>
                  <a:pt x="295" y="634"/>
                </a:lnTo>
                <a:lnTo>
                  <a:pt x="292" y="636"/>
                </a:lnTo>
                <a:lnTo>
                  <a:pt x="293" y="641"/>
                </a:lnTo>
                <a:lnTo>
                  <a:pt x="293" y="656"/>
                </a:lnTo>
                <a:lnTo>
                  <a:pt x="287" y="670"/>
                </a:lnTo>
                <a:lnTo>
                  <a:pt x="283" y="678"/>
                </a:lnTo>
                <a:lnTo>
                  <a:pt x="287" y="685"/>
                </a:lnTo>
                <a:lnTo>
                  <a:pt x="285" y="687"/>
                </a:lnTo>
                <a:lnTo>
                  <a:pt x="285" y="691"/>
                </a:lnTo>
                <a:lnTo>
                  <a:pt x="286" y="692"/>
                </a:lnTo>
                <a:lnTo>
                  <a:pt x="288" y="693"/>
                </a:lnTo>
                <a:lnTo>
                  <a:pt x="292" y="690"/>
                </a:lnTo>
                <a:lnTo>
                  <a:pt x="292" y="685"/>
                </a:lnTo>
                <a:lnTo>
                  <a:pt x="293" y="683"/>
                </a:lnTo>
                <a:lnTo>
                  <a:pt x="292" y="680"/>
                </a:lnTo>
                <a:lnTo>
                  <a:pt x="288" y="679"/>
                </a:lnTo>
                <a:lnTo>
                  <a:pt x="288" y="676"/>
                </a:lnTo>
                <a:lnTo>
                  <a:pt x="292" y="676"/>
                </a:lnTo>
                <a:lnTo>
                  <a:pt x="296" y="679"/>
                </a:lnTo>
                <a:lnTo>
                  <a:pt x="297" y="680"/>
                </a:lnTo>
                <a:lnTo>
                  <a:pt x="297" y="683"/>
                </a:lnTo>
                <a:lnTo>
                  <a:pt x="297" y="683"/>
                </a:lnTo>
                <a:lnTo>
                  <a:pt x="297" y="683"/>
                </a:lnTo>
                <a:lnTo>
                  <a:pt x="297" y="684"/>
                </a:lnTo>
                <a:lnTo>
                  <a:pt x="297" y="684"/>
                </a:lnTo>
                <a:lnTo>
                  <a:pt x="295" y="690"/>
                </a:lnTo>
                <a:lnTo>
                  <a:pt x="301" y="692"/>
                </a:lnTo>
                <a:lnTo>
                  <a:pt x="306" y="693"/>
                </a:lnTo>
                <a:lnTo>
                  <a:pt x="308" y="697"/>
                </a:lnTo>
                <a:lnTo>
                  <a:pt x="306" y="703"/>
                </a:lnTo>
                <a:lnTo>
                  <a:pt x="299" y="705"/>
                </a:lnTo>
                <a:lnTo>
                  <a:pt x="292" y="706"/>
                </a:lnTo>
                <a:lnTo>
                  <a:pt x="288" y="701"/>
                </a:lnTo>
                <a:lnTo>
                  <a:pt x="276" y="711"/>
                </a:lnTo>
                <a:lnTo>
                  <a:pt x="262" y="713"/>
                </a:lnTo>
                <a:lnTo>
                  <a:pt x="262" y="706"/>
                </a:lnTo>
                <a:lnTo>
                  <a:pt x="265" y="699"/>
                </a:lnTo>
                <a:lnTo>
                  <a:pt x="267" y="696"/>
                </a:lnTo>
                <a:lnTo>
                  <a:pt x="266" y="693"/>
                </a:lnTo>
                <a:lnTo>
                  <a:pt x="264" y="691"/>
                </a:lnTo>
                <a:lnTo>
                  <a:pt x="262" y="690"/>
                </a:lnTo>
                <a:lnTo>
                  <a:pt x="256" y="693"/>
                </a:lnTo>
                <a:lnTo>
                  <a:pt x="253" y="699"/>
                </a:lnTo>
                <a:lnTo>
                  <a:pt x="251" y="712"/>
                </a:lnTo>
                <a:lnTo>
                  <a:pt x="251" y="726"/>
                </a:lnTo>
                <a:lnTo>
                  <a:pt x="253" y="732"/>
                </a:lnTo>
                <a:lnTo>
                  <a:pt x="258" y="734"/>
                </a:lnTo>
                <a:lnTo>
                  <a:pt x="261" y="731"/>
                </a:lnTo>
                <a:lnTo>
                  <a:pt x="260" y="725"/>
                </a:lnTo>
                <a:lnTo>
                  <a:pt x="259" y="721"/>
                </a:lnTo>
                <a:lnTo>
                  <a:pt x="259" y="718"/>
                </a:lnTo>
                <a:lnTo>
                  <a:pt x="282" y="713"/>
                </a:lnTo>
                <a:lnTo>
                  <a:pt x="304" y="707"/>
                </a:lnTo>
                <a:lnTo>
                  <a:pt x="307" y="714"/>
                </a:lnTo>
                <a:lnTo>
                  <a:pt x="313" y="718"/>
                </a:lnTo>
                <a:lnTo>
                  <a:pt x="308" y="722"/>
                </a:lnTo>
                <a:lnTo>
                  <a:pt x="302" y="727"/>
                </a:lnTo>
                <a:lnTo>
                  <a:pt x="285" y="732"/>
                </a:lnTo>
                <a:lnTo>
                  <a:pt x="267" y="736"/>
                </a:lnTo>
                <a:lnTo>
                  <a:pt x="260" y="740"/>
                </a:lnTo>
                <a:lnTo>
                  <a:pt x="264" y="746"/>
                </a:lnTo>
                <a:lnTo>
                  <a:pt x="267" y="755"/>
                </a:lnTo>
                <a:lnTo>
                  <a:pt x="266" y="764"/>
                </a:lnTo>
                <a:lnTo>
                  <a:pt x="266" y="767"/>
                </a:lnTo>
                <a:lnTo>
                  <a:pt x="265" y="770"/>
                </a:lnTo>
                <a:lnTo>
                  <a:pt x="266" y="767"/>
                </a:lnTo>
                <a:lnTo>
                  <a:pt x="266" y="764"/>
                </a:lnTo>
                <a:lnTo>
                  <a:pt x="265" y="763"/>
                </a:lnTo>
                <a:lnTo>
                  <a:pt x="265" y="762"/>
                </a:lnTo>
                <a:lnTo>
                  <a:pt x="261" y="750"/>
                </a:lnTo>
                <a:lnTo>
                  <a:pt x="253" y="740"/>
                </a:lnTo>
                <a:lnTo>
                  <a:pt x="251" y="735"/>
                </a:lnTo>
                <a:lnTo>
                  <a:pt x="247" y="735"/>
                </a:lnTo>
                <a:lnTo>
                  <a:pt x="240" y="739"/>
                </a:lnTo>
                <a:lnTo>
                  <a:pt x="235" y="746"/>
                </a:lnTo>
                <a:lnTo>
                  <a:pt x="238" y="754"/>
                </a:lnTo>
                <a:lnTo>
                  <a:pt x="235" y="762"/>
                </a:lnTo>
                <a:lnTo>
                  <a:pt x="235" y="766"/>
                </a:lnTo>
                <a:lnTo>
                  <a:pt x="239" y="768"/>
                </a:lnTo>
                <a:lnTo>
                  <a:pt x="241" y="770"/>
                </a:lnTo>
                <a:lnTo>
                  <a:pt x="245" y="771"/>
                </a:lnTo>
                <a:lnTo>
                  <a:pt x="253" y="778"/>
                </a:lnTo>
                <a:lnTo>
                  <a:pt x="264" y="776"/>
                </a:lnTo>
                <a:lnTo>
                  <a:pt x="260" y="782"/>
                </a:lnTo>
                <a:lnTo>
                  <a:pt x="256" y="785"/>
                </a:lnTo>
                <a:lnTo>
                  <a:pt x="253" y="789"/>
                </a:lnTo>
                <a:lnTo>
                  <a:pt x="255" y="792"/>
                </a:lnTo>
                <a:lnTo>
                  <a:pt x="255" y="792"/>
                </a:lnTo>
                <a:lnTo>
                  <a:pt x="256" y="801"/>
                </a:lnTo>
                <a:lnTo>
                  <a:pt x="259" y="809"/>
                </a:lnTo>
                <a:lnTo>
                  <a:pt x="258" y="812"/>
                </a:lnTo>
                <a:lnTo>
                  <a:pt x="254" y="812"/>
                </a:lnTo>
                <a:lnTo>
                  <a:pt x="245" y="811"/>
                </a:lnTo>
                <a:lnTo>
                  <a:pt x="238" y="817"/>
                </a:lnTo>
                <a:lnTo>
                  <a:pt x="234" y="819"/>
                </a:lnTo>
                <a:lnTo>
                  <a:pt x="234" y="824"/>
                </a:lnTo>
                <a:lnTo>
                  <a:pt x="238" y="827"/>
                </a:lnTo>
                <a:lnTo>
                  <a:pt x="234" y="830"/>
                </a:lnTo>
                <a:lnTo>
                  <a:pt x="217" y="834"/>
                </a:lnTo>
                <a:lnTo>
                  <a:pt x="199" y="839"/>
                </a:lnTo>
                <a:lnTo>
                  <a:pt x="196" y="839"/>
                </a:lnTo>
                <a:lnTo>
                  <a:pt x="195" y="834"/>
                </a:lnTo>
                <a:lnTo>
                  <a:pt x="197" y="823"/>
                </a:lnTo>
                <a:lnTo>
                  <a:pt x="199" y="812"/>
                </a:lnTo>
                <a:lnTo>
                  <a:pt x="199" y="812"/>
                </a:lnTo>
                <a:lnTo>
                  <a:pt x="204" y="806"/>
                </a:lnTo>
                <a:lnTo>
                  <a:pt x="206" y="799"/>
                </a:lnTo>
                <a:lnTo>
                  <a:pt x="205" y="792"/>
                </a:lnTo>
                <a:lnTo>
                  <a:pt x="203" y="785"/>
                </a:lnTo>
                <a:lnTo>
                  <a:pt x="205" y="784"/>
                </a:lnTo>
                <a:lnTo>
                  <a:pt x="205" y="783"/>
                </a:lnTo>
                <a:lnTo>
                  <a:pt x="206" y="778"/>
                </a:lnTo>
                <a:lnTo>
                  <a:pt x="205" y="774"/>
                </a:lnTo>
                <a:lnTo>
                  <a:pt x="206" y="759"/>
                </a:lnTo>
                <a:lnTo>
                  <a:pt x="205" y="745"/>
                </a:lnTo>
                <a:lnTo>
                  <a:pt x="205" y="742"/>
                </a:lnTo>
                <a:lnTo>
                  <a:pt x="203" y="741"/>
                </a:lnTo>
                <a:lnTo>
                  <a:pt x="199" y="741"/>
                </a:lnTo>
                <a:lnTo>
                  <a:pt x="197" y="742"/>
                </a:lnTo>
                <a:lnTo>
                  <a:pt x="186" y="761"/>
                </a:lnTo>
                <a:lnTo>
                  <a:pt x="180" y="782"/>
                </a:lnTo>
                <a:lnTo>
                  <a:pt x="176" y="794"/>
                </a:lnTo>
                <a:lnTo>
                  <a:pt x="176" y="805"/>
                </a:lnTo>
                <a:lnTo>
                  <a:pt x="176" y="810"/>
                </a:lnTo>
                <a:lnTo>
                  <a:pt x="176" y="816"/>
                </a:lnTo>
                <a:lnTo>
                  <a:pt x="172" y="832"/>
                </a:lnTo>
                <a:lnTo>
                  <a:pt x="170" y="848"/>
                </a:lnTo>
                <a:lnTo>
                  <a:pt x="168" y="851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4" y="853"/>
                </a:lnTo>
                <a:lnTo>
                  <a:pt x="164" y="853"/>
                </a:lnTo>
                <a:lnTo>
                  <a:pt x="164" y="853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4" y="854"/>
                </a:lnTo>
                <a:lnTo>
                  <a:pt x="164" y="855"/>
                </a:lnTo>
                <a:lnTo>
                  <a:pt x="163" y="861"/>
                </a:lnTo>
                <a:lnTo>
                  <a:pt x="163" y="866"/>
                </a:lnTo>
                <a:lnTo>
                  <a:pt x="162" y="878"/>
                </a:lnTo>
                <a:lnTo>
                  <a:pt x="155" y="885"/>
                </a:lnTo>
                <a:lnTo>
                  <a:pt x="150" y="888"/>
                </a:lnTo>
                <a:lnTo>
                  <a:pt x="147" y="893"/>
                </a:lnTo>
                <a:lnTo>
                  <a:pt x="147" y="896"/>
                </a:lnTo>
                <a:lnTo>
                  <a:pt x="148" y="900"/>
                </a:lnTo>
                <a:lnTo>
                  <a:pt x="159" y="896"/>
                </a:lnTo>
                <a:lnTo>
                  <a:pt x="171" y="894"/>
                </a:lnTo>
                <a:lnTo>
                  <a:pt x="159" y="896"/>
                </a:lnTo>
                <a:lnTo>
                  <a:pt x="148" y="900"/>
                </a:lnTo>
                <a:lnTo>
                  <a:pt x="149" y="903"/>
                </a:lnTo>
                <a:lnTo>
                  <a:pt x="148" y="906"/>
                </a:lnTo>
                <a:lnTo>
                  <a:pt x="137" y="904"/>
                </a:lnTo>
                <a:lnTo>
                  <a:pt x="127" y="901"/>
                </a:lnTo>
                <a:lnTo>
                  <a:pt x="121" y="900"/>
                </a:lnTo>
                <a:lnTo>
                  <a:pt x="114" y="902"/>
                </a:lnTo>
                <a:lnTo>
                  <a:pt x="114" y="904"/>
                </a:lnTo>
                <a:lnTo>
                  <a:pt x="116" y="909"/>
                </a:lnTo>
                <a:lnTo>
                  <a:pt x="116" y="911"/>
                </a:lnTo>
                <a:lnTo>
                  <a:pt x="115" y="913"/>
                </a:lnTo>
                <a:lnTo>
                  <a:pt x="104" y="908"/>
                </a:lnTo>
                <a:lnTo>
                  <a:pt x="97" y="900"/>
                </a:lnTo>
                <a:lnTo>
                  <a:pt x="94" y="897"/>
                </a:lnTo>
                <a:lnTo>
                  <a:pt x="89" y="897"/>
                </a:lnTo>
                <a:lnTo>
                  <a:pt x="83" y="901"/>
                </a:lnTo>
                <a:lnTo>
                  <a:pt x="78" y="903"/>
                </a:lnTo>
                <a:lnTo>
                  <a:pt x="72" y="910"/>
                </a:lnTo>
                <a:lnTo>
                  <a:pt x="69" y="917"/>
                </a:lnTo>
                <a:lnTo>
                  <a:pt x="72" y="923"/>
                </a:lnTo>
                <a:lnTo>
                  <a:pt x="80" y="927"/>
                </a:lnTo>
                <a:lnTo>
                  <a:pt x="85" y="927"/>
                </a:lnTo>
                <a:lnTo>
                  <a:pt x="89" y="927"/>
                </a:lnTo>
                <a:lnTo>
                  <a:pt x="95" y="925"/>
                </a:lnTo>
                <a:lnTo>
                  <a:pt x="96" y="932"/>
                </a:lnTo>
                <a:lnTo>
                  <a:pt x="97" y="935"/>
                </a:lnTo>
                <a:lnTo>
                  <a:pt x="100" y="937"/>
                </a:lnTo>
                <a:lnTo>
                  <a:pt x="109" y="945"/>
                </a:lnTo>
                <a:lnTo>
                  <a:pt x="119" y="955"/>
                </a:lnTo>
                <a:lnTo>
                  <a:pt x="123" y="962"/>
                </a:lnTo>
                <a:lnTo>
                  <a:pt x="129" y="967"/>
                </a:lnTo>
                <a:lnTo>
                  <a:pt x="131" y="971"/>
                </a:lnTo>
                <a:lnTo>
                  <a:pt x="134" y="976"/>
                </a:lnTo>
                <a:lnTo>
                  <a:pt x="134" y="984"/>
                </a:lnTo>
                <a:lnTo>
                  <a:pt x="130" y="992"/>
                </a:lnTo>
                <a:lnTo>
                  <a:pt x="129" y="1012"/>
                </a:lnTo>
                <a:lnTo>
                  <a:pt x="126" y="1030"/>
                </a:lnTo>
                <a:lnTo>
                  <a:pt x="123" y="1046"/>
                </a:lnTo>
                <a:lnTo>
                  <a:pt x="138" y="1047"/>
                </a:lnTo>
                <a:lnTo>
                  <a:pt x="140" y="1051"/>
                </a:lnTo>
                <a:lnTo>
                  <a:pt x="138" y="1056"/>
                </a:lnTo>
                <a:lnTo>
                  <a:pt x="133" y="1055"/>
                </a:lnTo>
                <a:lnTo>
                  <a:pt x="129" y="1060"/>
                </a:lnTo>
                <a:lnTo>
                  <a:pt x="128" y="1067"/>
                </a:lnTo>
                <a:lnTo>
                  <a:pt x="121" y="1068"/>
                </a:lnTo>
                <a:lnTo>
                  <a:pt x="120" y="1070"/>
                </a:lnTo>
                <a:lnTo>
                  <a:pt x="119" y="1072"/>
                </a:lnTo>
                <a:lnTo>
                  <a:pt x="114" y="1097"/>
                </a:lnTo>
                <a:lnTo>
                  <a:pt x="108" y="1121"/>
                </a:lnTo>
                <a:lnTo>
                  <a:pt x="97" y="1173"/>
                </a:lnTo>
                <a:lnTo>
                  <a:pt x="87" y="1225"/>
                </a:lnTo>
                <a:lnTo>
                  <a:pt x="74" y="1293"/>
                </a:lnTo>
                <a:lnTo>
                  <a:pt x="61" y="1360"/>
                </a:lnTo>
                <a:lnTo>
                  <a:pt x="58" y="1369"/>
                </a:lnTo>
                <a:lnTo>
                  <a:pt x="46" y="1369"/>
                </a:lnTo>
                <a:lnTo>
                  <a:pt x="51" y="1376"/>
                </a:lnTo>
                <a:lnTo>
                  <a:pt x="50" y="1383"/>
                </a:lnTo>
                <a:lnTo>
                  <a:pt x="45" y="1386"/>
                </a:lnTo>
                <a:lnTo>
                  <a:pt x="40" y="1389"/>
                </a:lnTo>
                <a:lnTo>
                  <a:pt x="33" y="1382"/>
                </a:lnTo>
                <a:lnTo>
                  <a:pt x="24" y="1378"/>
                </a:lnTo>
                <a:lnTo>
                  <a:pt x="18" y="1381"/>
                </a:lnTo>
                <a:lnTo>
                  <a:pt x="20" y="1386"/>
                </a:lnTo>
                <a:lnTo>
                  <a:pt x="23" y="1391"/>
                </a:lnTo>
                <a:lnTo>
                  <a:pt x="23" y="1398"/>
                </a:lnTo>
                <a:lnTo>
                  <a:pt x="24" y="1409"/>
                </a:lnTo>
                <a:lnTo>
                  <a:pt x="25" y="1420"/>
                </a:lnTo>
                <a:lnTo>
                  <a:pt x="32" y="1434"/>
                </a:lnTo>
                <a:lnTo>
                  <a:pt x="40" y="1447"/>
                </a:lnTo>
                <a:lnTo>
                  <a:pt x="41" y="1451"/>
                </a:lnTo>
                <a:lnTo>
                  <a:pt x="41" y="1454"/>
                </a:lnTo>
                <a:lnTo>
                  <a:pt x="38" y="1475"/>
                </a:lnTo>
                <a:lnTo>
                  <a:pt x="33" y="1496"/>
                </a:lnTo>
                <a:lnTo>
                  <a:pt x="26" y="1526"/>
                </a:lnTo>
                <a:lnTo>
                  <a:pt x="21" y="1556"/>
                </a:lnTo>
                <a:lnTo>
                  <a:pt x="19" y="1564"/>
                </a:lnTo>
                <a:lnTo>
                  <a:pt x="18" y="1572"/>
                </a:lnTo>
                <a:lnTo>
                  <a:pt x="16" y="1579"/>
                </a:lnTo>
                <a:lnTo>
                  <a:pt x="9" y="1582"/>
                </a:lnTo>
                <a:lnTo>
                  <a:pt x="4" y="1587"/>
                </a:lnTo>
                <a:lnTo>
                  <a:pt x="3" y="1594"/>
                </a:lnTo>
                <a:lnTo>
                  <a:pt x="3" y="1595"/>
                </a:lnTo>
                <a:lnTo>
                  <a:pt x="3" y="1598"/>
                </a:lnTo>
                <a:lnTo>
                  <a:pt x="0" y="1606"/>
                </a:lnTo>
                <a:lnTo>
                  <a:pt x="4" y="1612"/>
                </a:lnTo>
                <a:lnTo>
                  <a:pt x="10" y="1616"/>
                </a:lnTo>
                <a:lnTo>
                  <a:pt x="12" y="1623"/>
                </a:lnTo>
                <a:lnTo>
                  <a:pt x="13" y="1624"/>
                </a:lnTo>
                <a:lnTo>
                  <a:pt x="13" y="1626"/>
                </a:lnTo>
                <a:lnTo>
                  <a:pt x="24" y="1637"/>
                </a:lnTo>
                <a:lnTo>
                  <a:pt x="27" y="1652"/>
                </a:lnTo>
                <a:lnTo>
                  <a:pt x="27" y="1655"/>
                </a:lnTo>
                <a:lnTo>
                  <a:pt x="28" y="1656"/>
                </a:lnTo>
                <a:lnTo>
                  <a:pt x="31" y="1661"/>
                </a:lnTo>
                <a:lnTo>
                  <a:pt x="25" y="1661"/>
                </a:lnTo>
                <a:lnTo>
                  <a:pt x="16" y="1661"/>
                </a:lnTo>
                <a:lnTo>
                  <a:pt x="5" y="1661"/>
                </a:lnTo>
                <a:lnTo>
                  <a:pt x="154" y="1661"/>
                </a:lnTo>
                <a:lnTo>
                  <a:pt x="156" y="1662"/>
                </a:lnTo>
                <a:lnTo>
                  <a:pt x="158" y="1661"/>
                </a:lnTo>
                <a:lnTo>
                  <a:pt x="200" y="1661"/>
                </a:lnTo>
                <a:lnTo>
                  <a:pt x="202" y="1662"/>
                </a:lnTo>
                <a:lnTo>
                  <a:pt x="203" y="1661"/>
                </a:lnTo>
                <a:lnTo>
                  <a:pt x="1029" y="1661"/>
                </a:lnTo>
                <a:lnTo>
                  <a:pt x="1031" y="1662"/>
                </a:lnTo>
                <a:lnTo>
                  <a:pt x="1032" y="1661"/>
                </a:lnTo>
                <a:lnTo>
                  <a:pt x="1032" y="1661"/>
                </a:lnTo>
                <a:lnTo>
                  <a:pt x="1032" y="1661"/>
                </a:lnTo>
                <a:lnTo>
                  <a:pt x="1419" y="1661"/>
                </a:lnTo>
                <a:lnTo>
                  <a:pt x="1425" y="1662"/>
                </a:lnTo>
                <a:lnTo>
                  <a:pt x="1431" y="1662"/>
                </a:lnTo>
                <a:lnTo>
                  <a:pt x="1433" y="1662"/>
                </a:lnTo>
                <a:lnTo>
                  <a:pt x="1434" y="1661"/>
                </a:lnTo>
                <a:lnTo>
                  <a:pt x="1469" y="1661"/>
                </a:lnTo>
                <a:lnTo>
                  <a:pt x="1464" y="1661"/>
                </a:lnTo>
                <a:lnTo>
                  <a:pt x="1462" y="1657"/>
                </a:lnTo>
                <a:lnTo>
                  <a:pt x="1460" y="1654"/>
                </a:lnTo>
                <a:lnTo>
                  <a:pt x="1455" y="1652"/>
                </a:lnTo>
                <a:lnTo>
                  <a:pt x="1462" y="1648"/>
                </a:lnTo>
                <a:lnTo>
                  <a:pt x="1461" y="1641"/>
                </a:lnTo>
                <a:lnTo>
                  <a:pt x="1461" y="1636"/>
                </a:lnTo>
                <a:lnTo>
                  <a:pt x="1461" y="1630"/>
                </a:lnTo>
                <a:lnTo>
                  <a:pt x="1463" y="1617"/>
                </a:lnTo>
                <a:lnTo>
                  <a:pt x="1461" y="1605"/>
                </a:lnTo>
                <a:lnTo>
                  <a:pt x="1460" y="1600"/>
                </a:lnTo>
                <a:lnTo>
                  <a:pt x="1456" y="1595"/>
                </a:lnTo>
                <a:lnTo>
                  <a:pt x="1456" y="1593"/>
                </a:lnTo>
                <a:lnTo>
                  <a:pt x="1456" y="1589"/>
                </a:lnTo>
                <a:lnTo>
                  <a:pt x="1455" y="1584"/>
                </a:lnTo>
                <a:lnTo>
                  <a:pt x="1454" y="1577"/>
                </a:lnTo>
                <a:lnTo>
                  <a:pt x="1454" y="1574"/>
                </a:lnTo>
                <a:lnTo>
                  <a:pt x="1453" y="1573"/>
                </a:lnTo>
                <a:lnTo>
                  <a:pt x="1453" y="1566"/>
                </a:lnTo>
                <a:lnTo>
                  <a:pt x="1450" y="1559"/>
                </a:lnTo>
                <a:lnTo>
                  <a:pt x="1450" y="1556"/>
                </a:lnTo>
                <a:lnTo>
                  <a:pt x="1450" y="1552"/>
                </a:lnTo>
                <a:lnTo>
                  <a:pt x="1449" y="1538"/>
                </a:lnTo>
                <a:lnTo>
                  <a:pt x="1447" y="1523"/>
                </a:lnTo>
                <a:lnTo>
                  <a:pt x="1456" y="1524"/>
                </a:lnTo>
                <a:lnTo>
                  <a:pt x="1462" y="1531"/>
                </a:lnTo>
                <a:lnTo>
                  <a:pt x="1470" y="1537"/>
                </a:lnTo>
                <a:lnTo>
                  <a:pt x="1480" y="1536"/>
                </a:lnTo>
                <a:lnTo>
                  <a:pt x="1482" y="1529"/>
                </a:lnTo>
                <a:lnTo>
                  <a:pt x="1478" y="1519"/>
                </a:lnTo>
                <a:lnTo>
                  <a:pt x="1476" y="1515"/>
                </a:lnTo>
                <a:lnTo>
                  <a:pt x="1476" y="1511"/>
                </a:lnTo>
                <a:lnTo>
                  <a:pt x="1476" y="1507"/>
                </a:lnTo>
                <a:lnTo>
                  <a:pt x="1474" y="1504"/>
                </a:lnTo>
                <a:lnTo>
                  <a:pt x="1471" y="1504"/>
                </a:lnTo>
                <a:lnTo>
                  <a:pt x="1469" y="1507"/>
                </a:lnTo>
                <a:lnTo>
                  <a:pt x="1462" y="1507"/>
                </a:lnTo>
                <a:lnTo>
                  <a:pt x="1456" y="1503"/>
                </a:lnTo>
                <a:lnTo>
                  <a:pt x="1456" y="1501"/>
                </a:lnTo>
                <a:lnTo>
                  <a:pt x="1459" y="1498"/>
                </a:lnTo>
                <a:lnTo>
                  <a:pt x="1463" y="1493"/>
                </a:lnTo>
                <a:lnTo>
                  <a:pt x="1457" y="1488"/>
                </a:lnTo>
                <a:lnTo>
                  <a:pt x="1449" y="1483"/>
                </a:lnTo>
                <a:lnTo>
                  <a:pt x="1442" y="1479"/>
                </a:lnTo>
                <a:lnTo>
                  <a:pt x="1441" y="1473"/>
                </a:lnTo>
                <a:lnTo>
                  <a:pt x="1441" y="1468"/>
                </a:lnTo>
                <a:lnTo>
                  <a:pt x="1441" y="1465"/>
                </a:lnTo>
                <a:lnTo>
                  <a:pt x="1441" y="1462"/>
                </a:lnTo>
                <a:lnTo>
                  <a:pt x="1441" y="1455"/>
                </a:lnTo>
                <a:lnTo>
                  <a:pt x="1440" y="1448"/>
                </a:lnTo>
                <a:lnTo>
                  <a:pt x="1439" y="1432"/>
                </a:lnTo>
                <a:lnTo>
                  <a:pt x="1435" y="1417"/>
                </a:lnTo>
                <a:lnTo>
                  <a:pt x="1435" y="1410"/>
                </a:lnTo>
                <a:lnTo>
                  <a:pt x="1429" y="1406"/>
                </a:lnTo>
                <a:lnTo>
                  <a:pt x="1425" y="1403"/>
                </a:lnTo>
                <a:lnTo>
                  <a:pt x="1425" y="1397"/>
                </a:lnTo>
                <a:lnTo>
                  <a:pt x="1433" y="1400"/>
                </a:lnTo>
                <a:lnTo>
                  <a:pt x="1441" y="1396"/>
                </a:lnTo>
                <a:lnTo>
                  <a:pt x="1442" y="1395"/>
                </a:lnTo>
                <a:lnTo>
                  <a:pt x="1441" y="1393"/>
                </a:lnTo>
                <a:lnTo>
                  <a:pt x="1439" y="1391"/>
                </a:lnTo>
                <a:lnTo>
                  <a:pt x="1438" y="1389"/>
                </a:lnTo>
                <a:lnTo>
                  <a:pt x="1436" y="1386"/>
                </a:lnTo>
                <a:lnTo>
                  <a:pt x="1435" y="1384"/>
                </a:lnTo>
                <a:lnTo>
                  <a:pt x="1436" y="1386"/>
                </a:lnTo>
                <a:lnTo>
                  <a:pt x="1438" y="1389"/>
                </a:lnTo>
                <a:lnTo>
                  <a:pt x="1438" y="1381"/>
                </a:lnTo>
                <a:lnTo>
                  <a:pt x="1433" y="1376"/>
                </a:lnTo>
                <a:lnTo>
                  <a:pt x="1434" y="1375"/>
                </a:lnTo>
                <a:lnTo>
                  <a:pt x="1434" y="1375"/>
                </a:lnTo>
                <a:lnTo>
                  <a:pt x="1434" y="1375"/>
                </a:lnTo>
                <a:lnTo>
                  <a:pt x="1434" y="1375"/>
                </a:lnTo>
                <a:lnTo>
                  <a:pt x="1434" y="1375"/>
                </a:lnTo>
                <a:lnTo>
                  <a:pt x="1440" y="1365"/>
                </a:lnTo>
                <a:lnTo>
                  <a:pt x="1438" y="1355"/>
                </a:lnTo>
                <a:lnTo>
                  <a:pt x="1438" y="1355"/>
                </a:lnTo>
                <a:lnTo>
                  <a:pt x="1438" y="1354"/>
                </a:lnTo>
                <a:lnTo>
                  <a:pt x="1429" y="1342"/>
                </a:lnTo>
                <a:lnTo>
                  <a:pt x="1422" y="1330"/>
                </a:lnTo>
                <a:lnTo>
                  <a:pt x="1421" y="1328"/>
                </a:lnTo>
                <a:lnTo>
                  <a:pt x="1420" y="1326"/>
                </a:lnTo>
                <a:lnTo>
                  <a:pt x="1419" y="1322"/>
                </a:lnTo>
                <a:lnTo>
                  <a:pt x="1421" y="1321"/>
                </a:lnTo>
                <a:lnTo>
                  <a:pt x="1427" y="1321"/>
                </a:lnTo>
                <a:lnTo>
                  <a:pt x="1426" y="1316"/>
                </a:lnTo>
                <a:lnTo>
                  <a:pt x="1426" y="1313"/>
                </a:lnTo>
                <a:lnTo>
                  <a:pt x="1425" y="1311"/>
                </a:lnTo>
                <a:lnTo>
                  <a:pt x="1422" y="1302"/>
                </a:lnTo>
                <a:lnTo>
                  <a:pt x="1419" y="1294"/>
                </a:lnTo>
                <a:lnTo>
                  <a:pt x="1417" y="1290"/>
                </a:lnTo>
                <a:lnTo>
                  <a:pt x="1412" y="1286"/>
                </a:lnTo>
                <a:lnTo>
                  <a:pt x="1408" y="1284"/>
                </a:lnTo>
                <a:lnTo>
                  <a:pt x="1408" y="1280"/>
                </a:lnTo>
                <a:lnTo>
                  <a:pt x="1411" y="1279"/>
                </a:lnTo>
                <a:lnTo>
                  <a:pt x="1414" y="1280"/>
                </a:lnTo>
                <a:lnTo>
                  <a:pt x="1419" y="1281"/>
                </a:lnTo>
                <a:lnTo>
                  <a:pt x="1422" y="1279"/>
                </a:lnTo>
                <a:lnTo>
                  <a:pt x="1424" y="1278"/>
                </a:lnTo>
                <a:lnTo>
                  <a:pt x="1425" y="1278"/>
                </a:lnTo>
                <a:lnTo>
                  <a:pt x="1427" y="1267"/>
                </a:lnTo>
                <a:lnTo>
                  <a:pt x="1425" y="1257"/>
                </a:lnTo>
                <a:lnTo>
                  <a:pt x="1424" y="1256"/>
                </a:lnTo>
                <a:lnTo>
                  <a:pt x="1425" y="1255"/>
                </a:lnTo>
                <a:lnTo>
                  <a:pt x="1425" y="1249"/>
                </a:lnTo>
                <a:lnTo>
                  <a:pt x="1420" y="1246"/>
                </a:lnTo>
                <a:lnTo>
                  <a:pt x="1414" y="1245"/>
                </a:lnTo>
                <a:lnTo>
                  <a:pt x="1409" y="1245"/>
                </a:lnTo>
                <a:lnTo>
                  <a:pt x="1404" y="1239"/>
                </a:lnTo>
                <a:lnTo>
                  <a:pt x="1398" y="1243"/>
                </a:lnTo>
                <a:lnTo>
                  <a:pt x="1393" y="1245"/>
                </a:lnTo>
                <a:lnTo>
                  <a:pt x="1391" y="1241"/>
                </a:lnTo>
                <a:lnTo>
                  <a:pt x="1391" y="1238"/>
                </a:lnTo>
                <a:lnTo>
                  <a:pt x="1388" y="1237"/>
                </a:lnTo>
                <a:lnTo>
                  <a:pt x="1388" y="1237"/>
                </a:lnTo>
                <a:lnTo>
                  <a:pt x="1385" y="1235"/>
                </a:lnTo>
                <a:lnTo>
                  <a:pt x="1381" y="1231"/>
                </a:lnTo>
                <a:lnTo>
                  <a:pt x="1378" y="1235"/>
                </a:lnTo>
                <a:lnTo>
                  <a:pt x="1374" y="1239"/>
                </a:lnTo>
                <a:lnTo>
                  <a:pt x="1369" y="1218"/>
                </a:lnTo>
                <a:lnTo>
                  <a:pt x="1363" y="1197"/>
                </a:lnTo>
                <a:lnTo>
                  <a:pt x="1363" y="1197"/>
                </a:lnTo>
                <a:lnTo>
                  <a:pt x="1363" y="1197"/>
                </a:lnTo>
                <a:lnTo>
                  <a:pt x="1363" y="1197"/>
                </a:lnTo>
                <a:lnTo>
                  <a:pt x="1366" y="1200"/>
                </a:lnTo>
                <a:lnTo>
                  <a:pt x="1367" y="1203"/>
                </a:lnTo>
                <a:lnTo>
                  <a:pt x="1370" y="1211"/>
                </a:lnTo>
                <a:lnTo>
                  <a:pt x="1372" y="1221"/>
                </a:lnTo>
                <a:lnTo>
                  <a:pt x="1373" y="1222"/>
                </a:lnTo>
                <a:lnTo>
                  <a:pt x="1374" y="1221"/>
                </a:lnTo>
                <a:lnTo>
                  <a:pt x="1374" y="1221"/>
                </a:lnTo>
                <a:lnTo>
                  <a:pt x="1374" y="1220"/>
                </a:lnTo>
                <a:lnTo>
                  <a:pt x="1383" y="1222"/>
                </a:lnTo>
                <a:lnTo>
                  <a:pt x="1384" y="1214"/>
                </a:lnTo>
                <a:lnTo>
                  <a:pt x="1380" y="1215"/>
                </a:lnTo>
                <a:lnTo>
                  <a:pt x="1377" y="1213"/>
                </a:lnTo>
                <a:lnTo>
                  <a:pt x="1377" y="1213"/>
                </a:lnTo>
                <a:lnTo>
                  <a:pt x="1377" y="1196"/>
                </a:lnTo>
                <a:lnTo>
                  <a:pt x="1372" y="1180"/>
                </a:lnTo>
                <a:lnTo>
                  <a:pt x="1370" y="1174"/>
                </a:lnTo>
                <a:lnTo>
                  <a:pt x="1370" y="1167"/>
                </a:lnTo>
                <a:lnTo>
                  <a:pt x="1369" y="1166"/>
                </a:lnTo>
                <a:lnTo>
                  <a:pt x="1369" y="1165"/>
                </a:lnTo>
                <a:lnTo>
                  <a:pt x="1367" y="1162"/>
                </a:lnTo>
                <a:lnTo>
                  <a:pt x="1366" y="1159"/>
                </a:lnTo>
                <a:lnTo>
                  <a:pt x="1364" y="1160"/>
                </a:lnTo>
                <a:lnTo>
                  <a:pt x="1363" y="1162"/>
                </a:lnTo>
                <a:lnTo>
                  <a:pt x="1364" y="1160"/>
                </a:lnTo>
                <a:lnTo>
                  <a:pt x="1366" y="1159"/>
                </a:lnTo>
                <a:lnTo>
                  <a:pt x="1365" y="1155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5"/>
                </a:lnTo>
                <a:lnTo>
                  <a:pt x="1359" y="1156"/>
                </a:lnTo>
                <a:lnTo>
                  <a:pt x="1359" y="1146"/>
                </a:lnTo>
                <a:lnTo>
                  <a:pt x="1358" y="1135"/>
                </a:lnTo>
                <a:lnTo>
                  <a:pt x="1358" y="1138"/>
                </a:lnTo>
                <a:lnTo>
                  <a:pt x="1355" y="1140"/>
                </a:lnTo>
                <a:lnTo>
                  <a:pt x="1353" y="1133"/>
                </a:lnTo>
                <a:lnTo>
                  <a:pt x="1355" y="1126"/>
                </a:lnTo>
                <a:lnTo>
                  <a:pt x="1348" y="1104"/>
                </a:lnTo>
                <a:lnTo>
                  <a:pt x="1341" y="1082"/>
                </a:lnTo>
                <a:lnTo>
                  <a:pt x="1336" y="1091"/>
                </a:lnTo>
                <a:lnTo>
                  <a:pt x="1336" y="1102"/>
                </a:lnTo>
                <a:lnTo>
                  <a:pt x="1341" y="1120"/>
                </a:lnTo>
                <a:lnTo>
                  <a:pt x="1348" y="1139"/>
                </a:lnTo>
                <a:lnTo>
                  <a:pt x="1349" y="1141"/>
                </a:lnTo>
                <a:lnTo>
                  <a:pt x="1351" y="1142"/>
                </a:lnTo>
                <a:lnTo>
                  <a:pt x="1356" y="1148"/>
                </a:lnTo>
                <a:lnTo>
                  <a:pt x="1356" y="1155"/>
                </a:lnTo>
                <a:lnTo>
                  <a:pt x="1353" y="1160"/>
                </a:lnTo>
                <a:lnTo>
                  <a:pt x="1359" y="1162"/>
                </a:lnTo>
                <a:lnTo>
                  <a:pt x="1360" y="1163"/>
                </a:lnTo>
                <a:lnTo>
                  <a:pt x="1362" y="1166"/>
                </a:lnTo>
                <a:lnTo>
                  <a:pt x="1362" y="1167"/>
                </a:lnTo>
                <a:lnTo>
                  <a:pt x="1362" y="1168"/>
                </a:lnTo>
                <a:lnTo>
                  <a:pt x="1362" y="1169"/>
                </a:lnTo>
                <a:lnTo>
                  <a:pt x="1362" y="1170"/>
                </a:lnTo>
                <a:lnTo>
                  <a:pt x="1357" y="1175"/>
                </a:lnTo>
                <a:lnTo>
                  <a:pt x="1353" y="1169"/>
                </a:lnTo>
                <a:lnTo>
                  <a:pt x="1350" y="1158"/>
                </a:lnTo>
                <a:lnTo>
                  <a:pt x="1345" y="1147"/>
                </a:lnTo>
                <a:lnTo>
                  <a:pt x="1332" y="1106"/>
                </a:lnTo>
                <a:lnTo>
                  <a:pt x="1321" y="1065"/>
                </a:lnTo>
                <a:lnTo>
                  <a:pt x="1314" y="1047"/>
                </a:lnTo>
                <a:lnTo>
                  <a:pt x="1308" y="1026"/>
                </a:lnTo>
                <a:lnTo>
                  <a:pt x="1296" y="988"/>
                </a:lnTo>
                <a:lnTo>
                  <a:pt x="1283" y="951"/>
                </a:lnTo>
                <a:lnTo>
                  <a:pt x="1281" y="942"/>
                </a:lnTo>
                <a:lnTo>
                  <a:pt x="1279" y="932"/>
                </a:lnTo>
                <a:lnTo>
                  <a:pt x="1279" y="928"/>
                </a:lnTo>
                <a:lnTo>
                  <a:pt x="1283" y="924"/>
                </a:lnTo>
                <a:lnTo>
                  <a:pt x="1286" y="927"/>
                </a:lnTo>
                <a:lnTo>
                  <a:pt x="1286" y="931"/>
                </a:lnTo>
                <a:lnTo>
                  <a:pt x="1286" y="935"/>
                </a:lnTo>
                <a:lnTo>
                  <a:pt x="1284" y="938"/>
                </a:lnTo>
                <a:lnTo>
                  <a:pt x="1291" y="962"/>
                </a:lnTo>
                <a:lnTo>
                  <a:pt x="1300" y="985"/>
                </a:lnTo>
                <a:lnTo>
                  <a:pt x="1304" y="973"/>
                </a:lnTo>
                <a:lnTo>
                  <a:pt x="1303" y="960"/>
                </a:lnTo>
                <a:lnTo>
                  <a:pt x="1300" y="951"/>
                </a:lnTo>
                <a:lnTo>
                  <a:pt x="1297" y="942"/>
                </a:lnTo>
                <a:lnTo>
                  <a:pt x="1294" y="931"/>
                </a:lnTo>
                <a:lnTo>
                  <a:pt x="1288" y="923"/>
                </a:lnTo>
                <a:lnTo>
                  <a:pt x="1283" y="917"/>
                </a:lnTo>
                <a:lnTo>
                  <a:pt x="1284" y="909"/>
                </a:lnTo>
                <a:lnTo>
                  <a:pt x="1284" y="904"/>
                </a:lnTo>
                <a:lnTo>
                  <a:pt x="1281" y="903"/>
                </a:lnTo>
                <a:lnTo>
                  <a:pt x="1279" y="902"/>
                </a:lnTo>
                <a:lnTo>
                  <a:pt x="1277" y="900"/>
                </a:lnTo>
                <a:lnTo>
                  <a:pt x="1279" y="889"/>
                </a:lnTo>
                <a:lnTo>
                  <a:pt x="1277" y="879"/>
                </a:lnTo>
                <a:lnTo>
                  <a:pt x="1276" y="873"/>
                </a:lnTo>
                <a:lnTo>
                  <a:pt x="1273" y="868"/>
                </a:lnTo>
                <a:lnTo>
                  <a:pt x="1270" y="855"/>
                </a:lnTo>
                <a:lnTo>
                  <a:pt x="1267" y="844"/>
                </a:lnTo>
                <a:lnTo>
                  <a:pt x="1264" y="843"/>
                </a:lnTo>
                <a:lnTo>
                  <a:pt x="1262" y="843"/>
                </a:lnTo>
                <a:lnTo>
                  <a:pt x="1254" y="839"/>
                </a:lnTo>
                <a:lnTo>
                  <a:pt x="1249" y="832"/>
                </a:lnTo>
                <a:lnTo>
                  <a:pt x="1248" y="833"/>
                </a:lnTo>
                <a:lnTo>
                  <a:pt x="1248" y="833"/>
                </a:lnTo>
                <a:lnTo>
                  <a:pt x="1248" y="833"/>
                </a:lnTo>
                <a:lnTo>
                  <a:pt x="1249" y="832"/>
                </a:lnTo>
                <a:lnTo>
                  <a:pt x="1249" y="830"/>
                </a:lnTo>
                <a:lnTo>
                  <a:pt x="1252" y="827"/>
                </a:lnTo>
                <a:lnTo>
                  <a:pt x="1256" y="830"/>
                </a:lnTo>
                <a:lnTo>
                  <a:pt x="1260" y="831"/>
                </a:lnTo>
                <a:lnTo>
                  <a:pt x="1260" y="837"/>
                </a:lnTo>
                <a:lnTo>
                  <a:pt x="1263" y="841"/>
                </a:lnTo>
                <a:lnTo>
                  <a:pt x="1268" y="840"/>
                </a:lnTo>
                <a:lnTo>
                  <a:pt x="1270" y="836"/>
                </a:lnTo>
                <a:lnTo>
                  <a:pt x="1272" y="834"/>
                </a:lnTo>
                <a:lnTo>
                  <a:pt x="1273" y="832"/>
                </a:lnTo>
                <a:lnTo>
                  <a:pt x="1272" y="829"/>
                </a:lnTo>
                <a:lnTo>
                  <a:pt x="1269" y="825"/>
                </a:lnTo>
                <a:lnTo>
                  <a:pt x="1269" y="822"/>
                </a:lnTo>
                <a:lnTo>
                  <a:pt x="1268" y="817"/>
                </a:lnTo>
                <a:lnTo>
                  <a:pt x="1268" y="815"/>
                </a:lnTo>
                <a:lnTo>
                  <a:pt x="1268" y="812"/>
                </a:lnTo>
                <a:lnTo>
                  <a:pt x="1268" y="812"/>
                </a:lnTo>
                <a:lnTo>
                  <a:pt x="1268" y="812"/>
                </a:lnTo>
                <a:lnTo>
                  <a:pt x="1268" y="811"/>
                </a:lnTo>
                <a:lnTo>
                  <a:pt x="1267" y="811"/>
                </a:lnTo>
                <a:lnTo>
                  <a:pt x="1260" y="809"/>
                </a:lnTo>
                <a:lnTo>
                  <a:pt x="1254" y="805"/>
                </a:lnTo>
                <a:lnTo>
                  <a:pt x="1253" y="805"/>
                </a:lnTo>
                <a:lnTo>
                  <a:pt x="1252" y="804"/>
                </a:lnTo>
                <a:lnTo>
                  <a:pt x="1252" y="803"/>
                </a:lnTo>
                <a:lnTo>
                  <a:pt x="1252" y="802"/>
                </a:lnTo>
                <a:lnTo>
                  <a:pt x="1248" y="802"/>
                </a:lnTo>
                <a:lnTo>
                  <a:pt x="1246" y="802"/>
                </a:lnTo>
                <a:lnTo>
                  <a:pt x="1248" y="802"/>
                </a:lnTo>
                <a:lnTo>
                  <a:pt x="1252" y="802"/>
                </a:lnTo>
                <a:lnTo>
                  <a:pt x="1255" y="802"/>
                </a:lnTo>
                <a:lnTo>
                  <a:pt x="1256" y="799"/>
                </a:lnTo>
                <a:lnTo>
                  <a:pt x="1256" y="797"/>
                </a:lnTo>
                <a:lnTo>
                  <a:pt x="1254" y="795"/>
                </a:lnTo>
                <a:lnTo>
                  <a:pt x="1248" y="792"/>
                </a:lnTo>
                <a:lnTo>
                  <a:pt x="1243" y="788"/>
                </a:lnTo>
                <a:lnTo>
                  <a:pt x="1243" y="787"/>
                </a:lnTo>
                <a:lnTo>
                  <a:pt x="1243" y="785"/>
                </a:lnTo>
                <a:lnTo>
                  <a:pt x="1246" y="784"/>
                </a:lnTo>
                <a:lnTo>
                  <a:pt x="1247" y="783"/>
                </a:lnTo>
                <a:lnTo>
                  <a:pt x="1247" y="782"/>
                </a:lnTo>
                <a:lnTo>
                  <a:pt x="1247" y="782"/>
                </a:lnTo>
                <a:lnTo>
                  <a:pt x="1247" y="782"/>
                </a:lnTo>
                <a:lnTo>
                  <a:pt x="1247" y="783"/>
                </a:lnTo>
                <a:lnTo>
                  <a:pt x="1253" y="787"/>
                </a:lnTo>
                <a:lnTo>
                  <a:pt x="1257" y="790"/>
                </a:lnTo>
                <a:lnTo>
                  <a:pt x="1259" y="791"/>
                </a:lnTo>
                <a:lnTo>
                  <a:pt x="1261" y="790"/>
                </a:lnTo>
                <a:lnTo>
                  <a:pt x="1261" y="789"/>
                </a:lnTo>
                <a:lnTo>
                  <a:pt x="1261" y="787"/>
                </a:lnTo>
                <a:lnTo>
                  <a:pt x="1254" y="776"/>
                </a:lnTo>
                <a:lnTo>
                  <a:pt x="1242" y="770"/>
                </a:lnTo>
                <a:lnTo>
                  <a:pt x="1242" y="770"/>
                </a:lnTo>
                <a:lnTo>
                  <a:pt x="1241" y="766"/>
                </a:lnTo>
                <a:lnTo>
                  <a:pt x="1242" y="762"/>
                </a:lnTo>
                <a:lnTo>
                  <a:pt x="1247" y="764"/>
                </a:lnTo>
                <a:lnTo>
                  <a:pt x="1252" y="766"/>
                </a:lnTo>
                <a:lnTo>
                  <a:pt x="1252" y="759"/>
                </a:lnTo>
                <a:lnTo>
                  <a:pt x="1246" y="755"/>
                </a:lnTo>
                <a:lnTo>
                  <a:pt x="1241" y="752"/>
                </a:lnTo>
                <a:lnTo>
                  <a:pt x="1240" y="746"/>
                </a:lnTo>
                <a:lnTo>
                  <a:pt x="1235" y="747"/>
                </a:lnTo>
                <a:lnTo>
                  <a:pt x="1231" y="749"/>
                </a:lnTo>
                <a:lnTo>
                  <a:pt x="1229" y="752"/>
                </a:lnTo>
                <a:lnTo>
                  <a:pt x="1227" y="754"/>
                </a:lnTo>
                <a:lnTo>
                  <a:pt x="1229" y="752"/>
                </a:lnTo>
                <a:lnTo>
                  <a:pt x="1231" y="749"/>
                </a:lnTo>
                <a:lnTo>
                  <a:pt x="1231" y="745"/>
                </a:lnTo>
                <a:lnTo>
                  <a:pt x="1235" y="742"/>
                </a:lnTo>
                <a:lnTo>
                  <a:pt x="1239" y="742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6" y="748"/>
                </a:lnTo>
                <a:lnTo>
                  <a:pt x="1250" y="750"/>
                </a:lnTo>
                <a:lnTo>
                  <a:pt x="1255" y="753"/>
                </a:lnTo>
                <a:lnTo>
                  <a:pt x="1257" y="748"/>
                </a:lnTo>
                <a:lnTo>
                  <a:pt x="1256" y="739"/>
                </a:lnTo>
                <a:lnTo>
                  <a:pt x="1250" y="731"/>
                </a:lnTo>
                <a:lnTo>
                  <a:pt x="1255" y="726"/>
                </a:lnTo>
                <a:lnTo>
                  <a:pt x="1260" y="721"/>
                </a:lnTo>
                <a:lnTo>
                  <a:pt x="1253" y="721"/>
                </a:lnTo>
                <a:lnTo>
                  <a:pt x="1247" y="722"/>
                </a:lnTo>
                <a:lnTo>
                  <a:pt x="1242" y="721"/>
                </a:lnTo>
                <a:lnTo>
                  <a:pt x="1242" y="726"/>
                </a:lnTo>
                <a:lnTo>
                  <a:pt x="1235" y="727"/>
                </a:lnTo>
                <a:lnTo>
                  <a:pt x="1229" y="728"/>
                </a:lnTo>
                <a:lnTo>
                  <a:pt x="1227" y="728"/>
                </a:lnTo>
                <a:lnTo>
                  <a:pt x="1225" y="728"/>
                </a:lnTo>
                <a:lnTo>
                  <a:pt x="1222" y="726"/>
                </a:lnTo>
                <a:lnTo>
                  <a:pt x="1222" y="724"/>
                </a:lnTo>
                <a:lnTo>
                  <a:pt x="1222" y="721"/>
                </a:lnTo>
                <a:lnTo>
                  <a:pt x="1224" y="721"/>
                </a:lnTo>
                <a:lnTo>
                  <a:pt x="1228" y="724"/>
                </a:lnTo>
                <a:lnTo>
                  <a:pt x="1231" y="719"/>
                </a:lnTo>
                <a:lnTo>
                  <a:pt x="1232" y="719"/>
                </a:lnTo>
                <a:lnTo>
                  <a:pt x="1233" y="719"/>
                </a:lnTo>
                <a:lnTo>
                  <a:pt x="1236" y="718"/>
                </a:lnTo>
                <a:lnTo>
                  <a:pt x="1239" y="715"/>
                </a:lnTo>
                <a:lnTo>
                  <a:pt x="1241" y="714"/>
                </a:lnTo>
                <a:lnTo>
                  <a:pt x="1241" y="711"/>
                </a:lnTo>
                <a:lnTo>
                  <a:pt x="1240" y="708"/>
                </a:lnTo>
                <a:lnTo>
                  <a:pt x="1239" y="707"/>
                </a:lnTo>
                <a:lnTo>
                  <a:pt x="1235" y="707"/>
                </a:lnTo>
                <a:lnTo>
                  <a:pt x="1234" y="711"/>
                </a:lnTo>
                <a:lnTo>
                  <a:pt x="1232" y="714"/>
                </a:lnTo>
                <a:lnTo>
                  <a:pt x="1228" y="715"/>
                </a:lnTo>
                <a:lnTo>
                  <a:pt x="1220" y="715"/>
                </a:lnTo>
                <a:lnTo>
                  <a:pt x="1217" y="724"/>
                </a:lnTo>
                <a:lnTo>
                  <a:pt x="1210" y="731"/>
                </a:lnTo>
                <a:lnTo>
                  <a:pt x="1212" y="742"/>
                </a:lnTo>
                <a:lnTo>
                  <a:pt x="1213" y="743"/>
                </a:lnTo>
                <a:lnTo>
                  <a:pt x="1213" y="745"/>
                </a:lnTo>
                <a:lnTo>
                  <a:pt x="1213" y="749"/>
                </a:lnTo>
                <a:lnTo>
                  <a:pt x="1218" y="753"/>
                </a:lnTo>
                <a:lnTo>
                  <a:pt x="1219" y="755"/>
                </a:lnTo>
                <a:lnTo>
                  <a:pt x="1221" y="756"/>
                </a:lnTo>
                <a:lnTo>
                  <a:pt x="1225" y="763"/>
                </a:lnTo>
                <a:lnTo>
                  <a:pt x="1225" y="771"/>
                </a:lnTo>
                <a:lnTo>
                  <a:pt x="1225" y="773"/>
                </a:lnTo>
                <a:lnTo>
                  <a:pt x="1225" y="774"/>
                </a:lnTo>
                <a:lnTo>
                  <a:pt x="1222" y="777"/>
                </a:lnTo>
                <a:lnTo>
                  <a:pt x="1221" y="781"/>
                </a:lnTo>
                <a:lnTo>
                  <a:pt x="1214" y="783"/>
                </a:lnTo>
                <a:lnTo>
                  <a:pt x="1207" y="782"/>
                </a:lnTo>
                <a:lnTo>
                  <a:pt x="1207" y="781"/>
                </a:lnTo>
                <a:lnTo>
                  <a:pt x="1206" y="781"/>
                </a:lnTo>
                <a:lnTo>
                  <a:pt x="1206" y="780"/>
                </a:lnTo>
                <a:lnTo>
                  <a:pt x="1206" y="777"/>
                </a:lnTo>
                <a:lnTo>
                  <a:pt x="1201" y="767"/>
                </a:lnTo>
                <a:lnTo>
                  <a:pt x="1197" y="755"/>
                </a:lnTo>
                <a:lnTo>
                  <a:pt x="1192" y="739"/>
                </a:lnTo>
                <a:lnTo>
                  <a:pt x="1187" y="721"/>
                </a:lnTo>
                <a:lnTo>
                  <a:pt x="1187" y="711"/>
                </a:lnTo>
                <a:lnTo>
                  <a:pt x="1188" y="700"/>
                </a:lnTo>
                <a:lnTo>
                  <a:pt x="1194" y="684"/>
                </a:lnTo>
                <a:lnTo>
                  <a:pt x="1201" y="666"/>
                </a:lnTo>
                <a:lnTo>
                  <a:pt x="1201" y="663"/>
                </a:lnTo>
                <a:lnTo>
                  <a:pt x="1200" y="661"/>
                </a:lnTo>
                <a:lnTo>
                  <a:pt x="1198" y="661"/>
                </a:lnTo>
                <a:lnTo>
                  <a:pt x="1196" y="663"/>
                </a:lnTo>
                <a:lnTo>
                  <a:pt x="1191" y="669"/>
                </a:lnTo>
                <a:lnTo>
                  <a:pt x="1186" y="673"/>
                </a:lnTo>
                <a:lnTo>
                  <a:pt x="1185" y="675"/>
                </a:lnTo>
                <a:lnTo>
                  <a:pt x="1184" y="673"/>
                </a:lnTo>
                <a:lnTo>
                  <a:pt x="1185" y="673"/>
                </a:lnTo>
                <a:lnTo>
                  <a:pt x="1185" y="672"/>
                </a:lnTo>
                <a:lnTo>
                  <a:pt x="1188" y="661"/>
                </a:lnTo>
                <a:lnTo>
                  <a:pt x="1197" y="652"/>
                </a:lnTo>
                <a:lnTo>
                  <a:pt x="1203" y="647"/>
                </a:lnTo>
                <a:lnTo>
                  <a:pt x="1206" y="641"/>
                </a:lnTo>
                <a:lnTo>
                  <a:pt x="1206" y="637"/>
                </a:lnTo>
                <a:lnTo>
                  <a:pt x="1205" y="635"/>
                </a:lnTo>
                <a:lnTo>
                  <a:pt x="1197" y="630"/>
                </a:lnTo>
                <a:lnTo>
                  <a:pt x="1186" y="631"/>
                </a:lnTo>
                <a:lnTo>
                  <a:pt x="1185" y="633"/>
                </a:lnTo>
                <a:lnTo>
                  <a:pt x="1183" y="631"/>
                </a:lnTo>
                <a:lnTo>
                  <a:pt x="1179" y="630"/>
                </a:lnTo>
                <a:lnTo>
                  <a:pt x="1177" y="633"/>
                </a:lnTo>
                <a:lnTo>
                  <a:pt x="1177" y="635"/>
                </a:lnTo>
                <a:lnTo>
                  <a:pt x="1179" y="637"/>
                </a:lnTo>
                <a:lnTo>
                  <a:pt x="1181" y="638"/>
                </a:lnTo>
                <a:lnTo>
                  <a:pt x="1180" y="642"/>
                </a:lnTo>
                <a:lnTo>
                  <a:pt x="1176" y="649"/>
                </a:lnTo>
                <a:lnTo>
                  <a:pt x="1171" y="657"/>
                </a:lnTo>
                <a:lnTo>
                  <a:pt x="1169" y="658"/>
                </a:lnTo>
                <a:lnTo>
                  <a:pt x="1166" y="658"/>
                </a:lnTo>
                <a:lnTo>
                  <a:pt x="1165" y="657"/>
                </a:lnTo>
                <a:lnTo>
                  <a:pt x="1164" y="655"/>
                </a:lnTo>
                <a:lnTo>
                  <a:pt x="1165" y="650"/>
                </a:lnTo>
                <a:lnTo>
                  <a:pt x="1165" y="645"/>
                </a:lnTo>
                <a:lnTo>
                  <a:pt x="1160" y="627"/>
                </a:lnTo>
                <a:lnTo>
                  <a:pt x="1152" y="609"/>
                </a:lnTo>
                <a:lnTo>
                  <a:pt x="1152" y="600"/>
                </a:lnTo>
                <a:lnTo>
                  <a:pt x="1151" y="591"/>
                </a:lnTo>
                <a:lnTo>
                  <a:pt x="1150" y="581"/>
                </a:lnTo>
                <a:lnTo>
                  <a:pt x="1151" y="571"/>
                </a:lnTo>
                <a:lnTo>
                  <a:pt x="1151" y="571"/>
                </a:lnTo>
                <a:lnTo>
                  <a:pt x="1156" y="564"/>
                </a:lnTo>
                <a:lnTo>
                  <a:pt x="1153" y="557"/>
                </a:lnTo>
                <a:lnTo>
                  <a:pt x="1151" y="549"/>
                </a:lnTo>
                <a:lnTo>
                  <a:pt x="1150" y="540"/>
                </a:lnTo>
                <a:lnTo>
                  <a:pt x="1150" y="538"/>
                </a:lnTo>
                <a:lnTo>
                  <a:pt x="1149" y="537"/>
                </a:lnTo>
                <a:lnTo>
                  <a:pt x="1149" y="537"/>
                </a:lnTo>
                <a:lnTo>
                  <a:pt x="1148" y="537"/>
                </a:lnTo>
                <a:lnTo>
                  <a:pt x="1148" y="536"/>
                </a:lnTo>
                <a:lnTo>
                  <a:pt x="1144" y="521"/>
                </a:lnTo>
                <a:lnTo>
                  <a:pt x="1138" y="507"/>
                </a:lnTo>
                <a:lnTo>
                  <a:pt x="1134" y="504"/>
                </a:lnTo>
                <a:lnTo>
                  <a:pt x="1131" y="507"/>
                </a:lnTo>
                <a:lnTo>
                  <a:pt x="1128" y="515"/>
                </a:lnTo>
                <a:lnTo>
                  <a:pt x="1128" y="523"/>
                </a:lnTo>
                <a:lnTo>
                  <a:pt x="1128" y="528"/>
                </a:lnTo>
                <a:lnTo>
                  <a:pt x="1121" y="529"/>
                </a:lnTo>
                <a:lnTo>
                  <a:pt x="1118" y="524"/>
                </a:lnTo>
                <a:lnTo>
                  <a:pt x="1116" y="521"/>
                </a:lnTo>
                <a:lnTo>
                  <a:pt x="1112" y="521"/>
                </a:lnTo>
                <a:lnTo>
                  <a:pt x="1109" y="521"/>
                </a:lnTo>
                <a:lnTo>
                  <a:pt x="1107" y="521"/>
                </a:lnTo>
                <a:lnTo>
                  <a:pt x="1103" y="519"/>
                </a:lnTo>
                <a:lnTo>
                  <a:pt x="1096" y="518"/>
                </a:lnTo>
                <a:lnTo>
                  <a:pt x="1094" y="525"/>
                </a:lnTo>
                <a:lnTo>
                  <a:pt x="1093" y="529"/>
                </a:lnTo>
                <a:lnTo>
                  <a:pt x="1090" y="533"/>
                </a:lnTo>
                <a:lnTo>
                  <a:pt x="1090" y="535"/>
                </a:lnTo>
                <a:lnTo>
                  <a:pt x="1090" y="536"/>
                </a:lnTo>
                <a:lnTo>
                  <a:pt x="1090" y="535"/>
                </a:lnTo>
                <a:lnTo>
                  <a:pt x="1090" y="533"/>
                </a:lnTo>
                <a:lnTo>
                  <a:pt x="1089" y="532"/>
                </a:lnTo>
                <a:lnTo>
                  <a:pt x="1089" y="532"/>
                </a:lnTo>
                <a:lnTo>
                  <a:pt x="1087" y="530"/>
                </a:lnTo>
                <a:lnTo>
                  <a:pt x="1083" y="530"/>
                </a:lnTo>
                <a:lnTo>
                  <a:pt x="1081" y="531"/>
                </a:lnTo>
                <a:lnTo>
                  <a:pt x="1077" y="532"/>
                </a:lnTo>
                <a:lnTo>
                  <a:pt x="1081" y="531"/>
                </a:lnTo>
                <a:lnTo>
                  <a:pt x="1083" y="530"/>
                </a:lnTo>
                <a:lnTo>
                  <a:pt x="1081" y="525"/>
                </a:lnTo>
                <a:lnTo>
                  <a:pt x="1084" y="522"/>
                </a:lnTo>
                <a:lnTo>
                  <a:pt x="1088" y="521"/>
                </a:lnTo>
                <a:lnTo>
                  <a:pt x="1091" y="516"/>
                </a:lnTo>
                <a:lnTo>
                  <a:pt x="1083" y="517"/>
                </a:lnTo>
                <a:lnTo>
                  <a:pt x="1083" y="510"/>
                </a:lnTo>
                <a:lnTo>
                  <a:pt x="1093" y="507"/>
                </a:lnTo>
                <a:lnTo>
                  <a:pt x="1102" y="505"/>
                </a:lnTo>
                <a:lnTo>
                  <a:pt x="1103" y="512"/>
                </a:lnTo>
                <a:lnTo>
                  <a:pt x="1103" y="519"/>
                </a:lnTo>
                <a:lnTo>
                  <a:pt x="1107" y="521"/>
                </a:lnTo>
                <a:lnTo>
                  <a:pt x="1109" y="521"/>
                </a:lnTo>
                <a:lnTo>
                  <a:pt x="1112" y="521"/>
                </a:lnTo>
                <a:lnTo>
                  <a:pt x="1116" y="521"/>
                </a:lnTo>
                <a:lnTo>
                  <a:pt x="1115" y="515"/>
                </a:lnTo>
                <a:lnTo>
                  <a:pt x="1116" y="509"/>
                </a:lnTo>
                <a:lnTo>
                  <a:pt x="1117" y="508"/>
                </a:lnTo>
                <a:lnTo>
                  <a:pt x="1116" y="507"/>
                </a:lnTo>
                <a:lnTo>
                  <a:pt x="1110" y="496"/>
                </a:lnTo>
                <a:lnTo>
                  <a:pt x="1111" y="484"/>
                </a:lnTo>
                <a:lnTo>
                  <a:pt x="1110" y="481"/>
                </a:lnTo>
                <a:lnTo>
                  <a:pt x="1107" y="480"/>
                </a:lnTo>
                <a:lnTo>
                  <a:pt x="1102" y="481"/>
                </a:lnTo>
                <a:lnTo>
                  <a:pt x="1101" y="485"/>
                </a:lnTo>
                <a:lnTo>
                  <a:pt x="1102" y="494"/>
                </a:lnTo>
                <a:lnTo>
                  <a:pt x="1100" y="501"/>
                </a:lnTo>
                <a:lnTo>
                  <a:pt x="1097" y="502"/>
                </a:lnTo>
                <a:lnTo>
                  <a:pt x="1094" y="503"/>
                </a:lnTo>
                <a:lnTo>
                  <a:pt x="1084" y="507"/>
                </a:lnTo>
                <a:lnTo>
                  <a:pt x="1074" y="505"/>
                </a:lnTo>
                <a:lnTo>
                  <a:pt x="1076" y="504"/>
                </a:lnTo>
                <a:lnTo>
                  <a:pt x="1077" y="502"/>
                </a:lnTo>
                <a:lnTo>
                  <a:pt x="1081" y="497"/>
                </a:lnTo>
                <a:lnTo>
                  <a:pt x="1083" y="490"/>
                </a:lnTo>
                <a:lnTo>
                  <a:pt x="1080" y="493"/>
                </a:lnTo>
                <a:lnTo>
                  <a:pt x="1077" y="497"/>
                </a:lnTo>
                <a:lnTo>
                  <a:pt x="1073" y="495"/>
                </a:lnTo>
                <a:lnTo>
                  <a:pt x="1075" y="491"/>
                </a:lnTo>
                <a:lnTo>
                  <a:pt x="1076" y="488"/>
                </a:lnTo>
                <a:lnTo>
                  <a:pt x="1075" y="485"/>
                </a:lnTo>
                <a:lnTo>
                  <a:pt x="1073" y="484"/>
                </a:lnTo>
                <a:lnTo>
                  <a:pt x="1070" y="485"/>
                </a:lnTo>
                <a:lnTo>
                  <a:pt x="1069" y="488"/>
                </a:lnTo>
                <a:lnTo>
                  <a:pt x="1070" y="490"/>
                </a:lnTo>
                <a:lnTo>
                  <a:pt x="1073" y="501"/>
                </a:lnTo>
                <a:lnTo>
                  <a:pt x="1068" y="510"/>
                </a:lnTo>
                <a:lnTo>
                  <a:pt x="1062" y="511"/>
                </a:lnTo>
                <a:lnTo>
                  <a:pt x="1056" y="512"/>
                </a:lnTo>
                <a:lnTo>
                  <a:pt x="1054" y="507"/>
                </a:lnTo>
                <a:lnTo>
                  <a:pt x="1060" y="502"/>
                </a:lnTo>
                <a:lnTo>
                  <a:pt x="1048" y="503"/>
                </a:lnTo>
                <a:lnTo>
                  <a:pt x="1049" y="514"/>
                </a:lnTo>
                <a:lnTo>
                  <a:pt x="1049" y="514"/>
                </a:lnTo>
                <a:lnTo>
                  <a:pt x="1049" y="515"/>
                </a:lnTo>
                <a:lnTo>
                  <a:pt x="1043" y="516"/>
                </a:lnTo>
                <a:lnTo>
                  <a:pt x="1038" y="517"/>
                </a:lnTo>
                <a:lnTo>
                  <a:pt x="1035" y="515"/>
                </a:lnTo>
                <a:lnTo>
                  <a:pt x="1035" y="512"/>
                </a:lnTo>
                <a:lnTo>
                  <a:pt x="1031" y="509"/>
                </a:lnTo>
                <a:lnTo>
                  <a:pt x="1028" y="505"/>
                </a:lnTo>
                <a:lnTo>
                  <a:pt x="1032" y="500"/>
                </a:lnTo>
                <a:lnTo>
                  <a:pt x="1038" y="495"/>
                </a:lnTo>
                <a:lnTo>
                  <a:pt x="1036" y="488"/>
                </a:lnTo>
                <a:lnTo>
                  <a:pt x="1033" y="481"/>
                </a:lnTo>
                <a:lnTo>
                  <a:pt x="1033" y="485"/>
                </a:lnTo>
                <a:lnTo>
                  <a:pt x="1029" y="488"/>
                </a:lnTo>
                <a:lnTo>
                  <a:pt x="1027" y="489"/>
                </a:lnTo>
                <a:lnTo>
                  <a:pt x="1027" y="491"/>
                </a:lnTo>
                <a:lnTo>
                  <a:pt x="1022" y="488"/>
                </a:lnTo>
                <a:lnTo>
                  <a:pt x="1017" y="488"/>
                </a:lnTo>
                <a:lnTo>
                  <a:pt x="1015" y="480"/>
                </a:lnTo>
                <a:lnTo>
                  <a:pt x="1012" y="470"/>
                </a:lnTo>
                <a:lnTo>
                  <a:pt x="1014" y="460"/>
                </a:lnTo>
                <a:lnTo>
                  <a:pt x="1011" y="448"/>
                </a:lnTo>
                <a:lnTo>
                  <a:pt x="1008" y="442"/>
                </a:lnTo>
                <a:lnTo>
                  <a:pt x="1001" y="439"/>
                </a:lnTo>
                <a:lnTo>
                  <a:pt x="1001" y="439"/>
                </a:lnTo>
                <a:lnTo>
                  <a:pt x="1001" y="439"/>
                </a:lnTo>
                <a:lnTo>
                  <a:pt x="1001" y="439"/>
                </a:lnTo>
                <a:lnTo>
                  <a:pt x="1001" y="439"/>
                </a:lnTo>
                <a:lnTo>
                  <a:pt x="999" y="431"/>
                </a:lnTo>
                <a:lnTo>
                  <a:pt x="997" y="424"/>
                </a:lnTo>
                <a:lnTo>
                  <a:pt x="997" y="421"/>
                </a:lnTo>
                <a:lnTo>
                  <a:pt x="997" y="419"/>
                </a:lnTo>
                <a:lnTo>
                  <a:pt x="997" y="419"/>
                </a:lnTo>
                <a:lnTo>
                  <a:pt x="998" y="418"/>
                </a:lnTo>
                <a:lnTo>
                  <a:pt x="1000" y="413"/>
                </a:lnTo>
                <a:lnTo>
                  <a:pt x="997" y="410"/>
                </a:lnTo>
                <a:lnTo>
                  <a:pt x="997" y="408"/>
                </a:lnTo>
                <a:lnTo>
                  <a:pt x="997" y="408"/>
                </a:lnTo>
                <a:lnTo>
                  <a:pt x="997" y="403"/>
                </a:lnTo>
                <a:lnTo>
                  <a:pt x="993" y="399"/>
                </a:lnTo>
                <a:lnTo>
                  <a:pt x="993" y="398"/>
                </a:lnTo>
                <a:lnTo>
                  <a:pt x="993" y="398"/>
                </a:lnTo>
                <a:lnTo>
                  <a:pt x="993" y="397"/>
                </a:lnTo>
                <a:lnTo>
                  <a:pt x="992" y="396"/>
                </a:lnTo>
                <a:lnTo>
                  <a:pt x="992" y="394"/>
                </a:lnTo>
                <a:lnTo>
                  <a:pt x="992" y="393"/>
                </a:lnTo>
                <a:lnTo>
                  <a:pt x="986" y="396"/>
                </a:lnTo>
                <a:lnTo>
                  <a:pt x="983" y="399"/>
                </a:lnTo>
                <a:lnTo>
                  <a:pt x="986" y="396"/>
                </a:lnTo>
                <a:lnTo>
                  <a:pt x="992" y="393"/>
                </a:lnTo>
                <a:lnTo>
                  <a:pt x="990" y="391"/>
                </a:lnTo>
                <a:lnTo>
                  <a:pt x="986" y="391"/>
                </a:lnTo>
                <a:lnTo>
                  <a:pt x="983" y="384"/>
                </a:lnTo>
                <a:lnTo>
                  <a:pt x="982" y="376"/>
                </a:lnTo>
                <a:lnTo>
                  <a:pt x="982" y="366"/>
                </a:lnTo>
                <a:lnTo>
                  <a:pt x="982" y="357"/>
                </a:lnTo>
                <a:lnTo>
                  <a:pt x="980" y="355"/>
                </a:lnTo>
                <a:lnTo>
                  <a:pt x="978" y="354"/>
                </a:lnTo>
                <a:lnTo>
                  <a:pt x="965" y="358"/>
                </a:lnTo>
                <a:lnTo>
                  <a:pt x="959" y="370"/>
                </a:lnTo>
                <a:lnTo>
                  <a:pt x="957" y="372"/>
                </a:lnTo>
                <a:lnTo>
                  <a:pt x="955" y="373"/>
                </a:lnTo>
                <a:lnTo>
                  <a:pt x="957" y="377"/>
                </a:lnTo>
                <a:lnTo>
                  <a:pt x="960" y="378"/>
                </a:lnTo>
                <a:lnTo>
                  <a:pt x="962" y="378"/>
                </a:lnTo>
                <a:lnTo>
                  <a:pt x="964" y="379"/>
                </a:lnTo>
                <a:lnTo>
                  <a:pt x="964" y="380"/>
                </a:lnTo>
                <a:lnTo>
                  <a:pt x="964" y="382"/>
                </a:lnTo>
                <a:lnTo>
                  <a:pt x="966" y="383"/>
                </a:lnTo>
                <a:lnTo>
                  <a:pt x="967" y="384"/>
                </a:lnTo>
                <a:lnTo>
                  <a:pt x="962" y="385"/>
                </a:lnTo>
                <a:lnTo>
                  <a:pt x="962" y="391"/>
                </a:lnTo>
                <a:lnTo>
                  <a:pt x="962" y="400"/>
                </a:lnTo>
                <a:lnTo>
                  <a:pt x="962" y="410"/>
                </a:lnTo>
                <a:lnTo>
                  <a:pt x="962" y="413"/>
                </a:lnTo>
                <a:lnTo>
                  <a:pt x="958" y="415"/>
                </a:lnTo>
                <a:lnTo>
                  <a:pt x="952" y="415"/>
                </a:lnTo>
                <a:lnTo>
                  <a:pt x="948" y="413"/>
                </a:lnTo>
                <a:lnTo>
                  <a:pt x="945" y="412"/>
                </a:lnTo>
                <a:lnTo>
                  <a:pt x="944" y="413"/>
                </a:lnTo>
                <a:lnTo>
                  <a:pt x="938" y="420"/>
                </a:lnTo>
                <a:lnTo>
                  <a:pt x="930" y="422"/>
                </a:lnTo>
                <a:lnTo>
                  <a:pt x="925" y="422"/>
                </a:lnTo>
                <a:lnTo>
                  <a:pt x="923" y="418"/>
                </a:lnTo>
                <a:lnTo>
                  <a:pt x="923" y="417"/>
                </a:lnTo>
                <a:lnTo>
                  <a:pt x="923" y="415"/>
                </a:lnTo>
                <a:lnTo>
                  <a:pt x="924" y="410"/>
                </a:lnTo>
                <a:lnTo>
                  <a:pt x="925" y="405"/>
                </a:lnTo>
                <a:lnTo>
                  <a:pt x="925" y="403"/>
                </a:lnTo>
                <a:lnTo>
                  <a:pt x="924" y="399"/>
                </a:lnTo>
                <a:lnTo>
                  <a:pt x="918" y="398"/>
                </a:lnTo>
                <a:lnTo>
                  <a:pt x="913" y="394"/>
                </a:lnTo>
                <a:lnTo>
                  <a:pt x="913" y="394"/>
                </a:lnTo>
                <a:lnTo>
                  <a:pt x="910" y="392"/>
                </a:lnTo>
                <a:lnTo>
                  <a:pt x="909" y="390"/>
                </a:lnTo>
                <a:lnTo>
                  <a:pt x="910" y="387"/>
                </a:lnTo>
                <a:lnTo>
                  <a:pt x="910" y="386"/>
                </a:lnTo>
                <a:lnTo>
                  <a:pt x="909" y="385"/>
                </a:lnTo>
                <a:lnTo>
                  <a:pt x="908" y="386"/>
                </a:lnTo>
                <a:lnTo>
                  <a:pt x="907" y="385"/>
                </a:lnTo>
                <a:lnTo>
                  <a:pt x="907" y="385"/>
                </a:lnTo>
                <a:lnTo>
                  <a:pt x="910" y="379"/>
                </a:lnTo>
                <a:lnTo>
                  <a:pt x="917" y="378"/>
                </a:lnTo>
                <a:lnTo>
                  <a:pt x="920" y="379"/>
                </a:lnTo>
                <a:lnTo>
                  <a:pt x="920" y="383"/>
                </a:lnTo>
                <a:lnTo>
                  <a:pt x="920" y="384"/>
                </a:lnTo>
                <a:lnTo>
                  <a:pt x="921" y="384"/>
                </a:lnTo>
                <a:lnTo>
                  <a:pt x="923" y="384"/>
                </a:lnTo>
                <a:lnTo>
                  <a:pt x="923" y="383"/>
                </a:lnTo>
                <a:lnTo>
                  <a:pt x="924" y="373"/>
                </a:lnTo>
                <a:lnTo>
                  <a:pt x="921" y="364"/>
                </a:lnTo>
                <a:lnTo>
                  <a:pt x="921" y="364"/>
                </a:lnTo>
                <a:lnTo>
                  <a:pt x="921" y="359"/>
                </a:lnTo>
                <a:lnTo>
                  <a:pt x="920" y="356"/>
                </a:lnTo>
                <a:lnTo>
                  <a:pt x="921" y="350"/>
                </a:lnTo>
                <a:lnTo>
                  <a:pt x="924" y="345"/>
                </a:lnTo>
                <a:lnTo>
                  <a:pt x="927" y="345"/>
                </a:lnTo>
                <a:lnTo>
                  <a:pt x="928" y="348"/>
                </a:lnTo>
                <a:lnTo>
                  <a:pt x="930" y="351"/>
                </a:lnTo>
                <a:lnTo>
                  <a:pt x="934" y="354"/>
                </a:lnTo>
                <a:lnTo>
                  <a:pt x="936" y="354"/>
                </a:lnTo>
                <a:lnTo>
                  <a:pt x="936" y="351"/>
                </a:lnTo>
                <a:lnTo>
                  <a:pt x="936" y="349"/>
                </a:lnTo>
                <a:lnTo>
                  <a:pt x="936" y="347"/>
                </a:lnTo>
                <a:lnTo>
                  <a:pt x="939" y="348"/>
                </a:lnTo>
                <a:lnTo>
                  <a:pt x="944" y="349"/>
                </a:lnTo>
                <a:lnTo>
                  <a:pt x="944" y="349"/>
                </a:lnTo>
                <a:lnTo>
                  <a:pt x="944" y="349"/>
                </a:lnTo>
                <a:lnTo>
                  <a:pt x="944" y="349"/>
                </a:lnTo>
                <a:lnTo>
                  <a:pt x="944" y="354"/>
                </a:lnTo>
                <a:lnTo>
                  <a:pt x="945" y="357"/>
                </a:lnTo>
                <a:lnTo>
                  <a:pt x="946" y="358"/>
                </a:lnTo>
                <a:lnTo>
                  <a:pt x="949" y="357"/>
                </a:lnTo>
                <a:lnTo>
                  <a:pt x="949" y="351"/>
                </a:lnTo>
                <a:lnTo>
                  <a:pt x="944" y="349"/>
                </a:lnTo>
                <a:lnTo>
                  <a:pt x="945" y="348"/>
                </a:lnTo>
                <a:lnTo>
                  <a:pt x="945" y="347"/>
                </a:lnTo>
                <a:lnTo>
                  <a:pt x="944" y="335"/>
                </a:lnTo>
                <a:lnTo>
                  <a:pt x="949" y="323"/>
                </a:lnTo>
                <a:lnTo>
                  <a:pt x="949" y="320"/>
                </a:lnTo>
                <a:lnTo>
                  <a:pt x="945" y="317"/>
                </a:lnTo>
                <a:lnTo>
                  <a:pt x="951" y="312"/>
                </a:lnTo>
                <a:lnTo>
                  <a:pt x="959" y="309"/>
                </a:lnTo>
                <a:lnTo>
                  <a:pt x="960" y="303"/>
                </a:lnTo>
                <a:lnTo>
                  <a:pt x="958" y="299"/>
                </a:lnTo>
                <a:lnTo>
                  <a:pt x="952" y="292"/>
                </a:lnTo>
                <a:lnTo>
                  <a:pt x="952" y="282"/>
                </a:lnTo>
                <a:lnTo>
                  <a:pt x="951" y="279"/>
                </a:lnTo>
                <a:lnTo>
                  <a:pt x="949" y="278"/>
                </a:lnTo>
                <a:lnTo>
                  <a:pt x="946" y="280"/>
                </a:lnTo>
                <a:lnTo>
                  <a:pt x="946" y="282"/>
                </a:lnTo>
                <a:lnTo>
                  <a:pt x="948" y="287"/>
                </a:lnTo>
                <a:lnTo>
                  <a:pt x="944" y="291"/>
                </a:lnTo>
                <a:lnTo>
                  <a:pt x="937" y="292"/>
                </a:lnTo>
                <a:lnTo>
                  <a:pt x="931" y="294"/>
                </a:lnTo>
                <a:lnTo>
                  <a:pt x="928" y="296"/>
                </a:lnTo>
                <a:lnTo>
                  <a:pt x="924" y="295"/>
                </a:lnTo>
                <a:lnTo>
                  <a:pt x="922" y="292"/>
                </a:lnTo>
                <a:lnTo>
                  <a:pt x="923" y="288"/>
                </a:lnTo>
                <a:lnTo>
                  <a:pt x="924" y="286"/>
                </a:lnTo>
                <a:lnTo>
                  <a:pt x="922" y="285"/>
                </a:lnTo>
                <a:lnTo>
                  <a:pt x="921" y="289"/>
                </a:lnTo>
                <a:lnTo>
                  <a:pt x="920" y="294"/>
                </a:lnTo>
                <a:lnTo>
                  <a:pt x="915" y="296"/>
                </a:lnTo>
                <a:lnTo>
                  <a:pt x="910" y="293"/>
                </a:lnTo>
                <a:lnTo>
                  <a:pt x="910" y="292"/>
                </a:lnTo>
                <a:lnTo>
                  <a:pt x="909" y="292"/>
                </a:lnTo>
                <a:lnTo>
                  <a:pt x="909" y="292"/>
                </a:lnTo>
                <a:lnTo>
                  <a:pt x="908" y="293"/>
                </a:lnTo>
                <a:lnTo>
                  <a:pt x="908" y="294"/>
                </a:lnTo>
                <a:lnTo>
                  <a:pt x="907" y="296"/>
                </a:lnTo>
                <a:lnTo>
                  <a:pt x="905" y="296"/>
                </a:lnTo>
                <a:lnTo>
                  <a:pt x="905" y="298"/>
                </a:lnTo>
                <a:lnTo>
                  <a:pt x="903" y="299"/>
                </a:lnTo>
                <a:lnTo>
                  <a:pt x="902" y="300"/>
                </a:lnTo>
                <a:lnTo>
                  <a:pt x="898" y="298"/>
                </a:lnTo>
                <a:lnTo>
                  <a:pt x="898" y="293"/>
                </a:lnTo>
                <a:lnTo>
                  <a:pt x="900" y="292"/>
                </a:lnTo>
                <a:lnTo>
                  <a:pt x="901" y="291"/>
                </a:lnTo>
                <a:lnTo>
                  <a:pt x="905" y="288"/>
                </a:lnTo>
                <a:lnTo>
                  <a:pt x="902" y="285"/>
                </a:lnTo>
                <a:lnTo>
                  <a:pt x="893" y="277"/>
                </a:lnTo>
                <a:lnTo>
                  <a:pt x="883" y="267"/>
                </a:lnTo>
                <a:lnTo>
                  <a:pt x="876" y="260"/>
                </a:lnTo>
                <a:lnTo>
                  <a:pt x="874" y="253"/>
                </a:lnTo>
                <a:lnTo>
                  <a:pt x="874" y="245"/>
                </a:lnTo>
                <a:lnTo>
                  <a:pt x="869" y="238"/>
                </a:lnTo>
                <a:lnTo>
                  <a:pt x="867" y="236"/>
                </a:lnTo>
                <a:lnTo>
                  <a:pt x="865" y="236"/>
                </a:lnTo>
                <a:lnTo>
                  <a:pt x="860" y="235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29"/>
                </a:lnTo>
                <a:lnTo>
                  <a:pt x="861" y="229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55" y="226"/>
                </a:lnTo>
                <a:lnTo>
                  <a:pt x="858" y="219"/>
                </a:lnTo>
                <a:lnTo>
                  <a:pt x="860" y="217"/>
                </a:lnTo>
                <a:lnTo>
                  <a:pt x="858" y="215"/>
                </a:lnTo>
                <a:lnTo>
                  <a:pt x="853" y="212"/>
                </a:lnTo>
                <a:lnTo>
                  <a:pt x="854" y="208"/>
                </a:lnTo>
                <a:lnTo>
                  <a:pt x="851" y="205"/>
                </a:lnTo>
                <a:lnTo>
                  <a:pt x="847" y="201"/>
                </a:lnTo>
                <a:lnTo>
                  <a:pt x="848" y="198"/>
                </a:lnTo>
                <a:lnTo>
                  <a:pt x="849" y="196"/>
                </a:lnTo>
                <a:lnTo>
                  <a:pt x="854" y="193"/>
                </a:lnTo>
                <a:lnTo>
                  <a:pt x="853" y="187"/>
                </a:lnTo>
                <a:lnTo>
                  <a:pt x="854" y="183"/>
                </a:lnTo>
                <a:lnTo>
                  <a:pt x="853" y="179"/>
                </a:lnTo>
                <a:lnTo>
                  <a:pt x="847" y="181"/>
                </a:lnTo>
                <a:lnTo>
                  <a:pt x="846" y="187"/>
                </a:lnTo>
                <a:lnTo>
                  <a:pt x="845" y="190"/>
                </a:lnTo>
                <a:lnTo>
                  <a:pt x="842" y="189"/>
                </a:lnTo>
                <a:lnTo>
                  <a:pt x="840" y="188"/>
                </a:lnTo>
                <a:lnTo>
                  <a:pt x="841" y="186"/>
                </a:lnTo>
                <a:lnTo>
                  <a:pt x="845" y="179"/>
                </a:lnTo>
                <a:lnTo>
                  <a:pt x="839" y="174"/>
                </a:lnTo>
                <a:lnTo>
                  <a:pt x="838" y="173"/>
                </a:lnTo>
                <a:lnTo>
                  <a:pt x="838" y="170"/>
                </a:lnTo>
                <a:lnTo>
                  <a:pt x="844" y="169"/>
                </a:lnTo>
                <a:lnTo>
                  <a:pt x="842" y="163"/>
                </a:lnTo>
                <a:lnTo>
                  <a:pt x="841" y="158"/>
                </a:lnTo>
                <a:lnTo>
                  <a:pt x="847" y="154"/>
                </a:lnTo>
                <a:lnTo>
                  <a:pt x="839" y="147"/>
                </a:lnTo>
                <a:lnTo>
                  <a:pt x="838" y="144"/>
                </a:lnTo>
                <a:lnTo>
                  <a:pt x="841" y="133"/>
                </a:lnTo>
                <a:lnTo>
                  <a:pt x="853" y="130"/>
                </a:lnTo>
                <a:lnTo>
                  <a:pt x="856" y="130"/>
                </a:lnTo>
                <a:lnTo>
                  <a:pt x="858" y="128"/>
                </a:lnTo>
                <a:lnTo>
                  <a:pt x="860" y="123"/>
                </a:lnTo>
                <a:lnTo>
                  <a:pt x="866" y="119"/>
                </a:lnTo>
                <a:lnTo>
                  <a:pt x="858" y="118"/>
                </a:lnTo>
                <a:lnTo>
                  <a:pt x="859" y="111"/>
                </a:lnTo>
                <a:lnTo>
                  <a:pt x="860" y="106"/>
                </a:lnTo>
                <a:lnTo>
                  <a:pt x="855" y="104"/>
                </a:lnTo>
                <a:lnTo>
                  <a:pt x="855" y="105"/>
                </a:lnTo>
                <a:lnTo>
                  <a:pt x="855" y="105"/>
                </a:lnTo>
                <a:lnTo>
                  <a:pt x="854" y="107"/>
                </a:lnTo>
                <a:lnTo>
                  <a:pt x="852" y="107"/>
                </a:lnTo>
                <a:lnTo>
                  <a:pt x="851" y="105"/>
                </a:lnTo>
                <a:lnTo>
                  <a:pt x="851" y="104"/>
                </a:lnTo>
                <a:lnTo>
                  <a:pt x="851" y="103"/>
                </a:lnTo>
                <a:lnTo>
                  <a:pt x="849" y="102"/>
                </a:lnTo>
                <a:lnTo>
                  <a:pt x="851" y="103"/>
                </a:lnTo>
                <a:lnTo>
                  <a:pt x="851" y="104"/>
                </a:lnTo>
                <a:lnTo>
                  <a:pt x="852" y="103"/>
                </a:lnTo>
                <a:lnTo>
                  <a:pt x="853" y="102"/>
                </a:lnTo>
                <a:lnTo>
                  <a:pt x="854" y="102"/>
                </a:lnTo>
                <a:lnTo>
                  <a:pt x="855" y="103"/>
                </a:lnTo>
                <a:lnTo>
                  <a:pt x="854" y="104"/>
                </a:lnTo>
                <a:lnTo>
                  <a:pt x="853" y="104"/>
                </a:lnTo>
                <a:lnTo>
                  <a:pt x="854" y="104"/>
                </a:lnTo>
                <a:lnTo>
                  <a:pt x="855" y="104"/>
                </a:lnTo>
                <a:lnTo>
                  <a:pt x="855" y="104"/>
                </a:lnTo>
                <a:lnTo>
                  <a:pt x="855" y="103"/>
                </a:lnTo>
                <a:lnTo>
                  <a:pt x="858" y="102"/>
                </a:lnTo>
                <a:lnTo>
                  <a:pt x="860" y="100"/>
                </a:lnTo>
                <a:lnTo>
                  <a:pt x="863" y="97"/>
                </a:lnTo>
                <a:lnTo>
                  <a:pt x="865" y="92"/>
                </a:lnTo>
                <a:lnTo>
                  <a:pt x="861" y="89"/>
                </a:lnTo>
                <a:lnTo>
                  <a:pt x="856" y="90"/>
                </a:lnTo>
                <a:lnTo>
                  <a:pt x="853" y="91"/>
                </a:lnTo>
                <a:lnTo>
                  <a:pt x="849" y="93"/>
                </a:lnTo>
                <a:lnTo>
                  <a:pt x="849" y="96"/>
                </a:lnTo>
                <a:lnTo>
                  <a:pt x="849" y="98"/>
                </a:lnTo>
                <a:lnTo>
                  <a:pt x="849" y="96"/>
                </a:lnTo>
                <a:lnTo>
                  <a:pt x="849" y="93"/>
                </a:lnTo>
                <a:lnTo>
                  <a:pt x="838" y="83"/>
                </a:lnTo>
                <a:lnTo>
                  <a:pt x="824" y="82"/>
                </a:lnTo>
                <a:lnTo>
                  <a:pt x="814" y="86"/>
                </a:lnTo>
                <a:lnTo>
                  <a:pt x="805" y="90"/>
                </a:lnTo>
                <a:lnTo>
                  <a:pt x="797" y="93"/>
                </a:lnTo>
                <a:lnTo>
                  <a:pt x="796" y="103"/>
                </a:lnTo>
                <a:lnTo>
                  <a:pt x="799" y="116"/>
                </a:lnTo>
                <a:lnTo>
                  <a:pt x="801" y="130"/>
                </a:lnTo>
                <a:lnTo>
                  <a:pt x="803" y="133"/>
                </a:lnTo>
                <a:lnTo>
                  <a:pt x="806" y="133"/>
                </a:lnTo>
                <a:lnTo>
                  <a:pt x="808" y="134"/>
                </a:lnTo>
                <a:lnTo>
                  <a:pt x="808" y="137"/>
                </a:lnTo>
                <a:lnTo>
                  <a:pt x="807" y="144"/>
                </a:lnTo>
                <a:lnTo>
                  <a:pt x="806" y="151"/>
                </a:lnTo>
                <a:lnTo>
                  <a:pt x="800" y="169"/>
                </a:lnTo>
                <a:lnTo>
                  <a:pt x="793" y="187"/>
                </a:lnTo>
                <a:lnTo>
                  <a:pt x="785" y="209"/>
                </a:lnTo>
                <a:lnTo>
                  <a:pt x="775" y="229"/>
                </a:lnTo>
                <a:lnTo>
                  <a:pt x="759" y="252"/>
                </a:lnTo>
                <a:lnTo>
                  <a:pt x="742" y="274"/>
                </a:lnTo>
                <a:lnTo>
                  <a:pt x="735" y="282"/>
                </a:lnTo>
                <a:lnTo>
                  <a:pt x="728" y="291"/>
                </a:lnTo>
                <a:lnTo>
                  <a:pt x="713" y="305"/>
                </a:lnTo>
                <a:lnTo>
                  <a:pt x="697" y="319"/>
                </a:lnTo>
                <a:lnTo>
                  <a:pt x="704" y="322"/>
                </a:lnTo>
                <a:lnTo>
                  <a:pt x="707" y="324"/>
                </a:lnTo>
                <a:lnTo>
                  <a:pt x="709" y="330"/>
                </a:lnTo>
                <a:lnTo>
                  <a:pt x="714" y="329"/>
                </a:lnTo>
                <a:lnTo>
                  <a:pt x="718" y="328"/>
                </a:lnTo>
                <a:lnTo>
                  <a:pt x="724" y="328"/>
                </a:lnTo>
                <a:lnTo>
                  <a:pt x="721" y="330"/>
                </a:lnTo>
                <a:lnTo>
                  <a:pt x="718" y="331"/>
                </a:lnTo>
                <a:lnTo>
                  <a:pt x="715" y="333"/>
                </a:lnTo>
                <a:lnTo>
                  <a:pt x="714" y="335"/>
                </a:lnTo>
                <a:lnTo>
                  <a:pt x="715" y="337"/>
                </a:lnTo>
                <a:lnTo>
                  <a:pt x="718" y="338"/>
                </a:lnTo>
                <a:lnTo>
                  <a:pt x="725" y="341"/>
                </a:lnTo>
                <a:lnTo>
                  <a:pt x="730" y="345"/>
                </a:lnTo>
                <a:lnTo>
                  <a:pt x="721" y="349"/>
                </a:lnTo>
                <a:lnTo>
                  <a:pt x="711" y="352"/>
                </a:lnTo>
                <a:lnTo>
                  <a:pt x="709" y="352"/>
                </a:lnTo>
                <a:lnTo>
                  <a:pt x="707" y="350"/>
                </a:lnTo>
                <a:lnTo>
                  <a:pt x="707" y="348"/>
                </a:lnTo>
                <a:lnTo>
                  <a:pt x="709" y="347"/>
                </a:lnTo>
                <a:lnTo>
                  <a:pt x="711" y="344"/>
                </a:lnTo>
                <a:lnTo>
                  <a:pt x="710" y="342"/>
                </a:lnTo>
                <a:lnTo>
                  <a:pt x="710" y="336"/>
                </a:lnTo>
                <a:lnTo>
                  <a:pt x="706" y="334"/>
                </a:lnTo>
                <a:lnTo>
                  <a:pt x="703" y="333"/>
                </a:lnTo>
                <a:lnTo>
                  <a:pt x="701" y="330"/>
                </a:lnTo>
                <a:lnTo>
                  <a:pt x="696" y="327"/>
                </a:lnTo>
                <a:lnTo>
                  <a:pt x="693" y="331"/>
                </a:lnTo>
                <a:lnTo>
                  <a:pt x="690" y="336"/>
                </a:lnTo>
                <a:lnTo>
                  <a:pt x="686" y="337"/>
                </a:lnTo>
                <a:close/>
                <a:moveTo>
                  <a:pt x="686" y="337"/>
                </a:moveTo>
                <a:lnTo>
                  <a:pt x="686" y="337"/>
                </a:lnTo>
                <a:lnTo>
                  <a:pt x="686" y="337"/>
                </a:lnTo>
                <a:lnTo>
                  <a:pt x="686" y="337"/>
                </a:lnTo>
                <a:lnTo>
                  <a:pt x="686" y="337"/>
                </a:lnTo>
                <a:lnTo>
                  <a:pt x="686" y="341"/>
                </a:lnTo>
                <a:lnTo>
                  <a:pt x="687" y="345"/>
                </a:lnTo>
                <a:lnTo>
                  <a:pt x="687" y="348"/>
                </a:lnTo>
                <a:lnTo>
                  <a:pt x="690" y="348"/>
                </a:lnTo>
                <a:lnTo>
                  <a:pt x="694" y="347"/>
                </a:lnTo>
                <a:lnTo>
                  <a:pt x="699" y="348"/>
                </a:lnTo>
                <a:lnTo>
                  <a:pt x="702" y="349"/>
                </a:lnTo>
                <a:lnTo>
                  <a:pt x="703" y="352"/>
                </a:lnTo>
                <a:lnTo>
                  <a:pt x="701" y="355"/>
                </a:lnTo>
                <a:lnTo>
                  <a:pt x="696" y="355"/>
                </a:lnTo>
                <a:lnTo>
                  <a:pt x="692" y="354"/>
                </a:lnTo>
                <a:lnTo>
                  <a:pt x="689" y="356"/>
                </a:lnTo>
                <a:lnTo>
                  <a:pt x="680" y="359"/>
                </a:lnTo>
                <a:lnTo>
                  <a:pt x="669" y="362"/>
                </a:lnTo>
                <a:lnTo>
                  <a:pt x="662" y="363"/>
                </a:lnTo>
                <a:lnTo>
                  <a:pt x="656" y="366"/>
                </a:lnTo>
                <a:lnTo>
                  <a:pt x="655" y="366"/>
                </a:lnTo>
                <a:lnTo>
                  <a:pt x="654" y="368"/>
                </a:lnTo>
                <a:lnTo>
                  <a:pt x="655" y="366"/>
                </a:lnTo>
                <a:lnTo>
                  <a:pt x="656" y="366"/>
                </a:lnTo>
                <a:lnTo>
                  <a:pt x="654" y="365"/>
                </a:lnTo>
                <a:lnTo>
                  <a:pt x="652" y="365"/>
                </a:lnTo>
                <a:lnTo>
                  <a:pt x="652" y="365"/>
                </a:lnTo>
                <a:lnTo>
                  <a:pt x="652" y="365"/>
                </a:lnTo>
                <a:lnTo>
                  <a:pt x="659" y="356"/>
                </a:lnTo>
                <a:lnTo>
                  <a:pt x="670" y="352"/>
                </a:lnTo>
                <a:lnTo>
                  <a:pt x="677" y="355"/>
                </a:lnTo>
                <a:lnTo>
                  <a:pt x="686" y="352"/>
                </a:lnTo>
                <a:lnTo>
                  <a:pt x="681" y="348"/>
                </a:lnTo>
                <a:lnTo>
                  <a:pt x="680" y="342"/>
                </a:lnTo>
                <a:lnTo>
                  <a:pt x="682" y="340"/>
                </a:lnTo>
                <a:lnTo>
                  <a:pt x="686" y="337"/>
                </a:lnTo>
                <a:close/>
                <a:moveTo>
                  <a:pt x="1448" y="1551"/>
                </a:moveTo>
                <a:lnTo>
                  <a:pt x="1447" y="1550"/>
                </a:lnTo>
                <a:lnTo>
                  <a:pt x="1445" y="1550"/>
                </a:lnTo>
                <a:lnTo>
                  <a:pt x="1443" y="1550"/>
                </a:lnTo>
                <a:lnTo>
                  <a:pt x="1442" y="1550"/>
                </a:lnTo>
                <a:lnTo>
                  <a:pt x="1443" y="1550"/>
                </a:lnTo>
                <a:lnTo>
                  <a:pt x="1445" y="1550"/>
                </a:lnTo>
                <a:lnTo>
                  <a:pt x="1447" y="1550"/>
                </a:lnTo>
                <a:lnTo>
                  <a:pt x="1448" y="1551"/>
                </a:lnTo>
                <a:close/>
                <a:moveTo>
                  <a:pt x="1450" y="1570"/>
                </a:moveTo>
                <a:lnTo>
                  <a:pt x="1449" y="1570"/>
                </a:lnTo>
                <a:lnTo>
                  <a:pt x="1448" y="1570"/>
                </a:lnTo>
                <a:lnTo>
                  <a:pt x="1446" y="1570"/>
                </a:lnTo>
                <a:lnTo>
                  <a:pt x="1443" y="1568"/>
                </a:lnTo>
                <a:lnTo>
                  <a:pt x="1446" y="1570"/>
                </a:lnTo>
                <a:lnTo>
                  <a:pt x="1448" y="1570"/>
                </a:lnTo>
                <a:lnTo>
                  <a:pt x="1449" y="1570"/>
                </a:lnTo>
                <a:lnTo>
                  <a:pt x="1450" y="1570"/>
                </a:lnTo>
                <a:close/>
                <a:moveTo>
                  <a:pt x="1449" y="1627"/>
                </a:moveTo>
                <a:lnTo>
                  <a:pt x="1449" y="1630"/>
                </a:lnTo>
                <a:lnTo>
                  <a:pt x="1449" y="1633"/>
                </a:lnTo>
                <a:lnTo>
                  <a:pt x="1449" y="1630"/>
                </a:lnTo>
                <a:lnTo>
                  <a:pt x="1449" y="1627"/>
                </a:lnTo>
                <a:close/>
                <a:moveTo>
                  <a:pt x="1446" y="1596"/>
                </a:moveTo>
                <a:lnTo>
                  <a:pt x="1446" y="1598"/>
                </a:lnTo>
                <a:lnTo>
                  <a:pt x="1446" y="1598"/>
                </a:lnTo>
                <a:lnTo>
                  <a:pt x="1446" y="1598"/>
                </a:lnTo>
                <a:lnTo>
                  <a:pt x="1446" y="1596"/>
                </a:lnTo>
                <a:close/>
                <a:moveTo>
                  <a:pt x="1440" y="1659"/>
                </a:moveTo>
                <a:lnTo>
                  <a:pt x="1440" y="1658"/>
                </a:lnTo>
                <a:lnTo>
                  <a:pt x="1440" y="1658"/>
                </a:lnTo>
                <a:lnTo>
                  <a:pt x="1440" y="1658"/>
                </a:lnTo>
                <a:lnTo>
                  <a:pt x="1440" y="1659"/>
                </a:lnTo>
                <a:lnTo>
                  <a:pt x="1440" y="1659"/>
                </a:lnTo>
                <a:close/>
                <a:moveTo>
                  <a:pt x="1443" y="1497"/>
                </a:moveTo>
                <a:lnTo>
                  <a:pt x="1442" y="1497"/>
                </a:lnTo>
                <a:lnTo>
                  <a:pt x="1440" y="1496"/>
                </a:lnTo>
                <a:lnTo>
                  <a:pt x="1442" y="1497"/>
                </a:lnTo>
                <a:lnTo>
                  <a:pt x="1443" y="1497"/>
                </a:lnTo>
                <a:close/>
                <a:moveTo>
                  <a:pt x="1452" y="1656"/>
                </a:moveTo>
                <a:lnTo>
                  <a:pt x="1452" y="1652"/>
                </a:lnTo>
                <a:lnTo>
                  <a:pt x="1452" y="1648"/>
                </a:lnTo>
                <a:lnTo>
                  <a:pt x="1454" y="1651"/>
                </a:lnTo>
                <a:lnTo>
                  <a:pt x="1452" y="1656"/>
                </a:lnTo>
                <a:close/>
                <a:moveTo>
                  <a:pt x="1434" y="1444"/>
                </a:moveTo>
                <a:lnTo>
                  <a:pt x="1435" y="1445"/>
                </a:lnTo>
                <a:lnTo>
                  <a:pt x="1436" y="1445"/>
                </a:lnTo>
                <a:lnTo>
                  <a:pt x="1435" y="1445"/>
                </a:lnTo>
                <a:lnTo>
                  <a:pt x="1434" y="1444"/>
                </a:lnTo>
                <a:close/>
                <a:moveTo>
                  <a:pt x="1432" y="1490"/>
                </a:moveTo>
                <a:lnTo>
                  <a:pt x="1433" y="1491"/>
                </a:lnTo>
                <a:lnTo>
                  <a:pt x="1434" y="1493"/>
                </a:lnTo>
                <a:lnTo>
                  <a:pt x="1433" y="1491"/>
                </a:lnTo>
                <a:lnTo>
                  <a:pt x="1432" y="1490"/>
                </a:lnTo>
                <a:close/>
                <a:moveTo>
                  <a:pt x="1429" y="1456"/>
                </a:moveTo>
                <a:lnTo>
                  <a:pt x="1429" y="1458"/>
                </a:lnTo>
                <a:lnTo>
                  <a:pt x="1431" y="1458"/>
                </a:lnTo>
                <a:lnTo>
                  <a:pt x="1429" y="1458"/>
                </a:lnTo>
                <a:lnTo>
                  <a:pt x="1429" y="1456"/>
                </a:lnTo>
                <a:close/>
                <a:moveTo>
                  <a:pt x="1411" y="1308"/>
                </a:moveTo>
                <a:lnTo>
                  <a:pt x="1409" y="1309"/>
                </a:lnTo>
                <a:lnTo>
                  <a:pt x="1408" y="1311"/>
                </a:lnTo>
                <a:lnTo>
                  <a:pt x="1406" y="1302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4" y="1292"/>
                </a:lnTo>
                <a:lnTo>
                  <a:pt x="1401" y="1291"/>
                </a:lnTo>
                <a:lnTo>
                  <a:pt x="1401" y="1291"/>
                </a:lnTo>
                <a:lnTo>
                  <a:pt x="1401" y="1291"/>
                </a:lnTo>
                <a:lnTo>
                  <a:pt x="1401" y="1291"/>
                </a:lnTo>
                <a:lnTo>
                  <a:pt x="1401" y="1291"/>
                </a:lnTo>
                <a:lnTo>
                  <a:pt x="1400" y="1285"/>
                </a:lnTo>
                <a:lnTo>
                  <a:pt x="1401" y="1280"/>
                </a:lnTo>
                <a:lnTo>
                  <a:pt x="1402" y="1279"/>
                </a:lnTo>
                <a:lnTo>
                  <a:pt x="1404" y="1279"/>
                </a:lnTo>
                <a:lnTo>
                  <a:pt x="1406" y="1284"/>
                </a:lnTo>
                <a:lnTo>
                  <a:pt x="1406" y="1290"/>
                </a:lnTo>
                <a:lnTo>
                  <a:pt x="1406" y="1292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7" y="1295"/>
                </a:lnTo>
                <a:lnTo>
                  <a:pt x="1409" y="1297"/>
                </a:lnTo>
                <a:lnTo>
                  <a:pt x="1411" y="1302"/>
                </a:lnTo>
                <a:lnTo>
                  <a:pt x="1411" y="1308"/>
                </a:lnTo>
                <a:lnTo>
                  <a:pt x="1417" y="1307"/>
                </a:lnTo>
                <a:lnTo>
                  <a:pt x="1421" y="1311"/>
                </a:lnTo>
                <a:lnTo>
                  <a:pt x="1417" y="1307"/>
                </a:lnTo>
                <a:lnTo>
                  <a:pt x="1411" y="1308"/>
                </a:lnTo>
                <a:close/>
                <a:moveTo>
                  <a:pt x="1417" y="1452"/>
                </a:moveTo>
                <a:lnTo>
                  <a:pt x="1417" y="1446"/>
                </a:lnTo>
                <a:lnTo>
                  <a:pt x="1417" y="1441"/>
                </a:lnTo>
                <a:lnTo>
                  <a:pt x="1417" y="1446"/>
                </a:lnTo>
                <a:lnTo>
                  <a:pt x="1417" y="1452"/>
                </a:lnTo>
                <a:close/>
                <a:moveTo>
                  <a:pt x="1415" y="1473"/>
                </a:moveTo>
                <a:lnTo>
                  <a:pt x="1415" y="1476"/>
                </a:lnTo>
                <a:lnTo>
                  <a:pt x="1417" y="1479"/>
                </a:lnTo>
                <a:lnTo>
                  <a:pt x="1415" y="1476"/>
                </a:lnTo>
                <a:lnTo>
                  <a:pt x="1415" y="1473"/>
                </a:lnTo>
                <a:close/>
                <a:moveTo>
                  <a:pt x="1411" y="1393"/>
                </a:moveTo>
                <a:lnTo>
                  <a:pt x="1412" y="1397"/>
                </a:lnTo>
                <a:lnTo>
                  <a:pt x="1413" y="1400"/>
                </a:lnTo>
                <a:lnTo>
                  <a:pt x="1412" y="1397"/>
                </a:lnTo>
                <a:lnTo>
                  <a:pt x="1411" y="1393"/>
                </a:lnTo>
                <a:close/>
                <a:moveTo>
                  <a:pt x="1405" y="1396"/>
                </a:moveTo>
                <a:lnTo>
                  <a:pt x="1399" y="1383"/>
                </a:lnTo>
                <a:lnTo>
                  <a:pt x="1394" y="1370"/>
                </a:lnTo>
                <a:lnTo>
                  <a:pt x="1394" y="1365"/>
                </a:lnTo>
                <a:lnTo>
                  <a:pt x="1398" y="1363"/>
                </a:lnTo>
                <a:lnTo>
                  <a:pt x="1398" y="1363"/>
                </a:lnTo>
                <a:lnTo>
                  <a:pt x="1398" y="1364"/>
                </a:lnTo>
                <a:lnTo>
                  <a:pt x="1398" y="1364"/>
                </a:lnTo>
                <a:lnTo>
                  <a:pt x="1398" y="1364"/>
                </a:lnTo>
                <a:lnTo>
                  <a:pt x="1399" y="1364"/>
                </a:lnTo>
                <a:lnTo>
                  <a:pt x="1398" y="1364"/>
                </a:lnTo>
                <a:lnTo>
                  <a:pt x="1398" y="1364"/>
                </a:lnTo>
                <a:lnTo>
                  <a:pt x="1398" y="1365"/>
                </a:lnTo>
                <a:lnTo>
                  <a:pt x="1400" y="1367"/>
                </a:lnTo>
                <a:lnTo>
                  <a:pt x="1404" y="1381"/>
                </a:lnTo>
                <a:lnTo>
                  <a:pt x="1405" y="1396"/>
                </a:lnTo>
                <a:close/>
                <a:moveTo>
                  <a:pt x="1394" y="1607"/>
                </a:moveTo>
                <a:lnTo>
                  <a:pt x="1394" y="1608"/>
                </a:lnTo>
                <a:lnTo>
                  <a:pt x="1394" y="1609"/>
                </a:lnTo>
                <a:lnTo>
                  <a:pt x="1394" y="1608"/>
                </a:lnTo>
                <a:lnTo>
                  <a:pt x="1394" y="1607"/>
                </a:lnTo>
                <a:close/>
                <a:moveTo>
                  <a:pt x="1397" y="1342"/>
                </a:moveTo>
                <a:lnTo>
                  <a:pt x="1397" y="1341"/>
                </a:lnTo>
                <a:lnTo>
                  <a:pt x="1397" y="1339"/>
                </a:lnTo>
                <a:lnTo>
                  <a:pt x="1397" y="1341"/>
                </a:lnTo>
                <a:lnTo>
                  <a:pt x="1397" y="1342"/>
                </a:lnTo>
                <a:close/>
                <a:moveTo>
                  <a:pt x="1391" y="1320"/>
                </a:moveTo>
                <a:lnTo>
                  <a:pt x="1390" y="1323"/>
                </a:lnTo>
                <a:lnTo>
                  <a:pt x="1391" y="1327"/>
                </a:lnTo>
                <a:lnTo>
                  <a:pt x="1390" y="1323"/>
                </a:lnTo>
                <a:lnTo>
                  <a:pt x="1391" y="1320"/>
                </a:lnTo>
                <a:close/>
                <a:moveTo>
                  <a:pt x="1388" y="1552"/>
                </a:moveTo>
                <a:lnTo>
                  <a:pt x="1387" y="1533"/>
                </a:lnTo>
                <a:lnTo>
                  <a:pt x="1383" y="1515"/>
                </a:lnTo>
                <a:lnTo>
                  <a:pt x="1387" y="1533"/>
                </a:lnTo>
                <a:lnTo>
                  <a:pt x="1388" y="1552"/>
                </a:lnTo>
                <a:lnTo>
                  <a:pt x="1388" y="1552"/>
                </a:lnTo>
                <a:close/>
                <a:moveTo>
                  <a:pt x="1381" y="1570"/>
                </a:moveTo>
                <a:lnTo>
                  <a:pt x="1381" y="1570"/>
                </a:lnTo>
                <a:lnTo>
                  <a:pt x="1381" y="1568"/>
                </a:lnTo>
                <a:lnTo>
                  <a:pt x="1381" y="1570"/>
                </a:lnTo>
                <a:lnTo>
                  <a:pt x="1381" y="1570"/>
                </a:lnTo>
                <a:close/>
                <a:moveTo>
                  <a:pt x="1374" y="1543"/>
                </a:moveTo>
                <a:lnTo>
                  <a:pt x="1374" y="1540"/>
                </a:lnTo>
                <a:lnTo>
                  <a:pt x="1376" y="1538"/>
                </a:lnTo>
                <a:lnTo>
                  <a:pt x="1374" y="1540"/>
                </a:lnTo>
                <a:lnTo>
                  <a:pt x="1374" y="1543"/>
                </a:lnTo>
                <a:lnTo>
                  <a:pt x="1374" y="1543"/>
                </a:lnTo>
                <a:close/>
                <a:moveTo>
                  <a:pt x="1373" y="1532"/>
                </a:moveTo>
                <a:lnTo>
                  <a:pt x="1373" y="1533"/>
                </a:lnTo>
                <a:lnTo>
                  <a:pt x="1373" y="1535"/>
                </a:lnTo>
                <a:lnTo>
                  <a:pt x="1373" y="1533"/>
                </a:lnTo>
                <a:lnTo>
                  <a:pt x="1373" y="1532"/>
                </a:lnTo>
                <a:close/>
                <a:moveTo>
                  <a:pt x="1369" y="1433"/>
                </a:moveTo>
                <a:lnTo>
                  <a:pt x="1370" y="1434"/>
                </a:lnTo>
                <a:lnTo>
                  <a:pt x="1372" y="1435"/>
                </a:lnTo>
                <a:lnTo>
                  <a:pt x="1370" y="1434"/>
                </a:lnTo>
                <a:lnTo>
                  <a:pt x="1369" y="1433"/>
                </a:lnTo>
                <a:close/>
                <a:moveTo>
                  <a:pt x="1362" y="1497"/>
                </a:moveTo>
                <a:lnTo>
                  <a:pt x="1364" y="1501"/>
                </a:lnTo>
                <a:lnTo>
                  <a:pt x="1366" y="1504"/>
                </a:lnTo>
                <a:lnTo>
                  <a:pt x="1364" y="1501"/>
                </a:lnTo>
                <a:lnTo>
                  <a:pt x="1362" y="1497"/>
                </a:lnTo>
                <a:close/>
                <a:moveTo>
                  <a:pt x="1362" y="1515"/>
                </a:moveTo>
                <a:lnTo>
                  <a:pt x="1363" y="1516"/>
                </a:lnTo>
                <a:lnTo>
                  <a:pt x="1363" y="1516"/>
                </a:lnTo>
                <a:lnTo>
                  <a:pt x="1363" y="1516"/>
                </a:lnTo>
                <a:lnTo>
                  <a:pt x="1362" y="1515"/>
                </a:lnTo>
                <a:close/>
                <a:moveTo>
                  <a:pt x="1363" y="1389"/>
                </a:moveTo>
                <a:lnTo>
                  <a:pt x="1363" y="1389"/>
                </a:lnTo>
                <a:lnTo>
                  <a:pt x="1364" y="1390"/>
                </a:lnTo>
                <a:lnTo>
                  <a:pt x="1363" y="1389"/>
                </a:lnTo>
                <a:lnTo>
                  <a:pt x="1363" y="1389"/>
                </a:lnTo>
                <a:close/>
                <a:moveTo>
                  <a:pt x="1383" y="1316"/>
                </a:moveTo>
                <a:lnTo>
                  <a:pt x="1379" y="1301"/>
                </a:lnTo>
                <a:lnTo>
                  <a:pt x="1376" y="1286"/>
                </a:lnTo>
                <a:lnTo>
                  <a:pt x="1379" y="1301"/>
                </a:lnTo>
                <a:lnTo>
                  <a:pt x="1383" y="1316"/>
                </a:lnTo>
                <a:close/>
                <a:moveTo>
                  <a:pt x="1380" y="1239"/>
                </a:moveTo>
                <a:lnTo>
                  <a:pt x="1381" y="1239"/>
                </a:lnTo>
                <a:lnTo>
                  <a:pt x="1381" y="1239"/>
                </a:lnTo>
                <a:lnTo>
                  <a:pt x="1381" y="1239"/>
                </a:lnTo>
                <a:lnTo>
                  <a:pt x="1381" y="1239"/>
                </a:lnTo>
                <a:lnTo>
                  <a:pt x="1381" y="1239"/>
                </a:lnTo>
                <a:lnTo>
                  <a:pt x="1380" y="1239"/>
                </a:lnTo>
                <a:lnTo>
                  <a:pt x="1380" y="1239"/>
                </a:lnTo>
                <a:lnTo>
                  <a:pt x="1380" y="1239"/>
                </a:lnTo>
                <a:close/>
                <a:moveTo>
                  <a:pt x="1385" y="1242"/>
                </a:moveTo>
                <a:lnTo>
                  <a:pt x="1385" y="1246"/>
                </a:lnTo>
                <a:lnTo>
                  <a:pt x="1385" y="1250"/>
                </a:lnTo>
                <a:lnTo>
                  <a:pt x="1381" y="1248"/>
                </a:lnTo>
                <a:lnTo>
                  <a:pt x="1380" y="1243"/>
                </a:lnTo>
                <a:lnTo>
                  <a:pt x="1383" y="1241"/>
                </a:lnTo>
                <a:lnTo>
                  <a:pt x="1385" y="1242"/>
                </a:lnTo>
                <a:close/>
                <a:moveTo>
                  <a:pt x="1353" y="1414"/>
                </a:moveTo>
                <a:lnTo>
                  <a:pt x="1351" y="1414"/>
                </a:lnTo>
                <a:lnTo>
                  <a:pt x="1349" y="1412"/>
                </a:lnTo>
                <a:lnTo>
                  <a:pt x="1350" y="1410"/>
                </a:lnTo>
                <a:lnTo>
                  <a:pt x="1352" y="1409"/>
                </a:lnTo>
                <a:lnTo>
                  <a:pt x="1356" y="1409"/>
                </a:lnTo>
                <a:lnTo>
                  <a:pt x="1359" y="1407"/>
                </a:lnTo>
                <a:lnTo>
                  <a:pt x="1359" y="1399"/>
                </a:lnTo>
                <a:lnTo>
                  <a:pt x="1357" y="1392"/>
                </a:lnTo>
                <a:lnTo>
                  <a:pt x="1359" y="1399"/>
                </a:lnTo>
                <a:lnTo>
                  <a:pt x="1359" y="1407"/>
                </a:lnTo>
                <a:lnTo>
                  <a:pt x="1359" y="1410"/>
                </a:lnTo>
                <a:lnTo>
                  <a:pt x="1359" y="1411"/>
                </a:lnTo>
                <a:lnTo>
                  <a:pt x="1357" y="1413"/>
                </a:lnTo>
                <a:lnTo>
                  <a:pt x="1353" y="1414"/>
                </a:lnTo>
                <a:lnTo>
                  <a:pt x="1353" y="1414"/>
                </a:lnTo>
                <a:close/>
                <a:moveTo>
                  <a:pt x="1356" y="1497"/>
                </a:moveTo>
                <a:lnTo>
                  <a:pt x="1357" y="1500"/>
                </a:lnTo>
                <a:lnTo>
                  <a:pt x="1358" y="1501"/>
                </a:lnTo>
                <a:lnTo>
                  <a:pt x="1357" y="1500"/>
                </a:lnTo>
                <a:lnTo>
                  <a:pt x="1356" y="1497"/>
                </a:lnTo>
                <a:close/>
                <a:moveTo>
                  <a:pt x="1351" y="1475"/>
                </a:moveTo>
                <a:lnTo>
                  <a:pt x="1351" y="1476"/>
                </a:lnTo>
                <a:lnTo>
                  <a:pt x="1351" y="1476"/>
                </a:lnTo>
                <a:lnTo>
                  <a:pt x="1351" y="1476"/>
                </a:lnTo>
                <a:lnTo>
                  <a:pt x="1351" y="1475"/>
                </a:lnTo>
                <a:lnTo>
                  <a:pt x="1352" y="1474"/>
                </a:lnTo>
                <a:lnTo>
                  <a:pt x="1352" y="1474"/>
                </a:lnTo>
                <a:lnTo>
                  <a:pt x="1352" y="1474"/>
                </a:lnTo>
                <a:lnTo>
                  <a:pt x="1351" y="1475"/>
                </a:lnTo>
                <a:close/>
                <a:moveTo>
                  <a:pt x="1349" y="1424"/>
                </a:moveTo>
                <a:lnTo>
                  <a:pt x="1349" y="1426"/>
                </a:lnTo>
                <a:lnTo>
                  <a:pt x="1348" y="1428"/>
                </a:lnTo>
                <a:lnTo>
                  <a:pt x="1345" y="1437"/>
                </a:lnTo>
                <a:lnTo>
                  <a:pt x="1346" y="1445"/>
                </a:lnTo>
                <a:lnTo>
                  <a:pt x="1346" y="1448"/>
                </a:lnTo>
                <a:lnTo>
                  <a:pt x="1344" y="1451"/>
                </a:lnTo>
                <a:lnTo>
                  <a:pt x="1342" y="1437"/>
                </a:lnTo>
                <a:lnTo>
                  <a:pt x="1338" y="1424"/>
                </a:lnTo>
                <a:lnTo>
                  <a:pt x="1339" y="1421"/>
                </a:lnTo>
                <a:lnTo>
                  <a:pt x="1342" y="1420"/>
                </a:lnTo>
                <a:lnTo>
                  <a:pt x="1344" y="1417"/>
                </a:lnTo>
                <a:lnTo>
                  <a:pt x="1346" y="1416"/>
                </a:lnTo>
                <a:lnTo>
                  <a:pt x="1350" y="1419"/>
                </a:lnTo>
                <a:lnTo>
                  <a:pt x="1349" y="1424"/>
                </a:lnTo>
                <a:close/>
                <a:moveTo>
                  <a:pt x="1337" y="1421"/>
                </a:moveTo>
                <a:lnTo>
                  <a:pt x="1337" y="1421"/>
                </a:lnTo>
                <a:lnTo>
                  <a:pt x="1337" y="1420"/>
                </a:lnTo>
                <a:lnTo>
                  <a:pt x="1333" y="1409"/>
                </a:lnTo>
                <a:lnTo>
                  <a:pt x="1331" y="1397"/>
                </a:lnTo>
                <a:lnTo>
                  <a:pt x="1332" y="1395"/>
                </a:lnTo>
                <a:lnTo>
                  <a:pt x="1333" y="1393"/>
                </a:lnTo>
                <a:lnTo>
                  <a:pt x="1336" y="1402"/>
                </a:lnTo>
                <a:lnTo>
                  <a:pt x="1339" y="1410"/>
                </a:lnTo>
                <a:lnTo>
                  <a:pt x="1339" y="1410"/>
                </a:lnTo>
                <a:lnTo>
                  <a:pt x="1339" y="1414"/>
                </a:lnTo>
                <a:lnTo>
                  <a:pt x="1337" y="1420"/>
                </a:lnTo>
                <a:lnTo>
                  <a:pt x="1337" y="1421"/>
                </a:lnTo>
                <a:lnTo>
                  <a:pt x="1337" y="1421"/>
                </a:lnTo>
                <a:close/>
                <a:moveTo>
                  <a:pt x="1324" y="1357"/>
                </a:moveTo>
                <a:lnTo>
                  <a:pt x="1326" y="1360"/>
                </a:lnTo>
                <a:lnTo>
                  <a:pt x="1328" y="1362"/>
                </a:lnTo>
                <a:lnTo>
                  <a:pt x="1326" y="1360"/>
                </a:lnTo>
                <a:lnTo>
                  <a:pt x="1324" y="1357"/>
                </a:lnTo>
                <a:close/>
                <a:moveTo>
                  <a:pt x="1288" y="1294"/>
                </a:moveTo>
                <a:lnTo>
                  <a:pt x="1287" y="1294"/>
                </a:lnTo>
                <a:lnTo>
                  <a:pt x="1284" y="1295"/>
                </a:lnTo>
                <a:lnTo>
                  <a:pt x="1287" y="1294"/>
                </a:lnTo>
                <a:lnTo>
                  <a:pt x="1288" y="1294"/>
                </a:lnTo>
                <a:lnTo>
                  <a:pt x="1289" y="1290"/>
                </a:lnTo>
                <a:lnTo>
                  <a:pt x="1291" y="1286"/>
                </a:lnTo>
                <a:lnTo>
                  <a:pt x="1293" y="1288"/>
                </a:lnTo>
                <a:lnTo>
                  <a:pt x="1294" y="1288"/>
                </a:lnTo>
                <a:lnTo>
                  <a:pt x="1302" y="1294"/>
                </a:lnTo>
                <a:lnTo>
                  <a:pt x="1304" y="1305"/>
                </a:lnTo>
                <a:lnTo>
                  <a:pt x="1297" y="1299"/>
                </a:lnTo>
                <a:lnTo>
                  <a:pt x="1288" y="1294"/>
                </a:lnTo>
                <a:close/>
                <a:moveTo>
                  <a:pt x="1298" y="1334"/>
                </a:moveTo>
                <a:lnTo>
                  <a:pt x="1298" y="1333"/>
                </a:lnTo>
                <a:lnTo>
                  <a:pt x="1300" y="1332"/>
                </a:lnTo>
                <a:lnTo>
                  <a:pt x="1298" y="1333"/>
                </a:lnTo>
                <a:lnTo>
                  <a:pt x="1298" y="1334"/>
                </a:lnTo>
                <a:close/>
                <a:moveTo>
                  <a:pt x="1282" y="1239"/>
                </a:moveTo>
                <a:lnTo>
                  <a:pt x="1282" y="1238"/>
                </a:lnTo>
                <a:lnTo>
                  <a:pt x="1283" y="1237"/>
                </a:lnTo>
                <a:lnTo>
                  <a:pt x="1282" y="1238"/>
                </a:lnTo>
                <a:lnTo>
                  <a:pt x="1282" y="1239"/>
                </a:lnTo>
                <a:close/>
                <a:moveTo>
                  <a:pt x="1280" y="1295"/>
                </a:moveTo>
                <a:lnTo>
                  <a:pt x="1276" y="1297"/>
                </a:lnTo>
                <a:lnTo>
                  <a:pt x="1273" y="1295"/>
                </a:lnTo>
                <a:lnTo>
                  <a:pt x="1274" y="1291"/>
                </a:lnTo>
                <a:lnTo>
                  <a:pt x="1277" y="1286"/>
                </a:lnTo>
                <a:lnTo>
                  <a:pt x="1280" y="1291"/>
                </a:lnTo>
                <a:lnTo>
                  <a:pt x="1280" y="1295"/>
                </a:lnTo>
                <a:lnTo>
                  <a:pt x="1281" y="1295"/>
                </a:lnTo>
                <a:lnTo>
                  <a:pt x="1282" y="1295"/>
                </a:lnTo>
                <a:lnTo>
                  <a:pt x="1281" y="1295"/>
                </a:lnTo>
                <a:lnTo>
                  <a:pt x="1280" y="1295"/>
                </a:lnTo>
                <a:close/>
                <a:moveTo>
                  <a:pt x="1272" y="1264"/>
                </a:moveTo>
                <a:lnTo>
                  <a:pt x="1270" y="1260"/>
                </a:lnTo>
                <a:lnTo>
                  <a:pt x="1270" y="1257"/>
                </a:lnTo>
                <a:lnTo>
                  <a:pt x="1273" y="1255"/>
                </a:lnTo>
                <a:lnTo>
                  <a:pt x="1277" y="1256"/>
                </a:lnTo>
                <a:lnTo>
                  <a:pt x="1279" y="1259"/>
                </a:lnTo>
                <a:lnTo>
                  <a:pt x="1277" y="1264"/>
                </a:lnTo>
                <a:lnTo>
                  <a:pt x="1274" y="1265"/>
                </a:lnTo>
                <a:lnTo>
                  <a:pt x="1272" y="1264"/>
                </a:lnTo>
                <a:close/>
                <a:moveTo>
                  <a:pt x="1269" y="1248"/>
                </a:moveTo>
                <a:lnTo>
                  <a:pt x="1269" y="1243"/>
                </a:lnTo>
                <a:lnTo>
                  <a:pt x="1268" y="1239"/>
                </a:lnTo>
                <a:lnTo>
                  <a:pt x="1270" y="1238"/>
                </a:lnTo>
                <a:lnTo>
                  <a:pt x="1274" y="1238"/>
                </a:lnTo>
                <a:lnTo>
                  <a:pt x="1275" y="1238"/>
                </a:lnTo>
                <a:lnTo>
                  <a:pt x="1277" y="1238"/>
                </a:lnTo>
                <a:lnTo>
                  <a:pt x="1279" y="1238"/>
                </a:lnTo>
                <a:lnTo>
                  <a:pt x="1280" y="1237"/>
                </a:lnTo>
                <a:lnTo>
                  <a:pt x="1279" y="1238"/>
                </a:lnTo>
                <a:lnTo>
                  <a:pt x="1277" y="1238"/>
                </a:lnTo>
                <a:lnTo>
                  <a:pt x="1276" y="1242"/>
                </a:lnTo>
                <a:lnTo>
                  <a:pt x="1279" y="1245"/>
                </a:lnTo>
                <a:lnTo>
                  <a:pt x="1280" y="1244"/>
                </a:lnTo>
                <a:lnTo>
                  <a:pt x="1281" y="1243"/>
                </a:lnTo>
                <a:lnTo>
                  <a:pt x="1280" y="1244"/>
                </a:lnTo>
                <a:lnTo>
                  <a:pt x="1279" y="1245"/>
                </a:lnTo>
                <a:lnTo>
                  <a:pt x="1279" y="1245"/>
                </a:lnTo>
                <a:lnTo>
                  <a:pt x="1277" y="1245"/>
                </a:lnTo>
                <a:lnTo>
                  <a:pt x="1276" y="1246"/>
                </a:lnTo>
                <a:lnTo>
                  <a:pt x="1277" y="1245"/>
                </a:lnTo>
                <a:lnTo>
                  <a:pt x="1275" y="1245"/>
                </a:lnTo>
                <a:lnTo>
                  <a:pt x="1275" y="1248"/>
                </a:lnTo>
                <a:lnTo>
                  <a:pt x="1272" y="1249"/>
                </a:lnTo>
                <a:lnTo>
                  <a:pt x="1269" y="1248"/>
                </a:lnTo>
                <a:close/>
                <a:moveTo>
                  <a:pt x="1267" y="1198"/>
                </a:moveTo>
                <a:lnTo>
                  <a:pt x="1273" y="1198"/>
                </a:lnTo>
                <a:lnTo>
                  <a:pt x="1277" y="1204"/>
                </a:lnTo>
                <a:lnTo>
                  <a:pt x="1272" y="1207"/>
                </a:lnTo>
                <a:lnTo>
                  <a:pt x="1266" y="1207"/>
                </a:lnTo>
                <a:lnTo>
                  <a:pt x="1266" y="1202"/>
                </a:lnTo>
                <a:lnTo>
                  <a:pt x="1267" y="1198"/>
                </a:lnTo>
                <a:close/>
                <a:moveTo>
                  <a:pt x="1264" y="1188"/>
                </a:moveTo>
                <a:lnTo>
                  <a:pt x="1263" y="1183"/>
                </a:lnTo>
                <a:lnTo>
                  <a:pt x="1263" y="1180"/>
                </a:lnTo>
                <a:lnTo>
                  <a:pt x="1266" y="1179"/>
                </a:lnTo>
                <a:lnTo>
                  <a:pt x="1270" y="1180"/>
                </a:lnTo>
                <a:lnTo>
                  <a:pt x="1270" y="1183"/>
                </a:lnTo>
                <a:lnTo>
                  <a:pt x="1270" y="1187"/>
                </a:lnTo>
                <a:lnTo>
                  <a:pt x="1268" y="1189"/>
                </a:lnTo>
                <a:lnTo>
                  <a:pt x="1264" y="1188"/>
                </a:lnTo>
                <a:close/>
                <a:moveTo>
                  <a:pt x="1263" y="1140"/>
                </a:moveTo>
                <a:lnTo>
                  <a:pt x="1266" y="1140"/>
                </a:lnTo>
                <a:lnTo>
                  <a:pt x="1267" y="1140"/>
                </a:lnTo>
                <a:lnTo>
                  <a:pt x="1267" y="1145"/>
                </a:lnTo>
                <a:lnTo>
                  <a:pt x="1268" y="1148"/>
                </a:lnTo>
                <a:lnTo>
                  <a:pt x="1266" y="1151"/>
                </a:lnTo>
                <a:lnTo>
                  <a:pt x="1263" y="1151"/>
                </a:lnTo>
                <a:lnTo>
                  <a:pt x="1261" y="1147"/>
                </a:lnTo>
                <a:lnTo>
                  <a:pt x="1260" y="1142"/>
                </a:lnTo>
                <a:lnTo>
                  <a:pt x="1261" y="1141"/>
                </a:lnTo>
                <a:lnTo>
                  <a:pt x="1263" y="1140"/>
                </a:lnTo>
                <a:close/>
                <a:moveTo>
                  <a:pt x="1273" y="1134"/>
                </a:moveTo>
                <a:lnTo>
                  <a:pt x="1273" y="1134"/>
                </a:lnTo>
                <a:lnTo>
                  <a:pt x="1273" y="1135"/>
                </a:lnTo>
                <a:lnTo>
                  <a:pt x="1273" y="1134"/>
                </a:lnTo>
                <a:lnTo>
                  <a:pt x="1273" y="1134"/>
                </a:lnTo>
                <a:close/>
                <a:moveTo>
                  <a:pt x="1260" y="1125"/>
                </a:moveTo>
                <a:lnTo>
                  <a:pt x="1262" y="1121"/>
                </a:lnTo>
                <a:lnTo>
                  <a:pt x="1267" y="1121"/>
                </a:lnTo>
                <a:lnTo>
                  <a:pt x="1268" y="1125"/>
                </a:lnTo>
                <a:lnTo>
                  <a:pt x="1269" y="1128"/>
                </a:lnTo>
                <a:lnTo>
                  <a:pt x="1273" y="1131"/>
                </a:lnTo>
                <a:lnTo>
                  <a:pt x="1273" y="1134"/>
                </a:lnTo>
                <a:lnTo>
                  <a:pt x="1273" y="1131"/>
                </a:lnTo>
                <a:lnTo>
                  <a:pt x="1269" y="1128"/>
                </a:lnTo>
                <a:lnTo>
                  <a:pt x="1266" y="1131"/>
                </a:lnTo>
                <a:lnTo>
                  <a:pt x="1261" y="1131"/>
                </a:lnTo>
                <a:lnTo>
                  <a:pt x="1259" y="1128"/>
                </a:lnTo>
                <a:lnTo>
                  <a:pt x="1260" y="1125"/>
                </a:lnTo>
                <a:close/>
                <a:moveTo>
                  <a:pt x="1270" y="1120"/>
                </a:moveTo>
                <a:lnTo>
                  <a:pt x="1270" y="1120"/>
                </a:lnTo>
                <a:lnTo>
                  <a:pt x="1269" y="1120"/>
                </a:lnTo>
                <a:lnTo>
                  <a:pt x="1270" y="1120"/>
                </a:lnTo>
                <a:lnTo>
                  <a:pt x="1270" y="1120"/>
                </a:lnTo>
                <a:close/>
                <a:moveTo>
                  <a:pt x="1257" y="1104"/>
                </a:moveTo>
                <a:lnTo>
                  <a:pt x="1260" y="1103"/>
                </a:lnTo>
                <a:lnTo>
                  <a:pt x="1263" y="1103"/>
                </a:lnTo>
                <a:lnTo>
                  <a:pt x="1266" y="1103"/>
                </a:lnTo>
                <a:lnTo>
                  <a:pt x="1268" y="1103"/>
                </a:lnTo>
                <a:lnTo>
                  <a:pt x="1268" y="1106"/>
                </a:lnTo>
                <a:lnTo>
                  <a:pt x="1269" y="1111"/>
                </a:lnTo>
                <a:lnTo>
                  <a:pt x="1270" y="1111"/>
                </a:lnTo>
                <a:lnTo>
                  <a:pt x="1273" y="1111"/>
                </a:lnTo>
                <a:lnTo>
                  <a:pt x="1280" y="1113"/>
                </a:lnTo>
                <a:lnTo>
                  <a:pt x="1288" y="1113"/>
                </a:lnTo>
                <a:lnTo>
                  <a:pt x="1288" y="1116"/>
                </a:lnTo>
                <a:lnTo>
                  <a:pt x="1288" y="1119"/>
                </a:lnTo>
                <a:lnTo>
                  <a:pt x="1288" y="1123"/>
                </a:lnTo>
                <a:lnTo>
                  <a:pt x="1287" y="1126"/>
                </a:lnTo>
                <a:lnTo>
                  <a:pt x="1281" y="1121"/>
                </a:lnTo>
                <a:lnTo>
                  <a:pt x="1274" y="1120"/>
                </a:lnTo>
                <a:lnTo>
                  <a:pt x="1272" y="1120"/>
                </a:lnTo>
                <a:lnTo>
                  <a:pt x="1270" y="1120"/>
                </a:lnTo>
                <a:lnTo>
                  <a:pt x="1272" y="1120"/>
                </a:lnTo>
                <a:lnTo>
                  <a:pt x="1274" y="1120"/>
                </a:lnTo>
                <a:lnTo>
                  <a:pt x="1273" y="1116"/>
                </a:lnTo>
                <a:lnTo>
                  <a:pt x="1273" y="1111"/>
                </a:lnTo>
                <a:lnTo>
                  <a:pt x="1270" y="1111"/>
                </a:lnTo>
                <a:lnTo>
                  <a:pt x="1269" y="1111"/>
                </a:lnTo>
                <a:lnTo>
                  <a:pt x="1267" y="1111"/>
                </a:lnTo>
                <a:lnTo>
                  <a:pt x="1264" y="1111"/>
                </a:lnTo>
                <a:lnTo>
                  <a:pt x="1261" y="1112"/>
                </a:lnTo>
                <a:lnTo>
                  <a:pt x="1259" y="1112"/>
                </a:lnTo>
                <a:lnTo>
                  <a:pt x="1257" y="1109"/>
                </a:lnTo>
                <a:lnTo>
                  <a:pt x="1257" y="1104"/>
                </a:lnTo>
                <a:close/>
                <a:moveTo>
                  <a:pt x="1264" y="1085"/>
                </a:moveTo>
                <a:lnTo>
                  <a:pt x="1264" y="1084"/>
                </a:lnTo>
                <a:lnTo>
                  <a:pt x="1267" y="1083"/>
                </a:lnTo>
                <a:lnTo>
                  <a:pt x="1264" y="1084"/>
                </a:lnTo>
                <a:lnTo>
                  <a:pt x="1264" y="1085"/>
                </a:lnTo>
                <a:lnTo>
                  <a:pt x="1267" y="1088"/>
                </a:lnTo>
                <a:lnTo>
                  <a:pt x="1269" y="1088"/>
                </a:lnTo>
                <a:lnTo>
                  <a:pt x="1268" y="1089"/>
                </a:lnTo>
                <a:lnTo>
                  <a:pt x="1267" y="1092"/>
                </a:lnTo>
                <a:lnTo>
                  <a:pt x="1269" y="1092"/>
                </a:lnTo>
                <a:lnTo>
                  <a:pt x="1272" y="1092"/>
                </a:lnTo>
                <a:lnTo>
                  <a:pt x="1275" y="1095"/>
                </a:lnTo>
                <a:lnTo>
                  <a:pt x="1279" y="1097"/>
                </a:lnTo>
                <a:lnTo>
                  <a:pt x="1286" y="1099"/>
                </a:lnTo>
                <a:lnTo>
                  <a:pt x="1287" y="1107"/>
                </a:lnTo>
                <a:lnTo>
                  <a:pt x="1277" y="1104"/>
                </a:lnTo>
                <a:lnTo>
                  <a:pt x="1272" y="1098"/>
                </a:lnTo>
                <a:lnTo>
                  <a:pt x="1272" y="1095"/>
                </a:lnTo>
                <a:lnTo>
                  <a:pt x="1272" y="1092"/>
                </a:lnTo>
                <a:lnTo>
                  <a:pt x="1269" y="1092"/>
                </a:lnTo>
                <a:lnTo>
                  <a:pt x="1267" y="1092"/>
                </a:lnTo>
                <a:lnTo>
                  <a:pt x="1262" y="1092"/>
                </a:lnTo>
                <a:lnTo>
                  <a:pt x="1257" y="1095"/>
                </a:lnTo>
                <a:lnTo>
                  <a:pt x="1256" y="1090"/>
                </a:lnTo>
                <a:lnTo>
                  <a:pt x="1256" y="1085"/>
                </a:lnTo>
                <a:lnTo>
                  <a:pt x="1260" y="1085"/>
                </a:lnTo>
                <a:lnTo>
                  <a:pt x="1264" y="1085"/>
                </a:lnTo>
                <a:close/>
                <a:moveTo>
                  <a:pt x="1255" y="1067"/>
                </a:moveTo>
                <a:lnTo>
                  <a:pt x="1260" y="1067"/>
                </a:lnTo>
                <a:lnTo>
                  <a:pt x="1264" y="1067"/>
                </a:lnTo>
                <a:lnTo>
                  <a:pt x="1266" y="1067"/>
                </a:lnTo>
                <a:lnTo>
                  <a:pt x="1266" y="1067"/>
                </a:lnTo>
                <a:lnTo>
                  <a:pt x="1266" y="1067"/>
                </a:lnTo>
                <a:lnTo>
                  <a:pt x="1264" y="1067"/>
                </a:lnTo>
                <a:lnTo>
                  <a:pt x="1266" y="1069"/>
                </a:lnTo>
                <a:lnTo>
                  <a:pt x="1266" y="1070"/>
                </a:lnTo>
                <a:lnTo>
                  <a:pt x="1267" y="1070"/>
                </a:lnTo>
                <a:lnTo>
                  <a:pt x="1267" y="1071"/>
                </a:lnTo>
                <a:lnTo>
                  <a:pt x="1267" y="1070"/>
                </a:lnTo>
                <a:lnTo>
                  <a:pt x="1266" y="1070"/>
                </a:lnTo>
                <a:lnTo>
                  <a:pt x="1266" y="1071"/>
                </a:lnTo>
                <a:lnTo>
                  <a:pt x="1266" y="1072"/>
                </a:lnTo>
                <a:lnTo>
                  <a:pt x="1266" y="1072"/>
                </a:lnTo>
                <a:lnTo>
                  <a:pt x="1261" y="1071"/>
                </a:lnTo>
                <a:lnTo>
                  <a:pt x="1261" y="1075"/>
                </a:lnTo>
                <a:lnTo>
                  <a:pt x="1255" y="1072"/>
                </a:lnTo>
                <a:lnTo>
                  <a:pt x="1255" y="1067"/>
                </a:lnTo>
                <a:close/>
                <a:moveTo>
                  <a:pt x="1281" y="1088"/>
                </a:moveTo>
                <a:lnTo>
                  <a:pt x="1275" y="1085"/>
                </a:lnTo>
                <a:lnTo>
                  <a:pt x="1270" y="1086"/>
                </a:lnTo>
                <a:lnTo>
                  <a:pt x="1270" y="1084"/>
                </a:lnTo>
                <a:lnTo>
                  <a:pt x="1269" y="1082"/>
                </a:lnTo>
                <a:lnTo>
                  <a:pt x="1269" y="1078"/>
                </a:lnTo>
                <a:lnTo>
                  <a:pt x="1269" y="1075"/>
                </a:lnTo>
                <a:lnTo>
                  <a:pt x="1269" y="1075"/>
                </a:lnTo>
                <a:lnTo>
                  <a:pt x="1269" y="1075"/>
                </a:lnTo>
                <a:lnTo>
                  <a:pt x="1269" y="1075"/>
                </a:lnTo>
                <a:lnTo>
                  <a:pt x="1269" y="1075"/>
                </a:lnTo>
                <a:lnTo>
                  <a:pt x="1272" y="1075"/>
                </a:lnTo>
                <a:lnTo>
                  <a:pt x="1273" y="1075"/>
                </a:lnTo>
                <a:lnTo>
                  <a:pt x="1277" y="1077"/>
                </a:lnTo>
                <a:lnTo>
                  <a:pt x="1283" y="1077"/>
                </a:lnTo>
                <a:lnTo>
                  <a:pt x="1284" y="1079"/>
                </a:lnTo>
                <a:lnTo>
                  <a:pt x="1286" y="1083"/>
                </a:lnTo>
                <a:lnTo>
                  <a:pt x="1286" y="1084"/>
                </a:lnTo>
                <a:lnTo>
                  <a:pt x="1284" y="1085"/>
                </a:lnTo>
                <a:lnTo>
                  <a:pt x="1284" y="1089"/>
                </a:lnTo>
                <a:lnTo>
                  <a:pt x="1281" y="1088"/>
                </a:lnTo>
                <a:close/>
                <a:moveTo>
                  <a:pt x="1291" y="1085"/>
                </a:moveTo>
                <a:lnTo>
                  <a:pt x="1293" y="1088"/>
                </a:lnTo>
                <a:lnTo>
                  <a:pt x="1293" y="1089"/>
                </a:lnTo>
                <a:lnTo>
                  <a:pt x="1297" y="1098"/>
                </a:lnTo>
                <a:lnTo>
                  <a:pt x="1302" y="1107"/>
                </a:lnTo>
                <a:lnTo>
                  <a:pt x="1297" y="1098"/>
                </a:lnTo>
                <a:lnTo>
                  <a:pt x="1293" y="1089"/>
                </a:lnTo>
                <a:lnTo>
                  <a:pt x="1293" y="1088"/>
                </a:lnTo>
                <a:lnTo>
                  <a:pt x="1291" y="1085"/>
                </a:lnTo>
                <a:close/>
                <a:moveTo>
                  <a:pt x="1314" y="1193"/>
                </a:moveTo>
                <a:lnTo>
                  <a:pt x="1309" y="1182"/>
                </a:lnTo>
                <a:lnTo>
                  <a:pt x="1304" y="1172"/>
                </a:lnTo>
                <a:lnTo>
                  <a:pt x="1304" y="1172"/>
                </a:lnTo>
                <a:lnTo>
                  <a:pt x="1309" y="1182"/>
                </a:lnTo>
                <a:lnTo>
                  <a:pt x="1314" y="1193"/>
                </a:lnTo>
                <a:close/>
                <a:moveTo>
                  <a:pt x="1318" y="1217"/>
                </a:moveTo>
                <a:lnTo>
                  <a:pt x="1318" y="1220"/>
                </a:lnTo>
                <a:lnTo>
                  <a:pt x="1318" y="1222"/>
                </a:lnTo>
                <a:lnTo>
                  <a:pt x="1318" y="1222"/>
                </a:lnTo>
                <a:lnTo>
                  <a:pt x="1318" y="1220"/>
                </a:lnTo>
                <a:lnTo>
                  <a:pt x="1318" y="1217"/>
                </a:lnTo>
                <a:close/>
                <a:moveTo>
                  <a:pt x="1249" y="1026"/>
                </a:moveTo>
                <a:lnTo>
                  <a:pt x="1250" y="1022"/>
                </a:lnTo>
                <a:lnTo>
                  <a:pt x="1249" y="1019"/>
                </a:lnTo>
                <a:lnTo>
                  <a:pt x="1252" y="1016"/>
                </a:lnTo>
                <a:lnTo>
                  <a:pt x="1255" y="1016"/>
                </a:lnTo>
                <a:lnTo>
                  <a:pt x="1256" y="1020"/>
                </a:lnTo>
                <a:lnTo>
                  <a:pt x="1257" y="1025"/>
                </a:lnTo>
                <a:lnTo>
                  <a:pt x="1261" y="1025"/>
                </a:lnTo>
                <a:lnTo>
                  <a:pt x="1264" y="1025"/>
                </a:lnTo>
                <a:lnTo>
                  <a:pt x="1267" y="1025"/>
                </a:lnTo>
                <a:lnTo>
                  <a:pt x="1269" y="1026"/>
                </a:lnTo>
                <a:lnTo>
                  <a:pt x="1273" y="1028"/>
                </a:lnTo>
                <a:lnTo>
                  <a:pt x="1276" y="1026"/>
                </a:lnTo>
                <a:lnTo>
                  <a:pt x="1277" y="1021"/>
                </a:lnTo>
                <a:lnTo>
                  <a:pt x="1273" y="1018"/>
                </a:lnTo>
                <a:lnTo>
                  <a:pt x="1267" y="1014"/>
                </a:lnTo>
                <a:lnTo>
                  <a:pt x="1263" y="1008"/>
                </a:lnTo>
                <a:lnTo>
                  <a:pt x="1262" y="1007"/>
                </a:lnTo>
                <a:lnTo>
                  <a:pt x="1262" y="1006"/>
                </a:lnTo>
                <a:lnTo>
                  <a:pt x="1262" y="1006"/>
                </a:lnTo>
                <a:lnTo>
                  <a:pt x="1262" y="1005"/>
                </a:lnTo>
                <a:lnTo>
                  <a:pt x="1259" y="1006"/>
                </a:lnTo>
                <a:lnTo>
                  <a:pt x="1255" y="1007"/>
                </a:lnTo>
                <a:lnTo>
                  <a:pt x="1253" y="1009"/>
                </a:lnTo>
                <a:lnTo>
                  <a:pt x="1250" y="1008"/>
                </a:lnTo>
                <a:lnTo>
                  <a:pt x="1248" y="1005"/>
                </a:lnTo>
                <a:lnTo>
                  <a:pt x="1249" y="1001"/>
                </a:lnTo>
                <a:lnTo>
                  <a:pt x="1252" y="999"/>
                </a:lnTo>
                <a:lnTo>
                  <a:pt x="1254" y="1000"/>
                </a:lnTo>
                <a:lnTo>
                  <a:pt x="1257" y="1000"/>
                </a:lnTo>
                <a:lnTo>
                  <a:pt x="1260" y="999"/>
                </a:lnTo>
                <a:lnTo>
                  <a:pt x="1259" y="1002"/>
                </a:lnTo>
                <a:lnTo>
                  <a:pt x="1262" y="1005"/>
                </a:lnTo>
                <a:lnTo>
                  <a:pt x="1262" y="1006"/>
                </a:lnTo>
                <a:lnTo>
                  <a:pt x="1262" y="1006"/>
                </a:lnTo>
                <a:lnTo>
                  <a:pt x="1268" y="1008"/>
                </a:lnTo>
                <a:lnTo>
                  <a:pt x="1275" y="1011"/>
                </a:lnTo>
                <a:lnTo>
                  <a:pt x="1280" y="1012"/>
                </a:lnTo>
                <a:lnTo>
                  <a:pt x="1281" y="1016"/>
                </a:lnTo>
                <a:lnTo>
                  <a:pt x="1283" y="1028"/>
                </a:lnTo>
                <a:lnTo>
                  <a:pt x="1293" y="1036"/>
                </a:lnTo>
                <a:lnTo>
                  <a:pt x="1295" y="1043"/>
                </a:lnTo>
                <a:lnTo>
                  <a:pt x="1298" y="1050"/>
                </a:lnTo>
                <a:lnTo>
                  <a:pt x="1301" y="1055"/>
                </a:lnTo>
                <a:lnTo>
                  <a:pt x="1303" y="1060"/>
                </a:lnTo>
                <a:lnTo>
                  <a:pt x="1305" y="1062"/>
                </a:lnTo>
                <a:lnTo>
                  <a:pt x="1308" y="1062"/>
                </a:lnTo>
                <a:lnTo>
                  <a:pt x="1308" y="1058"/>
                </a:lnTo>
                <a:lnTo>
                  <a:pt x="1308" y="1055"/>
                </a:lnTo>
                <a:lnTo>
                  <a:pt x="1308" y="1058"/>
                </a:lnTo>
                <a:lnTo>
                  <a:pt x="1308" y="1062"/>
                </a:lnTo>
                <a:lnTo>
                  <a:pt x="1321" y="1098"/>
                </a:lnTo>
                <a:lnTo>
                  <a:pt x="1331" y="1134"/>
                </a:lnTo>
                <a:lnTo>
                  <a:pt x="1330" y="1135"/>
                </a:lnTo>
                <a:lnTo>
                  <a:pt x="1329" y="1137"/>
                </a:lnTo>
                <a:lnTo>
                  <a:pt x="1331" y="1148"/>
                </a:lnTo>
                <a:lnTo>
                  <a:pt x="1335" y="1160"/>
                </a:lnTo>
                <a:lnTo>
                  <a:pt x="1336" y="1165"/>
                </a:lnTo>
                <a:lnTo>
                  <a:pt x="1335" y="1168"/>
                </a:lnTo>
                <a:lnTo>
                  <a:pt x="1329" y="1152"/>
                </a:lnTo>
                <a:lnTo>
                  <a:pt x="1323" y="1135"/>
                </a:lnTo>
                <a:lnTo>
                  <a:pt x="1315" y="1110"/>
                </a:lnTo>
                <a:lnTo>
                  <a:pt x="1303" y="1084"/>
                </a:lnTo>
                <a:lnTo>
                  <a:pt x="1301" y="1079"/>
                </a:lnTo>
                <a:lnTo>
                  <a:pt x="1298" y="1075"/>
                </a:lnTo>
                <a:lnTo>
                  <a:pt x="1297" y="1075"/>
                </a:lnTo>
                <a:lnTo>
                  <a:pt x="1296" y="1075"/>
                </a:lnTo>
                <a:lnTo>
                  <a:pt x="1297" y="1075"/>
                </a:lnTo>
                <a:lnTo>
                  <a:pt x="1298" y="1075"/>
                </a:lnTo>
                <a:lnTo>
                  <a:pt x="1293" y="1062"/>
                </a:lnTo>
                <a:lnTo>
                  <a:pt x="1282" y="1051"/>
                </a:lnTo>
                <a:lnTo>
                  <a:pt x="1280" y="1051"/>
                </a:lnTo>
                <a:lnTo>
                  <a:pt x="1276" y="1050"/>
                </a:lnTo>
                <a:lnTo>
                  <a:pt x="1272" y="1048"/>
                </a:lnTo>
                <a:lnTo>
                  <a:pt x="1268" y="1044"/>
                </a:lnTo>
                <a:lnTo>
                  <a:pt x="1269" y="1041"/>
                </a:lnTo>
                <a:lnTo>
                  <a:pt x="1273" y="1043"/>
                </a:lnTo>
                <a:lnTo>
                  <a:pt x="1276" y="1046"/>
                </a:lnTo>
                <a:lnTo>
                  <a:pt x="1280" y="1044"/>
                </a:lnTo>
                <a:lnTo>
                  <a:pt x="1280" y="1041"/>
                </a:lnTo>
                <a:lnTo>
                  <a:pt x="1275" y="1039"/>
                </a:lnTo>
                <a:lnTo>
                  <a:pt x="1267" y="1034"/>
                </a:lnTo>
                <a:lnTo>
                  <a:pt x="1264" y="1025"/>
                </a:lnTo>
                <a:lnTo>
                  <a:pt x="1261" y="1025"/>
                </a:lnTo>
                <a:lnTo>
                  <a:pt x="1257" y="1025"/>
                </a:lnTo>
                <a:lnTo>
                  <a:pt x="1254" y="1026"/>
                </a:lnTo>
                <a:lnTo>
                  <a:pt x="1249" y="1026"/>
                </a:lnTo>
                <a:close/>
                <a:moveTo>
                  <a:pt x="1248" y="1047"/>
                </a:moveTo>
                <a:lnTo>
                  <a:pt x="1248" y="1048"/>
                </a:lnTo>
                <a:lnTo>
                  <a:pt x="1249" y="1049"/>
                </a:lnTo>
                <a:lnTo>
                  <a:pt x="1248" y="1048"/>
                </a:lnTo>
                <a:lnTo>
                  <a:pt x="1248" y="1047"/>
                </a:lnTo>
                <a:close/>
                <a:moveTo>
                  <a:pt x="1246" y="967"/>
                </a:moveTo>
                <a:lnTo>
                  <a:pt x="1248" y="965"/>
                </a:lnTo>
                <a:lnTo>
                  <a:pt x="1252" y="965"/>
                </a:lnTo>
                <a:lnTo>
                  <a:pt x="1252" y="970"/>
                </a:lnTo>
                <a:lnTo>
                  <a:pt x="1252" y="973"/>
                </a:lnTo>
                <a:lnTo>
                  <a:pt x="1247" y="973"/>
                </a:lnTo>
                <a:lnTo>
                  <a:pt x="1246" y="967"/>
                </a:lnTo>
                <a:close/>
                <a:moveTo>
                  <a:pt x="1245" y="949"/>
                </a:moveTo>
                <a:lnTo>
                  <a:pt x="1248" y="948"/>
                </a:lnTo>
                <a:lnTo>
                  <a:pt x="1252" y="949"/>
                </a:lnTo>
                <a:lnTo>
                  <a:pt x="1252" y="952"/>
                </a:lnTo>
                <a:lnTo>
                  <a:pt x="1252" y="955"/>
                </a:lnTo>
                <a:lnTo>
                  <a:pt x="1255" y="955"/>
                </a:lnTo>
                <a:lnTo>
                  <a:pt x="1259" y="955"/>
                </a:lnTo>
                <a:lnTo>
                  <a:pt x="1260" y="955"/>
                </a:lnTo>
                <a:lnTo>
                  <a:pt x="1260" y="956"/>
                </a:lnTo>
                <a:lnTo>
                  <a:pt x="1264" y="958"/>
                </a:lnTo>
                <a:lnTo>
                  <a:pt x="1269" y="958"/>
                </a:lnTo>
                <a:lnTo>
                  <a:pt x="1270" y="956"/>
                </a:lnTo>
                <a:lnTo>
                  <a:pt x="1270" y="955"/>
                </a:lnTo>
                <a:lnTo>
                  <a:pt x="1267" y="950"/>
                </a:lnTo>
                <a:lnTo>
                  <a:pt x="1262" y="948"/>
                </a:lnTo>
                <a:lnTo>
                  <a:pt x="1260" y="948"/>
                </a:lnTo>
                <a:lnTo>
                  <a:pt x="1257" y="948"/>
                </a:lnTo>
                <a:lnTo>
                  <a:pt x="1257" y="943"/>
                </a:lnTo>
                <a:lnTo>
                  <a:pt x="1257" y="938"/>
                </a:lnTo>
                <a:lnTo>
                  <a:pt x="1254" y="937"/>
                </a:lnTo>
                <a:lnTo>
                  <a:pt x="1250" y="937"/>
                </a:lnTo>
                <a:lnTo>
                  <a:pt x="1247" y="939"/>
                </a:lnTo>
                <a:lnTo>
                  <a:pt x="1245" y="938"/>
                </a:lnTo>
                <a:lnTo>
                  <a:pt x="1242" y="935"/>
                </a:lnTo>
                <a:lnTo>
                  <a:pt x="1242" y="932"/>
                </a:lnTo>
                <a:lnTo>
                  <a:pt x="1246" y="931"/>
                </a:lnTo>
                <a:lnTo>
                  <a:pt x="1250" y="932"/>
                </a:lnTo>
                <a:lnTo>
                  <a:pt x="1250" y="935"/>
                </a:lnTo>
                <a:lnTo>
                  <a:pt x="1250" y="937"/>
                </a:lnTo>
                <a:lnTo>
                  <a:pt x="1254" y="937"/>
                </a:lnTo>
                <a:lnTo>
                  <a:pt x="1257" y="938"/>
                </a:lnTo>
                <a:lnTo>
                  <a:pt x="1263" y="939"/>
                </a:lnTo>
                <a:lnTo>
                  <a:pt x="1269" y="941"/>
                </a:lnTo>
                <a:lnTo>
                  <a:pt x="1272" y="941"/>
                </a:lnTo>
                <a:lnTo>
                  <a:pt x="1272" y="942"/>
                </a:lnTo>
                <a:lnTo>
                  <a:pt x="1274" y="952"/>
                </a:lnTo>
                <a:lnTo>
                  <a:pt x="1275" y="963"/>
                </a:lnTo>
                <a:lnTo>
                  <a:pt x="1274" y="967"/>
                </a:lnTo>
                <a:lnTo>
                  <a:pt x="1268" y="967"/>
                </a:lnTo>
                <a:lnTo>
                  <a:pt x="1262" y="965"/>
                </a:lnTo>
                <a:lnTo>
                  <a:pt x="1259" y="960"/>
                </a:lnTo>
                <a:lnTo>
                  <a:pt x="1259" y="958"/>
                </a:lnTo>
                <a:lnTo>
                  <a:pt x="1259" y="955"/>
                </a:lnTo>
                <a:lnTo>
                  <a:pt x="1255" y="955"/>
                </a:lnTo>
                <a:lnTo>
                  <a:pt x="1252" y="955"/>
                </a:lnTo>
                <a:lnTo>
                  <a:pt x="1249" y="957"/>
                </a:lnTo>
                <a:lnTo>
                  <a:pt x="1246" y="957"/>
                </a:lnTo>
                <a:lnTo>
                  <a:pt x="1245" y="953"/>
                </a:lnTo>
                <a:lnTo>
                  <a:pt x="1245" y="949"/>
                </a:lnTo>
                <a:close/>
                <a:moveTo>
                  <a:pt x="1249" y="922"/>
                </a:moveTo>
                <a:lnTo>
                  <a:pt x="1253" y="922"/>
                </a:lnTo>
                <a:lnTo>
                  <a:pt x="1256" y="923"/>
                </a:lnTo>
                <a:lnTo>
                  <a:pt x="1257" y="922"/>
                </a:lnTo>
                <a:lnTo>
                  <a:pt x="1260" y="923"/>
                </a:lnTo>
                <a:lnTo>
                  <a:pt x="1263" y="924"/>
                </a:lnTo>
                <a:lnTo>
                  <a:pt x="1267" y="922"/>
                </a:lnTo>
                <a:lnTo>
                  <a:pt x="1267" y="917"/>
                </a:lnTo>
                <a:lnTo>
                  <a:pt x="1262" y="916"/>
                </a:lnTo>
                <a:lnTo>
                  <a:pt x="1256" y="913"/>
                </a:lnTo>
                <a:lnTo>
                  <a:pt x="1255" y="907"/>
                </a:lnTo>
                <a:lnTo>
                  <a:pt x="1255" y="906"/>
                </a:lnTo>
                <a:lnTo>
                  <a:pt x="1255" y="904"/>
                </a:lnTo>
                <a:lnTo>
                  <a:pt x="1250" y="904"/>
                </a:lnTo>
                <a:lnTo>
                  <a:pt x="1247" y="906"/>
                </a:lnTo>
                <a:lnTo>
                  <a:pt x="1242" y="907"/>
                </a:lnTo>
                <a:lnTo>
                  <a:pt x="1241" y="902"/>
                </a:lnTo>
                <a:lnTo>
                  <a:pt x="1241" y="900"/>
                </a:lnTo>
                <a:lnTo>
                  <a:pt x="1241" y="899"/>
                </a:lnTo>
                <a:lnTo>
                  <a:pt x="1240" y="899"/>
                </a:lnTo>
                <a:lnTo>
                  <a:pt x="1239" y="899"/>
                </a:lnTo>
                <a:lnTo>
                  <a:pt x="1240" y="899"/>
                </a:lnTo>
                <a:lnTo>
                  <a:pt x="1241" y="899"/>
                </a:lnTo>
                <a:lnTo>
                  <a:pt x="1243" y="897"/>
                </a:lnTo>
                <a:lnTo>
                  <a:pt x="1246" y="899"/>
                </a:lnTo>
                <a:lnTo>
                  <a:pt x="1247" y="902"/>
                </a:lnTo>
                <a:lnTo>
                  <a:pt x="1247" y="906"/>
                </a:lnTo>
                <a:lnTo>
                  <a:pt x="1250" y="904"/>
                </a:lnTo>
                <a:lnTo>
                  <a:pt x="1255" y="904"/>
                </a:lnTo>
                <a:lnTo>
                  <a:pt x="1255" y="904"/>
                </a:lnTo>
                <a:lnTo>
                  <a:pt x="1256" y="904"/>
                </a:lnTo>
                <a:lnTo>
                  <a:pt x="1262" y="908"/>
                </a:lnTo>
                <a:lnTo>
                  <a:pt x="1267" y="906"/>
                </a:lnTo>
                <a:lnTo>
                  <a:pt x="1264" y="901"/>
                </a:lnTo>
                <a:lnTo>
                  <a:pt x="1259" y="899"/>
                </a:lnTo>
                <a:lnTo>
                  <a:pt x="1259" y="897"/>
                </a:lnTo>
                <a:lnTo>
                  <a:pt x="1259" y="897"/>
                </a:lnTo>
                <a:lnTo>
                  <a:pt x="1254" y="895"/>
                </a:lnTo>
                <a:lnTo>
                  <a:pt x="1255" y="889"/>
                </a:lnTo>
                <a:lnTo>
                  <a:pt x="1259" y="892"/>
                </a:lnTo>
                <a:lnTo>
                  <a:pt x="1262" y="892"/>
                </a:lnTo>
                <a:lnTo>
                  <a:pt x="1264" y="890"/>
                </a:lnTo>
                <a:lnTo>
                  <a:pt x="1264" y="888"/>
                </a:lnTo>
                <a:lnTo>
                  <a:pt x="1262" y="885"/>
                </a:lnTo>
                <a:lnTo>
                  <a:pt x="1259" y="882"/>
                </a:lnTo>
                <a:lnTo>
                  <a:pt x="1256" y="881"/>
                </a:lnTo>
                <a:lnTo>
                  <a:pt x="1253" y="881"/>
                </a:lnTo>
                <a:lnTo>
                  <a:pt x="1253" y="880"/>
                </a:lnTo>
                <a:lnTo>
                  <a:pt x="1252" y="879"/>
                </a:lnTo>
                <a:lnTo>
                  <a:pt x="1250" y="875"/>
                </a:lnTo>
                <a:lnTo>
                  <a:pt x="1252" y="873"/>
                </a:lnTo>
                <a:lnTo>
                  <a:pt x="1255" y="872"/>
                </a:lnTo>
                <a:lnTo>
                  <a:pt x="1257" y="874"/>
                </a:lnTo>
                <a:lnTo>
                  <a:pt x="1260" y="875"/>
                </a:lnTo>
                <a:lnTo>
                  <a:pt x="1262" y="874"/>
                </a:lnTo>
                <a:lnTo>
                  <a:pt x="1262" y="871"/>
                </a:lnTo>
                <a:lnTo>
                  <a:pt x="1260" y="868"/>
                </a:lnTo>
                <a:lnTo>
                  <a:pt x="1254" y="866"/>
                </a:lnTo>
                <a:lnTo>
                  <a:pt x="1248" y="869"/>
                </a:lnTo>
                <a:lnTo>
                  <a:pt x="1250" y="862"/>
                </a:lnTo>
                <a:lnTo>
                  <a:pt x="1250" y="857"/>
                </a:lnTo>
                <a:lnTo>
                  <a:pt x="1256" y="858"/>
                </a:lnTo>
                <a:lnTo>
                  <a:pt x="1262" y="860"/>
                </a:lnTo>
                <a:lnTo>
                  <a:pt x="1264" y="862"/>
                </a:lnTo>
                <a:lnTo>
                  <a:pt x="1267" y="866"/>
                </a:lnTo>
                <a:lnTo>
                  <a:pt x="1270" y="867"/>
                </a:lnTo>
                <a:lnTo>
                  <a:pt x="1273" y="868"/>
                </a:lnTo>
                <a:lnTo>
                  <a:pt x="1270" y="867"/>
                </a:lnTo>
                <a:lnTo>
                  <a:pt x="1267" y="866"/>
                </a:lnTo>
                <a:lnTo>
                  <a:pt x="1267" y="885"/>
                </a:lnTo>
                <a:lnTo>
                  <a:pt x="1272" y="901"/>
                </a:lnTo>
                <a:lnTo>
                  <a:pt x="1274" y="904"/>
                </a:lnTo>
                <a:lnTo>
                  <a:pt x="1277" y="903"/>
                </a:lnTo>
                <a:lnTo>
                  <a:pt x="1281" y="915"/>
                </a:lnTo>
                <a:lnTo>
                  <a:pt x="1276" y="925"/>
                </a:lnTo>
                <a:lnTo>
                  <a:pt x="1274" y="920"/>
                </a:lnTo>
                <a:lnTo>
                  <a:pt x="1272" y="913"/>
                </a:lnTo>
                <a:lnTo>
                  <a:pt x="1270" y="924"/>
                </a:lnTo>
                <a:lnTo>
                  <a:pt x="1272" y="936"/>
                </a:lnTo>
                <a:lnTo>
                  <a:pt x="1263" y="932"/>
                </a:lnTo>
                <a:lnTo>
                  <a:pt x="1256" y="925"/>
                </a:lnTo>
                <a:lnTo>
                  <a:pt x="1256" y="924"/>
                </a:lnTo>
                <a:lnTo>
                  <a:pt x="1256" y="923"/>
                </a:lnTo>
                <a:lnTo>
                  <a:pt x="1253" y="922"/>
                </a:lnTo>
                <a:lnTo>
                  <a:pt x="1249" y="922"/>
                </a:lnTo>
                <a:lnTo>
                  <a:pt x="1246" y="923"/>
                </a:lnTo>
                <a:lnTo>
                  <a:pt x="1243" y="922"/>
                </a:lnTo>
                <a:lnTo>
                  <a:pt x="1242" y="918"/>
                </a:lnTo>
                <a:lnTo>
                  <a:pt x="1242" y="915"/>
                </a:lnTo>
                <a:lnTo>
                  <a:pt x="1245" y="914"/>
                </a:lnTo>
                <a:lnTo>
                  <a:pt x="1248" y="915"/>
                </a:lnTo>
                <a:lnTo>
                  <a:pt x="1250" y="915"/>
                </a:lnTo>
                <a:lnTo>
                  <a:pt x="1252" y="915"/>
                </a:lnTo>
                <a:lnTo>
                  <a:pt x="1250" y="918"/>
                </a:lnTo>
                <a:lnTo>
                  <a:pt x="1249" y="922"/>
                </a:lnTo>
                <a:close/>
                <a:moveTo>
                  <a:pt x="1239" y="885"/>
                </a:moveTo>
                <a:lnTo>
                  <a:pt x="1243" y="881"/>
                </a:lnTo>
                <a:lnTo>
                  <a:pt x="1248" y="882"/>
                </a:lnTo>
                <a:lnTo>
                  <a:pt x="1248" y="885"/>
                </a:lnTo>
                <a:lnTo>
                  <a:pt x="1248" y="888"/>
                </a:lnTo>
                <a:lnTo>
                  <a:pt x="1249" y="888"/>
                </a:lnTo>
                <a:lnTo>
                  <a:pt x="1252" y="889"/>
                </a:lnTo>
                <a:lnTo>
                  <a:pt x="1249" y="888"/>
                </a:lnTo>
                <a:lnTo>
                  <a:pt x="1248" y="888"/>
                </a:lnTo>
                <a:lnTo>
                  <a:pt x="1245" y="890"/>
                </a:lnTo>
                <a:lnTo>
                  <a:pt x="1240" y="890"/>
                </a:lnTo>
                <a:lnTo>
                  <a:pt x="1239" y="888"/>
                </a:lnTo>
                <a:lnTo>
                  <a:pt x="1239" y="885"/>
                </a:lnTo>
                <a:close/>
                <a:moveTo>
                  <a:pt x="1238" y="855"/>
                </a:moveTo>
                <a:lnTo>
                  <a:pt x="1238" y="853"/>
                </a:lnTo>
                <a:lnTo>
                  <a:pt x="1240" y="851"/>
                </a:lnTo>
                <a:lnTo>
                  <a:pt x="1246" y="852"/>
                </a:lnTo>
                <a:lnTo>
                  <a:pt x="1250" y="857"/>
                </a:lnTo>
                <a:lnTo>
                  <a:pt x="1246" y="857"/>
                </a:lnTo>
                <a:lnTo>
                  <a:pt x="1241" y="858"/>
                </a:lnTo>
                <a:lnTo>
                  <a:pt x="1239" y="859"/>
                </a:lnTo>
                <a:lnTo>
                  <a:pt x="1238" y="855"/>
                </a:lnTo>
                <a:close/>
                <a:moveTo>
                  <a:pt x="1242" y="827"/>
                </a:moveTo>
                <a:lnTo>
                  <a:pt x="1245" y="830"/>
                </a:lnTo>
                <a:lnTo>
                  <a:pt x="1247" y="832"/>
                </a:lnTo>
                <a:lnTo>
                  <a:pt x="1241" y="834"/>
                </a:lnTo>
                <a:lnTo>
                  <a:pt x="1234" y="833"/>
                </a:lnTo>
                <a:lnTo>
                  <a:pt x="1235" y="827"/>
                </a:lnTo>
                <a:lnTo>
                  <a:pt x="1242" y="827"/>
                </a:lnTo>
                <a:close/>
                <a:moveTo>
                  <a:pt x="1232" y="820"/>
                </a:moveTo>
                <a:lnTo>
                  <a:pt x="1232" y="820"/>
                </a:lnTo>
                <a:lnTo>
                  <a:pt x="1233" y="822"/>
                </a:lnTo>
                <a:lnTo>
                  <a:pt x="1232" y="820"/>
                </a:lnTo>
                <a:lnTo>
                  <a:pt x="1232" y="820"/>
                </a:lnTo>
                <a:close/>
                <a:moveTo>
                  <a:pt x="1232" y="794"/>
                </a:moveTo>
                <a:lnTo>
                  <a:pt x="1236" y="791"/>
                </a:lnTo>
                <a:lnTo>
                  <a:pt x="1242" y="791"/>
                </a:lnTo>
                <a:lnTo>
                  <a:pt x="1243" y="796"/>
                </a:lnTo>
                <a:lnTo>
                  <a:pt x="1242" y="799"/>
                </a:lnTo>
                <a:lnTo>
                  <a:pt x="1233" y="799"/>
                </a:lnTo>
                <a:lnTo>
                  <a:pt x="1232" y="794"/>
                </a:lnTo>
                <a:close/>
                <a:moveTo>
                  <a:pt x="1233" y="777"/>
                </a:moveTo>
                <a:lnTo>
                  <a:pt x="1238" y="777"/>
                </a:lnTo>
                <a:lnTo>
                  <a:pt x="1242" y="780"/>
                </a:lnTo>
                <a:lnTo>
                  <a:pt x="1242" y="782"/>
                </a:lnTo>
                <a:lnTo>
                  <a:pt x="1241" y="784"/>
                </a:lnTo>
                <a:lnTo>
                  <a:pt x="1240" y="784"/>
                </a:lnTo>
                <a:lnTo>
                  <a:pt x="1239" y="784"/>
                </a:lnTo>
                <a:lnTo>
                  <a:pt x="1235" y="785"/>
                </a:lnTo>
                <a:lnTo>
                  <a:pt x="1231" y="783"/>
                </a:lnTo>
                <a:lnTo>
                  <a:pt x="1231" y="780"/>
                </a:lnTo>
                <a:lnTo>
                  <a:pt x="1233" y="777"/>
                </a:lnTo>
                <a:close/>
                <a:moveTo>
                  <a:pt x="1282" y="1009"/>
                </a:moveTo>
                <a:lnTo>
                  <a:pt x="1273" y="1002"/>
                </a:lnTo>
                <a:lnTo>
                  <a:pt x="1262" y="999"/>
                </a:lnTo>
                <a:lnTo>
                  <a:pt x="1262" y="994"/>
                </a:lnTo>
                <a:lnTo>
                  <a:pt x="1262" y="991"/>
                </a:lnTo>
                <a:lnTo>
                  <a:pt x="1259" y="990"/>
                </a:lnTo>
                <a:lnTo>
                  <a:pt x="1256" y="990"/>
                </a:lnTo>
                <a:lnTo>
                  <a:pt x="1259" y="990"/>
                </a:lnTo>
                <a:lnTo>
                  <a:pt x="1262" y="991"/>
                </a:lnTo>
                <a:lnTo>
                  <a:pt x="1264" y="990"/>
                </a:lnTo>
                <a:lnTo>
                  <a:pt x="1267" y="991"/>
                </a:lnTo>
                <a:lnTo>
                  <a:pt x="1269" y="994"/>
                </a:lnTo>
                <a:lnTo>
                  <a:pt x="1273" y="992"/>
                </a:lnTo>
                <a:lnTo>
                  <a:pt x="1274" y="988"/>
                </a:lnTo>
                <a:lnTo>
                  <a:pt x="1270" y="985"/>
                </a:lnTo>
                <a:lnTo>
                  <a:pt x="1264" y="983"/>
                </a:lnTo>
                <a:lnTo>
                  <a:pt x="1260" y="980"/>
                </a:lnTo>
                <a:lnTo>
                  <a:pt x="1261" y="976"/>
                </a:lnTo>
                <a:lnTo>
                  <a:pt x="1260" y="972"/>
                </a:lnTo>
                <a:lnTo>
                  <a:pt x="1267" y="974"/>
                </a:lnTo>
                <a:lnTo>
                  <a:pt x="1275" y="976"/>
                </a:lnTo>
                <a:lnTo>
                  <a:pt x="1275" y="974"/>
                </a:lnTo>
                <a:lnTo>
                  <a:pt x="1276" y="972"/>
                </a:lnTo>
                <a:lnTo>
                  <a:pt x="1275" y="974"/>
                </a:lnTo>
                <a:lnTo>
                  <a:pt x="1275" y="976"/>
                </a:lnTo>
                <a:lnTo>
                  <a:pt x="1275" y="978"/>
                </a:lnTo>
                <a:lnTo>
                  <a:pt x="1277" y="979"/>
                </a:lnTo>
                <a:lnTo>
                  <a:pt x="1279" y="994"/>
                </a:lnTo>
                <a:lnTo>
                  <a:pt x="1282" y="1009"/>
                </a:lnTo>
                <a:lnTo>
                  <a:pt x="1282" y="1009"/>
                </a:lnTo>
                <a:close/>
                <a:moveTo>
                  <a:pt x="1329" y="1251"/>
                </a:moveTo>
                <a:lnTo>
                  <a:pt x="1329" y="1250"/>
                </a:lnTo>
                <a:lnTo>
                  <a:pt x="1329" y="1248"/>
                </a:lnTo>
                <a:lnTo>
                  <a:pt x="1329" y="1250"/>
                </a:lnTo>
                <a:lnTo>
                  <a:pt x="1329" y="1251"/>
                </a:lnTo>
                <a:close/>
                <a:moveTo>
                  <a:pt x="1323" y="1291"/>
                </a:moveTo>
                <a:lnTo>
                  <a:pt x="1322" y="1290"/>
                </a:lnTo>
                <a:lnTo>
                  <a:pt x="1322" y="1287"/>
                </a:lnTo>
                <a:lnTo>
                  <a:pt x="1322" y="1290"/>
                </a:lnTo>
                <a:lnTo>
                  <a:pt x="1323" y="1291"/>
                </a:lnTo>
                <a:close/>
                <a:moveTo>
                  <a:pt x="1322" y="1264"/>
                </a:moveTo>
                <a:lnTo>
                  <a:pt x="1323" y="1270"/>
                </a:lnTo>
                <a:lnTo>
                  <a:pt x="1324" y="1276"/>
                </a:lnTo>
                <a:lnTo>
                  <a:pt x="1326" y="1276"/>
                </a:lnTo>
                <a:lnTo>
                  <a:pt x="1329" y="1274"/>
                </a:lnTo>
                <a:lnTo>
                  <a:pt x="1333" y="1298"/>
                </a:lnTo>
                <a:lnTo>
                  <a:pt x="1341" y="1320"/>
                </a:lnTo>
                <a:lnTo>
                  <a:pt x="1341" y="1325"/>
                </a:lnTo>
                <a:lnTo>
                  <a:pt x="1343" y="1329"/>
                </a:lnTo>
                <a:lnTo>
                  <a:pt x="1344" y="1333"/>
                </a:lnTo>
                <a:lnTo>
                  <a:pt x="1343" y="1336"/>
                </a:lnTo>
                <a:lnTo>
                  <a:pt x="1341" y="1336"/>
                </a:lnTo>
                <a:lnTo>
                  <a:pt x="1337" y="1336"/>
                </a:lnTo>
                <a:lnTo>
                  <a:pt x="1335" y="1335"/>
                </a:lnTo>
                <a:lnTo>
                  <a:pt x="1333" y="1332"/>
                </a:lnTo>
                <a:lnTo>
                  <a:pt x="1331" y="1315"/>
                </a:lnTo>
                <a:lnTo>
                  <a:pt x="1329" y="1299"/>
                </a:lnTo>
                <a:lnTo>
                  <a:pt x="1328" y="1294"/>
                </a:lnTo>
                <a:lnTo>
                  <a:pt x="1324" y="1291"/>
                </a:lnTo>
                <a:lnTo>
                  <a:pt x="1324" y="1284"/>
                </a:lnTo>
                <a:lnTo>
                  <a:pt x="1324" y="1276"/>
                </a:lnTo>
                <a:lnTo>
                  <a:pt x="1323" y="1270"/>
                </a:lnTo>
                <a:lnTo>
                  <a:pt x="1322" y="1264"/>
                </a:lnTo>
                <a:close/>
                <a:moveTo>
                  <a:pt x="1348" y="1396"/>
                </a:moveTo>
                <a:lnTo>
                  <a:pt x="1346" y="1393"/>
                </a:lnTo>
                <a:lnTo>
                  <a:pt x="1348" y="1391"/>
                </a:lnTo>
                <a:lnTo>
                  <a:pt x="1345" y="1385"/>
                </a:lnTo>
                <a:lnTo>
                  <a:pt x="1344" y="1378"/>
                </a:lnTo>
                <a:lnTo>
                  <a:pt x="1348" y="1382"/>
                </a:lnTo>
                <a:lnTo>
                  <a:pt x="1350" y="1386"/>
                </a:lnTo>
                <a:lnTo>
                  <a:pt x="1350" y="1390"/>
                </a:lnTo>
                <a:lnTo>
                  <a:pt x="1348" y="1391"/>
                </a:lnTo>
                <a:lnTo>
                  <a:pt x="1346" y="1393"/>
                </a:lnTo>
                <a:lnTo>
                  <a:pt x="1348" y="1396"/>
                </a:lnTo>
                <a:close/>
                <a:moveTo>
                  <a:pt x="1352" y="1232"/>
                </a:moveTo>
                <a:lnTo>
                  <a:pt x="1346" y="1210"/>
                </a:lnTo>
                <a:lnTo>
                  <a:pt x="1339" y="1188"/>
                </a:lnTo>
                <a:lnTo>
                  <a:pt x="1346" y="1210"/>
                </a:lnTo>
                <a:lnTo>
                  <a:pt x="1352" y="1232"/>
                </a:lnTo>
                <a:close/>
                <a:moveTo>
                  <a:pt x="1221" y="782"/>
                </a:moveTo>
                <a:lnTo>
                  <a:pt x="1222" y="781"/>
                </a:lnTo>
                <a:lnTo>
                  <a:pt x="1222" y="780"/>
                </a:lnTo>
                <a:lnTo>
                  <a:pt x="1222" y="781"/>
                </a:lnTo>
                <a:lnTo>
                  <a:pt x="1221" y="782"/>
                </a:lnTo>
                <a:lnTo>
                  <a:pt x="1221" y="782"/>
                </a:lnTo>
                <a:close/>
                <a:moveTo>
                  <a:pt x="1218" y="1209"/>
                </a:moveTo>
                <a:lnTo>
                  <a:pt x="1219" y="1207"/>
                </a:lnTo>
                <a:lnTo>
                  <a:pt x="1219" y="1204"/>
                </a:lnTo>
                <a:lnTo>
                  <a:pt x="1219" y="1207"/>
                </a:lnTo>
                <a:lnTo>
                  <a:pt x="1218" y="1209"/>
                </a:lnTo>
                <a:lnTo>
                  <a:pt x="1218" y="1209"/>
                </a:lnTo>
                <a:close/>
                <a:moveTo>
                  <a:pt x="1215" y="1174"/>
                </a:moveTo>
                <a:lnTo>
                  <a:pt x="1217" y="1177"/>
                </a:lnTo>
                <a:lnTo>
                  <a:pt x="1217" y="1182"/>
                </a:lnTo>
                <a:lnTo>
                  <a:pt x="1217" y="1177"/>
                </a:lnTo>
                <a:lnTo>
                  <a:pt x="1215" y="1174"/>
                </a:lnTo>
                <a:close/>
                <a:moveTo>
                  <a:pt x="1208" y="1112"/>
                </a:moveTo>
                <a:lnTo>
                  <a:pt x="1210" y="1111"/>
                </a:lnTo>
                <a:lnTo>
                  <a:pt x="1211" y="1111"/>
                </a:lnTo>
                <a:lnTo>
                  <a:pt x="1210" y="1111"/>
                </a:lnTo>
                <a:lnTo>
                  <a:pt x="1208" y="1112"/>
                </a:lnTo>
                <a:close/>
                <a:moveTo>
                  <a:pt x="1206" y="959"/>
                </a:moveTo>
                <a:lnTo>
                  <a:pt x="1206" y="958"/>
                </a:lnTo>
                <a:lnTo>
                  <a:pt x="1206" y="958"/>
                </a:lnTo>
                <a:lnTo>
                  <a:pt x="1206" y="958"/>
                </a:lnTo>
                <a:lnTo>
                  <a:pt x="1206" y="959"/>
                </a:lnTo>
                <a:close/>
                <a:moveTo>
                  <a:pt x="1201" y="806"/>
                </a:moveTo>
                <a:lnTo>
                  <a:pt x="1203" y="804"/>
                </a:lnTo>
                <a:lnTo>
                  <a:pt x="1203" y="801"/>
                </a:lnTo>
                <a:lnTo>
                  <a:pt x="1203" y="804"/>
                </a:lnTo>
                <a:lnTo>
                  <a:pt x="1201" y="806"/>
                </a:lnTo>
                <a:close/>
                <a:moveTo>
                  <a:pt x="1199" y="1222"/>
                </a:moveTo>
                <a:lnTo>
                  <a:pt x="1200" y="1221"/>
                </a:lnTo>
                <a:lnTo>
                  <a:pt x="1200" y="1220"/>
                </a:lnTo>
                <a:lnTo>
                  <a:pt x="1200" y="1221"/>
                </a:lnTo>
                <a:lnTo>
                  <a:pt x="1199" y="1222"/>
                </a:lnTo>
                <a:close/>
                <a:moveTo>
                  <a:pt x="1192" y="1642"/>
                </a:moveTo>
                <a:lnTo>
                  <a:pt x="1192" y="1648"/>
                </a:lnTo>
                <a:lnTo>
                  <a:pt x="1192" y="1654"/>
                </a:lnTo>
                <a:lnTo>
                  <a:pt x="1192" y="1648"/>
                </a:lnTo>
                <a:lnTo>
                  <a:pt x="1192" y="1642"/>
                </a:lnTo>
                <a:close/>
                <a:moveTo>
                  <a:pt x="1188" y="1661"/>
                </a:moveTo>
                <a:lnTo>
                  <a:pt x="1191" y="1659"/>
                </a:lnTo>
                <a:lnTo>
                  <a:pt x="1192" y="1658"/>
                </a:lnTo>
                <a:lnTo>
                  <a:pt x="1191" y="1659"/>
                </a:lnTo>
                <a:lnTo>
                  <a:pt x="1188" y="1661"/>
                </a:lnTo>
                <a:close/>
                <a:moveTo>
                  <a:pt x="1191" y="1584"/>
                </a:moveTo>
                <a:lnTo>
                  <a:pt x="1191" y="1573"/>
                </a:lnTo>
                <a:lnTo>
                  <a:pt x="1191" y="1563"/>
                </a:lnTo>
                <a:lnTo>
                  <a:pt x="1191" y="1573"/>
                </a:lnTo>
                <a:lnTo>
                  <a:pt x="1191" y="1584"/>
                </a:lnTo>
                <a:close/>
                <a:moveTo>
                  <a:pt x="1180" y="796"/>
                </a:moveTo>
                <a:lnTo>
                  <a:pt x="1180" y="788"/>
                </a:lnTo>
                <a:lnTo>
                  <a:pt x="1180" y="781"/>
                </a:lnTo>
                <a:lnTo>
                  <a:pt x="1180" y="788"/>
                </a:lnTo>
                <a:lnTo>
                  <a:pt x="1180" y="796"/>
                </a:lnTo>
                <a:close/>
                <a:moveTo>
                  <a:pt x="1184" y="813"/>
                </a:moveTo>
                <a:lnTo>
                  <a:pt x="1184" y="812"/>
                </a:lnTo>
                <a:lnTo>
                  <a:pt x="1183" y="812"/>
                </a:lnTo>
                <a:lnTo>
                  <a:pt x="1184" y="812"/>
                </a:lnTo>
                <a:lnTo>
                  <a:pt x="1184" y="813"/>
                </a:lnTo>
                <a:close/>
                <a:moveTo>
                  <a:pt x="1170" y="762"/>
                </a:moveTo>
                <a:lnTo>
                  <a:pt x="1170" y="761"/>
                </a:lnTo>
                <a:lnTo>
                  <a:pt x="1170" y="760"/>
                </a:lnTo>
                <a:lnTo>
                  <a:pt x="1170" y="761"/>
                </a:lnTo>
                <a:lnTo>
                  <a:pt x="1170" y="762"/>
                </a:lnTo>
                <a:close/>
                <a:moveTo>
                  <a:pt x="1159" y="1308"/>
                </a:moveTo>
                <a:lnTo>
                  <a:pt x="1160" y="1307"/>
                </a:lnTo>
                <a:lnTo>
                  <a:pt x="1163" y="1307"/>
                </a:lnTo>
                <a:lnTo>
                  <a:pt x="1160" y="1307"/>
                </a:lnTo>
                <a:lnTo>
                  <a:pt x="1159" y="1308"/>
                </a:lnTo>
                <a:close/>
                <a:moveTo>
                  <a:pt x="1150" y="1229"/>
                </a:moveTo>
                <a:lnTo>
                  <a:pt x="1150" y="1230"/>
                </a:lnTo>
                <a:lnTo>
                  <a:pt x="1151" y="1231"/>
                </a:lnTo>
                <a:lnTo>
                  <a:pt x="1150" y="1230"/>
                </a:lnTo>
                <a:lnTo>
                  <a:pt x="1150" y="1229"/>
                </a:lnTo>
                <a:lnTo>
                  <a:pt x="1150" y="1229"/>
                </a:lnTo>
                <a:lnTo>
                  <a:pt x="1149" y="1229"/>
                </a:lnTo>
                <a:lnTo>
                  <a:pt x="1149" y="1229"/>
                </a:lnTo>
                <a:lnTo>
                  <a:pt x="1148" y="1229"/>
                </a:lnTo>
                <a:lnTo>
                  <a:pt x="1149" y="1229"/>
                </a:lnTo>
                <a:lnTo>
                  <a:pt x="1149" y="1229"/>
                </a:lnTo>
                <a:lnTo>
                  <a:pt x="1149" y="1229"/>
                </a:lnTo>
                <a:lnTo>
                  <a:pt x="1148" y="1228"/>
                </a:lnTo>
                <a:lnTo>
                  <a:pt x="1148" y="1228"/>
                </a:lnTo>
                <a:lnTo>
                  <a:pt x="1148" y="1228"/>
                </a:lnTo>
                <a:lnTo>
                  <a:pt x="1151" y="1227"/>
                </a:lnTo>
                <a:lnTo>
                  <a:pt x="1155" y="1224"/>
                </a:lnTo>
                <a:lnTo>
                  <a:pt x="1152" y="1227"/>
                </a:lnTo>
                <a:lnTo>
                  <a:pt x="1150" y="1229"/>
                </a:lnTo>
                <a:close/>
                <a:moveTo>
                  <a:pt x="1151" y="1298"/>
                </a:moveTo>
                <a:lnTo>
                  <a:pt x="1152" y="1297"/>
                </a:lnTo>
                <a:lnTo>
                  <a:pt x="1153" y="1297"/>
                </a:lnTo>
                <a:lnTo>
                  <a:pt x="1152" y="1297"/>
                </a:lnTo>
                <a:lnTo>
                  <a:pt x="1151" y="1298"/>
                </a:lnTo>
                <a:close/>
                <a:moveTo>
                  <a:pt x="1152" y="1656"/>
                </a:moveTo>
                <a:lnTo>
                  <a:pt x="1152" y="1657"/>
                </a:lnTo>
                <a:lnTo>
                  <a:pt x="1153" y="1659"/>
                </a:lnTo>
                <a:lnTo>
                  <a:pt x="1152" y="1657"/>
                </a:lnTo>
                <a:lnTo>
                  <a:pt x="1152" y="1656"/>
                </a:lnTo>
                <a:close/>
                <a:moveTo>
                  <a:pt x="1148" y="1330"/>
                </a:moveTo>
                <a:lnTo>
                  <a:pt x="1148" y="1330"/>
                </a:lnTo>
                <a:lnTo>
                  <a:pt x="1146" y="1332"/>
                </a:lnTo>
                <a:lnTo>
                  <a:pt x="1148" y="1330"/>
                </a:lnTo>
                <a:lnTo>
                  <a:pt x="1148" y="1330"/>
                </a:lnTo>
                <a:lnTo>
                  <a:pt x="1149" y="1328"/>
                </a:lnTo>
                <a:lnTo>
                  <a:pt x="1149" y="1326"/>
                </a:lnTo>
                <a:lnTo>
                  <a:pt x="1149" y="1328"/>
                </a:lnTo>
                <a:lnTo>
                  <a:pt x="1148" y="1330"/>
                </a:lnTo>
                <a:close/>
                <a:moveTo>
                  <a:pt x="1146" y="752"/>
                </a:moveTo>
                <a:lnTo>
                  <a:pt x="1146" y="749"/>
                </a:lnTo>
                <a:lnTo>
                  <a:pt x="1146" y="748"/>
                </a:lnTo>
                <a:lnTo>
                  <a:pt x="1146" y="749"/>
                </a:lnTo>
                <a:lnTo>
                  <a:pt x="1146" y="752"/>
                </a:lnTo>
                <a:close/>
                <a:moveTo>
                  <a:pt x="1146" y="823"/>
                </a:moveTo>
                <a:lnTo>
                  <a:pt x="1145" y="825"/>
                </a:lnTo>
                <a:lnTo>
                  <a:pt x="1143" y="826"/>
                </a:lnTo>
                <a:lnTo>
                  <a:pt x="1141" y="825"/>
                </a:lnTo>
                <a:lnTo>
                  <a:pt x="1141" y="824"/>
                </a:lnTo>
                <a:lnTo>
                  <a:pt x="1139" y="812"/>
                </a:lnTo>
                <a:lnTo>
                  <a:pt x="1141" y="801"/>
                </a:lnTo>
                <a:lnTo>
                  <a:pt x="1141" y="798"/>
                </a:lnTo>
                <a:lnTo>
                  <a:pt x="1143" y="797"/>
                </a:lnTo>
                <a:lnTo>
                  <a:pt x="1144" y="798"/>
                </a:lnTo>
                <a:lnTo>
                  <a:pt x="1145" y="799"/>
                </a:lnTo>
                <a:lnTo>
                  <a:pt x="1146" y="806"/>
                </a:lnTo>
                <a:lnTo>
                  <a:pt x="1146" y="811"/>
                </a:lnTo>
                <a:lnTo>
                  <a:pt x="1146" y="818"/>
                </a:lnTo>
                <a:lnTo>
                  <a:pt x="1146" y="823"/>
                </a:lnTo>
                <a:lnTo>
                  <a:pt x="1146" y="823"/>
                </a:lnTo>
                <a:close/>
                <a:moveTo>
                  <a:pt x="1144" y="1321"/>
                </a:moveTo>
                <a:lnTo>
                  <a:pt x="1144" y="1321"/>
                </a:lnTo>
                <a:lnTo>
                  <a:pt x="1144" y="1321"/>
                </a:lnTo>
                <a:lnTo>
                  <a:pt x="1144" y="1321"/>
                </a:lnTo>
                <a:lnTo>
                  <a:pt x="1144" y="1321"/>
                </a:lnTo>
                <a:lnTo>
                  <a:pt x="1144" y="1321"/>
                </a:lnTo>
                <a:close/>
                <a:moveTo>
                  <a:pt x="1144" y="1323"/>
                </a:moveTo>
                <a:lnTo>
                  <a:pt x="1144" y="1322"/>
                </a:lnTo>
                <a:lnTo>
                  <a:pt x="1145" y="1321"/>
                </a:lnTo>
                <a:lnTo>
                  <a:pt x="1144" y="1322"/>
                </a:lnTo>
                <a:lnTo>
                  <a:pt x="1144" y="1323"/>
                </a:lnTo>
                <a:close/>
                <a:moveTo>
                  <a:pt x="1144" y="1606"/>
                </a:moveTo>
                <a:lnTo>
                  <a:pt x="1144" y="1607"/>
                </a:lnTo>
                <a:lnTo>
                  <a:pt x="1144" y="1608"/>
                </a:lnTo>
                <a:lnTo>
                  <a:pt x="1144" y="1607"/>
                </a:lnTo>
                <a:lnTo>
                  <a:pt x="1144" y="1606"/>
                </a:lnTo>
                <a:close/>
                <a:moveTo>
                  <a:pt x="1142" y="1475"/>
                </a:moveTo>
                <a:lnTo>
                  <a:pt x="1142" y="1475"/>
                </a:lnTo>
                <a:lnTo>
                  <a:pt x="1142" y="1474"/>
                </a:lnTo>
                <a:lnTo>
                  <a:pt x="1142" y="1475"/>
                </a:lnTo>
                <a:lnTo>
                  <a:pt x="1142" y="1475"/>
                </a:lnTo>
                <a:close/>
                <a:moveTo>
                  <a:pt x="1139" y="1661"/>
                </a:moveTo>
                <a:lnTo>
                  <a:pt x="1141" y="1661"/>
                </a:lnTo>
                <a:lnTo>
                  <a:pt x="1142" y="1661"/>
                </a:lnTo>
                <a:lnTo>
                  <a:pt x="1141" y="1661"/>
                </a:lnTo>
                <a:lnTo>
                  <a:pt x="1139" y="1661"/>
                </a:lnTo>
                <a:close/>
                <a:moveTo>
                  <a:pt x="1139" y="699"/>
                </a:moveTo>
                <a:lnTo>
                  <a:pt x="1139" y="699"/>
                </a:lnTo>
                <a:lnTo>
                  <a:pt x="1138" y="699"/>
                </a:lnTo>
                <a:lnTo>
                  <a:pt x="1139" y="699"/>
                </a:lnTo>
                <a:lnTo>
                  <a:pt x="1139" y="699"/>
                </a:lnTo>
                <a:close/>
                <a:moveTo>
                  <a:pt x="1144" y="622"/>
                </a:moveTo>
                <a:lnTo>
                  <a:pt x="1143" y="622"/>
                </a:lnTo>
                <a:lnTo>
                  <a:pt x="1141" y="622"/>
                </a:lnTo>
                <a:lnTo>
                  <a:pt x="1143" y="622"/>
                </a:lnTo>
                <a:lnTo>
                  <a:pt x="1144" y="622"/>
                </a:lnTo>
                <a:close/>
                <a:moveTo>
                  <a:pt x="1150" y="1141"/>
                </a:moveTo>
                <a:lnTo>
                  <a:pt x="1150" y="1142"/>
                </a:lnTo>
                <a:lnTo>
                  <a:pt x="1150" y="1144"/>
                </a:lnTo>
                <a:lnTo>
                  <a:pt x="1150" y="1142"/>
                </a:lnTo>
                <a:lnTo>
                  <a:pt x="1150" y="1141"/>
                </a:lnTo>
                <a:close/>
                <a:moveTo>
                  <a:pt x="1131" y="1600"/>
                </a:moveTo>
                <a:lnTo>
                  <a:pt x="1131" y="1601"/>
                </a:lnTo>
                <a:lnTo>
                  <a:pt x="1130" y="1601"/>
                </a:lnTo>
                <a:lnTo>
                  <a:pt x="1131" y="1601"/>
                </a:lnTo>
                <a:lnTo>
                  <a:pt x="1131" y="1600"/>
                </a:lnTo>
                <a:close/>
                <a:moveTo>
                  <a:pt x="1123" y="531"/>
                </a:moveTo>
                <a:lnTo>
                  <a:pt x="1124" y="532"/>
                </a:lnTo>
                <a:lnTo>
                  <a:pt x="1125" y="532"/>
                </a:lnTo>
                <a:lnTo>
                  <a:pt x="1124" y="532"/>
                </a:lnTo>
                <a:lnTo>
                  <a:pt x="1123" y="531"/>
                </a:lnTo>
                <a:close/>
                <a:moveTo>
                  <a:pt x="1124" y="1431"/>
                </a:moveTo>
                <a:lnTo>
                  <a:pt x="1124" y="1431"/>
                </a:lnTo>
                <a:lnTo>
                  <a:pt x="1124" y="1430"/>
                </a:lnTo>
                <a:lnTo>
                  <a:pt x="1124" y="1431"/>
                </a:lnTo>
                <a:lnTo>
                  <a:pt x="1124" y="1431"/>
                </a:lnTo>
                <a:close/>
                <a:moveTo>
                  <a:pt x="1128" y="746"/>
                </a:moveTo>
                <a:lnTo>
                  <a:pt x="1128" y="748"/>
                </a:lnTo>
                <a:lnTo>
                  <a:pt x="1127" y="749"/>
                </a:lnTo>
                <a:lnTo>
                  <a:pt x="1128" y="748"/>
                </a:lnTo>
                <a:lnTo>
                  <a:pt x="1128" y="746"/>
                </a:lnTo>
                <a:close/>
                <a:moveTo>
                  <a:pt x="1130" y="732"/>
                </a:moveTo>
                <a:lnTo>
                  <a:pt x="1130" y="733"/>
                </a:lnTo>
                <a:lnTo>
                  <a:pt x="1130" y="734"/>
                </a:lnTo>
                <a:lnTo>
                  <a:pt x="1130" y="733"/>
                </a:lnTo>
                <a:lnTo>
                  <a:pt x="1130" y="732"/>
                </a:lnTo>
                <a:close/>
                <a:moveTo>
                  <a:pt x="1117" y="1237"/>
                </a:moveTo>
                <a:lnTo>
                  <a:pt x="1119" y="1236"/>
                </a:lnTo>
                <a:lnTo>
                  <a:pt x="1121" y="1236"/>
                </a:lnTo>
                <a:lnTo>
                  <a:pt x="1119" y="1236"/>
                </a:lnTo>
                <a:lnTo>
                  <a:pt x="1117" y="1237"/>
                </a:lnTo>
                <a:close/>
                <a:moveTo>
                  <a:pt x="1109" y="1180"/>
                </a:moveTo>
                <a:lnTo>
                  <a:pt x="1109" y="1181"/>
                </a:lnTo>
                <a:lnTo>
                  <a:pt x="1109" y="1181"/>
                </a:lnTo>
                <a:lnTo>
                  <a:pt x="1108" y="1180"/>
                </a:lnTo>
                <a:lnTo>
                  <a:pt x="1108" y="1180"/>
                </a:lnTo>
                <a:lnTo>
                  <a:pt x="1109" y="1179"/>
                </a:lnTo>
                <a:lnTo>
                  <a:pt x="1110" y="1179"/>
                </a:lnTo>
                <a:lnTo>
                  <a:pt x="1109" y="1179"/>
                </a:lnTo>
                <a:lnTo>
                  <a:pt x="1109" y="1180"/>
                </a:lnTo>
                <a:close/>
                <a:moveTo>
                  <a:pt x="1102" y="1335"/>
                </a:moveTo>
                <a:lnTo>
                  <a:pt x="1103" y="1335"/>
                </a:lnTo>
                <a:lnTo>
                  <a:pt x="1104" y="1334"/>
                </a:lnTo>
                <a:lnTo>
                  <a:pt x="1103" y="1335"/>
                </a:lnTo>
                <a:lnTo>
                  <a:pt x="1102" y="1335"/>
                </a:lnTo>
                <a:close/>
                <a:moveTo>
                  <a:pt x="1088" y="760"/>
                </a:moveTo>
                <a:lnTo>
                  <a:pt x="1098" y="760"/>
                </a:lnTo>
                <a:lnTo>
                  <a:pt x="1109" y="753"/>
                </a:lnTo>
                <a:lnTo>
                  <a:pt x="1098" y="760"/>
                </a:lnTo>
                <a:lnTo>
                  <a:pt x="1088" y="760"/>
                </a:lnTo>
                <a:close/>
                <a:moveTo>
                  <a:pt x="1088" y="1304"/>
                </a:moveTo>
                <a:lnTo>
                  <a:pt x="1088" y="1306"/>
                </a:lnTo>
                <a:lnTo>
                  <a:pt x="1089" y="1307"/>
                </a:lnTo>
                <a:lnTo>
                  <a:pt x="1088" y="1306"/>
                </a:lnTo>
                <a:lnTo>
                  <a:pt x="1088" y="1304"/>
                </a:lnTo>
                <a:close/>
                <a:moveTo>
                  <a:pt x="1087" y="1580"/>
                </a:moveTo>
                <a:lnTo>
                  <a:pt x="1088" y="1581"/>
                </a:lnTo>
                <a:lnTo>
                  <a:pt x="1088" y="1581"/>
                </a:lnTo>
                <a:lnTo>
                  <a:pt x="1088" y="1581"/>
                </a:lnTo>
                <a:lnTo>
                  <a:pt x="1087" y="1580"/>
                </a:lnTo>
                <a:close/>
                <a:moveTo>
                  <a:pt x="1084" y="759"/>
                </a:moveTo>
                <a:lnTo>
                  <a:pt x="1086" y="759"/>
                </a:lnTo>
                <a:lnTo>
                  <a:pt x="1087" y="760"/>
                </a:lnTo>
                <a:lnTo>
                  <a:pt x="1086" y="759"/>
                </a:lnTo>
                <a:lnTo>
                  <a:pt x="1084" y="759"/>
                </a:lnTo>
                <a:close/>
                <a:moveTo>
                  <a:pt x="1082" y="656"/>
                </a:moveTo>
                <a:lnTo>
                  <a:pt x="1083" y="657"/>
                </a:lnTo>
                <a:lnTo>
                  <a:pt x="1084" y="657"/>
                </a:lnTo>
                <a:lnTo>
                  <a:pt x="1083" y="657"/>
                </a:lnTo>
                <a:lnTo>
                  <a:pt x="1082" y="656"/>
                </a:lnTo>
                <a:close/>
                <a:moveTo>
                  <a:pt x="1079" y="899"/>
                </a:moveTo>
                <a:lnTo>
                  <a:pt x="1077" y="899"/>
                </a:lnTo>
                <a:lnTo>
                  <a:pt x="1076" y="897"/>
                </a:lnTo>
                <a:lnTo>
                  <a:pt x="1077" y="899"/>
                </a:lnTo>
                <a:lnTo>
                  <a:pt x="1079" y="899"/>
                </a:lnTo>
                <a:lnTo>
                  <a:pt x="1079" y="899"/>
                </a:lnTo>
                <a:close/>
                <a:moveTo>
                  <a:pt x="1074" y="1339"/>
                </a:moveTo>
                <a:lnTo>
                  <a:pt x="1075" y="1337"/>
                </a:lnTo>
                <a:lnTo>
                  <a:pt x="1076" y="1335"/>
                </a:lnTo>
                <a:lnTo>
                  <a:pt x="1075" y="1337"/>
                </a:lnTo>
                <a:lnTo>
                  <a:pt x="1074" y="1339"/>
                </a:lnTo>
                <a:close/>
                <a:moveTo>
                  <a:pt x="1075" y="1437"/>
                </a:moveTo>
                <a:lnTo>
                  <a:pt x="1075" y="1427"/>
                </a:lnTo>
                <a:lnTo>
                  <a:pt x="1074" y="1419"/>
                </a:lnTo>
                <a:lnTo>
                  <a:pt x="1075" y="1427"/>
                </a:lnTo>
                <a:lnTo>
                  <a:pt x="1075" y="1437"/>
                </a:lnTo>
                <a:close/>
                <a:moveTo>
                  <a:pt x="1074" y="1650"/>
                </a:moveTo>
                <a:lnTo>
                  <a:pt x="1074" y="1644"/>
                </a:lnTo>
                <a:lnTo>
                  <a:pt x="1074" y="1638"/>
                </a:lnTo>
                <a:lnTo>
                  <a:pt x="1074" y="1644"/>
                </a:lnTo>
                <a:lnTo>
                  <a:pt x="1074" y="1650"/>
                </a:lnTo>
                <a:close/>
                <a:moveTo>
                  <a:pt x="1069" y="1480"/>
                </a:moveTo>
                <a:lnTo>
                  <a:pt x="1072" y="1475"/>
                </a:lnTo>
                <a:lnTo>
                  <a:pt x="1073" y="1470"/>
                </a:lnTo>
                <a:lnTo>
                  <a:pt x="1072" y="1475"/>
                </a:lnTo>
                <a:lnTo>
                  <a:pt x="1069" y="1480"/>
                </a:lnTo>
                <a:close/>
                <a:moveTo>
                  <a:pt x="1068" y="1483"/>
                </a:moveTo>
                <a:lnTo>
                  <a:pt x="1068" y="1484"/>
                </a:lnTo>
                <a:lnTo>
                  <a:pt x="1067" y="1487"/>
                </a:lnTo>
                <a:lnTo>
                  <a:pt x="1068" y="1484"/>
                </a:lnTo>
                <a:lnTo>
                  <a:pt x="1068" y="1483"/>
                </a:lnTo>
                <a:close/>
                <a:moveTo>
                  <a:pt x="1063" y="984"/>
                </a:moveTo>
                <a:lnTo>
                  <a:pt x="1063" y="960"/>
                </a:lnTo>
                <a:lnTo>
                  <a:pt x="1062" y="937"/>
                </a:lnTo>
                <a:lnTo>
                  <a:pt x="1061" y="934"/>
                </a:lnTo>
                <a:lnTo>
                  <a:pt x="1059" y="929"/>
                </a:lnTo>
                <a:lnTo>
                  <a:pt x="1055" y="931"/>
                </a:lnTo>
                <a:lnTo>
                  <a:pt x="1053" y="931"/>
                </a:lnTo>
                <a:lnTo>
                  <a:pt x="1055" y="931"/>
                </a:lnTo>
                <a:lnTo>
                  <a:pt x="1059" y="929"/>
                </a:lnTo>
                <a:lnTo>
                  <a:pt x="1059" y="927"/>
                </a:lnTo>
                <a:lnTo>
                  <a:pt x="1059" y="925"/>
                </a:lnTo>
                <a:lnTo>
                  <a:pt x="1062" y="920"/>
                </a:lnTo>
                <a:lnTo>
                  <a:pt x="1063" y="913"/>
                </a:lnTo>
                <a:lnTo>
                  <a:pt x="1066" y="921"/>
                </a:lnTo>
                <a:lnTo>
                  <a:pt x="1066" y="929"/>
                </a:lnTo>
                <a:lnTo>
                  <a:pt x="1067" y="957"/>
                </a:lnTo>
                <a:lnTo>
                  <a:pt x="1068" y="984"/>
                </a:lnTo>
                <a:lnTo>
                  <a:pt x="1068" y="990"/>
                </a:lnTo>
                <a:lnTo>
                  <a:pt x="1066" y="992"/>
                </a:lnTo>
                <a:lnTo>
                  <a:pt x="1063" y="990"/>
                </a:lnTo>
                <a:lnTo>
                  <a:pt x="1063" y="984"/>
                </a:lnTo>
                <a:lnTo>
                  <a:pt x="1063" y="984"/>
                </a:lnTo>
                <a:close/>
                <a:moveTo>
                  <a:pt x="1056" y="1026"/>
                </a:moveTo>
                <a:lnTo>
                  <a:pt x="1056" y="1026"/>
                </a:lnTo>
                <a:lnTo>
                  <a:pt x="1056" y="1026"/>
                </a:lnTo>
                <a:lnTo>
                  <a:pt x="1056" y="1026"/>
                </a:lnTo>
                <a:close/>
                <a:moveTo>
                  <a:pt x="1043" y="1652"/>
                </a:moveTo>
                <a:lnTo>
                  <a:pt x="1046" y="1648"/>
                </a:lnTo>
                <a:lnTo>
                  <a:pt x="1046" y="1644"/>
                </a:lnTo>
                <a:lnTo>
                  <a:pt x="1046" y="1648"/>
                </a:lnTo>
                <a:lnTo>
                  <a:pt x="1043" y="1652"/>
                </a:lnTo>
                <a:close/>
                <a:moveTo>
                  <a:pt x="1042" y="1197"/>
                </a:moveTo>
                <a:lnTo>
                  <a:pt x="1042" y="1196"/>
                </a:lnTo>
                <a:lnTo>
                  <a:pt x="1042" y="1196"/>
                </a:lnTo>
                <a:lnTo>
                  <a:pt x="1042" y="1196"/>
                </a:lnTo>
                <a:lnTo>
                  <a:pt x="1042" y="1197"/>
                </a:lnTo>
                <a:close/>
                <a:moveTo>
                  <a:pt x="1031" y="531"/>
                </a:moveTo>
                <a:lnTo>
                  <a:pt x="1031" y="528"/>
                </a:lnTo>
                <a:lnTo>
                  <a:pt x="1033" y="524"/>
                </a:lnTo>
                <a:lnTo>
                  <a:pt x="1040" y="522"/>
                </a:lnTo>
                <a:lnTo>
                  <a:pt x="1046" y="519"/>
                </a:lnTo>
                <a:lnTo>
                  <a:pt x="1051" y="523"/>
                </a:lnTo>
                <a:lnTo>
                  <a:pt x="1048" y="526"/>
                </a:lnTo>
                <a:lnTo>
                  <a:pt x="1048" y="526"/>
                </a:lnTo>
                <a:lnTo>
                  <a:pt x="1048" y="526"/>
                </a:lnTo>
                <a:lnTo>
                  <a:pt x="1048" y="528"/>
                </a:lnTo>
                <a:lnTo>
                  <a:pt x="1048" y="528"/>
                </a:lnTo>
                <a:lnTo>
                  <a:pt x="1048" y="528"/>
                </a:lnTo>
                <a:lnTo>
                  <a:pt x="1048" y="526"/>
                </a:lnTo>
                <a:lnTo>
                  <a:pt x="1048" y="526"/>
                </a:lnTo>
                <a:lnTo>
                  <a:pt x="1048" y="526"/>
                </a:lnTo>
                <a:lnTo>
                  <a:pt x="1051" y="526"/>
                </a:lnTo>
                <a:lnTo>
                  <a:pt x="1053" y="526"/>
                </a:lnTo>
                <a:lnTo>
                  <a:pt x="1053" y="530"/>
                </a:lnTo>
                <a:lnTo>
                  <a:pt x="1052" y="532"/>
                </a:lnTo>
                <a:lnTo>
                  <a:pt x="1048" y="536"/>
                </a:lnTo>
                <a:lnTo>
                  <a:pt x="1043" y="536"/>
                </a:lnTo>
                <a:lnTo>
                  <a:pt x="1038" y="531"/>
                </a:lnTo>
                <a:lnTo>
                  <a:pt x="1031" y="531"/>
                </a:lnTo>
                <a:close/>
                <a:moveTo>
                  <a:pt x="1033" y="1197"/>
                </a:moveTo>
                <a:lnTo>
                  <a:pt x="1035" y="1195"/>
                </a:lnTo>
                <a:lnTo>
                  <a:pt x="1036" y="1194"/>
                </a:lnTo>
                <a:lnTo>
                  <a:pt x="1035" y="1195"/>
                </a:lnTo>
                <a:lnTo>
                  <a:pt x="1033" y="1197"/>
                </a:lnTo>
                <a:close/>
                <a:moveTo>
                  <a:pt x="1028" y="1298"/>
                </a:moveTo>
                <a:lnTo>
                  <a:pt x="1027" y="1295"/>
                </a:lnTo>
                <a:lnTo>
                  <a:pt x="1027" y="1294"/>
                </a:lnTo>
                <a:lnTo>
                  <a:pt x="1027" y="1294"/>
                </a:lnTo>
                <a:lnTo>
                  <a:pt x="1027" y="1294"/>
                </a:lnTo>
                <a:lnTo>
                  <a:pt x="1031" y="1292"/>
                </a:lnTo>
                <a:lnTo>
                  <a:pt x="1034" y="1290"/>
                </a:lnTo>
                <a:lnTo>
                  <a:pt x="1032" y="1293"/>
                </a:lnTo>
                <a:lnTo>
                  <a:pt x="1028" y="1298"/>
                </a:lnTo>
                <a:close/>
                <a:moveTo>
                  <a:pt x="1027" y="1356"/>
                </a:moveTo>
                <a:lnTo>
                  <a:pt x="1028" y="1356"/>
                </a:lnTo>
                <a:lnTo>
                  <a:pt x="1031" y="1356"/>
                </a:lnTo>
                <a:lnTo>
                  <a:pt x="1028" y="1356"/>
                </a:lnTo>
                <a:lnTo>
                  <a:pt x="1027" y="1356"/>
                </a:lnTo>
                <a:close/>
                <a:moveTo>
                  <a:pt x="1022" y="1423"/>
                </a:moveTo>
                <a:lnTo>
                  <a:pt x="1025" y="1423"/>
                </a:lnTo>
                <a:lnTo>
                  <a:pt x="1027" y="1421"/>
                </a:lnTo>
                <a:lnTo>
                  <a:pt x="1025" y="1423"/>
                </a:lnTo>
                <a:lnTo>
                  <a:pt x="1022" y="1423"/>
                </a:lnTo>
                <a:close/>
                <a:moveTo>
                  <a:pt x="1019" y="1327"/>
                </a:moveTo>
                <a:lnTo>
                  <a:pt x="1021" y="1326"/>
                </a:lnTo>
                <a:lnTo>
                  <a:pt x="1024" y="1326"/>
                </a:lnTo>
                <a:lnTo>
                  <a:pt x="1021" y="1326"/>
                </a:lnTo>
                <a:lnTo>
                  <a:pt x="1019" y="1327"/>
                </a:lnTo>
                <a:close/>
                <a:moveTo>
                  <a:pt x="1018" y="1308"/>
                </a:moveTo>
                <a:lnTo>
                  <a:pt x="1017" y="1308"/>
                </a:lnTo>
                <a:lnTo>
                  <a:pt x="1014" y="1308"/>
                </a:lnTo>
                <a:lnTo>
                  <a:pt x="1018" y="1307"/>
                </a:lnTo>
                <a:lnTo>
                  <a:pt x="1021" y="1305"/>
                </a:lnTo>
                <a:lnTo>
                  <a:pt x="1020" y="1306"/>
                </a:lnTo>
                <a:lnTo>
                  <a:pt x="1019" y="1307"/>
                </a:lnTo>
                <a:lnTo>
                  <a:pt x="1019" y="1308"/>
                </a:lnTo>
                <a:lnTo>
                  <a:pt x="1018" y="1308"/>
                </a:lnTo>
                <a:close/>
                <a:moveTo>
                  <a:pt x="1011" y="1009"/>
                </a:moveTo>
                <a:lnTo>
                  <a:pt x="1012" y="1009"/>
                </a:lnTo>
                <a:lnTo>
                  <a:pt x="1014" y="1009"/>
                </a:lnTo>
                <a:lnTo>
                  <a:pt x="1017" y="1008"/>
                </a:lnTo>
                <a:lnTo>
                  <a:pt x="1019" y="1008"/>
                </a:lnTo>
                <a:lnTo>
                  <a:pt x="1017" y="1008"/>
                </a:lnTo>
                <a:lnTo>
                  <a:pt x="1014" y="1009"/>
                </a:lnTo>
                <a:lnTo>
                  <a:pt x="1012" y="1009"/>
                </a:lnTo>
                <a:lnTo>
                  <a:pt x="1011" y="1009"/>
                </a:lnTo>
                <a:close/>
                <a:moveTo>
                  <a:pt x="997" y="764"/>
                </a:moveTo>
                <a:lnTo>
                  <a:pt x="997" y="764"/>
                </a:lnTo>
                <a:lnTo>
                  <a:pt x="997" y="764"/>
                </a:lnTo>
                <a:lnTo>
                  <a:pt x="997" y="764"/>
                </a:lnTo>
                <a:lnTo>
                  <a:pt x="997" y="764"/>
                </a:lnTo>
                <a:lnTo>
                  <a:pt x="1004" y="763"/>
                </a:lnTo>
                <a:lnTo>
                  <a:pt x="1011" y="762"/>
                </a:lnTo>
                <a:lnTo>
                  <a:pt x="1004" y="763"/>
                </a:lnTo>
                <a:lnTo>
                  <a:pt x="997" y="764"/>
                </a:lnTo>
                <a:close/>
                <a:moveTo>
                  <a:pt x="996" y="838"/>
                </a:moveTo>
                <a:lnTo>
                  <a:pt x="992" y="838"/>
                </a:lnTo>
                <a:lnTo>
                  <a:pt x="990" y="834"/>
                </a:lnTo>
                <a:lnTo>
                  <a:pt x="991" y="830"/>
                </a:lnTo>
                <a:lnTo>
                  <a:pt x="994" y="829"/>
                </a:lnTo>
                <a:lnTo>
                  <a:pt x="1000" y="827"/>
                </a:lnTo>
                <a:lnTo>
                  <a:pt x="1000" y="822"/>
                </a:lnTo>
                <a:lnTo>
                  <a:pt x="1000" y="818"/>
                </a:lnTo>
                <a:lnTo>
                  <a:pt x="1004" y="816"/>
                </a:lnTo>
                <a:lnTo>
                  <a:pt x="1007" y="817"/>
                </a:lnTo>
                <a:lnTo>
                  <a:pt x="1008" y="820"/>
                </a:lnTo>
                <a:lnTo>
                  <a:pt x="1007" y="833"/>
                </a:lnTo>
                <a:lnTo>
                  <a:pt x="996" y="838"/>
                </a:lnTo>
                <a:close/>
                <a:moveTo>
                  <a:pt x="1007" y="1439"/>
                </a:moveTo>
                <a:lnTo>
                  <a:pt x="1007" y="1439"/>
                </a:lnTo>
                <a:lnTo>
                  <a:pt x="1007" y="1439"/>
                </a:lnTo>
                <a:lnTo>
                  <a:pt x="1007" y="1439"/>
                </a:lnTo>
                <a:lnTo>
                  <a:pt x="1007" y="1439"/>
                </a:lnTo>
                <a:close/>
                <a:moveTo>
                  <a:pt x="1007" y="1439"/>
                </a:moveTo>
                <a:lnTo>
                  <a:pt x="1007" y="1454"/>
                </a:lnTo>
                <a:lnTo>
                  <a:pt x="1008" y="1469"/>
                </a:lnTo>
                <a:lnTo>
                  <a:pt x="1007" y="1454"/>
                </a:lnTo>
                <a:lnTo>
                  <a:pt x="1007" y="1439"/>
                </a:lnTo>
                <a:close/>
                <a:moveTo>
                  <a:pt x="989" y="1161"/>
                </a:moveTo>
                <a:lnTo>
                  <a:pt x="971" y="1158"/>
                </a:lnTo>
                <a:lnTo>
                  <a:pt x="959" y="1167"/>
                </a:lnTo>
                <a:lnTo>
                  <a:pt x="958" y="1168"/>
                </a:lnTo>
                <a:lnTo>
                  <a:pt x="957" y="1170"/>
                </a:lnTo>
                <a:lnTo>
                  <a:pt x="958" y="1159"/>
                </a:lnTo>
                <a:lnTo>
                  <a:pt x="964" y="1149"/>
                </a:lnTo>
                <a:lnTo>
                  <a:pt x="973" y="1148"/>
                </a:lnTo>
                <a:lnTo>
                  <a:pt x="984" y="1149"/>
                </a:lnTo>
                <a:lnTo>
                  <a:pt x="990" y="1153"/>
                </a:lnTo>
                <a:lnTo>
                  <a:pt x="992" y="1159"/>
                </a:lnTo>
                <a:lnTo>
                  <a:pt x="991" y="1161"/>
                </a:lnTo>
                <a:lnTo>
                  <a:pt x="989" y="1161"/>
                </a:lnTo>
                <a:close/>
                <a:moveTo>
                  <a:pt x="974" y="1170"/>
                </a:moveTo>
                <a:lnTo>
                  <a:pt x="977" y="1170"/>
                </a:lnTo>
                <a:lnTo>
                  <a:pt x="978" y="1172"/>
                </a:lnTo>
                <a:lnTo>
                  <a:pt x="977" y="1170"/>
                </a:lnTo>
                <a:lnTo>
                  <a:pt x="974" y="1170"/>
                </a:lnTo>
                <a:lnTo>
                  <a:pt x="974" y="1170"/>
                </a:lnTo>
                <a:close/>
                <a:moveTo>
                  <a:pt x="973" y="1446"/>
                </a:moveTo>
                <a:lnTo>
                  <a:pt x="974" y="1447"/>
                </a:lnTo>
                <a:lnTo>
                  <a:pt x="974" y="1447"/>
                </a:lnTo>
                <a:lnTo>
                  <a:pt x="974" y="1447"/>
                </a:lnTo>
                <a:lnTo>
                  <a:pt x="973" y="1446"/>
                </a:lnTo>
                <a:close/>
                <a:moveTo>
                  <a:pt x="965" y="1183"/>
                </a:moveTo>
                <a:lnTo>
                  <a:pt x="967" y="1181"/>
                </a:lnTo>
                <a:lnTo>
                  <a:pt x="971" y="1180"/>
                </a:lnTo>
                <a:lnTo>
                  <a:pt x="967" y="1181"/>
                </a:lnTo>
                <a:lnTo>
                  <a:pt x="965" y="1183"/>
                </a:lnTo>
                <a:close/>
                <a:moveTo>
                  <a:pt x="964" y="1191"/>
                </a:moveTo>
                <a:lnTo>
                  <a:pt x="965" y="1190"/>
                </a:lnTo>
                <a:lnTo>
                  <a:pt x="966" y="1189"/>
                </a:lnTo>
                <a:lnTo>
                  <a:pt x="965" y="1190"/>
                </a:lnTo>
                <a:lnTo>
                  <a:pt x="964" y="1191"/>
                </a:lnTo>
                <a:close/>
                <a:moveTo>
                  <a:pt x="960" y="1188"/>
                </a:moveTo>
                <a:lnTo>
                  <a:pt x="962" y="1191"/>
                </a:lnTo>
                <a:lnTo>
                  <a:pt x="964" y="1194"/>
                </a:lnTo>
                <a:lnTo>
                  <a:pt x="962" y="1191"/>
                </a:lnTo>
                <a:lnTo>
                  <a:pt x="960" y="1188"/>
                </a:lnTo>
                <a:close/>
                <a:moveTo>
                  <a:pt x="977" y="1106"/>
                </a:moveTo>
                <a:lnTo>
                  <a:pt x="974" y="1106"/>
                </a:lnTo>
                <a:lnTo>
                  <a:pt x="972" y="1106"/>
                </a:lnTo>
                <a:lnTo>
                  <a:pt x="966" y="1107"/>
                </a:lnTo>
                <a:lnTo>
                  <a:pt x="963" y="1103"/>
                </a:lnTo>
                <a:lnTo>
                  <a:pt x="962" y="1102"/>
                </a:lnTo>
                <a:lnTo>
                  <a:pt x="959" y="1100"/>
                </a:lnTo>
                <a:lnTo>
                  <a:pt x="964" y="1098"/>
                </a:lnTo>
                <a:lnTo>
                  <a:pt x="969" y="1098"/>
                </a:lnTo>
                <a:lnTo>
                  <a:pt x="973" y="1097"/>
                </a:lnTo>
                <a:lnTo>
                  <a:pt x="978" y="1093"/>
                </a:lnTo>
                <a:lnTo>
                  <a:pt x="978" y="1091"/>
                </a:lnTo>
                <a:lnTo>
                  <a:pt x="977" y="1089"/>
                </a:lnTo>
                <a:lnTo>
                  <a:pt x="972" y="1088"/>
                </a:lnTo>
                <a:lnTo>
                  <a:pt x="969" y="1090"/>
                </a:lnTo>
                <a:lnTo>
                  <a:pt x="963" y="1091"/>
                </a:lnTo>
                <a:lnTo>
                  <a:pt x="957" y="1090"/>
                </a:lnTo>
                <a:lnTo>
                  <a:pt x="955" y="1084"/>
                </a:lnTo>
                <a:lnTo>
                  <a:pt x="957" y="1078"/>
                </a:lnTo>
                <a:lnTo>
                  <a:pt x="960" y="1079"/>
                </a:lnTo>
                <a:lnTo>
                  <a:pt x="965" y="1079"/>
                </a:lnTo>
                <a:lnTo>
                  <a:pt x="972" y="1079"/>
                </a:lnTo>
                <a:lnTo>
                  <a:pt x="978" y="1075"/>
                </a:lnTo>
                <a:lnTo>
                  <a:pt x="978" y="1074"/>
                </a:lnTo>
                <a:lnTo>
                  <a:pt x="977" y="1071"/>
                </a:lnTo>
                <a:lnTo>
                  <a:pt x="971" y="1070"/>
                </a:lnTo>
                <a:lnTo>
                  <a:pt x="965" y="1071"/>
                </a:lnTo>
                <a:lnTo>
                  <a:pt x="960" y="1070"/>
                </a:lnTo>
                <a:lnTo>
                  <a:pt x="956" y="1071"/>
                </a:lnTo>
                <a:lnTo>
                  <a:pt x="955" y="1071"/>
                </a:lnTo>
                <a:lnTo>
                  <a:pt x="955" y="1070"/>
                </a:lnTo>
                <a:lnTo>
                  <a:pt x="953" y="1068"/>
                </a:lnTo>
                <a:lnTo>
                  <a:pt x="952" y="1065"/>
                </a:lnTo>
                <a:lnTo>
                  <a:pt x="953" y="1068"/>
                </a:lnTo>
                <a:lnTo>
                  <a:pt x="955" y="1070"/>
                </a:lnTo>
                <a:lnTo>
                  <a:pt x="956" y="1069"/>
                </a:lnTo>
                <a:lnTo>
                  <a:pt x="956" y="1068"/>
                </a:lnTo>
                <a:lnTo>
                  <a:pt x="957" y="1061"/>
                </a:lnTo>
                <a:lnTo>
                  <a:pt x="965" y="1061"/>
                </a:lnTo>
                <a:lnTo>
                  <a:pt x="971" y="1062"/>
                </a:lnTo>
                <a:lnTo>
                  <a:pt x="977" y="1057"/>
                </a:lnTo>
                <a:lnTo>
                  <a:pt x="978" y="1053"/>
                </a:lnTo>
                <a:lnTo>
                  <a:pt x="974" y="1050"/>
                </a:lnTo>
                <a:lnTo>
                  <a:pt x="965" y="1050"/>
                </a:lnTo>
                <a:lnTo>
                  <a:pt x="956" y="1053"/>
                </a:lnTo>
                <a:lnTo>
                  <a:pt x="955" y="1053"/>
                </a:lnTo>
                <a:lnTo>
                  <a:pt x="955" y="1051"/>
                </a:lnTo>
                <a:lnTo>
                  <a:pt x="956" y="1047"/>
                </a:lnTo>
                <a:lnTo>
                  <a:pt x="956" y="1041"/>
                </a:lnTo>
                <a:lnTo>
                  <a:pt x="959" y="1040"/>
                </a:lnTo>
                <a:lnTo>
                  <a:pt x="963" y="1041"/>
                </a:lnTo>
                <a:lnTo>
                  <a:pt x="973" y="1041"/>
                </a:lnTo>
                <a:lnTo>
                  <a:pt x="977" y="1032"/>
                </a:lnTo>
                <a:lnTo>
                  <a:pt x="971" y="1032"/>
                </a:lnTo>
                <a:lnTo>
                  <a:pt x="966" y="1034"/>
                </a:lnTo>
                <a:lnTo>
                  <a:pt x="964" y="1035"/>
                </a:lnTo>
                <a:lnTo>
                  <a:pt x="962" y="1033"/>
                </a:lnTo>
                <a:lnTo>
                  <a:pt x="960" y="1029"/>
                </a:lnTo>
                <a:lnTo>
                  <a:pt x="959" y="1032"/>
                </a:lnTo>
                <a:lnTo>
                  <a:pt x="957" y="1034"/>
                </a:lnTo>
                <a:lnTo>
                  <a:pt x="955" y="1034"/>
                </a:lnTo>
                <a:lnTo>
                  <a:pt x="955" y="1032"/>
                </a:lnTo>
                <a:lnTo>
                  <a:pt x="955" y="1029"/>
                </a:lnTo>
                <a:lnTo>
                  <a:pt x="957" y="1022"/>
                </a:lnTo>
                <a:lnTo>
                  <a:pt x="963" y="1023"/>
                </a:lnTo>
                <a:lnTo>
                  <a:pt x="970" y="1023"/>
                </a:lnTo>
                <a:lnTo>
                  <a:pt x="977" y="1020"/>
                </a:lnTo>
                <a:lnTo>
                  <a:pt x="977" y="1018"/>
                </a:lnTo>
                <a:lnTo>
                  <a:pt x="977" y="1015"/>
                </a:lnTo>
                <a:lnTo>
                  <a:pt x="973" y="1014"/>
                </a:lnTo>
                <a:lnTo>
                  <a:pt x="969" y="1014"/>
                </a:lnTo>
                <a:lnTo>
                  <a:pt x="964" y="1015"/>
                </a:lnTo>
                <a:lnTo>
                  <a:pt x="960" y="1011"/>
                </a:lnTo>
                <a:lnTo>
                  <a:pt x="958" y="1014"/>
                </a:lnTo>
                <a:lnTo>
                  <a:pt x="955" y="1015"/>
                </a:lnTo>
                <a:lnTo>
                  <a:pt x="955" y="1009"/>
                </a:lnTo>
                <a:lnTo>
                  <a:pt x="958" y="1002"/>
                </a:lnTo>
                <a:lnTo>
                  <a:pt x="959" y="1001"/>
                </a:lnTo>
                <a:lnTo>
                  <a:pt x="959" y="999"/>
                </a:lnTo>
                <a:lnTo>
                  <a:pt x="959" y="1000"/>
                </a:lnTo>
                <a:lnTo>
                  <a:pt x="960" y="1000"/>
                </a:lnTo>
                <a:lnTo>
                  <a:pt x="962" y="1004"/>
                </a:lnTo>
                <a:lnTo>
                  <a:pt x="966" y="1006"/>
                </a:lnTo>
                <a:lnTo>
                  <a:pt x="972" y="1005"/>
                </a:lnTo>
                <a:lnTo>
                  <a:pt x="976" y="1000"/>
                </a:lnTo>
                <a:lnTo>
                  <a:pt x="977" y="997"/>
                </a:lnTo>
                <a:lnTo>
                  <a:pt x="972" y="995"/>
                </a:lnTo>
                <a:lnTo>
                  <a:pt x="967" y="997"/>
                </a:lnTo>
                <a:lnTo>
                  <a:pt x="962" y="999"/>
                </a:lnTo>
                <a:lnTo>
                  <a:pt x="962" y="997"/>
                </a:lnTo>
                <a:lnTo>
                  <a:pt x="960" y="994"/>
                </a:lnTo>
                <a:lnTo>
                  <a:pt x="959" y="995"/>
                </a:lnTo>
                <a:lnTo>
                  <a:pt x="959" y="995"/>
                </a:lnTo>
                <a:lnTo>
                  <a:pt x="958" y="998"/>
                </a:lnTo>
                <a:lnTo>
                  <a:pt x="958" y="999"/>
                </a:lnTo>
                <a:lnTo>
                  <a:pt x="953" y="992"/>
                </a:lnTo>
                <a:lnTo>
                  <a:pt x="957" y="986"/>
                </a:lnTo>
                <a:lnTo>
                  <a:pt x="959" y="983"/>
                </a:lnTo>
                <a:lnTo>
                  <a:pt x="956" y="980"/>
                </a:lnTo>
                <a:lnTo>
                  <a:pt x="953" y="976"/>
                </a:lnTo>
                <a:lnTo>
                  <a:pt x="955" y="971"/>
                </a:lnTo>
                <a:lnTo>
                  <a:pt x="955" y="967"/>
                </a:lnTo>
                <a:lnTo>
                  <a:pt x="955" y="965"/>
                </a:lnTo>
                <a:lnTo>
                  <a:pt x="955" y="967"/>
                </a:lnTo>
                <a:lnTo>
                  <a:pt x="955" y="971"/>
                </a:lnTo>
                <a:lnTo>
                  <a:pt x="962" y="969"/>
                </a:lnTo>
                <a:lnTo>
                  <a:pt x="967" y="970"/>
                </a:lnTo>
                <a:lnTo>
                  <a:pt x="973" y="969"/>
                </a:lnTo>
                <a:lnTo>
                  <a:pt x="977" y="963"/>
                </a:lnTo>
                <a:lnTo>
                  <a:pt x="973" y="958"/>
                </a:lnTo>
                <a:lnTo>
                  <a:pt x="969" y="959"/>
                </a:lnTo>
                <a:lnTo>
                  <a:pt x="963" y="959"/>
                </a:lnTo>
                <a:lnTo>
                  <a:pt x="962" y="955"/>
                </a:lnTo>
                <a:lnTo>
                  <a:pt x="958" y="959"/>
                </a:lnTo>
                <a:lnTo>
                  <a:pt x="955" y="963"/>
                </a:lnTo>
                <a:lnTo>
                  <a:pt x="955" y="959"/>
                </a:lnTo>
                <a:lnTo>
                  <a:pt x="955" y="956"/>
                </a:lnTo>
                <a:lnTo>
                  <a:pt x="957" y="950"/>
                </a:lnTo>
                <a:lnTo>
                  <a:pt x="963" y="951"/>
                </a:lnTo>
                <a:lnTo>
                  <a:pt x="970" y="952"/>
                </a:lnTo>
                <a:lnTo>
                  <a:pt x="976" y="948"/>
                </a:lnTo>
                <a:lnTo>
                  <a:pt x="977" y="944"/>
                </a:lnTo>
                <a:lnTo>
                  <a:pt x="973" y="943"/>
                </a:lnTo>
                <a:lnTo>
                  <a:pt x="972" y="942"/>
                </a:lnTo>
                <a:lnTo>
                  <a:pt x="971" y="942"/>
                </a:lnTo>
                <a:lnTo>
                  <a:pt x="963" y="942"/>
                </a:lnTo>
                <a:lnTo>
                  <a:pt x="962" y="935"/>
                </a:lnTo>
                <a:lnTo>
                  <a:pt x="963" y="935"/>
                </a:lnTo>
                <a:lnTo>
                  <a:pt x="965" y="935"/>
                </a:lnTo>
                <a:lnTo>
                  <a:pt x="972" y="936"/>
                </a:lnTo>
                <a:lnTo>
                  <a:pt x="978" y="939"/>
                </a:lnTo>
                <a:lnTo>
                  <a:pt x="980" y="943"/>
                </a:lnTo>
                <a:lnTo>
                  <a:pt x="985" y="944"/>
                </a:lnTo>
                <a:lnTo>
                  <a:pt x="989" y="945"/>
                </a:lnTo>
                <a:lnTo>
                  <a:pt x="989" y="949"/>
                </a:lnTo>
                <a:lnTo>
                  <a:pt x="991" y="949"/>
                </a:lnTo>
                <a:lnTo>
                  <a:pt x="994" y="948"/>
                </a:lnTo>
                <a:lnTo>
                  <a:pt x="991" y="949"/>
                </a:lnTo>
                <a:lnTo>
                  <a:pt x="989" y="950"/>
                </a:lnTo>
                <a:lnTo>
                  <a:pt x="989" y="952"/>
                </a:lnTo>
                <a:lnTo>
                  <a:pt x="990" y="953"/>
                </a:lnTo>
                <a:lnTo>
                  <a:pt x="985" y="955"/>
                </a:lnTo>
                <a:lnTo>
                  <a:pt x="982" y="951"/>
                </a:lnTo>
                <a:lnTo>
                  <a:pt x="979" y="950"/>
                </a:lnTo>
                <a:lnTo>
                  <a:pt x="977" y="951"/>
                </a:lnTo>
                <a:lnTo>
                  <a:pt x="976" y="953"/>
                </a:lnTo>
                <a:lnTo>
                  <a:pt x="977" y="957"/>
                </a:lnTo>
                <a:lnTo>
                  <a:pt x="980" y="960"/>
                </a:lnTo>
                <a:lnTo>
                  <a:pt x="985" y="963"/>
                </a:lnTo>
                <a:lnTo>
                  <a:pt x="989" y="964"/>
                </a:lnTo>
                <a:lnTo>
                  <a:pt x="990" y="969"/>
                </a:lnTo>
                <a:lnTo>
                  <a:pt x="989" y="971"/>
                </a:lnTo>
                <a:lnTo>
                  <a:pt x="990" y="972"/>
                </a:lnTo>
                <a:lnTo>
                  <a:pt x="990" y="972"/>
                </a:lnTo>
                <a:lnTo>
                  <a:pt x="991" y="973"/>
                </a:lnTo>
                <a:lnTo>
                  <a:pt x="990" y="973"/>
                </a:lnTo>
                <a:lnTo>
                  <a:pt x="990" y="972"/>
                </a:lnTo>
                <a:lnTo>
                  <a:pt x="986" y="972"/>
                </a:lnTo>
                <a:lnTo>
                  <a:pt x="984" y="971"/>
                </a:lnTo>
                <a:lnTo>
                  <a:pt x="980" y="969"/>
                </a:lnTo>
                <a:lnTo>
                  <a:pt x="977" y="970"/>
                </a:lnTo>
                <a:lnTo>
                  <a:pt x="977" y="974"/>
                </a:lnTo>
                <a:lnTo>
                  <a:pt x="979" y="977"/>
                </a:lnTo>
                <a:lnTo>
                  <a:pt x="982" y="979"/>
                </a:lnTo>
                <a:lnTo>
                  <a:pt x="985" y="980"/>
                </a:lnTo>
                <a:lnTo>
                  <a:pt x="989" y="980"/>
                </a:lnTo>
                <a:lnTo>
                  <a:pt x="990" y="984"/>
                </a:lnTo>
                <a:lnTo>
                  <a:pt x="989" y="986"/>
                </a:lnTo>
                <a:lnTo>
                  <a:pt x="990" y="990"/>
                </a:lnTo>
                <a:lnTo>
                  <a:pt x="986" y="990"/>
                </a:lnTo>
                <a:lnTo>
                  <a:pt x="984" y="988"/>
                </a:lnTo>
                <a:lnTo>
                  <a:pt x="980" y="987"/>
                </a:lnTo>
                <a:lnTo>
                  <a:pt x="977" y="988"/>
                </a:lnTo>
                <a:lnTo>
                  <a:pt x="977" y="992"/>
                </a:lnTo>
                <a:lnTo>
                  <a:pt x="979" y="995"/>
                </a:lnTo>
                <a:lnTo>
                  <a:pt x="985" y="999"/>
                </a:lnTo>
                <a:lnTo>
                  <a:pt x="991" y="1000"/>
                </a:lnTo>
                <a:lnTo>
                  <a:pt x="989" y="1005"/>
                </a:lnTo>
                <a:lnTo>
                  <a:pt x="990" y="1008"/>
                </a:lnTo>
                <a:lnTo>
                  <a:pt x="986" y="1008"/>
                </a:lnTo>
                <a:lnTo>
                  <a:pt x="983" y="1006"/>
                </a:lnTo>
                <a:lnTo>
                  <a:pt x="980" y="1005"/>
                </a:lnTo>
                <a:lnTo>
                  <a:pt x="977" y="1006"/>
                </a:lnTo>
                <a:lnTo>
                  <a:pt x="976" y="1009"/>
                </a:lnTo>
                <a:lnTo>
                  <a:pt x="978" y="1013"/>
                </a:lnTo>
                <a:lnTo>
                  <a:pt x="982" y="1015"/>
                </a:lnTo>
                <a:lnTo>
                  <a:pt x="985" y="1016"/>
                </a:lnTo>
                <a:lnTo>
                  <a:pt x="989" y="1016"/>
                </a:lnTo>
                <a:lnTo>
                  <a:pt x="991" y="1020"/>
                </a:lnTo>
                <a:lnTo>
                  <a:pt x="990" y="1022"/>
                </a:lnTo>
                <a:lnTo>
                  <a:pt x="992" y="1026"/>
                </a:lnTo>
                <a:lnTo>
                  <a:pt x="989" y="1026"/>
                </a:lnTo>
                <a:lnTo>
                  <a:pt x="985" y="1026"/>
                </a:lnTo>
                <a:lnTo>
                  <a:pt x="978" y="1025"/>
                </a:lnTo>
                <a:lnTo>
                  <a:pt x="977" y="1030"/>
                </a:lnTo>
                <a:lnTo>
                  <a:pt x="984" y="1034"/>
                </a:lnTo>
                <a:lnTo>
                  <a:pt x="991" y="1036"/>
                </a:lnTo>
                <a:lnTo>
                  <a:pt x="990" y="1041"/>
                </a:lnTo>
                <a:lnTo>
                  <a:pt x="991" y="1044"/>
                </a:lnTo>
                <a:lnTo>
                  <a:pt x="991" y="1044"/>
                </a:lnTo>
                <a:lnTo>
                  <a:pt x="987" y="1047"/>
                </a:lnTo>
                <a:lnTo>
                  <a:pt x="985" y="1043"/>
                </a:lnTo>
                <a:lnTo>
                  <a:pt x="982" y="1041"/>
                </a:lnTo>
                <a:lnTo>
                  <a:pt x="978" y="1042"/>
                </a:lnTo>
                <a:lnTo>
                  <a:pt x="977" y="1046"/>
                </a:lnTo>
                <a:lnTo>
                  <a:pt x="979" y="1050"/>
                </a:lnTo>
                <a:lnTo>
                  <a:pt x="986" y="1054"/>
                </a:lnTo>
                <a:lnTo>
                  <a:pt x="992" y="1056"/>
                </a:lnTo>
                <a:lnTo>
                  <a:pt x="990" y="1057"/>
                </a:lnTo>
                <a:lnTo>
                  <a:pt x="991" y="1060"/>
                </a:lnTo>
                <a:lnTo>
                  <a:pt x="990" y="1064"/>
                </a:lnTo>
                <a:lnTo>
                  <a:pt x="985" y="1062"/>
                </a:lnTo>
                <a:lnTo>
                  <a:pt x="982" y="1060"/>
                </a:lnTo>
                <a:lnTo>
                  <a:pt x="978" y="1062"/>
                </a:lnTo>
                <a:lnTo>
                  <a:pt x="977" y="1065"/>
                </a:lnTo>
                <a:lnTo>
                  <a:pt x="980" y="1069"/>
                </a:lnTo>
                <a:lnTo>
                  <a:pt x="983" y="1071"/>
                </a:lnTo>
                <a:lnTo>
                  <a:pt x="987" y="1071"/>
                </a:lnTo>
                <a:lnTo>
                  <a:pt x="990" y="1072"/>
                </a:lnTo>
                <a:lnTo>
                  <a:pt x="992" y="1075"/>
                </a:lnTo>
                <a:lnTo>
                  <a:pt x="991" y="1076"/>
                </a:lnTo>
                <a:lnTo>
                  <a:pt x="991" y="1076"/>
                </a:lnTo>
                <a:lnTo>
                  <a:pt x="992" y="1077"/>
                </a:lnTo>
                <a:lnTo>
                  <a:pt x="992" y="1077"/>
                </a:lnTo>
                <a:lnTo>
                  <a:pt x="992" y="1077"/>
                </a:lnTo>
                <a:lnTo>
                  <a:pt x="991" y="1076"/>
                </a:lnTo>
                <a:lnTo>
                  <a:pt x="992" y="1078"/>
                </a:lnTo>
                <a:lnTo>
                  <a:pt x="992" y="1079"/>
                </a:lnTo>
                <a:lnTo>
                  <a:pt x="992" y="1079"/>
                </a:lnTo>
                <a:lnTo>
                  <a:pt x="992" y="1078"/>
                </a:lnTo>
                <a:lnTo>
                  <a:pt x="992" y="1079"/>
                </a:lnTo>
                <a:lnTo>
                  <a:pt x="992" y="1079"/>
                </a:lnTo>
                <a:lnTo>
                  <a:pt x="992" y="1081"/>
                </a:lnTo>
                <a:lnTo>
                  <a:pt x="991" y="1081"/>
                </a:lnTo>
                <a:lnTo>
                  <a:pt x="991" y="1082"/>
                </a:lnTo>
                <a:lnTo>
                  <a:pt x="992" y="1082"/>
                </a:lnTo>
                <a:lnTo>
                  <a:pt x="987" y="1082"/>
                </a:lnTo>
                <a:lnTo>
                  <a:pt x="983" y="1081"/>
                </a:lnTo>
                <a:lnTo>
                  <a:pt x="980" y="1079"/>
                </a:lnTo>
                <a:lnTo>
                  <a:pt x="978" y="1081"/>
                </a:lnTo>
                <a:lnTo>
                  <a:pt x="978" y="1083"/>
                </a:lnTo>
                <a:lnTo>
                  <a:pt x="979" y="1086"/>
                </a:lnTo>
                <a:lnTo>
                  <a:pt x="984" y="1091"/>
                </a:lnTo>
                <a:lnTo>
                  <a:pt x="992" y="1092"/>
                </a:lnTo>
                <a:lnTo>
                  <a:pt x="991" y="1097"/>
                </a:lnTo>
                <a:lnTo>
                  <a:pt x="992" y="1100"/>
                </a:lnTo>
                <a:lnTo>
                  <a:pt x="987" y="1102"/>
                </a:lnTo>
                <a:lnTo>
                  <a:pt x="985" y="1099"/>
                </a:lnTo>
                <a:lnTo>
                  <a:pt x="980" y="1098"/>
                </a:lnTo>
                <a:lnTo>
                  <a:pt x="978" y="1099"/>
                </a:lnTo>
                <a:lnTo>
                  <a:pt x="978" y="1103"/>
                </a:lnTo>
                <a:lnTo>
                  <a:pt x="980" y="1106"/>
                </a:lnTo>
                <a:lnTo>
                  <a:pt x="986" y="1109"/>
                </a:lnTo>
                <a:lnTo>
                  <a:pt x="992" y="1111"/>
                </a:lnTo>
                <a:lnTo>
                  <a:pt x="991" y="1114"/>
                </a:lnTo>
                <a:lnTo>
                  <a:pt x="992" y="1118"/>
                </a:lnTo>
                <a:lnTo>
                  <a:pt x="985" y="1117"/>
                </a:lnTo>
                <a:lnTo>
                  <a:pt x="978" y="1117"/>
                </a:lnTo>
                <a:lnTo>
                  <a:pt x="983" y="1125"/>
                </a:lnTo>
                <a:lnTo>
                  <a:pt x="992" y="1128"/>
                </a:lnTo>
                <a:lnTo>
                  <a:pt x="991" y="1132"/>
                </a:lnTo>
                <a:lnTo>
                  <a:pt x="992" y="1137"/>
                </a:lnTo>
                <a:lnTo>
                  <a:pt x="997" y="1144"/>
                </a:lnTo>
                <a:lnTo>
                  <a:pt x="1000" y="1152"/>
                </a:lnTo>
                <a:lnTo>
                  <a:pt x="997" y="1144"/>
                </a:lnTo>
                <a:lnTo>
                  <a:pt x="992" y="1137"/>
                </a:lnTo>
                <a:lnTo>
                  <a:pt x="990" y="1137"/>
                </a:lnTo>
                <a:lnTo>
                  <a:pt x="989" y="1137"/>
                </a:lnTo>
                <a:lnTo>
                  <a:pt x="989" y="1138"/>
                </a:lnTo>
                <a:lnTo>
                  <a:pt x="987" y="1138"/>
                </a:lnTo>
                <a:lnTo>
                  <a:pt x="989" y="1138"/>
                </a:lnTo>
                <a:lnTo>
                  <a:pt x="989" y="1137"/>
                </a:lnTo>
                <a:lnTo>
                  <a:pt x="987" y="1137"/>
                </a:lnTo>
                <a:lnTo>
                  <a:pt x="986" y="1137"/>
                </a:lnTo>
                <a:lnTo>
                  <a:pt x="985" y="1133"/>
                </a:lnTo>
                <a:lnTo>
                  <a:pt x="983" y="1132"/>
                </a:lnTo>
                <a:lnTo>
                  <a:pt x="982" y="1132"/>
                </a:lnTo>
                <a:lnTo>
                  <a:pt x="982" y="1131"/>
                </a:lnTo>
                <a:lnTo>
                  <a:pt x="980" y="1131"/>
                </a:lnTo>
                <a:lnTo>
                  <a:pt x="977" y="1125"/>
                </a:lnTo>
                <a:lnTo>
                  <a:pt x="971" y="1125"/>
                </a:lnTo>
                <a:lnTo>
                  <a:pt x="967" y="1126"/>
                </a:lnTo>
                <a:lnTo>
                  <a:pt x="963" y="1126"/>
                </a:lnTo>
                <a:lnTo>
                  <a:pt x="964" y="1123"/>
                </a:lnTo>
                <a:lnTo>
                  <a:pt x="963" y="1120"/>
                </a:lnTo>
                <a:lnTo>
                  <a:pt x="960" y="1121"/>
                </a:lnTo>
                <a:lnTo>
                  <a:pt x="959" y="1124"/>
                </a:lnTo>
                <a:lnTo>
                  <a:pt x="958" y="1126"/>
                </a:lnTo>
                <a:lnTo>
                  <a:pt x="956" y="1126"/>
                </a:lnTo>
                <a:lnTo>
                  <a:pt x="956" y="1123"/>
                </a:lnTo>
                <a:lnTo>
                  <a:pt x="956" y="1120"/>
                </a:lnTo>
                <a:lnTo>
                  <a:pt x="957" y="1114"/>
                </a:lnTo>
                <a:lnTo>
                  <a:pt x="964" y="1116"/>
                </a:lnTo>
                <a:lnTo>
                  <a:pt x="971" y="1116"/>
                </a:lnTo>
                <a:lnTo>
                  <a:pt x="978" y="1111"/>
                </a:lnTo>
                <a:lnTo>
                  <a:pt x="979" y="1109"/>
                </a:lnTo>
                <a:lnTo>
                  <a:pt x="977" y="1106"/>
                </a:lnTo>
                <a:close/>
                <a:moveTo>
                  <a:pt x="951" y="1179"/>
                </a:moveTo>
                <a:lnTo>
                  <a:pt x="950" y="1177"/>
                </a:lnTo>
                <a:lnTo>
                  <a:pt x="949" y="1177"/>
                </a:lnTo>
                <a:lnTo>
                  <a:pt x="949" y="1176"/>
                </a:lnTo>
                <a:lnTo>
                  <a:pt x="949" y="1174"/>
                </a:lnTo>
                <a:lnTo>
                  <a:pt x="949" y="1172"/>
                </a:lnTo>
                <a:lnTo>
                  <a:pt x="949" y="1169"/>
                </a:lnTo>
                <a:lnTo>
                  <a:pt x="949" y="1168"/>
                </a:lnTo>
                <a:lnTo>
                  <a:pt x="950" y="1167"/>
                </a:lnTo>
                <a:lnTo>
                  <a:pt x="952" y="1167"/>
                </a:lnTo>
                <a:lnTo>
                  <a:pt x="953" y="1168"/>
                </a:lnTo>
                <a:lnTo>
                  <a:pt x="953" y="1170"/>
                </a:lnTo>
                <a:lnTo>
                  <a:pt x="955" y="1174"/>
                </a:lnTo>
                <a:lnTo>
                  <a:pt x="953" y="1176"/>
                </a:lnTo>
                <a:lnTo>
                  <a:pt x="951" y="1179"/>
                </a:lnTo>
                <a:close/>
                <a:moveTo>
                  <a:pt x="946" y="1181"/>
                </a:moveTo>
                <a:lnTo>
                  <a:pt x="948" y="1179"/>
                </a:lnTo>
                <a:lnTo>
                  <a:pt x="949" y="1177"/>
                </a:lnTo>
                <a:lnTo>
                  <a:pt x="948" y="1179"/>
                </a:lnTo>
                <a:lnTo>
                  <a:pt x="946" y="1181"/>
                </a:lnTo>
                <a:close/>
                <a:moveTo>
                  <a:pt x="935" y="1177"/>
                </a:moveTo>
                <a:lnTo>
                  <a:pt x="934" y="1174"/>
                </a:lnTo>
                <a:lnTo>
                  <a:pt x="935" y="1170"/>
                </a:lnTo>
                <a:lnTo>
                  <a:pt x="939" y="1168"/>
                </a:lnTo>
                <a:lnTo>
                  <a:pt x="945" y="1168"/>
                </a:lnTo>
                <a:lnTo>
                  <a:pt x="946" y="1170"/>
                </a:lnTo>
                <a:lnTo>
                  <a:pt x="946" y="1175"/>
                </a:lnTo>
                <a:lnTo>
                  <a:pt x="946" y="1176"/>
                </a:lnTo>
                <a:lnTo>
                  <a:pt x="946" y="1177"/>
                </a:lnTo>
                <a:lnTo>
                  <a:pt x="946" y="1179"/>
                </a:lnTo>
                <a:lnTo>
                  <a:pt x="946" y="1181"/>
                </a:lnTo>
                <a:lnTo>
                  <a:pt x="939" y="1183"/>
                </a:lnTo>
                <a:lnTo>
                  <a:pt x="935" y="1177"/>
                </a:lnTo>
                <a:close/>
                <a:moveTo>
                  <a:pt x="937" y="1337"/>
                </a:moveTo>
                <a:lnTo>
                  <a:pt x="937" y="1336"/>
                </a:lnTo>
                <a:lnTo>
                  <a:pt x="937" y="1336"/>
                </a:lnTo>
                <a:lnTo>
                  <a:pt x="937" y="1336"/>
                </a:lnTo>
                <a:lnTo>
                  <a:pt x="937" y="1336"/>
                </a:lnTo>
                <a:lnTo>
                  <a:pt x="941" y="1334"/>
                </a:lnTo>
                <a:lnTo>
                  <a:pt x="944" y="1333"/>
                </a:lnTo>
                <a:lnTo>
                  <a:pt x="941" y="1335"/>
                </a:lnTo>
                <a:lnTo>
                  <a:pt x="937" y="1337"/>
                </a:lnTo>
                <a:close/>
                <a:moveTo>
                  <a:pt x="927" y="1180"/>
                </a:moveTo>
                <a:lnTo>
                  <a:pt x="925" y="1183"/>
                </a:lnTo>
                <a:lnTo>
                  <a:pt x="923" y="1188"/>
                </a:lnTo>
                <a:lnTo>
                  <a:pt x="923" y="1188"/>
                </a:lnTo>
                <a:lnTo>
                  <a:pt x="922" y="1189"/>
                </a:lnTo>
                <a:lnTo>
                  <a:pt x="923" y="1188"/>
                </a:lnTo>
                <a:lnTo>
                  <a:pt x="923" y="1188"/>
                </a:lnTo>
                <a:lnTo>
                  <a:pt x="921" y="1180"/>
                </a:lnTo>
                <a:lnTo>
                  <a:pt x="922" y="1173"/>
                </a:lnTo>
                <a:lnTo>
                  <a:pt x="925" y="1172"/>
                </a:lnTo>
                <a:lnTo>
                  <a:pt x="929" y="1172"/>
                </a:lnTo>
                <a:lnTo>
                  <a:pt x="931" y="1174"/>
                </a:lnTo>
                <a:lnTo>
                  <a:pt x="932" y="1177"/>
                </a:lnTo>
                <a:lnTo>
                  <a:pt x="932" y="1180"/>
                </a:lnTo>
                <a:lnTo>
                  <a:pt x="934" y="1183"/>
                </a:lnTo>
                <a:lnTo>
                  <a:pt x="929" y="1183"/>
                </a:lnTo>
                <a:lnTo>
                  <a:pt x="927" y="1180"/>
                </a:lnTo>
                <a:close/>
                <a:moveTo>
                  <a:pt x="918" y="1187"/>
                </a:moveTo>
                <a:lnTo>
                  <a:pt x="915" y="1188"/>
                </a:lnTo>
                <a:lnTo>
                  <a:pt x="913" y="1188"/>
                </a:lnTo>
                <a:lnTo>
                  <a:pt x="911" y="1188"/>
                </a:lnTo>
                <a:lnTo>
                  <a:pt x="911" y="1187"/>
                </a:lnTo>
                <a:lnTo>
                  <a:pt x="911" y="1188"/>
                </a:lnTo>
                <a:lnTo>
                  <a:pt x="913" y="1188"/>
                </a:lnTo>
                <a:lnTo>
                  <a:pt x="913" y="1186"/>
                </a:lnTo>
                <a:lnTo>
                  <a:pt x="913" y="1182"/>
                </a:lnTo>
                <a:lnTo>
                  <a:pt x="914" y="1181"/>
                </a:lnTo>
                <a:lnTo>
                  <a:pt x="913" y="1180"/>
                </a:lnTo>
                <a:lnTo>
                  <a:pt x="913" y="1176"/>
                </a:lnTo>
                <a:lnTo>
                  <a:pt x="915" y="1174"/>
                </a:lnTo>
                <a:lnTo>
                  <a:pt x="917" y="1176"/>
                </a:lnTo>
                <a:lnTo>
                  <a:pt x="917" y="1180"/>
                </a:lnTo>
                <a:lnTo>
                  <a:pt x="917" y="1183"/>
                </a:lnTo>
                <a:lnTo>
                  <a:pt x="918" y="1187"/>
                </a:lnTo>
                <a:lnTo>
                  <a:pt x="920" y="1188"/>
                </a:lnTo>
                <a:lnTo>
                  <a:pt x="920" y="1189"/>
                </a:lnTo>
                <a:lnTo>
                  <a:pt x="920" y="1188"/>
                </a:lnTo>
                <a:lnTo>
                  <a:pt x="918" y="1187"/>
                </a:lnTo>
                <a:close/>
                <a:moveTo>
                  <a:pt x="914" y="1205"/>
                </a:moveTo>
                <a:lnTo>
                  <a:pt x="915" y="1207"/>
                </a:lnTo>
                <a:lnTo>
                  <a:pt x="916" y="1208"/>
                </a:lnTo>
                <a:lnTo>
                  <a:pt x="915" y="1207"/>
                </a:lnTo>
                <a:lnTo>
                  <a:pt x="914" y="1205"/>
                </a:lnTo>
                <a:close/>
                <a:moveTo>
                  <a:pt x="909" y="1190"/>
                </a:moveTo>
                <a:lnTo>
                  <a:pt x="907" y="1189"/>
                </a:lnTo>
                <a:lnTo>
                  <a:pt x="907" y="1187"/>
                </a:lnTo>
                <a:lnTo>
                  <a:pt x="907" y="1181"/>
                </a:lnTo>
                <a:lnTo>
                  <a:pt x="907" y="1175"/>
                </a:lnTo>
                <a:lnTo>
                  <a:pt x="907" y="1175"/>
                </a:lnTo>
                <a:lnTo>
                  <a:pt x="908" y="1175"/>
                </a:lnTo>
                <a:lnTo>
                  <a:pt x="910" y="1175"/>
                </a:lnTo>
                <a:lnTo>
                  <a:pt x="910" y="1181"/>
                </a:lnTo>
                <a:lnTo>
                  <a:pt x="910" y="1187"/>
                </a:lnTo>
                <a:lnTo>
                  <a:pt x="910" y="1187"/>
                </a:lnTo>
                <a:lnTo>
                  <a:pt x="910" y="1189"/>
                </a:lnTo>
                <a:lnTo>
                  <a:pt x="909" y="1190"/>
                </a:lnTo>
                <a:close/>
                <a:moveTo>
                  <a:pt x="904" y="1399"/>
                </a:moveTo>
                <a:lnTo>
                  <a:pt x="907" y="1402"/>
                </a:lnTo>
                <a:lnTo>
                  <a:pt x="909" y="1404"/>
                </a:lnTo>
                <a:lnTo>
                  <a:pt x="907" y="1402"/>
                </a:lnTo>
                <a:lnTo>
                  <a:pt x="904" y="1399"/>
                </a:lnTo>
                <a:close/>
                <a:moveTo>
                  <a:pt x="893" y="1381"/>
                </a:moveTo>
                <a:lnTo>
                  <a:pt x="893" y="1381"/>
                </a:lnTo>
                <a:lnTo>
                  <a:pt x="891" y="1379"/>
                </a:lnTo>
                <a:lnTo>
                  <a:pt x="898" y="1376"/>
                </a:lnTo>
                <a:lnTo>
                  <a:pt x="905" y="1372"/>
                </a:lnTo>
                <a:lnTo>
                  <a:pt x="905" y="1372"/>
                </a:lnTo>
                <a:lnTo>
                  <a:pt x="905" y="1372"/>
                </a:lnTo>
                <a:lnTo>
                  <a:pt x="902" y="1376"/>
                </a:lnTo>
                <a:lnTo>
                  <a:pt x="898" y="1379"/>
                </a:lnTo>
                <a:lnTo>
                  <a:pt x="896" y="1379"/>
                </a:lnTo>
                <a:lnTo>
                  <a:pt x="893" y="1381"/>
                </a:lnTo>
                <a:close/>
                <a:moveTo>
                  <a:pt x="870" y="1467"/>
                </a:moveTo>
                <a:lnTo>
                  <a:pt x="877" y="1465"/>
                </a:lnTo>
                <a:lnTo>
                  <a:pt x="886" y="1463"/>
                </a:lnTo>
                <a:lnTo>
                  <a:pt x="879" y="1465"/>
                </a:lnTo>
                <a:lnTo>
                  <a:pt x="870" y="1467"/>
                </a:lnTo>
                <a:close/>
                <a:moveTo>
                  <a:pt x="867" y="1291"/>
                </a:moveTo>
                <a:lnTo>
                  <a:pt x="866" y="1294"/>
                </a:lnTo>
                <a:lnTo>
                  <a:pt x="865" y="1297"/>
                </a:lnTo>
                <a:lnTo>
                  <a:pt x="863" y="1299"/>
                </a:lnTo>
                <a:lnTo>
                  <a:pt x="862" y="1299"/>
                </a:lnTo>
                <a:lnTo>
                  <a:pt x="863" y="1299"/>
                </a:lnTo>
                <a:lnTo>
                  <a:pt x="865" y="1297"/>
                </a:lnTo>
                <a:lnTo>
                  <a:pt x="861" y="1297"/>
                </a:lnTo>
                <a:lnTo>
                  <a:pt x="859" y="1299"/>
                </a:lnTo>
                <a:lnTo>
                  <a:pt x="856" y="1299"/>
                </a:lnTo>
                <a:lnTo>
                  <a:pt x="854" y="1300"/>
                </a:lnTo>
                <a:lnTo>
                  <a:pt x="851" y="1300"/>
                </a:lnTo>
                <a:lnTo>
                  <a:pt x="848" y="1299"/>
                </a:lnTo>
                <a:lnTo>
                  <a:pt x="848" y="1297"/>
                </a:lnTo>
                <a:lnTo>
                  <a:pt x="851" y="1293"/>
                </a:lnTo>
                <a:lnTo>
                  <a:pt x="853" y="1284"/>
                </a:lnTo>
                <a:lnTo>
                  <a:pt x="853" y="1273"/>
                </a:lnTo>
                <a:lnTo>
                  <a:pt x="853" y="1264"/>
                </a:lnTo>
                <a:lnTo>
                  <a:pt x="858" y="1252"/>
                </a:lnTo>
                <a:lnTo>
                  <a:pt x="859" y="1266"/>
                </a:lnTo>
                <a:lnTo>
                  <a:pt x="858" y="1278"/>
                </a:lnTo>
                <a:lnTo>
                  <a:pt x="859" y="1287"/>
                </a:lnTo>
                <a:lnTo>
                  <a:pt x="867" y="1291"/>
                </a:lnTo>
                <a:lnTo>
                  <a:pt x="869" y="1286"/>
                </a:lnTo>
                <a:lnTo>
                  <a:pt x="869" y="1280"/>
                </a:lnTo>
                <a:lnTo>
                  <a:pt x="869" y="1286"/>
                </a:lnTo>
                <a:lnTo>
                  <a:pt x="867" y="1291"/>
                </a:lnTo>
                <a:close/>
                <a:moveTo>
                  <a:pt x="846" y="1466"/>
                </a:moveTo>
                <a:lnTo>
                  <a:pt x="847" y="1467"/>
                </a:lnTo>
                <a:lnTo>
                  <a:pt x="848" y="1467"/>
                </a:lnTo>
                <a:lnTo>
                  <a:pt x="847" y="1467"/>
                </a:lnTo>
                <a:lnTo>
                  <a:pt x="846" y="1466"/>
                </a:lnTo>
                <a:close/>
                <a:moveTo>
                  <a:pt x="853" y="1203"/>
                </a:moveTo>
                <a:lnTo>
                  <a:pt x="851" y="1204"/>
                </a:lnTo>
                <a:lnTo>
                  <a:pt x="847" y="1204"/>
                </a:lnTo>
                <a:lnTo>
                  <a:pt x="851" y="1204"/>
                </a:lnTo>
                <a:lnTo>
                  <a:pt x="853" y="1203"/>
                </a:lnTo>
                <a:close/>
                <a:moveTo>
                  <a:pt x="844" y="1202"/>
                </a:moveTo>
                <a:lnTo>
                  <a:pt x="844" y="1196"/>
                </a:lnTo>
                <a:lnTo>
                  <a:pt x="844" y="1189"/>
                </a:lnTo>
                <a:lnTo>
                  <a:pt x="848" y="1196"/>
                </a:lnTo>
                <a:lnTo>
                  <a:pt x="847" y="1204"/>
                </a:lnTo>
                <a:lnTo>
                  <a:pt x="845" y="1204"/>
                </a:lnTo>
                <a:lnTo>
                  <a:pt x="844" y="1202"/>
                </a:lnTo>
                <a:lnTo>
                  <a:pt x="844" y="1202"/>
                </a:lnTo>
                <a:close/>
                <a:moveTo>
                  <a:pt x="838" y="1207"/>
                </a:moveTo>
                <a:lnTo>
                  <a:pt x="835" y="1203"/>
                </a:lnTo>
                <a:lnTo>
                  <a:pt x="835" y="1198"/>
                </a:lnTo>
                <a:lnTo>
                  <a:pt x="835" y="1195"/>
                </a:lnTo>
                <a:lnTo>
                  <a:pt x="839" y="1193"/>
                </a:lnTo>
                <a:lnTo>
                  <a:pt x="841" y="1196"/>
                </a:lnTo>
                <a:lnTo>
                  <a:pt x="841" y="1201"/>
                </a:lnTo>
                <a:lnTo>
                  <a:pt x="841" y="1205"/>
                </a:lnTo>
                <a:lnTo>
                  <a:pt x="838" y="1207"/>
                </a:lnTo>
                <a:close/>
                <a:moveTo>
                  <a:pt x="834" y="1204"/>
                </a:moveTo>
                <a:lnTo>
                  <a:pt x="834" y="1207"/>
                </a:lnTo>
                <a:lnTo>
                  <a:pt x="832" y="1208"/>
                </a:lnTo>
                <a:lnTo>
                  <a:pt x="829" y="1207"/>
                </a:lnTo>
                <a:lnTo>
                  <a:pt x="829" y="1207"/>
                </a:lnTo>
                <a:lnTo>
                  <a:pt x="829" y="1198"/>
                </a:lnTo>
                <a:lnTo>
                  <a:pt x="834" y="1190"/>
                </a:lnTo>
                <a:lnTo>
                  <a:pt x="834" y="1198"/>
                </a:lnTo>
                <a:lnTo>
                  <a:pt x="834" y="1204"/>
                </a:lnTo>
                <a:close/>
                <a:moveTo>
                  <a:pt x="831" y="1424"/>
                </a:moveTo>
                <a:lnTo>
                  <a:pt x="829" y="1423"/>
                </a:lnTo>
                <a:lnTo>
                  <a:pt x="828" y="1423"/>
                </a:lnTo>
                <a:lnTo>
                  <a:pt x="829" y="1423"/>
                </a:lnTo>
                <a:lnTo>
                  <a:pt x="831" y="1424"/>
                </a:lnTo>
                <a:lnTo>
                  <a:pt x="831" y="1424"/>
                </a:lnTo>
                <a:close/>
                <a:moveTo>
                  <a:pt x="824" y="1209"/>
                </a:moveTo>
                <a:lnTo>
                  <a:pt x="821" y="1209"/>
                </a:lnTo>
                <a:lnTo>
                  <a:pt x="819" y="1204"/>
                </a:lnTo>
                <a:lnTo>
                  <a:pt x="818" y="1209"/>
                </a:lnTo>
                <a:lnTo>
                  <a:pt x="818" y="1213"/>
                </a:lnTo>
                <a:lnTo>
                  <a:pt x="814" y="1203"/>
                </a:lnTo>
                <a:lnTo>
                  <a:pt x="820" y="1195"/>
                </a:lnTo>
                <a:lnTo>
                  <a:pt x="824" y="1195"/>
                </a:lnTo>
                <a:lnTo>
                  <a:pt x="825" y="1196"/>
                </a:lnTo>
                <a:lnTo>
                  <a:pt x="826" y="1203"/>
                </a:lnTo>
                <a:lnTo>
                  <a:pt x="824" y="1209"/>
                </a:lnTo>
                <a:close/>
                <a:moveTo>
                  <a:pt x="812" y="1438"/>
                </a:moveTo>
                <a:lnTo>
                  <a:pt x="813" y="1438"/>
                </a:lnTo>
                <a:lnTo>
                  <a:pt x="814" y="1437"/>
                </a:lnTo>
                <a:lnTo>
                  <a:pt x="813" y="1438"/>
                </a:lnTo>
                <a:lnTo>
                  <a:pt x="812" y="1438"/>
                </a:lnTo>
                <a:close/>
                <a:moveTo>
                  <a:pt x="806" y="1213"/>
                </a:moveTo>
                <a:lnTo>
                  <a:pt x="806" y="1205"/>
                </a:lnTo>
                <a:lnTo>
                  <a:pt x="808" y="1198"/>
                </a:lnTo>
                <a:lnTo>
                  <a:pt x="811" y="1205"/>
                </a:lnTo>
                <a:lnTo>
                  <a:pt x="806" y="1213"/>
                </a:lnTo>
                <a:close/>
                <a:moveTo>
                  <a:pt x="808" y="1461"/>
                </a:moveTo>
                <a:lnTo>
                  <a:pt x="810" y="1461"/>
                </a:lnTo>
                <a:lnTo>
                  <a:pt x="810" y="1461"/>
                </a:lnTo>
                <a:lnTo>
                  <a:pt x="810" y="1461"/>
                </a:lnTo>
                <a:lnTo>
                  <a:pt x="808" y="1461"/>
                </a:lnTo>
                <a:close/>
                <a:moveTo>
                  <a:pt x="796" y="1215"/>
                </a:moveTo>
                <a:lnTo>
                  <a:pt x="794" y="1213"/>
                </a:lnTo>
                <a:lnTo>
                  <a:pt x="794" y="1211"/>
                </a:lnTo>
                <a:lnTo>
                  <a:pt x="794" y="1213"/>
                </a:lnTo>
                <a:lnTo>
                  <a:pt x="796" y="1215"/>
                </a:lnTo>
                <a:lnTo>
                  <a:pt x="796" y="1210"/>
                </a:lnTo>
                <a:lnTo>
                  <a:pt x="796" y="1205"/>
                </a:lnTo>
                <a:lnTo>
                  <a:pt x="796" y="1204"/>
                </a:lnTo>
                <a:lnTo>
                  <a:pt x="794" y="1203"/>
                </a:lnTo>
                <a:lnTo>
                  <a:pt x="800" y="1204"/>
                </a:lnTo>
                <a:lnTo>
                  <a:pt x="803" y="1209"/>
                </a:lnTo>
                <a:lnTo>
                  <a:pt x="800" y="1214"/>
                </a:lnTo>
                <a:lnTo>
                  <a:pt x="796" y="1215"/>
                </a:lnTo>
                <a:close/>
                <a:moveTo>
                  <a:pt x="792" y="1211"/>
                </a:moveTo>
                <a:lnTo>
                  <a:pt x="791" y="1216"/>
                </a:lnTo>
                <a:lnTo>
                  <a:pt x="787" y="1220"/>
                </a:lnTo>
                <a:lnTo>
                  <a:pt x="784" y="1218"/>
                </a:lnTo>
                <a:lnTo>
                  <a:pt x="782" y="1220"/>
                </a:lnTo>
                <a:lnTo>
                  <a:pt x="780" y="1216"/>
                </a:lnTo>
                <a:lnTo>
                  <a:pt x="777" y="1215"/>
                </a:lnTo>
                <a:lnTo>
                  <a:pt x="775" y="1217"/>
                </a:lnTo>
                <a:lnTo>
                  <a:pt x="775" y="1221"/>
                </a:lnTo>
                <a:lnTo>
                  <a:pt x="772" y="1221"/>
                </a:lnTo>
                <a:lnTo>
                  <a:pt x="770" y="1221"/>
                </a:lnTo>
                <a:lnTo>
                  <a:pt x="770" y="1221"/>
                </a:lnTo>
                <a:lnTo>
                  <a:pt x="769" y="1216"/>
                </a:lnTo>
                <a:lnTo>
                  <a:pt x="769" y="1211"/>
                </a:lnTo>
                <a:lnTo>
                  <a:pt x="770" y="1208"/>
                </a:lnTo>
                <a:lnTo>
                  <a:pt x="772" y="1207"/>
                </a:lnTo>
                <a:lnTo>
                  <a:pt x="779" y="1207"/>
                </a:lnTo>
                <a:lnTo>
                  <a:pt x="785" y="1203"/>
                </a:lnTo>
                <a:lnTo>
                  <a:pt x="791" y="1204"/>
                </a:lnTo>
                <a:lnTo>
                  <a:pt x="792" y="1211"/>
                </a:lnTo>
                <a:close/>
                <a:moveTo>
                  <a:pt x="789" y="1372"/>
                </a:moveTo>
                <a:lnTo>
                  <a:pt x="789" y="1371"/>
                </a:lnTo>
                <a:lnTo>
                  <a:pt x="789" y="1371"/>
                </a:lnTo>
                <a:lnTo>
                  <a:pt x="789" y="1371"/>
                </a:lnTo>
                <a:lnTo>
                  <a:pt x="789" y="1372"/>
                </a:lnTo>
                <a:lnTo>
                  <a:pt x="790" y="1372"/>
                </a:lnTo>
                <a:lnTo>
                  <a:pt x="790" y="1372"/>
                </a:lnTo>
                <a:lnTo>
                  <a:pt x="790" y="1372"/>
                </a:lnTo>
                <a:lnTo>
                  <a:pt x="789" y="1372"/>
                </a:lnTo>
                <a:close/>
                <a:moveTo>
                  <a:pt x="787" y="1350"/>
                </a:moveTo>
                <a:lnTo>
                  <a:pt x="787" y="1351"/>
                </a:lnTo>
                <a:lnTo>
                  <a:pt x="789" y="1353"/>
                </a:lnTo>
                <a:lnTo>
                  <a:pt x="787" y="1351"/>
                </a:lnTo>
                <a:lnTo>
                  <a:pt x="787" y="1350"/>
                </a:lnTo>
                <a:close/>
                <a:moveTo>
                  <a:pt x="768" y="1661"/>
                </a:moveTo>
                <a:lnTo>
                  <a:pt x="770" y="1661"/>
                </a:lnTo>
                <a:lnTo>
                  <a:pt x="771" y="1658"/>
                </a:lnTo>
                <a:lnTo>
                  <a:pt x="770" y="1661"/>
                </a:lnTo>
                <a:lnTo>
                  <a:pt x="768" y="1661"/>
                </a:lnTo>
                <a:close/>
                <a:moveTo>
                  <a:pt x="764" y="1213"/>
                </a:moveTo>
                <a:lnTo>
                  <a:pt x="763" y="1217"/>
                </a:lnTo>
                <a:lnTo>
                  <a:pt x="764" y="1223"/>
                </a:lnTo>
                <a:lnTo>
                  <a:pt x="760" y="1223"/>
                </a:lnTo>
                <a:lnTo>
                  <a:pt x="758" y="1223"/>
                </a:lnTo>
                <a:lnTo>
                  <a:pt x="759" y="1217"/>
                </a:lnTo>
                <a:lnTo>
                  <a:pt x="760" y="1210"/>
                </a:lnTo>
                <a:lnTo>
                  <a:pt x="762" y="1209"/>
                </a:lnTo>
                <a:lnTo>
                  <a:pt x="764" y="1208"/>
                </a:lnTo>
                <a:lnTo>
                  <a:pt x="765" y="1210"/>
                </a:lnTo>
                <a:lnTo>
                  <a:pt x="764" y="1213"/>
                </a:lnTo>
                <a:close/>
                <a:moveTo>
                  <a:pt x="760" y="1531"/>
                </a:moveTo>
                <a:lnTo>
                  <a:pt x="763" y="1530"/>
                </a:lnTo>
                <a:lnTo>
                  <a:pt x="764" y="1530"/>
                </a:lnTo>
                <a:lnTo>
                  <a:pt x="763" y="1530"/>
                </a:lnTo>
                <a:lnTo>
                  <a:pt x="760" y="1531"/>
                </a:lnTo>
                <a:close/>
                <a:moveTo>
                  <a:pt x="753" y="1320"/>
                </a:moveTo>
                <a:lnTo>
                  <a:pt x="745" y="1322"/>
                </a:lnTo>
                <a:lnTo>
                  <a:pt x="737" y="1325"/>
                </a:lnTo>
                <a:lnTo>
                  <a:pt x="741" y="1315"/>
                </a:lnTo>
                <a:lnTo>
                  <a:pt x="742" y="1305"/>
                </a:lnTo>
                <a:lnTo>
                  <a:pt x="742" y="1301"/>
                </a:lnTo>
                <a:lnTo>
                  <a:pt x="742" y="1297"/>
                </a:lnTo>
                <a:lnTo>
                  <a:pt x="742" y="1301"/>
                </a:lnTo>
                <a:lnTo>
                  <a:pt x="742" y="1305"/>
                </a:lnTo>
                <a:lnTo>
                  <a:pt x="745" y="1302"/>
                </a:lnTo>
                <a:lnTo>
                  <a:pt x="746" y="1299"/>
                </a:lnTo>
                <a:lnTo>
                  <a:pt x="746" y="1304"/>
                </a:lnTo>
                <a:lnTo>
                  <a:pt x="746" y="1309"/>
                </a:lnTo>
                <a:lnTo>
                  <a:pt x="748" y="1314"/>
                </a:lnTo>
                <a:lnTo>
                  <a:pt x="752" y="1315"/>
                </a:lnTo>
                <a:lnTo>
                  <a:pt x="755" y="1315"/>
                </a:lnTo>
                <a:lnTo>
                  <a:pt x="756" y="1318"/>
                </a:lnTo>
                <a:lnTo>
                  <a:pt x="756" y="1320"/>
                </a:lnTo>
                <a:lnTo>
                  <a:pt x="753" y="1320"/>
                </a:lnTo>
                <a:close/>
                <a:moveTo>
                  <a:pt x="743" y="1391"/>
                </a:moveTo>
                <a:lnTo>
                  <a:pt x="743" y="1391"/>
                </a:lnTo>
                <a:lnTo>
                  <a:pt x="744" y="1391"/>
                </a:lnTo>
                <a:lnTo>
                  <a:pt x="743" y="1391"/>
                </a:lnTo>
                <a:lnTo>
                  <a:pt x="743" y="1391"/>
                </a:lnTo>
                <a:close/>
                <a:moveTo>
                  <a:pt x="743" y="1389"/>
                </a:moveTo>
                <a:lnTo>
                  <a:pt x="743" y="1389"/>
                </a:lnTo>
                <a:lnTo>
                  <a:pt x="743" y="1389"/>
                </a:lnTo>
                <a:lnTo>
                  <a:pt x="743" y="1389"/>
                </a:lnTo>
                <a:lnTo>
                  <a:pt x="743" y="1389"/>
                </a:lnTo>
                <a:lnTo>
                  <a:pt x="743" y="1389"/>
                </a:lnTo>
                <a:close/>
                <a:moveTo>
                  <a:pt x="742" y="1426"/>
                </a:moveTo>
                <a:lnTo>
                  <a:pt x="745" y="1420"/>
                </a:lnTo>
                <a:lnTo>
                  <a:pt x="741" y="1410"/>
                </a:lnTo>
                <a:lnTo>
                  <a:pt x="741" y="1410"/>
                </a:lnTo>
                <a:lnTo>
                  <a:pt x="745" y="1420"/>
                </a:lnTo>
                <a:lnTo>
                  <a:pt x="742" y="1426"/>
                </a:lnTo>
                <a:close/>
                <a:moveTo>
                  <a:pt x="731" y="1227"/>
                </a:moveTo>
                <a:lnTo>
                  <a:pt x="731" y="1221"/>
                </a:lnTo>
                <a:lnTo>
                  <a:pt x="729" y="1216"/>
                </a:lnTo>
                <a:lnTo>
                  <a:pt x="738" y="1216"/>
                </a:lnTo>
                <a:lnTo>
                  <a:pt x="742" y="1224"/>
                </a:lnTo>
                <a:lnTo>
                  <a:pt x="744" y="1225"/>
                </a:lnTo>
                <a:lnTo>
                  <a:pt x="746" y="1225"/>
                </a:lnTo>
                <a:lnTo>
                  <a:pt x="739" y="1229"/>
                </a:lnTo>
                <a:lnTo>
                  <a:pt x="731" y="1227"/>
                </a:lnTo>
                <a:close/>
                <a:moveTo>
                  <a:pt x="724" y="1238"/>
                </a:moveTo>
                <a:lnTo>
                  <a:pt x="725" y="1238"/>
                </a:lnTo>
                <a:lnTo>
                  <a:pt x="727" y="1238"/>
                </a:lnTo>
                <a:lnTo>
                  <a:pt x="725" y="1238"/>
                </a:lnTo>
                <a:lnTo>
                  <a:pt x="724" y="1238"/>
                </a:lnTo>
                <a:close/>
                <a:moveTo>
                  <a:pt x="724" y="1238"/>
                </a:moveTo>
                <a:lnTo>
                  <a:pt x="723" y="1239"/>
                </a:lnTo>
                <a:lnTo>
                  <a:pt x="722" y="1241"/>
                </a:lnTo>
                <a:lnTo>
                  <a:pt x="723" y="1239"/>
                </a:lnTo>
                <a:lnTo>
                  <a:pt x="724" y="1238"/>
                </a:lnTo>
                <a:close/>
                <a:moveTo>
                  <a:pt x="714" y="1227"/>
                </a:moveTo>
                <a:lnTo>
                  <a:pt x="714" y="1224"/>
                </a:lnTo>
                <a:lnTo>
                  <a:pt x="711" y="1223"/>
                </a:lnTo>
                <a:lnTo>
                  <a:pt x="710" y="1227"/>
                </a:lnTo>
                <a:lnTo>
                  <a:pt x="710" y="1231"/>
                </a:lnTo>
                <a:lnTo>
                  <a:pt x="707" y="1235"/>
                </a:lnTo>
                <a:lnTo>
                  <a:pt x="702" y="1237"/>
                </a:lnTo>
                <a:lnTo>
                  <a:pt x="702" y="1235"/>
                </a:lnTo>
                <a:lnTo>
                  <a:pt x="702" y="1234"/>
                </a:lnTo>
                <a:lnTo>
                  <a:pt x="706" y="1223"/>
                </a:lnTo>
                <a:lnTo>
                  <a:pt x="715" y="1218"/>
                </a:lnTo>
                <a:lnTo>
                  <a:pt x="718" y="1222"/>
                </a:lnTo>
                <a:lnTo>
                  <a:pt x="718" y="1225"/>
                </a:lnTo>
                <a:lnTo>
                  <a:pt x="718" y="1229"/>
                </a:lnTo>
                <a:lnTo>
                  <a:pt x="721" y="1231"/>
                </a:lnTo>
                <a:lnTo>
                  <a:pt x="722" y="1229"/>
                </a:lnTo>
                <a:lnTo>
                  <a:pt x="721" y="1224"/>
                </a:lnTo>
                <a:lnTo>
                  <a:pt x="721" y="1223"/>
                </a:lnTo>
                <a:lnTo>
                  <a:pt x="722" y="1222"/>
                </a:lnTo>
                <a:lnTo>
                  <a:pt x="722" y="1220"/>
                </a:lnTo>
                <a:lnTo>
                  <a:pt x="724" y="1218"/>
                </a:lnTo>
                <a:lnTo>
                  <a:pt x="725" y="1220"/>
                </a:lnTo>
                <a:lnTo>
                  <a:pt x="725" y="1222"/>
                </a:lnTo>
                <a:lnTo>
                  <a:pt x="725" y="1225"/>
                </a:lnTo>
                <a:lnTo>
                  <a:pt x="725" y="1230"/>
                </a:lnTo>
                <a:lnTo>
                  <a:pt x="725" y="1230"/>
                </a:lnTo>
                <a:lnTo>
                  <a:pt x="725" y="1230"/>
                </a:lnTo>
                <a:lnTo>
                  <a:pt x="725" y="1230"/>
                </a:lnTo>
                <a:lnTo>
                  <a:pt x="725" y="1230"/>
                </a:lnTo>
                <a:lnTo>
                  <a:pt x="724" y="1231"/>
                </a:lnTo>
                <a:lnTo>
                  <a:pt x="722" y="1232"/>
                </a:lnTo>
                <a:lnTo>
                  <a:pt x="715" y="1232"/>
                </a:lnTo>
                <a:lnTo>
                  <a:pt x="714" y="1227"/>
                </a:lnTo>
                <a:close/>
                <a:moveTo>
                  <a:pt x="711" y="1419"/>
                </a:moveTo>
                <a:lnTo>
                  <a:pt x="711" y="1418"/>
                </a:lnTo>
                <a:lnTo>
                  <a:pt x="713" y="1418"/>
                </a:lnTo>
                <a:lnTo>
                  <a:pt x="711" y="1418"/>
                </a:lnTo>
                <a:lnTo>
                  <a:pt x="711" y="1419"/>
                </a:lnTo>
                <a:close/>
                <a:moveTo>
                  <a:pt x="701" y="1423"/>
                </a:moveTo>
                <a:lnTo>
                  <a:pt x="701" y="1421"/>
                </a:lnTo>
                <a:lnTo>
                  <a:pt x="702" y="1421"/>
                </a:lnTo>
                <a:lnTo>
                  <a:pt x="701" y="1421"/>
                </a:lnTo>
                <a:lnTo>
                  <a:pt x="701" y="1423"/>
                </a:lnTo>
                <a:close/>
                <a:moveTo>
                  <a:pt x="686" y="1239"/>
                </a:moveTo>
                <a:lnTo>
                  <a:pt x="684" y="1243"/>
                </a:lnTo>
                <a:lnTo>
                  <a:pt x="683" y="1243"/>
                </a:lnTo>
                <a:lnTo>
                  <a:pt x="684" y="1243"/>
                </a:lnTo>
                <a:lnTo>
                  <a:pt x="686" y="1239"/>
                </a:lnTo>
                <a:lnTo>
                  <a:pt x="686" y="1237"/>
                </a:lnTo>
                <a:lnTo>
                  <a:pt x="686" y="1234"/>
                </a:lnTo>
                <a:lnTo>
                  <a:pt x="686" y="1231"/>
                </a:lnTo>
                <a:lnTo>
                  <a:pt x="684" y="1230"/>
                </a:lnTo>
                <a:lnTo>
                  <a:pt x="682" y="1231"/>
                </a:lnTo>
                <a:lnTo>
                  <a:pt x="682" y="1234"/>
                </a:lnTo>
                <a:lnTo>
                  <a:pt x="681" y="1238"/>
                </a:lnTo>
                <a:lnTo>
                  <a:pt x="680" y="1243"/>
                </a:lnTo>
                <a:lnTo>
                  <a:pt x="676" y="1242"/>
                </a:lnTo>
                <a:lnTo>
                  <a:pt x="675" y="1239"/>
                </a:lnTo>
                <a:lnTo>
                  <a:pt x="675" y="1235"/>
                </a:lnTo>
                <a:lnTo>
                  <a:pt x="675" y="1230"/>
                </a:lnTo>
                <a:lnTo>
                  <a:pt x="684" y="1228"/>
                </a:lnTo>
                <a:lnTo>
                  <a:pt x="694" y="1224"/>
                </a:lnTo>
                <a:lnTo>
                  <a:pt x="694" y="1224"/>
                </a:lnTo>
                <a:lnTo>
                  <a:pt x="695" y="1224"/>
                </a:lnTo>
                <a:lnTo>
                  <a:pt x="696" y="1224"/>
                </a:lnTo>
                <a:lnTo>
                  <a:pt x="696" y="1227"/>
                </a:lnTo>
                <a:lnTo>
                  <a:pt x="696" y="1228"/>
                </a:lnTo>
                <a:lnTo>
                  <a:pt x="697" y="1229"/>
                </a:lnTo>
                <a:lnTo>
                  <a:pt x="699" y="1230"/>
                </a:lnTo>
                <a:lnTo>
                  <a:pt x="697" y="1229"/>
                </a:lnTo>
                <a:lnTo>
                  <a:pt x="696" y="1228"/>
                </a:lnTo>
                <a:lnTo>
                  <a:pt x="694" y="1237"/>
                </a:lnTo>
                <a:lnTo>
                  <a:pt x="686" y="1239"/>
                </a:lnTo>
                <a:close/>
                <a:moveTo>
                  <a:pt x="672" y="1440"/>
                </a:moveTo>
                <a:lnTo>
                  <a:pt x="676" y="1439"/>
                </a:lnTo>
                <a:lnTo>
                  <a:pt x="680" y="1437"/>
                </a:lnTo>
                <a:lnTo>
                  <a:pt x="680" y="1437"/>
                </a:lnTo>
                <a:lnTo>
                  <a:pt x="676" y="1439"/>
                </a:lnTo>
                <a:lnTo>
                  <a:pt x="672" y="1440"/>
                </a:lnTo>
                <a:close/>
                <a:moveTo>
                  <a:pt x="666" y="1244"/>
                </a:moveTo>
                <a:lnTo>
                  <a:pt x="665" y="1242"/>
                </a:lnTo>
                <a:lnTo>
                  <a:pt x="665" y="1238"/>
                </a:lnTo>
                <a:lnTo>
                  <a:pt x="662" y="1241"/>
                </a:lnTo>
                <a:lnTo>
                  <a:pt x="662" y="1243"/>
                </a:lnTo>
                <a:lnTo>
                  <a:pt x="662" y="1241"/>
                </a:lnTo>
                <a:lnTo>
                  <a:pt x="665" y="1238"/>
                </a:lnTo>
                <a:lnTo>
                  <a:pt x="662" y="1235"/>
                </a:lnTo>
                <a:lnTo>
                  <a:pt x="658" y="1235"/>
                </a:lnTo>
                <a:lnTo>
                  <a:pt x="658" y="1238"/>
                </a:lnTo>
                <a:lnTo>
                  <a:pt x="660" y="1241"/>
                </a:lnTo>
                <a:lnTo>
                  <a:pt x="660" y="1243"/>
                </a:lnTo>
                <a:lnTo>
                  <a:pt x="660" y="1245"/>
                </a:lnTo>
                <a:lnTo>
                  <a:pt x="654" y="1249"/>
                </a:lnTo>
                <a:lnTo>
                  <a:pt x="647" y="1249"/>
                </a:lnTo>
                <a:lnTo>
                  <a:pt x="648" y="1246"/>
                </a:lnTo>
                <a:lnTo>
                  <a:pt x="648" y="1243"/>
                </a:lnTo>
                <a:lnTo>
                  <a:pt x="647" y="1238"/>
                </a:lnTo>
                <a:lnTo>
                  <a:pt x="649" y="1235"/>
                </a:lnTo>
                <a:lnTo>
                  <a:pt x="661" y="1232"/>
                </a:lnTo>
                <a:lnTo>
                  <a:pt x="673" y="1231"/>
                </a:lnTo>
                <a:lnTo>
                  <a:pt x="669" y="1237"/>
                </a:lnTo>
                <a:lnTo>
                  <a:pt x="668" y="1243"/>
                </a:lnTo>
                <a:lnTo>
                  <a:pt x="667" y="1244"/>
                </a:lnTo>
                <a:lnTo>
                  <a:pt x="666" y="1244"/>
                </a:lnTo>
                <a:close/>
                <a:moveTo>
                  <a:pt x="665" y="1433"/>
                </a:moveTo>
                <a:lnTo>
                  <a:pt x="665" y="1434"/>
                </a:lnTo>
                <a:lnTo>
                  <a:pt x="666" y="1435"/>
                </a:lnTo>
                <a:lnTo>
                  <a:pt x="665" y="1434"/>
                </a:lnTo>
                <a:lnTo>
                  <a:pt x="665" y="1433"/>
                </a:lnTo>
                <a:close/>
                <a:moveTo>
                  <a:pt x="652" y="1279"/>
                </a:moveTo>
                <a:lnTo>
                  <a:pt x="652" y="1280"/>
                </a:lnTo>
                <a:lnTo>
                  <a:pt x="652" y="1280"/>
                </a:lnTo>
                <a:lnTo>
                  <a:pt x="652" y="1280"/>
                </a:lnTo>
                <a:lnTo>
                  <a:pt x="652" y="1279"/>
                </a:lnTo>
                <a:lnTo>
                  <a:pt x="652" y="1279"/>
                </a:lnTo>
                <a:close/>
                <a:moveTo>
                  <a:pt x="644" y="1249"/>
                </a:moveTo>
                <a:lnTo>
                  <a:pt x="635" y="1252"/>
                </a:lnTo>
                <a:lnTo>
                  <a:pt x="633" y="1245"/>
                </a:lnTo>
                <a:lnTo>
                  <a:pt x="633" y="1245"/>
                </a:lnTo>
                <a:lnTo>
                  <a:pt x="633" y="1244"/>
                </a:lnTo>
                <a:lnTo>
                  <a:pt x="634" y="1242"/>
                </a:lnTo>
                <a:lnTo>
                  <a:pt x="634" y="1241"/>
                </a:lnTo>
                <a:lnTo>
                  <a:pt x="634" y="1238"/>
                </a:lnTo>
                <a:lnTo>
                  <a:pt x="639" y="1236"/>
                </a:lnTo>
                <a:lnTo>
                  <a:pt x="642" y="1237"/>
                </a:lnTo>
                <a:lnTo>
                  <a:pt x="645" y="1243"/>
                </a:lnTo>
                <a:lnTo>
                  <a:pt x="644" y="1249"/>
                </a:lnTo>
                <a:close/>
                <a:moveTo>
                  <a:pt x="627" y="1451"/>
                </a:moveTo>
                <a:lnTo>
                  <a:pt x="631" y="1449"/>
                </a:lnTo>
                <a:lnTo>
                  <a:pt x="634" y="1447"/>
                </a:lnTo>
                <a:lnTo>
                  <a:pt x="631" y="1449"/>
                </a:lnTo>
                <a:lnTo>
                  <a:pt x="627" y="1451"/>
                </a:lnTo>
                <a:close/>
                <a:moveTo>
                  <a:pt x="625" y="1539"/>
                </a:moveTo>
                <a:lnTo>
                  <a:pt x="625" y="1539"/>
                </a:lnTo>
                <a:lnTo>
                  <a:pt x="625" y="1539"/>
                </a:lnTo>
                <a:lnTo>
                  <a:pt x="625" y="1539"/>
                </a:lnTo>
                <a:lnTo>
                  <a:pt x="625" y="1539"/>
                </a:lnTo>
                <a:lnTo>
                  <a:pt x="627" y="1538"/>
                </a:lnTo>
                <a:lnTo>
                  <a:pt x="631" y="1538"/>
                </a:lnTo>
                <a:lnTo>
                  <a:pt x="627" y="1538"/>
                </a:lnTo>
                <a:lnTo>
                  <a:pt x="625" y="1539"/>
                </a:lnTo>
                <a:close/>
                <a:moveTo>
                  <a:pt x="624" y="1539"/>
                </a:moveTo>
                <a:lnTo>
                  <a:pt x="624" y="1539"/>
                </a:lnTo>
                <a:lnTo>
                  <a:pt x="624" y="1539"/>
                </a:lnTo>
                <a:close/>
                <a:moveTo>
                  <a:pt x="623" y="1539"/>
                </a:moveTo>
                <a:lnTo>
                  <a:pt x="621" y="1539"/>
                </a:lnTo>
                <a:lnTo>
                  <a:pt x="619" y="1539"/>
                </a:lnTo>
                <a:lnTo>
                  <a:pt x="621" y="1539"/>
                </a:lnTo>
                <a:lnTo>
                  <a:pt x="623" y="1539"/>
                </a:lnTo>
                <a:close/>
                <a:moveTo>
                  <a:pt x="619" y="1249"/>
                </a:moveTo>
                <a:lnTo>
                  <a:pt x="619" y="1244"/>
                </a:lnTo>
                <a:lnTo>
                  <a:pt x="623" y="1241"/>
                </a:lnTo>
                <a:lnTo>
                  <a:pt x="623" y="1248"/>
                </a:lnTo>
                <a:lnTo>
                  <a:pt x="623" y="1256"/>
                </a:lnTo>
                <a:lnTo>
                  <a:pt x="619" y="1252"/>
                </a:lnTo>
                <a:lnTo>
                  <a:pt x="619" y="1249"/>
                </a:lnTo>
                <a:close/>
                <a:moveTo>
                  <a:pt x="619" y="1235"/>
                </a:move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7" y="1236"/>
                </a:lnTo>
                <a:lnTo>
                  <a:pt x="615" y="1236"/>
                </a:lnTo>
                <a:lnTo>
                  <a:pt x="617" y="1236"/>
                </a:lnTo>
                <a:lnTo>
                  <a:pt x="619" y="1235"/>
                </a:lnTo>
                <a:close/>
                <a:moveTo>
                  <a:pt x="610" y="1238"/>
                </a:moveTo>
                <a:lnTo>
                  <a:pt x="610" y="1238"/>
                </a:lnTo>
                <a:lnTo>
                  <a:pt x="610" y="1238"/>
                </a:lnTo>
                <a:lnTo>
                  <a:pt x="612" y="1238"/>
                </a:lnTo>
                <a:lnTo>
                  <a:pt x="615" y="1238"/>
                </a:lnTo>
                <a:lnTo>
                  <a:pt x="612" y="1238"/>
                </a:lnTo>
                <a:lnTo>
                  <a:pt x="610" y="1238"/>
                </a:lnTo>
                <a:close/>
                <a:moveTo>
                  <a:pt x="614" y="1249"/>
                </a:moveTo>
                <a:lnTo>
                  <a:pt x="613" y="1255"/>
                </a:lnTo>
                <a:lnTo>
                  <a:pt x="610" y="1258"/>
                </a:lnTo>
                <a:lnTo>
                  <a:pt x="610" y="1253"/>
                </a:lnTo>
                <a:lnTo>
                  <a:pt x="610" y="1248"/>
                </a:lnTo>
                <a:lnTo>
                  <a:pt x="610" y="1245"/>
                </a:lnTo>
                <a:lnTo>
                  <a:pt x="613" y="1243"/>
                </a:lnTo>
                <a:lnTo>
                  <a:pt x="614" y="1245"/>
                </a:lnTo>
                <a:lnTo>
                  <a:pt x="614" y="1249"/>
                </a:lnTo>
                <a:close/>
                <a:moveTo>
                  <a:pt x="608" y="1238"/>
                </a:moveTo>
                <a:lnTo>
                  <a:pt x="608" y="1238"/>
                </a:lnTo>
                <a:lnTo>
                  <a:pt x="608" y="1238"/>
                </a:lnTo>
                <a:lnTo>
                  <a:pt x="605" y="1238"/>
                </a:lnTo>
                <a:lnTo>
                  <a:pt x="601" y="1239"/>
                </a:lnTo>
                <a:lnTo>
                  <a:pt x="605" y="1238"/>
                </a:lnTo>
                <a:lnTo>
                  <a:pt x="608" y="1238"/>
                </a:lnTo>
                <a:lnTo>
                  <a:pt x="608" y="1238"/>
                </a:lnTo>
                <a:lnTo>
                  <a:pt x="608" y="1238"/>
                </a:lnTo>
                <a:close/>
                <a:moveTo>
                  <a:pt x="594" y="1260"/>
                </a:moveTo>
                <a:lnTo>
                  <a:pt x="594" y="1253"/>
                </a:lnTo>
                <a:lnTo>
                  <a:pt x="594" y="1248"/>
                </a:lnTo>
                <a:lnTo>
                  <a:pt x="596" y="1246"/>
                </a:lnTo>
                <a:lnTo>
                  <a:pt x="598" y="1246"/>
                </a:lnTo>
                <a:lnTo>
                  <a:pt x="598" y="1251"/>
                </a:lnTo>
                <a:lnTo>
                  <a:pt x="599" y="1257"/>
                </a:lnTo>
                <a:lnTo>
                  <a:pt x="601" y="1251"/>
                </a:lnTo>
                <a:lnTo>
                  <a:pt x="601" y="1245"/>
                </a:lnTo>
                <a:lnTo>
                  <a:pt x="605" y="1246"/>
                </a:lnTo>
                <a:lnTo>
                  <a:pt x="605" y="1250"/>
                </a:lnTo>
                <a:lnTo>
                  <a:pt x="603" y="1258"/>
                </a:lnTo>
                <a:lnTo>
                  <a:pt x="594" y="1260"/>
                </a:lnTo>
                <a:close/>
                <a:moveTo>
                  <a:pt x="600" y="1377"/>
                </a:moveTo>
                <a:lnTo>
                  <a:pt x="600" y="1378"/>
                </a:lnTo>
                <a:lnTo>
                  <a:pt x="599" y="1379"/>
                </a:lnTo>
                <a:lnTo>
                  <a:pt x="600" y="1378"/>
                </a:lnTo>
                <a:lnTo>
                  <a:pt x="600" y="1377"/>
                </a:lnTo>
                <a:lnTo>
                  <a:pt x="600" y="1377"/>
                </a:lnTo>
                <a:close/>
                <a:moveTo>
                  <a:pt x="587" y="1264"/>
                </a:moveTo>
                <a:lnTo>
                  <a:pt x="586" y="1264"/>
                </a:lnTo>
                <a:lnTo>
                  <a:pt x="585" y="1265"/>
                </a:lnTo>
                <a:lnTo>
                  <a:pt x="586" y="1264"/>
                </a:lnTo>
                <a:lnTo>
                  <a:pt x="587" y="1264"/>
                </a:lnTo>
                <a:lnTo>
                  <a:pt x="586" y="1256"/>
                </a:lnTo>
                <a:lnTo>
                  <a:pt x="589" y="1249"/>
                </a:lnTo>
                <a:lnTo>
                  <a:pt x="591" y="1257"/>
                </a:lnTo>
                <a:lnTo>
                  <a:pt x="587" y="1264"/>
                </a:lnTo>
                <a:close/>
                <a:moveTo>
                  <a:pt x="582" y="1264"/>
                </a:moveTo>
                <a:lnTo>
                  <a:pt x="583" y="1265"/>
                </a:lnTo>
                <a:lnTo>
                  <a:pt x="583" y="1265"/>
                </a:lnTo>
                <a:lnTo>
                  <a:pt x="583" y="1265"/>
                </a:lnTo>
                <a:lnTo>
                  <a:pt x="582" y="1264"/>
                </a:lnTo>
                <a:lnTo>
                  <a:pt x="580" y="1264"/>
                </a:lnTo>
                <a:lnTo>
                  <a:pt x="578" y="1264"/>
                </a:lnTo>
                <a:lnTo>
                  <a:pt x="578" y="1265"/>
                </a:lnTo>
                <a:lnTo>
                  <a:pt x="577" y="1266"/>
                </a:lnTo>
                <a:lnTo>
                  <a:pt x="578" y="1265"/>
                </a:lnTo>
                <a:lnTo>
                  <a:pt x="578" y="1264"/>
                </a:lnTo>
                <a:lnTo>
                  <a:pt x="578" y="1262"/>
                </a:lnTo>
                <a:lnTo>
                  <a:pt x="577" y="1260"/>
                </a:lnTo>
                <a:lnTo>
                  <a:pt x="577" y="1263"/>
                </a:lnTo>
                <a:lnTo>
                  <a:pt x="576" y="1265"/>
                </a:lnTo>
                <a:lnTo>
                  <a:pt x="573" y="1265"/>
                </a:lnTo>
                <a:lnTo>
                  <a:pt x="570" y="1265"/>
                </a:lnTo>
                <a:lnTo>
                  <a:pt x="571" y="1258"/>
                </a:lnTo>
                <a:lnTo>
                  <a:pt x="575" y="1252"/>
                </a:lnTo>
                <a:lnTo>
                  <a:pt x="578" y="1250"/>
                </a:lnTo>
                <a:lnTo>
                  <a:pt x="582" y="1250"/>
                </a:lnTo>
                <a:lnTo>
                  <a:pt x="584" y="1253"/>
                </a:lnTo>
                <a:lnTo>
                  <a:pt x="583" y="1256"/>
                </a:lnTo>
                <a:lnTo>
                  <a:pt x="583" y="1260"/>
                </a:lnTo>
                <a:lnTo>
                  <a:pt x="582" y="1264"/>
                </a:lnTo>
                <a:close/>
                <a:moveTo>
                  <a:pt x="580" y="1245"/>
                </a:moveTo>
                <a:lnTo>
                  <a:pt x="575" y="1248"/>
                </a:lnTo>
                <a:lnTo>
                  <a:pt x="569" y="1249"/>
                </a:lnTo>
                <a:lnTo>
                  <a:pt x="575" y="1248"/>
                </a:lnTo>
                <a:lnTo>
                  <a:pt x="580" y="1245"/>
                </a:lnTo>
                <a:close/>
                <a:moveTo>
                  <a:pt x="568" y="1257"/>
                </a:moveTo>
                <a:lnTo>
                  <a:pt x="568" y="1262"/>
                </a:lnTo>
                <a:lnTo>
                  <a:pt x="568" y="1267"/>
                </a:lnTo>
                <a:lnTo>
                  <a:pt x="564" y="1269"/>
                </a:lnTo>
                <a:lnTo>
                  <a:pt x="563" y="1265"/>
                </a:lnTo>
                <a:lnTo>
                  <a:pt x="563" y="1259"/>
                </a:lnTo>
                <a:lnTo>
                  <a:pt x="563" y="1253"/>
                </a:lnTo>
                <a:lnTo>
                  <a:pt x="566" y="1253"/>
                </a:lnTo>
                <a:lnTo>
                  <a:pt x="568" y="1257"/>
                </a:lnTo>
                <a:lnTo>
                  <a:pt x="568" y="1257"/>
                </a:lnTo>
                <a:close/>
                <a:moveTo>
                  <a:pt x="565" y="1452"/>
                </a:moveTo>
                <a:lnTo>
                  <a:pt x="565" y="1452"/>
                </a:lnTo>
                <a:lnTo>
                  <a:pt x="566" y="1452"/>
                </a:lnTo>
                <a:lnTo>
                  <a:pt x="565" y="1452"/>
                </a:lnTo>
                <a:lnTo>
                  <a:pt x="565" y="1452"/>
                </a:lnTo>
                <a:close/>
                <a:moveTo>
                  <a:pt x="563" y="1433"/>
                </a:moveTo>
                <a:lnTo>
                  <a:pt x="563" y="1425"/>
                </a:lnTo>
                <a:lnTo>
                  <a:pt x="563" y="1417"/>
                </a:lnTo>
                <a:lnTo>
                  <a:pt x="563" y="1425"/>
                </a:lnTo>
                <a:lnTo>
                  <a:pt x="563" y="1433"/>
                </a:lnTo>
                <a:close/>
                <a:moveTo>
                  <a:pt x="561" y="1266"/>
                </a:moveTo>
                <a:lnTo>
                  <a:pt x="561" y="1269"/>
                </a:lnTo>
                <a:lnTo>
                  <a:pt x="558" y="1269"/>
                </a:lnTo>
                <a:lnTo>
                  <a:pt x="557" y="1267"/>
                </a:lnTo>
                <a:lnTo>
                  <a:pt x="556" y="1266"/>
                </a:lnTo>
                <a:lnTo>
                  <a:pt x="557" y="1259"/>
                </a:lnTo>
                <a:lnTo>
                  <a:pt x="559" y="1255"/>
                </a:lnTo>
                <a:lnTo>
                  <a:pt x="561" y="1260"/>
                </a:lnTo>
                <a:lnTo>
                  <a:pt x="561" y="1266"/>
                </a:lnTo>
                <a:close/>
                <a:moveTo>
                  <a:pt x="551" y="1246"/>
                </a:moveTo>
                <a:lnTo>
                  <a:pt x="554" y="1245"/>
                </a:lnTo>
                <a:lnTo>
                  <a:pt x="556" y="1244"/>
                </a:lnTo>
                <a:lnTo>
                  <a:pt x="554" y="1245"/>
                </a:lnTo>
                <a:lnTo>
                  <a:pt x="551" y="1246"/>
                </a:lnTo>
                <a:close/>
                <a:moveTo>
                  <a:pt x="548" y="1427"/>
                </a:moveTo>
                <a:lnTo>
                  <a:pt x="550" y="1426"/>
                </a:lnTo>
                <a:lnTo>
                  <a:pt x="551" y="1425"/>
                </a:lnTo>
                <a:lnTo>
                  <a:pt x="550" y="1426"/>
                </a:lnTo>
                <a:lnTo>
                  <a:pt x="548" y="1427"/>
                </a:lnTo>
                <a:close/>
                <a:moveTo>
                  <a:pt x="537" y="1253"/>
                </a:moveTo>
                <a:lnTo>
                  <a:pt x="536" y="1253"/>
                </a:lnTo>
                <a:lnTo>
                  <a:pt x="534" y="1255"/>
                </a:lnTo>
                <a:lnTo>
                  <a:pt x="536" y="1253"/>
                </a:lnTo>
                <a:lnTo>
                  <a:pt x="537" y="1253"/>
                </a:lnTo>
                <a:lnTo>
                  <a:pt x="542" y="1252"/>
                </a:lnTo>
                <a:lnTo>
                  <a:pt x="547" y="1252"/>
                </a:lnTo>
                <a:lnTo>
                  <a:pt x="542" y="1252"/>
                </a:lnTo>
                <a:lnTo>
                  <a:pt x="537" y="1253"/>
                </a:lnTo>
                <a:close/>
                <a:moveTo>
                  <a:pt x="545" y="1264"/>
                </a:moveTo>
                <a:lnTo>
                  <a:pt x="544" y="1265"/>
                </a:lnTo>
                <a:lnTo>
                  <a:pt x="544" y="1267"/>
                </a:lnTo>
                <a:lnTo>
                  <a:pt x="543" y="1273"/>
                </a:lnTo>
                <a:lnTo>
                  <a:pt x="537" y="1274"/>
                </a:lnTo>
                <a:lnTo>
                  <a:pt x="535" y="1274"/>
                </a:lnTo>
                <a:lnTo>
                  <a:pt x="532" y="1274"/>
                </a:lnTo>
                <a:lnTo>
                  <a:pt x="531" y="1277"/>
                </a:lnTo>
                <a:lnTo>
                  <a:pt x="530" y="1278"/>
                </a:lnTo>
                <a:lnTo>
                  <a:pt x="531" y="1277"/>
                </a:lnTo>
                <a:lnTo>
                  <a:pt x="532" y="1274"/>
                </a:lnTo>
                <a:lnTo>
                  <a:pt x="532" y="1269"/>
                </a:lnTo>
                <a:lnTo>
                  <a:pt x="531" y="1265"/>
                </a:lnTo>
                <a:lnTo>
                  <a:pt x="529" y="1269"/>
                </a:lnTo>
                <a:lnTo>
                  <a:pt x="528" y="1273"/>
                </a:lnTo>
                <a:lnTo>
                  <a:pt x="528" y="1276"/>
                </a:lnTo>
                <a:lnTo>
                  <a:pt x="527" y="1277"/>
                </a:lnTo>
                <a:lnTo>
                  <a:pt x="523" y="1276"/>
                </a:lnTo>
                <a:lnTo>
                  <a:pt x="520" y="1272"/>
                </a:lnTo>
                <a:lnTo>
                  <a:pt x="517" y="1278"/>
                </a:lnTo>
                <a:lnTo>
                  <a:pt x="513" y="1277"/>
                </a:lnTo>
                <a:lnTo>
                  <a:pt x="510" y="1276"/>
                </a:lnTo>
                <a:lnTo>
                  <a:pt x="509" y="1278"/>
                </a:lnTo>
                <a:lnTo>
                  <a:pt x="506" y="1281"/>
                </a:lnTo>
                <a:lnTo>
                  <a:pt x="501" y="1283"/>
                </a:lnTo>
                <a:lnTo>
                  <a:pt x="500" y="1279"/>
                </a:lnTo>
                <a:lnTo>
                  <a:pt x="500" y="1276"/>
                </a:lnTo>
                <a:lnTo>
                  <a:pt x="499" y="1276"/>
                </a:lnTo>
                <a:lnTo>
                  <a:pt x="499" y="1276"/>
                </a:lnTo>
                <a:lnTo>
                  <a:pt x="499" y="1276"/>
                </a:lnTo>
                <a:lnTo>
                  <a:pt x="500" y="1276"/>
                </a:lnTo>
                <a:lnTo>
                  <a:pt x="500" y="1272"/>
                </a:lnTo>
                <a:lnTo>
                  <a:pt x="500" y="1269"/>
                </a:lnTo>
                <a:lnTo>
                  <a:pt x="504" y="1267"/>
                </a:lnTo>
                <a:lnTo>
                  <a:pt x="508" y="1269"/>
                </a:lnTo>
                <a:lnTo>
                  <a:pt x="509" y="1271"/>
                </a:lnTo>
                <a:lnTo>
                  <a:pt x="513" y="1271"/>
                </a:lnTo>
                <a:lnTo>
                  <a:pt x="514" y="1267"/>
                </a:lnTo>
                <a:lnTo>
                  <a:pt x="513" y="1264"/>
                </a:lnTo>
                <a:lnTo>
                  <a:pt x="510" y="1264"/>
                </a:lnTo>
                <a:lnTo>
                  <a:pt x="509" y="1264"/>
                </a:lnTo>
                <a:lnTo>
                  <a:pt x="506" y="1266"/>
                </a:lnTo>
                <a:lnTo>
                  <a:pt x="501" y="1267"/>
                </a:lnTo>
                <a:lnTo>
                  <a:pt x="506" y="1266"/>
                </a:lnTo>
                <a:lnTo>
                  <a:pt x="509" y="1264"/>
                </a:lnTo>
                <a:lnTo>
                  <a:pt x="509" y="1264"/>
                </a:lnTo>
                <a:lnTo>
                  <a:pt x="510" y="1264"/>
                </a:lnTo>
                <a:lnTo>
                  <a:pt x="513" y="1264"/>
                </a:lnTo>
                <a:lnTo>
                  <a:pt x="524" y="1264"/>
                </a:lnTo>
                <a:lnTo>
                  <a:pt x="536" y="1260"/>
                </a:lnTo>
                <a:lnTo>
                  <a:pt x="539" y="1259"/>
                </a:lnTo>
                <a:lnTo>
                  <a:pt x="544" y="1259"/>
                </a:lnTo>
                <a:lnTo>
                  <a:pt x="544" y="1259"/>
                </a:lnTo>
                <a:lnTo>
                  <a:pt x="545" y="1260"/>
                </a:lnTo>
                <a:lnTo>
                  <a:pt x="545" y="1263"/>
                </a:lnTo>
                <a:lnTo>
                  <a:pt x="545" y="1264"/>
                </a:lnTo>
                <a:close/>
                <a:moveTo>
                  <a:pt x="495" y="1539"/>
                </a:moveTo>
                <a:lnTo>
                  <a:pt x="495" y="1539"/>
                </a:lnTo>
                <a:lnTo>
                  <a:pt x="496" y="1539"/>
                </a:lnTo>
                <a:lnTo>
                  <a:pt x="495" y="1539"/>
                </a:lnTo>
                <a:lnTo>
                  <a:pt x="495" y="1539"/>
                </a:lnTo>
                <a:close/>
                <a:moveTo>
                  <a:pt x="509" y="1264"/>
                </a:moveTo>
                <a:lnTo>
                  <a:pt x="509" y="1263"/>
                </a:lnTo>
                <a:lnTo>
                  <a:pt x="509" y="1263"/>
                </a:lnTo>
                <a:lnTo>
                  <a:pt x="509" y="1263"/>
                </a:lnTo>
                <a:lnTo>
                  <a:pt x="509" y="1264"/>
                </a:lnTo>
                <a:lnTo>
                  <a:pt x="501" y="1264"/>
                </a:lnTo>
                <a:lnTo>
                  <a:pt x="493" y="1265"/>
                </a:lnTo>
                <a:lnTo>
                  <a:pt x="501" y="1264"/>
                </a:lnTo>
                <a:lnTo>
                  <a:pt x="509" y="1264"/>
                </a:lnTo>
                <a:close/>
                <a:moveTo>
                  <a:pt x="500" y="1258"/>
                </a:moveTo>
                <a:lnTo>
                  <a:pt x="496" y="1258"/>
                </a:lnTo>
                <a:lnTo>
                  <a:pt x="492" y="1259"/>
                </a:lnTo>
                <a:lnTo>
                  <a:pt x="496" y="1258"/>
                </a:lnTo>
                <a:lnTo>
                  <a:pt x="500" y="1258"/>
                </a:lnTo>
                <a:close/>
                <a:moveTo>
                  <a:pt x="492" y="1259"/>
                </a:moveTo>
                <a:lnTo>
                  <a:pt x="492" y="1258"/>
                </a:lnTo>
                <a:lnTo>
                  <a:pt x="492" y="1257"/>
                </a:lnTo>
                <a:lnTo>
                  <a:pt x="492" y="1258"/>
                </a:lnTo>
                <a:lnTo>
                  <a:pt x="492" y="1259"/>
                </a:lnTo>
                <a:lnTo>
                  <a:pt x="492" y="1259"/>
                </a:lnTo>
                <a:close/>
                <a:moveTo>
                  <a:pt x="492" y="1259"/>
                </a:moveTo>
                <a:lnTo>
                  <a:pt x="492" y="1259"/>
                </a:lnTo>
                <a:lnTo>
                  <a:pt x="492" y="1259"/>
                </a:lnTo>
                <a:lnTo>
                  <a:pt x="492" y="1259"/>
                </a:lnTo>
                <a:lnTo>
                  <a:pt x="492" y="1259"/>
                </a:lnTo>
                <a:lnTo>
                  <a:pt x="492" y="1259"/>
                </a:lnTo>
                <a:close/>
                <a:moveTo>
                  <a:pt x="485" y="1276"/>
                </a:moveTo>
                <a:lnTo>
                  <a:pt x="482" y="1279"/>
                </a:lnTo>
                <a:lnTo>
                  <a:pt x="482" y="1284"/>
                </a:lnTo>
                <a:lnTo>
                  <a:pt x="481" y="1286"/>
                </a:lnTo>
                <a:lnTo>
                  <a:pt x="480" y="1286"/>
                </a:lnTo>
                <a:lnTo>
                  <a:pt x="479" y="1285"/>
                </a:lnTo>
                <a:lnTo>
                  <a:pt x="479" y="1283"/>
                </a:lnTo>
                <a:lnTo>
                  <a:pt x="479" y="1277"/>
                </a:lnTo>
                <a:lnTo>
                  <a:pt x="482" y="1272"/>
                </a:lnTo>
                <a:lnTo>
                  <a:pt x="485" y="1271"/>
                </a:lnTo>
                <a:lnTo>
                  <a:pt x="486" y="1272"/>
                </a:lnTo>
                <a:lnTo>
                  <a:pt x="486" y="1274"/>
                </a:lnTo>
                <a:lnTo>
                  <a:pt x="485" y="1276"/>
                </a:lnTo>
                <a:lnTo>
                  <a:pt x="485" y="1276"/>
                </a:lnTo>
                <a:close/>
                <a:moveTo>
                  <a:pt x="485" y="1285"/>
                </a:moveTo>
                <a:lnTo>
                  <a:pt x="485" y="1284"/>
                </a:lnTo>
                <a:lnTo>
                  <a:pt x="486" y="1283"/>
                </a:lnTo>
                <a:lnTo>
                  <a:pt x="485" y="1284"/>
                </a:lnTo>
                <a:lnTo>
                  <a:pt x="485" y="1285"/>
                </a:lnTo>
                <a:close/>
                <a:moveTo>
                  <a:pt x="463" y="1291"/>
                </a:moveTo>
                <a:lnTo>
                  <a:pt x="465" y="1292"/>
                </a:lnTo>
                <a:lnTo>
                  <a:pt x="465" y="1293"/>
                </a:lnTo>
                <a:lnTo>
                  <a:pt x="465" y="1292"/>
                </a:lnTo>
                <a:lnTo>
                  <a:pt x="463" y="1291"/>
                </a:lnTo>
                <a:lnTo>
                  <a:pt x="463" y="1290"/>
                </a:lnTo>
                <a:lnTo>
                  <a:pt x="462" y="1290"/>
                </a:lnTo>
                <a:lnTo>
                  <a:pt x="462" y="1284"/>
                </a:lnTo>
                <a:lnTo>
                  <a:pt x="463" y="1279"/>
                </a:lnTo>
                <a:lnTo>
                  <a:pt x="468" y="1274"/>
                </a:lnTo>
                <a:lnTo>
                  <a:pt x="474" y="1274"/>
                </a:lnTo>
                <a:lnTo>
                  <a:pt x="473" y="1285"/>
                </a:lnTo>
                <a:lnTo>
                  <a:pt x="463" y="1291"/>
                </a:lnTo>
                <a:close/>
                <a:moveTo>
                  <a:pt x="463" y="1474"/>
                </a:moveTo>
                <a:lnTo>
                  <a:pt x="463" y="1475"/>
                </a:lnTo>
                <a:lnTo>
                  <a:pt x="465" y="1476"/>
                </a:lnTo>
                <a:lnTo>
                  <a:pt x="463" y="1475"/>
                </a:lnTo>
                <a:lnTo>
                  <a:pt x="463" y="1474"/>
                </a:lnTo>
                <a:close/>
                <a:moveTo>
                  <a:pt x="461" y="1279"/>
                </a:moveTo>
                <a:lnTo>
                  <a:pt x="458" y="1286"/>
                </a:lnTo>
                <a:lnTo>
                  <a:pt x="456" y="1293"/>
                </a:lnTo>
                <a:lnTo>
                  <a:pt x="455" y="1293"/>
                </a:lnTo>
                <a:lnTo>
                  <a:pt x="455" y="1294"/>
                </a:lnTo>
                <a:lnTo>
                  <a:pt x="453" y="1293"/>
                </a:lnTo>
                <a:lnTo>
                  <a:pt x="451" y="1291"/>
                </a:lnTo>
                <a:lnTo>
                  <a:pt x="452" y="1284"/>
                </a:lnTo>
                <a:lnTo>
                  <a:pt x="456" y="1278"/>
                </a:lnTo>
                <a:lnTo>
                  <a:pt x="459" y="1278"/>
                </a:lnTo>
                <a:lnTo>
                  <a:pt x="461" y="1279"/>
                </a:lnTo>
                <a:lnTo>
                  <a:pt x="461" y="1279"/>
                </a:lnTo>
                <a:lnTo>
                  <a:pt x="462" y="1279"/>
                </a:lnTo>
                <a:lnTo>
                  <a:pt x="461" y="1279"/>
                </a:lnTo>
                <a:lnTo>
                  <a:pt x="461" y="1279"/>
                </a:lnTo>
                <a:lnTo>
                  <a:pt x="461" y="1279"/>
                </a:lnTo>
                <a:close/>
                <a:moveTo>
                  <a:pt x="417" y="1306"/>
                </a:moveTo>
                <a:lnTo>
                  <a:pt x="412" y="1306"/>
                </a:lnTo>
                <a:lnTo>
                  <a:pt x="409" y="1306"/>
                </a:lnTo>
                <a:lnTo>
                  <a:pt x="407" y="1306"/>
                </a:lnTo>
                <a:lnTo>
                  <a:pt x="405" y="1306"/>
                </a:lnTo>
                <a:lnTo>
                  <a:pt x="405" y="1306"/>
                </a:lnTo>
                <a:lnTo>
                  <a:pt x="406" y="1305"/>
                </a:lnTo>
                <a:lnTo>
                  <a:pt x="407" y="1302"/>
                </a:lnTo>
                <a:lnTo>
                  <a:pt x="406" y="1298"/>
                </a:lnTo>
                <a:lnTo>
                  <a:pt x="404" y="1301"/>
                </a:lnTo>
                <a:lnTo>
                  <a:pt x="404" y="1304"/>
                </a:lnTo>
                <a:lnTo>
                  <a:pt x="401" y="1305"/>
                </a:lnTo>
                <a:lnTo>
                  <a:pt x="400" y="1306"/>
                </a:lnTo>
                <a:lnTo>
                  <a:pt x="401" y="1307"/>
                </a:lnTo>
                <a:lnTo>
                  <a:pt x="404" y="1307"/>
                </a:lnTo>
                <a:lnTo>
                  <a:pt x="398" y="1307"/>
                </a:lnTo>
                <a:lnTo>
                  <a:pt x="393" y="1305"/>
                </a:lnTo>
                <a:lnTo>
                  <a:pt x="392" y="1306"/>
                </a:lnTo>
                <a:lnTo>
                  <a:pt x="390" y="1307"/>
                </a:lnTo>
                <a:lnTo>
                  <a:pt x="392" y="1306"/>
                </a:lnTo>
                <a:lnTo>
                  <a:pt x="393" y="1305"/>
                </a:lnTo>
                <a:lnTo>
                  <a:pt x="393" y="1302"/>
                </a:lnTo>
                <a:lnTo>
                  <a:pt x="394" y="1301"/>
                </a:lnTo>
                <a:lnTo>
                  <a:pt x="394" y="1300"/>
                </a:lnTo>
                <a:lnTo>
                  <a:pt x="394" y="1300"/>
                </a:lnTo>
                <a:lnTo>
                  <a:pt x="394" y="1300"/>
                </a:lnTo>
                <a:lnTo>
                  <a:pt x="394" y="1301"/>
                </a:lnTo>
                <a:lnTo>
                  <a:pt x="394" y="1301"/>
                </a:lnTo>
                <a:lnTo>
                  <a:pt x="396" y="1301"/>
                </a:lnTo>
                <a:lnTo>
                  <a:pt x="396" y="1300"/>
                </a:lnTo>
                <a:lnTo>
                  <a:pt x="394" y="1299"/>
                </a:lnTo>
                <a:lnTo>
                  <a:pt x="396" y="1293"/>
                </a:lnTo>
                <a:lnTo>
                  <a:pt x="400" y="1291"/>
                </a:lnTo>
                <a:lnTo>
                  <a:pt x="410" y="1288"/>
                </a:lnTo>
                <a:lnTo>
                  <a:pt x="418" y="1287"/>
                </a:lnTo>
                <a:lnTo>
                  <a:pt x="418" y="1287"/>
                </a:lnTo>
                <a:lnTo>
                  <a:pt x="419" y="1287"/>
                </a:lnTo>
                <a:lnTo>
                  <a:pt x="419" y="1288"/>
                </a:lnTo>
                <a:lnTo>
                  <a:pt x="419" y="1290"/>
                </a:lnTo>
                <a:lnTo>
                  <a:pt x="419" y="1291"/>
                </a:lnTo>
                <a:lnTo>
                  <a:pt x="418" y="1292"/>
                </a:lnTo>
                <a:lnTo>
                  <a:pt x="418" y="1294"/>
                </a:lnTo>
                <a:lnTo>
                  <a:pt x="417" y="1301"/>
                </a:lnTo>
                <a:lnTo>
                  <a:pt x="411" y="1302"/>
                </a:lnTo>
                <a:lnTo>
                  <a:pt x="413" y="1305"/>
                </a:lnTo>
                <a:lnTo>
                  <a:pt x="417" y="1306"/>
                </a:lnTo>
                <a:lnTo>
                  <a:pt x="439" y="1301"/>
                </a:lnTo>
                <a:lnTo>
                  <a:pt x="461" y="1295"/>
                </a:lnTo>
                <a:lnTo>
                  <a:pt x="439" y="1301"/>
                </a:lnTo>
                <a:lnTo>
                  <a:pt x="417" y="1306"/>
                </a:lnTo>
                <a:close/>
                <a:moveTo>
                  <a:pt x="405" y="1306"/>
                </a:moveTo>
                <a:lnTo>
                  <a:pt x="405" y="1306"/>
                </a:lnTo>
                <a:lnTo>
                  <a:pt x="405" y="1307"/>
                </a:lnTo>
                <a:lnTo>
                  <a:pt x="405" y="1306"/>
                </a:lnTo>
                <a:lnTo>
                  <a:pt x="405" y="1306"/>
                </a:lnTo>
                <a:close/>
                <a:moveTo>
                  <a:pt x="439" y="1427"/>
                </a:moveTo>
                <a:lnTo>
                  <a:pt x="439" y="1427"/>
                </a:lnTo>
                <a:lnTo>
                  <a:pt x="440" y="1427"/>
                </a:lnTo>
                <a:lnTo>
                  <a:pt x="439" y="1427"/>
                </a:lnTo>
                <a:lnTo>
                  <a:pt x="439" y="1427"/>
                </a:lnTo>
                <a:close/>
                <a:moveTo>
                  <a:pt x="438" y="1473"/>
                </a:moveTo>
                <a:lnTo>
                  <a:pt x="439" y="1474"/>
                </a:lnTo>
                <a:lnTo>
                  <a:pt x="440" y="1476"/>
                </a:lnTo>
                <a:lnTo>
                  <a:pt x="439" y="1474"/>
                </a:lnTo>
                <a:lnTo>
                  <a:pt x="438" y="1473"/>
                </a:lnTo>
                <a:close/>
                <a:moveTo>
                  <a:pt x="431" y="1406"/>
                </a:moveTo>
                <a:lnTo>
                  <a:pt x="433" y="1406"/>
                </a:lnTo>
                <a:lnTo>
                  <a:pt x="434" y="1407"/>
                </a:lnTo>
                <a:lnTo>
                  <a:pt x="433" y="1406"/>
                </a:lnTo>
                <a:lnTo>
                  <a:pt x="431" y="1406"/>
                </a:lnTo>
                <a:close/>
                <a:moveTo>
                  <a:pt x="431" y="1592"/>
                </a:moveTo>
                <a:lnTo>
                  <a:pt x="432" y="1593"/>
                </a:lnTo>
                <a:lnTo>
                  <a:pt x="433" y="1594"/>
                </a:lnTo>
                <a:lnTo>
                  <a:pt x="432" y="1593"/>
                </a:lnTo>
                <a:lnTo>
                  <a:pt x="431" y="1592"/>
                </a:lnTo>
                <a:close/>
                <a:moveTo>
                  <a:pt x="419" y="1341"/>
                </a:moveTo>
                <a:lnTo>
                  <a:pt x="420" y="1341"/>
                </a:lnTo>
                <a:lnTo>
                  <a:pt x="420" y="1342"/>
                </a:lnTo>
                <a:lnTo>
                  <a:pt x="420" y="1341"/>
                </a:lnTo>
                <a:lnTo>
                  <a:pt x="419" y="1341"/>
                </a:lnTo>
                <a:close/>
                <a:moveTo>
                  <a:pt x="390" y="1308"/>
                </a:moveTo>
                <a:lnTo>
                  <a:pt x="387" y="1308"/>
                </a:lnTo>
                <a:lnTo>
                  <a:pt x="385" y="1308"/>
                </a:lnTo>
                <a:lnTo>
                  <a:pt x="385" y="1300"/>
                </a:lnTo>
                <a:lnTo>
                  <a:pt x="390" y="1293"/>
                </a:lnTo>
                <a:lnTo>
                  <a:pt x="390" y="1301"/>
                </a:lnTo>
                <a:lnTo>
                  <a:pt x="390" y="1308"/>
                </a:lnTo>
                <a:close/>
                <a:moveTo>
                  <a:pt x="371" y="1311"/>
                </a:moveTo>
                <a:lnTo>
                  <a:pt x="361" y="1315"/>
                </a:lnTo>
                <a:lnTo>
                  <a:pt x="349" y="1318"/>
                </a:lnTo>
                <a:lnTo>
                  <a:pt x="344" y="1315"/>
                </a:lnTo>
                <a:lnTo>
                  <a:pt x="344" y="1311"/>
                </a:lnTo>
                <a:lnTo>
                  <a:pt x="344" y="1311"/>
                </a:lnTo>
                <a:lnTo>
                  <a:pt x="347" y="1305"/>
                </a:lnTo>
                <a:lnTo>
                  <a:pt x="352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1" y="1305"/>
                </a:lnTo>
                <a:lnTo>
                  <a:pt x="352" y="1306"/>
                </a:lnTo>
                <a:lnTo>
                  <a:pt x="358" y="1307"/>
                </a:lnTo>
                <a:lnTo>
                  <a:pt x="364" y="1306"/>
                </a:lnTo>
                <a:lnTo>
                  <a:pt x="364" y="1302"/>
                </a:lnTo>
                <a:lnTo>
                  <a:pt x="362" y="1301"/>
                </a:lnTo>
                <a:lnTo>
                  <a:pt x="357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9" y="1299"/>
                </a:lnTo>
                <a:lnTo>
                  <a:pt x="366" y="1299"/>
                </a:lnTo>
                <a:lnTo>
                  <a:pt x="369" y="1301"/>
                </a:lnTo>
                <a:lnTo>
                  <a:pt x="370" y="1307"/>
                </a:lnTo>
                <a:lnTo>
                  <a:pt x="372" y="1298"/>
                </a:lnTo>
                <a:lnTo>
                  <a:pt x="380" y="1295"/>
                </a:lnTo>
                <a:lnTo>
                  <a:pt x="380" y="1295"/>
                </a:lnTo>
                <a:lnTo>
                  <a:pt x="382" y="1297"/>
                </a:lnTo>
                <a:lnTo>
                  <a:pt x="382" y="1298"/>
                </a:lnTo>
                <a:lnTo>
                  <a:pt x="382" y="1299"/>
                </a:lnTo>
                <a:lnTo>
                  <a:pt x="379" y="1308"/>
                </a:lnTo>
                <a:lnTo>
                  <a:pt x="371" y="1311"/>
                </a:lnTo>
                <a:close/>
                <a:moveTo>
                  <a:pt x="356" y="1329"/>
                </a:moveTo>
                <a:lnTo>
                  <a:pt x="356" y="1329"/>
                </a:lnTo>
                <a:lnTo>
                  <a:pt x="356" y="1329"/>
                </a:lnTo>
                <a:lnTo>
                  <a:pt x="356" y="1329"/>
                </a:lnTo>
                <a:lnTo>
                  <a:pt x="356" y="1329"/>
                </a:lnTo>
                <a:lnTo>
                  <a:pt x="357" y="1329"/>
                </a:lnTo>
                <a:lnTo>
                  <a:pt x="357" y="1329"/>
                </a:lnTo>
                <a:lnTo>
                  <a:pt x="357" y="1329"/>
                </a:lnTo>
                <a:lnTo>
                  <a:pt x="356" y="1329"/>
                </a:lnTo>
                <a:close/>
                <a:moveTo>
                  <a:pt x="354" y="1502"/>
                </a:moveTo>
                <a:lnTo>
                  <a:pt x="355" y="1501"/>
                </a:lnTo>
                <a:lnTo>
                  <a:pt x="355" y="1500"/>
                </a:lnTo>
                <a:lnTo>
                  <a:pt x="355" y="1501"/>
                </a:lnTo>
                <a:lnTo>
                  <a:pt x="354" y="1502"/>
                </a:lnTo>
                <a:close/>
                <a:moveTo>
                  <a:pt x="347" y="1327"/>
                </a:moveTo>
                <a:lnTo>
                  <a:pt x="347" y="1327"/>
                </a:lnTo>
                <a:lnTo>
                  <a:pt x="348" y="1327"/>
                </a:lnTo>
                <a:lnTo>
                  <a:pt x="347" y="1327"/>
                </a:lnTo>
                <a:lnTo>
                  <a:pt x="347" y="1327"/>
                </a:lnTo>
                <a:close/>
                <a:moveTo>
                  <a:pt x="347" y="1508"/>
                </a:moveTo>
                <a:lnTo>
                  <a:pt x="348" y="1508"/>
                </a:lnTo>
                <a:lnTo>
                  <a:pt x="349" y="1508"/>
                </a:lnTo>
                <a:lnTo>
                  <a:pt x="348" y="1508"/>
                </a:lnTo>
                <a:lnTo>
                  <a:pt x="347" y="1508"/>
                </a:lnTo>
                <a:close/>
                <a:moveTo>
                  <a:pt x="341" y="1316"/>
                </a:moveTo>
                <a:lnTo>
                  <a:pt x="341" y="1319"/>
                </a:lnTo>
                <a:lnTo>
                  <a:pt x="338" y="1320"/>
                </a:lnTo>
                <a:lnTo>
                  <a:pt x="336" y="1318"/>
                </a:lnTo>
                <a:lnTo>
                  <a:pt x="337" y="1315"/>
                </a:lnTo>
                <a:lnTo>
                  <a:pt x="338" y="1312"/>
                </a:lnTo>
                <a:lnTo>
                  <a:pt x="338" y="1308"/>
                </a:lnTo>
                <a:lnTo>
                  <a:pt x="340" y="1305"/>
                </a:lnTo>
                <a:lnTo>
                  <a:pt x="342" y="1305"/>
                </a:lnTo>
                <a:lnTo>
                  <a:pt x="343" y="1306"/>
                </a:lnTo>
                <a:lnTo>
                  <a:pt x="341" y="1308"/>
                </a:lnTo>
                <a:lnTo>
                  <a:pt x="342" y="1309"/>
                </a:lnTo>
                <a:lnTo>
                  <a:pt x="343" y="1311"/>
                </a:lnTo>
                <a:lnTo>
                  <a:pt x="341" y="1313"/>
                </a:lnTo>
                <a:lnTo>
                  <a:pt x="341" y="1316"/>
                </a:lnTo>
                <a:close/>
                <a:moveTo>
                  <a:pt x="333" y="1330"/>
                </a:moveTo>
                <a:lnTo>
                  <a:pt x="331" y="1330"/>
                </a:lnTo>
                <a:lnTo>
                  <a:pt x="331" y="1330"/>
                </a:lnTo>
                <a:lnTo>
                  <a:pt x="331" y="1330"/>
                </a:lnTo>
                <a:lnTo>
                  <a:pt x="331" y="1330"/>
                </a:lnTo>
                <a:lnTo>
                  <a:pt x="333" y="1330"/>
                </a:lnTo>
                <a:lnTo>
                  <a:pt x="335" y="1332"/>
                </a:lnTo>
                <a:lnTo>
                  <a:pt x="337" y="1333"/>
                </a:lnTo>
                <a:lnTo>
                  <a:pt x="335" y="1332"/>
                </a:lnTo>
                <a:lnTo>
                  <a:pt x="333" y="1330"/>
                </a:lnTo>
                <a:close/>
                <a:moveTo>
                  <a:pt x="335" y="1362"/>
                </a:moveTo>
                <a:lnTo>
                  <a:pt x="330" y="1360"/>
                </a:lnTo>
                <a:lnTo>
                  <a:pt x="325" y="1357"/>
                </a:lnTo>
                <a:lnTo>
                  <a:pt x="330" y="1360"/>
                </a:lnTo>
                <a:lnTo>
                  <a:pt x="334" y="1362"/>
                </a:lnTo>
                <a:lnTo>
                  <a:pt x="334" y="1362"/>
                </a:lnTo>
                <a:lnTo>
                  <a:pt x="335" y="1362"/>
                </a:lnTo>
                <a:close/>
                <a:moveTo>
                  <a:pt x="334" y="1330"/>
                </a:moveTo>
                <a:lnTo>
                  <a:pt x="333" y="1330"/>
                </a:lnTo>
                <a:lnTo>
                  <a:pt x="331" y="1330"/>
                </a:lnTo>
                <a:lnTo>
                  <a:pt x="333" y="1330"/>
                </a:lnTo>
                <a:lnTo>
                  <a:pt x="334" y="1330"/>
                </a:lnTo>
                <a:close/>
                <a:moveTo>
                  <a:pt x="323" y="1316"/>
                </a:moveTo>
                <a:lnTo>
                  <a:pt x="324" y="1312"/>
                </a:lnTo>
                <a:lnTo>
                  <a:pt x="325" y="1307"/>
                </a:lnTo>
                <a:lnTo>
                  <a:pt x="330" y="1306"/>
                </a:lnTo>
                <a:lnTo>
                  <a:pt x="334" y="1308"/>
                </a:lnTo>
                <a:lnTo>
                  <a:pt x="333" y="1315"/>
                </a:lnTo>
                <a:lnTo>
                  <a:pt x="327" y="1321"/>
                </a:lnTo>
                <a:lnTo>
                  <a:pt x="324" y="1321"/>
                </a:lnTo>
                <a:lnTo>
                  <a:pt x="323" y="1316"/>
                </a:lnTo>
                <a:close/>
                <a:moveTo>
                  <a:pt x="320" y="1322"/>
                </a:moveTo>
                <a:lnTo>
                  <a:pt x="316" y="1323"/>
                </a:lnTo>
                <a:lnTo>
                  <a:pt x="311" y="1325"/>
                </a:lnTo>
                <a:lnTo>
                  <a:pt x="310" y="1323"/>
                </a:lnTo>
                <a:lnTo>
                  <a:pt x="310" y="1320"/>
                </a:lnTo>
                <a:lnTo>
                  <a:pt x="311" y="1313"/>
                </a:lnTo>
                <a:lnTo>
                  <a:pt x="318" y="1309"/>
                </a:lnTo>
                <a:lnTo>
                  <a:pt x="318" y="1309"/>
                </a:lnTo>
                <a:lnTo>
                  <a:pt x="320" y="1309"/>
                </a:lnTo>
                <a:lnTo>
                  <a:pt x="321" y="1315"/>
                </a:lnTo>
                <a:lnTo>
                  <a:pt x="320" y="1322"/>
                </a:lnTo>
                <a:close/>
                <a:moveTo>
                  <a:pt x="313" y="1383"/>
                </a:moveTo>
                <a:lnTo>
                  <a:pt x="311" y="1382"/>
                </a:lnTo>
                <a:lnTo>
                  <a:pt x="309" y="1381"/>
                </a:lnTo>
                <a:lnTo>
                  <a:pt x="311" y="1382"/>
                </a:lnTo>
                <a:lnTo>
                  <a:pt x="313" y="1383"/>
                </a:lnTo>
                <a:close/>
                <a:moveTo>
                  <a:pt x="309" y="1381"/>
                </a:moveTo>
                <a:lnTo>
                  <a:pt x="308" y="1376"/>
                </a:lnTo>
                <a:lnTo>
                  <a:pt x="304" y="1374"/>
                </a:lnTo>
                <a:lnTo>
                  <a:pt x="308" y="1376"/>
                </a:lnTo>
                <a:lnTo>
                  <a:pt x="309" y="1381"/>
                </a:lnTo>
                <a:lnTo>
                  <a:pt x="309" y="1381"/>
                </a:lnTo>
                <a:close/>
                <a:moveTo>
                  <a:pt x="309" y="1382"/>
                </a:moveTo>
                <a:lnTo>
                  <a:pt x="309" y="1382"/>
                </a:lnTo>
                <a:lnTo>
                  <a:pt x="309" y="1382"/>
                </a:lnTo>
                <a:lnTo>
                  <a:pt x="309" y="1382"/>
                </a:lnTo>
                <a:lnTo>
                  <a:pt x="309" y="1382"/>
                </a:lnTo>
                <a:close/>
                <a:moveTo>
                  <a:pt x="302" y="1323"/>
                </a:moveTo>
                <a:lnTo>
                  <a:pt x="302" y="1318"/>
                </a:lnTo>
                <a:lnTo>
                  <a:pt x="306" y="1312"/>
                </a:lnTo>
                <a:lnTo>
                  <a:pt x="307" y="1312"/>
                </a:lnTo>
                <a:lnTo>
                  <a:pt x="308" y="1313"/>
                </a:lnTo>
                <a:lnTo>
                  <a:pt x="308" y="1320"/>
                </a:lnTo>
                <a:lnTo>
                  <a:pt x="303" y="1327"/>
                </a:lnTo>
                <a:lnTo>
                  <a:pt x="302" y="1325"/>
                </a:lnTo>
                <a:lnTo>
                  <a:pt x="302" y="1323"/>
                </a:lnTo>
                <a:close/>
                <a:moveTo>
                  <a:pt x="297" y="1329"/>
                </a:moveTo>
                <a:lnTo>
                  <a:pt x="294" y="1323"/>
                </a:lnTo>
                <a:lnTo>
                  <a:pt x="293" y="1316"/>
                </a:lnTo>
                <a:lnTo>
                  <a:pt x="292" y="1327"/>
                </a:lnTo>
                <a:lnTo>
                  <a:pt x="282" y="1330"/>
                </a:lnTo>
                <a:lnTo>
                  <a:pt x="281" y="1323"/>
                </a:lnTo>
                <a:lnTo>
                  <a:pt x="285" y="1316"/>
                </a:lnTo>
                <a:lnTo>
                  <a:pt x="287" y="1319"/>
                </a:lnTo>
                <a:lnTo>
                  <a:pt x="288" y="1322"/>
                </a:lnTo>
                <a:lnTo>
                  <a:pt x="289" y="1319"/>
                </a:lnTo>
                <a:lnTo>
                  <a:pt x="292" y="1315"/>
                </a:lnTo>
                <a:lnTo>
                  <a:pt x="296" y="1314"/>
                </a:lnTo>
                <a:lnTo>
                  <a:pt x="299" y="1315"/>
                </a:lnTo>
                <a:lnTo>
                  <a:pt x="300" y="1322"/>
                </a:lnTo>
                <a:lnTo>
                  <a:pt x="297" y="1329"/>
                </a:lnTo>
                <a:close/>
                <a:moveTo>
                  <a:pt x="324" y="1306"/>
                </a:moveTo>
                <a:lnTo>
                  <a:pt x="324" y="1306"/>
                </a:lnTo>
                <a:lnTo>
                  <a:pt x="324" y="1306"/>
                </a:lnTo>
                <a:lnTo>
                  <a:pt x="324" y="1306"/>
                </a:lnTo>
                <a:lnTo>
                  <a:pt x="324" y="1306"/>
                </a:lnTo>
                <a:close/>
                <a:moveTo>
                  <a:pt x="333" y="1294"/>
                </a:moveTo>
                <a:lnTo>
                  <a:pt x="330" y="1294"/>
                </a:lnTo>
                <a:lnTo>
                  <a:pt x="328" y="1294"/>
                </a:lnTo>
                <a:lnTo>
                  <a:pt x="330" y="1294"/>
                </a:lnTo>
                <a:lnTo>
                  <a:pt x="333" y="1294"/>
                </a:lnTo>
                <a:close/>
                <a:moveTo>
                  <a:pt x="334" y="1294"/>
                </a:moveTo>
                <a:lnTo>
                  <a:pt x="334" y="1294"/>
                </a:lnTo>
                <a:lnTo>
                  <a:pt x="334" y="1294"/>
                </a:lnTo>
                <a:lnTo>
                  <a:pt x="334" y="1294"/>
                </a:lnTo>
                <a:lnTo>
                  <a:pt x="334" y="1294"/>
                </a:lnTo>
                <a:close/>
                <a:moveTo>
                  <a:pt x="412" y="1276"/>
                </a:moveTo>
                <a:lnTo>
                  <a:pt x="412" y="1276"/>
                </a:lnTo>
                <a:lnTo>
                  <a:pt x="412" y="1276"/>
                </a:lnTo>
                <a:lnTo>
                  <a:pt x="412" y="1276"/>
                </a:lnTo>
                <a:lnTo>
                  <a:pt x="412" y="1276"/>
                </a:lnTo>
                <a:close/>
                <a:moveTo>
                  <a:pt x="424" y="1288"/>
                </a:moveTo>
                <a:lnTo>
                  <a:pt x="424" y="1286"/>
                </a:lnTo>
                <a:lnTo>
                  <a:pt x="426" y="1285"/>
                </a:lnTo>
                <a:lnTo>
                  <a:pt x="430" y="1285"/>
                </a:lnTo>
                <a:lnTo>
                  <a:pt x="432" y="1283"/>
                </a:lnTo>
                <a:lnTo>
                  <a:pt x="437" y="1283"/>
                </a:lnTo>
                <a:lnTo>
                  <a:pt x="438" y="1286"/>
                </a:lnTo>
                <a:lnTo>
                  <a:pt x="439" y="1292"/>
                </a:lnTo>
                <a:lnTo>
                  <a:pt x="435" y="1295"/>
                </a:lnTo>
                <a:lnTo>
                  <a:pt x="432" y="1297"/>
                </a:lnTo>
                <a:lnTo>
                  <a:pt x="428" y="1298"/>
                </a:lnTo>
                <a:lnTo>
                  <a:pt x="428" y="1293"/>
                </a:lnTo>
                <a:lnTo>
                  <a:pt x="424" y="1288"/>
                </a:lnTo>
                <a:close/>
                <a:moveTo>
                  <a:pt x="446" y="1269"/>
                </a:moveTo>
                <a:lnTo>
                  <a:pt x="445" y="1270"/>
                </a:lnTo>
                <a:lnTo>
                  <a:pt x="444" y="1270"/>
                </a:lnTo>
                <a:lnTo>
                  <a:pt x="445" y="1270"/>
                </a:lnTo>
                <a:lnTo>
                  <a:pt x="446" y="1269"/>
                </a:lnTo>
                <a:lnTo>
                  <a:pt x="446" y="1269"/>
                </a:lnTo>
                <a:close/>
                <a:moveTo>
                  <a:pt x="451" y="1269"/>
                </a:moveTo>
                <a:lnTo>
                  <a:pt x="448" y="1269"/>
                </a:lnTo>
                <a:lnTo>
                  <a:pt x="446" y="1269"/>
                </a:lnTo>
                <a:lnTo>
                  <a:pt x="446" y="1269"/>
                </a:lnTo>
                <a:lnTo>
                  <a:pt x="448" y="1269"/>
                </a:lnTo>
                <a:lnTo>
                  <a:pt x="451" y="1269"/>
                </a:lnTo>
                <a:close/>
                <a:moveTo>
                  <a:pt x="458" y="1265"/>
                </a:moveTo>
                <a:lnTo>
                  <a:pt x="454" y="1266"/>
                </a:lnTo>
                <a:lnTo>
                  <a:pt x="451" y="1265"/>
                </a:lnTo>
                <a:lnTo>
                  <a:pt x="454" y="1266"/>
                </a:lnTo>
                <a:lnTo>
                  <a:pt x="458" y="1265"/>
                </a:lnTo>
                <a:close/>
                <a:moveTo>
                  <a:pt x="467" y="1263"/>
                </a:moveTo>
                <a:lnTo>
                  <a:pt x="462" y="1264"/>
                </a:lnTo>
                <a:lnTo>
                  <a:pt x="458" y="1265"/>
                </a:lnTo>
                <a:lnTo>
                  <a:pt x="462" y="1264"/>
                </a:lnTo>
                <a:lnTo>
                  <a:pt x="467" y="1263"/>
                </a:lnTo>
                <a:close/>
                <a:moveTo>
                  <a:pt x="514" y="1260"/>
                </a:moveTo>
                <a:lnTo>
                  <a:pt x="511" y="1260"/>
                </a:lnTo>
                <a:lnTo>
                  <a:pt x="509" y="1262"/>
                </a:lnTo>
                <a:lnTo>
                  <a:pt x="511" y="1260"/>
                </a:lnTo>
                <a:lnTo>
                  <a:pt x="514" y="1260"/>
                </a:lnTo>
                <a:close/>
                <a:moveTo>
                  <a:pt x="503" y="1257"/>
                </a:moveTo>
                <a:lnTo>
                  <a:pt x="515" y="1255"/>
                </a:lnTo>
                <a:lnTo>
                  <a:pt x="528" y="1253"/>
                </a:lnTo>
                <a:lnTo>
                  <a:pt x="528" y="1253"/>
                </a:lnTo>
                <a:lnTo>
                  <a:pt x="515" y="1255"/>
                </a:lnTo>
                <a:lnTo>
                  <a:pt x="503" y="1257"/>
                </a:lnTo>
                <a:close/>
                <a:moveTo>
                  <a:pt x="530" y="1255"/>
                </a:moveTo>
                <a:lnTo>
                  <a:pt x="529" y="1253"/>
                </a:lnTo>
                <a:lnTo>
                  <a:pt x="528" y="1253"/>
                </a:lnTo>
                <a:lnTo>
                  <a:pt x="529" y="1253"/>
                </a:lnTo>
                <a:lnTo>
                  <a:pt x="530" y="1255"/>
                </a:lnTo>
                <a:close/>
                <a:moveTo>
                  <a:pt x="552" y="1271"/>
                </a:moveTo>
                <a:lnTo>
                  <a:pt x="550" y="1271"/>
                </a:lnTo>
                <a:lnTo>
                  <a:pt x="548" y="1271"/>
                </a:lnTo>
                <a:lnTo>
                  <a:pt x="548" y="1263"/>
                </a:lnTo>
                <a:lnTo>
                  <a:pt x="552" y="1256"/>
                </a:lnTo>
                <a:lnTo>
                  <a:pt x="552" y="1264"/>
                </a:lnTo>
                <a:lnTo>
                  <a:pt x="552" y="1271"/>
                </a:lnTo>
                <a:close/>
                <a:moveTo>
                  <a:pt x="572" y="1244"/>
                </a:moveTo>
                <a:lnTo>
                  <a:pt x="569" y="1245"/>
                </a:lnTo>
                <a:lnTo>
                  <a:pt x="565" y="1246"/>
                </a:lnTo>
                <a:lnTo>
                  <a:pt x="569" y="1245"/>
                </a:lnTo>
                <a:lnTo>
                  <a:pt x="572" y="1244"/>
                </a:lnTo>
                <a:close/>
                <a:moveTo>
                  <a:pt x="590" y="1244"/>
                </a:moveTo>
                <a:lnTo>
                  <a:pt x="592" y="1243"/>
                </a:lnTo>
                <a:lnTo>
                  <a:pt x="594" y="1243"/>
                </a:lnTo>
                <a:lnTo>
                  <a:pt x="592" y="1243"/>
                </a:lnTo>
                <a:lnTo>
                  <a:pt x="590" y="1244"/>
                </a:lnTo>
                <a:close/>
                <a:moveTo>
                  <a:pt x="589" y="1245"/>
                </a:moveTo>
                <a:lnTo>
                  <a:pt x="590" y="1245"/>
                </a:lnTo>
                <a:lnTo>
                  <a:pt x="591" y="1246"/>
                </a:lnTo>
                <a:lnTo>
                  <a:pt x="590" y="1245"/>
                </a:lnTo>
                <a:lnTo>
                  <a:pt x="589" y="1245"/>
                </a:lnTo>
                <a:close/>
                <a:moveTo>
                  <a:pt x="573" y="1244"/>
                </a:moveTo>
                <a:lnTo>
                  <a:pt x="575" y="1244"/>
                </a:lnTo>
                <a:lnTo>
                  <a:pt x="576" y="1244"/>
                </a:lnTo>
                <a:lnTo>
                  <a:pt x="575" y="1244"/>
                </a:lnTo>
                <a:lnTo>
                  <a:pt x="573" y="1244"/>
                </a:lnTo>
                <a:lnTo>
                  <a:pt x="573" y="1244"/>
                </a:lnTo>
                <a:close/>
                <a:moveTo>
                  <a:pt x="573" y="1243"/>
                </a:moveTo>
                <a:lnTo>
                  <a:pt x="575" y="1241"/>
                </a:lnTo>
                <a:lnTo>
                  <a:pt x="578" y="1239"/>
                </a:lnTo>
                <a:lnTo>
                  <a:pt x="575" y="1241"/>
                </a:lnTo>
                <a:lnTo>
                  <a:pt x="573" y="1243"/>
                </a:lnTo>
                <a:close/>
                <a:moveTo>
                  <a:pt x="586" y="1245"/>
                </a:moveTo>
                <a:lnTo>
                  <a:pt x="584" y="1245"/>
                </a:lnTo>
                <a:lnTo>
                  <a:pt x="582" y="1245"/>
                </a:lnTo>
                <a:lnTo>
                  <a:pt x="584" y="1245"/>
                </a:lnTo>
                <a:lnTo>
                  <a:pt x="586" y="1245"/>
                </a:lnTo>
                <a:close/>
                <a:moveTo>
                  <a:pt x="577" y="1244"/>
                </a:moveTo>
                <a:lnTo>
                  <a:pt x="580" y="1244"/>
                </a:lnTo>
                <a:lnTo>
                  <a:pt x="585" y="1243"/>
                </a:lnTo>
                <a:lnTo>
                  <a:pt x="580" y="1244"/>
                </a:lnTo>
                <a:lnTo>
                  <a:pt x="577" y="1244"/>
                </a:lnTo>
                <a:close/>
                <a:moveTo>
                  <a:pt x="619" y="1235"/>
                </a:move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21" y="1235"/>
                </a:lnTo>
                <a:lnTo>
                  <a:pt x="625" y="1235"/>
                </a:lnTo>
                <a:lnTo>
                  <a:pt x="621" y="1235"/>
                </a:lnTo>
                <a:lnTo>
                  <a:pt x="619" y="1235"/>
                </a:lnTo>
                <a:close/>
                <a:moveTo>
                  <a:pt x="630" y="1281"/>
                </a:moveTo>
                <a:lnTo>
                  <a:pt x="627" y="1283"/>
                </a:lnTo>
                <a:lnTo>
                  <a:pt x="626" y="1285"/>
                </a:lnTo>
                <a:lnTo>
                  <a:pt x="627" y="1283"/>
                </a:lnTo>
                <a:lnTo>
                  <a:pt x="630" y="1281"/>
                </a:lnTo>
                <a:lnTo>
                  <a:pt x="630" y="1281"/>
                </a:lnTo>
                <a:close/>
                <a:moveTo>
                  <a:pt x="628" y="1253"/>
                </a:moveTo>
                <a:lnTo>
                  <a:pt x="626" y="1253"/>
                </a:lnTo>
                <a:lnTo>
                  <a:pt x="625" y="1250"/>
                </a:lnTo>
                <a:lnTo>
                  <a:pt x="625" y="1245"/>
                </a:lnTo>
                <a:lnTo>
                  <a:pt x="625" y="1241"/>
                </a:lnTo>
                <a:lnTo>
                  <a:pt x="625" y="1241"/>
                </a:lnTo>
                <a:lnTo>
                  <a:pt x="628" y="1239"/>
                </a:lnTo>
                <a:lnTo>
                  <a:pt x="630" y="1242"/>
                </a:lnTo>
                <a:lnTo>
                  <a:pt x="630" y="1248"/>
                </a:lnTo>
                <a:lnTo>
                  <a:pt x="628" y="1253"/>
                </a:lnTo>
                <a:close/>
                <a:moveTo>
                  <a:pt x="632" y="1246"/>
                </a:moveTo>
                <a:lnTo>
                  <a:pt x="632" y="1249"/>
                </a:lnTo>
                <a:lnTo>
                  <a:pt x="631" y="1251"/>
                </a:lnTo>
                <a:lnTo>
                  <a:pt x="632" y="1249"/>
                </a:lnTo>
                <a:lnTo>
                  <a:pt x="632" y="1246"/>
                </a:lnTo>
                <a:close/>
                <a:moveTo>
                  <a:pt x="627" y="1234"/>
                </a:moveTo>
                <a:lnTo>
                  <a:pt x="630" y="1234"/>
                </a:lnTo>
                <a:lnTo>
                  <a:pt x="633" y="1234"/>
                </a:lnTo>
                <a:lnTo>
                  <a:pt x="630" y="1234"/>
                </a:lnTo>
                <a:lnTo>
                  <a:pt x="627" y="1234"/>
                </a:lnTo>
                <a:close/>
                <a:moveTo>
                  <a:pt x="633" y="1234"/>
                </a:moveTo>
                <a:lnTo>
                  <a:pt x="633" y="1234"/>
                </a:lnTo>
                <a:lnTo>
                  <a:pt x="633" y="1234"/>
                </a:lnTo>
                <a:lnTo>
                  <a:pt x="633" y="1234"/>
                </a:lnTo>
                <a:lnTo>
                  <a:pt x="633" y="1234"/>
                </a:lnTo>
                <a:lnTo>
                  <a:pt x="633" y="1234"/>
                </a:lnTo>
                <a:close/>
                <a:moveTo>
                  <a:pt x="654" y="1228"/>
                </a:moveTo>
                <a:lnTo>
                  <a:pt x="648" y="1230"/>
                </a:lnTo>
                <a:lnTo>
                  <a:pt x="642" y="1231"/>
                </a:lnTo>
                <a:lnTo>
                  <a:pt x="648" y="1230"/>
                </a:lnTo>
                <a:lnTo>
                  <a:pt x="654" y="1228"/>
                </a:lnTo>
                <a:close/>
                <a:moveTo>
                  <a:pt x="655" y="1228"/>
                </a:moveTo>
                <a:lnTo>
                  <a:pt x="655" y="1228"/>
                </a:lnTo>
                <a:lnTo>
                  <a:pt x="655" y="1228"/>
                </a:lnTo>
                <a:lnTo>
                  <a:pt x="655" y="1228"/>
                </a:lnTo>
                <a:lnTo>
                  <a:pt x="655" y="1228"/>
                </a:lnTo>
                <a:close/>
                <a:moveTo>
                  <a:pt x="668" y="1224"/>
                </a:moveTo>
                <a:lnTo>
                  <a:pt x="673" y="1223"/>
                </a:lnTo>
                <a:lnTo>
                  <a:pt x="676" y="1223"/>
                </a:lnTo>
                <a:lnTo>
                  <a:pt x="673" y="1223"/>
                </a:lnTo>
                <a:lnTo>
                  <a:pt x="668" y="1224"/>
                </a:lnTo>
                <a:close/>
                <a:moveTo>
                  <a:pt x="676" y="1223"/>
                </a:moveTo>
                <a:lnTo>
                  <a:pt x="673" y="1224"/>
                </a:lnTo>
                <a:lnTo>
                  <a:pt x="669" y="1225"/>
                </a:lnTo>
                <a:lnTo>
                  <a:pt x="673" y="1224"/>
                </a:lnTo>
                <a:lnTo>
                  <a:pt x="676" y="1223"/>
                </a:lnTo>
                <a:close/>
                <a:moveTo>
                  <a:pt x="682" y="1223"/>
                </a:moveTo>
                <a:lnTo>
                  <a:pt x="680" y="1223"/>
                </a:lnTo>
                <a:lnTo>
                  <a:pt x="677" y="1223"/>
                </a:lnTo>
                <a:lnTo>
                  <a:pt x="677" y="1223"/>
                </a:lnTo>
                <a:lnTo>
                  <a:pt x="680" y="1223"/>
                </a:lnTo>
                <a:lnTo>
                  <a:pt x="682" y="1223"/>
                </a:lnTo>
                <a:close/>
                <a:moveTo>
                  <a:pt x="683" y="1221"/>
                </a:moveTo>
                <a:lnTo>
                  <a:pt x="684" y="1221"/>
                </a:lnTo>
                <a:lnTo>
                  <a:pt x="687" y="1220"/>
                </a:lnTo>
                <a:lnTo>
                  <a:pt x="684" y="1221"/>
                </a:lnTo>
                <a:lnTo>
                  <a:pt x="683" y="1221"/>
                </a:lnTo>
                <a:close/>
                <a:moveTo>
                  <a:pt x="687" y="1220"/>
                </a:moveTo>
                <a:lnTo>
                  <a:pt x="687" y="1220"/>
                </a:lnTo>
                <a:lnTo>
                  <a:pt x="687" y="1220"/>
                </a:lnTo>
                <a:lnTo>
                  <a:pt x="687" y="1220"/>
                </a:lnTo>
                <a:lnTo>
                  <a:pt x="687" y="1220"/>
                </a:lnTo>
                <a:close/>
                <a:moveTo>
                  <a:pt x="695" y="1220"/>
                </a:moveTo>
                <a:lnTo>
                  <a:pt x="692" y="1220"/>
                </a:lnTo>
                <a:lnTo>
                  <a:pt x="687" y="1220"/>
                </a:lnTo>
                <a:lnTo>
                  <a:pt x="687" y="1220"/>
                </a:lnTo>
                <a:lnTo>
                  <a:pt x="692" y="1220"/>
                </a:lnTo>
                <a:lnTo>
                  <a:pt x="695" y="1220"/>
                </a:lnTo>
                <a:close/>
                <a:moveTo>
                  <a:pt x="709" y="1215"/>
                </a:moveTo>
                <a:lnTo>
                  <a:pt x="708" y="1216"/>
                </a:lnTo>
                <a:lnTo>
                  <a:pt x="707" y="1217"/>
                </a:lnTo>
                <a:lnTo>
                  <a:pt x="708" y="1216"/>
                </a:lnTo>
                <a:lnTo>
                  <a:pt x="709" y="1215"/>
                </a:lnTo>
                <a:lnTo>
                  <a:pt x="709" y="1215"/>
                </a:lnTo>
                <a:close/>
                <a:moveTo>
                  <a:pt x="756" y="1225"/>
                </a:moveTo>
                <a:lnTo>
                  <a:pt x="752" y="1225"/>
                </a:lnTo>
                <a:lnTo>
                  <a:pt x="751" y="1223"/>
                </a:lnTo>
                <a:lnTo>
                  <a:pt x="751" y="1216"/>
                </a:lnTo>
                <a:lnTo>
                  <a:pt x="752" y="1209"/>
                </a:lnTo>
                <a:lnTo>
                  <a:pt x="755" y="1217"/>
                </a:lnTo>
                <a:lnTo>
                  <a:pt x="756" y="1225"/>
                </a:lnTo>
                <a:close/>
                <a:moveTo>
                  <a:pt x="808" y="1198"/>
                </a:moveTo>
                <a:lnTo>
                  <a:pt x="808" y="1198"/>
                </a:lnTo>
                <a:lnTo>
                  <a:pt x="808" y="1198"/>
                </a:lnTo>
                <a:close/>
                <a:moveTo>
                  <a:pt x="858" y="1202"/>
                </a:moveTo>
                <a:lnTo>
                  <a:pt x="860" y="1201"/>
                </a:lnTo>
                <a:lnTo>
                  <a:pt x="861" y="1200"/>
                </a:lnTo>
                <a:lnTo>
                  <a:pt x="860" y="1201"/>
                </a:lnTo>
                <a:lnTo>
                  <a:pt x="858" y="1202"/>
                </a:lnTo>
                <a:lnTo>
                  <a:pt x="856" y="1202"/>
                </a:lnTo>
                <a:lnTo>
                  <a:pt x="854" y="1203"/>
                </a:lnTo>
                <a:lnTo>
                  <a:pt x="854" y="1196"/>
                </a:lnTo>
                <a:lnTo>
                  <a:pt x="854" y="1190"/>
                </a:lnTo>
                <a:lnTo>
                  <a:pt x="855" y="1188"/>
                </a:lnTo>
                <a:lnTo>
                  <a:pt x="858" y="1188"/>
                </a:lnTo>
                <a:lnTo>
                  <a:pt x="859" y="1189"/>
                </a:lnTo>
                <a:lnTo>
                  <a:pt x="858" y="1190"/>
                </a:lnTo>
                <a:lnTo>
                  <a:pt x="859" y="1196"/>
                </a:lnTo>
                <a:lnTo>
                  <a:pt x="858" y="1202"/>
                </a:lnTo>
                <a:close/>
                <a:moveTo>
                  <a:pt x="884" y="1170"/>
                </a:moveTo>
                <a:lnTo>
                  <a:pt x="889" y="1169"/>
                </a:lnTo>
                <a:lnTo>
                  <a:pt x="895" y="1167"/>
                </a:lnTo>
                <a:lnTo>
                  <a:pt x="895" y="1167"/>
                </a:lnTo>
                <a:lnTo>
                  <a:pt x="889" y="1169"/>
                </a:lnTo>
                <a:lnTo>
                  <a:pt x="884" y="1170"/>
                </a:lnTo>
                <a:close/>
                <a:moveTo>
                  <a:pt x="866" y="1172"/>
                </a:moveTo>
                <a:lnTo>
                  <a:pt x="868" y="1173"/>
                </a:lnTo>
                <a:lnTo>
                  <a:pt x="870" y="1173"/>
                </a:lnTo>
                <a:lnTo>
                  <a:pt x="868" y="1173"/>
                </a:lnTo>
                <a:lnTo>
                  <a:pt x="866" y="1172"/>
                </a:lnTo>
                <a:close/>
                <a:moveTo>
                  <a:pt x="873" y="1451"/>
                </a:moveTo>
                <a:lnTo>
                  <a:pt x="872" y="1449"/>
                </a:lnTo>
                <a:lnTo>
                  <a:pt x="870" y="1448"/>
                </a:lnTo>
                <a:lnTo>
                  <a:pt x="872" y="1449"/>
                </a:lnTo>
                <a:lnTo>
                  <a:pt x="873" y="1451"/>
                </a:lnTo>
                <a:close/>
                <a:moveTo>
                  <a:pt x="868" y="1202"/>
                </a:moveTo>
                <a:lnTo>
                  <a:pt x="867" y="1202"/>
                </a:lnTo>
                <a:lnTo>
                  <a:pt x="866" y="1203"/>
                </a:lnTo>
                <a:lnTo>
                  <a:pt x="865" y="1203"/>
                </a:lnTo>
                <a:lnTo>
                  <a:pt x="862" y="1204"/>
                </a:lnTo>
                <a:lnTo>
                  <a:pt x="865" y="1203"/>
                </a:lnTo>
                <a:lnTo>
                  <a:pt x="866" y="1203"/>
                </a:lnTo>
                <a:lnTo>
                  <a:pt x="863" y="1200"/>
                </a:lnTo>
                <a:lnTo>
                  <a:pt x="862" y="1196"/>
                </a:lnTo>
                <a:lnTo>
                  <a:pt x="866" y="1187"/>
                </a:lnTo>
                <a:lnTo>
                  <a:pt x="874" y="1184"/>
                </a:lnTo>
                <a:lnTo>
                  <a:pt x="875" y="1184"/>
                </a:lnTo>
                <a:lnTo>
                  <a:pt x="875" y="1186"/>
                </a:lnTo>
                <a:lnTo>
                  <a:pt x="875" y="1187"/>
                </a:lnTo>
                <a:lnTo>
                  <a:pt x="875" y="1187"/>
                </a:lnTo>
                <a:lnTo>
                  <a:pt x="874" y="1195"/>
                </a:lnTo>
                <a:lnTo>
                  <a:pt x="868" y="1202"/>
                </a:lnTo>
                <a:lnTo>
                  <a:pt x="875" y="1202"/>
                </a:lnTo>
                <a:lnTo>
                  <a:pt x="882" y="1202"/>
                </a:lnTo>
                <a:lnTo>
                  <a:pt x="875" y="1202"/>
                </a:lnTo>
                <a:lnTo>
                  <a:pt x="868" y="1202"/>
                </a:lnTo>
                <a:close/>
                <a:moveTo>
                  <a:pt x="895" y="1190"/>
                </a:moveTo>
                <a:lnTo>
                  <a:pt x="894" y="1194"/>
                </a:lnTo>
                <a:lnTo>
                  <a:pt x="890" y="1194"/>
                </a:lnTo>
                <a:lnTo>
                  <a:pt x="889" y="1195"/>
                </a:lnTo>
                <a:lnTo>
                  <a:pt x="888" y="1196"/>
                </a:lnTo>
                <a:lnTo>
                  <a:pt x="889" y="1195"/>
                </a:lnTo>
                <a:lnTo>
                  <a:pt x="890" y="1194"/>
                </a:lnTo>
                <a:lnTo>
                  <a:pt x="890" y="1189"/>
                </a:lnTo>
                <a:lnTo>
                  <a:pt x="888" y="1183"/>
                </a:lnTo>
                <a:lnTo>
                  <a:pt x="886" y="1190"/>
                </a:lnTo>
                <a:lnTo>
                  <a:pt x="883" y="1197"/>
                </a:lnTo>
                <a:lnTo>
                  <a:pt x="880" y="1194"/>
                </a:lnTo>
                <a:lnTo>
                  <a:pt x="880" y="1189"/>
                </a:lnTo>
                <a:lnTo>
                  <a:pt x="880" y="1189"/>
                </a:lnTo>
                <a:lnTo>
                  <a:pt x="880" y="1183"/>
                </a:lnTo>
                <a:lnTo>
                  <a:pt x="886" y="1181"/>
                </a:lnTo>
                <a:lnTo>
                  <a:pt x="890" y="1181"/>
                </a:lnTo>
                <a:lnTo>
                  <a:pt x="895" y="1179"/>
                </a:lnTo>
                <a:lnTo>
                  <a:pt x="900" y="1177"/>
                </a:lnTo>
                <a:lnTo>
                  <a:pt x="904" y="1176"/>
                </a:lnTo>
                <a:lnTo>
                  <a:pt x="900" y="1177"/>
                </a:lnTo>
                <a:lnTo>
                  <a:pt x="895" y="1179"/>
                </a:lnTo>
                <a:lnTo>
                  <a:pt x="895" y="1184"/>
                </a:lnTo>
                <a:lnTo>
                  <a:pt x="895" y="1190"/>
                </a:lnTo>
                <a:close/>
                <a:moveTo>
                  <a:pt x="913" y="1162"/>
                </a:moveTo>
                <a:lnTo>
                  <a:pt x="913" y="1162"/>
                </a:lnTo>
                <a:lnTo>
                  <a:pt x="913" y="1162"/>
                </a:lnTo>
                <a:lnTo>
                  <a:pt x="913" y="1162"/>
                </a:lnTo>
                <a:lnTo>
                  <a:pt x="913" y="1162"/>
                </a:lnTo>
                <a:close/>
                <a:moveTo>
                  <a:pt x="923" y="1161"/>
                </a:moveTo>
                <a:lnTo>
                  <a:pt x="922" y="1161"/>
                </a:lnTo>
                <a:lnTo>
                  <a:pt x="920" y="1161"/>
                </a:lnTo>
                <a:lnTo>
                  <a:pt x="922" y="1161"/>
                </a:lnTo>
                <a:lnTo>
                  <a:pt x="923" y="1161"/>
                </a:lnTo>
                <a:close/>
                <a:moveTo>
                  <a:pt x="265" y="1293"/>
                </a:moveTo>
                <a:lnTo>
                  <a:pt x="265" y="1286"/>
                </a:lnTo>
                <a:lnTo>
                  <a:pt x="267" y="1278"/>
                </a:lnTo>
                <a:lnTo>
                  <a:pt x="274" y="1231"/>
                </a:lnTo>
                <a:lnTo>
                  <a:pt x="281" y="1183"/>
                </a:lnTo>
                <a:lnTo>
                  <a:pt x="288" y="1140"/>
                </a:lnTo>
                <a:lnTo>
                  <a:pt x="294" y="1096"/>
                </a:lnTo>
                <a:lnTo>
                  <a:pt x="303" y="1039"/>
                </a:lnTo>
                <a:lnTo>
                  <a:pt x="311" y="981"/>
                </a:lnTo>
                <a:lnTo>
                  <a:pt x="316" y="957"/>
                </a:lnTo>
                <a:lnTo>
                  <a:pt x="320" y="931"/>
                </a:lnTo>
                <a:lnTo>
                  <a:pt x="321" y="920"/>
                </a:lnTo>
                <a:lnTo>
                  <a:pt x="323" y="908"/>
                </a:lnTo>
                <a:lnTo>
                  <a:pt x="324" y="904"/>
                </a:lnTo>
                <a:lnTo>
                  <a:pt x="328" y="902"/>
                </a:lnTo>
                <a:lnTo>
                  <a:pt x="350" y="897"/>
                </a:lnTo>
                <a:lnTo>
                  <a:pt x="372" y="892"/>
                </a:lnTo>
                <a:lnTo>
                  <a:pt x="407" y="883"/>
                </a:lnTo>
                <a:lnTo>
                  <a:pt x="444" y="874"/>
                </a:lnTo>
                <a:lnTo>
                  <a:pt x="460" y="871"/>
                </a:lnTo>
                <a:lnTo>
                  <a:pt x="476" y="867"/>
                </a:lnTo>
                <a:lnTo>
                  <a:pt x="513" y="858"/>
                </a:lnTo>
                <a:lnTo>
                  <a:pt x="550" y="848"/>
                </a:lnTo>
                <a:lnTo>
                  <a:pt x="576" y="843"/>
                </a:lnTo>
                <a:lnTo>
                  <a:pt x="601" y="836"/>
                </a:lnTo>
                <a:lnTo>
                  <a:pt x="648" y="825"/>
                </a:lnTo>
                <a:lnTo>
                  <a:pt x="695" y="813"/>
                </a:lnTo>
                <a:lnTo>
                  <a:pt x="722" y="806"/>
                </a:lnTo>
                <a:lnTo>
                  <a:pt x="749" y="801"/>
                </a:lnTo>
                <a:lnTo>
                  <a:pt x="784" y="791"/>
                </a:lnTo>
                <a:lnTo>
                  <a:pt x="820" y="782"/>
                </a:lnTo>
                <a:lnTo>
                  <a:pt x="837" y="778"/>
                </a:lnTo>
                <a:lnTo>
                  <a:pt x="853" y="775"/>
                </a:lnTo>
                <a:lnTo>
                  <a:pt x="888" y="766"/>
                </a:lnTo>
                <a:lnTo>
                  <a:pt x="921" y="756"/>
                </a:lnTo>
                <a:lnTo>
                  <a:pt x="930" y="756"/>
                </a:lnTo>
                <a:lnTo>
                  <a:pt x="932" y="764"/>
                </a:lnTo>
                <a:lnTo>
                  <a:pt x="932" y="858"/>
                </a:lnTo>
                <a:lnTo>
                  <a:pt x="932" y="950"/>
                </a:lnTo>
                <a:lnTo>
                  <a:pt x="932" y="950"/>
                </a:lnTo>
                <a:lnTo>
                  <a:pt x="934" y="950"/>
                </a:lnTo>
                <a:lnTo>
                  <a:pt x="932" y="1041"/>
                </a:lnTo>
                <a:lnTo>
                  <a:pt x="934" y="1133"/>
                </a:lnTo>
                <a:lnTo>
                  <a:pt x="930" y="1142"/>
                </a:lnTo>
                <a:lnTo>
                  <a:pt x="922" y="1146"/>
                </a:lnTo>
                <a:lnTo>
                  <a:pt x="870" y="1158"/>
                </a:lnTo>
                <a:lnTo>
                  <a:pt x="818" y="1169"/>
                </a:lnTo>
                <a:lnTo>
                  <a:pt x="773" y="1180"/>
                </a:lnTo>
                <a:lnTo>
                  <a:pt x="728" y="1189"/>
                </a:lnTo>
                <a:lnTo>
                  <a:pt x="690" y="1198"/>
                </a:lnTo>
                <a:lnTo>
                  <a:pt x="654" y="1207"/>
                </a:lnTo>
                <a:lnTo>
                  <a:pt x="626" y="1214"/>
                </a:lnTo>
                <a:lnTo>
                  <a:pt x="599" y="1220"/>
                </a:lnTo>
                <a:lnTo>
                  <a:pt x="559" y="1229"/>
                </a:lnTo>
                <a:lnTo>
                  <a:pt x="520" y="1238"/>
                </a:lnTo>
                <a:lnTo>
                  <a:pt x="492" y="1244"/>
                </a:lnTo>
                <a:lnTo>
                  <a:pt x="463" y="1250"/>
                </a:lnTo>
                <a:lnTo>
                  <a:pt x="413" y="1262"/>
                </a:lnTo>
                <a:lnTo>
                  <a:pt x="363" y="1273"/>
                </a:lnTo>
                <a:lnTo>
                  <a:pt x="322" y="1283"/>
                </a:lnTo>
                <a:lnTo>
                  <a:pt x="281" y="1291"/>
                </a:lnTo>
                <a:lnTo>
                  <a:pt x="273" y="1294"/>
                </a:lnTo>
                <a:lnTo>
                  <a:pt x="265" y="1293"/>
                </a:lnTo>
                <a:close/>
                <a:moveTo>
                  <a:pt x="274" y="1334"/>
                </a:moveTo>
                <a:lnTo>
                  <a:pt x="272" y="1335"/>
                </a:lnTo>
                <a:lnTo>
                  <a:pt x="269" y="1335"/>
                </a:lnTo>
                <a:lnTo>
                  <a:pt x="265" y="1332"/>
                </a:lnTo>
                <a:lnTo>
                  <a:pt x="260" y="1335"/>
                </a:lnTo>
                <a:lnTo>
                  <a:pt x="258" y="1336"/>
                </a:lnTo>
                <a:lnTo>
                  <a:pt x="256" y="1335"/>
                </a:lnTo>
                <a:lnTo>
                  <a:pt x="256" y="1335"/>
                </a:lnTo>
                <a:lnTo>
                  <a:pt x="256" y="1335"/>
                </a:lnTo>
                <a:lnTo>
                  <a:pt x="256" y="1333"/>
                </a:lnTo>
                <a:lnTo>
                  <a:pt x="255" y="1332"/>
                </a:lnTo>
                <a:lnTo>
                  <a:pt x="251" y="1332"/>
                </a:lnTo>
                <a:lnTo>
                  <a:pt x="247" y="1334"/>
                </a:lnTo>
                <a:lnTo>
                  <a:pt x="247" y="1335"/>
                </a:lnTo>
                <a:lnTo>
                  <a:pt x="248" y="1337"/>
                </a:lnTo>
                <a:lnTo>
                  <a:pt x="251" y="1339"/>
                </a:lnTo>
                <a:lnTo>
                  <a:pt x="253" y="1340"/>
                </a:lnTo>
                <a:lnTo>
                  <a:pt x="244" y="1336"/>
                </a:lnTo>
                <a:lnTo>
                  <a:pt x="242" y="1327"/>
                </a:lnTo>
                <a:lnTo>
                  <a:pt x="247" y="1330"/>
                </a:lnTo>
                <a:lnTo>
                  <a:pt x="252" y="1326"/>
                </a:lnTo>
                <a:lnTo>
                  <a:pt x="254" y="1323"/>
                </a:lnTo>
                <a:lnTo>
                  <a:pt x="258" y="1322"/>
                </a:lnTo>
                <a:lnTo>
                  <a:pt x="266" y="1323"/>
                </a:lnTo>
                <a:lnTo>
                  <a:pt x="273" y="1320"/>
                </a:lnTo>
                <a:lnTo>
                  <a:pt x="276" y="1319"/>
                </a:lnTo>
                <a:lnTo>
                  <a:pt x="279" y="1320"/>
                </a:lnTo>
                <a:lnTo>
                  <a:pt x="279" y="1328"/>
                </a:lnTo>
                <a:lnTo>
                  <a:pt x="274" y="1334"/>
                </a:lnTo>
                <a:close/>
                <a:moveTo>
                  <a:pt x="256" y="1336"/>
                </a:moveTo>
                <a:lnTo>
                  <a:pt x="256" y="1336"/>
                </a:lnTo>
                <a:lnTo>
                  <a:pt x="256" y="1335"/>
                </a:lnTo>
                <a:lnTo>
                  <a:pt x="256" y="1335"/>
                </a:lnTo>
                <a:lnTo>
                  <a:pt x="256" y="1336"/>
                </a:lnTo>
                <a:lnTo>
                  <a:pt x="256" y="1336"/>
                </a:lnTo>
                <a:lnTo>
                  <a:pt x="256" y="1336"/>
                </a:lnTo>
                <a:close/>
                <a:moveTo>
                  <a:pt x="235" y="1529"/>
                </a:moveTo>
                <a:lnTo>
                  <a:pt x="241" y="1529"/>
                </a:lnTo>
                <a:lnTo>
                  <a:pt x="246" y="1529"/>
                </a:lnTo>
                <a:lnTo>
                  <a:pt x="241" y="1529"/>
                </a:lnTo>
                <a:lnTo>
                  <a:pt x="235" y="1529"/>
                </a:lnTo>
                <a:close/>
                <a:moveTo>
                  <a:pt x="234" y="1535"/>
                </a:moveTo>
                <a:lnTo>
                  <a:pt x="235" y="1535"/>
                </a:lnTo>
                <a:lnTo>
                  <a:pt x="237" y="1535"/>
                </a:lnTo>
                <a:lnTo>
                  <a:pt x="235" y="1535"/>
                </a:lnTo>
                <a:lnTo>
                  <a:pt x="234" y="1535"/>
                </a:lnTo>
                <a:close/>
                <a:moveTo>
                  <a:pt x="233" y="1326"/>
                </a:moveTo>
                <a:lnTo>
                  <a:pt x="232" y="1329"/>
                </a:lnTo>
                <a:lnTo>
                  <a:pt x="232" y="1333"/>
                </a:lnTo>
                <a:lnTo>
                  <a:pt x="228" y="1334"/>
                </a:lnTo>
                <a:lnTo>
                  <a:pt x="227" y="1332"/>
                </a:lnTo>
                <a:lnTo>
                  <a:pt x="214" y="1330"/>
                </a:lnTo>
                <a:lnTo>
                  <a:pt x="200" y="1336"/>
                </a:lnTo>
                <a:lnTo>
                  <a:pt x="198" y="1332"/>
                </a:lnTo>
                <a:lnTo>
                  <a:pt x="202" y="1328"/>
                </a:lnTo>
                <a:lnTo>
                  <a:pt x="204" y="1327"/>
                </a:lnTo>
                <a:lnTo>
                  <a:pt x="206" y="1326"/>
                </a:lnTo>
                <a:lnTo>
                  <a:pt x="207" y="1321"/>
                </a:lnTo>
                <a:lnTo>
                  <a:pt x="212" y="1321"/>
                </a:lnTo>
                <a:lnTo>
                  <a:pt x="214" y="1321"/>
                </a:lnTo>
                <a:lnTo>
                  <a:pt x="216" y="1320"/>
                </a:lnTo>
                <a:lnTo>
                  <a:pt x="218" y="1320"/>
                </a:lnTo>
                <a:lnTo>
                  <a:pt x="220" y="1318"/>
                </a:lnTo>
                <a:lnTo>
                  <a:pt x="224" y="1321"/>
                </a:lnTo>
                <a:lnTo>
                  <a:pt x="230" y="1322"/>
                </a:lnTo>
                <a:lnTo>
                  <a:pt x="232" y="1323"/>
                </a:lnTo>
                <a:lnTo>
                  <a:pt x="233" y="1326"/>
                </a:lnTo>
                <a:close/>
                <a:moveTo>
                  <a:pt x="216" y="1441"/>
                </a:moveTo>
                <a:lnTo>
                  <a:pt x="217" y="1441"/>
                </a:lnTo>
                <a:lnTo>
                  <a:pt x="219" y="1440"/>
                </a:lnTo>
                <a:lnTo>
                  <a:pt x="217" y="1441"/>
                </a:lnTo>
                <a:lnTo>
                  <a:pt x="216" y="1441"/>
                </a:lnTo>
                <a:close/>
                <a:moveTo>
                  <a:pt x="200" y="1327"/>
                </a:moveTo>
                <a:lnTo>
                  <a:pt x="199" y="1326"/>
                </a:lnTo>
                <a:lnTo>
                  <a:pt x="198" y="1325"/>
                </a:lnTo>
                <a:lnTo>
                  <a:pt x="199" y="1326"/>
                </a:lnTo>
                <a:lnTo>
                  <a:pt x="200" y="1327"/>
                </a:lnTo>
                <a:close/>
                <a:moveTo>
                  <a:pt x="195" y="1538"/>
                </a:moveTo>
                <a:lnTo>
                  <a:pt x="195" y="1538"/>
                </a:lnTo>
                <a:lnTo>
                  <a:pt x="195" y="1537"/>
                </a:lnTo>
                <a:lnTo>
                  <a:pt x="196" y="1536"/>
                </a:lnTo>
                <a:lnTo>
                  <a:pt x="195" y="1537"/>
                </a:lnTo>
                <a:lnTo>
                  <a:pt x="195" y="1538"/>
                </a:lnTo>
                <a:close/>
                <a:moveTo>
                  <a:pt x="189" y="1539"/>
                </a:moveTo>
                <a:lnTo>
                  <a:pt x="190" y="1540"/>
                </a:lnTo>
                <a:lnTo>
                  <a:pt x="190" y="1542"/>
                </a:lnTo>
                <a:lnTo>
                  <a:pt x="190" y="1540"/>
                </a:lnTo>
                <a:lnTo>
                  <a:pt x="189" y="1539"/>
                </a:lnTo>
                <a:close/>
                <a:moveTo>
                  <a:pt x="202" y="1161"/>
                </a:moveTo>
                <a:lnTo>
                  <a:pt x="200" y="1160"/>
                </a:lnTo>
                <a:lnTo>
                  <a:pt x="200" y="1159"/>
                </a:lnTo>
                <a:lnTo>
                  <a:pt x="200" y="1160"/>
                </a:lnTo>
                <a:lnTo>
                  <a:pt x="202" y="1161"/>
                </a:lnTo>
                <a:close/>
                <a:moveTo>
                  <a:pt x="176" y="1179"/>
                </a:moveTo>
                <a:lnTo>
                  <a:pt x="179" y="1160"/>
                </a:lnTo>
                <a:lnTo>
                  <a:pt x="180" y="1142"/>
                </a:lnTo>
                <a:lnTo>
                  <a:pt x="179" y="1141"/>
                </a:lnTo>
                <a:lnTo>
                  <a:pt x="179" y="1140"/>
                </a:lnTo>
                <a:lnTo>
                  <a:pt x="179" y="1141"/>
                </a:lnTo>
                <a:lnTo>
                  <a:pt x="180" y="1142"/>
                </a:lnTo>
                <a:lnTo>
                  <a:pt x="180" y="1142"/>
                </a:lnTo>
                <a:lnTo>
                  <a:pt x="184" y="1141"/>
                </a:lnTo>
                <a:lnTo>
                  <a:pt x="184" y="1138"/>
                </a:lnTo>
                <a:lnTo>
                  <a:pt x="184" y="1138"/>
                </a:lnTo>
                <a:lnTo>
                  <a:pt x="185" y="1138"/>
                </a:lnTo>
                <a:lnTo>
                  <a:pt x="186" y="1132"/>
                </a:lnTo>
                <a:lnTo>
                  <a:pt x="190" y="1130"/>
                </a:lnTo>
                <a:lnTo>
                  <a:pt x="186" y="1132"/>
                </a:lnTo>
                <a:lnTo>
                  <a:pt x="185" y="1138"/>
                </a:lnTo>
                <a:lnTo>
                  <a:pt x="193" y="1138"/>
                </a:lnTo>
                <a:lnTo>
                  <a:pt x="197" y="1131"/>
                </a:lnTo>
                <a:lnTo>
                  <a:pt x="199" y="1124"/>
                </a:lnTo>
                <a:lnTo>
                  <a:pt x="200" y="1116"/>
                </a:lnTo>
                <a:lnTo>
                  <a:pt x="203" y="1119"/>
                </a:lnTo>
                <a:lnTo>
                  <a:pt x="203" y="1123"/>
                </a:lnTo>
                <a:lnTo>
                  <a:pt x="200" y="1139"/>
                </a:lnTo>
                <a:lnTo>
                  <a:pt x="198" y="1155"/>
                </a:lnTo>
                <a:lnTo>
                  <a:pt x="199" y="1156"/>
                </a:lnTo>
                <a:lnTo>
                  <a:pt x="200" y="1159"/>
                </a:lnTo>
                <a:lnTo>
                  <a:pt x="199" y="1156"/>
                </a:lnTo>
                <a:lnTo>
                  <a:pt x="198" y="1155"/>
                </a:lnTo>
                <a:lnTo>
                  <a:pt x="198" y="1156"/>
                </a:lnTo>
                <a:lnTo>
                  <a:pt x="198" y="1156"/>
                </a:lnTo>
                <a:lnTo>
                  <a:pt x="193" y="1159"/>
                </a:lnTo>
                <a:lnTo>
                  <a:pt x="195" y="1163"/>
                </a:lnTo>
                <a:lnTo>
                  <a:pt x="195" y="1165"/>
                </a:lnTo>
                <a:lnTo>
                  <a:pt x="195" y="1167"/>
                </a:lnTo>
                <a:lnTo>
                  <a:pt x="193" y="1167"/>
                </a:lnTo>
                <a:lnTo>
                  <a:pt x="192" y="1168"/>
                </a:lnTo>
                <a:lnTo>
                  <a:pt x="186" y="1177"/>
                </a:lnTo>
                <a:lnTo>
                  <a:pt x="176" y="1179"/>
                </a:lnTo>
                <a:close/>
                <a:moveTo>
                  <a:pt x="169" y="1545"/>
                </a:moveTo>
                <a:lnTo>
                  <a:pt x="172" y="1546"/>
                </a:lnTo>
                <a:lnTo>
                  <a:pt x="178" y="1544"/>
                </a:lnTo>
                <a:lnTo>
                  <a:pt x="172" y="1546"/>
                </a:lnTo>
                <a:lnTo>
                  <a:pt x="169" y="1545"/>
                </a:lnTo>
                <a:close/>
                <a:moveTo>
                  <a:pt x="165" y="1170"/>
                </a:moveTo>
                <a:lnTo>
                  <a:pt x="165" y="1170"/>
                </a:lnTo>
                <a:lnTo>
                  <a:pt x="166" y="1173"/>
                </a:lnTo>
                <a:lnTo>
                  <a:pt x="168" y="1175"/>
                </a:lnTo>
                <a:lnTo>
                  <a:pt x="166" y="1173"/>
                </a:lnTo>
                <a:lnTo>
                  <a:pt x="165" y="1170"/>
                </a:lnTo>
                <a:close/>
                <a:moveTo>
                  <a:pt x="164" y="907"/>
                </a:moveTo>
                <a:lnTo>
                  <a:pt x="164" y="906"/>
                </a:lnTo>
                <a:lnTo>
                  <a:pt x="165" y="906"/>
                </a:lnTo>
                <a:lnTo>
                  <a:pt x="164" y="906"/>
                </a:lnTo>
                <a:lnTo>
                  <a:pt x="164" y="907"/>
                </a:lnTo>
                <a:close/>
                <a:moveTo>
                  <a:pt x="161" y="1644"/>
                </a:moveTo>
                <a:lnTo>
                  <a:pt x="159" y="1642"/>
                </a:lnTo>
                <a:lnTo>
                  <a:pt x="159" y="1640"/>
                </a:lnTo>
                <a:lnTo>
                  <a:pt x="159" y="1642"/>
                </a:lnTo>
                <a:lnTo>
                  <a:pt x="161" y="1644"/>
                </a:lnTo>
                <a:lnTo>
                  <a:pt x="161" y="1644"/>
                </a:lnTo>
                <a:close/>
                <a:moveTo>
                  <a:pt x="172" y="1355"/>
                </a:moveTo>
                <a:lnTo>
                  <a:pt x="173" y="1355"/>
                </a:lnTo>
                <a:lnTo>
                  <a:pt x="175" y="1354"/>
                </a:lnTo>
                <a:lnTo>
                  <a:pt x="173" y="1355"/>
                </a:lnTo>
                <a:lnTo>
                  <a:pt x="172" y="1355"/>
                </a:lnTo>
                <a:lnTo>
                  <a:pt x="171" y="1355"/>
                </a:lnTo>
                <a:lnTo>
                  <a:pt x="170" y="1355"/>
                </a:lnTo>
                <a:lnTo>
                  <a:pt x="171" y="1355"/>
                </a:lnTo>
                <a:lnTo>
                  <a:pt x="172" y="1355"/>
                </a:lnTo>
                <a:close/>
                <a:moveTo>
                  <a:pt x="193" y="787"/>
                </a:moveTo>
                <a:lnTo>
                  <a:pt x="191" y="787"/>
                </a:lnTo>
                <a:lnTo>
                  <a:pt x="188" y="785"/>
                </a:lnTo>
                <a:lnTo>
                  <a:pt x="191" y="787"/>
                </a:lnTo>
                <a:lnTo>
                  <a:pt x="193" y="787"/>
                </a:lnTo>
                <a:close/>
                <a:moveTo>
                  <a:pt x="195" y="907"/>
                </a:moveTo>
                <a:lnTo>
                  <a:pt x="195" y="908"/>
                </a:lnTo>
                <a:lnTo>
                  <a:pt x="193" y="909"/>
                </a:lnTo>
                <a:lnTo>
                  <a:pt x="195" y="908"/>
                </a:lnTo>
                <a:lnTo>
                  <a:pt x="195" y="907"/>
                </a:lnTo>
                <a:close/>
                <a:moveTo>
                  <a:pt x="196" y="980"/>
                </a:moveTo>
                <a:lnTo>
                  <a:pt x="196" y="980"/>
                </a:lnTo>
                <a:lnTo>
                  <a:pt x="195" y="981"/>
                </a:lnTo>
                <a:lnTo>
                  <a:pt x="196" y="980"/>
                </a:lnTo>
                <a:lnTo>
                  <a:pt x="196" y="980"/>
                </a:lnTo>
                <a:close/>
                <a:moveTo>
                  <a:pt x="199" y="1112"/>
                </a:moveTo>
                <a:lnTo>
                  <a:pt x="199" y="1111"/>
                </a:lnTo>
                <a:lnTo>
                  <a:pt x="199" y="1110"/>
                </a:lnTo>
                <a:lnTo>
                  <a:pt x="199" y="1111"/>
                </a:lnTo>
                <a:lnTo>
                  <a:pt x="199" y="1112"/>
                </a:lnTo>
                <a:close/>
                <a:moveTo>
                  <a:pt x="207" y="858"/>
                </a:moveTo>
                <a:lnTo>
                  <a:pt x="227" y="855"/>
                </a:lnTo>
                <a:lnTo>
                  <a:pt x="247" y="861"/>
                </a:lnTo>
                <a:lnTo>
                  <a:pt x="247" y="862"/>
                </a:lnTo>
                <a:lnTo>
                  <a:pt x="247" y="864"/>
                </a:lnTo>
                <a:lnTo>
                  <a:pt x="238" y="867"/>
                </a:lnTo>
                <a:lnTo>
                  <a:pt x="228" y="868"/>
                </a:lnTo>
                <a:lnTo>
                  <a:pt x="216" y="872"/>
                </a:lnTo>
                <a:lnTo>
                  <a:pt x="203" y="875"/>
                </a:lnTo>
                <a:lnTo>
                  <a:pt x="198" y="875"/>
                </a:lnTo>
                <a:lnTo>
                  <a:pt x="196" y="873"/>
                </a:lnTo>
                <a:lnTo>
                  <a:pt x="197" y="862"/>
                </a:lnTo>
                <a:lnTo>
                  <a:pt x="207" y="858"/>
                </a:lnTo>
                <a:close/>
                <a:moveTo>
                  <a:pt x="247" y="921"/>
                </a:moveTo>
                <a:lnTo>
                  <a:pt x="247" y="917"/>
                </a:lnTo>
                <a:lnTo>
                  <a:pt x="248" y="914"/>
                </a:lnTo>
                <a:lnTo>
                  <a:pt x="247" y="917"/>
                </a:lnTo>
                <a:lnTo>
                  <a:pt x="247" y="921"/>
                </a:lnTo>
                <a:close/>
                <a:moveTo>
                  <a:pt x="262" y="1062"/>
                </a:moveTo>
                <a:lnTo>
                  <a:pt x="273" y="1067"/>
                </a:lnTo>
                <a:lnTo>
                  <a:pt x="274" y="1078"/>
                </a:lnTo>
                <a:lnTo>
                  <a:pt x="268" y="1075"/>
                </a:lnTo>
                <a:lnTo>
                  <a:pt x="261" y="1072"/>
                </a:lnTo>
                <a:lnTo>
                  <a:pt x="262" y="1067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58" y="1062"/>
                </a:lnTo>
                <a:lnTo>
                  <a:pt x="253" y="1064"/>
                </a:lnTo>
                <a:lnTo>
                  <a:pt x="248" y="1065"/>
                </a:lnTo>
                <a:lnTo>
                  <a:pt x="244" y="1063"/>
                </a:lnTo>
                <a:lnTo>
                  <a:pt x="244" y="1058"/>
                </a:lnTo>
                <a:lnTo>
                  <a:pt x="247" y="1054"/>
                </a:lnTo>
                <a:lnTo>
                  <a:pt x="249" y="1053"/>
                </a:lnTo>
                <a:lnTo>
                  <a:pt x="252" y="1051"/>
                </a:lnTo>
                <a:lnTo>
                  <a:pt x="254" y="1055"/>
                </a:lnTo>
                <a:lnTo>
                  <a:pt x="258" y="1055"/>
                </a:lnTo>
                <a:lnTo>
                  <a:pt x="261" y="1054"/>
                </a:lnTo>
                <a:lnTo>
                  <a:pt x="264" y="1055"/>
                </a:lnTo>
                <a:lnTo>
                  <a:pt x="264" y="1055"/>
                </a:lnTo>
                <a:lnTo>
                  <a:pt x="264" y="1055"/>
                </a:lnTo>
                <a:lnTo>
                  <a:pt x="264" y="1055"/>
                </a:lnTo>
                <a:lnTo>
                  <a:pt x="264" y="1055"/>
                </a:lnTo>
                <a:lnTo>
                  <a:pt x="262" y="1058"/>
                </a:lnTo>
                <a:lnTo>
                  <a:pt x="262" y="1062"/>
                </a:lnTo>
                <a:close/>
                <a:moveTo>
                  <a:pt x="271" y="1089"/>
                </a:moveTo>
                <a:lnTo>
                  <a:pt x="258" y="1085"/>
                </a:lnTo>
                <a:lnTo>
                  <a:pt x="245" y="1086"/>
                </a:lnTo>
                <a:lnTo>
                  <a:pt x="240" y="1089"/>
                </a:lnTo>
                <a:lnTo>
                  <a:pt x="238" y="1092"/>
                </a:lnTo>
                <a:lnTo>
                  <a:pt x="237" y="1096"/>
                </a:lnTo>
                <a:lnTo>
                  <a:pt x="234" y="1098"/>
                </a:lnTo>
                <a:lnTo>
                  <a:pt x="233" y="1099"/>
                </a:lnTo>
                <a:lnTo>
                  <a:pt x="232" y="1098"/>
                </a:lnTo>
                <a:lnTo>
                  <a:pt x="231" y="1097"/>
                </a:lnTo>
                <a:lnTo>
                  <a:pt x="231" y="1096"/>
                </a:lnTo>
                <a:lnTo>
                  <a:pt x="239" y="1084"/>
                </a:lnTo>
                <a:lnTo>
                  <a:pt x="244" y="1070"/>
                </a:lnTo>
                <a:lnTo>
                  <a:pt x="247" y="1072"/>
                </a:lnTo>
                <a:lnTo>
                  <a:pt x="247" y="1075"/>
                </a:lnTo>
                <a:lnTo>
                  <a:pt x="245" y="1077"/>
                </a:lnTo>
                <a:lnTo>
                  <a:pt x="245" y="1081"/>
                </a:lnTo>
                <a:lnTo>
                  <a:pt x="246" y="1082"/>
                </a:lnTo>
                <a:lnTo>
                  <a:pt x="248" y="1082"/>
                </a:lnTo>
                <a:lnTo>
                  <a:pt x="260" y="1079"/>
                </a:lnTo>
                <a:lnTo>
                  <a:pt x="271" y="1084"/>
                </a:lnTo>
                <a:lnTo>
                  <a:pt x="273" y="1085"/>
                </a:lnTo>
                <a:lnTo>
                  <a:pt x="276" y="1086"/>
                </a:lnTo>
                <a:lnTo>
                  <a:pt x="274" y="1090"/>
                </a:lnTo>
                <a:lnTo>
                  <a:pt x="271" y="1089"/>
                </a:lnTo>
                <a:close/>
                <a:moveTo>
                  <a:pt x="231" y="1039"/>
                </a:moveTo>
                <a:lnTo>
                  <a:pt x="231" y="1037"/>
                </a:lnTo>
                <a:lnTo>
                  <a:pt x="232" y="1035"/>
                </a:lnTo>
                <a:lnTo>
                  <a:pt x="231" y="1037"/>
                </a:lnTo>
                <a:lnTo>
                  <a:pt x="231" y="1039"/>
                </a:lnTo>
                <a:close/>
                <a:moveTo>
                  <a:pt x="231" y="1047"/>
                </a:moveTo>
                <a:lnTo>
                  <a:pt x="231" y="1046"/>
                </a:lnTo>
                <a:lnTo>
                  <a:pt x="230" y="1046"/>
                </a:lnTo>
                <a:lnTo>
                  <a:pt x="231" y="1046"/>
                </a:lnTo>
                <a:lnTo>
                  <a:pt x="231" y="1047"/>
                </a:lnTo>
                <a:close/>
                <a:moveTo>
                  <a:pt x="226" y="994"/>
                </a:moveTo>
                <a:lnTo>
                  <a:pt x="226" y="994"/>
                </a:lnTo>
                <a:lnTo>
                  <a:pt x="226" y="994"/>
                </a:lnTo>
                <a:lnTo>
                  <a:pt x="226" y="993"/>
                </a:lnTo>
                <a:lnTo>
                  <a:pt x="226" y="994"/>
                </a:lnTo>
                <a:lnTo>
                  <a:pt x="226" y="994"/>
                </a:lnTo>
                <a:close/>
                <a:moveTo>
                  <a:pt x="226" y="970"/>
                </a:moveTo>
                <a:lnTo>
                  <a:pt x="226" y="967"/>
                </a:lnTo>
                <a:lnTo>
                  <a:pt x="227" y="965"/>
                </a:lnTo>
                <a:lnTo>
                  <a:pt x="226" y="967"/>
                </a:lnTo>
                <a:lnTo>
                  <a:pt x="226" y="970"/>
                </a:lnTo>
                <a:close/>
                <a:moveTo>
                  <a:pt x="223" y="970"/>
                </a:moveTo>
                <a:lnTo>
                  <a:pt x="224" y="970"/>
                </a:lnTo>
                <a:lnTo>
                  <a:pt x="225" y="970"/>
                </a:lnTo>
                <a:lnTo>
                  <a:pt x="224" y="970"/>
                </a:lnTo>
                <a:lnTo>
                  <a:pt x="223" y="970"/>
                </a:lnTo>
                <a:close/>
                <a:moveTo>
                  <a:pt x="225" y="974"/>
                </a:moveTo>
                <a:lnTo>
                  <a:pt x="226" y="972"/>
                </a:lnTo>
                <a:lnTo>
                  <a:pt x="226" y="970"/>
                </a:lnTo>
                <a:lnTo>
                  <a:pt x="227" y="981"/>
                </a:lnTo>
                <a:lnTo>
                  <a:pt x="226" y="993"/>
                </a:lnTo>
                <a:lnTo>
                  <a:pt x="225" y="992"/>
                </a:lnTo>
                <a:lnTo>
                  <a:pt x="224" y="991"/>
                </a:lnTo>
                <a:lnTo>
                  <a:pt x="223" y="991"/>
                </a:lnTo>
                <a:lnTo>
                  <a:pt x="221" y="991"/>
                </a:lnTo>
                <a:lnTo>
                  <a:pt x="223" y="991"/>
                </a:lnTo>
                <a:lnTo>
                  <a:pt x="224" y="991"/>
                </a:lnTo>
                <a:lnTo>
                  <a:pt x="224" y="983"/>
                </a:lnTo>
                <a:lnTo>
                  <a:pt x="225" y="974"/>
                </a:lnTo>
                <a:lnTo>
                  <a:pt x="223" y="973"/>
                </a:lnTo>
                <a:lnTo>
                  <a:pt x="221" y="972"/>
                </a:lnTo>
                <a:lnTo>
                  <a:pt x="223" y="973"/>
                </a:lnTo>
                <a:lnTo>
                  <a:pt x="225" y="974"/>
                </a:lnTo>
                <a:close/>
                <a:moveTo>
                  <a:pt x="216" y="910"/>
                </a:moveTo>
                <a:lnTo>
                  <a:pt x="217" y="909"/>
                </a:lnTo>
                <a:lnTo>
                  <a:pt x="217" y="909"/>
                </a:lnTo>
                <a:lnTo>
                  <a:pt x="217" y="909"/>
                </a:lnTo>
                <a:lnTo>
                  <a:pt x="216" y="910"/>
                </a:lnTo>
                <a:close/>
                <a:moveTo>
                  <a:pt x="211" y="1110"/>
                </a:moveTo>
                <a:lnTo>
                  <a:pt x="210" y="1112"/>
                </a:lnTo>
                <a:lnTo>
                  <a:pt x="209" y="1114"/>
                </a:lnTo>
                <a:lnTo>
                  <a:pt x="210" y="1112"/>
                </a:lnTo>
                <a:lnTo>
                  <a:pt x="211" y="1110"/>
                </a:lnTo>
                <a:close/>
                <a:moveTo>
                  <a:pt x="251" y="1214"/>
                </a:moveTo>
                <a:lnTo>
                  <a:pt x="251" y="1214"/>
                </a:lnTo>
                <a:lnTo>
                  <a:pt x="252" y="1213"/>
                </a:lnTo>
                <a:lnTo>
                  <a:pt x="251" y="1214"/>
                </a:lnTo>
                <a:lnTo>
                  <a:pt x="251" y="1214"/>
                </a:lnTo>
                <a:close/>
                <a:moveTo>
                  <a:pt x="253" y="1312"/>
                </a:moveTo>
                <a:lnTo>
                  <a:pt x="252" y="1312"/>
                </a:lnTo>
                <a:lnTo>
                  <a:pt x="249" y="1312"/>
                </a:lnTo>
                <a:lnTo>
                  <a:pt x="252" y="1312"/>
                </a:lnTo>
                <a:lnTo>
                  <a:pt x="253" y="1312"/>
                </a:lnTo>
                <a:close/>
                <a:moveTo>
                  <a:pt x="254" y="1312"/>
                </a:moveTo>
                <a:lnTo>
                  <a:pt x="254" y="1312"/>
                </a:lnTo>
                <a:lnTo>
                  <a:pt x="254" y="1312"/>
                </a:lnTo>
                <a:lnTo>
                  <a:pt x="254" y="1312"/>
                </a:lnTo>
                <a:lnTo>
                  <a:pt x="254" y="1312"/>
                </a:lnTo>
                <a:close/>
                <a:moveTo>
                  <a:pt x="261" y="1113"/>
                </a:moveTo>
                <a:lnTo>
                  <a:pt x="266" y="1114"/>
                </a:lnTo>
                <a:lnTo>
                  <a:pt x="267" y="1118"/>
                </a:lnTo>
                <a:lnTo>
                  <a:pt x="266" y="1123"/>
                </a:lnTo>
                <a:lnTo>
                  <a:pt x="260" y="1123"/>
                </a:lnTo>
                <a:lnTo>
                  <a:pt x="255" y="1120"/>
                </a:lnTo>
                <a:lnTo>
                  <a:pt x="253" y="1123"/>
                </a:lnTo>
                <a:lnTo>
                  <a:pt x="253" y="1127"/>
                </a:lnTo>
                <a:lnTo>
                  <a:pt x="258" y="1128"/>
                </a:lnTo>
                <a:lnTo>
                  <a:pt x="264" y="1133"/>
                </a:lnTo>
                <a:lnTo>
                  <a:pt x="262" y="1141"/>
                </a:lnTo>
                <a:lnTo>
                  <a:pt x="259" y="1139"/>
                </a:lnTo>
                <a:lnTo>
                  <a:pt x="254" y="1137"/>
                </a:lnTo>
                <a:lnTo>
                  <a:pt x="251" y="1137"/>
                </a:lnTo>
                <a:lnTo>
                  <a:pt x="249" y="1138"/>
                </a:lnTo>
                <a:lnTo>
                  <a:pt x="242" y="1145"/>
                </a:lnTo>
                <a:lnTo>
                  <a:pt x="233" y="1147"/>
                </a:lnTo>
                <a:lnTo>
                  <a:pt x="233" y="1149"/>
                </a:lnTo>
                <a:lnTo>
                  <a:pt x="233" y="1152"/>
                </a:lnTo>
                <a:lnTo>
                  <a:pt x="241" y="1153"/>
                </a:lnTo>
                <a:lnTo>
                  <a:pt x="248" y="1148"/>
                </a:lnTo>
                <a:lnTo>
                  <a:pt x="254" y="1145"/>
                </a:lnTo>
                <a:lnTo>
                  <a:pt x="260" y="1147"/>
                </a:lnTo>
                <a:lnTo>
                  <a:pt x="262" y="1149"/>
                </a:lnTo>
                <a:lnTo>
                  <a:pt x="261" y="1153"/>
                </a:lnTo>
                <a:lnTo>
                  <a:pt x="260" y="1158"/>
                </a:lnTo>
                <a:lnTo>
                  <a:pt x="255" y="1156"/>
                </a:lnTo>
                <a:lnTo>
                  <a:pt x="251" y="1154"/>
                </a:lnTo>
                <a:lnTo>
                  <a:pt x="247" y="1155"/>
                </a:lnTo>
                <a:lnTo>
                  <a:pt x="247" y="1161"/>
                </a:lnTo>
                <a:lnTo>
                  <a:pt x="252" y="1165"/>
                </a:lnTo>
                <a:lnTo>
                  <a:pt x="259" y="1169"/>
                </a:lnTo>
                <a:lnTo>
                  <a:pt x="256" y="1176"/>
                </a:lnTo>
                <a:lnTo>
                  <a:pt x="251" y="1173"/>
                </a:lnTo>
                <a:lnTo>
                  <a:pt x="245" y="1173"/>
                </a:lnTo>
                <a:lnTo>
                  <a:pt x="244" y="1174"/>
                </a:lnTo>
                <a:lnTo>
                  <a:pt x="244" y="1177"/>
                </a:lnTo>
                <a:lnTo>
                  <a:pt x="247" y="1182"/>
                </a:lnTo>
                <a:lnTo>
                  <a:pt x="253" y="1184"/>
                </a:lnTo>
                <a:lnTo>
                  <a:pt x="256" y="1186"/>
                </a:lnTo>
                <a:lnTo>
                  <a:pt x="255" y="1189"/>
                </a:lnTo>
                <a:lnTo>
                  <a:pt x="254" y="1194"/>
                </a:lnTo>
                <a:lnTo>
                  <a:pt x="249" y="1194"/>
                </a:lnTo>
                <a:lnTo>
                  <a:pt x="246" y="1191"/>
                </a:lnTo>
                <a:lnTo>
                  <a:pt x="241" y="1189"/>
                </a:lnTo>
                <a:lnTo>
                  <a:pt x="241" y="1198"/>
                </a:lnTo>
                <a:lnTo>
                  <a:pt x="249" y="1203"/>
                </a:lnTo>
                <a:lnTo>
                  <a:pt x="252" y="1207"/>
                </a:lnTo>
                <a:lnTo>
                  <a:pt x="252" y="1213"/>
                </a:lnTo>
                <a:lnTo>
                  <a:pt x="248" y="1213"/>
                </a:lnTo>
                <a:lnTo>
                  <a:pt x="247" y="1211"/>
                </a:lnTo>
                <a:lnTo>
                  <a:pt x="242" y="1209"/>
                </a:lnTo>
                <a:lnTo>
                  <a:pt x="239" y="1209"/>
                </a:lnTo>
                <a:lnTo>
                  <a:pt x="237" y="1211"/>
                </a:lnTo>
                <a:lnTo>
                  <a:pt x="237" y="1215"/>
                </a:lnTo>
                <a:lnTo>
                  <a:pt x="239" y="1220"/>
                </a:lnTo>
                <a:lnTo>
                  <a:pt x="242" y="1222"/>
                </a:lnTo>
                <a:lnTo>
                  <a:pt x="248" y="1223"/>
                </a:lnTo>
                <a:lnTo>
                  <a:pt x="249" y="1229"/>
                </a:lnTo>
                <a:lnTo>
                  <a:pt x="248" y="1231"/>
                </a:lnTo>
                <a:lnTo>
                  <a:pt x="245" y="1231"/>
                </a:lnTo>
                <a:lnTo>
                  <a:pt x="234" y="1229"/>
                </a:lnTo>
                <a:lnTo>
                  <a:pt x="233" y="1238"/>
                </a:lnTo>
                <a:lnTo>
                  <a:pt x="239" y="1239"/>
                </a:lnTo>
                <a:lnTo>
                  <a:pt x="245" y="1241"/>
                </a:lnTo>
                <a:lnTo>
                  <a:pt x="247" y="1244"/>
                </a:lnTo>
                <a:lnTo>
                  <a:pt x="246" y="1249"/>
                </a:lnTo>
                <a:lnTo>
                  <a:pt x="244" y="1251"/>
                </a:lnTo>
                <a:lnTo>
                  <a:pt x="240" y="1250"/>
                </a:lnTo>
                <a:lnTo>
                  <a:pt x="235" y="1248"/>
                </a:lnTo>
                <a:lnTo>
                  <a:pt x="231" y="1251"/>
                </a:lnTo>
                <a:lnTo>
                  <a:pt x="233" y="1257"/>
                </a:lnTo>
                <a:lnTo>
                  <a:pt x="239" y="1259"/>
                </a:lnTo>
                <a:lnTo>
                  <a:pt x="242" y="1260"/>
                </a:lnTo>
                <a:lnTo>
                  <a:pt x="244" y="1263"/>
                </a:lnTo>
                <a:lnTo>
                  <a:pt x="244" y="1266"/>
                </a:lnTo>
                <a:lnTo>
                  <a:pt x="241" y="1270"/>
                </a:lnTo>
                <a:lnTo>
                  <a:pt x="239" y="1271"/>
                </a:lnTo>
                <a:lnTo>
                  <a:pt x="237" y="1270"/>
                </a:lnTo>
                <a:lnTo>
                  <a:pt x="233" y="1267"/>
                </a:lnTo>
                <a:lnTo>
                  <a:pt x="230" y="1267"/>
                </a:lnTo>
                <a:lnTo>
                  <a:pt x="227" y="1270"/>
                </a:lnTo>
                <a:lnTo>
                  <a:pt x="227" y="1272"/>
                </a:lnTo>
                <a:lnTo>
                  <a:pt x="231" y="1277"/>
                </a:lnTo>
                <a:lnTo>
                  <a:pt x="235" y="1279"/>
                </a:lnTo>
                <a:lnTo>
                  <a:pt x="240" y="1280"/>
                </a:lnTo>
                <a:lnTo>
                  <a:pt x="240" y="1286"/>
                </a:lnTo>
                <a:lnTo>
                  <a:pt x="238" y="1290"/>
                </a:lnTo>
                <a:lnTo>
                  <a:pt x="234" y="1288"/>
                </a:lnTo>
                <a:lnTo>
                  <a:pt x="231" y="1286"/>
                </a:lnTo>
                <a:lnTo>
                  <a:pt x="226" y="1287"/>
                </a:lnTo>
                <a:lnTo>
                  <a:pt x="225" y="1290"/>
                </a:lnTo>
                <a:lnTo>
                  <a:pt x="225" y="1292"/>
                </a:lnTo>
                <a:lnTo>
                  <a:pt x="227" y="1297"/>
                </a:lnTo>
                <a:lnTo>
                  <a:pt x="232" y="1299"/>
                </a:lnTo>
                <a:lnTo>
                  <a:pt x="235" y="1299"/>
                </a:lnTo>
                <a:lnTo>
                  <a:pt x="237" y="1302"/>
                </a:lnTo>
                <a:lnTo>
                  <a:pt x="235" y="1309"/>
                </a:lnTo>
                <a:lnTo>
                  <a:pt x="228" y="1307"/>
                </a:lnTo>
                <a:lnTo>
                  <a:pt x="227" y="1306"/>
                </a:lnTo>
                <a:lnTo>
                  <a:pt x="225" y="1306"/>
                </a:lnTo>
                <a:lnTo>
                  <a:pt x="223" y="1306"/>
                </a:lnTo>
                <a:lnTo>
                  <a:pt x="219" y="1307"/>
                </a:lnTo>
                <a:lnTo>
                  <a:pt x="223" y="1306"/>
                </a:lnTo>
                <a:lnTo>
                  <a:pt x="225" y="1306"/>
                </a:lnTo>
                <a:lnTo>
                  <a:pt x="224" y="1298"/>
                </a:lnTo>
                <a:lnTo>
                  <a:pt x="218" y="1295"/>
                </a:lnTo>
                <a:lnTo>
                  <a:pt x="211" y="1297"/>
                </a:lnTo>
                <a:lnTo>
                  <a:pt x="204" y="1298"/>
                </a:lnTo>
                <a:lnTo>
                  <a:pt x="206" y="1290"/>
                </a:lnTo>
                <a:lnTo>
                  <a:pt x="213" y="1286"/>
                </a:lnTo>
                <a:lnTo>
                  <a:pt x="218" y="1286"/>
                </a:lnTo>
                <a:lnTo>
                  <a:pt x="223" y="1285"/>
                </a:lnTo>
                <a:lnTo>
                  <a:pt x="226" y="1283"/>
                </a:lnTo>
                <a:lnTo>
                  <a:pt x="226" y="1279"/>
                </a:lnTo>
                <a:lnTo>
                  <a:pt x="224" y="1276"/>
                </a:lnTo>
                <a:lnTo>
                  <a:pt x="219" y="1277"/>
                </a:lnTo>
                <a:lnTo>
                  <a:pt x="216" y="1279"/>
                </a:lnTo>
                <a:lnTo>
                  <a:pt x="212" y="1278"/>
                </a:lnTo>
                <a:lnTo>
                  <a:pt x="213" y="1278"/>
                </a:lnTo>
                <a:lnTo>
                  <a:pt x="213" y="1277"/>
                </a:lnTo>
                <a:lnTo>
                  <a:pt x="212" y="1277"/>
                </a:lnTo>
                <a:lnTo>
                  <a:pt x="212" y="1277"/>
                </a:lnTo>
                <a:lnTo>
                  <a:pt x="207" y="1276"/>
                </a:lnTo>
                <a:lnTo>
                  <a:pt x="207" y="1271"/>
                </a:lnTo>
                <a:lnTo>
                  <a:pt x="212" y="1266"/>
                </a:lnTo>
                <a:lnTo>
                  <a:pt x="219" y="1267"/>
                </a:lnTo>
                <a:lnTo>
                  <a:pt x="224" y="1266"/>
                </a:lnTo>
                <a:lnTo>
                  <a:pt x="228" y="1263"/>
                </a:lnTo>
                <a:lnTo>
                  <a:pt x="230" y="1262"/>
                </a:lnTo>
                <a:lnTo>
                  <a:pt x="230" y="1259"/>
                </a:lnTo>
                <a:lnTo>
                  <a:pt x="226" y="1258"/>
                </a:lnTo>
                <a:lnTo>
                  <a:pt x="223" y="1257"/>
                </a:lnTo>
                <a:lnTo>
                  <a:pt x="213" y="1258"/>
                </a:lnTo>
                <a:lnTo>
                  <a:pt x="211" y="1249"/>
                </a:lnTo>
                <a:lnTo>
                  <a:pt x="216" y="1248"/>
                </a:lnTo>
                <a:lnTo>
                  <a:pt x="220" y="1249"/>
                </a:lnTo>
                <a:lnTo>
                  <a:pt x="230" y="1246"/>
                </a:lnTo>
                <a:lnTo>
                  <a:pt x="233" y="1238"/>
                </a:lnTo>
                <a:lnTo>
                  <a:pt x="224" y="1238"/>
                </a:lnTo>
                <a:lnTo>
                  <a:pt x="216" y="1238"/>
                </a:lnTo>
                <a:lnTo>
                  <a:pt x="216" y="1234"/>
                </a:lnTo>
                <a:lnTo>
                  <a:pt x="216" y="1229"/>
                </a:lnTo>
                <a:lnTo>
                  <a:pt x="214" y="1225"/>
                </a:lnTo>
                <a:lnTo>
                  <a:pt x="214" y="1223"/>
                </a:lnTo>
                <a:lnTo>
                  <a:pt x="214" y="1225"/>
                </a:lnTo>
                <a:lnTo>
                  <a:pt x="216" y="1229"/>
                </a:lnTo>
                <a:lnTo>
                  <a:pt x="219" y="1228"/>
                </a:lnTo>
                <a:lnTo>
                  <a:pt x="221" y="1227"/>
                </a:lnTo>
                <a:lnTo>
                  <a:pt x="225" y="1229"/>
                </a:lnTo>
                <a:lnTo>
                  <a:pt x="230" y="1228"/>
                </a:lnTo>
                <a:lnTo>
                  <a:pt x="234" y="1225"/>
                </a:lnTo>
                <a:lnTo>
                  <a:pt x="235" y="1221"/>
                </a:lnTo>
                <a:lnTo>
                  <a:pt x="233" y="1218"/>
                </a:lnTo>
                <a:lnTo>
                  <a:pt x="228" y="1220"/>
                </a:lnTo>
                <a:lnTo>
                  <a:pt x="227" y="1221"/>
                </a:lnTo>
                <a:lnTo>
                  <a:pt x="226" y="1221"/>
                </a:lnTo>
                <a:lnTo>
                  <a:pt x="225" y="1221"/>
                </a:lnTo>
                <a:lnTo>
                  <a:pt x="224" y="1221"/>
                </a:lnTo>
                <a:lnTo>
                  <a:pt x="225" y="1221"/>
                </a:lnTo>
                <a:lnTo>
                  <a:pt x="225" y="1221"/>
                </a:lnTo>
                <a:lnTo>
                  <a:pt x="225" y="1221"/>
                </a:lnTo>
                <a:lnTo>
                  <a:pt x="224" y="1221"/>
                </a:lnTo>
                <a:lnTo>
                  <a:pt x="223" y="1221"/>
                </a:lnTo>
                <a:lnTo>
                  <a:pt x="221" y="1221"/>
                </a:lnTo>
                <a:lnTo>
                  <a:pt x="219" y="1220"/>
                </a:lnTo>
                <a:lnTo>
                  <a:pt x="218" y="1218"/>
                </a:lnTo>
                <a:lnTo>
                  <a:pt x="219" y="1214"/>
                </a:lnTo>
                <a:lnTo>
                  <a:pt x="220" y="1209"/>
                </a:lnTo>
                <a:lnTo>
                  <a:pt x="223" y="1208"/>
                </a:lnTo>
                <a:lnTo>
                  <a:pt x="225" y="1208"/>
                </a:lnTo>
                <a:lnTo>
                  <a:pt x="226" y="1207"/>
                </a:lnTo>
                <a:lnTo>
                  <a:pt x="225" y="1204"/>
                </a:lnTo>
                <a:lnTo>
                  <a:pt x="226" y="1207"/>
                </a:lnTo>
                <a:lnTo>
                  <a:pt x="225" y="1208"/>
                </a:lnTo>
                <a:lnTo>
                  <a:pt x="230" y="1210"/>
                </a:lnTo>
                <a:lnTo>
                  <a:pt x="234" y="1208"/>
                </a:lnTo>
                <a:lnTo>
                  <a:pt x="238" y="1205"/>
                </a:lnTo>
                <a:lnTo>
                  <a:pt x="239" y="1203"/>
                </a:lnTo>
                <a:lnTo>
                  <a:pt x="235" y="1200"/>
                </a:lnTo>
                <a:lnTo>
                  <a:pt x="231" y="1201"/>
                </a:lnTo>
                <a:lnTo>
                  <a:pt x="227" y="1202"/>
                </a:lnTo>
                <a:lnTo>
                  <a:pt x="223" y="1203"/>
                </a:lnTo>
                <a:lnTo>
                  <a:pt x="221" y="1194"/>
                </a:lnTo>
                <a:lnTo>
                  <a:pt x="228" y="1189"/>
                </a:lnTo>
                <a:lnTo>
                  <a:pt x="234" y="1191"/>
                </a:lnTo>
                <a:lnTo>
                  <a:pt x="240" y="1188"/>
                </a:lnTo>
                <a:lnTo>
                  <a:pt x="242" y="1183"/>
                </a:lnTo>
                <a:lnTo>
                  <a:pt x="238" y="1182"/>
                </a:lnTo>
                <a:lnTo>
                  <a:pt x="232" y="1182"/>
                </a:lnTo>
                <a:lnTo>
                  <a:pt x="226" y="1182"/>
                </a:lnTo>
                <a:lnTo>
                  <a:pt x="225" y="1176"/>
                </a:lnTo>
                <a:lnTo>
                  <a:pt x="231" y="1169"/>
                </a:lnTo>
                <a:lnTo>
                  <a:pt x="235" y="1173"/>
                </a:lnTo>
                <a:lnTo>
                  <a:pt x="240" y="1170"/>
                </a:lnTo>
                <a:lnTo>
                  <a:pt x="245" y="1168"/>
                </a:lnTo>
                <a:lnTo>
                  <a:pt x="246" y="1165"/>
                </a:lnTo>
                <a:lnTo>
                  <a:pt x="241" y="1162"/>
                </a:lnTo>
                <a:lnTo>
                  <a:pt x="235" y="1163"/>
                </a:lnTo>
                <a:lnTo>
                  <a:pt x="233" y="1165"/>
                </a:lnTo>
                <a:lnTo>
                  <a:pt x="232" y="1163"/>
                </a:lnTo>
                <a:lnTo>
                  <a:pt x="228" y="1163"/>
                </a:lnTo>
                <a:lnTo>
                  <a:pt x="226" y="1161"/>
                </a:lnTo>
                <a:lnTo>
                  <a:pt x="228" y="1155"/>
                </a:lnTo>
                <a:lnTo>
                  <a:pt x="233" y="1152"/>
                </a:lnTo>
                <a:lnTo>
                  <a:pt x="233" y="1149"/>
                </a:lnTo>
                <a:lnTo>
                  <a:pt x="233" y="1147"/>
                </a:lnTo>
                <a:lnTo>
                  <a:pt x="230" y="1144"/>
                </a:lnTo>
                <a:lnTo>
                  <a:pt x="231" y="1140"/>
                </a:lnTo>
                <a:lnTo>
                  <a:pt x="233" y="1137"/>
                </a:lnTo>
                <a:lnTo>
                  <a:pt x="238" y="1137"/>
                </a:lnTo>
                <a:lnTo>
                  <a:pt x="244" y="1137"/>
                </a:lnTo>
                <a:lnTo>
                  <a:pt x="249" y="1133"/>
                </a:lnTo>
                <a:lnTo>
                  <a:pt x="251" y="1132"/>
                </a:lnTo>
                <a:lnTo>
                  <a:pt x="252" y="1130"/>
                </a:lnTo>
                <a:lnTo>
                  <a:pt x="249" y="1128"/>
                </a:lnTo>
                <a:lnTo>
                  <a:pt x="248" y="1128"/>
                </a:lnTo>
                <a:lnTo>
                  <a:pt x="245" y="1128"/>
                </a:lnTo>
                <a:lnTo>
                  <a:pt x="241" y="1131"/>
                </a:lnTo>
                <a:lnTo>
                  <a:pt x="234" y="1131"/>
                </a:lnTo>
                <a:lnTo>
                  <a:pt x="232" y="1124"/>
                </a:lnTo>
                <a:lnTo>
                  <a:pt x="227" y="1126"/>
                </a:lnTo>
                <a:lnTo>
                  <a:pt x="223" y="1131"/>
                </a:lnTo>
                <a:lnTo>
                  <a:pt x="227" y="1126"/>
                </a:lnTo>
                <a:lnTo>
                  <a:pt x="232" y="1124"/>
                </a:lnTo>
                <a:lnTo>
                  <a:pt x="235" y="1119"/>
                </a:lnTo>
                <a:lnTo>
                  <a:pt x="241" y="1120"/>
                </a:lnTo>
                <a:lnTo>
                  <a:pt x="248" y="1120"/>
                </a:lnTo>
                <a:lnTo>
                  <a:pt x="253" y="1116"/>
                </a:lnTo>
                <a:lnTo>
                  <a:pt x="253" y="1114"/>
                </a:lnTo>
                <a:lnTo>
                  <a:pt x="253" y="1113"/>
                </a:lnTo>
                <a:lnTo>
                  <a:pt x="251" y="1111"/>
                </a:lnTo>
                <a:lnTo>
                  <a:pt x="248" y="1111"/>
                </a:lnTo>
                <a:lnTo>
                  <a:pt x="242" y="1113"/>
                </a:lnTo>
                <a:lnTo>
                  <a:pt x="241" y="1107"/>
                </a:lnTo>
                <a:lnTo>
                  <a:pt x="239" y="1107"/>
                </a:lnTo>
                <a:lnTo>
                  <a:pt x="237" y="1106"/>
                </a:lnTo>
                <a:lnTo>
                  <a:pt x="239" y="1100"/>
                </a:lnTo>
                <a:lnTo>
                  <a:pt x="244" y="1097"/>
                </a:lnTo>
                <a:lnTo>
                  <a:pt x="258" y="1096"/>
                </a:lnTo>
                <a:lnTo>
                  <a:pt x="271" y="1102"/>
                </a:lnTo>
                <a:lnTo>
                  <a:pt x="267" y="1103"/>
                </a:lnTo>
                <a:lnTo>
                  <a:pt x="265" y="1102"/>
                </a:lnTo>
                <a:lnTo>
                  <a:pt x="259" y="1100"/>
                </a:lnTo>
                <a:lnTo>
                  <a:pt x="255" y="1104"/>
                </a:lnTo>
                <a:lnTo>
                  <a:pt x="256" y="1111"/>
                </a:lnTo>
                <a:lnTo>
                  <a:pt x="261" y="1113"/>
                </a:lnTo>
                <a:close/>
                <a:moveTo>
                  <a:pt x="264" y="945"/>
                </a:moveTo>
                <a:lnTo>
                  <a:pt x="264" y="942"/>
                </a:lnTo>
                <a:lnTo>
                  <a:pt x="264" y="939"/>
                </a:lnTo>
                <a:lnTo>
                  <a:pt x="266" y="938"/>
                </a:lnTo>
                <a:lnTo>
                  <a:pt x="267" y="936"/>
                </a:lnTo>
                <a:lnTo>
                  <a:pt x="267" y="934"/>
                </a:lnTo>
                <a:lnTo>
                  <a:pt x="267" y="931"/>
                </a:lnTo>
                <a:lnTo>
                  <a:pt x="267" y="934"/>
                </a:lnTo>
                <a:lnTo>
                  <a:pt x="267" y="936"/>
                </a:lnTo>
                <a:lnTo>
                  <a:pt x="279" y="938"/>
                </a:lnTo>
                <a:lnTo>
                  <a:pt x="283" y="929"/>
                </a:lnTo>
                <a:lnTo>
                  <a:pt x="290" y="931"/>
                </a:lnTo>
                <a:lnTo>
                  <a:pt x="296" y="932"/>
                </a:lnTo>
                <a:lnTo>
                  <a:pt x="295" y="937"/>
                </a:lnTo>
                <a:lnTo>
                  <a:pt x="293" y="942"/>
                </a:lnTo>
                <a:lnTo>
                  <a:pt x="292" y="942"/>
                </a:lnTo>
                <a:lnTo>
                  <a:pt x="290" y="941"/>
                </a:lnTo>
                <a:lnTo>
                  <a:pt x="287" y="938"/>
                </a:lnTo>
                <a:lnTo>
                  <a:pt x="283" y="938"/>
                </a:lnTo>
                <a:lnTo>
                  <a:pt x="282" y="939"/>
                </a:lnTo>
                <a:lnTo>
                  <a:pt x="282" y="942"/>
                </a:lnTo>
                <a:lnTo>
                  <a:pt x="285" y="946"/>
                </a:lnTo>
                <a:lnTo>
                  <a:pt x="288" y="948"/>
                </a:lnTo>
                <a:lnTo>
                  <a:pt x="292" y="949"/>
                </a:lnTo>
                <a:lnTo>
                  <a:pt x="293" y="951"/>
                </a:lnTo>
                <a:lnTo>
                  <a:pt x="293" y="955"/>
                </a:lnTo>
                <a:lnTo>
                  <a:pt x="292" y="958"/>
                </a:lnTo>
                <a:lnTo>
                  <a:pt x="289" y="958"/>
                </a:lnTo>
                <a:lnTo>
                  <a:pt x="287" y="956"/>
                </a:lnTo>
                <a:lnTo>
                  <a:pt x="283" y="955"/>
                </a:lnTo>
                <a:lnTo>
                  <a:pt x="281" y="955"/>
                </a:lnTo>
                <a:lnTo>
                  <a:pt x="280" y="957"/>
                </a:lnTo>
                <a:lnTo>
                  <a:pt x="280" y="958"/>
                </a:lnTo>
                <a:lnTo>
                  <a:pt x="281" y="963"/>
                </a:lnTo>
                <a:lnTo>
                  <a:pt x="286" y="964"/>
                </a:lnTo>
                <a:lnTo>
                  <a:pt x="290" y="966"/>
                </a:lnTo>
                <a:lnTo>
                  <a:pt x="290" y="971"/>
                </a:lnTo>
                <a:lnTo>
                  <a:pt x="288" y="974"/>
                </a:lnTo>
                <a:lnTo>
                  <a:pt x="285" y="973"/>
                </a:lnTo>
                <a:lnTo>
                  <a:pt x="281" y="971"/>
                </a:lnTo>
                <a:lnTo>
                  <a:pt x="278" y="973"/>
                </a:lnTo>
                <a:lnTo>
                  <a:pt x="278" y="978"/>
                </a:lnTo>
                <a:lnTo>
                  <a:pt x="282" y="980"/>
                </a:lnTo>
                <a:lnTo>
                  <a:pt x="286" y="980"/>
                </a:lnTo>
                <a:lnTo>
                  <a:pt x="287" y="984"/>
                </a:lnTo>
                <a:lnTo>
                  <a:pt x="285" y="987"/>
                </a:lnTo>
                <a:lnTo>
                  <a:pt x="280" y="988"/>
                </a:lnTo>
                <a:lnTo>
                  <a:pt x="276" y="988"/>
                </a:lnTo>
                <a:lnTo>
                  <a:pt x="274" y="992"/>
                </a:lnTo>
                <a:lnTo>
                  <a:pt x="275" y="997"/>
                </a:lnTo>
                <a:lnTo>
                  <a:pt x="281" y="999"/>
                </a:lnTo>
                <a:lnTo>
                  <a:pt x="283" y="999"/>
                </a:lnTo>
                <a:lnTo>
                  <a:pt x="286" y="1001"/>
                </a:lnTo>
                <a:lnTo>
                  <a:pt x="285" y="1006"/>
                </a:lnTo>
                <a:lnTo>
                  <a:pt x="283" y="1008"/>
                </a:lnTo>
                <a:lnTo>
                  <a:pt x="280" y="1008"/>
                </a:lnTo>
                <a:lnTo>
                  <a:pt x="278" y="1006"/>
                </a:lnTo>
                <a:lnTo>
                  <a:pt x="274" y="1005"/>
                </a:lnTo>
                <a:lnTo>
                  <a:pt x="272" y="1007"/>
                </a:lnTo>
                <a:lnTo>
                  <a:pt x="271" y="1009"/>
                </a:lnTo>
                <a:lnTo>
                  <a:pt x="272" y="1011"/>
                </a:lnTo>
                <a:lnTo>
                  <a:pt x="272" y="1013"/>
                </a:lnTo>
                <a:lnTo>
                  <a:pt x="273" y="1014"/>
                </a:lnTo>
                <a:lnTo>
                  <a:pt x="278" y="1015"/>
                </a:lnTo>
                <a:lnTo>
                  <a:pt x="282" y="1019"/>
                </a:lnTo>
                <a:lnTo>
                  <a:pt x="282" y="1022"/>
                </a:lnTo>
                <a:lnTo>
                  <a:pt x="281" y="1025"/>
                </a:lnTo>
                <a:lnTo>
                  <a:pt x="279" y="1026"/>
                </a:lnTo>
                <a:lnTo>
                  <a:pt x="275" y="1023"/>
                </a:lnTo>
                <a:lnTo>
                  <a:pt x="273" y="1022"/>
                </a:lnTo>
                <a:lnTo>
                  <a:pt x="269" y="1022"/>
                </a:lnTo>
                <a:lnTo>
                  <a:pt x="268" y="1025"/>
                </a:lnTo>
                <a:lnTo>
                  <a:pt x="268" y="1027"/>
                </a:lnTo>
                <a:lnTo>
                  <a:pt x="271" y="1030"/>
                </a:lnTo>
                <a:lnTo>
                  <a:pt x="274" y="1032"/>
                </a:lnTo>
                <a:lnTo>
                  <a:pt x="279" y="1033"/>
                </a:lnTo>
                <a:lnTo>
                  <a:pt x="280" y="1036"/>
                </a:lnTo>
                <a:lnTo>
                  <a:pt x="279" y="1040"/>
                </a:lnTo>
                <a:lnTo>
                  <a:pt x="278" y="1043"/>
                </a:lnTo>
                <a:lnTo>
                  <a:pt x="278" y="1043"/>
                </a:lnTo>
                <a:lnTo>
                  <a:pt x="276" y="1044"/>
                </a:lnTo>
                <a:lnTo>
                  <a:pt x="275" y="1044"/>
                </a:lnTo>
                <a:lnTo>
                  <a:pt x="275" y="1044"/>
                </a:lnTo>
                <a:lnTo>
                  <a:pt x="275" y="1044"/>
                </a:lnTo>
                <a:lnTo>
                  <a:pt x="276" y="1044"/>
                </a:lnTo>
                <a:lnTo>
                  <a:pt x="272" y="1040"/>
                </a:lnTo>
                <a:lnTo>
                  <a:pt x="267" y="1040"/>
                </a:lnTo>
                <a:lnTo>
                  <a:pt x="266" y="1043"/>
                </a:lnTo>
                <a:lnTo>
                  <a:pt x="267" y="1047"/>
                </a:lnTo>
                <a:lnTo>
                  <a:pt x="273" y="1049"/>
                </a:lnTo>
                <a:lnTo>
                  <a:pt x="276" y="1053"/>
                </a:lnTo>
                <a:lnTo>
                  <a:pt x="273" y="1057"/>
                </a:lnTo>
                <a:lnTo>
                  <a:pt x="267" y="1055"/>
                </a:lnTo>
                <a:lnTo>
                  <a:pt x="266" y="1050"/>
                </a:lnTo>
                <a:lnTo>
                  <a:pt x="267" y="1047"/>
                </a:lnTo>
                <a:lnTo>
                  <a:pt x="261" y="1047"/>
                </a:lnTo>
                <a:lnTo>
                  <a:pt x="256" y="1049"/>
                </a:lnTo>
                <a:lnTo>
                  <a:pt x="254" y="1050"/>
                </a:lnTo>
                <a:lnTo>
                  <a:pt x="252" y="1050"/>
                </a:lnTo>
                <a:lnTo>
                  <a:pt x="248" y="1049"/>
                </a:lnTo>
                <a:lnTo>
                  <a:pt x="246" y="1046"/>
                </a:lnTo>
                <a:lnTo>
                  <a:pt x="248" y="1040"/>
                </a:lnTo>
                <a:lnTo>
                  <a:pt x="254" y="1039"/>
                </a:lnTo>
                <a:lnTo>
                  <a:pt x="258" y="1040"/>
                </a:lnTo>
                <a:lnTo>
                  <a:pt x="261" y="1039"/>
                </a:lnTo>
                <a:lnTo>
                  <a:pt x="266" y="1036"/>
                </a:lnTo>
                <a:lnTo>
                  <a:pt x="267" y="1033"/>
                </a:lnTo>
                <a:lnTo>
                  <a:pt x="264" y="1030"/>
                </a:lnTo>
                <a:lnTo>
                  <a:pt x="259" y="1032"/>
                </a:lnTo>
                <a:lnTo>
                  <a:pt x="258" y="1032"/>
                </a:lnTo>
                <a:lnTo>
                  <a:pt x="256" y="1032"/>
                </a:lnTo>
                <a:lnTo>
                  <a:pt x="254" y="1032"/>
                </a:lnTo>
                <a:lnTo>
                  <a:pt x="252" y="1032"/>
                </a:lnTo>
                <a:lnTo>
                  <a:pt x="252" y="1033"/>
                </a:lnTo>
                <a:lnTo>
                  <a:pt x="253" y="1033"/>
                </a:lnTo>
                <a:lnTo>
                  <a:pt x="252" y="1033"/>
                </a:lnTo>
                <a:lnTo>
                  <a:pt x="252" y="1032"/>
                </a:lnTo>
                <a:lnTo>
                  <a:pt x="249" y="1026"/>
                </a:lnTo>
                <a:lnTo>
                  <a:pt x="252" y="1020"/>
                </a:lnTo>
                <a:lnTo>
                  <a:pt x="252" y="1020"/>
                </a:lnTo>
                <a:lnTo>
                  <a:pt x="261" y="1021"/>
                </a:lnTo>
                <a:lnTo>
                  <a:pt x="269" y="1015"/>
                </a:lnTo>
                <a:lnTo>
                  <a:pt x="271" y="1015"/>
                </a:lnTo>
                <a:lnTo>
                  <a:pt x="272" y="1014"/>
                </a:lnTo>
                <a:lnTo>
                  <a:pt x="271" y="1014"/>
                </a:lnTo>
                <a:lnTo>
                  <a:pt x="268" y="1014"/>
                </a:lnTo>
                <a:lnTo>
                  <a:pt x="266" y="1014"/>
                </a:lnTo>
                <a:lnTo>
                  <a:pt x="264" y="1014"/>
                </a:lnTo>
                <a:lnTo>
                  <a:pt x="262" y="1013"/>
                </a:lnTo>
                <a:lnTo>
                  <a:pt x="262" y="1014"/>
                </a:lnTo>
                <a:lnTo>
                  <a:pt x="258" y="1015"/>
                </a:lnTo>
                <a:lnTo>
                  <a:pt x="254" y="1016"/>
                </a:lnTo>
                <a:lnTo>
                  <a:pt x="253" y="1008"/>
                </a:lnTo>
                <a:lnTo>
                  <a:pt x="261" y="1006"/>
                </a:lnTo>
                <a:lnTo>
                  <a:pt x="267" y="1005"/>
                </a:lnTo>
                <a:lnTo>
                  <a:pt x="272" y="1001"/>
                </a:lnTo>
                <a:lnTo>
                  <a:pt x="273" y="999"/>
                </a:lnTo>
                <a:lnTo>
                  <a:pt x="272" y="998"/>
                </a:lnTo>
                <a:lnTo>
                  <a:pt x="267" y="995"/>
                </a:lnTo>
                <a:lnTo>
                  <a:pt x="262" y="998"/>
                </a:lnTo>
                <a:lnTo>
                  <a:pt x="258" y="998"/>
                </a:lnTo>
                <a:lnTo>
                  <a:pt x="254" y="995"/>
                </a:lnTo>
                <a:lnTo>
                  <a:pt x="255" y="991"/>
                </a:lnTo>
                <a:lnTo>
                  <a:pt x="261" y="988"/>
                </a:lnTo>
                <a:lnTo>
                  <a:pt x="267" y="988"/>
                </a:lnTo>
                <a:lnTo>
                  <a:pt x="273" y="986"/>
                </a:lnTo>
                <a:lnTo>
                  <a:pt x="275" y="984"/>
                </a:lnTo>
                <a:lnTo>
                  <a:pt x="276" y="981"/>
                </a:lnTo>
                <a:lnTo>
                  <a:pt x="274" y="979"/>
                </a:lnTo>
                <a:lnTo>
                  <a:pt x="269" y="979"/>
                </a:lnTo>
                <a:lnTo>
                  <a:pt x="262" y="980"/>
                </a:lnTo>
                <a:lnTo>
                  <a:pt x="255" y="981"/>
                </a:lnTo>
                <a:lnTo>
                  <a:pt x="260" y="972"/>
                </a:lnTo>
                <a:lnTo>
                  <a:pt x="269" y="971"/>
                </a:lnTo>
                <a:lnTo>
                  <a:pt x="273" y="970"/>
                </a:lnTo>
                <a:lnTo>
                  <a:pt x="275" y="969"/>
                </a:lnTo>
                <a:lnTo>
                  <a:pt x="278" y="967"/>
                </a:lnTo>
                <a:lnTo>
                  <a:pt x="278" y="965"/>
                </a:lnTo>
                <a:lnTo>
                  <a:pt x="275" y="963"/>
                </a:lnTo>
                <a:lnTo>
                  <a:pt x="273" y="963"/>
                </a:lnTo>
                <a:lnTo>
                  <a:pt x="267" y="965"/>
                </a:lnTo>
                <a:lnTo>
                  <a:pt x="261" y="963"/>
                </a:lnTo>
                <a:lnTo>
                  <a:pt x="261" y="958"/>
                </a:lnTo>
                <a:lnTo>
                  <a:pt x="266" y="952"/>
                </a:lnTo>
                <a:lnTo>
                  <a:pt x="265" y="949"/>
                </a:lnTo>
                <a:lnTo>
                  <a:pt x="264" y="945"/>
                </a:lnTo>
                <a:lnTo>
                  <a:pt x="254" y="946"/>
                </a:lnTo>
                <a:lnTo>
                  <a:pt x="245" y="949"/>
                </a:lnTo>
                <a:lnTo>
                  <a:pt x="254" y="946"/>
                </a:lnTo>
                <a:lnTo>
                  <a:pt x="264" y="945"/>
                </a:lnTo>
                <a:close/>
                <a:moveTo>
                  <a:pt x="256" y="791"/>
                </a:moveTo>
                <a:lnTo>
                  <a:pt x="256" y="792"/>
                </a:lnTo>
                <a:lnTo>
                  <a:pt x="256" y="792"/>
                </a:lnTo>
                <a:lnTo>
                  <a:pt x="256" y="792"/>
                </a:lnTo>
                <a:lnTo>
                  <a:pt x="256" y="791"/>
                </a:lnTo>
                <a:lnTo>
                  <a:pt x="259" y="790"/>
                </a:lnTo>
                <a:lnTo>
                  <a:pt x="261" y="789"/>
                </a:lnTo>
                <a:lnTo>
                  <a:pt x="259" y="790"/>
                </a:lnTo>
                <a:lnTo>
                  <a:pt x="256" y="791"/>
                </a:lnTo>
                <a:close/>
                <a:moveTo>
                  <a:pt x="276" y="876"/>
                </a:moveTo>
                <a:lnTo>
                  <a:pt x="278" y="875"/>
                </a:lnTo>
                <a:lnTo>
                  <a:pt x="280" y="873"/>
                </a:lnTo>
                <a:lnTo>
                  <a:pt x="283" y="867"/>
                </a:lnTo>
                <a:lnTo>
                  <a:pt x="290" y="866"/>
                </a:lnTo>
                <a:lnTo>
                  <a:pt x="293" y="871"/>
                </a:lnTo>
                <a:lnTo>
                  <a:pt x="293" y="876"/>
                </a:lnTo>
                <a:lnTo>
                  <a:pt x="293" y="878"/>
                </a:lnTo>
                <a:lnTo>
                  <a:pt x="294" y="878"/>
                </a:lnTo>
                <a:lnTo>
                  <a:pt x="293" y="878"/>
                </a:lnTo>
                <a:lnTo>
                  <a:pt x="293" y="876"/>
                </a:lnTo>
                <a:lnTo>
                  <a:pt x="278" y="882"/>
                </a:lnTo>
                <a:lnTo>
                  <a:pt x="266" y="894"/>
                </a:lnTo>
                <a:lnTo>
                  <a:pt x="269" y="885"/>
                </a:lnTo>
                <a:lnTo>
                  <a:pt x="276" y="876"/>
                </a:lnTo>
                <a:close/>
                <a:moveTo>
                  <a:pt x="299" y="909"/>
                </a:moveTo>
                <a:lnTo>
                  <a:pt x="289" y="907"/>
                </a:lnTo>
                <a:lnTo>
                  <a:pt x="287" y="914"/>
                </a:lnTo>
                <a:lnTo>
                  <a:pt x="281" y="914"/>
                </a:lnTo>
                <a:lnTo>
                  <a:pt x="276" y="916"/>
                </a:lnTo>
                <a:lnTo>
                  <a:pt x="273" y="915"/>
                </a:lnTo>
                <a:lnTo>
                  <a:pt x="269" y="915"/>
                </a:lnTo>
                <a:lnTo>
                  <a:pt x="269" y="914"/>
                </a:lnTo>
                <a:lnTo>
                  <a:pt x="269" y="913"/>
                </a:lnTo>
                <a:lnTo>
                  <a:pt x="269" y="911"/>
                </a:lnTo>
                <a:lnTo>
                  <a:pt x="268" y="909"/>
                </a:lnTo>
                <a:lnTo>
                  <a:pt x="269" y="911"/>
                </a:lnTo>
                <a:lnTo>
                  <a:pt x="269" y="913"/>
                </a:lnTo>
                <a:lnTo>
                  <a:pt x="271" y="910"/>
                </a:lnTo>
                <a:lnTo>
                  <a:pt x="271" y="907"/>
                </a:lnTo>
                <a:lnTo>
                  <a:pt x="273" y="904"/>
                </a:lnTo>
                <a:lnTo>
                  <a:pt x="278" y="906"/>
                </a:lnTo>
                <a:lnTo>
                  <a:pt x="280" y="907"/>
                </a:lnTo>
                <a:lnTo>
                  <a:pt x="283" y="904"/>
                </a:lnTo>
                <a:lnTo>
                  <a:pt x="287" y="902"/>
                </a:lnTo>
                <a:lnTo>
                  <a:pt x="289" y="900"/>
                </a:lnTo>
                <a:lnTo>
                  <a:pt x="286" y="897"/>
                </a:lnTo>
                <a:lnTo>
                  <a:pt x="281" y="899"/>
                </a:lnTo>
                <a:lnTo>
                  <a:pt x="278" y="899"/>
                </a:lnTo>
                <a:lnTo>
                  <a:pt x="278" y="894"/>
                </a:lnTo>
                <a:lnTo>
                  <a:pt x="281" y="889"/>
                </a:lnTo>
                <a:lnTo>
                  <a:pt x="287" y="889"/>
                </a:lnTo>
                <a:lnTo>
                  <a:pt x="290" y="890"/>
                </a:lnTo>
                <a:lnTo>
                  <a:pt x="289" y="894"/>
                </a:lnTo>
                <a:lnTo>
                  <a:pt x="292" y="899"/>
                </a:lnTo>
                <a:lnTo>
                  <a:pt x="295" y="900"/>
                </a:lnTo>
                <a:lnTo>
                  <a:pt x="300" y="903"/>
                </a:lnTo>
                <a:lnTo>
                  <a:pt x="299" y="909"/>
                </a:lnTo>
                <a:close/>
                <a:moveTo>
                  <a:pt x="283" y="929"/>
                </a:moveTo>
                <a:lnTo>
                  <a:pt x="275" y="930"/>
                </a:lnTo>
                <a:lnTo>
                  <a:pt x="267" y="931"/>
                </a:lnTo>
                <a:lnTo>
                  <a:pt x="267" y="927"/>
                </a:lnTo>
                <a:lnTo>
                  <a:pt x="268" y="923"/>
                </a:lnTo>
                <a:lnTo>
                  <a:pt x="271" y="922"/>
                </a:lnTo>
                <a:lnTo>
                  <a:pt x="274" y="922"/>
                </a:lnTo>
                <a:lnTo>
                  <a:pt x="282" y="921"/>
                </a:lnTo>
                <a:lnTo>
                  <a:pt x="287" y="914"/>
                </a:lnTo>
                <a:lnTo>
                  <a:pt x="293" y="915"/>
                </a:lnTo>
                <a:lnTo>
                  <a:pt x="297" y="917"/>
                </a:lnTo>
                <a:lnTo>
                  <a:pt x="299" y="920"/>
                </a:lnTo>
                <a:lnTo>
                  <a:pt x="299" y="923"/>
                </a:lnTo>
                <a:lnTo>
                  <a:pt x="295" y="925"/>
                </a:lnTo>
                <a:lnTo>
                  <a:pt x="293" y="924"/>
                </a:lnTo>
                <a:lnTo>
                  <a:pt x="286" y="922"/>
                </a:lnTo>
                <a:lnTo>
                  <a:pt x="283" y="929"/>
                </a:lnTo>
                <a:lnTo>
                  <a:pt x="283" y="929"/>
                </a:lnTo>
                <a:close/>
                <a:moveTo>
                  <a:pt x="285" y="832"/>
                </a:moveTo>
                <a:lnTo>
                  <a:pt x="287" y="831"/>
                </a:lnTo>
                <a:lnTo>
                  <a:pt x="290" y="831"/>
                </a:lnTo>
                <a:lnTo>
                  <a:pt x="295" y="832"/>
                </a:lnTo>
                <a:lnTo>
                  <a:pt x="299" y="830"/>
                </a:lnTo>
                <a:lnTo>
                  <a:pt x="300" y="827"/>
                </a:lnTo>
                <a:lnTo>
                  <a:pt x="300" y="824"/>
                </a:lnTo>
                <a:lnTo>
                  <a:pt x="297" y="823"/>
                </a:lnTo>
                <a:lnTo>
                  <a:pt x="295" y="824"/>
                </a:lnTo>
                <a:lnTo>
                  <a:pt x="292" y="825"/>
                </a:lnTo>
                <a:lnTo>
                  <a:pt x="288" y="825"/>
                </a:lnTo>
                <a:lnTo>
                  <a:pt x="292" y="819"/>
                </a:lnTo>
                <a:lnTo>
                  <a:pt x="299" y="816"/>
                </a:lnTo>
                <a:lnTo>
                  <a:pt x="301" y="816"/>
                </a:lnTo>
                <a:lnTo>
                  <a:pt x="302" y="819"/>
                </a:lnTo>
                <a:lnTo>
                  <a:pt x="304" y="823"/>
                </a:lnTo>
                <a:lnTo>
                  <a:pt x="309" y="825"/>
                </a:lnTo>
                <a:lnTo>
                  <a:pt x="314" y="829"/>
                </a:lnTo>
                <a:lnTo>
                  <a:pt x="313" y="833"/>
                </a:lnTo>
                <a:lnTo>
                  <a:pt x="309" y="836"/>
                </a:lnTo>
                <a:lnTo>
                  <a:pt x="307" y="833"/>
                </a:lnTo>
                <a:lnTo>
                  <a:pt x="303" y="832"/>
                </a:lnTo>
                <a:lnTo>
                  <a:pt x="301" y="833"/>
                </a:lnTo>
                <a:lnTo>
                  <a:pt x="301" y="836"/>
                </a:lnTo>
                <a:lnTo>
                  <a:pt x="303" y="838"/>
                </a:lnTo>
                <a:lnTo>
                  <a:pt x="306" y="840"/>
                </a:lnTo>
                <a:lnTo>
                  <a:pt x="308" y="840"/>
                </a:lnTo>
                <a:lnTo>
                  <a:pt x="310" y="841"/>
                </a:lnTo>
                <a:lnTo>
                  <a:pt x="310" y="844"/>
                </a:lnTo>
                <a:lnTo>
                  <a:pt x="309" y="845"/>
                </a:lnTo>
                <a:lnTo>
                  <a:pt x="307" y="845"/>
                </a:lnTo>
                <a:lnTo>
                  <a:pt x="297" y="840"/>
                </a:lnTo>
                <a:lnTo>
                  <a:pt x="288" y="841"/>
                </a:lnTo>
                <a:lnTo>
                  <a:pt x="281" y="843"/>
                </a:lnTo>
                <a:lnTo>
                  <a:pt x="276" y="843"/>
                </a:lnTo>
                <a:lnTo>
                  <a:pt x="280" y="837"/>
                </a:lnTo>
                <a:lnTo>
                  <a:pt x="285" y="832"/>
                </a:lnTo>
                <a:close/>
                <a:moveTo>
                  <a:pt x="280" y="774"/>
                </a:moveTo>
                <a:lnTo>
                  <a:pt x="278" y="773"/>
                </a:lnTo>
                <a:lnTo>
                  <a:pt x="276" y="771"/>
                </a:lnTo>
                <a:lnTo>
                  <a:pt x="278" y="773"/>
                </a:lnTo>
                <a:lnTo>
                  <a:pt x="280" y="774"/>
                </a:lnTo>
                <a:close/>
                <a:moveTo>
                  <a:pt x="368" y="847"/>
                </a:moveTo>
                <a:lnTo>
                  <a:pt x="364" y="847"/>
                </a:lnTo>
                <a:lnTo>
                  <a:pt x="363" y="844"/>
                </a:lnTo>
                <a:lnTo>
                  <a:pt x="363" y="838"/>
                </a:lnTo>
                <a:lnTo>
                  <a:pt x="369" y="834"/>
                </a:lnTo>
                <a:lnTo>
                  <a:pt x="375" y="834"/>
                </a:lnTo>
                <a:lnTo>
                  <a:pt x="377" y="839"/>
                </a:lnTo>
                <a:lnTo>
                  <a:pt x="375" y="846"/>
                </a:lnTo>
                <a:lnTo>
                  <a:pt x="368" y="847"/>
                </a:lnTo>
                <a:close/>
                <a:moveTo>
                  <a:pt x="398" y="829"/>
                </a:moveTo>
                <a:lnTo>
                  <a:pt x="399" y="830"/>
                </a:lnTo>
                <a:lnTo>
                  <a:pt x="399" y="832"/>
                </a:lnTo>
                <a:lnTo>
                  <a:pt x="396" y="840"/>
                </a:lnTo>
                <a:lnTo>
                  <a:pt x="387" y="841"/>
                </a:lnTo>
                <a:lnTo>
                  <a:pt x="384" y="839"/>
                </a:lnTo>
                <a:lnTo>
                  <a:pt x="385" y="834"/>
                </a:lnTo>
                <a:lnTo>
                  <a:pt x="390" y="830"/>
                </a:lnTo>
                <a:lnTo>
                  <a:pt x="398" y="829"/>
                </a:lnTo>
                <a:close/>
                <a:moveTo>
                  <a:pt x="393" y="813"/>
                </a:moveTo>
                <a:lnTo>
                  <a:pt x="393" y="817"/>
                </a:lnTo>
                <a:lnTo>
                  <a:pt x="392" y="820"/>
                </a:lnTo>
                <a:lnTo>
                  <a:pt x="389" y="822"/>
                </a:lnTo>
                <a:lnTo>
                  <a:pt x="385" y="820"/>
                </a:lnTo>
                <a:lnTo>
                  <a:pt x="380" y="820"/>
                </a:lnTo>
                <a:lnTo>
                  <a:pt x="382" y="816"/>
                </a:lnTo>
                <a:lnTo>
                  <a:pt x="384" y="815"/>
                </a:lnTo>
                <a:lnTo>
                  <a:pt x="386" y="812"/>
                </a:lnTo>
                <a:lnTo>
                  <a:pt x="390" y="812"/>
                </a:lnTo>
                <a:lnTo>
                  <a:pt x="393" y="813"/>
                </a:lnTo>
                <a:close/>
                <a:moveTo>
                  <a:pt x="397" y="802"/>
                </a:moveTo>
                <a:lnTo>
                  <a:pt x="394" y="802"/>
                </a:lnTo>
                <a:lnTo>
                  <a:pt x="392" y="801"/>
                </a:lnTo>
                <a:lnTo>
                  <a:pt x="390" y="803"/>
                </a:lnTo>
                <a:lnTo>
                  <a:pt x="387" y="805"/>
                </a:lnTo>
                <a:lnTo>
                  <a:pt x="390" y="803"/>
                </a:lnTo>
                <a:lnTo>
                  <a:pt x="392" y="801"/>
                </a:lnTo>
                <a:lnTo>
                  <a:pt x="394" y="802"/>
                </a:lnTo>
                <a:lnTo>
                  <a:pt x="397" y="802"/>
                </a:lnTo>
                <a:close/>
                <a:moveTo>
                  <a:pt x="371" y="817"/>
                </a:moveTo>
                <a:lnTo>
                  <a:pt x="369" y="819"/>
                </a:lnTo>
                <a:lnTo>
                  <a:pt x="369" y="822"/>
                </a:lnTo>
                <a:lnTo>
                  <a:pt x="372" y="824"/>
                </a:lnTo>
                <a:lnTo>
                  <a:pt x="377" y="825"/>
                </a:lnTo>
                <a:lnTo>
                  <a:pt x="378" y="824"/>
                </a:lnTo>
                <a:lnTo>
                  <a:pt x="380" y="824"/>
                </a:lnTo>
                <a:lnTo>
                  <a:pt x="380" y="827"/>
                </a:lnTo>
                <a:lnTo>
                  <a:pt x="380" y="830"/>
                </a:lnTo>
                <a:lnTo>
                  <a:pt x="378" y="831"/>
                </a:lnTo>
                <a:lnTo>
                  <a:pt x="375" y="830"/>
                </a:lnTo>
                <a:lnTo>
                  <a:pt x="370" y="827"/>
                </a:lnTo>
                <a:lnTo>
                  <a:pt x="365" y="825"/>
                </a:lnTo>
                <a:lnTo>
                  <a:pt x="363" y="831"/>
                </a:lnTo>
                <a:lnTo>
                  <a:pt x="359" y="834"/>
                </a:lnTo>
                <a:lnTo>
                  <a:pt x="359" y="827"/>
                </a:lnTo>
                <a:lnTo>
                  <a:pt x="358" y="820"/>
                </a:lnTo>
                <a:lnTo>
                  <a:pt x="354" y="819"/>
                </a:lnTo>
                <a:lnTo>
                  <a:pt x="349" y="820"/>
                </a:lnTo>
                <a:lnTo>
                  <a:pt x="351" y="817"/>
                </a:lnTo>
                <a:lnTo>
                  <a:pt x="356" y="816"/>
                </a:lnTo>
                <a:lnTo>
                  <a:pt x="363" y="816"/>
                </a:lnTo>
                <a:lnTo>
                  <a:pt x="369" y="817"/>
                </a:lnTo>
                <a:lnTo>
                  <a:pt x="372" y="812"/>
                </a:lnTo>
                <a:lnTo>
                  <a:pt x="377" y="809"/>
                </a:lnTo>
                <a:lnTo>
                  <a:pt x="372" y="812"/>
                </a:lnTo>
                <a:lnTo>
                  <a:pt x="369" y="817"/>
                </a:lnTo>
                <a:lnTo>
                  <a:pt x="370" y="817"/>
                </a:lnTo>
                <a:lnTo>
                  <a:pt x="371" y="817"/>
                </a:lnTo>
                <a:close/>
                <a:moveTo>
                  <a:pt x="343" y="836"/>
                </a:moveTo>
                <a:lnTo>
                  <a:pt x="342" y="833"/>
                </a:lnTo>
                <a:lnTo>
                  <a:pt x="341" y="831"/>
                </a:lnTo>
                <a:lnTo>
                  <a:pt x="341" y="830"/>
                </a:lnTo>
                <a:lnTo>
                  <a:pt x="341" y="829"/>
                </a:lnTo>
                <a:lnTo>
                  <a:pt x="341" y="825"/>
                </a:lnTo>
                <a:lnTo>
                  <a:pt x="341" y="823"/>
                </a:lnTo>
                <a:lnTo>
                  <a:pt x="336" y="822"/>
                </a:lnTo>
                <a:lnTo>
                  <a:pt x="333" y="820"/>
                </a:lnTo>
                <a:lnTo>
                  <a:pt x="336" y="822"/>
                </a:lnTo>
                <a:lnTo>
                  <a:pt x="341" y="823"/>
                </a:lnTo>
                <a:lnTo>
                  <a:pt x="344" y="820"/>
                </a:lnTo>
                <a:lnTo>
                  <a:pt x="349" y="820"/>
                </a:lnTo>
                <a:lnTo>
                  <a:pt x="344" y="827"/>
                </a:lnTo>
                <a:lnTo>
                  <a:pt x="343" y="836"/>
                </a:lnTo>
                <a:close/>
                <a:moveTo>
                  <a:pt x="307" y="859"/>
                </a:moveTo>
                <a:lnTo>
                  <a:pt x="309" y="860"/>
                </a:lnTo>
                <a:lnTo>
                  <a:pt x="310" y="860"/>
                </a:lnTo>
                <a:lnTo>
                  <a:pt x="309" y="860"/>
                </a:lnTo>
                <a:lnTo>
                  <a:pt x="307" y="859"/>
                </a:lnTo>
                <a:close/>
                <a:moveTo>
                  <a:pt x="311" y="892"/>
                </a:moveTo>
                <a:lnTo>
                  <a:pt x="311" y="892"/>
                </a:lnTo>
                <a:lnTo>
                  <a:pt x="311" y="892"/>
                </a:lnTo>
                <a:lnTo>
                  <a:pt x="311" y="892"/>
                </a:lnTo>
                <a:lnTo>
                  <a:pt x="311" y="892"/>
                </a:lnTo>
                <a:lnTo>
                  <a:pt x="311" y="892"/>
                </a:lnTo>
                <a:close/>
                <a:moveTo>
                  <a:pt x="405" y="862"/>
                </a:moveTo>
                <a:lnTo>
                  <a:pt x="379" y="869"/>
                </a:lnTo>
                <a:lnTo>
                  <a:pt x="352" y="875"/>
                </a:lnTo>
                <a:lnTo>
                  <a:pt x="334" y="880"/>
                </a:lnTo>
                <a:lnTo>
                  <a:pt x="315" y="883"/>
                </a:lnTo>
                <a:lnTo>
                  <a:pt x="313" y="885"/>
                </a:lnTo>
                <a:lnTo>
                  <a:pt x="310" y="886"/>
                </a:lnTo>
                <a:lnTo>
                  <a:pt x="313" y="885"/>
                </a:lnTo>
                <a:lnTo>
                  <a:pt x="315" y="883"/>
                </a:lnTo>
                <a:lnTo>
                  <a:pt x="315" y="883"/>
                </a:lnTo>
                <a:lnTo>
                  <a:pt x="314" y="883"/>
                </a:lnTo>
                <a:lnTo>
                  <a:pt x="314" y="882"/>
                </a:lnTo>
                <a:lnTo>
                  <a:pt x="314" y="882"/>
                </a:lnTo>
                <a:lnTo>
                  <a:pt x="321" y="881"/>
                </a:lnTo>
                <a:lnTo>
                  <a:pt x="327" y="879"/>
                </a:lnTo>
                <a:lnTo>
                  <a:pt x="328" y="874"/>
                </a:lnTo>
                <a:lnTo>
                  <a:pt x="330" y="868"/>
                </a:lnTo>
                <a:lnTo>
                  <a:pt x="338" y="866"/>
                </a:lnTo>
                <a:lnTo>
                  <a:pt x="347" y="862"/>
                </a:lnTo>
                <a:lnTo>
                  <a:pt x="344" y="868"/>
                </a:lnTo>
                <a:lnTo>
                  <a:pt x="342" y="873"/>
                </a:lnTo>
                <a:lnTo>
                  <a:pt x="355" y="871"/>
                </a:lnTo>
                <a:lnTo>
                  <a:pt x="368" y="867"/>
                </a:lnTo>
                <a:lnTo>
                  <a:pt x="369" y="866"/>
                </a:lnTo>
                <a:lnTo>
                  <a:pt x="368" y="864"/>
                </a:lnTo>
                <a:lnTo>
                  <a:pt x="364" y="862"/>
                </a:lnTo>
                <a:lnTo>
                  <a:pt x="362" y="860"/>
                </a:lnTo>
                <a:lnTo>
                  <a:pt x="362" y="857"/>
                </a:lnTo>
                <a:lnTo>
                  <a:pt x="364" y="853"/>
                </a:lnTo>
                <a:lnTo>
                  <a:pt x="363" y="852"/>
                </a:lnTo>
                <a:lnTo>
                  <a:pt x="361" y="851"/>
                </a:lnTo>
                <a:lnTo>
                  <a:pt x="363" y="852"/>
                </a:lnTo>
                <a:lnTo>
                  <a:pt x="364" y="853"/>
                </a:lnTo>
                <a:lnTo>
                  <a:pt x="368" y="852"/>
                </a:lnTo>
                <a:lnTo>
                  <a:pt x="371" y="852"/>
                </a:lnTo>
                <a:lnTo>
                  <a:pt x="376" y="852"/>
                </a:lnTo>
                <a:lnTo>
                  <a:pt x="376" y="857"/>
                </a:lnTo>
                <a:lnTo>
                  <a:pt x="375" y="861"/>
                </a:lnTo>
                <a:lnTo>
                  <a:pt x="376" y="865"/>
                </a:lnTo>
                <a:lnTo>
                  <a:pt x="378" y="865"/>
                </a:lnTo>
                <a:lnTo>
                  <a:pt x="380" y="865"/>
                </a:lnTo>
                <a:lnTo>
                  <a:pt x="384" y="861"/>
                </a:lnTo>
                <a:lnTo>
                  <a:pt x="384" y="857"/>
                </a:lnTo>
                <a:lnTo>
                  <a:pt x="385" y="850"/>
                </a:lnTo>
                <a:lnTo>
                  <a:pt x="392" y="847"/>
                </a:lnTo>
                <a:lnTo>
                  <a:pt x="396" y="846"/>
                </a:lnTo>
                <a:lnTo>
                  <a:pt x="399" y="847"/>
                </a:lnTo>
                <a:lnTo>
                  <a:pt x="399" y="852"/>
                </a:lnTo>
                <a:lnTo>
                  <a:pt x="397" y="854"/>
                </a:lnTo>
                <a:lnTo>
                  <a:pt x="393" y="858"/>
                </a:lnTo>
                <a:lnTo>
                  <a:pt x="390" y="860"/>
                </a:lnTo>
                <a:lnTo>
                  <a:pt x="394" y="861"/>
                </a:lnTo>
                <a:lnTo>
                  <a:pt x="398" y="860"/>
                </a:lnTo>
                <a:lnTo>
                  <a:pt x="401" y="858"/>
                </a:lnTo>
                <a:lnTo>
                  <a:pt x="404" y="854"/>
                </a:lnTo>
                <a:lnTo>
                  <a:pt x="401" y="858"/>
                </a:lnTo>
                <a:lnTo>
                  <a:pt x="398" y="860"/>
                </a:lnTo>
                <a:lnTo>
                  <a:pt x="401" y="861"/>
                </a:lnTo>
                <a:lnTo>
                  <a:pt x="405" y="862"/>
                </a:lnTo>
                <a:close/>
                <a:moveTo>
                  <a:pt x="405" y="868"/>
                </a:move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close/>
                <a:moveTo>
                  <a:pt x="405" y="867"/>
                </a:move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7"/>
                </a:lnTo>
                <a:close/>
                <a:moveTo>
                  <a:pt x="419" y="834"/>
                </a:moveTo>
                <a:lnTo>
                  <a:pt x="414" y="837"/>
                </a:lnTo>
                <a:lnTo>
                  <a:pt x="411" y="839"/>
                </a:lnTo>
                <a:lnTo>
                  <a:pt x="414" y="837"/>
                </a:lnTo>
                <a:lnTo>
                  <a:pt x="419" y="834"/>
                </a:lnTo>
                <a:close/>
                <a:moveTo>
                  <a:pt x="424" y="848"/>
                </a:moveTo>
                <a:lnTo>
                  <a:pt x="433" y="843"/>
                </a:lnTo>
                <a:lnTo>
                  <a:pt x="444" y="841"/>
                </a:lnTo>
                <a:lnTo>
                  <a:pt x="433" y="850"/>
                </a:lnTo>
                <a:lnTo>
                  <a:pt x="421" y="853"/>
                </a:lnTo>
                <a:lnTo>
                  <a:pt x="423" y="851"/>
                </a:lnTo>
                <a:lnTo>
                  <a:pt x="424" y="848"/>
                </a:lnTo>
                <a:close/>
                <a:moveTo>
                  <a:pt x="282" y="805"/>
                </a:moveTo>
                <a:lnTo>
                  <a:pt x="290" y="806"/>
                </a:lnTo>
                <a:lnTo>
                  <a:pt x="293" y="796"/>
                </a:lnTo>
                <a:lnTo>
                  <a:pt x="294" y="796"/>
                </a:lnTo>
                <a:lnTo>
                  <a:pt x="295" y="795"/>
                </a:lnTo>
                <a:lnTo>
                  <a:pt x="295" y="795"/>
                </a:lnTo>
                <a:lnTo>
                  <a:pt x="295" y="792"/>
                </a:lnTo>
                <a:lnTo>
                  <a:pt x="297" y="791"/>
                </a:lnTo>
                <a:lnTo>
                  <a:pt x="297" y="790"/>
                </a:lnTo>
                <a:lnTo>
                  <a:pt x="297" y="788"/>
                </a:lnTo>
                <a:lnTo>
                  <a:pt x="297" y="787"/>
                </a:lnTo>
                <a:lnTo>
                  <a:pt x="296" y="785"/>
                </a:lnTo>
                <a:lnTo>
                  <a:pt x="296" y="785"/>
                </a:lnTo>
                <a:lnTo>
                  <a:pt x="296" y="784"/>
                </a:lnTo>
                <a:lnTo>
                  <a:pt x="302" y="782"/>
                </a:lnTo>
                <a:lnTo>
                  <a:pt x="308" y="785"/>
                </a:lnTo>
                <a:lnTo>
                  <a:pt x="311" y="788"/>
                </a:lnTo>
                <a:lnTo>
                  <a:pt x="315" y="790"/>
                </a:lnTo>
                <a:lnTo>
                  <a:pt x="317" y="791"/>
                </a:lnTo>
                <a:lnTo>
                  <a:pt x="317" y="795"/>
                </a:lnTo>
                <a:lnTo>
                  <a:pt x="315" y="797"/>
                </a:lnTo>
                <a:lnTo>
                  <a:pt x="311" y="796"/>
                </a:lnTo>
                <a:lnTo>
                  <a:pt x="306" y="791"/>
                </a:lnTo>
                <a:lnTo>
                  <a:pt x="297" y="788"/>
                </a:lnTo>
                <a:lnTo>
                  <a:pt x="297" y="790"/>
                </a:lnTo>
                <a:lnTo>
                  <a:pt x="297" y="791"/>
                </a:lnTo>
                <a:lnTo>
                  <a:pt x="301" y="791"/>
                </a:lnTo>
                <a:lnTo>
                  <a:pt x="302" y="792"/>
                </a:lnTo>
                <a:lnTo>
                  <a:pt x="300" y="795"/>
                </a:lnTo>
                <a:lnTo>
                  <a:pt x="295" y="795"/>
                </a:lnTo>
                <a:lnTo>
                  <a:pt x="295" y="795"/>
                </a:lnTo>
                <a:lnTo>
                  <a:pt x="295" y="795"/>
                </a:lnTo>
                <a:lnTo>
                  <a:pt x="295" y="799"/>
                </a:lnTo>
                <a:lnTo>
                  <a:pt x="297" y="802"/>
                </a:lnTo>
                <a:lnTo>
                  <a:pt x="307" y="803"/>
                </a:lnTo>
                <a:lnTo>
                  <a:pt x="316" y="806"/>
                </a:lnTo>
                <a:lnTo>
                  <a:pt x="317" y="806"/>
                </a:lnTo>
                <a:lnTo>
                  <a:pt x="317" y="808"/>
                </a:lnTo>
                <a:lnTo>
                  <a:pt x="322" y="810"/>
                </a:lnTo>
                <a:lnTo>
                  <a:pt x="328" y="808"/>
                </a:lnTo>
                <a:lnTo>
                  <a:pt x="336" y="806"/>
                </a:lnTo>
                <a:lnTo>
                  <a:pt x="345" y="805"/>
                </a:lnTo>
                <a:lnTo>
                  <a:pt x="348" y="802"/>
                </a:lnTo>
                <a:lnTo>
                  <a:pt x="349" y="797"/>
                </a:lnTo>
                <a:lnTo>
                  <a:pt x="351" y="790"/>
                </a:lnTo>
                <a:lnTo>
                  <a:pt x="358" y="788"/>
                </a:lnTo>
                <a:lnTo>
                  <a:pt x="358" y="791"/>
                </a:lnTo>
                <a:lnTo>
                  <a:pt x="358" y="795"/>
                </a:lnTo>
                <a:lnTo>
                  <a:pt x="357" y="797"/>
                </a:lnTo>
                <a:lnTo>
                  <a:pt x="357" y="799"/>
                </a:lnTo>
                <a:lnTo>
                  <a:pt x="361" y="801"/>
                </a:lnTo>
                <a:lnTo>
                  <a:pt x="363" y="799"/>
                </a:lnTo>
                <a:lnTo>
                  <a:pt x="377" y="792"/>
                </a:lnTo>
                <a:lnTo>
                  <a:pt x="390" y="783"/>
                </a:lnTo>
                <a:lnTo>
                  <a:pt x="394" y="780"/>
                </a:lnTo>
                <a:lnTo>
                  <a:pt x="400" y="781"/>
                </a:lnTo>
                <a:lnTo>
                  <a:pt x="404" y="782"/>
                </a:lnTo>
                <a:lnTo>
                  <a:pt x="407" y="782"/>
                </a:lnTo>
                <a:lnTo>
                  <a:pt x="407" y="783"/>
                </a:lnTo>
                <a:lnTo>
                  <a:pt x="407" y="783"/>
                </a:lnTo>
                <a:lnTo>
                  <a:pt x="409" y="784"/>
                </a:lnTo>
                <a:lnTo>
                  <a:pt x="410" y="784"/>
                </a:lnTo>
                <a:lnTo>
                  <a:pt x="426" y="784"/>
                </a:lnTo>
                <a:lnTo>
                  <a:pt x="442" y="780"/>
                </a:lnTo>
                <a:lnTo>
                  <a:pt x="447" y="778"/>
                </a:lnTo>
                <a:lnTo>
                  <a:pt x="451" y="775"/>
                </a:lnTo>
                <a:lnTo>
                  <a:pt x="451" y="773"/>
                </a:lnTo>
                <a:lnTo>
                  <a:pt x="453" y="774"/>
                </a:lnTo>
                <a:lnTo>
                  <a:pt x="460" y="776"/>
                </a:lnTo>
                <a:lnTo>
                  <a:pt x="466" y="771"/>
                </a:lnTo>
                <a:lnTo>
                  <a:pt x="474" y="767"/>
                </a:lnTo>
                <a:lnTo>
                  <a:pt x="480" y="761"/>
                </a:lnTo>
                <a:lnTo>
                  <a:pt x="489" y="755"/>
                </a:lnTo>
                <a:lnTo>
                  <a:pt x="500" y="757"/>
                </a:lnTo>
                <a:lnTo>
                  <a:pt x="515" y="761"/>
                </a:lnTo>
                <a:lnTo>
                  <a:pt x="530" y="756"/>
                </a:lnTo>
                <a:lnTo>
                  <a:pt x="532" y="756"/>
                </a:lnTo>
                <a:lnTo>
                  <a:pt x="534" y="755"/>
                </a:lnTo>
                <a:lnTo>
                  <a:pt x="535" y="745"/>
                </a:lnTo>
                <a:lnTo>
                  <a:pt x="530" y="735"/>
                </a:lnTo>
                <a:lnTo>
                  <a:pt x="534" y="738"/>
                </a:lnTo>
                <a:lnTo>
                  <a:pt x="537" y="739"/>
                </a:lnTo>
                <a:lnTo>
                  <a:pt x="539" y="732"/>
                </a:lnTo>
                <a:lnTo>
                  <a:pt x="539" y="724"/>
                </a:lnTo>
                <a:lnTo>
                  <a:pt x="542" y="724"/>
                </a:lnTo>
                <a:lnTo>
                  <a:pt x="543" y="725"/>
                </a:lnTo>
                <a:lnTo>
                  <a:pt x="543" y="735"/>
                </a:lnTo>
                <a:lnTo>
                  <a:pt x="543" y="746"/>
                </a:lnTo>
                <a:lnTo>
                  <a:pt x="542" y="750"/>
                </a:lnTo>
                <a:lnTo>
                  <a:pt x="544" y="754"/>
                </a:lnTo>
                <a:lnTo>
                  <a:pt x="549" y="754"/>
                </a:lnTo>
                <a:lnTo>
                  <a:pt x="554" y="752"/>
                </a:lnTo>
                <a:lnTo>
                  <a:pt x="566" y="747"/>
                </a:lnTo>
                <a:lnTo>
                  <a:pt x="577" y="736"/>
                </a:lnTo>
                <a:lnTo>
                  <a:pt x="585" y="732"/>
                </a:lnTo>
                <a:lnTo>
                  <a:pt x="594" y="734"/>
                </a:lnTo>
                <a:lnTo>
                  <a:pt x="605" y="739"/>
                </a:lnTo>
                <a:lnTo>
                  <a:pt x="618" y="736"/>
                </a:lnTo>
                <a:lnTo>
                  <a:pt x="623" y="735"/>
                </a:lnTo>
                <a:lnTo>
                  <a:pt x="624" y="729"/>
                </a:lnTo>
                <a:lnTo>
                  <a:pt x="625" y="722"/>
                </a:lnTo>
                <a:lnTo>
                  <a:pt x="626" y="715"/>
                </a:lnTo>
                <a:lnTo>
                  <a:pt x="626" y="715"/>
                </a:lnTo>
                <a:lnTo>
                  <a:pt x="627" y="714"/>
                </a:lnTo>
                <a:lnTo>
                  <a:pt x="627" y="713"/>
                </a:lnTo>
                <a:lnTo>
                  <a:pt x="627" y="710"/>
                </a:lnTo>
                <a:lnTo>
                  <a:pt x="628" y="706"/>
                </a:lnTo>
                <a:lnTo>
                  <a:pt x="630" y="704"/>
                </a:lnTo>
                <a:lnTo>
                  <a:pt x="632" y="700"/>
                </a:lnTo>
                <a:lnTo>
                  <a:pt x="632" y="712"/>
                </a:lnTo>
                <a:lnTo>
                  <a:pt x="632" y="721"/>
                </a:lnTo>
                <a:lnTo>
                  <a:pt x="633" y="729"/>
                </a:lnTo>
                <a:lnTo>
                  <a:pt x="641" y="731"/>
                </a:lnTo>
                <a:lnTo>
                  <a:pt x="660" y="724"/>
                </a:lnTo>
                <a:lnTo>
                  <a:pt x="674" y="711"/>
                </a:lnTo>
                <a:lnTo>
                  <a:pt x="681" y="706"/>
                </a:lnTo>
                <a:lnTo>
                  <a:pt x="689" y="708"/>
                </a:lnTo>
                <a:lnTo>
                  <a:pt x="697" y="714"/>
                </a:lnTo>
                <a:lnTo>
                  <a:pt x="708" y="713"/>
                </a:lnTo>
                <a:lnTo>
                  <a:pt x="716" y="708"/>
                </a:lnTo>
                <a:lnTo>
                  <a:pt x="716" y="694"/>
                </a:lnTo>
                <a:lnTo>
                  <a:pt x="715" y="694"/>
                </a:lnTo>
                <a:lnTo>
                  <a:pt x="714" y="693"/>
                </a:lnTo>
                <a:lnTo>
                  <a:pt x="715" y="694"/>
                </a:lnTo>
                <a:lnTo>
                  <a:pt x="716" y="694"/>
                </a:lnTo>
                <a:lnTo>
                  <a:pt x="716" y="689"/>
                </a:lnTo>
                <a:lnTo>
                  <a:pt x="716" y="684"/>
                </a:lnTo>
                <a:lnTo>
                  <a:pt x="720" y="680"/>
                </a:lnTo>
                <a:lnTo>
                  <a:pt x="722" y="678"/>
                </a:lnTo>
                <a:lnTo>
                  <a:pt x="722" y="684"/>
                </a:lnTo>
                <a:lnTo>
                  <a:pt x="722" y="690"/>
                </a:lnTo>
                <a:lnTo>
                  <a:pt x="721" y="692"/>
                </a:lnTo>
                <a:lnTo>
                  <a:pt x="723" y="696"/>
                </a:lnTo>
                <a:lnTo>
                  <a:pt x="722" y="698"/>
                </a:lnTo>
                <a:lnTo>
                  <a:pt x="721" y="700"/>
                </a:lnTo>
                <a:lnTo>
                  <a:pt x="718" y="705"/>
                </a:lnTo>
                <a:lnTo>
                  <a:pt x="722" y="710"/>
                </a:lnTo>
                <a:lnTo>
                  <a:pt x="723" y="710"/>
                </a:lnTo>
                <a:lnTo>
                  <a:pt x="723" y="708"/>
                </a:lnTo>
                <a:lnTo>
                  <a:pt x="745" y="705"/>
                </a:lnTo>
                <a:lnTo>
                  <a:pt x="765" y="693"/>
                </a:lnTo>
                <a:lnTo>
                  <a:pt x="768" y="690"/>
                </a:lnTo>
                <a:lnTo>
                  <a:pt x="768" y="686"/>
                </a:lnTo>
                <a:lnTo>
                  <a:pt x="772" y="685"/>
                </a:lnTo>
                <a:lnTo>
                  <a:pt x="777" y="683"/>
                </a:lnTo>
                <a:lnTo>
                  <a:pt x="786" y="686"/>
                </a:lnTo>
                <a:lnTo>
                  <a:pt x="794" y="689"/>
                </a:lnTo>
                <a:lnTo>
                  <a:pt x="800" y="691"/>
                </a:lnTo>
                <a:lnTo>
                  <a:pt x="805" y="687"/>
                </a:lnTo>
                <a:lnTo>
                  <a:pt x="806" y="682"/>
                </a:lnTo>
                <a:lnTo>
                  <a:pt x="804" y="676"/>
                </a:lnTo>
                <a:lnTo>
                  <a:pt x="803" y="675"/>
                </a:lnTo>
                <a:lnTo>
                  <a:pt x="803" y="672"/>
                </a:lnTo>
                <a:lnTo>
                  <a:pt x="805" y="665"/>
                </a:lnTo>
                <a:lnTo>
                  <a:pt x="806" y="658"/>
                </a:lnTo>
                <a:lnTo>
                  <a:pt x="808" y="657"/>
                </a:lnTo>
                <a:lnTo>
                  <a:pt x="810" y="658"/>
                </a:lnTo>
                <a:lnTo>
                  <a:pt x="810" y="658"/>
                </a:lnTo>
                <a:lnTo>
                  <a:pt x="810" y="659"/>
                </a:lnTo>
                <a:lnTo>
                  <a:pt x="811" y="668"/>
                </a:lnTo>
                <a:lnTo>
                  <a:pt x="811" y="676"/>
                </a:lnTo>
                <a:lnTo>
                  <a:pt x="811" y="686"/>
                </a:lnTo>
                <a:lnTo>
                  <a:pt x="821" y="685"/>
                </a:lnTo>
                <a:lnTo>
                  <a:pt x="822" y="685"/>
                </a:lnTo>
                <a:lnTo>
                  <a:pt x="824" y="685"/>
                </a:lnTo>
                <a:lnTo>
                  <a:pt x="844" y="682"/>
                </a:lnTo>
                <a:lnTo>
                  <a:pt x="861" y="670"/>
                </a:lnTo>
                <a:lnTo>
                  <a:pt x="867" y="664"/>
                </a:lnTo>
                <a:lnTo>
                  <a:pt x="874" y="659"/>
                </a:lnTo>
                <a:lnTo>
                  <a:pt x="877" y="659"/>
                </a:lnTo>
                <a:lnTo>
                  <a:pt x="881" y="661"/>
                </a:lnTo>
                <a:lnTo>
                  <a:pt x="888" y="664"/>
                </a:lnTo>
                <a:lnTo>
                  <a:pt x="895" y="663"/>
                </a:lnTo>
                <a:lnTo>
                  <a:pt x="897" y="656"/>
                </a:lnTo>
                <a:lnTo>
                  <a:pt x="895" y="649"/>
                </a:lnTo>
                <a:lnTo>
                  <a:pt x="890" y="648"/>
                </a:lnTo>
                <a:lnTo>
                  <a:pt x="886" y="645"/>
                </a:lnTo>
                <a:lnTo>
                  <a:pt x="883" y="648"/>
                </a:lnTo>
                <a:lnTo>
                  <a:pt x="881" y="648"/>
                </a:lnTo>
                <a:lnTo>
                  <a:pt x="875" y="648"/>
                </a:lnTo>
                <a:lnTo>
                  <a:pt x="870" y="651"/>
                </a:lnTo>
                <a:lnTo>
                  <a:pt x="869" y="648"/>
                </a:lnTo>
                <a:lnTo>
                  <a:pt x="872" y="644"/>
                </a:lnTo>
                <a:lnTo>
                  <a:pt x="877" y="642"/>
                </a:lnTo>
                <a:lnTo>
                  <a:pt x="883" y="642"/>
                </a:lnTo>
                <a:lnTo>
                  <a:pt x="884" y="644"/>
                </a:lnTo>
                <a:lnTo>
                  <a:pt x="886" y="645"/>
                </a:lnTo>
                <a:lnTo>
                  <a:pt x="890" y="648"/>
                </a:lnTo>
                <a:lnTo>
                  <a:pt x="895" y="649"/>
                </a:lnTo>
                <a:lnTo>
                  <a:pt x="895" y="647"/>
                </a:lnTo>
                <a:lnTo>
                  <a:pt x="896" y="644"/>
                </a:lnTo>
                <a:lnTo>
                  <a:pt x="897" y="642"/>
                </a:lnTo>
                <a:lnTo>
                  <a:pt x="900" y="640"/>
                </a:lnTo>
                <a:lnTo>
                  <a:pt x="901" y="650"/>
                </a:lnTo>
                <a:lnTo>
                  <a:pt x="900" y="659"/>
                </a:lnTo>
                <a:lnTo>
                  <a:pt x="900" y="663"/>
                </a:lnTo>
                <a:lnTo>
                  <a:pt x="903" y="665"/>
                </a:lnTo>
                <a:lnTo>
                  <a:pt x="909" y="665"/>
                </a:lnTo>
                <a:lnTo>
                  <a:pt x="915" y="663"/>
                </a:lnTo>
                <a:lnTo>
                  <a:pt x="924" y="661"/>
                </a:lnTo>
                <a:lnTo>
                  <a:pt x="934" y="659"/>
                </a:lnTo>
                <a:lnTo>
                  <a:pt x="944" y="657"/>
                </a:lnTo>
                <a:lnTo>
                  <a:pt x="951" y="649"/>
                </a:lnTo>
                <a:lnTo>
                  <a:pt x="955" y="642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lnTo>
                  <a:pt x="956" y="638"/>
                </a:lnTo>
                <a:lnTo>
                  <a:pt x="960" y="640"/>
                </a:lnTo>
                <a:lnTo>
                  <a:pt x="965" y="638"/>
                </a:lnTo>
                <a:lnTo>
                  <a:pt x="969" y="637"/>
                </a:lnTo>
                <a:lnTo>
                  <a:pt x="973" y="637"/>
                </a:lnTo>
                <a:lnTo>
                  <a:pt x="977" y="640"/>
                </a:lnTo>
                <a:lnTo>
                  <a:pt x="977" y="643"/>
                </a:lnTo>
                <a:lnTo>
                  <a:pt x="974" y="645"/>
                </a:lnTo>
                <a:lnTo>
                  <a:pt x="963" y="647"/>
                </a:lnTo>
                <a:lnTo>
                  <a:pt x="955" y="654"/>
                </a:lnTo>
                <a:lnTo>
                  <a:pt x="942" y="665"/>
                </a:lnTo>
                <a:lnTo>
                  <a:pt x="925" y="669"/>
                </a:lnTo>
                <a:lnTo>
                  <a:pt x="909" y="673"/>
                </a:lnTo>
                <a:lnTo>
                  <a:pt x="893" y="678"/>
                </a:lnTo>
                <a:lnTo>
                  <a:pt x="888" y="677"/>
                </a:lnTo>
                <a:lnTo>
                  <a:pt x="884" y="677"/>
                </a:lnTo>
                <a:lnTo>
                  <a:pt x="883" y="676"/>
                </a:lnTo>
                <a:lnTo>
                  <a:pt x="881" y="675"/>
                </a:lnTo>
                <a:lnTo>
                  <a:pt x="874" y="673"/>
                </a:lnTo>
                <a:lnTo>
                  <a:pt x="867" y="678"/>
                </a:lnTo>
                <a:lnTo>
                  <a:pt x="860" y="684"/>
                </a:lnTo>
                <a:lnTo>
                  <a:pt x="852" y="687"/>
                </a:lnTo>
                <a:lnTo>
                  <a:pt x="824" y="694"/>
                </a:lnTo>
                <a:lnTo>
                  <a:pt x="796" y="700"/>
                </a:lnTo>
                <a:lnTo>
                  <a:pt x="792" y="700"/>
                </a:lnTo>
                <a:lnTo>
                  <a:pt x="790" y="700"/>
                </a:lnTo>
                <a:lnTo>
                  <a:pt x="777" y="698"/>
                </a:lnTo>
                <a:lnTo>
                  <a:pt x="765" y="705"/>
                </a:lnTo>
                <a:lnTo>
                  <a:pt x="757" y="711"/>
                </a:lnTo>
                <a:lnTo>
                  <a:pt x="748" y="713"/>
                </a:lnTo>
                <a:lnTo>
                  <a:pt x="724" y="719"/>
                </a:lnTo>
                <a:lnTo>
                  <a:pt x="701" y="725"/>
                </a:lnTo>
                <a:lnTo>
                  <a:pt x="693" y="725"/>
                </a:lnTo>
                <a:lnTo>
                  <a:pt x="686" y="724"/>
                </a:lnTo>
                <a:lnTo>
                  <a:pt x="679" y="721"/>
                </a:lnTo>
                <a:lnTo>
                  <a:pt x="673" y="726"/>
                </a:lnTo>
                <a:lnTo>
                  <a:pt x="661" y="734"/>
                </a:lnTo>
                <a:lnTo>
                  <a:pt x="647" y="738"/>
                </a:lnTo>
                <a:lnTo>
                  <a:pt x="623" y="745"/>
                </a:lnTo>
                <a:lnTo>
                  <a:pt x="599" y="749"/>
                </a:lnTo>
                <a:lnTo>
                  <a:pt x="593" y="748"/>
                </a:lnTo>
                <a:lnTo>
                  <a:pt x="589" y="746"/>
                </a:lnTo>
                <a:lnTo>
                  <a:pt x="583" y="745"/>
                </a:lnTo>
                <a:lnTo>
                  <a:pt x="577" y="748"/>
                </a:lnTo>
                <a:lnTo>
                  <a:pt x="561" y="759"/>
                </a:lnTo>
                <a:lnTo>
                  <a:pt x="542" y="764"/>
                </a:lnTo>
                <a:lnTo>
                  <a:pt x="528" y="768"/>
                </a:lnTo>
                <a:lnTo>
                  <a:pt x="514" y="770"/>
                </a:lnTo>
                <a:lnTo>
                  <a:pt x="503" y="773"/>
                </a:lnTo>
                <a:lnTo>
                  <a:pt x="492" y="770"/>
                </a:lnTo>
                <a:lnTo>
                  <a:pt x="486" y="769"/>
                </a:lnTo>
                <a:lnTo>
                  <a:pt x="481" y="773"/>
                </a:lnTo>
                <a:lnTo>
                  <a:pt x="468" y="781"/>
                </a:lnTo>
                <a:lnTo>
                  <a:pt x="454" y="785"/>
                </a:lnTo>
                <a:lnTo>
                  <a:pt x="440" y="789"/>
                </a:lnTo>
                <a:lnTo>
                  <a:pt x="426" y="791"/>
                </a:lnTo>
                <a:lnTo>
                  <a:pt x="424" y="792"/>
                </a:lnTo>
                <a:lnTo>
                  <a:pt x="423" y="794"/>
                </a:lnTo>
                <a:lnTo>
                  <a:pt x="424" y="797"/>
                </a:lnTo>
                <a:lnTo>
                  <a:pt x="425" y="798"/>
                </a:lnTo>
                <a:lnTo>
                  <a:pt x="431" y="798"/>
                </a:lnTo>
                <a:lnTo>
                  <a:pt x="438" y="798"/>
                </a:lnTo>
                <a:lnTo>
                  <a:pt x="440" y="797"/>
                </a:lnTo>
                <a:lnTo>
                  <a:pt x="440" y="803"/>
                </a:lnTo>
                <a:lnTo>
                  <a:pt x="438" y="803"/>
                </a:lnTo>
                <a:lnTo>
                  <a:pt x="435" y="805"/>
                </a:lnTo>
                <a:lnTo>
                  <a:pt x="432" y="801"/>
                </a:lnTo>
                <a:lnTo>
                  <a:pt x="428" y="801"/>
                </a:lnTo>
                <a:lnTo>
                  <a:pt x="424" y="804"/>
                </a:lnTo>
                <a:lnTo>
                  <a:pt x="420" y="810"/>
                </a:lnTo>
                <a:lnTo>
                  <a:pt x="419" y="813"/>
                </a:lnTo>
                <a:lnTo>
                  <a:pt x="419" y="817"/>
                </a:lnTo>
                <a:lnTo>
                  <a:pt x="419" y="819"/>
                </a:lnTo>
                <a:lnTo>
                  <a:pt x="417" y="820"/>
                </a:lnTo>
                <a:lnTo>
                  <a:pt x="416" y="819"/>
                </a:lnTo>
                <a:lnTo>
                  <a:pt x="416" y="817"/>
                </a:lnTo>
                <a:lnTo>
                  <a:pt x="412" y="816"/>
                </a:lnTo>
                <a:lnTo>
                  <a:pt x="409" y="817"/>
                </a:lnTo>
                <a:lnTo>
                  <a:pt x="407" y="817"/>
                </a:lnTo>
                <a:lnTo>
                  <a:pt x="406" y="816"/>
                </a:lnTo>
                <a:lnTo>
                  <a:pt x="404" y="806"/>
                </a:lnTo>
                <a:lnTo>
                  <a:pt x="397" y="802"/>
                </a:lnTo>
                <a:lnTo>
                  <a:pt x="397" y="801"/>
                </a:lnTo>
                <a:lnTo>
                  <a:pt x="398" y="799"/>
                </a:lnTo>
                <a:lnTo>
                  <a:pt x="398" y="799"/>
                </a:lnTo>
                <a:lnTo>
                  <a:pt x="398" y="798"/>
                </a:lnTo>
                <a:lnTo>
                  <a:pt x="398" y="799"/>
                </a:lnTo>
                <a:lnTo>
                  <a:pt x="398" y="799"/>
                </a:lnTo>
                <a:lnTo>
                  <a:pt x="403" y="801"/>
                </a:lnTo>
                <a:lnTo>
                  <a:pt x="407" y="798"/>
                </a:lnTo>
                <a:lnTo>
                  <a:pt x="400" y="795"/>
                </a:lnTo>
                <a:lnTo>
                  <a:pt x="394" y="792"/>
                </a:lnTo>
                <a:lnTo>
                  <a:pt x="391" y="792"/>
                </a:lnTo>
                <a:lnTo>
                  <a:pt x="389" y="794"/>
                </a:lnTo>
                <a:lnTo>
                  <a:pt x="370" y="806"/>
                </a:lnTo>
                <a:lnTo>
                  <a:pt x="348" y="812"/>
                </a:lnTo>
                <a:lnTo>
                  <a:pt x="340" y="813"/>
                </a:lnTo>
                <a:lnTo>
                  <a:pt x="331" y="816"/>
                </a:lnTo>
                <a:lnTo>
                  <a:pt x="318" y="816"/>
                </a:lnTo>
                <a:lnTo>
                  <a:pt x="307" y="812"/>
                </a:lnTo>
                <a:lnTo>
                  <a:pt x="295" y="812"/>
                </a:lnTo>
                <a:lnTo>
                  <a:pt x="285" y="819"/>
                </a:lnTo>
                <a:lnTo>
                  <a:pt x="285" y="812"/>
                </a:lnTo>
                <a:lnTo>
                  <a:pt x="281" y="806"/>
                </a:lnTo>
                <a:lnTo>
                  <a:pt x="282" y="806"/>
                </a:lnTo>
                <a:lnTo>
                  <a:pt x="282" y="805"/>
                </a:lnTo>
                <a:lnTo>
                  <a:pt x="281" y="803"/>
                </a:lnTo>
                <a:lnTo>
                  <a:pt x="280" y="802"/>
                </a:lnTo>
                <a:lnTo>
                  <a:pt x="281" y="803"/>
                </a:lnTo>
                <a:lnTo>
                  <a:pt x="282" y="805"/>
                </a:lnTo>
                <a:close/>
                <a:moveTo>
                  <a:pt x="956" y="634"/>
                </a:moveTo>
                <a:lnTo>
                  <a:pt x="956" y="633"/>
                </a:lnTo>
                <a:lnTo>
                  <a:pt x="956" y="633"/>
                </a:lnTo>
                <a:lnTo>
                  <a:pt x="956" y="630"/>
                </a:lnTo>
                <a:lnTo>
                  <a:pt x="957" y="628"/>
                </a:lnTo>
                <a:lnTo>
                  <a:pt x="955" y="623"/>
                </a:lnTo>
                <a:lnTo>
                  <a:pt x="955" y="620"/>
                </a:lnTo>
                <a:lnTo>
                  <a:pt x="955" y="623"/>
                </a:lnTo>
                <a:lnTo>
                  <a:pt x="957" y="628"/>
                </a:lnTo>
                <a:lnTo>
                  <a:pt x="960" y="628"/>
                </a:lnTo>
                <a:lnTo>
                  <a:pt x="964" y="628"/>
                </a:lnTo>
                <a:lnTo>
                  <a:pt x="967" y="627"/>
                </a:lnTo>
                <a:lnTo>
                  <a:pt x="970" y="624"/>
                </a:lnTo>
                <a:lnTo>
                  <a:pt x="967" y="622"/>
                </a:lnTo>
                <a:lnTo>
                  <a:pt x="965" y="623"/>
                </a:lnTo>
                <a:lnTo>
                  <a:pt x="963" y="623"/>
                </a:lnTo>
                <a:lnTo>
                  <a:pt x="962" y="622"/>
                </a:lnTo>
                <a:lnTo>
                  <a:pt x="962" y="620"/>
                </a:lnTo>
                <a:lnTo>
                  <a:pt x="964" y="619"/>
                </a:lnTo>
                <a:lnTo>
                  <a:pt x="967" y="617"/>
                </a:lnTo>
                <a:lnTo>
                  <a:pt x="971" y="617"/>
                </a:lnTo>
                <a:lnTo>
                  <a:pt x="972" y="622"/>
                </a:lnTo>
                <a:lnTo>
                  <a:pt x="977" y="623"/>
                </a:lnTo>
                <a:lnTo>
                  <a:pt x="980" y="626"/>
                </a:lnTo>
                <a:lnTo>
                  <a:pt x="982" y="630"/>
                </a:lnTo>
                <a:lnTo>
                  <a:pt x="978" y="631"/>
                </a:lnTo>
                <a:lnTo>
                  <a:pt x="976" y="629"/>
                </a:lnTo>
                <a:lnTo>
                  <a:pt x="971" y="628"/>
                </a:lnTo>
                <a:lnTo>
                  <a:pt x="966" y="629"/>
                </a:lnTo>
                <a:lnTo>
                  <a:pt x="960" y="630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close/>
                <a:moveTo>
                  <a:pt x="282" y="775"/>
                </a:moveTo>
                <a:lnTo>
                  <a:pt x="287" y="766"/>
                </a:lnTo>
                <a:lnTo>
                  <a:pt x="289" y="755"/>
                </a:lnTo>
                <a:lnTo>
                  <a:pt x="289" y="755"/>
                </a:lnTo>
                <a:lnTo>
                  <a:pt x="288" y="755"/>
                </a:lnTo>
                <a:lnTo>
                  <a:pt x="289" y="755"/>
                </a:lnTo>
                <a:lnTo>
                  <a:pt x="289" y="755"/>
                </a:lnTo>
                <a:lnTo>
                  <a:pt x="295" y="752"/>
                </a:lnTo>
                <a:lnTo>
                  <a:pt x="301" y="752"/>
                </a:lnTo>
                <a:lnTo>
                  <a:pt x="302" y="754"/>
                </a:lnTo>
                <a:lnTo>
                  <a:pt x="304" y="755"/>
                </a:lnTo>
                <a:lnTo>
                  <a:pt x="307" y="755"/>
                </a:lnTo>
                <a:lnTo>
                  <a:pt x="308" y="753"/>
                </a:lnTo>
                <a:lnTo>
                  <a:pt x="307" y="749"/>
                </a:lnTo>
                <a:lnTo>
                  <a:pt x="303" y="748"/>
                </a:lnTo>
                <a:lnTo>
                  <a:pt x="308" y="746"/>
                </a:lnTo>
                <a:lnTo>
                  <a:pt x="310" y="745"/>
                </a:lnTo>
                <a:lnTo>
                  <a:pt x="313" y="754"/>
                </a:lnTo>
                <a:lnTo>
                  <a:pt x="320" y="760"/>
                </a:lnTo>
                <a:lnTo>
                  <a:pt x="321" y="762"/>
                </a:lnTo>
                <a:lnTo>
                  <a:pt x="323" y="763"/>
                </a:lnTo>
                <a:lnTo>
                  <a:pt x="328" y="768"/>
                </a:lnTo>
                <a:lnTo>
                  <a:pt x="323" y="771"/>
                </a:lnTo>
                <a:lnTo>
                  <a:pt x="323" y="773"/>
                </a:lnTo>
                <a:lnTo>
                  <a:pt x="323" y="774"/>
                </a:lnTo>
                <a:lnTo>
                  <a:pt x="323" y="773"/>
                </a:lnTo>
                <a:lnTo>
                  <a:pt x="323" y="771"/>
                </a:lnTo>
                <a:lnTo>
                  <a:pt x="316" y="769"/>
                </a:lnTo>
                <a:lnTo>
                  <a:pt x="309" y="767"/>
                </a:lnTo>
                <a:lnTo>
                  <a:pt x="295" y="771"/>
                </a:lnTo>
                <a:lnTo>
                  <a:pt x="287" y="784"/>
                </a:lnTo>
                <a:lnTo>
                  <a:pt x="286" y="780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close/>
                <a:moveTo>
                  <a:pt x="328" y="741"/>
                </a:moveTo>
                <a:lnTo>
                  <a:pt x="329" y="742"/>
                </a:lnTo>
                <a:lnTo>
                  <a:pt x="329" y="743"/>
                </a:lnTo>
                <a:lnTo>
                  <a:pt x="329" y="742"/>
                </a:lnTo>
                <a:lnTo>
                  <a:pt x="328" y="741"/>
                </a:lnTo>
                <a:close/>
                <a:moveTo>
                  <a:pt x="318" y="754"/>
                </a:moveTo>
                <a:lnTo>
                  <a:pt x="324" y="752"/>
                </a:lnTo>
                <a:lnTo>
                  <a:pt x="331" y="755"/>
                </a:lnTo>
                <a:lnTo>
                  <a:pt x="327" y="760"/>
                </a:lnTo>
                <a:lnTo>
                  <a:pt x="320" y="760"/>
                </a:lnTo>
                <a:lnTo>
                  <a:pt x="320" y="756"/>
                </a:lnTo>
                <a:lnTo>
                  <a:pt x="318" y="754"/>
                </a:lnTo>
                <a:close/>
                <a:moveTo>
                  <a:pt x="406" y="764"/>
                </a:moveTo>
                <a:lnTo>
                  <a:pt x="406" y="767"/>
                </a:lnTo>
                <a:lnTo>
                  <a:pt x="406" y="769"/>
                </a:lnTo>
                <a:lnTo>
                  <a:pt x="401" y="766"/>
                </a:lnTo>
                <a:lnTo>
                  <a:pt x="397" y="767"/>
                </a:lnTo>
                <a:lnTo>
                  <a:pt x="394" y="764"/>
                </a:lnTo>
                <a:lnTo>
                  <a:pt x="396" y="762"/>
                </a:lnTo>
                <a:lnTo>
                  <a:pt x="399" y="760"/>
                </a:lnTo>
                <a:lnTo>
                  <a:pt x="404" y="760"/>
                </a:lnTo>
                <a:lnTo>
                  <a:pt x="406" y="761"/>
                </a:lnTo>
                <a:lnTo>
                  <a:pt x="406" y="764"/>
                </a:lnTo>
                <a:close/>
                <a:moveTo>
                  <a:pt x="313" y="713"/>
                </a:moveTo>
                <a:lnTo>
                  <a:pt x="308" y="711"/>
                </a:lnTo>
                <a:lnTo>
                  <a:pt x="309" y="705"/>
                </a:lnTo>
                <a:lnTo>
                  <a:pt x="320" y="704"/>
                </a:lnTo>
                <a:lnTo>
                  <a:pt x="330" y="703"/>
                </a:lnTo>
                <a:lnTo>
                  <a:pt x="336" y="700"/>
                </a:lnTo>
                <a:lnTo>
                  <a:pt x="345" y="698"/>
                </a:lnTo>
                <a:lnTo>
                  <a:pt x="345" y="698"/>
                </a:lnTo>
                <a:lnTo>
                  <a:pt x="345" y="697"/>
                </a:lnTo>
                <a:lnTo>
                  <a:pt x="345" y="698"/>
                </a:lnTo>
                <a:lnTo>
                  <a:pt x="345" y="698"/>
                </a:lnTo>
                <a:lnTo>
                  <a:pt x="349" y="700"/>
                </a:lnTo>
                <a:lnTo>
                  <a:pt x="351" y="696"/>
                </a:lnTo>
                <a:lnTo>
                  <a:pt x="354" y="696"/>
                </a:lnTo>
                <a:lnTo>
                  <a:pt x="355" y="694"/>
                </a:lnTo>
                <a:lnTo>
                  <a:pt x="355" y="693"/>
                </a:lnTo>
                <a:lnTo>
                  <a:pt x="354" y="693"/>
                </a:lnTo>
                <a:lnTo>
                  <a:pt x="355" y="693"/>
                </a:lnTo>
                <a:lnTo>
                  <a:pt x="355" y="694"/>
                </a:lnTo>
                <a:lnTo>
                  <a:pt x="357" y="694"/>
                </a:lnTo>
                <a:lnTo>
                  <a:pt x="358" y="693"/>
                </a:lnTo>
                <a:lnTo>
                  <a:pt x="359" y="693"/>
                </a:lnTo>
                <a:lnTo>
                  <a:pt x="361" y="693"/>
                </a:lnTo>
                <a:lnTo>
                  <a:pt x="364" y="693"/>
                </a:lnTo>
                <a:lnTo>
                  <a:pt x="368" y="693"/>
                </a:lnTo>
                <a:lnTo>
                  <a:pt x="371" y="693"/>
                </a:lnTo>
                <a:lnTo>
                  <a:pt x="371" y="691"/>
                </a:lnTo>
                <a:lnTo>
                  <a:pt x="379" y="689"/>
                </a:lnTo>
                <a:lnTo>
                  <a:pt x="387" y="686"/>
                </a:lnTo>
                <a:lnTo>
                  <a:pt x="387" y="685"/>
                </a:lnTo>
                <a:lnTo>
                  <a:pt x="387" y="684"/>
                </a:lnTo>
                <a:lnTo>
                  <a:pt x="387" y="685"/>
                </a:lnTo>
                <a:lnTo>
                  <a:pt x="387" y="686"/>
                </a:lnTo>
                <a:lnTo>
                  <a:pt x="389" y="687"/>
                </a:lnTo>
                <a:lnTo>
                  <a:pt x="390" y="689"/>
                </a:lnTo>
                <a:lnTo>
                  <a:pt x="405" y="684"/>
                </a:lnTo>
                <a:lnTo>
                  <a:pt x="420" y="679"/>
                </a:lnTo>
                <a:lnTo>
                  <a:pt x="420" y="679"/>
                </a:lnTo>
                <a:lnTo>
                  <a:pt x="425" y="678"/>
                </a:lnTo>
                <a:lnTo>
                  <a:pt x="430" y="678"/>
                </a:lnTo>
                <a:lnTo>
                  <a:pt x="430" y="682"/>
                </a:lnTo>
                <a:lnTo>
                  <a:pt x="427" y="685"/>
                </a:lnTo>
                <a:lnTo>
                  <a:pt x="427" y="685"/>
                </a:lnTo>
                <a:lnTo>
                  <a:pt x="420" y="686"/>
                </a:lnTo>
                <a:lnTo>
                  <a:pt x="416" y="690"/>
                </a:lnTo>
                <a:lnTo>
                  <a:pt x="416" y="685"/>
                </a:lnTo>
                <a:lnTo>
                  <a:pt x="412" y="686"/>
                </a:lnTo>
                <a:lnTo>
                  <a:pt x="400" y="692"/>
                </a:lnTo>
                <a:lnTo>
                  <a:pt x="387" y="694"/>
                </a:lnTo>
                <a:lnTo>
                  <a:pt x="382" y="697"/>
                </a:lnTo>
                <a:lnTo>
                  <a:pt x="377" y="700"/>
                </a:lnTo>
                <a:lnTo>
                  <a:pt x="377" y="703"/>
                </a:lnTo>
                <a:lnTo>
                  <a:pt x="377" y="704"/>
                </a:lnTo>
                <a:lnTo>
                  <a:pt x="377" y="703"/>
                </a:lnTo>
                <a:lnTo>
                  <a:pt x="377" y="700"/>
                </a:lnTo>
                <a:lnTo>
                  <a:pt x="375" y="700"/>
                </a:lnTo>
                <a:lnTo>
                  <a:pt x="372" y="700"/>
                </a:lnTo>
                <a:lnTo>
                  <a:pt x="356" y="704"/>
                </a:lnTo>
                <a:lnTo>
                  <a:pt x="338" y="706"/>
                </a:lnTo>
                <a:lnTo>
                  <a:pt x="343" y="710"/>
                </a:lnTo>
                <a:lnTo>
                  <a:pt x="344" y="715"/>
                </a:lnTo>
                <a:lnTo>
                  <a:pt x="341" y="715"/>
                </a:lnTo>
                <a:lnTo>
                  <a:pt x="338" y="719"/>
                </a:lnTo>
                <a:lnTo>
                  <a:pt x="340" y="719"/>
                </a:lnTo>
                <a:lnTo>
                  <a:pt x="341" y="719"/>
                </a:lnTo>
                <a:lnTo>
                  <a:pt x="340" y="719"/>
                </a:lnTo>
                <a:lnTo>
                  <a:pt x="338" y="719"/>
                </a:lnTo>
                <a:lnTo>
                  <a:pt x="337" y="719"/>
                </a:lnTo>
                <a:lnTo>
                  <a:pt x="337" y="719"/>
                </a:lnTo>
                <a:lnTo>
                  <a:pt x="324" y="715"/>
                </a:lnTo>
                <a:lnTo>
                  <a:pt x="313" y="713"/>
                </a:lnTo>
                <a:close/>
                <a:moveTo>
                  <a:pt x="311" y="696"/>
                </a:moveTo>
                <a:lnTo>
                  <a:pt x="313" y="697"/>
                </a:lnTo>
                <a:lnTo>
                  <a:pt x="314" y="698"/>
                </a:lnTo>
                <a:lnTo>
                  <a:pt x="313" y="700"/>
                </a:lnTo>
                <a:lnTo>
                  <a:pt x="310" y="701"/>
                </a:lnTo>
                <a:lnTo>
                  <a:pt x="309" y="700"/>
                </a:lnTo>
                <a:lnTo>
                  <a:pt x="309" y="699"/>
                </a:lnTo>
                <a:lnTo>
                  <a:pt x="309" y="697"/>
                </a:lnTo>
                <a:lnTo>
                  <a:pt x="311" y="696"/>
                </a:lnTo>
                <a:close/>
                <a:moveTo>
                  <a:pt x="435" y="771"/>
                </a:moveTo>
                <a:lnTo>
                  <a:pt x="435" y="769"/>
                </a:lnTo>
                <a:lnTo>
                  <a:pt x="435" y="768"/>
                </a:lnTo>
                <a:lnTo>
                  <a:pt x="435" y="769"/>
                </a:lnTo>
                <a:lnTo>
                  <a:pt x="435" y="771"/>
                </a:lnTo>
                <a:close/>
                <a:moveTo>
                  <a:pt x="439" y="701"/>
                </a:moveTo>
                <a:lnTo>
                  <a:pt x="440" y="701"/>
                </a:lnTo>
                <a:lnTo>
                  <a:pt x="440" y="703"/>
                </a:lnTo>
                <a:lnTo>
                  <a:pt x="440" y="704"/>
                </a:lnTo>
                <a:lnTo>
                  <a:pt x="440" y="705"/>
                </a:lnTo>
                <a:lnTo>
                  <a:pt x="440" y="704"/>
                </a:lnTo>
                <a:lnTo>
                  <a:pt x="440" y="703"/>
                </a:lnTo>
                <a:lnTo>
                  <a:pt x="440" y="701"/>
                </a:lnTo>
                <a:lnTo>
                  <a:pt x="439" y="701"/>
                </a:lnTo>
                <a:close/>
                <a:moveTo>
                  <a:pt x="449" y="752"/>
                </a:moveTo>
                <a:lnTo>
                  <a:pt x="449" y="752"/>
                </a:lnTo>
                <a:lnTo>
                  <a:pt x="448" y="752"/>
                </a:lnTo>
                <a:lnTo>
                  <a:pt x="449" y="752"/>
                </a:lnTo>
                <a:lnTo>
                  <a:pt x="449" y="752"/>
                </a:lnTo>
                <a:close/>
                <a:moveTo>
                  <a:pt x="451" y="678"/>
                </a:moveTo>
                <a:lnTo>
                  <a:pt x="441" y="680"/>
                </a:lnTo>
                <a:lnTo>
                  <a:pt x="435" y="675"/>
                </a:lnTo>
                <a:lnTo>
                  <a:pt x="444" y="675"/>
                </a:lnTo>
                <a:lnTo>
                  <a:pt x="451" y="678"/>
                </a:lnTo>
                <a:close/>
                <a:moveTo>
                  <a:pt x="455" y="690"/>
                </a:moveTo>
                <a:lnTo>
                  <a:pt x="454" y="692"/>
                </a:lnTo>
                <a:lnTo>
                  <a:pt x="452" y="693"/>
                </a:lnTo>
                <a:lnTo>
                  <a:pt x="454" y="692"/>
                </a:lnTo>
                <a:lnTo>
                  <a:pt x="455" y="690"/>
                </a:lnTo>
                <a:close/>
                <a:moveTo>
                  <a:pt x="458" y="712"/>
                </a:moveTo>
                <a:lnTo>
                  <a:pt x="458" y="712"/>
                </a:lnTo>
                <a:lnTo>
                  <a:pt x="458" y="712"/>
                </a:lnTo>
                <a:lnTo>
                  <a:pt x="456" y="712"/>
                </a:lnTo>
                <a:lnTo>
                  <a:pt x="456" y="712"/>
                </a:lnTo>
                <a:lnTo>
                  <a:pt x="456" y="712"/>
                </a:lnTo>
                <a:lnTo>
                  <a:pt x="458" y="712"/>
                </a:lnTo>
                <a:lnTo>
                  <a:pt x="458" y="712"/>
                </a:lnTo>
                <a:lnTo>
                  <a:pt x="458" y="712"/>
                </a:lnTo>
                <a:close/>
                <a:moveTo>
                  <a:pt x="455" y="690"/>
                </a:moveTo>
                <a:lnTo>
                  <a:pt x="456" y="690"/>
                </a:lnTo>
                <a:lnTo>
                  <a:pt x="458" y="690"/>
                </a:lnTo>
                <a:lnTo>
                  <a:pt x="456" y="690"/>
                </a:lnTo>
                <a:lnTo>
                  <a:pt x="455" y="690"/>
                </a:lnTo>
                <a:lnTo>
                  <a:pt x="455" y="690"/>
                </a:lnTo>
                <a:close/>
                <a:moveTo>
                  <a:pt x="466" y="708"/>
                </a:moveTo>
                <a:lnTo>
                  <a:pt x="466" y="701"/>
                </a:lnTo>
                <a:lnTo>
                  <a:pt x="466" y="693"/>
                </a:lnTo>
                <a:lnTo>
                  <a:pt x="466" y="701"/>
                </a:lnTo>
                <a:lnTo>
                  <a:pt x="466" y="708"/>
                </a:lnTo>
                <a:close/>
                <a:moveTo>
                  <a:pt x="461" y="651"/>
                </a:moveTo>
                <a:lnTo>
                  <a:pt x="463" y="652"/>
                </a:lnTo>
                <a:lnTo>
                  <a:pt x="465" y="654"/>
                </a:lnTo>
                <a:lnTo>
                  <a:pt x="466" y="652"/>
                </a:lnTo>
                <a:lnTo>
                  <a:pt x="467" y="652"/>
                </a:lnTo>
                <a:lnTo>
                  <a:pt x="472" y="652"/>
                </a:lnTo>
                <a:lnTo>
                  <a:pt x="474" y="655"/>
                </a:lnTo>
                <a:lnTo>
                  <a:pt x="474" y="657"/>
                </a:lnTo>
                <a:lnTo>
                  <a:pt x="475" y="659"/>
                </a:lnTo>
                <a:lnTo>
                  <a:pt x="474" y="657"/>
                </a:lnTo>
                <a:lnTo>
                  <a:pt x="474" y="655"/>
                </a:lnTo>
                <a:lnTo>
                  <a:pt x="472" y="656"/>
                </a:lnTo>
                <a:lnTo>
                  <a:pt x="468" y="658"/>
                </a:lnTo>
                <a:lnTo>
                  <a:pt x="465" y="658"/>
                </a:lnTo>
                <a:lnTo>
                  <a:pt x="462" y="657"/>
                </a:lnTo>
                <a:lnTo>
                  <a:pt x="462" y="657"/>
                </a:lnTo>
                <a:lnTo>
                  <a:pt x="462" y="658"/>
                </a:lnTo>
                <a:lnTo>
                  <a:pt x="461" y="658"/>
                </a:lnTo>
                <a:lnTo>
                  <a:pt x="462" y="658"/>
                </a:lnTo>
                <a:lnTo>
                  <a:pt x="462" y="657"/>
                </a:lnTo>
                <a:lnTo>
                  <a:pt x="463" y="656"/>
                </a:lnTo>
                <a:lnTo>
                  <a:pt x="465" y="654"/>
                </a:lnTo>
                <a:lnTo>
                  <a:pt x="463" y="652"/>
                </a:lnTo>
                <a:lnTo>
                  <a:pt x="461" y="651"/>
                </a:lnTo>
                <a:close/>
                <a:moveTo>
                  <a:pt x="478" y="713"/>
                </a:moveTo>
                <a:lnTo>
                  <a:pt x="476" y="713"/>
                </a:lnTo>
                <a:lnTo>
                  <a:pt x="474" y="714"/>
                </a:lnTo>
                <a:lnTo>
                  <a:pt x="476" y="713"/>
                </a:lnTo>
                <a:lnTo>
                  <a:pt x="478" y="713"/>
                </a:lnTo>
                <a:close/>
                <a:moveTo>
                  <a:pt x="483" y="643"/>
                </a:moveTo>
                <a:lnTo>
                  <a:pt x="485" y="644"/>
                </a:lnTo>
                <a:lnTo>
                  <a:pt x="485" y="647"/>
                </a:lnTo>
                <a:lnTo>
                  <a:pt x="485" y="647"/>
                </a:lnTo>
                <a:lnTo>
                  <a:pt x="482" y="648"/>
                </a:lnTo>
                <a:lnTo>
                  <a:pt x="481" y="649"/>
                </a:lnTo>
                <a:lnTo>
                  <a:pt x="478" y="649"/>
                </a:lnTo>
                <a:lnTo>
                  <a:pt x="475" y="648"/>
                </a:lnTo>
                <a:lnTo>
                  <a:pt x="479" y="644"/>
                </a:lnTo>
                <a:lnTo>
                  <a:pt x="483" y="643"/>
                </a:lnTo>
                <a:close/>
                <a:moveTo>
                  <a:pt x="487" y="648"/>
                </a:moveTo>
                <a:lnTo>
                  <a:pt x="492" y="647"/>
                </a:lnTo>
                <a:lnTo>
                  <a:pt x="496" y="645"/>
                </a:lnTo>
                <a:lnTo>
                  <a:pt x="494" y="650"/>
                </a:lnTo>
                <a:lnTo>
                  <a:pt x="492" y="655"/>
                </a:lnTo>
                <a:lnTo>
                  <a:pt x="492" y="656"/>
                </a:lnTo>
                <a:lnTo>
                  <a:pt x="493" y="657"/>
                </a:lnTo>
                <a:lnTo>
                  <a:pt x="492" y="656"/>
                </a:lnTo>
                <a:lnTo>
                  <a:pt x="492" y="655"/>
                </a:lnTo>
                <a:lnTo>
                  <a:pt x="487" y="652"/>
                </a:lnTo>
                <a:lnTo>
                  <a:pt x="487" y="648"/>
                </a:lnTo>
                <a:close/>
                <a:moveTo>
                  <a:pt x="502" y="693"/>
                </a:moveTo>
                <a:lnTo>
                  <a:pt x="500" y="693"/>
                </a:lnTo>
                <a:lnTo>
                  <a:pt x="499" y="691"/>
                </a:lnTo>
                <a:lnTo>
                  <a:pt x="500" y="689"/>
                </a:lnTo>
                <a:lnTo>
                  <a:pt x="503" y="687"/>
                </a:lnTo>
                <a:lnTo>
                  <a:pt x="506" y="689"/>
                </a:lnTo>
                <a:lnTo>
                  <a:pt x="507" y="690"/>
                </a:lnTo>
                <a:lnTo>
                  <a:pt x="504" y="693"/>
                </a:lnTo>
                <a:lnTo>
                  <a:pt x="502" y="693"/>
                </a:lnTo>
                <a:close/>
                <a:moveTo>
                  <a:pt x="479" y="741"/>
                </a:moveTo>
                <a:lnTo>
                  <a:pt x="483" y="741"/>
                </a:lnTo>
                <a:lnTo>
                  <a:pt x="488" y="741"/>
                </a:lnTo>
                <a:lnTo>
                  <a:pt x="493" y="738"/>
                </a:lnTo>
                <a:lnTo>
                  <a:pt x="499" y="735"/>
                </a:lnTo>
                <a:lnTo>
                  <a:pt x="502" y="739"/>
                </a:lnTo>
                <a:lnTo>
                  <a:pt x="501" y="742"/>
                </a:lnTo>
                <a:lnTo>
                  <a:pt x="500" y="743"/>
                </a:lnTo>
                <a:lnTo>
                  <a:pt x="496" y="743"/>
                </a:lnTo>
                <a:lnTo>
                  <a:pt x="493" y="745"/>
                </a:lnTo>
                <a:lnTo>
                  <a:pt x="488" y="745"/>
                </a:lnTo>
                <a:lnTo>
                  <a:pt x="487" y="743"/>
                </a:lnTo>
                <a:lnTo>
                  <a:pt x="488" y="741"/>
                </a:lnTo>
                <a:lnTo>
                  <a:pt x="483" y="741"/>
                </a:lnTo>
                <a:lnTo>
                  <a:pt x="479" y="741"/>
                </a:lnTo>
                <a:close/>
                <a:moveTo>
                  <a:pt x="501" y="661"/>
                </a:moveTo>
                <a:lnTo>
                  <a:pt x="503" y="658"/>
                </a:lnTo>
                <a:lnTo>
                  <a:pt x="507" y="658"/>
                </a:lnTo>
                <a:lnTo>
                  <a:pt x="509" y="658"/>
                </a:lnTo>
                <a:lnTo>
                  <a:pt x="513" y="657"/>
                </a:lnTo>
                <a:lnTo>
                  <a:pt x="509" y="658"/>
                </a:lnTo>
                <a:lnTo>
                  <a:pt x="507" y="658"/>
                </a:lnTo>
                <a:lnTo>
                  <a:pt x="510" y="659"/>
                </a:lnTo>
                <a:lnTo>
                  <a:pt x="511" y="661"/>
                </a:lnTo>
                <a:lnTo>
                  <a:pt x="509" y="663"/>
                </a:lnTo>
                <a:lnTo>
                  <a:pt x="507" y="664"/>
                </a:lnTo>
                <a:lnTo>
                  <a:pt x="504" y="664"/>
                </a:lnTo>
                <a:lnTo>
                  <a:pt x="502" y="665"/>
                </a:lnTo>
                <a:lnTo>
                  <a:pt x="502" y="663"/>
                </a:lnTo>
                <a:lnTo>
                  <a:pt x="501" y="661"/>
                </a:lnTo>
                <a:lnTo>
                  <a:pt x="497" y="659"/>
                </a:lnTo>
                <a:lnTo>
                  <a:pt x="495" y="662"/>
                </a:lnTo>
                <a:lnTo>
                  <a:pt x="497" y="659"/>
                </a:lnTo>
                <a:lnTo>
                  <a:pt x="501" y="661"/>
                </a:lnTo>
                <a:close/>
                <a:moveTo>
                  <a:pt x="507" y="642"/>
                </a:moveTo>
                <a:lnTo>
                  <a:pt x="507" y="642"/>
                </a:lnTo>
                <a:lnTo>
                  <a:pt x="511" y="642"/>
                </a:lnTo>
                <a:lnTo>
                  <a:pt x="516" y="641"/>
                </a:lnTo>
                <a:lnTo>
                  <a:pt x="515" y="645"/>
                </a:lnTo>
                <a:lnTo>
                  <a:pt x="511" y="648"/>
                </a:lnTo>
                <a:lnTo>
                  <a:pt x="507" y="647"/>
                </a:lnTo>
                <a:lnTo>
                  <a:pt x="507" y="642"/>
                </a:lnTo>
                <a:lnTo>
                  <a:pt x="502" y="641"/>
                </a:lnTo>
                <a:lnTo>
                  <a:pt x="500" y="638"/>
                </a:lnTo>
                <a:lnTo>
                  <a:pt x="502" y="641"/>
                </a:lnTo>
                <a:lnTo>
                  <a:pt x="507" y="642"/>
                </a:lnTo>
                <a:close/>
                <a:moveTo>
                  <a:pt x="531" y="636"/>
                </a:moveTo>
                <a:lnTo>
                  <a:pt x="524" y="638"/>
                </a:lnTo>
                <a:lnTo>
                  <a:pt x="518" y="640"/>
                </a:lnTo>
                <a:lnTo>
                  <a:pt x="523" y="633"/>
                </a:lnTo>
                <a:lnTo>
                  <a:pt x="531" y="636"/>
                </a:lnTo>
                <a:close/>
                <a:moveTo>
                  <a:pt x="528" y="540"/>
                </a:moveTo>
                <a:lnTo>
                  <a:pt x="531" y="540"/>
                </a:lnTo>
                <a:lnTo>
                  <a:pt x="531" y="536"/>
                </a:lnTo>
                <a:lnTo>
                  <a:pt x="529" y="532"/>
                </a:lnTo>
                <a:lnTo>
                  <a:pt x="529" y="528"/>
                </a:lnTo>
                <a:lnTo>
                  <a:pt x="530" y="528"/>
                </a:lnTo>
                <a:lnTo>
                  <a:pt x="531" y="526"/>
                </a:lnTo>
                <a:lnTo>
                  <a:pt x="544" y="528"/>
                </a:lnTo>
                <a:lnTo>
                  <a:pt x="543" y="540"/>
                </a:lnTo>
                <a:lnTo>
                  <a:pt x="535" y="542"/>
                </a:lnTo>
                <a:lnTo>
                  <a:pt x="528" y="540"/>
                </a:lnTo>
                <a:close/>
                <a:moveTo>
                  <a:pt x="528" y="540"/>
                </a:moveTo>
                <a:lnTo>
                  <a:pt x="528" y="540"/>
                </a:lnTo>
                <a:lnTo>
                  <a:pt x="528" y="540"/>
                </a:lnTo>
                <a:lnTo>
                  <a:pt x="528" y="540"/>
                </a:lnTo>
                <a:close/>
                <a:moveTo>
                  <a:pt x="531" y="585"/>
                </a:moveTo>
                <a:lnTo>
                  <a:pt x="534" y="580"/>
                </a:lnTo>
                <a:lnTo>
                  <a:pt x="538" y="579"/>
                </a:lnTo>
                <a:lnTo>
                  <a:pt x="541" y="579"/>
                </a:lnTo>
                <a:lnTo>
                  <a:pt x="542" y="581"/>
                </a:lnTo>
                <a:lnTo>
                  <a:pt x="539" y="585"/>
                </a:lnTo>
                <a:lnTo>
                  <a:pt x="536" y="587"/>
                </a:lnTo>
                <a:lnTo>
                  <a:pt x="534" y="587"/>
                </a:lnTo>
                <a:lnTo>
                  <a:pt x="531" y="585"/>
                </a:lnTo>
                <a:close/>
                <a:moveTo>
                  <a:pt x="534" y="658"/>
                </a:moveTo>
                <a:lnTo>
                  <a:pt x="529" y="658"/>
                </a:lnTo>
                <a:lnTo>
                  <a:pt x="525" y="655"/>
                </a:lnTo>
                <a:lnTo>
                  <a:pt x="531" y="654"/>
                </a:lnTo>
                <a:lnTo>
                  <a:pt x="537" y="652"/>
                </a:lnTo>
                <a:lnTo>
                  <a:pt x="537" y="657"/>
                </a:lnTo>
                <a:lnTo>
                  <a:pt x="534" y="658"/>
                </a:lnTo>
                <a:close/>
                <a:moveTo>
                  <a:pt x="558" y="647"/>
                </a:moveTo>
                <a:lnTo>
                  <a:pt x="555" y="652"/>
                </a:lnTo>
                <a:lnTo>
                  <a:pt x="550" y="657"/>
                </a:lnTo>
                <a:lnTo>
                  <a:pt x="550" y="657"/>
                </a:lnTo>
                <a:lnTo>
                  <a:pt x="548" y="654"/>
                </a:lnTo>
                <a:lnTo>
                  <a:pt x="548" y="649"/>
                </a:lnTo>
                <a:lnTo>
                  <a:pt x="552" y="648"/>
                </a:lnTo>
                <a:lnTo>
                  <a:pt x="558" y="647"/>
                </a:lnTo>
                <a:close/>
                <a:moveTo>
                  <a:pt x="550" y="643"/>
                </a:moveTo>
                <a:lnTo>
                  <a:pt x="551" y="630"/>
                </a:lnTo>
                <a:lnTo>
                  <a:pt x="552" y="617"/>
                </a:lnTo>
                <a:lnTo>
                  <a:pt x="550" y="613"/>
                </a:lnTo>
                <a:lnTo>
                  <a:pt x="547" y="609"/>
                </a:lnTo>
                <a:lnTo>
                  <a:pt x="550" y="613"/>
                </a:lnTo>
                <a:lnTo>
                  <a:pt x="552" y="617"/>
                </a:lnTo>
                <a:lnTo>
                  <a:pt x="554" y="612"/>
                </a:lnTo>
                <a:lnTo>
                  <a:pt x="557" y="609"/>
                </a:lnTo>
                <a:lnTo>
                  <a:pt x="558" y="616"/>
                </a:lnTo>
                <a:lnTo>
                  <a:pt x="559" y="624"/>
                </a:lnTo>
                <a:lnTo>
                  <a:pt x="561" y="627"/>
                </a:lnTo>
                <a:lnTo>
                  <a:pt x="563" y="626"/>
                </a:lnTo>
                <a:lnTo>
                  <a:pt x="565" y="624"/>
                </a:lnTo>
                <a:lnTo>
                  <a:pt x="566" y="623"/>
                </a:lnTo>
                <a:lnTo>
                  <a:pt x="570" y="622"/>
                </a:lnTo>
                <a:lnTo>
                  <a:pt x="572" y="623"/>
                </a:lnTo>
                <a:lnTo>
                  <a:pt x="571" y="627"/>
                </a:lnTo>
                <a:lnTo>
                  <a:pt x="568" y="627"/>
                </a:lnTo>
                <a:lnTo>
                  <a:pt x="568" y="627"/>
                </a:lnTo>
                <a:lnTo>
                  <a:pt x="565" y="628"/>
                </a:lnTo>
                <a:lnTo>
                  <a:pt x="563" y="629"/>
                </a:lnTo>
                <a:lnTo>
                  <a:pt x="559" y="631"/>
                </a:lnTo>
                <a:lnTo>
                  <a:pt x="558" y="635"/>
                </a:lnTo>
                <a:lnTo>
                  <a:pt x="557" y="642"/>
                </a:lnTo>
                <a:lnTo>
                  <a:pt x="550" y="643"/>
                </a:lnTo>
                <a:lnTo>
                  <a:pt x="541" y="645"/>
                </a:lnTo>
                <a:lnTo>
                  <a:pt x="530" y="648"/>
                </a:lnTo>
                <a:lnTo>
                  <a:pt x="541" y="645"/>
                </a:lnTo>
                <a:lnTo>
                  <a:pt x="550" y="643"/>
                </a:lnTo>
                <a:close/>
                <a:moveTo>
                  <a:pt x="580" y="644"/>
                </a:moveTo>
                <a:lnTo>
                  <a:pt x="575" y="648"/>
                </a:lnTo>
                <a:lnTo>
                  <a:pt x="569" y="644"/>
                </a:lnTo>
                <a:lnTo>
                  <a:pt x="573" y="643"/>
                </a:lnTo>
                <a:lnTo>
                  <a:pt x="578" y="642"/>
                </a:lnTo>
                <a:lnTo>
                  <a:pt x="580" y="642"/>
                </a:lnTo>
                <a:lnTo>
                  <a:pt x="580" y="644"/>
                </a:lnTo>
                <a:close/>
                <a:moveTo>
                  <a:pt x="589" y="650"/>
                </a:moveTo>
                <a:lnTo>
                  <a:pt x="590" y="651"/>
                </a:lnTo>
                <a:lnTo>
                  <a:pt x="591" y="652"/>
                </a:lnTo>
                <a:lnTo>
                  <a:pt x="590" y="651"/>
                </a:lnTo>
                <a:lnTo>
                  <a:pt x="589" y="650"/>
                </a:lnTo>
                <a:close/>
                <a:moveTo>
                  <a:pt x="584" y="720"/>
                </a:moveTo>
                <a:lnTo>
                  <a:pt x="583" y="721"/>
                </a:lnTo>
                <a:lnTo>
                  <a:pt x="583" y="722"/>
                </a:lnTo>
                <a:lnTo>
                  <a:pt x="582" y="722"/>
                </a:lnTo>
                <a:lnTo>
                  <a:pt x="582" y="721"/>
                </a:lnTo>
                <a:lnTo>
                  <a:pt x="583" y="720"/>
                </a:lnTo>
                <a:lnTo>
                  <a:pt x="584" y="720"/>
                </a:lnTo>
                <a:close/>
                <a:moveTo>
                  <a:pt x="596" y="722"/>
                </a:moveTo>
                <a:lnTo>
                  <a:pt x="590" y="719"/>
                </a:lnTo>
                <a:lnTo>
                  <a:pt x="584" y="720"/>
                </a:lnTo>
                <a:lnTo>
                  <a:pt x="584" y="717"/>
                </a:lnTo>
                <a:lnTo>
                  <a:pt x="586" y="714"/>
                </a:lnTo>
                <a:lnTo>
                  <a:pt x="586" y="714"/>
                </a:lnTo>
                <a:lnTo>
                  <a:pt x="587" y="713"/>
                </a:lnTo>
                <a:lnTo>
                  <a:pt x="589" y="712"/>
                </a:lnTo>
                <a:lnTo>
                  <a:pt x="589" y="711"/>
                </a:lnTo>
                <a:lnTo>
                  <a:pt x="593" y="711"/>
                </a:lnTo>
                <a:lnTo>
                  <a:pt x="594" y="717"/>
                </a:lnTo>
                <a:lnTo>
                  <a:pt x="596" y="719"/>
                </a:lnTo>
                <a:lnTo>
                  <a:pt x="597" y="720"/>
                </a:lnTo>
                <a:lnTo>
                  <a:pt x="598" y="720"/>
                </a:lnTo>
                <a:lnTo>
                  <a:pt x="599" y="720"/>
                </a:lnTo>
                <a:lnTo>
                  <a:pt x="598" y="720"/>
                </a:lnTo>
                <a:lnTo>
                  <a:pt x="597" y="720"/>
                </a:lnTo>
                <a:lnTo>
                  <a:pt x="597" y="720"/>
                </a:lnTo>
                <a:lnTo>
                  <a:pt x="597" y="721"/>
                </a:lnTo>
                <a:lnTo>
                  <a:pt x="596" y="722"/>
                </a:lnTo>
                <a:lnTo>
                  <a:pt x="597" y="721"/>
                </a:lnTo>
                <a:lnTo>
                  <a:pt x="597" y="720"/>
                </a:lnTo>
                <a:lnTo>
                  <a:pt x="596" y="721"/>
                </a:lnTo>
                <a:lnTo>
                  <a:pt x="596" y="722"/>
                </a:lnTo>
                <a:close/>
                <a:moveTo>
                  <a:pt x="589" y="648"/>
                </a:moveTo>
                <a:lnTo>
                  <a:pt x="589" y="643"/>
                </a:lnTo>
                <a:lnTo>
                  <a:pt x="589" y="640"/>
                </a:lnTo>
                <a:lnTo>
                  <a:pt x="594" y="637"/>
                </a:lnTo>
                <a:lnTo>
                  <a:pt x="600" y="637"/>
                </a:lnTo>
                <a:lnTo>
                  <a:pt x="600" y="638"/>
                </a:lnTo>
                <a:lnTo>
                  <a:pt x="600" y="640"/>
                </a:lnTo>
                <a:lnTo>
                  <a:pt x="600" y="643"/>
                </a:lnTo>
                <a:lnTo>
                  <a:pt x="601" y="647"/>
                </a:lnTo>
                <a:lnTo>
                  <a:pt x="600" y="643"/>
                </a:lnTo>
                <a:lnTo>
                  <a:pt x="600" y="640"/>
                </a:lnTo>
                <a:lnTo>
                  <a:pt x="593" y="643"/>
                </a:lnTo>
                <a:lnTo>
                  <a:pt x="589" y="648"/>
                </a:lnTo>
                <a:close/>
                <a:moveTo>
                  <a:pt x="551" y="543"/>
                </a:moveTo>
                <a:lnTo>
                  <a:pt x="569" y="538"/>
                </a:lnTo>
                <a:lnTo>
                  <a:pt x="586" y="532"/>
                </a:lnTo>
                <a:lnTo>
                  <a:pt x="594" y="533"/>
                </a:lnTo>
                <a:lnTo>
                  <a:pt x="603" y="533"/>
                </a:lnTo>
                <a:lnTo>
                  <a:pt x="607" y="532"/>
                </a:lnTo>
                <a:lnTo>
                  <a:pt x="612" y="533"/>
                </a:lnTo>
                <a:lnTo>
                  <a:pt x="613" y="537"/>
                </a:lnTo>
                <a:lnTo>
                  <a:pt x="612" y="539"/>
                </a:lnTo>
                <a:lnTo>
                  <a:pt x="607" y="542"/>
                </a:lnTo>
                <a:lnTo>
                  <a:pt x="605" y="540"/>
                </a:lnTo>
                <a:lnTo>
                  <a:pt x="603" y="537"/>
                </a:lnTo>
                <a:lnTo>
                  <a:pt x="599" y="539"/>
                </a:lnTo>
                <a:lnTo>
                  <a:pt x="591" y="543"/>
                </a:lnTo>
                <a:lnTo>
                  <a:pt x="589" y="551"/>
                </a:lnTo>
                <a:lnTo>
                  <a:pt x="587" y="552"/>
                </a:lnTo>
                <a:lnTo>
                  <a:pt x="585" y="551"/>
                </a:lnTo>
                <a:lnTo>
                  <a:pt x="583" y="549"/>
                </a:lnTo>
                <a:lnTo>
                  <a:pt x="584" y="545"/>
                </a:lnTo>
                <a:lnTo>
                  <a:pt x="585" y="540"/>
                </a:lnTo>
                <a:lnTo>
                  <a:pt x="580" y="539"/>
                </a:lnTo>
                <a:lnTo>
                  <a:pt x="572" y="543"/>
                </a:lnTo>
                <a:lnTo>
                  <a:pt x="572" y="552"/>
                </a:lnTo>
                <a:lnTo>
                  <a:pt x="573" y="554"/>
                </a:lnTo>
                <a:lnTo>
                  <a:pt x="572" y="556"/>
                </a:lnTo>
                <a:lnTo>
                  <a:pt x="570" y="557"/>
                </a:lnTo>
                <a:lnTo>
                  <a:pt x="569" y="557"/>
                </a:lnTo>
                <a:lnTo>
                  <a:pt x="566" y="554"/>
                </a:lnTo>
                <a:lnTo>
                  <a:pt x="568" y="552"/>
                </a:lnTo>
                <a:lnTo>
                  <a:pt x="569" y="550"/>
                </a:lnTo>
                <a:lnTo>
                  <a:pt x="568" y="547"/>
                </a:lnTo>
                <a:lnTo>
                  <a:pt x="565" y="547"/>
                </a:lnTo>
                <a:lnTo>
                  <a:pt x="562" y="549"/>
                </a:lnTo>
                <a:lnTo>
                  <a:pt x="556" y="550"/>
                </a:lnTo>
                <a:lnTo>
                  <a:pt x="550" y="550"/>
                </a:lnTo>
                <a:lnTo>
                  <a:pt x="548" y="549"/>
                </a:lnTo>
                <a:lnTo>
                  <a:pt x="545" y="546"/>
                </a:lnTo>
                <a:lnTo>
                  <a:pt x="548" y="544"/>
                </a:lnTo>
                <a:lnTo>
                  <a:pt x="551" y="543"/>
                </a:lnTo>
                <a:close/>
                <a:moveTo>
                  <a:pt x="604" y="489"/>
                </a:moveTo>
                <a:lnTo>
                  <a:pt x="604" y="489"/>
                </a:lnTo>
                <a:lnTo>
                  <a:pt x="604" y="488"/>
                </a:lnTo>
                <a:lnTo>
                  <a:pt x="604" y="489"/>
                </a:lnTo>
                <a:lnTo>
                  <a:pt x="604" y="489"/>
                </a:lnTo>
                <a:close/>
                <a:moveTo>
                  <a:pt x="604" y="468"/>
                </a:moveTo>
                <a:lnTo>
                  <a:pt x="605" y="466"/>
                </a:lnTo>
                <a:lnTo>
                  <a:pt x="604" y="463"/>
                </a:lnTo>
                <a:lnTo>
                  <a:pt x="604" y="464"/>
                </a:lnTo>
                <a:lnTo>
                  <a:pt x="603" y="463"/>
                </a:lnTo>
                <a:lnTo>
                  <a:pt x="604" y="464"/>
                </a:lnTo>
                <a:lnTo>
                  <a:pt x="604" y="463"/>
                </a:lnTo>
                <a:lnTo>
                  <a:pt x="604" y="462"/>
                </a:lnTo>
                <a:lnTo>
                  <a:pt x="603" y="462"/>
                </a:lnTo>
                <a:lnTo>
                  <a:pt x="605" y="459"/>
                </a:lnTo>
                <a:lnTo>
                  <a:pt x="605" y="454"/>
                </a:lnTo>
                <a:lnTo>
                  <a:pt x="605" y="447"/>
                </a:lnTo>
                <a:lnTo>
                  <a:pt x="607" y="439"/>
                </a:lnTo>
                <a:lnTo>
                  <a:pt x="608" y="438"/>
                </a:lnTo>
                <a:lnTo>
                  <a:pt x="610" y="438"/>
                </a:lnTo>
                <a:lnTo>
                  <a:pt x="611" y="438"/>
                </a:lnTo>
                <a:lnTo>
                  <a:pt x="611" y="439"/>
                </a:lnTo>
                <a:lnTo>
                  <a:pt x="611" y="442"/>
                </a:lnTo>
                <a:lnTo>
                  <a:pt x="613" y="443"/>
                </a:lnTo>
                <a:lnTo>
                  <a:pt x="615" y="441"/>
                </a:lnTo>
                <a:lnTo>
                  <a:pt x="617" y="439"/>
                </a:lnTo>
                <a:lnTo>
                  <a:pt x="618" y="433"/>
                </a:lnTo>
                <a:lnTo>
                  <a:pt x="619" y="428"/>
                </a:lnTo>
                <a:lnTo>
                  <a:pt x="623" y="428"/>
                </a:lnTo>
                <a:lnTo>
                  <a:pt x="623" y="425"/>
                </a:lnTo>
                <a:lnTo>
                  <a:pt x="626" y="431"/>
                </a:lnTo>
                <a:lnTo>
                  <a:pt x="626" y="438"/>
                </a:lnTo>
                <a:lnTo>
                  <a:pt x="624" y="454"/>
                </a:lnTo>
                <a:lnTo>
                  <a:pt x="624" y="470"/>
                </a:lnTo>
                <a:lnTo>
                  <a:pt x="625" y="470"/>
                </a:lnTo>
                <a:lnTo>
                  <a:pt x="626" y="470"/>
                </a:lnTo>
                <a:lnTo>
                  <a:pt x="625" y="470"/>
                </a:lnTo>
                <a:lnTo>
                  <a:pt x="624" y="470"/>
                </a:lnTo>
                <a:lnTo>
                  <a:pt x="621" y="471"/>
                </a:lnTo>
                <a:lnTo>
                  <a:pt x="623" y="474"/>
                </a:lnTo>
                <a:lnTo>
                  <a:pt x="623" y="476"/>
                </a:lnTo>
                <a:lnTo>
                  <a:pt x="623" y="477"/>
                </a:lnTo>
                <a:lnTo>
                  <a:pt x="621" y="480"/>
                </a:lnTo>
                <a:lnTo>
                  <a:pt x="623" y="481"/>
                </a:lnTo>
                <a:lnTo>
                  <a:pt x="623" y="485"/>
                </a:lnTo>
                <a:lnTo>
                  <a:pt x="623" y="490"/>
                </a:lnTo>
                <a:lnTo>
                  <a:pt x="626" y="489"/>
                </a:lnTo>
                <a:lnTo>
                  <a:pt x="628" y="487"/>
                </a:lnTo>
                <a:lnTo>
                  <a:pt x="625" y="495"/>
                </a:lnTo>
                <a:lnTo>
                  <a:pt x="619" y="502"/>
                </a:lnTo>
                <a:lnTo>
                  <a:pt x="619" y="502"/>
                </a:lnTo>
                <a:lnTo>
                  <a:pt x="619" y="502"/>
                </a:lnTo>
                <a:lnTo>
                  <a:pt x="619" y="502"/>
                </a:lnTo>
                <a:lnTo>
                  <a:pt x="619" y="502"/>
                </a:lnTo>
                <a:lnTo>
                  <a:pt x="615" y="502"/>
                </a:lnTo>
                <a:lnTo>
                  <a:pt x="614" y="500"/>
                </a:lnTo>
                <a:lnTo>
                  <a:pt x="614" y="493"/>
                </a:lnTo>
                <a:lnTo>
                  <a:pt x="613" y="485"/>
                </a:lnTo>
                <a:lnTo>
                  <a:pt x="617" y="482"/>
                </a:lnTo>
                <a:lnTo>
                  <a:pt x="612" y="478"/>
                </a:lnTo>
                <a:lnTo>
                  <a:pt x="606" y="475"/>
                </a:lnTo>
                <a:lnTo>
                  <a:pt x="604" y="468"/>
                </a:lnTo>
                <a:close/>
                <a:moveTo>
                  <a:pt x="607" y="418"/>
                </a:moveTo>
                <a:lnTo>
                  <a:pt x="607" y="418"/>
                </a:lnTo>
                <a:lnTo>
                  <a:pt x="607" y="419"/>
                </a:lnTo>
                <a:lnTo>
                  <a:pt x="607" y="418"/>
                </a:lnTo>
                <a:lnTo>
                  <a:pt x="607" y="418"/>
                </a:lnTo>
                <a:close/>
                <a:moveTo>
                  <a:pt x="630" y="540"/>
                </a:moveTo>
                <a:lnTo>
                  <a:pt x="625" y="538"/>
                </a:lnTo>
                <a:lnTo>
                  <a:pt x="621" y="536"/>
                </a:lnTo>
                <a:lnTo>
                  <a:pt x="621" y="535"/>
                </a:lnTo>
                <a:lnTo>
                  <a:pt x="623" y="531"/>
                </a:lnTo>
                <a:lnTo>
                  <a:pt x="624" y="529"/>
                </a:lnTo>
                <a:lnTo>
                  <a:pt x="625" y="525"/>
                </a:lnTo>
                <a:lnTo>
                  <a:pt x="624" y="525"/>
                </a:lnTo>
                <a:lnTo>
                  <a:pt x="621" y="525"/>
                </a:lnTo>
                <a:lnTo>
                  <a:pt x="624" y="525"/>
                </a:lnTo>
                <a:lnTo>
                  <a:pt x="625" y="525"/>
                </a:lnTo>
                <a:lnTo>
                  <a:pt x="626" y="529"/>
                </a:lnTo>
                <a:lnTo>
                  <a:pt x="627" y="532"/>
                </a:lnTo>
                <a:lnTo>
                  <a:pt x="631" y="536"/>
                </a:lnTo>
                <a:lnTo>
                  <a:pt x="630" y="540"/>
                </a:lnTo>
                <a:close/>
                <a:moveTo>
                  <a:pt x="627" y="623"/>
                </a:moveTo>
                <a:lnTo>
                  <a:pt x="625" y="623"/>
                </a:lnTo>
                <a:lnTo>
                  <a:pt x="624" y="622"/>
                </a:lnTo>
                <a:lnTo>
                  <a:pt x="623" y="619"/>
                </a:lnTo>
                <a:lnTo>
                  <a:pt x="620" y="620"/>
                </a:lnTo>
                <a:lnTo>
                  <a:pt x="618" y="621"/>
                </a:lnTo>
                <a:lnTo>
                  <a:pt x="617" y="621"/>
                </a:lnTo>
                <a:lnTo>
                  <a:pt x="610" y="617"/>
                </a:lnTo>
                <a:lnTo>
                  <a:pt x="603" y="619"/>
                </a:lnTo>
                <a:lnTo>
                  <a:pt x="603" y="617"/>
                </a:lnTo>
                <a:lnTo>
                  <a:pt x="601" y="617"/>
                </a:lnTo>
                <a:lnTo>
                  <a:pt x="610" y="612"/>
                </a:lnTo>
                <a:lnTo>
                  <a:pt x="619" y="614"/>
                </a:lnTo>
                <a:lnTo>
                  <a:pt x="620" y="613"/>
                </a:lnTo>
                <a:lnTo>
                  <a:pt x="621" y="613"/>
                </a:lnTo>
                <a:lnTo>
                  <a:pt x="620" y="613"/>
                </a:lnTo>
                <a:lnTo>
                  <a:pt x="619" y="614"/>
                </a:lnTo>
                <a:lnTo>
                  <a:pt x="627" y="615"/>
                </a:lnTo>
                <a:lnTo>
                  <a:pt x="627" y="623"/>
                </a:lnTo>
                <a:close/>
                <a:moveTo>
                  <a:pt x="619" y="521"/>
                </a:moveTo>
                <a:lnTo>
                  <a:pt x="623" y="519"/>
                </a:lnTo>
                <a:lnTo>
                  <a:pt x="625" y="519"/>
                </a:lnTo>
                <a:lnTo>
                  <a:pt x="623" y="519"/>
                </a:lnTo>
                <a:lnTo>
                  <a:pt x="619" y="521"/>
                </a:lnTo>
                <a:lnTo>
                  <a:pt x="618" y="522"/>
                </a:lnTo>
                <a:lnTo>
                  <a:pt x="615" y="522"/>
                </a:lnTo>
                <a:lnTo>
                  <a:pt x="611" y="522"/>
                </a:lnTo>
                <a:lnTo>
                  <a:pt x="612" y="516"/>
                </a:lnTo>
                <a:lnTo>
                  <a:pt x="613" y="512"/>
                </a:lnTo>
                <a:lnTo>
                  <a:pt x="614" y="507"/>
                </a:lnTo>
                <a:lnTo>
                  <a:pt x="615" y="507"/>
                </a:lnTo>
                <a:lnTo>
                  <a:pt x="618" y="507"/>
                </a:lnTo>
                <a:lnTo>
                  <a:pt x="619" y="514"/>
                </a:lnTo>
                <a:lnTo>
                  <a:pt x="619" y="521"/>
                </a:lnTo>
                <a:lnTo>
                  <a:pt x="619" y="521"/>
                </a:lnTo>
                <a:close/>
                <a:moveTo>
                  <a:pt x="624" y="637"/>
                </a:moveTo>
                <a:lnTo>
                  <a:pt x="623" y="637"/>
                </a:lnTo>
                <a:lnTo>
                  <a:pt x="620" y="637"/>
                </a:lnTo>
                <a:lnTo>
                  <a:pt x="619" y="637"/>
                </a:lnTo>
                <a:lnTo>
                  <a:pt x="618" y="637"/>
                </a:lnTo>
                <a:lnTo>
                  <a:pt x="614" y="637"/>
                </a:lnTo>
                <a:lnTo>
                  <a:pt x="612" y="637"/>
                </a:lnTo>
                <a:lnTo>
                  <a:pt x="608" y="638"/>
                </a:lnTo>
                <a:lnTo>
                  <a:pt x="605" y="638"/>
                </a:lnTo>
                <a:lnTo>
                  <a:pt x="608" y="638"/>
                </a:lnTo>
                <a:lnTo>
                  <a:pt x="612" y="637"/>
                </a:lnTo>
                <a:lnTo>
                  <a:pt x="612" y="636"/>
                </a:lnTo>
                <a:lnTo>
                  <a:pt x="612" y="635"/>
                </a:lnTo>
                <a:lnTo>
                  <a:pt x="612" y="634"/>
                </a:lnTo>
                <a:lnTo>
                  <a:pt x="613" y="633"/>
                </a:lnTo>
                <a:lnTo>
                  <a:pt x="620" y="630"/>
                </a:lnTo>
                <a:lnTo>
                  <a:pt x="627" y="629"/>
                </a:lnTo>
                <a:lnTo>
                  <a:pt x="628" y="628"/>
                </a:lnTo>
                <a:lnTo>
                  <a:pt x="628" y="628"/>
                </a:lnTo>
                <a:lnTo>
                  <a:pt x="628" y="628"/>
                </a:lnTo>
                <a:lnTo>
                  <a:pt x="627" y="629"/>
                </a:lnTo>
                <a:lnTo>
                  <a:pt x="628" y="629"/>
                </a:lnTo>
                <a:lnTo>
                  <a:pt x="628" y="629"/>
                </a:lnTo>
                <a:lnTo>
                  <a:pt x="628" y="630"/>
                </a:lnTo>
                <a:lnTo>
                  <a:pt x="630" y="631"/>
                </a:lnTo>
                <a:lnTo>
                  <a:pt x="625" y="634"/>
                </a:lnTo>
                <a:lnTo>
                  <a:pt x="620" y="637"/>
                </a:lnTo>
                <a:lnTo>
                  <a:pt x="623" y="637"/>
                </a:lnTo>
                <a:lnTo>
                  <a:pt x="624" y="637"/>
                </a:lnTo>
                <a:close/>
                <a:moveTo>
                  <a:pt x="635" y="605"/>
                </a:moveTo>
                <a:lnTo>
                  <a:pt x="633" y="602"/>
                </a:lnTo>
                <a:lnTo>
                  <a:pt x="630" y="602"/>
                </a:lnTo>
                <a:lnTo>
                  <a:pt x="628" y="602"/>
                </a:lnTo>
                <a:lnTo>
                  <a:pt x="626" y="602"/>
                </a:lnTo>
                <a:lnTo>
                  <a:pt x="625" y="601"/>
                </a:lnTo>
                <a:lnTo>
                  <a:pt x="623" y="601"/>
                </a:lnTo>
                <a:lnTo>
                  <a:pt x="615" y="596"/>
                </a:lnTo>
                <a:lnTo>
                  <a:pt x="618" y="588"/>
                </a:lnTo>
                <a:lnTo>
                  <a:pt x="617" y="588"/>
                </a:lnTo>
                <a:lnTo>
                  <a:pt x="615" y="588"/>
                </a:lnTo>
                <a:lnTo>
                  <a:pt x="617" y="588"/>
                </a:lnTo>
                <a:lnTo>
                  <a:pt x="618" y="588"/>
                </a:lnTo>
                <a:lnTo>
                  <a:pt x="619" y="588"/>
                </a:lnTo>
                <a:lnTo>
                  <a:pt x="620" y="588"/>
                </a:lnTo>
                <a:lnTo>
                  <a:pt x="620" y="595"/>
                </a:lnTo>
                <a:lnTo>
                  <a:pt x="626" y="596"/>
                </a:lnTo>
                <a:lnTo>
                  <a:pt x="630" y="599"/>
                </a:lnTo>
                <a:lnTo>
                  <a:pt x="630" y="602"/>
                </a:lnTo>
                <a:lnTo>
                  <a:pt x="633" y="602"/>
                </a:lnTo>
                <a:lnTo>
                  <a:pt x="635" y="605"/>
                </a:lnTo>
                <a:close/>
                <a:moveTo>
                  <a:pt x="652" y="522"/>
                </a:moveTo>
                <a:lnTo>
                  <a:pt x="653" y="524"/>
                </a:lnTo>
                <a:lnTo>
                  <a:pt x="653" y="529"/>
                </a:lnTo>
                <a:lnTo>
                  <a:pt x="652" y="531"/>
                </a:lnTo>
                <a:lnTo>
                  <a:pt x="648" y="533"/>
                </a:lnTo>
                <a:lnTo>
                  <a:pt x="642" y="528"/>
                </a:lnTo>
                <a:lnTo>
                  <a:pt x="635" y="528"/>
                </a:lnTo>
                <a:lnTo>
                  <a:pt x="642" y="522"/>
                </a:lnTo>
                <a:lnTo>
                  <a:pt x="652" y="522"/>
                </a:lnTo>
                <a:close/>
                <a:moveTo>
                  <a:pt x="646" y="450"/>
                </a:moveTo>
                <a:lnTo>
                  <a:pt x="644" y="449"/>
                </a:lnTo>
                <a:lnTo>
                  <a:pt x="640" y="447"/>
                </a:lnTo>
                <a:lnTo>
                  <a:pt x="642" y="446"/>
                </a:lnTo>
                <a:lnTo>
                  <a:pt x="646" y="445"/>
                </a:lnTo>
                <a:lnTo>
                  <a:pt x="647" y="442"/>
                </a:lnTo>
                <a:lnTo>
                  <a:pt x="647" y="441"/>
                </a:lnTo>
                <a:lnTo>
                  <a:pt x="645" y="436"/>
                </a:lnTo>
                <a:lnTo>
                  <a:pt x="646" y="435"/>
                </a:lnTo>
                <a:lnTo>
                  <a:pt x="649" y="432"/>
                </a:lnTo>
                <a:lnTo>
                  <a:pt x="651" y="427"/>
                </a:lnTo>
                <a:lnTo>
                  <a:pt x="653" y="426"/>
                </a:lnTo>
                <a:lnTo>
                  <a:pt x="654" y="427"/>
                </a:lnTo>
                <a:lnTo>
                  <a:pt x="656" y="432"/>
                </a:lnTo>
                <a:lnTo>
                  <a:pt x="655" y="438"/>
                </a:lnTo>
                <a:lnTo>
                  <a:pt x="655" y="439"/>
                </a:lnTo>
                <a:lnTo>
                  <a:pt x="655" y="440"/>
                </a:lnTo>
                <a:lnTo>
                  <a:pt x="660" y="443"/>
                </a:lnTo>
                <a:lnTo>
                  <a:pt x="655" y="447"/>
                </a:lnTo>
                <a:lnTo>
                  <a:pt x="655" y="448"/>
                </a:lnTo>
                <a:lnTo>
                  <a:pt x="655" y="450"/>
                </a:lnTo>
                <a:lnTo>
                  <a:pt x="659" y="454"/>
                </a:lnTo>
                <a:lnTo>
                  <a:pt x="663" y="455"/>
                </a:lnTo>
                <a:lnTo>
                  <a:pt x="667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9"/>
                </a:lnTo>
                <a:lnTo>
                  <a:pt x="673" y="460"/>
                </a:lnTo>
                <a:lnTo>
                  <a:pt x="674" y="460"/>
                </a:lnTo>
                <a:lnTo>
                  <a:pt x="675" y="460"/>
                </a:lnTo>
                <a:lnTo>
                  <a:pt x="673" y="459"/>
                </a:lnTo>
                <a:lnTo>
                  <a:pt x="672" y="455"/>
                </a:lnTo>
                <a:lnTo>
                  <a:pt x="672" y="442"/>
                </a:lnTo>
                <a:lnTo>
                  <a:pt x="670" y="428"/>
                </a:lnTo>
                <a:lnTo>
                  <a:pt x="673" y="421"/>
                </a:lnTo>
                <a:lnTo>
                  <a:pt x="675" y="414"/>
                </a:lnTo>
                <a:lnTo>
                  <a:pt x="677" y="413"/>
                </a:lnTo>
                <a:lnTo>
                  <a:pt x="679" y="413"/>
                </a:lnTo>
                <a:lnTo>
                  <a:pt x="681" y="415"/>
                </a:lnTo>
                <a:lnTo>
                  <a:pt x="682" y="418"/>
                </a:lnTo>
                <a:lnTo>
                  <a:pt x="681" y="428"/>
                </a:lnTo>
                <a:lnTo>
                  <a:pt x="680" y="438"/>
                </a:lnTo>
                <a:lnTo>
                  <a:pt x="679" y="447"/>
                </a:lnTo>
                <a:lnTo>
                  <a:pt x="679" y="457"/>
                </a:lnTo>
                <a:lnTo>
                  <a:pt x="683" y="453"/>
                </a:lnTo>
                <a:lnTo>
                  <a:pt x="684" y="448"/>
                </a:lnTo>
                <a:lnTo>
                  <a:pt x="683" y="453"/>
                </a:lnTo>
                <a:lnTo>
                  <a:pt x="679" y="457"/>
                </a:lnTo>
                <a:lnTo>
                  <a:pt x="679" y="461"/>
                </a:lnTo>
                <a:lnTo>
                  <a:pt x="681" y="463"/>
                </a:lnTo>
                <a:lnTo>
                  <a:pt x="677" y="467"/>
                </a:lnTo>
                <a:lnTo>
                  <a:pt x="679" y="470"/>
                </a:lnTo>
                <a:lnTo>
                  <a:pt x="679" y="470"/>
                </a:lnTo>
                <a:lnTo>
                  <a:pt x="675" y="475"/>
                </a:lnTo>
                <a:lnTo>
                  <a:pt x="676" y="481"/>
                </a:lnTo>
                <a:lnTo>
                  <a:pt x="677" y="483"/>
                </a:lnTo>
                <a:lnTo>
                  <a:pt x="680" y="483"/>
                </a:lnTo>
                <a:lnTo>
                  <a:pt x="681" y="480"/>
                </a:lnTo>
                <a:lnTo>
                  <a:pt x="681" y="476"/>
                </a:lnTo>
                <a:lnTo>
                  <a:pt x="681" y="480"/>
                </a:lnTo>
                <a:lnTo>
                  <a:pt x="680" y="483"/>
                </a:lnTo>
                <a:lnTo>
                  <a:pt x="681" y="485"/>
                </a:lnTo>
                <a:lnTo>
                  <a:pt x="681" y="487"/>
                </a:lnTo>
                <a:lnTo>
                  <a:pt x="675" y="487"/>
                </a:lnTo>
                <a:lnTo>
                  <a:pt x="670" y="490"/>
                </a:lnTo>
                <a:lnTo>
                  <a:pt x="670" y="478"/>
                </a:lnTo>
                <a:lnTo>
                  <a:pt x="670" y="469"/>
                </a:lnTo>
                <a:lnTo>
                  <a:pt x="669" y="466"/>
                </a:lnTo>
                <a:lnTo>
                  <a:pt x="665" y="466"/>
                </a:lnTo>
                <a:lnTo>
                  <a:pt x="665" y="464"/>
                </a:lnTo>
                <a:lnTo>
                  <a:pt x="663" y="463"/>
                </a:lnTo>
                <a:lnTo>
                  <a:pt x="661" y="461"/>
                </a:lnTo>
                <a:lnTo>
                  <a:pt x="658" y="463"/>
                </a:lnTo>
                <a:lnTo>
                  <a:pt x="656" y="463"/>
                </a:lnTo>
                <a:lnTo>
                  <a:pt x="656" y="463"/>
                </a:lnTo>
                <a:lnTo>
                  <a:pt x="658" y="466"/>
                </a:lnTo>
                <a:lnTo>
                  <a:pt x="659" y="467"/>
                </a:lnTo>
                <a:lnTo>
                  <a:pt x="658" y="466"/>
                </a:lnTo>
                <a:lnTo>
                  <a:pt x="656" y="463"/>
                </a:lnTo>
                <a:lnTo>
                  <a:pt x="652" y="457"/>
                </a:lnTo>
                <a:lnTo>
                  <a:pt x="645" y="460"/>
                </a:lnTo>
                <a:lnTo>
                  <a:pt x="642" y="460"/>
                </a:lnTo>
                <a:lnTo>
                  <a:pt x="641" y="459"/>
                </a:lnTo>
                <a:lnTo>
                  <a:pt x="641" y="454"/>
                </a:lnTo>
                <a:lnTo>
                  <a:pt x="646" y="450"/>
                </a:lnTo>
                <a:lnTo>
                  <a:pt x="646" y="450"/>
                </a:lnTo>
                <a:close/>
                <a:moveTo>
                  <a:pt x="648" y="369"/>
                </a:moveTo>
                <a:lnTo>
                  <a:pt x="647" y="369"/>
                </a:lnTo>
                <a:lnTo>
                  <a:pt x="645" y="369"/>
                </a:lnTo>
                <a:lnTo>
                  <a:pt x="647" y="369"/>
                </a:lnTo>
                <a:lnTo>
                  <a:pt x="648" y="369"/>
                </a:lnTo>
                <a:close/>
                <a:moveTo>
                  <a:pt x="659" y="394"/>
                </a:moveTo>
                <a:lnTo>
                  <a:pt x="659" y="394"/>
                </a:lnTo>
                <a:lnTo>
                  <a:pt x="658" y="394"/>
                </a:lnTo>
                <a:lnTo>
                  <a:pt x="658" y="394"/>
                </a:lnTo>
                <a:lnTo>
                  <a:pt x="659" y="394"/>
                </a:lnTo>
                <a:lnTo>
                  <a:pt x="659" y="394"/>
                </a:lnTo>
                <a:close/>
                <a:moveTo>
                  <a:pt x="669" y="371"/>
                </a:moveTo>
                <a:lnTo>
                  <a:pt x="669" y="372"/>
                </a:lnTo>
                <a:lnTo>
                  <a:pt x="668" y="372"/>
                </a:lnTo>
                <a:lnTo>
                  <a:pt x="669" y="372"/>
                </a:lnTo>
                <a:lnTo>
                  <a:pt x="669" y="371"/>
                </a:lnTo>
                <a:lnTo>
                  <a:pt x="669" y="371"/>
                </a:lnTo>
                <a:lnTo>
                  <a:pt x="673" y="373"/>
                </a:lnTo>
                <a:lnTo>
                  <a:pt x="673" y="377"/>
                </a:lnTo>
                <a:lnTo>
                  <a:pt x="673" y="373"/>
                </a:lnTo>
                <a:lnTo>
                  <a:pt x="669" y="371"/>
                </a:lnTo>
                <a:close/>
                <a:moveTo>
                  <a:pt x="665" y="371"/>
                </a:moveTo>
                <a:lnTo>
                  <a:pt x="665" y="370"/>
                </a:lnTo>
                <a:lnTo>
                  <a:pt x="665" y="369"/>
                </a:lnTo>
                <a:lnTo>
                  <a:pt x="675" y="365"/>
                </a:lnTo>
                <a:lnTo>
                  <a:pt x="686" y="364"/>
                </a:lnTo>
                <a:lnTo>
                  <a:pt x="686" y="365"/>
                </a:lnTo>
                <a:lnTo>
                  <a:pt x="686" y="368"/>
                </a:lnTo>
                <a:lnTo>
                  <a:pt x="686" y="370"/>
                </a:lnTo>
                <a:lnTo>
                  <a:pt x="686" y="372"/>
                </a:lnTo>
                <a:lnTo>
                  <a:pt x="686" y="370"/>
                </a:lnTo>
                <a:lnTo>
                  <a:pt x="686" y="368"/>
                </a:lnTo>
                <a:lnTo>
                  <a:pt x="677" y="368"/>
                </a:lnTo>
                <a:lnTo>
                  <a:pt x="669" y="371"/>
                </a:lnTo>
                <a:lnTo>
                  <a:pt x="667" y="371"/>
                </a:lnTo>
                <a:lnTo>
                  <a:pt x="665" y="371"/>
                </a:lnTo>
                <a:lnTo>
                  <a:pt x="663" y="371"/>
                </a:lnTo>
                <a:lnTo>
                  <a:pt x="662" y="370"/>
                </a:lnTo>
                <a:lnTo>
                  <a:pt x="663" y="371"/>
                </a:lnTo>
                <a:lnTo>
                  <a:pt x="665" y="371"/>
                </a:lnTo>
                <a:close/>
                <a:moveTo>
                  <a:pt x="695" y="496"/>
                </a:moveTo>
                <a:lnTo>
                  <a:pt x="696" y="497"/>
                </a:lnTo>
                <a:lnTo>
                  <a:pt x="697" y="498"/>
                </a:lnTo>
                <a:lnTo>
                  <a:pt x="693" y="501"/>
                </a:lnTo>
                <a:lnTo>
                  <a:pt x="688" y="502"/>
                </a:lnTo>
                <a:lnTo>
                  <a:pt x="690" y="497"/>
                </a:lnTo>
                <a:lnTo>
                  <a:pt x="695" y="496"/>
                </a:lnTo>
                <a:close/>
                <a:moveTo>
                  <a:pt x="696" y="427"/>
                </a:moveTo>
                <a:lnTo>
                  <a:pt x="696" y="427"/>
                </a:lnTo>
                <a:lnTo>
                  <a:pt x="696" y="426"/>
                </a:lnTo>
                <a:lnTo>
                  <a:pt x="696" y="427"/>
                </a:lnTo>
                <a:lnTo>
                  <a:pt x="696" y="427"/>
                </a:lnTo>
                <a:close/>
                <a:moveTo>
                  <a:pt x="696" y="426"/>
                </a:moveTo>
                <a:lnTo>
                  <a:pt x="696" y="425"/>
                </a:lnTo>
                <a:lnTo>
                  <a:pt x="696" y="424"/>
                </a:lnTo>
                <a:lnTo>
                  <a:pt x="696" y="422"/>
                </a:lnTo>
                <a:lnTo>
                  <a:pt x="696" y="421"/>
                </a:lnTo>
                <a:lnTo>
                  <a:pt x="696" y="422"/>
                </a:lnTo>
                <a:lnTo>
                  <a:pt x="696" y="424"/>
                </a:lnTo>
                <a:lnTo>
                  <a:pt x="700" y="422"/>
                </a:lnTo>
                <a:lnTo>
                  <a:pt x="701" y="420"/>
                </a:lnTo>
                <a:lnTo>
                  <a:pt x="703" y="419"/>
                </a:lnTo>
                <a:lnTo>
                  <a:pt x="703" y="415"/>
                </a:lnTo>
                <a:lnTo>
                  <a:pt x="707" y="413"/>
                </a:lnTo>
                <a:lnTo>
                  <a:pt x="709" y="415"/>
                </a:lnTo>
                <a:lnTo>
                  <a:pt x="713" y="418"/>
                </a:lnTo>
                <a:lnTo>
                  <a:pt x="716" y="418"/>
                </a:lnTo>
                <a:lnTo>
                  <a:pt x="722" y="419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9" y="422"/>
                </a:lnTo>
                <a:lnTo>
                  <a:pt x="729" y="420"/>
                </a:lnTo>
                <a:lnTo>
                  <a:pt x="727" y="412"/>
                </a:lnTo>
                <a:lnTo>
                  <a:pt x="727" y="404"/>
                </a:lnTo>
                <a:lnTo>
                  <a:pt x="731" y="401"/>
                </a:lnTo>
                <a:lnTo>
                  <a:pt x="731" y="398"/>
                </a:lnTo>
                <a:lnTo>
                  <a:pt x="737" y="404"/>
                </a:lnTo>
                <a:lnTo>
                  <a:pt x="737" y="412"/>
                </a:lnTo>
                <a:lnTo>
                  <a:pt x="737" y="414"/>
                </a:lnTo>
                <a:lnTo>
                  <a:pt x="736" y="418"/>
                </a:lnTo>
                <a:lnTo>
                  <a:pt x="735" y="429"/>
                </a:lnTo>
                <a:lnTo>
                  <a:pt x="734" y="441"/>
                </a:lnTo>
                <a:lnTo>
                  <a:pt x="732" y="448"/>
                </a:lnTo>
                <a:lnTo>
                  <a:pt x="735" y="454"/>
                </a:lnTo>
                <a:lnTo>
                  <a:pt x="735" y="457"/>
                </a:lnTo>
                <a:lnTo>
                  <a:pt x="735" y="460"/>
                </a:lnTo>
                <a:lnTo>
                  <a:pt x="734" y="462"/>
                </a:lnTo>
                <a:lnTo>
                  <a:pt x="735" y="464"/>
                </a:lnTo>
                <a:lnTo>
                  <a:pt x="735" y="468"/>
                </a:lnTo>
                <a:lnTo>
                  <a:pt x="734" y="470"/>
                </a:lnTo>
                <a:lnTo>
                  <a:pt x="731" y="473"/>
                </a:lnTo>
                <a:lnTo>
                  <a:pt x="728" y="474"/>
                </a:lnTo>
                <a:lnTo>
                  <a:pt x="725" y="471"/>
                </a:lnTo>
                <a:lnTo>
                  <a:pt x="727" y="468"/>
                </a:lnTo>
                <a:lnTo>
                  <a:pt x="727" y="464"/>
                </a:lnTo>
                <a:lnTo>
                  <a:pt x="727" y="461"/>
                </a:lnTo>
                <a:lnTo>
                  <a:pt x="723" y="450"/>
                </a:lnTo>
                <a:lnTo>
                  <a:pt x="713" y="447"/>
                </a:lnTo>
                <a:lnTo>
                  <a:pt x="708" y="446"/>
                </a:lnTo>
                <a:lnTo>
                  <a:pt x="704" y="442"/>
                </a:lnTo>
                <a:lnTo>
                  <a:pt x="704" y="443"/>
                </a:lnTo>
                <a:lnTo>
                  <a:pt x="704" y="445"/>
                </a:lnTo>
                <a:lnTo>
                  <a:pt x="704" y="443"/>
                </a:lnTo>
                <a:lnTo>
                  <a:pt x="704" y="442"/>
                </a:lnTo>
                <a:lnTo>
                  <a:pt x="703" y="443"/>
                </a:lnTo>
                <a:lnTo>
                  <a:pt x="703" y="446"/>
                </a:lnTo>
                <a:lnTo>
                  <a:pt x="703" y="446"/>
                </a:lnTo>
                <a:lnTo>
                  <a:pt x="700" y="446"/>
                </a:lnTo>
                <a:lnTo>
                  <a:pt x="696" y="445"/>
                </a:lnTo>
                <a:lnTo>
                  <a:pt x="696" y="445"/>
                </a:lnTo>
                <a:lnTo>
                  <a:pt x="696" y="445"/>
                </a:lnTo>
                <a:lnTo>
                  <a:pt x="696" y="442"/>
                </a:lnTo>
                <a:lnTo>
                  <a:pt x="695" y="440"/>
                </a:lnTo>
                <a:lnTo>
                  <a:pt x="700" y="438"/>
                </a:lnTo>
                <a:lnTo>
                  <a:pt x="697" y="434"/>
                </a:lnTo>
                <a:lnTo>
                  <a:pt x="695" y="432"/>
                </a:lnTo>
                <a:lnTo>
                  <a:pt x="695" y="428"/>
                </a:lnTo>
                <a:lnTo>
                  <a:pt x="696" y="428"/>
                </a:lnTo>
                <a:lnTo>
                  <a:pt x="696" y="427"/>
                </a:lnTo>
                <a:lnTo>
                  <a:pt x="696" y="426"/>
                </a:lnTo>
                <a:close/>
                <a:moveTo>
                  <a:pt x="713" y="384"/>
                </a:moveTo>
                <a:lnTo>
                  <a:pt x="711" y="384"/>
                </a:lnTo>
                <a:lnTo>
                  <a:pt x="709" y="385"/>
                </a:lnTo>
                <a:lnTo>
                  <a:pt x="711" y="384"/>
                </a:lnTo>
                <a:lnTo>
                  <a:pt x="713" y="384"/>
                </a:lnTo>
                <a:close/>
                <a:moveTo>
                  <a:pt x="736" y="338"/>
                </a:moveTo>
                <a:lnTo>
                  <a:pt x="737" y="336"/>
                </a:lnTo>
                <a:lnTo>
                  <a:pt x="735" y="334"/>
                </a:lnTo>
                <a:lnTo>
                  <a:pt x="743" y="331"/>
                </a:lnTo>
                <a:lnTo>
                  <a:pt x="751" y="331"/>
                </a:lnTo>
                <a:lnTo>
                  <a:pt x="751" y="333"/>
                </a:lnTo>
                <a:lnTo>
                  <a:pt x="751" y="333"/>
                </a:lnTo>
                <a:lnTo>
                  <a:pt x="750" y="334"/>
                </a:lnTo>
                <a:lnTo>
                  <a:pt x="751" y="336"/>
                </a:lnTo>
                <a:lnTo>
                  <a:pt x="753" y="336"/>
                </a:lnTo>
                <a:lnTo>
                  <a:pt x="755" y="334"/>
                </a:lnTo>
                <a:lnTo>
                  <a:pt x="756" y="334"/>
                </a:lnTo>
                <a:lnTo>
                  <a:pt x="757" y="334"/>
                </a:lnTo>
                <a:lnTo>
                  <a:pt x="757" y="336"/>
                </a:lnTo>
                <a:lnTo>
                  <a:pt x="757" y="338"/>
                </a:lnTo>
                <a:lnTo>
                  <a:pt x="759" y="338"/>
                </a:lnTo>
                <a:lnTo>
                  <a:pt x="763" y="338"/>
                </a:lnTo>
                <a:lnTo>
                  <a:pt x="762" y="336"/>
                </a:lnTo>
                <a:lnTo>
                  <a:pt x="760" y="334"/>
                </a:lnTo>
                <a:lnTo>
                  <a:pt x="762" y="333"/>
                </a:lnTo>
                <a:lnTo>
                  <a:pt x="763" y="333"/>
                </a:lnTo>
                <a:lnTo>
                  <a:pt x="764" y="331"/>
                </a:lnTo>
                <a:lnTo>
                  <a:pt x="766" y="331"/>
                </a:lnTo>
                <a:lnTo>
                  <a:pt x="771" y="326"/>
                </a:lnTo>
                <a:lnTo>
                  <a:pt x="778" y="328"/>
                </a:lnTo>
                <a:lnTo>
                  <a:pt x="782" y="328"/>
                </a:lnTo>
                <a:lnTo>
                  <a:pt x="785" y="328"/>
                </a:lnTo>
                <a:lnTo>
                  <a:pt x="783" y="330"/>
                </a:lnTo>
                <a:lnTo>
                  <a:pt x="780" y="333"/>
                </a:lnTo>
                <a:lnTo>
                  <a:pt x="783" y="334"/>
                </a:lnTo>
                <a:lnTo>
                  <a:pt x="785" y="335"/>
                </a:lnTo>
                <a:lnTo>
                  <a:pt x="783" y="334"/>
                </a:lnTo>
                <a:lnTo>
                  <a:pt x="780" y="333"/>
                </a:lnTo>
                <a:lnTo>
                  <a:pt x="771" y="335"/>
                </a:lnTo>
                <a:lnTo>
                  <a:pt x="763" y="338"/>
                </a:lnTo>
                <a:lnTo>
                  <a:pt x="759" y="338"/>
                </a:lnTo>
                <a:lnTo>
                  <a:pt x="757" y="338"/>
                </a:lnTo>
                <a:lnTo>
                  <a:pt x="745" y="343"/>
                </a:lnTo>
                <a:lnTo>
                  <a:pt x="732" y="343"/>
                </a:lnTo>
                <a:lnTo>
                  <a:pt x="734" y="341"/>
                </a:lnTo>
                <a:lnTo>
                  <a:pt x="735" y="338"/>
                </a:lnTo>
                <a:lnTo>
                  <a:pt x="736" y="338"/>
                </a:lnTo>
                <a:close/>
                <a:moveTo>
                  <a:pt x="742" y="287"/>
                </a:moveTo>
                <a:lnTo>
                  <a:pt x="742" y="291"/>
                </a:lnTo>
                <a:lnTo>
                  <a:pt x="741" y="292"/>
                </a:lnTo>
                <a:lnTo>
                  <a:pt x="739" y="292"/>
                </a:lnTo>
                <a:lnTo>
                  <a:pt x="738" y="291"/>
                </a:lnTo>
                <a:lnTo>
                  <a:pt x="739" y="288"/>
                </a:lnTo>
                <a:lnTo>
                  <a:pt x="742" y="287"/>
                </a:lnTo>
                <a:close/>
                <a:moveTo>
                  <a:pt x="750" y="272"/>
                </a:moveTo>
                <a:lnTo>
                  <a:pt x="753" y="267"/>
                </a:lnTo>
                <a:lnTo>
                  <a:pt x="759" y="267"/>
                </a:lnTo>
                <a:lnTo>
                  <a:pt x="762" y="268"/>
                </a:lnTo>
                <a:lnTo>
                  <a:pt x="762" y="270"/>
                </a:lnTo>
                <a:lnTo>
                  <a:pt x="764" y="273"/>
                </a:lnTo>
                <a:lnTo>
                  <a:pt x="766" y="278"/>
                </a:lnTo>
                <a:lnTo>
                  <a:pt x="768" y="281"/>
                </a:lnTo>
                <a:lnTo>
                  <a:pt x="765" y="286"/>
                </a:lnTo>
                <a:lnTo>
                  <a:pt x="760" y="281"/>
                </a:lnTo>
                <a:lnTo>
                  <a:pt x="755" y="277"/>
                </a:lnTo>
                <a:lnTo>
                  <a:pt x="752" y="277"/>
                </a:lnTo>
                <a:lnTo>
                  <a:pt x="751" y="279"/>
                </a:lnTo>
                <a:lnTo>
                  <a:pt x="746" y="282"/>
                </a:lnTo>
                <a:lnTo>
                  <a:pt x="742" y="287"/>
                </a:lnTo>
                <a:lnTo>
                  <a:pt x="744" y="279"/>
                </a:lnTo>
                <a:lnTo>
                  <a:pt x="750" y="272"/>
                </a:lnTo>
                <a:close/>
                <a:moveTo>
                  <a:pt x="787" y="356"/>
                </a:moveTo>
                <a:lnTo>
                  <a:pt x="787" y="357"/>
                </a:lnTo>
                <a:lnTo>
                  <a:pt x="786" y="357"/>
                </a:lnTo>
                <a:lnTo>
                  <a:pt x="787" y="357"/>
                </a:lnTo>
                <a:lnTo>
                  <a:pt x="787" y="356"/>
                </a:lnTo>
                <a:close/>
                <a:moveTo>
                  <a:pt x="798" y="342"/>
                </a:moveTo>
                <a:lnTo>
                  <a:pt x="796" y="341"/>
                </a:lnTo>
                <a:lnTo>
                  <a:pt x="794" y="338"/>
                </a:lnTo>
                <a:lnTo>
                  <a:pt x="790" y="338"/>
                </a:lnTo>
                <a:lnTo>
                  <a:pt x="787" y="335"/>
                </a:lnTo>
                <a:lnTo>
                  <a:pt x="792" y="334"/>
                </a:lnTo>
                <a:lnTo>
                  <a:pt x="794" y="338"/>
                </a:lnTo>
                <a:lnTo>
                  <a:pt x="796" y="341"/>
                </a:lnTo>
                <a:lnTo>
                  <a:pt x="798" y="342"/>
                </a:lnTo>
                <a:lnTo>
                  <a:pt x="798" y="342"/>
                </a:lnTo>
                <a:close/>
                <a:moveTo>
                  <a:pt x="783" y="351"/>
                </a:moveTo>
                <a:lnTo>
                  <a:pt x="783" y="351"/>
                </a:lnTo>
                <a:lnTo>
                  <a:pt x="783" y="351"/>
                </a:lnTo>
                <a:lnTo>
                  <a:pt x="783" y="351"/>
                </a:lnTo>
                <a:close/>
                <a:moveTo>
                  <a:pt x="801" y="429"/>
                </a:moveTo>
                <a:lnTo>
                  <a:pt x="803" y="427"/>
                </a:lnTo>
                <a:lnTo>
                  <a:pt x="801" y="424"/>
                </a:lnTo>
                <a:lnTo>
                  <a:pt x="798" y="424"/>
                </a:lnTo>
                <a:lnTo>
                  <a:pt x="796" y="424"/>
                </a:lnTo>
                <a:lnTo>
                  <a:pt x="798" y="426"/>
                </a:lnTo>
                <a:lnTo>
                  <a:pt x="800" y="431"/>
                </a:lnTo>
                <a:lnTo>
                  <a:pt x="797" y="432"/>
                </a:lnTo>
                <a:lnTo>
                  <a:pt x="792" y="433"/>
                </a:lnTo>
                <a:lnTo>
                  <a:pt x="792" y="433"/>
                </a:lnTo>
                <a:lnTo>
                  <a:pt x="792" y="429"/>
                </a:lnTo>
                <a:lnTo>
                  <a:pt x="790" y="429"/>
                </a:lnTo>
                <a:lnTo>
                  <a:pt x="784" y="429"/>
                </a:lnTo>
                <a:lnTo>
                  <a:pt x="783" y="425"/>
                </a:lnTo>
                <a:lnTo>
                  <a:pt x="783" y="425"/>
                </a:lnTo>
                <a:lnTo>
                  <a:pt x="783" y="424"/>
                </a:lnTo>
                <a:lnTo>
                  <a:pt x="784" y="420"/>
                </a:lnTo>
                <a:lnTo>
                  <a:pt x="783" y="417"/>
                </a:lnTo>
                <a:lnTo>
                  <a:pt x="783" y="412"/>
                </a:lnTo>
                <a:lnTo>
                  <a:pt x="780" y="408"/>
                </a:lnTo>
                <a:lnTo>
                  <a:pt x="782" y="407"/>
                </a:lnTo>
                <a:lnTo>
                  <a:pt x="783" y="407"/>
                </a:lnTo>
                <a:lnTo>
                  <a:pt x="784" y="403"/>
                </a:lnTo>
                <a:lnTo>
                  <a:pt x="783" y="397"/>
                </a:lnTo>
                <a:lnTo>
                  <a:pt x="783" y="393"/>
                </a:lnTo>
                <a:lnTo>
                  <a:pt x="784" y="390"/>
                </a:lnTo>
                <a:lnTo>
                  <a:pt x="785" y="385"/>
                </a:lnTo>
                <a:lnTo>
                  <a:pt x="789" y="383"/>
                </a:lnTo>
                <a:lnTo>
                  <a:pt x="792" y="385"/>
                </a:lnTo>
                <a:lnTo>
                  <a:pt x="792" y="391"/>
                </a:lnTo>
                <a:lnTo>
                  <a:pt x="792" y="403"/>
                </a:lnTo>
                <a:lnTo>
                  <a:pt x="792" y="415"/>
                </a:lnTo>
                <a:lnTo>
                  <a:pt x="793" y="420"/>
                </a:lnTo>
                <a:lnTo>
                  <a:pt x="798" y="420"/>
                </a:lnTo>
                <a:lnTo>
                  <a:pt x="798" y="418"/>
                </a:lnTo>
                <a:lnTo>
                  <a:pt x="797" y="415"/>
                </a:lnTo>
                <a:lnTo>
                  <a:pt x="798" y="418"/>
                </a:lnTo>
                <a:lnTo>
                  <a:pt x="798" y="420"/>
                </a:lnTo>
                <a:lnTo>
                  <a:pt x="799" y="422"/>
                </a:lnTo>
                <a:lnTo>
                  <a:pt x="801" y="421"/>
                </a:lnTo>
                <a:lnTo>
                  <a:pt x="804" y="421"/>
                </a:lnTo>
                <a:lnTo>
                  <a:pt x="806" y="420"/>
                </a:lnTo>
                <a:lnTo>
                  <a:pt x="806" y="421"/>
                </a:lnTo>
                <a:lnTo>
                  <a:pt x="806" y="424"/>
                </a:lnTo>
                <a:lnTo>
                  <a:pt x="804" y="424"/>
                </a:lnTo>
                <a:lnTo>
                  <a:pt x="801" y="424"/>
                </a:lnTo>
                <a:lnTo>
                  <a:pt x="803" y="427"/>
                </a:lnTo>
                <a:lnTo>
                  <a:pt x="801" y="429"/>
                </a:lnTo>
                <a:close/>
                <a:moveTo>
                  <a:pt x="791" y="450"/>
                </a:moveTo>
                <a:lnTo>
                  <a:pt x="791" y="455"/>
                </a:lnTo>
                <a:lnTo>
                  <a:pt x="787" y="459"/>
                </a:lnTo>
                <a:lnTo>
                  <a:pt x="784" y="454"/>
                </a:lnTo>
                <a:lnTo>
                  <a:pt x="783" y="449"/>
                </a:lnTo>
                <a:lnTo>
                  <a:pt x="783" y="446"/>
                </a:lnTo>
                <a:lnTo>
                  <a:pt x="783" y="442"/>
                </a:lnTo>
                <a:lnTo>
                  <a:pt x="777" y="434"/>
                </a:lnTo>
                <a:lnTo>
                  <a:pt x="768" y="434"/>
                </a:lnTo>
                <a:lnTo>
                  <a:pt x="764" y="431"/>
                </a:lnTo>
                <a:lnTo>
                  <a:pt x="760" y="428"/>
                </a:lnTo>
                <a:lnTo>
                  <a:pt x="758" y="432"/>
                </a:lnTo>
                <a:lnTo>
                  <a:pt x="757" y="434"/>
                </a:lnTo>
                <a:lnTo>
                  <a:pt x="753" y="436"/>
                </a:lnTo>
                <a:lnTo>
                  <a:pt x="752" y="433"/>
                </a:lnTo>
                <a:lnTo>
                  <a:pt x="751" y="429"/>
                </a:lnTo>
                <a:lnTo>
                  <a:pt x="752" y="425"/>
                </a:lnTo>
                <a:lnTo>
                  <a:pt x="758" y="422"/>
                </a:lnTo>
                <a:lnTo>
                  <a:pt x="752" y="419"/>
                </a:lnTo>
                <a:lnTo>
                  <a:pt x="752" y="418"/>
                </a:lnTo>
                <a:lnTo>
                  <a:pt x="752" y="414"/>
                </a:lnTo>
                <a:lnTo>
                  <a:pt x="756" y="414"/>
                </a:lnTo>
                <a:lnTo>
                  <a:pt x="758" y="412"/>
                </a:lnTo>
                <a:lnTo>
                  <a:pt x="756" y="410"/>
                </a:lnTo>
                <a:lnTo>
                  <a:pt x="752" y="410"/>
                </a:lnTo>
                <a:lnTo>
                  <a:pt x="749" y="412"/>
                </a:lnTo>
                <a:lnTo>
                  <a:pt x="746" y="414"/>
                </a:lnTo>
                <a:lnTo>
                  <a:pt x="746" y="414"/>
                </a:lnTo>
                <a:lnTo>
                  <a:pt x="745" y="414"/>
                </a:lnTo>
                <a:lnTo>
                  <a:pt x="746" y="414"/>
                </a:lnTo>
                <a:lnTo>
                  <a:pt x="746" y="414"/>
                </a:lnTo>
                <a:lnTo>
                  <a:pt x="749" y="412"/>
                </a:lnTo>
                <a:lnTo>
                  <a:pt x="752" y="410"/>
                </a:lnTo>
                <a:lnTo>
                  <a:pt x="757" y="405"/>
                </a:lnTo>
                <a:lnTo>
                  <a:pt x="760" y="399"/>
                </a:lnTo>
                <a:lnTo>
                  <a:pt x="760" y="399"/>
                </a:lnTo>
                <a:lnTo>
                  <a:pt x="764" y="403"/>
                </a:lnTo>
                <a:lnTo>
                  <a:pt x="766" y="407"/>
                </a:lnTo>
                <a:lnTo>
                  <a:pt x="764" y="410"/>
                </a:lnTo>
                <a:lnTo>
                  <a:pt x="765" y="413"/>
                </a:lnTo>
                <a:lnTo>
                  <a:pt x="769" y="413"/>
                </a:lnTo>
                <a:lnTo>
                  <a:pt x="772" y="410"/>
                </a:lnTo>
                <a:lnTo>
                  <a:pt x="770" y="414"/>
                </a:lnTo>
                <a:lnTo>
                  <a:pt x="766" y="419"/>
                </a:lnTo>
                <a:lnTo>
                  <a:pt x="771" y="421"/>
                </a:lnTo>
                <a:lnTo>
                  <a:pt x="769" y="425"/>
                </a:lnTo>
                <a:lnTo>
                  <a:pt x="769" y="426"/>
                </a:lnTo>
                <a:lnTo>
                  <a:pt x="769" y="427"/>
                </a:lnTo>
                <a:lnTo>
                  <a:pt x="770" y="428"/>
                </a:lnTo>
                <a:lnTo>
                  <a:pt x="772" y="428"/>
                </a:lnTo>
                <a:lnTo>
                  <a:pt x="776" y="426"/>
                </a:lnTo>
                <a:lnTo>
                  <a:pt x="780" y="425"/>
                </a:lnTo>
                <a:lnTo>
                  <a:pt x="782" y="429"/>
                </a:lnTo>
                <a:lnTo>
                  <a:pt x="784" y="432"/>
                </a:lnTo>
                <a:lnTo>
                  <a:pt x="790" y="438"/>
                </a:lnTo>
                <a:lnTo>
                  <a:pt x="790" y="446"/>
                </a:lnTo>
                <a:lnTo>
                  <a:pt x="790" y="448"/>
                </a:lnTo>
                <a:lnTo>
                  <a:pt x="791" y="450"/>
                </a:lnTo>
                <a:close/>
                <a:moveTo>
                  <a:pt x="796" y="442"/>
                </a:moveTo>
                <a:lnTo>
                  <a:pt x="799" y="450"/>
                </a:lnTo>
                <a:lnTo>
                  <a:pt x="794" y="459"/>
                </a:lnTo>
                <a:lnTo>
                  <a:pt x="793" y="450"/>
                </a:lnTo>
                <a:lnTo>
                  <a:pt x="796" y="442"/>
                </a:lnTo>
                <a:close/>
                <a:moveTo>
                  <a:pt x="794" y="466"/>
                </a:moveTo>
                <a:lnTo>
                  <a:pt x="796" y="463"/>
                </a:lnTo>
                <a:lnTo>
                  <a:pt x="797" y="461"/>
                </a:lnTo>
                <a:lnTo>
                  <a:pt x="798" y="463"/>
                </a:lnTo>
                <a:lnTo>
                  <a:pt x="798" y="466"/>
                </a:lnTo>
                <a:lnTo>
                  <a:pt x="798" y="466"/>
                </a:lnTo>
                <a:lnTo>
                  <a:pt x="798" y="474"/>
                </a:lnTo>
                <a:lnTo>
                  <a:pt x="790" y="477"/>
                </a:lnTo>
                <a:lnTo>
                  <a:pt x="787" y="478"/>
                </a:lnTo>
                <a:lnTo>
                  <a:pt x="784" y="477"/>
                </a:lnTo>
                <a:lnTo>
                  <a:pt x="784" y="474"/>
                </a:lnTo>
                <a:lnTo>
                  <a:pt x="786" y="470"/>
                </a:lnTo>
                <a:lnTo>
                  <a:pt x="790" y="469"/>
                </a:lnTo>
                <a:lnTo>
                  <a:pt x="792" y="473"/>
                </a:lnTo>
                <a:lnTo>
                  <a:pt x="793" y="469"/>
                </a:lnTo>
                <a:lnTo>
                  <a:pt x="794" y="466"/>
                </a:lnTo>
                <a:close/>
                <a:moveTo>
                  <a:pt x="784" y="489"/>
                </a:moveTo>
                <a:lnTo>
                  <a:pt x="784" y="485"/>
                </a:lnTo>
                <a:lnTo>
                  <a:pt x="786" y="484"/>
                </a:lnTo>
                <a:lnTo>
                  <a:pt x="787" y="485"/>
                </a:lnTo>
                <a:lnTo>
                  <a:pt x="787" y="489"/>
                </a:lnTo>
                <a:lnTo>
                  <a:pt x="787" y="490"/>
                </a:lnTo>
                <a:lnTo>
                  <a:pt x="789" y="491"/>
                </a:lnTo>
                <a:lnTo>
                  <a:pt x="787" y="496"/>
                </a:lnTo>
                <a:lnTo>
                  <a:pt x="783" y="497"/>
                </a:lnTo>
                <a:lnTo>
                  <a:pt x="784" y="493"/>
                </a:lnTo>
                <a:lnTo>
                  <a:pt x="784" y="489"/>
                </a:lnTo>
                <a:close/>
                <a:moveTo>
                  <a:pt x="799" y="560"/>
                </a:moveTo>
                <a:lnTo>
                  <a:pt x="799" y="560"/>
                </a:lnTo>
                <a:lnTo>
                  <a:pt x="791" y="556"/>
                </a:lnTo>
                <a:lnTo>
                  <a:pt x="783" y="552"/>
                </a:lnTo>
                <a:lnTo>
                  <a:pt x="782" y="551"/>
                </a:lnTo>
                <a:lnTo>
                  <a:pt x="779" y="551"/>
                </a:lnTo>
                <a:lnTo>
                  <a:pt x="780" y="549"/>
                </a:lnTo>
                <a:lnTo>
                  <a:pt x="780" y="547"/>
                </a:lnTo>
                <a:lnTo>
                  <a:pt x="780" y="547"/>
                </a:lnTo>
                <a:lnTo>
                  <a:pt x="785" y="547"/>
                </a:lnTo>
                <a:lnTo>
                  <a:pt x="787" y="546"/>
                </a:lnTo>
                <a:lnTo>
                  <a:pt x="791" y="546"/>
                </a:lnTo>
                <a:lnTo>
                  <a:pt x="792" y="550"/>
                </a:lnTo>
                <a:lnTo>
                  <a:pt x="792" y="552"/>
                </a:lnTo>
                <a:lnTo>
                  <a:pt x="794" y="552"/>
                </a:lnTo>
                <a:lnTo>
                  <a:pt x="803" y="553"/>
                </a:lnTo>
                <a:lnTo>
                  <a:pt x="799" y="560"/>
                </a:lnTo>
                <a:lnTo>
                  <a:pt x="799" y="560"/>
                </a:lnTo>
                <a:close/>
                <a:moveTo>
                  <a:pt x="790" y="571"/>
                </a:moveTo>
                <a:lnTo>
                  <a:pt x="798" y="572"/>
                </a:lnTo>
                <a:lnTo>
                  <a:pt x="798" y="581"/>
                </a:lnTo>
                <a:lnTo>
                  <a:pt x="793" y="579"/>
                </a:lnTo>
                <a:lnTo>
                  <a:pt x="790" y="575"/>
                </a:lnTo>
                <a:lnTo>
                  <a:pt x="790" y="573"/>
                </a:lnTo>
                <a:lnTo>
                  <a:pt x="790" y="571"/>
                </a:lnTo>
                <a:close/>
                <a:moveTo>
                  <a:pt x="787" y="594"/>
                </a:moveTo>
                <a:lnTo>
                  <a:pt x="791" y="594"/>
                </a:lnTo>
                <a:lnTo>
                  <a:pt x="793" y="593"/>
                </a:lnTo>
                <a:lnTo>
                  <a:pt x="790" y="592"/>
                </a:lnTo>
                <a:lnTo>
                  <a:pt x="787" y="589"/>
                </a:lnTo>
                <a:lnTo>
                  <a:pt x="789" y="587"/>
                </a:lnTo>
                <a:lnTo>
                  <a:pt x="792" y="586"/>
                </a:lnTo>
                <a:lnTo>
                  <a:pt x="794" y="584"/>
                </a:lnTo>
                <a:lnTo>
                  <a:pt x="798" y="584"/>
                </a:lnTo>
                <a:lnTo>
                  <a:pt x="800" y="591"/>
                </a:lnTo>
                <a:lnTo>
                  <a:pt x="793" y="593"/>
                </a:lnTo>
                <a:lnTo>
                  <a:pt x="791" y="594"/>
                </a:lnTo>
                <a:lnTo>
                  <a:pt x="787" y="594"/>
                </a:lnTo>
                <a:close/>
                <a:moveTo>
                  <a:pt x="776" y="669"/>
                </a:moveTo>
                <a:lnTo>
                  <a:pt x="779" y="666"/>
                </a:lnTo>
                <a:lnTo>
                  <a:pt x="783" y="664"/>
                </a:lnTo>
                <a:lnTo>
                  <a:pt x="785" y="664"/>
                </a:lnTo>
                <a:lnTo>
                  <a:pt x="787" y="664"/>
                </a:lnTo>
                <a:lnTo>
                  <a:pt x="787" y="664"/>
                </a:lnTo>
                <a:lnTo>
                  <a:pt x="787" y="669"/>
                </a:lnTo>
                <a:lnTo>
                  <a:pt x="787" y="672"/>
                </a:lnTo>
                <a:lnTo>
                  <a:pt x="787" y="672"/>
                </a:lnTo>
                <a:lnTo>
                  <a:pt x="786" y="672"/>
                </a:lnTo>
                <a:lnTo>
                  <a:pt x="785" y="671"/>
                </a:lnTo>
                <a:lnTo>
                  <a:pt x="783" y="671"/>
                </a:lnTo>
                <a:lnTo>
                  <a:pt x="782" y="671"/>
                </a:lnTo>
                <a:lnTo>
                  <a:pt x="780" y="671"/>
                </a:lnTo>
                <a:lnTo>
                  <a:pt x="780" y="671"/>
                </a:lnTo>
                <a:lnTo>
                  <a:pt x="779" y="672"/>
                </a:lnTo>
                <a:lnTo>
                  <a:pt x="779" y="672"/>
                </a:lnTo>
                <a:lnTo>
                  <a:pt x="776" y="673"/>
                </a:lnTo>
                <a:lnTo>
                  <a:pt x="773" y="671"/>
                </a:lnTo>
                <a:lnTo>
                  <a:pt x="773" y="670"/>
                </a:lnTo>
                <a:lnTo>
                  <a:pt x="776" y="669"/>
                </a:lnTo>
                <a:close/>
                <a:moveTo>
                  <a:pt x="768" y="596"/>
                </a:moveTo>
                <a:lnTo>
                  <a:pt x="771" y="592"/>
                </a:lnTo>
                <a:lnTo>
                  <a:pt x="777" y="592"/>
                </a:lnTo>
                <a:lnTo>
                  <a:pt x="777" y="596"/>
                </a:lnTo>
                <a:lnTo>
                  <a:pt x="772" y="598"/>
                </a:lnTo>
                <a:lnTo>
                  <a:pt x="770" y="598"/>
                </a:lnTo>
                <a:lnTo>
                  <a:pt x="768" y="596"/>
                </a:lnTo>
                <a:close/>
                <a:moveTo>
                  <a:pt x="757" y="484"/>
                </a:moveTo>
                <a:lnTo>
                  <a:pt x="753" y="487"/>
                </a:lnTo>
                <a:lnTo>
                  <a:pt x="749" y="488"/>
                </a:lnTo>
                <a:lnTo>
                  <a:pt x="751" y="483"/>
                </a:lnTo>
                <a:lnTo>
                  <a:pt x="756" y="482"/>
                </a:lnTo>
                <a:lnTo>
                  <a:pt x="757" y="483"/>
                </a:lnTo>
                <a:lnTo>
                  <a:pt x="757" y="484"/>
                </a:lnTo>
                <a:close/>
                <a:moveTo>
                  <a:pt x="762" y="561"/>
                </a:moveTo>
                <a:lnTo>
                  <a:pt x="758" y="566"/>
                </a:lnTo>
                <a:lnTo>
                  <a:pt x="753" y="570"/>
                </a:lnTo>
                <a:lnTo>
                  <a:pt x="752" y="568"/>
                </a:lnTo>
                <a:lnTo>
                  <a:pt x="752" y="567"/>
                </a:lnTo>
                <a:lnTo>
                  <a:pt x="751" y="567"/>
                </a:lnTo>
                <a:lnTo>
                  <a:pt x="750" y="566"/>
                </a:lnTo>
                <a:lnTo>
                  <a:pt x="751" y="567"/>
                </a:lnTo>
                <a:lnTo>
                  <a:pt x="752" y="567"/>
                </a:lnTo>
                <a:lnTo>
                  <a:pt x="756" y="563"/>
                </a:lnTo>
                <a:lnTo>
                  <a:pt x="762" y="561"/>
                </a:lnTo>
                <a:lnTo>
                  <a:pt x="763" y="558"/>
                </a:lnTo>
                <a:lnTo>
                  <a:pt x="765" y="554"/>
                </a:lnTo>
                <a:lnTo>
                  <a:pt x="765" y="559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close/>
                <a:moveTo>
                  <a:pt x="772" y="493"/>
                </a:moveTo>
                <a:lnTo>
                  <a:pt x="762" y="500"/>
                </a:lnTo>
                <a:lnTo>
                  <a:pt x="750" y="502"/>
                </a:lnTo>
                <a:lnTo>
                  <a:pt x="755" y="494"/>
                </a:lnTo>
                <a:lnTo>
                  <a:pt x="763" y="494"/>
                </a:lnTo>
                <a:lnTo>
                  <a:pt x="766" y="494"/>
                </a:lnTo>
                <a:lnTo>
                  <a:pt x="772" y="493"/>
                </a:lnTo>
                <a:close/>
                <a:moveTo>
                  <a:pt x="778" y="480"/>
                </a:moveTo>
                <a:lnTo>
                  <a:pt x="775" y="482"/>
                </a:lnTo>
                <a:lnTo>
                  <a:pt x="770" y="483"/>
                </a:lnTo>
                <a:lnTo>
                  <a:pt x="769" y="482"/>
                </a:lnTo>
                <a:lnTo>
                  <a:pt x="768" y="482"/>
                </a:lnTo>
                <a:lnTo>
                  <a:pt x="771" y="478"/>
                </a:lnTo>
                <a:lnTo>
                  <a:pt x="775" y="476"/>
                </a:lnTo>
                <a:lnTo>
                  <a:pt x="777" y="477"/>
                </a:lnTo>
                <a:lnTo>
                  <a:pt x="778" y="480"/>
                </a:lnTo>
                <a:close/>
                <a:moveTo>
                  <a:pt x="783" y="596"/>
                </a:moveTo>
                <a:lnTo>
                  <a:pt x="782" y="598"/>
                </a:lnTo>
                <a:lnTo>
                  <a:pt x="782" y="598"/>
                </a:lnTo>
                <a:lnTo>
                  <a:pt x="782" y="598"/>
                </a:lnTo>
                <a:lnTo>
                  <a:pt x="780" y="596"/>
                </a:lnTo>
                <a:lnTo>
                  <a:pt x="780" y="594"/>
                </a:lnTo>
                <a:lnTo>
                  <a:pt x="779" y="593"/>
                </a:lnTo>
                <a:lnTo>
                  <a:pt x="780" y="594"/>
                </a:lnTo>
                <a:lnTo>
                  <a:pt x="780" y="596"/>
                </a:lnTo>
                <a:lnTo>
                  <a:pt x="782" y="596"/>
                </a:lnTo>
                <a:lnTo>
                  <a:pt x="783" y="596"/>
                </a:lnTo>
                <a:close/>
                <a:moveTo>
                  <a:pt x="776" y="572"/>
                </a:moveTo>
                <a:lnTo>
                  <a:pt x="780" y="568"/>
                </a:lnTo>
                <a:lnTo>
                  <a:pt x="785" y="566"/>
                </a:lnTo>
                <a:lnTo>
                  <a:pt x="787" y="568"/>
                </a:lnTo>
                <a:lnTo>
                  <a:pt x="789" y="571"/>
                </a:lnTo>
                <a:lnTo>
                  <a:pt x="789" y="571"/>
                </a:lnTo>
                <a:lnTo>
                  <a:pt x="790" y="571"/>
                </a:lnTo>
                <a:lnTo>
                  <a:pt x="789" y="571"/>
                </a:lnTo>
                <a:lnTo>
                  <a:pt x="789" y="571"/>
                </a:lnTo>
                <a:lnTo>
                  <a:pt x="783" y="572"/>
                </a:lnTo>
                <a:lnTo>
                  <a:pt x="776" y="572"/>
                </a:lnTo>
                <a:close/>
                <a:moveTo>
                  <a:pt x="741" y="350"/>
                </a:moveTo>
                <a:lnTo>
                  <a:pt x="744" y="349"/>
                </a:lnTo>
                <a:lnTo>
                  <a:pt x="748" y="349"/>
                </a:lnTo>
                <a:lnTo>
                  <a:pt x="757" y="344"/>
                </a:lnTo>
                <a:lnTo>
                  <a:pt x="768" y="341"/>
                </a:lnTo>
                <a:lnTo>
                  <a:pt x="762" y="348"/>
                </a:lnTo>
                <a:lnTo>
                  <a:pt x="752" y="351"/>
                </a:lnTo>
                <a:lnTo>
                  <a:pt x="750" y="349"/>
                </a:lnTo>
                <a:lnTo>
                  <a:pt x="748" y="349"/>
                </a:lnTo>
                <a:lnTo>
                  <a:pt x="744" y="349"/>
                </a:lnTo>
                <a:lnTo>
                  <a:pt x="741" y="350"/>
                </a:lnTo>
                <a:close/>
                <a:moveTo>
                  <a:pt x="744" y="434"/>
                </a:moveTo>
                <a:lnTo>
                  <a:pt x="746" y="435"/>
                </a:lnTo>
                <a:lnTo>
                  <a:pt x="750" y="434"/>
                </a:lnTo>
                <a:lnTo>
                  <a:pt x="749" y="438"/>
                </a:lnTo>
                <a:lnTo>
                  <a:pt x="746" y="439"/>
                </a:lnTo>
                <a:lnTo>
                  <a:pt x="746" y="440"/>
                </a:lnTo>
                <a:lnTo>
                  <a:pt x="745" y="441"/>
                </a:lnTo>
                <a:lnTo>
                  <a:pt x="745" y="443"/>
                </a:lnTo>
                <a:lnTo>
                  <a:pt x="741" y="446"/>
                </a:lnTo>
                <a:lnTo>
                  <a:pt x="737" y="449"/>
                </a:lnTo>
                <a:lnTo>
                  <a:pt x="739" y="441"/>
                </a:lnTo>
                <a:lnTo>
                  <a:pt x="744" y="434"/>
                </a:lnTo>
                <a:close/>
                <a:moveTo>
                  <a:pt x="725" y="482"/>
                </a:moveTo>
                <a:lnTo>
                  <a:pt x="727" y="477"/>
                </a:lnTo>
                <a:lnTo>
                  <a:pt x="731" y="476"/>
                </a:lnTo>
                <a:lnTo>
                  <a:pt x="734" y="478"/>
                </a:lnTo>
                <a:lnTo>
                  <a:pt x="734" y="482"/>
                </a:lnTo>
                <a:lnTo>
                  <a:pt x="734" y="484"/>
                </a:lnTo>
                <a:lnTo>
                  <a:pt x="736" y="485"/>
                </a:lnTo>
                <a:lnTo>
                  <a:pt x="736" y="483"/>
                </a:lnTo>
                <a:lnTo>
                  <a:pt x="737" y="481"/>
                </a:lnTo>
                <a:lnTo>
                  <a:pt x="737" y="477"/>
                </a:lnTo>
                <a:lnTo>
                  <a:pt x="739" y="475"/>
                </a:lnTo>
                <a:lnTo>
                  <a:pt x="742" y="477"/>
                </a:lnTo>
                <a:lnTo>
                  <a:pt x="741" y="481"/>
                </a:lnTo>
                <a:lnTo>
                  <a:pt x="737" y="490"/>
                </a:lnTo>
                <a:lnTo>
                  <a:pt x="729" y="494"/>
                </a:lnTo>
                <a:lnTo>
                  <a:pt x="725" y="494"/>
                </a:lnTo>
                <a:lnTo>
                  <a:pt x="725" y="491"/>
                </a:lnTo>
                <a:lnTo>
                  <a:pt x="725" y="487"/>
                </a:lnTo>
                <a:lnTo>
                  <a:pt x="725" y="482"/>
                </a:lnTo>
                <a:close/>
                <a:moveTo>
                  <a:pt x="732" y="497"/>
                </a:moveTo>
                <a:lnTo>
                  <a:pt x="731" y="503"/>
                </a:lnTo>
                <a:lnTo>
                  <a:pt x="730" y="507"/>
                </a:lnTo>
                <a:lnTo>
                  <a:pt x="728" y="509"/>
                </a:lnTo>
                <a:lnTo>
                  <a:pt x="727" y="511"/>
                </a:lnTo>
                <a:lnTo>
                  <a:pt x="728" y="509"/>
                </a:lnTo>
                <a:lnTo>
                  <a:pt x="730" y="507"/>
                </a:lnTo>
                <a:lnTo>
                  <a:pt x="727" y="507"/>
                </a:lnTo>
                <a:lnTo>
                  <a:pt x="724" y="507"/>
                </a:lnTo>
                <a:lnTo>
                  <a:pt x="724" y="507"/>
                </a:lnTo>
                <a:lnTo>
                  <a:pt x="721" y="505"/>
                </a:lnTo>
                <a:lnTo>
                  <a:pt x="718" y="503"/>
                </a:lnTo>
                <a:lnTo>
                  <a:pt x="724" y="500"/>
                </a:lnTo>
                <a:lnTo>
                  <a:pt x="732" y="497"/>
                </a:lnTo>
                <a:close/>
                <a:moveTo>
                  <a:pt x="707" y="496"/>
                </a:moveTo>
                <a:lnTo>
                  <a:pt x="713" y="493"/>
                </a:lnTo>
                <a:lnTo>
                  <a:pt x="717" y="491"/>
                </a:lnTo>
                <a:lnTo>
                  <a:pt x="718" y="493"/>
                </a:lnTo>
                <a:lnTo>
                  <a:pt x="718" y="494"/>
                </a:lnTo>
                <a:lnTo>
                  <a:pt x="714" y="496"/>
                </a:lnTo>
                <a:lnTo>
                  <a:pt x="707" y="496"/>
                </a:lnTo>
                <a:close/>
                <a:moveTo>
                  <a:pt x="711" y="511"/>
                </a:moveTo>
                <a:lnTo>
                  <a:pt x="709" y="514"/>
                </a:lnTo>
                <a:lnTo>
                  <a:pt x="710" y="516"/>
                </a:lnTo>
                <a:lnTo>
                  <a:pt x="709" y="514"/>
                </a:lnTo>
                <a:lnTo>
                  <a:pt x="711" y="511"/>
                </a:lnTo>
                <a:lnTo>
                  <a:pt x="709" y="509"/>
                </a:lnTo>
                <a:lnTo>
                  <a:pt x="707" y="508"/>
                </a:lnTo>
                <a:lnTo>
                  <a:pt x="710" y="507"/>
                </a:lnTo>
                <a:lnTo>
                  <a:pt x="715" y="507"/>
                </a:lnTo>
                <a:lnTo>
                  <a:pt x="714" y="509"/>
                </a:lnTo>
                <a:lnTo>
                  <a:pt x="714" y="511"/>
                </a:lnTo>
                <a:lnTo>
                  <a:pt x="714" y="511"/>
                </a:lnTo>
                <a:lnTo>
                  <a:pt x="713" y="511"/>
                </a:lnTo>
                <a:lnTo>
                  <a:pt x="711" y="511"/>
                </a:lnTo>
                <a:close/>
                <a:moveTo>
                  <a:pt x="681" y="690"/>
                </a:moveTo>
                <a:lnTo>
                  <a:pt x="686" y="689"/>
                </a:lnTo>
                <a:lnTo>
                  <a:pt x="689" y="689"/>
                </a:lnTo>
                <a:lnTo>
                  <a:pt x="690" y="692"/>
                </a:lnTo>
                <a:lnTo>
                  <a:pt x="689" y="696"/>
                </a:lnTo>
                <a:lnTo>
                  <a:pt x="682" y="696"/>
                </a:lnTo>
                <a:lnTo>
                  <a:pt x="676" y="699"/>
                </a:lnTo>
                <a:lnTo>
                  <a:pt x="677" y="694"/>
                </a:lnTo>
                <a:lnTo>
                  <a:pt x="681" y="690"/>
                </a:lnTo>
                <a:close/>
                <a:moveTo>
                  <a:pt x="677" y="624"/>
                </a:moveTo>
                <a:lnTo>
                  <a:pt x="676" y="624"/>
                </a:lnTo>
                <a:lnTo>
                  <a:pt x="675" y="623"/>
                </a:lnTo>
                <a:lnTo>
                  <a:pt x="676" y="624"/>
                </a:lnTo>
                <a:lnTo>
                  <a:pt x="677" y="624"/>
                </a:lnTo>
                <a:close/>
                <a:moveTo>
                  <a:pt x="690" y="614"/>
                </a:moveTo>
                <a:lnTo>
                  <a:pt x="690" y="616"/>
                </a:lnTo>
                <a:lnTo>
                  <a:pt x="689" y="619"/>
                </a:lnTo>
                <a:lnTo>
                  <a:pt x="689" y="619"/>
                </a:lnTo>
                <a:lnTo>
                  <a:pt x="683" y="621"/>
                </a:lnTo>
                <a:lnTo>
                  <a:pt x="677" y="623"/>
                </a:lnTo>
                <a:lnTo>
                  <a:pt x="676" y="621"/>
                </a:lnTo>
                <a:lnTo>
                  <a:pt x="675" y="619"/>
                </a:lnTo>
                <a:lnTo>
                  <a:pt x="682" y="614"/>
                </a:lnTo>
                <a:lnTo>
                  <a:pt x="690" y="614"/>
                </a:lnTo>
                <a:close/>
                <a:moveTo>
                  <a:pt x="689" y="600"/>
                </a:moveTo>
                <a:lnTo>
                  <a:pt x="684" y="603"/>
                </a:lnTo>
                <a:lnTo>
                  <a:pt x="679" y="603"/>
                </a:lnTo>
                <a:lnTo>
                  <a:pt x="683" y="600"/>
                </a:lnTo>
                <a:lnTo>
                  <a:pt x="689" y="600"/>
                </a:lnTo>
                <a:close/>
                <a:moveTo>
                  <a:pt x="684" y="490"/>
                </a:moveTo>
                <a:lnTo>
                  <a:pt x="684" y="495"/>
                </a:lnTo>
                <a:lnTo>
                  <a:pt x="681" y="498"/>
                </a:lnTo>
                <a:lnTo>
                  <a:pt x="681" y="494"/>
                </a:lnTo>
                <a:lnTo>
                  <a:pt x="682" y="490"/>
                </a:lnTo>
                <a:lnTo>
                  <a:pt x="683" y="490"/>
                </a:lnTo>
                <a:lnTo>
                  <a:pt x="684" y="490"/>
                </a:lnTo>
                <a:close/>
                <a:moveTo>
                  <a:pt x="661" y="612"/>
                </a:moveTo>
                <a:lnTo>
                  <a:pt x="660" y="608"/>
                </a:lnTo>
                <a:lnTo>
                  <a:pt x="660" y="603"/>
                </a:lnTo>
                <a:lnTo>
                  <a:pt x="665" y="605"/>
                </a:lnTo>
                <a:lnTo>
                  <a:pt x="670" y="607"/>
                </a:lnTo>
                <a:lnTo>
                  <a:pt x="666" y="610"/>
                </a:lnTo>
                <a:lnTo>
                  <a:pt x="661" y="612"/>
                </a:lnTo>
                <a:close/>
                <a:moveTo>
                  <a:pt x="644" y="619"/>
                </a:moveTo>
                <a:lnTo>
                  <a:pt x="642" y="619"/>
                </a:lnTo>
                <a:lnTo>
                  <a:pt x="642" y="619"/>
                </a:lnTo>
                <a:lnTo>
                  <a:pt x="642" y="619"/>
                </a:lnTo>
                <a:lnTo>
                  <a:pt x="644" y="619"/>
                </a:lnTo>
                <a:close/>
                <a:moveTo>
                  <a:pt x="642" y="616"/>
                </a:moveTo>
                <a:lnTo>
                  <a:pt x="642" y="616"/>
                </a:lnTo>
                <a:lnTo>
                  <a:pt x="642" y="617"/>
                </a:lnTo>
                <a:lnTo>
                  <a:pt x="642" y="616"/>
                </a:lnTo>
                <a:lnTo>
                  <a:pt x="642" y="616"/>
                </a:lnTo>
                <a:lnTo>
                  <a:pt x="639" y="616"/>
                </a:lnTo>
                <a:lnTo>
                  <a:pt x="637" y="613"/>
                </a:lnTo>
                <a:lnTo>
                  <a:pt x="645" y="608"/>
                </a:lnTo>
                <a:lnTo>
                  <a:pt x="652" y="601"/>
                </a:lnTo>
                <a:lnTo>
                  <a:pt x="656" y="599"/>
                </a:lnTo>
                <a:lnTo>
                  <a:pt x="660" y="603"/>
                </a:lnTo>
                <a:lnTo>
                  <a:pt x="651" y="608"/>
                </a:lnTo>
                <a:lnTo>
                  <a:pt x="642" y="616"/>
                </a:lnTo>
                <a:close/>
                <a:moveTo>
                  <a:pt x="653" y="711"/>
                </a:moveTo>
                <a:lnTo>
                  <a:pt x="652" y="712"/>
                </a:lnTo>
                <a:lnTo>
                  <a:pt x="651" y="714"/>
                </a:lnTo>
                <a:lnTo>
                  <a:pt x="652" y="712"/>
                </a:lnTo>
                <a:lnTo>
                  <a:pt x="653" y="711"/>
                </a:lnTo>
                <a:lnTo>
                  <a:pt x="653" y="711"/>
                </a:lnTo>
                <a:close/>
                <a:moveTo>
                  <a:pt x="634" y="623"/>
                </a:moveTo>
                <a:lnTo>
                  <a:pt x="645" y="623"/>
                </a:lnTo>
                <a:lnTo>
                  <a:pt x="655" y="622"/>
                </a:lnTo>
                <a:lnTo>
                  <a:pt x="661" y="621"/>
                </a:lnTo>
                <a:lnTo>
                  <a:pt x="667" y="619"/>
                </a:lnTo>
                <a:lnTo>
                  <a:pt x="666" y="623"/>
                </a:lnTo>
                <a:lnTo>
                  <a:pt x="665" y="627"/>
                </a:lnTo>
                <a:lnTo>
                  <a:pt x="665" y="627"/>
                </a:lnTo>
                <a:lnTo>
                  <a:pt x="663" y="627"/>
                </a:lnTo>
                <a:lnTo>
                  <a:pt x="663" y="626"/>
                </a:lnTo>
                <a:lnTo>
                  <a:pt x="661" y="624"/>
                </a:lnTo>
                <a:lnTo>
                  <a:pt x="660" y="626"/>
                </a:lnTo>
                <a:lnTo>
                  <a:pt x="660" y="627"/>
                </a:lnTo>
                <a:lnTo>
                  <a:pt x="658" y="627"/>
                </a:lnTo>
                <a:lnTo>
                  <a:pt x="655" y="627"/>
                </a:lnTo>
                <a:lnTo>
                  <a:pt x="655" y="624"/>
                </a:lnTo>
                <a:lnTo>
                  <a:pt x="655" y="622"/>
                </a:lnTo>
                <a:lnTo>
                  <a:pt x="645" y="623"/>
                </a:lnTo>
                <a:lnTo>
                  <a:pt x="634" y="623"/>
                </a:lnTo>
                <a:close/>
                <a:moveTo>
                  <a:pt x="673" y="518"/>
                </a:moveTo>
                <a:lnTo>
                  <a:pt x="668" y="519"/>
                </a:lnTo>
                <a:lnTo>
                  <a:pt x="667" y="516"/>
                </a:lnTo>
                <a:lnTo>
                  <a:pt x="668" y="505"/>
                </a:lnTo>
                <a:lnTo>
                  <a:pt x="669" y="495"/>
                </a:lnTo>
                <a:lnTo>
                  <a:pt x="670" y="491"/>
                </a:lnTo>
                <a:lnTo>
                  <a:pt x="674" y="490"/>
                </a:lnTo>
                <a:lnTo>
                  <a:pt x="676" y="493"/>
                </a:lnTo>
                <a:lnTo>
                  <a:pt x="676" y="495"/>
                </a:lnTo>
                <a:lnTo>
                  <a:pt x="679" y="507"/>
                </a:lnTo>
                <a:lnTo>
                  <a:pt x="688" y="512"/>
                </a:lnTo>
                <a:lnTo>
                  <a:pt x="693" y="516"/>
                </a:lnTo>
                <a:lnTo>
                  <a:pt x="690" y="522"/>
                </a:lnTo>
                <a:lnTo>
                  <a:pt x="688" y="524"/>
                </a:lnTo>
                <a:lnTo>
                  <a:pt x="687" y="526"/>
                </a:lnTo>
                <a:lnTo>
                  <a:pt x="681" y="518"/>
                </a:lnTo>
                <a:lnTo>
                  <a:pt x="673" y="518"/>
                </a:lnTo>
                <a:close/>
                <a:moveTo>
                  <a:pt x="674" y="622"/>
                </a:moveTo>
                <a:lnTo>
                  <a:pt x="674" y="622"/>
                </a:lnTo>
                <a:lnTo>
                  <a:pt x="674" y="621"/>
                </a:lnTo>
                <a:lnTo>
                  <a:pt x="674" y="622"/>
                </a:lnTo>
                <a:lnTo>
                  <a:pt x="674" y="622"/>
                </a:lnTo>
                <a:close/>
                <a:moveTo>
                  <a:pt x="672" y="617"/>
                </a:moveTo>
                <a:lnTo>
                  <a:pt x="674" y="617"/>
                </a:lnTo>
                <a:lnTo>
                  <a:pt x="675" y="619"/>
                </a:lnTo>
                <a:lnTo>
                  <a:pt x="674" y="617"/>
                </a:lnTo>
                <a:lnTo>
                  <a:pt x="672" y="617"/>
                </a:lnTo>
                <a:close/>
                <a:moveTo>
                  <a:pt x="696" y="647"/>
                </a:moveTo>
                <a:lnTo>
                  <a:pt x="695" y="648"/>
                </a:lnTo>
                <a:lnTo>
                  <a:pt x="695" y="648"/>
                </a:lnTo>
                <a:lnTo>
                  <a:pt x="695" y="648"/>
                </a:lnTo>
                <a:lnTo>
                  <a:pt x="696" y="647"/>
                </a:lnTo>
                <a:close/>
                <a:moveTo>
                  <a:pt x="701" y="627"/>
                </a:moveTo>
                <a:lnTo>
                  <a:pt x="701" y="627"/>
                </a:lnTo>
                <a:lnTo>
                  <a:pt x="701" y="627"/>
                </a:lnTo>
                <a:lnTo>
                  <a:pt x="701" y="627"/>
                </a:lnTo>
                <a:lnTo>
                  <a:pt x="701" y="627"/>
                </a:lnTo>
                <a:close/>
                <a:moveTo>
                  <a:pt x="711" y="613"/>
                </a:moveTo>
                <a:lnTo>
                  <a:pt x="710" y="614"/>
                </a:lnTo>
                <a:lnTo>
                  <a:pt x="710" y="614"/>
                </a:lnTo>
                <a:lnTo>
                  <a:pt x="710" y="614"/>
                </a:lnTo>
                <a:lnTo>
                  <a:pt x="711" y="613"/>
                </a:lnTo>
                <a:close/>
                <a:moveTo>
                  <a:pt x="711" y="613"/>
                </a:moveTo>
                <a:lnTo>
                  <a:pt x="706" y="613"/>
                </a:lnTo>
                <a:lnTo>
                  <a:pt x="702" y="616"/>
                </a:lnTo>
                <a:lnTo>
                  <a:pt x="701" y="616"/>
                </a:lnTo>
                <a:lnTo>
                  <a:pt x="700" y="616"/>
                </a:lnTo>
                <a:lnTo>
                  <a:pt x="699" y="614"/>
                </a:lnTo>
                <a:lnTo>
                  <a:pt x="697" y="612"/>
                </a:lnTo>
                <a:lnTo>
                  <a:pt x="696" y="612"/>
                </a:lnTo>
                <a:lnTo>
                  <a:pt x="694" y="612"/>
                </a:lnTo>
                <a:lnTo>
                  <a:pt x="696" y="612"/>
                </a:lnTo>
                <a:lnTo>
                  <a:pt x="697" y="612"/>
                </a:lnTo>
                <a:lnTo>
                  <a:pt x="701" y="609"/>
                </a:lnTo>
                <a:lnTo>
                  <a:pt x="697" y="607"/>
                </a:lnTo>
                <a:lnTo>
                  <a:pt x="694" y="607"/>
                </a:lnTo>
                <a:lnTo>
                  <a:pt x="689" y="608"/>
                </a:lnTo>
                <a:lnTo>
                  <a:pt x="694" y="607"/>
                </a:lnTo>
                <a:lnTo>
                  <a:pt x="697" y="607"/>
                </a:lnTo>
                <a:lnTo>
                  <a:pt x="700" y="602"/>
                </a:lnTo>
                <a:lnTo>
                  <a:pt x="704" y="600"/>
                </a:lnTo>
                <a:lnTo>
                  <a:pt x="699" y="596"/>
                </a:lnTo>
                <a:lnTo>
                  <a:pt x="693" y="596"/>
                </a:lnTo>
                <a:lnTo>
                  <a:pt x="690" y="596"/>
                </a:lnTo>
                <a:lnTo>
                  <a:pt x="690" y="595"/>
                </a:lnTo>
                <a:lnTo>
                  <a:pt x="690" y="594"/>
                </a:lnTo>
                <a:lnTo>
                  <a:pt x="692" y="592"/>
                </a:lnTo>
                <a:lnTo>
                  <a:pt x="695" y="588"/>
                </a:lnTo>
                <a:lnTo>
                  <a:pt x="697" y="582"/>
                </a:lnTo>
                <a:lnTo>
                  <a:pt x="697" y="578"/>
                </a:lnTo>
                <a:lnTo>
                  <a:pt x="701" y="573"/>
                </a:lnTo>
                <a:lnTo>
                  <a:pt x="704" y="579"/>
                </a:lnTo>
                <a:lnTo>
                  <a:pt x="706" y="586"/>
                </a:lnTo>
                <a:lnTo>
                  <a:pt x="706" y="592"/>
                </a:lnTo>
                <a:lnTo>
                  <a:pt x="710" y="593"/>
                </a:lnTo>
                <a:lnTo>
                  <a:pt x="709" y="596"/>
                </a:lnTo>
                <a:lnTo>
                  <a:pt x="707" y="598"/>
                </a:lnTo>
                <a:lnTo>
                  <a:pt x="704" y="605"/>
                </a:lnTo>
                <a:lnTo>
                  <a:pt x="713" y="608"/>
                </a:lnTo>
                <a:lnTo>
                  <a:pt x="711" y="610"/>
                </a:lnTo>
                <a:lnTo>
                  <a:pt x="711" y="613"/>
                </a:lnTo>
                <a:close/>
                <a:moveTo>
                  <a:pt x="727" y="620"/>
                </a:moveTo>
                <a:lnTo>
                  <a:pt x="725" y="615"/>
                </a:lnTo>
                <a:lnTo>
                  <a:pt x="724" y="612"/>
                </a:lnTo>
                <a:lnTo>
                  <a:pt x="723" y="612"/>
                </a:lnTo>
                <a:lnTo>
                  <a:pt x="722" y="612"/>
                </a:lnTo>
                <a:lnTo>
                  <a:pt x="722" y="614"/>
                </a:lnTo>
                <a:lnTo>
                  <a:pt x="721" y="615"/>
                </a:lnTo>
                <a:lnTo>
                  <a:pt x="722" y="614"/>
                </a:lnTo>
                <a:lnTo>
                  <a:pt x="722" y="612"/>
                </a:lnTo>
                <a:lnTo>
                  <a:pt x="720" y="609"/>
                </a:lnTo>
                <a:lnTo>
                  <a:pt x="720" y="607"/>
                </a:lnTo>
                <a:lnTo>
                  <a:pt x="728" y="602"/>
                </a:lnTo>
                <a:lnTo>
                  <a:pt x="736" y="602"/>
                </a:lnTo>
                <a:lnTo>
                  <a:pt x="730" y="607"/>
                </a:lnTo>
                <a:lnTo>
                  <a:pt x="724" y="612"/>
                </a:lnTo>
                <a:lnTo>
                  <a:pt x="725" y="615"/>
                </a:lnTo>
                <a:lnTo>
                  <a:pt x="727" y="620"/>
                </a:lnTo>
                <a:close/>
                <a:moveTo>
                  <a:pt x="742" y="587"/>
                </a:moveTo>
                <a:lnTo>
                  <a:pt x="741" y="588"/>
                </a:lnTo>
                <a:lnTo>
                  <a:pt x="741" y="588"/>
                </a:lnTo>
                <a:lnTo>
                  <a:pt x="741" y="588"/>
                </a:lnTo>
                <a:lnTo>
                  <a:pt x="742" y="587"/>
                </a:lnTo>
                <a:close/>
                <a:moveTo>
                  <a:pt x="736" y="587"/>
                </a:moveTo>
                <a:lnTo>
                  <a:pt x="736" y="585"/>
                </a:lnTo>
                <a:lnTo>
                  <a:pt x="734" y="585"/>
                </a:lnTo>
                <a:lnTo>
                  <a:pt x="731" y="588"/>
                </a:lnTo>
                <a:lnTo>
                  <a:pt x="727" y="588"/>
                </a:lnTo>
                <a:lnTo>
                  <a:pt x="731" y="588"/>
                </a:lnTo>
                <a:lnTo>
                  <a:pt x="734" y="585"/>
                </a:lnTo>
                <a:lnTo>
                  <a:pt x="736" y="575"/>
                </a:lnTo>
                <a:lnTo>
                  <a:pt x="735" y="567"/>
                </a:lnTo>
                <a:lnTo>
                  <a:pt x="737" y="565"/>
                </a:lnTo>
                <a:lnTo>
                  <a:pt x="738" y="563"/>
                </a:lnTo>
                <a:lnTo>
                  <a:pt x="739" y="563"/>
                </a:lnTo>
                <a:lnTo>
                  <a:pt x="739" y="563"/>
                </a:lnTo>
                <a:lnTo>
                  <a:pt x="741" y="563"/>
                </a:lnTo>
                <a:lnTo>
                  <a:pt x="741" y="563"/>
                </a:lnTo>
                <a:lnTo>
                  <a:pt x="741" y="563"/>
                </a:lnTo>
                <a:lnTo>
                  <a:pt x="743" y="573"/>
                </a:lnTo>
                <a:lnTo>
                  <a:pt x="748" y="582"/>
                </a:lnTo>
                <a:lnTo>
                  <a:pt x="743" y="582"/>
                </a:lnTo>
                <a:lnTo>
                  <a:pt x="742" y="587"/>
                </a:lnTo>
                <a:lnTo>
                  <a:pt x="738" y="591"/>
                </a:lnTo>
                <a:lnTo>
                  <a:pt x="736" y="587"/>
                </a:lnTo>
                <a:close/>
                <a:moveTo>
                  <a:pt x="758" y="608"/>
                </a:moveTo>
                <a:lnTo>
                  <a:pt x="756" y="607"/>
                </a:lnTo>
                <a:lnTo>
                  <a:pt x="755" y="605"/>
                </a:lnTo>
                <a:lnTo>
                  <a:pt x="751" y="602"/>
                </a:lnTo>
                <a:lnTo>
                  <a:pt x="748" y="602"/>
                </a:lnTo>
                <a:lnTo>
                  <a:pt x="744" y="602"/>
                </a:lnTo>
                <a:lnTo>
                  <a:pt x="742" y="599"/>
                </a:lnTo>
                <a:lnTo>
                  <a:pt x="750" y="598"/>
                </a:lnTo>
                <a:lnTo>
                  <a:pt x="758" y="595"/>
                </a:lnTo>
                <a:lnTo>
                  <a:pt x="759" y="599"/>
                </a:lnTo>
                <a:lnTo>
                  <a:pt x="759" y="603"/>
                </a:lnTo>
                <a:lnTo>
                  <a:pt x="759" y="606"/>
                </a:lnTo>
                <a:lnTo>
                  <a:pt x="758" y="608"/>
                </a:lnTo>
                <a:close/>
                <a:moveTo>
                  <a:pt x="768" y="686"/>
                </a:moveTo>
                <a:lnTo>
                  <a:pt x="765" y="684"/>
                </a:lnTo>
                <a:lnTo>
                  <a:pt x="766" y="679"/>
                </a:lnTo>
                <a:lnTo>
                  <a:pt x="768" y="683"/>
                </a:lnTo>
                <a:lnTo>
                  <a:pt x="768" y="686"/>
                </a:lnTo>
                <a:close/>
                <a:moveTo>
                  <a:pt x="762" y="587"/>
                </a:moveTo>
                <a:lnTo>
                  <a:pt x="755" y="588"/>
                </a:lnTo>
                <a:lnTo>
                  <a:pt x="749" y="584"/>
                </a:lnTo>
                <a:lnTo>
                  <a:pt x="752" y="582"/>
                </a:lnTo>
                <a:lnTo>
                  <a:pt x="756" y="581"/>
                </a:lnTo>
                <a:lnTo>
                  <a:pt x="759" y="584"/>
                </a:lnTo>
                <a:lnTo>
                  <a:pt x="762" y="587"/>
                </a:lnTo>
                <a:lnTo>
                  <a:pt x="766" y="584"/>
                </a:lnTo>
                <a:lnTo>
                  <a:pt x="771" y="581"/>
                </a:lnTo>
                <a:lnTo>
                  <a:pt x="766" y="584"/>
                </a:lnTo>
                <a:lnTo>
                  <a:pt x="762" y="587"/>
                </a:lnTo>
                <a:close/>
                <a:moveTo>
                  <a:pt x="791" y="288"/>
                </a:moveTo>
                <a:lnTo>
                  <a:pt x="790" y="291"/>
                </a:lnTo>
                <a:lnTo>
                  <a:pt x="789" y="292"/>
                </a:lnTo>
                <a:lnTo>
                  <a:pt x="785" y="294"/>
                </a:lnTo>
                <a:lnTo>
                  <a:pt x="786" y="300"/>
                </a:lnTo>
                <a:lnTo>
                  <a:pt x="787" y="305"/>
                </a:lnTo>
                <a:lnTo>
                  <a:pt x="792" y="308"/>
                </a:lnTo>
                <a:lnTo>
                  <a:pt x="792" y="308"/>
                </a:lnTo>
                <a:lnTo>
                  <a:pt x="793" y="308"/>
                </a:lnTo>
                <a:lnTo>
                  <a:pt x="797" y="316"/>
                </a:lnTo>
                <a:lnTo>
                  <a:pt x="806" y="319"/>
                </a:lnTo>
                <a:lnTo>
                  <a:pt x="806" y="319"/>
                </a:lnTo>
                <a:lnTo>
                  <a:pt x="806" y="320"/>
                </a:lnTo>
                <a:lnTo>
                  <a:pt x="807" y="320"/>
                </a:lnTo>
                <a:lnTo>
                  <a:pt x="807" y="321"/>
                </a:lnTo>
                <a:lnTo>
                  <a:pt x="807" y="320"/>
                </a:lnTo>
                <a:lnTo>
                  <a:pt x="807" y="320"/>
                </a:lnTo>
                <a:lnTo>
                  <a:pt x="815" y="317"/>
                </a:lnTo>
                <a:lnTo>
                  <a:pt x="815" y="310"/>
                </a:lnTo>
                <a:lnTo>
                  <a:pt x="825" y="308"/>
                </a:lnTo>
                <a:lnTo>
                  <a:pt x="834" y="312"/>
                </a:lnTo>
                <a:lnTo>
                  <a:pt x="834" y="312"/>
                </a:lnTo>
                <a:lnTo>
                  <a:pt x="834" y="312"/>
                </a:lnTo>
                <a:lnTo>
                  <a:pt x="834" y="312"/>
                </a:lnTo>
                <a:lnTo>
                  <a:pt x="834" y="312"/>
                </a:lnTo>
                <a:lnTo>
                  <a:pt x="837" y="312"/>
                </a:lnTo>
                <a:lnTo>
                  <a:pt x="839" y="312"/>
                </a:lnTo>
                <a:lnTo>
                  <a:pt x="839" y="314"/>
                </a:lnTo>
                <a:lnTo>
                  <a:pt x="839" y="316"/>
                </a:lnTo>
                <a:lnTo>
                  <a:pt x="839" y="316"/>
                </a:lnTo>
                <a:lnTo>
                  <a:pt x="838" y="316"/>
                </a:lnTo>
                <a:lnTo>
                  <a:pt x="837" y="317"/>
                </a:lnTo>
                <a:lnTo>
                  <a:pt x="835" y="317"/>
                </a:lnTo>
                <a:lnTo>
                  <a:pt x="834" y="319"/>
                </a:lnTo>
                <a:lnTo>
                  <a:pt x="827" y="316"/>
                </a:lnTo>
                <a:lnTo>
                  <a:pt x="822" y="321"/>
                </a:lnTo>
                <a:lnTo>
                  <a:pt x="821" y="322"/>
                </a:lnTo>
                <a:lnTo>
                  <a:pt x="819" y="322"/>
                </a:lnTo>
                <a:lnTo>
                  <a:pt x="811" y="323"/>
                </a:lnTo>
                <a:lnTo>
                  <a:pt x="804" y="328"/>
                </a:lnTo>
                <a:lnTo>
                  <a:pt x="805" y="328"/>
                </a:lnTo>
                <a:lnTo>
                  <a:pt x="806" y="329"/>
                </a:lnTo>
                <a:lnTo>
                  <a:pt x="814" y="329"/>
                </a:lnTo>
                <a:lnTo>
                  <a:pt x="822" y="327"/>
                </a:lnTo>
                <a:lnTo>
                  <a:pt x="820" y="330"/>
                </a:lnTo>
                <a:lnTo>
                  <a:pt x="818" y="333"/>
                </a:lnTo>
                <a:lnTo>
                  <a:pt x="819" y="336"/>
                </a:lnTo>
                <a:lnTo>
                  <a:pt x="820" y="340"/>
                </a:lnTo>
                <a:lnTo>
                  <a:pt x="819" y="336"/>
                </a:lnTo>
                <a:lnTo>
                  <a:pt x="818" y="333"/>
                </a:lnTo>
                <a:lnTo>
                  <a:pt x="810" y="335"/>
                </a:lnTo>
                <a:lnTo>
                  <a:pt x="801" y="338"/>
                </a:lnTo>
                <a:lnTo>
                  <a:pt x="803" y="334"/>
                </a:lnTo>
                <a:lnTo>
                  <a:pt x="806" y="329"/>
                </a:lnTo>
                <a:lnTo>
                  <a:pt x="805" y="328"/>
                </a:lnTo>
                <a:lnTo>
                  <a:pt x="804" y="328"/>
                </a:lnTo>
                <a:lnTo>
                  <a:pt x="800" y="323"/>
                </a:lnTo>
                <a:lnTo>
                  <a:pt x="796" y="328"/>
                </a:lnTo>
                <a:lnTo>
                  <a:pt x="793" y="330"/>
                </a:lnTo>
                <a:lnTo>
                  <a:pt x="790" y="329"/>
                </a:lnTo>
                <a:lnTo>
                  <a:pt x="789" y="327"/>
                </a:lnTo>
                <a:lnTo>
                  <a:pt x="792" y="326"/>
                </a:lnTo>
                <a:lnTo>
                  <a:pt x="793" y="322"/>
                </a:lnTo>
                <a:lnTo>
                  <a:pt x="790" y="321"/>
                </a:lnTo>
                <a:lnTo>
                  <a:pt x="789" y="319"/>
                </a:lnTo>
                <a:lnTo>
                  <a:pt x="787" y="316"/>
                </a:lnTo>
                <a:lnTo>
                  <a:pt x="790" y="315"/>
                </a:lnTo>
                <a:lnTo>
                  <a:pt x="790" y="314"/>
                </a:lnTo>
                <a:lnTo>
                  <a:pt x="789" y="313"/>
                </a:lnTo>
                <a:lnTo>
                  <a:pt x="786" y="313"/>
                </a:lnTo>
                <a:lnTo>
                  <a:pt x="783" y="312"/>
                </a:lnTo>
                <a:lnTo>
                  <a:pt x="780" y="309"/>
                </a:lnTo>
                <a:lnTo>
                  <a:pt x="779" y="307"/>
                </a:lnTo>
                <a:lnTo>
                  <a:pt x="776" y="306"/>
                </a:lnTo>
                <a:lnTo>
                  <a:pt x="772" y="308"/>
                </a:lnTo>
                <a:lnTo>
                  <a:pt x="772" y="313"/>
                </a:lnTo>
                <a:lnTo>
                  <a:pt x="766" y="315"/>
                </a:lnTo>
                <a:lnTo>
                  <a:pt x="765" y="321"/>
                </a:lnTo>
                <a:lnTo>
                  <a:pt x="765" y="324"/>
                </a:lnTo>
                <a:lnTo>
                  <a:pt x="762" y="328"/>
                </a:lnTo>
                <a:lnTo>
                  <a:pt x="760" y="324"/>
                </a:lnTo>
                <a:lnTo>
                  <a:pt x="759" y="321"/>
                </a:lnTo>
                <a:lnTo>
                  <a:pt x="764" y="314"/>
                </a:lnTo>
                <a:lnTo>
                  <a:pt x="768" y="305"/>
                </a:lnTo>
                <a:lnTo>
                  <a:pt x="777" y="295"/>
                </a:lnTo>
                <a:lnTo>
                  <a:pt x="791" y="288"/>
                </a:lnTo>
                <a:close/>
                <a:moveTo>
                  <a:pt x="810" y="294"/>
                </a:moveTo>
                <a:lnTo>
                  <a:pt x="805" y="299"/>
                </a:lnTo>
                <a:lnTo>
                  <a:pt x="798" y="302"/>
                </a:lnTo>
                <a:lnTo>
                  <a:pt x="794" y="302"/>
                </a:lnTo>
                <a:lnTo>
                  <a:pt x="793" y="300"/>
                </a:lnTo>
                <a:lnTo>
                  <a:pt x="794" y="296"/>
                </a:lnTo>
                <a:lnTo>
                  <a:pt x="797" y="296"/>
                </a:lnTo>
                <a:lnTo>
                  <a:pt x="804" y="295"/>
                </a:lnTo>
                <a:lnTo>
                  <a:pt x="810" y="294"/>
                </a:lnTo>
                <a:close/>
                <a:moveTo>
                  <a:pt x="800" y="215"/>
                </a:moveTo>
                <a:lnTo>
                  <a:pt x="803" y="215"/>
                </a:lnTo>
                <a:lnTo>
                  <a:pt x="804" y="214"/>
                </a:lnTo>
                <a:lnTo>
                  <a:pt x="808" y="209"/>
                </a:lnTo>
                <a:lnTo>
                  <a:pt x="812" y="214"/>
                </a:lnTo>
                <a:lnTo>
                  <a:pt x="818" y="217"/>
                </a:lnTo>
                <a:lnTo>
                  <a:pt x="815" y="224"/>
                </a:lnTo>
                <a:lnTo>
                  <a:pt x="813" y="222"/>
                </a:lnTo>
                <a:lnTo>
                  <a:pt x="811" y="219"/>
                </a:lnTo>
                <a:lnTo>
                  <a:pt x="806" y="217"/>
                </a:lnTo>
                <a:lnTo>
                  <a:pt x="804" y="221"/>
                </a:lnTo>
                <a:lnTo>
                  <a:pt x="803" y="223"/>
                </a:lnTo>
                <a:lnTo>
                  <a:pt x="803" y="225"/>
                </a:lnTo>
                <a:lnTo>
                  <a:pt x="800" y="225"/>
                </a:lnTo>
                <a:lnTo>
                  <a:pt x="799" y="226"/>
                </a:lnTo>
                <a:lnTo>
                  <a:pt x="799" y="230"/>
                </a:lnTo>
                <a:lnTo>
                  <a:pt x="799" y="233"/>
                </a:lnTo>
                <a:lnTo>
                  <a:pt x="799" y="230"/>
                </a:lnTo>
                <a:lnTo>
                  <a:pt x="799" y="226"/>
                </a:lnTo>
                <a:lnTo>
                  <a:pt x="796" y="230"/>
                </a:lnTo>
                <a:lnTo>
                  <a:pt x="793" y="235"/>
                </a:lnTo>
                <a:lnTo>
                  <a:pt x="794" y="224"/>
                </a:lnTo>
                <a:lnTo>
                  <a:pt x="800" y="215"/>
                </a:lnTo>
                <a:close/>
                <a:moveTo>
                  <a:pt x="810" y="159"/>
                </a:moveTo>
                <a:lnTo>
                  <a:pt x="813" y="155"/>
                </a:lnTo>
                <a:lnTo>
                  <a:pt x="818" y="155"/>
                </a:lnTo>
                <a:lnTo>
                  <a:pt x="820" y="156"/>
                </a:lnTo>
                <a:lnTo>
                  <a:pt x="820" y="159"/>
                </a:lnTo>
                <a:lnTo>
                  <a:pt x="819" y="161"/>
                </a:lnTo>
                <a:lnTo>
                  <a:pt x="817" y="160"/>
                </a:lnTo>
                <a:lnTo>
                  <a:pt x="814" y="161"/>
                </a:lnTo>
                <a:lnTo>
                  <a:pt x="813" y="163"/>
                </a:lnTo>
                <a:lnTo>
                  <a:pt x="817" y="163"/>
                </a:lnTo>
                <a:lnTo>
                  <a:pt x="820" y="165"/>
                </a:lnTo>
                <a:lnTo>
                  <a:pt x="817" y="163"/>
                </a:lnTo>
                <a:lnTo>
                  <a:pt x="813" y="163"/>
                </a:lnTo>
                <a:lnTo>
                  <a:pt x="813" y="163"/>
                </a:lnTo>
                <a:lnTo>
                  <a:pt x="810" y="162"/>
                </a:lnTo>
                <a:lnTo>
                  <a:pt x="810" y="159"/>
                </a:lnTo>
                <a:close/>
                <a:moveTo>
                  <a:pt x="804" y="109"/>
                </a:moveTo>
                <a:lnTo>
                  <a:pt x="804" y="106"/>
                </a:lnTo>
                <a:lnTo>
                  <a:pt x="804" y="104"/>
                </a:lnTo>
                <a:lnTo>
                  <a:pt x="806" y="103"/>
                </a:lnTo>
                <a:lnTo>
                  <a:pt x="807" y="104"/>
                </a:lnTo>
                <a:lnTo>
                  <a:pt x="811" y="105"/>
                </a:lnTo>
                <a:lnTo>
                  <a:pt x="813" y="109"/>
                </a:lnTo>
                <a:lnTo>
                  <a:pt x="813" y="111"/>
                </a:lnTo>
                <a:lnTo>
                  <a:pt x="813" y="113"/>
                </a:lnTo>
                <a:lnTo>
                  <a:pt x="807" y="112"/>
                </a:lnTo>
                <a:lnTo>
                  <a:pt x="804" y="109"/>
                </a:lnTo>
                <a:close/>
                <a:moveTo>
                  <a:pt x="829" y="243"/>
                </a:moveTo>
                <a:lnTo>
                  <a:pt x="840" y="251"/>
                </a:lnTo>
                <a:lnTo>
                  <a:pt x="849" y="264"/>
                </a:lnTo>
                <a:lnTo>
                  <a:pt x="844" y="259"/>
                </a:lnTo>
                <a:lnTo>
                  <a:pt x="838" y="260"/>
                </a:lnTo>
                <a:lnTo>
                  <a:pt x="839" y="261"/>
                </a:lnTo>
                <a:lnTo>
                  <a:pt x="841" y="263"/>
                </a:lnTo>
                <a:lnTo>
                  <a:pt x="839" y="261"/>
                </a:lnTo>
                <a:lnTo>
                  <a:pt x="838" y="260"/>
                </a:lnTo>
                <a:lnTo>
                  <a:pt x="835" y="257"/>
                </a:lnTo>
                <a:lnTo>
                  <a:pt x="832" y="256"/>
                </a:lnTo>
                <a:lnTo>
                  <a:pt x="828" y="258"/>
                </a:lnTo>
                <a:lnTo>
                  <a:pt x="828" y="261"/>
                </a:lnTo>
                <a:lnTo>
                  <a:pt x="826" y="261"/>
                </a:lnTo>
                <a:lnTo>
                  <a:pt x="822" y="263"/>
                </a:lnTo>
                <a:lnTo>
                  <a:pt x="821" y="263"/>
                </a:lnTo>
                <a:lnTo>
                  <a:pt x="819" y="261"/>
                </a:lnTo>
                <a:lnTo>
                  <a:pt x="819" y="259"/>
                </a:lnTo>
                <a:lnTo>
                  <a:pt x="820" y="258"/>
                </a:lnTo>
                <a:lnTo>
                  <a:pt x="826" y="251"/>
                </a:lnTo>
                <a:lnTo>
                  <a:pt x="829" y="243"/>
                </a:lnTo>
                <a:close/>
                <a:moveTo>
                  <a:pt x="822" y="161"/>
                </a:moveTo>
                <a:lnTo>
                  <a:pt x="822" y="161"/>
                </a:lnTo>
                <a:lnTo>
                  <a:pt x="822" y="161"/>
                </a:lnTo>
                <a:lnTo>
                  <a:pt x="822" y="161"/>
                </a:lnTo>
                <a:lnTo>
                  <a:pt x="822" y="161"/>
                </a:lnTo>
                <a:lnTo>
                  <a:pt x="822" y="161"/>
                </a:lnTo>
                <a:lnTo>
                  <a:pt x="821" y="161"/>
                </a:lnTo>
                <a:lnTo>
                  <a:pt x="822" y="161"/>
                </a:lnTo>
                <a:lnTo>
                  <a:pt x="822" y="161"/>
                </a:lnTo>
                <a:close/>
                <a:moveTo>
                  <a:pt x="835" y="123"/>
                </a:moveTo>
                <a:lnTo>
                  <a:pt x="837" y="123"/>
                </a:lnTo>
                <a:lnTo>
                  <a:pt x="837" y="123"/>
                </a:lnTo>
                <a:lnTo>
                  <a:pt x="837" y="116"/>
                </a:lnTo>
                <a:lnTo>
                  <a:pt x="835" y="111"/>
                </a:lnTo>
                <a:lnTo>
                  <a:pt x="837" y="114"/>
                </a:lnTo>
                <a:lnTo>
                  <a:pt x="837" y="123"/>
                </a:lnTo>
                <a:lnTo>
                  <a:pt x="840" y="123"/>
                </a:lnTo>
                <a:lnTo>
                  <a:pt x="844" y="121"/>
                </a:lnTo>
                <a:lnTo>
                  <a:pt x="846" y="123"/>
                </a:lnTo>
                <a:lnTo>
                  <a:pt x="846" y="125"/>
                </a:lnTo>
                <a:lnTo>
                  <a:pt x="840" y="127"/>
                </a:lnTo>
                <a:lnTo>
                  <a:pt x="835" y="123"/>
                </a:lnTo>
                <a:lnTo>
                  <a:pt x="834" y="123"/>
                </a:lnTo>
                <a:lnTo>
                  <a:pt x="833" y="120"/>
                </a:lnTo>
                <a:lnTo>
                  <a:pt x="834" y="123"/>
                </a:lnTo>
                <a:lnTo>
                  <a:pt x="835" y="123"/>
                </a:lnTo>
                <a:lnTo>
                  <a:pt x="835" y="123"/>
                </a:lnTo>
                <a:close/>
                <a:moveTo>
                  <a:pt x="854" y="274"/>
                </a:moveTo>
                <a:lnTo>
                  <a:pt x="855" y="272"/>
                </a:lnTo>
                <a:lnTo>
                  <a:pt x="858" y="273"/>
                </a:lnTo>
                <a:lnTo>
                  <a:pt x="862" y="278"/>
                </a:lnTo>
                <a:lnTo>
                  <a:pt x="867" y="281"/>
                </a:lnTo>
                <a:lnTo>
                  <a:pt x="872" y="286"/>
                </a:lnTo>
                <a:lnTo>
                  <a:pt x="880" y="286"/>
                </a:lnTo>
                <a:lnTo>
                  <a:pt x="873" y="289"/>
                </a:lnTo>
                <a:lnTo>
                  <a:pt x="866" y="291"/>
                </a:lnTo>
                <a:lnTo>
                  <a:pt x="866" y="292"/>
                </a:lnTo>
                <a:lnTo>
                  <a:pt x="867" y="293"/>
                </a:lnTo>
                <a:lnTo>
                  <a:pt x="866" y="292"/>
                </a:lnTo>
                <a:lnTo>
                  <a:pt x="866" y="291"/>
                </a:lnTo>
                <a:lnTo>
                  <a:pt x="865" y="291"/>
                </a:lnTo>
                <a:lnTo>
                  <a:pt x="863" y="291"/>
                </a:lnTo>
                <a:lnTo>
                  <a:pt x="862" y="289"/>
                </a:lnTo>
                <a:lnTo>
                  <a:pt x="861" y="288"/>
                </a:lnTo>
                <a:lnTo>
                  <a:pt x="859" y="285"/>
                </a:lnTo>
                <a:lnTo>
                  <a:pt x="855" y="282"/>
                </a:lnTo>
                <a:lnTo>
                  <a:pt x="854" y="285"/>
                </a:lnTo>
                <a:lnTo>
                  <a:pt x="853" y="287"/>
                </a:lnTo>
                <a:lnTo>
                  <a:pt x="853" y="287"/>
                </a:lnTo>
                <a:lnTo>
                  <a:pt x="853" y="288"/>
                </a:lnTo>
                <a:lnTo>
                  <a:pt x="853" y="287"/>
                </a:lnTo>
                <a:lnTo>
                  <a:pt x="853" y="287"/>
                </a:lnTo>
                <a:lnTo>
                  <a:pt x="846" y="294"/>
                </a:lnTo>
                <a:lnTo>
                  <a:pt x="844" y="305"/>
                </a:lnTo>
                <a:lnTo>
                  <a:pt x="842" y="303"/>
                </a:lnTo>
                <a:lnTo>
                  <a:pt x="842" y="302"/>
                </a:lnTo>
                <a:lnTo>
                  <a:pt x="841" y="301"/>
                </a:lnTo>
                <a:lnTo>
                  <a:pt x="840" y="301"/>
                </a:lnTo>
                <a:lnTo>
                  <a:pt x="840" y="299"/>
                </a:lnTo>
                <a:lnTo>
                  <a:pt x="839" y="298"/>
                </a:lnTo>
                <a:lnTo>
                  <a:pt x="844" y="293"/>
                </a:lnTo>
                <a:lnTo>
                  <a:pt x="846" y="286"/>
                </a:lnTo>
                <a:lnTo>
                  <a:pt x="851" y="280"/>
                </a:lnTo>
                <a:lnTo>
                  <a:pt x="854" y="274"/>
                </a:lnTo>
                <a:close/>
                <a:moveTo>
                  <a:pt x="865" y="270"/>
                </a:moveTo>
                <a:lnTo>
                  <a:pt x="865" y="270"/>
                </a:lnTo>
                <a:lnTo>
                  <a:pt x="866" y="271"/>
                </a:lnTo>
                <a:lnTo>
                  <a:pt x="865" y="271"/>
                </a:lnTo>
                <a:lnTo>
                  <a:pt x="863" y="272"/>
                </a:lnTo>
                <a:lnTo>
                  <a:pt x="863" y="271"/>
                </a:lnTo>
                <a:lnTo>
                  <a:pt x="863" y="271"/>
                </a:lnTo>
                <a:lnTo>
                  <a:pt x="863" y="271"/>
                </a:lnTo>
                <a:lnTo>
                  <a:pt x="865" y="270"/>
                </a:lnTo>
                <a:close/>
                <a:moveTo>
                  <a:pt x="891" y="299"/>
                </a:moveTo>
                <a:lnTo>
                  <a:pt x="893" y="300"/>
                </a:lnTo>
                <a:lnTo>
                  <a:pt x="893" y="302"/>
                </a:lnTo>
                <a:lnTo>
                  <a:pt x="894" y="302"/>
                </a:lnTo>
                <a:lnTo>
                  <a:pt x="896" y="302"/>
                </a:lnTo>
                <a:lnTo>
                  <a:pt x="894" y="302"/>
                </a:lnTo>
                <a:lnTo>
                  <a:pt x="893" y="302"/>
                </a:lnTo>
                <a:lnTo>
                  <a:pt x="887" y="303"/>
                </a:lnTo>
                <a:lnTo>
                  <a:pt x="881" y="300"/>
                </a:lnTo>
                <a:lnTo>
                  <a:pt x="879" y="298"/>
                </a:lnTo>
                <a:lnTo>
                  <a:pt x="875" y="298"/>
                </a:lnTo>
                <a:lnTo>
                  <a:pt x="872" y="298"/>
                </a:lnTo>
                <a:lnTo>
                  <a:pt x="869" y="294"/>
                </a:lnTo>
                <a:lnTo>
                  <a:pt x="881" y="294"/>
                </a:lnTo>
                <a:lnTo>
                  <a:pt x="891" y="299"/>
                </a:lnTo>
                <a:close/>
                <a:moveTo>
                  <a:pt x="889" y="314"/>
                </a:moveTo>
                <a:lnTo>
                  <a:pt x="889" y="313"/>
                </a:lnTo>
                <a:lnTo>
                  <a:pt x="890" y="313"/>
                </a:lnTo>
                <a:lnTo>
                  <a:pt x="890" y="313"/>
                </a:lnTo>
                <a:lnTo>
                  <a:pt x="889" y="313"/>
                </a:lnTo>
                <a:lnTo>
                  <a:pt x="889" y="314"/>
                </a:lnTo>
                <a:close/>
                <a:moveTo>
                  <a:pt x="870" y="305"/>
                </a:moveTo>
                <a:lnTo>
                  <a:pt x="873" y="302"/>
                </a:lnTo>
                <a:lnTo>
                  <a:pt x="876" y="301"/>
                </a:lnTo>
                <a:lnTo>
                  <a:pt x="879" y="301"/>
                </a:lnTo>
                <a:lnTo>
                  <a:pt x="880" y="302"/>
                </a:lnTo>
                <a:lnTo>
                  <a:pt x="877" y="306"/>
                </a:lnTo>
                <a:lnTo>
                  <a:pt x="874" y="307"/>
                </a:lnTo>
                <a:lnTo>
                  <a:pt x="872" y="307"/>
                </a:lnTo>
                <a:lnTo>
                  <a:pt x="870" y="305"/>
                </a:lnTo>
                <a:close/>
                <a:moveTo>
                  <a:pt x="849" y="303"/>
                </a:moveTo>
                <a:lnTo>
                  <a:pt x="856" y="302"/>
                </a:lnTo>
                <a:lnTo>
                  <a:pt x="865" y="306"/>
                </a:lnTo>
                <a:lnTo>
                  <a:pt x="865" y="306"/>
                </a:lnTo>
                <a:lnTo>
                  <a:pt x="865" y="308"/>
                </a:lnTo>
                <a:lnTo>
                  <a:pt x="861" y="310"/>
                </a:lnTo>
                <a:lnTo>
                  <a:pt x="856" y="310"/>
                </a:lnTo>
                <a:lnTo>
                  <a:pt x="852" y="310"/>
                </a:lnTo>
                <a:lnTo>
                  <a:pt x="851" y="314"/>
                </a:lnTo>
                <a:lnTo>
                  <a:pt x="851" y="315"/>
                </a:lnTo>
                <a:lnTo>
                  <a:pt x="851" y="315"/>
                </a:lnTo>
                <a:lnTo>
                  <a:pt x="851" y="315"/>
                </a:lnTo>
                <a:lnTo>
                  <a:pt x="851" y="314"/>
                </a:lnTo>
                <a:lnTo>
                  <a:pt x="846" y="314"/>
                </a:lnTo>
                <a:lnTo>
                  <a:pt x="840" y="312"/>
                </a:lnTo>
                <a:lnTo>
                  <a:pt x="844" y="310"/>
                </a:lnTo>
                <a:lnTo>
                  <a:pt x="846" y="308"/>
                </a:lnTo>
                <a:lnTo>
                  <a:pt x="849" y="307"/>
                </a:lnTo>
                <a:lnTo>
                  <a:pt x="849" y="303"/>
                </a:lnTo>
                <a:close/>
                <a:moveTo>
                  <a:pt x="840" y="337"/>
                </a:moveTo>
                <a:lnTo>
                  <a:pt x="840" y="337"/>
                </a:lnTo>
                <a:lnTo>
                  <a:pt x="840" y="336"/>
                </a:lnTo>
                <a:lnTo>
                  <a:pt x="840" y="336"/>
                </a:lnTo>
                <a:lnTo>
                  <a:pt x="840" y="337"/>
                </a:lnTo>
                <a:lnTo>
                  <a:pt x="840" y="337"/>
                </a:lnTo>
                <a:lnTo>
                  <a:pt x="840" y="337"/>
                </a:lnTo>
                <a:close/>
                <a:moveTo>
                  <a:pt x="834" y="328"/>
                </a:moveTo>
                <a:lnTo>
                  <a:pt x="834" y="328"/>
                </a:lnTo>
                <a:lnTo>
                  <a:pt x="835" y="327"/>
                </a:lnTo>
                <a:lnTo>
                  <a:pt x="834" y="328"/>
                </a:lnTo>
                <a:lnTo>
                  <a:pt x="834" y="328"/>
                </a:lnTo>
                <a:close/>
                <a:moveTo>
                  <a:pt x="897" y="355"/>
                </a:moveTo>
                <a:lnTo>
                  <a:pt x="897" y="355"/>
                </a:lnTo>
                <a:lnTo>
                  <a:pt x="897" y="357"/>
                </a:lnTo>
                <a:lnTo>
                  <a:pt x="901" y="356"/>
                </a:lnTo>
                <a:lnTo>
                  <a:pt x="901" y="354"/>
                </a:lnTo>
                <a:lnTo>
                  <a:pt x="903" y="354"/>
                </a:lnTo>
                <a:lnTo>
                  <a:pt x="905" y="355"/>
                </a:lnTo>
                <a:lnTo>
                  <a:pt x="905" y="359"/>
                </a:lnTo>
                <a:lnTo>
                  <a:pt x="908" y="364"/>
                </a:lnTo>
                <a:lnTo>
                  <a:pt x="909" y="364"/>
                </a:lnTo>
                <a:lnTo>
                  <a:pt x="910" y="364"/>
                </a:lnTo>
                <a:lnTo>
                  <a:pt x="909" y="364"/>
                </a:lnTo>
                <a:lnTo>
                  <a:pt x="908" y="364"/>
                </a:lnTo>
                <a:lnTo>
                  <a:pt x="905" y="366"/>
                </a:lnTo>
                <a:lnTo>
                  <a:pt x="905" y="370"/>
                </a:lnTo>
                <a:lnTo>
                  <a:pt x="904" y="384"/>
                </a:lnTo>
                <a:lnTo>
                  <a:pt x="904" y="397"/>
                </a:lnTo>
                <a:lnTo>
                  <a:pt x="905" y="398"/>
                </a:lnTo>
                <a:lnTo>
                  <a:pt x="907" y="398"/>
                </a:lnTo>
                <a:lnTo>
                  <a:pt x="905" y="410"/>
                </a:lnTo>
                <a:lnTo>
                  <a:pt x="905" y="420"/>
                </a:lnTo>
                <a:lnTo>
                  <a:pt x="903" y="427"/>
                </a:lnTo>
                <a:lnTo>
                  <a:pt x="904" y="435"/>
                </a:lnTo>
                <a:lnTo>
                  <a:pt x="904" y="447"/>
                </a:lnTo>
                <a:lnTo>
                  <a:pt x="890" y="450"/>
                </a:lnTo>
                <a:lnTo>
                  <a:pt x="895" y="441"/>
                </a:lnTo>
                <a:lnTo>
                  <a:pt x="896" y="431"/>
                </a:lnTo>
                <a:lnTo>
                  <a:pt x="896" y="431"/>
                </a:lnTo>
                <a:lnTo>
                  <a:pt x="895" y="429"/>
                </a:lnTo>
                <a:lnTo>
                  <a:pt x="895" y="425"/>
                </a:lnTo>
                <a:lnTo>
                  <a:pt x="895" y="420"/>
                </a:lnTo>
                <a:lnTo>
                  <a:pt x="896" y="412"/>
                </a:lnTo>
                <a:lnTo>
                  <a:pt x="890" y="406"/>
                </a:lnTo>
                <a:lnTo>
                  <a:pt x="883" y="405"/>
                </a:lnTo>
                <a:lnTo>
                  <a:pt x="877" y="403"/>
                </a:lnTo>
                <a:lnTo>
                  <a:pt x="875" y="399"/>
                </a:lnTo>
                <a:lnTo>
                  <a:pt x="872" y="400"/>
                </a:lnTo>
                <a:lnTo>
                  <a:pt x="869" y="404"/>
                </a:lnTo>
                <a:lnTo>
                  <a:pt x="873" y="408"/>
                </a:lnTo>
                <a:lnTo>
                  <a:pt x="870" y="412"/>
                </a:lnTo>
                <a:lnTo>
                  <a:pt x="866" y="413"/>
                </a:lnTo>
                <a:lnTo>
                  <a:pt x="866" y="413"/>
                </a:lnTo>
                <a:lnTo>
                  <a:pt x="866" y="412"/>
                </a:lnTo>
                <a:lnTo>
                  <a:pt x="865" y="411"/>
                </a:lnTo>
                <a:lnTo>
                  <a:pt x="862" y="410"/>
                </a:lnTo>
                <a:lnTo>
                  <a:pt x="859" y="410"/>
                </a:lnTo>
                <a:lnTo>
                  <a:pt x="858" y="410"/>
                </a:lnTo>
                <a:lnTo>
                  <a:pt x="856" y="411"/>
                </a:lnTo>
                <a:lnTo>
                  <a:pt x="856" y="411"/>
                </a:lnTo>
                <a:lnTo>
                  <a:pt x="856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8"/>
                </a:lnTo>
                <a:lnTo>
                  <a:pt x="855" y="419"/>
                </a:lnTo>
                <a:lnTo>
                  <a:pt x="851" y="422"/>
                </a:lnTo>
                <a:lnTo>
                  <a:pt x="848" y="421"/>
                </a:lnTo>
                <a:lnTo>
                  <a:pt x="847" y="424"/>
                </a:lnTo>
                <a:lnTo>
                  <a:pt x="847" y="434"/>
                </a:lnTo>
                <a:lnTo>
                  <a:pt x="847" y="445"/>
                </a:lnTo>
                <a:lnTo>
                  <a:pt x="848" y="447"/>
                </a:lnTo>
                <a:lnTo>
                  <a:pt x="849" y="449"/>
                </a:lnTo>
                <a:lnTo>
                  <a:pt x="855" y="455"/>
                </a:lnTo>
                <a:lnTo>
                  <a:pt x="852" y="464"/>
                </a:lnTo>
                <a:lnTo>
                  <a:pt x="847" y="462"/>
                </a:lnTo>
                <a:lnTo>
                  <a:pt x="844" y="459"/>
                </a:lnTo>
                <a:lnTo>
                  <a:pt x="839" y="466"/>
                </a:lnTo>
                <a:lnTo>
                  <a:pt x="828" y="466"/>
                </a:lnTo>
                <a:lnTo>
                  <a:pt x="828" y="464"/>
                </a:lnTo>
                <a:lnTo>
                  <a:pt x="828" y="464"/>
                </a:lnTo>
                <a:lnTo>
                  <a:pt x="833" y="461"/>
                </a:lnTo>
                <a:lnTo>
                  <a:pt x="839" y="459"/>
                </a:lnTo>
                <a:lnTo>
                  <a:pt x="838" y="450"/>
                </a:lnTo>
                <a:lnTo>
                  <a:pt x="834" y="443"/>
                </a:lnTo>
                <a:lnTo>
                  <a:pt x="839" y="436"/>
                </a:lnTo>
                <a:lnTo>
                  <a:pt x="838" y="428"/>
                </a:lnTo>
                <a:lnTo>
                  <a:pt x="835" y="425"/>
                </a:lnTo>
                <a:lnTo>
                  <a:pt x="829" y="426"/>
                </a:lnTo>
                <a:lnTo>
                  <a:pt x="824" y="425"/>
                </a:lnTo>
                <a:lnTo>
                  <a:pt x="819" y="425"/>
                </a:lnTo>
                <a:lnTo>
                  <a:pt x="817" y="422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9" y="418"/>
                </a:lnTo>
                <a:lnTo>
                  <a:pt x="817" y="417"/>
                </a:lnTo>
                <a:lnTo>
                  <a:pt x="817" y="418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4" y="420"/>
                </a:lnTo>
                <a:lnTo>
                  <a:pt x="812" y="420"/>
                </a:lnTo>
                <a:lnTo>
                  <a:pt x="812" y="425"/>
                </a:lnTo>
                <a:lnTo>
                  <a:pt x="810" y="425"/>
                </a:lnTo>
                <a:lnTo>
                  <a:pt x="812" y="425"/>
                </a:lnTo>
                <a:lnTo>
                  <a:pt x="812" y="420"/>
                </a:lnTo>
                <a:lnTo>
                  <a:pt x="811" y="417"/>
                </a:lnTo>
                <a:lnTo>
                  <a:pt x="808" y="415"/>
                </a:lnTo>
                <a:lnTo>
                  <a:pt x="810" y="407"/>
                </a:lnTo>
                <a:lnTo>
                  <a:pt x="808" y="400"/>
                </a:lnTo>
                <a:lnTo>
                  <a:pt x="808" y="400"/>
                </a:lnTo>
                <a:lnTo>
                  <a:pt x="808" y="400"/>
                </a:lnTo>
                <a:lnTo>
                  <a:pt x="812" y="400"/>
                </a:lnTo>
                <a:lnTo>
                  <a:pt x="813" y="398"/>
                </a:lnTo>
                <a:lnTo>
                  <a:pt x="811" y="394"/>
                </a:lnTo>
                <a:lnTo>
                  <a:pt x="807" y="394"/>
                </a:lnTo>
                <a:lnTo>
                  <a:pt x="812" y="391"/>
                </a:lnTo>
                <a:lnTo>
                  <a:pt x="814" y="386"/>
                </a:lnTo>
                <a:lnTo>
                  <a:pt x="815" y="384"/>
                </a:lnTo>
                <a:lnTo>
                  <a:pt x="818" y="383"/>
                </a:lnTo>
                <a:lnTo>
                  <a:pt x="820" y="384"/>
                </a:lnTo>
                <a:lnTo>
                  <a:pt x="820" y="386"/>
                </a:lnTo>
                <a:lnTo>
                  <a:pt x="821" y="389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1" y="397"/>
                </a:lnTo>
                <a:lnTo>
                  <a:pt x="828" y="398"/>
                </a:lnTo>
                <a:lnTo>
                  <a:pt x="824" y="401"/>
                </a:lnTo>
                <a:lnTo>
                  <a:pt x="821" y="406"/>
                </a:lnTo>
                <a:lnTo>
                  <a:pt x="826" y="406"/>
                </a:lnTo>
                <a:lnTo>
                  <a:pt x="826" y="411"/>
                </a:lnTo>
                <a:lnTo>
                  <a:pt x="826" y="413"/>
                </a:lnTo>
                <a:lnTo>
                  <a:pt x="827" y="414"/>
                </a:lnTo>
                <a:lnTo>
                  <a:pt x="833" y="412"/>
                </a:lnTo>
                <a:lnTo>
                  <a:pt x="839" y="410"/>
                </a:lnTo>
                <a:lnTo>
                  <a:pt x="839" y="406"/>
                </a:lnTo>
                <a:lnTo>
                  <a:pt x="839" y="403"/>
                </a:lnTo>
                <a:lnTo>
                  <a:pt x="839" y="399"/>
                </a:lnTo>
                <a:lnTo>
                  <a:pt x="839" y="396"/>
                </a:lnTo>
                <a:lnTo>
                  <a:pt x="839" y="394"/>
                </a:lnTo>
                <a:lnTo>
                  <a:pt x="839" y="393"/>
                </a:lnTo>
                <a:lnTo>
                  <a:pt x="839" y="386"/>
                </a:lnTo>
                <a:lnTo>
                  <a:pt x="839" y="378"/>
                </a:lnTo>
                <a:lnTo>
                  <a:pt x="839" y="377"/>
                </a:lnTo>
                <a:lnTo>
                  <a:pt x="839" y="376"/>
                </a:lnTo>
                <a:lnTo>
                  <a:pt x="840" y="371"/>
                </a:lnTo>
                <a:lnTo>
                  <a:pt x="844" y="369"/>
                </a:lnTo>
                <a:lnTo>
                  <a:pt x="847" y="371"/>
                </a:lnTo>
                <a:lnTo>
                  <a:pt x="848" y="376"/>
                </a:lnTo>
                <a:lnTo>
                  <a:pt x="848" y="391"/>
                </a:lnTo>
                <a:lnTo>
                  <a:pt x="847" y="405"/>
                </a:lnTo>
                <a:lnTo>
                  <a:pt x="847" y="407"/>
                </a:lnTo>
                <a:lnTo>
                  <a:pt x="848" y="410"/>
                </a:lnTo>
                <a:lnTo>
                  <a:pt x="851" y="407"/>
                </a:lnTo>
                <a:lnTo>
                  <a:pt x="852" y="404"/>
                </a:lnTo>
                <a:lnTo>
                  <a:pt x="852" y="399"/>
                </a:lnTo>
                <a:lnTo>
                  <a:pt x="852" y="394"/>
                </a:lnTo>
                <a:lnTo>
                  <a:pt x="852" y="399"/>
                </a:lnTo>
                <a:lnTo>
                  <a:pt x="852" y="404"/>
                </a:lnTo>
                <a:lnTo>
                  <a:pt x="860" y="405"/>
                </a:lnTo>
                <a:lnTo>
                  <a:pt x="862" y="398"/>
                </a:lnTo>
                <a:lnTo>
                  <a:pt x="863" y="397"/>
                </a:lnTo>
                <a:lnTo>
                  <a:pt x="866" y="394"/>
                </a:lnTo>
                <a:lnTo>
                  <a:pt x="868" y="394"/>
                </a:lnTo>
                <a:lnTo>
                  <a:pt x="869" y="392"/>
                </a:lnTo>
                <a:lnTo>
                  <a:pt x="867" y="390"/>
                </a:lnTo>
                <a:lnTo>
                  <a:pt x="863" y="389"/>
                </a:lnTo>
                <a:lnTo>
                  <a:pt x="869" y="384"/>
                </a:lnTo>
                <a:lnTo>
                  <a:pt x="863" y="379"/>
                </a:lnTo>
                <a:lnTo>
                  <a:pt x="869" y="376"/>
                </a:lnTo>
                <a:lnTo>
                  <a:pt x="872" y="370"/>
                </a:lnTo>
                <a:lnTo>
                  <a:pt x="873" y="369"/>
                </a:lnTo>
                <a:lnTo>
                  <a:pt x="874" y="369"/>
                </a:lnTo>
                <a:lnTo>
                  <a:pt x="875" y="369"/>
                </a:lnTo>
                <a:lnTo>
                  <a:pt x="876" y="370"/>
                </a:lnTo>
                <a:lnTo>
                  <a:pt x="877" y="375"/>
                </a:lnTo>
                <a:lnTo>
                  <a:pt x="881" y="373"/>
                </a:lnTo>
                <a:lnTo>
                  <a:pt x="887" y="371"/>
                </a:lnTo>
                <a:lnTo>
                  <a:pt x="888" y="368"/>
                </a:lnTo>
                <a:lnTo>
                  <a:pt x="887" y="371"/>
                </a:lnTo>
                <a:lnTo>
                  <a:pt x="881" y="373"/>
                </a:lnTo>
                <a:lnTo>
                  <a:pt x="881" y="378"/>
                </a:lnTo>
                <a:lnTo>
                  <a:pt x="879" y="382"/>
                </a:lnTo>
                <a:lnTo>
                  <a:pt x="882" y="380"/>
                </a:lnTo>
                <a:lnTo>
                  <a:pt x="884" y="382"/>
                </a:lnTo>
                <a:lnTo>
                  <a:pt x="884" y="385"/>
                </a:lnTo>
                <a:lnTo>
                  <a:pt x="880" y="387"/>
                </a:lnTo>
                <a:lnTo>
                  <a:pt x="877" y="387"/>
                </a:lnTo>
                <a:lnTo>
                  <a:pt x="876" y="390"/>
                </a:lnTo>
                <a:lnTo>
                  <a:pt x="882" y="392"/>
                </a:lnTo>
                <a:lnTo>
                  <a:pt x="886" y="398"/>
                </a:lnTo>
                <a:lnTo>
                  <a:pt x="887" y="397"/>
                </a:lnTo>
                <a:lnTo>
                  <a:pt x="888" y="397"/>
                </a:lnTo>
                <a:lnTo>
                  <a:pt x="896" y="387"/>
                </a:lnTo>
                <a:lnTo>
                  <a:pt x="896" y="375"/>
                </a:lnTo>
                <a:lnTo>
                  <a:pt x="893" y="365"/>
                </a:lnTo>
                <a:lnTo>
                  <a:pt x="897" y="357"/>
                </a:lnTo>
                <a:lnTo>
                  <a:pt x="897" y="357"/>
                </a:lnTo>
                <a:lnTo>
                  <a:pt x="897" y="355"/>
                </a:lnTo>
                <a:lnTo>
                  <a:pt x="897" y="355"/>
                </a:lnTo>
                <a:close/>
                <a:moveTo>
                  <a:pt x="909" y="394"/>
                </a:moveTo>
                <a:lnTo>
                  <a:pt x="908" y="394"/>
                </a:lnTo>
                <a:lnTo>
                  <a:pt x="908" y="396"/>
                </a:lnTo>
                <a:lnTo>
                  <a:pt x="908" y="394"/>
                </a:lnTo>
                <a:lnTo>
                  <a:pt x="909" y="394"/>
                </a:lnTo>
                <a:close/>
                <a:moveTo>
                  <a:pt x="915" y="440"/>
                </a:moveTo>
                <a:lnTo>
                  <a:pt x="918" y="441"/>
                </a:lnTo>
                <a:lnTo>
                  <a:pt x="921" y="443"/>
                </a:lnTo>
                <a:lnTo>
                  <a:pt x="922" y="445"/>
                </a:lnTo>
                <a:lnTo>
                  <a:pt x="923" y="445"/>
                </a:lnTo>
                <a:lnTo>
                  <a:pt x="922" y="445"/>
                </a:lnTo>
                <a:lnTo>
                  <a:pt x="921" y="443"/>
                </a:lnTo>
                <a:lnTo>
                  <a:pt x="921" y="445"/>
                </a:lnTo>
                <a:lnTo>
                  <a:pt x="920" y="445"/>
                </a:lnTo>
                <a:lnTo>
                  <a:pt x="909" y="445"/>
                </a:lnTo>
                <a:lnTo>
                  <a:pt x="909" y="432"/>
                </a:lnTo>
                <a:lnTo>
                  <a:pt x="910" y="436"/>
                </a:lnTo>
                <a:lnTo>
                  <a:pt x="915" y="440"/>
                </a:lnTo>
                <a:close/>
                <a:moveTo>
                  <a:pt x="928" y="426"/>
                </a:moveTo>
                <a:lnTo>
                  <a:pt x="935" y="427"/>
                </a:lnTo>
                <a:lnTo>
                  <a:pt x="942" y="429"/>
                </a:lnTo>
                <a:lnTo>
                  <a:pt x="944" y="433"/>
                </a:lnTo>
                <a:lnTo>
                  <a:pt x="944" y="438"/>
                </a:lnTo>
                <a:lnTo>
                  <a:pt x="935" y="441"/>
                </a:lnTo>
                <a:lnTo>
                  <a:pt x="925" y="443"/>
                </a:lnTo>
                <a:lnTo>
                  <a:pt x="925" y="445"/>
                </a:lnTo>
                <a:lnTo>
                  <a:pt x="925" y="446"/>
                </a:lnTo>
                <a:lnTo>
                  <a:pt x="925" y="446"/>
                </a:lnTo>
                <a:lnTo>
                  <a:pt x="925" y="445"/>
                </a:lnTo>
                <a:lnTo>
                  <a:pt x="925" y="443"/>
                </a:lnTo>
                <a:lnTo>
                  <a:pt x="925" y="439"/>
                </a:lnTo>
                <a:lnTo>
                  <a:pt x="924" y="434"/>
                </a:lnTo>
                <a:lnTo>
                  <a:pt x="924" y="429"/>
                </a:lnTo>
                <a:lnTo>
                  <a:pt x="928" y="426"/>
                </a:lnTo>
                <a:lnTo>
                  <a:pt x="928" y="426"/>
                </a:lnTo>
                <a:close/>
                <a:moveTo>
                  <a:pt x="937" y="449"/>
                </a:moveTo>
                <a:lnTo>
                  <a:pt x="934" y="452"/>
                </a:lnTo>
                <a:lnTo>
                  <a:pt x="935" y="455"/>
                </a:lnTo>
                <a:lnTo>
                  <a:pt x="938" y="456"/>
                </a:lnTo>
                <a:lnTo>
                  <a:pt x="941" y="459"/>
                </a:lnTo>
                <a:lnTo>
                  <a:pt x="938" y="456"/>
                </a:lnTo>
                <a:lnTo>
                  <a:pt x="935" y="455"/>
                </a:lnTo>
                <a:lnTo>
                  <a:pt x="932" y="456"/>
                </a:lnTo>
                <a:lnTo>
                  <a:pt x="930" y="457"/>
                </a:lnTo>
                <a:lnTo>
                  <a:pt x="923" y="457"/>
                </a:lnTo>
                <a:lnTo>
                  <a:pt x="917" y="459"/>
                </a:lnTo>
                <a:lnTo>
                  <a:pt x="914" y="459"/>
                </a:lnTo>
                <a:lnTo>
                  <a:pt x="913" y="456"/>
                </a:lnTo>
                <a:lnTo>
                  <a:pt x="914" y="454"/>
                </a:lnTo>
                <a:lnTo>
                  <a:pt x="916" y="453"/>
                </a:lnTo>
                <a:lnTo>
                  <a:pt x="923" y="452"/>
                </a:lnTo>
                <a:lnTo>
                  <a:pt x="925" y="446"/>
                </a:lnTo>
                <a:lnTo>
                  <a:pt x="936" y="445"/>
                </a:lnTo>
                <a:lnTo>
                  <a:pt x="945" y="443"/>
                </a:lnTo>
                <a:lnTo>
                  <a:pt x="942" y="448"/>
                </a:lnTo>
                <a:lnTo>
                  <a:pt x="937" y="449"/>
                </a:lnTo>
                <a:close/>
                <a:moveTo>
                  <a:pt x="923" y="553"/>
                </a:moveTo>
                <a:lnTo>
                  <a:pt x="928" y="551"/>
                </a:lnTo>
                <a:lnTo>
                  <a:pt x="932" y="551"/>
                </a:lnTo>
                <a:lnTo>
                  <a:pt x="934" y="552"/>
                </a:lnTo>
                <a:lnTo>
                  <a:pt x="934" y="554"/>
                </a:lnTo>
                <a:lnTo>
                  <a:pt x="928" y="556"/>
                </a:lnTo>
                <a:lnTo>
                  <a:pt x="923" y="554"/>
                </a:lnTo>
                <a:lnTo>
                  <a:pt x="923" y="553"/>
                </a:lnTo>
                <a:lnTo>
                  <a:pt x="923" y="553"/>
                </a:lnTo>
                <a:close/>
                <a:moveTo>
                  <a:pt x="910" y="536"/>
                </a:moveTo>
                <a:lnTo>
                  <a:pt x="915" y="531"/>
                </a:lnTo>
                <a:lnTo>
                  <a:pt x="921" y="531"/>
                </a:lnTo>
                <a:lnTo>
                  <a:pt x="928" y="533"/>
                </a:lnTo>
                <a:lnTo>
                  <a:pt x="934" y="532"/>
                </a:lnTo>
                <a:lnTo>
                  <a:pt x="934" y="535"/>
                </a:lnTo>
                <a:lnTo>
                  <a:pt x="934" y="537"/>
                </a:lnTo>
                <a:lnTo>
                  <a:pt x="928" y="539"/>
                </a:lnTo>
                <a:lnTo>
                  <a:pt x="921" y="537"/>
                </a:lnTo>
                <a:lnTo>
                  <a:pt x="916" y="536"/>
                </a:lnTo>
                <a:lnTo>
                  <a:pt x="910" y="536"/>
                </a:lnTo>
                <a:close/>
                <a:moveTo>
                  <a:pt x="881" y="517"/>
                </a:moveTo>
                <a:lnTo>
                  <a:pt x="881" y="517"/>
                </a:lnTo>
                <a:lnTo>
                  <a:pt x="880" y="517"/>
                </a:lnTo>
                <a:lnTo>
                  <a:pt x="881" y="517"/>
                </a:lnTo>
                <a:lnTo>
                  <a:pt x="881" y="517"/>
                </a:lnTo>
                <a:close/>
                <a:moveTo>
                  <a:pt x="883" y="518"/>
                </a:moveTo>
                <a:lnTo>
                  <a:pt x="882" y="518"/>
                </a:lnTo>
                <a:lnTo>
                  <a:pt x="881" y="517"/>
                </a:lnTo>
                <a:lnTo>
                  <a:pt x="882" y="518"/>
                </a:lnTo>
                <a:lnTo>
                  <a:pt x="883" y="518"/>
                </a:lnTo>
                <a:close/>
                <a:moveTo>
                  <a:pt x="880" y="514"/>
                </a:moveTo>
                <a:lnTo>
                  <a:pt x="879" y="512"/>
                </a:lnTo>
                <a:lnTo>
                  <a:pt x="879" y="511"/>
                </a:lnTo>
                <a:lnTo>
                  <a:pt x="879" y="510"/>
                </a:lnTo>
                <a:lnTo>
                  <a:pt x="880" y="509"/>
                </a:lnTo>
                <a:lnTo>
                  <a:pt x="881" y="507"/>
                </a:lnTo>
                <a:lnTo>
                  <a:pt x="881" y="504"/>
                </a:lnTo>
                <a:lnTo>
                  <a:pt x="881" y="507"/>
                </a:lnTo>
                <a:lnTo>
                  <a:pt x="880" y="509"/>
                </a:lnTo>
                <a:lnTo>
                  <a:pt x="882" y="510"/>
                </a:lnTo>
                <a:lnTo>
                  <a:pt x="884" y="510"/>
                </a:lnTo>
                <a:lnTo>
                  <a:pt x="884" y="510"/>
                </a:lnTo>
                <a:lnTo>
                  <a:pt x="886" y="511"/>
                </a:lnTo>
                <a:lnTo>
                  <a:pt x="886" y="510"/>
                </a:lnTo>
                <a:lnTo>
                  <a:pt x="887" y="510"/>
                </a:lnTo>
                <a:lnTo>
                  <a:pt x="888" y="509"/>
                </a:lnTo>
                <a:lnTo>
                  <a:pt x="890" y="510"/>
                </a:lnTo>
                <a:lnTo>
                  <a:pt x="890" y="512"/>
                </a:lnTo>
                <a:lnTo>
                  <a:pt x="890" y="515"/>
                </a:lnTo>
                <a:lnTo>
                  <a:pt x="894" y="516"/>
                </a:lnTo>
                <a:lnTo>
                  <a:pt x="896" y="521"/>
                </a:lnTo>
                <a:lnTo>
                  <a:pt x="897" y="524"/>
                </a:lnTo>
                <a:lnTo>
                  <a:pt x="896" y="521"/>
                </a:lnTo>
                <a:lnTo>
                  <a:pt x="894" y="516"/>
                </a:lnTo>
                <a:lnTo>
                  <a:pt x="888" y="516"/>
                </a:lnTo>
                <a:lnTo>
                  <a:pt x="883" y="518"/>
                </a:lnTo>
                <a:lnTo>
                  <a:pt x="882" y="515"/>
                </a:lnTo>
                <a:lnTo>
                  <a:pt x="880" y="514"/>
                </a:lnTo>
                <a:close/>
                <a:moveTo>
                  <a:pt x="895" y="464"/>
                </a:moveTo>
                <a:lnTo>
                  <a:pt x="898" y="467"/>
                </a:lnTo>
                <a:lnTo>
                  <a:pt x="898" y="469"/>
                </a:lnTo>
                <a:lnTo>
                  <a:pt x="895" y="471"/>
                </a:lnTo>
                <a:lnTo>
                  <a:pt x="890" y="471"/>
                </a:lnTo>
                <a:lnTo>
                  <a:pt x="893" y="469"/>
                </a:lnTo>
                <a:lnTo>
                  <a:pt x="895" y="467"/>
                </a:lnTo>
                <a:lnTo>
                  <a:pt x="894" y="467"/>
                </a:lnTo>
                <a:lnTo>
                  <a:pt x="894" y="466"/>
                </a:lnTo>
                <a:lnTo>
                  <a:pt x="884" y="466"/>
                </a:lnTo>
                <a:lnTo>
                  <a:pt x="876" y="468"/>
                </a:lnTo>
                <a:lnTo>
                  <a:pt x="874" y="469"/>
                </a:lnTo>
                <a:lnTo>
                  <a:pt x="872" y="468"/>
                </a:lnTo>
                <a:lnTo>
                  <a:pt x="873" y="464"/>
                </a:lnTo>
                <a:lnTo>
                  <a:pt x="875" y="463"/>
                </a:lnTo>
                <a:lnTo>
                  <a:pt x="884" y="461"/>
                </a:lnTo>
                <a:lnTo>
                  <a:pt x="895" y="461"/>
                </a:lnTo>
                <a:lnTo>
                  <a:pt x="895" y="463"/>
                </a:lnTo>
                <a:lnTo>
                  <a:pt x="895" y="464"/>
                </a:lnTo>
                <a:close/>
                <a:moveTo>
                  <a:pt x="914" y="546"/>
                </a:moveTo>
                <a:lnTo>
                  <a:pt x="913" y="549"/>
                </a:lnTo>
                <a:lnTo>
                  <a:pt x="911" y="550"/>
                </a:lnTo>
                <a:lnTo>
                  <a:pt x="909" y="550"/>
                </a:lnTo>
                <a:lnTo>
                  <a:pt x="908" y="549"/>
                </a:lnTo>
                <a:lnTo>
                  <a:pt x="904" y="545"/>
                </a:lnTo>
                <a:lnTo>
                  <a:pt x="900" y="543"/>
                </a:lnTo>
                <a:lnTo>
                  <a:pt x="910" y="540"/>
                </a:lnTo>
                <a:lnTo>
                  <a:pt x="914" y="546"/>
                </a:lnTo>
                <a:close/>
                <a:moveTo>
                  <a:pt x="895" y="461"/>
                </a:moveTo>
                <a:lnTo>
                  <a:pt x="897" y="454"/>
                </a:lnTo>
                <a:lnTo>
                  <a:pt x="904" y="454"/>
                </a:lnTo>
                <a:lnTo>
                  <a:pt x="901" y="459"/>
                </a:lnTo>
                <a:lnTo>
                  <a:pt x="895" y="461"/>
                </a:lnTo>
                <a:close/>
                <a:moveTo>
                  <a:pt x="866" y="547"/>
                </a:moveTo>
                <a:lnTo>
                  <a:pt x="872" y="543"/>
                </a:lnTo>
                <a:lnTo>
                  <a:pt x="882" y="545"/>
                </a:lnTo>
                <a:lnTo>
                  <a:pt x="884" y="537"/>
                </a:lnTo>
                <a:lnTo>
                  <a:pt x="881" y="530"/>
                </a:lnTo>
                <a:lnTo>
                  <a:pt x="881" y="530"/>
                </a:lnTo>
                <a:lnTo>
                  <a:pt x="880" y="530"/>
                </a:lnTo>
                <a:lnTo>
                  <a:pt x="880" y="528"/>
                </a:lnTo>
                <a:lnTo>
                  <a:pt x="880" y="525"/>
                </a:lnTo>
                <a:lnTo>
                  <a:pt x="888" y="528"/>
                </a:lnTo>
                <a:lnTo>
                  <a:pt x="889" y="536"/>
                </a:lnTo>
                <a:lnTo>
                  <a:pt x="889" y="544"/>
                </a:lnTo>
                <a:lnTo>
                  <a:pt x="889" y="552"/>
                </a:lnTo>
                <a:lnTo>
                  <a:pt x="888" y="556"/>
                </a:lnTo>
                <a:lnTo>
                  <a:pt x="886" y="557"/>
                </a:lnTo>
                <a:lnTo>
                  <a:pt x="882" y="556"/>
                </a:lnTo>
                <a:lnTo>
                  <a:pt x="881" y="553"/>
                </a:lnTo>
                <a:lnTo>
                  <a:pt x="875" y="547"/>
                </a:lnTo>
                <a:lnTo>
                  <a:pt x="866" y="547"/>
                </a:lnTo>
                <a:close/>
                <a:moveTo>
                  <a:pt x="863" y="552"/>
                </a:moveTo>
                <a:lnTo>
                  <a:pt x="865" y="553"/>
                </a:lnTo>
                <a:lnTo>
                  <a:pt x="865" y="556"/>
                </a:lnTo>
                <a:lnTo>
                  <a:pt x="860" y="558"/>
                </a:lnTo>
                <a:lnTo>
                  <a:pt x="854" y="557"/>
                </a:lnTo>
                <a:lnTo>
                  <a:pt x="859" y="553"/>
                </a:lnTo>
                <a:lnTo>
                  <a:pt x="863" y="552"/>
                </a:lnTo>
                <a:close/>
                <a:moveTo>
                  <a:pt x="839" y="480"/>
                </a:moveTo>
                <a:lnTo>
                  <a:pt x="833" y="480"/>
                </a:lnTo>
                <a:lnTo>
                  <a:pt x="832" y="485"/>
                </a:lnTo>
                <a:lnTo>
                  <a:pt x="824" y="484"/>
                </a:lnTo>
                <a:lnTo>
                  <a:pt x="820" y="477"/>
                </a:lnTo>
                <a:lnTo>
                  <a:pt x="822" y="475"/>
                </a:lnTo>
                <a:lnTo>
                  <a:pt x="825" y="474"/>
                </a:lnTo>
                <a:lnTo>
                  <a:pt x="828" y="475"/>
                </a:lnTo>
                <a:lnTo>
                  <a:pt x="832" y="474"/>
                </a:lnTo>
                <a:lnTo>
                  <a:pt x="838" y="470"/>
                </a:lnTo>
                <a:lnTo>
                  <a:pt x="844" y="470"/>
                </a:lnTo>
                <a:lnTo>
                  <a:pt x="849" y="470"/>
                </a:lnTo>
                <a:lnTo>
                  <a:pt x="854" y="470"/>
                </a:lnTo>
                <a:lnTo>
                  <a:pt x="855" y="478"/>
                </a:lnTo>
                <a:lnTo>
                  <a:pt x="851" y="485"/>
                </a:lnTo>
                <a:lnTo>
                  <a:pt x="846" y="481"/>
                </a:lnTo>
                <a:lnTo>
                  <a:pt x="839" y="480"/>
                </a:lnTo>
                <a:close/>
                <a:moveTo>
                  <a:pt x="810" y="469"/>
                </a:moveTo>
                <a:lnTo>
                  <a:pt x="810" y="469"/>
                </a:lnTo>
                <a:lnTo>
                  <a:pt x="810" y="469"/>
                </a:lnTo>
                <a:lnTo>
                  <a:pt x="812" y="466"/>
                </a:lnTo>
                <a:lnTo>
                  <a:pt x="817" y="466"/>
                </a:lnTo>
                <a:lnTo>
                  <a:pt x="818" y="468"/>
                </a:lnTo>
                <a:lnTo>
                  <a:pt x="818" y="469"/>
                </a:lnTo>
                <a:lnTo>
                  <a:pt x="813" y="471"/>
                </a:lnTo>
                <a:lnTo>
                  <a:pt x="810" y="470"/>
                </a:lnTo>
                <a:lnTo>
                  <a:pt x="808" y="470"/>
                </a:lnTo>
                <a:lnTo>
                  <a:pt x="810" y="469"/>
                </a:lnTo>
                <a:close/>
                <a:moveTo>
                  <a:pt x="810" y="582"/>
                </a:moveTo>
                <a:lnTo>
                  <a:pt x="812" y="581"/>
                </a:lnTo>
                <a:lnTo>
                  <a:pt x="814" y="581"/>
                </a:lnTo>
                <a:lnTo>
                  <a:pt x="815" y="580"/>
                </a:lnTo>
                <a:lnTo>
                  <a:pt x="817" y="580"/>
                </a:lnTo>
                <a:lnTo>
                  <a:pt x="818" y="580"/>
                </a:lnTo>
                <a:lnTo>
                  <a:pt x="818" y="579"/>
                </a:lnTo>
                <a:lnTo>
                  <a:pt x="819" y="579"/>
                </a:lnTo>
                <a:lnTo>
                  <a:pt x="820" y="579"/>
                </a:lnTo>
                <a:lnTo>
                  <a:pt x="821" y="579"/>
                </a:lnTo>
                <a:lnTo>
                  <a:pt x="819" y="585"/>
                </a:lnTo>
                <a:lnTo>
                  <a:pt x="814" y="588"/>
                </a:lnTo>
                <a:lnTo>
                  <a:pt x="811" y="587"/>
                </a:lnTo>
                <a:lnTo>
                  <a:pt x="810" y="582"/>
                </a:lnTo>
                <a:lnTo>
                  <a:pt x="808" y="585"/>
                </a:lnTo>
                <a:lnTo>
                  <a:pt x="806" y="586"/>
                </a:lnTo>
                <a:lnTo>
                  <a:pt x="808" y="585"/>
                </a:lnTo>
                <a:lnTo>
                  <a:pt x="810" y="582"/>
                </a:lnTo>
                <a:close/>
                <a:moveTo>
                  <a:pt x="829" y="560"/>
                </a:moveTo>
                <a:lnTo>
                  <a:pt x="826" y="560"/>
                </a:lnTo>
                <a:lnTo>
                  <a:pt x="822" y="564"/>
                </a:lnTo>
                <a:lnTo>
                  <a:pt x="818" y="571"/>
                </a:lnTo>
                <a:lnTo>
                  <a:pt x="810" y="566"/>
                </a:lnTo>
                <a:lnTo>
                  <a:pt x="819" y="561"/>
                </a:lnTo>
                <a:lnTo>
                  <a:pt x="826" y="554"/>
                </a:lnTo>
                <a:lnTo>
                  <a:pt x="828" y="552"/>
                </a:lnTo>
                <a:lnTo>
                  <a:pt x="832" y="553"/>
                </a:lnTo>
                <a:lnTo>
                  <a:pt x="841" y="557"/>
                </a:lnTo>
                <a:lnTo>
                  <a:pt x="847" y="550"/>
                </a:lnTo>
                <a:lnTo>
                  <a:pt x="847" y="550"/>
                </a:lnTo>
                <a:lnTo>
                  <a:pt x="848" y="550"/>
                </a:lnTo>
                <a:lnTo>
                  <a:pt x="849" y="558"/>
                </a:lnTo>
                <a:lnTo>
                  <a:pt x="847" y="566"/>
                </a:lnTo>
                <a:lnTo>
                  <a:pt x="847" y="566"/>
                </a:lnTo>
                <a:lnTo>
                  <a:pt x="839" y="563"/>
                </a:lnTo>
                <a:lnTo>
                  <a:pt x="829" y="560"/>
                </a:lnTo>
                <a:close/>
                <a:moveTo>
                  <a:pt x="840" y="580"/>
                </a:moveTo>
                <a:lnTo>
                  <a:pt x="834" y="581"/>
                </a:lnTo>
                <a:lnTo>
                  <a:pt x="831" y="577"/>
                </a:lnTo>
                <a:lnTo>
                  <a:pt x="829" y="577"/>
                </a:lnTo>
                <a:lnTo>
                  <a:pt x="828" y="577"/>
                </a:lnTo>
                <a:lnTo>
                  <a:pt x="829" y="577"/>
                </a:lnTo>
                <a:lnTo>
                  <a:pt x="831" y="577"/>
                </a:lnTo>
                <a:lnTo>
                  <a:pt x="838" y="575"/>
                </a:lnTo>
                <a:lnTo>
                  <a:pt x="844" y="573"/>
                </a:lnTo>
                <a:lnTo>
                  <a:pt x="844" y="578"/>
                </a:lnTo>
                <a:lnTo>
                  <a:pt x="840" y="580"/>
                </a:lnTo>
                <a:close/>
                <a:moveTo>
                  <a:pt x="853" y="571"/>
                </a:moveTo>
                <a:lnTo>
                  <a:pt x="853" y="571"/>
                </a:lnTo>
                <a:lnTo>
                  <a:pt x="854" y="571"/>
                </a:lnTo>
                <a:lnTo>
                  <a:pt x="860" y="567"/>
                </a:lnTo>
                <a:lnTo>
                  <a:pt x="866" y="567"/>
                </a:lnTo>
                <a:lnTo>
                  <a:pt x="867" y="568"/>
                </a:lnTo>
                <a:lnTo>
                  <a:pt x="867" y="570"/>
                </a:lnTo>
                <a:lnTo>
                  <a:pt x="862" y="573"/>
                </a:lnTo>
                <a:lnTo>
                  <a:pt x="855" y="575"/>
                </a:lnTo>
                <a:lnTo>
                  <a:pt x="854" y="574"/>
                </a:lnTo>
                <a:lnTo>
                  <a:pt x="854" y="571"/>
                </a:lnTo>
                <a:lnTo>
                  <a:pt x="853" y="571"/>
                </a:lnTo>
                <a:lnTo>
                  <a:pt x="853" y="571"/>
                </a:lnTo>
                <a:close/>
                <a:moveTo>
                  <a:pt x="875" y="565"/>
                </a:moveTo>
                <a:lnTo>
                  <a:pt x="874" y="565"/>
                </a:lnTo>
                <a:lnTo>
                  <a:pt x="873" y="565"/>
                </a:lnTo>
                <a:lnTo>
                  <a:pt x="874" y="565"/>
                </a:lnTo>
                <a:lnTo>
                  <a:pt x="875" y="565"/>
                </a:lnTo>
                <a:lnTo>
                  <a:pt x="881" y="563"/>
                </a:lnTo>
                <a:lnTo>
                  <a:pt x="886" y="561"/>
                </a:lnTo>
                <a:lnTo>
                  <a:pt x="888" y="561"/>
                </a:lnTo>
                <a:lnTo>
                  <a:pt x="889" y="563"/>
                </a:lnTo>
                <a:lnTo>
                  <a:pt x="889" y="563"/>
                </a:lnTo>
                <a:lnTo>
                  <a:pt x="891" y="566"/>
                </a:lnTo>
                <a:lnTo>
                  <a:pt x="896" y="567"/>
                </a:lnTo>
                <a:lnTo>
                  <a:pt x="896" y="567"/>
                </a:lnTo>
                <a:lnTo>
                  <a:pt x="893" y="567"/>
                </a:lnTo>
                <a:lnTo>
                  <a:pt x="888" y="568"/>
                </a:lnTo>
                <a:lnTo>
                  <a:pt x="881" y="568"/>
                </a:lnTo>
                <a:lnTo>
                  <a:pt x="875" y="565"/>
                </a:lnTo>
                <a:close/>
                <a:moveTo>
                  <a:pt x="882" y="606"/>
                </a:moveTo>
                <a:lnTo>
                  <a:pt x="882" y="606"/>
                </a:lnTo>
                <a:lnTo>
                  <a:pt x="881" y="606"/>
                </a:lnTo>
                <a:lnTo>
                  <a:pt x="880" y="603"/>
                </a:lnTo>
                <a:lnTo>
                  <a:pt x="881" y="606"/>
                </a:lnTo>
                <a:lnTo>
                  <a:pt x="882" y="606"/>
                </a:lnTo>
                <a:close/>
                <a:moveTo>
                  <a:pt x="873" y="577"/>
                </a:moveTo>
                <a:lnTo>
                  <a:pt x="875" y="574"/>
                </a:lnTo>
                <a:lnTo>
                  <a:pt x="882" y="572"/>
                </a:lnTo>
                <a:lnTo>
                  <a:pt x="875" y="574"/>
                </a:lnTo>
                <a:lnTo>
                  <a:pt x="873" y="577"/>
                </a:lnTo>
                <a:close/>
                <a:moveTo>
                  <a:pt x="874" y="588"/>
                </a:moveTo>
                <a:lnTo>
                  <a:pt x="874" y="589"/>
                </a:lnTo>
                <a:lnTo>
                  <a:pt x="874" y="591"/>
                </a:lnTo>
                <a:lnTo>
                  <a:pt x="874" y="589"/>
                </a:lnTo>
                <a:lnTo>
                  <a:pt x="874" y="588"/>
                </a:lnTo>
                <a:lnTo>
                  <a:pt x="874" y="588"/>
                </a:lnTo>
                <a:lnTo>
                  <a:pt x="874" y="588"/>
                </a:lnTo>
                <a:lnTo>
                  <a:pt x="875" y="585"/>
                </a:lnTo>
                <a:lnTo>
                  <a:pt x="875" y="580"/>
                </a:lnTo>
                <a:lnTo>
                  <a:pt x="875" y="585"/>
                </a:lnTo>
                <a:lnTo>
                  <a:pt x="874" y="588"/>
                </a:lnTo>
                <a:lnTo>
                  <a:pt x="874" y="588"/>
                </a:lnTo>
                <a:lnTo>
                  <a:pt x="874" y="588"/>
                </a:lnTo>
                <a:close/>
                <a:moveTo>
                  <a:pt x="900" y="559"/>
                </a:moveTo>
                <a:lnTo>
                  <a:pt x="896" y="559"/>
                </a:lnTo>
                <a:lnTo>
                  <a:pt x="893" y="560"/>
                </a:lnTo>
                <a:lnTo>
                  <a:pt x="896" y="559"/>
                </a:lnTo>
                <a:lnTo>
                  <a:pt x="900" y="559"/>
                </a:lnTo>
                <a:lnTo>
                  <a:pt x="904" y="557"/>
                </a:lnTo>
                <a:lnTo>
                  <a:pt x="909" y="556"/>
                </a:lnTo>
                <a:lnTo>
                  <a:pt x="913" y="557"/>
                </a:lnTo>
                <a:lnTo>
                  <a:pt x="914" y="560"/>
                </a:lnTo>
                <a:lnTo>
                  <a:pt x="905" y="561"/>
                </a:lnTo>
                <a:lnTo>
                  <a:pt x="900" y="559"/>
                </a:lnTo>
                <a:close/>
                <a:moveTo>
                  <a:pt x="944" y="514"/>
                </a:moveTo>
                <a:lnTo>
                  <a:pt x="946" y="516"/>
                </a:lnTo>
                <a:lnTo>
                  <a:pt x="951" y="515"/>
                </a:lnTo>
                <a:lnTo>
                  <a:pt x="955" y="514"/>
                </a:lnTo>
                <a:lnTo>
                  <a:pt x="955" y="518"/>
                </a:lnTo>
                <a:lnTo>
                  <a:pt x="956" y="519"/>
                </a:lnTo>
                <a:lnTo>
                  <a:pt x="958" y="519"/>
                </a:lnTo>
                <a:lnTo>
                  <a:pt x="964" y="517"/>
                </a:lnTo>
                <a:lnTo>
                  <a:pt x="969" y="519"/>
                </a:lnTo>
                <a:lnTo>
                  <a:pt x="973" y="522"/>
                </a:lnTo>
                <a:lnTo>
                  <a:pt x="978" y="522"/>
                </a:lnTo>
                <a:lnTo>
                  <a:pt x="974" y="526"/>
                </a:lnTo>
                <a:lnTo>
                  <a:pt x="972" y="530"/>
                </a:lnTo>
                <a:lnTo>
                  <a:pt x="967" y="525"/>
                </a:lnTo>
                <a:lnTo>
                  <a:pt x="964" y="524"/>
                </a:lnTo>
                <a:lnTo>
                  <a:pt x="957" y="528"/>
                </a:lnTo>
                <a:lnTo>
                  <a:pt x="953" y="536"/>
                </a:lnTo>
                <a:lnTo>
                  <a:pt x="953" y="538"/>
                </a:lnTo>
                <a:lnTo>
                  <a:pt x="951" y="540"/>
                </a:lnTo>
                <a:lnTo>
                  <a:pt x="949" y="538"/>
                </a:lnTo>
                <a:lnTo>
                  <a:pt x="946" y="535"/>
                </a:lnTo>
                <a:lnTo>
                  <a:pt x="944" y="536"/>
                </a:lnTo>
                <a:lnTo>
                  <a:pt x="943" y="536"/>
                </a:lnTo>
                <a:lnTo>
                  <a:pt x="944" y="536"/>
                </a:lnTo>
                <a:lnTo>
                  <a:pt x="946" y="535"/>
                </a:lnTo>
                <a:lnTo>
                  <a:pt x="945" y="533"/>
                </a:lnTo>
                <a:lnTo>
                  <a:pt x="945" y="531"/>
                </a:lnTo>
                <a:lnTo>
                  <a:pt x="951" y="529"/>
                </a:lnTo>
                <a:lnTo>
                  <a:pt x="953" y="525"/>
                </a:lnTo>
                <a:lnTo>
                  <a:pt x="951" y="521"/>
                </a:lnTo>
                <a:lnTo>
                  <a:pt x="945" y="518"/>
                </a:lnTo>
                <a:lnTo>
                  <a:pt x="937" y="514"/>
                </a:lnTo>
                <a:lnTo>
                  <a:pt x="928" y="510"/>
                </a:lnTo>
                <a:lnTo>
                  <a:pt x="928" y="510"/>
                </a:lnTo>
                <a:lnTo>
                  <a:pt x="928" y="510"/>
                </a:lnTo>
                <a:lnTo>
                  <a:pt x="928" y="510"/>
                </a:lnTo>
                <a:lnTo>
                  <a:pt x="927" y="510"/>
                </a:lnTo>
                <a:lnTo>
                  <a:pt x="927" y="505"/>
                </a:lnTo>
                <a:lnTo>
                  <a:pt x="929" y="502"/>
                </a:lnTo>
                <a:lnTo>
                  <a:pt x="928" y="497"/>
                </a:lnTo>
                <a:lnTo>
                  <a:pt x="927" y="496"/>
                </a:lnTo>
                <a:lnTo>
                  <a:pt x="928" y="497"/>
                </a:lnTo>
                <a:lnTo>
                  <a:pt x="929" y="502"/>
                </a:lnTo>
                <a:lnTo>
                  <a:pt x="931" y="505"/>
                </a:lnTo>
                <a:lnTo>
                  <a:pt x="932" y="509"/>
                </a:lnTo>
                <a:lnTo>
                  <a:pt x="937" y="510"/>
                </a:lnTo>
                <a:lnTo>
                  <a:pt x="941" y="507"/>
                </a:lnTo>
                <a:lnTo>
                  <a:pt x="943" y="507"/>
                </a:lnTo>
                <a:lnTo>
                  <a:pt x="945" y="508"/>
                </a:lnTo>
                <a:lnTo>
                  <a:pt x="944" y="510"/>
                </a:lnTo>
                <a:lnTo>
                  <a:pt x="944" y="514"/>
                </a:lnTo>
                <a:lnTo>
                  <a:pt x="944" y="514"/>
                </a:lnTo>
                <a:close/>
                <a:moveTo>
                  <a:pt x="928" y="510"/>
                </a:moveTo>
                <a:lnTo>
                  <a:pt x="927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2" y="518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8" y="515"/>
                </a:lnTo>
                <a:lnTo>
                  <a:pt x="925" y="511"/>
                </a:lnTo>
                <a:lnTo>
                  <a:pt x="927" y="511"/>
                </a:lnTo>
                <a:lnTo>
                  <a:pt x="927" y="510"/>
                </a:lnTo>
                <a:lnTo>
                  <a:pt x="927" y="510"/>
                </a:lnTo>
                <a:lnTo>
                  <a:pt x="927" y="510"/>
                </a:lnTo>
                <a:lnTo>
                  <a:pt x="928" y="510"/>
                </a:lnTo>
                <a:lnTo>
                  <a:pt x="928" y="510"/>
                </a:lnTo>
                <a:close/>
                <a:moveTo>
                  <a:pt x="915" y="522"/>
                </a:moveTo>
                <a:lnTo>
                  <a:pt x="911" y="529"/>
                </a:lnTo>
                <a:lnTo>
                  <a:pt x="905" y="532"/>
                </a:lnTo>
                <a:lnTo>
                  <a:pt x="908" y="525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close/>
                <a:moveTo>
                  <a:pt x="946" y="504"/>
                </a:moveTo>
                <a:lnTo>
                  <a:pt x="946" y="504"/>
                </a:lnTo>
                <a:lnTo>
                  <a:pt x="946" y="504"/>
                </a:lnTo>
                <a:lnTo>
                  <a:pt x="946" y="504"/>
                </a:lnTo>
                <a:close/>
                <a:moveTo>
                  <a:pt x="956" y="477"/>
                </a:moveTo>
                <a:lnTo>
                  <a:pt x="957" y="481"/>
                </a:lnTo>
                <a:lnTo>
                  <a:pt x="955" y="484"/>
                </a:lnTo>
                <a:lnTo>
                  <a:pt x="950" y="485"/>
                </a:lnTo>
                <a:lnTo>
                  <a:pt x="946" y="482"/>
                </a:lnTo>
                <a:lnTo>
                  <a:pt x="951" y="477"/>
                </a:lnTo>
                <a:lnTo>
                  <a:pt x="956" y="477"/>
                </a:lnTo>
                <a:close/>
                <a:moveTo>
                  <a:pt x="956" y="420"/>
                </a:moveTo>
                <a:lnTo>
                  <a:pt x="959" y="419"/>
                </a:lnTo>
                <a:lnTo>
                  <a:pt x="962" y="419"/>
                </a:lnTo>
                <a:lnTo>
                  <a:pt x="964" y="422"/>
                </a:lnTo>
                <a:lnTo>
                  <a:pt x="965" y="425"/>
                </a:lnTo>
                <a:lnTo>
                  <a:pt x="964" y="422"/>
                </a:lnTo>
                <a:lnTo>
                  <a:pt x="962" y="419"/>
                </a:lnTo>
                <a:lnTo>
                  <a:pt x="962" y="427"/>
                </a:lnTo>
                <a:lnTo>
                  <a:pt x="962" y="434"/>
                </a:lnTo>
                <a:lnTo>
                  <a:pt x="958" y="435"/>
                </a:lnTo>
                <a:lnTo>
                  <a:pt x="955" y="435"/>
                </a:lnTo>
                <a:lnTo>
                  <a:pt x="955" y="436"/>
                </a:lnTo>
                <a:lnTo>
                  <a:pt x="955" y="436"/>
                </a:lnTo>
                <a:lnTo>
                  <a:pt x="955" y="436"/>
                </a:lnTo>
                <a:lnTo>
                  <a:pt x="955" y="435"/>
                </a:lnTo>
                <a:lnTo>
                  <a:pt x="952" y="435"/>
                </a:lnTo>
                <a:lnTo>
                  <a:pt x="951" y="438"/>
                </a:lnTo>
                <a:lnTo>
                  <a:pt x="950" y="438"/>
                </a:lnTo>
                <a:lnTo>
                  <a:pt x="949" y="436"/>
                </a:lnTo>
                <a:lnTo>
                  <a:pt x="951" y="428"/>
                </a:lnTo>
                <a:lnTo>
                  <a:pt x="956" y="420"/>
                </a:lnTo>
                <a:close/>
                <a:moveTo>
                  <a:pt x="960" y="463"/>
                </a:moveTo>
                <a:lnTo>
                  <a:pt x="957" y="466"/>
                </a:lnTo>
                <a:lnTo>
                  <a:pt x="951" y="464"/>
                </a:lnTo>
                <a:lnTo>
                  <a:pt x="953" y="462"/>
                </a:lnTo>
                <a:lnTo>
                  <a:pt x="956" y="459"/>
                </a:lnTo>
                <a:lnTo>
                  <a:pt x="956" y="456"/>
                </a:lnTo>
                <a:lnTo>
                  <a:pt x="959" y="455"/>
                </a:lnTo>
                <a:lnTo>
                  <a:pt x="963" y="457"/>
                </a:lnTo>
                <a:lnTo>
                  <a:pt x="965" y="459"/>
                </a:lnTo>
                <a:lnTo>
                  <a:pt x="964" y="462"/>
                </a:lnTo>
                <a:lnTo>
                  <a:pt x="960" y="463"/>
                </a:lnTo>
                <a:close/>
                <a:moveTo>
                  <a:pt x="972" y="440"/>
                </a:moveTo>
                <a:lnTo>
                  <a:pt x="972" y="443"/>
                </a:lnTo>
                <a:lnTo>
                  <a:pt x="967" y="446"/>
                </a:lnTo>
                <a:lnTo>
                  <a:pt x="971" y="448"/>
                </a:lnTo>
                <a:lnTo>
                  <a:pt x="974" y="450"/>
                </a:lnTo>
                <a:lnTo>
                  <a:pt x="971" y="448"/>
                </a:lnTo>
                <a:lnTo>
                  <a:pt x="967" y="446"/>
                </a:lnTo>
                <a:lnTo>
                  <a:pt x="965" y="446"/>
                </a:lnTo>
                <a:lnTo>
                  <a:pt x="963" y="443"/>
                </a:lnTo>
                <a:lnTo>
                  <a:pt x="960" y="443"/>
                </a:lnTo>
                <a:lnTo>
                  <a:pt x="959" y="443"/>
                </a:lnTo>
                <a:lnTo>
                  <a:pt x="955" y="445"/>
                </a:lnTo>
                <a:lnTo>
                  <a:pt x="950" y="441"/>
                </a:lnTo>
                <a:lnTo>
                  <a:pt x="956" y="440"/>
                </a:lnTo>
                <a:lnTo>
                  <a:pt x="960" y="439"/>
                </a:lnTo>
                <a:lnTo>
                  <a:pt x="960" y="441"/>
                </a:lnTo>
                <a:lnTo>
                  <a:pt x="959" y="443"/>
                </a:lnTo>
                <a:lnTo>
                  <a:pt x="960" y="443"/>
                </a:lnTo>
                <a:lnTo>
                  <a:pt x="963" y="443"/>
                </a:lnTo>
                <a:lnTo>
                  <a:pt x="964" y="442"/>
                </a:lnTo>
                <a:lnTo>
                  <a:pt x="965" y="441"/>
                </a:lnTo>
                <a:lnTo>
                  <a:pt x="969" y="439"/>
                </a:lnTo>
                <a:lnTo>
                  <a:pt x="972" y="440"/>
                </a:lnTo>
                <a:close/>
                <a:moveTo>
                  <a:pt x="979" y="475"/>
                </a:moveTo>
                <a:lnTo>
                  <a:pt x="978" y="477"/>
                </a:lnTo>
                <a:lnTo>
                  <a:pt x="980" y="480"/>
                </a:lnTo>
                <a:lnTo>
                  <a:pt x="982" y="481"/>
                </a:lnTo>
                <a:lnTo>
                  <a:pt x="982" y="483"/>
                </a:lnTo>
                <a:lnTo>
                  <a:pt x="976" y="494"/>
                </a:lnTo>
                <a:lnTo>
                  <a:pt x="976" y="507"/>
                </a:lnTo>
                <a:lnTo>
                  <a:pt x="972" y="505"/>
                </a:lnTo>
                <a:lnTo>
                  <a:pt x="972" y="502"/>
                </a:lnTo>
                <a:lnTo>
                  <a:pt x="972" y="501"/>
                </a:lnTo>
                <a:lnTo>
                  <a:pt x="972" y="501"/>
                </a:lnTo>
                <a:lnTo>
                  <a:pt x="972" y="501"/>
                </a:lnTo>
                <a:lnTo>
                  <a:pt x="971" y="501"/>
                </a:lnTo>
                <a:lnTo>
                  <a:pt x="967" y="501"/>
                </a:lnTo>
                <a:lnTo>
                  <a:pt x="966" y="497"/>
                </a:lnTo>
                <a:lnTo>
                  <a:pt x="967" y="496"/>
                </a:lnTo>
                <a:lnTo>
                  <a:pt x="969" y="495"/>
                </a:lnTo>
                <a:lnTo>
                  <a:pt x="967" y="495"/>
                </a:lnTo>
                <a:lnTo>
                  <a:pt x="966" y="495"/>
                </a:lnTo>
                <a:lnTo>
                  <a:pt x="966" y="489"/>
                </a:lnTo>
                <a:lnTo>
                  <a:pt x="966" y="484"/>
                </a:lnTo>
                <a:lnTo>
                  <a:pt x="966" y="482"/>
                </a:lnTo>
                <a:lnTo>
                  <a:pt x="970" y="482"/>
                </a:lnTo>
                <a:lnTo>
                  <a:pt x="976" y="481"/>
                </a:lnTo>
                <a:lnTo>
                  <a:pt x="977" y="476"/>
                </a:lnTo>
                <a:lnTo>
                  <a:pt x="977" y="469"/>
                </a:lnTo>
                <a:lnTo>
                  <a:pt x="973" y="462"/>
                </a:lnTo>
                <a:lnTo>
                  <a:pt x="980" y="467"/>
                </a:lnTo>
                <a:lnTo>
                  <a:pt x="979" y="475"/>
                </a:lnTo>
                <a:close/>
                <a:moveTo>
                  <a:pt x="989" y="536"/>
                </a:moveTo>
                <a:lnTo>
                  <a:pt x="991" y="535"/>
                </a:lnTo>
                <a:lnTo>
                  <a:pt x="992" y="535"/>
                </a:lnTo>
                <a:lnTo>
                  <a:pt x="997" y="535"/>
                </a:lnTo>
                <a:lnTo>
                  <a:pt x="1000" y="536"/>
                </a:lnTo>
                <a:lnTo>
                  <a:pt x="991" y="540"/>
                </a:lnTo>
                <a:lnTo>
                  <a:pt x="989" y="536"/>
                </a:lnTo>
                <a:lnTo>
                  <a:pt x="985" y="536"/>
                </a:lnTo>
                <a:lnTo>
                  <a:pt x="980" y="537"/>
                </a:lnTo>
                <a:lnTo>
                  <a:pt x="985" y="536"/>
                </a:lnTo>
                <a:lnTo>
                  <a:pt x="989" y="536"/>
                </a:lnTo>
                <a:close/>
                <a:moveTo>
                  <a:pt x="985" y="498"/>
                </a:moveTo>
                <a:lnTo>
                  <a:pt x="987" y="491"/>
                </a:lnTo>
                <a:lnTo>
                  <a:pt x="986" y="483"/>
                </a:lnTo>
                <a:lnTo>
                  <a:pt x="989" y="476"/>
                </a:lnTo>
                <a:lnTo>
                  <a:pt x="996" y="478"/>
                </a:lnTo>
                <a:lnTo>
                  <a:pt x="997" y="478"/>
                </a:lnTo>
                <a:lnTo>
                  <a:pt x="998" y="478"/>
                </a:lnTo>
                <a:lnTo>
                  <a:pt x="998" y="478"/>
                </a:lnTo>
                <a:lnTo>
                  <a:pt x="999" y="480"/>
                </a:lnTo>
                <a:lnTo>
                  <a:pt x="1000" y="481"/>
                </a:lnTo>
                <a:lnTo>
                  <a:pt x="1001" y="481"/>
                </a:lnTo>
                <a:lnTo>
                  <a:pt x="1001" y="481"/>
                </a:lnTo>
                <a:lnTo>
                  <a:pt x="1001" y="481"/>
                </a:lnTo>
                <a:lnTo>
                  <a:pt x="1000" y="481"/>
                </a:lnTo>
                <a:lnTo>
                  <a:pt x="996" y="481"/>
                </a:lnTo>
                <a:lnTo>
                  <a:pt x="992" y="483"/>
                </a:lnTo>
                <a:lnTo>
                  <a:pt x="994" y="489"/>
                </a:lnTo>
                <a:lnTo>
                  <a:pt x="1000" y="494"/>
                </a:lnTo>
                <a:lnTo>
                  <a:pt x="991" y="497"/>
                </a:lnTo>
                <a:lnTo>
                  <a:pt x="986" y="507"/>
                </a:lnTo>
                <a:lnTo>
                  <a:pt x="985" y="507"/>
                </a:lnTo>
                <a:lnTo>
                  <a:pt x="985" y="507"/>
                </a:lnTo>
                <a:lnTo>
                  <a:pt x="985" y="509"/>
                </a:lnTo>
                <a:lnTo>
                  <a:pt x="986" y="510"/>
                </a:lnTo>
                <a:lnTo>
                  <a:pt x="985" y="509"/>
                </a:lnTo>
                <a:lnTo>
                  <a:pt x="985" y="507"/>
                </a:lnTo>
                <a:lnTo>
                  <a:pt x="983" y="503"/>
                </a:lnTo>
                <a:lnTo>
                  <a:pt x="985" y="498"/>
                </a:lnTo>
                <a:close/>
                <a:moveTo>
                  <a:pt x="1006" y="495"/>
                </a:moveTo>
                <a:lnTo>
                  <a:pt x="1004" y="497"/>
                </a:lnTo>
                <a:lnTo>
                  <a:pt x="1003" y="498"/>
                </a:lnTo>
                <a:lnTo>
                  <a:pt x="1008" y="503"/>
                </a:lnTo>
                <a:lnTo>
                  <a:pt x="1012" y="511"/>
                </a:lnTo>
                <a:lnTo>
                  <a:pt x="1012" y="511"/>
                </a:lnTo>
                <a:lnTo>
                  <a:pt x="1013" y="512"/>
                </a:lnTo>
                <a:lnTo>
                  <a:pt x="1018" y="511"/>
                </a:lnTo>
                <a:lnTo>
                  <a:pt x="1018" y="507"/>
                </a:lnTo>
                <a:lnTo>
                  <a:pt x="1018" y="505"/>
                </a:lnTo>
                <a:lnTo>
                  <a:pt x="1019" y="504"/>
                </a:lnTo>
                <a:lnTo>
                  <a:pt x="1020" y="505"/>
                </a:lnTo>
                <a:lnTo>
                  <a:pt x="1022" y="505"/>
                </a:lnTo>
                <a:lnTo>
                  <a:pt x="1022" y="504"/>
                </a:lnTo>
                <a:lnTo>
                  <a:pt x="1024" y="504"/>
                </a:lnTo>
                <a:lnTo>
                  <a:pt x="1022" y="504"/>
                </a:lnTo>
                <a:lnTo>
                  <a:pt x="1022" y="505"/>
                </a:lnTo>
                <a:lnTo>
                  <a:pt x="1026" y="510"/>
                </a:lnTo>
                <a:lnTo>
                  <a:pt x="1022" y="515"/>
                </a:lnTo>
                <a:lnTo>
                  <a:pt x="1019" y="517"/>
                </a:lnTo>
                <a:lnTo>
                  <a:pt x="1018" y="522"/>
                </a:lnTo>
                <a:lnTo>
                  <a:pt x="1014" y="522"/>
                </a:lnTo>
                <a:lnTo>
                  <a:pt x="1013" y="524"/>
                </a:lnTo>
                <a:lnTo>
                  <a:pt x="1012" y="524"/>
                </a:lnTo>
                <a:lnTo>
                  <a:pt x="1012" y="524"/>
                </a:lnTo>
                <a:lnTo>
                  <a:pt x="1012" y="518"/>
                </a:lnTo>
                <a:lnTo>
                  <a:pt x="1013" y="512"/>
                </a:lnTo>
                <a:lnTo>
                  <a:pt x="1012" y="511"/>
                </a:lnTo>
                <a:lnTo>
                  <a:pt x="1012" y="511"/>
                </a:lnTo>
                <a:lnTo>
                  <a:pt x="1005" y="512"/>
                </a:lnTo>
                <a:lnTo>
                  <a:pt x="1005" y="519"/>
                </a:lnTo>
                <a:lnTo>
                  <a:pt x="1004" y="521"/>
                </a:lnTo>
                <a:lnTo>
                  <a:pt x="1003" y="522"/>
                </a:lnTo>
                <a:lnTo>
                  <a:pt x="1000" y="519"/>
                </a:lnTo>
                <a:lnTo>
                  <a:pt x="999" y="522"/>
                </a:lnTo>
                <a:lnTo>
                  <a:pt x="993" y="522"/>
                </a:lnTo>
                <a:lnTo>
                  <a:pt x="989" y="522"/>
                </a:lnTo>
                <a:lnTo>
                  <a:pt x="992" y="515"/>
                </a:lnTo>
                <a:lnTo>
                  <a:pt x="992" y="508"/>
                </a:lnTo>
                <a:lnTo>
                  <a:pt x="990" y="508"/>
                </a:lnTo>
                <a:lnTo>
                  <a:pt x="989" y="508"/>
                </a:lnTo>
                <a:lnTo>
                  <a:pt x="990" y="508"/>
                </a:lnTo>
                <a:lnTo>
                  <a:pt x="992" y="508"/>
                </a:lnTo>
                <a:lnTo>
                  <a:pt x="996" y="502"/>
                </a:lnTo>
                <a:lnTo>
                  <a:pt x="1003" y="498"/>
                </a:lnTo>
                <a:lnTo>
                  <a:pt x="1004" y="497"/>
                </a:lnTo>
                <a:lnTo>
                  <a:pt x="1006" y="495"/>
                </a:lnTo>
                <a:close/>
                <a:moveTo>
                  <a:pt x="1017" y="524"/>
                </a:moveTo>
                <a:lnTo>
                  <a:pt x="1017" y="523"/>
                </a:lnTo>
                <a:lnTo>
                  <a:pt x="1018" y="522"/>
                </a:lnTo>
                <a:lnTo>
                  <a:pt x="1018" y="522"/>
                </a:lnTo>
                <a:lnTo>
                  <a:pt x="1017" y="523"/>
                </a:lnTo>
                <a:lnTo>
                  <a:pt x="1017" y="524"/>
                </a:lnTo>
                <a:close/>
                <a:moveTo>
                  <a:pt x="999" y="522"/>
                </a:moveTo>
                <a:lnTo>
                  <a:pt x="1000" y="522"/>
                </a:lnTo>
                <a:lnTo>
                  <a:pt x="1001" y="522"/>
                </a:lnTo>
                <a:lnTo>
                  <a:pt x="1003" y="524"/>
                </a:lnTo>
                <a:lnTo>
                  <a:pt x="1001" y="524"/>
                </a:lnTo>
                <a:lnTo>
                  <a:pt x="999" y="524"/>
                </a:lnTo>
                <a:lnTo>
                  <a:pt x="999" y="522"/>
                </a:lnTo>
                <a:close/>
                <a:moveTo>
                  <a:pt x="1000" y="557"/>
                </a:moveTo>
                <a:lnTo>
                  <a:pt x="1000" y="558"/>
                </a:lnTo>
                <a:lnTo>
                  <a:pt x="1000" y="559"/>
                </a:lnTo>
                <a:lnTo>
                  <a:pt x="1000" y="563"/>
                </a:lnTo>
                <a:lnTo>
                  <a:pt x="1000" y="565"/>
                </a:lnTo>
                <a:lnTo>
                  <a:pt x="1000" y="563"/>
                </a:lnTo>
                <a:lnTo>
                  <a:pt x="1000" y="559"/>
                </a:lnTo>
                <a:lnTo>
                  <a:pt x="1000" y="558"/>
                </a:lnTo>
                <a:lnTo>
                  <a:pt x="1000" y="557"/>
                </a:lnTo>
                <a:close/>
                <a:moveTo>
                  <a:pt x="998" y="558"/>
                </a:moveTo>
                <a:lnTo>
                  <a:pt x="998" y="558"/>
                </a:lnTo>
                <a:lnTo>
                  <a:pt x="998" y="557"/>
                </a:lnTo>
                <a:lnTo>
                  <a:pt x="998" y="558"/>
                </a:lnTo>
                <a:lnTo>
                  <a:pt x="998" y="558"/>
                </a:lnTo>
                <a:close/>
                <a:moveTo>
                  <a:pt x="993" y="593"/>
                </a:moveTo>
                <a:lnTo>
                  <a:pt x="996" y="591"/>
                </a:lnTo>
                <a:lnTo>
                  <a:pt x="998" y="587"/>
                </a:lnTo>
                <a:lnTo>
                  <a:pt x="1000" y="586"/>
                </a:lnTo>
                <a:lnTo>
                  <a:pt x="1001" y="584"/>
                </a:lnTo>
                <a:lnTo>
                  <a:pt x="1000" y="586"/>
                </a:lnTo>
                <a:lnTo>
                  <a:pt x="998" y="587"/>
                </a:lnTo>
                <a:lnTo>
                  <a:pt x="996" y="591"/>
                </a:lnTo>
                <a:lnTo>
                  <a:pt x="993" y="593"/>
                </a:lnTo>
                <a:close/>
                <a:moveTo>
                  <a:pt x="977" y="552"/>
                </a:moveTo>
                <a:lnTo>
                  <a:pt x="979" y="552"/>
                </a:lnTo>
                <a:lnTo>
                  <a:pt x="982" y="552"/>
                </a:lnTo>
                <a:lnTo>
                  <a:pt x="982" y="551"/>
                </a:lnTo>
                <a:lnTo>
                  <a:pt x="982" y="549"/>
                </a:lnTo>
                <a:lnTo>
                  <a:pt x="982" y="551"/>
                </a:lnTo>
                <a:lnTo>
                  <a:pt x="982" y="552"/>
                </a:lnTo>
                <a:lnTo>
                  <a:pt x="986" y="557"/>
                </a:lnTo>
                <a:lnTo>
                  <a:pt x="986" y="564"/>
                </a:lnTo>
                <a:lnTo>
                  <a:pt x="983" y="561"/>
                </a:lnTo>
                <a:lnTo>
                  <a:pt x="982" y="559"/>
                </a:lnTo>
                <a:lnTo>
                  <a:pt x="980" y="559"/>
                </a:lnTo>
                <a:lnTo>
                  <a:pt x="979" y="560"/>
                </a:lnTo>
                <a:lnTo>
                  <a:pt x="979" y="565"/>
                </a:lnTo>
                <a:lnTo>
                  <a:pt x="977" y="567"/>
                </a:lnTo>
                <a:lnTo>
                  <a:pt x="974" y="567"/>
                </a:lnTo>
                <a:lnTo>
                  <a:pt x="973" y="566"/>
                </a:lnTo>
                <a:lnTo>
                  <a:pt x="972" y="561"/>
                </a:lnTo>
                <a:lnTo>
                  <a:pt x="974" y="557"/>
                </a:lnTo>
                <a:lnTo>
                  <a:pt x="977" y="554"/>
                </a:lnTo>
                <a:lnTo>
                  <a:pt x="977" y="552"/>
                </a:lnTo>
                <a:close/>
                <a:moveTo>
                  <a:pt x="971" y="540"/>
                </a:moveTo>
                <a:lnTo>
                  <a:pt x="972" y="539"/>
                </a:lnTo>
                <a:lnTo>
                  <a:pt x="972" y="539"/>
                </a:lnTo>
                <a:lnTo>
                  <a:pt x="972" y="539"/>
                </a:lnTo>
                <a:lnTo>
                  <a:pt x="971" y="540"/>
                </a:lnTo>
                <a:lnTo>
                  <a:pt x="977" y="540"/>
                </a:lnTo>
                <a:lnTo>
                  <a:pt x="978" y="546"/>
                </a:lnTo>
                <a:lnTo>
                  <a:pt x="982" y="546"/>
                </a:lnTo>
                <a:lnTo>
                  <a:pt x="985" y="546"/>
                </a:lnTo>
                <a:lnTo>
                  <a:pt x="982" y="546"/>
                </a:lnTo>
                <a:lnTo>
                  <a:pt x="978" y="546"/>
                </a:lnTo>
                <a:lnTo>
                  <a:pt x="978" y="546"/>
                </a:lnTo>
                <a:lnTo>
                  <a:pt x="977" y="546"/>
                </a:lnTo>
                <a:lnTo>
                  <a:pt x="971" y="546"/>
                </a:lnTo>
                <a:lnTo>
                  <a:pt x="966" y="545"/>
                </a:lnTo>
                <a:lnTo>
                  <a:pt x="965" y="547"/>
                </a:lnTo>
                <a:lnTo>
                  <a:pt x="963" y="547"/>
                </a:lnTo>
                <a:lnTo>
                  <a:pt x="965" y="547"/>
                </a:lnTo>
                <a:lnTo>
                  <a:pt x="966" y="545"/>
                </a:lnTo>
                <a:lnTo>
                  <a:pt x="967" y="542"/>
                </a:lnTo>
                <a:lnTo>
                  <a:pt x="971" y="540"/>
                </a:lnTo>
                <a:close/>
                <a:moveTo>
                  <a:pt x="951" y="545"/>
                </a:moveTo>
                <a:lnTo>
                  <a:pt x="955" y="546"/>
                </a:lnTo>
                <a:lnTo>
                  <a:pt x="953" y="550"/>
                </a:lnTo>
                <a:lnTo>
                  <a:pt x="950" y="552"/>
                </a:lnTo>
                <a:lnTo>
                  <a:pt x="946" y="552"/>
                </a:lnTo>
                <a:lnTo>
                  <a:pt x="945" y="547"/>
                </a:lnTo>
                <a:lnTo>
                  <a:pt x="951" y="545"/>
                </a:lnTo>
                <a:lnTo>
                  <a:pt x="951" y="545"/>
                </a:lnTo>
                <a:close/>
                <a:moveTo>
                  <a:pt x="992" y="616"/>
                </a:moveTo>
                <a:lnTo>
                  <a:pt x="990" y="615"/>
                </a:lnTo>
                <a:lnTo>
                  <a:pt x="989" y="614"/>
                </a:lnTo>
                <a:lnTo>
                  <a:pt x="978" y="605"/>
                </a:lnTo>
                <a:lnTo>
                  <a:pt x="964" y="603"/>
                </a:lnTo>
                <a:lnTo>
                  <a:pt x="953" y="610"/>
                </a:lnTo>
                <a:lnTo>
                  <a:pt x="946" y="619"/>
                </a:lnTo>
                <a:lnTo>
                  <a:pt x="945" y="616"/>
                </a:lnTo>
                <a:lnTo>
                  <a:pt x="944" y="614"/>
                </a:lnTo>
                <a:lnTo>
                  <a:pt x="939" y="608"/>
                </a:lnTo>
                <a:lnTo>
                  <a:pt x="938" y="602"/>
                </a:lnTo>
                <a:lnTo>
                  <a:pt x="945" y="599"/>
                </a:lnTo>
                <a:lnTo>
                  <a:pt x="950" y="591"/>
                </a:lnTo>
                <a:lnTo>
                  <a:pt x="955" y="586"/>
                </a:lnTo>
                <a:lnTo>
                  <a:pt x="962" y="584"/>
                </a:lnTo>
                <a:lnTo>
                  <a:pt x="964" y="581"/>
                </a:lnTo>
                <a:lnTo>
                  <a:pt x="964" y="578"/>
                </a:lnTo>
                <a:lnTo>
                  <a:pt x="962" y="577"/>
                </a:lnTo>
                <a:lnTo>
                  <a:pt x="962" y="573"/>
                </a:lnTo>
                <a:lnTo>
                  <a:pt x="962" y="577"/>
                </a:lnTo>
                <a:lnTo>
                  <a:pt x="964" y="578"/>
                </a:lnTo>
                <a:lnTo>
                  <a:pt x="965" y="578"/>
                </a:lnTo>
                <a:lnTo>
                  <a:pt x="966" y="577"/>
                </a:lnTo>
                <a:lnTo>
                  <a:pt x="970" y="579"/>
                </a:lnTo>
                <a:lnTo>
                  <a:pt x="974" y="581"/>
                </a:lnTo>
                <a:lnTo>
                  <a:pt x="976" y="581"/>
                </a:lnTo>
                <a:lnTo>
                  <a:pt x="976" y="584"/>
                </a:lnTo>
                <a:lnTo>
                  <a:pt x="976" y="592"/>
                </a:lnTo>
                <a:lnTo>
                  <a:pt x="984" y="591"/>
                </a:lnTo>
                <a:lnTo>
                  <a:pt x="986" y="591"/>
                </a:lnTo>
                <a:lnTo>
                  <a:pt x="989" y="591"/>
                </a:lnTo>
                <a:lnTo>
                  <a:pt x="989" y="591"/>
                </a:lnTo>
                <a:lnTo>
                  <a:pt x="990" y="589"/>
                </a:lnTo>
                <a:lnTo>
                  <a:pt x="989" y="591"/>
                </a:lnTo>
                <a:lnTo>
                  <a:pt x="989" y="591"/>
                </a:lnTo>
                <a:lnTo>
                  <a:pt x="990" y="591"/>
                </a:lnTo>
                <a:lnTo>
                  <a:pt x="991" y="591"/>
                </a:lnTo>
                <a:lnTo>
                  <a:pt x="991" y="592"/>
                </a:lnTo>
                <a:lnTo>
                  <a:pt x="992" y="592"/>
                </a:lnTo>
                <a:lnTo>
                  <a:pt x="992" y="588"/>
                </a:lnTo>
                <a:lnTo>
                  <a:pt x="993" y="587"/>
                </a:lnTo>
                <a:lnTo>
                  <a:pt x="992" y="588"/>
                </a:lnTo>
                <a:lnTo>
                  <a:pt x="992" y="592"/>
                </a:lnTo>
                <a:lnTo>
                  <a:pt x="992" y="593"/>
                </a:lnTo>
                <a:lnTo>
                  <a:pt x="992" y="593"/>
                </a:lnTo>
                <a:lnTo>
                  <a:pt x="992" y="593"/>
                </a:lnTo>
                <a:lnTo>
                  <a:pt x="992" y="595"/>
                </a:lnTo>
                <a:lnTo>
                  <a:pt x="992" y="596"/>
                </a:lnTo>
                <a:lnTo>
                  <a:pt x="990" y="601"/>
                </a:lnTo>
                <a:lnTo>
                  <a:pt x="994" y="605"/>
                </a:lnTo>
                <a:lnTo>
                  <a:pt x="997" y="605"/>
                </a:lnTo>
                <a:lnTo>
                  <a:pt x="997" y="606"/>
                </a:lnTo>
                <a:lnTo>
                  <a:pt x="997" y="608"/>
                </a:lnTo>
                <a:lnTo>
                  <a:pt x="996" y="608"/>
                </a:lnTo>
                <a:lnTo>
                  <a:pt x="991" y="612"/>
                </a:lnTo>
                <a:lnTo>
                  <a:pt x="992" y="616"/>
                </a:lnTo>
                <a:lnTo>
                  <a:pt x="992" y="616"/>
                </a:lnTo>
                <a:close/>
                <a:moveTo>
                  <a:pt x="990" y="769"/>
                </a:moveTo>
                <a:lnTo>
                  <a:pt x="992" y="767"/>
                </a:lnTo>
                <a:lnTo>
                  <a:pt x="996" y="766"/>
                </a:lnTo>
                <a:lnTo>
                  <a:pt x="996" y="766"/>
                </a:lnTo>
                <a:lnTo>
                  <a:pt x="996" y="766"/>
                </a:lnTo>
                <a:lnTo>
                  <a:pt x="992" y="767"/>
                </a:lnTo>
                <a:lnTo>
                  <a:pt x="990" y="769"/>
                </a:lnTo>
                <a:close/>
                <a:moveTo>
                  <a:pt x="989" y="805"/>
                </a:moveTo>
                <a:lnTo>
                  <a:pt x="983" y="806"/>
                </a:lnTo>
                <a:lnTo>
                  <a:pt x="986" y="812"/>
                </a:lnTo>
                <a:lnTo>
                  <a:pt x="987" y="816"/>
                </a:lnTo>
                <a:lnTo>
                  <a:pt x="986" y="819"/>
                </a:lnTo>
                <a:lnTo>
                  <a:pt x="984" y="820"/>
                </a:lnTo>
                <a:lnTo>
                  <a:pt x="980" y="819"/>
                </a:lnTo>
                <a:lnTo>
                  <a:pt x="974" y="819"/>
                </a:lnTo>
                <a:lnTo>
                  <a:pt x="974" y="825"/>
                </a:lnTo>
                <a:lnTo>
                  <a:pt x="967" y="826"/>
                </a:lnTo>
                <a:lnTo>
                  <a:pt x="962" y="827"/>
                </a:lnTo>
                <a:lnTo>
                  <a:pt x="958" y="824"/>
                </a:lnTo>
                <a:lnTo>
                  <a:pt x="953" y="826"/>
                </a:lnTo>
                <a:lnTo>
                  <a:pt x="953" y="823"/>
                </a:lnTo>
                <a:lnTo>
                  <a:pt x="953" y="818"/>
                </a:lnTo>
                <a:lnTo>
                  <a:pt x="953" y="818"/>
                </a:lnTo>
                <a:lnTo>
                  <a:pt x="955" y="818"/>
                </a:lnTo>
                <a:lnTo>
                  <a:pt x="955" y="818"/>
                </a:lnTo>
                <a:lnTo>
                  <a:pt x="955" y="817"/>
                </a:lnTo>
                <a:lnTo>
                  <a:pt x="955" y="816"/>
                </a:lnTo>
                <a:lnTo>
                  <a:pt x="955" y="817"/>
                </a:lnTo>
                <a:lnTo>
                  <a:pt x="955" y="818"/>
                </a:lnTo>
                <a:lnTo>
                  <a:pt x="958" y="817"/>
                </a:lnTo>
                <a:lnTo>
                  <a:pt x="962" y="817"/>
                </a:lnTo>
                <a:lnTo>
                  <a:pt x="965" y="818"/>
                </a:lnTo>
                <a:lnTo>
                  <a:pt x="970" y="817"/>
                </a:lnTo>
                <a:lnTo>
                  <a:pt x="973" y="813"/>
                </a:lnTo>
                <a:lnTo>
                  <a:pt x="973" y="810"/>
                </a:lnTo>
                <a:lnTo>
                  <a:pt x="970" y="809"/>
                </a:lnTo>
                <a:lnTo>
                  <a:pt x="966" y="810"/>
                </a:lnTo>
                <a:lnTo>
                  <a:pt x="965" y="810"/>
                </a:lnTo>
                <a:lnTo>
                  <a:pt x="963" y="811"/>
                </a:lnTo>
                <a:lnTo>
                  <a:pt x="962" y="808"/>
                </a:lnTo>
                <a:lnTo>
                  <a:pt x="959" y="805"/>
                </a:lnTo>
                <a:lnTo>
                  <a:pt x="956" y="808"/>
                </a:lnTo>
                <a:lnTo>
                  <a:pt x="956" y="812"/>
                </a:lnTo>
                <a:lnTo>
                  <a:pt x="952" y="808"/>
                </a:lnTo>
                <a:lnTo>
                  <a:pt x="953" y="803"/>
                </a:lnTo>
                <a:lnTo>
                  <a:pt x="953" y="799"/>
                </a:lnTo>
                <a:lnTo>
                  <a:pt x="953" y="796"/>
                </a:lnTo>
                <a:lnTo>
                  <a:pt x="953" y="787"/>
                </a:lnTo>
                <a:lnTo>
                  <a:pt x="962" y="785"/>
                </a:lnTo>
                <a:lnTo>
                  <a:pt x="964" y="785"/>
                </a:lnTo>
                <a:lnTo>
                  <a:pt x="966" y="785"/>
                </a:lnTo>
                <a:lnTo>
                  <a:pt x="971" y="783"/>
                </a:lnTo>
                <a:lnTo>
                  <a:pt x="973" y="778"/>
                </a:lnTo>
                <a:lnTo>
                  <a:pt x="970" y="776"/>
                </a:lnTo>
                <a:lnTo>
                  <a:pt x="965" y="777"/>
                </a:lnTo>
                <a:lnTo>
                  <a:pt x="962" y="778"/>
                </a:lnTo>
                <a:lnTo>
                  <a:pt x="959" y="777"/>
                </a:lnTo>
                <a:lnTo>
                  <a:pt x="958" y="776"/>
                </a:lnTo>
                <a:lnTo>
                  <a:pt x="957" y="776"/>
                </a:lnTo>
                <a:lnTo>
                  <a:pt x="955" y="780"/>
                </a:lnTo>
                <a:lnTo>
                  <a:pt x="952" y="780"/>
                </a:lnTo>
                <a:lnTo>
                  <a:pt x="951" y="776"/>
                </a:lnTo>
                <a:lnTo>
                  <a:pt x="952" y="773"/>
                </a:lnTo>
                <a:lnTo>
                  <a:pt x="955" y="768"/>
                </a:lnTo>
                <a:lnTo>
                  <a:pt x="959" y="768"/>
                </a:lnTo>
                <a:lnTo>
                  <a:pt x="965" y="769"/>
                </a:lnTo>
                <a:lnTo>
                  <a:pt x="971" y="766"/>
                </a:lnTo>
                <a:lnTo>
                  <a:pt x="972" y="764"/>
                </a:lnTo>
                <a:lnTo>
                  <a:pt x="973" y="762"/>
                </a:lnTo>
                <a:lnTo>
                  <a:pt x="971" y="760"/>
                </a:lnTo>
                <a:lnTo>
                  <a:pt x="967" y="760"/>
                </a:lnTo>
                <a:lnTo>
                  <a:pt x="962" y="761"/>
                </a:lnTo>
                <a:lnTo>
                  <a:pt x="955" y="761"/>
                </a:lnTo>
                <a:lnTo>
                  <a:pt x="952" y="761"/>
                </a:lnTo>
                <a:lnTo>
                  <a:pt x="952" y="759"/>
                </a:lnTo>
                <a:lnTo>
                  <a:pt x="953" y="754"/>
                </a:lnTo>
                <a:lnTo>
                  <a:pt x="958" y="752"/>
                </a:lnTo>
                <a:lnTo>
                  <a:pt x="963" y="752"/>
                </a:lnTo>
                <a:lnTo>
                  <a:pt x="967" y="752"/>
                </a:lnTo>
                <a:lnTo>
                  <a:pt x="971" y="749"/>
                </a:lnTo>
                <a:lnTo>
                  <a:pt x="972" y="746"/>
                </a:lnTo>
                <a:lnTo>
                  <a:pt x="970" y="743"/>
                </a:lnTo>
                <a:lnTo>
                  <a:pt x="966" y="745"/>
                </a:lnTo>
                <a:lnTo>
                  <a:pt x="960" y="746"/>
                </a:lnTo>
                <a:lnTo>
                  <a:pt x="955" y="747"/>
                </a:lnTo>
                <a:lnTo>
                  <a:pt x="953" y="748"/>
                </a:lnTo>
                <a:lnTo>
                  <a:pt x="952" y="747"/>
                </a:lnTo>
                <a:lnTo>
                  <a:pt x="952" y="742"/>
                </a:lnTo>
                <a:lnTo>
                  <a:pt x="953" y="738"/>
                </a:lnTo>
                <a:lnTo>
                  <a:pt x="956" y="735"/>
                </a:lnTo>
                <a:lnTo>
                  <a:pt x="958" y="735"/>
                </a:lnTo>
                <a:lnTo>
                  <a:pt x="962" y="736"/>
                </a:lnTo>
                <a:lnTo>
                  <a:pt x="965" y="736"/>
                </a:lnTo>
                <a:lnTo>
                  <a:pt x="970" y="735"/>
                </a:lnTo>
                <a:lnTo>
                  <a:pt x="972" y="731"/>
                </a:lnTo>
                <a:lnTo>
                  <a:pt x="970" y="728"/>
                </a:lnTo>
                <a:lnTo>
                  <a:pt x="965" y="729"/>
                </a:lnTo>
                <a:lnTo>
                  <a:pt x="962" y="729"/>
                </a:lnTo>
                <a:lnTo>
                  <a:pt x="959" y="728"/>
                </a:lnTo>
                <a:lnTo>
                  <a:pt x="959" y="726"/>
                </a:lnTo>
                <a:lnTo>
                  <a:pt x="960" y="724"/>
                </a:lnTo>
                <a:lnTo>
                  <a:pt x="966" y="721"/>
                </a:lnTo>
                <a:lnTo>
                  <a:pt x="972" y="722"/>
                </a:lnTo>
                <a:lnTo>
                  <a:pt x="977" y="727"/>
                </a:lnTo>
                <a:lnTo>
                  <a:pt x="983" y="731"/>
                </a:lnTo>
                <a:lnTo>
                  <a:pt x="986" y="734"/>
                </a:lnTo>
                <a:lnTo>
                  <a:pt x="985" y="738"/>
                </a:lnTo>
                <a:lnTo>
                  <a:pt x="984" y="740"/>
                </a:lnTo>
                <a:lnTo>
                  <a:pt x="980" y="739"/>
                </a:lnTo>
                <a:lnTo>
                  <a:pt x="978" y="738"/>
                </a:lnTo>
                <a:lnTo>
                  <a:pt x="974" y="739"/>
                </a:lnTo>
                <a:lnTo>
                  <a:pt x="974" y="742"/>
                </a:lnTo>
                <a:lnTo>
                  <a:pt x="978" y="746"/>
                </a:lnTo>
                <a:lnTo>
                  <a:pt x="980" y="746"/>
                </a:lnTo>
                <a:lnTo>
                  <a:pt x="983" y="746"/>
                </a:lnTo>
                <a:lnTo>
                  <a:pt x="986" y="749"/>
                </a:lnTo>
                <a:lnTo>
                  <a:pt x="985" y="754"/>
                </a:lnTo>
                <a:lnTo>
                  <a:pt x="984" y="756"/>
                </a:lnTo>
                <a:lnTo>
                  <a:pt x="980" y="755"/>
                </a:lnTo>
                <a:lnTo>
                  <a:pt x="977" y="753"/>
                </a:lnTo>
                <a:lnTo>
                  <a:pt x="974" y="754"/>
                </a:lnTo>
                <a:lnTo>
                  <a:pt x="974" y="759"/>
                </a:lnTo>
                <a:lnTo>
                  <a:pt x="978" y="761"/>
                </a:lnTo>
                <a:lnTo>
                  <a:pt x="983" y="762"/>
                </a:lnTo>
                <a:lnTo>
                  <a:pt x="986" y="764"/>
                </a:lnTo>
                <a:lnTo>
                  <a:pt x="984" y="770"/>
                </a:lnTo>
                <a:lnTo>
                  <a:pt x="979" y="769"/>
                </a:lnTo>
                <a:lnTo>
                  <a:pt x="977" y="769"/>
                </a:lnTo>
                <a:lnTo>
                  <a:pt x="974" y="770"/>
                </a:lnTo>
                <a:lnTo>
                  <a:pt x="973" y="773"/>
                </a:lnTo>
                <a:lnTo>
                  <a:pt x="974" y="775"/>
                </a:lnTo>
                <a:lnTo>
                  <a:pt x="980" y="778"/>
                </a:lnTo>
                <a:lnTo>
                  <a:pt x="986" y="780"/>
                </a:lnTo>
                <a:lnTo>
                  <a:pt x="985" y="787"/>
                </a:lnTo>
                <a:lnTo>
                  <a:pt x="978" y="785"/>
                </a:lnTo>
                <a:lnTo>
                  <a:pt x="973" y="787"/>
                </a:lnTo>
                <a:lnTo>
                  <a:pt x="974" y="791"/>
                </a:lnTo>
                <a:lnTo>
                  <a:pt x="970" y="791"/>
                </a:lnTo>
                <a:lnTo>
                  <a:pt x="965" y="792"/>
                </a:lnTo>
                <a:lnTo>
                  <a:pt x="963" y="795"/>
                </a:lnTo>
                <a:lnTo>
                  <a:pt x="960" y="792"/>
                </a:lnTo>
                <a:lnTo>
                  <a:pt x="960" y="792"/>
                </a:lnTo>
                <a:lnTo>
                  <a:pt x="960" y="791"/>
                </a:lnTo>
                <a:lnTo>
                  <a:pt x="960" y="790"/>
                </a:lnTo>
                <a:lnTo>
                  <a:pt x="959" y="790"/>
                </a:lnTo>
                <a:lnTo>
                  <a:pt x="958" y="790"/>
                </a:lnTo>
                <a:lnTo>
                  <a:pt x="956" y="792"/>
                </a:lnTo>
                <a:lnTo>
                  <a:pt x="953" y="796"/>
                </a:lnTo>
                <a:lnTo>
                  <a:pt x="953" y="799"/>
                </a:lnTo>
                <a:lnTo>
                  <a:pt x="953" y="803"/>
                </a:lnTo>
                <a:lnTo>
                  <a:pt x="958" y="802"/>
                </a:lnTo>
                <a:lnTo>
                  <a:pt x="964" y="802"/>
                </a:lnTo>
                <a:lnTo>
                  <a:pt x="972" y="799"/>
                </a:lnTo>
                <a:lnTo>
                  <a:pt x="974" y="792"/>
                </a:lnTo>
                <a:lnTo>
                  <a:pt x="982" y="795"/>
                </a:lnTo>
                <a:lnTo>
                  <a:pt x="989" y="796"/>
                </a:lnTo>
                <a:lnTo>
                  <a:pt x="992" y="798"/>
                </a:lnTo>
                <a:lnTo>
                  <a:pt x="993" y="802"/>
                </a:lnTo>
                <a:lnTo>
                  <a:pt x="992" y="804"/>
                </a:lnTo>
                <a:lnTo>
                  <a:pt x="989" y="805"/>
                </a:lnTo>
                <a:close/>
                <a:moveTo>
                  <a:pt x="989" y="866"/>
                </a:moveTo>
                <a:lnTo>
                  <a:pt x="992" y="862"/>
                </a:lnTo>
                <a:lnTo>
                  <a:pt x="993" y="858"/>
                </a:lnTo>
                <a:lnTo>
                  <a:pt x="992" y="862"/>
                </a:lnTo>
                <a:lnTo>
                  <a:pt x="989" y="866"/>
                </a:lnTo>
                <a:close/>
                <a:moveTo>
                  <a:pt x="955" y="920"/>
                </a:moveTo>
                <a:lnTo>
                  <a:pt x="953" y="927"/>
                </a:lnTo>
                <a:lnTo>
                  <a:pt x="946" y="930"/>
                </a:lnTo>
                <a:lnTo>
                  <a:pt x="950" y="924"/>
                </a:lnTo>
                <a:lnTo>
                  <a:pt x="955" y="920"/>
                </a:lnTo>
                <a:close/>
                <a:moveTo>
                  <a:pt x="982" y="845"/>
                </a:moveTo>
                <a:lnTo>
                  <a:pt x="987" y="850"/>
                </a:lnTo>
                <a:lnTo>
                  <a:pt x="986" y="857"/>
                </a:lnTo>
                <a:lnTo>
                  <a:pt x="985" y="855"/>
                </a:lnTo>
                <a:lnTo>
                  <a:pt x="983" y="854"/>
                </a:lnTo>
                <a:lnTo>
                  <a:pt x="979" y="852"/>
                </a:lnTo>
                <a:lnTo>
                  <a:pt x="976" y="852"/>
                </a:lnTo>
                <a:lnTo>
                  <a:pt x="974" y="853"/>
                </a:lnTo>
                <a:lnTo>
                  <a:pt x="974" y="854"/>
                </a:lnTo>
                <a:lnTo>
                  <a:pt x="977" y="859"/>
                </a:lnTo>
                <a:lnTo>
                  <a:pt x="982" y="861"/>
                </a:lnTo>
                <a:lnTo>
                  <a:pt x="986" y="862"/>
                </a:lnTo>
                <a:lnTo>
                  <a:pt x="987" y="867"/>
                </a:lnTo>
                <a:lnTo>
                  <a:pt x="987" y="867"/>
                </a:lnTo>
                <a:lnTo>
                  <a:pt x="986" y="869"/>
                </a:lnTo>
                <a:lnTo>
                  <a:pt x="986" y="872"/>
                </a:lnTo>
                <a:lnTo>
                  <a:pt x="985" y="872"/>
                </a:lnTo>
                <a:lnTo>
                  <a:pt x="983" y="872"/>
                </a:lnTo>
                <a:lnTo>
                  <a:pt x="979" y="868"/>
                </a:lnTo>
                <a:lnTo>
                  <a:pt x="976" y="868"/>
                </a:lnTo>
                <a:lnTo>
                  <a:pt x="976" y="873"/>
                </a:lnTo>
                <a:lnTo>
                  <a:pt x="977" y="876"/>
                </a:lnTo>
                <a:lnTo>
                  <a:pt x="969" y="878"/>
                </a:lnTo>
                <a:lnTo>
                  <a:pt x="962" y="879"/>
                </a:lnTo>
                <a:lnTo>
                  <a:pt x="962" y="875"/>
                </a:lnTo>
                <a:lnTo>
                  <a:pt x="960" y="873"/>
                </a:lnTo>
                <a:lnTo>
                  <a:pt x="957" y="876"/>
                </a:lnTo>
                <a:lnTo>
                  <a:pt x="953" y="878"/>
                </a:lnTo>
                <a:lnTo>
                  <a:pt x="952" y="873"/>
                </a:lnTo>
                <a:lnTo>
                  <a:pt x="955" y="868"/>
                </a:lnTo>
                <a:lnTo>
                  <a:pt x="955" y="866"/>
                </a:lnTo>
                <a:lnTo>
                  <a:pt x="955" y="865"/>
                </a:lnTo>
                <a:lnTo>
                  <a:pt x="955" y="868"/>
                </a:lnTo>
                <a:lnTo>
                  <a:pt x="960" y="868"/>
                </a:lnTo>
                <a:lnTo>
                  <a:pt x="966" y="869"/>
                </a:lnTo>
                <a:lnTo>
                  <a:pt x="966" y="869"/>
                </a:lnTo>
                <a:lnTo>
                  <a:pt x="971" y="867"/>
                </a:lnTo>
                <a:lnTo>
                  <a:pt x="974" y="864"/>
                </a:lnTo>
                <a:lnTo>
                  <a:pt x="976" y="861"/>
                </a:lnTo>
                <a:lnTo>
                  <a:pt x="973" y="860"/>
                </a:lnTo>
                <a:lnTo>
                  <a:pt x="970" y="859"/>
                </a:lnTo>
                <a:lnTo>
                  <a:pt x="965" y="860"/>
                </a:lnTo>
                <a:lnTo>
                  <a:pt x="964" y="861"/>
                </a:lnTo>
                <a:lnTo>
                  <a:pt x="962" y="860"/>
                </a:lnTo>
                <a:lnTo>
                  <a:pt x="957" y="859"/>
                </a:lnTo>
                <a:lnTo>
                  <a:pt x="955" y="862"/>
                </a:lnTo>
                <a:lnTo>
                  <a:pt x="952" y="858"/>
                </a:lnTo>
                <a:lnTo>
                  <a:pt x="953" y="853"/>
                </a:lnTo>
                <a:lnTo>
                  <a:pt x="953" y="852"/>
                </a:lnTo>
                <a:lnTo>
                  <a:pt x="953" y="851"/>
                </a:lnTo>
                <a:lnTo>
                  <a:pt x="953" y="852"/>
                </a:lnTo>
                <a:lnTo>
                  <a:pt x="953" y="853"/>
                </a:lnTo>
                <a:lnTo>
                  <a:pt x="957" y="852"/>
                </a:lnTo>
                <a:lnTo>
                  <a:pt x="962" y="852"/>
                </a:lnTo>
                <a:lnTo>
                  <a:pt x="963" y="852"/>
                </a:lnTo>
                <a:lnTo>
                  <a:pt x="964" y="852"/>
                </a:lnTo>
                <a:lnTo>
                  <a:pt x="970" y="851"/>
                </a:lnTo>
                <a:lnTo>
                  <a:pt x="973" y="847"/>
                </a:lnTo>
                <a:lnTo>
                  <a:pt x="973" y="845"/>
                </a:lnTo>
                <a:lnTo>
                  <a:pt x="973" y="843"/>
                </a:lnTo>
                <a:lnTo>
                  <a:pt x="967" y="843"/>
                </a:lnTo>
                <a:lnTo>
                  <a:pt x="963" y="845"/>
                </a:lnTo>
                <a:lnTo>
                  <a:pt x="962" y="845"/>
                </a:lnTo>
                <a:lnTo>
                  <a:pt x="962" y="845"/>
                </a:lnTo>
                <a:lnTo>
                  <a:pt x="962" y="841"/>
                </a:lnTo>
                <a:lnTo>
                  <a:pt x="960" y="838"/>
                </a:lnTo>
                <a:lnTo>
                  <a:pt x="957" y="843"/>
                </a:lnTo>
                <a:lnTo>
                  <a:pt x="953" y="846"/>
                </a:lnTo>
                <a:lnTo>
                  <a:pt x="952" y="845"/>
                </a:lnTo>
                <a:lnTo>
                  <a:pt x="952" y="845"/>
                </a:lnTo>
                <a:lnTo>
                  <a:pt x="951" y="840"/>
                </a:lnTo>
                <a:lnTo>
                  <a:pt x="950" y="836"/>
                </a:lnTo>
                <a:lnTo>
                  <a:pt x="951" y="840"/>
                </a:lnTo>
                <a:lnTo>
                  <a:pt x="952" y="845"/>
                </a:lnTo>
                <a:lnTo>
                  <a:pt x="955" y="837"/>
                </a:lnTo>
                <a:lnTo>
                  <a:pt x="960" y="833"/>
                </a:lnTo>
                <a:lnTo>
                  <a:pt x="969" y="834"/>
                </a:lnTo>
                <a:lnTo>
                  <a:pt x="974" y="826"/>
                </a:lnTo>
                <a:lnTo>
                  <a:pt x="979" y="827"/>
                </a:lnTo>
                <a:lnTo>
                  <a:pt x="984" y="829"/>
                </a:lnTo>
                <a:lnTo>
                  <a:pt x="986" y="831"/>
                </a:lnTo>
                <a:lnTo>
                  <a:pt x="986" y="836"/>
                </a:lnTo>
                <a:lnTo>
                  <a:pt x="985" y="838"/>
                </a:lnTo>
                <a:lnTo>
                  <a:pt x="983" y="837"/>
                </a:lnTo>
                <a:lnTo>
                  <a:pt x="978" y="834"/>
                </a:lnTo>
                <a:lnTo>
                  <a:pt x="974" y="837"/>
                </a:lnTo>
                <a:lnTo>
                  <a:pt x="976" y="843"/>
                </a:lnTo>
                <a:lnTo>
                  <a:pt x="982" y="845"/>
                </a:lnTo>
                <a:close/>
                <a:moveTo>
                  <a:pt x="979" y="668"/>
                </a:moveTo>
                <a:lnTo>
                  <a:pt x="977" y="666"/>
                </a:lnTo>
                <a:lnTo>
                  <a:pt x="974" y="669"/>
                </a:lnTo>
                <a:lnTo>
                  <a:pt x="974" y="671"/>
                </a:lnTo>
                <a:lnTo>
                  <a:pt x="977" y="675"/>
                </a:lnTo>
                <a:lnTo>
                  <a:pt x="978" y="678"/>
                </a:lnTo>
                <a:lnTo>
                  <a:pt x="980" y="679"/>
                </a:lnTo>
                <a:lnTo>
                  <a:pt x="978" y="678"/>
                </a:lnTo>
                <a:lnTo>
                  <a:pt x="977" y="675"/>
                </a:lnTo>
                <a:lnTo>
                  <a:pt x="966" y="675"/>
                </a:lnTo>
                <a:lnTo>
                  <a:pt x="957" y="676"/>
                </a:lnTo>
                <a:lnTo>
                  <a:pt x="951" y="676"/>
                </a:lnTo>
                <a:lnTo>
                  <a:pt x="951" y="671"/>
                </a:lnTo>
                <a:lnTo>
                  <a:pt x="957" y="659"/>
                </a:lnTo>
                <a:lnTo>
                  <a:pt x="966" y="651"/>
                </a:lnTo>
                <a:lnTo>
                  <a:pt x="970" y="650"/>
                </a:lnTo>
                <a:lnTo>
                  <a:pt x="972" y="652"/>
                </a:lnTo>
                <a:lnTo>
                  <a:pt x="976" y="657"/>
                </a:lnTo>
                <a:lnTo>
                  <a:pt x="980" y="659"/>
                </a:lnTo>
                <a:lnTo>
                  <a:pt x="984" y="662"/>
                </a:lnTo>
                <a:lnTo>
                  <a:pt x="986" y="666"/>
                </a:lnTo>
                <a:lnTo>
                  <a:pt x="984" y="669"/>
                </a:lnTo>
                <a:lnTo>
                  <a:pt x="979" y="668"/>
                </a:lnTo>
                <a:close/>
                <a:moveTo>
                  <a:pt x="972" y="692"/>
                </a:moveTo>
                <a:lnTo>
                  <a:pt x="977" y="693"/>
                </a:lnTo>
                <a:lnTo>
                  <a:pt x="982" y="696"/>
                </a:lnTo>
                <a:lnTo>
                  <a:pt x="977" y="693"/>
                </a:lnTo>
                <a:lnTo>
                  <a:pt x="972" y="692"/>
                </a:lnTo>
                <a:close/>
                <a:moveTo>
                  <a:pt x="967" y="718"/>
                </a:moveTo>
                <a:lnTo>
                  <a:pt x="966" y="718"/>
                </a:lnTo>
                <a:lnTo>
                  <a:pt x="967" y="718"/>
                </a:lnTo>
                <a:close/>
                <a:moveTo>
                  <a:pt x="996" y="766"/>
                </a:moveTo>
                <a:lnTo>
                  <a:pt x="993" y="766"/>
                </a:lnTo>
                <a:lnTo>
                  <a:pt x="991" y="766"/>
                </a:lnTo>
                <a:lnTo>
                  <a:pt x="993" y="766"/>
                </a:lnTo>
                <a:lnTo>
                  <a:pt x="996" y="766"/>
                </a:lnTo>
                <a:close/>
                <a:moveTo>
                  <a:pt x="967" y="711"/>
                </a:moveTo>
                <a:lnTo>
                  <a:pt x="962" y="710"/>
                </a:lnTo>
                <a:lnTo>
                  <a:pt x="958" y="705"/>
                </a:lnTo>
                <a:lnTo>
                  <a:pt x="958" y="704"/>
                </a:lnTo>
                <a:lnTo>
                  <a:pt x="958" y="701"/>
                </a:lnTo>
                <a:lnTo>
                  <a:pt x="958" y="701"/>
                </a:lnTo>
                <a:lnTo>
                  <a:pt x="958" y="700"/>
                </a:lnTo>
                <a:lnTo>
                  <a:pt x="958" y="701"/>
                </a:lnTo>
                <a:lnTo>
                  <a:pt x="958" y="701"/>
                </a:lnTo>
                <a:lnTo>
                  <a:pt x="959" y="701"/>
                </a:lnTo>
                <a:lnTo>
                  <a:pt x="959" y="700"/>
                </a:lnTo>
                <a:lnTo>
                  <a:pt x="967" y="699"/>
                </a:lnTo>
                <a:lnTo>
                  <a:pt x="977" y="700"/>
                </a:lnTo>
                <a:lnTo>
                  <a:pt x="983" y="704"/>
                </a:lnTo>
                <a:lnTo>
                  <a:pt x="985" y="710"/>
                </a:lnTo>
                <a:lnTo>
                  <a:pt x="987" y="713"/>
                </a:lnTo>
                <a:lnTo>
                  <a:pt x="991" y="714"/>
                </a:lnTo>
                <a:lnTo>
                  <a:pt x="979" y="712"/>
                </a:lnTo>
                <a:lnTo>
                  <a:pt x="967" y="711"/>
                </a:lnTo>
                <a:close/>
                <a:moveTo>
                  <a:pt x="946" y="671"/>
                </a:moveTo>
                <a:lnTo>
                  <a:pt x="946" y="670"/>
                </a:lnTo>
                <a:lnTo>
                  <a:pt x="948" y="670"/>
                </a:lnTo>
                <a:lnTo>
                  <a:pt x="946" y="670"/>
                </a:lnTo>
                <a:lnTo>
                  <a:pt x="946" y="671"/>
                </a:lnTo>
                <a:close/>
                <a:moveTo>
                  <a:pt x="931" y="679"/>
                </a:moveTo>
                <a:lnTo>
                  <a:pt x="932" y="678"/>
                </a:lnTo>
                <a:lnTo>
                  <a:pt x="932" y="678"/>
                </a:lnTo>
                <a:lnTo>
                  <a:pt x="932" y="678"/>
                </a:lnTo>
                <a:lnTo>
                  <a:pt x="931" y="679"/>
                </a:lnTo>
                <a:lnTo>
                  <a:pt x="931" y="679"/>
                </a:lnTo>
                <a:close/>
                <a:moveTo>
                  <a:pt x="924" y="694"/>
                </a:moveTo>
                <a:lnTo>
                  <a:pt x="925" y="694"/>
                </a:lnTo>
                <a:lnTo>
                  <a:pt x="925" y="696"/>
                </a:lnTo>
                <a:lnTo>
                  <a:pt x="925" y="694"/>
                </a:lnTo>
                <a:lnTo>
                  <a:pt x="924" y="694"/>
                </a:lnTo>
                <a:close/>
                <a:moveTo>
                  <a:pt x="921" y="684"/>
                </a:moveTo>
                <a:lnTo>
                  <a:pt x="922" y="686"/>
                </a:lnTo>
                <a:lnTo>
                  <a:pt x="923" y="691"/>
                </a:lnTo>
                <a:lnTo>
                  <a:pt x="922" y="686"/>
                </a:lnTo>
                <a:lnTo>
                  <a:pt x="921" y="684"/>
                </a:lnTo>
                <a:close/>
                <a:moveTo>
                  <a:pt x="903" y="700"/>
                </a:moveTo>
                <a:lnTo>
                  <a:pt x="902" y="699"/>
                </a:lnTo>
                <a:lnTo>
                  <a:pt x="902" y="697"/>
                </a:lnTo>
                <a:lnTo>
                  <a:pt x="902" y="699"/>
                </a:lnTo>
                <a:lnTo>
                  <a:pt x="903" y="700"/>
                </a:lnTo>
                <a:lnTo>
                  <a:pt x="903" y="700"/>
                </a:lnTo>
                <a:close/>
                <a:moveTo>
                  <a:pt x="902" y="686"/>
                </a:moveTo>
                <a:lnTo>
                  <a:pt x="902" y="684"/>
                </a:lnTo>
                <a:lnTo>
                  <a:pt x="903" y="683"/>
                </a:lnTo>
                <a:lnTo>
                  <a:pt x="907" y="684"/>
                </a:lnTo>
                <a:lnTo>
                  <a:pt x="910" y="685"/>
                </a:lnTo>
                <a:lnTo>
                  <a:pt x="907" y="689"/>
                </a:lnTo>
                <a:lnTo>
                  <a:pt x="905" y="694"/>
                </a:lnTo>
                <a:lnTo>
                  <a:pt x="905" y="698"/>
                </a:lnTo>
                <a:lnTo>
                  <a:pt x="903" y="700"/>
                </a:lnTo>
                <a:lnTo>
                  <a:pt x="903" y="697"/>
                </a:lnTo>
                <a:lnTo>
                  <a:pt x="902" y="693"/>
                </a:lnTo>
                <a:lnTo>
                  <a:pt x="902" y="693"/>
                </a:lnTo>
                <a:lnTo>
                  <a:pt x="898" y="696"/>
                </a:lnTo>
                <a:lnTo>
                  <a:pt x="894" y="699"/>
                </a:lnTo>
                <a:lnTo>
                  <a:pt x="898" y="696"/>
                </a:lnTo>
                <a:lnTo>
                  <a:pt x="902" y="693"/>
                </a:lnTo>
                <a:lnTo>
                  <a:pt x="901" y="690"/>
                </a:lnTo>
                <a:lnTo>
                  <a:pt x="902" y="686"/>
                </a:lnTo>
                <a:close/>
                <a:moveTo>
                  <a:pt x="894" y="727"/>
                </a:moveTo>
                <a:lnTo>
                  <a:pt x="893" y="726"/>
                </a:lnTo>
                <a:lnTo>
                  <a:pt x="894" y="725"/>
                </a:lnTo>
                <a:lnTo>
                  <a:pt x="893" y="726"/>
                </a:lnTo>
                <a:lnTo>
                  <a:pt x="894" y="727"/>
                </a:lnTo>
                <a:close/>
                <a:moveTo>
                  <a:pt x="867" y="719"/>
                </a:moveTo>
                <a:lnTo>
                  <a:pt x="863" y="725"/>
                </a:lnTo>
                <a:lnTo>
                  <a:pt x="858" y="726"/>
                </a:lnTo>
                <a:lnTo>
                  <a:pt x="853" y="725"/>
                </a:lnTo>
                <a:lnTo>
                  <a:pt x="852" y="720"/>
                </a:lnTo>
                <a:lnTo>
                  <a:pt x="855" y="714"/>
                </a:lnTo>
                <a:lnTo>
                  <a:pt x="863" y="714"/>
                </a:lnTo>
                <a:lnTo>
                  <a:pt x="867" y="715"/>
                </a:lnTo>
                <a:lnTo>
                  <a:pt x="867" y="719"/>
                </a:lnTo>
                <a:lnTo>
                  <a:pt x="867" y="719"/>
                </a:lnTo>
                <a:close/>
                <a:moveTo>
                  <a:pt x="880" y="720"/>
                </a:moveTo>
                <a:lnTo>
                  <a:pt x="876" y="720"/>
                </a:lnTo>
                <a:lnTo>
                  <a:pt x="875" y="715"/>
                </a:lnTo>
                <a:lnTo>
                  <a:pt x="875" y="712"/>
                </a:lnTo>
                <a:lnTo>
                  <a:pt x="879" y="710"/>
                </a:lnTo>
                <a:lnTo>
                  <a:pt x="881" y="708"/>
                </a:lnTo>
                <a:lnTo>
                  <a:pt x="884" y="708"/>
                </a:lnTo>
                <a:lnTo>
                  <a:pt x="887" y="708"/>
                </a:lnTo>
                <a:lnTo>
                  <a:pt x="890" y="708"/>
                </a:lnTo>
                <a:lnTo>
                  <a:pt x="890" y="708"/>
                </a:lnTo>
                <a:lnTo>
                  <a:pt x="889" y="718"/>
                </a:lnTo>
                <a:lnTo>
                  <a:pt x="880" y="720"/>
                </a:lnTo>
                <a:close/>
                <a:moveTo>
                  <a:pt x="890" y="689"/>
                </a:moveTo>
                <a:lnTo>
                  <a:pt x="888" y="691"/>
                </a:lnTo>
                <a:lnTo>
                  <a:pt x="884" y="696"/>
                </a:lnTo>
                <a:lnTo>
                  <a:pt x="882" y="697"/>
                </a:lnTo>
                <a:lnTo>
                  <a:pt x="879" y="699"/>
                </a:lnTo>
                <a:lnTo>
                  <a:pt x="872" y="701"/>
                </a:lnTo>
                <a:lnTo>
                  <a:pt x="865" y="699"/>
                </a:lnTo>
                <a:lnTo>
                  <a:pt x="863" y="698"/>
                </a:lnTo>
                <a:lnTo>
                  <a:pt x="865" y="697"/>
                </a:lnTo>
                <a:lnTo>
                  <a:pt x="872" y="691"/>
                </a:lnTo>
                <a:lnTo>
                  <a:pt x="880" y="690"/>
                </a:lnTo>
                <a:lnTo>
                  <a:pt x="882" y="692"/>
                </a:lnTo>
                <a:lnTo>
                  <a:pt x="884" y="696"/>
                </a:lnTo>
                <a:lnTo>
                  <a:pt x="888" y="691"/>
                </a:lnTo>
                <a:lnTo>
                  <a:pt x="890" y="689"/>
                </a:lnTo>
                <a:close/>
                <a:moveTo>
                  <a:pt x="854" y="705"/>
                </a:moveTo>
                <a:lnTo>
                  <a:pt x="859" y="705"/>
                </a:lnTo>
                <a:lnTo>
                  <a:pt x="862" y="705"/>
                </a:lnTo>
                <a:lnTo>
                  <a:pt x="865" y="705"/>
                </a:lnTo>
                <a:lnTo>
                  <a:pt x="866" y="707"/>
                </a:lnTo>
                <a:lnTo>
                  <a:pt x="865" y="710"/>
                </a:lnTo>
                <a:lnTo>
                  <a:pt x="862" y="711"/>
                </a:lnTo>
                <a:lnTo>
                  <a:pt x="858" y="708"/>
                </a:lnTo>
                <a:lnTo>
                  <a:pt x="854" y="705"/>
                </a:lnTo>
                <a:lnTo>
                  <a:pt x="849" y="705"/>
                </a:lnTo>
                <a:lnTo>
                  <a:pt x="848" y="710"/>
                </a:lnTo>
                <a:lnTo>
                  <a:pt x="848" y="713"/>
                </a:lnTo>
                <a:lnTo>
                  <a:pt x="845" y="714"/>
                </a:lnTo>
                <a:lnTo>
                  <a:pt x="844" y="706"/>
                </a:lnTo>
                <a:lnTo>
                  <a:pt x="839" y="700"/>
                </a:lnTo>
                <a:lnTo>
                  <a:pt x="838" y="699"/>
                </a:lnTo>
                <a:lnTo>
                  <a:pt x="837" y="699"/>
                </a:lnTo>
                <a:lnTo>
                  <a:pt x="833" y="701"/>
                </a:lnTo>
                <a:lnTo>
                  <a:pt x="831" y="704"/>
                </a:lnTo>
                <a:lnTo>
                  <a:pt x="831" y="704"/>
                </a:lnTo>
                <a:lnTo>
                  <a:pt x="831" y="704"/>
                </a:lnTo>
                <a:lnTo>
                  <a:pt x="831" y="704"/>
                </a:lnTo>
                <a:lnTo>
                  <a:pt x="831" y="704"/>
                </a:lnTo>
                <a:lnTo>
                  <a:pt x="832" y="700"/>
                </a:lnTo>
                <a:lnTo>
                  <a:pt x="837" y="699"/>
                </a:lnTo>
                <a:lnTo>
                  <a:pt x="838" y="699"/>
                </a:lnTo>
                <a:lnTo>
                  <a:pt x="839" y="700"/>
                </a:lnTo>
                <a:lnTo>
                  <a:pt x="845" y="697"/>
                </a:lnTo>
                <a:lnTo>
                  <a:pt x="851" y="700"/>
                </a:lnTo>
                <a:lnTo>
                  <a:pt x="852" y="703"/>
                </a:lnTo>
                <a:lnTo>
                  <a:pt x="854" y="705"/>
                </a:lnTo>
                <a:close/>
                <a:moveTo>
                  <a:pt x="831" y="704"/>
                </a:moveTo>
                <a:lnTo>
                  <a:pt x="828" y="708"/>
                </a:lnTo>
                <a:lnTo>
                  <a:pt x="828" y="714"/>
                </a:lnTo>
                <a:lnTo>
                  <a:pt x="827" y="718"/>
                </a:lnTo>
                <a:lnTo>
                  <a:pt x="825" y="720"/>
                </a:lnTo>
                <a:lnTo>
                  <a:pt x="824" y="712"/>
                </a:lnTo>
                <a:lnTo>
                  <a:pt x="818" y="705"/>
                </a:lnTo>
                <a:lnTo>
                  <a:pt x="824" y="703"/>
                </a:lnTo>
                <a:lnTo>
                  <a:pt x="831" y="704"/>
                </a:lnTo>
                <a:lnTo>
                  <a:pt x="831" y="704"/>
                </a:lnTo>
                <a:lnTo>
                  <a:pt x="829" y="704"/>
                </a:lnTo>
                <a:lnTo>
                  <a:pt x="831" y="704"/>
                </a:lnTo>
                <a:lnTo>
                  <a:pt x="831" y="704"/>
                </a:lnTo>
                <a:close/>
                <a:moveTo>
                  <a:pt x="769" y="719"/>
                </a:moveTo>
                <a:lnTo>
                  <a:pt x="776" y="715"/>
                </a:lnTo>
                <a:lnTo>
                  <a:pt x="785" y="715"/>
                </a:lnTo>
                <a:lnTo>
                  <a:pt x="787" y="718"/>
                </a:lnTo>
                <a:lnTo>
                  <a:pt x="787" y="719"/>
                </a:lnTo>
                <a:lnTo>
                  <a:pt x="782" y="722"/>
                </a:lnTo>
                <a:lnTo>
                  <a:pt x="777" y="726"/>
                </a:lnTo>
                <a:lnTo>
                  <a:pt x="772" y="726"/>
                </a:lnTo>
                <a:lnTo>
                  <a:pt x="768" y="724"/>
                </a:lnTo>
                <a:lnTo>
                  <a:pt x="766" y="722"/>
                </a:lnTo>
                <a:lnTo>
                  <a:pt x="769" y="719"/>
                </a:lnTo>
                <a:close/>
                <a:moveTo>
                  <a:pt x="790" y="736"/>
                </a:moveTo>
                <a:lnTo>
                  <a:pt x="791" y="740"/>
                </a:lnTo>
                <a:lnTo>
                  <a:pt x="789" y="743"/>
                </a:lnTo>
                <a:lnTo>
                  <a:pt x="783" y="746"/>
                </a:lnTo>
                <a:lnTo>
                  <a:pt x="777" y="745"/>
                </a:lnTo>
                <a:lnTo>
                  <a:pt x="776" y="742"/>
                </a:lnTo>
                <a:lnTo>
                  <a:pt x="776" y="738"/>
                </a:lnTo>
                <a:lnTo>
                  <a:pt x="776" y="735"/>
                </a:lnTo>
                <a:lnTo>
                  <a:pt x="777" y="734"/>
                </a:lnTo>
                <a:lnTo>
                  <a:pt x="784" y="732"/>
                </a:lnTo>
                <a:lnTo>
                  <a:pt x="786" y="725"/>
                </a:lnTo>
                <a:lnTo>
                  <a:pt x="789" y="724"/>
                </a:lnTo>
                <a:lnTo>
                  <a:pt x="793" y="725"/>
                </a:lnTo>
                <a:lnTo>
                  <a:pt x="789" y="729"/>
                </a:lnTo>
                <a:lnTo>
                  <a:pt x="790" y="736"/>
                </a:lnTo>
                <a:close/>
                <a:moveTo>
                  <a:pt x="776" y="704"/>
                </a:moveTo>
                <a:lnTo>
                  <a:pt x="777" y="701"/>
                </a:lnTo>
                <a:lnTo>
                  <a:pt x="779" y="700"/>
                </a:lnTo>
                <a:lnTo>
                  <a:pt x="777" y="701"/>
                </a:lnTo>
                <a:lnTo>
                  <a:pt x="776" y="704"/>
                </a:lnTo>
                <a:close/>
                <a:moveTo>
                  <a:pt x="776" y="705"/>
                </a:moveTo>
                <a:lnTo>
                  <a:pt x="776" y="705"/>
                </a:lnTo>
                <a:lnTo>
                  <a:pt x="776" y="704"/>
                </a:lnTo>
                <a:lnTo>
                  <a:pt x="778" y="704"/>
                </a:lnTo>
                <a:lnTo>
                  <a:pt x="782" y="703"/>
                </a:lnTo>
                <a:lnTo>
                  <a:pt x="786" y="705"/>
                </a:lnTo>
                <a:lnTo>
                  <a:pt x="792" y="706"/>
                </a:lnTo>
                <a:lnTo>
                  <a:pt x="799" y="711"/>
                </a:lnTo>
                <a:lnTo>
                  <a:pt x="806" y="706"/>
                </a:lnTo>
                <a:lnTo>
                  <a:pt x="807" y="706"/>
                </a:lnTo>
                <a:lnTo>
                  <a:pt x="808" y="707"/>
                </a:lnTo>
                <a:lnTo>
                  <a:pt x="812" y="706"/>
                </a:lnTo>
                <a:lnTo>
                  <a:pt x="814" y="705"/>
                </a:lnTo>
                <a:lnTo>
                  <a:pt x="812" y="706"/>
                </a:lnTo>
                <a:lnTo>
                  <a:pt x="808" y="707"/>
                </a:lnTo>
                <a:lnTo>
                  <a:pt x="808" y="714"/>
                </a:lnTo>
                <a:lnTo>
                  <a:pt x="807" y="721"/>
                </a:lnTo>
                <a:lnTo>
                  <a:pt x="807" y="724"/>
                </a:lnTo>
                <a:lnTo>
                  <a:pt x="805" y="725"/>
                </a:lnTo>
                <a:lnTo>
                  <a:pt x="804" y="724"/>
                </a:lnTo>
                <a:lnTo>
                  <a:pt x="804" y="721"/>
                </a:lnTo>
                <a:lnTo>
                  <a:pt x="799" y="713"/>
                </a:lnTo>
                <a:lnTo>
                  <a:pt x="792" y="712"/>
                </a:lnTo>
                <a:lnTo>
                  <a:pt x="786" y="712"/>
                </a:lnTo>
                <a:lnTo>
                  <a:pt x="783" y="708"/>
                </a:lnTo>
                <a:lnTo>
                  <a:pt x="780" y="706"/>
                </a:lnTo>
                <a:lnTo>
                  <a:pt x="776" y="705"/>
                </a:lnTo>
                <a:lnTo>
                  <a:pt x="771" y="712"/>
                </a:lnTo>
                <a:lnTo>
                  <a:pt x="769" y="719"/>
                </a:lnTo>
                <a:lnTo>
                  <a:pt x="769" y="719"/>
                </a:lnTo>
                <a:lnTo>
                  <a:pt x="771" y="712"/>
                </a:lnTo>
                <a:lnTo>
                  <a:pt x="776" y="705"/>
                </a:lnTo>
                <a:close/>
                <a:moveTo>
                  <a:pt x="756" y="727"/>
                </a:moveTo>
                <a:lnTo>
                  <a:pt x="756" y="727"/>
                </a:lnTo>
                <a:lnTo>
                  <a:pt x="757" y="728"/>
                </a:lnTo>
                <a:lnTo>
                  <a:pt x="756" y="727"/>
                </a:lnTo>
                <a:lnTo>
                  <a:pt x="756" y="727"/>
                </a:lnTo>
                <a:lnTo>
                  <a:pt x="756" y="727"/>
                </a:lnTo>
                <a:close/>
                <a:moveTo>
                  <a:pt x="758" y="739"/>
                </a:moveTo>
                <a:lnTo>
                  <a:pt x="759" y="739"/>
                </a:lnTo>
                <a:lnTo>
                  <a:pt x="760" y="739"/>
                </a:lnTo>
                <a:lnTo>
                  <a:pt x="764" y="739"/>
                </a:lnTo>
                <a:lnTo>
                  <a:pt x="768" y="739"/>
                </a:lnTo>
                <a:lnTo>
                  <a:pt x="768" y="736"/>
                </a:lnTo>
                <a:lnTo>
                  <a:pt x="768" y="734"/>
                </a:lnTo>
                <a:lnTo>
                  <a:pt x="768" y="736"/>
                </a:lnTo>
                <a:lnTo>
                  <a:pt x="768" y="739"/>
                </a:lnTo>
                <a:lnTo>
                  <a:pt x="766" y="747"/>
                </a:lnTo>
                <a:lnTo>
                  <a:pt x="760" y="750"/>
                </a:lnTo>
                <a:lnTo>
                  <a:pt x="756" y="752"/>
                </a:lnTo>
                <a:lnTo>
                  <a:pt x="752" y="748"/>
                </a:lnTo>
                <a:lnTo>
                  <a:pt x="752" y="742"/>
                </a:lnTo>
                <a:lnTo>
                  <a:pt x="758" y="739"/>
                </a:lnTo>
                <a:close/>
                <a:moveTo>
                  <a:pt x="703" y="729"/>
                </a:moveTo>
                <a:lnTo>
                  <a:pt x="714" y="726"/>
                </a:lnTo>
                <a:lnTo>
                  <a:pt x="724" y="728"/>
                </a:lnTo>
                <a:lnTo>
                  <a:pt x="729" y="726"/>
                </a:lnTo>
                <a:lnTo>
                  <a:pt x="731" y="725"/>
                </a:lnTo>
                <a:lnTo>
                  <a:pt x="739" y="721"/>
                </a:lnTo>
                <a:lnTo>
                  <a:pt x="748" y="720"/>
                </a:lnTo>
                <a:lnTo>
                  <a:pt x="749" y="721"/>
                </a:lnTo>
                <a:lnTo>
                  <a:pt x="752" y="724"/>
                </a:lnTo>
                <a:lnTo>
                  <a:pt x="752" y="722"/>
                </a:lnTo>
                <a:lnTo>
                  <a:pt x="752" y="721"/>
                </a:lnTo>
                <a:lnTo>
                  <a:pt x="752" y="722"/>
                </a:lnTo>
                <a:lnTo>
                  <a:pt x="752" y="724"/>
                </a:lnTo>
                <a:lnTo>
                  <a:pt x="752" y="726"/>
                </a:lnTo>
                <a:lnTo>
                  <a:pt x="752" y="729"/>
                </a:lnTo>
                <a:lnTo>
                  <a:pt x="749" y="734"/>
                </a:lnTo>
                <a:lnTo>
                  <a:pt x="748" y="739"/>
                </a:lnTo>
                <a:lnTo>
                  <a:pt x="746" y="736"/>
                </a:lnTo>
                <a:lnTo>
                  <a:pt x="746" y="734"/>
                </a:lnTo>
                <a:lnTo>
                  <a:pt x="745" y="727"/>
                </a:lnTo>
                <a:lnTo>
                  <a:pt x="738" y="724"/>
                </a:lnTo>
                <a:lnTo>
                  <a:pt x="732" y="727"/>
                </a:lnTo>
                <a:lnTo>
                  <a:pt x="730" y="735"/>
                </a:lnTo>
                <a:lnTo>
                  <a:pt x="730" y="740"/>
                </a:lnTo>
                <a:lnTo>
                  <a:pt x="728" y="745"/>
                </a:lnTo>
                <a:lnTo>
                  <a:pt x="725" y="741"/>
                </a:lnTo>
                <a:lnTo>
                  <a:pt x="727" y="736"/>
                </a:lnTo>
                <a:lnTo>
                  <a:pt x="724" y="732"/>
                </a:lnTo>
                <a:lnTo>
                  <a:pt x="720" y="728"/>
                </a:lnTo>
                <a:lnTo>
                  <a:pt x="716" y="729"/>
                </a:lnTo>
                <a:lnTo>
                  <a:pt x="713" y="733"/>
                </a:lnTo>
                <a:lnTo>
                  <a:pt x="709" y="741"/>
                </a:lnTo>
                <a:lnTo>
                  <a:pt x="707" y="750"/>
                </a:lnTo>
                <a:lnTo>
                  <a:pt x="706" y="746"/>
                </a:lnTo>
                <a:lnTo>
                  <a:pt x="706" y="742"/>
                </a:lnTo>
                <a:lnTo>
                  <a:pt x="704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0"/>
                </a:lnTo>
                <a:lnTo>
                  <a:pt x="702" y="739"/>
                </a:lnTo>
                <a:lnTo>
                  <a:pt x="702" y="738"/>
                </a:lnTo>
                <a:lnTo>
                  <a:pt x="702" y="736"/>
                </a:lnTo>
                <a:lnTo>
                  <a:pt x="699" y="736"/>
                </a:lnTo>
                <a:lnTo>
                  <a:pt x="695" y="736"/>
                </a:lnTo>
                <a:lnTo>
                  <a:pt x="699" y="736"/>
                </a:lnTo>
                <a:lnTo>
                  <a:pt x="702" y="736"/>
                </a:lnTo>
                <a:lnTo>
                  <a:pt x="702" y="735"/>
                </a:lnTo>
                <a:lnTo>
                  <a:pt x="702" y="734"/>
                </a:lnTo>
                <a:lnTo>
                  <a:pt x="704" y="735"/>
                </a:lnTo>
                <a:lnTo>
                  <a:pt x="706" y="732"/>
                </a:lnTo>
                <a:lnTo>
                  <a:pt x="706" y="731"/>
                </a:lnTo>
                <a:lnTo>
                  <a:pt x="703" y="729"/>
                </a:lnTo>
                <a:close/>
                <a:moveTo>
                  <a:pt x="696" y="745"/>
                </a:moveTo>
                <a:lnTo>
                  <a:pt x="697" y="743"/>
                </a:lnTo>
                <a:lnTo>
                  <a:pt x="699" y="743"/>
                </a:lnTo>
                <a:lnTo>
                  <a:pt x="697" y="743"/>
                </a:lnTo>
                <a:lnTo>
                  <a:pt x="696" y="745"/>
                </a:lnTo>
                <a:lnTo>
                  <a:pt x="696" y="746"/>
                </a:lnTo>
                <a:lnTo>
                  <a:pt x="697" y="746"/>
                </a:lnTo>
                <a:lnTo>
                  <a:pt x="692" y="753"/>
                </a:lnTo>
                <a:lnTo>
                  <a:pt x="692" y="761"/>
                </a:lnTo>
                <a:lnTo>
                  <a:pt x="688" y="768"/>
                </a:lnTo>
                <a:lnTo>
                  <a:pt x="682" y="769"/>
                </a:lnTo>
                <a:lnTo>
                  <a:pt x="679" y="770"/>
                </a:lnTo>
                <a:lnTo>
                  <a:pt x="676" y="767"/>
                </a:lnTo>
                <a:lnTo>
                  <a:pt x="677" y="761"/>
                </a:lnTo>
                <a:lnTo>
                  <a:pt x="682" y="757"/>
                </a:lnTo>
                <a:lnTo>
                  <a:pt x="686" y="756"/>
                </a:lnTo>
                <a:lnTo>
                  <a:pt x="687" y="753"/>
                </a:lnTo>
                <a:lnTo>
                  <a:pt x="690" y="747"/>
                </a:lnTo>
                <a:lnTo>
                  <a:pt x="696" y="745"/>
                </a:lnTo>
                <a:close/>
                <a:moveTo>
                  <a:pt x="668" y="735"/>
                </a:moveTo>
                <a:lnTo>
                  <a:pt x="668" y="735"/>
                </a:lnTo>
                <a:lnTo>
                  <a:pt x="669" y="735"/>
                </a:lnTo>
                <a:lnTo>
                  <a:pt x="670" y="732"/>
                </a:lnTo>
                <a:lnTo>
                  <a:pt x="673" y="731"/>
                </a:lnTo>
                <a:lnTo>
                  <a:pt x="670" y="732"/>
                </a:lnTo>
                <a:lnTo>
                  <a:pt x="669" y="735"/>
                </a:lnTo>
                <a:lnTo>
                  <a:pt x="668" y="735"/>
                </a:lnTo>
                <a:lnTo>
                  <a:pt x="668" y="735"/>
                </a:lnTo>
                <a:close/>
                <a:moveTo>
                  <a:pt x="668" y="742"/>
                </a:moveTo>
                <a:lnTo>
                  <a:pt x="669" y="742"/>
                </a:lnTo>
                <a:lnTo>
                  <a:pt x="670" y="742"/>
                </a:lnTo>
                <a:lnTo>
                  <a:pt x="673" y="741"/>
                </a:lnTo>
                <a:lnTo>
                  <a:pt x="675" y="740"/>
                </a:lnTo>
                <a:lnTo>
                  <a:pt x="683" y="738"/>
                </a:lnTo>
                <a:lnTo>
                  <a:pt x="690" y="742"/>
                </a:lnTo>
                <a:lnTo>
                  <a:pt x="689" y="743"/>
                </a:lnTo>
                <a:lnTo>
                  <a:pt x="689" y="743"/>
                </a:lnTo>
                <a:lnTo>
                  <a:pt x="686" y="745"/>
                </a:lnTo>
                <a:lnTo>
                  <a:pt x="683" y="746"/>
                </a:lnTo>
                <a:lnTo>
                  <a:pt x="676" y="750"/>
                </a:lnTo>
                <a:lnTo>
                  <a:pt x="668" y="748"/>
                </a:lnTo>
                <a:lnTo>
                  <a:pt x="668" y="746"/>
                </a:lnTo>
                <a:lnTo>
                  <a:pt x="668" y="742"/>
                </a:lnTo>
                <a:lnTo>
                  <a:pt x="666" y="742"/>
                </a:lnTo>
                <a:lnTo>
                  <a:pt x="663" y="742"/>
                </a:lnTo>
                <a:lnTo>
                  <a:pt x="666" y="742"/>
                </a:lnTo>
                <a:lnTo>
                  <a:pt x="668" y="742"/>
                </a:lnTo>
                <a:close/>
                <a:moveTo>
                  <a:pt x="659" y="745"/>
                </a:moveTo>
                <a:lnTo>
                  <a:pt x="659" y="745"/>
                </a:lnTo>
                <a:lnTo>
                  <a:pt x="659" y="745"/>
                </a:lnTo>
                <a:lnTo>
                  <a:pt x="659" y="746"/>
                </a:lnTo>
                <a:lnTo>
                  <a:pt x="659" y="746"/>
                </a:lnTo>
                <a:lnTo>
                  <a:pt x="658" y="746"/>
                </a:lnTo>
                <a:lnTo>
                  <a:pt x="659" y="745"/>
                </a:lnTo>
                <a:close/>
                <a:moveTo>
                  <a:pt x="659" y="746"/>
                </a:moveTo>
                <a:lnTo>
                  <a:pt x="656" y="749"/>
                </a:lnTo>
                <a:lnTo>
                  <a:pt x="655" y="750"/>
                </a:lnTo>
                <a:lnTo>
                  <a:pt x="662" y="754"/>
                </a:lnTo>
                <a:lnTo>
                  <a:pt x="669" y="752"/>
                </a:lnTo>
                <a:lnTo>
                  <a:pt x="670" y="756"/>
                </a:lnTo>
                <a:lnTo>
                  <a:pt x="669" y="760"/>
                </a:lnTo>
                <a:lnTo>
                  <a:pt x="666" y="760"/>
                </a:lnTo>
                <a:lnTo>
                  <a:pt x="662" y="757"/>
                </a:lnTo>
                <a:lnTo>
                  <a:pt x="654" y="754"/>
                </a:lnTo>
                <a:lnTo>
                  <a:pt x="652" y="760"/>
                </a:lnTo>
                <a:lnTo>
                  <a:pt x="653" y="764"/>
                </a:lnTo>
                <a:lnTo>
                  <a:pt x="658" y="763"/>
                </a:lnTo>
                <a:lnTo>
                  <a:pt x="662" y="761"/>
                </a:lnTo>
                <a:lnTo>
                  <a:pt x="668" y="763"/>
                </a:lnTo>
                <a:lnTo>
                  <a:pt x="669" y="767"/>
                </a:lnTo>
                <a:lnTo>
                  <a:pt x="668" y="771"/>
                </a:lnTo>
                <a:lnTo>
                  <a:pt x="662" y="775"/>
                </a:lnTo>
                <a:lnTo>
                  <a:pt x="656" y="775"/>
                </a:lnTo>
                <a:lnTo>
                  <a:pt x="654" y="775"/>
                </a:lnTo>
                <a:lnTo>
                  <a:pt x="654" y="774"/>
                </a:lnTo>
                <a:lnTo>
                  <a:pt x="651" y="764"/>
                </a:lnTo>
                <a:lnTo>
                  <a:pt x="648" y="755"/>
                </a:lnTo>
                <a:lnTo>
                  <a:pt x="647" y="752"/>
                </a:lnTo>
                <a:lnTo>
                  <a:pt x="644" y="749"/>
                </a:lnTo>
                <a:lnTo>
                  <a:pt x="641" y="748"/>
                </a:lnTo>
                <a:lnTo>
                  <a:pt x="641" y="747"/>
                </a:lnTo>
                <a:lnTo>
                  <a:pt x="642" y="745"/>
                </a:lnTo>
                <a:lnTo>
                  <a:pt x="645" y="745"/>
                </a:lnTo>
                <a:lnTo>
                  <a:pt x="652" y="745"/>
                </a:lnTo>
                <a:lnTo>
                  <a:pt x="659" y="746"/>
                </a:lnTo>
                <a:close/>
                <a:moveTo>
                  <a:pt x="630" y="769"/>
                </a:moveTo>
                <a:lnTo>
                  <a:pt x="628" y="762"/>
                </a:lnTo>
                <a:lnTo>
                  <a:pt x="626" y="754"/>
                </a:lnTo>
                <a:lnTo>
                  <a:pt x="627" y="753"/>
                </a:lnTo>
                <a:lnTo>
                  <a:pt x="630" y="750"/>
                </a:lnTo>
                <a:lnTo>
                  <a:pt x="631" y="749"/>
                </a:lnTo>
                <a:lnTo>
                  <a:pt x="633" y="750"/>
                </a:lnTo>
                <a:lnTo>
                  <a:pt x="634" y="753"/>
                </a:lnTo>
                <a:lnTo>
                  <a:pt x="633" y="755"/>
                </a:lnTo>
                <a:lnTo>
                  <a:pt x="632" y="762"/>
                </a:lnTo>
                <a:lnTo>
                  <a:pt x="630" y="769"/>
                </a:lnTo>
                <a:close/>
                <a:moveTo>
                  <a:pt x="571" y="791"/>
                </a:moveTo>
                <a:lnTo>
                  <a:pt x="566" y="798"/>
                </a:lnTo>
                <a:lnTo>
                  <a:pt x="559" y="799"/>
                </a:lnTo>
                <a:lnTo>
                  <a:pt x="556" y="798"/>
                </a:lnTo>
                <a:lnTo>
                  <a:pt x="555" y="794"/>
                </a:lnTo>
                <a:lnTo>
                  <a:pt x="558" y="788"/>
                </a:lnTo>
                <a:lnTo>
                  <a:pt x="565" y="787"/>
                </a:lnTo>
                <a:lnTo>
                  <a:pt x="570" y="788"/>
                </a:lnTo>
                <a:lnTo>
                  <a:pt x="571" y="791"/>
                </a:lnTo>
                <a:close/>
                <a:moveTo>
                  <a:pt x="573" y="767"/>
                </a:moveTo>
                <a:lnTo>
                  <a:pt x="575" y="767"/>
                </a:lnTo>
                <a:lnTo>
                  <a:pt x="576" y="767"/>
                </a:lnTo>
                <a:lnTo>
                  <a:pt x="584" y="762"/>
                </a:lnTo>
                <a:lnTo>
                  <a:pt x="593" y="766"/>
                </a:lnTo>
                <a:lnTo>
                  <a:pt x="585" y="771"/>
                </a:lnTo>
                <a:lnTo>
                  <a:pt x="575" y="773"/>
                </a:lnTo>
                <a:lnTo>
                  <a:pt x="572" y="769"/>
                </a:lnTo>
                <a:lnTo>
                  <a:pt x="573" y="767"/>
                </a:lnTo>
                <a:close/>
                <a:moveTo>
                  <a:pt x="604" y="766"/>
                </a:moveTo>
                <a:lnTo>
                  <a:pt x="604" y="767"/>
                </a:lnTo>
                <a:lnTo>
                  <a:pt x="604" y="767"/>
                </a:lnTo>
                <a:lnTo>
                  <a:pt x="604" y="768"/>
                </a:lnTo>
                <a:lnTo>
                  <a:pt x="604" y="769"/>
                </a:lnTo>
                <a:lnTo>
                  <a:pt x="604" y="768"/>
                </a:lnTo>
                <a:lnTo>
                  <a:pt x="604" y="767"/>
                </a:lnTo>
                <a:lnTo>
                  <a:pt x="604" y="767"/>
                </a:lnTo>
                <a:lnTo>
                  <a:pt x="604" y="766"/>
                </a:lnTo>
                <a:close/>
                <a:moveTo>
                  <a:pt x="598" y="755"/>
                </a:moveTo>
                <a:lnTo>
                  <a:pt x="598" y="755"/>
                </a:lnTo>
                <a:lnTo>
                  <a:pt x="604" y="759"/>
                </a:lnTo>
                <a:lnTo>
                  <a:pt x="610" y="755"/>
                </a:lnTo>
                <a:lnTo>
                  <a:pt x="612" y="755"/>
                </a:lnTo>
                <a:lnTo>
                  <a:pt x="614" y="757"/>
                </a:lnTo>
                <a:lnTo>
                  <a:pt x="612" y="766"/>
                </a:lnTo>
                <a:lnTo>
                  <a:pt x="610" y="774"/>
                </a:lnTo>
                <a:lnTo>
                  <a:pt x="608" y="769"/>
                </a:lnTo>
                <a:lnTo>
                  <a:pt x="607" y="764"/>
                </a:lnTo>
                <a:lnTo>
                  <a:pt x="606" y="762"/>
                </a:lnTo>
                <a:lnTo>
                  <a:pt x="604" y="761"/>
                </a:lnTo>
                <a:lnTo>
                  <a:pt x="604" y="763"/>
                </a:lnTo>
                <a:lnTo>
                  <a:pt x="603" y="766"/>
                </a:lnTo>
                <a:lnTo>
                  <a:pt x="600" y="767"/>
                </a:lnTo>
                <a:lnTo>
                  <a:pt x="598" y="769"/>
                </a:lnTo>
                <a:lnTo>
                  <a:pt x="599" y="770"/>
                </a:lnTo>
                <a:lnTo>
                  <a:pt x="599" y="770"/>
                </a:lnTo>
                <a:lnTo>
                  <a:pt x="599" y="771"/>
                </a:lnTo>
                <a:lnTo>
                  <a:pt x="599" y="773"/>
                </a:lnTo>
                <a:lnTo>
                  <a:pt x="599" y="771"/>
                </a:lnTo>
                <a:lnTo>
                  <a:pt x="599" y="770"/>
                </a:lnTo>
                <a:lnTo>
                  <a:pt x="599" y="770"/>
                </a:lnTo>
                <a:lnTo>
                  <a:pt x="598" y="769"/>
                </a:lnTo>
                <a:lnTo>
                  <a:pt x="591" y="774"/>
                </a:lnTo>
                <a:lnTo>
                  <a:pt x="586" y="781"/>
                </a:lnTo>
                <a:lnTo>
                  <a:pt x="590" y="782"/>
                </a:lnTo>
                <a:lnTo>
                  <a:pt x="593" y="782"/>
                </a:lnTo>
                <a:lnTo>
                  <a:pt x="590" y="791"/>
                </a:lnTo>
                <a:lnTo>
                  <a:pt x="582" y="795"/>
                </a:lnTo>
                <a:lnTo>
                  <a:pt x="579" y="794"/>
                </a:lnTo>
                <a:lnTo>
                  <a:pt x="578" y="791"/>
                </a:lnTo>
                <a:lnTo>
                  <a:pt x="578" y="787"/>
                </a:lnTo>
                <a:lnTo>
                  <a:pt x="580" y="782"/>
                </a:lnTo>
                <a:lnTo>
                  <a:pt x="584" y="782"/>
                </a:lnTo>
                <a:lnTo>
                  <a:pt x="586" y="781"/>
                </a:lnTo>
                <a:lnTo>
                  <a:pt x="591" y="774"/>
                </a:lnTo>
                <a:lnTo>
                  <a:pt x="598" y="769"/>
                </a:lnTo>
                <a:lnTo>
                  <a:pt x="600" y="767"/>
                </a:lnTo>
                <a:lnTo>
                  <a:pt x="603" y="766"/>
                </a:lnTo>
                <a:lnTo>
                  <a:pt x="604" y="763"/>
                </a:lnTo>
                <a:lnTo>
                  <a:pt x="604" y="761"/>
                </a:lnTo>
                <a:lnTo>
                  <a:pt x="596" y="759"/>
                </a:lnTo>
                <a:lnTo>
                  <a:pt x="587" y="755"/>
                </a:lnTo>
                <a:lnTo>
                  <a:pt x="579" y="755"/>
                </a:lnTo>
                <a:lnTo>
                  <a:pt x="573" y="767"/>
                </a:lnTo>
                <a:lnTo>
                  <a:pt x="565" y="768"/>
                </a:lnTo>
                <a:lnTo>
                  <a:pt x="559" y="773"/>
                </a:lnTo>
                <a:lnTo>
                  <a:pt x="559" y="775"/>
                </a:lnTo>
                <a:lnTo>
                  <a:pt x="563" y="776"/>
                </a:lnTo>
                <a:lnTo>
                  <a:pt x="570" y="778"/>
                </a:lnTo>
                <a:lnTo>
                  <a:pt x="572" y="783"/>
                </a:lnTo>
                <a:lnTo>
                  <a:pt x="568" y="783"/>
                </a:lnTo>
                <a:lnTo>
                  <a:pt x="563" y="780"/>
                </a:lnTo>
                <a:lnTo>
                  <a:pt x="559" y="778"/>
                </a:lnTo>
                <a:lnTo>
                  <a:pt x="557" y="776"/>
                </a:lnTo>
                <a:lnTo>
                  <a:pt x="555" y="782"/>
                </a:lnTo>
                <a:lnTo>
                  <a:pt x="552" y="787"/>
                </a:lnTo>
                <a:lnTo>
                  <a:pt x="551" y="778"/>
                </a:lnTo>
                <a:lnTo>
                  <a:pt x="547" y="771"/>
                </a:lnTo>
                <a:lnTo>
                  <a:pt x="545" y="771"/>
                </a:lnTo>
                <a:lnTo>
                  <a:pt x="545" y="771"/>
                </a:lnTo>
                <a:lnTo>
                  <a:pt x="545" y="771"/>
                </a:lnTo>
                <a:lnTo>
                  <a:pt x="547" y="771"/>
                </a:lnTo>
                <a:lnTo>
                  <a:pt x="549" y="771"/>
                </a:lnTo>
                <a:lnTo>
                  <a:pt x="551" y="770"/>
                </a:lnTo>
                <a:lnTo>
                  <a:pt x="554" y="769"/>
                </a:lnTo>
                <a:lnTo>
                  <a:pt x="556" y="769"/>
                </a:lnTo>
                <a:lnTo>
                  <a:pt x="559" y="770"/>
                </a:lnTo>
                <a:lnTo>
                  <a:pt x="562" y="768"/>
                </a:lnTo>
                <a:lnTo>
                  <a:pt x="572" y="759"/>
                </a:lnTo>
                <a:lnTo>
                  <a:pt x="585" y="750"/>
                </a:lnTo>
                <a:lnTo>
                  <a:pt x="587" y="749"/>
                </a:lnTo>
                <a:lnTo>
                  <a:pt x="589" y="747"/>
                </a:lnTo>
                <a:lnTo>
                  <a:pt x="587" y="749"/>
                </a:lnTo>
                <a:lnTo>
                  <a:pt x="585" y="750"/>
                </a:lnTo>
                <a:lnTo>
                  <a:pt x="591" y="753"/>
                </a:lnTo>
                <a:lnTo>
                  <a:pt x="598" y="755"/>
                </a:lnTo>
                <a:close/>
                <a:moveTo>
                  <a:pt x="531" y="780"/>
                </a:moveTo>
                <a:lnTo>
                  <a:pt x="530" y="777"/>
                </a:lnTo>
                <a:lnTo>
                  <a:pt x="531" y="776"/>
                </a:lnTo>
                <a:lnTo>
                  <a:pt x="532" y="775"/>
                </a:lnTo>
                <a:lnTo>
                  <a:pt x="532" y="775"/>
                </a:lnTo>
                <a:lnTo>
                  <a:pt x="536" y="775"/>
                </a:lnTo>
                <a:lnTo>
                  <a:pt x="539" y="775"/>
                </a:lnTo>
                <a:lnTo>
                  <a:pt x="535" y="783"/>
                </a:lnTo>
                <a:lnTo>
                  <a:pt x="534" y="792"/>
                </a:lnTo>
                <a:lnTo>
                  <a:pt x="532" y="785"/>
                </a:lnTo>
                <a:lnTo>
                  <a:pt x="531" y="780"/>
                </a:lnTo>
                <a:close/>
                <a:moveTo>
                  <a:pt x="465" y="827"/>
                </a:moveTo>
                <a:lnTo>
                  <a:pt x="470" y="829"/>
                </a:lnTo>
                <a:lnTo>
                  <a:pt x="472" y="834"/>
                </a:lnTo>
                <a:lnTo>
                  <a:pt x="469" y="841"/>
                </a:lnTo>
                <a:lnTo>
                  <a:pt x="462" y="840"/>
                </a:lnTo>
                <a:lnTo>
                  <a:pt x="461" y="838"/>
                </a:lnTo>
                <a:lnTo>
                  <a:pt x="459" y="838"/>
                </a:lnTo>
                <a:lnTo>
                  <a:pt x="459" y="838"/>
                </a:lnTo>
                <a:lnTo>
                  <a:pt x="460" y="832"/>
                </a:lnTo>
                <a:lnTo>
                  <a:pt x="465" y="827"/>
                </a:lnTo>
                <a:close/>
                <a:moveTo>
                  <a:pt x="459" y="818"/>
                </a:moveTo>
                <a:lnTo>
                  <a:pt x="462" y="811"/>
                </a:lnTo>
                <a:lnTo>
                  <a:pt x="469" y="810"/>
                </a:lnTo>
                <a:lnTo>
                  <a:pt x="473" y="811"/>
                </a:lnTo>
                <a:lnTo>
                  <a:pt x="474" y="816"/>
                </a:lnTo>
                <a:lnTo>
                  <a:pt x="469" y="822"/>
                </a:lnTo>
                <a:lnTo>
                  <a:pt x="462" y="823"/>
                </a:lnTo>
                <a:lnTo>
                  <a:pt x="459" y="822"/>
                </a:lnTo>
                <a:lnTo>
                  <a:pt x="459" y="818"/>
                </a:lnTo>
                <a:close/>
                <a:moveTo>
                  <a:pt x="495" y="805"/>
                </a:moveTo>
                <a:lnTo>
                  <a:pt x="496" y="812"/>
                </a:lnTo>
                <a:lnTo>
                  <a:pt x="490" y="817"/>
                </a:lnTo>
                <a:lnTo>
                  <a:pt x="486" y="818"/>
                </a:lnTo>
                <a:lnTo>
                  <a:pt x="481" y="816"/>
                </a:lnTo>
                <a:lnTo>
                  <a:pt x="482" y="809"/>
                </a:lnTo>
                <a:lnTo>
                  <a:pt x="488" y="805"/>
                </a:lnTo>
                <a:lnTo>
                  <a:pt x="489" y="805"/>
                </a:lnTo>
                <a:lnTo>
                  <a:pt x="492" y="805"/>
                </a:lnTo>
                <a:lnTo>
                  <a:pt x="492" y="801"/>
                </a:lnTo>
                <a:lnTo>
                  <a:pt x="494" y="797"/>
                </a:lnTo>
                <a:lnTo>
                  <a:pt x="492" y="801"/>
                </a:lnTo>
                <a:lnTo>
                  <a:pt x="492" y="805"/>
                </a:lnTo>
                <a:lnTo>
                  <a:pt x="493" y="805"/>
                </a:lnTo>
                <a:lnTo>
                  <a:pt x="495" y="805"/>
                </a:lnTo>
                <a:close/>
                <a:moveTo>
                  <a:pt x="480" y="790"/>
                </a:moveTo>
                <a:lnTo>
                  <a:pt x="486" y="785"/>
                </a:lnTo>
                <a:lnTo>
                  <a:pt x="494" y="787"/>
                </a:lnTo>
                <a:lnTo>
                  <a:pt x="496" y="788"/>
                </a:lnTo>
                <a:lnTo>
                  <a:pt x="496" y="789"/>
                </a:lnTo>
                <a:lnTo>
                  <a:pt x="490" y="795"/>
                </a:lnTo>
                <a:lnTo>
                  <a:pt x="485" y="799"/>
                </a:lnTo>
                <a:lnTo>
                  <a:pt x="480" y="798"/>
                </a:lnTo>
                <a:lnTo>
                  <a:pt x="474" y="795"/>
                </a:lnTo>
                <a:lnTo>
                  <a:pt x="474" y="794"/>
                </a:lnTo>
                <a:lnTo>
                  <a:pt x="475" y="792"/>
                </a:lnTo>
                <a:lnTo>
                  <a:pt x="475" y="792"/>
                </a:lnTo>
                <a:lnTo>
                  <a:pt x="475" y="792"/>
                </a:lnTo>
                <a:lnTo>
                  <a:pt x="475" y="792"/>
                </a:lnTo>
                <a:lnTo>
                  <a:pt x="475" y="792"/>
                </a:lnTo>
                <a:lnTo>
                  <a:pt x="476" y="791"/>
                </a:lnTo>
                <a:lnTo>
                  <a:pt x="476" y="790"/>
                </a:lnTo>
                <a:lnTo>
                  <a:pt x="475" y="789"/>
                </a:lnTo>
                <a:lnTo>
                  <a:pt x="474" y="790"/>
                </a:lnTo>
                <a:lnTo>
                  <a:pt x="474" y="790"/>
                </a:lnTo>
                <a:lnTo>
                  <a:pt x="474" y="791"/>
                </a:lnTo>
                <a:lnTo>
                  <a:pt x="469" y="792"/>
                </a:lnTo>
                <a:lnTo>
                  <a:pt x="463" y="795"/>
                </a:lnTo>
                <a:lnTo>
                  <a:pt x="472" y="785"/>
                </a:lnTo>
                <a:lnTo>
                  <a:pt x="481" y="780"/>
                </a:lnTo>
                <a:lnTo>
                  <a:pt x="480" y="784"/>
                </a:lnTo>
                <a:lnTo>
                  <a:pt x="480" y="790"/>
                </a:lnTo>
                <a:close/>
                <a:moveTo>
                  <a:pt x="520" y="780"/>
                </a:moveTo>
                <a:lnTo>
                  <a:pt x="515" y="788"/>
                </a:lnTo>
                <a:lnTo>
                  <a:pt x="513" y="797"/>
                </a:lnTo>
                <a:lnTo>
                  <a:pt x="510" y="790"/>
                </a:lnTo>
                <a:lnTo>
                  <a:pt x="507" y="791"/>
                </a:lnTo>
                <a:lnTo>
                  <a:pt x="507" y="791"/>
                </a:lnTo>
                <a:lnTo>
                  <a:pt x="506" y="790"/>
                </a:lnTo>
                <a:lnTo>
                  <a:pt x="508" y="787"/>
                </a:lnTo>
                <a:lnTo>
                  <a:pt x="504" y="784"/>
                </a:lnTo>
                <a:lnTo>
                  <a:pt x="497" y="783"/>
                </a:lnTo>
                <a:lnTo>
                  <a:pt x="490" y="778"/>
                </a:lnTo>
                <a:lnTo>
                  <a:pt x="486" y="778"/>
                </a:lnTo>
                <a:lnTo>
                  <a:pt x="481" y="780"/>
                </a:lnTo>
                <a:lnTo>
                  <a:pt x="492" y="775"/>
                </a:lnTo>
                <a:lnTo>
                  <a:pt x="502" y="778"/>
                </a:lnTo>
                <a:lnTo>
                  <a:pt x="507" y="782"/>
                </a:lnTo>
                <a:lnTo>
                  <a:pt x="513" y="780"/>
                </a:lnTo>
                <a:lnTo>
                  <a:pt x="515" y="776"/>
                </a:lnTo>
                <a:lnTo>
                  <a:pt x="520" y="774"/>
                </a:lnTo>
                <a:lnTo>
                  <a:pt x="515" y="776"/>
                </a:lnTo>
                <a:lnTo>
                  <a:pt x="513" y="780"/>
                </a:lnTo>
                <a:lnTo>
                  <a:pt x="516" y="780"/>
                </a:lnTo>
                <a:lnTo>
                  <a:pt x="520" y="780"/>
                </a:lnTo>
                <a:close/>
                <a:moveTo>
                  <a:pt x="461" y="795"/>
                </a:moveTo>
                <a:lnTo>
                  <a:pt x="462" y="798"/>
                </a:lnTo>
                <a:lnTo>
                  <a:pt x="466" y="801"/>
                </a:lnTo>
                <a:lnTo>
                  <a:pt x="466" y="802"/>
                </a:lnTo>
                <a:lnTo>
                  <a:pt x="466" y="804"/>
                </a:lnTo>
                <a:lnTo>
                  <a:pt x="460" y="802"/>
                </a:lnTo>
                <a:lnTo>
                  <a:pt x="456" y="812"/>
                </a:lnTo>
                <a:lnTo>
                  <a:pt x="455" y="804"/>
                </a:lnTo>
                <a:lnTo>
                  <a:pt x="454" y="798"/>
                </a:lnTo>
                <a:lnTo>
                  <a:pt x="454" y="798"/>
                </a:lnTo>
                <a:lnTo>
                  <a:pt x="455" y="794"/>
                </a:lnTo>
                <a:lnTo>
                  <a:pt x="461" y="795"/>
                </a:lnTo>
                <a:close/>
                <a:moveTo>
                  <a:pt x="460" y="845"/>
                </a:moveTo>
                <a:lnTo>
                  <a:pt x="460" y="845"/>
                </a:lnTo>
                <a:lnTo>
                  <a:pt x="462" y="845"/>
                </a:lnTo>
                <a:lnTo>
                  <a:pt x="463" y="844"/>
                </a:lnTo>
                <a:lnTo>
                  <a:pt x="467" y="843"/>
                </a:lnTo>
                <a:lnTo>
                  <a:pt x="470" y="843"/>
                </a:lnTo>
                <a:lnTo>
                  <a:pt x="480" y="840"/>
                </a:lnTo>
                <a:lnTo>
                  <a:pt x="481" y="831"/>
                </a:lnTo>
                <a:lnTo>
                  <a:pt x="485" y="823"/>
                </a:lnTo>
                <a:lnTo>
                  <a:pt x="494" y="822"/>
                </a:lnTo>
                <a:lnTo>
                  <a:pt x="496" y="825"/>
                </a:lnTo>
                <a:lnTo>
                  <a:pt x="495" y="829"/>
                </a:lnTo>
                <a:lnTo>
                  <a:pt x="490" y="833"/>
                </a:lnTo>
                <a:lnTo>
                  <a:pt x="486" y="838"/>
                </a:lnTo>
                <a:lnTo>
                  <a:pt x="501" y="834"/>
                </a:lnTo>
                <a:lnTo>
                  <a:pt x="515" y="832"/>
                </a:lnTo>
                <a:lnTo>
                  <a:pt x="516" y="831"/>
                </a:lnTo>
                <a:lnTo>
                  <a:pt x="516" y="831"/>
                </a:lnTo>
                <a:lnTo>
                  <a:pt x="527" y="819"/>
                </a:lnTo>
                <a:lnTo>
                  <a:pt x="543" y="817"/>
                </a:lnTo>
                <a:lnTo>
                  <a:pt x="545" y="816"/>
                </a:lnTo>
                <a:lnTo>
                  <a:pt x="549" y="816"/>
                </a:lnTo>
                <a:lnTo>
                  <a:pt x="545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36" y="820"/>
                </a:lnTo>
                <a:lnTo>
                  <a:pt x="532" y="827"/>
                </a:lnTo>
                <a:lnTo>
                  <a:pt x="550" y="824"/>
                </a:lnTo>
                <a:lnTo>
                  <a:pt x="568" y="820"/>
                </a:lnTo>
                <a:lnTo>
                  <a:pt x="561" y="816"/>
                </a:lnTo>
                <a:lnTo>
                  <a:pt x="555" y="812"/>
                </a:lnTo>
                <a:lnTo>
                  <a:pt x="555" y="809"/>
                </a:lnTo>
                <a:lnTo>
                  <a:pt x="551" y="808"/>
                </a:lnTo>
                <a:lnTo>
                  <a:pt x="527" y="815"/>
                </a:lnTo>
                <a:lnTo>
                  <a:pt x="503" y="820"/>
                </a:lnTo>
                <a:lnTo>
                  <a:pt x="502" y="820"/>
                </a:lnTo>
                <a:lnTo>
                  <a:pt x="500" y="819"/>
                </a:lnTo>
                <a:lnTo>
                  <a:pt x="508" y="816"/>
                </a:lnTo>
                <a:lnTo>
                  <a:pt x="516" y="813"/>
                </a:lnTo>
                <a:lnTo>
                  <a:pt x="528" y="810"/>
                </a:lnTo>
                <a:lnTo>
                  <a:pt x="539" y="808"/>
                </a:lnTo>
                <a:lnTo>
                  <a:pt x="552" y="805"/>
                </a:lnTo>
                <a:lnTo>
                  <a:pt x="566" y="804"/>
                </a:lnTo>
                <a:lnTo>
                  <a:pt x="570" y="806"/>
                </a:lnTo>
                <a:lnTo>
                  <a:pt x="570" y="811"/>
                </a:lnTo>
                <a:lnTo>
                  <a:pt x="570" y="815"/>
                </a:lnTo>
                <a:lnTo>
                  <a:pt x="573" y="817"/>
                </a:lnTo>
                <a:lnTo>
                  <a:pt x="578" y="815"/>
                </a:lnTo>
                <a:lnTo>
                  <a:pt x="578" y="810"/>
                </a:lnTo>
                <a:lnTo>
                  <a:pt x="582" y="801"/>
                </a:lnTo>
                <a:lnTo>
                  <a:pt x="591" y="797"/>
                </a:lnTo>
                <a:lnTo>
                  <a:pt x="592" y="797"/>
                </a:lnTo>
                <a:lnTo>
                  <a:pt x="593" y="799"/>
                </a:lnTo>
                <a:lnTo>
                  <a:pt x="593" y="802"/>
                </a:lnTo>
                <a:lnTo>
                  <a:pt x="592" y="805"/>
                </a:lnTo>
                <a:lnTo>
                  <a:pt x="590" y="809"/>
                </a:lnTo>
                <a:lnTo>
                  <a:pt x="586" y="812"/>
                </a:lnTo>
                <a:lnTo>
                  <a:pt x="591" y="812"/>
                </a:lnTo>
                <a:lnTo>
                  <a:pt x="596" y="812"/>
                </a:lnTo>
                <a:lnTo>
                  <a:pt x="601" y="804"/>
                </a:lnTo>
                <a:lnTo>
                  <a:pt x="608" y="799"/>
                </a:lnTo>
                <a:lnTo>
                  <a:pt x="601" y="804"/>
                </a:lnTo>
                <a:lnTo>
                  <a:pt x="596" y="812"/>
                </a:lnTo>
                <a:lnTo>
                  <a:pt x="610" y="809"/>
                </a:lnTo>
                <a:lnTo>
                  <a:pt x="619" y="797"/>
                </a:lnTo>
                <a:lnTo>
                  <a:pt x="626" y="795"/>
                </a:lnTo>
                <a:lnTo>
                  <a:pt x="633" y="795"/>
                </a:lnTo>
                <a:lnTo>
                  <a:pt x="633" y="795"/>
                </a:lnTo>
                <a:lnTo>
                  <a:pt x="631" y="801"/>
                </a:lnTo>
                <a:lnTo>
                  <a:pt x="627" y="805"/>
                </a:lnTo>
                <a:lnTo>
                  <a:pt x="645" y="801"/>
                </a:lnTo>
                <a:lnTo>
                  <a:pt x="661" y="797"/>
                </a:lnTo>
                <a:lnTo>
                  <a:pt x="663" y="796"/>
                </a:lnTo>
                <a:lnTo>
                  <a:pt x="663" y="795"/>
                </a:lnTo>
                <a:lnTo>
                  <a:pt x="662" y="792"/>
                </a:lnTo>
                <a:lnTo>
                  <a:pt x="661" y="792"/>
                </a:lnTo>
                <a:lnTo>
                  <a:pt x="654" y="789"/>
                </a:lnTo>
                <a:lnTo>
                  <a:pt x="655" y="782"/>
                </a:lnTo>
                <a:lnTo>
                  <a:pt x="658" y="782"/>
                </a:lnTo>
                <a:lnTo>
                  <a:pt x="659" y="781"/>
                </a:lnTo>
                <a:lnTo>
                  <a:pt x="667" y="781"/>
                </a:lnTo>
                <a:lnTo>
                  <a:pt x="668" y="788"/>
                </a:lnTo>
                <a:lnTo>
                  <a:pt x="668" y="792"/>
                </a:lnTo>
                <a:lnTo>
                  <a:pt x="672" y="792"/>
                </a:lnTo>
                <a:lnTo>
                  <a:pt x="676" y="791"/>
                </a:lnTo>
                <a:lnTo>
                  <a:pt x="677" y="787"/>
                </a:lnTo>
                <a:lnTo>
                  <a:pt x="677" y="778"/>
                </a:lnTo>
                <a:lnTo>
                  <a:pt x="686" y="775"/>
                </a:lnTo>
                <a:lnTo>
                  <a:pt x="688" y="775"/>
                </a:lnTo>
                <a:lnTo>
                  <a:pt x="692" y="776"/>
                </a:lnTo>
                <a:lnTo>
                  <a:pt x="692" y="780"/>
                </a:lnTo>
                <a:lnTo>
                  <a:pt x="690" y="782"/>
                </a:lnTo>
                <a:lnTo>
                  <a:pt x="687" y="785"/>
                </a:lnTo>
                <a:lnTo>
                  <a:pt x="683" y="789"/>
                </a:lnTo>
                <a:lnTo>
                  <a:pt x="690" y="789"/>
                </a:lnTo>
                <a:lnTo>
                  <a:pt x="696" y="787"/>
                </a:lnTo>
                <a:lnTo>
                  <a:pt x="696" y="782"/>
                </a:lnTo>
                <a:lnTo>
                  <a:pt x="699" y="778"/>
                </a:lnTo>
                <a:lnTo>
                  <a:pt x="696" y="782"/>
                </a:lnTo>
                <a:lnTo>
                  <a:pt x="696" y="787"/>
                </a:lnTo>
                <a:lnTo>
                  <a:pt x="704" y="787"/>
                </a:lnTo>
                <a:lnTo>
                  <a:pt x="714" y="784"/>
                </a:lnTo>
                <a:lnTo>
                  <a:pt x="716" y="784"/>
                </a:lnTo>
                <a:lnTo>
                  <a:pt x="716" y="783"/>
                </a:lnTo>
                <a:lnTo>
                  <a:pt x="717" y="777"/>
                </a:lnTo>
                <a:lnTo>
                  <a:pt x="720" y="771"/>
                </a:lnTo>
                <a:lnTo>
                  <a:pt x="728" y="770"/>
                </a:lnTo>
                <a:lnTo>
                  <a:pt x="735" y="769"/>
                </a:lnTo>
                <a:lnTo>
                  <a:pt x="743" y="766"/>
                </a:lnTo>
                <a:lnTo>
                  <a:pt x="752" y="764"/>
                </a:lnTo>
                <a:lnTo>
                  <a:pt x="751" y="762"/>
                </a:lnTo>
                <a:lnTo>
                  <a:pt x="751" y="760"/>
                </a:lnTo>
                <a:lnTo>
                  <a:pt x="731" y="764"/>
                </a:lnTo>
                <a:lnTo>
                  <a:pt x="710" y="770"/>
                </a:lnTo>
                <a:lnTo>
                  <a:pt x="731" y="764"/>
                </a:lnTo>
                <a:lnTo>
                  <a:pt x="751" y="760"/>
                </a:lnTo>
                <a:lnTo>
                  <a:pt x="753" y="759"/>
                </a:lnTo>
                <a:lnTo>
                  <a:pt x="756" y="756"/>
                </a:lnTo>
                <a:lnTo>
                  <a:pt x="756" y="756"/>
                </a:lnTo>
                <a:lnTo>
                  <a:pt x="766" y="757"/>
                </a:lnTo>
                <a:lnTo>
                  <a:pt x="768" y="769"/>
                </a:lnTo>
                <a:lnTo>
                  <a:pt x="760" y="769"/>
                </a:lnTo>
                <a:lnTo>
                  <a:pt x="753" y="766"/>
                </a:lnTo>
                <a:lnTo>
                  <a:pt x="752" y="766"/>
                </a:lnTo>
                <a:lnTo>
                  <a:pt x="752" y="764"/>
                </a:lnTo>
                <a:lnTo>
                  <a:pt x="743" y="766"/>
                </a:lnTo>
                <a:lnTo>
                  <a:pt x="735" y="769"/>
                </a:lnTo>
                <a:lnTo>
                  <a:pt x="731" y="775"/>
                </a:lnTo>
                <a:lnTo>
                  <a:pt x="728" y="781"/>
                </a:lnTo>
                <a:lnTo>
                  <a:pt x="743" y="777"/>
                </a:lnTo>
                <a:lnTo>
                  <a:pt x="757" y="771"/>
                </a:lnTo>
                <a:lnTo>
                  <a:pt x="763" y="771"/>
                </a:lnTo>
                <a:lnTo>
                  <a:pt x="768" y="770"/>
                </a:lnTo>
                <a:lnTo>
                  <a:pt x="776" y="768"/>
                </a:lnTo>
                <a:lnTo>
                  <a:pt x="777" y="759"/>
                </a:lnTo>
                <a:lnTo>
                  <a:pt x="780" y="752"/>
                </a:lnTo>
                <a:lnTo>
                  <a:pt x="789" y="749"/>
                </a:lnTo>
                <a:lnTo>
                  <a:pt x="791" y="753"/>
                </a:lnTo>
                <a:lnTo>
                  <a:pt x="790" y="756"/>
                </a:lnTo>
                <a:lnTo>
                  <a:pt x="786" y="760"/>
                </a:lnTo>
                <a:lnTo>
                  <a:pt x="783" y="764"/>
                </a:lnTo>
                <a:lnTo>
                  <a:pt x="790" y="764"/>
                </a:lnTo>
                <a:lnTo>
                  <a:pt x="794" y="762"/>
                </a:lnTo>
                <a:lnTo>
                  <a:pt x="797" y="759"/>
                </a:lnTo>
                <a:lnTo>
                  <a:pt x="798" y="754"/>
                </a:lnTo>
                <a:lnTo>
                  <a:pt x="797" y="759"/>
                </a:lnTo>
                <a:lnTo>
                  <a:pt x="794" y="762"/>
                </a:lnTo>
                <a:lnTo>
                  <a:pt x="810" y="760"/>
                </a:lnTo>
                <a:lnTo>
                  <a:pt x="819" y="748"/>
                </a:lnTo>
                <a:lnTo>
                  <a:pt x="827" y="746"/>
                </a:lnTo>
                <a:lnTo>
                  <a:pt x="835" y="745"/>
                </a:lnTo>
                <a:lnTo>
                  <a:pt x="837" y="742"/>
                </a:lnTo>
                <a:lnTo>
                  <a:pt x="838" y="741"/>
                </a:lnTo>
                <a:lnTo>
                  <a:pt x="837" y="742"/>
                </a:lnTo>
                <a:lnTo>
                  <a:pt x="835" y="745"/>
                </a:lnTo>
                <a:lnTo>
                  <a:pt x="834" y="746"/>
                </a:lnTo>
                <a:lnTo>
                  <a:pt x="833" y="748"/>
                </a:lnTo>
                <a:lnTo>
                  <a:pt x="829" y="750"/>
                </a:lnTo>
                <a:lnTo>
                  <a:pt x="828" y="754"/>
                </a:lnTo>
                <a:lnTo>
                  <a:pt x="832" y="755"/>
                </a:lnTo>
                <a:lnTo>
                  <a:pt x="835" y="754"/>
                </a:lnTo>
                <a:lnTo>
                  <a:pt x="851" y="749"/>
                </a:lnTo>
                <a:lnTo>
                  <a:pt x="865" y="745"/>
                </a:lnTo>
                <a:lnTo>
                  <a:pt x="859" y="742"/>
                </a:lnTo>
                <a:lnTo>
                  <a:pt x="854" y="738"/>
                </a:lnTo>
                <a:lnTo>
                  <a:pt x="855" y="734"/>
                </a:lnTo>
                <a:lnTo>
                  <a:pt x="859" y="731"/>
                </a:lnTo>
                <a:lnTo>
                  <a:pt x="866" y="732"/>
                </a:lnTo>
                <a:lnTo>
                  <a:pt x="868" y="739"/>
                </a:lnTo>
                <a:lnTo>
                  <a:pt x="868" y="742"/>
                </a:lnTo>
                <a:lnTo>
                  <a:pt x="870" y="743"/>
                </a:lnTo>
                <a:lnTo>
                  <a:pt x="875" y="742"/>
                </a:lnTo>
                <a:lnTo>
                  <a:pt x="876" y="738"/>
                </a:lnTo>
                <a:lnTo>
                  <a:pt x="877" y="729"/>
                </a:lnTo>
                <a:lnTo>
                  <a:pt x="884" y="726"/>
                </a:lnTo>
                <a:lnTo>
                  <a:pt x="887" y="725"/>
                </a:lnTo>
                <a:lnTo>
                  <a:pt x="888" y="725"/>
                </a:lnTo>
                <a:lnTo>
                  <a:pt x="888" y="725"/>
                </a:lnTo>
                <a:lnTo>
                  <a:pt x="890" y="725"/>
                </a:lnTo>
                <a:lnTo>
                  <a:pt x="891" y="725"/>
                </a:lnTo>
                <a:lnTo>
                  <a:pt x="888" y="734"/>
                </a:lnTo>
                <a:lnTo>
                  <a:pt x="882" y="741"/>
                </a:lnTo>
                <a:lnTo>
                  <a:pt x="890" y="740"/>
                </a:lnTo>
                <a:lnTo>
                  <a:pt x="897" y="739"/>
                </a:lnTo>
                <a:lnTo>
                  <a:pt x="908" y="735"/>
                </a:lnTo>
                <a:lnTo>
                  <a:pt x="915" y="726"/>
                </a:lnTo>
                <a:lnTo>
                  <a:pt x="915" y="726"/>
                </a:lnTo>
                <a:lnTo>
                  <a:pt x="923" y="722"/>
                </a:lnTo>
                <a:lnTo>
                  <a:pt x="930" y="720"/>
                </a:lnTo>
                <a:lnTo>
                  <a:pt x="932" y="721"/>
                </a:lnTo>
                <a:lnTo>
                  <a:pt x="932" y="724"/>
                </a:lnTo>
                <a:lnTo>
                  <a:pt x="929" y="727"/>
                </a:lnTo>
                <a:lnTo>
                  <a:pt x="925" y="731"/>
                </a:lnTo>
                <a:lnTo>
                  <a:pt x="941" y="727"/>
                </a:lnTo>
                <a:lnTo>
                  <a:pt x="949" y="715"/>
                </a:lnTo>
                <a:lnTo>
                  <a:pt x="950" y="714"/>
                </a:lnTo>
                <a:lnTo>
                  <a:pt x="951" y="713"/>
                </a:lnTo>
                <a:lnTo>
                  <a:pt x="953" y="714"/>
                </a:lnTo>
                <a:lnTo>
                  <a:pt x="955" y="715"/>
                </a:lnTo>
                <a:lnTo>
                  <a:pt x="945" y="727"/>
                </a:lnTo>
                <a:lnTo>
                  <a:pt x="932" y="733"/>
                </a:lnTo>
                <a:lnTo>
                  <a:pt x="897" y="742"/>
                </a:lnTo>
                <a:lnTo>
                  <a:pt x="862" y="750"/>
                </a:lnTo>
                <a:lnTo>
                  <a:pt x="818" y="761"/>
                </a:lnTo>
                <a:lnTo>
                  <a:pt x="773" y="771"/>
                </a:lnTo>
                <a:lnTo>
                  <a:pt x="732" y="782"/>
                </a:lnTo>
                <a:lnTo>
                  <a:pt x="692" y="792"/>
                </a:lnTo>
                <a:lnTo>
                  <a:pt x="661" y="799"/>
                </a:lnTo>
                <a:lnTo>
                  <a:pt x="631" y="808"/>
                </a:lnTo>
                <a:lnTo>
                  <a:pt x="587" y="818"/>
                </a:lnTo>
                <a:lnTo>
                  <a:pt x="544" y="829"/>
                </a:lnTo>
                <a:lnTo>
                  <a:pt x="503" y="838"/>
                </a:lnTo>
                <a:lnTo>
                  <a:pt x="462" y="848"/>
                </a:lnTo>
                <a:lnTo>
                  <a:pt x="462" y="848"/>
                </a:lnTo>
                <a:lnTo>
                  <a:pt x="460" y="847"/>
                </a:lnTo>
                <a:lnTo>
                  <a:pt x="460" y="845"/>
                </a:lnTo>
                <a:close/>
                <a:moveTo>
                  <a:pt x="962" y="934"/>
                </a:moveTo>
                <a:lnTo>
                  <a:pt x="962" y="935"/>
                </a:lnTo>
                <a:lnTo>
                  <a:pt x="962" y="935"/>
                </a:lnTo>
                <a:lnTo>
                  <a:pt x="962" y="935"/>
                </a:lnTo>
                <a:lnTo>
                  <a:pt x="958" y="937"/>
                </a:lnTo>
                <a:lnTo>
                  <a:pt x="956" y="939"/>
                </a:lnTo>
                <a:lnTo>
                  <a:pt x="958" y="937"/>
                </a:lnTo>
                <a:lnTo>
                  <a:pt x="962" y="935"/>
                </a:lnTo>
                <a:lnTo>
                  <a:pt x="962" y="935"/>
                </a:lnTo>
                <a:lnTo>
                  <a:pt x="962" y="934"/>
                </a:lnTo>
                <a:close/>
                <a:moveTo>
                  <a:pt x="993" y="854"/>
                </a:moveTo>
                <a:lnTo>
                  <a:pt x="994" y="853"/>
                </a:lnTo>
                <a:lnTo>
                  <a:pt x="994" y="853"/>
                </a:lnTo>
                <a:lnTo>
                  <a:pt x="994" y="853"/>
                </a:lnTo>
                <a:lnTo>
                  <a:pt x="993" y="854"/>
                </a:lnTo>
                <a:close/>
                <a:moveTo>
                  <a:pt x="994" y="917"/>
                </a:moveTo>
                <a:lnTo>
                  <a:pt x="994" y="918"/>
                </a:lnTo>
                <a:lnTo>
                  <a:pt x="993" y="918"/>
                </a:lnTo>
                <a:lnTo>
                  <a:pt x="992" y="920"/>
                </a:lnTo>
                <a:lnTo>
                  <a:pt x="991" y="920"/>
                </a:lnTo>
                <a:lnTo>
                  <a:pt x="971" y="915"/>
                </a:lnTo>
                <a:lnTo>
                  <a:pt x="951" y="916"/>
                </a:lnTo>
                <a:lnTo>
                  <a:pt x="953" y="910"/>
                </a:lnTo>
                <a:lnTo>
                  <a:pt x="955" y="903"/>
                </a:lnTo>
                <a:lnTo>
                  <a:pt x="955" y="901"/>
                </a:lnTo>
                <a:lnTo>
                  <a:pt x="955" y="897"/>
                </a:lnTo>
                <a:lnTo>
                  <a:pt x="955" y="901"/>
                </a:lnTo>
                <a:lnTo>
                  <a:pt x="955" y="903"/>
                </a:lnTo>
                <a:lnTo>
                  <a:pt x="958" y="902"/>
                </a:lnTo>
                <a:lnTo>
                  <a:pt x="960" y="899"/>
                </a:lnTo>
                <a:lnTo>
                  <a:pt x="965" y="903"/>
                </a:lnTo>
                <a:lnTo>
                  <a:pt x="971" y="901"/>
                </a:lnTo>
                <a:lnTo>
                  <a:pt x="974" y="899"/>
                </a:lnTo>
                <a:lnTo>
                  <a:pt x="976" y="896"/>
                </a:lnTo>
                <a:lnTo>
                  <a:pt x="973" y="894"/>
                </a:lnTo>
                <a:lnTo>
                  <a:pt x="970" y="894"/>
                </a:lnTo>
                <a:lnTo>
                  <a:pt x="967" y="894"/>
                </a:lnTo>
                <a:lnTo>
                  <a:pt x="966" y="895"/>
                </a:lnTo>
                <a:lnTo>
                  <a:pt x="962" y="893"/>
                </a:lnTo>
                <a:lnTo>
                  <a:pt x="960" y="889"/>
                </a:lnTo>
                <a:lnTo>
                  <a:pt x="957" y="893"/>
                </a:lnTo>
                <a:lnTo>
                  <a:pt x="955" y="897"/>
                </a:lnTo>
                <a:lnTo>
                  <a:pt x="953" y="892"/>
                </a:lnTo>
                <a:lnTo>
                  <a:pt x="955" y="887"/>
                </a:lnTo>
                <a:lnTo>
                  <a:pt x="953" y="883"/>
                </a:lnTo>
                <a:lnTo>
                  <a:pt x="953" y="881"/>
                </a:lnTo>
                <a:lnTo>
                  <a:pt x="953" y="883"/>
                </a:lnTo>
                <a:lnTo>
                  <a:pt x="955" y="887"/>
                </a:lnTo>
                <a:lnTo>
                  <a:pt x="957" y="886"/>
                </a:lnTo>
                <a:lnTo>
                  <a:pt x="960" y="886"/>
                </a:lnTo>
                <a:lnTo>
                  <a:pt x="971" y="885"/>
                </a:lnTo>
                <a:lnTo>
                  <a:pt x="977" y="876"/>
                </a:lnTo>
                <a:lnTo>
                  <a:pt x="978" y="878"/>
                </a:lnTo>
                <a:lnTo>
                  <a:pt x="980" y="878"/>
                </a:lnTo>
                <a:lnTo>
                  <a:pt x="986" y="879"/>
                </a:lnTo>
                <a:lnTo>
                  <a:pt x="987" y="886"/>
                </a:lnTo>
                <a:lnTo>
                  <a:pt x="984" y="888"/>
                </a:lnTo>
                <a:lnTo>
                  <a:pt x="979" y="886"/>
                </a:lnTo>
                <a:lnTo>
                  <a:pt x="977" y="887"/>
                </a:lnTo>
                <a:lnTo>
                  <a:pt x="976" y="887"/>
                </a:lnTo>
                <a:lnTo>
                  <a:pt x="976" y="889"/>
                </a:lnTo>
                <a:lnTo>
                  <a:pt x="976" y="890"/>
                </a:lnTo>
                <a:lnTo>
                  <a:pt x="978" y="894"/>
                </a:lnTo>
                <a:lnTo>
                  <a:pt x="980" y="895"/>
                </a:lnTo>
                <a:lnTo>
                  <a:pt x="987" y="899"/>
                </a:lnTo>
                <a:lnTo>
                  <a:pt x="991" y="906"/>
                </a:lnTo>
                <a:lnTo>
                  <a:pt x="987" y="908"/>
                </a:lnTo>
                <a:lnTo>
                  <a:pt x="984" y="907"/>
                </a:lnTo>
                <a:lnTo>
                  <a:pt x="973" y="903"/>
                </a:lnTo>
                <a:lnTo>
                  <a:pt x="963" y="906"/>
                </a:lnTo>
                <a:lnTo>
                  <a:pt x="959" y="907"/>
                </a:lnTo>
                <a:lnTo>
                  <a:pt x="958" y="910"/>
                </a:lnTo>
                <a:lnTo>
                  <a:pt x="962" y="913"/>
                </a:lnTo>
                <a:lnTo>
                  <a:pt x="965" y="911"/>
                </a:lnTo>
                <a:lnTo>
                  <a:pt x="979" y="910"/>
                </a:lnTo>
                <a:lnTo>
                  <a:pt x="993" y="915"/>
                </a:lnTo>
                <a:lnTo>
                  <a:pt x="994" y="916"/>
                </a:lnTo>
                <a:lnTo>
                  <a:pt x="994" y="917"/>
                </a:lnTo>
                <a:close/>
                <a:moveTo>
                  <a:pt x="1018" y="881"/>
                </a:moveTo>
                <a:lnTo>
                  <a:pt x="1017" y="881"/>
                </a:lnTo>
                <a:lnTo>
                  <a:pt x="1015" y="882"/>
                </a:lnTo>
                <a:lnTo>
                  <a:pt x="1017" y="881"/>
                </a:lnTo>
                <a:lnTo>
                  <a:pt x="1018" y="881"/>
                </a:lnTo>
                <a:close/>
                <a:moveTo>
                  <a:pt x="1022" y="784"/>
                </a:moveTo>
                <a:lnTo>
                  <a:pt x="1022" y="795"/>
                </a:lnTo>
                <a:lnTo>
                  <a:pt x="1022" y="805"/>
                </a:lnTo>
                <a:lnTo>
                  <a:pt x="1022" y="795"/>
                </a:lnTo>
                <a:lnTo>
                  <a:pt x="1022" y="784"/>
                </a:lnTo>
                <a:close/>
                <a:moveTo>
                  <a:pt x="1026" y="1015"/>
                </a:moveTo>
                <a:lnTo>
                  <a:pt x="1026" y="1014"/>
                </a:lnTo>
                <a:lnTo>
                  <a:pt x="1025" y="1013"/>
                </a:lnTo>
                <a:lnTo>
                  <a:pt x="1026" y="1014"/>
                </a:lnTo>
                <a:lnTo>
                  <a:pt x="1026" y="1015"/>
                </a:lnTo>
                <a:close/>
                <a:moveTo>
                  <a:pt x="1010" y="531"/>
                </a:moveTo>
                <a:lnTo>
                  <a:pt x="1005" y="531"/>
                </a:lnTo>
                <a:lnTo>
                  <a:pt x="1001" y="531"/>
                </a:lnTo>
                <a:lnTo>
                  <a:pt x="1005" y="531"/>
                </a:lnTo>
                <a:lnTo>
                  <a:pt x="1010" y="531"/>
                </a:lnTo>
                <a:lnTo>
                  <a:pt x="1015" y="528"/>
                </a:lnTo>
                <a:lnTo>
                  <a:pt x="1022" y="528"/>
                </a:lnTo>
                <a:lnTo>
                  <a:pt x="1024" y="530"/>
                </a:lnTo>
                <a:lnTo>
                  <a:pt x="1026" y="533"/>
                </a:lnTo>
                <a:lnTo>
                  <a:pt x="1018" y="535"/>
                </a:lnTo>
                <a:lnTo>
                  <a:pt x="1010" y="531"/>
                </a:lnTo>
                <a:close/>
                <a:moveTo>
                  <a:pt x="1027" y="616"/>
                </a:moveTo>
                <a:lnTo>
                  <a:pt x="1028" y="616"/>
                </a:lnTo>
                <a:lnTo>
                  <a:pt x="1028" y="616"/>
                </a:lnTo>
                <a:lnTo>
                  <a:pt x="1028" y="616"/>
                </a:lnTo>
                <a:lnTo>
                  <a:pt x="1027" y="616"/>
                </a:lnTo>
                <a:lnTo>
                  <a:pt x="1027" y="616"/>
                </a:lnTo>
                <a:lnTo>
                  <a:pt x="1027" y="615"/>
                </a:lnTo>
                <a:lnTo>
                  <a:pt x="1027" y="616"/>
                </a:lnTo>
                <a:lnTo>
                  <a:pt x="1027" y="616"/>
                </a:lnTo>
                <a:close/>
                <a:moveTo>
                  <a:pt x="1033" y="1245"/>
                </a:moveTo>
                <a:lnTo>
                  <a:pt x="1029" y="1242"/>
                </a:lnTo>
                <a:lnTo>
                  <a:pt x="1027" y="1238"/>
                </a:lnTo>
                <a:lnTo>
                  <a:pt x="1029" y="1242"/>
                </a:lnTo>
                <a:lnTo>
                  <a:pt x="1033" y="1245"/>
                </a:lnTo>
                <a:close/>
                <a:moveTo>
                  <a:pt x="1029" y="797"/>
                </a:moveTo>
                <a:lnTo>
                  <a:pt x="1031" y="801"/>
                </a:lnTo>
                <a:lnTo>
                  <a:pt x="1031" y="803"/>
                </a:lnTo>
                <a:lnTo>
                  <a:pt x="1031" y="801"/>
                </a:lnTo>
                <a:lnTo>
                  <a:pt x="1029" y="797"/>
                </a:lnTo>
                <a:lnTo>
                  <a:pt x="1029" y="797"/>
                </a:lnTo>
                <a:close/>
                <a:moveTo>
                  <a:pt x="1066" y="536"/>
                </a:moveTo>
                <a:lnTo>
                  <a:pt x="1066" y="536"/>
                </a:lnTo>
                <a:lnTo>
                  <a:pt x="1067" y="535"/>
                </a:lnTo>
                <a:lnTo>
                  <a:pt x="1066" y="536"/>
                </a:lnTo>
                <a:lnTo>
                  <a:pt x="1066" y="536"/>
                </a:lnTo>
                <a:lnTo>
                  <a:pt x="1066" y="536"/>
                </a:lnTo>
                <a:close/>
                <a:moveTo>
                  <a:pt x="1063" y="719"/>
                </a:moveTo>
                <a:lnTo>
                  <a:pt x="1061" y="718"/>
                </a:lnTo>
                <a:lnTo>
                  <a:pt x="1059" y="718"/>
                </a:lnTo>
                <a:lnTo>
                  <a:pt x="1061" y="718"/>
                </a:lnTo>
                <a:lnTo>
                  <a:pt x="1063" y="719"/>
                </a:lnTo>
                <a:close/>
                <a:moveTo>
                  <a:pt x="1053" y="894"/>
                </a:moveTo>
                <a:lnTo>
                  <a:pt x="1054" y="893"/>
                </a:lnTo>
                <a:lnTo>
                  <a:pt x="1054" y="892"/>
                </a:lnTo>
                <a:lnTo>
                  <a:pt x="1054" y="893"/>
                </a:lnTo>
                <a:lnTo>
                  <a:pt x="1053" y="894"/>
                </a:lnTo>
                <a:lnTo>
                  <a:pt x="1055" y="895"/>
                </a:lnTo>
                <a:lnTo>
                  <a:pt x="1056" y="896"/>
                </a:lnTo>
                <a:lnTo>
                  <a:pt x="1055" y="895"/>
                </a:lnTo>
                <a:lnTo>
                  <a:pt x="1053" y="894"/>
                </a:lnTo>
                <a:lnTo>
                  <a:pt x="1053" y="894"/>
                </a:lnTo>
                <a:close/>
                <a:moveTo>
                  <a:pt x="1054" y="890"/>
                </a:moveTo>
                <a:lnTo>
                  <a:pt x="1054" y="889"/>
                </a:lnTo>
                <a:lnTo>
                  <a:pt x="1054" y="889"/>
                </a:lnTo>
                <a:lnTo>
                  <a:pt x="1054" y="889"/>
                </a:lnTo>
                <a:lnTo>
                  <a:pt x="1054" y="890"/>
                </a:lnTo>
                <a:close/>
                <a:moveTo>
                  <a:pt x="1053" y="768"/>
                </a:moveTo>
                <a:lnTo>
                  <a:pt x="1054" y="763"/>
                </a:lnTo>
                <a:lnTo>
                  <a:pt x="1054" y="757"/>
                </a:lnTo>
                <a:lnTo>
                  <a:pt x="1054" y="763"/>
                </a:lnTo>
                <a:lnTo>
                  <a:pt x="1053" y="768"/>
                </a:lnTo>
                <a:close/>
                <a:moveTo>
                  <a:pt x="1053" y="894"/>
                </a:moveTo>
                <a:lnTo>
                  <a:pt x="1051" y="895"/>
                </a:lnTo>
                <a:lnTo>
                  <a:pt x="1049" y="896"/>
                </a:lnTo>
                <a:lnTo>
                  <a:pt x="1051" y="895"/>
                </a:lnTo>
                <a:lnTo>
                  <a:pt x="1053" y="894"/>
                </a:lnTo>
                <a:close/>
                <a:moveTo>
                  <a:pt x="1059" y="914"/>
                </a:moveTo>
                <a:lnTo>
                  <a:pt x="1058" y="915"/>
                </a:lnTo>
                <a:lnTo>
                  <a:pt x="1058" y="917"/>
                </a:lnTo>
                <a:lnTo>
                  <a:pt x="1058" y="915"/>
                </a:lnTo>
                <a:lnTo>
                  <a:pt x="1059" y="914"/>
                </a:lnTo>
                <a:close/>
                <a:moveTo>
                  <a:pt x="1048" y="592"/>
                </a:moveTo>
                <a:lnTo>
                  <a:pt x="1054" y="589"/>
                </a:lnTo>
                <a:lnTo>
                  <a:pt x="1059" y="587"/>
                </a:lnTo>
                <a:lnTo>
                  <a:pt x="1054" y="589"/>
                </a:lnTo>
                <a:lnTo>
                  <a:pt x="1048" y="592"/>
                </a:lnTo>
                <a:close/>
                <a:moveTo>
                  <a:pt x="1073" y="1398"/>
                </a:moveTo>
                <a:lnTo>
                  <a:pt x="1073" y="1399"/>
                </a:lnTo>
                <a:lnTo>
                  <a:pt x="1073" y="1402"/>
                </a:lnTo>
                <a:lnTo>
                  <a:pt x="1073" y="1399"/>
                </a:lnTo>
                <a:lnTo>
                  <a:pt x="1073" y="1398"/>
                </a:lnTo>
                <a:close/>
                <a:moveTo>
                  <a:pt x="1075" y="805"/>
                </a:moveTo>
                <a:lnTo>
                  <a:pt x="1075" y="805"/>
                </a:lnTo>
                <a:lnTo>
                  <a:pt x="1074" y="804"/>
                </a:lnTo>
                <a:lnTo>
                  <a:pt x="1075" y="805"/>
                </a:lnTo>
                <a:lnTo>
                  <a:pt x="1075" y="805"/>
                </a:lnTo>
                <a:close/>
                <a:moveTo>
                  <a:pt x="1056" y="530"/>
                </a:moveTo>
                <a:lnTo>
                  <a:pt x="1061" y="528"/>
                </a:lnTo>
                <a:lnTo>
                  <a:pt x="1063" y="522"/>
                </a:lnTo>
                <a:lnTo>
                  <a:pt x="1060" y="521"/>
                </a:lnTo>
                <a:lnTo>
                  <a:pt x="1058" y="517"/>
                </a:lnTo>
                <a:lnTo>
                  <a:pt x="1063" y="515"/>
                </a:lnTo>
                <a:lnTo>
                  <a:pt x="1069" y="514"/>
                </a:lnTo>
                <a:lnTo>
                  <a:pt x="1074" y="511"/>
                </a:lnTo>
                <a:lnTo>
                  <a:pt x="1079" y="510"/>
                </a:lnTo>
                <a:lnTo>
                  <a:pt x="1074" y="511"/>
                </a:lnTo>
                <a:lnTo>
                  <a:pt x="1069" y="514"/>
                </a:lnTo>
                <a:lnTo>
                  <a:pt x="1074" y="516"/>
                </a:lnTo>
                <a:lnTo>
                  <a:pt x="1074" y="519"/>
                </a:lnTo>
                <a:lnTo>
                  <a:pt x="1073" y="526"/>
                </a:lnTo>
                <a:lnTo>
                  <a:pt x="1073" y="532"/>
                </a:lnTo>
                <a:lnTo>
                  <a:pt x="1070" y="533"/>
                </a:lnTo>
                <a:lnTo>
                  <a:pt x="1067" y="535"/>
                </a:lnTo>
                <a:lnTo>
                  <a:pt x="1066" y="535"/>
                </a:lnTo>
                <a:lnTo>
                  <a:pt x="1065" y="536"/>
                </a:lnTo>
                <a:lnTo>
                  <a:pt x="1065" y="536"/>
                </a:lnTo>
                <a:lnTo>
                  <a:pt x="1063" y="536"/>
                </a:lnTo>
                <a:lnTo>
                  <a:pt x="1059" y="535"/>
                </a:lnTo>
                <a:lnTo>
                  <a:pt x="1056" y="530"/>
                </a:lnTo>
                <a:close/>
                <a:moveTo>
                  <a:pt x="1098" y="671"/>
                </a:moveTo>
                <a:lnTo>
                  <a:pt x="1098" y="670"/>
                </a:lnTo>
                <a:lnTo>
                  <a:pt x="1098" y="670"/>
                </a:lnTo>
                <a:lnTo>
                  <a:pt x="1098" y="670"/>
                </a:lnTo>
                <a:lnTo>
                  <a:pt x="1098" y="671"/>
                </a:lnTo>
                <a:close/>
                <a:moveTo>
                  <a:pt x="155" y="1635"/>
                </a:moveTo>
                <a:lnTo>
                  <a:pt x="155" y="1633"/>
                </a:lnTo>
                <a:lnTo>
                  <a:pt x="156" y="1630"/>
                </a:lnTo>
                <a:lnTo>
                  <a:pt x="155" y="1633"/>
                </a:lnTo>
                <a:lnTo>
                  <a:pt x="155" y="1635"/>
                </a:lnTo>
                <a:close/>
                <a:moveTo>
                  <a:pt x="154" y="936"/>
                </a:moveTo>
                <a:lnTo>
                  <a:pt x="155" y="936"/>
                </a:lnTo>
                <a:lnTo>
                  <a:pt x="155" y="937"/>
                </a:lnTo>
                <a:lnTo>
                  <a:pt x="155" y="936"/>
                </a:lnTo>
                <a:lnTo>
                  <a:pt x="154" y="936"/>
                </a:lnTo>
                <a:close/>
                <a:moveTo>
                  <a:pt x="150" y="958"/>
                </a:moveTo>
                <a:lnTo>
                  <a:pt x="152" y="958"/>
                </a:lnTo>
                <a:lnTo>
                  <a:pt x="154" y="958"/>
                </a:lnTo>
                <a:lnTo>
                  <a:pt x="152" y="958"/>
                </a:lnTo>
                <a:lnTo>
                  <a:pt x="150" y="958"/>
                </a:lnTo>
                <a:close/>
                <a:moveTo>
                  <a:pt x="152" y="1573"/>
                </a:moveTo>
                <a:lnTo>
                  <a:pt x="154" y="1577"/>
                </a:lnTo>
                <a:lnTo>
                  <a:pt x="154" y="1579"/>
                </a:lnTo>
                <a:lnTo>
                  <a:pt x="154" y="1577"/>
                </a:lnTo>
                <a:lnTo>
                  <a:pt x="152" y="1573"/>
                </a:lnTo>
                <a:close/>
                <a:moveTo>
                  <a:pt x="150" y="1396"/>
                </a:moveTo>
                <a:lnTo>
                  <a:pt x="150" y="1396"/>
                </a:lnTo>
                <a:lnTo>
                  <a:pt x="151" y="1396"/>
                </a:lnTo>
                <a:lnTo>
                  <a:pt x="151" y="1396"/>
                </a:lnTo>
                <a:lnTo>
                  <a:pt x="152" y="1397"/>
                </a:lnTo>
                <a:lnTo>
                  <a:pt x="151" y="1396"/>
                </a:lnTo>
                <a:lnTo>
                  <a:pt x="151" y="1396"/>
                </a:lnTo>
                <a:lnTo>
                  <a:pt x="150" y="1396"/>
                </a:lnTo>
                <a:lnTo>
                  <a:pt x="150" y="1396"/>
                </a:lnTo>
                <a:close/>
                <a:moveTo>
                  <a:pt x="141" y="1592"/>
                </a:moveTo>
                <a:lnTo>
                  <a:pt x="136" y="1592"/>
                </a:lnTo>
                <a:lnTo>
                  <a:pt x="134" y="1589"/>
                </a:lnTo>
                <a:lnTo>
                  <a:pt x="136" y="1592"/>
                </a:lnTo>
                <a:lnTo>
                  <a:pt x="141" y="1592"/>
                </a:lnTo>
                <a:lnTo>
                  <a:pt x="148" y="1591"/>
                </a:lnTo>
                <a:lnTo>
                  <a:pt x="152" y="1586"/>
                </a:lnTo>
                <a:lnTo>
                  <a:pt x="148" y="1591"/>
                </a:lnTo>
                <a:lnTo>
                  <a:pt x="141" y="1592"/>
                </a:lnTo>
                <a:close/>
                <a:moveTo>
                  <a:pt x="136" y="1395"/>
                </a:moveTo>
                <a:lnTo>
                  <a:pt x="135" y="1396"/>
                </a:lnTo>
                <a:lnTo>
                  <a:pt x="135" y="1397"/>
                </a:lnTo>
                <a:lnTo>
                  <a:pt x="135" y="1396"/>
                </a:lnTo>
                <a:lnTo>
                  <a:pt x="136" y="1395"/>
                </a:lnTo>
                <a:close/>
                <a:moveTo>
                  <a:pt x="140" y="1433"/>
                </a:moveTo>
                <a:lnTo>
                  <a:pt x="138" y="1433"/>
                </a:lnTo>
                <a:lnTo>
                  <a:pt x="137" y="1433"/>
                </a:lnTo>
                <a:lnTo>
                  <a:pt x="138" y="1433"/>
                </a:lnTo>
                <a:lnTo>
                  <a:pt x="140" y="1433"/>
                </a:lnTo>
                <a:close/>
                <a:moveTo>
                  <a:pt x="142" y="1341"/>
                </a:moveTo>
                <a:lnTo>
                  <a:pt x="141" y="1342"/>
                </a:lnTo>
                <a:lnTo>
                  <a:pt x="140" y="1342"/>
                </a:lnTo>
                <a:lnTo>
                  <a:pt x="141" y="1342"/>
                </a:lnTo>
                <a:lnTo>
                  <a:pt x="142" y="1341"/>
                </a:lnTo>
                <a:close/>
                <a:moveTo>
                  <a:pt x="137" y="928"/>
                </a:moveTo>
                <a:lnTo>
                  <a:pt x="143" y="925"/>
                </a:lnTo>
                <a:lnTo>
                  <a:pt x="148" y="924"/>
                </a:lnTo>
                <a:lnTo>
                  <a:pt x="143" y="925"/>
                </a:lnTo>
                <a:lnTo>
                  <a:pt x="137" y="928"/>
                </a:lnTo>
                <a:close/>
                <a:moveTo>
                  <a:pt x="147" y="1267"/>
                </a:moveTo>
                <a:lnTo>
                  <a:pt x="147" y="1269"/>
                </a:lnTo>
                <a:lnTo>
                  <a:pt x="147" y="1271"/>
                </a:lnTo>
                <a:lnTo>
                  <a:pt x="147" y="1269"/>
                </a:lnTo>
                <a:lnTo>
                  <a:pt x="147" y="1267"/>
                </a:lnTo>
                <a:close/>
                <a:moveTo>
                  <a:pt x="149" y="958"/>
                </a:moveTo>
                <a:lnTo>
                  <a:pt x="148" y="956"/>
                </a:lnTo>
                <a:lnTo>
                  <a:pt x="147" y="955"/>
                </a:lnTo>
                <a:lnTo>
                  <a:pt x="148" y="956"/>
                </a:lnTo>
                <a:lnTo>
                  <a:pt x="149" y="958"/>
                </a:lnTo>
                <a:close/>
                <a:moveTo>
                  <a:pt x="152" y="946"/>
                </a:moveTo>
                <a:lnTo>
                  <a:pt x="151" y="948"/>
                </a:lnTo>
                <a:lnTo>
                  <a:pt x="150" y="948"/>
                </a:lnTo>
                <a:lnTo>
                  <a:pt x="151" y="948"/>
                </a:lnTo>
                <a:lnTo>
                  <a:pt x="152" y="946"/>
                </a:lnTo>
                <a:close/>
                <a:moveTo>
                  <a:pt x="127" y="1147"/>
                </a:moveTo>
                <a:lnTo>
                  <a:pt x="127" y="1149"/>
                </a:lnTo>
                <a:lnTo>
                  <a:pt x="126" y="1152"/>
                </a:lnTo>
                <a:lnTo>
                  <a:pt x="127" y="1149"/>
                </a:lnTo>
                <a:lnTo>
                  <a:pt x="127" y="1147"/>
                </a:lnTo>
                <a:lnTo>
                  <a:pt x="127" y="1147"/>
                </a:lnTo>
                <a:close/>
                <a:moveTo>
                  <a:pt x="80" y="1425"/>
                </a:moveTo>
                <a:lnTo>
                  <a:pt x="81" y="1426"/>
                </a:lnTo>
                <a:lnTo>
                  <a:pt x="83" y="1426"/>
                </a:lnTo>
                <a:lnTo>
                  <a:pt x="81" y="1426"/>
                </a:lnTo>
                <a:lnTo>
                  <a:pt x="80" y="1425"/>
                </a:lnTo>
                <a:lnTo>
                  <a:pt x="102" y="1419"/>
                </a:lnTo>
                <a:lnTo>
                  <a:pt x="124" y="1413"/>
                </a:lnTo>
                <a:lnTo>
                  <a:pt x="102" y="1419"/>
                </a:lnTo>
                <a:lnTo>
                  <a:pt x="80" y="1425"/>
                </a:lnTo>
                <a:close/>
                <a:moveTo>
                  <a:pt x="122" y="1452"/>
                </a:moveTo>
                <a:lnTo>
                  <a:pt x="123" y="1452"/>
                </a:lnTo>
                <a:lnTo>
                  <a:pt x="124" y="1452"/>
                </a:lnTo>
                <a:lnTo>
                  <a:pt x="123" y="1452"/>
                </a:lnTo>
                <a:lnTo>
                  <a:pt x="122" y="1452"/>
                </a:lnTo>
                <a:close/>
                <a:moveTo>
                  <a:pt x="123" y="1615"/>
                </a:moveTo>
                <a:lnTo>
                  <a:pt x="122" y="1615"/>
                </a:lnTo>
                <a:lnTo>
                  <a:pt x="122" y="1614"/>
                </a:lnTo>
                <a:lnTo>
                  <a:pt x="122" y="1615"/>
                </a:lnTo>
                <a:lnTo>
                  <a:pt x="123" y="1615"/>
                </a:lnTo>
                <a:close/>
                <a:moveTo>
                  <a:pt x="99" y="1448"/>
                </a:moveTo>
                <a:lnTo>
                  <a:pt x="101" y="1455"/>
                </a:lnTo>
                <a:lnTo>
                  <a:pt x="107" y="1459"/>
                </a:lnTo>
                <a:lnTo>
                  <a:pt x="101" y="1455"/>
                </a:lnTo>
                <a:lnTo>
                  <a:pt x="99" y="1448"/>
                </a:lnTo>
                <a:close/>
                <a:moveTo>
                  <a:pt x="81" y="1565"/>
                </a:moveTo>
                <a:lnTo>
                  <a:pt x="78" y="1565"/>
                </a:lnTo>
                <a:lnTo>
                  <a:pt x="74" y="1564"/>
                </a:lnTo>
                <a:lnTo>
                  <a:pt x="78" y="1565"/>
                </a:lnTo>
                <a:lnTo>
                  <a:pt x="81" y="1565"/>
                </a:lnTo>
                <a:lnTo>
                  <a:pt x="81" y="1565"/>
                </a:lnTo>
                <a:close/>
                <a:moveTo>
                  <a:pt x="67" y="1523"/>
                </a:moveTo>
                <a:lnTo>
                  <a:pt x="67" y="1522"/>
                </a:lnTo>
                <a:lnTo>
                  <a:pt x="66" y="1522"/>
                </a:lnTo>
                <a:lnTo>
                  <a:pt x="67" y="1522"/>
                </a:lnTo>
                <a:lnTo>
                  <a:pt x="67" y="1523"/>
                </a:lnTo>
                <a:close/>
                <a:moveTo>
                  <a:pt x="66" y="1498"/>
                </a:moveTo>
                <a:lnTo>
                  <a:pt x="65" y="1498"/>
                </a:lnTo>
                <a:lnTo>
                  <a:pt x="62" y="1498"/>
                </a:lnTo>
                <a:lnTo>
                  <a:pt x="65" y="1498"/>
                </a:lnTo>
                <a:lnTo>
                  <a:pt x="66" y="1498"/>
                </a:lnTo>
                <a:close/>
                <a:moveTo>
                  <a:pt x="62" y="1384"/>
                </a:moveTo>
                <a:lnTo>
                  <a:pt x="62" y="1385"/>
                </a:lnTo>
                <a:lnTo>
                  <a:pt x="62" y="1386"/>
                </a:lnTo>
                <a:lnTo>
                  <a:pt x="62" y="1385"/>
                </a:lnTo>
                <a:lnTo>
                  <a:pt x="62" y="1384"/>
                </a:lnTo>
                <a:close/>
                <a:moveTo>
                  <a:pt x="74" y="1431"/>
                </a:moveTo>
                <a:lnTo>
                  <a:pt x="74" y="1431"/>
                </a:lnTo>
                <a:lnTo>
                  <a:pt x="74" y="1432"/>
                </a:lnTo>
                <a:lnTo>
                  <a:pt x="74" y="1431"/>
                </a:lnTo>
                <a:lnTo>
                  <a:pt x="74" y="1431"/>
                </a:lnTo>
                <a:close/>
                <a:moveTo>
                  <a:pt x="78" y="1402"/>
                </a:moveTo>
                <a:lnTo>
                  <a:pt x="78" y="1402"/>
                </a:lnTo>
                <a:lnTo>
                  <a:pt x="78" y="1402"/>
                </a:lnTo>
                <a:lnTo>
                  <a:pt x="78" y="1402"/>
                </a:lnTo>
                <a:lnTo>
                  <a:pt x="78" y="1402"/>
                </a:lnTo>
                <a:close/>
                <a:moveTo>
                  <a:pt x="78" y="1402"/>
                </a:moveTo>
                <a:lnTo>
                  <a:pt x="79" y="1400"/>
                </a:lnTo>
                <a:lnTo>
                  <a:pt x="80" y="1399"/>
                </a:lnTo>
                <a:lnTo>
                  <a:pt x="79" y="1400"/>
                </a:lnTo>
                <a:lnTo>
                  <a:pt x="78" y="1402"/>
                </a:lnTo>
                <a:lnTo>
                  <a:pt x="80" y="1402"/>
                </a:lnTo>
                <a:lnTo>
                  <a:pt x="81" y="1403"/>
                </a:lnTo>
                <a:lnTo>
                  <a:pt x="80" y="1402"/>
                </a:lnTo>
                <a:lnTo>
                  <a:pt x="78" y="1402"/>
                </a:lnTo>
                <a:close/>
                <a:moveTo>
                  <a:pt x="88" y="1367"/>
                </a:moveTo>
                <a:lnTo>
                  <a:pt x="87" y="1367"/>
                </a:lnTo>
                <a:lnTo>
                  <a:pt x="86" y="1367"/>
                </a:lnTo>
                <a:lnTo>
                  <a:pt x="87" y="1367"/>
                </a:lnTo>
                <a:lnTo>
                  <a:pt x="88" y="1367"/>
                </a:lnTo>
                <a:close/>
                <a:moveTo>
                  <a:pt x="90" y="1358"/>
                </a:moveTo>
                <a:lnTo>
                  <a:pt x="90" y="1358"/>
                </a:lnTo>
                <a:lnTo>
                  <a:pt x="89" y="1360"/>
                </a:lnTo>
                <a:lnTo>
                  <a:pt x="90" y="1358"/>
                </a:lnTo>
                <a:lnTo>
                  <a:pt x="90" y="1358"/>
                </a:lnTo>
                <a:close/>
                <a:moveTo>
                  <a:pt x="94" y="1351"/>
                </a:moveTo>
                <a:lnTo>
                  <a:pt x="94" y="1350"/>
                </a:lnTo>
                <a:lnTo>
                  <a:pt x="93" y="1348"/>
                </a:lnTo>
                <a:lnTo>
                  <a:pt x="94" y="1350"/>
                </a:lnTo>
                <a:lnTo>
                  <a:pt x="94" y="1351"/>
                </a:lnTo>
                <a:close/>
                <a:moveTo>
                  <a:pt x="121" y="1250"/>
                </a:moveTo>
                <a:lnTo>
                  <a:pt x="115" y="1262"/>
                </a:lnTo>
                <a:lnTo>
                  <a:pt x="113" y="1273"/>
                </a:lnTo>
                <a:lnTo>
                  <a:pt x="115" y="1262"/>
                </a:lnTo>
                <a:lnTo>
                  <a:pt x="121" y="1250"/>
                </a:lnTo>
                <a:close/>
                <a:moveTo>
                  <a:pt x="59" y="1494"/>
                </a:moveTo>
                <a:lnTo>
                  <a:pt x="59" y="1495"/>
                </a:lnTo>
                <a:lnTo>
                  <a:pt x="61" y="1497"/>
                </a:lnTo>
                <a:lnTo>
                  <a:pt x="59" y="1495"/>
                </a:lnTo>
                <a:lnTo>
                  <a:pt x="59" y="1494"/>
                </a:lnTo>
                <a:close/>
                <a:moveTo>
                  <a:pt x="59" y="1511"/>
                </a:moveTo>
                <a:lnTo>
                  <a:pt x="59" y="1512"/>
                </a:lnTo>
                <a:lnTo>
                  <a:pt x="60" y="1514"/>
                </a:lnTo>
                <a:lnTo>
                  <a:pt x="59" y="1512"/>
                </a:lnTo>
                <a:lnTo>
                  <a:pt x="59" y="1511"/>
                </a:lnTo>
                <a:close/>
                <a:moveTo>
                  <a:pt x="594" y="414"/>
                </a:moveTo>
                <a:lnTo>
                  <a:pt x="592" y="414"/>
                </a:lnTo>
                <a:lnTo>
                  <a:pt x="589" y="414"/>
                </a:lnTo>
                <a:lnTo>
                  <a:pt x="586" y="414"/>
                </a:lnTo>
                <a:lnTo>
                  <a:pt x="584" y="414"/>
                </a:lnTo>
                <a:lnTo>
                  <a:pt x="584" y="417"/>
                </a:lnTo>
                <a:lnTo>
                  <a:pt x="584" y="419"/>
                </a:lnTo>
                <a:lnTo>
                  <a:pt x="584" y="417"/>
                </a:lnTo>
                <a:lnTo>
                  <a:pt x="584" y="414"/>
                </a:lnTo>
                <a:lnTo>
                  <a:pt x="589" y="411"/>
                </a:lnTo>
                <a:lnTo>
                  <a:pt x="594" y="410"/>
                </a:lnTo>
                <a:lnTo>
                  <a:pt x="598" y="410"/>
                </a:lnTo>
                <a:lnTo>
                  <a:pt x="598" y="412"/>
                </a:lnTo>
                <a:lnTo>
                  <a:pt x="598" y="414"/>
                </a:lnTo>
                <a:lnTo>
                  <a:pt x="594" y="414"/>
                </a:lnTo>
                <a:close/>
                <a:moveTo>
                  <a:pt x="578" y="435"/>
                </a:moveTo>
                <a:lnTo>
                  <a:pt x="576" y="440"/>
                </a:lnTo>
                <a:lnTo>
                  <a:pt x="573" y="445"/>
                </a:lnTo>
                <a:lnTo>
                  <a:pt x="572" y="440"/>
                </a:lnTo>
                <a:lnTo>
                  <a:pt x="571" y="435"/>
                </a:lnTo>
                <a:lnTo>
                  <a:pt x="571" y="435"/>
                </a:lnTo>
                <a:lnTo>
                  <a:pt x="571" y="435"/>
                </a:lnTo>
                <a:lnTo>
                  <a:pt x="571" y="435"/>
                </a:lnTo>
                <a:lnTo>
                  <a:pt x="575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close/>
                <a:moveTo>
                  <a:pt x="578" y="435"/>
                </a:moveTo>
                <a:lnTo>
                  <a:pt x="580" y="434"/>
                </a:lnTo>
                <a:lnTo>
                  <a:pt x="583" y="435"/>
                </a:lnTo>
                <a:lnTo>
                  <a:pt x="580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close/>
                <a:moveTo>
                  <a:pt x="569" y="435"/>
                </a:moveTo>
                <a:lnTo>
                  <a:pt x="570" y="434"/>
                </a:lnTo>
                <a:lnTo>
                  <a:pt x="571" y="435"/>
                </a:lnTo>
                <a:lnTo>
                  <a:pt x="570" y="435"/>
                </a:lnTo>
                <a:lnTo>
                  <a:pt x="569" y="435"/>
                </a:lnTo>
                <a:close/>
                <a:moveTo>
                  <a:pt x="854" y="114"/>
                </a:moveTo>
                <a:lnTo>
                  <a:pt x="855" y="114"/>
                </a:lnTo>
                <a:lnTo>
                  <a:pt x="856" y="116"/>
                </a:lnTo>
                <a:lnTo>
                  <a:pt x="855" y="116"/>
                </a:lnTo>
                <a:lnTo>
                  <a:pt x="854" y="117"/>
                </a:lnTo>
                <a:lnTo>
                  <a:pt x="854" y="116"/>
                </a:lnTo>
                <a:lnTo>
                  <a:pt x="854" y="114"/>
                </a:lnTo>
                <a:lnTo>
                  <a:pt x="852" y="112"/>
                </a:lnTo>
                <a:lnTo>
                  <a:pt x="851" y="109"/>
                </a:lnTo>
                <a:lnTo>
                  <a:pt x="852" y="112"/>
                </a:lnTo>
                <a:lnTo>
                  <a:pt x="854" y="114"/>
                </a:lnTo>
                <a:close/>
                <a:moveTo>
                  <a:pt x="944" y="293"/>
                </a:moveTo>
                <a:lnTo>
                  <a:pt x="948" y="296"/>
                </a:lnTo>
                <a:lnTo>
                  <a:pt x="946" y="300"/>
                </a:lnTo>
                <a:lnTo>
                  <a:pt x="951" y="301"/>
                </a:lnTo>
                <a:lnTo>
                  <a:pt x="955" y="301"/>
                </a:lnTo>
                <a:lnTo>
                  <a:pt x="951" y="301"/>
                </a:lnTo>
                <a:lnTo>
                  <a:pt x="946" y="300"/>
                </a:lnTo>
                <a:lnTo>
                  <a:pt x="942" y="300"/>
                </a:lnTo>
                <a:lnTo>
                  <a:pt x="937" y="302"/>
                </a:lnTo>
                <a:lnTo>
                  <a:pt x="934" y="302"/>
                </a:lnTo>
                <a:lnTo>
                  <a:pt x="929" y="299"/>
                </a:lnTo>
                <a:lnTo>
                  <a:pt x="937" y="296"/>
                </a:lnTo>
                <a:lnTo>
                  <a:pt x="944" y="293"/>
                </a:lnTo>
                <a:close/>
                <a:moveTo>
                  <a:pt x="966" y="379"/>
                </a:moveTo>
                <a:lnTo>
                  <a:pt x="967" y="379"/>
                </a:lnTo>
                <a:lnTo>
                  <a:pt x="967" y="379"/>
                </a:lnTo>
                <a:lnTo>
                  <a:pt x="967" y="379"/>
                </a:lnTo>
                <a:lnTo>
                  <a:pt x="966" y="379"/>
                </a:lnTo>
                <a:close/>
                <a:moveTo>
                  <a:pt x="1261" y="822"/>
                </a:moveTo>
                <a:lnTo>
                  <a:pt x="1260" y="820"/>
                </a:lnTo>
                <a:lnTo>
                  <a:pt x="1260" y="820"/>
                </a:lnTo>
                <a:lnTo>
                  <a:pt x="1260" y="820"/>
                </a:lnTo>
                <a:lnTo>
                  <a:pt x="1261" y="822"/>
                </a:lnTo>
                <a:close/>
                <a:moveTo>
                  <a:pt x="384" y="918"/>
                </a:moveTo>
                <a:lnTo>
                  <a:pt x="377" y="921"/>
                </a:lnTo>
                <a:lnTo>
                  <a:pt x="370" y="924"/>
                </a:lnTo>
                <a:lnTo>
                  <a:pt x="369" y="927"/>
                </a:lnTo>
                <a:lnTo>
                  <a:pt x="369" y="928"/>
                </a:lnTo>
                <a:lnTo>
                  <a:pt x="371" y="930"/>
                </a:lnTo>
                <a:lnTo>
                  <a:pt x="372" y="929"/>
                </a:lnTo>
                <a:lnTo>
                  <a:pt x="382" y="925"/>
                </a:lnTo>
                <a:lnTo>
                  <a:pt x="391" y="924"/>
                </a:lnTo>
                <a:lnTo>
                  <a:pt x="391" y="924"/>
                </a:lnTo>
                <a:lnTo>
                  <a:pt x="391" y="924"/>
                </a:lnTo>
                <a:lnTo>
                  <a:pt x="391" y="924"/>
                </a:lnTo>
                <a:lnTo>
                  <a:pt x="391" y="927"/>
                </a:lnTo>
                <a:lnTo>
                  <a:pt x="391" y="929"/>
                </a:lnTo>
                <a:lnTo>
                  <a:pt x="391" y="931"/>
                </a:lnTo>
                <a:lnTo>
                  <a:pt x="390" y="932"/>
                </a:lnTo>
                <a:lnTo>
                  <a:pt x="375" y="936"/>
                </a:lnTo>
                <a:lnTo>
                  <a:pt x="361" y="939"/>
                </a:lnTo>
                <a:lnTo>
                  <a:pt x="357" y="939"/>
                </a:lnTo>
                <a:lnTo>
                  <a:pt x="355" y="938"/>
                </a:lnTo>
                <a:lnTo>
                  <a:pt x="355" y="936"/>
                </a:lnTo>
                <a:lnTo>
                  <a:pt x="356" y="934"/>
                </a:lnTo>
                <a:lnTo>
                  <a:pt x="358" y="931"/>
                </a:lnTo>
                <a:lnTo>
                  <a:pt x="358" y="928"/>
                </a:lnTo>
                <a:lnTo>
                  <a:pt x="359" y="920"/>
                </a:lnTo>
                <a:lnTo>
                  <a:pt x="365" y="914"/>
                </a:lnTo>
                <a:lnTo>
                  <a:pt x="366" y="916"/>
                </a:lnTo>
                <a:lnTo>
                  <a:pt x="368" y="917"/>
                </a:lnTo>
                <a:lnTo>
                  <a:pt x="370" y="916"/>
                </a:lnTo>
                <a:lnTo>
                  <a:pt x="370" y="914"/>
                </a:lnTo>
                <a:lnTo>
                  <a:pt x="373" y="911"/>
                </a:lnTo>
                <a:lnTo>
                  <a:pt x="377" y="909"/>
                </a:lnTo>
                <a:lnTo>
                  <a:pt x="373" y="911"/>
                </a:lnTo>
                <a:lnTo>
                  <a:pt x="370" y="914"/>
                </a:lnTo>
                <a:lnTo>
                  <a:pt x="377" y="914"/>
                </a:lnTo>
                <a:lnTo>
                  <a:pt x="384" y="913"/>
                </a:lnTo>
                <a:lnTo>
                  <a:pt x="387" y="914"/>
                </a:lnTo>
                <a:lnTo>
                  <a:pt x="392" y="914"/>
                </a:lnTo>
                <a:lnTo>
                  <a:pt x="392" y="918"/>
                </a:lnTo>
                <a:lnTo>
                  <a:pt x="391" y="924"/>
                </a:lnTo>
                <a:lnTo>
                  <a:pt x="391" y="924"/>
                </a:lnTo>
                <a:lnTo>
                  <a:pt x="391" y="924"/>
                </a:lnTo>
                <a:lnTo>
                  <a:pt x="389" y="920"/>
                </a:lnTo>
                <a:lnTo>
                  <a:pt x="384" y="918"/>
                </a:lnTo>
                <a:close/>
                <a:moveTo>
                  <a:pt x="564" y="1091"/>
                </a:moveTo>
                <a:lnTo>
                  <a:pt x="565" y="1092"/>
                </a:lnTo>
                <a:lnTo>
                  <a:pt x="566" y="1092"/>
                </a:lnTo>
                <a:lnTo>
                  <a:pt x="566" y="1092"/>
                </a:lnTo>
                <a:lnTo>
                  <a:pt x="568" y="1091"/>
                </a:lnTo>
                <a:lnTo>
                  <a:pt x="566" y="1091"/>
                </a:lnTo>
                <a:lnTo>
                  <a:pt x="566" y="1091"/>
                </a:lnTo>
                <a:lnTo>
                  <a:pt x="565" y="1091"/>
                </a:lnTo>
                <a:lnTo>
                  <a:pt x="564" y="1091"/>
                </a:lnTo>
                <a:close/>
                <a:moveTo>
                  <a:pt x="736" y="964"/>
                </a:moveTo>
                <a:lnTo>
                  <a:pt x="729" y="964"/>
                </a:lnTo>
                <a:lnTo>
                  <a:pt x="721" y="967"/>
                </a:lnTo>
                <a:lnTo>
                  <a:pt x="729" y="966"/>
                </a:lnTo>
                <a:lnTo>
                  <a:pt x="736" y="964"/>
                </a:lnTo>
                <a:close/>
                <a:moveTo>
                  <a:pt x="772" y="1022"/>
                </a:moveTo>
                <a:lnTo>
                  <a:pt x="775" y="1016"/>
                </a:lnTo>
                <a:lnTo>
                  <a:pt x="772" y="1011"/>
                </a:lnTo>
                <a:lnTo>
                  <a:pt x="771" y="1011"/>
                </a:lnTo>
                <a:lnTo>
                  <a:pt x="770" y="1012"/>
                </a:lnTo>
                <a:lnTo>
                  <a:pt x="769" y="1018"/>
                </a:lnTo>
                <a:lnTo>
                  <a:pt x="772" y="1022"/>
                </a:lnTo>
                <a:close/>
                <a:moveTo>
                  <a:pt x="701" y="1019"/>
                </a:moveTo>
                <a:lnTo>
                  <a:pt x="714" y="1015"/>
                </a:lnTo>
                <a:lnTo>
                  <a:pt x="725" y="1013"/>
                </a:lnTo>
                <a:lnTo>
                  <a:pt x="713" y="1013"/>
                </a:lnTo>
                <a:lnTo>
                  <a:pt x="700" y="1014"/>
                </a:lnTo>
                <a:lnTo>
                  <a:pt x="697" y="1015"/>
                </a:lnTo>
                <a:lnTo>
                  <a:pt x="696" y="1018"/>
                </a:lnTo>
                <a:lnTo>
                  <a:pt x="699" y="1019"/>
                </a:lnTo>
                <a:lnTo>
                  <a:pt x="701" y="1019"/>
                </a:lnTo>
                <a:close/>
                <a:moveTo>
                  <a:pt x="751" y="1121"/>
                </a:moveTo>
                <a:lnTo>
                  <a:pt x="751" y="1121"/>
                </a:lnTo>
                <a:lnTo>
                  <a:pt x="751" y="1121"/>
                </a:lnTo>
                <a:lnTo>
                  <a:pt x="751" y="1121"/>
                </a:lnTo>
                <a:lnTo>
                  <a:pt x="752" y="1121"/>
                </a:lnTo>
                <a:lnTo>
                  <a:pt x="746" y="1130"/>
                </a:lnTo>
                <a:lnTo>
                  <a:pt x="738" y="1133"/>
                </a:lnTo>
                <a:lnTo>
                  <a:pt x="736" y="1137"/>
                </a:lnTo>
                <a:lnTo>
                  <a:pt x="735" y="1139"/>
                </a:lnTo>
                <a:lnTo>
                  <a:pt x="736" y="1137"/>
                </a:lnTo>
                <a:lnTo>
                  <a:pt x="738" y="1133"/>
                </a:lnTo>
                <a:lnTo>
                  <a:pt x="736" y="1131"/>
                </a:lnTo>
                <a:lnTo>
                  <a:pt x="737" y="1130"/>
                </a:lnTo>
                <a:lnTo>
                  <a:pt x="744" y="1124"/>
                </a:lnTo>
                <a:lnTo>
                  <a:pt x="751" y="1121"/>
                </a:lnTo>
                <a:lnTo>
                  <a:pt x="759" y="1113"/>
                </a:lnTo>
                <a:lnTo>
                  <a:pt x="769" y="1106"/>
                </a:lnTo>
                <a:lnTo>
                  <a:pt x="782" y="1097"/>
                </a:lnTo>
                <a:lnTo>
                  <a:pt x="793" y="1085"/>
                </a:lnTo>
                <a:lnTo>
                  <a:pt x="793" y="1085"/>
                </a:lnTo>
                <a:lnTo>
                  <a:pt x="796" y="1083"/>
                </a:lnTo>
                <a:lnTo>
                  <a:pt x="798" y="1078"/>
                </a:lnTo>
                <a:lnTo>
                  <a:pt x="803" y="1076"/>
                </a:lnTo>
                <a:lnTo>
                  <a:pt x="805" y="1070"/>
                </a:lnTo>
                <a:lnTo>
                  <a:pt x="805" y="1070"/>
                </a:lnTo>
                <a:lnTo>
                  <a:pt x="808" y="1070"/>
                </a:lnTo>
                <a:lnTo>
                  <a:pt x="811" y="1067"/>
                </a:lnTo>
                <a:lnTo>
                  <a:pt x="812" y="1067"/>
                </a:lnTo>
                <a:lnTo>
                  <a:pt x="813" y="1065"/>
                </a:lnTo>
                <a:lnTo>
                  <a:pt x="811" y="1064"/>
                </a:lnTo>
                <a:lnTo>
                  <a:pt x="810" y="1063"/>
                </a:lnTo>
                <a:lnTo>
                  <a:pt x="811" y="1064"/>
                </a:lnTo>
                <a:lnTo>
                  <a:pt x="813" y="1065"/>
                </a:lnTo>
                <a:lnTo>
                  <a:pt x="813" y="1064"/>
                </a:lnTo>
                <a:lnTo>
                  <a:pt x="814" y="1064"/>
                </a:lnTo>
                <a:lnTo>
                  <a:pt x="815" y="1064"/>
                </a:lnTo>
                <a:lnTo>
                  <a:pt x="818" y="1064"/>
                </a:lnTo>
                <a:lnTo>
                  <a:pt x="820" y="1067"/>
                </a:lnTo>
                <a:lnTo>
                  <a:pt x="818" y="1070"/>
                </a:lnTo>
                <a:lnTo>
                  <a:pt x="810" y="1076"/>
                </a:lnTo>
                <a:lnTo>
                  <a:pt x="804" y="1084"/>
                </a:lnTo>
                <a:lnTo>
                  <a:pt x="784" y="1102"/>
                </a:lnTo>
                <a:lnTo>
                  <a:pt x="763" y="1117"/>
                </a:lnTo>
                <a:lnTo>
                  <a:pt x="758" y="1120"/>
                </a:lnTo>
                <a:lnTo>
                  <a:pt x="752" y="1121"/>
                </a:lnTo>
                <a:lnTo>
                  <a:pt x="752" y="1121"/>
                </a:lnTo>
                <a:lnTo>
                  <a:pt x="752" y="1121"/>
                </a:lnTo>
                <a:lnTo>
                  <a:pt x="751" y="1121"/>
                </a:lnTo>
                <a:lnTo>
                  <a:pt x="751" y="1121"/>
                </a:lnTo>
                <a:close/>
                <a:moveTo>
                  <a:pt x="459" y="987"/>
                </a:moveTo>
                <a:lnTo>
                  <a:pt x="459" y="987"/>
                </a:lnTo>
                <a:lnTo>
                  <a:pt x="459" y="987"/>
                </a:lnTo>
                <a:lnTo>
                  <a:pt x="480" y="972"/>
                </a:lnTo>
                <a:lnTo>
                  <a:pt x="501" y="957"/>
                </a:lnTo>
                <a:lnTo>
                  <a:pt x="508" y="956"/>
                </a:lnTo>
                <a:lnTo>
                  <a:pt x="513" y="957"/>
                </a:lnTo>
                <a:lnTo>
                  <a:pt x="515" y="960"/>
                </a:lnTo>
                <a:lnTo>
                  <a:pt x="513" y="964"/>
                </a:lnTo>
                <a:lnTo>
                  <a:pt x="514" y="965"/>
                </a:lnTo>
                <a:lnTo>
                  <a:pt x="514" y="965"/>
                </a:lnTo>
                <a:lnTo>
                  <a:pt x="520" y="964"/>
                </a:lnTo>
                <a:lnTo>
                  <a:pt x="525" y="967"/>
                </a:lnTo>
                <a:lnTo>
                  <a:pt x="524" y="973"/>
                </a:lnTo>
                <a:lnTo>
                  <a:pt x="521" y="977"/>
                </a:lnTo>
                <a:lnTo>
                  <a:pt x="503" y="991"/>
                </a:lnTo>
                <a:lnTo>
                  <a:pt x="488" y="1005"/>
                </a:lnTo>
                <a:lnTo>
                  <a:pt x="479" y="1009"/>
                </a:lnTo>
                <a:lnTo>
                  <a:pt x="468" y="1014"/>
                </a:lnTo>
                <a:lnTo>
                  <a:pt x="460" y="1008"/>
                </a:lnTo>
                <a:lnTo>
                  <a:pt x="449" y="1011"/>
                </a:lnTo>
                <a:lnTo>
                  <a:pt x="448" y="1011"/>
                </a:lnTo>
                <a:lnTo>
                  <a:pt x="447" y="1009"/>
                </a:lnTo>
                <a:lnTo>
                  <a:pt x="446" y="1004"/>
                </a:lnTo>
                <a:lnTo>
                  <a:pt x="447" y="999"/>
                </a:lnTo>
                <a:lnTo>
                  <a:pt x="448" y="999"/>
                </a:lnTo>
                <a:lnTo>
                  <a:pt x="449" y="998"/>
                </a:lnTo>
                <a:lnTo>
                  <a:pt x="451" y="997"/>
                </a:lnTo>
                <a:lnTo>
                  <a:pt x="451" y="994"/>
                </a:lnTo>
                <a:lnTo>
                  <a:pt x="447" y="994"/>
                </a:lnTo>
                <a:lnTo>
                  <a:pt x="444" y="998"/>
                </a:lnTo>
                <a:lnTo>
                  <a:pt x="447" y="994"/>
                </a:lnTo>
                <a:lnTo>
                  <a:pt x="451" y="994"/>
                </a:lnTo>
                <a:lnTo>
                  <a:pt x="451" y="994"/>
                </a:lnTo>
                <a:lnTo>
                  <a:pt x="451" y="994"/>
                </a:lnTo>
                <a:lnTo>
                  <a:pt x="451" y="991"/>
                </a:lnTo>
                <a:lnTo>
                  <a:pt x="451" y="988"/>
                </a:lnTo>
                <a:lnTo>
                  <a:pt x="441" y="994"/>
                </a:lnTo>
                <a:lnTo>
                  <a:pt x="435" y="1004"/>
                </a:lnTo>
                <a:lnTo>
                  <a:pt x="434" y="1004"/>
                </a:lnTo>
                <a:lnTo>
                  <a:pt x="434" y="1004"/>
                </a:lnTo>
                <a:lnTo>
                  <a:pt x="434" y="1005"/>
                </a:lnTo>
                <a:lnTo>
                  <a:pt x="434" y="1004"/>
                </a:lnTo>
                <a:lnTo>
                  <a:pt x="434" y="1004"/>
                </a:lnTo>
                <a:lnTo>
                  <a:pt x="434" y="1004"/>
                </a:lnTo>
                <a:lnTo>
                  <a:pt x="433" y="1005"/>
                </a:lnTo>
                <a:lnTo>
                  <a:pt x="432" y="1005"/>
                </a:lnTo>
                <a:lnTo>
                  <a:pt x="432" y="1006"/>
                </a:lnTo>
                <a:lnTo>
                  <a:pt x="430" y="1006"/>
                </a:lnTo>
                <a:lnTo>
                  <a:pt x="428" y="1006"/>
                </a:lnTo>
                <a:lnTo>
                  <a:pt x="423" y="1004"/>
                </a:lnTo>
                <a:lnTo>
                  <a:pt x="414" y="1006"/>
                </a:lnTo>
                <a:lnTo>
                  <a:pt x="418" y="1000"/>
                </a:lnTo>
                <a:lnTo>
                  <a:pt x="416" y="994"/>
                </a:lnTo>
                <a:lnTo>
                  <a:pt x="416" y="994"/>
                </a:lnTo>
                <a:lnTo>
                  <a:pt x="420" y="993"/>
                </a:lnTo>
                <a:lnTo>
                  <a:pt x="423" y="995"/>
                </a:lnTo>
                <a:lnTo>
                  <a:pt x="431" y="999"/>
                </a:lnTo>
                <a:lnTo>
                  <a:pt x="438" y="994"/>
                </a:lnTo>
                <a:lnTo>
                  <a:pt x="438" y="993"/>
                </a:lnTo>
                <a:lnTo>
                  <a:pt x="438" y="991"/>
                </a:lnTo>
                <a:lnTo>
                  <a:pt x="437" y="990"/>
                </a:lnTo>
                <a:lnTo>
                  <a:pt x="435" y="988"/>
                </a:lnTo>
                <a:lnTo>
                  <a:pt x="426" y="991"/>
                </a:lnTo>
                <a:lnTo>
                  <a:pt x="419" y="985"/>
                </a:lnTo>
                <a:lnTo>
                  <a:pt x="418" y="985"/>
                </a:lnTo>
                <a:lnTo>
                  <a:pt x="418" y="985"/>
                </a:lnTo>
                <a:lnTo>
                  <a:pt x="418" y="985"/>
                </a:lnTo>
                <a:lnTo>
                  <a:pt x="419" y="985"/>
                </a:lnTo>
                <a:lnTo>
                  <a:pt x="426" y="979"/>
                </a:lnTo>
                <a:lnTo>
                  <a:pt x="435" y="978"/>
                </a:lnTo>
                <a:lnTo>
                  <a:pt x="439" y="979"/>
                </a:lnTo>
                <a:lnTo>
                  <a:pt x="441" y="981"/>
                </a:lnTo>
                <a:lnTo>
                  <a:pt x="440" y="984"/>
                </a:lnTo>
                <a:lnTo>
                  <a:pt x="438" y="986"/>
                </a:lnTo>
                <a:lnTo>
                  <a:pt x="437" y="987"/>
                </a:lnTo>
                <a:lnTo>
                  <a:pt x="435" y="988"/>
                </a:lnTo>
                <a:lnTo>
                  <a:pt x="437" y="990"/>
                </a:lnTo>
                <a:lnTo>
                  <a:pt x="438" y="991"/>
                </a:lnTo>
                <a:lnTo>
                  <a:pt x="449" y="981"/>
                </a:lnTo>
                <a:lnTo>
                  <a:pt x="461" y="972"/>
                </a:lnTo>
                <a:lnTo>
                  <a:pt x="466" y="969"/>
                </a:lnTo>
                <a:lnTo>
                  <a:pt x="472" y="969"/>
                </a:lnTo>
                <a:lnTo>
                  <a:pt x="478" y="959"/>
                </a:lnTo>
                <a:lnTo>
                  <a:pt x="487" y="955"/>
                </a:lnTo>
                <a:lnTo>
                  <a:pt x="490" y="952"/>
                </a:lnTo>
                <a:lnTo>
                  <a:pt x="492" y="948"/>
                </a:lnTo>
                <a:lnTo>
                  <a:pt x="496" y="948"/>
                </a:lnTo>
                <a:lnTo>
                  <a:pt x="499" y="945"/>
                </a:lnTo>
                <a:lnTo>
                  <a:pt x="503" y="944"/>
                </a:lnTo>
                <a:lnTo>
                  <a:pt x="506" y="946"/>
                </a:lnTo>
                <a:lnTo>
                  <a:pt x="489" y="958"/>
                </a:lnTo>
                <a:lnTo>
                  <a:pt x="472" y="969"/>
                </a:lnTo>
                <a:lnTo>
                  <a:pt x="467" y="973"/>
                </a:lnTo>
                <a:lnTo>
                  <a:pt x="462" y="978"/>
                </a:lnTo>
                <a:lnTo>
                  <a:pt x="461" y="979"/>
                </a:lnTo>
                <a:lnTo>
                  <a:pt x="460" y="980"/>
                </a:lnTo>
                <a:lnTo>
                  <a:pt x="461" y="979"/>
                </a:lnTo>
                <a:lnTo>
                  <a:pt x="462" y="978"/>
                </a:lnTo>
                <a:lnTo>
                  <a:pt x="460" y="979"/>
                </a:lnTo>
                <a:lnTo>
                  <a:pt x="459" y="980"/>
                </a:lnTo>
                <a:lnTo>
                  <a:pt x="455" y="981"/>
                </a:lnTo>
                <a:lnTo>
                  <a:pt x="454" y="985"/>
                </a:lnTo>
                <a:lnTo>
                  <a:pt x="452" y="986"/>
                </a:lnTo>
                <a:lnTo>
                  <a:pt x="451" y="988"/>
                </a:lnTo>
                <a:lnTo>
                  <a:pt x="451" y="991"/>
                </a:lnTo>
                <a:lnTo>
                  <a:pt x="451" y="994"/>
                </a:lnTo>
                <a:lnTo>
                  <a:pt x="454" y="993"/>
                </a:lnTo>
                <a:lnTo>
                  <a:pt x="456" y="991"/>
                </a:lnTo>
                <a:lnTo>
                  <a:pt x="456" y="990"/>
                </a:lnTo>
                <a:lnTo>
                  <a:pt x="458" y="990"/>
                </a:lnTo>
                <a:lnTo>
                  <a:pt x="458" y="988"/>
                </a:lnTo>
                <a:lnTo>
                  <a:pt x="458" y="988"/>
                </a:lnTo>
                <a:lnTo>
                  <a:pt x="459" y="988"/>
                </a:lnTo>
                <a:lnTo>
                  <a:pt x="459" y="987"/>
                </a:lnTo>
                <a:close/>
                <a:moveTo>
                  <a:pt x="674" y="508"/>
                </a:moveTo>
                <a:lnTo>
                  <a:pt x="673" y="508"/>
                </a:lnTo>
                <a:lnTo>
                  <a:pt x="672" y="509"/>
                </a:lnTo>
                <a:lnTo>
                  <a:pt x="673" y="511"/>
                </a:lnTo>
                <a:lnTo>
                  <a:pt x="674" y="511"/>
                </a:lnTo>
                <a:lnTo>
                  <a:pt x="675" y="511"/>
                </a:lnTo>
                <a:lnTo>
                  <a:pt x="676" y="510"/>
                </a:lnTo>
                <a:lnTo>
                  <a:pt x="676" y="508"/>
                </a:lnTo>
                <a:lnTo>
                  <a:pt x="674" y="508"/>
                </a:lnTo>
                <a:close/>
                <a:moveTo>
                  <a:pt x="612" y="474"/>
                </a:moveTo>
                <a:lnTo>
                  <a:pt x="615" y="473"/>
                </a:lnTo>
                <a:lnTo>
                  <a:pt x="615" y="470"/>
                </a:lnTo>
                <a:lnTo>
                  <a:pt x="618" y="461"/>
                </a:lnTo>
                <a:lnTo>
                  <a:pt x="619" y="453"/>
                </a:lnTo>
                <a:lnTo>
                  <a:pt x="618" y="448"/>
                </a:lnTo>
                <a:lnTo>
                  <a:pt x="614" y="446"/>
                </a:lnTo>
                <a:lnTo>
                  <a:pt x="612" y="448"/>
                </a:lnTo>
                <a:lnTo>
                  <a:pt x="613" y="452"/>
                </a:lnTo>
                <a:lnTo>
                  <a:pt x="613" y="460"/>
                </a:lnTo>
                <a:lnTo>
                  <a:pt x="612" y="469"/>
                </a:lnTo>
                <a:lnTo>
                  <a:pt x="611" y="471"/>
                </a:lnTo>
                <a:lnTo>
                  <a:pt x="612" y="474"/>
                </a:lnTo>
                <a:close/>
                <a:moveTo>
                  <a:pt x="716" y="421"/>
                </a:moveTo>
                <a:lnTo>
                  <a:pt x="714" y="420"/>
                </a:lnTo>
                <a:lnTo>
                  <a:pt x="711" y="422"/>
                </a:lnTo>
                <a:lnTo>
                  <a:pt x="709" y="425"/>
                </a:lnTo>
                <a:lnTo>
                  <a:pt x="709" y="426"/>
                </a:lnTo>
                <a:lnTo>
                  <a:pt x="711" y="427"/>
                </a:lnTo>
                <a:lnTo>
                  <a:pt x="714" y="426"/>
                </a:lnTo>
                <a:lnTo>
                  <a:pt x="715" y="425"/>
                </a:lnTo>
                <a:lnTo>
                  <a:pt x="716" y="426"/>
                </a:lnTo>
                <a:lnTo>
                  <a:pt x="716" y="427"/>
                </a:lnTo>
                <a:lnTo>
                  <a:pt x="716" y="428"/>
                </a:lnTo>
                <a:lnTo>
                  <a:pt x="714" y="429"/>
                </a:lnTo>
                <a:lnTo>
                  <a:pt x="713" y="431"/>
                </a:lnTo>
                <a:lnTo>
                  <a:pt x="714" y="436"/>
                </a:lnTo>
                <a:lnTo>
                  <a:pt x="714" y="442"/>
                </a:lnTo>
                <a:lnTo>
                  <a:pt x="715" y="442"/>
                </a:lnTo>
                <a:lnTo>
                  <a:pt x="716" y="443"/>
                </a:lnTo>
                <a:lnTo>
                  <a:pt x="724" y="440"/>
                </a:lnTo>
                <a:lnTo>
                  <a:pt x="728" y="431"/>
                </a:lnTo>
                <a:lnTo>
                  <a:pt x="728" y="427"/>
                </a:lnTo>
                <a:lnTo>
                  <a:pt x="727" y="424"/>
                </a:lnTo>
                <a:lnTo>
                  <a:pt x="721" y="422"/>
                </a:lnTo>
                <a:lnTo>
                  <a:pt x="716" y="421"/>
                </a:lnTo>
                <a:close/>
                <a:moveTo>
                  <a:pt x="271" y="955"/>
                </a:moveTo>
                <a:lnTo>
                  <a:pt x="276" y="953"/>
                </a:lnTo>
                <a:lnTo>
                  <a:pt x="281" y="949"/>
                </a:lnTo>
                <a:lnTo>
                  <a:pt x="280" y="946"/>
                </a:lnTo>
                <a:lnTo>
                  <a:pt x="278" y="946"/>
                </a:lnTo>
                <a:lnTo>
                  <a:pt x="272" y="948"/>
                </a:lnTo>
                <a:lnTo>
                  <a:pt x="266" y="950"/>
                </a:lnTo>
                <a:lnTo>
                  <a:pt x="267" y="953"/>
                </a:lnTo>
                <a:lnTo>
                  <a:pt x="271" y="955"/>
                </a:lnTo>
                <a:close/>
                <a:moveTo>
                  <a:pt x="1329" y="1137"/>
                </a:move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4"/>
                </a:lnTo>
                <a:lnTo>
                  <a:pt x="1329" y="1130"/>
                </a:lnTo>
                <a:lnTo>
                  <a:pt x="1328" y="1134"/>
                </a:lnTo>
                <a:lnTo>
                  <a:pt x="1329" y="1137"/>
                </a:lnTo>
                <a:close/>
                <a:moveTo>
                  <a:pt x="960" y="976"/>
                </a:moveTo>
                <a:lnTo>
                  <a:pt x="959" y="977"/>
                </a:lnTo>
                <a:lnTo>
                  <a:pt x="959" y="978"/>
                </a:lnTo>
                <a:lnTo>
                  <a:pt x="959" y="980"/>
                </a:lnTo>
                <a:lnTo>
                  <a:pt x="960" y="980"/>
                </a:lnTo>
                <a:lnTo>
                  <a:pt x="962" y="978"/>
                </a:lnTo>
                <a:lnTo>
                  <a:pt x="960" y="976"/>
                </a:lnTo>
                <a:close/>
                <a:moveTo>
                  <a:pt x="970" y="978"/>
                </a:moveTo>
                <a:lnTo>
                  <a:pt x="965" y="979"/>
                </a:lnTo>
                <a:lnTo>
                  <a:pt x="962" y="983"/>
                </a:lnTo>
                <a:lnTo>
                  <a:pt x="964" y="986"/>
                </a:lnTo>
                <a:lnTo>
                  <a:pt x="969" y="987"/>
                </a:lnTo>
                <a:lnTo>
                  <a:pt x="973" y="986"/>
                </a:lnTo>
                <a:lnTo>
                  <a:pt x="977" y="980"/>
                </a:lnTo>
                <a:lnTo>
                  <a:pt x="974" y="978"/>
                </a:lnTo>
                <a:lnTo>
                  <a:pt x="970" y="978"/>
                </a:lnTo>
                <a:close/>
                <a:moveTo>
                  <a:pt x="584" y="815"/>
                </a:moveTo>
                <a:lnTo>
                  <a:pt x="585" y="815"/>
                </a:lnTo>
                <a:lnTo>
                  <a:pt x="586" y="813"/>
                </a:lnTo>
                <a:lnTo>
                  <a:pt x="585" y="813"/>
                </a:lnTo>
                <a:lnTo>
                  <a:pt x="585" y="812"/>
                </a:lnTo>
                <a:lnTo>
                  <a:pt x="584" y="813"/>
                </a:lnTo>
                <a:lnTo>
                  <a:pt x="584" y="813"/>
                </a:lnTo>
                <a:lnTo>
                  <a:pt x="584" y="815"/>
                </a:lnTo>
                <a:lnTo>
                  <a:pt x="584" y="815"/>
                </a:lnTo>
                <a:close/>
                <a:moveTo>
                  <a:pt x="492" y="761"/>
                </a:moveTo>
                <a:lnTo>
                  <a:pt x="489" y="760"/>
                </a:lnTo>
                <a:lnTo>
                  <a:pt x="487" y="761"/>
                </a:lnTo>
                <a:lnTo>
                  <a:pt x="489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close/>
                <a:moveTo>
                  <a:pt x="888" y="669"/>
                </a:moveTo>
                <a:lnTo>
                  <a:pt x="887" y="668"/>
                </a:lnTo>
                <a:lnTo>
                  <a:pt x="884" y="669"/>
                </a:lnTo>
                <a:lnTo>
                  <a:pt x="884" y="669"/>
                </a:lnTo>
                <a:lnTo>
                  <a:pt x="886" y="670"/>
                </a:lnTo>
                <a:lnTo>
                  <a:pt x="888" y="670"/>
                </a:lnTo>
                <a:lnTo>
                  <a:pt x="888" y="669"/>
                </a:lnTo>
                <a:close/>
                <a:moveTo>
                  <a:pt x="496" y="764"/>
                </a:moveTo>
                <a:lnTo>
                  <a:pt x="495" y="762"/>
                </a:lnTo>
                <a:lnTo>
                  <a:pt x="492" y="761"/>
                </a:lnTo>
                <a:lnTo>
                  <a:pt x="494" y="763"/>
                </a:lnTo>
                <a:lnTo>
                  <a:pt x="496" y="764"/>
                </a:lnTo>
                <a:close/>
                <a:moveTo>
                  <a:pt x="496" y="764"/>
                </a:move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7" y="764"/>
                </a:lnTo>
                <a:lnTo>
                  <a:pt x="502" y="767"/>
                </a:lnTo>
                <a:lnTo>
                  <a:pt x="508" y="770"/>
                </a:lnTo>
                <a:lnTo>
                  <a:pt x="502" y="766"/>
                </a:lnTo>
                <a:lnTo>
                  <a:pt x="497" y="764"/>
                </a:lnTo>
                <a:lnTo>
                  <a:pt x="496" y="764"/>
                </a:lnTo>
                <a:lnTo>
                  <a:pt x="496" y="764"/>
                </a:lnTo>
                <a:close/>
                <a:moveTo>
                  <a:pt x="396" y="787"/>
                </a:moveTo>
                <a:lnTo>
                  <a:pt x="398" y="788"/>
                </a:lnTo>
                <a:lnTo>
                  <a:pt x="399" y="788"/>
                </a:lnTo>
                <a:lnTo>
                  <a:pt x="406" y="791"/>
                </a:lnTo>
                <a:lnTo>
                  <a:pt x="414" y="791"/>
                </a:lnTo>
                <a:lnTo>
                  <a:pt x="407" y="788"/>
                </a:lnTo>
                <a:lnTo>
                  <a:pt x="400" y="785"/>
                </a:lnTo>
                <a:lnTo>
                  <a:pt x="400" y="785"/>
                </a:lnTo>
                <a:lnTo>
                  <a:pt x="398" y="784"/>
                </a:lnTo>
                <a:lnTo>
                  <a:pt x="397" y="784"/>
                </a:lnTo>
                <a:lnTo>
                  <a:pt x="394" y="782"/>
                </a:lnTo>
                <a:lnTo>
                  <a:pt x="392" y="784"/>
                </a:lnTo>
                <a:lnTo>
                  <a:pt x="393" y="787"/>
                </a:lnTo>
                <a:lnTo>
                  <a:pt x="396" y="787"/>
                </a:lnTo>
                <a:close/>
                <a:moveTo>
                  <a:pt x="881" y="666"/>
                </a:moveTo>
                <a:lnTo>
                  <a:pt x="877" y="664"/>
                </a:lnTo>
                <a:lnTo>
                  <a:pt x="875" y="664"/>
                </a:lnTo>
                <a:lnTo>
                  <a:pt x="875" y="665"/>
                </a:lnTo>
                <a:lnTo>
                  <a:pt x="875" y="666"/>
                </a:lnTo>
                <a:lnTo>
                  <a:pt x="877" y="668"/>
                </a:lnTo>
                <a:lnTo>
                  <a:pt x="881" y="666"/>
                </a:lnTo>
                <a:close/>
                <a:moveTo>
                  <a:pt x="596" y="743"/>
                </a:moveTo>
                <a:lnTo>
                  <a:pt x="601" y="745"/>
                </a:lnTo>
                <a:lnTo>
                  <a:pt x="603" y="743"/>
                </a:lnTo>
                <a:lnTo>
                  <a:pt x="597" y="740"/>
                </a:lnTo>
                <a:lnTo>
                  <a:pt x="590" y="740"/>
                </a:lnTo>
                <a:lnTo>
                  <a:pt x="591" y="741"/>
                </a:lnTo>
                <a:lnTo>
                  <a:pt x="592" y="741"/>
                </a:lnTo>
                <a:lnTo>
                  <a:pt x="594" y="742"/>
                </a:lnTo>
                <a:lnTo>
                  <a:pt x="596" y="743"/>
                </a:lnTo>
                <a:close/>
                <a:moveTo>
                  <a:pt x="775" y="690"/>
                </a:moveTo>
                <a:lnTo>
                  <a:pt x="786" y="693"/>
                </a:lnTo>
                <a:lnTo>
                  <a:pt x="799" y="699"/>
                </a:lnTo>
                <a:lnTo>
                  <a:pt x="787" y="691"/>
                </a:lnTo>
                <a:lnTo>
                  <a:pt x="775" y="690"/>
                </a:lnTo>
                <a:close/>
                <a:moveTo>
                  <a:pt x="824" y="823"/>
                </a:moveTo>
                <a:lnTo>
                  <a:pt x="824" y="823"/>
                </a:lnTo>
                <a:lnTo>
                  <a:pt x="825" y="825"/>
                </a:lnTo>
                <a:lnTo>
                  <a:pt x="827" y="825"/>
                </a:lnTo>
                <a:lnTo>
                  <a:pt x="831" y="826"/>
                </a:lnTo>
                <a:lnTo>
                  <a:pt x="833" y="824"/>
                </a:lnTo>
                <a:lnTo>
                  <a:pt x="834" y="820"/>
                </a:lnTo>
                <a:lnTo>
                  <a:pt x="833" y="818"/>
                </a:lnTo>
                <a:lnTo>
                  <a:pt x="829" y="818"/>
                </a:lnTo>
                <a:lnTo>
                  <a:pt x="826" y="819"/>
                </a:lnTo>
                <a:lnTo>
                  <a:pt x="825" y="820"/>
                </a:lnTo>
                <a:lnTo>
                  <a:pt x="824" y="820"/>
                </a:lnTo>
                <a:lnTo>
                  <a:pt x="822" y="820"/>
                </a:lnTo>
                <a:lnTo>
                  <a:pt x="822" y="820"/>
                </a:lnTo>
                <a:lnTo>
                  <a:pt x="822" y="818"/>
                </a:lnTo>
                <a:lnTo>
                  <a:pt x="822" y="816"/>
                </a:lnTo>
                <a:lnTo>
                  <a:pt x="825" y="816"/>
                </a:lnTo>
                <a:lnTo>
                  <a:pt x="827" y="816"/>
                </a:lnTo>
                <a:lnTo>
                  <a:pt x="835" y="810"/>
                </a:lnTo>
                <a:lnTo>
                  <a:pt x="834" y="802"/>
                </a:lnTo>
                <a:lnTo>
                  <a:pt x="833" y="801"/>
                </a:lnTo>
                <a:lnTo>
                  <a:pt x="831" y="799"/>
                </a:lnTo>
                <a:lnTo>
                  <a:pt x="827" y="797"/>
                </a:lnTo>
                <a:lnTo>
                  <a:pt x="824" y="796"/>
                </a:lnTo>
                <a:lnTo>
                  <a:pt x="827" y="795"/>
                </a:lnTo>
                <a:lnTo>
                  <a:pt x="832" y="795"/>
                </a:lnTo>
                <a:lnTo>
                  <a:pt x="833" y="794"/>
                </a:lnTo>
                <a:lnTo>
                  <a:pt x="835" y="792"/>
                </a:lnTo>
                <a:lnTo>
                  <a:pt x="833" y="794"/>
                </a:lnTo>
                <a:lnTo>
                  <a:pt x="832" y="795"/>
                </a:lnTo>
                <a:lnTo>
                  <a:pt x="833" y="796"/>
                </a:lnTo>
                <a:lnTo>
                  <a:pt x="835" y="797"/>
                </a:lnTo>
                <a:lnTo>
                  <a:pt x="841" y="799"/>
                </a:lnTo>
                <a:lnTo>
                  <a:pt x="847" y="797"/>
                </a:lnTo>
                <a:lnTo>
                  <a:pt x="849" y="797"/>
                </a:lnTo>
                <a:lnTo>
                  <a:pt x="851" y="797"/>
                </a:lnTo>
                <a:lnTo>
                  <a:pt x="846" y="802"/>
                </a:lnTo>
                <a:lnTo>
                  <a:pt x="841" y="808"/>
                </a:lnTo>
                <a:lnTo>
                  <a:pt x="841" y="809"/>
                </a:lnTo>
                <a:lnTo>
                  <a:pt x="844" y="809"/>
                </a:lnTo>
                <a:lnTo>
                  <a:pt x="845" y="810"/>
                </a:lnTo>
                <a:lnTo>
                  <a:pt x="845" y="811"/>
                </a:lnTo>
                <a:lnTo>
                  <a:pt x="841" y="819"/>
                </a:lnTo>
                <a:lnTo>
                  <a:pt x="849" y="824"/>
                </a:lnTo>
                <a:lnTo>
                  <a:pt x="846" y="825"/>
                </a:lnTo>
                <a:lnTo>
                  <a:pt x="842" y="826"/>
                </a:lnTo>
                <a:lnTo>
                  <a:pt x="848" y="830"/>
                </a:lnTo>
                <a:lnTo>
                  <a:pt x="854" y="831"/>
                </a:lnTo>
                <a:lnTo>
                  <a:pt x="855" y="830"/>
                </a:lnTo>
                <a:lnTo>
                  <a:pt x="856" y="829"/>
                </a:lnTo>
                <a:lnTo>
                  <a:pt x="856" y="826"/>
                </a:lnTo>
                <a:lnTo>
                  <a:pt x="854" y="826"/>
                </a:lnTo>
                <a:lnTo>
                  <a:pt x="852" y="825"/>
                </a:lnTo>
                <a:lnTo>
                  <a:pt x="852" y="823"/>
                </a:lnTo>
                <a:lnTo>
                  <a:pt x="853" y="823"/>
                </a:lnTo>
                <a:lnTo>
                  <a:pt x="854" y="823"/>
                </a:lnTo>
                <a:lnTo>
                  <a:pt x="858" y="824"/>
                </a:lnTo>
                <a:lnTo>
                  <a:pt x="861" y="826"/>
                </a:lnTo>
                <a:lnTo>
                  <a:pt x="863" y="829"/>
                </a:lnTo>
                <a:lnTo>
                  <a:pt x="866" y="830"/>
                </a:lnTo>
                <a:lnTo>
                  <a:pt x="882" y="829"/>
                </a:lnTo>
                <a:lnTo>
                  <a:pt x="895" y="819"/>
                </a:lnTo>
                <a:lnTo>
                  <a:pt x="896" y="819"/>
                </a:lnTo>
                <a:lnTo>
                  <a:pt x="896" y="819"/>
                </a:lnTo>
                <a:lnTo>
                  <a:pt x="898" y="820"/>
                </a:lnTo>
                <a:lnTo>
                  <a:pt x="902" y="819"/>
                </a:lnTo>
                <a:lnTo>
                  <a:pt x="908" y="813"/>
                </a:lnTo>
                <a:lnTo>
                  <a:pt x="911" y="805"/>
                </a:lnTo>
                <a:lnTo>
                  <a:pt x="916" y="799"/>
                </a:lnTo>
                <a:lnTo>
                  <a:pt x="910" y="795"/>
                </a:lnTo>
                <a:lnTo>
                  <a:pt x="914" y="791"/>
                </a:lnTo>
                <a:lnTo>
                  <a:pt x="911" y="787"/>
                </a:lnTo>
                <a:lnTo>
                  <a:pt x="903" y="784"/>
                </a:lnTo>
                <a:lnTo>
                  <a:pt x="895" y="782"/>
                </a:lnTo>
                <a:lnTo>
                  <a:pt x="895" y="780"/>
                </a:lnTo>
                <a:lnTo>
                  <a:pt x="895" y="777"/>
                </a:lnTo>
                <a:lnTo>
                  <a:pt x="907" y="780"/>
                </a:lnTo>
                <a:lnTo>
                  <a:pt x="917" y="784"/>
                </a:lnTo>
                <a:lnTo>
                  <a:pt x="918" y="780"/>
                </a:lnTo>
                <a:lnTo>
                  <a:pt x="917" y="775"/>
                </a:lnTo>
                <a:lnTo>
                  <a:pt x="917" y="771"/>
                </a:lnTo>
                <a:lnTo>
                  <a:pt x="920" y="771"/>
                </a:lnTo>
                <a:lnTo>
                  <a:pt x="921" y="776"/>
                </a:lnTo>
                <a:lnTo>
                  <a:pt x="922" y="780"/>
                </a:lnTo>
                <a:lnTo>
                  <a:pt x="923" y="816"/>
                </a:lnTo>
                <a:lnTo>
                  <a:pt x="922" y="852"/>
                </a:lnTo>
                <a:lnTo>
                  <a:pt x="923" y="866"/>
                </a:lnTo>
                <a:lnTo>
                  <a:pt x="921" y="881"/>
                </a:lnTo>
                <a:lnTo>
                  <a:pt x="913" y="873"/>
                </a:lnTo>
                <a:lnTo>
                  <a:pt x="904" y="866"/>
                </a:lnTo>
                <a:lnTo>
                  <a:pt x="904" y="866"/>
                </a:lnTo>
                <a:lnTo>
                  <a:pt x="903" y="864"/>
                </a:lnTo>
                <a:lnTo>
                  <a:pt x="901" y="865"/>
                </a:lnTo>
                <a:lnTo>
                  <a:pt x="901" y="866"/>
                </a:lnTo>
                <a:lnTo>
                  <a:pt x="903" y="867"/>
                </a:lnTo>
                <a:lnTo>
                  <a:pt x="915" y="881"/>
                </a:lnTo>
                <a:lnTo>
                  <a:pt x="925" y="897"/>
                </a:lnTo>
                <a:lnTo>
                  <a:pt x="925" y="832"/>
                </a:lnTo>
                <a:lnTo>
                  <a:pt x="925" y="767"/>
                </a:lnTo>
                <a:lnTo>
                  <a:pt x="923" y="761"/>
                </a:lnTo>
                <a:lnTo>
                  <a:pt x="917" y="762"/>
                </a:lnTo>
                <a:lnTo>
                  <a:pt x="894" y="768"/>
                </a:lnTo>
                <a:lnTo>
                  <a:pt x="869" y="775"/>
                </a:lnTo>
                <a:lnTo>
                  <a:pt x="842" y="781"/>
                </a:lnTo>
                <a:lnTo>
                  <a:pt x="817" y="788"/>
                </a:lnTo>
                <a:lnTo>
                  <a:pt x="780" y="796"/>
                </a:lnTo>
                <a:lnTo>
                  <a:pt x="744" y="805"/>
                </a:lnTo>
                <a:lnTo>
                  <a:pt x="723" y="811"/>
                </a:lnTo>
                <a:lnTo>
                  <a:pt x="702" y="816"/>
                </a:lnTo>
                <a:lnTo>
                  <a:pt x="702" y="817"/>
                </a:lnTo>
                <a:lnTo>
                  <a:pt x="702" y="817"/>
                </a:lnTo>
                <a:lnTo>
                  <a:pt x="723" y="816"/>
                </a:lnTo>
                <a:lnTo>
                  <a:pt x="743" y="816"/>
                </a:lnTo>
                <a:lnTo>
                  <a:pt x="752" y="816"/>
                </a:lnTo>
                <a:lnTo>
                  <a:pt x="760" y="816"/>
                </a:lnTo>
                <a:lnTo>
                  <a:pt x="762" y="816"/>
                </a:lnTo>
                <a:lnTo>
                  <a:pt x="764" y="816"/>
                </a:lnTo>
                <a:lnTo>
                  <a:pt x="770" y="817"/>
                </a:lnTo>
                <a:lnTo>
                  <a:pt x="776" y="817"/>
                </a:lnTo>
                <a:lnTo>
                  <a:pt x="794" y="818"/>
                </a:lnTo>
                <a:lnTo>
                  <a:pt x="813" y="820"/>
                </a:lnTo>
                <a:lnTo>
                  <a:pt x="817" y="820"/>
                </a:lnTo>
                <a:lnTo>
                  <a:pt x="821" y="820"/>
                </a:lnTo>
                <a:lnTo>
                  <a:pt x="821" y="820"/>
                </a:lnTo>
                <a:lnTo>
                  <a:pt x="821" y="820"/>
                </a:lnTo>
                <a:lnTo>
                  <a:pt x="821" y="820"/>
                </a:lnTo>
                <a:lnTo>
                  <a:pt x="821" y="820"/>
                </a:lnTo>
                <a:lnTo>
                  <a:pt x="822" y="822"/>
                </a:lnTo>
                <a:lnTo>
                  <a:pt x="824" y="823"/>
                </a:lnTo>
                <a:close/>
                <a:moveTo>
                  <a:pt x="387" y="957"/>
                </a:moveTo>
                <a:lnTo>
                  <a:pt x="389" y="957"/>
                </a:lnTo>
                <a:lnTo>
                  <a:pt x="389" y="958"/>
                </a:lnTo>
                <a:lnTo>
                  <a:pt x="389" y="957"/>
                </a:lnTo>
                <a:lnTo>
                  <a:pt x="389" y="957"/>
                </a:lnTo>
                <a:lnTo>
                  <a:pt x="389" y="957"/>
                </a:lnTo>
                <a:lnTo>
                  <a:pt x="389" y="957"/>
                </a:lnTo>
                <a:lnTo>
                  <a:pt x="389" y="957"/>
                </a:lnTo>
                <a:lnTo>
                  <a:pt x="387" y="957"/>
                </a:lnTo>
                <a:close/>
                <a:moveTo>
                  <a:pt x="894" y="1000"/>
                </a:moveTo>
                <a:lnTo>
                  <a:pt x="894" y="1000"/>
                </a:lnTo>
                <a:lnTo>
                  <a:pt x="895" y="1000"/>
                </a:lnTo>
                <a:lnTo>
                  <a:pt x="894" y="999"/>
                </a:lnTo>
                <a:lnTo>
                  <a:pt x="894" y="999"/>
                </a:lnTo>
                <a:lnTo>
                  <a:pt x="894" y="999"/>
                </a:lnTo>
                <a:lnTo>
                  <a:pt x="894" y="1000"/>
                </a:lnTo>
                <a:lnTo>
                  <a:pt x="894" y="1000"/>
                </a:lnTo>
                <a:lnTo>
                  <a:pt x="894" y="1000"/>
                </a:lnTo>
                <a:close/>
                <a:moveTo>
                  <a:pt x="391" y="955"/>
                </a:moveTo>
                <a:lnTo>
                  <a:pt x="391" y="955"/>
                </a:lnTo>
                <a:lnTo>
                  <a:pt x="391" y="955"/>
                </a:lnTo>
                <a:lnTo>
                  <a:pt x="391" y="953"/>
                </a:lnTo>
                <a:lnTo>
                  <a:pt x="390" y="953"/>
                </a:lnTo>
                <a:lnTo>
                  <a:pt x="390" y="953"/>
                </a:lnTo>
                <a:lnTo>
                  <a:pt x="390" y="955"/>
                </a:lnTo>
                <a:lnTo>
                  <a:pt x="390" y="955"/>
                </a:lnTo>
                <a:lnTo>
                  <a:pt x="391" y="955"/>
                </a:lnTo>
                <a:close/>
                <a:moveTo>
                  <a:pt x="393" y="952"/>
                </a:moveTo>
                <a:lnTo>
                  <a:pt x="393" y="952"/>
                </a:lnTo>
                <a:lnTo>
                  <a:pt x="394" y="952"/>
                </a:lnTo>
                <a:lnTo>
                  <a:pt x="394" y="951"/>
                </a:lnTo>
                <a:lnTo>
                  <a:pt x="394" y="950"/>
                </a:lnTo>
                <a:lnTo>
                  <a:pt x="393" y="951"/>
                </a:lnTo>
                <a:lnTo>
                  <a:pt x="393" y="952"/>
                </a:lnTo>
                <a:close/>
                <a:moveTo>
                  <a:pt x="394" y="950"/>
                </a:move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400" y="948"/>
                </a:lnTo>
                <a:lnTo>
                  <a:pt x="405" y="943"/>
                </a:lnTo>
                <a:lnTo>
                  <a:pt x="409" y="942"/>
                </a:lnTo>
                <a:lnTo>
                  <a:pt x="411" y="938"/>
                </a:lnTo>
                <a:lnTo>
                  <a:pt x="413" y="937"/>
                </a:lnTo>
                <a:lnTo>
                  <a:pt x="416" y="935"/>
                </a:lnTo>
                <a:lnTo>
                  <a:pt x="426" y="928"/>
                </a:lnTo>
                <a:lnTo>
                  <a:pt x="437" y="920"/>
                </a:lnTo>
                <a:lnTo>
                  <a:pt x="437" y="920"/>
                </a:lnTo>
                <a:lnTo>
                  <a:pt x="441" y="918"/>
                </a:lnTo>
                <a:lnTo>
                  <a:pt x="445" y="915"/>
                </a:lnTo>
                <a:lnTo>
                  <a:pt x="449" y="913"/>
                </a:lnTo>
                <a:lnTo>
                  <a:pt x="452" y="909"/>
                </a:lnTo>
                <a:lnTo>
                  <a:pt x="447" y="910"/>
                </a:lnTo>
                <a:lnTo>
                  <a:pt x="442" y="913"/>
                </a:lnTo>
                <a:lnTo>
                  <a:pt x="442" y="913"/>
                </a:lnTo>
                <a:lnTo>
                  <a:pt x="439" y="916"/>
                </a:lnTo>
                <a:lnTo>
                  <a:pt x="435" y="918"/>
                </a:lnTo>
                <a:lnTo>
                  <a:pt x="431" y="922"/>
                </a:lnTo>
                <a:lnTo>
                  <a:pt x="425" y="922"/>
                </a:lnTo>
                <a:lnTo>
                  <a:pt x="426" y="920"/>
                </a:lnTo>
                <a:lnTo>
                  <a:pt x="425" y="917"/>
                </a:lnTo>
                <a:lnTo>
                  <a:pt x="419" y="918"/>
                </a:lnTo>
                <a:lnTo>
                  <a:pt x="419" y="923"/>
                </a:lnTo>
                <a:lnTo>
                  <a:pt x="421" y="923"/>
                </a:lnTo>
                <a:lnTo>
                  <a:pt x="425" y="922"/>
                </a:lnTo>
                <a:lnTo>
                  <a:pt x="420" y="929"/>
                </a:lnTo>
                <a:lnTo>
                  <a:pt x="414" y="934"/>
                </a:lnTo>
                <a:lnTo>
                  <a:pt x="414" y="934"/>
                </a:lnTo>
                <a:lnTo>
                  <a:pt x="412" y="935"/>
                </a:lnTo>
                <a:lnTo>
                  <a:pt x="410" y="937"/>
                </a:lnTo>
                <a:lnTo>
                  <a:pt x="406" y="939"/>
                </a:lnTo>
                <a:lnTo>
                  <a:pt x="404" y="943"/>
                </a:lnTo>
                <a:lnTo>
                  <a:pt x="405" y="943"/>
                </a:lnTo>
                <a:lnTo>
                  <a:pt x="405" y="943"/>
                </a:lnTo>
                <a:lnTo>
                  <a:pt x="404" y="943"/>
                </a:lnTo>
                <a:lnTo>
                  <a:pt x="399" y="945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close/>
                <a:moveTo>
                  <a:pt x="418" y="897"/>
                </a:moveTo>
                <a:lnTo>
                  <a:pt x="416" y="896"/>
                </a:lnTo>
                <a:lnTo>
                  <a:pt x="414" y="897"/>
                </a:lnTo>
                <a:lnTo>
                  <a:pt x="409" y="899"/>
                </a:lnTo>
                <a:lnTo>
                  <a:pt x="403" y="901"/>
                </a:lnTo>
                <a:lnTo>
                  <a:pt x="410" y="904"/>
                </a:lnTo>
                <a:lnTo>
                  <a:pt x="416" y="900"/>
                </a:lnTo>
                <a:lnTo>
                  <a:pt x="416" y="900"/>
                </a:lnTo>
                <a:lnTo>
                  <a:pt x="418" y="899"/>
                </a:lnTo>
                <a:lnTo>
                  <a:pt x="418" y="897"/>
                </a:lnTo>
                <a:close/>
                <a:moveTo>
                  <a:pt x="481" y="893"/>
                </a:moveTo>
                <a:lnTo>
                  <a:pt x="479" y="892"/>
                </a:lnTo>
                <a:lnTo>
                  <a:pt x="476" y="894"/>
                </a:lnTo>
                <a:lnTo>
                  <a:pt x="472" y="895"/>
                </a:lnTo>
                <a:lnTo>
                  <a:pt x="467" y="899"/>
                </a:lnTo>
                <a:lnTo>
                  <a:pt x="465" y="899"/>
                </a:lnTo>
                <a:lnTo>
                  <a:pt x="463" y="901"/>
                </a:lnTo>
                <a:lnTo>
                  <a:pt x="462" y="902"/>
                </a:lnTo>
                <a:lnTo>
                  <a:pt x="461" y="903"/>
                </a:lnTo>
                <a:lnTo>
                  <a:pt x="463" y="903"/>
                </a:lnTo>
                <a:lnTo>
                  <a:pt x="465" y="903"/>
                </a:lnTo>
                <a:lnTo>
                  <a:pt x="467" y="902"/>
                </a:lnTo>
                <a:lnTo>
                  <a:pt x="469" y="900"/>
                </a:lnTo>
                <a:lnTo>
                  <a:pt x="474" y="899"/>
                </a:lnTo>
                <a:lnTo>
                  <a:pt x="478" y="895"/>
                </a:lnTo>
                <a:lnTo>
                  <a:pt x="480" y="894"/>
                </a:lnTo>
                <a:lnTo>
                  <a:pt x="481" y="893"/>
                </a:lnTo>
                <a:close/>
                <a:moveTo>
                  <a:pt x="895" y="1029"/>
                </a:moveTo>
                <a:lnTo>
                  <a:pt x="895" y="1029"/>
                </a:lnTo>
                <a:lnTo>
                  <a:pt x="895" y="1029"/>
                </a:lnTo>
                <a:lnTo>
                  <a:pt x="891" y="1030"/>
                </a:lnTo>
                <a:lnTo>
                  <a:pt x="890" y="1035"/>
                </a:lnTo>
                <a:lnTo>
                  <a:pt x="893" y="1032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lnTo>
                  <a:pt x="896" y="1027"/>
                </a:lnTo>
                <a:lnTo>
                  <a:pt x="897" y="1025"/>
                </a:lnTo>
                <a:lnTo>
                  <a:pt x="911" y="999"/>
                </a:lnTo>
                <a:lnTo>
                  <a:pt x="921" y="971"/>
                </a:lnTo>
                <a:lnTo>
                  <a:pt x="921" y="960"/>
                </a:lnTo>
                <a:lnTo>
                  <a:pt x="922" y="950"/>
                </a:lnTo>
                <a:lnTo>
                  <a:pt x="923" y="944"/>
                </a:lnTo>
                <a:lnTo>
                  <a:pt x="921" y="939"/>
                </a:lnTo>
                <a:lnTo>
                  <a:pt x="911" y="903"/>
                </a:lnTo>
                <a:lnTo>
                  <a:pt x="889" y="874"/>
                </a:lnTo>
                <a:lnTo>
                  <a:pt x="856" y="852"/>
                </a:lnTo>
                <a:lnTo>
                  <a:pt x="819" y="838"/>
                </a:lnTo>
                <a:lnTo>
                  <a:pt x="785" y="830"/>
                </a:lnTo>
                <a:lnTo>
                  <a:pt x="749" y="827"/>
                </a:lnTo>
                <a:lnTo>
                  <a:pt x="721" y="827"/>
                </a:lnTo>
                <a:lnTo>
                  <a:pt x="692" y="830"/>
                </a:lnTo>
                <a:lnTo>
                  <a:pt x="661" y="834"/>
                </a:lnTo>
                <a:lnTo>
                  <a:pt x="631" y="840"/>
                </a:lnTo>
                <a:lnTo>
                  <a:pt x="590" y="851"/>
                </a:lnTo>
                <a:lnTo>
                  <a:pt x="550" y="866"/>
                </a:lnTo>
                <a:lnTo>
                  <a:pt x="486" y="895"/>
                </a:lnTo>
                <a:lnTo>
                  <a:pt x="426" y="932"/>
                </a:lnTo>
                <a:lnTo>
                  <a:pt x="365" y="987"/>
                </a:lnTo>
                <a:lnTo>
                  <a:pt x="321" y="1056"/>
                </a:lnTo>
                <a:lnTo>
                  <a:pt x="309" y="1093"/>
                </a:lnTo>
                <a:lnTo>
                  <a:pt x="310" y="1131"/>
                </a:lnTo>
                <a:lnTo>
                  <a:pt x="316" y="1151"/>
                </a:lnTo>
                <a:lnTo>
                  <a:pt x="328" y="1167"/>
                </a:lnTo>
                <a:lnTo>
                  <a:pt x="328" y="1167"/>
                </a:lnTo>
                <a:lnTo>
                  <a:pt x="328" y="1168"/>
                </a:lnTo>
                <a:lnTo>
                  <a:pt x="328" y="1169"/>
                </a:lnTo>
                <a:lnTo>
                  <a:pt x="329" y="1172"/>
                </a:lnTo>
                <a:lnTo>
                  <a:pt x="330" y="1173"/>
                </a:lnTo>
                <a:lnTo>
                  <a:pt x="362" y="1201"/>
                </a:lnTo>
                <a:lnTo>
                  <a:pt x="401" y="1217"/>
                </a:lnTo>
                <a:lnTo>
                  <a:pt x="410" y="1221"/>
                </a:lnTo>
                <a:lnTo>
                  <a:pt x="421" y="1220"/>
                </a:lnTo>
                <a:lnTo>
                  <a:pt x="392" y="1209"/>
                </a:lnTo>
                <a:lnTo>
                  <a:pt x="368" y="1194"/>
                </a:lnTo>
                <a:lnTo>
                  <a:pt x="364" y="1190"/>
                </a:lnTo>
                <a:lnTo>
                  <a:pt x="364" y="1188"/>
                </a:lnTo>
                <a:lnTo>
                  <a:pt x="369" y="1184"/>
                </a:lnTo>
                <a:lnTo>
                  <a:pt x="376" y="1183"/>
                </a:lnTo>
                <a:lnTo>
                  <a:pt x="379" y="1188"/>
                </a:lnTo>
                <a:lnTo>
                  <a:pt x="379" y="1193"/>
                </a:lnTo>
                <a:lnTo>
                  <a:pt x="384" y="1193"/>
                </a:lnTo>
                <a:lnTo>
                  <a:pt x="387" y="1193"/>
                </a:lnTo>
                <a:lnTo>
                  <a:pt x="389" y="1194"/>
                </a:lnTo>
                <a:lnTo>
                  <a:pt x="390" y="1194"/>
                </a:lnTo>
                <a:lnTo>
                  <a:pt x="391" y="1195"/>
                </a:lnTo>
                <a:lnTo>
                  <a:pt x="392" y="1195"/>
                </a:lnTo>
                <a:lnTo>
                  <a:pt x="393" y="1197"/>
                </a:lnTo>
                <a:lnTo>
                  <a:pt x="396" y="1197"/>
                </a:lnTo>
                <a:lnTo>
                  <a:pt x="401" y="1203"/>
                </a:lnTo>
                <a:lnTo>
                  <a:pt x="410" y="1203"/>
                </a:lnTo>
                <a:lnTo>
                  <a:pt x="416" y="1209"/>
                </a:lnTo>
                <a:lnTo>
                  <a:pt x="425" y="1211"/>
                </a:lnTo>
                <a:lnTo>
                  <a:pt x="438" y="1216"/>
                </a:lnTo>
                <a:lnTo>
                  <a:pt x="452" y="1218"/>
                </a:lnTo>
                <a:lnTo>
                  <a:pt x="454" y="1218"/>
                </a:lnTo>
                <a:lnTo>
                  <a:pt x="455" y="1220"/>
                </a:lnTo>
                <a:lnTo>
                  <a:pt x="453" y="1224"/>
                </a:lnTo>
                <a:lnTo>
                  <a:pt x="456" y="1228"/>
                </a:lnTo>
                <a:lnTo>
                  <a:pt x="465" y="1228"/>
                </a:lnTo>
                <a:lnTo>
                  <a:pt x="469" y="1222"/>
                </a:lnTo>
                <a:lnTo>
                  <a:pt x="470" y="1221"/>
                </a:lnTo>
                <a:lnTo>
                  <a:pt x="472" y="1221"/>
                </a:lnTo>
                <a:lnTo>
                  <a:pt x="479" y="1223"/>
                </a:lnTo>
                <a:lnTo>
                  <a:pt x="485" y="1223"/>
                </a:lnTo>
                <a:lnTo>
                  <a:pt x="488" y="1224"/>
                </a:lnTo>
                <a:lnTo>
                  <a:pt x="490" y="1224"/>
                </a:lnTo>
                <a:lnTo>
                  <a:pt x="502" y="1223"/>
                </a:lnTo>
                <a:lnTo>
                  <a:pt x="514" y="1224"/>
                </a:lnTo>
                <a:lnTo>
                  <a:pt x="525" y="1223"/>
                </a:lnTo>
                <a:lnTo>
                  <a:pt x="538" y="1223"/>
                </a:lnTo>
                <a:lnTo>
                  <a:pt x="547" y="1223"/>
                </a:lnTo>
                <a:lnTo>
                  <a:pt x="555" y="1220"/>
                </a:lnTo>
                <a:lnTo>
                  <a:pt x="565" y="1220"/>
                </a:lnTo>
                <a:lnTo>
                  <a:pt x="576" y="1218"/>
                </a:lnTo>
                <a:lnTo>
                  <a:pt x="593" y="1215"/>
                </a:lnTo>
                <a:lnTo>
                  <a:pt x="611" y="1210"/>
                </a:lnTo>
                <a:lnTo>
                  <a:pt x="645" y="1201"/>
                </a:lnTo>
                <a:lnTo>
                  <a:pt x="679" y="1188"/>
                </a:lnTo>
                <a:lnTo>
                  <a:pt x="722" y="1169"/>
                </a:lnTo>
                <a:lnTo>
                  <a:pt x="764" y="1147"/>
                </a:lnTo>
                <a:lnTo>
                  <a:pt x="783" y="1135"/>
                </a:lnTo>
                <a:lnTo>
                  <a:pt x="801" y="1121"/>
                </a:lnTo>
                <a:lnTo>
                  <a:pt x="818" y="1109"/>
                </a:lnTo>
                <a:lnTo>
                  <a:pt x="832" y="1095"/>
                </a:lnTo>
                <a:lnTo>
                  <a:pt x="842" y="1084"/>
                </a:lnTo>
                <a:lnTo>
                  <a:pt x="852" y="1072"/>
                </a:lnTo>
                <a:lnTo>
                  <a:pt x="854" y="1070"/>
                </a:lnTo>
                <a:lnTo>
                  <a:pt x="859" y="1069"/>
                </a:lnTo>
                <a:lnTo>
                  <a:pt x="865" y="1069"/>
                </a:lnTo>
                <a:lnTo>
                  <a:pt x="868" y="1064"/>
                </a:lnTo>
                <a:lnTo>
                  <a:pt x="869" y="1061"/>
                </a:lnTo>
                <a:lnTo>
                  <a:pt x="865" y="1058"/>
                </a:lnTo>
                <a:lnTo>
                  <a:pt x="865" y="1057"/>
                </a:lnTo>
                <a:lnTo>
                  <a:pt x="866" y="1055"/>
                </a:lnTo>
                <a:lnTo>
                  <a:pt x="874" y="1043"/>
                </a:lnTo>
                <a:lnTo>
                  <a:pt x="880" y="1032"/>
                </a:lnTo>
                <a:lnTo>
                  <a:pt x="883" y="1028"/>
                </a:lnTo>
                <a:lnTo>
                  <a:pt x="886" y="1023"/>
                </a:lnTo>
                <a:lnTo>
                  <a:pt x="887" y="1015"/>
                </a:lnTo>
                <a:lnTo>
                  <a:pt x="893" y="1008"/>
                </a:lnTo>
                <a:lnTo>
                  <a:pt x="894" y="1006"/>
                </a:lnTo>
                <a:lnTo>
                  <a:pt x="893" y="1004"/>
                </a:lnTo>
                <a:lnTo>
                  <a:pt x="893" y="1002"/>
                </a:lnTo>
                <a:lnTo>
                  <a:pt x="893" y="1002"/>
                </a:lnTo>
                <a:lnTo>
                  <a:pt x="893" y="1002"/>
                </a:lnTo>
                <a:lnTo>
                  <a:pt x="891" y="1001"/>
                </a:lnTo>
                <a:lnTo>
                  <a:pt x="893" y="999"/>
                </a:lnTo>
                <a:lnTo>
                  <a:pt x="893" y="995"/>
                </a:lnTo>
                <a:lnTo>
                  <a:pt x="897" y="990"/>
                </a:lnTo>
                <a:lnTo>
                  <a:pt x="897" y="980"/>
                </a:lnTo>
                <a:lnTo>
                  <a:pt x="900" y="973"/>
                </a:lnTo>
                <a:lnTo>
                  <a:pt x="907" y="971"/>
                </a:lnTo>
                <a:lnTo>
                  <a:pt x="910" y="974"/>
                </a:lnTo>
                <a:lnTo>
                  <a:pt x="909" y="979"/>
                </a:lnTo>
                <a:lnTo>
                  <a:pt x="904" y="1002"/>
                </a:lnTo>
                <a:lnTo>
                  <a:pt x="896" y="1025"/>
                </a:lnTo>
                <a:lnTo>
                  <a:pt x="895" y="1027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close/>
                <a:moveTo>
                  <a:pt x="592" y="847"/>
                </a:moveTo>
                <a:lnTo>
                  <a:pt x="597" y="846"/>
                </a:lnTo>
                <a:lnTo>
                  <a:pt x="599" y="844"/>
                </a:lnTo>
                <a:lnTo>
                  <a:pt x="605" y="844"/>
                </a:lnTo>
                <a:lnTo>
                  <a:pt x="610" y="841"/>
                </a:lnTo>
                <a:lnTo>
                  <a:pt x="614" y="841"/>
                </a:lnTo>
                <a:lnTo>
                  <a:pt x="618" y="838"/>
                </a:lnTo>
                <a:lnTo>
                  <a:pt x="612" y="838"/>
                </a:lnTo>
                <a:lnTo>
                  <a:pt x="608" y="840"/>
                </a:lnTo>
                <a:lnTo>
                  <a:pt x="603" y="840"/>
                </a:lnTo>
                <a:lnTo>
                  <a:pt x="598" y="843"/>
                </a:lnTo>
                <a:lnTo>
                  <a:pt x="594" y="843"/>
                </a:lnTo>
                <a:lnTo>
                  <a:pt x="591" y="845"/>
                </a:lnTo>
                <a:lnTo>
                  <a:pt x="591" y="845"/>
                </a:lnTo>
                <a:lnTo>
                  <a:pt x="586" y="846"/>
                </a:lnTo>
                <a:lnTo>
                  <a:pt x="583" y="847"/>
                </a:lnTo>
                <a:lnTo>
                  <a:pt x="571" y="850"/>
                </a:lnTo>
                <a:lnTo>
                  <a:pt x="561" y="855"/>
                </a:lnTo>
                <a:lnTo>
                  <a:pt x="554" y="857"/>
                </a:lnTo>
                <a:lnTo>
                  <a:pt x="547" y="860"/>
                </a:lnTo>
                <a:lnTo>
                  <a:pt x="535" y="865"/>
                </a:lnTo>
                <a:lnTo>
                  <a:pt x="523" y="871"/>
                </a:lnTo>
                <a:lnTo>
                  <a:pt x="523" y="871"/>
                </a:lnTo>
                <a:lnTo>
                  <a:pt x="520" y="872"/>
                </a:lnTo>
                <a:lnTo>
                  <a:pt x="517" y="873"/>
                </a:lnTo>
                <a:lnTo>
                  <a:pt x="517" y="873"/>
                </a:lnTo>
                <a:lnTo>
                  <a:pt x="516" y="874"/>
                </a:lnTo>
                <a:lnTo>
                  <a:pt x="516" y="875"/>
                </a:lnTo>
                <a:lnTo>
                  <a:pt x="517" y="874"/>
                </a:lnTo>
                <a:lnTo>
                  <a:pt x="518" y="874"/>
                </a:lnTo>
                <a:lnTo>
                  <a:pt x="522" y="874"/>
                </a:lnTo>
                <a:lnTo>
                  <a:pt x="524" y="873"/>
                </a:lnTo>
                <a:lnTo>
                  <a:pt x="524" y="872"/>
                </a:lnTo>
                <a:lnTo>
                  <a:pt x="524" y="872"/>
                </a:lnTo>
                <a:lnTo>
                  <a:pt x="524" y="872"/>
                </a:lnTo>
                <a:lnTo>
                  <a:pt x="524" y="873"/>
                </a:lnTo>
                <a:lnTo>
                  <a:pt x="536" y="867"/>
                </a:lnTo>
                <a:lnTo>
                  <a:pt x="549" y="862"/>
                </a:lnTo>
                <a:lnTo>
                  <a:pt x="549" y="862"/>
                </a:lnTo>
                <a:lnTo>
                  <a:pt x="556" y="860"/>
                </a:lnTo>
                <a:lnTo>
                  <a:pt x="562" y="857"/>
                </a:lnTo>
                <a:lnTo>
                  <a:pt x="573" y="854"/>
                </a:lnTo>
                <a:lnTo>
                  <a:pt x="584" y="848"/>
                </a:lnTo>
                <a:lnTo>
                  <a:pt x="589" y="848"/>
                </a:lnTo>
                <a:lnTo>
                  <a:pt x="592" y="847"/>
                </a:lnTo>
                <a:close/>
                <a:moveTo>
                  <a:pt x="628" y="837"/>
                </a:moveTo>
                <a:lnTo>
                  <a:pt x="640" y="834"/>
                </a:lnTo>
                <a:lnTo>
                  <a:pt x="652" y="832"/>
                </a:lnTo>
                <a:lnTo>
                  <a:pt x="662" y="830"/>
                </a:lnTo>
                <a:lnTo>
                  <a:pt x="673" y="829"/>
                </a:lnTo>
                <a:lnTo>
                  <a:pt x="694" y="825"/>
                </a:lnTo>
                <a:lnTo>
                  <a:pt x="715" y="824"/>
                </a:lnTo>
                <a:lnTo>
                  <a:pt x="715" y="824"/>
                </a:lnTo>
                <a:lnTo>
                  <a:pt x="744" y="822"/>
                </a:lnTo>
                <a:lnTo>
                  <a:pt x="773" y="824"/>
                </a:lnTo>
                <a:lnTo>
                  <a:pt x="790" y="826"/>
                </a:lnTo>
                <a:lnTo>
                  <a:pt x="805" y="827"/>
                </a:lnTo>
                <a:lnTo>
                  <a:pt x="798" y="825"/>
                </a:lnTo>
                <a:lnTo>
                  <a:pt x="790" y="823"/>
                </a:lnTo>
                <a:lnTo>
                  <a:pt x="727" y="820"/>
                </a:lnTo>
                <a:lnTo>
                  <a:pt x="663" y="826"/>
                </a:lnTo>
                <a:lnTo>
                  <a:pt x="656" y="827"/>
                </a:lnTo>
                <a:lnTo>
                  <a:pt x="651" y="830"/>
                </a:lnTo>
                <a:lnTo>
                  <a:pt x="639" y="831"/>
                </a:lnTo>
                <a:lnTo>
                  <a:pt x="627" y="836"/>
                </a:lnTo>
                <a:lnTo>
                  <a:pt x="627" y="836"/>
                </a:lnTo>
                <a:lnTo>
                  <a:pt x="624" y="836"/>
                </a:lnTo>
                <a:lnTo>
                  <a:pt x="619" y="837"/>
                </a:lnTo>
                <a:lnTo>
                  <a:pt x="624" y="838"/>
                </a:lnTo>
                <a:lnTo>
                  <a:pt x="628" y="837"/>
                </a:lnTo>
                <a:lnTo>
                  <a:pt x="628" y="837"/>
                </a:lnTo>
                <a:close/>
                <a:moveTo>
                  <a:pt x="652" y="831"/>
                </a:moveTo>
                <a:lnTo>
                  <a:pt x="652" y="831"/>
                </a:lnTo>
                <a:lnTo>
                  <a:pt x="651" y="830"/>
                </a:lnTo>
                <a:lnTo>
                  <a:pt x="652" y="831"/>
                </a:lnTo>
                <a:lnTo>
                  <a:pt x="652" y="831"/>
                </a:lnTo>
                <a:close/>
                <a:moveTo>
                  <a:pt x="336" y="953"/>
                </a:moveTo>
                <a:lnTo>
                  <a:pt x="335" y="956"/>
                </a:lnTo>
                <a:lnTo>
                  <a:pt x="336" y="959"/>
                </a:lnTo>
                <a:lnTo>
                  <a:pt x="340" y="959"/>
                </a:lnTo>
                <a:lnTo>
                  <a:pt x="344" y="957"/>
                </a:lnTo>
                <a:lnTo>
                  <a:pt x="341" y="953"/>
                </a:lnTo>
                <a:lnTo>
                  <a:pt x="336" y="953"/>
                </a:lnTo>
                <a:close/>
                <a:moveTo>
                  <a:pt x="376" y="953"/>
                </a:moveTo>
                <a:lnTo>
                  <a:pt x="376" y="953"/>
                </a:lnTo>
                <a:lnTo>
                  <a:pt x="376" y="953"/>
                </a:lnTo>
                <a:lnTo>
                  <a:pt x="376" y="953"/>
                </a:lnTo>
                <a:lnTo>
                  <a:pt x="376" y="952"/>
                </a:lnTo>
                <a:lnTo>
                  <a:pt x="377" y="951"/>
                </a:lnTo>
                <a:lnTo>
                  <a:pt x="380" y="950"/>
                </a:lnTo>
                <a:lnTo>
                  <a:pt x="382" y="949"/>
                </a:lnTo>
                <a:lnTo>
                  <a:pt x="383" y="946"/>
                </a:lnTo>
                <a:lnTo>
                  <a:pt x="383" y="946"/>
                </a:lnTo>
                <a:lnTo>
                  <a:pt x="383" y="946"/>
                </a:lnTo>
                <a:lnTo>
                  <a:pt x="384" y="946"/>
                </a:lnTo>
                <a:lnTo>
                  <a:pt x="385" y="945"/>
                </a:lnTo>
                <a:lnTo>
                  <a:pt x="385" y="945"/>
                </a:lnTo>
                <a:lnTo>
                  <a:pt x="391" y="944"/>
                </a:lnTo>
                <a:lnTo>
                  <a:pt x="397" y="942"/>
                </a:lnTo>
                <a:lnTo>
                  <a:pt x="398" y="939"/>
                </a:lnTo>
                <a:lnTo>
                  <a:pt x="400" y="938"/>
                </a:lnTo>
                <a:lnTo>
                  <a:pt x="406" y="934"/>
                </a:lnTo>
                <a:lnTo>
                  <a:pt x="409" y="928"/>
                </a:lnTo>
                <a:lnTo>
                  <a:pt x="412" y="923"/>
                </a:lnTo>
                <a:lnTo>
                  <a:pt x="410" y="917"/>
                </a:lnTo>
                <a:lnTo>
                  <a:pt x="410" y="916"/>
                </a:lnTo>
                <a:lnTo>
                  <a:pt x="410" y="914"/>
                </a:lnTo>
                <a:lnTo>
                  <a:pt x="412" y="915"/>
                </a:lnTo>
                <a:lnTo>
                  <a:pt x="412" y="913"/>
                </a:lnTo>
                <a:lnTo>
                  <a:pt x="403" y="904"/>
                </a:lnTo>
                <a:lnTo>
                  <a:pt x="390" y="904"/>
                </a:lnTo>
                <a:lnTo>
                  <a:pt x="386" y="903"/>
                </a:lnTo>
                <a:lnTo>
                  <a:pt x="383" y="902"/>
                </a:lnTo>
                <a:lnTo>
                  <a:pt x="387" y="902"/>
                </a:lnTo>
                <a:lnTo>
                  <a:pt x="391" y="901"/>
                </a:lnTo>
                <a:lnTo>
                  <a:pt x="411" y="896"/>
                </a:lnTo>
                <a:lnTo>
                  <a:pt x="431" y="892"/>
                </a:lnTo>
                <a:lnTo>
                  <a:pt x="431" y="892"/>
                </a:lnTo>
                <a:lnTo>
                  <a:pt x="432" y="890"/>
                </a:lnTo>
                <a:lnTo>
                  <a:pt x="431" y="892"/>
                </a:lnTo>
                <a:lnTo>
                  <a:pt x="431" y="892"/>
                </a:lnTo>
                <a:lnTo>
                  <a:pt x="431" y="893"/>
                </a:lnTo>
                <a:lnTo>
                  <a:pt x="432" y="894"/>
                </a:lnTo>
                <a:lnTo>
                  <a:pt x="424" y="897"/>
                </a:lnTo>
                <a:lnTo>
                  <a:pt x="418" y="904"/>
                </a:lnTo>
                <a:lnTo>
                  <a:pt x="417" y="909"/>
                </a:lnTo>
                <a:lnTo>
                  <a:pt x="420" y="913"/>
                </a:lnTo>
                <a:lnTo>
                  <a:pt x="428" y="913"/>
                </a:lnTo>
                <a:lnTo>
                  <a:pt x="435" y="911"/>
                </a:lnTo>
                <a:lnTo>
                  <a:pt x="461" y="896"/>
                </a:lnTo>
                <a:lnTo>
                  <a:pt x="487" y="882"/>
                </a:lnTo>
                <a:lnTo>
                  <a:pt x="492" y="880"/>
                </a:lnTo>
                <a:lnTo>
                  <a:pt x="495" y="876"/>
                </a:lnTo>
                <a:lnTo>
                  <a:pt x="516" y="868"/>
                </a:lnTo>
                <a:lnTo>
                  <a:pt x="537" y="859"/>
                </a:lnTo>
                <a:lnTo>
                  <a:pt x="530" y="858"/>
                </a:lnTo>
                <a:lnTo>
                  <a:pt x="525" y="859"/>
                </a:lnTo>
                <a:lnTo>
                  <a:pt x="499" y="866"/>
                </a:lnTo>
                <a:lnTo>
                  <a:pt x="473" y="872"/>
                </a:lnTo>
                <a:lnTo>
                  <a:pt x="447" y="878"/>
                </a:lnTo>
                <a:lnTo>
                  <a:pt x="421" y="885"/>
                </a:lnTo>
                <a:lnTo>
                  <a:pt x="382" y="894"/>
                </a:lnTo>
                <a:lnTo>
                  <a:pt x="342" y="903"/>
                </a:lnTo>
                <a:lnTo>
                  <a:pt x="333" y="908"/>
                </a:lnTo>
                <a:lnTo>
                  <a:pt x="329" y="917"/>
                </a:lnTo>
                <a:lnTo>
                  <a:pt x="322" y="966"/>
                </a:lnTo>
                <a:lnTo>
                  <a:pt x="314" y="1016"/>
                </a:lnTo>
                <a:lnTo>
                  <a:pt x="313" y="1028"/>
                </a:lnTo>
                <a:lnTo>
                  <a:pt x="311" y="1040"/>
                </a:lnTo>
                <a:lnTo>
                  <a:pt x="318" y="1029"/>
                </a:lnTo>
                <a:lnTo>
                  <a:pt x="322" y="1019"/>
                </a:lnTo>
                <a:lnTo>
                  <a:pt x="329" y="971"/>
                </a:lnTo>
                <a:lnTo>
                  <a:pt x="335" y="924"/>
                </a:lnTo>
                <a:lnTo>
                  <a:pt x="336" y="922"/>
                </a:lnTo>
                <a:lnTo>
                  <a:pt x="336" y="920"/>
                </a:lnTo>
                <a:lnTo>
                  <a:pt x="337" y="916"/>
                </a:lnTo>
                <a:lnTo>
                  <a:pt x="338" y="914"/>
                </a:lnTo>
                <a:lnTo>
                  <a:pt x="341" y="914"/>
                </a:lnTo>
                <a:lnTo>
                  <a:pt x="342" y="914"/>
                </a:lnTo>
                <a:lnTo>
                  <a:pt x="341" y="918"/>
                </a:lnTo>
                <a:lnTo>
                  <a:pt x="341" y="923"/>
                </a:lnTo>
                <a:lnTo>
                  <a:pt x="340" y="923"/>
                </a:lnTo>
                <a:lnTo>
                  <a:pt x="340" y="923"/>
                </a:lnTo>
                <a:lnTo>
                  <a:pt x="340" y="923"/>
                </a:lnTo>
                <a:lnTo>
                  <a:pt x="341" y="923"/>
                </a:lnTo>
                <a:lnTo>
                  <a:pt x="342" y="923"/>
                </a:lnTo>
                <a:lnTo>
                  <a:pt x="344" y="923"/>
                </a:lnTo>
                <a:lnTo>
                  <a:pt x="344" y="923"/>
                </a:lnTo>
                <a:lnTo>
                  <a:pt x="344" y="924"/>
                </a:lnTo>
                <a:lnTo>
                  <a:pt x="343" y="929"/>
                </a:lnTo>
                <a:lnTo>
                  <a:pt x="343" y="935"/>
                </a:lnTo>
                <a:lnTo>
                  <a:pt x="343" y="943"/>
                </a:lnTo>
                <a:lnTo>
                  <a:pt x="350" y="944"/>
                </a:lnTo>
                <a:lnTo>
                  <a:pt x="355" y="944"/>
                </a:lnTo>
                <a:lnTo>
                  <a:pt x="357" y="945"/>
                </a:lnTo>
                <a:lnTo>
                  <a:pt x="365" y="953"/>
                </a:lnTo>
                <a:lnTo>
                  <a:pt x="376" y="952"/>
                </a:lnTo>
                <a:lnTo>
                  <a:pt x="376" y="953"/>
                </a:lnTo>
                <a:lnTo>
                  <a:pt x="376" y="953"/>
                </a:lnTo>
                <a:lnTo>
                  <a:pt x="376" y="953"/>
                </a:lnTo>
                <a:lnTo>
                  <a:pt x="376" y="953"/>
                </a:lnTo>
                <a:close/>
                <a:moveTo>
                  <a:pt x="370" y="957"/>
                </a:moveTo>
                <a:lnTo>
                  <a:pt x="372" y="959"/>
                </a:lnTo>
                <a:lnTo>
                  <a:pt x="377" y="959"/>
                </a:lnTo>
                <a:lnTo>
                  <a:pt x="379" y="956"/>
                </a:lnTo>
                <a:lnTo>
                  <a:pt x="380" y="953"/>
                </a:lnTo>
                <a:lnTo>
                  <a:pt x="378" y="953"/>
                </a:lnTo>
                <a:lnTo>
                  <a:pt x="376" y="953"/>
                </a:lnTo>
                <a:lnTo>
                  <a:pt x="372" y="955"/>
                </a:lnTo>
                <a:lnTo>
                  <a:pt x="370" y="957"/>
                </a:lnTo>
                <a:close/>
                <a:moveTo>
                  <a:pt x="352" y="953"/>
                </a:moveTo>
                <a:lnTo>
                  <a:pt x="355" y="953"/>
                </a:lnTo>
                <a:lnTo>
                  <a:pt x="356" y="951"/>
                </a:lnTo>
                <a:lnTo>
                  <a:pt x="355" y="949"/>
                </a:lnTo>
                <a:lnTo>
                  <a:pt x="352" y="948"/>
                </a:lnTo>
                <a:lnTo>
                  <a:pt x="348" y="948"/>
                </a:lnTo>
                <a:lnTo>
                  <a:pt x="342" y="948"/>
                </a:lnTo>
                <a:lnTo>
                  <a:pt x="347" y="952"/>
                </a:lnTo>
                <a:lnTo>
                  <a:pt x="352" y="953"/>
                </a:lnTo>
                <a:close/>
                <a:moveTo>
                  <a:pt x="916" y="822"/>
                </a:moveTo>
                <a:lnTo>
                  <a:pt x="918" y="817"/>
                </a:lnTo>
                <a:lnTo>
                  <a:pt x="917" y="810"/>
                </a:lnTo>
                <a:lnTo>
                  <a:pt x="911" y="816"/>
                </a:lnTo>
                <a:lnTo>
                  <a:pt x="907" y="819"/>
                </a:lnTo>
                <a:lnTo>
                  <a:pt x="911" y="822"/>
                </a:lnTo>
                <a:lnTo>
                  <a:pt x="916" y="822"/>
                </a:lnTo>
                <a:close/>
                <a:moveTo>
                  <a:pt x="334" y="1215"/>
                </a:move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3" y="1209"/>
                </a:lnTo>
                <a:lnTo>
                  <a:pt x="331" y="1204"/>
                </a:lnTo>
                <a:lnTo>
                  <a:pt x="316" y="1190"/>
                </a:lnTo>
                <a:lnTo>
                  <a:pt x="303" y="1173"/>
                </a:lnTo>
                <a:lnTo>
                  <a:pt x="300" y="1197"/>
                </a:lnTo>
                <a:lnTo>
                  <a:pt x="296" y="1220"/>
                </a:lnTo>
                <a:lnTo>
                  <a:pt x="297" y="1224"/>
                </a:lnTo>
                <a:lnTo>
                  <a:pt x="301" y="1227"/>
                </a:lnTo>
                <a:lnTo>
                  <a:pt x="303" y="1228"/>
                </a:lnTo>
                <a:lnTo>
                  <a:pt x="306" y="1225"/>
                </a:lnTo>
                <a:lnTo>
                  <a:pt x="307" y="1224"/>
                </a:lnTo>
                <a:lnTo>
                  <a:pt x="308" y="1225"/>
                </a:lnTo>
                <a:lnTo>
                  <a:pt x="314" y="1227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7"/>
                </a:lnTo>
                <a:lnTo>
                  <a:pt x="320" y="1228"/>
                </a:lnTo>
                <a:lnTo>
                  <a:pt x="303" y="1237"/>
                </a:lnTo>
                <a:lnTo>
                  <a:pt x="294" y="1252"/>
                </a:lnTo>
                <a:lnTo>
                  <a:pt x="296" y="1251"/>
                </a:lnTo>
                <a:lnTo>
                  <a:pt x="300" y="1249"/>
                </a:lnTo>
                <a:lnTo>
                  <a:pt x="297" y="1252"/>
                </a:lnTo>
                <a:lnTo>
                  <a:pt x="296" y="1253"/>
                </a:lnTo>
                <a:lnTo>
                  <a:pt x="293" y="1260"/>
                </a:lnTo>
                <a:lnTo>
                  <a:pt x="297" y="1266"/>
                </a:lnTo>
                <a:lnTo>
                  <a:pt x="297" y="1267"/>
                </a:lnTo>
                <a:lnTo>
                  <a:pt x="297" y="1269"/>
                </a:lnTo>
                <a:lnTo>
                  <a:pt x="302" y="1267"/>
                </a:lnTo>
                <a:lnTo>
                  <a:pt x="304" y="1266"/>
                </a:lnTo>
                <a:lnTo>
                  <a:pt x="302" y="1267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70"/>
                </a:lnTo>
                <a:lnTo>
                  <a:pt x="295" y="1270"/>
                </a:lnTo>
                <a:lnTo>
                  <a:pt x="293" y="1270"/>
                </a:lnTo>
                <a:lnTo>
                  <a:pt x="293" y="1273"/>
                </a:lnTo>
                <a:lnTo>
                  <a:pt x="296" y="1274"/>
                </a:lnTo>
                <a:lnTo>
                  <a:pt x="300" y="1277"/>
                </a:lnTo>
                <a:lnTo>
                  <a:pt x="304" y="1278"/>
                </a:lnTo>
                <a:lnTo>
                  <a:pt x="309" y="1279"/>
                </a:lnTo>
                <a:lnTo>
                  <a:pt x="313" y="1276"/>
                </a:lnTo>
                <a:lnTo>
                  <a:pt x="313" y="1276"/>
                </a:lnTo>
                <a:lnTo>
                  <a:pt x="313" y="1276"/>
                </a:lnTo>
                <a:lnTo>
                  <a:pt x="313" y="1276"/>
                </a:lnTo>
                <a:lnTo>
                  <a:pt x="313" y="1276"/>
                </a:lnTo>
                <a:lnTo>
                  <a:pt x="314" y="1276"/>
                </a:lnTo>
                <a:lnTo>
                  <a:pt x="316" y="1277"/>
                </a:lnTo>
                <a:lnTo>
                  <a:pt x="320" y="1278"/>
                </a:lnTo>
                <a:lnTo>
                  <a:pt x="323" y="1278"/>
                </a:lnTo>
                <a:lnTo>
                  <a:pt x="343" y="1271"/>
                </a:lnTo>
                <a:lnTo>
                  <a:pt x="363" y="1269"/>
                </a:lnTo>
                <a:lnTo>
                  <a:pt x="365" y="1269"/>
                </a:lnTo>
                <a:lnTo>
                  <a:pt x="366" y="1269"/>
                </a:lnTo>
                <a:lnTo>
                  <a:pt x="370" y="1265"/>
                </a:lnTo>
                <a:lnTo>
                  <a:pt x="368" y="1260"/>
                </a:lnTo>
                <a:lnTo>
                  <a:pt x="364" y="1255"/>
                </a:lnTo>
                <a:lnTo>
                  <a:pt x="368" y="1248"/>
                </a:lnTo>
                <a:lnTo>
                  <a:pt x="371" y="1243"/>
                </a:lnTo>
                <a:lnTo>
                  <a:pt x="369" y="1237"/>
                </a:lnTo>
                <a:lnTo>
                  <a:pt x="366" y="1235"/>
                </a:lnTo>
                <a:lnTo>
                  <a:pt x="368" y="1234"/>
                </a:lnTo>
                <a:lnTo>
                  <a:pt x="371" y="1230"/>
                </a:lnTo>
                <a:lnTo>
                  <a:pt x="368" y="1228"/>
                </a:lnTo>
                <a:lnTo>
                  <a:pt x="359" y="1223"/>
                </a:lnTo>
                <a:lnTo>
                  <a:pt x="351" y="1221"/>
                </a:lnTo>
                <a:lnTo>
                  <a:pt x="350" y="1221"/>
                </a:lnTo>
                <a:lnTo>
                  <a:pt x="349" y="1220"/>
                </a:lnTo>
                <a:lnTo>
                  <a:pt x="347" y="1221"/>
                </a:lnTo>
                <a:lnTo>
                  <a:pt x="345" y="1221"/>
                </a:lnTo>
                <a:lnTo>
                  <a:pt x="345" y="1223"/>
                </a:lnTo>
                <a:lnTo>
                  <a:pt x="345" y="1227"/>
                </a:lnTo>
                <a:lnTo>
                  <a:pt x="352" y="1228"/>
                </a:lnTo>
                <a:lnTo>
                  <a:pt x="357" y="1234"/>
                </a:lnTo>
                <a:lnTo>
                  <a:pt x="352" y="1235"/>
                </a:lnTo>
                <a:lnTo>
                  <a:pt x="349" y="1232"/>
                </a:lnTo>
                <a:lnTo>
                  <a:pt x="348" y="1230"/>
                </a:lnTo>
                <a:lnTo>
                  <a:pt x="345" y="1228"/>
                </a:lnTo>
                <a:lnTo>
                  <a:pt x="345" y="1228"/>
                </a:lnTo>
                <a:lnTo>
                  <a:pt x="345" y="1227"/>
                </a:lnTo>
                <a:lnTo>
                  <a:pt x="345" y="1223"/>
                </a:lnTo>
                <a:lnTo>
                  <a:pt x="345" y="1221"/>
                </a:lnTo>
                <a:lnTo>
                  <a:pt x="342" y="1220"/>
                </a:lnTo>
                <a:lnTo>
                  <a:pt x="337" y="1220"/>
                </a:lnTo>
                <a:lnTo>
                  <a:pt x="342" y="1218"/>
                </a:lnTo>
                <a:lnTo>
                  <a:pt x="348" y="1217"/>
                </a:lnTo>
                <a:lnTo>
                  <a:pt x="341" y="1213"/>
                </a:lnTo>
                <a:lnTo>
                  <a:pt x="334" y="1215"/>
                </a:lnTo>
                <a:close/>
                <a:moveTo>
                  <a:pt x="334" y="1215"/>
                </a:move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7"/>
                </a:lnTo>
                <a:lnTo>
                  <a:pt x="335" y="1220"/>
                </a:lnTo>
                <a:lnTo>
                  <a:pt x="328" y="1223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3" y="1222"/>
                </a:lnTo>
                <a:lnTo>
                  <a:pt x="325" y="1216"/>
                </a:lnTo>
                <a:lnTo>
                  <a:pt x="328" y="1215"/>
                </a:lnTo>
                <a:lnTo>
                  <a:pt x="334" y="1215"/>
                </a:lnTo>
                <a:close/>
                <a:moveTo>
                  <a:pt x="288" y="1274"/>
                </a:moveTo>
                <a:lnTo>
                  <a:pt x="287" y="1280"/>
                </a:lnTo>
                <a:lnTo>
                  <a:pt x="289" y="1285"/>
                </a:lnTo>
                <a:lnTo>
                  <a:pt x="294" y="1285"/>
                </a:lnTo>
                <a:lnTo>
                  <a:pt x="297" y="1283"/>
                </a:lnTo>
                <a:lnTo>
                  <a:pt x="294" y="1278"/>
                </a:lnTo>
                <a:lnTo>
                  <a:pt x="288" y="1274"/>
                </a:lnTo>
                <a:close/>
                <a:moveTo>
                  <a:pt x="826" y="1127"/>
                </a:moveTo>
                <a:lnTo>
                  <a:pt x="819" y="1132"/>
                </a:lnTo>
                <a:lnTo>
                  <a:pt x="813" y="1138"/>
                </a:lnTo>
                <a:lnTo>
                  <a:pt x="824" y="1137"/>
                </a:lnTo>
                <a:lnTo>
                  <a:pt x="826" y="1127"/>
                </a:lnTo>
                <a:close/>
                <a:moveTo>
                  <a:pt x="389" y="1234"/>
                </a:moveTo>
                <a:lnTo>
                  <a:pt x="385" y="1232"/>
                </a:lnTo>
                <a:lnTo>
                  <a:pt x="383" y="1231"/>
                </a:lnTo>
                <a:lnTo>
                  <a:pt x="379" y="1230"/>
                </a:lnTo>
                <a:lnTo>
                  <a:pt x="377" y="1232"/>
                </a:lnTo>
                <a:lnTo>
                  <a:pt x="376" y="1237"/>
                </a:lnTo>
                <a:lnTo>
                  <a:pt x="380" y="1241"/>
                </a:lnTo>
                <a:lnTo>
                  <a:pt x="385" y="1237"/>
                </a:lnTo>
                <a:lnTo>
                  <a:pt x="389" y="1234"/>
                </a:lnTo>
                <a:close/>
                <a:moveTo>
                  <a:pt x="380" y="1241"/>
                </a:move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77" y="1245"/>
                </a:lnTo>
                <a:lnTo>
                  <a:pt x="373" y="1250"/>
                </a:lnTo>
                <a:lnTo>
                  <a:pt x="371" y="1258"/>
                </a:lnTo>
                <a:lnTo>
                  <a:pt x="376" y="1263"/>
                </a:lnTo>
                <a:lnTo>
                  <a:pt x="384" y="1264"/>
                </a:lnTo>
                <a:lnTo>
                  <a:pt x="392" y="1262"/>
                </a:lnTo>
                <a:lnTo>
                  <a:pt x="398" y="1260"/>
                </a:lnTo>
                <a:lnTo>
                  <a:pt x="405" y="1259"/>
                </a:lnTo>
                <a:lnTo>
                  <a:pt x="410" y="1257"/>
                </a:lnTo>
                <a:lnTo>
                  <a:pt x="411" y="1252"/>
                </a:lnTo>
                <a:lnTo>
                  <a:pt x="413" y="1256"/>
                </a:lnTo>
                <a:lnTo>
                  <a:pt x="417" y="1256"/>
                </a:lnTo>
                <a:lnTo>
                  <a:pt x="435" y="1251"/>
                </a:lnTo>
                <a:lnTo>
                  <a:pt x="454" y="1248"/>
                </a:lnTo>
                <a:lnTo>
                  <a:pt x="452" y="1245"/>
                </a:lnTo>
                <a:lnTo>
                  <a:pt x="448" y="1245"/>
                </a:lnTo>
                <a:lnTo>
                  <a:pt x="437" y="1244"/>
                </a:lnTo>
                <a:lnTo>
                  <a:pt x="426" y="1243"/>
                </a:lnTo>
                <a:lnTo>
                  <a:pt x="404" y="1238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close/>
                <a:moveTo>
                  <a:pt x="879" y="833"/>
                </a:moveTo>
                <a:lnTo>
                  <a:pt x="872" y="833"/>
                </a:lnTo>
                <a:lnTo>
                  <a:pt x="865" y="837"/>
                </a:lnTo>
                <a:lnTo>
                  <a:pt x="874" y="840"/>
                </a:lnTo>
                <a:lnTo>
                  <a:pt x="879" y="833"/>
                </a:lnTo>
                <a:close/>
                <a:moveTo>
                  <a:pt x="917" y="1100"/>
                </a:moveTo>
                <a:lnTo>
                  <a:pt x="917" y="1093"/>
                </a:lnTo>
                <a:lnTo>
                  <a:pt x="917" y="1086"/>
                </a:lnTo>
                <a:lnTo>
                  <a:pt x="909" y="1090"/>
                </a:lnTo>
                <a:lnTo>
                  <a:pt x="902" y="1095"/>
                </a:lnTo>
                <a:lnTo>
                  <a:pt x="910" y="1097"/>
                </a:lnTo>
                <a:lnTo>
                  <a:pt x="917" y="1100"/>
                </a:lnTo>
                <a:close/>
                <a:moveTo>
                  <a:pt x="828" y="1161"/>
                </a:moveTo>
                <a:lnTo>
                  <a:pt x="833" y="1162"/>
                </a:lnTo>
                <a:lnTo>
                  <a:pt x="838" y="1161"/>
                </a:lnTo>
                <a:lnTo>
                  <a:pt x="842" y="1159"/>
                </a:lnTo>
                <a:lnTo>
                  <a:pt x="847" y="1158"/>
                </a:lnTo>
                <a:lnTo>
                  <a:pt x="834" y="1155"/>
                </a:lnTo>
                <a:lnTo>
                  <a:pt x="828" y="1161"/>
                </a:lnTo>
                <a:close/>
                <a:moveTo>
                  <a:pt x="307" y="1231"/>
                </a:moveTo>
                <a:lnTo>
                  <a:pt x="295" y="1231"/>
                </a:lnTo>
                <a:lnTo>
                  <a:pt x="294" y="1243"/>
                </a:lnTo>
                <a:lnTo>
                  <a:pt x="300" y="1237"/>
                </a:lnTo>
                <a:lnTo>
                  <a:pt x="307" y="1231"/>
                </a:lnTo>
                <a:close/>
                <a:moveTo>
                  <a:pt x="891" y="1103"/>
                </a:moveTo>
                <a:lnTo>
                  <a:pt x="891" y="1103"/>
                </a:lnTo>
                <a:lnTo>
                  <a:pt x="891" y="1103"/>
                </a:lnTo>
                <a:lnTo>
                  <a:pt x="890" y="1102"/>
                </a:lnTo>
                <a:lnTo>
                  <a:pt x="889" y="1100"/>
                </a:lnTo>
                <a:lnTo>
                  <a:pt x="891" y="1100"/>
                </a:lnTo>
                <a:lnTo>
                  <a:pt x="891" y="1103"/>
                </a:lnTo>
                <a:lnTo>
                  <a:pt x="896" y="1105"/>
                </a:lnTo>
                <a:lnTo>
                  <a:pt x="900" y="1109"/>
                </a:lnTo>
                <a:lnTo>
                  <a:pt x="900" y="1110"/>
                </a:lnTo>
                <a:lnTo>
                  <a:pt x="900" y="1111"/>
                </a:lnTo>
                <a:lnTo>
                  <a:pt x="896" y="1111"/>
                </a:lnTo>
                <a:lnTo>
                  <a:pt x="894" y="1110"/>
                </a:lnTo>
                <a:lnTo>
                  <a:pt x="893" y="1106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close/>
                <a:moveTo>
                  <a:pt x="904" y="851"/>
                </a:moveTo>
                <a:lnTo>
                  <a:pt x="903" y="850"/>
                </a:lnTo>
                <a:lnTo>
                  <a:pt x="902" y="848"/>
                </a:lnTo>
                <a:lnTo>
                  <a:pt x="903" y="850"/>
                </a:lnTo>
                <a:lnTo>
                  <a:pt x="904" y="851"/>
                </a:lnTo>
                <a:lnTo>
                  <a:pt x="904" y="851"/>
                </a:lnTo>
                <a:close/>
                <a:moveTo>
                  <a:pt x="905" y="843"/>
                </a:moveTo>
                <a:lnTo>
                  <a:pt x="905" y="846"/>
                </a:lnTo>
                <a:lnTo>
                  <a:pt x="905" y="851"/>
                </a:lnTo>
                <a:lnTo>
                  <a:pt x="905" y="846"/>
                </a:lnTo>
                <a:lnTo>
                  <a:pt x="905" y="843"/>
                </a:lnTo>
                <a:close/>
                <a:moveTo>
                  <a:pt x="883" y="836"/>
                </a:moveTo>
                <a:lnTo>
                  <a:pt x="880" y="839"/>
                </a:lnTo>
                <a:lnTo>
                  <a:pt x="882" y="844"/>
                </a:lnTo>
                <a:lnTo>
                  <a:pt x="882" y="845"/>
                </a:lnTo>
                <a:lnTo>
                  <a:pt x="882" y="845"/>
                </a:lnTo>
                <a:lnTo>
                  <a:pt x="886" y="846"/>
                </a:lnTo>
                <a:lnTo>
                  <a:pt x="888" y="847"/>
                </a:lnTo>
                <a:lnTo>
                  <a:pt x="903" y="859"/>
                </a:lnTo>
                <a:lnTo>
                  <a:pt x="917" y="872"/>
                </a:lnTo>
                <a:lnTo>
                  <a:pt x="917" y="851"/>
                </a:lnTo>
                <a:lnTo>
                  <a:pt x="916" y="830"/>
                </a:lnTo>
                <a:lnTo>
                  <a:pt x="915" y="827"/>
                </a:lnTo>
                <a:lnTo>
                  <a:pt x="913" y="826"/>
                </a:lnTo>
                <a:lnTo>
                  <a:pt x="896" y="826"/>
                </a:lnTo>
                <a:lnTo>
                  <a:pt x="883" y="836"/>
                </a:lnTo>
                <a:close/>
                <a:moveTo>
                  <a:pt x="343" y="972"/>
                </a:moveTo>
                <a:lnTo>
                  <a:pt x="342" y="976"/>
                </a:lnTo>
                <a:lnTo>
                  <a:pt x="341" y="978"/>
                </a:lnTo>
                <a:lnTo>
                  <a:pt x="342" y="976"/>
                </a:lnTo>
                <a:lnTo>
                  <a:pt x="343" y="972"/>
                </a:lnTo>
                <a:close/>
                <a:moveTo>
                  <a:pt x="329" y="1011"/>
                </a:moveTo>
                <a:lnTo>
                  <a:pt x="334" y="1004"/>
                </a:lnTo>
                <a:lnTo>
                  <a:pt x="340" y="998"/>
                </a:lnTo>
                <a:lnTo>
                  <a:pt x="352" y="983"/>
                </a:lnTo>
                <a:lnTo>
                  <a:pt x="366" y="967"/>
                </a:lnTo>
                <a:lnTo>
                  <a:pt x="368" y="963"/>
                </a:lnTo>
                <a:lnTo>
                  <a:pt x="364" y="959"/>
                </a:lnTo>
                <a:lnTo>
                  <a:pt x="347" y="959"/>
                </a:lnTo>
                <a:lnTo>
                  <a:pt x="334" y="970"/>
                </a:lnTo>
                <a:lnTo>
                  <a:pt x="330" y="990"/>
                </a:lnTo>
                <a:lnTo>
                  <a:pt x="329" y="1011"/>
                </a:lnTo>
                <a:close/>
                <a:moveTo>
                  <a:pt x="342" y="1236"/>
                </a:moveTo>
                <a:lnTo>
                  <a:pt x="342" y="1238"/>
                </a:lnTo>
                <a:lnTo>
                  <a:pt x="341" y="1241"/>
                </a:lnTo>
                <a:lnTo>
                  <a:pt x="343" y="1242"/>
                </a:lnTo>
                <a:lnTo>
                  <a:pt x="344" y="1242"/>
                </a:lnTo>
                <a:lnTo>
                  <a:pt x="343" y="1242"/>
                </a:lnTo>
                <a:lnTo>
                  <a:pt x="341" y="1241"/>
                </a:lnTo>
                <a:lnTo>
                  <a:pt x="341" y="1244"/>
                </a:lnTo>
                <a:lnTo>
                  <a:pt x="337" y="1246"/>
                </a:lnTo>
                <a:lnTo>
                  <a:pt x="334" y="1251"/>
                </a:lnTo>
                <a:lnTo>
                  <a:pt x="334" y="1256"/>
                </a:lnTo>
                <a:lnTo>
                  <a:pt x="333" y="1256"/>
                </a:lnTo>
                <a:lnTo>
                  <a:pt x="331" y="1256"/>
                </a:lnTo>
                <a:lnTo>
                  <a:pt x="330" y="1258"/>
                </a:lnTo>
                <a:lnTo>
                  <a:pt x="328" y="1258"/>
                </a:lnTo>
                <a:lnTo>
                  <a:pt x="330" y="1258"/>
                </a:lnTo>
                <a:lnTo>
                  <a:pt x="331" y="1256"/>
                </a:lnTo>
                <a:lnTo>
                  <a:pt x="324" y="1252"/>
                </a:lnTo>
                <a:lnTo>
                  <a:pt x="317" y="1259"/>
                </a:lnTo>
                <a:lnTo>
                  <a:pt x="314" y="1259"/>
                </a:lnTo>
                <a:lnTo>
                  <a:pt x="309" y="1262"/>
                </a:lnTo>
                <a:lnTo>
                  <a:pt x="308" y="1258"/>
                </a:lnTo>
                <a:lnTo>
                  <a:pt x="310" y="1253"/>
                </a:lnTo>
                <a:lnTo>
                  <a:pt x="311" y="1251"/>
                </a:lnTo>
                <a:lnTo>
                  <a:pt x="311" y="1249"/>
                </a:lnTo>
                <a:lnTo>
                  <a:pt x="309" y="1245"/>
                </a:lnTo>
                <a:lnTo>
                  <a:pt x="313" y="1242"/>
                </a:lnTo>
                <a:lnTo>
                  <a:pt x="314" y="1238"/>
                </a:lnTo>
                <a:lnTo>
                  <a:pt x="318" y="1234"/>
                </a:lnTo>
                <a:lnTo>
                  <a:pt x="328" y="1234"/>
                </a:lnTo>
                <a:lnTo>
                  <a:pt x="336" y="1229"/>
                </a:lnTo>
                <a:lnTo>
                  <a:pt x="340" y="1228"/>
                </a:lnTo>
                <a:lnTo>
                  <a:pt x="345" y="1228"/>
                </a:lnTo>
                <a:lnTo>
                  <a:pt x="342" y="1231"/>
                </a:lnTo>
                <a:lnTo>
                  <a:pt x="342" y="1236"/>
                </a:lnTo>
                <a:close/>
                <a:moveTo>
                  <a:pt x="819" y="806"/>
                </a:moveTo>
                <a:lnTo>
                  <a:pt x="819" y="806"/>
                </a:lnTo>
                <a:lnTo>
                  <a:pt x="818" y="806"/>
                </a:lnTo>
                <a:lnTo>
                  <a:pt x="818" y="806"/>
                </a:lnTo>
                <a:lnTo>
                  <a:pt x="819" y="806"/>
                </a:lnTo>
                <a:lnTo>
                  <a:pt x="819" y="806"/>
                </a:lnTo>
                <a:close/>
                <a:moveTo>
                  <a:pt x="859" y="808"/>
                </a:moveTo>
                <a:lnTo>
                  <a:pt x="859" y="806"/>
                </a:lnTo>
                <a:lnTo>
                  <a:pt x="859" y="805"/>
                </a:lnTo>
                <a:lnTo>
                  <a:pt x="862" y="808"/>
                </a:lnTo>
                <a:lnTo>
                  <a:pt x="862" y="810"/>
                </a:lnTo>
                <a:lnTo>
                  <a:pt x="875" y="803"/>
                </a:lnTo>
                <a:lnTo>
                  <a:pt x="890" y="802"/>
                </a:lnTo>
                <a:lnTo>
                  <a:pt x="888" y="796"/>
                </a:lnTo>
                <a:lnTo>
                  <a:pt x="884" y="791"/>
                </a:lnTo>
                <a:lnTo>
                  <a:pt x="889" y="790"/>
                </a:lnTo>
                <a:lnTo>
                  <a:pt x="893" y="789"/>
                </a:lnTo>
                <a:lnTo>
                  <a:pt x="894" y="792"/>
                </a:lnTo>
                <a:lnTo>
                  <a:pt x="895" y="795"/>
                </a:lnTo>
                <a:lnTo>
                  <a:pt x="900" y="795"/>
                </a:lnTo>
                <a:lnTo>
                  <a:pt x="904" y="796"/>
                </a:lnTo>
                <a:lnTo>
                  <a:pt x="900" y="795"/>
                </a:lnTo>
                <a:lnTo>
                  <a:pt x="895" y="795"/>
                </a:lnTo>
                <a:lnTo>
                  <a:pt x="895" y="799"/>
                </a:lnTo>
                <a:lnTo>
                  <a:pt x="895" y="803"/>
                </a:lnTo>
                <a:lnTo>
                  <a:pt x="894" y="809"/>
                </a:lnTo>
                <a:lnTo>
                  <a:pt x="888" y="811"/>
                </a:lnTo>
                <a:lnTo>
                  <a:pt x="886" y="812"/>
                </a:lnTo>
                <a:lnTo>
                  <a:pt x="883" y="813"/>
                </a:lnTo>
                <a:lnTo>
                  <a:pt x="886" y="812"/>
                </a:lnTo>
                <a:lnTo>
                  <a:pt x="888" y="811"/>
                </a:lnTo>
                <a:lnTo>
                  <a:pt x="881" y="808"/>
                </a:lnTo>
                <a:lnTo>
                  <a:pt x="874" y="813"/>
                </a:lnTo>
                <a:lnTo>
                  <a:pt x="874" y="813"/>
                </a:lnTo>
                <a:lnTo>
                  <a:pt x="873" y="815"/>
                </a:lnTo>
                <a:lnTo>
                  <a:pt x="870" y="816"/>
                </a:lnTo>
                <a:lnTo>
                  <a:pt x="868" y="816"/>
                </a:lnTo>
                <a:lnTo>
                  <a:pt x="867" y="816"/>
                </a:lnTo>
                <a:lnTo>
                  <a:pt x="860" y="817"/>
                </a:lnTo>
                <a:lnTo>
                  <a:pt x="855" y="816"/>
                </a:lnTo>
                <a:lnTo>
                  <a:pt x="855" y="812"/>
                </a:lnTo>
                <a:lnTo>
                  <a:pt x="859" y="808"/>
                </a:lnTo>
                <a:close/>
                <a:moveTo>
                  <a:pt x="862" y="795"/>
                </a:moveTo>
                <a:lnTo>
                  <a:pt x="863" y="794"/>
                </a:lnTo>
                <a:lnTo>
                  <a:pt x="863" y="792"/>
                </a:lnTo>
                <a:lnTo>
                  <a:pt x="863" y="794"/>
                </a:lnTo>
                <a:lnTo>
                  <a:pt x="862" y="795"/>
                </a:lnTo>
                <a:lnTo>
                  <a:pt x="867" y="796"/>
                </a:lnTo>
                <a:lnTo>
                  <a:pt x="870" y="795"/>
                </a:lnTo>
                <a:lnTo>
                  <a:pt x="874" y="795"/>
                </a:lnTo>
                <a:lnTo>
                  <a:pt x="876" y="798"/>
                </a:lnTo>
                <a:lnTo>
                  <a:pt x="875" y="801"/>
                </a:lnTo>
                <a:lnTo>
                  <a:pt x="873" y="802"/>
                </a:lnTo>
                <a:lnTo>
                  <a:pt x="866" y="802"/>
                </a:lnTo>
                <a:lnTo>
                  <a:pt x="859" y="801"/>
                </a:lnTo>
                <a:lnTo>
                  <a:pt x="860" y="797"/>
                </a:lnTo>
                <a:lnTo>
                  <a:pt x="862" y="795"/>
                </a:lnTo>
                <a:close/>
                <a:moveTo>
                  <a:pt x="338" y="914"/>
                </a:moveTo>
                <a:lnTo>
                  <a:pt x="342" y="913"/>
                </a:lnTo>
                <a:lnTo>
                  <a:pt x="344" y="911"/>
                </a:lnTo>
                <a:lnTo>
                  <a:pt x="342" y="913"/>
                </a:lnTo>
                <a:lnTo>
                  <a:pt x="338" y="914"/>
                </a:lnTo>
                <a:lnTo>
                  <a:pt x="338" y="914"/>
                </a:lnTo>
                <a:close/>
                <a:moveTo>
                  <a:pt x="356" y="910"/>
                </a:moveTo>
                <a:lnTo>
                  <a:pt x="362" y="908"/>
                </a:lnTo>
                <a:lnTo>
                  <a:pt x="368" y="907"/>
                </a:lnTo>
                <a:lnTo>
                  <a:pt x="365" y="909"/>
                </a:lnTo>
                <a:lnTo>
                  <a:pt x="364" y="911"/>
                </a:lnTo>
                <a:lnTo>
                  <a:pt x="361" y="913"/>
                </a:lnTo>
                <a:lnTo>
                  <a:pt x="357" y="915"/>
                </a:lnTo>
                <a:lnTo>
                  <a:pt x="357" y="913"/>
                </a:lnTo>
                <a:lnTo>
                  <a:pt x="356" y="910"/>
                </a:lnTo>
                <a:lnTo>
                  <a:pt x="356" y="910"/>
                </a:lnTo>
                <a:lnTo>
                  <a:pt x="355" y="909"/>
                </a:lnTo>
                <a:lnTo>
                  <a:pt x="356" y="910"/>
                </a:lnTo>
                <a:lnTo>
                  <a:pt x="356" y="910"/>
                </a:lnTo>
                <a:close/>
                <a:moveTo>
                  <a:pt x="382" y="944"/>
                </a:moveTo>
                <a:lnTo>
                  <a:pt x="382" y="944"/>
                </a:lnTo>
                <a:lnTo>
                  <a:pt x="382" y="944"/>
                </a:lnTo>
                <a:lnTo>
                  <a:pt x="382" y="944"/>
                </a:lnTo>
                <a:close/>
                <a:moveTo>
                  <a:pt x="333" y="1106"/>
                </a:moveTo>
                <a:lnTo>
                  <a:pt x="336" y="1106"/>
                </a:lnTo>
                <a:lnTo>
                  <a:pt x="340" y="1105"/>
                </a:lnTo>
                <a:lnTo>
                  <a:pt x="344" y="1109"/>
                </a:lnTo>
                <a:lnTo>
                  <a:pt x="343" y="1113"/>
                </a:lnTo>
                <a:lnTo>
                  <a:pt x="341" y="1118"/>
                </a:lnTo>
                <a:lnTo>
                  <a:pt x="343" y="1121"/>
                </a:lnTo>
                <a:lnTo>
                  <a:pt x="344" y="1125"/>
                </a:lnTo>
                <a:lnTo>
                  <a:pt x="343" y="1127"/>
                </a:lnTo>
                <a:lnTo>
                  <a:pt x="341" y="1133"/>
                </a:lnTo>
                <a:lnTo>
                  <a:pt x="344" y="1137"/>
                </a:lnTo>
                <a:lnTo>
                  <a:pt x="348" y="1141"/>
                </a:lnTo>
                <a:lnTo>
                  <a:pt x="348" y="1146"/>
                </a:lnTo>
                <a:lnTo>
                  <a:pt x="348" y="1152"/>
                </a:lnTo>
                <a:lnTo>
                  <a:pt x="351" y="1156"/>
                </a:lnTo>
                <a:lnTo>
                  <a:pt x="355" y="1160"/>
                </a:lnTo>
                <a:lnTo>
                  <a:pt x="356" y="1163"/>
                </a:lnTo>
                <a:lnTo>
                  <a:pt x="356" y="1167"/>
                </a:lnTo>
                <a:lnTo>
                  <a:pt x="359" y="1168"/>
                </a:lnTo>
                <a:lnTo>
                  <a:pt x="363" y="1169"/>
                </a:lnTo>
                <a:lnTo>
                  <a:pt x="364" y="1173"/>
                </a:lnTo>
                <a:lnTo>
                  <a:pt x="361" y="1177"/>
                </a:lnTo>
                <a:lnTo>
                  <a:pt x="356" y="1181"/>
                </a:lnTo>
                <a:lnTo>
                  <a:pt x="354" y="1181"/>
                </a:lnTo>
                <a:lnTo>
                  <a:pt x="352" y="1177"/>
                </a:lnTo>
                <a:lnTo>
                  <a:pt x="347" y="1170"/>
                </a:lnTo>
                <a:lnTo>
                  <a:pt x="343" y="1161"/>
                </a:lnTo>
                <a:lnTo>
                  <a:pt x="340" y="1156"/>
                </a:lnTo>
                <a:lnTo>
                  <a:pt x="336" y="1152"/>
                </a:lnTo>
                <a:lnTo>
                  <a:pt x="334" y="1142"/>
                </a:lnTo>
                <a:lnTo>
                  <a:pt x="334" y="1133"/>
                </a:lnTo>
                <a:lnTo>
                  <a:pt x="335" y="1133"/>
                </a:lnTo>
                <a:lnTo>
                  <a:pt x="335" y="1132"/>
                </a:lnTo>
                <a:lnTo>
                  <a:pt x="330" y="1119"/>
                </a:lnTo>
                <a:lnTo>
                  <a:pt x="333" y="1106"/>
                </a:lnTo>
                <a:lnTo>
                  <a:pt x="333" y="1106"/>
                </a:lnTo>
                <a:close/>
                <a:moveTo>
                  <a:pt x="338" y="1075"/>
                </a:moveTo>
                <a:lnTo>
                  <a:pt x="345" y="1060"/>
                </a:lnTo>
                <a:lnTo>
                  <a:pt x="354" y="1044"/>
                </a:lnTo>
                <a:lnTo>
                  <a:pt x="363" y="1029"/>
                </a:lnTo>
                <a:lnTo>
                  <a:pt x="375" y="1015"/>
                </a:lnTo>
                <a:lnTo>
                  <a:pt x="377" y="1012"/>
                </a:lnTo>
                <a:lnTo>
                  <a:pt x="380" y="1012"/>
                </a:lnTo>
                <a:lnTo>
                  <a:pt x="383" y="1018"/>
                </a:lnTo>
                <a:lnTo>
                  <a:pt x="378" y="1023"/>
                </a:lnTo>
                <a:lnTo>
                  <a:pt x="369" y="1035"/>
                </a:lnTo>
                <a:lnTo>
                  <a:pt x="362" y="1049"/>
                </a:lnTo>
                <a:lnTo>
                  <a:pt x="361" y="1050"/>
                </a:lnTo>
                <a:lnTo>
                  <a:pt x="359" y="1053"/>
                </a:lnTo>
                <a:lnTo>
                  <a:pt x="352" y="1065"/>
                </a:lnTo>
                <a:lnTo>
                  <a:pt x="348" y="1079"/>
                </a:lnTo>
                <a:lnTo>
                  <a:pt x="347" y="1083"/>
                </a:lnTo>
                <a:lnTo>
                  <a:pt x="347" y="1088"/>
                </a:lnTo>
                <a:lnTo>
                  <a:pt x="344" y="1095"/>
                </a:lnTo>
                <a:lnTo>
                  <a:pt x="336" y="1096"/>
                </a:lnTo>
                <a:lnTo>
                  <a:pt x="334" y="1093"/>
                </a:lnTo>
                <a:lnTo>
                  <a:pt x="334" y="1091"/>
                </a:lnTo>
                <a:lnTo>
                  <a:pt x="336" y="1083"/>
                </a:lnTo>
                <a:lnTo>
                  <a:pt x="338" y="1075"/>
                </a:lnTo>
                <a:lnTo>
                  <a:pt x="335" y="1077"/>
                </a:lnTo>
                <a:lnTo>
                  <a:pt x="333" y="1079"/>
                </a:lnTo>
                <a:lnTo>
                  <a:pt x="335" y="1077"/>
                </a:lnTo>
                <a:lnTo>
                  <a:pt x="338" y="1075"/>
                </a:lnTo>
                <a:close/>
                <a:moveTo>
                  <a:pt x="397" y="1029"/>
                </a:moveTo>
                <a:lnTo>
                  <a:pt x="392" y="1039"/>
                </a:lnTo>
                <a:lnTo>
                  <a:pt x="384" y="1041"/>
                </a:lnTo>
                <a:lnTo>
                  <a:pt x="378" y="1041"/>
                </a:lnTo>
                <a:lnTo>
                  <a:pt x="375" y="1039"/>
                </a:lnTo>
                <a:lnTo>
                  <a:pt x="377" y="1033"/>
                </a:lnTo>
                <a:lnTo>
                  <a:pt x="384" y="1029"/>
                </a:lnTo>
                <a:lnTo>
                  <a:pt x="390" y="1029"/>
                </a:lnTo>
                <a:lnTo>
                  <a:pt x="397" y="1029"/>
                </a:lnTo>
                <a:close/>
                <a:moveTo>
                  <a:pt x="397" y="1011"/>
                </a:moveTo>
                <a:lnTo>
                  <a:pt x="397" y="1014"/>
                </a:lnTo>
                <a:lnTo>
                  <a:pt x="396" y="1016"/>
                </a:lnTo>
                <a:lnTo>
                  <a:pt x="393" y="1018"/>
                </a:lnTo>
                <a:lnTo>
                  <a:pt x="393" y="1021"/>
                </a:lnTo>
                <a:lnTo>
                  <a:pt x="397" y="1022"/>
                </a:lnTo>
                <a:lnTo>
                  <a:pt x="399" y="1019"/>
                </a:lnTo>
                <a:lnTo>
                  <a:pt x="401" y="1016"/>
                </a:lnTo>
                <a:lnTo>
                  <a:pt x="405" y="1014"/>
                </a:lnTo>
                <a:lnTo>
                  <a:pt x="407" y="1014"/>
                </a:lnTo>
                <a:lnTo>
                  <a:pt x="409" y="1015"/>
                </a:lnTo>
                <a:lnTo>
                  <a:pt x="405" y="1021"/>
                </a:lnTo>
                <a:lnTo>
                  <a:pt x="400" y="1023"/>
                </a:lnTo>
                <a:lnTo>
                  <a:pt x="393" y="1025"/>
                </a:lnTo>
                <a:lnTo>
                  <a:pt x="385" y="1023"/>
                </a:lnTo>
                <a:lnTo>
                  <a:pt x="390" y="1016"/>
                </a:lnTo>
                <a:lnTo>
                  <a:pt x="397" y="1011"/>
                </a:lnTo>
                <a:lnTo>
                  <a:pt x="397" y="1011"/>
                </a:lnTo>
                <a:close/>
                <a:moveTo>
                  <a:pt x="390" y="999"/>
                </a:moveTo>
                <a:lnTo>
                  <a:pt x="417" y="972"/>
                </a:lnTo>
                <a:lnTo>
                  <a:pt x="447" y="950"/>
                </a:lnTo>
                <a:lnTo>
                  <a:pt x="461" y="939"/>
                </a:lnTo>
                <a:lnTo>
                  <a:pt x="475" y="931"/>
                </a:lnTo>
                <a:lnTo>
                  <a:pt x="479" y="929"/>
                </a:lnTo>
                <a:lnTo>
                  <a:pt x="482" y="928"/>
                </a:lnTo>
                <a:lnTo>
                  <a:pt x="485" y="927"/>
                </a:lnTo>
                <a:lnTo>
                  <a:pt x="486" y="929"/>
                </a:lnTo>
                <a:lnTo>
                  <a:pt x="486" y="931"/>
                </a:lnTo>
                <a:lnTo>
                  <a:pt x="485" y="932"/>
                </a:lnTo>
                <a:lnTo>
                  <a:pt x="466" y="943"/>
                </a:lnTo>
                <a:lnTo>
                  <a:pt x="448" y="953"/>
                </a:lnTo>
                <a:lnTo>
                  <a:pt x="442" y="959"/>
                </a:lnTo>
                <a:lnTo>
                  <a:pt x="437" y="964"/>
                </a:lnTo>
                <a:lnTo>
                  <a:pt x="425" y="973"/>
                </a:lnTo>
                <a:lnTo>
                  <a:pt x="416" y="984"/>
                </a:lnTo>
                <a:lnTo>
                  <a:pt x="409" y="986"/>
                </a:lnTo>
                <a:lnTo>
                  <a:pt x="405" y="991"/>
                </a:lnTo>
                <a:lnTo>
                  <a:pt x="405" y="993"/>
                </a:lnTo>
                <a:lnTo>
                  <a:pt x="403" y="995"/>
                </a:lnTo>
                <a:lnTo>
                  <a:pt x="399" y="997"/>
                </a:lnTo>
                <a:lnTo>
                  <a:pt x="398" y="1000"/>
                </a:lnTo>
                <a:lnTo>
                  <a:pt x="393" y="1002"/>
                </a:lnTo>
                <a:lnTo>
                  <a:pt x="390" y="999"/>
                </a:lnTo>
                <a:lnTo>
                  <a:pt x="386" y="999"/>
                </a:lnTo>
                <a:lnTo>
                  <a:pt x="385" y="1000"/>
                </a:lnTo>
                <a:lnTo>
                  <a:pt x="386" y="999"/>
                </a:lnTo>
                <a:lnTo>
                  <a:pt x="390" y="999"/>
                </a:lnTo>
                <a:close/>
                <a:moveTo>
                  <a:pt x="492" y="941"/>
                </a:moveTo>
                <a:lnTo>
                  <a:pt x="496" y="938"/>
                </a:lnTo>
                <a:lnTo>
                  <a:pt x="501" y="938"/>
                </a:lnTo>
                <a:lnTo>
                  <a:pt x="496" y="943"/>
                </a:lnTo>
                <a:lnTo>
                  <a:pt x="492" y="948"/>
                </a:lnTo>
                <a:lnTo>
                  <a:pt x="486" y="946"/>
                </a:lnTo>
                <a:lnTo>
                  <a:pt x="480" y="943"/>
                </a:lnTo>
                <a:lnTo>
                  <a:pt x="479" y="941"/>
                </a:lnTo>
                <a:lnTo>
                  <a:pt x="481" y="939"/>
                </a:lnTo>
                <a:lnTo>
                  <a:pt x="483" y="938"/>
                </a:lnTo>
                <a:lnTo>
                  <a:pt x="485" y="939"/>
                </a:lnTo>
                <a:lnTo>
                  <a:pt x="488" y="943"/>
                </a:lnTo>
                <a:lnTo>
                  <a:pt x="492" y="941"/>
                </a:lnTo>
                <a:close/>
                <a:moveTo>
                  <a:pt x="502" y="915"/>
                </a:moveTo>
                <a:lnTo>
                  <a:pt x="509" y="911"/>
                </a:lnTo>
                <a:lnTo>
                  <a:pt x="516" y="908"/>
                </a:lnTo>
                <a:lnTo>
                  <a:pt x="555" y="890"/>
                </a:lnTo>
                <a:lnTo>
                  <a:pt x="593" y="876"/>
                </a:lnTo>
                <a:lnTo>
                  <a:pt x="605" y="873"/>
                </a:lnTo>
                <a:lnTo>
                  <a:pt x="615" y="869"/>
                </a:lnTo>
                <a:lnTo>
                  <a:pt x="619" y="869"/>
                </a:lnTo>
                <a:lnTo>
                  <a:pt x="620" y="872"/>
                </a:lnTo>
                <a:lnTo>
                  <a:pt x="620" y="874"/>
                </a:lnTo>
                <a:lnTo>
                  <a:pt x="618" y="875"/>
                </a:lnTo>
                <a:lnTo>
                  <a:pt x="615" y="876"/>
                </a:lnTo>
                <a:lnTo>
                  <a:pt x="612" y="876"/>
                </a:lnTo>
                <a:lnTo>
                  <a:pt x="592" y="881"/>
                </a:lnTo>
                <a:lnTo>
                  <a:pt x="573" y="888"/>
                </a:lnTo>
                <a:lnTo>
                  <a:pt x="551" y="896"/>
                </a:lnTo>
                <a:lnTo>
                  <a:pt x="531" y="907"/>
                </a:lnTo>
                <a:lnTo>
                  <a:pt x="524" y="909"/>
                </a:lnTo>
                <a:lnTo>
                  <a:pt x="517" y="909"/>
                </a:lnTo>
                <a:lnTo>
                  <a:pt x="511" y="917"/>
                </a:lnTo>
                <a:lnTo>
                  <a:pt x="502" y="920"/>
                </a:lnTo>
                <a:lnTo>
                  <a:pt x="501" y="920"/>
                </a:lnTo>
                <a:lnTo>
                  <a:pt x="500" y="918"/>
                </a:lnTo>
                <a:lnTo>
                  <a:pt x="501" y="916"/>
                </a:lnTo>
                <a:lnTo>
                  <a:pt x="502" y="915"/>
                </a:lnTo>
                <a:close/>
                <a:moveTo>
                  <a:pt x="619" y="892"/>
                </a:moveTo>
                <a:lnTo>
                  <a:pt x="614" y="892"/>
                </a:lnTo>
                <a:lnTo>
                  <a:pt x="611" y="893"/>
                </a:lnTo>
                <a:lnTo>
                  <a:pt x="606" y="894"/>
                </a:lnTo>
                <a:lnTo>
                  <a:pt x="604" y="890"/>
                </a:lnTo>
                <a:lnTo>
                  <a:pt x="604" y="885"/>
                </a:lnTo>
                <a:lnTo>
                  <a:pt x="608" y="882"/>
                </a:lnTo>
                <a:lnTo>
                  <a:pt x="612" y="881"/>
                </a:lnTo>
                <a:lnTo>
                  <a:pt x="617" y="880"/>
                </a:lnTo>
                <a:lnTo>
                  <a:pt x="619" y="879"/>
                </a:lnTo>
                <a:lnTo>
                  <a:pt x="620" y="881"/>
                </a:lnTo>
                <a:lnTo>
                  <a:pt x="619" y="881"/>
                </a:lnTo>
                <a:lnTo>
                  <a:pt x="619" y="882"/>
                </a:lnTo>
                <a:lnTo>
                  <a:pt x="615" y="882"/>
                </a:lnTo>
                <a:lnTo>
                  <a:pt x="613" y="883"/>
                </a:lnTo>
                <a:lnTo>
                  <a:pt x="610" y="883"/>
                </a:lnTo>
                <a:lnTo>
                  <a:pt x="608" y="887"/>
                </a:lnTo>
                <a:lnTo>
                  <a:pt x="611" y="889"/>
                </a:lnTo>
                <a:lnTo>
                  <a:pt x="614" y="888"/>
                </a:lnTo>
                <a:lnTo>
                  <a:pt x="618" y="887"/>
                </a:lnTo>
                <a:lnTo>
                  <a:pt x="623" y="887"/>
                </a:lnTo>
                <a:lnTo>
                  <a:pt x="620" y="889"/>
                </a:lnTo>
                <a:lnTo>
                  <a:pt x="619" y="892"/>
                </a:lnTo>
                <a:close/>
                <a:moveTo>
                  <a:pt x="630" y="923"/>
                </a:moveTo>
                <a:lnTo>
                  <a:pt x="627" y="928"/>
                </a:lnTo>
                <a:lnTo>
                  <a:pt x="623" y="929"/>
                </a:lnTo>
                <a:lnTo>
                  <a:pt x="620" y="929"/>
                </a:lnTo>
                <a:lnTo>
                  <a:pt x="618" y="927"/>
                </a:lnTo>
                <a:lnTo>
                  <a:pt x="619" y="924"/>
                </a:lnTo>
                <a:lnTo>
                  <a:pt x="621" y="923"/>
                </a:lnTo>
                <a:lnTo>
                  <a:pt x="625" y="920"/>
                </a:lnTo>
                <a:lnTo>
                  <a:pt x="620" y="917"/>
                </a:lnTo>
                <a:lnTo>
                  <a:pt x="619" y="915"/>
                </a:lnTo>
                <a:lnTo>
                  <a:pt x="619" y="913"/>
                </a:lnTo>
                <a:lnTo>
                  <a:pt x="619" y="910"/>
                </a:lnTo>
                <a:lnTo>
                  <a:pt x="621" y="909"/>
                </a:lnTo>
                <a:lnTo>
                  <a:pt x="625" y="909"/>
                </a:lnTo>
                <a:lnTo>
                  <a:pt x="630" y="908"/>
                </a:lnTo>
                <a:lnTo>
                  <a:pt x="630" y="916"/>
                </a:lnTo>
                <a:lnTo>
                  <a:pt x="630" y="923"/>
                </a:lnTo>
                <a:close/>
                <a:moveTo>
                  <a:pt x="649" y="931"/>
                </a:moveTo>
                <a:lnTo>
                  <a:pt x="644" y="917"/>
                </a:lnTo>
                <a:lnTo>
                  <a:pt x="645" y="903"/>
                </a:lnTo>
                <a:lnTo>
                  <a:pt x="647" y="900"/>
                </a:lnTo>
                <a:lnTo>
                  <a:pt x="652" y="899"/>
                </a:lnTo>
                <a:lnTo>
                  <a:pt x="687" y="894"/>
                </a:lnTo>
                <a:lnTo>
                  <a:pt x="722" y="894"/>
                </a:lnTo>
                <a:lnTo>
                  <a:pt x="727" y="895"/>
                </a:lnTo>
                <a:lnTo>
                  <a:pt x="725" y="900"/>
                </a:lnTo>
                <a:lnTo>
                  <a:pt x="715" y="911"/>
                </a:lnTo>
                <a:lnTo>
                  <a:pt x="706" y="923"/>
                </a:lnTo>
                <a:lnTo>
                  <a:pt x="702" y="925"/>
                </a:lnTo>
                <a:lnTo>
                  <a:pt x="700" y="924"/>
                </a:lnTo>
                <a:lnTo>
                  <a:pt x="686" y="924"/>
                </a:lnTo>
                <a:lnTo>
                  <a:pt x="672" y="924"/>
                </a:lnTo>
                <a:lnTo>
                  <a:pt x="666" y="925"/>
                </a:lnTo>
                <a:lnTo>
                  <a:pt x="660" y="928"/>
                </a:lnTo>
                <a:lnTo>
                  <a:pt x="680" y="929"/>
                </a:lnTo>
                <a:lnTo>
                  <a:pt x="699" y="931"/>
                </a:lnTo>
                <a:lnTo>
                  <a:pt x="665" y="932"/>
                </a:lnTo>
                <a:lnTo>
                  <a:pt x="630" y="937"/>
                </a:lnTo>
                <a:lnTo>
                  <a:pt x="639" y="932"/>
                </a:lnTo>
                <a:lnTo>
                  <a:pt x="649" y="931"/>
                </a:lnTo>
                <a:close/>
                <a:moveTo>
                  <a:pt x="633" y="885"/>
                </a:moveTo>
                <a:lnTo>
                  <a:pt x="638" y="882"/>
                </a:lnTo>
                <a:lnTo>
                  <a:pt x="642" y="882"/>
                </a:lnTo>
                <a:lnTo>
                  <a:pt x="647" y="880"/>
                </a:lnTo>
                <a:lnTo>
                  <a:pt x="645" y="876"/>
                </a:lnTo>
                <a:lnTo>
                  <a:pt x="645" y="875"/>
                </a:lnTo>
                <a:lnTo>
                  <a:pt x="645" y="874"/>
                </a:lnTo>
                <a:lnTo>
                  <a:pt x="648" y="872"/>
                </a:lnTo>
                <a:lnTo>
                  <a:pt x="652" y="874"/>
                </a:lnTo>
                <a:lnTo>
                  <a:pt x="652" y="880"/>
                </a:lnTo>
                <a:lnTo>
                  <a:pt x="647" y="883"/>
                </a:lnTo>
                <a:lnTo>
                  <a:pt x="644" y="885"/>
                </a:lnTo>
                <a:lnTo>
                  <a:pt x="644" y="887"/>
                </a:lnTo>
                <a:lnTo>
                  <a:pt x="645" y="888"/>
                </a:lnTo>
                <a:lnTo>
                  <a:pt x="647" y="888"/>
                </a:lnTo>
                <a:lnTo>
                  <a:pt x="655" y="888"/>
                </a:lnTo>
                <a:lnTo>
                  <a:pt x="663" y="886"/>
                </a:lnTo>
                <a:lnTo>
                  <a:pt x="687" y="883"/>
                </a:lnTo>
                <a:lnTo>
                  <a:pt x="710" y="882"/>
                </a:lnTo>
                <a:lnTo>
                  <a:pt x="722" y="882"/>
                </a:lnTo>
                <a:lnTo>
                  <a:pt x="735" y="883"/>
                </a:lnTo>
                <a:lnTo>
                  <a:pt x="738" y="882"/>
                </a:lnTo>
                <a:lnTo>
                  <a:pt x="739" y="879"/>
                </a:lnTo>
                <a:lnTo>
                  <a:pt x="737" y="879"/>
                </a:lnTo>
                <a:lnTo>
                  <a:pt x="734" y="878"/>
                </a:lnTo>
                <a:lnTo>
                  <a:pt x="729" y="876"/>
                </a:lnTo>
                <a:lnTo>
                  <a:pt x="731" y="872"/>
                </a:lnTo>
                <a:lnTo>
                  <a:pt x="736" y="872"/>
                </a:lnTo>
                <a:lnTo>
                  <a:pt x="739" y="873"/>
                </a:lnTo>
                <a:lnTo>
                  <a:pt x="743" y="875"/>
                </a:lnTo>
                <a:lnTo>
                  <a:pt x="739" y="879"/>
                </a:lnTo>
                <a:lnTo>
                  <a:pt x="738" y="882"/>
                </a:lnTo>
                <a:lnTo>
                  <a:pt x="735" y="883"/>
                </a:lnTo>
                <a:lnTo>
                  <a:pt x="734" y="886"/>
                </a:lnTo>
                <a:lnTo>
                  <a:pt x="732" y="888"/>
                </a:lnTo>
                <a:lnTo>
                  <a:pt x="730" y="888"/>
                </a:lnTo>
                <a:lnTo>
                  <a:pt x="728" y="888"/>
                </a:lnTo>
                <a:lnTo>
                  <a:pt x="727" y="889"/>
                </a:lnTo>
                <a:lnTo>
                  <a:pt x="727" y="889"/>
                </a:lnTo>
                <a:lnTo>
                  <a:pt x="727" y="889"/>
                </a:lnTo>
                <a:lnTo>
                  <a:pt x="728" y="888"/>
                </a:lnTo>
                <a:lnTo>
                  <a:pt x="727" y="887"/>
                </a:lnTo>
                <a:lnTo>
                  <a:pt x="724" y="888"/>
                </a:lnTo>
                <a:lnTo>
                  <a:pt x="722" y="888"/>
                </a:lnTo>
                <a:lnTo>
                  <a:pt x="720" y="888"/>
                </a:lnTo>
                <a:lnTo>
                  <a:pt x="716" y="888"/>
                </a:lnTo>
                <a:lnTo>
                  <a:pt x="711" y="888"/>
                </a:lnTo>
                <a:lnTo>
                  <a:pt x="716" y="888"/>
                </a:lnTo>
                <a:lnTo>
                  <a:pt x="720" y="888"/>
                </a:lnTo>
                <a:lnTo>
                  <a:pt x="708" y="887"/>
                </a:lnTo>
                <a:lnTo>
                  <a:pt x="697" y="888"/>
                </a:lnTo>
                <a:lnTo>
                  <a:pt x="673" y="889"/>
                </a:lnTo>
                <a:lnTo>
                  <a:pt x="648" y="894"/>
                </a:lnTo>
                <a:lnTo>
                  <a:pt x="647" y="894"/>
                </a:lnTo>
                <a:lnTo>
                  <a:pt x="646" y="895"/>
                </a:lnTo>
                <a:lnTo>
                  <a:pt x="647" y="894"/>
                </a:lnTo>
                <a:lnTo>
                  <a:pt x="648" y="894"/>
                </a:lnTo>
                <a:lnTo>
                  <a:pt x="641" y="894"/>
                </a:lnTo>
                <a:lnTo>
                  <a:pt x="634" y="893"/>
                </a:lnTo>
                <a:lnTo>
                  <a:pt x="637" y="888"/>
                </a:lnTo>
                <a:lnTo>
                  <a:pt x="633" y="885"/>
                </a:lnTo>
                <a:close/>
                <a:moveTo>
                  <a:pt x="668" y="881"/>
                </a:moveTo>
                <a:lnTo>
                  <a:pt x="666" y="881"/>
                </a:lnTo>
                <a:lnTo>
                  <a:pt x="663" y="882"/>
                </a:lnTo>
                <a:lnTo>
                  <a:pt x="659" y="882"/>
                </a:lnTo>
                <a:lnTo>
                  <a:pt x="656" y="880"/>
                </a:lnTo>
                <a:lnTo>
                  <a:pt x="656" y="874"/>
                </a:lnTo>
                <a:lnTo>
                  <a:pt x="661" y="871"/>
                </a:lnTo>
                <a:lnTo>
                  <a:pt x="663" y="869"/>
                </a:lnTo>
                <a:lnTo>
                  <a:pt x="667" y="868"/>
                </a:lnTo>
                <a:lnTo>
                  <a:pt x="674" y="868"/>
                </a:lnTo>
                <a:lnTo>
                  <a:pt x="677" y="871"/>
                </a:lnTo>
                <a:lnTo>
                  <a:pt x="676" y="878"/>
                </a:lnTo>
                <a:lnTo>
                  <a:pt x="668" y="881"/>
                </a:lnTo>
                <a:lnTo>
                  <a:pt x="668" y="881"/>
                </a:lnTo>
                <a:close/>
                <a:moveTo>
                  <a:pt x="703" y="866"/>
                </a:moveTo>
                <a:lnTo>
                  <a:pt x="699" y="876"/>
                </a:lnTo>
                <a:lnTo>
                  <a:pt x="688" y="879"/>
                </a:lnTo>
                <a:lnTo>
                  <a:pt x="683" y="879"/>
                </a:lnTo>
                <a:lnTo>
                  <a:pt x="681" y="876"/>
                </a:lnTo>
                <a:lnTo>
                  <a:pt x="682" y="871"/>
                </a:lnTo>
                <a:lnTo>
                  <a:pt x="688" y="867"/>
                </a:lnTo>
                <a:lnTo>
                  <a:pt x="696" y="866"/>
                </a:lnTo>
                <a:lnTo>
                  <a:pt x="703" y="866"/>
                </a:lnTo>
                <a:close/>
                <a:moveTo>
                  <a:pt x="716" y="878"/>
                </a:moveTo>
                <a:lnTo>
                  <a:pt x="715" y="878"/>
                </a:lnTo>
                <a:lnTo>
                  <a:pt x="713" y="878"/>
                </a:lnTo>
                <a:lnTo>
                  <a:pt x="709" y="878"/>
                </a:lnTo>
                <a:lnTo>
                  <a:pt x="706" y="875"/>
                </a:lnTo>
                <a:lnTo>
                  <a:pt x="708" y="868"/>
                </a:lnTo>
                <a:lnTo>
                  <a:pt x="714" y="864"/>
                </a:lnTo>
                <a:lnTo>
                  <a:pt x="715" y="864"/>
                </a:lnTo>
                <a:lnTo>
                  <a:pt x="716" y="864"/>
                </a:lnTo>
                <a:lnTo>
                  <a:pt x="723" y="864"/>
                </a:lnTo>
                <a:lnTo>
                  <a:pt x="729" y="866"/>
                </a:lnTo>
                <a:lnTo>
                  <a:pt x="725" y="873"/>
                </a:lnTo>
                <a:lnTo>
                  <a:pt x="716" y="878"/>
                </a:lnTo>
                <a:close/>
                <a:moveTo>
                  <a:pt x="641" y="864"/>
                </a:moveTo>
                <a:lnTo>
                  <a:pt x="696" y="854"/>
                </a:lnTo>
                <a:lnTo>
                  <a:pt x="751" y="853"/>
                </a:lnTo>
                <a:lnTo>
                  <a:pt x="758" y="854"/>
                </a:lnTo>
                <a:lnTo>
                  <a:pt x="757" y="861"/>
                </a:lnTo>
                <a:lnTo>
                  <a:pt x="757" y="866"/>
                </a:lnTo>
                <a:lnTo>
                  <a:pt x="760" y="868"/>
                </a:lnTo>
                <a:lnTo>
                  <a:pt x="768" y="866"/>
                </a:lnTo>
                <a:lnTo>
                  <a:pt x="773" y="868"/>
                </a:lnTo>
                <a:lnTo>
                  <a:pt x="776" y="869"/>
                </a:lnTo>
                <a:lnTo>
                  <a:pt x="775" y="872"/>
                </a:lnTo>
                <a:lnTo>
                  <a:pt x="772" y="874"/>
                </a:lnTo>
                <a:lnTo>
                  <a:pt x="769" y="876"/>
                </a:lnTo>
                <a:lnTo>
                  <a:pt x="766" y="872"/>
                </a:lnTo>
                <a:lnTo>
                  <a:pt x="760" y="871"/>
                </a:lnTo>
                <a:lnTo>
                  <a:pt x="760" y="869"/>
                </a:lnTo>
                <a:lnTo>
                  <a:pt x="760" y="868"/>
                </a:lnTo>
                <a:lnTo>
                  <a:pt x="757" y="866"/>
                </a:lnTo>
                <a:lnTo>
                  <a:pt x="757" y="861"/>
                </a:lnTo>
                <a:lnTo>
                  <a:pt x="756" y="861"/>
                </a:lnTo>
                <a:lnTo>
                  <a:pt x="753" y="861"/>
                </a:lnTo>
                <a:lnTo>
                  <a:pt x="736" y="860"/>
                </a:lnTo>
                <a:lnTo>
                  <a:pt x="717" y="860"/>
                </a:lnTo>
                <a:lnTo>
                  <a:pt x="692" y="862"/>
                </a:lnTo>
                <a:lnTo>
                  <a:pt x="665" y="865"/>
                </a:lnTo>
                <a:lnTo>
                  <a:pt x="653" y="867"/>
                </a:lnTo>
                <a:lnTo>
                  <a:pt x="642" y="868"/>
                </a:lnTo>
                <a:lnTo>
                  <a:pt x="639" y="869"/>
                </a:lnTo>
                <a:lnTo>
                  <a:pt x="637" y="867"/>
                </a:lnTo>
                <a:lnTo>
                  <a:pt x="638" y="864"/>
                </a:lnTo>
                <a:lnTo>
                  <a:pt x="641" y="864"/>
                </a:lnTo>
                <a:close/>
                <a:moveTo>
                  <a:pt x="779" y="855"/>
                </a:moveTo>
                <a:lnTo>
                  <a:pt x="794" y="858"/>
                </a:lnTo>
                <a:lnTo>
                  <a:pt x="808" y="862"/>
                </a:lnTo>
                <a:lnTo>
                  <a:pt x="801" y="867"/>
                </a:lnTo>
                <a:lnTo>
                  <a:pt x="794" y="867"/>
                </a:lnTo>
                <a:lnTo>
                  <a:pt x="782" y="864"/>
                </a:lnTo>
                <a:lnTo>
                  <a:pt x="770" y="862"/>
                </a:lnTo>
                <a:lnTo>
                  <a:pt x="773" y="857"/>
                </a:lnTo>
                <a:lnTo>
                  <a:pt x="779" y="855"/>
                </a:lnTo>
                <a:close/>
                <a:moveTo>
                  <a:pt x="813" y="869"/>
                </a:moveTo>
                <a:lnTo>
                  <a:pt x="815" y="865"/>
                </a:lnTo>
                <a:lnTo>
                  <a:pt x="822" y="864"/>
                </a:lnTo>
                <a:lnTo>
                  <a:pt x="832" y="869"/>
                </a:lnTo>
                <a:lnTo>
                  <a:pt x="842" y="873"/>
                </a:lnTo>
                <a:lnTo>
                  <a:pt x="854" y="879"/>
                </a:lnTo>
                <a:lnTo>
                  <a:pt x="865" y="885"/>
                </a:lnTo>
                <a:lnTo>
                  <a:pt x="856" y="890"/>
                </a:lnTo>
                <a:lnTo>
                  <a:pt x="847" y="885"/>
                </a:lnTo>
                <a:lnTo>
                  <a:pt x="839" y="881"/>
                </a:lnTo>
                <a:lnTo>
                  <a:pt x="831" y="878"/>
                </a:lnTo>
                <a:lnTo>
                  <a:pt x="826" y="873"/>
                </a:lnTo>
                <a:lnTo>
                  <a:pt x="821" y="874"/>
                </a:lnTo>
                <a:lnTo>
                  <a:pt x="817" y="873"/>
                </a:lnTo>
                <a:lnTo>
                  <a:pt x="813" y="869"/>
                </a:lnTo>
                <a:close/>
                <a:moveTo>
                  <a:pt x="869" y="894"/>
                </a:moveTo>
                <a:lnTo>
                  <a:pt x="872" y="893"/>
                </a:lnTo>
                <a:lnTo>
                  <a:pt x="874" y="892"/>
                </a:lnTo>
                <a:lnTo>
                  <a:pt x="894" y="911"/>
                </a:lnTo>
                <a:lnTo>
                  <a:pt x="904" y="937"/>
                </a:lnTo>
                <a:lnTo>
                  <a:pt x="907" y="938"/>
                </a:lnTo>
                <a:lnTo>
                  <a:pt x="909" y="939"/>
                </a:lnTo>
                <a:lnTo>
                  <a:pt x="910" y="937"/>
                </a:lnTo>
                <a:lnTo>
                  <a:pt x="910" y="936"/>
                </a:lnTo>
                <a:lnTo>
                  <a:pt x="910" y="937"/>
                </a:lnTo>
                <a:lnTo>
                  <a:pt x="909" y="939"/>
                </a:lnTo>
                <a:lnTo>
                  <a:pt x="909" y="942"/>
                </a:lnTo>
                <a:lnTo>
                  <a:pt x="910" y="944"/>
                </a:lnTo>
                <a:lnTo>
                  <a:pt x="910" y="948"/>
                </a:lnTo>
                <a:lnTo>
                  <a:pt x="910" y="951"/>
                </a:lnTo>
                <a:lnTo>
                  <a:pt x="908" y="962"/>
                </a:lnTo>
                <a:lnTo>
                  <a:pt x="900" y="963"/>
                </a:lnTo>
                <a:lnTo>
                  <a:pt x="896" y="959"/>
                </a:lnTo>
                <a:lnTo>
                  <a:pt x="897" y="955"/>
                </a:lnTo>
                <a:lnTo>
                  <a:pt x="900" y="951"/>
                </a:lnTo>
                <a:lnTo>
                  <a:pt x="896" y="949"/>
                </a:lnTo>
                <a:lnTo>
                  <a:pt x="896" y="948"/>
                </a:lnTo>
                <a:lnTo>
                  <a:pt x="896" y="948"/>
                </a:lnTo>
                <a:lnTo>
                  <a:pt x="893" y="936"/>
                </a:lnTo>
                <a:lnTo>
                  <a:pt x="887" y="924"/>
                </a:lnTo>
                <a:lnTo>
                  <a:pt x="884" y="920"/>
                </a:lnTo>
                <a:lnTo>
                  <a:pt x="882" y="916"/>
                </a:lnTo>
                <a:lnTo>
                  <a:pt x="877" y="913"/>
                </a:lnTo>
                <a:lnTo>
                  <a:pt x="876" y="907"/>
                </a:lnTo>
                <a:lnTo>
                  <a:pt x="875" y="904"/>
                </a:lnTo>
                <a:lnTo>
                  <a:pt x="872" y="904"/>
                </a:lnTo>
                <a:lnTo>
                  <a:pt x="867" y="902"/>
                </a:lnTo>
                <a:lnTo>
                  <a:pt x="865" y="897"/>
                </a:lnTo>
                <a:lnTo>
                  <a:pt x="868" y="897"/>
                </a:lnTo>
                <a:lnTo>
                  <a:pt x="869" y="894"/>
                </a:lnTo>
                <a:close/>
                <a:moveTo>
                  <a:pt x="888" y="965"/>
                </a:moveTo>
                <a:lnTo>
                  <a:pt x="884" y="964"/>
                </a:lnTo>
                <a:lnTo>
                  <a:pt x="883" y="960"/>
                </a:lnTo>
                <a:lnTo>
                  <a:pt x="882" y="959"/>
                </a:lnTo>
                <a:lnTo>
                  <a:pt x="881" y="958"/>
                </a:lnTo>
                <a:lnTo>
                  <a:pt x="886" y="957"/>
                </a:lnTo>
                <a:lnTo>
                  <a:pt x="889" y="956"/>
                </a:lnTo>
                <a:lnTo>
                  <a:pt x="890" y="957"/>
                </a:lnTo>
                <a:lnTo>
                  <a:pt x="890" y="958"/>
                </a:lnTo>
                <a:lnTo>
                  <a:pt x="890" y="963"/>
                </a:lnTo>
                <a:lnTo>
                  <a:pt x="888" y="965"/>
                </a:lnTo>
                <a:close/>
                <a:moveTo>
                  <a:pt x="889" y="984"/>
                </a:moveTo>
                <a:lnTo>
                  <a:pt x="887" y="985"/>
                </a:lnTo>
                <a:lnTo>
                  <a:pt x="886" y="985"/>
                </a:lnTo>
                <a:lnTo>
                  <a:pt x="884" y="984"/>
                </a:lnTo>
                <a:lnTo>
                  <a:pt x="884" y="983"/>
                </a:lnTo>
                <a:lnTo>
                  <a:pt x="884" y="979"/>
                </a:lnTo>
                <a:lnTo>
                  <a:pt x="883" y="976"/>
                </a:lnTo>
                <a:lnTo>
                  <a:pt x="882" y="977"/>
                </a:lnTo>
                <a:lnTo>
                  <a:pt x="881" y="977"/>
                </a:lnTo>
                <a:lnTo>
                  <a:pt x="882" y="977"/>
                </a:lnTo>
                <a:lnTo>
                  <a:pt x="883" y="976"/>
                </a:lnTo>
                <a:lnTo>
                  <a:pt x="884" y="976"/>
                </a:lnTo>
                <a:lnTo>
                  <a:pt x="884" y="976"/>
                </a:lnTo>
                <a:lnTo>
                  <a:pt x="888" y="976"/>
                </a:lnTo>
                <a:lnTo>
                  <a:pt x="889" y="978"/>
                </a:lnTo>
                <a:lnTo>
                  <a:pt x="890" y="981"/>
                </a:lnTo>
                <a:lnTo>
                  <a:pt x="889" y="984"/>
                </a:lnTo>
                <a:close/>
                <a:moveTo>
                  <a:pt x="888" y="994"/>
                </a:moveTo>
                <a:lnTo>
                  <a:pt x="887" y="999"/>
                </a:lnTo>
                <a:lnTo>
                  <a:pt x="884" y="1004"/>
                </a:lnTo>
                <a:lnTo>
                  <a:pt x="886" y="1006"/>
                </a:lnTo>
                <a:lnTo>
                  <a:pt x="887" y="1006"/>
                </a:lnTo>
                <a:lnTo>
                  <a:pt x="886" y="1006"/>
                </a:lnTo>
                <a:lnTo>
                  <a:pt x="884" y="1004"/>
                </a:lnTo>
                <a:lnTo>
                  <a:pt x="874" y="1005"/>
                </a:lnTo>
                <a:lnTo>
                  <a:pt x="865" y="1006"/>
                </a:lnTo>
                <a:lnTo>
                  <a:pt x="865" y="1000"/>
                </a:lnTo>
                <a:lnTo>
                  <a:pt x="866" y="994"/>
                </a:lnTo>
                <a:lnTo>
                  <a:pt x="876" y="992"/>
                </a:lnTo>
                <a:lnTo>
                  <a:pt x="887" y="991"/>
                </a:lnTo>
                <a:lnTo>
                  <a:pt x="888" y="992"/>
                </a:lnTo>
                <a:lnTo>
                  <a:pt x="889" y="993"/>
                </a:lnTo>
                <a:lnTo>
                  <a:pt x="889" y="994"/>
                </a:lnTo>
                <a:lnTo>
                  <a:pt x="888" y="994"/>
                </a:lnTo>
                <a:close/>
                <a:moveTo>
                  <a:pt x="881" y="1016"/>
                </a:moveTo>
                <a:lnTo>
                  <a:pt x="877" y="1021"/>
                </a:lnTo>
                <a:lnTo>
                  <a:pt x="873" y="1025"/>
                </a:lnTo>
                <a:lnTo>
                  <a:pt x="873" y="1025"/>
                </a:lnTo>
                <a:lnTo>
                  <a:pt x="874" y="1026"/>
                </a:lnTo>
                <a:lnTo>
                  <a:pt x="873" y="1025"/>
                </a:lnTo>
                <a:lnTo>
                  <a:pt x="873" y="1025"/>
                </a:lnTo>
                <a:lnTo>
                  <a:pt x="866" y="1026"/>
                </a:lnTo>
                <a:lnTo>
                  <a:pt x="859" y="1025"/>
                </a:lnTo>
                <a:lnTo>
                  <a:pt x="859" y="1018"/>
                </a:lnTo>
                <a:lnTo>
                  <a:pt x="861" y="1012"/>
                </a:lnTo>
                <a:lnTo>
                  <a:pt x="868" y="1011"/>
                </a:lnTo>
                <a:lnTo>
                  <a:pt x="876" y="1009"/>
                </a:lnTo>
                <a:lnTo>
                  <a:pt x="882" y="1011"/>
                </a:lnTo>
                <a:lnTo>
                  <a:pt x="881" y="1016"/>
                </a:lnTo>
                <a:close/>
                <a:moveTo>
                  <a:pt x="874" y="1032"/>
                </a:moveTo>
                <a:lnTo>
                  <a:pt x="870" y="1036"/>
                </a:lnTo>
                <a:lnTo>
                  <a:pt x="868" y="1041"/>
                </a:lnTo>
                <a:lnTo>
                  <a:pt x="867" y="1043"/>
                </a:lnTo>
                <a:lnTo>
                  <a:pt x="867" y="1046"/>
                </a:lnTo>
                <a:lnTo>
                  <a:pt x="867" y="1043"/>
                </a:lnTo>
                <a:lnTo>
                  <a:pt x="868" y="1041"/>
                </a:lnTo>
                <a:lnTo>
                  <a:pt x="863" y="1041"/>
                </a:lnTo>
                <a:lnTo>
                  <a:pt x="859" y="1041"/>
                </a:lnTo>
                <a:lnTo>
                  <a:pt x="854" y="1041"/>
                </a:lnTo>
                <a:lnTo>
                  <a:pt x="849" y="1041"/>
                </a:lnTo>
                <a:lnTo>
                  <a:pt x="851" y="1034"/>
                </a:lnTo>
                <a:lnTo>
                  <a:pt x="855" y="1029"/>
                </a:lnTo>
                <a:lnTo>
                  <a:pt x="865" y="1028"/>
                </a:lnTo>
                <a:lnTo>
                  <a:pt x="874" y="1032"/>
                </a:lnTo>
                <a:lnTo>
                  <a:pt x="876" y="1029"/>
                </a:lnTo>
                <a:lnTo>
                  <a:pt x="877" y="1028"/>
                </a:lnTo>
                <a:lnTo>
                  <a:pt x="876" y="1029"/>
                </a:lnTo>
                <a:lnTo>
                  <a:pt x="874" y="1032"/>
                </a:lnTo>
                <a:close/>
                <a:moveTo>
                  <a:pt x="863" y="1048"/>
                </a:moveTo>
                <a:lnTo>
                  <a:pt x="861" y="1053"/>
                </a:lnTo>
                <a:lnTo>
                  <a:pt x="858" y="1057"/>
                </a:lnTo>
                <a:lnTo>
                  <a:pt x="855" y="1060"/>
                </a:lnTo>
                <a:lnTo>
                  <a:pt x="851" y="1058"/>
                </a:lnTo>
                <a:lnTo>
                  <a:pt x="851" y="1058"/>
                </a:lnTo>
                <a:lnTo>
                  <a:pt x="852" y="1053"/>
                </a:lnTo>
                <a:lnTo>
                  <a:pt x="854" y="1047"/>
                </a:lnTo>
                <a:lnTo>
                  <a:pt x="859" y="1046"/>
                </a:lnTo>
                <a:lnTo>
                  <a:pt x="863" y="1048"/>
                </a:lnTo>
                <a:lnTo>
                  <a:pt x="865" y="1046"/>
                </a:lnTo>
                <a:lnTo>
                  <a:pt x="863" y="1044"/>
                </a:lnTo>
                <a:lnTo>
                  <a:pt x="865" y="1046"/>
                </a:lnTo>
                <a:lnTo>
                  <a:pt x="863" y="1048"/>
                </a:lnTo>
                <a:lnTo>
                  <a:pt x="863" y="1048"/>
                </a:lnTo>
                <a:close/>
                <a:moveTo>
                  <a:pt x="842" y="1040"/>
                </a:moveTo>
                <a:lnTo>
                  <a:pt x="838" y="1041"/>
                </a:lnTo>
                <a:lnTo>
                  <a:pt x="837" y="1043"/>
                </a:lnTo>
                <a:lnTo>
                  <a:pt x="834" y="1049"/>
                </a:lnTo>
                <a:lnTo>
                  <a:pt x="831" y="1055"/>
                </a:lnTo>
                <a:lnTo>
                  <a:pt x="825" y="1054"/>
                </a:lnTo>
                <a:lnTo>
                  <a:pt x="827" y="1048"/>
                </a:lnTo>
                <a:lnTo>
                  <a:pt x="839" y="1027"/>
                </a:lnTo>
                <a:lnTo>
                  <a:pt x="848" y="1006"/>
                </a:lnTo>
                <a:lnTo>
                  <a:pt x="849" y="998"/>
                </a:lnTo>
                <a:lnTo>
                  <a:pt x="851" y="988"/>
                </a:lnTo>
                <a:lnTo>
                  <a:pt x="852" y="985"/>
                </a:lnTo>
                <a:lnTo>
                  <a:pt x="856" y="984"/>
                </a:lnTo>
                <a:lnTo>
                  <a:pt x="860" y="985"/>
                </a:lnTo>
                <a:lnTo>
                  <a:pt x="860" y="987"/>
                </a:lnTo>
                <a:lnTo>
                  <a:pt x="856" y="994"/>
                </a:lnTo>
                <a:lnTo>
                  <a:pt x="859" y="1000"/>
                </a:lnTo>
                <a:lnTo>
                  <a:pt x="859" y="1001"/>
                </a:lnTo>
                <a:lnTo>
                  <a:pt x="858" y="1002"/>
                </a:lnTo>
                <a:lnTo>
                  <a:pt x="859" y="1004"/>
                </a:lnTo>
                <a:lnTo>
                  <a:pt x="859" y="1004"/>
                </a:lnTo>
                <a:lnTo>
                  <a:pt x="859" y="1004"/>
                </a:lnTo>
                <a:lnTo>
                  <a:pt x="858" y="1002"/>
                </a:lnTo>
                <a:lnTo>
                  <a:pt x="853" y="1006"/>
                </a:lnTo>
                <a:lnTo>
                  <a:pt x="853" y="1012"/>
                </a:lnTo>
                <a:lnTo>
                  <a:pt x="853" y="1016"/>
                </a:lnTo>
                <a:lnTo>
                  <a:pt x="851" y="1020"/>
                </a:lnTo>
                <a:lnTo>
                  <a:pt x="845" y="1029"/>
                </a:lnTo>
                <a:lnTo>
                  <a:pt x="842" y="1040"/>
                </a:lnTo>
                <a:close/>
                <a:moveTo>
                  <a:pt x="838" y="1055"/>
                </a:moveTo>
                <a:lnTo>
                  <a:pt x="841" y="1048"/>
                </a:lnTo>
                <a:lnTo>
                  <a:pt x="848" y="1046"/>
                </a:lnTo>
                <a:lnTo>
                  <a:pt x="846" y="1053"/>
                </a:lnTo>
                <a:lnTo>
                  <a:pt x="838" y="1055"/>
                </a:lnTo>
                <a:close/>
                <a:moveTo>
                  <a:pt x="844" y="1074"/>
                </a:moveTo>
                <a:lnTo>
                  <a:pt x="838" y="1079"/>
                </a:lnTo>
                <a:lnTo>
                  <a:pt x="828" y="1078"/>
                </a:lnTo>
                <a:lnTo>
                  <a:pt x="825" y="1077"/>
                </a:lnTo>
                <a:lnTo>
                  <a:pt x="820" y="1076"/>
                </a:lnTo>
                <a:lnTo>
                  <a:pt x="820" y="1076"/>
                </a:lnTo>
                <a:lnTo>
                  <a:pt x="819" y="1077"/>
                </a:lnTo>
                <a:lnTo>
                  <a:pt x="820" y="1076"/>
                </a:lnTo>
                <a:lnTo>
                  <a:pt x="820" y="1076"/>
                </a:lnTo>
                <a:lnTo>
                  <a:pt x="820" y="1076"/>
                </a:lnTo>
                <a:lnTo>
                  <a:pt x="820" y="1075"/>
                </a:lnTo>
                <a:lnTo>
                  <a:pt x="821" y="1075"/>
                </a:lnTo>
                <a:lnTo>
                  <a:pt x="821" y="1074"/>
                </a:lnTo>
                <a:lnTo>
                  <a:pt x="822" y="1072"/>
                </a:lnTo>
                <a:lnTo>
                  <a:pt x="826" y="1068"/>
                </a:lnTo>
                <a:lnTo>
                  <a:pt x="832" y="1064"/>
                </a:lnTo>
                <a:lnTo>
                  <a:pt x="833" y="1065"/>
                </a:lnTo>
                <a:lnTo>
                  <a:pt x="834" y="1065"/>
                </a:lnTo>
                <a:lnTo>
                  <a:pt x="834" y="1067"/>
                </a:lnTo>
                <a:lnTo>
                  <a:pt x="833" y="1068"/>
                </a:lnTo>
                <a:lnTo>
                  <a:pt x="834" y="1069"/>
                </a:lnTo>
                <a:lnTo>
                  <a:pt x="834" y="1069"/>
                </a:lnTo>
                <a:lnTo>
                  <a:pt x="834" y="1069"/>
                </a:lnTo>
                <a:lnTo>
                  <a:pt x="833" y="1068"/>
                </a:lnTo>
                <a:lnTo>
                  <a:pt x="833" y="1069"/>
                </a:lnTo>
                <a:lnTo>
                  <a:pt x="833" y="1069"/>
                </a:lnTo>
                <a:lnTo>
                  <a:pt x="833" y="1069"/>
                </a:lnTo>
                <a:lnTo>
                  <a:pt x="831" y="1072"/>
                </a:lnTo>
                <a:lnTo>
                  <a:pt x="832" y="1075"/>
                </a:lnTo>
                <a:lnTo>
                  <a:pt x="835" y="1076"/>
                </a:lnTo>
                <a:lnTo>
                  <a:pt x="839" y="1072"/>
                </a:lnTo>
                <a:lnTo>
                  <a:pt x="842" y="1068"/>
                </a:lnTo>
                <a:lnTo>
                  <a:pt x="848" y="1068"/>
                </a:lnTo>
                <a:lnTo>
                  <a:pt x="846" y="1071"/>
                </a:lnTo>
                <a:lnTo>
                  <a:pt x="844" y="1074"/>
                </a:lnTo>
                <a:close/>
                <a:moveTo>
                  <a:pt x="831" y="1088"/>
                </a:moveTo>
                <a:lnTo>
                  <a:pt x="827" y="1091"/>
                </a:lnTo>
                <a:lnTo>
                  <a:pt x="824" y="1096"/>
                </a:lnTo>
                <a:lnTo>
                  <a:pt x="822" y="1097"/>
                </a:lnTo>
                <a:lnTo>
                  <a:pt x="822" y="1098"/>
                </a:lnTo>
                <a:lnTo>
                  <a:pt x="822" y="1097"/>
                </a:lnTo>
                <a:lnTo>
                  <a:pt x="824" y="1096"/>
                </a:lnTo>
                <a:lnTo>
                  <a:pt x="814" y="1097"/>
                </a:lnTo>
                <a:lnTo>
                  <a:pt x="807" y="1093"/>
                </a:lnTo>
                <a:lnTo>
                  <a:pt x="808" y="1088"/>
                </a:lnTo>
                <a:lnTo>
                  <a:pt x="813" y="1082"/>
                </a:lnTo>
                <a:lnTo>
                  <a:pt x="821" y="1081"/>
                </a:lnTo>
                <a:lnTo>
                  <a:pt x="829" y="1083"/>
                </a:lnTo>
                <a:lnTo>
                  <a:pt x="832" y="1084"/>
                </a:lnTo>
                <a:lnTo>
                  <a:pt x="831" y="1088"/>
                </a:lnTo>
                <a:close/>
                <a:moveTo>
                  <a:pt x="813" y="1105"/>
                </a:moveTo>
                <a:lnTo>
                  <a:pt x="807" y="1109"/>
                </a:lnTo>
                <a:lnTo>
                  <a:pt x="803" y="1112"/>
                </a:lnTo>
                <a:lnTo>
                  <a:pt x="801" y="1113"/>
                </a:lnTo>
                <a:lnTo>
                  <a:pt x="801" y="1114"/>
                </a:lnTo>
                <a:lnTo>
                  <a:pt x="799" y="1116"/>
                </a:lnTo>
                <a:lnTo>
                  <a:pt x="798" y="1116"/>
                </a:lnTo>
                <a:lnTo>
                  <a:pt x="796" y="1116"/>
                </a:lnTo>
                <a:lnTo>
                  <a:pt x="794" y="1114"/>
                </a:lnTo>
                <a:lnTo>
                  <a:pt x="790" y="1112"/>
                </a:lnTo>
                <a:lnTo>
                  <a:pt x="786" y="1107"/>
                </a:lnTo>
                <a:lnTo>
                  <a:pt x="794" y="1100"/>
                </a:lnTo>
                <a:lnTo>
                  <a:pt x="804" y="1099"/>
                </a:lnTo>
                <a:lnTo>
                  <a:pt x="810" y="1100"/>
                </a:lnTo>
                <a:lnTo>
                  <a:pt x="813" y="1105"/>
                </a:lnTo>
                <a:lnTo>
                  <a:pt x="813" y="1105"/>
                </a:lnTo>
                <a:close/>
                <a:moveTo>
                  <a:pt x="792" y="1119"/>
                </a:moveTo>
                <a:lnTo>
                  <a:pt x="785" y="1126"/>
                </a:lnTo>
                <a:lnTo>
                  <a:pt x="778" y="1132"/>
                </a:lnTo>
                <a:lnTo>
                  <a:pt x="769" y="1130"/>
                </a:lnTo>
                <a:lnTo>
                  <a:pt x="765" y="1124"/>
                </a:lnTo>
                <a:lnTo>
                  <a:pt x="771" y="1118"/>
                </a:lnTo>
                <a:lnTo>
                  <a:pt x="779" y="1114"/>
                </a:lnTo>
                <a:lnTo>
                  <a:pt x="786" y="1116"/>
                </a:lnTo>
                <a:lnTo>
                  <a:pt x="792" y="1119"/>
                </a:lnTo>
                <a:lnTo>
                  <a:pt x="794" y="1119"/>
                </a:lnTo>
                <a:lnTo>
                  <a:pt x="797" y="1118"/>
                </a:lnTo>
                <a:lnTo>
                  <a:pt x="794" y="1119"/>
                </a:lnTo>
                <a:lnTo>
                  <a:pt x="792" y="1119"/>
                </a:lnTo>
                <a:close/>
                <a:moveTo>
                  <a:pt x="768" y="1138"/>
                </a:moveTo>
                <a:lnTo>
                  <a:pt x="762" y="1142"/>
                </a:lnTo>
                <a:lnTo>
                  <a:pt x="756" y="1146"/>
                </a:lnTo>
                <a:lnTo>
                  <a:pt x="753" y="1147"/>
                </a:lnTo>
                <a:lnTo>
                  <a:pt x="751" y="1146"/>
                </a:lnTo>
                <a:lnTo>
                  <a:pt x="751" y="1144"/>
                </a:lnTo>
                <a:lnTo>
                  <a:pt x="752" y="1142"/>
                </a:lnTo>
                <a:lnTo>
                  <a:pt x="759" y="1140"/>
                </a:lnTo>
                <a:lnTo>
                  <a:pt x="760" y="1134"/>
                </a:lnTo>
                <a:lnTo>
                  <a:pt x="755" y="1134"/>
                </a:lnTo>
                <a:lnTo>
                  <a:pt x="749" y="1138"/>
                </a:lnTo>
                <a:lnTo>
                  <a:pt x="748" y="1138"/>
                </a:lnTo>
                <a:lnTo>
                  <a:pt x="748" y="1139"/>
                </a:lnTo>
                <a:lnTo>
                  <a:pt x="746" y="1138"/>
                </a:lnTo>
                <a:lnTo>
                  <a:pt x="745" y="1138"/>
                </a:lnTo>
                <a:lnTo>
                  <a:pt x="751" y="1132"/>
                </a:lnTo>
                <a:lnTo>
                  <a:pt x="758" y="1130"/>
                </a:lnTo>
                <a:lnTo>
                  <a:pt x="764" y="1132"/>
                </a:lnTo>
                <a:lnTo>
                  <a:pt x="768" y="1138"/>
                </a:lnTo>
                <a:lnTo>
                  <a:pt x="771" y="1137"/>
                </a:lnTo>
                <a:lnTo>
                  <a:pt x="775" y="1137"/>
                </a:lnTo>
                <a:lnTo>
                  <a:pt x="771" y="1137"/>
                </a:lnTo>
                <a:lnTo>
                  <a:pt x="768" y="1138"/>
                </a:lnTo>
                <a:close/>
                <a:moveTo>
                  <a:pt x="734" y="1146"/>
                </a:moveTo>
                <a:lnTo>
                  <a:pt x="729" y="1149"/>
                </a:lnTo>
                <a:lnTo>
                  <a:pt x="724" y="1152"/>
                </a:lnTo>
                <a:lnTo>
                  <a:pt x="722" y="1154"/>
                </a:lnTo>
                <a:lnTo>
                  <a:pt x="723" y="1156"/>
                </a:lnTo>
                <a:lnTo>
                  <a:pt x="725" y="1158"/>
                </a:lnTo>
                <a:lnTo>
                  <a:pt x="728" y="1158"/>
                </a:lnTo>
                <a:lnTo>
                  <a:pt x="734" y="1154"/>
                </a:lnTo>
                <a:lnTo>
                  <a:pt x="742" y="1153"/>
                </a:lnTo>
                <a:lnTo>
                  <a:pt x="732" y="1159"/>
                </a:lnTo>
                <a:lnTo>
                  <a:pt x="723" y="1162"/>
                </a:lnTo>
                <a:lnTo>
                  <a:pt x="723" y="1165"/>
                </a:lnTo>
                <a:lnTo>
                  <a:pt x="722" y="1166"/>
                </a:lnTo>
                <a:lnTo>
                  <a:pt x="723" y="1165"/>
                </a:lnTo>
                <a:lnTo>
                  <a:pt x="723" y="1162"/>
                </a:lnTo>
                <a:lnTo>
                  <a:pt x="718" y="1158"/>
                </a:lnTo>
                <a:lnTo>
                  <a:pt x="716" y="1152"/>
                </a:lnTo>
                <a:lnTo>
                  <a:pt x="724" y="1147"/>
                </a:lnTo>
                <a:lnTo>
                  <a:pt x="735" y="1145"/>
                </a:lnTo>
                <a:lnTo>
                  <a:pt x="734" y="1145"/>
                </a:lnTo>
                <a:lnTo>
                  <a:pt x="734" y="1146"/>
                </a:lnTo>
                <a:lnTo>
                  <a:pt x="734" y="1146"/>
                </a:lnTo>
                <a:lnTo>
                  <a:pt x="734" y="1146"/>
                </a:lnTo>
                <a:lnTo>
                  <a:pt x="741" y="1147"/>
                </a:lnTo>
                <a:lnTo>
                  <a:pt x="745" y="1147"/>
                </a:lnTo>
                <a:lnTo>
                  <a:pt x="741" y="1147"/>
                </a:lnTo>
                <a:lnTo>
                  <a:pt x="734" y="1146"/>
                </a:lnTo>
                <a:close/>
                <a:moveTo>
                  <a:pt x="700" y="1175"/>
                </a:moveTo>
                <a:lnTo>
                  <a:pt x="699" y="1176"/>
                </a:lnTo>
                <a:lnTo>
                  <a:pt x="699" y="1176"/>
                </a:lnTo>
                <a:lnTo>
                  <a:pt x="699" y="1176"/>
                </a:lnTo>
                <a:lnTo>
                  <a:pt x="700" y="1175"/>
                </a:lnTo>
                <a:lnTo>
                  <a:pt x="694" y="1172"/>
                </a:lnTo>
                <a:lnTo>
                  <a:pt x="690" y="1165"/>
                </a:lnTo>
                <a:lnTo>
                  <a:pt x="700" y="1160"/>
                </a:lnTo>
                <a:lnTo>
                  <a:pt x="709" y="1156"/>
                </a:lnTo>
                <a:lnTo>
                  <a:pt x="714" y="1161"/>
                </a:lnTo>
                <a:lnTo>
                  <a:pt x="716" y="1167"/>
                </a:lnTo>
                <a:lnTo>
                  <a:pt x="708" y="1172"/>
                </a:lnTo>
                <a:lnTo>
                  <a:pt x="700" y="1175"/>
                </a:lnTo>
                <a:close/>
                <a:moveTo>
                  <a:pt x="668" y="1188"/>
                </a:moveTo>
                <a:lnTo>
                  <a:pt x="667" y="1189"/>
                </a:lnTo>
                <a:lnTo>
                  <a:pt x="665" y="1190"/>
                </a:lnTo>
                <a:lnTo>
                  <a:pt x="667" y="1189"/>
                </a:lnTo>
                <a:lnTo>
                  <a:pt x="668" y="1188"/>
                </a:lnTo>
                <a:lnTo>
                  <a:pt x="665" y="1182"/>
                </a:lnTo>
                <a:lnTo>
                  <a:pt x="663" y="1175"/>
                </a:lnTo>
                <a:lnTo>
                  <a:pt x="663" y="1175"/>
                </a:lnTo>
                <a:lnTo>
                  <a:pt x="673" y="1172"/>
                </a:lnTo>
                <a:lnTo>
                  <a:pt x="683" y="1168"/>
                </a:lnTo>
                <a:lnTo>
                  <a:pt x="687" y="1173"/>
                </a:lnTo>
                <a:lnTo>
                  <a:pt x="689" y="1179"/>
                </a:lnTo>
                <a:lnTo>
                  <a:pt x="679" y="1183"/>
                </a:lnTo>
                <a:lnTo>
                  <a:pt x="668" y="1188"/>
                </a:lnTo>
                <a:lnTo>
                  <a:pt x="668" y="1188"/>
                </a:lnTo>
                <a:close/>
                <a:moveTo>
                  <a:pt x="656" y="1172"/>
                </a:moveTo>
                <a:lnTo>
                  <a:pt x="646" y="1176"/>
                </a:lnTo>
                <a:lnTo>
                  <a:pt x="634" y="1179"/>
                </a:lnTo>
                <a:lnTo>
                  <a:pt x="631" y="1179"/>
                </a:lnTo>
                <a:lnTo>
                  <a:pt x="630" y="1182"/>
                </a:lnTo>
                <a:lnTo>
                  <a:pt x="630" y="1184"/>
                </a:lnTo>
                <a:lnTo>
                  <a:pt x="630" y="1187"/>
                </a:lnTo>
                <a:lnTo>
                  <a:pt x="631" y="1194"/>
                </a:lnTo>
                <a:lnTo>
                  <a:pt x="628" y="1201"/>
                </a:lnTo>
                <a:lnTo>
                  <a:pt x="620" y="1203"/>
                </a:lnTo>
                <a:lnTo>
                  <a:pt x="612" y="1204"/>
                </a:lnTo>
                <a:lnTo>
                  <a:pt x="615" y="1200"/>
                </a:lnTo>
                <a:lnTo>
                  <a:pt x="620" y="1200"/>
                </a:lnTo>
                <a:lnTo>
                  <a:pt x="625" y="1198"/>
                </a:lnTo>
                <a:lnTo>
                  <a:pt x="626" y="1195"/>
                </a:lnTo>
                <a:lnTo>
                  <a:pt x="624" y="1191"/>
                </a:lnTo>
                <a:lnTo>
                  <a:pt x="619" y="1193"/>
                </a:lnTo>
                <a:lnTo>
                  <a:pt x="615" y="1194"/>
                </a:lnTo>
                <a:lnTo>
                  <a:pt x="611" y="1194"/>
                </a:lnTo>
                <a:lnTo>
                  <a:pt x="610" y="1198"/>
                </a:lnTo>
                <a:lnTo>
                  <a:pt x="606" y="1202"/>
                </a:lnTo>
                <a:lnTo>
                  <a:pt x="610" y="1198"/>
                </a:lnTo>
                <a:lnTo>
                  <a:pt x="611" y="1194"/>
                </a:lnTo>
                <a:lnTo>
                  <a:pt x="611" y="1193"/>
                </a:lnTo>
                <a:lnTo>
                  <a:pt x="611" y="1193"/>
                </a:lnTo>
                <a:lnTo>
                  <a:pt x="620" y="1189"/>
                </a:lnTo>
                <a:lnTo>
                  <a:pt x="630" y="1187"/>
                </a:lnTo>
                <a:lnTo>
                  <a:pt x="630" y="1184"/>
                </a:lnTo>
                <a:lnTo>
                  <a:pt x="630" y="1182"/>
                </a:lnTo>
                <a:lnTo>
                  <a:pt x="624" y="1183"/>
                </a:lnTo>
                <a:lnTo>
                  <a:pt x="619" y="1184"/>
                </a:lnTo>
                <a:lnTo>
                  <a:pt x="617" y="1184"/>
                </a:lnTo>
                <a:lnTo>
                  <a:pt x="614" y="1182"/>
                </a:lnTo>
                <a:lnTo>
                  <a:pt x="615" y="1180"/>
                </a:lnTo>
                <a:lnTo>
                  <a:pt x="618" y="1179"/>
                </a:lnTo>
                <a:lnTo>
                  <a:pt x="634" y="1174"/>
                </a:lnTo>
                <a:lnTo>
                  <a:pt x="649" y="1169"/>
                </a:lnTo>
                <a:lnTo>
                  <a:pt x="683" y="1156"/>
                </a:lnTo>
                <a:lnTo>
                  <a:pt x="716" y="1141"/>
                </a:lnTo>
                <a:lnTo>
                  <a:pt x="720" y="1139"/>
                </a:lnTo>
                <a:lnTo>
                  <a:pt x="723" y="1140"/>
                </a:lnTo>
                <a:lnTo>
                  <a:pt x="722" y="1144"/>
                </a:lnTo>
                <a:lnTo>
                  <a:pt x="718" y="1146"/>
                </a:lnTo>
                <a:lnTo>
                  <a:pt x="716" y="1147"/>
                </a:lnTo>
                <a:lnTo>
                  <a:pt x="713" y="1148"/>
                </a:lnTo>
                <a:lnTo>
                  <a:pt x="708" y="1148"/>
                </a:lnTo>
                <a:lnTo>
                  <a:pt x="706" y="1152"/>
                </a:lnTo>
                <a:lnTo>
                  <a:pt x="696" y="1155"/>
                </a:lnTo>
                <a:lnTo>
                  <a:pt x="687" y="1160"/>
                </a:lnTo>
                <a:lnTo>
                  <a:pt x="682" y="1160"/>
                </a:lnTo>
                <a:lnTo>
                  <a:pt x="680" y="1163"/>
                </a:lnTo>
                <a:lnTo>
                  <a:pt x="670" y="1167"/>
                </a:lnTo>
                <a:lnTo>
                  <a:pt x="660" y="1172"/>
                </a:lnTo>
                <a:lnTo>
                  <a:pt x="658" y="1169"/>
                </a:lnTo>
                <a:lnTo>
                  <a:pt x="656" y="1172"/>
                </a:lnTo>
                <a:lnTo>
                  <a:pt x="656" y="1172"/>
                </a:lnTo>
                <a:close/>
                <a:moveTo>
                  <a:pt x="660" y="1190"/>
                </a:moveTo>
                <a:lnTo>
                  <a:pt x="649" y="1195"/>
                </a:lnTo>
                <a:lnTo>
                  <a:pt x="638" y="1197"/>
                </a:lnTo>
                <a:lnTo>
                  <a:pt x="635" y="1200"/>
                </a:lnTo>
                <a:lnTo>
                  <a:pt x="632" y="1201"/>
                </a:lnTo>
                <a:lnTo>
                  <a:pt x="635" y="1200"/>
                </a:lnTo>
                <a:lnTo>
                  <a:pt x="638" y="1197"/>
                </a:lnTo>
                <a:lnTo>
                  <a:pt x="638" y="1190"/>
                </a:lnTo>
                <a:lnTo>
                  <a:pt x="637" y="1184"/>
                </a:lnTo>
                <a:lnTo>
                  <a:pt x="647" y="1181"/>
                </a:lnTo>
                <a:lnTo>
                  <a:pt x="658" y="1179"/>
                </a:lnTo>
                <a:lnTo>
                  <a:pt x="660" y="1184"/>
                </a:lnTo>
                <a:lnTo>
                  <a:pt x="660" y="1190"/>
                </a:lnTo>
                <a:close/>
                <a:moveTo>
                  <a:pt x="603" y="1180"/>
                </a:moveTo>
                <a:lnTo>
                  <a:pt x="604" y="1179"/>
                </a:lnTo>
                <a:lnTo>
                  <a:pt x="606" y="1177"/>
                </a:lnTo>
                <a:lnTo>
                  <a:pt x="604" y="1179"/>
                </a:lnTo>
                <a:lnTo>
                  <a:pt x="603" y="1180"/>
                </a:lnTo>
                <a:close/>
                <a:moveTo>
                  <a:pt x="730" y="1081"/>
                </a:moveTo>
                <a:lnTo>
                  <a:pt x="732" y="1075"/>
                </a:lnTo>
                <a:lnTo>
                  <a:pt x="736" y="1071"/>
                </a:lnTo>
                <a:lnTo>
                  <a:pt x="743" y="1064"/>
                </a:lnTo>
                <a:lnTo>
                  <a:pt x="750" y="1057"/>
                </a:lnTo>
                <a:lnTo>
                  <a:pt x="752" y="1055"/>
                </a:lnTo>
                <a:lnTo>
                  <a:pt x="755" y="1056"/>
                </a:lnTo>
                <a:lnTo>
                  <a:pt x="755" y="1057"/>
                </a:lnTo>
                <a:lnTo>
                  <a:pt x="755" y="1060"/>
                </a:lnTo>
                <a:lnTo>
                  <a:pt x="743" y="1071"/>
                </a:lnTo>
                <a:lnTo>
                  <a:pt x="730" y="1081"/>
                </a:lnTo>
                <a:close/>
                <a:moveTo>
                  <a:pt x="710" y="1102"/>
                </a:moveTo>
                <a:lnTo>
                  <a:pt x="715" y="1097"/>
                </a:lnTo>
                <a:lnTo>
                  <a:pt x="722" y="1092"/>
                </a:lnTo>
                <a:lnTo>
                  <a:pt x="741" y="1078"/>
                </a:lnTo>
                <a:lnTo>
                  <a:pt x="757" y="1062"/>
                </a:lnTo>
                <a:lnTo>
                  <a:pt x="760" y="1060"/>
                </a:lnTo>
                <a:lnTo>
                  <a:pt x="763" y="1063"/>
                </a:lnTo>
                <a:lnTo>
                  <a:pt x="764" y="1067"/>
                </a:lnTo>
                <a:lnTo>
                  <a:pt x="768" y="1067"/>
                </a:lnTo>
                <a:lnTo>
                  <a:pt x="782" y="1069"/>
                </a:lnTo>
                <a:lnTo>
                  <a:pt x="796" y="1070"/>
                </a:lnTo>
                <a:lnTo>
                  <a:pt x="799" y="1070"/>
                </a:lnTo>
                <a:lnTo>
                  <a:pt x="803" y="1070"/>
                </a:lnTo>
                <a:lnTo>
                  <a:pt x="799" y="1070"/>
                </a:lnTo>
                <a:lnTo>
                  <a:pt x="796" y="1070"/>
                </a:lnTo>
                <a:lnTo>
                  <a:pt x="789" y="1079"/>
                </a:lnTo>
                <a:lnTo>
                  <a:pt x="780" y="1086"/>
                </a:lnTo>
                <a:lnTo>
                  <a:pt x="766" y="1099"/>
                </a:lnTo>
                <a:lnTo>
                  <a:pt x="751" y="1111"/>
                </a:lnTo>
                <a:lnTo>
                  <a:pt x="749" y="1112"/>
                </a:lnTo>
                <a:lnTo>
                  <a:pt x="746" y="1113"/>
                </a:lnTo>
                <a:lnTo>
                  <a:pt x="734" y="1119"/>
                </a:lnTo>
                <a:lnTo>
                  <a:pt x="722" y="1113"/>
                </a:lnTo>
                <a:lnTo>
                  <a:pt x="715" y="1107"/>
                </a:lnTo>
                <a:lnTo>
                  <a:pt x="710" y="1102"/>
                </a:lnTo>
                <a:close/>
                <a:moveTo>
                  <a:pt x="700" y="1100"/>
                </a:moveTo>
                <a:lnTo>
                  <a:pt x="714" y="1090"/>
                </a:lnTo>
                <a:lnTo>
                  <a:pt x="730" y="1081"/>
                </a:lnTo>
                <a:lnTo>
                  <a:pt x="716" y="1092"/>
                </a:lnTo>
                <a:lnTo>
                  <a:pt x="700" y="1100"/>
                </a:lnTo>
                <a:close/>
                <a:moveTo>
                  <a:pt x="720" y="1123"/>
                </a:moveTo>
                <a:lnTo>
                  <a:pt x="718" y="1125"/>
                </a:lnTo>
                <a:lnTo>
                  <a:pt x="715" y="1125"/>
                </a:lnTo>
                <a:lnTo>
                  <a:pt x="708" y="1119"/>
                </a:lnTo>
                <a:lnTo>
                  <a:pt x="701" y="1112"/>
                </a:lnTo>
                <a:lnTo>
                  <a:pt x="711" y="1116"/>
                </a:lnTo>
                <a:lnTo>
                  <a:pt x="720" y="1123"/>
                </a:lnTo>
                <a:close/>
                <a:moveTo>
                  <a:pt x="815" y="1077"/>
                </a:moveTo>
                <a:lnTo>
                  <a:pt x="814" y="1077"/>
                </a:lnTo>
                <a:lnTo>
                  <a:pt x="813" y="1078"/>
                </a:lnTo>
                <a:lnTo>
                  <a:pt x="814" y="1077"/>
                </a:lnTo>
                <a:lnTo>
                  <a:pt x="815" y="1077"/>
                </a:lnTo>
                <a:close/>
                <a:moveTo>
                  <a:pt x="534" y="1142"/>
                </a:moveTo>
                <a:lnTo>
                  <a:pt x="535" y="1141"/>
                </a:lnTo>
                <a:lnTo>
                  <a:pt x="537" y="1141"/>
                </a:lnTo>
                <a:lnTo>
                  <a:pt x="551" y="1141"/>
                </a:lnTo>
                <a:lnTo>
                  <a:pt x="566" y="1141"/>
                </a:lnTo>
                <a:lnTo>
                  <a:pt x="566" y="1145"/>
                </a:lnTo>
                <a:lnTo>
                  <a:pt x="565" y="1146"/>
                </a:lnTo>
                <a:lnTo>
                  <a:pt x="550" y="1147"/>
                </a:lnTo>
                <a:lnTo>
                  <a:pt x="536" y="1146"/>
                </a:lnTo>
                <a:lnTo>
                  <a:pt x="534" y="1145"/>
                </a:lnTo>
                <a:lnTo>
                  <a:pt x="534" y="1142"/>
                </a:lnTo>
                <a:close/>
                <a:moveTo>
                  <a:pt x="598" y="1161"/>
                </a:moveTo>
                <a:lnTo>
                  <a:pt x="599" y="1156"/>
                </a:lnTo>
                <a:lnTo>
                  <a:pt x="605" y="1156"/>
                </a:lnTo>
                <a:lnTo>
                  <a:pt x="607" y="1154"/>
                </a:lnTo>
                <a:lnTo>
                  <a:pt x="608" y="1151"/>
                </a:lnTo>
                <a:lnTo>
                  <a:pt x="606" y="1149"/>
                </a:lnTo>
                <a:lnTo>
                  <a:pt x="604" y="1149"/>
                </a:lnTo>
                <a:lnTo>
                  <a:pt x="597" y="1151"/>
                </a:lnTo>
                <a:lnTo>
                  <a:pt x="593" y="1159"/>
                </a:lnTo>
                <a:lnTo>
                  <a:pt x="590" y="1174"/>
                </a:lnTo>
                <a:lnTo>
                  <a:pt x="575" y="1180"/>
                </a:lnTo>
                <a:lnTo>
                  <a:pt x="572" y="1181"/>
                </a:lnTo>
                <a:lnTo>
                  <a:pt x="570" y="1182"/>
                </a:lnTo>
                <a:lnTo>
                  <a:pt x="564" y="1182"/>
                </a:lnTo>
                <a:lnTo>
                  <a:pt x="559" y="1182"/>
                </a:lnTo>
                <a:lnTo>
                  <a:pt x="558" y="1182"/>
                </a:lnTo>
                <a:lnTo>
                  <a:pt x="557" y="1182"/>
                </a:lnTo>
                <a:lnTo>
                  <a:pt x="555" y="1186"/>
                </a:lnTo>
                <a:lnTo>
                  <a:pt x="550" y="1187"/>
                </a:lnTo>
                <a:lnTo>
                  <a:pt x="555" y="1186"/>
                </a:lnTo>
                <a:lnTo>
                  <a:pt x="557" y="1182"/>
                </a:lnTo>
                <a:lnTo>
                  <a:pt x="537" y="1183"/>
                </a:lnTo>
                <a:lnTo>
                  <a:pt x="518" y="1183"/>
                </a:lnTo>
                <a:lnTo>
                  <a:pt x="518" y="1176"/>
                </a:lnTo>
                <a:lnTo>
                  <a:pt x="523" y="1169"/>
                </a:lnTo>
                <a:lnTo>
                  <a:pt x="531" y="1161"/>
                </a:lnTo>
                <a:lnTo>
                  <a:pt x="537" y="1152"/>
                </a:lnTo>
                <a:lnTo>
                  <a:pt x="539" y="1151"/>
                </a:lnTo>
                <a:lnTo>
                  <a:pt x="542" y="1149"/>
                </a:lnTo>
                <a:lnTo>
                  <a:pt x="552" y="1149"/>
                </a:lnTo>
                <a:lnTo>
                  <a:pt x="564" y="1149"/>
                </a:lnTo>
                <a:lnTo>
                  <a:pt x="575" y="1148"/>
                </a:lnTo>
                <a:lnTo>
                  <a:pt x="585" y="1147"/>
                </a:lnTo>
                <a:lnTo>
                  <a:pt x="577" y="1144"/>
                </a:lnTo>
                <a:lnTo>
                  <a:pt x="570" y="1142"/>
                </a:lnTo>
                <a:lnTo>
                  <a:pt x="578" y="1141"/>
                </a:lnTo>
                <a:lnTo>
                  <a:pt x="585" y="1135"/>
                </a:lnTo>
                <a:lnTo>
                  <a:pt x="539" y="1137"/>
                </a:lnTo>
                <a:lnTo>
                  <a:pt x="497" y="1126"/>
                </a:lnTo>
                <a:lnTo>
                  <a:pt x="494" y="1126"/>
                </a:lnTo>
                <a:lnTo>
                  <a:pt x="490" y="1126"/>
                </a:lnTo>
                <a:lnTo>
                  <a:pt x="494" y="1130"/>
                </a:lnTo>
                <a:lnTo>
                  <a:pt x="496" y="1133"/>
                </a:lnTo>
                <a:lnTo>
                  <a:pt x="489" y="1133"/>
                </a:lnTo>
                <a:lnTo>
                  <a:pt x="482" y="1130"/>
                </a:lnTo>
                <a:lnTo>
                  <a:pt x="479" y="1128"/>
                </a:lnTo>
                <a:lnTo>
                  <a:pt x="475" y="1126"/>
                </a:lnTo>
                <a:lnTo>
                  <a:pt x="474" y="1125"/>
                </a:lnTo>
                <a:lnTo>
                  <a:pt x="473" y="1125"/>
                </a:lnTo>
                <a:lnTo>
                  <a:pt x="474" y="1125"/>
                </a:lnTo>
                <a:lnTo>
                  <a:pt x="475" y="1126"/>
                </a:lnTo>
                <a:lnTo>
                  <a:pt x="475" y="1120"/>
                </a:lnTo>
                <a:lnTo>
                  <a:pt x="481" y="1121"/>
                </a:lnTo>
                <a:lnTo>
                  <a:pt x="485" y="1125"/>
                </a:lnTo>
                <a:lnTo>
                  <a:pt x="490" y="1126"/>
                </a:lnTo>
                <a:lnTo>
                  <a:pt x="494" y="1126"/>
                </a:lnTo>
                <a:lnTo>
                  <a:pt x="497" y="1126"/>
                </a:lnTo>
                <a:lnTo>
                  <a:pt x="495" y="1124"/>
                </a:lnTo>
                <a:lnTo>
                  <a:pt x="492" y="1121"/>
                </a:lnTo>
                <a:lnTo>
                  <a:pt x="476" y="1109"/>
                </a:lnTo>
                <a:lnTo>
                  <a:pt x="467" y="1089"/>
                </a:lnTo>
                <a:lnTo>
                  <a:pt x="467" y="1088"/>
                </a:lnTo>
                <a:lnTo>
                  <a:pt x="466" y="1086"/>
                </a:lnTo>
                <a:lnTo>
                  <a:pt x="466" y="1086"/>
                </a:lnTo>
                <a:lnTo>
                  <a:pt x="466" y="1085"/>
                </a:lnTo>
                <a:lnTo>
                  <a:pt x="466" y="1083"/>
                </a:lnTo>
                <a:lnTo>
                  <a:pt x="466" y="1081"/>
                </a:lnTo>
                <a:lnTo>
                  <a:pt x="466" y="1078"/>
                </a:lnTo>
                <a:lnTo>
                  <a:pt x="466" y="1077"/>
                </a:lnTo>
                <a:lnTo>
                  <a:pt x="472" y="1053"/>
                </a:lnTo>
                <a:lnTo>
                  <a:pt x="483" y="1032"/>
                </a:lnTo>
                <a:lnTo>
                  <a:pt x="511" y="1000"/>
                </a:lnTo>
                <a:lnTo>
                  <a:pt x="547" y="978"/>
                </a:lnTo>
                <a:lnTo>
                  <a:pt x="551" y="977"/>
                </a:lnTo>
                <a:lnTo>
                  <a:pt x="554" y="979"/>
                </a:lnTo>
                <a:lnTo>
                  <a:pt x="556" y="984"/>
                </a:lnTo>
                <a:lnTo>
                  <a:pt x="556" y="988"/>
                </a:lnTo>
                <a:lnTo>
                  <a:pt x="555" y="991"/>
                </a:lnTo>
                <a:lnTo>
                  <a:pt x="552" y="992"/>
                </a:lnTo>
                <a:lnTo>
                  <a:pt x="550" y="999"/>
                </a:lnTo>
                <a:lnTo>
                  <a:pt x="554" y="1005"/>
                </a:lnTo>
                <a:lnTo>
                  <a:pt x="559" y="1008"/>
                </a:lnTo>
                <a:lnTo>
                  <a:pt x="566" y="1006"/>
                </a:lnTo>
                <a:lnTo>
                  <a:pt x="573" y="1005"/>
                </a:lnTo>
                <a:lnTo>
                  <a:pt x="579" y="1011"/>
                </a:lnTo>
                <a:lnTo>
                  <a:pt x="582" y="1019"/>
                </a:lnTo>
                <a:lnTo>
                  <a:pt x="584" y="1027"/>
                </a:lnTo>
                <a:lnTo>
                  <a:pt x="585" y="1028"/>
                </a:lnTo>
                <a:lnTo>
                  <a:pt x="587" y="1029"/>
                </a:lnTo>
                <a:lnTo>
                  <a:pt x="591" y="1027"/>
                </a:lnTo>
                <a:lnTo>
                  <a:pt x="593" y="1029"/>
                </a:lnTo>
                <a:lnTo>
                  <a:pt x="593" y="1033"/>
                </a:lnTo>
                <a:lnTo>
                  <a:pt x="591" y="1037"/>
                </a:lnTo>
                <a:lnTo>
                  <a:pt x="577" y="1048"/>
                </a:lnTo>
                <a:lnTo>
                  <a:pt x="561" y="1055"/>
                </a:lnTo>
                <a:lnTo>
                  <a:pt x="557" y="1056"/>
                </a:lnTo>
                <a:lnTo>
                  <a:pt x="554" y="1057"/>
                </a:lnTo>
                <a:lnTo>
                  <a:pt x="550" y="1060"/>
                </a:lnTo>
                <a:lnTo>
                  <a:pt x="552" y="1063"/>
                </a:lnTo>
                <a:lnTo>
                  <a:pt x="556" y="1069"/>
                </a:lnTo>
                <a:lnTo>
                  <a:pt x="554" y="1075"/>
                </a:lnTo>
                <a:lnTo>
                  <a:pt x="556" y="1075"/>
                </a:lnTo>
                <a:lnTo>
                  <a:pt x="559" y="1075"/>
                </a:lnTo>
                <a:lnTo>
                  <a:pt x="562" y="1072"/>
                </a:lnTo>
                <a:lnTo>
                  <a:pt x="564" y="1071"/>
                </a:lnTo>
                <a:lnTo>
                  <a:pt x="562" y="1072"/>
                </a:lnTo>
                <a:lnTo>
                  <a:pt x="559" y="1075"/>
                </a:lnTo>
                <a:lnTo>
                  <a:pt x="565" y="1081"/>
                </a:lnTo>
                <a:lnTo>
                  <a:pt x="571" y="1085"/>
                </a:lnTo>
                <a:lnTo>
                  <a:pt x="572" y="1085"/>
                </a:lnTo>
                <a:lnTo>
                  <a:pt x="572" y="1086"/>
                </a:lnTo>
                <a:lnTo>
                  <a:pt x="570" y="1089"/>
                </a:lnTo>
                <a:lnTo>
                  <a:pt x="572" y="1091"/>
                </a:lnTo>
                <a:lnTo>
                  <a:pt x="575" y="1091"/>
                </a:lnTo>
                <a:lnTo>
                  <a:pt x="577" y="1091"/>
                </a:lnTo>
                <a:lnTo>
                  <a:pt x="589" y="1082"/>
                </a:lnTo>
                <a:lnTo>
                  <a:pt x="600" y="1074"/>
                </a:lnTo>
                <a:lnTo>
                  <a:pt x="608" y="1065"/>
                </a:lnTo>
                <a:lnTo>
                  <a:pt x="619" y="1062"/>
                </a:lnTo>
                <a:lnTo>
                  <a:pt x="624" y="1068"/>
                </a:lnTo>
                <a:lnTo>
                  <a:pt x="630" y="1069"/>
                </a:lnTo>
                <a:lnTo>
                  <a:pt x="646" y="1064"/>
                </a:lnTo>
                <a:lnTo>
                  <a:pt x="655" y="1050"/>
                </a:lnTo>
                <a:lnTo>
                  <a:pt x="653" y="1043"/>
                </a:lnTo>
                <a:lnTo>
                  <a:pt x="645" y="1040"/>
                </a:lnTo>
                <a:lnTo>
                  <a:pt x="645" y="1040"/>
                </a:lnTo>
                <a:lnTo>
                  <a:pt x="642" y="1039"/>
                </a:lnTo>
                <a:lnTo>
                  <a:pt x="640" y="1039"/>
                </a:lnTo>
                <a:lnTo>
                  <a:pt x="641" y="1035"/>
                </a:lnTo>
                <a:lnTo>
                  <a:pt x="642" y="1032"/>
                </a:lnTo>
                <a:lnTo>
                  <a:pt x="646" y="1032"/>
                </a:lnTo>
                <a:lnTo>
                  <a:pt x="648" y="1029"/>
                </a:lnTo>
                <a:lnTo>
                  <a:pt x="651" y="1023"/>
                </a:lnTo>
                <a:lnTo>
                  <a:pt x="655" y="1020"/>
                </a:lnTo>
                <a:lnTo>
                  <a:pt x="658" y="1020"/>
                </a:lnTo>
                <a:lnTo>
                  <a:pt x="660" y="1018"/>
                </a:lnTo>
                <a:lnTo>
                  <a:pt x="663" y="1009"/>
                </a:lnTo>
                <a:lnTo>
                  <a:pt x="672" y="1005"/>
                </a:lnTo>
                <a:lnTo>
                  <a:pt x="675" y="1004"/>
                </a:lnTo>
                <a:lnTo>
                  <a:pt x="676" y="1000"/>
                </a:lnTo>
                <a:lnTo>
                  <a:pt x="673" y="999"/>
                </a:lnTo>
                <a:lnTo>
                  <a:pt x="669" y="999"/>
                </a:lnTo>
                <a:lnTo>
                  <a:pt x="665" y="1001"/>
                </a:lnTo>
                <a:lnTo>
                  <a:pt x="659" y="999"/>
                </a:lnTo>
                <a:lnTo>
                  <a:pt x="669" y="988"/>
                </a:lnTo>
                <a:lnTo>
                  <a:pt x="682" y="980"/>
                </a:lnTo>
                <a:lnTo>
                  <a:pt x="686" y="981"/>
                </a:lnTo>
                <a:lnTo>
                  <a:pt x="688" y="985"/>
                </a:lnTo>
                <a:lnTo>
                  <a:pt x="689" y="988"/>
                </a:lnTo>
                <a:lnTo>
                  <a:pt x="692" y="987"/>
                </a:lnTo>
                <a:lnTo>
                  <a:pt x="697" y="984"/>
                </a:lnTo>
                <a:lnTo>
                  <a:pt x="700" y="979"/>
                </a:lnTo>
                <a:lnTo>
                  <a:pt x="699" y="974"/>
                </a:lnTo>
                <a:lnTo>
                  <a:pt x="702" y="974"/>
                </a:lnTo>
                <a:lnTo>
                  <a:pt x="710" y="973"/>
                </a:lnTo>
                <a:lnTo>
                  <a:pt x="717" y="967"/>
                </a:lnTo>
                <a:lnTo>
                  <a:pt x="706" y="969"/>
                </a:lnTo>
                <a:lnTo>
                  <a:pt x="695" y="972"/>
                </a:lnTo>
                <a:lnTo>
                  <a:pt x="690" y="976"/>
                </a:lnTo>
                <a:lnTo>
                  <a:pt x="686" y="976"/>
                </a:lnTo>
                <a:lnTo>
                  <a:pt x="700" y="963"/>
                </a:lnTo>
                <a:lnTo>
                  <a:pt x="716" y="953"/>
                </a:lnTo>
                <a:lnTo>
                  <a:pt x="718" y="949"/>
                </a:lnTo>
                <a:lnTo>
                  <a:pt x="720" y="946"/>
                </a:lnTo>
                <a:lnTo>
                  <a:pt x="718" y="949"/>
                </a:lnTo>
                <a:lnTo>
                  <a:pt x="716" y="953"/>
                </a:lnTo>
                <a:lnTo>
                  <a:pt x="722" y="955"/>
                </a:lnTo>
                <a:lnTo>
                  <a:pt x="723" y="962"/>
                </a:lnTo>
                <a:lnTo>
                  <a:pt x="732" y="956"/>
                </a:lnTo>
                <a:lnTo>
                  <a:pt x="741" y="951"/>
                </a:lnTo>
                <a:lnTo>
                  <a:pt x="746" y="955"/>
                </a:lnTo>
                <a:lnTo>
                  <a:pt x="751" y="958"/>
                </a:lnTo>
                <a:lnTo>
                  <a:pt x="753" y="956"/>
                </a:lnTo>
                <a:lnTo>
                  <a:pt x="752" y="952"/>
                </a:lnTo>
                <a:lnTo>
                  <a:pt x="748" y="949"/>
                </a:lnTo>
                <a:lnTo>
                  <a:pt x="742" y="944"/>
                </a:lnTo>
                <a:lnTo>
                  <a:pt x="751" y="943"/>
                </a:lnTo>
                <a:lnTo>
                  <a:pt x="757" y="948"/>
                </a:lnTo>
                <a:lnTo>
                  <a:pt x="757" y="951"/>
                </a:lnTo>
                <a:lnTo>
                  <a:pt x="752" y="952"/>
                </a:lnTo>
                <a:lnTo>
                  <a:pt x="753" y="956"/>
                </a:lnTo>
                <a:lnTo>
                  <a:pt x="751" y="958"/>
                </a:lnTo>
                <a:lnTo>
                  <a:pt x="766" y="976"/>
                </a:lnTo>
                <a:lnTo>
                  <a:pt x="772" y="998"/>
                </a:lnTo>
                <a:lnTo>
                  <a:pt x="773" y="1002"/>
                </a:lnTo>
                <a:lnTo>
                  <a:pt x="778" y="1005"/>
                </a:lnTo>
                <a:lnTo>
                  <a:pt x="776" y="992"/>
                </a:lnTo>
                <a:lnTo>
                  <a:pt x="776" y="980"/>
                </a:lnTo>
                <a:lnTo>
                  <a:pt x="775" y="977"/>
                </a:lnTo>
                <a:lnTo>
                  <a:pt x="777" y="973"/>
                </a:lnTo>
                <a:lnTo>
                  <a:pt x="780" y="974"/>
                </a:lnTo>
                <a:lnTo>
                  <a:pt x="783" y="978"/>
                </a:lnTo>
                <a:lnTo>
                  <a:pt x="784" y="984"/>
                </a:lnTo>
                <a:lnTo>
                  <a:pt x="789" y="987"/>
                </a:lnTo>
                <a:lnTo>
                  <a:pt x="793" y="992"/>
                </a:lnTo>
                <a:lnTo>
                  <a:pt x="789" y="998"/>
                </a:lnTo>
                <a:lnTo>
                  <a:pt x="786" y="1000"/>
                </a:lnTo>
                <a:lnTo>
                  <a:pt x="786" y="1004"/>
                </a:lnTo>
                <a:lnTo>
                  <a:pt x="790" y="1004"/>
                </a:lnTo>
                <a:lnTo>
                  <a:pt x="793" y="1002"/>
                </a:lnTo>
                <a:lnTo>
                  <a:pt x="794" y="1000"/>
                </a:lnTo>
                <a:lnTo>
                  <a:pt x="798" y="1000"/>
                </a:lnTo>
                <a:lnTo>
                  <a:pt x="801" y="1001"/>
                </a:lnTo>
                <a:lnTo>
                  <a:pt x="804" y="999"/>
                </a:lnTo>
                <a:lnTo>
                  <a:pt x="804" y="997"/>
                </a:lnTo>
                <a:lnTo>
                  <a:pt x="801" y="994"/>
                </a:lnTo>
                <a:lnTo>
                  <a:pt x="798" y="988"/>
                </a:lnTo>
                <a:lnTo>
                  <a:pt x="793" y="985"/>
                </a:lnTo>
                <a:lnTo>
                  <a:pt x="790" y="984"/>
                </a:lnTo>
                <a:lnTo>
                  <a:pt x="789" y="981"/>
                </a:lnTo>
                <a:lnTo>
                  <a:pt x="784" y="967"/>
                </a:lnTo>
                <a:lnTo>
                  <a:pt x="776" y="956"/>
                </a:lnTo>
                <a:lnTo>
                  <a:pt x="775" y="952"/>
                </a:lnTo>
                <a:lnTo>
                  <a:pt x="776" y="951"/>
                </a:lnTo>
                <a:lnTo>
                  <a:pt x="790" y="943"/>
                </a:lnTo>
                <a:lnTo>
                  <a:pt x="803" y="935"/>
                </a:lnTo>
                <a:lnTo>
                  <a:pt x="808" y="932"/>
                </a:lnTo>
                <a:lnTo>
                  <a:pt x="813" y="928"/>
                </a:lnTo>
                <a:lnTo>
                  <a:pt x="815" y="928"/>
                </a:lnTo>
                <a:lnTo>
                  <a:pt x="818" y="928"/>
                </a:lnTo>
                <a:lnTo>
                  <a:pt x="833" y="946"/>
                </a:lnTo>
                <a:lnTo>
                  <a:pt x="840" y="969"/>
                </a:lnTo>
                <a:lnTo>
                  <a:pt x="838" y="973"/>
                </a:lnTo>
                <a:lnTo>
                  <a:pt x="833" y="974"/>
                </a:lnTo>
                <a:lnTo>
                  <a:pt x="824" y="977"/>
                </a:lnTo>
                <a:lnTo>
                  <a:pt x="813" y="980"/>
                </a:lnTo>
                <a:lnTo>
                  <a:pt x="814" y="981"/>
                </a:lnTo>
                <a:lnTo>
                  <a:pt x="815" y="983"/>
                </a:lnTo>
                <a:lnTo>
                  <a:pt x="819" y="987"/>
                </a:lnTo>
                <a:lnTo>
                  <a:pt x="819" y="991"/>
                </a:lnTo>
                <a:lnTo>
                  <a:pt x="815" y="991"/>
                </a:lnTo>
                <a:lnTo>
                  <a:pt x="812" y="986"/>
                </a:lnTo>
                <a:lnTo>
                  <a:pt x="806" y="983"/>
                </a:lnTo>
                <a:lnTo>
                  <a:pt x="800" y="984"/>
                </a:lnTo>
                <a:lnTo>
                  <a:pt x="805" y="991"/>
                </a:lnTo>
                <a:lnTo>
                  <a:pt x="810" y="997"/>
                </a:lnTo>
                <a:lnTo>
                  <a:pt x="811" y="998"/>
                </a:lnTo>
                <a:lnTo>
                  <a:pt x="813" y="998"/>
                </a:lnTo>
                <a:lnTo>
                  <a:pt x="826" y="994"/>
                </a:lnTo>
                <a:lnTo>
                  <a:pt x="839" y="991"/>
                </a:lnTo>
                <a:lnTo>
                  <a:pt x="838" y="1002"/>
                </a:lnTo>
                <a:lnTo>
                  <a:pt x="834" y="1014"/>
                </a:lnTo>
                <a:lnTo>
                  <a:pt x="828" y="1019"/>
                </a:lnTo>
                <a:lnTo>
                  <a:pt x="811" y="1020"/>
                </a:lnTo>
                <a:lnTo>
                  <a:pt x="818" y="1021"/>
                </a:lnTo>
                <a:lnTo>
                  <a:pt x="825" y="1020"/>
                </a:lnTo>
                <a:lnTo>
                  <a:pt x="829" y="1021"/>
                </a:lnTo>
                <a:lnTo>
                  <a:pt x="828" y="1026"/>
                </a:lnTo>
                <a:lnTo>
                  <a:pt x="824" y="1035"/>
                </a:lnTo>
                <a:lnTo>
                  <a:pt x="818" y="1044"/>
                </a:lnTo>
                <a:lnTo>
                  <a:pt x="814" y="1046"/>
                </a:lnTo>
                <a:lnTo>
                  <a:pt x="811" y="1046"/>
                </a:lnTo>
                <a:lnTo>
                  <a:pt x="808" y="1046"/>
                </a:lnTo>
                <a:lnTo>
                  <a:pt x="805" y="1046"/>
                </a:lnTo>
                <a:lnTo>
                  <a:pt x="803" y="1046"/>
                </a:lnTo>
                <a:lnTo>
                  <a:pt x="801" y="1044"/>
                </a:lnTo>
                <a:lnTo>
                  <a:pt x="787" y="1044"/>
                </a:lnTo>
                <a:lnTo>
                  <a:pt x="775" y="1041"/>
                </a:lnTo>
                <a:lnTo>
                  <a:pt x="777" y="1033"/>
                </a:lnTo>
                <a:lnTo>
                  <a:pt x="782" y="1026"/>
                </a:lnTo>
                <a:lnTo>
                  <a:pt x="783" y="1023"/>
                </a:lnTo>
                <a:lnTo>
                  <a:pt x="782" y="1020"/>
                </a:lnTo>
                <a:lnTo>
                  <a:pt x="779" y="1021"/>
                </a:lnTo>
                <a:lnTo>
                  <a:pt x="777" y="1025"/>
                </a:lnTo>
                <a:lnTo>
                  <a:pt x="772" y="1035"/>
                </a:lnTo>
                <a:lnTo>
                  <a:pt x="765" y="1046"/>
                </a:lnTo>
                <a:lnTo>
                  <a:pt x="763" y="1049"/>
                </a:lnTo>
                <a:lnTo>
                  <a:pt x="759" y="1049"/>
                </a:lnTo>
                <a:lnTo>
                  <a:pt x="758" y="1046"/>
                </a:lnTo>
                <a:lnTo>
                  <a:pt x="760" y="1043"/>
                </a:lnTo>
                <a:lnTo>
                  <a:pt x="764" y="1037"/>
                </a:lnTo>
                <a:lnTo>
                  <a:pt x="766" y="1033"/>
                </a:lnTo>
                <a:lnTo>
                  <a:pt x="769" y="1029"/>
                </a:lnTo>
                <a:lnTo>
                  <a:pt x="766" y="1027"/>
                </a:lnTo>
                <a:lnTo>
                  <a:pt x="764" y="1028"/>
                </a:lnTo>
                <a:lnTo>
                  <a:pt x="763" y="1030"/>
                </a:lnTo>
                <a:lnTo>
                  <a:pt x="739" y="1062"/>
                </a:lnTo>
                <a:lnTo>
                  <a:pt x="710" y="1086"/>
                </a:lnTo>
                <a:lnTo>
                  <a:pt x="690" y="1099"/>
                </a:lnTo>
                <a:lnTo>
                  <a:pt x="668" y="1111"/>
                </a:lnTo>
                <a:lnTo>
                  <a:pt x="666" y="1112"/>
                </a:lnTo>
                <a:lnTo>
                  <a:pt x="666" y="1114"/>
                </a:lnTo>
                <a:lnTo>
                  <a:pt x="668" y="1116"/>
                </a:lnTo>
                <a:lnTo>
                  <a:pt x="670" y="1114"/>
                </a:lnTo>
                <a:lnTo>
                  <a:pt x="680" y="1110"/>
                </a:lnTo>
                <a:lnTo>
                  <a:pt x="689" y="1107"/>
                </a:lnTo>
                <a:lnTo>
                  <a:pt x="675" y="1116"/>
                </a:lnTo>
                <a:lnTo>
                  <a:pt x="660" y="1121"/>
                </a:lnTo>
                <a:lnTo>
                  <a:pt x="658" y="1123"/>
                </a:lnTo>
                <a:lnTo>
                  <a:pt x="655" y="1123"/>
                </a:lnTo>
                <a:lnTo>
                  <a:pt x="656" y="1120"/>
                </a:lnTo>
                <a:lnTo>
                  <a:pt x="659" y="1120"/>
                </a:lnTo>
                <a:lnTo>
                  <a:pt x="660" y="1118"/>
                </a:lnTo>
                <a:lnTo>
                  <a:pt x="660" y="1117"/>
                </a:lnTo>
                <a:lnTo>
                  <a:pt x="656" y="1116"/>
                </a:lnTo>
                <a:lnTo>
                  <a:pt x="654" y="1117"/>
                </a:lnTo>
                <a:lnTo>
                  <a:pt x="651" y="1121"/>
                </a:lnTo>
                <a:lnTo>
                  <a:pt x="651" y="1126"/>
                </a:lnTo>
                <a:lnTo>
                  <a:pt x="642" y="1128"/>
                </a:lnTo>
                <a:lnTo>
                  <a:pt x="634" y="1132"/>
                </a:lnTo>
                <a:lnTo>
                  <a:pt x="631" y="1132"/>
                </a:lnTo>
                <a:lnTo>
                  <a:pt x="630" y="1134"/>
                </a:lnTo>
                <a:lnTo>
                  <a:pt x="632" y="1137"/>
                </a:lnTo>
                <a:lnTo>
                  <a:pt x="635" y="1137"/>
                </a:lnTo>
                <a:lnTo>
                  <a:pt x="637" y="1135"/>
                </a:lnTo>
                <a:lnTo>
                  <a:pt x="639" y="1133"/>
                </a:lnTo>
                <a:lnTo>
                  <a:pt x="654" y="1128"/>
                </a:lnTo>
                <a:lnTo>
                  <a:pt x="670" y="1123"/>
                </a:lnTo>
                <a:lnTo>
                  <a:pt x="683" y="1117"/>
                </a:lnTo>
                <a:lnTo>
                  <a:pt x="696" y="1111"/>
                </a:lnTo>
                <a:lnTo>
                  <a:pt x="694" y="1116"/>
                </a:lnTo>
                <a:lnTo>
                  <a:pt x="695" y="1121"/>
                </a:lnTo>
                <a:lnTo>
                  <a:pt x="702" y="1127"/>
                </a:lnTo>
                <a:lnTo>
                  <a:pt x="709" y="1132"/>
                </a:lnTo>
                <a:lnTo>
                  <a:pt x="710" y="1134"/>
                </a:lnTo>
                <a:lnTo>
                  <a:pt x="708" y="1137"/>
                </a:lnTo>
                <a:lnTo>
                  <a:pt x="699" y="1141"/>
                </a:lnTo>
                <a:lnTo>
                  <a:pt x="688" y="1146"/>
                </a:lnTo>
                <a:lnTo>
                  <a:pt x="661" y="1156"/>
                </a:lnTo>
                <a:lnTo>
                  <a:pt x="635" y="1166"/>
                </a:lnTo>
                <a:lnTo>
                  <a:pt x="632" y="1167"/>
                </a:lnTo>
                <a:lnTo>
                  <a:pt x="630" y="1166"/>
                </a:lnTo>
                <a:lnTo>
                  <a:pt x="625" y="1159"/>
                </a:lnTo>
                <a:lnTo>
                  <a:pt x="625" y="1151"/>
                </a:lnTo>
                <a:lnTo>
                  <a:pt x="627" y="1146"/>
                </a:lnTo>
                <a:lnTo>
                  <a:pt x="625" y="1141"/>
                </a:lnTo>
                <a:lnTo>
                  <a:pt x="624" y="1137"/>
                </a:lnTo>
                <a:lnTo>
                  <a:pt x="618" y="1137"/>
                </a:lnTo>
                <a:lnTo>
                  <a:pt x="620" y="1140"/>
                </a:lnTo>
                <a:lnTo>
                  <a:pt x="624" y="1142"/>
                </a:lnTo>
                <a:lnTo>
                  <a:pt x="623" y="1147"/>
                </a:lnTo>
                <a:lnTo>
                  <a:pt x="618" y="1146"/>
                </a:lnTo>
                <a:lnTo>
                  <a:pt x="613" y="1139"/>
                </a:lnTo>
                <a:lnTo>
                  <a:pt x="608" y="1135"/>
                </a:lnTo>
                <a:lnTo>
                  <a:pt x="599" y="1140"/>
                </a:lnTo>
                <a:lnTo>
                  <a:pt x="590" y="1144"/>
                </a:lnTo>
                <a:lnTo>
                  <a:pt x="604" y="1144"/>
                </a:lnTo>
                <a:lnTo>
                  <a:pt x="618" y="1147"/>
                </a:lnTo>
                <a:lnTo>
                  <a:pt x="618" y="1148"/>
                </a:lnTo>
                <a:lnTo>
                  <a:pt x="618" y="1151"/>
                </a:lnTo>
                <a:lnTo>
                  <a:pt x="617" y="1156"/>
                </a:lnTo>
                <a:lnTo>
                  <a:pt x="617" y="1163"/>
                </a:lnTo>
                <a:lnTo>
                  <a:pt x="615" y="1166"/>
                </a:lnTo>
                <a:lnTo>
                  <a:pt x="614" y="1167"/>
                </a:lnTo>
                <a:lnTo>
                  <a:pt x="615" y="1167"/>
                </a:lnTo>
                <a:lnTo>
                  <a:pt x="615" y="1167"/>
                </a:lnTo>
                <a:lnTo>
                  <a:pt x="615" y="1167"/>
                </a:lnTo>
                <a:lnTo>
                  <a:pt x="614" y="1167"/>
                </a:lnTo>
                <a:lnTo>
                  <a:pt x="612" y="1165"/>
                </a:lnTo>
                <a:lnTo>
                  <a:pt x="607" y="1162"/>
                </a:lnTo>
                <a:lnTo>
                  <a:pt x="601" y="1165"/>
                </a:lnTo>
                <a:lnTo>
                  <a:pt x="598" y="1161"/>
                </a:lnTo>
                <a:close/>
                <a:moveTo>
                  <a:pt x="584" y="1204"/>
                </a:moveTo>
                <a:lnTo>
                  <a:pt x="586" y="1207"/>
                </a:lnTo>
                <a:lnTo>
                  <a:pt x="591" y="1205"/>
                </a:lnTo>
                <a:lnTo>
                  <a:pt x="592" y="1204"/>
                </a:lnTo>
                <a:lnTo>
                  <a:pt x="593" y="1204"/>
                </a:lnTo>
                <a:lnTo>
                  <a:pt x="597" y="1205"/>
                </a:lnTo>
                <a:lnTo>
                  <a:pt x="600" y="1207"/>
                </a:lnTo>
                <a:lnTo>
                  <a:pt x="591" y="1210"/>
                </a:lnTo>
                <a:lnTo>
                  <a:pt x="580" y="1210"/>
                </a:lnTo>
                <a:lnTo>
                  <a:pt x="580" y="1205"/>
                </a:lnTo>
                <a:lnTo>
                  <a:pt x="580" y="1200"/>
                </a:lnTo>
                <a:lnTo>
                  <a:pt x="589" y="1196"/>
                </a:lnTo>
                <a:lnTo>
                  <a:pt x="598" y="1195"/>
                </a:lnTo>
                <a:lnTo>
                  <a:pt x="599" y="1194"/>
                </a:lnTo>
                <a:lnTo>
                  <a:pt x="600" y="1193"/>
                </a:lnTo>
                <a:lnTo>
                  <a:pt x="599" y="1194"/>
                </a:lnTo>
                <a:lnTo>
                  <a:pt x="598" y="1195"/>
                </a:lnTo>
                <a:lnTo>
                  <a:pt x="598" y="1196"/>
                </a:lnTo>
                <a:lnTo>
                  <a:pt x="597" y="1198"/>
                </a:lnTo>
                <a:lnTo>
                  <a:pt x="592" y="1198"/>
                </a:lnTo>
                <a:lnTo>
                  <a:pt x="589" y="1200"/>
                </a:lnTo>
                <a:lnTo>
                  <a:pt x="585" y="1202"/>
                </a:lnTo>
                <a:lnTo>
                  <a:pt x="584" y="1204"/>
                </a:lnTo>
                <a:close/>
                <a:moveTo>
                  <a:pt x="573" y="1193"/>
                </a:moveTo>
                <a:lnTo>
                  <a:pt x="556" y="1196"/>
                </a:lnTo>
                <a:lnTo>
                  <a:pt x="538" y="1196"/>
                </a:lnTo>
                <a:lnTo>
                  <a:pt x="523" y="1197"/>
                </a:lnTo>
                <a:lnTo>
                  <a:pt x="508" y="1195"/>
                </a:lnTo>
                <a:lnTo>
                  <a:pt x="503" y="1195"/>
                </a:lnTo>
                <a:lnTo>
                  <a:pt x="499" y="1197"/>
                </a:lnTo>
                <a:lnTo>
                  <a:pt x="495" y="1197"/>
                </a:lnTo>
                <a:lnTo>
                  <a:pt x="493" y="1197"/>
                </a:lnTo>
                <a:lnTo>
                  <a:pt x="492" y="1196"/>
                </a:lnTo>
                <a:lnTo>
                  <a:pt x="496" y="1190"/>
                </a:lnTo>
                <a:lnTo>
                  <a:pt x="503" y="1190"/>
                </a:lnTo>
                <a:lnTo>
                  <a:pt x="547" y="1191"/>
                </a:lnTo>
                <a:lnTo>
                  <a:pt x="589" y="1184"/>
                </a:lnTo>
                <a:lnTo>
                  <a:pt x="591" y="1184"/>
                </a:lnTo>
                <a:lnTo>
                  <a:pt x="592" y="1184"/>
                </a:lnTo>
                <a:lnTo>
                  <a:pt x="596" y="1183"/>
                </a:lnTo>
                <a:lnTo>
                  <a:pt x="598" y="1186"/>
                </a:lnTo>
                <a:lnTo>
                  <a:pt x="597" y="1189"/>
                </a:lnTo>
                <a:lnTo>
                  <a:pt x="593" y="1189"/>
                </a:lnTo>
                <a:lnTo>
                  <a:pt x="589" y="1190"/>
                </a:lnTo>
                <a:lnTo>
                  <a:pt x="584" y="1191"/>
                </a:lnTo>
                <a:lnTo>
                  <a:pt x="582" y="1194"/>
                </a:lnTo>
                <a:lnTo>
                  <a:pt x="580" y="1197"/>
                </a:lnTo>
                <a:lnTo>
                  <a:pt x="582" y="1194"/>
                </a:lnTo>
                <a:lnTo>
                  <a:pt x="584" y="1191"/>
                </a:lnTo>
                <a:lnTo>
                  <a:pt x="578" y="1190"/>
                </a:lnTo>
                <a:lnTo>
                  <a:pt x="573" y="1193"/>
                </a:lnTo>
                <a:close/>
                <a:moveTo>
                  <a:pt x="569" y="1214"/>
                </a:moveTo>
                <a:lnTo>
                  <a:pt x="571" y="1214"/>
                </a:lnTo>
                <a:lnTo>
                  <a:pt x="572" y="1215"/>
                </a:lnTo>
                <a:lnTo>
                  <a:pt x="571" y="1214"/>
                </a:lnTo>
                <a:lnTo>
                  <a:pt x="569" y="1214"/>
                </a:lnTo>
                <a:lnTo>
                  <a:pt x="562" y="1215"/>
                </a:lnTo>
                <a:lnTo>
                  <a:pt x="555" y="1215"/>
                </a:lnTo>
                <a:lnTo>
                  <a:pt x="555" y="1207"/>
                </a:lnTo>
                <a:lnTo>
                  <a:pt x="561" y="1201"/>
                </a:lnTo>
                <a:lnTo>
                  <a:pt x="563" y="1200"/>
                </a:lnTo>
                <a:lnTo>
                  <a:pt x="565" y="1200"/>
                </a:lnTo>
                <a:lnTo>
                  <a:pt x="571" y="1198"/>
                </a:lnTo>
                <a:lnTo>
                  <a:pt x="575" y="1201"/>
                </a:lnTo>
                <a:lnTo>
                  <a:pt x="575" y="1208"/>
                </a:lnTo>
                <a:lnTo>
                  <a:pt x="569" y="1214"/>
                </a:lnTo>
                <a:close/>
                <a:moveTo>
                  <a:pt x="536" y="1220"/>
                </a:moveTo>
                <a:lnTo>
                  <a:pt x="534" y="1220"/>
                </a:lnTo>
                <a:lnTo>
                  <a:pt x="531" y="1220"/>
                </a:lnTo>
                <a:lnTo>
                  <a:pt x="528" y="1220"/>
                </a:lnTo>
                <a:lnTo>
                  <a:pt x="525" y="1216"/>
                </a:lnTo>
                <a:lnTo>
                  <a:pt x="528" y="1209"/>
                </a:lnTo>
                <a:lnTo>
                  <a:pt x="534" y="1203"/>
                </a:lnTo>
                <a:lnTo>
                  <a:pt x="535" y="1203"/>
                </a:lnTo>
                <a:lnTo>
                  <a:pt x="536" y="1203"/>
                </a:lnTo>
                <a:lnTo>
                  <a:pt x="543" y="1202"/>
                </a:lnTo>
                <a:lnTo>
                  <a:pt x="548" y="1205"/>
                </a:lnTo>
                <a:lnTo>
                  <a:pt x="544" y="1214"/>
                </a:lnTo>
                <a:lnTo>
                  <a:pt x="536" y="1220"/>
                </a:lnTo>
                <a:lnTo>
                  <a:pt x="536" y="1220"/>
                </a:lnTo>
                <a:close/>
                <a:moveTo>
                  <a:pt x="514" y="1218"/>
                </a:moveTo>
                <a:lnTo>
                  <a:pt x="511" y="1218"/>
                </a:lnTo>
                <a:lnTo>
                  <a:pt x="510" y="1218"/>
                </a:lnTo>
                <a:lnTo>
                  <a:pt x="510" y="1218"/>
                </a:lnTo>
                <a:lnTo>
                  <a:pt x="509" y="1218"/>
                </a:lnTo>
                <a:lnTo>
                  <a:pt x="504" y="1218"/>
                </a:lnTo>
                <a:lnTo>
                  <a:pt x="500" y="1216"/>
                </a:lnTo>
                <a:lnTo>
                  <a:pt x="503" y="1208"/>
                </a:lnTo>
                <a:lnTo>
                  <a:pt x="511" y="1203"/>
                </a:lnTo>
                <a:lnTo>
                  <a:pt x="517" y="1203"/>
                </a:lnTo>
                <a:lnTo>
                  <a:pt x="522" y="1204"/>
                </a:lnTo>
                <a:lnTo>
                  <a:pt x="520" y="1213"/>
                </a:lnTo>
                <a:lnTo>
                  <a:pt x="514" y="1218"/>
                </a:lnTo>
                <a:close/>
                <a:moveTo>
                  <a:pt x="492" y="1211"/>
                </a:moveTo>
                <a:lnTo>
                  <a:pt x="492" y="1209"/>
                </a:lnTo>
                <a:lnTo>
                  <a:pt x="490" y="1207"/>
                </a:lnTo>
                <a:lnTo>
                  <a:pt x="478" y="1208"/>
                </a:lnTo>
                <a:lnTo>
                  <a:pt x="466" y="1213"/>
                </a:lnTo>
                <a:lnTo>
                  <a:pt x="462" y="1214"/>
                </a:lnTo>
                <a:lnTo>
                  <a:pt x="458" y="1214"/>
                </a:lnTo>
                <a:lnTo>
                  <a:pt x="454" y="1214"/>
                </a:lnTo>
                <a:lnTo>
                  <a:pt x="451" y="1211"/>
                </a:lnTo>
                <a:lnTo>
                  <a:pt x="452" y="1208"/>
                </a:lnTo>
                <a:lnTo>
                  <a:pt x="455" y="1204"/>
                </a:lnTo>
                <a:lnTo>
                  <a:pt x="458" y="1209"/>
                </a:lnTo>
                <a:lnTo>
                  <a:pt x="461" y="1209"/>
                </a:lnTo>
                <a:lnTo>
                  <a:pt x="465" y="1210"/>
                </a:lnTo>
                <a:lnTo>
                  <a:pt x="466" y="1213"/>
                </a:lnTo>
                <a:lnTo>
                  <a:pt x="478" y="1208"/>
                </a:lnTo>
                <a:lnTo>
                  <a:pt x="490" y="1207"/>
                </a:lnTo>
                <a:lnTo>
                  <a:pt x="487" y="1204"/>
                </a:lnTo>
                <a:lnTo>
                  <a:pt x="483" y="1203"/>
                </a:lnTo>
                <a:lnTo>
                  <a:pt x="485" y="1203"/>
                </a:lnTo>
                <a:lnTo>
                  <a:pt x="485" y="1202"/>
                </a:lnTo>
                <a:lnTo>
                  <a:pt x="492" y="1202"/>
                </a:lnTo>
                <a:lnTo>
                  <a:pt x="497" y="1202"/>
                </a:lnTo>
                <a:lnTo>
                  <a:pt x="496" y="1208"/>
                </a:lnTo>
                <a:lnTo>
                  <a:pt x="492" y="1211"/>
                </a:lnTo>
                <a:close/>
                <a:moveTo>
                  <a:pt x="492" y="1217"/>
                </a:moveTo>
                <a:lnTo>
                  <a:pt x="483" y="1217"/>
                </a:lnTo>
                <a:lnTo>
                  <a:pt x="475" y="1215"/>
                </a:lnTo>
                <a:lnTo>
                  <a:pt x="483" y="1213"/>
                </a:lnTo>
                <a:lnTo>
                  <a:pt x="492" y="1211"/>
                </a:lnTo>
                <a:lnTo>
                  <a:pt x="492" y="1211"/>
                </a:lnTo>
                <a:lnTo>
                  <a:pt x="492" y="1211"/>
                </a:lnTo>
                <a:lnTo>
                  <a:pt x="492" y="1211"/>
                </a:lnTo>
                <a:lnTo>
                  <a:pt x="492" y="1215"/>
                </a:lnTo>
                <a:lnTo>
                  <a:pt x="492" y="1217"/>
                </a:lnTo>
                <a:close/>
                <a:moveTo>
                  <a:pt x="432" y="1208"/>
                </a:moveTo>
                <a:lnTo>
                  <a:pt x="430" y="1205"/>
                </a:lnTo>
                <a:lnTo>
                  <a:pt x="431" y="1202"/>
                </a:lnTo>
                <a:lnTo>
                  <a:pt x="440" y="1194"/>
                </a:lnTo>
                <a:lnTo>
                  <a:pt x="453" y="1194"/>
                </a:lnTo>
                <a:lnTo>
                  <a:pt x="454" y="1194"/>
                </a:lnTo>
                <a:lnTo>
                  <a:pt x="455" y="1194"/>
                </a:lnTo>
                <a:lnTo>
                  <a:pt x="446" y="1207"/>
                </a:lnTo>
                <a:lnTo>
                  <a:pt x="432" y="1208"/>
                </a:lnTo>
                <a:close/>
                <a:moveTo>
                  <a:pt x="426" y="1200"/>
                </a:moveTo>
                <a:lnTo>
                  <a:pt x="421" y="1203"/>
                </a:lnTo>
                <a:lnTo>
                  <a:pt x="416" y="1202"/>
                </a:lnTo>
                <a:lnTo>
                  <a:pt x="413" y="1200"/>
                </a:lnTo>
                <a:lnTo>
                  <a:pt x="410" y="1197"/>
                </a:lnTo>
                <a:lnTo>
                  <a:pt x="418" y="1189"/>
                </a:lnTo>
                <a:lnTo>
                  <a:pt x="431" y="1184"/>
                </a:lnTo>
                <a:lnTo>
                  <a:pt x="433" y="1188"/>
                </a:lnTo>
                <a:lnTo>
                  <a:pt x="435" y="1193"/>
                </a:lnTo>
                <a:lnTo>
                  <a:pt x="431" y="1196"/>
                </a:lnTo>
                <a:lnTo>
                  <a:pt x="426" y="1200"/>
                </a:lnTo>
                <a:close/>
                <a:moveTo>
                  <a:pt x="405" y="1194"/>
                </a:moveTo>
                <a:lnTo>
                  <a:pt x="404" y="1194"/>
                </a:lnTo>
                <a:lnTo>
                  <a:pt x="404" y="1194"/>
                </a:lnTo>
                <a:lnTo>
                  <a:pt x="398" y="1193"/>
                </a:lnTo>
                <a:lnTo>
                  <a:pt x="393" y="1189"/>
                </a:lnTo>
                <a:lnTo>
                  <a:pt x="396" y="1184"/>
                </a:lnTo>
                <a:lnTo>
                  <a:pt x="400" y="1182"/>
                </a:lnTo>
                <a:lnTo>
                  <a:pt x="407" y="1177"/>
                </a:lnTo>
                <a:lnTo>
                  <a:pt x="416" y="1179"/>
                </a:lnTo>
                <a:lnTo>
                  <a:pt x="418" y="1181"/>
                </a:lnTo>
                <a:lnTo>
                  <a:pt x="418" y="1183"/>
                </a:lnTo>
                <a:lnTo>
                  <a:pt x="420" y="1183"/>
                </a:lnTo>
                <a:lnTo>
                  <a:pt x="421" y="1182"/>
                </a:lnTo>
                <a:lnTo>
                  <a:pt x="420" y="1183"/>
                </a:lnTo>
                <a:lnTo>
                  <a:pt x="418" y="1183"/>
                </a:lnTo>
                <a:lnTo>
                  <a:pt x="411" y="1189"/>
                </a:lnTo>
                <a:lnTo>
                  <a:pt x="405" y="1194"/>
                </a:lnTo>
                <a:close/>
                <a:moveTo>
                  <a:pt x="404" y="1172"/>
                </a:moveTo>
                <a:lnTo>
                  <a:pt x="401" y="1174"/>
                </a:lnTo>
                <a:lnTo>
                  <a:pt x="399" y="1176"/>
                </a:lnTo>
                <a:lnTo>
                  <a:pt x="397" y="1173"/>
                </a:lnTo>
                <a:lnTo>
                  <a:pt x="394" y="1168"/>
                </a:lnTo>
                <a:lnTo>
                  <a:pt x="396" y="1167"/>
                </a:lnTo>
                <a:lnTo>
                  <a:pt x="398" y="1167"/>
                </a:lnTo>
                <a:lnTo>
                  <a:pt x="401" y="1168"/>
                </a:lnTo>
                <a:lnTo>
                  <a:pt x="404" y="1172"/>
                </a:lnTo>
                <a:close/>
                <a:moveTo>
                  <a:pt x="391" y="1144"/>
                </a:moveTo>
                <a:lnTo>
                  <a:pt x="389" y="1140"/>
                </a:lnTo>
                <a:lnTo>
                  <a:pt x="392" y="1138"/>
                </a:lnTo>
                <a:lnTo>
                  <a:pt x="400" y="1140"/>
                </a:lnTo>
                <a:lnTo>
                  <a:pt x="404" y="1147"/>
                </a:lnTo>
                <a:lnTo>
                  <a:pt x="404" y="1152"/>
                </a:lnTo>
                <a:lnTo>
                  <a:pt x="399" y="1154"/>
                </a:lnTo>
                <a:lnTo>
                  <a:pt x="399" y="1155"/>
                </a:lnTo>
                <a:lnTo>
                  <a:pt x="398" y="1155"/>
                </a:lnTo>
                <a:lnTo>
                  <a:pt x="396" y="1153"/>
                </a:lnTo>
                <a:lnTo>
                  <a:pt x="394" y="1151"/>
                </a:lnTo>
                <a:lnTo>
                  <a:pt x="394" y="1146"/>
                </a:lnTo>
                <a:lnTo>
                  <a:pt x="391" y="1144"/>
                </a:lnTo>
                <a:close/>
                <a:moveTo>
                  <a:pt x="379" y="1177"/>
                </a:moveTo>
                <a:lnTo>
                  <a:pt x="383" y="1175"/>
                </a:lnTo>
                <a:lnTo>
                  <a:pt x="386" y="1175"/>
                </a:lnTo>
                <a:lnTo>
                  <a:pt x="387" y="1179"/>
                </a:lnTo>
                <a:lnTo>
                  <a:pt x="391" y="1181"/>
                </a:lnTo>
                <a:lnTo>
                  <a:pt x="384" y="1183"/>
                </a:lnTo>
                <a:lnTo>
                  <a:pt x="379" y="1177"/>
                </a:lnTo>
                <a:close/>
                <a:moveTo>
                  <a:pt x="373" y="1172"/>
                </a:moveTo>
                <a:lnTo>
                  <a:pt x="373" y="1172"/>
                </a:lnTo>
                <a:lnTo>
                  <a:pt x="373" y="1174"/>
                </a:lnTo>
                <a:lnTo>
                  <a:pt x="375" y="1176"/>
                </a:lnTo>
                <a:lnTo>
                  <a:pt x="373" y="1174"/>
                </a:lnTo>
                <a:lnTo>
                  <a:pt x="373" y="1172"/>
                </a:lnTo>
                <a:lnTo>
                  <a:pt x="372" y="1170"/>
                </a:lnTo>
                <a:lnTo>
                  <a:pt x="371" y="1169"/>
                </a:lnTo>
                <a:lnTo>
                  <a:pt x="368" y="1167"/>
                </a:lnTo>
                <a:lnTo>
                  <a:pt x="369" y="1163"/>
                </a:lnTo>
                <a:lnTo>
                  <a:pt x="371" y="1161"/>
                </a:lnTo>
                <a:lnTo>
                  <a:pt x="373" y="1162"/>
                </a:lnTo>
                <a:lnTo>
                  <a:pt x="376" y="1166"/>
                </a:lnTo>
                <a:lnTo>
                  <a:pt x="375" y="1170"/>
                </a:lnTo>
                <a:lnTo>
                  <a:pt x="373" y="1170"/>
                </a:lnTo>
                <a:lnTo>
                  <a:pt x="373" y="1172"/>
                </a:lnTo>
                <a:lnTo>
                  <a:pt x="378" y="1172"/>
                </a:lnTo>
                <a:lnTo>
                  <a:pt x="383" y="1170"/>
                </a:lnTo>
                <a:lnTo>
                  <a:pt x="378" y="1172"/>
                </a:lnTo>
                <a:lnTo>
                  <a:pt x="373" y="1172"/>
                </a:lnTo>
                <a:close/>
                <a:moveTo>
                  <a:pt x="357" y="1132"/>
                </a:moveTo>
                <a:lnTo>
                  <a:pt x="363" y="1130"/>
                </a:lnTo>
                <a:lnTo>
                  <a:pt x="369" y="1127"/>
                </a:lnTo>
                <a:lnTo>
                  <a:pt x="375" y="1127"/>
                </a:lnTo>
                <a:lnTo>
                  <a:pt x="377" y="1132"/>
                </a:lnTo>
                <a:lnTo>
                  <a:pt x="376" y="1135"/>
                </a:lnTo>
                <a:lnTo>
                  <a:pt x="375" y="1137"/>
                </a:lnTo>
                <a:lnTo>
                  <a:pt x="368" y="1139"/>
                </a:lnTo>
                <a:lnTo>
                  <a:pt x="361" y="1142"/>
                </a:lnTo>
                <a:lnTo>
                  <a:pt x="357" y="1144"/>
                </a:lnTo>
                <a:lnTo>
                  <a:pt x="354" y="1140"/>
                </a:lnTo>
                <a:lnTo>
                  <a:pt x="354" y="1135"/>
                </a:lnTo>
                <a:lnTo>
                  <a:pt x="357" y="1132"/>
                </a:lnTo>
                <a:close/>
                <a:moveTo>
                  <a:pt x="352" y="1118"/>
                </a:moveTo>
                <a:lnTo>
                  <a:pt x="361" y="1114"/>
                </a:lnTo>
                <a:lnTo>
                  <a:pt x="368" y="1111"/>
                </a:lnTo>
                <a:lnTo>
                  <a:pt x="371" y="1113"/>
                </a:lnTo>
                <a:lnTo>
                  <a:pt x="373" y="1116"/>
                </a:lnTo>
                <a:lnTo>
                  <a:pt x="373" y="1119"/>
                </a:lnTo>
                <a:lnTo>
                  <a:pt x="370" y="1121"/>
                </a:lnTo>
                <a:lnTo>
                  <a:pt x="363" y="1124"/>
                </a:lnTo>
                <a:lnTo>
                  <a:pt x="357" y="1126"/>
                </a:lnTo>
                <a:lnTo>
                  <a:pt x="354" y="1127"/>
                </a:lnTo>
                <a:lnTo>
                  <a:pt x="351" y="1125"/>
                </a:lnTo>
                <a:lnTo>
                  <a:pt x="350" y="1120"/>
                </a:lnTo>
                <a:lnTo>
                  <a:pt x="352" y="1118"/>
                </a:lnTo>
                <a:lnTo>
                  <a:pt x="352" y="1118"/>
                </a:lnTo>
                <a:close/>
                <a:moveTo>
                  <a:pt x="352" y="1100"/>
                </a:moveTo>
                <a:lnTo>
                  <a:pt x="355" y="1103"/>
                </a:lnTo>
                <a:lnTo>
                  <a:pt x="355" y="1106"/>
                </a:lnTo>
                <a:lnTo>
                  <a:pt x="356" y="1107"/>
                </a:lnTo>
                <a:lnTo>
                  <a:pt x="357" y="1110"/>
                </a:lnTo>
                <a:lnTo>
                  <a:pt x="352" y="1111"/>
                </a:lnTo>
                <a:lnTo>
                  <a:pt x="350" y="1109"/>
                </a:lnTo>
                <a:lnTo>
                  <a:pt x="349" y="1105"/>
                </a:lnTo>
                <a:lnTo>
                  <a:pt x="350" y="1102"/>
                </a:lnTo>
                <a:lnTo>
                  <a:pt x="351" y="1100"/>
                </a:lnTo>
                <a:lnTo>
                  <a:pt x="352" y="1100"/>
                </a:lnTo>
                <a:close/>
                <a:moveTo>
                  <a:pt x="357" y="1083"/>
                </a:moveTo>
                <a:lnTo>
                  <a:pt x="358" y="1084"/>
                </a:lnTo>
                <a:lnTo>
                  <a:pt x="358" y="1084"/>
                </a:lnTo>
                <a:lnTo>
                  <a:pt x="357" y="1090"/>
                </a:lnTo>
                <a:lnTo>
                  <a:pt x="355" y="1091"/>
                </a:lnTo>
                <a:lnTo>
                  <a:pt x="352" y="1091"/>
                </a:lnTo>
                <a:lnTo>
                  <a:pt x="352" y="1089"/>
                </a:lnTo>
                <a:lnTo>
                  <a:pt x="354" y="1084"/>
                </a:lnTo>
                <a:lnTo>
                  <a:pt x="357" y="1083"/>
                </a:lnTo>
                <a:close/>
                <a:moveTo>
                  <a:pt x="370" y="1088"/>
                </a:moveTo>
                <a:lnTo>
                  <a:pt x="368" y="1085"/>
                </a:lnTo>
                <a:lnTo>
                  <a:pt x="368" y="1082"/>
                </a:lnTo>
                <a:lnTo>
                  <a:pt x="369" y="1081"/>
                </a:lnTo>
                <a:lnTo>
                  <a:pt x="371" y="1081"/>
                </a:lnTo>
                <a:lnTo>
                  <a:pt x="373" y="1081"/>
                </a:lnTo>
                <a:lnTo>
                  <a:pt x="373" y="1084"/>
                </a:lnTo>
                <a:lnTo>
                  <a:pt x="373" y="1086"/>
                </a:lnTo>
                <a:lnTo>
                  <a:pt x="370" y="1088"/>
                </a:lnTo>
                <a:lnTo>
                  <a:pt x="370" y="1088"/>
                </a:lnTo>
                <a:close/>
                <a:moveTo>
                  <a:pt x="364" y="1100"/>
                </a:moveTo>
                <a:lnTo>
                  <a:pt x="366" y="1098"/>
                </a:lnTo>
                <a:lnTo>
                  <a:pt x="370" y="1097"/>
                </a:lnTo>
                <a:lnTo>
                  <a:pt x="371" y="1098"/>
                </a:lnTo>
                <a:lnTo>
                  <a:pt x="371" y="1099"/>
                </a:lnTo>
                <a:lnTo>
                  <a:pt x="371" y="1105"/>
                </a:lnTo>
                <a:lnTo>
                  <a:pt x="366" y="1106"/>
                </a:lnTo>
                <a:lnTo>
                  <a:pt x="364" y="1104"/>
                </a:lnTo>
                <a:lnTo>
                  <a:pt x="364" y="1100"/>
                </a:lnTo>
                <a:close/>
                <a:moveTo>
                  <a:pt x="377" y="1063"/>
                </a:moveTo>
                <a:lnTo>
                  <a:pt x="379" y="1064"/>
                </a:lnTo>
                <a:lnTo>
                  <a:pt x="379" y="1067"/>
                </a:lnTo>
                <a:lnTo>
                  <a:pt x="377" y="1071"/>
                </a:lnTo>
                <a:lnTo>
                  <a:pt x="373" y="1075"/>
                </a:lnTo>
                <a:lnTo>
                  <a:pt x="365" y="1076"/>
                </a:lnTo>
                <a:lnTo>
                  <a:pt x="357" y="1076"/>
                </a:lnTo>
                <a:lnTo>
                  <a:pt x="364" y="1065"/>
                </a:lnTo>
                <a:lnTo>
                  <a:pt x="377" y="1063"/>
                </a:lnTo>
                <a:close/>
                <a:moveTo>
                  <a:pt x="380" y="1057"/>
                </a:moveTo>
                <a:lnTo>
                  <a:pt x="378" y="1057"/>
                </a:lnTo>
                <a:lnTo>
                  <a:pt x="376" y="1058"/>
                </a:lnTo>
                <a:lnTo>
                  <a:pt x="370" y="1060"/>
                </a:lnTo>
                <a:lnTo>
                  <a:pt x="364" y="1058"/>
                </a:lnTo>
                <a:lnTo>
                  <a:pt x="364" y="1057"/>
                </a:lnTo>
                <a:lnTo>
                  <a:pt x="365" y="1054"/>
                </a:lnTo>
                <a:lnTo>
                  <a:pt x="369" y="1049"/>
                </a:lnTo>
                <a:lnTo>
                  <a:pt x="376" y="1047"/>
                </a:lnTo>
                <a:lnTo>
                  <a:pt x="377" y="1047"/>
                </a:lnTo>
                <a:lnTo>
                  <a:pt x="380" y="1047"/>
                </a:lnTo>
                <a:lnTo>
                  <a:pt x="384" y="1047"/>
                </a:lnTo>
                <a:lnTo>
                  <a:pt x="386" y="1048"/>
                </a:lnTo>
                <a:lnTo>
                  <a:pt x="385" y="1054"/>
                </a:lnTo>
                <a:lnTo>
                  <a:pt x="380" y="1057"/>
                </a:lnTo>
                <a:close/>
                <a:moveTo>
                  <a:pt x="391" y="1159"/>
                </a:moveTo>
                <a:lnTo>
                  <a:pt x="390" y="1161"/>
                </a:lnTo>
                <a:lnTo>
                  <a:pt x="386" y="1161"/>
                </a:lnTo>
                <a:lnTo>
                  <a:pt x="384" y="1160"/>
                </a:lnTo>
                <a:lnTo>
                  <a:pt x="383" y="1156"/>
                </a:lnTo>
                <a:lnTo>
                  <a:pt x="383" y="1154"/>
                </a:lnTo>
                <a:lnTo>
                  <a:pt x="386" y="1154"/>
                </a:lnTo>
                <a:lnTo>
                  <a:pt x="390" y="1155"/>
                </a:lnTo>
                <a:lnTo>
                  <a:pt x="391" y="1159"/>
                </a:lnTo>
                <a:close/>
                <a:moveTo>
                  <a:pt x="384" y="1120"/>
                </a:moveTo>
                <a:lnTo>
                  <a:pt x="384" y="1119"/>
                </a:lnTo>
                <a:lnTo>
                  <a:pt x="382" y="1117"/>
                </a:lnTo>
                <a:lnTo>
                  <a:pt x="379" y="1114"/>
                </a:lnTo>
                <a:lnTo>
                  <a:pt x="379" y="1111"/>
                </a:lnTo>
                <a:lnTo>
                  <a:pt x="380" y="1106"/>
                </a:lnTo>
                <a:lnTo>
                  <a:pt x="379" y="1102"/>
                </a:lnTo>
                <a:lnTo>
                  <a:pt x="378" y="1098"/>
                </a:lnTo>
                <a:lnTo>
                  <a:pt x="382" y="1096"/>
                </a:lnTo>
                <a:lnTo>
                  <a:pt x="385" y="1096"/>
                </a:lnTo>
                <a:lnTo>
                  <a:pt x="387" y="1098"/>
                </a:lnTo>
                <a:lnTo>
                  <a:pt x="389" y="1116"/>
                </a:lnTo>
                <a:lnTo>
                  <a:pt x="394" y="1131"/>
                </a:lnTo>
                <a:lnTo>
                  <a:pt x="394" y="1134"/>
                </a:lnTo>
                <a:lnTo>
                  <a:pt x="392" y="1135"/>
                </a:lnTo>
                <a:lnTo>
                  <a:pt x="391" y="1135"/>
                </a:lnTo>
                <a:lnTo>
                  <a:pt x="389" y="1134"/>
                </a:lnTo>
                <a:lnTo>
                  <a:pt x="383" y="1130"/>
                </a:lnTo>
                <a:lnTo>
                  <a:pt x="384" y="1120"/>
                </a:lnTo>
                <a:lnTo>
                  <a:pt x="384" y="1120"/>
                </a:lnTo>
                <a:close/>
                <a:moveTo>
                  <a:pt x="465" y="1044"/>
                </a:moveTo>
                <a:lnTo>
                  <a:pt x="463" y="1042"/>
                </a:lnTo>
                <a:lnTo>
                  <a:pt x="465" y="1041"/>
                </a:lnTo>
                <a:lnTo>
                  <a:pt x="470" y="1032"/>
                </a:lnTo>
                <a:lnTo>
                  <a:pt x="476" y="1023"/>
                </a:lnTo>
                <a:lnTo>
                  <a:pt x="478" y="1022"/>
                </a:lnTo>
                <a:lnTo>
                  <a:pt x="480" y="1021"/>
                </a:lnTo>
                <a:lnTo>
                  <a:pt x="481" y="1022"/>
                </a:lnTo>
                <a:lnTo>
                  <a:pt x="481" y="1023"/>
                </a:lnTo>
                <a:lnTo>
                  <a:pt x="481" y="1025"/>
                </a:lnTo>
                <a:lnTo>
                  <a:pt x="480" y="1026"/>
                </a:lnTo>
                <a:lnTo>
                  <a:pt x="475" y="1034"/>
                </a:lnTo>
                <a:lnTo>
                  <a:pt x="469" y="1043"/>
                </a:lnTo>
                <a:lnTo>
                  <a:pt x="467" y="1044"/>
                </a:lnTo>
                <a:lnTo>
                  <a:pt x="465" y="1044"/>
                </a:lnTo>
                <a:close/>
                <a:moveTo>
                  <a:pt x="463" y="1060"/>
                </a:moveTo>
                <a:lnTo>
                  <a:pt x="463" y="1060"/>
                </a:lnTo>
                <a:lnTo>
                  <a:pt x="461" y="1063"/>
                </a:lnTo>
                <a:lnTo>
                  <a:pt x="461" y="1067"/>
                </a:lnTo>
                <a:lnTo>
                  <a:pt x="461" y="1069"/>
                </a:lnTo>
                <a:lnTo>
                  <a:pt x="460" y="1070"/>
                </a:lnTo>
                <a:lnTo>
                  <a:pt x="456" y="1070"/>
                </a:lnTo>
                <a:lnTo>
                  <a:pt x="453" y="1069"/>
                </a:lnTo>
                <a:lnTo>
                  <a:pt x="454" y="1071"/>
                </a:lnTo>
                <a:lnTo>
                  <a:pt x="455" y="1072"/>
                </a:lnTo>
                <a:lnTo>
                  <a:pt x="454" y="1071"/>
                </a:lnTo>
                <a:lnTo>
                  <a:pt x="453" y="1069"/>
                </a:lnTo>
                <a:lnTo>
                  <a:pt x="453" y="1068"/>
                </a:lnTo>
                <a:lnTo>
                  <a:pt x="453" y="1065"/>
                </a:lnTo>
                <a:lnTo>
                  <a:pt x="455" y="1064"/>
                </a:lnTo>
                <a:lnTo>
                  <a:pt x="455" y="1062"/>
                </a:lnTo>
                <a:lnTo>
                  <a:pt x="458" y="1055"/>
                </a:lnTo>
                <a:lnTo>
                  <a:pt x="461" y="1049"/>
                </a:lnTo>
                <a:lnTo>
                  <a:pt x="462" y="1047"/>
                </a:lnTo>
                <a:lnTo>
                  <a:pt x="465" y="1047"/>
                </a:lnTo>
                <a:lnTo>
                  <a:pt x="466" y="1049"/>
                </a:lnTo>
                <a:lnTo>
                  <a:pt x="466" y="1051"/>
                </a:lnTo>
                <a:lnTo>
                  <a:pt x="465" y="1055"/>
                </a:lnTo>
                <a:lnTo>
                  <a:pt x="463" y="1060"/>
                </a:lnTo>
                <a:close/>
                <a:moveTo>
                  <a:pt x="470" y="1116"/>
                </a:moveTo>
                <a:lnTo>
                  <a:pt x="467" y="1117"/>
                </a:lnTo>
                <a:lnTo>
                  <a:pt x="465" y="1116"/>
                </a:lnTo>
                <a:lnTo>
                  <a:pt x="465" y="1117"/>
                </a:lnTo>
                <a:lnTo>
                  <a:pt x="465" y="1117"/>
                </a:lnTo>
                <a:lnTo>
                  <a:pt x="465" y="1117"/>
                </a:lnTo>
                <a:lnTo>
                  <a:pt x="465" y="1116"/>
                </a:lnTo>
                <a:lnTo>
                  <a:pt x="465" y="1116"/>
                </a:lnTo>
                <a:lnTo>
                  <a:pt x="463" y="1113"/>
                </a:lnTo>
                <a:lnTo>
                  <a:pt x="461" y="1112"/>
                </a:lnTo>
                <a:lnTo>
                  <a:pt x="461" y="1112"/>
                </a:lnTo>
                <a:lnTo>
                  <a:pt x="461" y="1109"/>
                </a:lnTo>
                <a:lnTo>
                  <a:pt x="459" y="1106"/>
                </a:lnTo>
                <a:lnTo>
                  <a:pt x="458" y="1103"/>
                </a:lnTo>
                <a:lnTo>
                  <a:pt x="460" y="1100"/>
                </a:lnTo>
                <a:lnTo>
                  <a:pt x="463" y="1100"/>
                </a:lnTo>
                <a:lnTo>
                  <a:pt x="466" y="1103"/>
                </a:lnTo>
                <a:lnTo>
                  <a:pt x="467" y="1106"/>
                </a:lnTo>
                <a:lnTo>
                  <a:pt x="469" y="1110"/>
                </a:lnTo>
                <a:lnTo>
                  <a:pt x="472" y="1112"/>
                </a:lnTo>
                <a:lnTo>
                  <a:pt x="470" y="1116"/>
                </a:lnTo>
                <a:close/>
                <a:moveTo>
                  <a:pt x="419" y="1084"/>
                </a:moveTo>
                <a:lnTo>
                  <a:pt x="412" y="1088"/>
                </a:lnTo>
                <a:lnTo>
                  <a:pt x="405" y="1086"/>
                </a:lnTo>
                <a:lnTo>
                  <a:pt x="412" y="1083"/>
                </a:lnTo>
                <a:lnTo>
                  <a:pt x="419" y="1084"/>
                </a:lnTo>
                <a:close/>
                <a:moveTo>
                  <a:pt x="442" y="1078"/>
                </a:moveTo>
                <a:lnTo>
                  <a:pt x="435" y="1082"/>
                </a:lnTo>
                <a:lnTo>
                  <a:pt x="427" y="1084"/>
                </a:lnTo>
                <a:lnTo>
                  <a:pt x="426" y="1084"/>
                </a:lnTo>
                <a:lnTo>
                  <a:pt x="426" y="1083"/>
                </a:lnTo>
                <a:lnTo>
                  <a:pt x="426" y="1082"/>
                </a:lnTo>
                <a:lnTo>
                  <a:pt x="426" y="1081"/>
                </a:lnTo>
                <a:lnTo>
                  <a:pt x="434" y="1078"/>
                </a:lnTo>
                <a:lnTo>
                  <a:pt x="442" y="1078"/>
                </a:lnTo>
                <a:close/>
                <a:moveTo>
                  <a:pt x="454" y="1077"/>
                </a:moveTo>
                <a:lnTo>
                  <a:pt x="456" y="1076"/>
                </a:lnTo>
                <a:lnTo>
                  <a:pt x="459" y="1076"/>
                </a:lnTo>
                <a:lnTo>
                  <a:pt x="460" y="1083"/>
                </a:lnTo>
                <a:lnTo>
                  <a:pt x="461" y="1090"/>
                </a:lnTo>
                <a:lnTo>
                  <a:pt x="461" y="1095"/>
                </a:lnTo>
                <a:lnTo>
                  <a:pt x="459" y="1097"/>
                </a:lnTo>
                <a:lnTo>
                  <a:pt x="454" y="1095"/>
                </a:lnTo>
                <a:lnTo>
                  <a:pt x="454" y="1091"/>
                </a:lnTo>
                <a:lnTo>
                  <a:pt x="453" y="1084"/>
                </a:lnTo>
                <a:lnTo>
                  <a:pt x="453" y="1077"/>
                </a:lnTo>
                <a:lnTo>
                  <a:pt x="452" y="1077"/>
                </a:lnTo>
                <a:lnTo>
                  <a:pt x="451" y="1076"/>
                </a:lnTo>
                <a:lnTo>
                  <a:pt x="452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4" y="1077"/>
                </a:lnTo>
                <a:lnTo>
                  <a:pt x="454" y="1077"/>
                </a:lnTo>
                <a:close/>
                <a:moveTo>
                  <a:pt x="426" y="1023"/>
                </a:moveTo>
                <a:lnTo>
                  <a:pt x="437" y="1016"/>
                </a:lnTo>
                <a:lnTo>
                  <a:pt x="448" y="1022"/>
                </a:lnTo>
                <a:lnTo>
                  <a:pt x="451" y="1023"/>
                </a:lnTo>
                <a:lnTo>
                  <a:pt x="452" y="1021"/>
                </a:lnTo>
                <a:lnTo>
                  <a:pt x="454" y="1020"/>
                </a:lnTo>
                <a:lnTo>
                  <a:pt x="458" y="1019"/>
                </a:lnTo>
                <a:lnTo>
                  <a:pt x="463" y="1020"/>
                </a:lnTo>
                <a:lnTo>
                  <a:pt x="467" y="1022"/>
                </a:lnTo>
                <a:lnTo>
                  <a:pt x="467" y="1027"/>
                </a:lnTo>
                <a:lnTo>
                  <a:pt x="466" y="1032"/>
                </a:lnTo>
                <a:lnTo>
                  <a:pt x="459" y="1043"/>
                </a:lnTo>
                <a:lnTo>
                  <a:pt x="453" y="1056"/>
                </a:lnTo>
                <a:lnTo>
                  <a:pt x="454" y="1057"/>
                </a:lnTo>
                <a:lnTo>
                  <a:pt x="454" y="1057"/>
                </a:lnTo>
                <a:lnTo>
                  <a:pt x="454" y="1057"/>
                </a:lnTo>
                <a:lnTo>
                  <a:pt x="453" y="1056"/>
                </a:lnTo>
                <a:lnTo>
                  <a:pt x="452" y="1058"/>
                </a:lnTo>
                <a:lnTo>
                  <a:pt x="451" y="1062"/>
                </a:lnTo>
                <a:lnTo>
                  <a:pt x="451" y="1062"/>
                </a:lnTo>
                <a:lnTo>
                  <a:pt x="451" y="1062"/>
                </a:lnTo>
                <a:lnTo>
                  <a:pt x="451" y="1063"/>
                </a:lnTo>
                <a:lnTo>
                  <a:pt x="445" y="1062"/>
                </a:lnTo>
                <a:lnTo>
                  <a:pt x="440" y="1067"/>
                </a:lnTo>
                <a:lnTo>
                  <a:pt x="434" y="1069"/>
                </a:lnTo>
                <a:lnTo>
                  <a:pt x="427" y="1069"/>
                </a:lnTo>
                <a:lnTo>
                  <a:pt x="425" y="1069"/>
                </a:lnTo>
                <a:lnTo>
                  <a:pt x="423" y="1070"/>
                </a:lnTo>
                <a:lnTo>
                  <a:pt x="413" y="1076"/>
                </a:lnTo>
                <a:lnTo>
                  <a:pt x="403" y="1071"/>
                </a:lnTo>
                <a:lnTo>
                  <a:pt x="409" y="1053"/>
                </a:lnTo>
                <a:lnTo>
                  <a:pt x="418" y="1036"/>
                </a:lnTo>
                <a:lnTo>
                  <a:pt x="421" y="1029"/>
                </a:lnTo>
                <a:lnTo>
                  <a:pt x="426" y="1023"/>
                </a:lnTo>
                <a:close/>
                <a:moveTo>
                  <a:pt x="425" y="1019"/>
                </a:moveTo>
                <a:lnTo>
                  <a:pt x="426" y="1018"/>
                </a:lnTo>
                <a:lnTo>
                  <a:pt x="426" y="1016"/>
                </a:lnTo>
                <a:lnTo>
                  <a:pt x="426" y="1018"/>
                </a:lnTo>
                <a:lnTo>
                  <a:pt x="425" y="1019"/>
                </a:lnTo>
                <a:close/>
                <a:moveTo>
                  <a:pt x="397" y="1097"/>
                </a:moveTo>
                <a:lnTo>
                  <a:pt x="396" y="1096"/>
                </a:lnTo>
                <a:lnTo>
                  <a:pt x="396" y="1096"/>
                </a:lnTo>
                <a:lnTo>
                  <a:pt x="396" y="1096"/>
                </a:lnTo>
                <a:lnTo>
                  <a:pt x="397" y="1097"/>
                </a:lnTo>
                <a:lnTo>
                  <a:pt x="421" y="1091"/>
                </a:lnTo>
                <a:lnTo>
                  <a:pt x="447" y="1085"/>
                </a:lnTo>
                <a:lnTo>
                  <a:pt x="449" y="1096"/>
                </a:lnTo>
                <a:lnTo>
                  <a:pt x="453" y="1105"/>
                </a:lnTo>
                <a:lnTo>
                  <a:pt x="454" y="1109"/>
                </a:lnTo>
                <a:lnTo>
                  <a:pt x="455" y="1112"/>
                </a:lnTo>
                <a:lnTo>
                  <a:pt x="434" y="1125"/>
                </a:lnTo>
                <a:lnTo>
                  <a:pt x="413" y="1138"/>
                </a:lnTo>
                <a:lnTo>
                  <a:pt x="409" y="1134"/>
                </a:lnTo>
                <a:lnTo>
                  <a:pt x="404" y="1130"/>
                </a:lnTo>
                <a:lnTo>
                  <a:pt x="400" y="1118"/>
                </a:lnTo>
                <a:lnTo>
                  <a:pt x="399" y="1105"/>
                </a:lnTo>
                <a:lnTo>
                  <a:pt x="397" y="1102"/>
                </a:lnTo>
                <a:lnTo>
                  <a:pt x="397" y="1097"/>
                </a:lnTo>
                <a:close/>
                <a:moveTo>
                  <a:pt x="470" y="1197"/>
                </a:moveTo>
                <a:lnTo>
                  <a:pt x="467" y="1203"/>
                </a:lnTo>
                <a:lnTo>
                  <a:pt x="460" y="1198"/>
                </a:lnTo>
                <a:lnTo>
                  <a:pt x="458" y="1200"/>
                </a:lnTo>
                <a:lnTo>
                  <a:pt x="456" y="1202"/>
                </a:lnTo>
                <a:lnTo>
                  <a:pt x="458" y="1200"/>
                </a:lnTo>
                <a:lnTo>
                  <a:pt x="460" y="1198"/>
                </a:lnTo>
                <a:lnTo>
                  <a:pt x="466" y="1197"/>
                </a:lnTo>
                <a:lnTo>
                  <a:pt x="470" y="1197"/>
                </a:lnTo>
                <a:close/>
                <a:moveTo>
                  <a:pt x="473" y="1194"/>
                </a:moveTo>
                <a:lnTo>
                  <a:pt x="470" y="1193"/>
                </a:lnTo>
                <a:lnTo>
                  <a:pt x="468" y="1193"/>
                </a:lnTo>
                <a:lnTo>
                  <a:pt x="466" y="1194"/>
                </a:lnTo>
                <a:lnTo>
                  <a:pt x="462" y="1194"/>
                </a:lnTo>
                <a:lnTo>
                  <a:pt x="465" y="1194"/>
                </a:lnTo>
                <a:lnTo>
                  <a:pt x="468" y="1193"/>
                </a:lnTo>
                <a:lnTo>
                  <a:pt x="461" y="1189"/>
                </a:lnTo>
                <a:lnTo>
                  <a:pt x="454" y="1189"/>
                </a:lnTo>
                <a:lnTo>
                  <a:pt x="455" y="1191"/>
                </a:lnTo>
                <a:lnTo>
                  <a:pt x="455" y="1194"/>
                </a:lnTo>
                <a:lnTo>
                  <a:pt x="455" y="1191"/>
                </a:lnTo>
                <a:lnTo>
                  <a:pt x="454" y="1189"/>
                </a:lnTo>
                <a:lnTo>
                  <a:pt x="452" y="1188"/>
                </a:lnTo>
                <a:lnTo>
                  <a:pt x="449" y="1188"/>
                </a:lnTo>
                <a:lnTo>
                  <a:pt x="447" y="1183"/>
                </a:lnTo>
                <a:lnTo>
                  <a:pt x="444" y="1183"/>
                </a:lnTo>
                <a:lnTo>
                  <a:pt x="441" y="1184"/>
                </a:lnTo>
                <a:lnTo>
                  <a:pt x="439" y="1183"/>
                </a:lnTo>
                <a:lnTo>
                  <a:pt x="427" y="1176"/>
                </a:lnTo>
                <a:lnTo>
                  <a:pt x="417" y="1168"/>
                </a:lnTo>
                <a:lnTo>
                  <a:pt x="416" y="1167"/>
                </a:lnTo>
                <a:lnTo>
                  <a:pt x="413" y="1167"/>
                </a:lnTo>
                <a:lnTo>
                  <a:pt x="409" y="1166"/>
                </a:lnTo>
                <a:lnTo>
                  <a:pt x="405" y="1162"/>
                </a:lnTo>
                <a:lnTo>
                  <a:pt x="410" y="1160"/>
                </a:lnTo>
                <a:lnTo>
                  <a:pt x="414" y="1158"/>
                </a:lnTo>
                <a:lnTo>
                  <a:pt x="430" y="1170"/>
                </a:lnTo>
                <a:lnTo>
                  <a:pt x="447" y="1179"/>
                </a:lnTo>
                <a:lnTo>
                  <a:pt x="456" y="1183"/>
                </a:lnTo>
                <a:lnTo>
                  <a:pt x="466" y="1183"/>
                </a:lnTo>
                <a:lnTo>
                  <a:pt x="474" y="1186"/>
                </a:lnTo>
                <a:lnTo>
                  <a:pt x="481" y="1188"/>
                </a:lnTo>
                <a:lnTo>
                  <a:pt x="482" y="1188"/>
                </a:lnTo>
                <a:lnTo>
                  <a:pt x="483" y="1187"/>
                </a:lnTo>
                <a:lnTo>
                  <a:pt x="482" y="1188"/>
                </a:lnTo>
                <a:lnTo>
                  <a:pt x="481" y="1188"/>
                </a:lnTo>
                <a:lnTo>
                  <a:pt x="479" y="1193"/>
                </a:lnTo>
                <a:lnTo>
                  <a:pt x="473" y="1194"/>
                </a:lnTo>
                <a:close/>
                <a:moveTo>
                  <a:pt x="502" y="1142"/>
                </a:moveTo>
                <a:lnTo>
                  <a:pt x="504" y="1145"/>
                </a:lnTo>
                <a:lnTo>
                  <a:pt x="503" y="1147"/>
                </a:lnTo>
                <a:lnTo>
                  <a:pt x="495" y="1161"/>
                </a:lnTo>
                <a:lnTo>
                  <a:pt x="485" y="1174"/>
                </a:lnTo>
                <a:lnTo>
                  <a:pt x="485" y="1174"/>
                </a:lnTo>
                <a:lnTo>
                  <a:pt x="485" y="1174"/>
                </a:lnTo>
                <a:lnTo>
                  <a:pt x="485" y="1174"/>
                </a:lnTo>
                <a:lnTo>
                  <a:pt x="485" y="1174"/>
                </a:lnTo>
                <a:lnTo>
                  <a:pt x="482" y="1174"/>
                </a:lnTo>
                <a:lnTo>
                  <a:pt x="482" y="1176"/>
                </a:lnTo>
                <a:lnTo>
                  <a:pt x="481" y="1177"/>
                </a:lnTo>
                <a:lnTo>
                  <a:pt x="481" y="1179"/>
                </a:lnTo>
                <a:lnTo>
                  <a:pt x="481" y="1179"/>
                </a:lnTo>
                <a:lnTo>
                  <a:pt x="481" y="1180"/>
                </a:lnTo>
                <a:lnTo>
                  <a:pt x="481" y="1179"/>
                </a:lnTo>
                <a:lnTo>
                  <a:pt x="481" y="1179"/>
                </a:lnTo>
                <a:lnTo>
                  <a:pt x="480" y="1179"/>
                </a:lnTo>
                <a:lnTo>
                  <a:pt x="480" y="1179"/>
                </a:lnTo>
                <a:lnTo>
                  <a:pt x="478" y="1179"/>
                </a:lnTo>
                <a:lnTo>
                  <a:pt x="476" y="1177"/>
                </a:lnTo>
                <a:lnTo>
                  <a:pt x="476" y="1177"/>
                </a:lnTo>
                <a:lnTo>
                  <a:pt x="460" y="1173"/>
                </a:lnTo>
                <a:lnTo>
                  <a:pt x="445" y="1167"/>
                </a:lnTo>
                <a:lnTo>
                  <a:pt x="439" y="1162"/>
                </a:lnTo>
                <a:lnTo>
                  <a:pt x="438" y="1155"/>
                </a:lnTo>
                <a:lnTo>
                  <a:pt x="456" y="1144"/>
                </a:lnTo>
                <a:lnTo>
                  <a:pt x="474" y="1133"/>
                </a:lnTo>
                <a:lnTo>
                  <a:pt x="478" y="1132"/>
                </a:lnTo>
                <a:lnTo>
                  <a:pt x="480" y="1133"/>
                </a:lnTo>
                <a:lnTo>
                  <a:pt x="490" y="1139"/>
                </a:lnTo>
                <a:lnTo>
                  <a:pt x="502" y="1142"/>
                </a:lnTo>
                <a:close/>
                <a:moveTo>
                  <a:pt x="497" y="1133"/>
                </a:moveTo>
                <a:lnTo>
                  <a:pt x="511" y="1137"/>
                </a:lnTo>
                <a:lnTo>
                  <a:pt x="525" y="1141"/>
                </a:lnTo>
                <a:lnTo>
                  <a:pt x="510" y="1141"/>
                </a:lnTo>
                <a:lnTo>
                  <a:pt x="497" y="1135"/>
                </a:lnTo>
                <a:lnTo>
                  <a:pt x="497" y="1134"/>
                </a:lnTo>
                <a:lnTo>
                  <a:pt x="497" y="1133"/>
                </a:lnTo>
                <a:close/>
                <a:moveTo>
                  <a:pt x="508" y="994"/>
                </a:moveTo>
                <a:lnTo>
                  <a:pt x="503" y="1002"/>
                </a:lnTo>
                <a:lnTo>
                  <a:pt x="495" y="1008"/>
                </a:lnTo>
                <a:lnTo>
                  <a:pt x="492" y="1013"/>
                </a:lnTo>
                <a:lnTo>
                  <a:pt x="486" y="1015"/>
                </a:lnTo>
                <a:lnTo>
                  <a:pt x="495" y="1004"/>
                </a:lnTo>
                <a:lnTo>
                  <a:pt x="508" y="994"/>
                </a:lnTo>
                <a:close/>
                <a:moveTo>
                  <a:pt x="522" y="928"/>
                </a:moveTo>
                <a:lnTo>
                  <a:pt x="516" y="931"/>
                </a:lnTo>
                <a:lnTo>
                  <a:pt x="511" y="932"/>
                </a:lnTo>
                <a:lnTo>
                  <a:pt x="513" y="929"/>
                </a:lnTo>
                <a:lnTo>
                  <a:pt x="516" y="928"/>
                </a:lnTo>
                <a:lnTo>
                  <a:pt x="520" y="925"/>
                </a:lnTo>
                <a:lnTo>
                  <a:pt x="520" y="922"/>
                </a:lnTo>
                <a:lnTo>
                  <a:pt x="518" y="920"/>
                </a:lnTo>
                <a:lnTo>
                  <a:pt x="517" y="920"/>
                </a:lnTo>
                <a:lnTo>
                  <a:pt x="514" y="920"/>
                </a:lnTo>
                <a:lnTo>
                  <a:pt x="511" y="921"/>
                </a:lnTo>
                <a:lnTo>
                  <a:pt x="514" y="920"/>
                </a:lnTo>
                <a:lnTo>
                  <a:pt x="517" y="920"/>
                </a:lnTo>
                <a:lnTo>
                  <a:pt x="523" y="918"/>
                </a:lnTo>
                <a:lnTo>
                  <a:pt x="525" y="923"/>
                </a:lnTo>
                <a:lnTo>
                  <a:pt x="525" y="927"/>
                </a:lnTo>
                <a:lnTo>
                  <a:pt x="522" y="928"/>
                </a:lnTo>
                <a:close/>
                <a:moveTo>
                  <a:pt x="534" y="929"/>
                </a:moveTo>
                <a:lnTo>
                  <a:pt x="529" y="935"/>
                </a:lnTo>
                <a:lnTo>
                  <a:pt x="522" y="938"/>
                </a:lnTo>
                <a:lnTo>
                  <a:pt x="522" y="938"/>
                </a:lnTo>
                <a:lnTo>
                  <a:pt x="521" y="938"/>
                </a:lnTo>
                <a:lnTo>
                  <a:pt x="522" y="938"/>
                </a:lnTo>
                <a:lnTo>
                  <a:pt x="522" y="938"/>
                </a:lnTo>
                <a:lnTo>
                  <a:pt x="521" y="938"/>
                </a:lnTo>
                <a:lnTo>
                  <a:pt x="518" y="938"/>
                </a:lnTo>
                <a:lnTo>
                  <a:pt x="518" y="938"/>
                </a:lnTo>
                <a:lnTo>
                  <a:pt x="520" y="938"/>
                </a:lnTo>
                <a:lnTo>
                  <a:pt x="518" y="938"/>
                </a:lnTo>
                <a:lnTo>
                  <a:pt x="518" y="938"/>
                </a:lnTo>
                <a:lnTo>
                  <a:pt x="518" y="938"/>
                </a:lnTo>
                <a:lnTo>
                  <a:pt x="524" y="931"/>
                </a:lnTo>
                <a:lnTo>
                  <a:pt x="534" y="929"/>
                </a:lnTo>
                <a:close/>
                <a:moveTo>
                  <a:pt x="545" y="917"/>
                </a:moveTo>
                <a:lnTo>
                  <a:pt x="541" y="918"/>
                </a:lnTo>
                <a:lnTo>
                  <a:pt x="536" y="922"/>
                </a:lnTo>
                <a:lnTo>
                  <a:pt x="531" y="922"/>
                </a:lnTo>
                <a:lnTo>
                  <a:pt x="528" y="917"/>
                </a:lnTo>
                <a:lnTo>
                  <a:pt x="528" y="914"/>
                </a:lnTo>
                <a:lnTo>
                  <a:pt x="531" y="911"/>
                </a:lnTo>
                <a:lnTo>
                  <a:pt x="536" y="909"/>
                </a:lnTo>
                <a:lnTo>
                  <a:pt x="542" y="907"/>
                </a:lnTo>
                <a:lnTo>
                  <a:pt x="548" y="908"/>
                </a:lnTo>
                <a:lnTo>
                  <a:pt x="550" y="913"/>
                </a:lnTo>
                <a:lnTo>
                  <a:pt x="548" y="915"/>
                </a:lnTo>
                <a:lnTo>
                  <a:pt x="545" y="917"/>
                </a:lnTo>
                <a:close/>
                <a:moveTo>
                  <a:pt x="539" y="972"/>
                </a:moveTo>
                <a:lnTo>
                  <a:pt x="538" y="973"/>
                </a:lnTo>
                <a:lnTo>
                  <a:pt x="537" y="973"/>
                </a:lnTo>
                <a:lnTo>
                  <a:pt x="524" y="985"/>
                </a:lnTo>
                <a:lnTo>
                  <a:pt x="509" y="993"/>
                </a:lnTo>
                <a:lnTo>
                  <a:pt x="522" y="981"/>
                </a:lnTo>
                <a:lnTo>
                  <a:pt x="537" y="973"/>
                </a:lnTo>
                <a:lnTo>
                  <a:pt x="538" y="972"/>
                </a:lnTo>
                <a:lnTo>
                  <a:pt x="538" y="971"/>
                </a:lnTo>
                <a:lnTo>
                  <a:pt x="538" y="972"/>
                </a:lnTo>
                <a:lnTo>
                  <a:pt x="539" y="972"/>
                </a:lnTo>
                <a:close/>
                <a:moveTo>
                  <a:pt x="536" y="963"/>
                </a:moveTo>
                <a:lnTo>
                  <a:pt x="530" y="963"/>
                </a:lnTo>
                <a:lnTo>
                  <a:pt x="532" y="957"/>
                </a:lnTo>
                <a:lnTo>
                  <a:pt x="532" y="956"/>
                </a:lnTo>
                <a:lnTo>
                  <a:pt x="532" y="953"/>
                </a:lnTo>
                <a:lnTo>
                  <a:pt x="530" y="952"/>
                </a:lnTo>
                <a:lnTo>
                  <a:pt x="528" y="953"/>
                </a:lnTo>
                <a:lnTo>
                  <a:pt x="524" y="955"/>
                </a:lnTo>
                <a:lnTo>
                  <a:pt x="521" y="952"/>
                </a:lnTo>
                <a:lnTo>
                  <a:pt x="521" y="951"/>
                </a:lnTo>
                <a:lnTo>
                  <a:pt x="522" y="950"/>
                </a:lnTo>
                <a:lnTo>
                  <a:pt x="527" y="948"/>
                </a:lnTo>
                <a:lnTo>
                  <a:pt x="530" y="946"/>
                </a:lnTo>
                <a:lnTo>
                  <a:pt x="538" y="952"/>
                </a:lnTo>
                <a:lnTo>
                  <a:pt x="544" y="963"/>
                </a:lnTo>
                <a:lnTo>
                  <a:pt x="539" y="963"/>
                </a:lnTo>
                <a:lnTo>
                  <a:pt x="536" y="963"/>
                </a:lnTo>
                <a:close/>
                <a:moveTo>
                  <a:pt x="600" y="910"/>
                </a:moveTo>
                <a:lnTo>
                  <a:pt x="606" y="910"/>
                </a:lnTo>
                <a:lnTo>
                  <a:pt x="611" y="914"/>
                </a:lnTo>
                <a:lnTo>
                  <a:pt x="612" y="916"/>
                </a:lnTo>
                <a:lnTo>
                  <a:pt x="610" y="918"/>
                </a:lnTo>
                <a:lnTo>
                  <a:pt x="606" y="921"/>
                </a:lnTo>
                <a:lnTo>
                  <a:pt x="604" y="923"/>
                </a:lnTo>
                <a:lnTo>
                  <a:pt x="608" y="924"/>
                </a:lnTo>
                <a:lnTo>
                  <a:pt x="611" y="927"/>
                </a:lnTo>
                <a:lnTo>
                  <a:pt x="610" y="931"/>
                </a:lnTo>
                <a:lnTo>
                  <a:pt x="606" y="935"/>
                </a:lnTo>
                <a:lnTo>
                  <a:pt x="592" y="942"/>
                </a:lnTo>
                <a:lnTo>
                  <a:pt x="576" y="948"/>
                </a:lnTo>
                <a:lnTo>
                  <a:pt x="569" y="951"/>
                </a:lnTo>
                <a:lnTo>
                  <a:pt x="563" y="955"/>
                </a:lnTo>
                <a:lnTo>
                  <a:pt x="554" y="956"/>
                </a:lnTo>
                <a:lnTo>
                  <a:pt x="545" y="951"/>
                </a:lnTo>
                <a:lnTo>
                  <a:pt x="536" y="939"/>
                </a:lnTo>
                <a:lnTo>
                  <a:pt x="548" y="931"/>
                </a:lnTo>
                <a:lnTo>
                  <a:pt x="573" y="920"/>
                </a:lnTo>
                <a:lnTo>
                  <a:pt x="600" y="910"/>
                </a:lnTo>
                <a:close/>
                <a:moveTo>
                  <a:pt x="614" y="901"/>
                </a:moveTo>
                <a:lnTo>
                  <a:pt x="598" y="906"/>
                </a:lnTo>
                <a:lnTo>
                  <a:pt x="580" y="909"/>
                </a:lnTo>
                <a:lnTo>
                  <a:pt x="599" y="901"/>
                </a:lnTo>
                <a:lnTo>
                  <a:pt x="619" y="896"/>
                </a:lnTo>
                <a:lnTo>
                  <a:pt x="617" y="899"/>
                </a:lnTo>
                <a:lnTo>
                  <a:pt x="614" y="901"/>
                </a:lnTo>
                <a:close/>
                <a:moveTo>
                  <a:pt x="585" y="951"/>
                </a:moveTo>
                <a:lnTo>
                  <a:pt x="601" y="943"/>
                </a:lnTo>
                <a:lnTo>
                  <a:pt x="618" y="937"/>
                </a:lnTo>
                <a:lnTo>
                  <a:pt x="619" y="938"/>
                </a:lnTo>
                <a:lnTo>
                  <a:pt x="619" y="939"/>
                </a:lnTo>
                <a:lnTo>
                  <a:pt x="603" y="945"/>
                </a:lnTo>
                <a:lnTo>
                  <a:pt x="585" y="951"/>
                </a:lnTo>
                <a:close/>
                <a:moveTo>
                  <a:pt x="579" y="950"/>
                </a:moveTo>
                <a:lnTo>
                  <a:pt x="580" y="951"/>
                </a:lnTo>
                <a:lnTo>
                  <a:pt x="582" y="952"/>
                </a:lnTo>
                <a:lnTo>
                  <a:pt x="579" y="952"/>
                </a:lnTo>
                <a:lnTo>
                  <a:pt x="578" y="953"/>
                </a:lnTo>
                <a:lnTo>
                  <a:pt x="578" y="951"/>
                </a:lnTo>
                <a:lnTo>
                  <a:pt x="579" y="950"/>
                </a:lnTo>
                <a:lnTo>
                  <a:pt x="579" y="950"/>
                </a:lnTo>
                <a:close/>
                <a:moveTo>
                  <a:pt x="549" y="969"/>
                </a:moveTo>
                <a:lnTo>
                  <a:pt x="548" y="967"/>
                </a:lnTo>
                <a:lnTo>
                  <a:pt x="548" y="966"/>
                </a:lnTo>
                <a:lnTo>
                  <a:pt x="562" y="958"/>
                </a:lnTo>
                <a:lnTo>
                  <a:pt x="578" y="953"/>
                </a:lnTo>
                <a:lnTo>
                  <a:pt x="563" y="960"/>
                </a:lnTo>
                <a:lnTo>
                  <a:pt x="549" y="969"/>
                </a:lnTo>
                <a:close/>
                <a:moveTo>
                  <a:pt x="641" y="1027"/>
                </a:moveTo>
                <a:lnTo>
                  <a:pt x="640" y="1023"/>
                </a:lnTo>
                <a:lnTo>
                  <a:pt x="640" y="1019"/>
                </a:lnTo>
                <a:lnTo>
                  <a:pt x="638" y="1016"/>
                </a:lnTo>
                <a:lnTo>
                  <a:pt x="640" y="1014"/>
                </a:lnTo>
                <a:lnTo>
                  <a:pt x="647" y="1008"/>
                </a:lnTo>
                <a:lnTo>
                  <a:pt x="653" y="1002"/>
                </a:lnTo>
                <a:lnTo>
                  <a:pt x="651" y="1014"/>
                </a:lnTo>
                <a:lnTo>
                  <a:pt x="640" y="1019"/>
                </a:lnTo>
                <a:lnTo>
                  <a:pt x="640" y="1023"/>
                </a:lnTo>
                <a:lnTo>
                  <a:pt x="641" y="1027"/>
                </a:lnTo>
                <a:close/>
                <a:moveTo>
                  <a:pt x="713" y="941"/>
                </a:moveTo>
                <a:lnTo>
                  <a:pt x="699" y="952"/>
                </a:lnTo>
                <a:lnTo>
                  <a:pt x="686" y="963"/>
                </a:lnTo>
                <a:lnTo>
                  <a:pt x="660" y="983"/>
                </a:lnTo>
                <a:lnTo>
                  <a:pt x="635" y="1002"/>
                </a:lnTo>
                <a:lnTo>
                  <a:pt x="628" y="1006"/>
                </a:lnTo>
                <a:lnTo>
                  <a:pt x="623" y="1011"/>
                </a:lnTo>
                <a:lnTo>
                  <a:pt x="620" y="1013"/>
                </a:lnTo>
                <a:lnTo>
                  <a:pt x="618" y="1013"/>
                </a:lnTo>
                <a:lnTo>
                  <a:pt x="615" y="1011"/>
                </a:lnTo>
                <a:lnTo>
                  <a:pt x="614" y="1007"/>
                </a:lnTo>
                <a:lnTo>
                  <a:pt x="614" y="1004"/>
                </a:lnTo>
                <a:lnTo>
                  <a:pt x="610" y="1005"/>
                </a:lnTo>
                <a:lnTo>
                  <a:pt x="599" y="1002"/>
                </a:lnTo>
                <a:lnTo>
                  <a:pt x="591" y="995"/>
                </a:lnTo>
                <a:lnTo>
                  <a:pt x="591" y="992"/>
                </a:lnTo>
                <a:lnTo>
                  <a:pt x="593" y="991"/>
                </a:lnTo>
                <a:lnTo>
                  <a:pt x="599" y="987"/>
                </a:lnTo>
                <a:lnTo>
                  <a:pt x="598" y="981"/>
                </a:lnTo>
                <a:lnTo>
                  <a:pt x="593" y="977"/>
                </a:lnTo>
                <a:lnTo>
                  <a:pt x="587" y="976"/>
                </a:lnTo>
                <a:lnTo>
                  <a:pt x="577" y="977"/>
                </a:lnTo>
                <a:lnTo>
                  <a:pt x="568" y="976"/>
                </a:lnTo>
                <a:lnTo>
                  <a:pt x="564" y="973"/>
                </a:lnTo>
                <a:lnTo>
                  <a:pt x="563" y="971"/>
                </a:lnTo>
                <a:lnTo>
                  <a:pt x="564" y="969"/>
                </a:lnTo>
                <a:lnTo>
                  <a:pt x="566" y="967"/>
                </a:lnTo>
                <a:lnTo>
                  <a:pt x="587" y="957"/>
                </a:lnTo>
                <a:lnTo>
                  <a:pt x="611" y="949"/>
                </a:lnTo>
                <a:lnTo>
                  <a:pt x="649" y="941"/>
                </a:lnTo>
                <a:lnTo>
                  <a:pt x="690" y="938"/>
                </a:lnTo>
                <a:lnTo>
                  <a:pt x="701" y="939"/>
                </a:lnTo>
                <a:lnTo>
                  <a:pt x="713" y="941"/>
                </a:lnTo>
                <a:close/>
                <a:moveTo>
                  <a:pt x="716" y="931"/>
                </a:moveTo>
                <a:lnTo>
                  <a:pt x="718" y="932"/>
                </a:lnTo>
                <a:lnTo>
                  <a:pt x="722" y="934"/>
                </a:lnTo>
                <a:lnTo>
                  <a:pt x="718" y="936"/>
                </a:lnTo>
                <a:lnTo>
                  <a:pt x="714" y="935"/>
                </a:lnTo>
                <a:lnTo>
                  <a:pt x="710" y="935"/>
                </a:lnTo>
                <a:lnTo>
                  <a:pt x="707" y="932"/>
                </a:lnTo>
                <a:lnTo>
                  <a:pt x="707" y="932"/>
                </a:lnTo>
                <a:lnTo>
                  <a:pt x="708" y="931"/>
                </a:lnTo>
                <a:lnTo>
                  <a:pt x="711" y="930"/>
                </a:lnTo>
                <a:lnTo>
                  <a:pt x="716" y="931"/>
                </a:lnTo>
                <a:close/>
                <a:moveTo>
                  <a:pt x="762" y="900"/>
                </a:moveTo>
                <a:lnTo>
                  <a:pt x="744" y="915"/>
                </a:lnTo>
                <a:lnTo>
                  <a:pt x="727" y="928"/>
                </a:lnTo>
                <a:lnTo>
                  <a:pt x="720" y="929"/>
                </a:lnTo>
                <a:lnTo>
                  <a:pt x="713" y="927"/>
                </a:lnTo>
                <a:lnTo>
                  <a:pt x="724" y="913"/>
                </a:lnTo>
                <a:lnTo>
                  <a:pt x="736" y="899"/>
                </a:lnTo>
                <a:lnTo>
                  <a:pt x="739" y="896"/>
                </a:lnTo>
                <a:lnTo>
                  <a:pt x="744" y="896"/>
                </a:lnTo>
                <a:lnTo>
                  <a:pt x="752" y="897"/>
                </a:lnTo>
                <a:lnTo>
                  <a:pt x="762" y="900"/>
                </a:lnTo>
                <a:close/>
                <a:moveTo>
                  <a:pt x="776" y="883"/>
                </a:moveTo>
                <a:lnTo>
                  <a:pt x="775" y="883"/>
                </a:lnTo>
                <a:lnTo>
                  <a:pt x="772" y="882"/>
                </a:lnTo>
                <a:lnTo>
                  <a:pt x="772" y="880"/>
                </a:lnTo>
                <a:lnTo>
                  <a:pt x="775" y="878"/>
                </a:lnTo>
                <a:lnTo>
                  <a:pt x="784" y="871"/>
                </a:lnTo>
                <a:lnTo>
                  <a:pt x="797" y="873"/>
                </a:lnTo>
                <a:lnTo>
                  <a:pt x="787" y="881"/>
                </a:lnTo>
                <a:lnTo>
                  <a:pt x="776" y="883"/>
                </a:lnTo>
                <a:lnTo>
                  <a:pt x="776" y="883"/>
                </a:lnTo>
                <a:close/>
                <a:moveTo>
                  <a:pt x="793" y="888"/>
                </a:moveTo>
                <a:lnTo>
                  <a:pt x="803" y="878"/>
                </a:lnTo>
                <a:lnTo>
                  <a:pt x="817" y="880"/>
                </a:lnTo>
                <a:lnTo>
                  <a:pt x="804" y="889"/>
                </a:lnTo>
                <a:lnTo>
                  <a:pt x="793" y="888"/>
                </a:lnTo>
                <a:close/>
                <a:moveTo>
                  <a:pt x="777" y="966"/>
                </a:moveTo>
                <a:lnTo>
                  <a:pt x="777" y="969"/>
                </a:lnTo>
                <a:lnTo>
                  <a:pt x="776" y="970"/>
                </a:lnTo>
                <a:lnTo>
                  <a:pt x="772" y="971"/>
                </a:lnTo>
                <a:lnTo>
                  <a:pt x="770" y="969"/>
                </a:lnTo>
                <a:lnTo>
                  <a:pt x="766" y="964"/>
                </a:lnTo>
                <a:lnTo>
                  <a:pt x="763" y="959"/>
                </a:lnTo>
                <a:lnTo>
                  <a:pt x="762" y="957"/>
                </a:lnTo>
                <a:lnTo>
                  <a:pt x="763" y="956"/>
                </a:lnTo>
                <a:lnTo>
                  <a:pt x="764" y="955"/>
                </a:lnTo>
                <a:lnTo>
                  <a:pt x="766" y="955"/>
                </a:lnTo>
                <a:lnTo>
                  <a:pt x="772" y="960"/>
                </a:lnTo>
                <a:lnTo>
                  <a:pt x="777" y="966"/>
                </a:lnTo>
                <a:close/>
                <a:moveTo>
                  <a:pt x="800" y="922"/>
                </a:moveTo>
                <a:lnTo>
                  <a:pt x="783" y="932"/>
                </a:lnTo>
                <a:lnTo>
                  <a:pt x="765" y="944"/>
                </a:lnTo>
                <a:lnTo>
                  <a:pt x="757" y="941"/>
                </a:lnTo>
                <a:lnTo>
                  <a:pt x="749" y="937"/>
                </a:lnTo>
                <a:lnTo>
                  <a:pt x="745" y="934"/>
                </a:lnTo>
                <a:lnTo>
                  <a:pt x="739" y="931"/>
                </a:lnTo>
                <a:lnTo>
                  <a:pt x="753" y="920"/>
                </a:lnTo>
                <a:lnTo>
                  <a:pt x="769" y="908"/>
                </a:lnTo>
                <a:lnTo>
                  <a:pt x="778" y="907"/>
                </a:lnTo>
                <a:lnTo>
                  <a:pt x="787" y="908"/>
                </a:lnTo>
                <a:lnTo>
                  <a:pt x="792" y="913"/>
                </a:lnTo>
                <a:lnTo>
                  <a:pt x="798" y="914"/>
                </a:lnTo>
                <a:lnTo>
                  <a:pt x="804" y="916"/>
                </a:lnTo>
                <a:lnTo>
                  <a:pt x="800" y="922"/>
                </a:lnTo>
                <a:lnTo>
                  <a:pt x="800" y="922"/>
                </a:lnTo>
                <a:close/>
                <a:moveTo>
                  <a:pt x="820" y="899"/>
                </a:moveTo>
                <a:lnTo>
                  <a:pt x="815" y="897"/>
                </a:lnTo>
                <a:lnTo>
                  <a:pt x="812" y="896"/>
                </a:lnTo>
                <a:lnTo>
                  <a:pt x="811" y="897"/>
                </a:lnTo>
                <a:lnTo>
                  <a:pt x="808" y="900"/>
                </a:lnTo>
                <a:lnTo>
                  <a:pt x="813" y="906"/>
                </a:lnTo>
                <a:lnTo>
                  <a:pt x="820" y="907"/>
                </a:lnTo>
                <a:lnTo>
                  <a:pt x="822" y="908"/>
                </a:lnTo>
                <a:lnTo>
                  <a:pt x="821" y="910"/>
                </a:lnTo>
                <a:lnTo>
                  <a:pt x="819" y="914"/>
                </a:lnTo>
                <a:lnTo>
                  <a:pt x="814" y="913"/>
                </a:lnTo>
                <a:lnTo>
                  <a:pt x="808" y="909"/>
                </a:lnTo>
                <a:lnTo>
                  <a:pt x="803" y="906"/>
                </a:lnTo>
                <a:lnTo>
                  <a:pt x="798" y="902"/>
                </a:lnTo>
                <a:lnTo>
                  <a:pt x="793" y="902"/>
                </a:lnTo>
                <a:lnTo>
                  <a:pt x="792" y="904"/>
                </a:lnTo>
                <a:lnTo>
                  <a:pt x="790" y="907"/>
                </a:lnTo>
                <a:lnTo>
                  <a:pt x="792" y="904"/>
                </a:lnTo>
                <a:lnTo>
                  <a:pt x="793" y="902"/>
                </a:lnTo>
                <a:lnTo>
                  <a:pt x="791" y="900"/>
                </a:lnTo>
                <a:lnTo>
                  <a:pt x="787" y="899"/>
                </a:lnTo>
                <a:lnTo>
                  <a:pt x="784" y="897"/>
                </a:lnTo>
                <a:lnTo>
                  <a:pt x="783" y="895"/>
                </a:lnTo>
                <a:lnTo>
                  <a:pt x="785" y="893"/>
                </a:lnTo>
                <a:lnTo>
                  <a:pt x="790" y="893"/>
                </a:lnTo>
                <a:lnTo>
                  <a:pt x="791" y="893"/>
                </a:lnTo>
                <a:lnTo>
                  <a:pt x="792" y="894"/>
                </a:lnTo>
                <a:lnTo>
                  <a:pt x="800" y="899"/>
                </a:lnTo>
                <a:lnTo>
                  <a:pt x="808" y="900"/>
                </a:lnTo>
                <a:lnTo>
                  <a:pt x="811" y="897"/>
                </a:lnTo>
                <a:lnTo>
                  <a:pt x="812" y="896"/>
                </a:lnTo>
                <a:lnTo>
                  <a:pt x="810" y="894"/>
                </a:lnTo>
                <a:lnTo>
                  <a:pt x="810" y="893"/>
                </a:lnTo>
                <a:lnTo>
                  <a:pt x="818" y="886"/>
                </a:lnTo>
                <a:lnTo>
                  <a:pt x="828" y="883"/>
                </a:lnTo>
                <a:lnTo>
                  <a:pt x="832" y="885"/>
                </a:lnTo>
                <a:lnTo>
                  <a:pt x="835" y="888"/>
                </a:lnTo>
                <a:lnTo>
                  <a:pt x="827" y="894"/>
                </a:lnTo>
                <a:lnTo>
                  <a:pt x="820" y="899"/>
                </a:lnTo>
                <a:close/>
                <a:moveTo>
                  <a:pt x="833" y="907"/>
                </a:moveTo>
                <a:lnTo>
                  <a:pt x="833" y="907"/>
                </a:lnTo>
                <a:lnTo>
                  <a:pt x="828" y="906"/>
                </a:lnTo>
                <a:lnTo>
                  <a:pt x="824" y="902"/>
                </a:lnTo>
                <a:lnTo>
                  <a:pt x="827" y="899"/>
                </a:lnTo>
                <a:lnTo>
                  <a:pt x="832" y="897"/>
                </a:lnTo>
                <a:lnTo>
                  <a:pt x="834" y="902"/>
                </a:lnTo>
                <a:lnTo>
                  <a:pt x="833" y="907"/>
                </a:lnTo>
                <a:lnTo>
                  <a:pt x="833" y="907"/>
                </a:lnTo>
                <a:close/>
                <a:moveTo>
                  <a:pt x="849" y="916"/>
                </a:moveTo>
                <a:lnTo>
                  <a:pt x="844" y="917"/>
                </a:lnTo>
                <a:lnTo>
                  <a:pt x="839" y="913"/>
                </a:lnTo>
                <a:lnTo>
                  <a:pt x="842" y="909"/>
                </a:lnTo>
                <a:lnTo>
                  <a:pt x="847" y="909"/>
                </a:lnTo>
                <a:lnTo>
                  <a:pt x="849" y="913"/>
                </a:lnTo>
                <a:lnTo>
                  <a:pt x="849" y="916"/>
                </a:lnTo>
                <a:lnTo>
                  <a:pt x="849" y="916"/>
                </a:lnTo>
                <a:close/>
                <a:moveTo>
                  <a:pt x="877" y="937"/>
                </a:moveTo>
                <a:lnTo>
                  <a:pt x="872" y="939"/>
                </a:lnTo>
                <a:lnTo>
                  <a:pt x="866" y="942"/>
                </a:lnTo>
                <a:lnTo>
                  <a:pt x="862" y="943"/>
                </a:lnTo>
                <a:lnTo>
                  <a:pt x="859" y="939"/>
                </a:lnTo>
                <a:lnTo>
                  <a:pt x="859" y="935"/>
                </a:lnTo>
                <a:lnTo>
                  <a:pt x="862" y="932"/>
                </a:lnTo>
                <a:lnTo>
                  <a:pt x="869" y="930"/>
                </a:lnTo>
                <a:lnTo>
                  <a:pt x="876" y="928"/>
                </a:lnTo>
                <a:lnTo>
                  <a:pt x="880" y="929"/>
                </a:lnTo>
                <a:lnTo>
                  <a:pt x="882" y="932"/>
                </a:lnTo>
                <a:lnTo>
                  <a:pt x="881" y="936"/>
                </a:lnTo>
                <a:lnTo>
                  <a:pt x="877" y="937"/>
                </a:lnTo>
                <a:lnTo>
                  <a:pt x="877" y="937"/>
                </a:lnTo>
                <a:close/>
                <a:moveTo>
                  <a:pt x="874" y="979"/>
                </a:moveTo>
                <a:lnTo>
                  <a:pt x="874" y="984"/>
                </a:lnTo>
                <a:lnTo>
                  <a:pt x="875" y="988"/>
                </a:lnTo>
                <a:lnTo>
                  <a:pt x="873" y="988"/>
                </a:lnTo>
                <a:lnTo>
                  <a:pt x="870" y="988"/>
                </a:lnTo>
                <a:lnTo>
                  <a:pt x="867" y="986"/>
                </a:lnTo>
                <a:lnTo>
                  <a:pt x="866" y="981"/>
                </a:lnTo>
                <a:lnTo>
                  <a:pt x="865" y="979"/>
                </a:lnTo>
                <a:lnTo>
                  <a:pt x="865" y="977"/>
                </a:lnTo>
                <a:lnTo>
                  <a:pt x="865" y="979"/>
                </a:lnTo>
                <a:lnTo>
                  <a:pt x="866" y="981"/>
                </a:lnTo>
                <a:lnTo>
                  <a:pt x="870" y="979"/>
                </a:lnTo>
                <a:lnTo>
                  <a:pt x="874" y="979"/>
                </a:lnTo>
                <a:close/>
                <a:moveTo>
                  <a:pt x="874" y="963"/>
                </a:moveTo>
                <a:lnTo>
                  <a:pt x="874" y="967"/>
                </a:lnTo>
                <a:lnTo>
                  <a:pt x="870" y="970"/>
                </a:lnTo>
                <a:lnTo>
                  <a:pt x="867" y="967"/>
                </a:lnTo>
                <a:lnTo>
                  <a:pt x="867" y="964"/>
                </a:lnTo>
                <a:lnTo>
                  <a:pt x="869" y="960"/>
                </a:lnTo>
                <a:lnTo>
                  <a:pt x="874" y="960"/>
                </a:lnTo>
                <a:lnTo>
                  <a:pt x="874" y="962"/>
                </a:lnTo>
                <a:lnTo>
                  <a:pt x="874" y="963"/>
                </a:lnTo>
                <a:close/>
                <a:moveTo>
                  <a:pt x="888" y="952"/>
                </a:moveTo>
                <a:lnTo>
                  <a:pt x="888" y="952"/>
                </a:lnTo>
                <a:lnTo>
                  <a:pt x="888" y="952"/>
                </a:lnTo>
                <a:lnTo>
                  <a:pt x="876" y="955"/>
                </a:lnTo>
                <a:lnTo>
                  <a:pt x="865" y="957"/>
                </a:lnTo>
                <a:lnTo>
                  <a:pt x="865" y="952"/>
                </a:lnTo>
                <a:lnTo>
                  <a:pt x="866" y="948"/>
                </a:lnTo>
                <a:lnTo>
                  <a:pt x="875" y="943"/>
                </a:lnTo>
                <a:lnTo>
                  <a:pt x="884" y="942"/>
                </a:lnTo>
                <a:lnTo>
                  <a:pt x="888" y="945"/>
                </a:lnTo>
                <a:lnTo>
                  <a:pt x="888" y="952"/>
                </a:lnTo>
                <a:lnTo>
                  <a:pt x="888" y="952"/>
                </a:lnTo>
                <a:lnTo>
                  <a:pt x="888" y="952"/>
                </a:lnTo>
                <a:close/>
                <a:moveTo>
                  <a:pt x="852" y="903"/>
                </a:moveTo>
                <a:lnTo>
                  <a:pt x="854" y="902"/>
                </a:lnTo>
                <a:lnTo>
                  <a:pt x="858" y="902"/>
                </a:lnTo>
                <a:lnTo>
                  <a:pt x="861" y="904"/>
                </a:lnTo>
                <a:lnTo>
                  <a:pt x="863" y="908"/>
                </a:lnTo>
                <a:lnTo>
                  <a:pt x="861" y="910"/>
                </a:lnTo>
                <a:lnTo>
                  <a:pt x="858" y="911"/>
                </a:lnTo>
                <a:lnTo>
                  <a:pt x="853" y="909"/>
                </a:lnTo>
                <a:lnTo>
                  <a:pt x="852" y="903"/>
                </a:lnTo>
                <a:close/>
                <a:moveTo>
                  <a:pt x="854" y="920"/>
                </a:moveTo>
                <a:lnTo>
                  <a:pt x="859" y="917"/>
                </a:lnTo>
                <a:lnTo>
                  <a:pt x="865" y="914"/>
                </a:lnTo>
                <a:lnTo>
                  <a:pt x="870" y="914"/>
                </a:lnTo>
                <a:lnTo>
                  <a:pt x="874" y="918"/>
                </a:lnTo>
                <a:lnTo>
                  <a:pt x="873" y="922"/>
                </a:lnTo>
                <a:lnTo>
                  <a:pt x="869" y="923"/>
                </a:lnTo>
                <a:lnTo>
                  <a:pt x="863" y="927"/>
                </a:lnTo>
                <a:lnTo>
                  <a:pt x="856" y="929"/>
                </a:lnTo>
                <a:lnTo>
                  <a:pt x="852" y="928"/>
                </a:lnTo>
                <a:lnTo>
                  <a:pt x="849" y="924"/>
                </a:lnTo>
                <a:lnTo>
                  <a:pt x="851" y="921"/>
                </a:lnTo>
                <a:lnTo>
                  <a:pt x="854" y="920"/>
                </a:lnTo>
                <a:close/>
                <a:moveTo>
                  <a:pt x="835" y="907"/>
                </a:moveTo>
                <a:lnTo>
                  <a:pt x="837" y="907"/>
                </a:lnTo>
                <a:lnTo>
                  <a:pt x="838" y="906"/>
                </a:lnTo>
                <a:lnTo>
                  <a:pt x="837" y="907"/>
                </a:lnTo>
                <a:lnTo>
                  <a:pt x="835" y="907"/>
                </a:lnTo>
                <a:close/>
                <a:moveTo>
                  <a:pt x="838" y="921"/>
                </a:moveTo>
                <a:lnTo>
                  <a:pt x="845" y="930"/>
                </a:lnTo>
                <a:lnTo>
                  <a:pt x="852" y="938"/>
                </a:lnTo>
                <a:lnTo>
                  <a:pt x="854" y="942"/>
                </a:lnTo>
                <a:lnTo>
                  <a:pt x="854" y="945"/>
                </a:lnTo>
                <a:lnTo>
                  <a:pt x="853" y="950"/>
                </a:lnTo>
                <a:lnTo>
                  <a:pt x="856" y="952"/>
                </a:lnTo>
                <a:lnTo>
                  <a:pt x="859" y="956"/>
                </a:lnTo>
                <a:lnTo>
                  <a:pt x="859" y="959"/>
                </a:lnTo>
                <a:lnTo>
                  <a:pt x="856" y="963"/>
                </a:lnTo>
                <a:lnTo>
                  <a:pt x="860" y="965"/>
                </a:lnTo>
                <a:lnTo>
                  <a:pt x="861" y="967"/>
                </a:lnTo>
                <a:lnTo>
                  <a:pt x="861" y="971"/>
                </a:lnTo>
                <a:lnTo>
                  <a:pt x="859" y="973"/>
                </a:lnTo>
                <a:lnTo>
                  <a:pt x="856" y="973"/>
                </a:lnTo>
                <a:lnTo>
                  <a:pt x="853" y="973"/>
                </a:lnTo>
                <a:lnTo>
                  <a:pt x="851" y="971"/>
                </a:lnTo>
                <a:lnTo>
                  <a:pt x="851" y="970"/>
                </a:lnTo>
                <a:lnTo>
                  <a:pt x="851" y="969"/>
                </a:lnTo>
                <a:lnTo>
                  <a:pt x="846" y="952"/>
                </a:lnTo>
                <a:lnTo>
                  <a:pt x="839" y="938"/>
                </a:lnTo>
                <a:lnTo>
                  <a:pt x="834" y="931"/>
                </a:lnTo>
                <a:lnTo>
                  <a:pt x="829" y="925"/>
                </a:lnTo>
                <a:lnTo>
                  <a:pt x="827" y="923"/>
                </a:lnTo>
                <a:lnTo>
                  <a:pt x="826" y="921"/>
                </a:lnTo>
                <a:lnTo>
                  <a:pt x="829" y="918"/>
                </a:lnTo>
                <a:lnTo>
                  <a:pt x="832" y="917"/>
                </a:lnTo>
                <a:lnTo>
                  <a:pt x="835" y="918"/>
                </a:lnTo>
                <a:lnTo>
                  <a:pt x="838" y="921"/>
                </a:lnTo>
                <a:close/>
                <a:moveTo>
                  <a:pt x="751" y="879"/>
                </a:moveTo>
                <a:lnTo>
                  <a:pt x="760" y="876"/>
                </a:lnTo>
                <a:lnTo>
                  <a:pt x="769" y="876"/>
                </a:lnTo>
                <a:lnTo>
                  <a:pt x="760" y="882"/>
                </a:lnTo>
                <a:lnTo>
                  <a:pt x="751" y="879"/>
                </a:lnTo>
                <a:close/>
                <a:moveTo>
                  <a:pt x="756" y="885"/>
                </a:moveTo>
                <a:lnTo>
                  <a:pt x="763" y="887"/>
                </a:lnTo>
                <a:lnTo>
                  <a:pt x="769" y="887"/>
                </a:lnTo>
                <a:lnTo>
                  <a:pt x="772" y="887"/>
                </a:lnTo>
                <a:lnTo>
                  <a:pt x="775" y="890"/>
                </a:lnTo>
                <a:lnTo>
                  <a:pt x="772" y="893"/>
                </a:lnTo>
                <a:lnTo>
                  <a:pt x="769" y="894"/>
                </a:lnTo>
                <a:lnTo>
                  <a:pt x="759" y="893"/>
                </a:lnTo>
                <a:lnTo>
                  <a:pt x="750" y="890"/>
                </a:lnTo>
                <a:lnTo>
                  <a:pt x="748" y="888"/>
                </a:lnTo>
                <a:lnTo>
                  <a:pt x="748" y="885"/>
                </a:lnTo>
                <a:lnTo>
                  <a:pt x="746" y="883"/>
                </a:lnTo>
                <a:lnTo>
                  <a:pt x="746" y="882"/>
                </a:lnTo>
                <a:lnTo>
                  <a:pt x="746" y="883"/>
                </a:lnTo>
                <a:lnTo>
                  <a:pt x="748" y="885"/>
                </a:lnTo>
                <a:lnTo>
                  <a:pt x="751" y="883"/>
                </a:lnTo>
                <a:lnTo>
                  <a:pt x="756" y="885"/>
                </a:lnTo>
                <a:close/>
                <a:moveTo>
                  <a:pt x="594" y="897"/>
                </a:moveTo>
                <a:lnTo>
                  <a:pt x="590" y="899"/>
                </a:lnTo>
                <a:lnTo>
                  <a:pt x="585" y="901"/>
                </a:lnTo>
                <a:lnTo>
                  <a:pt x="582" y="902"/>
                </a:lnTo>
                <a:lnTo>
                  <a:pt x="579" y="900"/>
                </a:lnTo>
                <a:lnTo>
                  <a:pt x="578" y="895"/>
                </a:lnTo>
                <a:lnTo>
                  <a:pt x="580" y="892"/>
                </a:lnTo>
                <a:lnTo>
                  <a:pt x="587" y="888"/>
                </a:lnTo>
                <a:lnTo>
                  <a:pt x="594" y="887"/>
                </a:lnTo>
                <a:lnTo>
                  <a:pt x="598" y="887"/>
                </a:lnTo>
                <a:lnTo>
                  <a:pt x="599" y="892"/>
                </a:lnTo>
                <a:lnTo>
                  <a:pt x="598" y="896"/>
                </a:lnTo>
                <a:lnTo>
                  <a:pt x="594" y="897"/>
                </a:lnTo>
                <a:lnTo>
                  <a:pt x="594" y="897"/>
                </a:lnTo>
                <a:close/>
                <a:moveTo>
                  <a:pt x="554" y="902"/>
                </a:moveTo>
                <a:lnTo>
                  <a:pt x="562" y="897"/>
                </a:lnTo>
                <a:lnTo>
                  <a:pt x="570" y="896"/>
                </a:lnTo>
                <a:lnTo>
                  <a:pt x="573" y="897"/>
                </a:lnTo>
                <a:lnTo>
                  <a:pt x="573" y="902"/>
                </a:lnTo>
                <a:lnTo>
                  <a:pt x="572" y="904"/>
                </a:lnTo>
                <a:lnTo>
                  <a:pt x="569" y="907"/>
                </a:lnTo>
                <a:lnTo>
                  <a:pt x="564" y="909"/>
                </a:lnTo>
                <a:lnTo>
                  <a:pt x="559" y="911"/>
                </a:lnTo>
                <a:lnTo>
                  <a:pt x="556" y="911"/>
                </a:lnTo>
                <a:lnTo>
                  <a:pt x="554" y="909"/>
                </a:lnTo>
                <a:lnTo>
                  <a:pt x="552" y="906"/>
                </a:lnTo>
                <a:lnTo>
                  <a:pt x="554" y="902"/>
                </a:lnTo>
                <a:close/>
                <a:moveTo>
                  <a:pt x="572" y="909"/>
                </a:moveTo>
                <a:lnTo>
                  <a:pt x="575" y="909"/>
                </a:lnTo>
                <a:lnTo>
                  <a:pt x="578" y="909"/>
                </a:lnTo>
                <a:lnTo>
                  <a:pt x="576" y="913"/>
                </a:lnTo>
                <a:lnTo>
                  <a:pt x="573" y="914"/>
                </a:lnTo>
                <a:lnTo>
                  <a:pt x="556" y="922"/>
                </a:lnTo>
                <a:lnTo>
                  <a:pt x="538" y="929"/>
                </a:lnTo>
                <a:lnTo>
                  <a:pt x="536" y="930"/>
                </a:lnTo>
                <a:lnTo>
                  <a:pt x="534" y="929"/>
                </a:lnTo>
                <a:lnTo>
                  <a:pt x="538" y="924"/>
                </a:lnTo>
                <a:lnTo>
                  <a:pt x="544" y="922"/>
                </a:lnTo>
                <a:lnTo>
                  <a:pt x="558" y="916"/>
                </a:lnTo>
                <a:lnTo>
                  <a:pt x="572" y="909"/>
                </a:lnTo>
                <a:close/>
                <a:moveTo>
                  <a:pt x="462" y="951"/>
                </a:moveTo>
                <a:lnTo>
                  <a:pt x="469" y="946"/>
                </a:lnTo>
                <a:lnTo>
                  <a:pt x="479" y="949"/>
                </a:lnTo>
                <a:lnTo>
                  <a:pt x="480" y="950"/>
                </a:lnTo>
                <a:lnTo>
                  <a:pt x="481" y="950"/>
                </a:lnTo>
                <a:lnTo>
                  <a:pt x="474" y="957"/>
                </a:lnTo>
                <a:lnTo>
                  <a:pt x="465" y="960"/>
                </a:lnTo>
                <a:lnTo>
                  <a:pt x="460" y="959"/>
                </a:lnTo>
                <a:lnTo>
                  <a:pt x="456" y="957"/>
                </a:lnTo>
                <a:lnTo>
                  <a:pt x="458" y="953"/>
                </a:lnTo>
                <a:lnTo>
                  <a:pt x="462" y="951"/>
                </a:lnTo>
                <a:close/>
                <a:moveTo>
                  <a:pt x="459" y="964"/>
                </a:moveTo>
                <a:lnTo>
                  <a:pt x="460" y="965"/>
                </a:lnTo>
                <a:lnTo>
                  <a:pt x="461" y="966"/>
                </a:lnTo>
                <a:lnTo>
                  <a:pt x="454" y="972"/>
                </a:lnTo>
                <a:lnTo>
                  <a:pt x="447" y="976"/>
                </a:lnTo>
                <a:lnTo>
                  <a:pt x="446" y="976"/>
                </a:lnTo>
                <a:lnTo>
                  <a:pt x="445" y="976"/>
                </a:lnTo>
                <a:lnTo>
                  <a:pt x="440" y="974"/>
                </a:lnTo>
                <a:lnTo>
                  <a:pt x="437" y="972"/>
                </a:lnTo>
                <a:lnTo>
                  <a:pt x="438" y="969"/>
                </a:lnTo>
                <a:lnTo>
                  <a:pt x="442" y="965"/>
                </a:lnTo>
                <a:lnTo>
                  <a:pt x="449" y="960"/>
                </a:lnTo>
                <a:lnTo>
                  <a:pt x="459" y="964"/>
                </a:lnTo>
                <a:close/>
                <a:moveTo>
                  <a:pt x="414" y="1016"/>
                </a:moveTo>
                <a:lnTo>
                  <a:pt x="417" y="1015"/>
                </a:lnTo>
                <a:lnTo>
                  <a:pt x="419" y="1016"/>
                </a:lnTo>
                <a:lnTo>
                  <a:pt x="420" y="1019"/>
                </a:lnTo>
                <a:lnTo>
                  <a:pt x="419" y="1020"/>
                </a:lnTo>
                <a:lnTo>
                  <a:pt x="416" y="1026"/>
                </a:lnTo>
                <a:lnTo>
                  <a:pt x="411" y="1030"/>
                </a:lnTo>
                <a:lnTo>
                  <a:pt x="405" y="1043"/>
                </a:lnTo>
                <a:lnTo>
                  <a:pt x="398" y="1055"/>
                </a:lnTo>
                <a:lnTo>
                  <a:pt x="393" y="1068"/>
                </a:lnTo>
                <a:lnTo>
                  <a:pt x="390" y="1081"/>
                </a:lnTo>
                <a:lnTo>
                  <a:pt x="389" y="1083"/>
                </a:lnTo>
                <a:lnTo>
                  <a:pt x="386" y="1085"/>
                </a:lnTo>
                <a:lnTo>
                  <a:pt x="383" y="1085"/>
                </a:lnTo>
                <a:lnTo>
                  <a:pt x="380" y="1084"/>
                </a:lnTo>
                <a:lnTo>
                  <a:pt x="382" y="1081"/>
                </a:lnTo>
                <a:lnTo>
                  <a:pt x="383" y="1078"/>
                </a:lnTo>
                <a:lnTo>
                  <a:pt x="385" y="1067"/>
                </a:lnTo>
                <a:lnTo>
                  <a:pt x="391" y="1056"/>
                </a:lnTo>
                <a:lnTo>
                  <a:pt x="397" y="1042"/>
                </a:lnTo>
                <a:lnTo>
                  <a:pt x="407" y="1029"/>
                </a:lnTo>
                <a:lnTo>
                  <a:pt x="409" y="1029"/>
                </a:lnTo>
                <a:lnTo>
                  <a:pt x="410" y="1029"/>
                </a:lnTo>
                <a:lnTo>
                  <a:pt x="411" y="1022"/>
                </a:lnTo>
                <a:lnTo>
                  <a:pt x="414" y="1016"/>
                </a:lnTo>
                <a:close/>
                <a:moveTo>
                  <a:pt x="359" y="1154"/>
                </a:moveTo>
                <a:lnTo>
                  <a:pt x="359" y="1149"/>
                </a:lnTo>
                <a:lnTo>
                  <a:pt x="363" y="1147"/>
                </a:lnTo>
                <a:lnTo>
                  <a:pt x="369" y="1145"/>
                </a:lnTo>
                <a:lnTo>
                  <a:pt x="376" y="1142"/>
                </a:lnTo>
                <a:lnTo>
                  <a:pt x="380" y="1142"/>
                </a:lnTo>
                <a:lnTo>
                  <a:pt x="384" y="1148"/>
                </a:lnTo>
                <a:lnTo>
                  <a:pt x="383" y="1149"/>
                </a:lnTo>
                <a:lnTo>
                  <a:pt x="380" y="1151"/>
                </a:lnTo>
                <a:lnTo>
                  <a:pt x="373" y="1154"/>
                </a:lnTo>
                <a:lnTo>
                  <a:pt x="368" y="1158"/>
                </a:lnTo>
                <a:lnTo>
                  <a:pt x="363" y="1158"/>
                </a:lnTo>
                <a:lnTo>
                  <a:pt x="359" y="1154"/>
                </a:lnTo>
                <a:close/>
                <a:moveTo>
                  <a:pt x="297" y="1170"/>
                </a:moveTo>
                <a:lnTo>
                  <a:pt x="299" y="1166"/>
                </a:lnTo>
                <a:lnTo>
                  <a:pt x="301" y="1162"/>
                </a:lnTo>
                <a:lnTo>
                  <a:pt x="302" y="1163"/>
                </a:lnTo>
                <a:lnTo>
                  <a:pt x="303" y="1165"/>
                </a:lnTo>
                <a:lnTo>
                  <a:pt x="328" y="1197"/>
                </a:lnTo>
                <a:lnTo>
                  <a:pt x="362" y="1220"/>
                </a:lnTo>
                <a:lnTo>
                  <a:pt x="397" y="1232"/>
                </a:lnTo>
                <a:lnTo>
                  <a:pt x="433" y="1241"/>
                </a:lnTo>
                <a:lnTo>
                  <a:pt x="472" y="1242"/>
                </a:lnTo>
                <a:lnTo>
                  <a:pt x="510" y="1234"/>
                </a:lnTo>
                <a:lnTo>
                  <a:pt x="476" y="1232"/>
                </a:lnTo>
                <a:lnTo>
                  <a:pt x="444" y="1231"/>
                </a:lnTo>
                <a:lnTo>
                  <a:pt x="401" y="1223"/>
                </a:lnTo>
                <a:lnTo>
                  <a:pt x="362" y="1208"/>
                </a:lnTo>
                <a:lnTo>
                  <a:pt x="321" y="1177"/>
                </a:lnTo>
                <a:lnTo>
                  <a:pt x="296" y="1132"/>
                </a:lnTo>
                <a:lnTo>
                  <a:pt x="295" y="1137"/>
                </a:lnTo>
                <a:lnTo>
                  <a:pt x="295" y="1140"/>
                </a:lnTo>
                <a:lnTo>
                  <a:pt x="290" y="1169"/>
                </a:lnTo>
                <a:lnTo>
                  <a:pt x="286" y="1200"/>
                </a:lnTo>
                <a:lnTo>
                  <a:pt x="279" y="1242"/>
                </a:lnTo>
                <a:lnTo>
                  <a:pt x="273" y="1283"/>
                </a:lnTo>
                <a:lnTo>
                  <a:pt x="272" y="1286"/>
                </a:lnTo>
                <a:lnTo>
                  <a:pt x="273" y="1288"/>
                </a:lnTo>
                <a:lnTo>
                  <a:pt x="276" y="1288"/>
                </a:lnTo>
                <a:lnTo>
                  <a:pt x="279" y="1287"/>
                </a:lnTo>
                <a:lnTo>
                  <a:pt x="281" y="1285"/>
                </a:lnTo>
                <a:lnTo>
                  <a:pt x="282" y="1280"/>
                </a:lnTo>
                <a:lnTo>
                  <a:pt x="286" y="1258"/>
                </a:lnTo>
                <a:lnTo>
                  <a:pt x="288" y="1236"/>
                </a:lnTo>
                <a:lnTo>
                  <a:pt x="294" y="1203"/>
                </a:lnTo>
                <a:lnTo>
                  <a:pt x="297" y="1170"/>
                </a:lnTo>
                <a:close/>
                <a:moveTo>
                  <a:pt x="873" y="1097"/>
                </a:moveTo>
                <a:lnTo>
                  <a:pt x="867" y="1097"/>
                </a:lnTo>
                <a:lnTo>
                  <a:pt x="861" y="1097"/>
                </a:lnTo>
                <a:lnTo>
                  <a:pt x="867" y="1097"/>
                </a:lnTo>
                <a:lnTo>
                  <a:pt x="873" y="1097"/>
                </a:lnTo>
                <a:close/>
                <a:moveTo>
                  <a:pt x="874" y="1109"/>
                </a:moveTo>
                <a:lnTo>
                  <a:pt x="874" y="1110"/>
                </a:lnTo>
                <a:lnTo>
                  <a:pt x="874" y="1111"/>
                </a:lnTo>
                <a:lnTo>
                  <a:pt x="869" y="1114"/>
                </a:lnTo>
                <a:lnTo>
                  <a:pt x="872" y="1120"/>
                </a:lnTo>
                <a:lnTo>
                  <a:pt x="876" y="1121"/>
                </a:lnTo>
                <a:lnTo>
                  <a:pt x="881" y="1119"/>
                </a:lnTo>
                <a:lnTo>
                  <a:pt x="884" y="1118"/>
                </a:lnTo>
                <a:lnTo>
                  <a:pt x="889" y="1118"/>
                </a:lnTo>
                <a:lnTo>
                  <a:pt x="890" y="1118"/>
                </a:lnTo>
                <a:lnTo>
                  <a:pt x="890" y="1119"/>
                </a:lnTo>
                <a:lnTo>
                  <a:pt x="889" y="1126"/>
                </a:lnTo>
                <a:lnTo>
                  <a:pt x="884" y="1131"/>
                </a:lnTo>
                <a:lnTo>
                  <a:pt x="887" y="1131"/>
                </a:lnTo>
                <a:lnTo>
                  <a:pt x="889" y="1131"/>
                </a:lnTo>
                <a:lnTo>
                  <a:pt x="887" y="1131"/>
                </a:lnTo>
                <a:lnTo>
                  <a:pt x="884" y="1131"/>
                </a:lnTo>
                <a:lnTo>
                  <a:pt x="879" y="1131"/>
                </a:lnTo>
                <a:lnTo>
                  <a:pt x="874" y="1128"/>
                </a:lnTo>
                <a:lnTo>
                  <a:pt x="873" y="1128"/>
                </a:lnTo>
                <a:lnTo>
                  <a:pt x="872" y="1130"/>
                </a:lnTo>
                <a:lnTo>
                  <a:pt x="866" y="1134"/>
                </a:lnTo>
                <a:lnTo>
                  <a:pt x="858" y="1137"/>
                </a:lnTo>
                <a:lnTo>
                  <a:pt x="858" y="1137"/>
                </a:lnTo>
                <a:lnTo>
                  <a:pt x="856" y="1137"/>
                </a:lnTo>
                <a:lnTo>
                  <a:pt x="858" y="1137"/>
                </a:lnTo>
                <a:lnTo>
                  <a:pt x="858" y="1137"/>
                </a:lnTo>
                <a:lnTo>
                  <a:pt x="855" y="1137"/>
                </a:lnTo>
                <a:lnTo>
                  <a:pt x="854" y="1137"/>
                </a:lnTo>
                <a:lnTo>
                  <a:pt x="854" y="1137"/>
                </a:lnTo>
                <a:lnTo>
                  <a:pt x="854" y="1131"/>
                </a:lnTo>
                <a:lnTo>
                  <a:pt x="854" y="1125"/>
                </a:lnTo>
                <a:lnTo>
                  <a:pt x="854" y="1124"/>
                </a:lnTo>
                <a:lnTo>
                  <a:pt x="855" y="1123"/>
                </a:lnTo>
                <a:lnTo>
                  <a:pt x="860" y="1123"/>
                </a:lnTo>
                <a:lnTo>
                  <a:pt x="861" y="1118"/>
                </a:lnTo>
                <a:lnTo>
                  <a:pt x="859" y="1116"/>
                </a:lnTo>
                <a:lnTo>
                  <a:pt x="854" y="1116"/>
                </a:lnTo>
                <a:lnTo>
                  <a:pt x="854" y="1113"/>
                </a:lnTo>
                <a:lnTo>
                  <a:pt x="855" y="1112"/>
                </a:lnTo>
                <a:lnTo>
                  <a:pt x="861" y="1112"/>
                </a:lnTo>
                <a:lnTo>
                  <a:pt x="866" y="1107"/>
                </a:lnTo>
                <a:lnTo>
                  <a:pt x="866" y="1109"/>
                </a:lnTo>
                <a:lnTo>
                  <a:pt x="867" y="1110"/>
                </a:lnTo>
                <a:lnTo>
                  <a:pt x="868" y="1111"/>
                </a:lnTo>
                <a:lnTo>
                  <a:pt x="869" y="1110"/>
                </a:lnTo>
                <a:lnTo>
                  <a:pt x="872" y="1109"/>
                </a:lnTo>
                <a:lnTo>
                  <a:pt x="874" y="1109"/>
                </a:lnTo>
                <a:close/>
                <a:moveTo>
                  <a:pt x="883" y="1109"/>
                </a:moveTo>
                <a:lnTo>
                  <a:pt x="884" y="1107"/>
                </a:lnTo>
                <a:lnTo>
                  <a:pt x="884" y="1106"/>
                </a:lnTo>
                <a:lnTo>
                  <a:pt x="889" y="1110"/>
                </a:lnTo>
                <a:lnTo>
                  <a:pt x="891" y="1116"/>
                </a:lnTo>
                <a:lnTo>
                  <a:pt x="890" y="1116"/>
                </a:lnTo>
                <a:lnTo>
                  <a:pt x="889" y="1116"/>
                </a:lnTo>
                <a:lnTo>
                  <a:pt x="883" y="1116"/>
                </a:lnTo>
                <a:lnTo>
                  <a:pt x="876" y="1116"/>
                </a:lnTo>
                <a:lnTo>
                  <a:pt x="880" y="1112"/>
                </a:lnTo>
                <a:lnTo>
                  <a:pt x="883" y="1109"/>
                </a:lnTo>
                <a:close/>
                <a:moveTo>
                  <a:pt x="798" y="1163"/>
                </a:moveTo>
                <a:lnTo>
                  <a:pt x="797" y="1162"/>
                </a:lnTo>
                <a:lnTo>
                  <a:pt x="796" y="1162"/>
                </a:lnTo>
                <a:lnTo>
                  <a:pt x="797" y="1162"/>
                </a:lnTo>
                <a:lnTo>
                  <a:pt x="798" y="1163"/>
                </a:lnTo>
                <a:lnTo>
                  <a:pt x="798" y="1163"/>
                </a:lnTo>
                <a:close/>
                <a:moveTo>
                  <a:pt x="847" y="1093"/>
                </a:moveTo>
                <a:lnTo>
                  <a:pt x="772" y="1148"/>
                </a:lnTo>
                <a:lnTo>
                  <a:pt x="690" y="1189"/>
                </a:lnTo>
                <a:lnTo>
                  <a:pt x="682" y="1193"/>
                </a:lnTo>
                <a:lnTo>
                  <a:pt x="674" y="1197"/>
                </a:lnTo>
                <a:lnTo>
                  <a:pt x="683" y="1196"/>
                </a:lnTo>
                <a:lnTo>
                  <a:pt x="693" y="1193"/>
                </a:lnTo>
                <a:lnTo>
                  <a:pt x="713" y="1189"/>
                </a:lnTo>
                <a:lnTo>
                  <a:pt x="731" y="1182"/>
                </a:lnTo>
                <a:lnTo>
                  <a:pt x="742" y="1182"/>
                </a:lnTo>
                <a:lnTo>
                  <a:pt x="752" y="1180"/>
                </a:lnTo>
                <a:lnTo>
                  <a:pt x="765" y="1176"/>
                </a:lnTo>
                <a:lnTo>
                  <a:pt x="777" y="1174"/>
                </a:lnTo>
                <a:lnTo>
                  <a:pt x="785" y="1173"/>
                </a:lnTo>
                <a:lnTo>
                  <a:pt x="793" y="1170"/>
                </a:lnTo>
                <a:lnTo>
                  <a:pt x="804" y="1168"/>
                </a:lnTo>
                <a:lnTo>
                  <a:pt x="813" y="1163"/>
                </a:lnTo>
                <a:lnTo>
                  <a:pt x="820" y="1163"/>
                </a:lnTo>
                <a:lnTo>
                  <a:pt x="824" y="1158"/>
                </a:lnTo>
                <a:lnTo>
                  <a:pt x="825" y="1158"/>
                </a:lnTo>
                <a:lnTo>
                  <a:pt x="825" y="1156"/>
                </a:lnTo>
                <a:lnTo>
                  <a:pt x="827" y="1155"/>
                </a:lnTo>
                <a:lnTo>
                  <a:pt x="827" y="1154"/>
                </a:lnTo>
                <a:lnTo>
                  <a:pt x="827" y="1145"/>
                </a:lnTo>
                <a:lnTo>
                  <a:pt x="820" y="1141"/>
                </a:lnTo>
                <a:lnTo>
                  <a:pt x="806" y="1142"/>
                </a:lnTo>
                <a:lnTo>
                  <a:pt x="794" y="1148"/>
                </a:lnTo>
                <a:lnTo>
                  <a:pt x="793" y="1148"/>
                </a:lnTo>
                <a:lnTo>
                  <a:pt x="793" y="1147"/>
                </a:lnTo>
                <a:lnTo>
                  <a:pt x="815" y="1132"/>
                </a:lnTo>
                <a:lnTo>
                  <a:pt x="837" y="1114"/>
                </a:lnTo>
                <a:lnTo>
                  <a:pt x="848" y="1104"/>
                </a:lnTo>
                <a:lnTo>
                  <a:pt x="860" y="1095"/>
                </a:lnTo>
                <a:lnTo>
                  <a:pt x="848" y="1104"/>
                </a:lnTo>
                <a:lnTo>
                  <a:pt x="837" y="1114"/>
                </a:lnTo>
                <a:lnTo>
                  <a:pt x="839" y="1114"/>
                </a:lnTo>
                <a:lnTo>
                  <a:pt x="840" y="1116"/>
                </a:lnTo>
                <a:lnTo>
                  <a:pt x="835" y="1123"/>
                </a:lnTo>
                <a:lnTo>
                  <a:pt x="837" y="1130"/>
                </a:lnTo>
                <a:lnTo>
                  <a:pt x="837" y="1131"/>
                </a:lnTo>
                <a:lnTo>
                  <a:pt x="835" y="1132"/>
                </a:lnTo>
                <a:lnTo>
                  <a:pt x="833" y="1135"/>
                </a:lnTo>
                <a:lnTo>
                  <a:pt x="834" y="1139"/>
                </a:lnTo>
                <a:lnTo>
                  <a:pt x="839" y="1142"/>
                </a:lnTo>
                <a:lnTo>
                  <a:pt x="845" y="1144"/>
                </a:lnTo>
                <a:lnTo>
                  <a:pt x="851" y="1144"/>
                </a:lnTo>
                <a:lnTo>
                  <a:pt x="855" y="1146"/>
                </a:lnTo>
                <a:lnTo>
                  <a:pt x="845" y="1146"/>
                </a:lnTo>
                <a:lnTo>
                  <a:pt x="834" y="1146"/>
                </a:lnTo>
                <a:lnTo>
                  <a:pt x="845" y="1153"/>
                </a:lnTo>
                <a:lnTo>
                  <a:pt x="856" y="1153"/>
                </a:lnTo>
                <a:lnTo>
                  <a:pt x="861" y="1152"/>
                </a:lnTo>
                <a:lnTo>
                  <a:pt x="866" y="1152"/>
                </a:lnTo>
                <a:lnTo>
                  <a:pt x="876" y="1152"/>
                </a:lnTo>
                <a:lnTo>
                  <a:pt x="884" y="1147"/>
                </a:lnTo>
                <a:lnTo>
                  <a:pt x="888" y="1147"/>
                </a:lnTo>
                <a:lnTo>
                  <a:pt x="890" y="1145"/>
                </a:lnTo>
                <a:lnTo>
                  <a:pt x="900" y="1147"/>
                </a:lnTo>
                <a:lnTo>
                  <a:pt x="909" y="1144"/>
                </a:lnTo>
                <a:lnTo>
                  <a:pt x="911" y="1144"/>
                </a:lnTo>
                <a:lnTo>
                  <a:pt x="915" y="1142"/>
                </a:lnTo>
                <a:lnTo>
                  <a:pt x="916" y="1142"/>
                </a:lnTo>
                <a:lnTo>
                  <a:pt x="917" y="1141"/>
                </a:lnTo>
                <a:lnTo>
                  <a:pt x="917" y="1141"/>
                </a:lnTo>
                <a:lnTo>
                  <a:pt x="917" y="1140"/>
                </a:lnTo>
                <a:lnTo>
                  <a:pt x="918" y="1139"/>
                </a:lnTo>
                <a:lnTo>
                  <a:pt x="917" y="1138"/>
                </a:lnTo>
                <a:lnTo>
                  <a:pt x="917" y="1134"/>
                </a:lnTo>
                <a:lnTo>
                  <a:pt x="917" y="1131"/>
                </a:lnTo>
                <a:lnTo>
                  <a:pt x="915" y="1127"/>
                </a:lnTo>
                <a:lnTo>
                  <a:pt x="914" y="1123"/>
                </a:lnTo>
                <a:lnTo>
                  <a:pt x="915" y="1119"/>
                </a:lnTo>
                <a:lnTo>
                  <a:pt x="915" y="1116"/>
                </a:lnTo>
                <a:lnTo>
                  <a:pt x="915" y="1116"/>
                </a:lnTo>
                <a:lnTo>
                  <a:pt x="913" y="1112"/>
                </a:lnTo>
                <a:lnTo>
                  <a:pt x="910" y="1107"/>
                </a:lnTo>
                <a:lnTo>
                  <a:pt x="909" y="1107"/>
                </a:lnTo>
                <a:lnTo>
                  <a:pt x="909" y="1107"/>
                </a:lnTo>
                <a:lnTo>
                  <a:pt x="909" y="1107"/>
                </a:lnTo>
                <a:lnTo>
                  <a:pt x="910" y="1107"/>
                </a:lnTo>
                <a:lnTo>
                  <a:pt x="913" y="1107"/>
                </a:lnTo>
                <a:lnTo>
                  <a:pt x="915" y="1107"/>
                </a:lnTo>
                <a:lnTo>
                  <a:pt x="907" y="1100"/>
                </a:lnTo>
                <a:lnTo>
                  <a:pt x="897" y="1097"/>
                </a:lnTo>
                <a:lnTo>
                  <a:pt x="895" y="1096"/>
                </a:lnTo>
                <a:lnTo>
                  <a:pt x="893" y="1097"/>
                </a:lnTo>
                <a:lnTo>
                  <a:pt x="891" y="1097"/>
                </a:lnTo>
                <a:lnTo>
                  <a:pt x="890" y="1096"/>
                </a:lnTo>
                <a:lnTo>
                  <a:pt x="882" y="1096"/>
                </a:lnTo>
                <a:lnTo>
                  <a:pt x="875" y="1092"/>
                </a:lnTo>
                <a:lnTo>
                  <a:pt x="873" y="1088"/>
                </a:lnTo>
                <a:lnTo>
                  <a:pt x="867" y="1086"/>
                </a:lnTo>
                <a:lnTo>
                  <a:pt x="879" y="1076"/>
                </a:lnTo>
                <a:lnTo>
                  <a:pt x="889" y="1065"/>
                </a:lnTo>
                <a:lnTo>
                  <a:pt x="891" y="1062"/>
                </a:lnTo>
                <a:lnTo>
                  <a:pt x="895" y="1058"/>
                </a:lnTo>
                <a:lnTo>
                  <a:pt x="894" y="1063"/>
                </a:lnTo>
                <a:lnTo>
                  <a:pt x="890" y="1065"/>
                </a:lnTo>
                <a:lnTo>
                  <a:pt x="887" y="1071"/>
                </a:lnTo>
                <a:lnTo>
                  <a:pt x="883" y="1076"/>
                </a:lnTo>
                <a:lnTo>
                  <a:pt x="879" y="1081"/>
                </a:lnTo>
                <a:lnTo>
                  <a:pt x="879" y="1088"/>
                </a:lnTo>
                <a:lnTo>
                  <a:pt x="883" y="1092"/>
                </a:lnTo>
                <a:lnTo>
                  <a:pt x="889" y="1092"/>
                </a:lnTo>
                <a:lnTo>
                  <a:pt x="908" y="1088"/>
                </a:lnTo>
                <a:lnTo>
                  <a:pt x="917" y="1069"/>
                </a:lnTo>
                <a:lnTo>
                  <a:pt x="918" y="1054"/>
                </a:lnTo>
                <a:lnTo>
                  <a:pt x="918" y="1039"/>
                </a:lnTo>
                <a:lnTo>
                  <a:pt x="920" y="1035"/>
                </a:lnTo>
                <a:lnTo>
                  <a:pt x="917" y="1032"/>
                </a:lnTo>
                <a:lnTo>
                  <a:pt x="911" y="1040"/>
                </a:lnTo>
                <a:lnTo>
                  <a:pt x="905" y="1047"/>
                </a:lnTo>
                <a:lnTo>
                  <a:pt x="904" y="1050"/>
                </a:lnTo>
                <a:lnTo>
                  <a:pt x="902" y="1053"/>
                </a:lnTo>
                <a:lnTo>
                  <a:pt x="901" y="1048"/>
                </a:lnTo>
                <a:lnTo>
                  <a:pt x="904" y="1046"/>
                </a:lnTo>
                <a:lnTo>
                  <a:pt x="913" y="1032"/>
                </a:lnTo>
                <a:lnTo>
                  <a:pt x="922" y="1018"/>
                </a:lnTo>
                <a:lnTo>
                  <a:pt x="922" y="1022"/>
                </a:lnTo>
                <a:lnTo>
                  <a:pt x="923" y="1027"/>
                </a:lnTo>
                <a:lnTo>
                  <a:pt x="923" y="1028"/>
                </a:lnTo>
                <a:lnTo>
                  <a:pt x="923" y="1029"/>
                </a:lnTo>
                <a:lnTo>
                  <a:pt x="922" y="1032"/>
                </a:lnTo>
                <a:lnTo>
                  <a:pt x="923" y="1035"/>
                </a:lnTo>
                <a:lnTo>
                  <a:pt x="923" y="1088"/>
                </a:lnTo>
                <a:lnTo>
                  <a:pt x="925" y="1140"/>
                </a:lnTo>
                <a:lnTo>
                  <a:pt x="925" y="1063"/>
                </a:lnTo>
                <a:lnTo>
                  <a:pt x="925" y="986"/>
                </a:lnTo>
                <a:lnTo>
                  <a:pt x="922" y="993"/>
                </a:lnTo>
                <a:lnTo>
                  <a:pt x="920" y="999"/>
                </a:lnTo>
                <a:lnTo>
                  <a:pt x="888" y="1050"/>
                </a:lnTo>
                <a:lnTo>
                  <a:pt x="847" y="1093"/>
                </a:lnTo>
                <a:close/>
                <a:moveTo>
                  <a:pt x="791" y="450"/>
                </a:moveTo>
                <a:lnTo>
                  <a:pt x="791" y="450"/>
                </a:lnTo>
                <a:lnTo>
                  <a:pt x="791" y="450"/>
                </a:lnTo>
                <a:lnTo>
                  <a:pt x="791" y="450"/>
                </a:lnTo>
                <a:lnTo>
                  <a:pt x="791" y="449"/>
                </a:lnTo>
                <a:lnTo>
                  <a:pt x="791" y="449"/>
                </a:lnTo>
                <a:lnTo>
                  <a:pt x="791" y="449"/>
                </a:lnTo>
                <a:lnTo>
                  <a:pt x="791" y="449"/>
                </a:lnTo>
                <a:lnTo>
                  <a:pt x="791" y="448"/>
                </a:lnTo>
                <a:lnTo>
                  <a:pt x="791" y="448"/>
                </a:lnTo>
                <a:lnTo>
                  <a:pt x="791" y="448"/>
                </a:lnTo>
                <a:lnTo>
                  <a:pt x="791" y="448"/>
                </a:lnTo>
                <a:lnTo>
                  <a:pt x="791" y="447"/>
                </a:lnTo>
                <a:lnTo>
                  <a:pt x="791" y="447"/>
                </a:lnTo>
                <a:lnTo>
                  <a:pt x="791" y="447"/>
                </a:lnTo>
                <a:lnTo>
                  <a:pt x="791" y="447"/>
                </a:lnTo>
                <a:lnTo>
                  <a:pt x="791" y="446"/>
                </a:lnTo>
                <a:lnTo>
                  <a:pt x="791" y="446"/>
                </a:lnTo>
                <a:lnTo>
                  <a:pt x="791" y="446"/>
                </a:lnTo>
                <a:lnTo>
                  <a:pt x="791" y="446"/>
                </a:lnTo>
                <a:lnTo>
                  <a:pt x="791" y="445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1" y="450"/>
                </a:lnTo>
                <a:close/>
                <a:moveTo>
                  <a:pt x="829" y="81"/>
                </a:moveTo>
                <a:lnTo>
                  <a:pt x="829" y="79"/>
                </a:lnTo>
                <a:lnTo>
                  <a:pt x="829" y="79"/>
                </a:lnTo>
                <a:lnTo>
                  <a:pt x="829" y="79"/>
                </a:lnTo>
                <a:lnTo>
                  <a:pt x="829" y="79"/>
                </a:lnTo>
                <a:lnTo>
                  <a:pt x="828" y="79"/>
                </a:lnTo>
                <a:lnTo>
                  <a:pt x="828" y="79"/>
                </a:lnTo>
                <a:lnTo>
                  <a:pt x="828" y="79"/>
                </a:lnTo>
                <a:lnTo>
                  <a:pt x="829" y="81"/>
                </a:lnTo>
                <a:close/>
                <a:moveTo>
                  <a:pt x="863" y="226"/>
                </a:moveTo>
                <a:lnTo>
                  <a:pt x="862" y="228"/>
                </a:lnTo>
                <a:lnTo>
                  <a:pt x="861" y="229"/>
                </a:lnTo>
                <a:lnTo>
                  <a:pt x="863" y="229"/>
                </a:lnTo>
                <a:lnTo>
                  <a:pt x="863" y="226"/>
                </a:lnTo>
                <a:close/>
                <a:moveTo>
                  <a:pt x="898" y="267"/>
                </a:moveTo>
                <a:lnTo>
                  <a:pt x="896" y="270"/>
                </a:lnTo>
                <a:lnTo>
                  <a:pt x="894" y="273"/>
                </a:lnTo>
                <a:lnTo>
                  <a:pt x="898" y="271"/>
                </a:lnTo>
                <a:lnTo>
                  <a:pt x="898" y="267"/>
                </a:lnTo>
                <a:close/>
                <a:moveTo>
                  <a:pt x="1336" y="1063"/>
                </a:moveTo>
                <a:lnTo>
                  <a:pt x="1331" y="1070"/>
                </a:lnTo>
                <a:lnTo>
                  <a:pt x="1332" y="1078"/>
                </a:lnTo>
                <a:lnTo>
                  <a:pt x="1333" y="1070"/>
                </a:lnTo>
                <a:lnTo>
                  <a:pt x="1336" y="1063"/>
                </a:lnTo>
                <a:close/>
                <a:moveTo>
                  <a:pt x="583" y="481"/>
                </a:moveTo>
                <a:lnTo>
                  <a:pt x="584" y="487"/>
                </a:lnTo>
                <a:lnTo>
                  <a:pt x="587" y="493"/>
                </a:lnTo>
                <a:lnTo>
                  <a:pt x="590" y="485"/>
                </a:lnTo>
                <a:lnTo>
                  <a:pt x="589" y="482"/>
                </a:lnTo>
                <a:lnTo>
                  <a:pt x="586" y="480"/>
                </a:lnTo>
                <a:lnTo>
                  <a:pt x="583" y="481"/>
                </a:lnTo>
                <a:close/>
                <a:moveTo>
                  <a:pt x="573" y="457"/>
                </a:moveTo>
                <a:lnTo>
                  <a:pt x="577" y="457"/>
                </a:lnTo>
                <a:lnTo>
                  <a:pt x="578" y="455"/>
                </a:lnTo>
                <a:lnTo>
                  <a:pt x="576" y="452"/>
                </a:lnTo>
                <a:lnTo>
                  <a:pt x="571" y="450"/>
                </a:lnTo>
                <a:lnTo>
                  <a:pt x="569" y="450"/>
                </a:lnTo>
                <a:lnTo>
                  <a:pt x="569" y="453"/>
                </a:lnTo>
                <a:lnTo>
                  <a:pt x="570" y="456"/>
                </a:lnTo>
                <a:lnTo>
                  <a:pt x="573" y="457"/>
                </a:lnTo>
                <a:close/>
                <a:moveTo>
                  <a:pt x="824" y="7"/>
                </a:moveTo>
                <a:lnTo>
                  <a:pt x="824" y="9"/>
                </a:lnTo>
                <a:lnTo>
                  <a:pt x="824" y="12"/>
                </a:lnTo>
                <a:lnTo>
                  <a:pt x="825" y="12"/>
                </a:lnTo>
                <a:lnTo>
                  <a:pt x="825" y="12"/>
                </a:lnTo>
                <a:lnTo>
                  <a:pt x="828" y="8"/>
                </a:lnTo>
                <a:lnTo>
                  <a:pt x="828" y="5"/>
                </a:lnTo>
                <a:lnTo>
                  <a:pt x="826" y="1"/>
                </a:lnTo>
                <a:lnTo>
                  <a:pt x="822" y="0"/>
                </a:lnTo>
                <a:lnTo>
                  <a:pt x="822" y="4"/>
                </a:lnTo>
                <a:lnTo>
                  <a:pt x="824" y="7"/>
                </a:lnTo>
                <a:close/>
                <a:moveTo>
                  <a:pt x="418" y="663"/>
                </a:moveTo>
                <a:lnTo>
                  <a:pt x="420" y="661"/>
                </a:lnTo>
                <a:lnTo>
                  <a:pt x="420" y="657"/>
                </a:lnTo>
                <a:lnTo>
                  <a:pt x="419" y="655"/>
                </a:lnTo>
                <a:lnTo>
                  <a:pt x="417" y="654"/>
                </a:lnTo>
                <a:lnTo>
                  <a:pt x="414" y="655"/>
                </a:lnTo>
                <a:lnTo>
                  <a:pt x="413" y="658"/>
                </a:lnTo>
                <a:lnTo>
                  <a:pt x="414" y="662"/>
                </a:lnTo>
                <a:lnTo>
                  <a:pt x="418" y="663"/>
                </a:lnTo>
                <a:close/>
                <a:moveTo>
                  <a:pt x="956" y="320"/>
                </a:moveTo>
                <a:lnTo>
                  <a:pt x="958" y="324"/>
                </a:lnTo>
                <a:lnTo>
                  <a:pt x="963" y="328"/>
                </a:lnTo>
                <a:lnTo>
                  <a:pt x="965" y="327"/>
                </a:lnTo>
                <a:lnTo>
                  <a:pt x="966" y="324"/>
                </a:lnTo>
                <a:lnTo>
                  <a:pt x="964" y="321"/>
                </a:lnTo>
                <a:lnTo>
                  <a:pt x="959" y="317"/>
                </a:lnTo>
                <a:lnTo>
                  <a:pt x="957" y="319"/>
                </a:lnTo>
                <a:lnTo>
                  <a:pt x="956" y="320"/>
                </a:lnTo>
                <a:close/>
                <a:moveTo>
                  <a:pt x="962" y="341"/>
                </a:moveTo>
                <a:lnTo>
                  <a:pt x="963" y="344"/>
                </a:lnTo>
                <a:lnTo>
                  <a:pt x="966" y="347"/>
                </a:lnTo>
                <a:lnTo>
                  <a:pt x="969" y="345"/>
                </a:lnTo>
                <a:lnTo>
                  <a:pt x="971" y="342"/>
                </a:lnTo>
                <a:lnTo>
                  <a:pt x="970" y="338"/>
                </a:lnTo>
                <a:lnTo>
                  <a:pt x="967" y="336"/>
                </a:lnTo>
                <a:lnTo>
                  <a:pt x="964" y="337"/>
                </a:lnTo>
                <a:lnTo>
                  <a:pt x="962" y="341"/>
                </a:lnTo>
                <a:close/>
                <a:moveTo>
                  <a:pt x="311" y="566"/>
                </a:moveTo>
                <a:lnTo>
                  <a:pt x="314" y="567"/>
                </a:lnTo>
                <a:lnTo>
                  <a:pt x="317" y="566"/>
                </a:lnTo>
                <a:lnTo>
                  <a:pt x="320" y="565"/>
                </a:lnTo>
                <a:lnTo>
                  <a:pt x="318" y="561"/>
                </a:lnTo>
                <a:lnTo>
                  <a:pt x="317" y="558"/>
                </a:lnTo>
                <a:lnTo>
                  <a:pt x="314" y="558"/>
                </a:lnTo>
                <a:lnTo>
                  <a:pt x="309" y="559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0" y="560"/>
                </a:lnTo>
                <a:lnTo>
                  <a:pt x="294" y="564"/>
                </a:lnTo>
                <a:lnTo>
                  <a:pt x="295" y="568"/>
                </a:lnTo>
                <a:lnTo>
                  <a:pt x="300" y="573"/>
                </a:lnTo>
                <a:lnTo>
                  <a:pt x="303" y="568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9" y="564"/>
                </a:lnTo>
                <a:lnTo>
                  <a:pt x="311" y="566"/>
                </a:lnTo>
                <a:close/>
                <a:moveTo>
                  <a:pt x="329" y="614"/>
                </a:moveTo>
                <a:lnTo>
                  <a:pt x="330" y="615"/>
                </a:lnTo>
                <a:lnTo>
                  <a:pt x="331" y="614"/>
                </a:lnTo>
                <a:lnTo>
                  <a:pt x="333" y="613"/>
                </a:lnTo>
                <a:lnTo>
                  <a:pt x="331" y="612"/>
                </a:lnTo>
                <a:lnTo>
                  <a:pt x="328" y="608"/>
                </a:lnTo>
                <a:lnTo>
                  <a:pt x="323" y="610"/>
                </a:lnTo>
                <a:lnTo>
                  <a:pt x="320" y="612"/>
                </a:lnTo>
                <a:lnTo>
                  <a:pt x="317" y="613"/>
                </a:lnTo>
                <a:lnTo>
                  <a:pt x="323" y="612"/>
                </a:lnTo>
                <a:lnTo>
                  <a:pt x="329" y="614"/>
                </a:lnTo>
                <a:close/>
                <a:moveTo>
                  <a:pt x="953" y="223"/>
                </a:moveTo>
                <a:lnTo>
                  <a:pt x="955" y="216"/>
                </a:lnTo>
                <a:lnTo>
                  <a:pt x="959" y="211"/>
                </a:lnTo>
                <a:lnTo>
                  <a:pt x="953" y="211"/>
                </a:lnTo>
                <a:lnTo>
                  <a:pt x="950" y="207"/>
                </a:lnTo>
                <a:lnTo>
                  <a:pt x="949" y="207"/>
                </a:lnTo>
                <a:lnTo>
                  <a:pt x="948" y="208"/>
                </a:lnTo>
                <a:lnTo>
                  <a:pt x="949" y="215"/>
                </a:lnTo>
                <a:lnTo>
                  <a:pt x="953" y="223"/>
                </a:lnTo>
                <a:close/>
                <a:moveTo>
                  <a:pt x="916" y="219"/>
                </a:moveTo>
                <a:lnTo>
                  <a:pt x="921" y="221"/>
                </a:lnTo>
                <a:lnTo>
                  <a:pt x="924" y="224"/>
                </a:lnTo>
                <a:lnTo>
                  <a:pt x="925" y="217"/>
                </a:lnTo>
                <a:lnTo>
                  <a:pt x="925" y="211"/>
                </a:lnTo>
                <a:lnTo>
                  <a:pt x="924" y="210"/>
                </a:lnTo>
                <a:lnTo>
                  <a:pt x="922" y="209"/>
                </a:lnTo>
                <a:lnTo>
                  <a:pt x="921" y="209"/>
                </a:lnTo>
                <a:lnTo>
                  <a:pt x="920" y="211"/>
                </a:lnTo>
                <a:lnTo>
                  <a:pt x="918" y="214"/>
                </a:lnTo>
                <a:lnTo>
                  <a:pt x="916" y="216"/>
                </a:lnTo>
                <a:lnTo>
                  <a:pt x="915" y="218"/>
                </a:lnTo>
                <a:lnTo>
                  <a:pt x="916" y="219"/>
                </a:lnTo>
                <a:close/>
                <a:moveTo>
                  <a:pt x="310" y="585"/>
                </a:moveTo>
                <a:lnTo>
                  <a:pt x="311" y="577"/>
                </a:lnTo>
                <a:lnTo>
                  <a:pt x="303" y="573"/>
                </a:lnTo>
                <a:lnTo>
                  <a:pt x="301" y="573"/>
                </a:lnTo>
                <a:lnTo>
                  <a:pt x="300" y="573"/>
                </a:lnTo>
                <a:lnTo>
                  <a:pt x="303" y="582"/>
                </a:lnTo>
                <a:lnTo>
                  <a:pt x="306" y="594"/>
                </a:lnTo>
                <a:lnTo>
                  <a:pt x="308" y="588"/>
                </a:lnTo>
                <a:lnTo>
                  <a:pt x="310" y="585"/>
                </a:lnTo>
                <a:close/>
                <a:moveTo>
                  <a:pt x="300" y="573"/>
                </a:move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close/>
                <a:moveTo>
                  <a:pt x="586" y="315"/>
                </a:moveTo>
                <a:lnTo>
                  <a:pt x="589" y="315"/>
                </a:lnTo>
                <a:lnTo>
                  <a:pt x="592" y="316"/>
                </a:lnTo>
                <a:lnTo>
                  <a:pt x="596" y="330"/>
                </a:lnTo>
                <a:lnTo>
                  <a:pt x="592" y="344"/>
                </a:lnTo>
                <a:lnTo>
                  <a:pt x="591" y="348"/>
                </a:lnTo>
                <a:lnTo>
                  <a:pt x="591" y="350"/>
                </a:lnTo>
                <a:lnTo>
                  <a:pt x="594" y="350"/>
                </a:lnTo>
                <a:lnTo>
                  <a:pt x="598" y="349"/>
                </a:lnTo>
                <a:lnTo>
                  <a:pt x="600" y="348"/>
                </a:lnTo>
                <a:lnTo>
                  <a:pt x="599" y="344"/>
                </a:lnTo>
                <a:lnTo>
                  <a:pt x="598" y="335"/>
                </a:lnTo>
                <a:lnTo>
                  <a:pt x="603" y="326"/>
                </a:lnTo>
                <a:lnTo>
                  <a:pt x="606" y="321"/>
                </a:lnTo>
                <a:lnTo>
                  <a:pt x="610" y="316"/>
                </a:lnTo>
                <a:lnTo>
                  <a:pt x="611" y="315"/>
                </a:lnTo>
                <a:lnTo>
                  <a:pt x="610" y="314"/>
                </a:lnTo>
                <a:lnTo>
                  <a:pt x="603" y="306"/>
                </a:lnTo>
                <a:lnTo>
                  <a:pt x="603" y="296"/>
                </a:lnTo>
                <a:lnTo>
                  <a:pt x="604" y="292"/>
                </a:lnTo>
                <a:lnTo>
                  <a:pt x="603" y="288"/>
                </a:lnTo>
                <a:lnTo>
                  <a:pt x="598" y="286"/>
                </a:lnTo>
                <a:lnTo>
                  <a:pt x="593" y="286"/>
                </a:lnTo>
                <a:lnTo>
                  <a:pt x="591" y="288"/>
                </a:lnTo>
                <a:lnTo>
                  <a:pt x="589" y="293"/>
                </a:lnTo>
                <a:lnTo>
                  <a:pt x="587" y="294"/>
                </a:lnTo>
                <a:lnTo>
                  <a:pt x="589" y="295"/>
                </a:lnTo>
                <a:lnTo>
                  <a:pt x="592" y="296"/>
                </a:lnTo>
                <a:lnTo>
                  <a:pt x="594" y="295"/>
                </a:lnTo>
                <a:lnTo>
                  <a:pt x="598" y="294"/>
                </a:lnTo>
                <a:lnTo>
                  <a:pt x="599" y="296"/>
                </a:lnTo>
                <a:lnTo>
                  <a:pt x="598" y="307"/>
                </a:lnTo>
                <a:lnTo>
                  <a:pt x="592" y="316"/>
                </a:lnTo>
                <a:lnTo>
                  <a:pt x="590" y="310"/>
                </a:lnTo>
                <a:lnTo>
                  <a:pt x="589" y="305"/>
                </a:lnTo>
                <a:lnTo>
                  <a:pt x="587" y="302"/>
                </a:lnTo>
                <a:lnTo>
                  <a:pt x="585" y="301"/>
                </a:lnTo>
                <a:lnTo>
                  <a:pt x="584" y="301"/>
                </a:lnTo>
                <a:lnTo>
                  <a:pt x="584" y="302"/>
                </a:lnTo>
                <a:lnTo>
                  <a:pt x="579" y="309"/>
                </a:lnTo>
                <a:lnTo>
                  <a:pt x="586" y="315"/>
                </a:lnTo>
                <a:close/>
                <a:moveTo>
                  <a:pt x="615" y="312"/>
                </a:moveTo>
                <a:lnTo>
                  <a:pt x="618" y="305"/>
                </a:lnTo>
                <a:lnTo>
                  <a:pt x="623" y="302"/>
                </a:lnTo>
                <a:lnTo>
                  <a:pt x="618" y="299"/>
                </a:lnTo>
                <a:lnTo>
                  <a:pt x="613" y="295"/>
                </a:lnTo>
                <a:lnTo>
                  <a:pt x="611" y="295"/>
                </a:lnTo>
                <a:lnTo>
                  <a:pt x="610" y="298"/>
                </a:lnTo>
                <a:lnTo>
                  <a:pt x="611" y="305"/>
                </a:lnTo>
                <a:lnTo>
                  <a:pt x="615" y="312"/>
                </a:lnTo>
                <a:close/>
                <a:moveTo>
                  <a:pt x="780" y="78"/>
                </a:moveTo>
                <a:lnTo>
                  <a:pt x="784" y="76"/>
                </a:lnTo>
                <a:lnTo>
                  <a:pt x="787" y="72"/>
                </a:lnTo>
                <a:lnTo>
                  <a:pt x="784" y="68"/>
                </a:lnTo>
                <a:lnTo>
                  <a:pt x="779" y="64"/>
                </a:lnTo>
                <a:lnTo>
                  <a:pt x="776" y="67"/>
                </a:lnTo>
                <a:lnTo>
                  <a:pt x="773" y="71"/>
                </a:lnTo>
                <a:lnTo>
                  <a:pt x="776" y="76"/>
                </a:lnTo>
                <a:lnTo>
                  <a:pt x="780" y="78"/>
                </a:lnTo>
                <a:close/>
                <a:moveTo>
                  <a:pt x="873" y="60"/>
                </a:moveTo>
                <a:lnTo>
                  <a:pt x="877" y="57"/>
                </a:lnTo>
                <a:lnTo>
                  <a:pt x="880" y="50"/>
                </a:lnTo>
                <a:lnTo>
                  <a:pt x="876" y="47"/>
                </a:lnTo>
                <a:lnTo>
                  <a:pt x="872" y="46"/>
                </a:lnTo>
                <a:lnTo>
                  <a:pt x="867" y="49"/>
                </a:lnTo>
                <a:lnTo>
                  <a:pt x="866" y="55"/>
                </a:lnTo>
                <a:lnTo>
                  <a:pt x="868" y="58"/>
                </a:lnTo>
                <a:lnTo>
                  <a:pt x="873" y="60"/>
                </a:lnTo>
                <a:close/>
                <a:moveTo>
                  <a:pt x="804" y="30"/>
                </a:moveTo>
                <a:lnTo>
                  <a:pt x="804" y="30"/>
                </a:lnTo>
                <a:lnTo>
                  <a:pt x="803" y="30"/>
                </a:lnTo>
                <a:lnTo>
                  <a:pt x="803" y="30"/>
                </a:lnTo>
                <a:lnTo>
                  <a:pt x="803" y="30"/>
                </a:lnTo>
                <a:lnTo>
                  <a:pt x="800" y="27"/>
                </a:lnTo>
                <a:lnTo>
                  <a:pt x="797" y="26"/>
                </a:lnTo>
                <a:lnTo>
                  <a:pt x="791" y="23"/>
                </a:lnTo>
                <a:lnTo>
                  <a:pt x="787" y="28"/>
                </a:lnTo>
                <a:lnTo>
                  <a:pt x="787" y="33"/>
                </a:lnTo>
                <a:lnTo>
                  <a:pt x="791" y="36"/>
                </a:lnTo>
                <a:lnTo>
                  <a:pt x="796" y="39"/>
                </a:lnTo>
                <a:lnTo>
                  <a:pt x="799" y="34"/>
                </a:lnTo>
                <a:lnTo>
                  <a:pt x="800" y="32"/>
                </a:lnTo>
                <a:lnTo>
                  <a:pt x="803" y="30"/>
                </a:lnTo>
                <a:lnTo>
                  <a:pt x="803" y="30"/>
                </a:lnTo>
                <a:lnTo>
                  <a:pt x="803" y="30"/>
                </a:lnTo>
                <a:lnTo>
                  <a:pt x="803" y="30"/>
                </a:lnTo>
                <a:lnTo>
                  <a:pt x="804" y="30"/>
                </a:lnTo>
                <a:lnTo>
                  <a:pt x="804" y="30"/>
                </a:lnTo>
                <a:close/>
                <a:moveTo>
                  <a:pt x="936" y="392"/>
                </a:moveTo>
                <a:lnTo>
                  <a:pt x="936" y="393"/>
                </a:lnTo>
                <a:lnTo>
                  <a:pt x="937" y="394"/>
                </a:lnTo>
                <a:lnTo>
                  <a:pt x="944" y="399"/>
                </a:lnTo>
                <a:lnTo>
                  <a:pt x="946" y="407"/>
                </a:lnTo>
                <a:lnTo>
                  <a:pt x="949" y="393"/>
                </a:lnTo>
                <a:lnTo>
                  <a:pt x="948" y="380"/>
                </a:lnTo>
                <a:lnTo>
                  <a:pt x="943" y="376"/>
                </a:lnTo>
                <a:lnTo>
                  <a:pt x="938" y="376"/>
                </a:lnTo>
                <a:lnTo>
                  <a:pt x="936" y="378"/>
                </a:lnTo>
                <a:lnTo>
                  <a:pt x="936" y="382"/>
                </a:lnTo>
                <a:lnTo>
                  <a:pt x="938" y="386"/>
                </a:lnTo>
                <a:lnTo>
                  <a:pt x="936" y="392"/>
                </a:lnTo>
                <a:close/>
                <a:moveTo>
                  <a:pt x="551" y="485"/>
                </a:moveTo>
                <a:lnTo>
                  <a:pt x="555" y="485"/>
                </a:lnTo>
                <a:lnTo>
                  <a:pt x="557" y="487"/>
                </a:lnTo>
                <a:lnTo>
                  <a:pt x="561" y="488"/>
                </a:lnTo>
                <a:lnTo>
                  <a:pt x="562" y="485"/>
                </a:lnTo>
                <a:lnTo>
                  <a:pt x="571" y="476"/>
                </a:lnTo>
                <a:lnTo>
                  <a:pt x="584" y="478"/>
                </a:lnTo>
                <a:lnTo>
                  <a:pt x="584" y="473"/>
                </a:lnTo>
                <a:lnTo>
                  <a:pt x="584" y="466"/>
                </a:lnTo>
                <a:lnTo>
                  <a:pt x="585" y="462"/>
                </a:lnTo>
                <a:lnTo>
                  <a:pt x="583" y="460"/>
                </a:lnTo>
                <a:lnTo>
                  <a:pt x="579" y="461"/>
                </a:lnTo>
                <a:lnTo>
                  <a:pt x="579" y="464"/>
                </a:lnTo>
                <a:lnTo>
                  <a:pt x="579" y="467"/>
                </a:lnTo>
                <a:lnTo>
                  <a:pt x="578" y="468"/>
                </a:lnTo>
                <a:lnTo>
                  <a:pt x="566" y="473"/>
                </a:lnTo>
                <a:lnTo>
                  <a:pt x="555" y="475"/>
                </a:lnTo>
                <a:lnTo>
                  <a:pt x="548" y="478"/>
                </a:lnTo>
                <a:lnTo>
                  <a:pt x="544" y="484"/>
                </a:lnTo>
                <a:lnTo>
                  <a:pt x="548" y="487"/>
                </a:lnTo>
                <a:lnTo>
                  <a:pt x="551" y="485"/>
                </a:lnTo>
                <a:close/>
                <a:moveTo>
                  <a:pt x="1081" y="364"/>
                </a:moveTo>
                <a:lnTo>
                  <a:pt x="1083" y="363"/>
                </a:lnTo>
                <a:lnTo>
                  <a:pt x="1086" y="364"/>
                </a:lnTo>
                <a:lnTo>
                  <a:pt x="1088" y="362"/>
                </a:lnTo>
                <a:lnTo>
                  <a:pt x="1090" y="362"/>
                </a:lnTo>
                <a:lnTo>
                  <a:pt x="1088" y="362"/>
                </a:lnTo>
                <a:lnTo>
                  <a:pt x="1086" y="364"/>
                </a:lnTo>
                <a:lnTo>
                  <a:pt x="1086" y="364"/>
                </a:lnTo>
                <a:lnTo>
                  <a:pt x="1084" y="366"/>
                </a:lnTo>
                <a:lnTo>
                  <a:pt x="1082" y="366"/>
                </a:lnTo>
                <a:lnTo>
                  <a:pt x="1081" y="366"/>
                </a:lnTo>
                <a:lnTo>
                  <a:pt x="1081" y="364"/>
                </a:lnTo>
                <a:lnTo>
                  <a:pt x="1081" y="364"/>
                </a:lnTo>
                <a:close/>
                <a:moveTo>
                  <a:pt x="1076" y="370"/>
                </a:moveTo>
                <a:lnTo>
                  <a:pt x="1079" y="369"/>
                </a:lnTo>
                <a:lnTo>
                  <a:pt x="1081" y="370"/>
                </a:lnTo>
                <a:lnTo>
                  <a:pt x="1081" y="373"/>
                </a:lnTo>
                <a:lnTo>
                  <a:pt x="1077" y="375"/>
                </a:lnTo>
                <a:lnTo>
                  <a:pt x="1074" y="376"/>
                </a:lnTo>
                <a:lnTo>
                  <a:pt x="1074" y="379"/>
                </a:lnTo>
                <a:lnTo>
                  <a:pt x="1074" y="383"/>
                </a:lnTo>
                <a:lnTo>
                  <a:pt x="1077" y="383"/>
                </a:lnTo>
                <a:lnTo>
                  <a:pt x="1083" y="385"/>
                </a:lnTo>
                <a:lnTo>
                  <a:pt x="1084" y="391"/>
                </a:lnTo>
                <a:lnTo>
                  <a:pt x="1087" y="384"/>
                </a:lnTo>
                <a:lnTo>
                  <a:pt x="1093" y="380"/>
                </a:lnTo>
                <a:lnTo>
                  <a:pt x="1097" y="375"/>
                </a:lnTo>
                <a:lnTo>
                  <a:pt x="1095" y="369"/>
                </a:lnTo>
                <a:lnTo>
                  <a:pt x="1096" y="363"/>
                </a:lnTo>
                <a:lnTo>
                  <a:pt x="1093" y="359"/>
                </a:lnTo>
                <a:lnTo>
                  <a:pt x="1082" y="359"/>
                </a:lnTo>
                <a:lnTo>
                  <a:pt x="1073" y="363"/>
                </a:lnTo>
                <a:lnTo>
                  <a:pt x="1072" y="365"/>
                </a:lnTo>
                <a:lnTo>
                  <a:pt x="1072" y="369"/>
                </a:lnTo>
                <a:lnTo>
                  <a:pt x="1073" y="371"/>
                </a:lnTo>
                <a:lnTo>
                  <a:pt x="1076" y="370"/>
                </a:lnTo>
                <a:close/>
                <a:moveTo>
                  <a:pt x="935" y="207"/>
                </a:moveTo>
                <a:lnTo>
                  <a:pt x="936" y="212"/>
                </a:lnTo>
                <a:lnTo>
                  <a:pt x="935" y="219"/>
                </a:lnTo>
                <a:lnTo>
                  <a:pt x="934" y="222"/>
                </a:lnTo>
                <a:lnTo>
                  <a:pt x="934" y="224"/>
                </a:lnTo>
                <a:lnTo>
                  <a:pt x="931" y="228"/>
                </a:lnTo>
                <a:lnTo>
                  <a:pt x="931" y="231"/>
                </a:lnTo>
                <a:lnTo>
                  <a:pt x="935" y="240"/>
                </a:lnTo>
                <a:lnTo>
                  <a:pt x="937" y="251"/>
                </a:lnTo>
                <a:lnTo>
                  <a:pt x="939" y="238"/>
                </a:lnTo>
                <a:lnTo>
                  <a:pt x="949" y="228"/>
                </a:lnTo>
                <a:lnTo>
                  <a:pt x="942" y="224"/>
                </a:lnTo>
                <a:lnTo>
                  <a:pt x="938" y="217"/>
                </a:lnTo>
                <a:lnTo>
                  <a:pt x="938" y="204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38" y="191"/>
                </a:lnTo>
                <a:lnTo>
                  <a:pt x="937" y="189"/>
                </a:lnTo>
                <a:lnTo>
                  <a:pt x="939" y="188"/>
                </a:lnTo>
                <a:lnTo>
                  <a:pt x="941" y="190"/>
                </a:lnTo>
                <a:lnTo>
                  <a:pt x="943" y="188"/>
                </a:lnTo>
                <a:lnTo>
                  <a:pt x="944" y="186"/>
                </a:lnTo>
                <a:lnTo>
                  <a:pt x="941" y="186"/>
                </a:lnTo>
                <a:lnTo>
                  <a:pt x="938" y="184"/>
                </a:lnTo>
                <a:lnTo>
                  <a:pt x="937" y="181"/>
                </a:lnTo>
                <a:lnTo>
                  <a:pt x="934" y="180"/>
                </a:lnTo>
                <a:lnTo>
                  <a:pt x="931" y="182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6" y="184"/>
                </a:lnTo>
                <a:lnTo>
                  <a:pt x="937" y="189"/>
                </a:lnTo>
                <a:lnTo>
                  <a:pt x="932" y="189"/>
                </a:lnTo>
                <a:lnTo>
                  <a:pt x="930" y="186"/>
                </a:lnTo>
                <a:lnTo>
                  <a:pt x="928" y="188"/>
                </a:lnTo>
                <a:lnTo>
                  <a:pt x="927" y="190"/>
                </a:lnTo>
                <a:lnTo>
                  <a:pt x="928" y="198"/>
                </a:lnTo>
                <a:lnTo>
                  <a:pt x="924" y="204"/>
                </a:lnTo>
                <a:lnTo>
                  <a:pt x="930" y="205"/>
                </a:lnTo>
                <a:lnTo>
                  <a:pt x="935" y="207"/>
                </a:lnTo>
                <a:close/>
                <a:moveTo>
                  <a:pt x="819" y="78"/>
                </a:moveTo>
                <a:lnTo>
                  <a:pt x="825" y="77"/>
                </a:lnTo>
                <a:lnTo>
                  <a:pt x="831" y="74"/>
                </a:lnTo>
                <a:lnTo>
                  <a:pt x="833" y="70"/>
                </a:lnTo>
                <a:lnTo>
                  <a:pt x="833" y="65"/>
                </a:lnTo>
                <a:lnTo>
                  <a:pt x="832" y="47"/>
                </a:lnTo>
                <a:lnTo>
                  <a:pt x="834" y="28"/>
                </a:lnTo>
                <a:lnTo>
                  <a:pt x="834" y="28"/>
                </a:lnTo>
                <a:lnTo>
                  <a:pt x="835" y="28"/>
                </a:lnTo>
                <a:lnTo>
                  <a:pt x="838" y="29"/>
                </a:lnTo>
                <a:lnTo>
                  <a:pt x="840" y="28"/>
                </a:lnTo>
                <a:lnTo>
                  <a:pt x="844" y="27"/>
                </a:lnTo>
                <a:lnTo>
                  <a:pt x="845" y="23"/>
                </a:lnTo>
                <a:lnTo>
                  <a:pt x="844" y="18"/>
                </a:lnTo>
                <a:lnTo>
                  <a:pt x="839" y="14"/>
                </a:lnTo>
                <a:lnTo>
                  <a:pt x="835" y="14"/>
                </a:lnTo>
                <a:lnTo>
                  <a:pt x="833" y="18"/>
                </a:lnTo>
                <a:lnTo>
                  <a:pt x="832" y="19"/>
                </a:lnTo>
                <a:lnTo>
                  <a:pt x="829" y="19"/>
                </a:lnTo>
                <a:lnTo>
                  <a:pt x="825" y="18"/>
                </a:lnTo>
                <a:lnTo>
                  <a:pt x="824" y="23"/>
                </a:lnTo>
                <a:lnTo>
                  <a:pt x="824" y="28"/>
                </a:lnTo>
                <a:lnTo>
                  <a:pt x="820" y="33"/>
                </a:lnTo>
                <a:lnTo>
                  <a:pt x="818" y="35"/>
                </a:lnTo>
                <a:lnTo>
                  <a:pt x="819" y="37"/>
                </a:lnTo>
                <a:lnTo>
                  <a:pt x="821" y="44"/>
                </a:lnTo>
                <a:lnTo>
                  <a:pt x="822" y="50"/>
                </a:lnTo>
                <a:lnTo>
                  <a:pt x="821" y="62"/>
                </a:lnTo>
                <a:lnTo>
                  <a:pt x="818" y="72"/>
                </a:lnTo>
                <a:lnTo>
                  <a:pt x="817" y="76"/>
                </a:lnTo>
                <a:lnTo>
                  <a:pt x="819" y="78"/>
                </a:lnTo>
                <a:close/>
                <a:moveTo>
                  <a:pt x="1311" y="1026"/>
                </a:moveTo>
                <a:lnTo>
                  <a:pt x="1318" y="1047"/>
                </a:lnTo>
                <a:lnTo>
                  <a:pt x="1324" y="1067"/>
                </a:lnTo>
                <a:lnTo>
                  <a:pt x="1328" y="1063"/>
                </a:lnTo>
                <a:lnTo>
                  <a:pt x="1329" y="1058"/>
                </a:lnTo>
                <a:lnTo>
                  <a:pt x="1328" y="1040"/>
                </a:lnTo>
                <a:lnTo>
                  <a:pt x="1322" y="1022"/>
                </a:lnTo>
                <a:lnTo>
                  <a:pt x="1319" y="1013"/>
                </a:lnTo>
                <a:lnTo>
                  <a:pt x="1317" y="1005"/>
                </a:lnTo>
                <a:lnTo>
                  <a:pt x="1316" y="1004"/>
                </a:lnTo>
                <a:lnTo>
                  <a:pt x="1314" y="1002"/>
                </a:lnTo>
                <a:lnTo>
                  <a:pt x="1312" y="1004"/>
                </a:lnTo>
                <a:lnTo>
                  <a:pt x="1311" y="1006"/>
                </a:lnTo>
                <a:lnTo>
                  <a:pt x="1312" y="1015"/>
                </a:lnTo>
                <a:lnTo>
                  <a:pt x="1311" y="1026"/>
                </a:lnTo>
                <a:close/>
                <a:moveTo>
                  <a:pt x="1084" y="439"/>
                </a:moveTo>
                <a:lnTo>
                  <a:pt x="1084" y="438"/>
                </a:lnTo>
                <a:lnTo>
                  <a:pt x="1083" y="436"/>
                </a:lnTo>
                <a:lnTo>
                  <a:pt x="1084" y="435"/>
                </a:lnTo>
                <a:lnTo>
                  <a:pt x="1086" y="435"/>
                </a:lnTo>
                <a:lnTo>
                  <a:pt x="1087" y="435"/>
                </a:lnTo>
                <a:lnTo>
                  <a:pt x="1087" y="436"/>
                </a:lnTo>
                <a:lnTo>
                  <a:pt x="1086" y="438"/>
                </a:lnTo>
                <a:lnTo>
                  <a:pt x="1084" y="439"/>
                </a:lnTo>
                <a:close/>
                <a:moveTo>
                  <a:pt x="1089" y="463"/>
                </a:moveTo>
                <a:lnTo>
                  <a:pt x="1089" y="457"/>
                </a:lnTo>
                <a:lnTo>
                  <a:pt x="1089" y="450"/>
                </a:lnTo>
                <a:lnTo>
                  <a:pt x="1091" y="438"/>
                </a:lnTo>
                <a:lnTo>
                  <a:pt x="1090" y="425"/>
                </a:lnTo>
                <a:lnTo>
                  <a:pt x="1088" y="412"/>
                </a:lnTo>
                <a:lnTo>
                  <a:pt x="1090" y="399"/>
                </a:lnTo>
                <a:lnTo>
                  <a:pt x="1089" y="396"/>
                </a:lnTo>
                <a:lnTo>
                  <a:pt x="1086" y="394"/>
                </a:lnTo>
                <a:lnTo>
                  <a:pt x="1083" y="396"/>
                </a:lnTo>
                <a:lnTo>
                  <a:pt x="1083" y="399"/>
                </a:lnTo>
                <a:lnTo>
                  <a:pt x="1082" y="407"/>
                </a:lnTo>
                <a:lnTo>
                  <a:pt x="1083" y="417"/>
                </a:lnTo>
                <a:lnTo>
                  <a:pt x="1083" y="427"/>
                </a:lnTo>
                <a:lnTo>
                  <a:pt x="1081" y="438"/>
                </a:lnTo>
                <a:lnTo>
                  <a:pt x="1081" y="440"/>
                </a:lnTo>
                <a:lnTo>
                  <a:pt x="1082" y="442"/>
                </a:lnTo>
                <a:lnTo>
                  <a:pt x="1084" y="447"/>
                </a:lnTo>
                <a:lnTo>
                  <a:pt x="1086" y="450"/>
                </a:lnTo>
                <a:lnTo>
                  <a:pt x="1086" y="463"/>
                </a:lnTo>
                <a:lnTo>
                  <a:pt x="1080" y="475"/>
                </a:lnTo>
                <a:lnTo>
                  <a:pt x="1077" y="476"/>
                </a:lnTo>
                <a:lnTo>
                  <a:pt x="1077" y="478"/>
                </a:lnTo>
                <a:lnTo>
                  <a:pt x="1077" y="480"/>
                </a:lnTo>
                <a:lnTo>
                  <a:pt x="1079" y="480"/>
                </a:lnTo>
                <a:lnTo>
                  <a:pt x="1081" y="478"/>
                </a:lnTo>
                <a:lnTo>
                  <a:pt x="1081" y="476"/>
                </a:lnTo>
                <a:lnTo>
                  <a:pt x="1084" y="474"/>
                </a:lnTo>
                <a:lnTo>
                  <a:pt x="1087" y="471"/>
                </a:lnTo>
                <a:lnTo>
                  <a:pt x="1088" y="476"/>
                </a:lnTo>
                <a:lnTo>
                  <a:pt x="1089" y="478"/>
                </a:lnTo>
                <a:lnTo>
                  <a:pt x="1094" y="477"/>
                </a:lnTo>
                <a:lnTo>
                  <a:pt x="1098" y="475"/>
                </a:lnTo>
                <a:lnTo>
                  <a:pt x="1097" y="471"/>
                </a:lnTo>
                <a:lnTo>
                  <a:pt x="1094" y="470"/>
                </a:lnTo>
                <a:lnTo>
                  <a:pt x="1090" y="468"/>
                </a:lnTo>
                <a:lnTo>
                  <a:pt x="1089" y="463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799" dirty="0"/>
            </a:lvl1pPr>
          </a:lstStyle>
          <a:p>
            <a:pPr lvl="0" algn="ctr"/>
            <a:r>
              <a:rPr lang="en-US" sz="4799"/>
              <a:t>sdfdsf</a:t>
            </a:r>
            <a:endParaRPr lang="en-US" sz="4799" dirty="0"/>
          </a:p>
        </p:txBody>
      </p:sp>
    </p:spTree>
    <p:extLst>
      <p:ext uri="{BB962C8B-B14F-4D97-AF65-F5344CB8AC3E}">
        <p14:creationId xmlns:p14="http://schemas.microsoft.com/office/powerpoint/2010/main" val="266443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6">
            <a:extLst>
              <a:ext uri="{FF2B5EF4-FFF2-40B4-BE49-F238E27FC236}">
                <a16:creationId xmlns:a16="http://schemas.microsoft.com/office/drawing/2014/main" id="{B7C3C85D-77F4-184D-BBB6-6EE4F4BF9F4A}"/>
              </a:ext>
            </a:extLst>
          </p:cNvPr>
          <p:cNvSpPr>
            <a:spLocks noGrp="1" noEditPoints="1"/>
          </p:cNvSpPr>
          <p:nvPr>
            <p:ph type="pic" sz="quarter" idx="24" hasCustomPrompt="1"/>
          </p:nvPr>
        </p:nvSpPr>
        <p:spPr bwMode="auto">
          <a:xfrm flipH="1">
            <a:off x="4512030" y="261014"/>
            <a:ext cx="7426664" cy="6596986"/>
          </a:xfrm>
          <a:custGeom>
            <a:avLst/>
            <a:gdLst>
              <a:gd name="T0" fmla="*/ 1475 w 1566"/>
              <a:gd name="T1" fmla="*/ 1117 h 1569"/>
              <a:gd name="T2" fmla="*/ 1471 w 1566"/>
              <a:gd name="T3" fmla="*/ 1100 h 1569"/>
              <a:gd name="T4" fmla="*/ 839 w 1566"/>
              <a:gd name="T5" fmla="*/ 1222 h 1569"/>
              <a:gd name="T6" fmla="*/ 1150 w 1566"/>
              <a:gd name="T7" fmla="*/ 1087 h 1569"/>
              <a:gd name="T8" fmla="*/ 1326 w 1566"/>
              <a:gd name="T9" fmla="*/ 1064 h 1569"/>
              <a:gd name="T10" fmla="*/ 1536 w 1566"/>
              <a:gd name="T11" fmla="*/ 1056 h 1569"/>
              <a:gd name="T12" fmla="*/ 756 w 1566"/>
              <a:gd name="T13" fmla="*/ 1137 h 1569"/>
              <a:gd name="T14" fmla="*/ 673 w 1566"/>
              <a:gd name="T15" fmla="*/ 1255 h 1569"/>
              <a:gd name="T16" fmla="*/ 144 w 1566"/>
              <a:gd name="T17" fmla="*/ 1130 h 1569"/>
              <a:gd name="T18" fmla="*/ 577 w 1566"/>
              <a:gd name="T19" fmla="*/ 1449 h 1569"/>
              <a:gd name="T20" fmla="*/ 13 w 1566"/>
              <a:gd name="T21" fmla="*/ 1123 h 1569"/>
              <a:gd name="T22" fmla="*/ 621 w 1566"/>
              <a:gd name="T23" fmla="*/ 1569 h 1569"/>
              <a:gd name="T24" fmla="*/ 743 w 1566"/>
              <a:gd name="T25" fmla="*/ 1380 h 1569"/>
              <a:gd name="T26" fmla="*/ 1481 w 1566"/>
              <a:gd name="T27" fmla="*/ 1128 h 1569"/>
              <a:gd name="T28" fmla="*/ 724 w 1566"/>
              <a:gd name="T29" fmla="*/ 273 h 1569"/>
              <a:gd name="T30" fmla="*/ 676 w 1566"/>
              <a:gd name="T31" fmla="*/ 2 h 1569"/>
              <a:gd name="T32" fmla="*/ 584 w 1566"/>
              <a:gd name="T33" fmla="*/ 389 h 1569"/>
              <a:gd name="T34" fmla="*/ 970 w 1566"/>
              <a:gd name="T35" fmla="*/ 499 h 1569"/>
              <a:gd name="T36" fmla="*/ 1157 w 1566"/>
              <a:gd name="T37" fmla="*/ 494 h 1569"/>
              <a:gd name="T38" fmla="*/ 1418 w 1566"/>
              <a:gd name="T39" fmla="*/ 471 h 1569"/>
              <a:gd name="T40" fmla="*/ 594 w 1566"/>
              <a:gd name="T41" fmla="*/ 507 h 1569"/>
              <a:gd name="T42" fmla="*/ 1186 w 1566"/>
              <a:gd name="T43" fmla="*/ 525 h 1569"/>
              <a:gd name="T44" fmla="*/ 673 w 1566"/>
              <a:gd name="T45" fmla="*/ 548 h 1569"/>
              <a:gd name="T46" fmla="*/ 1419 w 1566"/>
              <a:gd name="T47" fmla="*/ 520 h 1569"/>
              <a:gd name="T48" fmla="*/ 926 w 1566"/>
              <a:gd name="T49" fmla="*/ 480 h 1569"/>
              <a:gd name="T50" fmla="*/ 669 w 1566"/>
              <a:gd name="T51" fmla="*/ 451 h 1569"/>
              <a:gd name="T52" fmla="*/ 628 w 1566"/>
              <a:gd name="T53" fmla="*/ 360 h 1569"/>
              <a:gd name="T54" fmla="*/ 619 w 1566"/>
              <a:gd name="T55" fmla="*/ 325 h 1569"/>
              <a:gd name="T56" fmla="*/ 329 w 1566"/>
              <a:gd name="T57" fmla="*/ 562 h 1569"/>
              <a:gd name="T58" fmla="*/ 594 w 1566"/>
              <a:gd name="T59" fmla="*/ 583 h 1569"/>
              <a:gd name="T60" fmla="*/ 571 w 1566"/>
              <a:gd name="T61" fmla="*/ 618 h 1569"/>
              <a:gd name="T62" fmla="*/ 562 w 1566"/>
              <a:gd name="T63" fmla="*/ 529 h 1569"/>
              <a:gd name="T64" fmla="*/ 522 w 1566"/>
              <a:gd name="T65" fmla="*/ 488 h 1569"/>
              <a:gd name="T66" fmla="*/ 481 w 1566"/>
              <a:gd name="T67" fmla="*/ 547 h 1569"/>
              <a:gd name="T68" fmla="*/ 463 w 1566"/>
              <a:gd name="T69" fmla="*/ 460 h 1569"/>
              <a:gd name="T70" fmla="*/ 426 w 1566"/>
              <a:gd name="T71" fmla="*/ 479 h 1569"/>
              <a:gd name="T72" fmla="*/ 419 w 1566"/>
              <a:gd name="T73" fmla="*/ 394 h 1569"/>
              <a:gd name="T74" fmla="*/ 384 w 1566"/>
              <a:gd name="T75" fmla="*/ 462 h 1569"/>
              <a:gd name="T76" fmla="*/ 474 w 1566"/>
              <a:gd name="T77" fmla="*/ 453 h 1569"/>
              <a:gd name="T78" fmla="*/ 283 w 1566"/>
              <a:gd name="T79" fmla="*/ 306 h 1569"/>
              <a:gd name="T80" fmla="*/ 380 w 1566"/>
              <a:gd name="T81" fmla="*/ 1213 h 1569"/>
              <a:gd name="T82" fmla="*/ 475 w 1566"/>
              <a:gd name="T83" fmla="*/ 620 h 1569"/>
              <a:gd name="T84" fmla="*/ 551 w 1566"/>
              <a:gd name="T85" fmla="*/ 907 h 1569"/>
              <a:gd name="T86" fmla="*/ 286 w 1566"/>
              <a:gd name="T87" fmla="*/ 1163 h 1569"/>
              <a:gd name="T88" fmla="*/ 674 w 1566"/>
              <a:gd name="T89" fmla="*/ 1098 h 1569"/>
              <a:gd name="T90" fmla="*/ 747 w 1566"/>
              <a:gd name="T91" fmla="*/ 1126 h 1569"/>
              <a:gd name="T92" fmla="*/ 1013 w 1566"/>
              <a:gd name="T93" fmla="*/ 1078 h 1569"/>
              <a:gd name="T94" fmla="*/ 694 w 1566"/>
              <a:gd name="T95" fmla="*/ 1016 h 1569"/>
              <a:gd name="T96" fmla="*/ 732 w 1566"/>
              <a:gd name="T97" fmla="*/ 818 h 1569"/>
              <a:gd name="T98" fmla="*/ 737 w 1566"/>
              <a:gd name="T99" fmla="*/ 609 h 1569"/>
              <a:gd name="T100" fmla="*/ 435 w 1566"/>
              <a:gd name="T101" fmla="*/ 550 h 1569"/>
              <a:gd name="T102" fmla="*/ 184 w 1566"/>
              <a:gd name="T103" fmla="*/ 271 h 1569"/>
              <a:gd name="T104" fmla="*/ 332 w 1566"/>
              <a:gd name="T105" fmla="*/ 582 h 1569"/>
              <a:gd name="T106" fmla="*/ 1186 w 1566"/>
              <a:gd name="T107" fmla="*/ 1217 h 1569"/>
              <a:gd name="T108" fmla="*/ 836 w 1566"/>
              <a:gd name="T109" fmla="*/ 1255 h 1569"/>
              <a:gd name="T110" fmla="*/ 1020 w 1566"/>
              <a:gd name="T111" fmla="*/ 1221 h 1569"/>
              <a:gd name="T112" fmla="*/ 1119 w 1566"/>
              <a:gd name="T113" fmla="*/ 1170 h 1569"/>
              <a:gd name="T114" fmla="*/ 483 w 1566"/>
              <a:gd name="T115" fmla="*/ 1361 h 1569"/>
              <a:gd name="T116" fmla="*/ 421 w 1566"/>
              <a:gd name="T117" fmla="*/ 1326 h 1569"/>
              <a:gd name="T118" fmla="*/ 326 w 1566"/>
              <a:gd name="T119" fmla="*/ 1271 h 1569"/>
              <a:gd name="T120" fmla="*/ 83 w 1566"/>
              <a:gd name="T121" fmla="*/ 1164 h 1569"/>
              <a:gd name="T122" fmla="*/ 949 w 1566"/>
              <a:gd name="T123" fmla="*/ 1147 h 1569"/>
              <a:gd name="T124" fmla="*/ 1066 w 1566"/>
              <a:gd name="T125" fmla="*/ 1102 h 1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66" h="1569">
                <a:moveTo>
                  <a:pt x="1410" y="1101"/>
                </a:moveTo>
                <a:lnTo>
                  <a:pt x="1407" y="1106"/>
                </a:lnTo>
                <a:lnTo>
                  <a:pt x="1403" y="1110"/>
                </a:lnTo>
                <a:lnTo>
                  <a:pt x="1402" y="1105"/>
                </a:lnTo>
                <a:lnTo>
                  <a:pt x="1402" y="1099"/>
                </a:lnTo>
                <a:lnTo>
                  <a:pt x="1402" y="1096"/>
                </a:lnTo>
                <a:lnTo>
                  <a:pt x="1402" y="1094"/>
                </a:lnTo>
                <a:lnTo>
                  <a:pt x="1400" y="1092"/>
                </a:lnTo>
                <a:lnTo>
                  <a:pt x="1398" y="1091"/>
                </a:lnTo>
                <a:lnTo>
                  <a:pt x="1399" y="1088"/>
                </a:lnTo>
                <a:lnTo>
                  <a:pt x="1400" y="1086"/>
                </a:lnTo>
                <a:lnTo>
                  <a:pt x="1401" y="1081"/>
                </a:lnTo>
                <a:lnTo>
                  <a:pt x="1402" y="1075"/>
                </a:lnTo>
                <a:lnTo>
                  <a:pt x="1403" y="1072"/>
                </a:lnTo>
                <a:lnTo>
                  <a:pt x="1405" y="1070"/>
                </a:lnTo>
                <a:lnTo>
                  <a:pt x="1407" y="1070"/>
                </a:lnTo>
                <a:lnTo>
                  <a:pt x="1410" y="1070"/>
                </a:lnTo>
                <a:lnTo>
                  <a:pt x="1410" y="1073"/>
                </a:lnTo>
                <a:lnTo>
                  <a:pt x="1412" y="1077"/>
                </a:lnTo>
                <a:lnTo>
                  <a:pt x="1413" y="1079"/>
                </a:lnTo>
                <a:lnTo>
                  <a:pt x="1415" y="1081"/>
                </a:lnTo>
                <a:lnTo>
                  <a:pt x="1420" y="1086"/>
                </a:lnTo>
                <a:lnTo>
                  <a:pt x="1425" y="1091"/>
                </a:lnTo>
                <a:lnTo>
                  <a:pt x="1420" y="1089"/>
                </a:lnTo>
                <a:lnTo>
                  <a:pt x="1413" y="1088"/>
                </a:lnTo>
                <a:lnTo>
                  <a:pt x="1419" y="1103"/>
                </a:lnTo>
                <a:lnTo>
                  <a:pt x="1426" y="1119"/>
                </a:lnTo>
                <a:lnTo>
                  <a:pt x="1419" y="1110"/>
                </a:lnTo>
                <a:lnTo>
                  <a:pt x="1410" y="1101"/>
                </a:lnTo>
                <a:close/>
                <a:moveTo>
                  <a:pt x="965" y="1070"/>
                </a:moveTo>
                <a:lnTo>
                  <a:pt x="965" y="1074"/>
                </a:lnTo>
                <a:lnTo>
                  <a:pt x="966" y="1079"/>
                </a:lnTo>
                <a:lnTo>
                  <a:pt x="966" y="1084"/>
                </a:lnTo>
                <a:lnTo>
                  <a:pt x="968" y="1087"/>
                </a:lnTo>
                <a:lnTo>
                  <a:pt x="973" y="1087"/>
                </a:lnTo>
                <a:lnTo>
                  <a:pt x="979" y="1085"/>
                </a:lnTo>
                <a:lnTo>
                  <a:pt x="973" y="1077"/>
                </a:lnTo>
                <a:lnTo>
                  <a:pt x="968" y="1068"/>
                </a:lnTo>
                <a:lnTo>
                  <a:pt x="967" y="1068"/>
                </a:lnTo>
                <a:lnTo>
                  <a:pt x="965" y="1070"/>
                </a:lnTo>
                <a:close/>
                <a:moveTo>
                  <a:pt x="1481" y="1128"/>
                </a:move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77" y="1127"/>
                </a:lnTo>
                <a:lnTo>
                  <a:pt x="1475" y="1124"/>
                </a:lnTo>
                <a:lnTo>
                  <a:pt x="1474" y="1121"/>
                </a:lnTo>
                <a:lnTo>
                  <a:pt x="1475" y="1117"/>
                </a:lnTo>
                <a:lnTo>
                  <a:pt x="1479" y="1102"/>
                </a:lnTo>
                <a:lnTo>
                  <a:pt x="1485" y="1088"/>
                </a:lnTo>
                <a:lnTo>
                  <a:pt x="1489" y="1085"/>
                </a:lnTo>
                <a:lnTo>
                  <a:pt x="1492" y="1082"/>
                </a:lnTo>
                <a:lnTo>
                  <a:pt x="1495" y="1087"/>
                </a:lnTo>
                <a:lnTo>
                  <a:pt x="1495" y="1091"/>
                </a:lnTo>
                <a:lnTo>
                  <a:pt x="1492" y="1099"/>
                </a:lnTo>
                <a:lnTo>
                  <a:pt x="1489" y="1107"/>
                </a:lnTo>
                <a:lnTo>
                  <a:pt x="1502" y="1107"/>
                </a:lnTo>
                <a:lnTo>
                  <a:pt x="1513" y="1107"/>
                </a:lnTo>
                <a:lnTo>
                  <a:pt x="1524" y="1107"/>
                </a:lnTo>
                <a:lnTo>
                  <a:pt x="1536" y="1107"/>
                </a:lnTo>
                <a:lnTo>
                  <a:pt x="1539" y="1106"/>
                </a:lnTo>
                <a:lnTo>
                  <a:pt x="1541" y="1103"/>
                </a:lnTo>
                <a:lnTo>
                  <a:pt x="1546" y="1092"/>
                </a:lnTo>
                <a:lnTo>
                  <a:pt x="1553" y="1081"/>
                </a:lnTo>
                <a:lnTo>
                  <a:pt x="1555" y="1077"/>
                </a:lnTo>
                <a:lnTo>
                  <a:pt x="1557" y="1071"/>
                </a:lnTo>
                <a:lnTo>
                  <a:pt x="1558" y="1064"/>
                </a:lnTo>
                <a:lnTo>
                  <a:pt x="1557" y="1057"/>
                </a:lnTo>
                <a:lnTo>
                  <a:pt x="1557" y="1056"/>
                </a:lnTo>
                <a:lnTo>
                  <a:pt x="1557" y="1054"/>
                </a:lnTo>
                <a:lnTo>
                  <a:pt x="1560" y="1044"/>
                </a:lnTo>
                <a:lnTo>
                  <a:pt x="1565" y="1035"/>
                </a:lnTo>
                <a:lnTo>
                  <a:pt x="1566" y="1029"/>
                </a:lnTo>
                <a:lnTo>
                  <a:pt x="1566" y="1024"/>
                </a:lnTo>
                <a:lnTo>
                  <a:pt x="1564" y="1021"/>
                </a:lnTo>
                <a:lnTo>
                  <a:pt x="1559" y="1017"/>
                </a:lnTo>
                <a:lnTo>
                  <a:pt x="1558" y="1021"/>
                </a:lnTo>
                <a:lnTo>
                  <a:pt x="1558" y="1024"/>
                </a:lnTo>
                <a:lnTo>
                  <a:pt x="1552" y="1036"/>
                </a:lnTo>
                <a:lnTo>
                  <a:pt x="1546" y="1047"/>
                </a:lnTo>
                <a:lnTo>
                  <a:pt x="1540" y="1059"/>
                </a:lnTo>
                <a:lnTo>
                  <a:pt x="1534" y="1071"/>
                </a:lnTo>
                <a:lnTo>
                  <a:pt x="1533" y="1073"/>
                </a:lnTo>
                <a:lnTo>
                  <a:pt x="1531" y="1074"/>
                </a:lnTo>
                <a:lnTo>
                  <a:pt x="1520" y="1078"/>
                </a:lnTo>
                <a:lnTo>
                  <a:pt x="1509" y="1080"/>
                </a:lnTo>
                <a:lnTo>
                  <a:pt x="1503" y="1080"/>
                </a:lnTo>
                <a:lnTo>
                  <a:pt x="1498" y="1079"/>
                </a:lnTo>
                <a:lnTo>
                  <a:pt x="1492" y="1077"/>
                </a:lnTo>
                <a:lnTo>
                  <a:pt x="1487" y="1072"/>
                </a:lnTo>
                <a:lnTo>
                  <a:pt x="1482" y="1085"/>
                </a:lnTo>
                <a:lnTo>
                  <a:pt x="1477" y="1098"/>
                </a:lnTo>
                <a:lnTo>
                  <a:pt x="1471" y="1109"/>
                </a:lnTo>
                <a:lnTo>
                  <a:pt x="1467" y="1122"/>
                </a:lnTo>
                <a:lnTo>
                  <a:pt x="1465" y="1122"/>
                </a:lnTo>
                <a:lnTo>
                  <a:pt x="1464" y="1121"/>
                </a:lnTo>
                <a:lnTo>
                  <a:pt x="1465" y="1119"/>
                </a:lnTo>
                <a:lnTo>
                  <a:pt x="1465" y="1117"/>
                </a:lnTo>
                <a:lnTo>
                  <a:pt x="1471" y="1100"/>
                </a:lnTo>
                <a:lnTo>
                  <a:pt x="1477" y="1082"/>
                </a:lnTo>
                <a:lnTo>
                  <a:pt x="1478" y="1079"/>
                </a:lnTo>
                <a:lnTo>
                  <a:pt x="1478" y="1077"/>
                </a:lnTo>
                <a:lnTo>
                  <a:pt x="1478" y="1074"/>
                </a:lnTo>
                <a:lnTo>
                  <a:pt x="1476" y="1072"/>
                </a:lnTo>
                <a:lnTo>
                  <a:pt x="1463" y="1056"/>
                </a:lnTo>
                <a:lnTo>
                  <a:pt x="1450" y="1040"/>
                </a:lnTo>
                <a:lnTo>
                  <a:pt x="1447" y="1037"/>
                </a:lnTo>
                <a:lnTo>
                  <a:pt x="1443" y="1036"/>
                </a:lnTo>
                <a:lnTo>
                  <a:pt x="1440" y="1036"/>
                </a:lnTo>
                <a:lnTo>
                  <a:pt x="1435" y="1037"/>
                </a:lnTo>
                <a:lnTo>
                  <a:pt x="1426" y="1040"/>
                </a:lnTo>
                <a:lnTo>
                  <a:pt x="1418" y="1043"/>
                </a:lnTo>
                <a:lnTo>
                  <a:pt x="1408" y="1046"/>
                </a:lnTo>
                <a:lnTo>
                  <a:pt x="1399" y="1049"/>
                </a:lnTo>
                <a:lnTo>
                  <a:pt x="1381" y="1054"/>
                </a:lnTo>
                <a:lnTo>
                  <a:pt x="1364" y="1059"/>
                </a:lnTo>
                <a:lnTo>
                  <a:pt x="1345" y="1065"/>
                </a:lnTo>
                <a:lnTo>
                  <a:pt x="1327" y="1071"/>
                </a:lnTo>
                <a:lnTo>
                  <a:pt x="1310" y="1075"/>
                </a:lnTo>
                <a:lnTo>
                  <a:pt x="1291" y="1081"/>
                </a:lnTo>
                <a:lnTo>
                  <a:pt x="1274" y="1087"/>
                </a:lnTo>
                <a:lnTo>
                  <a:pt x="1256" y="1093"/>
                </a:lnTo>
                <a:lnTo>
                  <a:pt x="1241" y="1098"/>
                </a:lnTo>
                <a:lnTo>
                  <a:pt x="1227" y="1102"/>
                </a:lnTo>
                <a:lnTo>
                  <a:pt x="1213" y="1107"/>
                </a:lnTo>
                <a:lnTo>
                  <a:pt x="1199" y="1112"/>
                </a:lnTo>
                <a:lnTo>
                  <a:pt x="1186" y="1115"/>
                </a:lnTo>
                <a:lnTo>
                  <a:pt x="1174" y="1120"/>
                </a:lnTo>
                <a:lnTo>
                  <a:pt x="1163" y="1123"/>
                </a:lnTo>
                <a:lnTo>
                  <a:pt x="1150" y="1127"/>
                </a:lnTo>
                <a:lnTo>
                  <a:pt x="1136" y="1131"/>
                </a:lnTo>
                <a:lnTo>
                  <a:pt x="1120" y="1136"/>
                </a:lnTo>
                <a:lnTo>
                  <a:pt x="1105" y="1141"/>
                </a:lnTo>
                <a:lnTo>
                  <a:pt x="1091" y="1145"/>
                </a:lnTo>
                <a:lnTo>
                  <a:pt x="1074" y="1150"/>
                </a:lnTo>
                <a:lnTo>
                  <a:pt x="1057" y="1156"/>
                </a:lnTo>
                <a:lnTo>
                  <a:pt x="1041" y="1161"/>
                </a:lnTo>
                <a:lnTo>
                  <a:pt x="1025" y="1165"/>
                </a:lnTo>
                <a:lnTo>
                  <a:pt x="1009" y="1170"/>
                </a:lnTo>
                <a:lnTo>
                  <a:pt x="995" y="1175"/>
                </a:lnTo>
                <a:lnTo>
                  <a:pt x="981" y="1178"/>
                </a:lnTo>
                <a:lnTo>
                  <a:pt x="967" y="1183"/>
                </a:lnTo>
                <a:lnTo>
                  <a:pt x="950" y="1189"/>
                </a:lnTo>
                <a:lnTo>
                  <a:pt x="932" y="1193"/>
                </a:lnTo>
                <a:lnTo>
                  <a:pt x="916" y="1199"/>
                </a:lnTo>
                <a:lnTo>
                  <a:pt x="898" y="1205"/>
                </a:lnTo>
                <a:lnTo>
                  <a:pt x="883" y="1210"/>
                </a:lnTo>
                <a:lnTo>
                  <a:pt x="869" y="1214"/>
                </a:lnTo>
                <a:lnTo>
                  <a:pt x="854" y="1218"/>
                </a:lnTo>
                <a:lnTo>
                  <a:pt x="839" y="1222"/>
                </a:lnTo>
                <a:lnTo>
                  <a:pt x="822" y="1226"/>
                </a:lnTo>
                <a:lnTo>
                  <a:pt x="805" y="1229"/>
                </a:lnTo>
                <a:lnTo>
                  <a:pt x="815" y="1226"/>
                </a:lnTo>
                <a:lnTo>
                  <a:pt x="825" y="1221"/>
                </a:lnTo>
                <a:lnTo>
                  <a:pt x="835" y="1218"/>
                </a:lnTo>
                <a:lnTo>
                  <a:pt x="845" y="1214"/>
                </a:lnTo>
                <a:lnTo>
                  <a:pt x="816" y="1219"/>
                </a:lnTo>
                <a:lnTo>
                  <a:pt x="788" y="1224"/>
                </a:lnTo>
                <a:lnTo>
                  <a:pt x="760" y="1228"/>
                </a:lnTo>
                <a:lnTo>
                  <a:pt x="732" y="1232"/>
                </a:lnTo>
                <a:lnTo>
                  <a:pt x="732" y="1231"/>
                </a:lnTo>
                <a:lnTo>
                  <a:pt x="733" y="1229"/>
                </a:lnTo>
                <a:lnTo>
                  <a:pt x="753" y="1226"/>
                </a:lnTo>
                <a:lnTo>
                  <a:pt x="773" y="1221"/>
                </a:lnTo>
                <a:lnTo>
                  <a:pt x="792" y="1218"/>
                </a:lnTo>
                <a:lnTo>
                  <a:pt x="812" y="1213"/>
                </a:lnTo>
                <a:lnTo>
                  <a:pt x="829" y="1210"/>
                </a:lnTo>
                <a:lnTo>
                  <a:pt x="847" y="1206"/>
                </a:lnTo>
                <a:lnTo>
                  <a:pt x="864" y="1203"/>
                </a:lnTo>
                <a:lnTo>
                  <a:pt x="882" y="1199"/>
                </a:lnTo>
                <a:lnTo>
                  <a:pt x="895" y="1197"/>
                </a:lnTo>
                <a:lnTo>
                  <a:pt x="908" y="1193"/>
                </a:lnTo>
                <a:lnTo>
                  <a:pt x="921" y="1191"/>
                </a:lnTo>
                <a:lnTo>
                  <a:pt x="933" y="1187"/>
                </a:lnTo>
                <a:lnTo>
                  <a:pt x="947" y="1184"/>
                </a:lnTo>
                <a:lnTo>
                  <a:pt x="961" y="1179"/>
                </a:lnTo>
                <a:lnTo>
                  <a:pt x="974" y="1175"/>
                </a:lnTo>
                <a:lnTo>
                  <a:pt x="987" y="1171"/>
                </a:lnTo>
                <a:lnTo>
                  <a:pt x="1002" y="1166"/>
                </a:lnTo>
                <a:lnTo>
                  <a:pt x="1016" y="1162"/>
                </a:lnTo>
                <a:lnTo>
                  <a:pt x="1030" y="1158"/>
                </a:lnTo>
                <a:lnTo>
                  <a:pt x="1044" y="1154"/>
                </a:lnTo>
                <a:lnTo>
                  <a:pt x="1062" y="1148"/>
                </a:lnTo>
                <a:lnTo>
                  <a:pt x="1080" y="1143"/>
                </a:lnTo>
                <a:lnTo>
                  <a:pt x="1097" y="1137"/>
                </a:lnTo>
                <a:lnTo>
                  <a:pt x="1113" y="1131"/>
                </a:lnTo>
                <a:lnTo>
                  <a:pt x="1123" y="1129"/>
                </a:lnTo>
                <a:lnTo>
                  <a:pt x="1133" y="1127"/>
                </a:lnTo>
                <a:lnTo>
                  <a:pt x="1143" y="1123"/>
                </a:lnTo>
                <a:lnTo>
                  <a:pt x="1152" y="1120"/>
                </a:lnTo>
                <a:lnTo>
                  <a:pt x="1154" y="1119"/>
                </a:lnTo>
                <a:lnTo>
                  <a:pt x="1158" y="1117"/>
                </a:lnTo>
                <a:lnTo>
                  <a:pt x="1159" y="1116"/>
                </a:lnTo>
                <a:lnTo>
                  <a:pt x="1160" y="1115"/>
                </a:lnTo>
                <a:lnTo>
                  <a:pt x="1160" y="1113"/>
                </a:lnTo>
                <a:lnTo>
                  <a:pt x="1159" y="1110"/>
                </a:lnTo>
                <a:lnTo>
                  <a:pt x="1154" y="1102"/>
                </a:lnTo>
                <a:lnTo>
                  <a:pt x="1150" y="1094"/>
                </a:lnTo>
                <a:lnTo>
                  <a:pt x="1150" y="1091"/>
                </a:lnTo>
                <a:lnTo>
                  <a:pt x="1149" y="1088"/>
                </a:lnTo>
                <a:lnTo>
                  <a:pt x="1150" y="1087"/>
                </a:lnTo>
                <a:lnTo>
                  <a:pt x="1151" y="1087"/>
                </a:lnTo>
                <a:lnTo>
                  <a:pt x="1158" y="1098"/>
                </a:lnTo>
                <a:lnTo>
                  <a:pt x="1164" y="1109"/>
                </a:lnTo>
                <a:lnTo>
                  <a:pt x="1165" y="1112"/>
                </a:lnTo>
                <a:lnTo>
                  <a:pt x="1166" y="1113"/>
                </a:lnTo>
                <a:lnTo>
                  <a:pt x="1167" y="1114"/>
                </a:lnTo>
                <a:lnTo>
                  <a:pt x="1170" y="1114"/>
                </a:lnTo>
                <a:lnTo>
                  <a:pt x="1173" y="1114"/>
                </a:lnTo>
                <a:lnTo>
                  <a:pt x="1177" y="1113"/>
                </a:lnTo>
                <a:lnTo>
                  <a:pt x="1179" y="1112"/>
                </a:lnTo>
                <a:lnTo>
                  <a:pt x="1181" y="1109"/>
                </a:lnTo>
                <a:lnTo>
                  <a:pt x="1181" y="1107"/>
                </a:lnTo>
                <a:lnTo>
                  <a:pt x="1181" y="1103"/>
                </a:lnTo>
                <a:lnTo>
                  <a:pt x="1180" y="1095"/>
                </a:lnTo>
                <a:lnTo>
                  <a:pt x="1179" y="1088"/>
                </a:lnTo>
                <a:lnTo>
                  <a:pt x="1179" y="1084"/>
                </a:lnTo>
                <a:lnTo>
                  <a:pt x="1179" y="1079"/>
                </a:lnTo>
                <a:lnTo>
                  <a:pt x="1181" y="1079"/>
                </a:lnTo>
                <a:lnTo>
                  <a:pt x="1182" y="1079"/>
                </a:lnTo>
                <a:lnTo>
                  <a:pt x="1182" y="1087"/>
                </a:lnTo>
                <a:lnTo>
                  <a:pt x="1184" y="1094"/>
                </a:lnTo>
                <a:lnTo>
                  <a:pt x="1184" y="1100"/>
                </a:lnTo>
                <a:lnTo>
                  <a:pt x="1184" y="1103"/>
                </a:lnTo>
                <a:lnTo>
                  <a:pt x="1185" y="1106"/>
                </a:lnTo>
                <a:lnTo>
                  <a:pt x="1186" y="1108"/>
                </a:lnTo>
                <a:lnTo>
                  <a:pt x="1188" y="1108"/>
                </a:lnTo>
                <a:lnTo>
                  <a:pt x="1191" y="1108"/>
                </a:lnTo>
                <a:lnTo>
                  <a:pt x="1194" y="1107"/>
                </a:lnTo>
                <a:lnTo>
                  <a:pt x="1200" y="1105"/>
                </a:lnTo>
                <a:lnTo>
                  <a:pt x="1208" y="1102"/>
                </a:lnTo>
                <a:lnTo>
                  <a:pt x="1212" y="1099"/>
                </a:lnTo>
                <a:lnTo>
                  <a:pt x="1213" y="1094"/>
                </a:lnTo>
                <a:lnTo>
                  <a:pt x="1212" y="1085"/>
                </a:lnTo>
                <a:lnTo>
                  <a:pt x="1212" y="1079"/>
                </a:lnTo>
                <a:lnTo>
                  <a:pt x="1211" y="1072"/>
                </a:lnTo>
                <a:lnTo>
                  <a:pt x="1213" y="1072"/>
                </a:lnTo>
                <a:lnTo>
                  <a:pt x="1214" y="1072"/>
                </a:lnTo>
                <a:lnTo>
                  <a:pt x="1214" y="1080"/>
                </a:lnTo>
                <a:lnTo>
                  <a:pt x="1215" y="1088"/>
                </a:lnTo>
                <a:lnTo>
                  <a:pt x="1216" y="1094"/>
                </a:lnTo>
                <a:lnTo>
                  <a:pt x="1218" y="1098"/>
                </a:lnTo>
                <a:lnTo>
                  <a:pt x="1221" y="1098"/>
                </a:lnTo>
                <a:lnTo>
                  <a:pt x="1228" y="1096"/>
                </a:lnTo>
                <a:lnTo>
                  <a:pt x="1242" y="1092"/>
                </a:lnTo>
                <a:lnTo>
                  <a:pt x="1256" y="1087"/>
                </a:lnTo>
                <a:lnTo>
                  <a:pt x="1265" y="1085"/>
                </a:lnTo>
                <a:lnTo>
                  <a:pt x="1276" y="1081"/>
                </a:lnTo>
                <a:lnTo>
                  <a:pt x="1285" y="1079"/>
                </a:lnTo>
                <a:lnTo>
                  <a:pt x="1296" y="1075"/>
                </a:lnTo>
                <a:lnTo>
                  <a:pt x="1311" y="1070"/>
                </a:lnTo>
                <a:lnTo>
                  <a:pt x="1326" y="1064"/>
                </a:lnTo>
                <a:lnTo>
                  <a:pt x="1343" y="1059"/>
                </a:lnTo>
                <a:lnTo>
                  <a:pt x="1359" y="1054"/>
                </a:lnTo>
                <a:lnTo>
                  <a:pt x="1377" y="1049"/>
                </a:lnTo>
                <a:lnTo>
                  <a:pt x="1395" y="1043"/>
                </a:lnTo>
                <a:lnTo>
                  <a:pt x="1413" y="1037"/>
                </a:lnTo>
                <a:lnTo>
                  <a:pt x="1432" y="1031"/>
                </a:lnTo>
                <a:lnTo>
                  <a:pt x="1439" y="1029"/>
                </a:lnTo>
                <a:lnTo>
                  <a:pt x="1446" y="1028"/>
                </a:lnTo>
                <a:lnTo>
                  <a:pt x="1449" y="1026"/>
                </a:lnTo>
                <a:lnTo>
                  <a:pt x="1453" y="1028"/>
                </a:lnTo>
                <a:lnTo>
                  <a:pt x="1456" y="1029"/>
                </a:lnTo>
                <a:lnTo>
                  <a:pt x="1460" y="1032"/>
                </a:lnTo>
                <a:lnTo>
                  <a:pt x="1464" y="1037"/>
                </a:lnTo>
                <a:lnTo>
                  <a:pt x="1470" y="1042"/>
                </a:lnTo>
                <a:lnTo>
                  <a:pt x="1471" y="1035"/>
                </a:lnTo>
                <a:lnTo>
                  <a:pt x="1470" y="1031"/>
                </a:lnTo>
                <a:lnTo>
                  <a:pt x="1468" y="1030"/>
                </a:lnTo>
                <a:lnTo>
                  <a:pt x="1464" y="1031"/>
                </a:lnTo>
                <a:lnTo>
                  <a:pt x="1468" y="1022"/>
                </a:lnTo>
                <a:lnTo>
                  <a:pt x="1471" y="1012"/>
                </a:lnTo>
                <a:lnTo>
                  <a:pt x="1476" y="1011"/>
                </a:lnTo>
                <a:lnTo>
                  <a:pt x="1479" y="1011"/>
                </a:lnTo>
                <a:lnTo>
                  <a:pt x="1484" y="1018"/>
                </a:lnTo>
                <a:lnTo>
                  <a:pt x="1488" y="1025"/>
                </a:lnTo>
                <a:lnTo>
                  <a:pt x="1484" y="1026"/>
                </a:lnTo>
                <a:lnTo>
                  <a:pt x="1482" y="1029"/>
                </a:lnTo>
                <a:lnTo>
                  <a:pt x="1482" y="1031"/>
                </a:lnTo>
                <a:lnTo>
                  <a:pt x="1484" y="1035"/>
                </a:lnTo>
                <a:lnTo>
                  <a:pt x="1491" y="1044"/>
                </a:lnTo>
                <a:lnTo>
                  <a:pt x="1499" y="1056"/>
                </a:lnTo>
                <a:lnTo>
                  <a:pt x="1495" y="1054"/>
                </a:lnTo>
                <a:lnTo>
                  <a:pt x="1494" y="1053"/>
                </a:lnTo>
                <a:lnTo>
                  <a:pt x="1488" y="1049"/>
                </a:lnTo>
                <a:lnTo>
                  <a:pt x="1483" y="1043"/>
                </a:lnTo>
                <a:lnTo>
                  <a:pt x="1479" y="1040"/>
                </a:lnTo>
                <a:lnTo>
                  <a:pt x="1477" y="1039"/>
                </a:lnTo>
                <a:lnTo>
                  <a:pt x="1476" y="1042"/>
                </a:lnTo>
                <a:lnTo>
                  <a:pt x="1475" y="1045"/>
                </a:lnTo>
                <a:lnTo>
                  <a:pt x="1475" y="1049"/>
                </a:lnTo>
                <a:lnTo>
                  <a:pt x="1477" y="1052"/>
                </a:lnTo>
                <a:lnTo>
                  <a:pt x="1485" y="1063"/>
                </a:lnTo>
                <a:lnTo>
                  <a:pt x="1495" y="1072"/>
                </a:lnTo>
                <a:lnTo>
                  <a:pt x="1499" y="1075"/>
                </a:lnTo>
                <a:lnTo>
                  <a:pt x="1506" y="1077"/>
                </a:lnTo>
                <a:lnTo>
                  <a:pt x="1513" y="1075"/>
                </a:lnTo>
                <a:lnTo>
                  <a:pt x="1520" y="1074"/>
                </a:lnTo>
                <a:lnTo>
                  <a:pt x="1524" y="1073"/>
                </a:lnTo>
                <a:lnTo>
                  <a:pt x="1526" y="1071"/>
                </a:lnTo>
                <a:lnTo>
                  <a:pt x="1530" y="1068"/>
                </a:lnTo>
                <a:lnTo>
                  <a:pt x="1531" y="1065"/>
                </a:lnTo>
                <a:lnTo>
                  <a:pt x="1536" y="1056"/>
                </a:lnTo>
                <a:lnTo>
                  <a:pt x="1540" y="1045"/>
                </a:lnTo>
                <a:lnTo>
                  <a:pt x="1545" y="1035"/>
                </a:lnTo>
                <a:lnTo>
                  <a:pt x="1550" y="1024"/>
                </a:lnTo>
                <a:lnTo>
                  <a:pt x="1551" y="1021"/>
                </a:lnTo>
                <a:lnTo>
                  <a:pt x="1551" y="1018"/>
                </a:lnTo>
                <a:lnTo>
                  <a:pt x="1550" y="1016"/>
                </a:lnTo>
                <a:lnTo>
                  <a:pt x="1547" y="1014"/>
                </a:lnTo>
                <a:lnTo>
                  <a:pt x="1536" y="1002"/>
                </a:lnTo>
                <a:lnTo>
                  <a:pt x="1525" y="989"/>
                </a:lnTo>
                <a:lnTo>
                  <a:pt x="1523" y="987"/>
                </a:lnTo>
                <a:lnTo>
                  <a:pt x="1520" y="984"/>
                </a:lnTo>
                <a:lnTo>
                  <a:pt x="1517" y="982"/>
                </a:lnTo>
                <a:lnTo>
                  <a:pt x="1515" y="982"/>
                </a:lnTo>
                <a:lnTo>
                  <a:pt x="1509" y="981"/>
                </a:lnTo>
                <a:lnTo>
                  <a:pt x="1502" y="982"/>
                </a:lnTo>
                <a:lnTo>
                  <a:pt x="1479" y="987"/>
                </a:lnTo>
                <a:lnTo>
                  <a:pt x="1456" y="991"/>
                </a:lnTo>
                <a:lnTo>
                  <a:pt x="1434" y="997"/>
                </a:lnTo>
                <a:lnTo>
                  <a:pt x="1410" y="1002"/>
                </a:lnTo>
                <a:lnTo>
                  <a:pt x="1389" y="1007"/>
                </a:lnTo>
                <a:lnTo>
                  <a:pt x="1370" y="1011"/>
                </a:lnTo>
                <a:lnTo>
                  <a:pt x="1349" y="1015"/>
                </a:lnTo>
                <a:lnTo>
                  <a:pt x="1327" y="1019"/>
                </a:lnTo>
                <a:lnTo>
                  <a:pt x="1303" y="1025"/>
                </a:lnTo>
                <a:lnTo>
                  <a:pt x="1277" y="1030"/>
                </a:lnTo>
                <a:lnTo>
                  <a:pt x="1251" y="1035"/>
                </a:lnTo>
                <a:lnTo>
                  <a:pt x="1227" y="1040"/>
                </a:lnTo>
                <a:lnTo>
                  <a:pt x="1205" y="1045"/>
                </a:lnTo>
                <a:lnTo>
                  <a:pt x="1184" y="1050"/>
                </a:lnTo>
                <a:lnTo>
                  <a:pt x="1161" y="1054"/>
                </a:lnTo>
                <a:lnTo>
                  <a:pt x="1140" y="1059"/>
                </a:lnTo>
                <a:lnTo>
                  <a:pt x="1119" y="1063"/>
                </a:lnTo>
                <a:lnTo>
                  <a:pt x="1098" y="1067"/>
                </a:lnTo>
                <a:lnTo>
                  <a:pt x="1077" y="1071"/>
                </a:lnTo>
                <a:lnTo>
                  <a:pt x="1056" y="1075"/>
                </a:lnTo>
                <a:lnTo>
                  <a:pt x="1041" y="1079"/>
                </a:lnTo>
                <a:lnTo>
                  <a:pt x="1027" y="1081"/>
                </a:lnTo>
                <a:lnTo>
                  <a:pt x="1013" y="1085"/>
                </a:lnTo>
                <a:lnTo>
                  <a:pt x="999" y="1088"/>
                </a:lnTo>
                <a:lnTo>
                  <a:pt x="979" y="1092"/>
                </a:lnTo>
                <a:lnTo>
                  <a:pt x="958" y="1095"/>
                </a:lnTo>
                <a:lnTo>
                  <a:pt x="938" y="1100"/>
                </a:lnTo>
                <a:lnTo>
                  <a:pt x="918" y="1103"/>
                </a:lnTo>
                <a:lnTo>
                  <a:pt x="903" y="1107"/>
                </a:lnTo>
                <a:lnTo>
                  <a:pt x="888" y="1110"/>
                </a:lnTo>
                <a:lnTo>
                  <a:pt x="874" y="1114"/>
                </a:lnTo>
                <a:lnTo>
                  <a:pt x="859" y="1117"/>
                </a:lnTo>
                <a:lnTo>
                  <a:pt x="833" y="1122"/>
                </a:lnTo>
                <a:lnTo>
                  <a:pt x="807" y="1128"/>
                </a:lnTo>
                <a:lnTo>
                  <a:pt x="781" y="1133"/>
                </a:lnTo>
                <a:lnTo>
                  <a:pt x="756" y="1137"/>
                </a:lnTo>
                <a:lnTo>
                  <a:pt x="742" y="1140"/>
                </a:lnTo>
                <a:lnTo>
                  <a:pt x="726" y="1141"/>
                </a:lnTo>
                <a:lnTo>
                  <a:pt x="714" y="1138"/>
                </a:lnTo>
                <a:lnTo>
                  <a:pt x="701" y="1136"/>
                </a:lnTo>
                <a:lnTo>
                  <a:pt x="688" y="1133"/>
                </a:lnTo>
                <a:lnTo>
                  <a:pt x="675" y="1131"/>
                </a:lnTo>
                <a:lnTo>
                  <a:pt x="660" y="1131"/>
                </a:lnTo>
                <a:lnTo>
                  <a:pt x="646" y="1133"/>
                </a:lnTo>
                <a:lnTo>
                  <a:pt x="639" y="1135"/>
                </a:lnTo>
                <a:lnTo>
                  <a:pt x="632" y="1138"/>
                </a:lnTo>
                <a:lnTo>
                  <a:pt x="625" y="1142"/>
                </a:lnTo>
                <a:lnTo>
                  <a:pt x="618" y="1147"/>
                </a:lnTo>
                <a:lnTo>
                  <a:pt x="614" y="1150"/>
                </a:lnTo>
                <a:lnTo>
                  <a:pt x="612" y="1155"/>
                </a:lnTo>
                <a:lnTo>
                  <a:pt x="612" y="1159"/>
                </a:lnTo>
                <a:lnTo>
                  <a:pt x="613" y="1165"/>
                </a:lnTo>
                <a:lnTo>
                  <a:pt x="615" y="1173"/>
                </a:lnTo>
                <a:lnTo>
                  <a:pt x="616" y="1182"/>
                </a:lnTo>
                <a:lnTo>
                  <a:pt x="616" y="1191"/>
                </a:lnTo>
                <a:lnTo>
                  <a:pt x="616" y="1201"/>
                </a:lnTo>
                <a:lnTo>
                  <a:pt x="615" y="1212"/>
                </a:lnTo>
                <a:lnTo>
                  <a:pt x="615" y="1221"/>
                </a:lnTo>
                <a:lnTo>
                  <a:pt x="615" y="1226"/>
                </a:lnTo>
                <a:lnTo>
                  <a:pt x="615" y="1232"/>
                </a:lnTo>
                <a:lnTo>
                  <a:pt x="621" y="1228"/>
                </a:lnTo>
                <a:lnTo>
                  <a:pt x="627" y="1226"/>
                </a:lnTo>
                <a:lnTo>
                  <a:pt x="632" y="1225"/>
                </a:lnTo>
                <a:lnTo>
                  <a:pt x="638" y="1222"/>
                </a:lnTo>
                <a:lnTo>
                  <a:pt x="638" y="1224"/>
                </a:lnTo>
                <a:lnTo>
                  <a:pt x="638" y="1225"/>
                </a:lnTo>
                <a:lnTo>
                  <a:pt x="628" y="1229"/>
                </a:lnTo>
                <a:lnTo>
                  <a:pt x="619" y="1234"/>
                </a:lnTo>
                <a:lnTo>
                  <a:pt x="615" y="1238"/>
                </a:lnTo>
                <a:lnTo>
                  <a:pt x="612" y="1241"/>
                </a:lnTo>
                <a:lnTo>
                  <a:pt x="611" y="1245"/>
                </a:lnTo>
                <a:lnTo>
                  <a:pt x="609" y="1247"/>
                </a:lnTo>
                <a:lnTo>
                  <a:pt x="609" y="1250"/>
                </a:lnTo>
                <a:lnTo>
                  <a:pt x="611" y="1254"/>
                </a:lnTo>
                <a:lnTo>
                  <a:pt x="612" y="1257"/>
                </a:lnTo>
                <a:lnTo>
                  <a:pt x="615" y="1261"/>
                </a:lnTo>
                <a:lnTo>
                  <a:pt x="624" y="1257"/>
                </a:lnTo>
                <a:lnTo>
                  <a:pt x="632" y="1255"/>
                </a:lnTo>
                <a:lnTo>
                  <a:pt x="640" y="1253"/>
                </a:lnTo>
                <a:lnTo>
                  <a:pt x="648" y="1250"/>
                </a:lnTo>
                <a:lnTo>
                  <a:pt x="656" y="1249"/>
                </a:lnTo>
                <a:lnTo>
                  <a:pt x="664" y="1249"/>
                </a:lnTo>
                <a:lnTo>
                  <a:pt x="673" y="1249"/>
                </a:lnTo>
                <a:lnTo>
                  <a:pt x="681" y="1249"/>
                </a:lnTo>
                <a:lnTo>
                  <a:pt x="681" y="1252"/>
                </a:lnTo>
                <a:lnTo>
                  <a:pt x="681" y="1254"/>
                </a:lnTo>
                <a:lnTo>
                  <a:pt x="673" y="1255"/>
                </a:lnTo>
                <a:lnTo>
                  <a:pt x="664" y="1255"/>
                </a:lnTo>
                <a:lnTo>
                  <a:pt x="653" y="1255"/>
                </a:lnTo>
                <a:lnTo>
                  <a:pt x="641" y="1256"/>
                </a:lnTo>
                <a:lnTo>
                  <a:pt x="629" y="1261"/>
                </a:lnTo>
                <a:lnTo>
                  <a:pt x="619" y="1266"/>
                </a:lnTo>
                <a:lnTo>
                  <a:pt x="615" y="1268"/>
                </a:lnTo>
                <a:lnTo>
                  <a:pt x="612" y="1270"/>
                </a:lnTo>
                <a:lnTo>
                  <a:pt x="611" y="1273"/>
                </a:lnTo>
                <a:lnTo>
                  <a:pt x="609" y="1275"/>
                </a:lnTo>
                <a:lnTo>
                  <a:pt x="609" y="1281"/>
                </a:lnTo>
                <a:lnTo>
                  <a:pt x="613" y="1289"/>
                </a:lnTo>
                <a:lnTo>
                  <a:pt x="614" y="1290"/>
                </a:lnTo>
                <a:lnTo>
                  <a:pt x="614" y="1291"/>
                </a:lnTo>
                <a:lnTo>
                  <a:pt x="614" y="1308"/>
                </a:lnTo>
                <a:lnTo>
                  <a:pt x="614" y="1323"/>
                </a:lnTo>
                <a:lnTo>
                  <a:pt x="614" y="1340"/>
                </a:lnTo>
                <a:lnTo>
                  <a:pt x="614" y="1357"/>
                </a:lnTo>
                <a:lnTo>
                  <a:pt x="606" y="1354"/>
                </a:lnTo>
                <a:lnTo>
                  <a:pt x="599" y="1351"/>
                </a:lnTo>
                <a:lnTo>
                  <a:pt x="599" y="1353"/>
                </a:lnTo>
                <a:lnTo>
                  <a:pt x="599" y="1356"/>
                </a:lnTo>
                <a:lnTo>
                  <a:pt x="595" y="1353"/>
                </a:lnTo>
                <a:lnTo>
                  <a:pt x="592" y="1352"/>
                </a:lnTo>
                <a:lnTo>
                  <a:pt x="567" y="1340"/>
                </a:lnTo>
                <a:lnTo>
                  <a:pt x="543" y="1328"/>
                </a:lnTo>
                <a:lnTo>
                  <a:pt x="518" y="1316"/>
                </a:lnTo>
                <a:lnTo>
                  <a:pt x="494" y="1304"/>
                </a:lnTo>
                <a:lnTo>
                  <a:pt x="473" y="1294"/>
                </a:lnTo>
                <a:lnTo>
                  <a:pt x="453" y="1284"/>
                </a:lnTo>
                <a:lnTo>
                  <a:pt x="432" y="1274"/>
                </a:lnTo>
                <a:lnTo>
                  <a:pt x="412" y="1263"/>
                </a:lnTo>
                <a:lnTo>
                  <a:pt x="387" y="1252"/>
                </a:lnTo>
                <a:lnTo>
                  <a:pt x="364" y="1240"/>
                </a:lnTo>
                <a:lnTo>
                  <a:pt x="341" y="1228"/>
                </a:lnTo>
                <a:lnTo>
                  <a:pt x="316" y="1217"/>
                </a:lnTo>
                <a:lnTo>
                  <a:pt x="301" y="1208"/>
                </a:lnTo>
                <a:lnTo>
                  <a:pt x="284" y="1200"/>
                </a:lnTo>
                <a:lnTo>
                  <a:pt x="276" y="1197"/>
                </a:lnTo>
                <a:lnTo>
                  <a:pt x="268" y="1193"/>
                </a:lnTo>
                <a:lnTo>
                  <a:pt x="260" y="1190"/>
                </a:lnTo>
                <a:lnTo>
                  <a:pt x="250" y="1187"/>
                </a:lnTo>
                <a:lnTo>
                  <a:pt x="248" y="1186"/>
                </a:lnTo>
                <a:lnTo>
                  <a:pt x="246" y="1185"/>
                </a:lnTo>
                <a:lnTo>
                  <a:pt x="239" y="1179"/>
                </a:lnTo>
                <a:lnTo>
                  <a:pt x="232" y="1175"/>
                </a:lnTo>
                <a:lnTo>
                  <a:pt x="225" y="1170"/>
                </a:lnTo>
                <a:lnTo>
                  <a:pt x="217" y="1166"/>
                </a:lnTo>
                <a:lnTo>
                  <a:pt x="201" y="1159"/>
                </a:lnTo>
                <a:lnTo>
                  <a:pt x="186" y="1151"/>
                </a:lnTo>
                <a:lnTo>
                  <a:pt x="165" y="1141"/>
                </a:lnTo>
                <a:lnTo>
                  <a:pt x="144" y="1130"/>
                </a:lnTo>
                <a:lnTo>
                  <a:pt x="123" y="1120"/>
                </a:lnTo>
                <a:lnTo>
                  <a:pt x="101" y="1109"/>
                </a:lnTo>
                <a:lnTo>
                  <a:pt x="90" y="1105"/>
                </a:lnTo>
                <a:lnTo>
                  <a:pt x="80" y="1099"/>
                </a:lnTo>
                <a:lnTo>
                  <a:pt x="68" y="1093"/>
                </a:lnTo>
                <a:lnTo>
                  <a:pt x="58" y="1088"/>
                </a:lnTo>
                <a:lnTo>
                  <a:pt x="51" y="1098"/>
                </a:lnTo>
                <a:lnTo>
                  <a:pt x="43" y="1107"/>
                </a:lnTo>
                <a:lnTo>
                  <a:pt x="38" y="1116"/>
                </a:lnTo>
                <a:lnTo>
                  <a:pt x="31" y="1124"/>
                </a:lnTo>
                <a:lnTo>
                  <a:pt x="29" y="1129"/>
                </a:lnTo>
                <a:lnTo>
                  <a:pt x="31" y="1134"/>
                </a:lnTo>
                <a:lnTo>
                  <a:pt x="34" y="1148"/>
                </a:lnTo>
                <a:lnTo>
                  <a:pt x="38" y="1162"/>
                </a:lnTo>
                <a:lnTo>
                  <a:pt x="42" y="1175"/>
                </a:lnTo>
                <a:lnTo>
                  <a:pt x="46" y="1189"/>
                </a:lnTo>
                <a:lnTo>
                  <a:pt x="48" y="1192"/>
                </a:lnTo>
                <a:lnTo>
                  <a:pt x="52" y="1194"/>
                </a:lnTo>
                <a:lnTo>
                  <a:pt x="66" y="1201"/>
                </a:lnTo>
                <a:lnTo>
                  <a:pt x="79" y="1207"/>
                </a:lnTo>
                <a:lnTo>
                  <a:pt x="95" y="1215"/>
                </a:lnTo>
                <a:lnTo>
                  <a:pt x="111" y="1224"/>
                </a:lnTo>
                <a:lnTo>
                  <a:pt x="111" y="1224"/>
                </a:lnTo>
                <a:lnTo>
                  <a:pt x="125" y="1229"/>
                </a:lnTo>
                <a:lnTo>
                  <a:pt x="138" y="1235"/>
                </a:lnTo>
                <a:lnTo>
                  <a:pt x="138" y="1235"/>
                </a:lnTo>
                <a:lnTo>
                  <a:pt x="138" y="1235"/>
                </a:lnTo>
                <a:lnTo>
                  <a:pt x="151" y="1242"/>
                </a:lnTo>
                <a:lnTo>
                  <a:pt x="153" y="1242"/>
                </a:lnTo>
                <a:lnTo>
                  <a:pt x="155" y="1243"/>
                </a:lnTo>
                <a:lnTo>
                  <a:pt x="247" y="1287"/>
                </a:lnTo>
                <a:lnTo>
                  <a:pt x="277" y="1301"/>
                </a:lnTo>
                <a:lnTo>
                  <a:pt x="308" y="1316"/>
                </a:lnTo>
                <a:lnTo>
                  <a:pt x="339" y="1330"/>
                </a:lnTo>
                <a:lnTo>
                  <a:pt x="370" y="1345"/>
                </a:lnTo>
                <a:lnTo>
                  <a:pt x="397" y="1358"/>
                </a:lnTo>
                <a:lnTo>
                  <a:pt x="425" y="1370"/>
                </a:lnTo>
                <a:lnTo>
                  <a:pt x="452" y="1382"/>
                </a:lnTo>
                <a:lnTo>
                  <a:pt x="480" y="1395"/>
                </a:lnTo>
                <a:lnTo>
                  <a:pt x="515" y="1412"/>
                </a:lnTo>
                <a:lnTo>
                  <a:pt x="551" y="1429"/>
                </a:lnTo>
                <a:lnTo>
                  <a:pt x="586" y="1445"/>
                </a:lnTo>
                <a:lnTo>
                  <a:pt x="622" y="1463"/>
                </a:lnTo>
                <a:lnTo>
                  <a:pt x="635" y="1469"/>
                </a:lnTo>
                <a:lnTo>
                  <a:pt x="647" y="1476"/>
                </a:lnTo>
                <a:lnTo>
                  <a:pt x="647" y="1477"/>
                </a:lnTo>
                <a:lnTo>
                  <a:pt x="647" y="1479"/>
                </a:lnTo>
                <a:lnTo>
                  <a:pt x="640" y="1478"/>
                </a:lnTo>
                <a:lnTo>
                  <a:pt x="634" y="1476"/>
                </a:lnTo>
                <a:lnTo>
                  <a:pt x="606" y="1463"/>
                </a:lnTo>
                <a:lnTo>
                  <a:pt x="577" y="1449"/>
                </a:lnTo>
                <a:lnTo>
                  <a:pt x="549" y="1436"/>
                </a:lnTo>
                <a:lnTo>
                  <a:pt x="519" y="1422"/>
                </a:lnTo>
                <a:lnTo>
                  <a:pt x="493" y="1409"/>
                </a:lnTo>
                <a:lnTo>
                  <a:pt x="466" y="1396"/>
                </a:lnTo>
                <a:lnTo>
                  <a:pt x="439" y="1384"/>
                </a:lnTo>
                <a:lnTo>
                  <a:pt x="412" y="1371"/>
                </a:lnTo>
                <a:lnTo>
                  <a:pt x="392" y="1361"/>
                </a:lnTo>
                <a:lnTo>
                  <a:pt x="371" y="1353"/>
                </a:lnTo>
                <a:lnTo>
                  <a:pt x="351" y="1344"/>
                </a:lnTo>
                <a:lnTo>
                  <a:pt x="331" y="1335"/>
                </a:lnTo>
                <a:lnTo>
                  <a:pt x="295" y="1318"/>
                </a:lnTo>
                <a:lnTo>
                  <a:pt x="259" y="1301"/>
                </a:lnTo>
                <a:lnTo>
                  <a:pt x="222" y="1284"/>
                </a:lnTo>
                <a:lnTo>
                  <a:pt x="185" y="1268"/>
                </a:lnTo>
                <a:lnTo>
                  <a:pt x="184" y="1267"/>
                </a:lnTo>
                <a:lnTo>
                  <a:pt x="183" y="1267"/>
                </a:lnTo>
                <a:lnTo>
                  <a:pt x="159" y="1255"/>
                </a:lnTo>
                <a:lnTo>
                  <a:pt x="149" y="1249"/>
                </a:lnTo>
                <a:lnTo>
                  <a:pt x="139" y="1245"/>
                </a:lnTo>
                <a:lnTo>
                  <a:pt x="138" y="1245"/>
                </a:lnTo>
                <a:lnTo>
                  <a:pt x="137" y="1245"/>
                </a:lnTo>
                <a:lnTo>
                  <a:pt x="129" y="1240"/>
                </a:lnTo>
                <a:lnTo>
                  <a:pt x="129" y="1240"/>
                </a:lnTo>
                <a:lnTo>
                  <a:pt x="129" y="1240"/>
                </a:lnTo>
                <a:lnTo>
                  <a:pt x="110" y="1232"/>
                </a:lnTo>
                <a:lnTo>
                  <a:pt x="93" y="1224"/>
                </a:lnTo>
                <a:lnTo>
                  <a:pt x="75" y="1214"/>
                </a:lnTo>
                <a:lnTo>
                  <a:pt x="56" y="1206"/>
                </a:lnTo>
                <a:lnTo>
                  <a:pt x="53" y="1204"/>
                </a:lnTo>
                <a:lnTo>
                  <a:pt x="48" y="1200"/>
                </a:lnTo>
                <a:lnTo>
                  <a:pt x="45" y="1196"/>
                </a:lnTo>
                <a:lnTo>
                  <a:pt x="42" y="1191"/>
                </a:lnTo>
                <a:lnTo>
                  <a:pt x="38" y="1179"/>
                </a:lnTo>
                <a:lnTo>
                  <a:pt x="33" y="1166"/>
                </a:lnTo>
                <a:lnTo>
                  <a:pt x="29" y="1155"/>
                </a:lnTo>
                <a:lnTo>
                  <a:pt x="26" y="1142"/>
                </a:lnTo>
                <a:lnTo>
                  <a:pt x="24" y="1134"/>
                </a:lnTo>
                <a:lnTo>
                  <a:pt x="22" y="1126"/>
                </a:lnTo>
                <a:lnTo>
                  <a:pt x="24" y="1122"/>
                </a:lnTo>
                <a:lnTo>
                  <a:pt x="25" y="1119"/>
                </a:lnTo>
                <a:lnTo>
                  <a:pt x="27" y="1115"/>
                </a:lnTo>
                <a:lnTo>
                  <a:pt x="29" y="1112"/>
                </a:lnTo>
                <a:lnTo>
                  <a:pt x="32" y="1108"/>
                </a:lnTo>
                <a:lnTo>
                  <a:pt x="34" y="1105"/>
                </a:lnTo>
                <a:lnTo>
                  <a:pt x="34" y="1103"/>
                </a:lnTo>
                <a:lnTo>
                  <a:pt x="33" y="1103"/>
                </a:lnTo>
                <a:lnTo>
                  <a:pt x="31" y="1105"/>
                </a:lnTo>
                <a:lnTo>
                  <a:pt x="29" y="1107"/>
                </a:lnTo>
                <a:lnTo>
                  <a:pt x="25" y="1113"/>
                </a:lnTo>
                <a:lnTo>
                  <a:pt x="19" y="1119"/>
                </a:lnTo>
                <a:lnTo>
                  <a:pt x="13" y="1123"/>
                </a:lnTo>
                <a:lnTo>
                  <a:pt x="6" y="1127"/>
                </a:lnTo>
                <a:lnTo>
                  <a:pt x="1" y="1128"/>
                </a:lnTo>
                <a:lnTo>
                  <a:pt x="0" y="1131"/>
                </a:lnTo>
                <a:lnTo>
                  <a:pt x="0" y="1135"/>
                </a:lnTo>
                <a:lnTo>
                  <a:pt x="1" y="1138"/>
                </a:lnTo>
                <a:lnTo>
                  <a:pt x="6" y="1155"/>
                </a:lnTo>
                <a:lnTo>
                  <a:pt x="11" y="1170"/>
                </a:lnTo>
                <a:lnTo>
                  <a:pt x="15" y="1185"/>
                </a:lnTo>
                <a:lnTo>
                  <a:pt x="20" y="1200"/>
                </a:lnTo>
                <a:lnTo>
                  <a:pt x="24" y="1206"/>
                </a:lnTo>
                <a:lnTo>
                  <a:pt x="28" y="1210"/>
                </a:lnTo>
                <a:lnTo>
                  <a:pt x="38" y="1214"/>
                </a:lnTo>
                <a:lnTo>
                  <a:pt x="46" y="1219"/>
                </a:lnTo>
                <a:lnTo>
                  <a:pt x="55" y="1222"/>
                </a:lnTo>
                <a:lnTo>
                  <a:pt x="65" y="1227"/>
                </a:lnTo>
                <a:lnTo>
                  <a:pt x="74" y="1231"/>
                </a:lnTo>
                <a:lnTo>
                  <a:pt x="82" y="1235"/>
                </a:lnTo>
                <a:lnTo>
                  <a:pt x="91" y="1240"/>
                </a:lnTo>
                <a:lnTo>
                  <a:pt x="101" y="1243"/>
                </a:lnTo>
                <a:lnTo>
                  <a:pt x="204" y="1291"/>
                </a:lnTo>
                <a:lnTo>
                  <a:pt x="204" y="1291"/>
                </a:lnTo>
                <a:lnTo>
                  <a:pt x="204" y="1291"/>
                </a:lnTo>
                <a:lnTo>
                  <a:pt x="205" y="1291"/>
                </a:lnTo>
                <a:lnTo>
                  <a:pt x="206" y="1293"/>
                </a:lnTo>
                <a:lnTo>
                  <a:pt x="206" y="1293"/>
                </a:lnTo>
                <a:lnTo>
                  <a:pt x="241" y="1309"/>
                </a:lnTo>
                <a:lnTo>
                  <a:pt x="276" y="1325"/>
                </a:lnTo>
                <a:lnTo>
                  <a:pt x="311" y="1340"/>
                </a:lnTo>
                <a:lnTo>
                  <a:pt x="346" y="1357"/>
                </a:lnTo>
                <a:lnTo>
                  <a:pt x="373" y="1370"/>
                </a:lnTo>
                <a:lnTo>
                  <a:pt x="401" y="1382"/>
                </a:lnTo>
                <a:lnTo>
                  <a:pt x="429" y="1395"/>
                </a:lnTo>
                <a:lnTo>
                  <a:pt x="456" y="1408"/>
                </a:lnTo>
                <a:lnTo>
                  <a:pt x="494" y="1426"/>
                </a:lnTo>
                <a:lnTo>
                  <a:pt x="530" y="1442"/>
                </a:lnTo>
                <a:lnTo>
                  <a:pt x="567" y="1459"/>
                </a:lnTo>
                <a:lnTo>
                  <a:pt x="604" y="1476"/>
                </a:lnTo>
                <a:lnTo>
                  <a:pt x="611" y="1479"/>
                </a:lnTo>
                <a:lnTo>
                  <a:pt x="614" y="1483"/>
                </a:lnTo>
                <a:lnTo>
                  <a:pt x="614" y="1487"/>
                </a:lnTo>
                <a:lnTo>
                  <a:pt x="611" y="1494"/>
                </a:lnTo>
                <a:lnTo>
                  <a:pt x="608" y="1500"/>
                </a:lnTo>
                <a:lnTo>
                  <a:pt x="608" y="1505"/>
                </a:lnTo>
                <a:lnTo>
                  <a:pt x="611" y="1508"/>
                </a:lnTo>
                <a:lnTo>
                  <a:pt x="615" y="1513"/>
                </a:lnTo>
                <a:lnTo>
                  <a:pt x="619" y="1515"/>
                </a:lnTo>
                <a:lnTo>
                  <a:pt x="621" y="1518"/>
                </a:lnTo>
                <a:lnTo>
                  <a:pt x="621" y="1531"/>
                </a:lnTo>
                <a:lnTo>
                  <a:pt x="621" y="1543"/>
                </a:lnTo>
                <a:lnTo>
                  <a:pt x="621" y="1556"/>
                </a:lnTo>
                <a:lnTo>
                  <a:pt x="621" y="1569"/>
                </a:lnTo>
                <a:lnTo>
                  <a:pt x="614" y="1569"/>
                </a:lnTo>
                <a:lnTo>
                  <a:pt x="608" y="1569"/>
                </a:lnTo>
                <a:lnTo>
                  <a:pt x="733" y="1569"/>
                </a:lnTo>
                <a:lnTo>
                  <a:pt x="733" y="1559"/>
                </a:lnTo>
                <a:lnTo>
                  <a:pt x="733" y="1548"/>
                </a:lnTo>
                <a:lnTo>
                  <a:pt x="733" y="1539"/>
                </a:lnTo>
                <a:lnTo>
                  <a:pt x="733" y="1528"/>
                </a:lnTo>
                <a:lnTo>
                  <a:pt x="733" y="1524"/>
                </a:lnTo>
                <a:lnTo>
                  <a:pt x="735" y="1519"/>
                </a:lnTo>
                <a:lnTo>
                  <a:pt x="737" y="1515"/>
                </a:lnTo>
                <a:lnTo>
                  <a:pt x="740" y="1512"/>
                </a:lnTo>
                <a:lnTo>
                  <a:pt x="744" y="1510"/>
                </a:lnTo>
                <a:lnTo>
                  <a:pt x="745" y="1507"/>
                </a:lnTo>
                <a:lnTo>
                  <a:pt x="747" y="1505"/>
                </a:lnTo>
                <a:lnTo>
                  <a:pt x="747" y="1503"/>
                </a:lnTo>
                <a:lnTo>
                  <a:pt x="746" y="1499"/>
                </a:lnTo>
                <a:lnTo>
                  <a:pt x="745" y="1497"/>
                </a:lnTo>
                <a:lnTo>
                  <a:pt x="743" y="1494"/>
                </a:lnTo>
                <a:lnTo>
                  <a:pt x="739" y="1493"/>
                </a:lnTo>
                <a:lnTo>
                  <a:pt x="724" y="1486"/>
                </a:lnTo>
                <a:lnTo>
                  <a:pt x="708" y="1482"/>
                </a:lnTo>
                <a:lnTo>
                  <a:pt x="700" y="1479"/>
                </a:lnTo>
                <a:lnTo>
                  <a:pt x="691" y="1478"/>
                </a:lnTo>
                <a:lnTo>
                  <a:pt x="698" y="1476"/>
                </a:lnTo>
                <a:lnTo>
                  <a:pt x="704" y="1476"/>
                </a:lnTo>
                <a:lnTo>
                  <a:pt x="710" y="1476"/>
                </a:lnTo>
                <a:lnTo>
                  <a:pt x="716" y="1476"/>
                </a:lnTo>
                <a:lnTo>
                  <a:pt x="728" y="1479"/>
                </a:lnTo>
                <a:lnTo>
                  <a:pt x="739" y="1483"/>
                </a:lnTo>
                <a:lnTo>
                  <a:pt x="740" y="1463"/>
                </a:lnTo>
                <a:lnTo>
                  <a:pt x="740" y="1443"/>
                </a:lnTo>
                <a:lnTo>
                  <a:pt x="740" y="1433"/>
                </a:lnTo>
                <a:lnTo>
                  <a:pt x="740" y="1423"/>
                </a:lnTo>
                <a:lnTo>
                  <a:pt x="742" y="1414"/>
                </a:lnTo>
                <a:lnTo>
                  <a:pt x="745" y="1403"/>
                </a:lnTo>
                <a:lnTo>
                  <a:pt x="746" y="1401"/>
                </a:lnTo>
                <a:lnTo>
                  <a:pt x="745" y="1399"/>
                </a:lnTo>
                <a:lnTo>
                  <a:pt x="744" y="1396"/>
                </a:lnTo>
                <a:lnTo>
                  <a:pt x="743" y="1395"/>
                </a:lnTo>
                <a:lnTo>
                  <a:pt x="738" y="1392"/>
                </a:lnTo>
                <a:lnTo>
                  <a:pt x="733" y="1389"/>
                </a:lnTo>
                <a:lnTo>
                  <a:pt x="718" y="1384"/>
                </a:lnTo>
                <a:lnTo>
                  <a:pt x="702" y="1378"/>
                </a:lnTo>
                <a:lnTo>
                  <a:pt x="707" y="1377"/>
                </a:lnTo>
                <a:lnTo>
                  <a:pt x="712" y="1377"/>
                </a:lnTo>
                <a:lnTo>
                  <a:pt x="717" y="1377"/>
                </a:lnTo>
                <a:lnTo>
                  <a:pt x="722" y="1378"/>
                </a:lnTo>
                <a:lnTo>
                  <a:pt x="731" y="1380"/>
                </a:lnTo>
                <a:lnTo>
                  <a:pt x="739" y="1385"/>
                </a:lnTo>
                <a:lnTo>
                  <a:pt x="742" y="1382"/>
                </a:lnTo>
                <a:lnTo>
                  <a:pt x="743" y="1380"/>
                </a:lnTo>
                <a:lnTo>
                  <a:pt x="744" y="1378"/>
                </a:lnTo>
                <a:lnTo>
                  <a:pt x="743" y="1375"/>
                </a:lnTo>
                <a:lnTo>
                  <a:pt x="742" y="1370"/>
                </a:lnTo>
                <a:lnTo>
                  <a:pt x="738" y="1365"/>
                </a:lnTo>
                <a:lnTo>
                  <a:pt x="744" y="1363"/>
                </a:lnTo>
                <a:lnTo>
                  <a:pt x="749" y="1360"/>
                </a:lnTo>
                <a:lnTo>
                  <a:pt x="763" y="1357"/>
                </a:lnTo>
                <a:lnTo>
                  <a:pt x="777" y="1352"/>
                </a:lnTo>
                <a:lnTo>
                  <a:pt x="791" y="1349"/>
                </a:lnTo>
                <a:lnTo>
                  <a:pt x="805" y="1344"/>
                </a:lnTo>
                <a:lnTo>
                  <a:pt x="823" y="1338"/>
                </a:lnTo>
                <a:lnTo>
                  <a:pt x="843" y="1333"/>
                </a:lnTo>
                <a:lnTo>
                  <a:pt x="862" y="1328"/>
                </a:lnTo>
                <a:lnTo>
                  <a:pt x="881" y="1322"/>
                </a:lnTo>
                <a:lnTo>
                  <a:pt x="904" y="1315"/>
                </a:lnTo>
                <a:lnTo>
                  <a:pt x="929" y="1308"/>
                </a:lnTo>
                <a:lnTo>
                  <a:pt x="952" y="1302"/>
                </a:lnTo>
                <a:lnTo>
                  <a:pt x="975" y="1295"/>
                </a:lnTo>
                <a:lnTo>
                  <a:pt x="1002" y="1287"/>
                </a:lnTo>
                <a:lnTo>
                  <a:pt x="1029" y="1278"/>
                </a:lnTo>
                <a:lnTo>
                  <a:pt x="1056" y="1271"/>
                </a:lnTo>
                <a:lnTo>
                  <a:pt x="1082" y="1263"/>
                </a:lnTo>
                <a:lnTo>
                  <a:pt x="1099" y="1259"/>
                </a:lnTo>
                <a:lnTo>
                  <a:pt x="1116" y="1254"/>
                </a:lnTo>
                <a:lnTo>
                  <a:pt x="1133" y="1249"/>
                </a:lnTo>
                <a:lnTo>
                  <a:pt x="1150" y="1243"/>
                </a:lnTo>
                <a:lnTo>
                  <a:pt x="1163" y="1240"/>
                </a:lnTo>
                <a:lnTo>
                  <a:pt x="1177" y="1236"/>
                </a:lnTo>
                <a:lnTo>
                  <a:pt x="1189" y="1232"/>
                </a:lnTo>
                <a:lnTo>
                  <a:pt x="1202" y="1228"/>
                </a:lnTo>
                <a:lnTo>
                  <a:pt x="1201" y="1229"/>
                </a:lnTo>
                <a:lnTo>
                  <a:pt x="1303" y="1200"/>
                </a:lnTo>
                <a:lnTo>
                  <a:pt x="1304" y="1199"/>
                </a:lnTo>
                <a:lnTo>
                  <a:pt x="1305" y="1199"/>
                </a:lnTo>
                <a:lnTo>
                  <a:pt x="1374" y="1179"/>
                </a:lnTo>
                <a:lnTo>
                  <a:pt x="1382" y="1177"/>
                </a:lnTo>
                <a:lnTo>
                  <a:pt x="1391" y="1175"/>
                </a:lnTo>
                <a:lnTo>
                  <a:pt x="1400" y="1171"/>
                </a:lnTo>
                <a:lnTo>
                  <a:pt x="1408" y="1169"/>
                </a:lnTo>
                <a:lnTo>
                  <a:pt x="1412" y="1168"/>
                </a:lnTo>
                <a:lnTo>
                  <a:pt x="1412" y="1168"/>
                </a:lnTo>
                <a:lnTo>
                  <a:pt x="1426" y="1164"/>
                </a:lnTo>
                <a:lnTo>
                  <a:pt x="1440" y="1159"/>
                </a:lnTo>
                <a:lnTo>
                  <a:pt x="1454" y="1156"/>
                </a:lnTo>
                <a:lnTo>
                  <a:pt x="1467" y="1151"/>
                </a:lnTo>
                <a:lnTo>
                  <a:pt x="1471" y="1149"/>
                </a:lnTo>
                <a:lnTo>
                  <a:pt x="1475" y="1145"/>
                </a:lnTo>
                <a:lnTo>
                  <a:pt x="1478" y="1137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5" y="1124"/>
                </a:lnTo>
                <a:lnTo>
                  <a:pt x="1490" y="1123"/>
                </a:lnTo>
                <a:lnTo>
                  <a:pt x="1501" y="1122"/>
                </a:lnTo>
                <a:lnTo>
                  <a:pt x="1512" y="1122"/>
                </a:lnTo>
                <a:lnTo>
                  <a:pt x="1523" y="1122"/>
                </a:lnTo>
                <a:lnTo>
                  <a:pt x="1533" y="1122"/>
                </a:lnTo>
                <a:lnTo>
                  <a:pt x="1538" y="1121"/>
                </a:lnTo>
                <a:lnTo>
                  <a:pt x="1541" y="1120"/>
                </a:lnTo>
                <a:lnTo>
                  <a:pt x="1543" y="1116"/>
                </a:lnTo>
                <a:lnTo>
                  <a:pt x="1544" y="1113"/>
                </a:lnTo>
                <a:lnTo>
                  <a:pt x="1531" y="1113"/>
                </a:lnTo>
                <a:lnTo>
                  <a:pt x="1518" y="1113"/>
                </a:lnTo>
                <a:lnTo>
                  <a:pt x="1506" y="1113"/>
                </a:lnTo>
                <a:lnTo>
                  <a:pt x="1495" y="1113"/>
                </a:lnTo>
                <a:lnTo>
                  <a:pt x="1491" y="1113"/>
                </a:lnTo>
                <a:lnTo>
                  <a:pt x="1488" y="1113"/>
                </a:lnTo>
                <a:lnTo>
                  <a:pt x="1485" y="1114"/>
                </a:lnTo>
                <a:lnTo>
                  <a:pt x="1484" y="1116"/>
                </a:lnTo>
                <a:lnTo>
                  <a:pt x="1482" y="1121"/>
                </a:lnTo>
                <a:lnTo>
                  <a:pt x="1481" y="1128"/>
                </a:lnTo>
                <a:close/>
                <a:moveTo>
                  <a:pt x="599" y="187"/>
                </a:moveTo>
                <a:lnTo>
                  <a:pt x="612" y="197"/>
                </a:lnTo>
                <a:lnTo>
                  <a:pt x="626" y="206"/>
                </a:lnTo>
                <a:lnTo>
                  <a:pt x="625" y="210"/>
                </a:lnTo>
                <a:lnTo>
                  <a:pt x="622" y="213"/>
                </a:lnTo>
                <a:lnTo>
                  <a:pt x="619" y="224"/>
                </a:lnTo>
                <a:lnTo>
                  <a:pt x="616" y="234"/>
                </a:lnTo>
                <a:lnTo>
                  <a:pt x="619" y="246"/>
                </a:lnTo>
                <a:lnTo>
                  <a:pt x="622" y="257"/>
                </a:lnTo>
                <a:lnTo>
                  <a:pt x="627" y="268"/>
                </a:lnTo>
                <a:lnTo>
                  <a:pt x="634" y="278"/>
                </a:lnTo>
                <a:lnTo>
                  <a:pt x="636" y="282"/>
                </a:lnTo>
                <a:lnTo>
                  <a:pt x="640" y="285"/>
                </a:lnTo>
                <a:lnTo>
                  <a:pt x="648" y="284"/>
                </a:lnTo>
                <a:lnTo>
                  <a:pt x="657" y="282"/>
                </a:lnTo>
                <a:lnTo>
                  <a:pt x="667" y="281"/>
                </a:lnTo>
                <a:lnTo>
                  <a:pt x="675" y="280"/>
                </a:lnTo>
                <a:lnTo>
                  <a:pt x="684" y="280"/>
                </a:lnTo>
                <a:lnTo>
                  <a:pt x="694" y="281"/>
                </a:lnTo>
                <a:lnTo>
                  <a:pt x="702" y="281"/>
                </a:lnTo>
                <a:lnTo>
                  <a:pt x="711" y="282"/>
                </a:lnTo>
                <a:lnTo>
                  <a:pt x="711" y="277"/>
                </a:lnTo>
                <a:lnTo>
                  <a:pt x="711" y="273"/>
                </a:lnTo>
                <a:lnTo>
                  <a:pt x="711" y="273"/>
                </a:lnTo>
                <a:lnTo>
                  <a:pt x="711" y="273"/>
                </a:lnTo>
                <a:lnTo>
                  <a:pt x="712" y="276"/>
                </a:lnTo>
                <a:lnTo>
                  <a:pt x="715" y="281"/>
                </a:lnTo>
                <a:lnTo>
                  <a:pt x="719" y="277"/>
                </a:lnTo>
                <a:lnTo>
                  <a:pt x="724" y="273"/>
                </a:lnTo>
                <a:lnTo>
                  <a:pt x="726" y="267"/>
                </a:lnTo>
                <a:lnTo>
                  <a:pt x="728" y="261"/>
                </a:lnTo>
                <a:lnTo>
                  <a:pt x="729" y="257"/>
                </a:lnTo>
                <a:lnTo>
                  <a:pt x="730" y="254"/>
                </a:lnTo>
                <a:lnTo>
                  <a:pt x="733" y="249"/>
                </a:lnTo>
                <a:lnTo>
                  <a:pt x="736" y="243"/>
                </a:lnTo>
                <a:lnTo>
                  <a:pt x="737" y="239"/>
                </a:lnTo>
                <a:lnTo>
                  <a:pt x="737" y="233"/>
                </a:lnTo>
                <a:lnTo>
                  <a:pt x="736" y="228"/>
                </a:lnTo>
                <a:lnTo>
                  <a:pt x="735" y="224"/>
                </a:lnTo>
                <a:lnTo>
                  <a:pt x="732" y="218"/>
                </a:lnTo>
                <a:lnTo>
                  <a:pt x="729" y="213"/>
                </a:lnTo>
                <a:lnTo>
                  <a:pt x="728" y="210"/>
                </a:lnTo>
                <a:lnTo>
                  <a:pt x="725" y="206"/>
                </a:lnTo>
                <a:lnTo>
                  <a:pt x="736" y="200"/>
                </a:lnTo>
                <a:lnTo>
                  <a:pt x="746" y="193"/>
                </a:lnTo>
                <a:lnTo>
                  <a:pt x="753" y="187"/>
                </a:lnTo>
                <a:lnTo>
                  <a:pt x="759" y="180"/>
                </a:lnTo>
                <a:lnTo>
                  <a:pt x="765" y="172"/>
                </a:lnTo>
                <a:lnTo>
                  <a:pt x="769" y="164"/>
                </a:lnTo>
                <a:lnTo>
                  <a:pt x="770" y="156"/>
                </a:lnTo>
                <a:lnTo>
                  <a:pt x="770" y="147"/>
                </a:lnTo>
                <a:lnTo>
                  <a:pt x="769" y="137"/>
                </a:lnTo>
                <a:lnTo>
                  <a:pt x="765" y="127"/>
                </a:lnTo>
                <a:lnTo>
                  <a:pt x="759" y="119"/>
                </a:lnTo>
                <a:lnTo>
                  <a:pt x="752" y="110"/>
                </a:lnTo>
                <a:lnTo>
                  <a:pt x="744" y="103"/>
                </a:lnTo>
                <a:lnTo>
                  <a:pt x="735" y="98"/>
                </a:lnTo>
                <a:lnTo>
                  <a:pt x="732" y="96"/>
                </a:lnTo>
                <a:lnTo>
                  <a:pt x="731" y="94"/>
                </a:lnTo>
                <a:lnTo>
                  <a:pt x="731" y="92"/>
                </a:lnTo>
                <a:lnTo>
                  <a:pt x="731" y="89"/>
                </a:lnTo>
                <a:lnTo>
                  <a:pt x="733" y="81"/>
                </a:lnTo>
                <a:lnTo>
                  <a:pt x="733" y="72"/>
                </a:lnTo>
                <a:lnTo>
                  <a:pt x="732" y="64"/>
                </a:lnTo>
                <a:lnTo>
                  <a:pt x="729" y="56"/>
                </a:lnTo>
                <a:lnTo>
                  <a:pt x="724" y="49"/>
                </a:lnTo>
                <a:lnTo>
                  <a:pt x="718" y="43"/>
                </a:lnTo>
                <a:lnTo>
                  <a:pt x="711" y="38"/>
                </a:lnTo>
                <a:lnTo>
                  <a:pt x="703" y="35"/>
                </a:lnTo>
                <a:lnTo>
                  <a:pt x="697" y="33"/>
                </a:lnTo>
                <a:lnTo>
                  <a:pt x="694" y="31"/>
                </a:lnTo>
                <a:lnTo>
                  <a:pt x="690" y="29"/>
                </a:lnTo>
                <a:lnTo>
                  <a:pt x="687" y="26"/>
                </a:lnTo>
                <a:lnTo>
                  <a:pt x="684" y="24"/>
                </a:lnTo>
                <a:lnTo>
                  <a:pt x="682" y="21"/>
                </a:lnTo>
                <a:lnTo>
                  <a:pt x="681" y="16"/>
                </a:lnTo>
                <a:lnTo>
                  <a:pt x="680" y="11"/>
                </a:lnTo>
                <a:lnTo>
                  <a:pt x="678" y="8"/>
                </a:lnTo>
                <a:lnTo>
                  <a:pt x="677" y="4"/>
                </a:lnTo>
                <a:lnTo>
                  <a:pt x="676" y="2"/>
                </a:lnTo>
                <a:lnTo>
                  <a:pt x="675" y="0"/>
                </a:lnTo>
                <a:lnTo>
                  <a:pt x="673" y="2"/>
                </a:lnTo>
                <a:lnTo>
                  <a:pt x="671" y="4"/>
                </a:lnTo>
                <a:lnTo>
                  <a:pt x="669" y="10"/>
                </a:lnTo>
                <a:lnTo>
                  <a:pt x="668" y="16"/>
                </a:lnTo>
                <a:lnTo>
                  <a:pt x="666" y="23"/>
                </a:lnTo>
                <a:lnTo>
                  <a:pt x="662" y="28"/>
                </a:lnTo>
                <a:lnTo>
                  <a:pt x="656" y="31"/>
                </a:lnTo>
                <a:lnTo>
                  <a:pt x="650" y="35"/>
                </a:lnTo>
                <a:lnTo>
                  <a:pt x="642" y="38"/>
                </a:lnTo>
                <a:lnTo>
                  <a:pt x="635" y="42"/>
                </a:lnTo>
                <a:lnTo>
                  <a:pt x="629" y="46"/>
                </a:lnTo>
                <a:lnTo>
                  <a:pt x="624" y="52"/>
                </a:lnTo>
                <a:lnTo>
                  <a:pt x="620" y="59"/>
                </a:lnTo>
                <a:lnTo>
                  <a:pt x="618" y="66"/>
                </a:lnTo>
                <a:lnTo>
                  <a:pt x="618" y="74"/>
                </a:lnTo>
                <a:lnTo>
                  <a:pt x="619" y="82"/>
                </a:lnTo>
                <a:lnTo>
                  <a:pt x="620" y="86"/>
                </a:lnTo>
                <a:lnTo>
                  <a:pt x="620" y="89"/>
                </a:lnTo>
                <a:lnTo>
                  <a:pt x="620" y="93"/>
                </a:lnTo>
                <a:lnTo>
                  <a:pt x="619" y="95"/>
                </a:lnTo>
                <a:lnTo>
                  <a:pt x="614" y="99"/>
                </a:lnTo>
                <a:lnTo>
                  <a:pt x="609" y="102"/>
                </a:lnTo>
                <a:lnTo>
                  <a:pt x="604" y="107"/>
                </a:lnTo>
                <a:lnTo>
                  <a:pt x="599" y="110"/>
                </a:lnTo>
                <a:lnTo>
                  <a:pt x="594" y="115"/>
                </a:lnTo>
                <a:lnTo>
                  <a:pt x="591" y="121"/>
                </a:lnTo>
                <a:lnTo>
                  <a:pt x="587" y="126"/>
                </a:lnTo>
                <a:lnTo>
                  <a:pt x="585" y="131"/>
                </a:lnTo>
                <a:lnTo>
                  <a:pt x="584" y="136"/>
                </a:lnTo>
                <a:lnTo>
                  <a:pt x="583" y="142"/>
                </a:lnTo>
                <a:lnTo>
                  <a:pt x="581" y="148"/>
                </a:lnTo>
                <a:lnTo>
                  <a:pt x="581" y="154"/>
                </a:lnTo>
                <a:lnTo>
                  <a:pt x="583" y="159"/>
                </a:lnTo>
                <a:lnTo>
                  <a:pt x="585" y="165"/>
                </a:lnTo>
                <a:lnTo>
                  <a:pt x="587" y="171"/>
                </a:lnTo>
                <a:lnTo>
                  <a:pt x="591" y="177"/>
                </a:lnTo>
                <a:lnTo>
                  <a:pt x="594" y="182"/>
                </a:lnTo>
                <a:lnTo>
                  <a:pt x="599" y="187"/>
                </a:lnTo>
                <a:close/>
                <a:moveTo>
                  <a:pt x="563" y="400"/>
                </a:moveTo>
                <a:lnTo>
                  <a:pt x="566" y="404"/>
                </a:lnTo>
                <a:lnTo>
                  <a:pt x="569" y="408"/>
                </a:lnTo>
                <a:lnTo>
                  <a:pt x="571" y="413"/>
                </a:lnTo>
                <a:lnTo>
                  <a:pt x="571" y="417"/>
                </a:lnTo>
                <a:lnTo>
                  <a:pt x="569" y="414"/>
                </a:lnTo>
                <a:lnTo>
                  <a:pt x="566" y="409"/>
                </a:lnTo>
                <a:lnTo>
                  <a:pt x="564" y="408"/>
                </a:lnTo>
                <a:lnTo>
                  <a:pt x="563" y="406"/>
                </a:lnTo>
                <a:lnTo>
                  <a:pt x="563" y="403"/>
                </a:lnTo>
                <a:lnTo>
                  <a:pt x="563" y="400"/>
                </a:lnTo>
                <a:close/>
                <a:moveTo>
                  <a:pt x="584" y="389"/>
                </a:moveTo>
                <a:lnTo>
                  <a:pt x="584" y="401"/>
                </a:lnTo>
                <a:lnTo>
                  <a:pt x="584" y="413"/>
                </a:lnTo>
                <a:lnTo>
                  <a:pt x="584" y="413"/>
                </a:lnTo>
                <a:lnTo>
                  <a:pt x="583" y="413"/>
                </a:lnTo>
                <a:lnTo>
                  <a:pt x="581" y="401"/>
                </a:lnTo>
                <a:lnTo>
                  <a:pt x="581" y="388"/>
                </a:lnTo>
                <a:lnTo>
                  <a:pt x="583" y="389"/>
                </a:lnTo>
                <a:lnTo>
                  <a:pt x="584" y="389"/>
                </a:lnTo>
                <a:close/>
                <a:moveTo>
                  <a:pt x="677" y="325"/>
                </a:move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close/>
                <a:moveTo>
                  <a:pt x="901" y="505"/>
                </a:moveTo>
                <a:lnTo>
                  <a:pt x="901" y="518"/>
                </a:lnTo>
                <a:lnTo>
                  <a:pt x="901" y="529"/>
                </a:lnTo>
                <a:lnTo>
                  <a:pt x="898" y="525"/>
                </a:lnTo>
                <a:lnTo>
                  <a:pt x="897" y="518"/>
                </a:lnTo>
                <a:lnTo>
                  <a:pt x="898" y="511"/>
                </a:lnTo>
                <a:lnTo>
                  <a:pt x="901" y="505"/>
                </a:lnTo>
                <a:close/>
                <a:moveTo>
                  <a:pt x="922" y="505"/>
                </a:moveTo>
                <a:lnTo>
                  <a:pt x="923" y="505"/>
                </a:lnTo>
                <a:lnTo>
                  <a:pt x="924" y="504"/>
                </a:lnTo>
                <a:lnTo>
                  <a:pt x="924" y="515"/>
                </a:lnTo>
                <a:lnTo>
                  <a:pt x="924" y="527"/>
                </a:lnTo>
                <a:lnTo>
                  <a:pt x="923" y="527"/>
                </a:lnTo>
                <a:lnTo>
                  <a:pt x="922" y="527"/>
                </a:lnTo>
                <a:lnTo>
                  <a:pt x="922" y="515"/>
                </a:lnTo>
                <a:lnTo>
                  <a:pt x="922" y="505"/>
                </a:lnTo>
                <a:close/>
                <a:moveTo>
                  <a:pt x="944" y="501"/>
                </a:moveTo>
                <a:lnTo>
                  <a:pt x="944" y="513"/>
                </a:lnTo>
                <a:lnTo>
                  <a:pt x="944" y="526"/>
                </a:lnTo>
                <a:lnTo>
                  <a:pt x="943" y="526"/>
                </a:lnTo>
                <a:lnTo>
                  <a:pt x="942" y="526"/>
                </a:lnTo>
                <a:lnTo>
                  <a:pt x="942" y="513"/>
                </a:lnTo>
                <a:lnTo>
                  <a:pt x="940" y="501"/>
                </a:lnTo>
                <a:lnTo>
                  <a:pt x="942" y="501"/>
                </a:lnTo>
                <a:lnTo>
                  <a:pt x="944" y="501"/>
                </a:lnTo>
                <a:close/>
                <a:moveTo>
                  <a:pt x="970" y="499"/>
                </a:moveTo>
                <a:lnTo>
                  <a:pt x="977" y="511"/>
                </a:lnTo>
                <a:lnTo>
                  <a:pt x="983" y="521"/>
                </a:lnTo>
                <a:lnTo>
                  <a:pt x="980" y="520"/>
                </a:lnTo>
                <a:lnTo>
                  <a:pt x="978" y="519"/>
                </a:lnTo>
                <a:lnTo>
                  <a:pt x="975" y="515"/>
                </a:lnTo>
                <a:lnTo>
                  <a:pt x="973" y="512"/>
                </a:lnTo>
                <a:lnTo>
                  <a:pt x="972" y="509"/>
                </a:lnTo>
                <a:lnTo>
                  <a:pt x="970" y="505"/>
                </a:lnTo>
                <a:lnTo>
                  <a:pt x="970" y="502"/>
                </a:lnTo>
                <a:lnTo>
                  <a:pt x="970" y="499"/>
                </a:lnTo>
                <a:close/>
                <a:moveTo>
                  <a:pt x="998" y="495"/>
                </a:moveTo>
                <a:lnTo>
                  <a:pt x="1006" y="506"/>
                </a:lnTo>
                <a:lnTo>
                  <a:pt x="1014" y="518"/>
                </a:lnTo>
                <a:lnTo>
                  <a:pt x="1011" y="516"/>
                </a:lnTo>
                <a:lnTo>
                  <a:pt x="1008" y="515"/>
                </a:lnTo>
                <a:lnTo>
                  <a:pt x="1001" y="506"/>
                </a:lnTo>
                <a:lnTo>
                  <a:pt x="995" y="497"/>
                </a:lnTo>
                <a:lnTo>
                  <a:pt x="997" y="497"/>
                </a:lnTo>
                <a:lnTo>
                  <a:pt x="998" y="495"/>
                </a:lnTo>
                <a:close/>
                <a:moveTo>
                  <a:pt x="1026" y="493"/>
                </a:moveTo>
                <a:lnTo>
                  <a:pt x="1027" y="506"/>
                </a:lnTo>
                <a:lnTo>
                  <a:pt x="1027" y="518"/>
                </a:lnTo>
                <a:lnTo>
                  <a:pt x="1026" y="518"/>
                </a:lnTo>
                <a:lnTo>
                  <a:pt x="1023" y="516"/>
                </a:lnTo>
                <a:lnTo>
                  <a:pt x="1022" y="506"/>
                </a:lnTo>
                <a:lnTo>
                  <a:pt x="1022" y="494"/>
                </a:lnTo>
                <a:lnTo>
                  <a:pt x="1023" y="494"/>
                </a:lnTo>
                <a:lnTo>
                  <a:pt x="1026" y="493"/>
                </a:lnTo>
                <a:close/>
                <a:moveTo>
                  <a:pt x="1043" y="492"/>
                </a:moveTo>
                <a:lnTo>
                  <a:pt x="1043" y="504"/>
                </a:lnTo>
                <a:lnTo>
                  <a:pt x="1043" y="515"/>
                </a:lnTo>
                <a:lnTo>
                  <a:pt x="1043" y="515"/>
                </a:lnTo>
                <a:lnTo>
                  <a:pt x="1042" y="515"/>
                </a:lnTo>
                <a:lnTo>
                  <a:pt x="1042" y="504"/>
                </a:lnTo>
                <a:lnTo>
                  <a:pt x="1041" y="492"/>
                </a:lnTo>
                <a:lnTo>
                  <a:pt x="1042" y="492"/>
                </a:lnTo>
                <a:lnTo>
                  <a:pt x="1043" y="492"/>
                </a:lnTo>
                <a:close/>
                <a:moveTo>
                  <a:pt x="1070" y="491"/>
                </a:moveTo>
                <a:lnTo>
                  <a:pt x="1071" y="494"/>
                </a:lnTo>
                <a:lnTo>
                  <a:pt x="1073" y="497"/>
                </a:lnTo>
                <a:lnTo>
                  <a:pt x="1076" y="498"/>
                </a:lnTo>
                <a:lnTo>
                  <a:pt x="1078" y="499"/>
                </a:lnTo>
                <a:lnTo>
                  <a:pt x="1082" y="500"/>
                </a:lnTo>
                <a:lnTo>
                  <a:pt x="1084" y="502"/>
                </a:lnTo>
                <a:lnTo>
                  <a:pt x="1085" y="505"/>
                </a:lnTo>
                <a:lnTo>
                  <a:pt x="1085" y="509"/>
                </a:lnTo>
                <a:lnTo>
                  <a:pt x="1076" y="501"/>
                </a:lnTo>
                <a:lnTo>
                  <a:pt x="1068" y="493"/>
                </a:lnTo>
                <a:lnTo>
                  <a:pt x="1069" y="493"/>
                </a:lnTo>
                <a:lnTo>
                  <a:pt x="1070" y="491"/>
                </a:lnTo>
                <a:close/>
                <a:moveTo>
                  <a:pt x="1122" y="485"/>
                </a:moveTo>
                <a:lnTo>
                  <a:pt x="1122" y="497"/>
                </a:lnTo>
                <a:lnTo>
                  <a:pt x="1123" y="509"/>
                </a:lnTo>
                <a:lnTo>
                  <a:pt x="1122" y="509"/>
                </a:lnTo>
                <a:lnTo>
                  <a:pt x="1120" y="509"/>
                </a:lnTo>
                <a:lnTo>
                  <a:pt x="1119" y="498"/>
                </a:lnTo>
                <a:lnTo>
                  <a:pt x="1118" y="485"/>
                </a:lnTo>
                <a:lnTo>
                  <a:pt x="1119" y="485"/>
                </a:lnTo>
                <a:lnTo>
                  <a:pt x="1122" y="485"/>
                </a:lnTo>
                <a:close/>
                <a:moveTo>
                  <a:pt x="1150" y="484"/>
                </a:moveTo>
                <a:lnTo>
                  <a:pt x="1157" y="494"/>
                </a:lnTo>
                <a:lnTo>
                  <a:pt x="1164" y="504"/>
                </a:lnTo>
                <a:lnTo>
                  <a:pt x="1163" y="505"/>
                </a:lnTo>
                <a:lnTo>
                  <a:pt x="1161" y="506"/>
                </a:lnTo>
                <a:lnTo>
                  <a:pt x="1154" y="495"/>
                </a:lnTo>
                <a:lnTo>
                  <a:pt x="1147" y="486"/>
                </a:lnTo>
                <a:lnTo>
                  <a:pt x="1149" y="485"/>
                </a:lnTo>
                <a:lnTo>
                  <a:pt x="1150" y="484"/>
                </a:lnTo>
                <a:close/>
                <a:moveTo>
                  <a:pt x="1180" y="479"/>
                </a:moveTo>
                <a:lnTo>
                  <a:pt x="1180" y="491"/>
                </a:lnTo>
                <a:lnTo>
                  <a:pt x="1181" y="502"/>
                </a:lnTo>
                <a:lnTo>
                  <a:pt x="1179" y="502"/>
                </a:lnTo>
                <a:lnTo>
                  <a:pt x="1178" y="502"/>
                </a:lnTo>
                <a:lnTo>
                  <a:pt x="1178" y="491"/>
                </a:lnTo>
                <a:lnTo>
                  <a:pt x="1177" y="479"/>
                </a:lnTo>
                <a:lnTo>
                  <a:pt x="1178" y="479"/>
                </a:lnTo>
                <a:lnTo>
                  <a:pt x="1180" y="479"/>
                </a:lnTo>
                <a:close/>
                <a:moveTo>
                  <a:pt x="1204" y="477"/>
                </a:moveTo>
                <a:lnTo>
                  <a:pt x="1204" y="477"/>
                </a:lnTo>
                <a:lnTo>
                  <a:pt x="1205" y="477"/>
                </a:lnTo>
                <a:lnTo>
                  <a:pt x="1205" y="488"/>
                </a:lnTo>
                <a:lnTo>
                  <a:pt x="1206" y="500"/>
                </a:lnTo>
                <a:lnTo>
                  <a:pt x="1205" y="500"/>
                </a:lnTo>
                <a:lnTo>
                  <a:pt x="1204" y="500"/>
                </a:lnTo>
                <a:lnTo>
                  <a:pt x="1204" y="488"/>
                </a:lnTo>
                <a:lnTo>
                  <a:pt x="1204" y="477"/>
                </a:lnTo>
                <a:close/>
                <a:moveTo>
                  <a:pt x="1223" y="477"/>
                </a:moveTo>
                <a:lnTo>
                  <a:pt x="1223" y="477"/>
                </a:lnTo>
                <a:lnTo>
                  <a:pt x="1225" y="476"/>
                </a:lnTo>
                <a:lnTo>
                  <a:pt x="1226" y="487"/>
                </a:lnTo>
                <a:lnTo>
                  <a:pt x="1227" y="499"/>
                </a:lnTo>
                <a:lnTo>
                  <a:pt x="1226" y="499"/>
                </a:lnTo>
                <a:lnTo>
                  <a:pt x="1223" y="500"/>
                </a:lnTo>
                <a:lnTo>
                  <a:pt x="1223" y="488"/>
                </a:lnTo>
                <a:lnTo>
                  <a:pt x="1223" y="477"/>
                </a:lnTo>
                <a:close/>
                <a:moveTo>
                  <a:pt x="1406" y="462"/>
                </a:moveTo>
                <a:lnTo>
                  <a:pt x="1408" y="456"/>
                </a:lnTo>
                <a:lnTo>
                  <a:pt x="1412" y="451"/>
                </a:lnTo>
                <a:lnTo>
                  <a:pt x="1414" y="450"/>
                </a:lnTo>
                <a:lnTo>
                  <a:pt x="1416" y="450"/>
                </a:lnTo>
                <a:lnTo>
                  <a:pt x="1420" y="455"/>
                </a:lnTo>
                <a:lnTo>
                  <a:pt x="1422" y="459"/>
                </a:lnTo>
                <a:lnTo>
                  <a:pt x="1421" y="463"/>
                </a:lnTo>
                <a:lnTo>
                  <a:pt x="1422" y="466"/>
                </a:lnTo>
                <a:lnTo>
                  <a:pt x="1423" y="470"/>
                </a:lnTo>
                <a:lnTo>
                  <a:pt x="1425" y="472"/>
                </a:lnTo>
                <a:lnTo>
                  <a:pt x="1429" y="478"/>
                </a:lnTo>
                <a:lnTo>
                  <a:pt x="1432" y="484"/>
                </a:lnTo>
                <a:lnTo>
                  <a:pt x="1428" y="479"/>
                </a:lnTo>
                <a:lnTo>
                  <a:pt x="1425" y="476"/>
                </a:lnTo>
                <a:lnTo>
                  <a:pt x="1421" y="473"/>
                </a:lnTo>
                <a:lnTo>
                  <a:pt x="1418" y="471"/>
                </a:lnTo>
                <a:lnTo>
                  <a:pt x="1415" y="472"/>
                </a:lnTo>
                <a:lnTo>
                  <a:pt x="1412" y="476"/>
                </a:lnTo>
                <a:lnTo>
                  <a:pt x="1408" y="481"/>
                </a:lnTo>
                <a:lnTo>
                  <a:pt x="1403" y="486"/>
                </a:lnTo>
                <a:lnTo>
                  <a:pt x="1406" y="480"/>
                </a:lnTo>
                <a:lnTo>
                  <a:pt x="1409" y="474"/>
                </a:lnTo>
                <a:lnTo>
                  <a:pt x="1410" y="471"/>
                </a:lnTo>
                <a:lnTo>
                  <a:pt x="1410" y="469"/>
                </a:lnTo>
                <a:lnTo>
                  <a:pt x="1409" y="465"/>
                </a:lnTo>
                <a:lnTo>
                  <a:pt x="1406" y="462"/>
                </a:lnTo>
                <a:close/>
                <a:moveTo>
                  <a:pt x="1457" y="501"/>
                </a:moveTo>
                <a:lnTo>
                  <a:pt x="1457" y="502"/>
                </a:lnTo>
                <a:lnTo>
                  <a:pt x="1458" y="504"/>
                </a:lnTo>
                <a:lnTo>
                  <a:pt x="1448" y="504"/>
                </a:lnTo>
                <a:lnTo>
                  <a:pt x="1439" y="504"/>
                </a:lnTo>
                <a:lnTo>
                  <a:pt x="1429" y="504"/>
                </a:lnTo>
                <a:lnTo>
                  <a:pt x="1420" y="505"/>
                </a:lnTo>
                <a:lnTo>
                  <a:pt x="1429" y="504"/>
                </a:lnTo>
                <a:lnTo>
                  <a:pt x="1439" y="502"/>
                </a:lnTo>
                <a:lnTo>
                  <a:pt x="1448" y="501"/>
                </a:lnTo>
                <a:lnTo>
                  <a:pt x="1457" y="501"/>
                </a:lnTo>
                <a:close/>
                <a:moveTo>
                  <a:pt x="545" y="451"/>
                </a:moveTo>
                <a:lnTo>
                  <a:pt x="558" y="443"/>
                </a:lnTo>
                <a:lnTo>
                  <a:pt x="572" y="436"/>
                </a:lnTo>
                <a:lnTo>
                  <a:pt x="585" y="428"/>
                </a:lnTo>
                <a:lnTo>
                  <a:pt x="599" y="420"/>
                </a:lnTo>
                <a:lnTo>
                  <a:pt x="609" y="414"/>
                </a:lnTo>
                <a:lnTo>
                  <a:pt x="619" y="408"/>
                </a:lnTo>
                <a:lnTo>
                  <a:pt x="620" y="409"/>
                </a:lnTo>
                <a:lnTo>
                  <a:pt x="621" y="410"/>
                </a:lnTo>
                <a:lnTo>
                  <a:pt x="602" y="423"/>
                </a:lnTo>
                <a:lnTo>
                  <a:pt x="584" y="435"/>
                </a:lnTo>
                <a:lnTo>
                  <a:pt x="564" y="446"/>
                </a:lnTo>
                <a:lnTo>
                  <a:pt x="544" y="459"/>
                </a:lnTo>
                <a:lnTo>
                  <a:pt x="550" y="465"/>
                </a:lnTo>
                <a:lnTo>
                  <a:pt x="556" y="471"/>
                </a:lnTo>
                <a:lnTo>
                  <a:pt x="573" y="460"/>
                </a:lnTo>
                <a:lnTo>
                  <a:pt x="590" y="450"/>
                </a:lnTo>
                <a:lnTo>
                  <a:pt x="606" y="441"/>
                </a:lnTo>
                <a:lnTo>
                  <a:pt x="622" y="430"/>
                </a:lnTo>
                <a:lnTo>
                  <a:pt x="624" y="436"/>
                </a:lnTo>
                <a:lnTo>
                  <a:pt x="622" y="441"/>
                </a:lnTo>
                <a:lnTo>
                  <a:pt x="620" y="444"/>
                </a:lnTo>
                <a:lnTo>
                  <a:pt x="615" y="446"/>
                </a:lnTo>
                <a:lnTo>
                  <a:pt x="602" y="455"/>
                </a:lnTo>
                <a:lnTo>
                  <a:pt x="590" y="462"/>
                </a:lnTo>
                <a:lnTo>
                  <a:pt x="578" y="469"/>
                </a:lnTo>
                <a:lnTo>
                  <a:pt x="565" y="477"/>
                </a:lnTo>
                <a:lnTo>
                  <a:pt x="574" y="487"/>
                </a:lnTo>
                <a:lnTo>
                  <a:pt x="585" y="497"/>
                </a:lnTo>
                <a:lnTo>
                  <a:pt x="594" y="507"/>
                </a:lnTo>
                <a:lnTo>
                  <a:pt x="604" y="518"/>
                </a:lnTo>
                <a:lnTo>
                  <a:pt x="606" y="518"/>
                </a:lnTo>
                <a:lnTo>
                  <a:pt x="609" y="516"/>
                </a:lnTo>
                <a:lnTo>
                  <a:pt x="612" y="515"/>
                </a:lnTo>
                <a:lnTo>
                  <a:pt x="614" y="515"/>
                </a:lnTo>
                <a:lnTo>
                  <a:pt x="615" y="515"/>
                </a:lnTo>
                <a:lnTo>
                  <a:pt x="615" y="516"/>
                </a:lnTo>
                <a:lnTo>
                  <a:pt x="612" y="519"/>
                </a:lnTo>
                <a:lnTo>
                  <a:pt x="608" y="521"/>
                </a:lnTo>
                <a:lnTo>
                  <a:pt x="622" y="535"/>
                </a:lnTo>
                <a:lnTo>
                  <a:pt x="636" y="549"/>
                </a:lnTo>
                <a:lnTo>
                  <a:pt x="639" y="550"/>
                </a:lnTo>
                <a:lnTo>
                  <a:pt x="642" y="550"/>
                </a:lnTo>
                <a:lnTo>
                  <a:pt x="653" y="548"/>
                </a:lnTo>
                <a:lnTo>
                  <a:pt x="663" y="547"/>
                </a:lnTo>
                <a:lnTo>
                  <a:pt x="675" y="546"/>
                </a:lnTo>
                <a:lnTo>
                  <a:pt x="685" y="544"/>
                </a:lnTo>
                <a:lnTo>
                  <a:pt x="697" y="546"/>
                </a:lnTo>
                <a:lnTo>
                  <a:pt x="709" y="549"/>
                </a:lnTo>
                <a:lnTo>
                  <a:pt x="714" y="551"/>
                </a:lnTo>
                <a:lnTo>
                  <a:pt x="719" y="555"/>
                </a:lnTo>
                <a:lnTo>
                  <a:pt x="724" y="558"/>
                </a:lnTo>
                <a:lnTo>
                  <a:pt x="728" y="563"/>
                </a:lnTo>
                <a:lnTo>
                  <a:pt x="731" y="567"/>
                </a:lnTo>
                <a:lnTo>
                  <a:pt x="735" y="568"/>
                </a:lnTo>
                <a:lnTo>
                  <a:pt x="739" y="569"/>
                </a:lnTo>
                <a:lnTo>
                  <a:pt x="744" y="569"/>
                </a:lnTo>
                <a:lnTo>
                  <a:pt x="756" y="567"/>
                </a:lnTo>
                <a:lnTo>
                  <a:pt x="769" y="565"/>
                </a:lnTo>
                <a:lnTo>
                  <a:pt x="781" y="564"/>
                </a:lnTo>
                <a:lnTo>
                  <a:pt x="794" y="563"/>
                </a:lnTo>
                <a:lnTo>
                  <a:pt x="816" y="561"/>
                </a:lnTo>
                <a:lnTo>
                  <a:pt x="839" y="558"/>
                </a:lnTo>
                <a:lnTo>
                  <a:pt x="862" y="556"/>
                </a:lnTo>
                <a:lnTo>
                  <a:pt x="884" y="554"/>
                </a:lnTo>
                <a:lnTo>
                  <a:pt x="899" y="553"/>
                </a:lnTo>
                <a:lnTo>
                  <a:pt x="916" y="550"/>
                </a:lnTo>
                <a:lnTo>
                  <a:pt x="932" y="549"/>
                </a:lnTo>
                <a:lnTo>
                  <a:pt x="947" y="548"/>
                </a:lnTo>
                <a:lnTo>
                  <a:pt x="968" y="546"/>
                </a:lnTo>
                <a:lnTo>
                  <a:pt x="988" y="543"/>
                </a:lnTo>
                <a:lnTo>
                  <a:pt x="1009" y="542"/>
                </a:lnTo>
                <a:lnTo>
                  <a:pt x="1030" y="540"/>
                </a:lnTo>
                <a:lnTo>
                  <a:pt x="1048" y="539"/>
                </a:lnTo>
                <a:lnTo>
                  <a:pt x="1067" y="536"/>
                </a:lnTo>
                <a:lnTo>
                  <a:pt x="1084" y="535"/>
                </a:lnTo>
                <a:lnTo>
                  <a:pt x="1103" y="534"/>
                </a:lnTo>
                <a:lnTo>
                  <a:pt x="1123" y="532"/>
                </a:lnTo>
                <a:lnTo>
                  <a:pt x="1144" y="529"/>
                </a:lnTo>
                <a:lnTo>
                  <a:pt x="1165" y="527"/>
                </a:lnTo>
                <a:lnTo>
                  <a:pt x="1186" y="525"/>
                </a:lnTo>
                <a:lnTo>
                  <a:pt x="1204" y="523"/>
                </a:lnTo>
                <a:lnTo>
                  <a:pt x="1221" y="522"/>
                </a:lnTo>
                <a:lnTo>
                  <a:pt x="1239" y="520"/>
                </a:lnTo>
                <a:lnTo>
                  <a:pt x="1256" y="519"/>
                </a:lnTo>
                <a:lnTo>
                  <a:pt x="1282" y="516"/>
                </a:lnTo>
                <a:lnTo>
                  <a:pt x="1306" y="514"/>
                </a:lnTo>
                <a:lnTo>
                  <a:pt x="1331" y="512"/>
                </a:lnTo>
                <a:lnTo>
                  <a:pt x="1357" y="511"/>
                </a:lnTo>
                <a:lnTo>
                  <a:pt x="1372" y="508"/>
                </a:lnTo>
                <a:lnTo>
                  <a:pt x="1387" y="507"/>
                </a:lnTo>
                <a:lnTo>
                  <a:pt x="1403" y="506"/>
                </a:lnTo>
                <a:lnTo>
                  <a:pt x="1419" y="505"/>
                </a:lnTo>
                <a:lnTo>
                  <a:pt x="1408" y="507"/>
                </a:lnTo>
                <a:lnTo>
                  <a:pt x="1398" y="509"/>
                </a:lnTo>
                <a:lnTo>
                  <a:pt x="1371" y="512"/>
                </a:lnTo>
                <a:lnTo>
                  <a:pt x="1344" y="514"/>
                </a:lnTo>
                <a:lnTo>
                  <a:pt x="1317" y="516"/>
                </a:lnTo>
                <a:lnTo>
                  <a:pt x="1290" y="519"/>
                </a:lnTo>
                <a:lnTo>
                  <a:pt x="1260" y="522"/>
                </a:lnTo>
                <a:lnTo>
                  <a:pt x="1229" y="525"/>
                </a:lnTo>
                <a:lnTo>
                  <a:pt x="1200" y="527"/>
                </a:lnTo>
                <a:lnTo>
                  <a:pt x="1170" y="530"/>
                </a:lnTo>
                <a:lnTo>
                  <a:pt x="1136" y="533"/>
                </a:lnTo>
                <a:lnTo>
                  <a:pt x="1101" y="536"/>
                </a:lnTo>
                <a:lnTo>
                  <a:pt x="1067" y="540"/>
                </a:lnTo>
                <a:lnTo>
                  <a:pt x="1033" y="543"/>
                </a:lnTo>
                <a:lnTo>
                  <a:pt x="1008" y="546"/>
                </a:lnTo>
                <a:lnTo>
                  <a:pt x="983" y="548"/>
                </a:lnTo>
                <a:lnTo>
                  <a:pt x="957" y="550"/>
                </a:lnTo>
                <a:lnTo>
                  <a:pt x="931" y="553"/>
                </a:lnTo>
                <a:lnTo>
                  <a:pt x="905" y="555"/>
                </a:lnTo>
                <a:lnTo>
                  <a:pt x="878" y="558"/>
                </a:lnTo>
                <a:lnTo>
                  <a:pt x="852" y="561"/>
                </a:lnTo>
                <a:lnTo>
                  <a:pt x="826" y="563"/>
                </a:lnTo>
                <a:lnTo>
                  <a:pt x="807" y="564"/>
                </a:lnTo>
                <a:lnTo>
                  <a:pt x="788" y="567"/>
                </a:lnTo>
                <a:lnTo>
                  <a:pt x="770" y="568"/>
                </a:lnTo>
                <a:lnTo>
                  <a:pt x="751" y="570"/>
                </a:lnTo>
                <a:lnTo>
                  <a:pt x="743" y="570"/>
                </a:lnTo>
                <a:lnTo>
                  <a:pt x="736" y="570"/>
                </a:lnTo>
                <a:lnTo>
                  <a:pt x="732" y="569"/>
                </a:lnTo>
                <a:lnTo>
                  <a:pt x="729" y="568"/>
                </a:lnTo>
                <a:lnTo>
                  <a:pt x="725" y="565"/>
                </a:lnTo>
                <a:lnTo>
                  <a:pt x="723" y="562"/>
                </a:lnTo>
                <a:lnTo>
                  <a:pt x="719" y="560"/>
                </a:lnTo>
                <a:lnTo>
                  <a:pt x="716" y="558"/>
                </a:lnTo>
                <a:lnTo>
                  <a:pt x="709" y="555"/>
                </a:lnTo>
                <a:lnTo>
                  <a:pt x="702" y="553"/>
                </a:lnTo>
                <a:lnTo>
                  <a:pt x="695" y="550"/>
                </a:lnTo>
                <a:lnTo>
                  <a:pt x="688" y="549"/>
                </a:lnTo>
                <a:lnTo>
                  <a:pt x="673" y="548"/>
                </a:lnTo>
                <a:lnTo>
                  <a:pt x="659" y="549"/>
                </a:lnTo>
                <a:lnTo>
                  <a:pt x="650" y="550"/>
                </a:lnTo>
                <a:lnTo>
                  <a:pt x="642" y="554"/>
                </a:lnTo>
                <a:lnTo>
                  <a:pt x="645" y="557"/>
                </a:lnTo>
                <a:lnTo>
                  <a:pt x="647" y="561"/>
                </a:lnTo>
                <a:lnTo>
                  <a:pt x="650" y="563"/>
                </a:lnTo>
                <a:lnTo>
                  <a:pt x="653" y="565"/>
                </a:lnTo>
                <a:lnTo>
                  <a:pt x="656" y="567"/>
                </a:lnTo>
                <a:lnTo>
                  <a:pt x="660" y="568"/>
                </a:lnTo>
                <a:lnTo>
                  <a:pt x="664" y="568"/>
                </a:lnTo>
                <a:lnTo>
                  <a:pt x="668" y="568"/>
                </a:lnTo>
                <a:lnTo>
                  <a:pt x="682" y="567"/>
                </a:lnTo>
                <a:lnTo>
                  <a:pt x="695" y="568"/>
                </a:lnTo>
                <a:lnTo>
                  <a:pt x="701" y="569"/>
                </a:lnTo>
                <a:lnTo>
                  <a:pt x="708" y="571"/>
                </a:lnTo>
                <a:lnTo>
                  <a:pt x="714" y="574"/>
                </a:lnTo>
                <a:lnTo>
                  <a:pt x="719" y="576"/>
                </a:lnTo>
                <a:lnTo>
                  <a:pt x="729" y="581"/>
                </a:lnTo>
                <a:lnTo>
                  <a:pt x="735" y="583"/>
                </a:lnTo>
                <a:lnTo>
                  <a:pt x="742" y="584"/>
                </a:lnTo>
                <a:lnTo>
                  <a:pt x="751" y="583"/>
                </a:lnTo>
                <a:lnTo>
                  <a:pt x="783" y="581"/>
                </a:lnTo>
                <a:lnTo>
                  <a:pt x="815" y="577"/>
                </a:lnTo>
                <a:lnTo>
                  <a:pt x="848" y="574"/>
                </a:lnTo>
                <a:lnTo>
                  <a:pt x="880" y="571"/>
                </a:lnTo>
                <a:lnTo>
                  <a:pt x="902" y="569"/>
                </a:lnTo>
                <a:lnTo>
                  <a:pt x="924" y="567"/>
                </a:lnTo>
                <a:lnTo>
                  <a:pt x="946" y="565"/>
                </a:lnTo>
                <a:lnTo>
                  <a:pt x="967" y="563"/>
                </a:lnTo>
                <a:lnTo>
                  <a:pt x="992" y="561"/>
                </a:lnTo>
                <a:lnTo>
                  <a:pt x="1016" y="558"/>
                </a:lnTo>
                <a:lnTo>
                  <a:pt x="1040" y="556"/>
                </a:lnTo>
                <a:lnTo>
                  <a:pt x="1064" y="554"/>
                </a:lnTo>
                <a:lnTo>
                  <a:pt x="1080" y="553"/>
                </a:lnTo>
                <a:lnTo>
                  <a:pt x="1094" y="551"/>
                </a:lnTo>
                <a:lnTo>
                  <a:pt x="1109" y="549"/>
                </a:lnTo>
                <a:lnTo>
                  <a:pt x="1123" y="548"/>
                </a:lnTo>
                <a:lnTo>
                  <a:pt x="1147" y="546"/>
                </a:lnTo>
                <a:lnTo>
                  <a:pt x="1172" y="543"/>
                </a:lnTo>
                <a:lnTo>
                  <a:pt x="1197" y="541"/>
                </a:lnTo>
                <a:lnTo>
                  <a:pt x="1220" y="539"/>
                </a:lnTo>
                <a:lnTo>
                  <a:pt x="1236" y="537"/>
                </a:lnTo>
                <a:lnTo>
                  <a:pt x="1251" y="536"/>
                </a:lnTo>
                <a:lnTo>
                  <a:pt x="1268" y="535"/>
                </a:lnTo>
                <a:lnTo>
                  <a:pt x="1284" y="533"/>
                </a:lnTo>
                <a:lnTo>
                  <a:pt x="1306" y="532"/>
                </a:lnTo>
                <a:lnTo>
                  <a:pt x="1327" y="529"/>
                </a:lnTo>
                <a:lnTo>
                  <a:pt x="1350" y="527"/>
                </a:lnTo>
                <a:lnTo>
                  <a:pt x="1372" y="525"/>
                </a:lnTo>
                <a:lnTo>
                  <a:pt x="1395" y="522"/>
                </a:lnTo>
                <a:lnTo>
                  <a:pt x="1419" y="520"/>
                </a:lnTo>
                <a:lnTo>
                  <a:pt x="1442" y="518"/>
                </a:lnTo>
                <a:lnTo>
                  <a:pt x="1467" y="515"/>
                </a:lnTo>
                <a:lnTo>
                  <a:pt x="1469" y="514"/>
                </a:lnTo>
                <a:lnTo>
                  <a:pt x="1471" y="512"/>
                </a:lnTo>
                <a:lnTo>
                  <a:pt x="1481" y="494"/>
                </a:lnTo>
                <a:lnTo>
                  <a:pt x="1490" y="477"/>
                </a:lnTo>
                <a:lnTo>
                  <a:pt x="1492" y="470"/>
                </a:lnTo>
                <a:lnTo>
                  <a:pt x="1492" y="463"/>
                </a:lnTo>
                <a:lnTo>
                  <a:pt x="1487" y="472"/>
                </a:lnTo>
                <a:lnTo>
                  <a:pt x="1482" y="483"/>
                </a:lnTo>
                <a:lnTo>
                  <a:pt x="1475" y="491"/>
                </a:lnTo>
                <a:lnTo>
                  <a:pt x="1468" y="499"/>
                </a:lnTo>
                <a:lnTo>
                  <a:pt x="1475" y="484"/>
                </a:lnTo>
                <a:lnTo>
                  <a:pt x="1483" y="470"/>
                </a:lnTo>
                <a:lnTo>
                  <a:pt x="1484" y="466"/>
                </a:lnTo>
                <a:lnTo>
                  <a:pt x="1485" y="463"/>
                </a:lnTo>
                <a:lnTo>
                  <a:pt x="1485" y="460"/>
                </a:lnTo>
                <a:lnTo>
                  <a:pt x="1483" y="457"/>
                </a:lnTo>
                <a:lnTo>
                  <a:pt x="1471" y="445"/>
                </a:lnTo>
                <a:lnTo>
                  <a:pt x="1460" y="434"/>
                </a:lnTo>
                <a:lnTo>
                  <a:pt x="1455" y="430"/>
                </a:lnTo>
                <a:lnTo>
                  <a:pt x="1450" y="430"/>
                </a:lnTo>
                <a:lnTo>
                  <a:pt x="1439" y="430"/>
                </a:lnTo>
                <a:lnTo>
                  <a:pt x="1426" y="432"/>
                </a:lnTo>
                <a:lnTo>
                  <a:pt x="1410" y="434"/>
                </a:lnTo>
                <a:lnTo>
                  <a:pt x="1394" y="435"/>
                </a:lnTo>
                <a:lnTo>
                  <a:pt x="1378" y="437"/>
                </a:lnTo>
                <a:lnTo>
                  <a:pt x="1361" y="438"/>
                </a:lnTo>
                <a:lnTo>
                  <a:pt x="1342" y="441"/>
                </a:lnTo>
                <a:lnTo>
                  <a:pt x="1322" y="443"/>
                </a:lnTo>
                <a:lnTo>
                  <a:pt x="1303" y="444"/>
                </a:lnTo>
                <a:lnTo>
                  <a:pt x="1283" y="446"/>
                </a:lnTo>
                <a:lnTo>
                  <a:pt x="1265" y="449"/>
                </a:lnTo>
                <a:lnTo>
                  <a:pt x="1247" y="450"/>
                </a:lnTo>
                <a:lnTo>
                  <a:pt x="1229" y="451"/>
                </a:lnTo>
                <a:lnTo>
                  <a:pt x="1212" y="453"/>
                </a:lnTo>
                <a:lnTo>
                  <a:pt x="1193" y="455"/>
                </a:lnTo>
                <a:lnTo>
                  <a:pt x="1173" y="457"/>
                </a:lnTo>
                <a:lnTo>
                  <a:pt x="1154" y="459"/>
                </a:lnTo>
                <a:lnTo>
                  <a:pt x="1136" y="462"/>
                </a:lnTo>
                <a:lnTo>
                  <a:pt x="1111" y="464"/>
                </a:lnTo>
                <a:lnTo>
                  <a:pt x="1088" y="466"/>
                </a:lnTo>
                <a:lnTo>
                  <a:pt x="1063" y="467"/>
                </a:lnTo>
                <a:lnTo>
                  <a:pt x="1040" y="470"/>
                </a:lnTo>
                <a:lnTo>
                  <a:pt x="1023" y="472"/>
                </a:lnTo>
                <a:lnTo>
                  <a:pt x="1006" y="473"/>
                </a:lnTo>
                <a:lnTo>
                  <a:pt x="990" y="474"/>
                </a:lnTo>
                <a:lnTo>
                  <a:pt x="973" y="476"/>
                </a:lnTo>
                <a:lnTo>
                  <a:pt x="958" y="478"/>
                </a:lnTo>
                <a:lnTo>
                  <a:pt x="942" y="479"/>
                </a:lnTo>
                <a:lnTo>
                  <a:pt x="926" y="480"/>
                </a:lnTo>
                <a:lnTo>
                  <a:pt x="911" y="481"/>
                </a:lnTo>
                <a:lnTo>
                  <a:pt x="890" y="484"/>
                </a:lnTo>
                <a:lnTo>
                  <a:pt x="869" y="486"/>
                </a:lnTo>
                <a:lnTo>
                  <a:pt x="848" y="488"/>
                </a:lnTo>
                <a:lnTo>
                  <a:pt x="826" y="491"/>
                </a:lnTo>
                <a:lnTo>
                  <a:pt x="805" y="493"/>
                </a:lnTo>
                <a:lnTo>
                  <a:pt x="784" y="494"/>
                </a:lnTo>
                <a:lnTo>
                  <a:pt x="763" y="497"/>
                </a:lnTo>
                <a:lnTo>
                  <a:pt x="742" y="499"/>
                </a:lnTo>
                <a:lnTo>
                  <a:pt x="737" y="499"/>
                </a:lnTo>
                <a:lnTo>
                  <a:pt x="733" y="499"/>
                </a:lnTo>
                <a:lnTo>
                  <a:pt x="730" y="497"/>
                </a:lnTo>
                <a:lnTo>
                  <a:pt x="726" y="494"/>
                </a:lnTo>
                <a:lnTo>
                  <a:pt x="722" y="491"/>
                </a:lnTo>
                <a:lnTo>
                  <a:pt x="717" y="487"/>
                </a:lnTo>
                <a:lnTo>
                  <a:pt x="711" y="484"/>
                </a:lnTo>
                <a:lnTo>
                  <a:pt x="705" y="481"/>
                </a:lnTo>
                <a:lnTo>
                  <a:pt x="694" y="478"/>
                </a:lnTo>
                <a:lnTo>
                  <a:pt x="681" y="477"/>
                </a:lnTo>
                <a:lnTo>
                  <a:pt x="671" y="477"/>
                </a:lnTo>
                <a:lnTo>
                  <a:pt x="663" y="477"/>
                </a:lnTo>
                <a:lnTo>
                  <a:pt x="655" y="478"/>
                </a:lnTo>
                <a:lnTo>
                  <a:pt x="647" y="480"/>
                </a:lnTo>
                <a:lnTo>
                  <a:pt x="640" y="484"/>
                </a:lnTo>
                <a:lnTo>
                  <a:pt x="633" y="488"/>
                </a:lnTo>
                <a:lnTo>
                  <a:pt x="626" y="494"/>
                </a:lnTo>
                <a:lnTo>
                  <a:pt x="619" y="500"/>
                </a:lnTo>
                <a:lnTo>
                  <a:pt x="621" y="494"/>
                </a:lnTo>
                <a:lnTo>
                  <a:pt x="625" y="490"/>
                </a:lnTo>
                <a:lnTo>
                  <a:pt x="628" y="485"/>
                </a:lnTo>
                <a:lnTo>
                  <a:pt x="634" y="483"/>
                </a:lnTo>
                <a:lnTo>
                  <a:pt x="647" y="477"/>
                </a:lnTo>
                <a:lnTo>
                  <a:pt x="661" y="473"/>
                </a:lnTo>
                <a:lnTo>
                  <a:pt x="674" y="471"/>
                </a:lnTo>
                <a:lnTo>
                  <a:pt x="687" y="472"/>
                </a:lnTo>
                <a:lnTo>
                  <a:pt x="700" y="474"/>
                </a:lnTo>
                <a:lnTo>
                  <a:pt x="712" y="479"/>
                </a:lnTo>
                <a:lnTo>
                  <a:pt x="724" y="486"/>
                </a:lnTo>
                <a:lnTo>
                  <a:pt x="736" y="495"/>
                </a:lnTo>
                <a:lnTo>
                  <a:pt x="738" y="491"/>
                </a:lnTo>
                <a:lnTo>
                  <a:pt x="738" y="486"/>
                </a:lnTo>
                <a:lnTo>
                  <a:pt x="737" y="481"/>
                </a:lnTo>
                <a:lnTo>
                  <a:pt x="735" y="477"/>
                </a:lnTo>
                <a:lnTo>
                  <a:pt x="731" y="472"/>
                </a:lnTo>
                <a:lnTo>
                  <a:pt x="726" y="467"/>
                </a:lnTo>
                <a:lnTo>
                  <a:pt x="722" y="464"/>
                </a:lnTo>
                <a:lnTo>
                  <a:pt x="717" y="462"/>
                </a:lnTo>
                <a:lnTo>
                  <a:pt x="705" y="457"/>
                </a:lnTo>
                <a:lnTo>
                  <a:pt x="694" y="453"/>
                </a:lnTo>
                <a:lnTo>
                  <a:pt x="682" y="451"/>
                </a:lnTo>
                <a:lnTo>
                  <a:pt x="669" y="451"/>
                </a:lnTo>
                <a:lnTo>
                  <a:pt x="684" y="450"/>
                </a:lnTo>
                <a:lnTo>
                  <a:pt x="698" y="451"/>
                </a:lnTo>
                <a:lnTo>
                  <a:pt x="712" y="455"/>
                </a:lnTo>
                <a:lnTo>
                  <a:pt x="726" y="460"/>
                </a:lnTo>
                <a:lnTo>
                  <a:pt x="726" y="448"/>
                </a:lnTo>
                <a:lnTo>
                  <a:pt x="725" y="435"/>
                </a:lnTo>
                <a:lnTo>
                  <a:pt x="725" y="423"/>
                </a:lnTo>
                <a:lnTo>
                  <a:pt x="724" y="411"/>
                </a:lnTo>
                <a:lnTo>
                  <a:pt x="725" y="410"/>
                </a:lnTo>
                <a:lnTo>
                  <a:pt x="728" y="410"/>
                </a:lnTo>
                <a:lnTo>
                  <a:pt x="731" y="420"/>
                </a:lnTo>
                <a:lnTo>
                  <a:pt x="735" y="428"/>
                </a:lnTo>
                <a:lnTo>
                  <a:pt x="737" y="422"/>
                </a:lnTo>
                <a:lnTo>
                  <a:pt x="737" y="415"/>
                </a:lnTo>
                <a:lnTo>
                  <a:pt x="736" y="409"/>
                </a:lnTo>
                <a:lnTo>
                  <a:pt x="732" y="404"/>
                </a:lnTo>
                <a:lnTo>
                  <a:pt x="724" y="396"/>
                </a:lnTo>
                <a:lnTo>
                  <a:pt x="715" y="390"/>
                </a:lnTo>
                <a:lnTo>
                  <a:pt x="705" y="386"/>
                </a:lnTo>
                <a:lnTo>
                  <a:pt x="694" y="383"/>
                </a:lnTo>
                <a:lnTo>
                  <a:pt x="684" y="383"/>
                </a:lnTo>
                <a:lnTo>
                  <a:pt x="676" y="382"/>
                </a:lnTo>
                <a:lnTo>
                  <a:pt x="667" y="382"/>
                </a:lnTo>
                <a:lnTo>
                  <a:pt x="659" y="382"/>
                </a:lnTo>
                <a:lnTo>
                  <a:pt x="669" y="380"/>
                </a:lnTo>
                <a:lnTo>
                  <a:pt x="678" y="379"/>
                </a:lnTo>
                <a:lnTo>
                  <a:pt x="689" y="379"/>
                </a:lnTo>
                <a:lnTo>
                  <a:pt x="698" y="380"/>
                </a:lnTo>
                <a:lnTo>
                  <a:pt x="708" y="382"/>
                </a:lnTo>
                <a:lnTo>
                  <a:pt x="717" y="387"/>
                </a:lnTo>
                <a:lnTo>
                  <a:pt x="726" y="392"/>
                </a:lnTo>
                <a:lnTo>
                  <a:pt x="735" y="400"/>
                </a:lnTo>
                <a:lnTo>
                  <a:pt x="737" y="392"/>
                </a:lnTo>
                <a:lnTo>
                  <a:pt x="737" y="386"/>
                </a:lnTo>
                <a:lnTo>
                  <a:pt x="736" y="380"/>
                </a:lnTo>
                <a:lnTo>
                  <a:pt x="732" y="374"/>
                </a:lnTo>
                <a:lnTo>
                  <a:pt x="724" y="366"/>
                </a:lnTo>
                <a:lnTo>
                  <a:pt x="715" y="359"/>
                </a:lnTo>
                <a:lnTo>
                  <a:pt x="703" y="354"/>
                </a:lnTo>
                <a:lnTo>
                  <a:pt x="691" y="352"/>
                </a:lnTo>
                <a:lnTo>
                  <a:pt x="678" y="350"/>
                </a:lnTo>
                <a:lnTo>
                  <a:pt x="667" y="351"/>
                </a:lnTo>
                <a:lnTo>
                  <a:pt x="654" y="353"/>
                </a:lnTo>
                <a:lnTo>
                  <a:pt x="642" y="358"/>
                </a:lnTo>
                <a:lnTo>
                  <a:pt x="631" y="366"/>
                </a:lnTo>
                <a:lnTo>
                  <a:pt x="619" y="375"/>
                </a:lnTo>
                <a:lnTo>
                  <a:pt x="620" y="373"/>
                </a:lnTo>
                <a:lnTo>
                  <a:pt x="621" y="369"/>
                </a:lnTo>
                <a:lnTo>
                  <a:pt x="622" y="366"/>
                </a:lnTo>
                <a:lnTo>
                  <a:pt x="626" y="362"/>
                </a:lnTo>
                <a:lnTo>
                  <a:pt x="628" y="360"/>
                </a:lnTo>
                <a:lnTo>
                  <a:pt x="632" y="358"/>
                </a:lnTo>
                <a:lnTo>
                  <a:pt x="638" y="354"/>
                </a:lnTo>
                <a:lnTo>
                  <a:pt x="645" y="351"/>
                </a:lnTo>
                <a:lnTo>
                  <a:pt x="652" y="347"/>
                </a:lnTo>
                <a:lnTo>
                  <a:pt x="659" y="346"/>
                </a:lnTo>
                <a:lnTo>
                  <a:pt x="666" y="344"/>
                </a:lnTo>
                <a:lnTo>
                  <a:pt x="673" y="344"/>
                </a:lnTo>
                <a:lnTo>
                  <a:pt x="681" y="344"/>
                </a:lnTo>
                <a:lnTo>
                  <a:pt x="688" y="344"/>
                </a:lnTo>
                <a:lnTo>
                  <a:pt x="695" y="345"/>
                </a:lnTo>
                <a:lnTo>
                  <a:pt x="702" y="347"/>
                </a:lnTo>
                <a:lnTo>
                  <a:pt x="717" y="353"/>
                </a:lnTo>
                <a:lnTo>
                  <a:pt x="731" y="360"/>
                </a:lnTo>
                <a:lnTo>
                  <a:pt x="730" y="352"/>
                </a:lnTo>
                <a:lnTo>
                  <a:pt x="730" y="343"/>
                </a:lnTo>
                <a:lnTo>
                  <a:pt x="730" y="339"/>
                </a:lnTo>
                <a:lnTo>
                  <a:pt x="728" y="334"/>
                </a:lnTo>
                <a:lnTo>
                  <a:pt x="725" y="331"/>
                </a:lnTo>
                <a:lnTo>
                  <a:pt x="721" y="327"/>
                </a:lnTo>
                <a:lnTo>
                  <a:pt x="723" y="323"/>
                </a:lnTo>
                <a:lnTo>
                  <a:pt x="725" y="316"/>
                </a:lnTo>
                <a:lnTo>
                  <a:pt x="729" y="325"/>
                </a:lnTo>
                <a:lnTo>
                  <a:pt x="732" y="333"/>
                </a:lnTo>
                <a:lnTo>
                  <a:pt x="733" y="331"/>
                </a:lnTo>
                <a:lnTo>
                  <a:pt x="735" y="327"/>
                </a:lnTo>
                <a:lnTo>
                  <a:pt x="736" y="325"/>
                </a:lnTo>
                <a:lnTo>
                  <a:pt x="736" y="320"/>
                </a:lnTo>
                <a:lnTo>
                  <a:pt x="735" y="317"/>
                </a:lnTo>
                <a:lnTo>
                  <a:pt x="733" y="313"/>
                </a:lnTo>
                <a:lnTo>
                  <a:pt x="731" y="310"/>
                </a:lnTo>
                <a:lnTo>
                  <a:pt x="729" y="306"/>
                </a:lnTo>
                <a:lnTo>
                  <a:pt x="724" y="302"/>
                </a:lnTo>
                <a:lnTo>
                  <a:pt x="719" y="297"/>
                </a:lnTo>
                <a:lnTo>
                  <a:pt x="714" y="294"/>
                </a:lnTo>
                <a:lnTo>
                  <a:pt x="708" y="291"/>
                </a:lnTo>
                <a:lnTo>
                  <a:pt x="701" y="289"/>
                </a:lnTo>
                <a:lnTo>
                  <a:pt x="694" y="287"/>
                </a:lnTo>
                <a:lnTo>
                  <a:pt x="688" y="285"/>
                </a:lnTo>
                <a:lnTo>
                  <a:pt x="681" y="284"/>
                </a:lnTo>
                <a:lnTo>
                  <a:pt x="667" y="285"/>
                </a:lnTo>
                <a:lnTo>
                  <a:pt x="653" y="288"/>
                </a:lnTo>
                <a:lnTo>
                  <a:pt x="647" y="290"/>
                </a:lnTo>
                <a:lnTo>
                  <a:pt x="641" y="292"/>
                </a:lnTo>
                <a:lnTo>
                  <a:pt x="635" y="296"/>
                </a:lnTo>
                <a:lnTo>
                  <a:pt x="631" y="299"/>
                </a:lnTo>
                <a:lnTo>
                  <a:pt x="626" y="304"/>
                </a:lnTo>
                <a:lnTo>
                  <a:pt x="624" y="308"/>
                </a:lnTo>
                <a:lnTo>
                  <a:pt x="621" y="312"/>
                </a:lnTo>
                <a:lnTo>
                  <a:pt x="620" y="316"/>
                </a:lnTo>
                <a:lnTo>
                  <a:pt x="619" y="320"/>
                </a:lnTo>
                <a:lnTo>
                  <a:pt x="619" y="325"/>
                </a:lnTo>
                <a:lnTo>
                  <a:pt x="620" y="330"/>
                </a:lnTo>
                <a:lnTo>
                  <a:pt x="622" y="336"/>
                </a:lnTo>
                <a:lnTo>
                  <a:pt x="624" y="339"/>
                </a:lnTo>
                <a:lnTo>
                  <a:pt x="624" y="343"/>
                </a:lnTo>
                <a:lnTo>
                  <a:pt x="622" y="346"/>
                </a:lnTo>
                <a:lnTo>
                  <a:pt x="619" y="350"/>
                </a:lnTo>
                <a:lnTo>
                  <a:pt x="600" y="361"/>
                </a:lnTo>
                <a:lnTo>
                  <a:pt x="581" y="372"/>
                </a:lnTo>
                <a:lnTo>
                  <a:pt x="563" y="383"/>
                </a:lnTo>
                <a:lnTo>
                  <a:pt x="544" y="394"/>
                </a:lnTo>
                <a:lnTo>
                  <a:pt x="535" y="400"/>
                </a:lnTo>
                <a:lnTo>
                  <a:pt x="524" y="407"/>
                </a:lnTo>
                <a:lnTo>
                  <a:pt x="514" y="413"/>
                </a:lnTo>
                <a:lnTo>
                  <a:pt x="504" y="418"/>
                </a:lnTo>
                <a:lnTo>
                  <a:pt x="519" y="435"/>
                </a:lnTo>
                <a:lnTo>
                  <a:pt x="533" y="450"/>
                </a:lnTo>
                <a:lnTo>
                  <a:pt x="537" y="452"/>
                </a:lnTo>
                <a:lnTo>
                  <a:pt x="539" y="453"/>
                </a:lnTo>
                <a:lnTo>
                  <a:pt x="543" y="452"/>
                </a:lnTo>
                <a:lnTo>
                  <a:pt x="545" y="451"/>
                </a:lnTo>
                <a:close/>
                <a:moveTo>
                  <a:pt x="379" y="647"/>
                </a:moveTo>
                <a:lnTo>
                  <a:pt x="378" y="650"/>
                </a:lnTo>
                <a:lnTo>
                  <a:pt x="377" y="651"/>
                </a:lnTo>
                <a:lnTo>
                  <a:pt x="360" y="661"/>
                </a:lnTo>
                <a:lnTo>
                  <a:pt x="343" y="669"/>
                </a:lnTo>
                <a:lnTo>
                  <a:pt x="351" y="664"/>
                </a:lnTo>
                <a:lnTo>
                  <a:pt x="360" y="658"/>
                </a:lnTo>
                <a:lnTo>
                  <a:pt x="370" y="653"/>
                </a:lnTo>
                <a:lnTo>
                  <a:pt x="379" y="647"/>
                </a:lnTo>
                <a:close/>
                <a:moveTo>
                  <a:pt x="405" y="633"/>
                </a:moveTo>
                <a:lnTo>
                  <a:pt x="406" y="632"/>
                </a:lnTo>
                <a:lnTo>
                  <a:pt x="408" y="632"/>
                </a:lnTo>
                <a:lnTo>
                  <a:pt x="402" y="637"/>
                </a:lnTo>
                <a:lnTo>
                  <a:pt x="395" y="641"/>
                </a:lnTo>
                <a:lnTo>
                  <a:pt x="388" y="645"/>
                </a:lnTo>
                <a:lnTo>
                  <a:pt x="380" y="647"/>
                </a:lnTo>
                <a:lnTo>
                  <a:pt x="392" y="640"/>
                </a:lnTo>
                <a:lnTo>
                  <a:pt x="405" y="633"/>
                </a:lnTo>
                <a:close/>
                <a:moveTo>
                  <a:pt x="454" y="605"/>
                </a:moveTo>
                <a:lnTo>
                  <a:pt x="454" y="606"/>
                </a:lnTo>
                <a:lnTo>
                  <a:pt x="455" y="606"/>
                </a:lnTo>
                <a:lnTo>
                  <a:pt x="438" y="617"/>
                </a:lnTo>
                <a:lnTo>
                  <a:pt x="421" y="626"/>
                </a:lnTo>
                <a:lnTo>
                  <a:pt x="417" y="629"/>
                </a:lnTo>
                <a:lnTo>
                  <a:pt x="411" y="631"/>
                </a:lnTo>
                <a:lnTo>
                  <a:pt x="421" y="624"/>
                </a:lnTo>
                <a:lnTo>
                  <a:pt x="432" y="618"/>
                </a:lnTo>
                <a:lnTo>
                  <a:pt x="443" y="611"/>
                </a:lnTo>
                <a:lnTo>
                  <a:pt x="454" y="605"/>
                </a:lnTo>
                <a:close/>
                <a:moveTo>
                  <a:pt x="330" y="563"/>
                </a:moveTo>
                <a:lnTo>
                  <a:pt x="329" y="562"/>
                </a:lnTo>
                <a:lnTo>
                  <a:pt x="328" y="560"/>
                </a:lnTo>
                <a:lnTo>
                  <a:pt x="326" y="557"/>
                </a:lnTo>
                <a:lnTo>
                  <a:pt x="326" y="554"/>
                </a:lnTo>
                <a:lnTo>
                  <a:pt x="328" y="547"/>
                </a:lnTo>
                <a:lnTo>
                  <a:pt x="331" y="541"/>
                </a:lnTo>
                <a:lnTo>
                  <a:pt x="330" y="551"/>
                </a:lnTo>
                <a:lnTo>
                  <a:pt x="330" y="563"/>
                </a:lnTo>
                <a:close/>
                <a:moveTo>
                  <a:pt x="668" y="770"/>
                </a:moveTo>
                <a:lnTo>
                  <a:pt x="670" y="771"/>
                </a:lnTo>
                <a:lnTo>
                  <a:pt x="674" y="772"/>
                </a:lnTo>
                <a:lnTo>
                  <a:pt x="671" y="774"/>
                </a:lnTo>
                <a:lnTo>
                  <a:pt x="669" y="776"/>
                </a:lnTo>
                <a:lnTo>
                  <a:pt x="667" y="779"/>
                </a:lnTo>
                <a:lnTo>
                  <a:pt x="664" y="781"/>
                </a:lnTo>
                <a:lnTo>
                  <a:pt x="664" y="786"/>
                </a:lnTo>
                <a:lnTo>
                  <a:pt x="662" y="787"/>
                </a:lnTo>
                <a:lnTo>
                  <a:pt x="660" y="788"/>
                </a:lnTo>
                <a:lnTo>
                  <a:pt x="656" y="788"/>
                </a:lnTo>
                <a:lnTo>
                  <a:pt x="656" y="779"/>
                </a:lnTo>
                <a:lnTo>
                  <a:pt x="659" y="774"/>
                </a:lnTo>
                <a:lnTo>
                  <a:pt x="660" y="772"/>
                </a:lnTo>
                <a:lnTo>
                  <a:pt x="662" y="771"/>
                </a:lnTo>
                <a:lnTo>
                  <a:pt x="664" y="770"/>
                </a:lnTo>
                <a:lnTo>
                  <a:pt x="668" y="770"/>
                </a:lnTo>
                <a:close/>
                <a:moveTo>
                  <a:pt x="695" y="783"/>
                </a:moveTo>
                <a:lnTo>
                  <a:pt x="691" y="785"/>
                </a:lnTo>
                <a:lnTo>
                  <a:pt x="689" y="786"/>
                </a:lnTo>
                <a:lnTo>
                  <a:pt x="684" y="785"/>
                </a:lnTo>
                <a:lnTo>
                  <a:pt x="677" y="781"/>
                </a:lnTo>
                <a:lnTo>
                  <a:pt x="685" y="781"/>
                </a:lnTo>
                <a:lnTo>
                  <a:pt x="695" y="783"/>
                </a:lnTo>
                <a:close/>
                <a:moveTo>
                  <a:pt x="674" y="807"/>
                </a:moveTo>
                <a:lnTo>
                  <a:pt x="671" y="806"/>
                </a:lnTo>
                <a:lnTo>
                  <a:pt x="669" y="805"/>
                </a:lnTo>
                <a:lnTo>
                  <a:pt x="671" y="802"/>
                </a:lnTo>
                <a:lnTo>
                  <a:pt x="674" y="800"/>
                </a:lnTo>
                <a:lnTo>
                  <a:pt x="677" y="798"/>
                </a:lnTo>
                <a:lnTo>
                  <a:pt x="681" y="795"/>
                </a:lnTo>
                <a:lnTo>
                  <a:pt x="682" y="792"/>
                </a:lnTo>
                <a:lnTo>
                  <a:pt x="684" y="790"/>
                </a:lnTo>
                <a:lnTo>
                  <a:pt x="685" y="792"/>
                </a:lnTo>
                <a:lnTo>
                  <a:pt x="687" y="794"/>
                </a:lnTo>
                <a:lnTo>
                  <a:pt x="685" y="800"/>
                </a:lnTo>
                <a:lnTo>
                  <a:pt x="683" y="805"/>
                </a:lnTo>
                <a:lnTo>
                  <a:pt x="680" y="807"/>
                </a:lnTo>
                <a:lnTo>
                  <a:pt x="674" y="807"/>
                </a:lnTo>
                <a:close/>
                <a:moveTo>
                  <a:pt x="600" y="608"/>
                </a:moveTo>
                <a:lnTo>
                  <a:pt x="597" y="598"/>
                </a:lnTo>
                <a:lnTo>
                  <a:pt x="594" y="589"/>
                </a:lnTo>
                <a:lnTo>
                  <a:pt x="594" y="587"/>
                </a:lnTo>
                <a:lnTo>
                  <a:pt x="594" y="583"/>
                </a:lnTo>
                <a:lnTo>
                  <a:pt x="594" y="571"/>
                </a:lnTo>
                <a:lnTo>
                  <a:pt x="594" y="561"/>
                </a:lnTo>
                <a:lnTo>
                  <a:pt x="595" y="557"/>
                </a:lnTo>
                <a:lnTo>
                  <a:pt x="598" y="556"/>
                </a:lnTo>
                <a:lnTo>
                  <a:pt x="601" y="556"/>
                </a:lnTo>
                <a:lnTo>
                  <a:pt x="604" y="558"/>
                </a:lnTo>
                <a:lnTo>
                  <a:pt x="608" y="565"/>
                </a:lnTo>
                <a:lnTo>
                  <a:pt x="611" y="574"/>
                </a:lnTo>
                <a:lnTo>
                  <a:pt x="612" y="583"/>
                </a:lnTo>
                <a:lnTo>
                  <a:pt x="611" y="591"/>
                </a:lnTo>
                <a:lnTo>
                  <a:pt x="609" y="594"/>
                </a:lnTo>
                <a:lnTo>
                  <a:pt x="607" y="595"/>
                </a:lnTo>
                <a:lnTo>
                  <a:pt x="611" y="601"/>
                </a:lnTo>
                <a:lnTo>
                  <a:pt x="614" y="608"/>
                </a:lnTo>
                <a:lnTo>
                  <a:pt x="606" y="608"/>
                </a:lnTo>
                <a:lnTo>
                  <a:pt x="600" y="608"/>
                </a:lnTo>
                <a:close/>
                <a:moveTo>
                  <a:pt x="587" y="645"/>
                </a:moveTo>
                <a:lnTo>
                  <a:pt x="590" y="647"/>
                </a:lnTo>
                <a:lnTo>
                  <a:pt x="592" y="650"/>
                </a:lnTo>
                <a:lnTo>
                  <a:pt x="591" y="651"/>
                </a:lnTo>
                <a:lnTo>
                  <a:pt x="590" y="651"/>
                </a:lnTo>
                <a:lnTo>
                  <a:pt x="586" y="647"/>
                </a:lnTo>
                <a:lnTo>
                  <a:pt x="584" y="644"/>
                </a:lnTo>
                <a:lnTo>
                  <a:pt x="583" y="640"/>
                </a:lnTo>
                <a:lnTo>
                  <a:pt x="581" y="636"/>
                </a:lnTo>
                <a:lnTo>
                  <a:pt x="583" y="631"/>
                </a:lnTo>
                <a:lnTo>
                  <a:pt x="585" y="625"/>
                </a:lnTo>
                <a:lnTo>
                  <a:pt x="590" y="632"/>
                </a:lnTo>
                <a:lnTo>
                  <a:pt x="593" y="639"/>
                </a:lnTo>
                <a:lnTo>
                  <a:pt x="592" y="639"/>
                </a:lnTo>
                <a:lnTo>
                  <a:pt x="591" y="640"/>
                </a:lnTo>
                <a:lnTo>
                  <a:pt x="588" y="638"/>
                </a:lnTo>
                <a:lnTo>
                  <a:pt x="586" y="637"/>
                </a:lnTo>
                <a:lnTo>
                  <a:pt x="585" y="637"/>
                </a:lnTo>
                <a:lnTo>
                  <a:pt x="585" y="637"/>
                </a:lnTo>
                <a:lnTo>
                  <a:pt x="586" y="641"/>
                </a:lnTo>
                <a:lnTo>
                  <a:pt x="587" y="645"/>
                </a:lnTo>
                <a:close/>
                <a:moveTo>
                  <a:pt x="579" y="573"/>
                </a:moveTo>
                <a:lnTo>
                  <a:pt x="577" y="565"/>
                </a:lnTo>
                <a:lnTo>
                  <a:pt x="577" y="558"/>
                </a:lnTo>
                <a:lnTo>
                  <a:pt x="577" y="551"/>
                </a:lnTo>
                <a:lnTo>
                  <a:pt x="579" y="544"/>
                </a:lnTo>
                <a:lnTo>
                  <a:pt x="579" y="558"/>
                </a:lnTo>
                <a:lnTo>
                  <a:pt x="579" y="573"/>
                </a:lnTo>
                <a:close/>
                <a:moveTo>
                  <a:pt x="577" y="633"/>
                </a:moveTo>
                <a:lnTo>
                  <a:pt x="574" y="638"/>
                </a:lnTo>
                <a:lnTo>
                  <a:pt x="573" y="644"/>
                </a:lnTo>
                <a:lnTo>
                  <a:pt x="571" y="641"/>
                </a:lnTo>
                <a:lnTo>
                  <a:pt x="570" y="637"/>
                </a:lnTo>
                <a:lnTo>
                  <a:pt x="570" y="630"/>
                </a:lnTo>
                <a:lnTo>
                  <a:pt x="571" y="618"/>
                </a:lnTo>
                <a:lnTo>
                  <a:pt x="573" y="619"/>
                </a:lnTo>
                <a:lnTo>
                  <a:pt x="577" y="620"/>
                </a:lnTo>
                <a:lnTo>
                  <a:pt x="578" y="622"/>
                </a:lnTo>
                <a:lnTo>
                  <a:pt x="579" y="624"/>
                </a:lnTo>
                <a:lnTo>
                  <a:pt x="579" y="625"/>
                </a:lnTo>
                <a:lnTo>
                  <a:pt x="579" y="627"/>
                </a:lnTo>
                <a:lnTo>
                  <a:pt x="578" y="631"/>
                </a:lnTo>
                <a:lnTo>
                  <a:pt x="577" y="633"/>
                </a:lnTo>
                <a:close/>
                <a:moveTo>
                  <a:pt x="566" y="533"/>
                </a:moveTo>
                <a:lnTo>
                  <a:pt x="569" y="536"/>
                </a:lnTo>
                <a:lnTo>
                  <a:pt x="570" y="540"/>
                </a:lnTo>
                <a:lnTo>
                  <a:pt x="570" y="543"/>
                </a:lnTo>
                <a:lnTo>
                  <a:pt x="570" y="547"/>
                </a:lnTo>
                <a:lnTo>
                  <a:pt x="570" y="555"/>
                </a:lnTo>
                <a:lnTo>
                  <a:pt x="569" y="563"/>
                </a:lnTo>
                <a:lnTo>
                  <a:pt x="566" y="555"/>
                </a:lnTo>
                <a:lnTo>
                  <a:pt x="565" y="548"/>
                </a:lnTo>
                <a:lnTo>
                  <a:pt x="566" y="540"/>
                </a:lnTo>
                <a:lnTo>
                  <a:pt x="566" y="533"/>
                </a:lnTo>
                <a:close/>
                <a:moveTo>
                  <a:pt x="567" y="629"/>
                </a:moveTo>
                <a:lnTo>
                  <a:pt x="563" y="626"/>
                </a:lnTo>
                <a:lnTo>
                  <a:pt x="559" y="623"/>
                </a:lnTo>
                <a:lnTo>
                  <a:pt x="557" y="619"/>
                </a:lnTo>
                <a:lnTo>
                  <a:pt x="556" y="616"/>
                </a:lnTo>
                <a:lnTo>
                  <a:pt x="556" y="613"/>
                </a:lnTo>
                <a:lnTo>
                  <a:pt x="556" y="610"/>
                </a:lnTo>
                <a:lnTo>
                  <a:pt x="557" y="606"/>
                </a:lnTo>
                <a:lnTo>
                  <a:pt x="559" y="604"/>
                </a:lnTo>
                <a:lnTo>
                  <a:pt x="559" y="612"/>
                </a:lnTo>
                <a:lnTo>
                  <a:pt x="560" y="622"/>
                </a:lnTo>
                <a:lnTo>
                  <a:pt x="562" y="622"/>
                </a:lnTo>
                <a:lnTo>
                  <a:pt x="563" y="622"/>
                </a:lnTo>
                <a:lnTo>
                  <a:pt x="563" y="611"/>
                </a:lnTo>
                <a:lnTo>
                  <a:pt x="563" y="599"/>
                </a:lnTo>
                <a:lnTo>
                  <a:pt x="564" y="599"/>
                </a:lnTo>
                <a:lnTo>
                  <a:pt x="565" y="599"/>
                </a:lnTo>
                <a:lnTo>
                  <a:pt x="567" y="613"/>
                </a:lnTo>
                <a:lnTo>
                  <a:pt x="567" y="629"/>
                </a:lnTo>
                <a:close/>
                <a:moveTo>
                  <a:pt x="551" y="544"/>
                </a:moveTo>
                <a:lnTo>
                  <a:pt x="552" y="537"/>
                </a:lnTo>
                <a:lnTo>
                  <a:pt x="552" y="532"/>
                </a:lnTo>
                <a:lnTo>
                  <a:pt x="552" y="527"/>
                </a:lnTo>
                <a:lnTo>
                  <a:pt x="552" y="522"/>
                </a:lnTo>
                <a:lnTo>
                  <a:pt x="550" y="519"/>
                </a:lnTo>
                <a:lnTo>
                  <a:pt x="545" y="516"/>
                </a:lnTo>
                <a:lnTo>
                  <a:pt x="546" y="515"/>
                </a:lnTo>
                <a:lnTo>
                  <a:pt x="547" y="513"/>
                </a:lnTo>
                <a:lnTo>
                  <a:pt x="556" y="521"/>
                </a:lnTo>
                <a:lnTo>
                  <a:pt x="564" y="528"/>
                </a:lnTo>
                <a:lnTo>
                  <a:pt x="563" y="529"/>
                </a:lnTo>
                <a:lnTo>
                  <a:pt x="562" y="529"/>
                </a:lnTo>
                <a:lnTo>
                  <a:pt x="559" y="528"/>
                </a:lnTo>
                <a:lnTo>
                  <a:pt x="556" y="526"/>
                </a:lnTo>
                <a:lnTo>
                  <a:pt x="556" y="537"/>
                </a:lnTo>
                <a:lnTo>
                  <a:pt x="556" y="548"/>
                </a:lnTo>
                <a:lnTo>
                  <a:pt x="555" y="549"/>
                </a:lnTo>
                <a:lnTo>
                  <a:pt x="553" y="549"/>
                </a:lnTo>
                <a:lnTo>
                  <a:pt x="552" y="547"/>
                </a:lnTo>
                <a:lnTo>
                  <a:pt x="551" y="544"/>
                </a:lnTo>
                <a:close/>
                <a:moveTo>
                  <a:pt x="543" y="540"/>
                </a:moveTo>
                <a:lnTo>
                  <a:pt x="539" y="528"/>
                </a:lnTo>
                <a:lnTo>
                  <a:pt x="537" y="515"/>
                </a:lnTo>
                <a:lnTo>
                  <a:pt x="535" y="521"/>
                </a:lnTo>
                <a:lnTo>
                  <a:pt x="532" y="527"/>
                </a:lnTo>
                <a:lnTo>
                  <a:pt x="531" y="527"/>
                </a:lnTo>
                <a:lnTo>
                  <a:pt x="530" y="526"/>
                </a:lnTo>
                <a:lnTo>
                  <a:pt x="533" y="516"/>
                </a:lnTo>
                <a:lnTo>
                  <a:pt x="537" y="506"/>
                </a:lnTo>
                <a:lnTo>
                  <a:pt x="538" y="506"/>
                </a:lnTo>
                <a:lnTo>
                  <a:pt x="539" y="506"/>
                </a:lnTo>
                <a:lnTo>
                  <a:pt x="543" y="522"/>
                </a:lnTo>
                <a:lnTo>
                  <a:pt x="546" y="539"/>
                </a:lnTo>
                <a:lnTo>
                  <a:pt x="545" y="539"/>
                </a:lnTo>
                <a:lnTo>
                  <a:pt x="543" y="540"/>
                </a:lnTo>
                <a:close/>
                <a:moveTo>
                  <a:pt x="542" y="606"/>
                </a:moveTo>
                <a:lnTo>
                  <a:pt x="540" y="606"/>
                </a:lnTo>
                <a:lnTo>
                  <a:pt x="539" y="606"/>
                </a:lnTo>
                <a:lnTo>
                  <a:pt x="539" y="596"/>
                </a:lnTo>
                <a:lnTo>
                  <a:pt x="539" y="587"/>
                </a:lnTo>
                <a:lnTo>
                  <a:pt x="542" y="588"/>
                </a:lnTo>
                <a:lnTo>
                  <a:pt x="543" y="589"/>
                </a:lnTo>
                <a:lnTo>
                  <a:pt x="543" y="591"/>
                </a:lnTo>
                <a:lnTo>
                  <a:pt x="542" y="595"/>
                </a:lnTo>
                <a:lnTo>
                  <a:pt x="542" y="601"/>
                </a:lnTo>
                <a:lnTo>
                  <a:pt x="542" y="606"/>
                </a:lnTo>
                <a:close/>
                <a:moveTo>
                  <a:pt x="523" y="583"/>
                </a:moveTo>
                <a:lnTo>
                  <a:pt x="523" y="571"/>
                </a:lnTo>
                <a:lnTo>
                  <a:pt x="523" y="561"/>
                </a:lnTo>
                <a:lnTo>
                  <a:pt x="525" y="562"/>
                </a:lnTo>
                <a:lnTo>
                  <a:pt x="529" y="564"/>
                </a:lnTo>
                <a:lnTo>
                  <a:pt x="531" y="567"/>
                </a:lnTo>
                <a:lnTo>
                  <a:pt x="533" y="569"/>
                </a:lnTo>
                <a:lnTo>
                  <a:pt x="535" y="576"/>
                </a:lnTo>
                <a:lnTo>
                  <a:pt x="535" y="583"/>
                </a:lnTo>
                <a:lnTo>
                  <a:pt x="535" y="590"/>
                </a:lnTo>
                <a:lnTo>
                  <a:pt x="536" y="598"/>
                </a:lnTo>
                <a:lnTo>
                  <a:pt x="530" y="596"/>
                </a:lnTo>
                <a:lnTo>
                  <a:pt x="525" y="592"/>
                </a:lnTo>
                <a:lnTo>
                  <a:pt x="523" y="589"/>
                </a:lnTo>
                <a:lnTo>
                  <a:pt x="523" y="583"/>
                </a:lnTo>
                <a:close/>
                <a:moveTo>
                  <a:pt x="517" y="486"/>
                </a:moveTo>
                <a:lnTo>
                  <a:pt x="522" y="488"/>
                </a:lnTo>
                <a:lnTo>
                  <a:pt x="524" y="491"/>
                </a:lnTo>
                <a:lnTo>
                  <a:pt x="528" y="493"/>
                </a:lnTo>
                <a:lnTo>
                  <a:pt x="529" y="495"/>
                </a:lnTo>
                <a:lnTo>
                  <a:pt x="530" y="499"/>
                </a:lnTo>
                <a:lnTo>
                  <a:pt x="531" y="502"/>
                </a:lnTo>
                <a:lnTo>
                  <a:pt x="531" y="506"/>
                </a:lnTo>
                <a:lnTo>
                  <a:pt x="530" y="509"/>
                </a:lnTo>
                <a:lnTo>
                  <a:pt x="526" y="509"/>
                </a:lnTo>
                <a:lnTo>
                  <a:pt x="522" y="507"/>
                </a:lnTo>
                <a:lnTo>
                  <a:pt x="523" y="513"/>
                </a:lnTo>
                <a:lnTo>
                  <a:pt x="523" y="518"/>
                </a:lnTo>
                <a:lnTo>
                  <a:pt x="521" y="514"/>
                </a:lnTo>
                <a:lnTo>
                  <a:pt x="519" y="511"/>
                </a:lnTo>
                <a:lnTo>
                  <a:pt x="518" y="506"/>
                </a:lnTo>
                <a:lnTo>
                  <a:pt x="518" y="502"/>
                </a:lnTo>
                <a:lnTo>
                  <a:pt x="518" y="494"/>
                </a:lnTo>
                <a:lnTo>
                  <a:pt x="517" y="486"/>
                </a:lnTo>
                <a:close/>
                <a:moveTo>
                  <a:pt x="507" y="571"/>
                </a:moveTo>
                <a:lnTo>
                  <a:pt x="502" y="569"/>
                </a:lnTo>
                <a:lnTo>
                  <a:pt x="498" y="565"/>
                </a:lnTo>
                <a:lnTo>
                  <a:pt x="496" y="562"/>
                </a:lnTo>
                <a:lnTo>
                  <a:pt x="494" y="558"/>
                </a:lnTo>
                <a:lnTo>
                  <a:pt x="494" y="555"/>
                </a:lnTo>
                <a:lnTo>
                  <a:pt x="494" y="553"/>
                </a:lnTo>
                <a:lnTo>
                  <a:pt x="495" y="549"/>
                </a:lnTo>
                <a:lnTo>
                  <a:pt x="497" y="547"/>
                </a:lnTo>
                <a:lnTo>
                  <a:pt x="498" y="555"/>
                </a:lnTo>
                <a:lnTo>
                  <a:pt x="498" y="564"/>
                </a:lnTo>
                <a:lnTo>
                  <a:pt x="500" y="564"/>
                </a:lnTo>
                <a:lnTo>
                  <a:pt x="502" y="564"/>
                </a:lnTo>
                <a:lnTo>
                  <a:pt x="502" y="553"/>
                </a:lnTo>
                <a:lnTo>
                  <a:pt x="502" y="542"/>
                </a:lnTo>
                <a:lnTo>
                  <a:pt x="503" y="543"/>
                </a:lnTo>
                <a:lnTo>
                  <a:pt x="505" y="544"/>
                </a:lnTo>
                <a:lnTo>
                  <a:pt x="507" y="547"/>
                </a:lnTo>
                <a:lnTo>
                  <a:pt x="507" y="549"/>
                </a:lnTo>
                <a:lnTo>
                  <a:pt x="507" y="557"/>
                </a:lnTo>
                <a:lnTo>
                  <a:pt x="507" y="571"/>
                </a:lnTo>
                <a:close/>
                <a:moveTo>
                  <a:pt x="488" y="555"/>
                </a:moveTo>
                <a:lnTo>
                  <a:pt x="487" y="555"/>
                </a:lnTo>
                <a:lnTo>
                  <a:pt x="487" y="555"/>
                </a:lnTo>
                <a:lnTo>
                  <a:pt x="487" y="546"/>
                </a:lnTo>
                <a:lnTo>
                  <a:pt x="487" y="534"/>
                </a:lnTo>
                <a:lnTo>
                  <a:pt x="490" y="537"/>
                </a:lnTo>
                <a:lnTo>
                  <a:pt x="495" y="541"/>
                </a:lnTo>
                <a:lnTo>
                  <a:pt x="493" y="541"/>
                </a:lnTo>
                <a:lnTo>
                  <a:pt x="491" y="541"/>
                </a:lnTo>
                <a:lnTo>
                  <a:pt x="490" y="548"/>
                </a:lnTo>
                <a:lnTo>
                  <a:pt x="488" y="555"/>
                </a:lnTo>
                <a:close/>
                <a:moveTo>
                  <a:pt x="482" y="546"/>
                </a:moveTo>
                <a:lnTo>
                  <a:pt x="481" y="547"/>
                </a:lnTo>
                <a:lnTo>
                  <a:pt x="479" y="548"/>
                </a:lnTo>
                <a:lnTo>
                  <a:pt x="477" y="547"/>
                </a:lnTo>
                <a:lnTo>
                  <a:pt x="477" y="546"/>
                </a:lnTo>
                <a:lnTo>
                  <a:pt x="479" y="536"/>
                </a:lnTo>
                <a:lnTo>
                  <a:pt x="480" y="528"/>
                </a:lnTo>
                <a:lnTo>
                  <a:pt x="482" y="532"/>
                </a:lnTo>
                <a:lnTo>
                  <a:pt x="483" y="536"/>
                </a:lnTo>
                <a:lnTo>
                  <a:pt x="482" y="541"/>
                </a:lnTo>
                <a:lnTo>
                  <a:pt x="482" y="546"/>
                </a:lnTo>
                <a:close/>
                <a:moveTo>
                  <a:pt x="471" y="515"/>
                </a:moveTo>
                <a:lnTo>
                  <a:pt x="470" y="512"/>
                </a:lnTo>
                <a:lnTo>
                  <a:pt x="469" y="508"/>
                </a:lnTo>
                <a:lnTo>
                  <a:pt x="468" y="509"/>
                </a:lnTo>
                <a:lnTo>
                  <a:pt x="468" y="511"/>
                </a:lnTo>
                <a:lnTo>
                  <a:pt x="467" y="522"/>
                </a:lnTo>
                <a:lnTo>
                  <a:pt x="466" y="534"/>
                </a:lnTo>
                <a:lnTo>
                  <a:pt x="464" y="534"/>
                </a:lnTo>
                <a:lnTo>
                  <a:pt x="464" y="534"/>
                </a:lnTo>
                <a:lnTo>
                  <a:pt x="464" y="520"/>
                </a:lnTo>
                <a:lnTo>
                  <a:pt x="464" y="506"/>
                </a:lnTo>
                <a:lnTo>
                  <a:pt x="466" y="506"/>
                </a:lnTo>
                <a:lnTo>
                  <a:pt x="467" y="505"/>
                </a:lnTo>
                <a:lnTo>
                  <a:pt x="470" y="509"/>
                </a:lnTo>
                <a:lnTo>
                  <a:pt x="474" y="513"/>
                </a:lnTo>
                <a:lnTo>
                  <a:pt x="473" y="514"/>
                </a:lnTo>
                <a:lnTo>
                  <a:pt x="471" y="515"/>
                </a:lnTo>
                <a:close/>
                <a:moveTo>
                  <a:pt x="462" y="445"/>
                </a:moveTo>
                <a:lnTo>
                  <a:pt x="460" y="450"/>
                </a:lnTo>
                <a:lnTo>
                  <a:pt x="456" y="456"/>
                </a:lnTo>
                <a:lnTo>
                  <a:pt x="454" y="445"/>
                </a:lnTo>
                <a:lnTo>
                  <a:pt x="452" y="436"/>
                </a:lnTo>
                <a:lnTo>
                  <a:pt x="452" y="436"/>
                </a:lnTo>
                <a:lnTo>
                  <a:pt x="450" y="436"/>
                </a:lnTo>
                <a:lnTo>
                  <a:pt x="450" y="442"/>
                </a:lnTo>
                <a:lnTo>
                  <a:pt x="449" y="448"/>
                </a:lnTo>
                <a:lnTo>
                  <a:pt x="449" y="448"/>
                </a:lnTo>
                <a:lnTo>
                  <a:pt x="448" y="446"/>
                </a:lnTo>
                <a:lnTo>
                  <a:pt x="448" y="432"/>
                </a:lnTo>
                <a:lnTo>
                  <a:pt x="448" y="416"/>
                </a:lnTo>
                <a:lnTo>
                  <a:pt x="453" y="423"/>
                </a:lnTo>
                <a:lnTo>
                  <a:pt x="455" y="430"/>
                </a:lnTo>
                <a:lnTo>
                  <a:pt x="456" y="437"/>
                </a:lnTo>
                <a:lnTo>
                  <a:pt x="459" y="444"/>
                </a:lnTo>
                <a:lnTo>
                  <a:pt x="462" y="438"/>
                </a:lnTo>
                <a:lnTo>
                  <a:pt x="464" y="434"/>
                </a:lnTo>
                <a:lnTo>
                  <a:pt x="466" y="434"/>
                </a:lnTo>
                <a:lnTo>
                  <a:pt x="467" y="434"/>
                </a:lnTo>
                <a:lnTo>
                  <a:pt x="468" y="449"/>
                </a:lnTo>
                <a:lnTo>
                  <a:pt x="468" y="465"/>
                </a:lnTo>
                <a:lnTo>
                  <a:pt x="466" y="463"/>
                </a:lnTo>
                <a:lnTo>
                  <a:pt x="463" y="460"/>
                </a:lnTo>
                <a:lnTo>
                  <a:pt x="463" y="458"/>
                </a:lnTo>
                <a:lnTo>
                  <a:pt x="463" y="456"/>
                </a:lnTo>
                <a:lnTo>
                  <a:pt x="463" y="450"/>
                </a:lnTo>
                <a:lnTo>
                  <a:pt x="462" y="445"/>
                </a:lnTo>
                <a:close/>
                <a:moveTo>
                  <a:pt x="457" y="508"/>
                </a:moveTo>
                <a:lnTo>
                  <a:pt x="455" y="516"/>
                </a:lnTo>
                <a:lnTo>
                  <a:pt x="454" y="523"/>
                </a:lnTo>
                <a:lnTo>
                  <a:pt x="453" y="523"/>
                </a:lnTo>
                <a:lnTo>
                  <a:pt x="452" y="523"/>
                </a:lnTo>
                <a:lnTo>
                  <a:pt x="452" y="513"/>
                </a:lnTo>
                <a:lnTo>
                  <a:pt x="450" y="501"/>
                </a:lnTo>
                <a:lnTo>
                  <a:pt x="456" y="505"/>
                </a:lnTo>
                <a:lnTo>
                  <a:pt x="460" y="508"/>
                </a:lnTo>
                <a:lnTo>
                  <a:pt x="459" y="508"/>
                </a:lnTo>
                <a:lnTo>
                  <a:pt x="457" y="508"/>
                </a:lnTo>
                <a:close/>
                <a:moveTo>
                  <a:pt x="447" y="515"/>
                </a:moveTo>
                <a:lnTo>
                  <a:pt x="443" y="514"/>
                </a:lnTo>
                <a:lnTo>
                  <a:pt x="441" y="513"/>
                </a:lnTo>
                <a:lnTo>
                  <a:pt x="439" y="504"/>
                </a:lnTo>
                <a:lnTo>
                  <a:pt x="436" y="495"/>
                </a:lnTo>
                <a:lnTo>
                  <a:pt x="438" y="493"/>
                </a:lnTo>
                <a:lnTo>
                  <a:pt x="440" y="491"/>
                </a:lnTo>
                <a:lnTo>
                  <a:pt x="442" y="492"/>
                </a:lnTo>
                <a:lnTo>
                  <a:pt x="445" y="493"/>
                </a:lnTo>
                <a:lnTo>
                  <a:pt x="447" y="498"/>
                </a:lnTo>
                <a:lnTo>
                  <a:pt x="449" y="504"/>
                </a:lnTo>
                <a:lnTo>
                  <a:pt x="448" y="504"/>
                </a:lnTo>
                <a:lnTo>
                  <a:pt x="447" y="505"/>
                </a:lnTo>
                <a:lnTo>
                  <a:pt x="443" y="502"/>
                </a:lnTo>
                <a:lnTo>
                  <a:pt x="440" y="500"/>
                </a:lnTo>
                <a:lnTo>
                  <a:pt x="440" y="501"/>
                </a:lnTo>
                <a:lnTo>
                  <a:pt x="439" y="501"/>
                </a:lnTo>
                <a:lnTo>
                  <a:pt x="442" y="508"/>
                </a:lnTo>
                <a:lnTo>
                  <a:pt x="447" y="515"/>
                </a:lnTo>
                <a:close/>
                <a:moveTo>
                  <a:pt x="432" y="403"/>
                </a:moveTo>
                <a:lnTo>
                  <a:pt x="433" y="403"/>
                </a:lnTo>
                <a:lnTo>
                  <a:pt x="434" y="403"/>
                </a:lnTo>
                <a:lnTo>
                  <a:pt x="438" y="421"/>
                </a:lnTo>
                <a:lnTo>
                  <a:pt x="441" y="438"/>
                </a:lnTo>
                <a:lnTo>
                  <a:pt x="440" y="438"/>
                </a:lnTo>
                <a:lnTo>
                  <a:pt x="440" y="439"/>
                </a:lnTo>
                <a:lnTo>
                  <a:pt x="438" y="437"/>
                </a:lnTo>
                <a:lnTo>
                  <a:pt x="436" y="434"/>
                </a:lnTo>
                <a:lnTo>
                  <a:pt x="435" y="427"/>
                </a:lnTo>
                <a:lnTo>
                  <a:pt x="432" y="418"/>
                </a:lnTo>
                <a:lnTo>
                  <a:pt x="431" y="415"/>
                </a:lnTo>
                <a:lnTo>
                  <a:pt x="431" y="411"/>
                </a:lnTo>
                <a:lnTo>
                  <a:pt x="431" y="408"/>
                </a:lnTo>
                <a:lnTo>
                  <a:pt x="432" y="403"/>
                </a:lnTo>
                <a:close/>
                <a:moveTo>
                  <a:pt x="424" y="479"/>
                </a:moveTo>
                <a:lnTo>
                  <a:pt x="426" y="479"/>
                </a:lnTo>
                <a:lnTo>
                  <a:pt x="427" y="478"/>
                </a:lnTo>
                <a:lnTo>
                  <a:pt x="428" y="481"/>
                </a:lnTo>
                <a:lnTo>
                  <a:pt x="429" y="485"/>
                </a:lnTo>
                <a:lnTo>
                  <a:pt x="431" y="494"/>
                </a:lnTo>
                <a:lnTo>
                  <a:pt x="432" y="504"/>
                </a:lnTo>
                <a:lnTo>
                  <a:pt x="428" y="501"/>
                </a:lnTo>
                <a:lnTo>
                  <a:pt x="426" y="499"/>
                </a:lnTo>
                <a:lnTo>
                  <a:pt x="424" y="497"/>
                </a:lnTo>
                <a:lnTo>
                  <a:pt x="424" y="493"/>
                </a:lnTo>
                <a:lnTo>
                  <a:pt x="424" y="486"/>
                </a:lnTo>
                <a:lnTo>
                  <a:pt x="424" y="479"/>
                </a:lnTo>
                <a:close/>
                <a:moveTo>
                  <a:pt x="417" y="491"/>
                </a:moveTo>
                <a:lnTo>
                  <a:pt x="417" y="479"/>
                </a:lnTo>
                <a:lnTo>
                  <a:pt x="415" y="469"/>
                </a:lnTo>
                <a:lnTo>
                  <a:pt x="414" y="469"/>
                </a:lnTo>
                <a:lnTo>
                  <a:pt x="412" y="469"/>
                </a:lnTo>
                <a:lnTo>
                  <a:pt x="412" y="476"/>
                </a:lnTo>
                <a:lnTo>
                  <a:pt x="411" y="483"/>
                </a:lnTo>
                <a:lnTo>
                  <a:pt x="410" y="483"/>
                </a:lnTo>
                <a:lnTo>
                  <a:pt x="408" y="483"/>
                </a:lnTo>
                <a:lnTo>
                  <a:pt x="408" y="478"/>
                </a:lnTo>
                <a:lnTo>
                  <a:pt x="408" y="473"/>
                </a:lnTo>
                <a:lnTo>
                  <a:pt x="408" y="467"/>
                </a:lnTo>
                <a:lnTo>
                  <a:pt x="408" y="463"/>
                </a:lnTo>
                <a:lnTo>
                  <a:pt x="412" y="464"/>
                </a:lnTo>
                <a:lnTo>
                  <a:pt x="415" y="466"/>
                </a:lnTo>
                <a:lnTo>
                  <a:pt x="418" y="469"/>
                </a:lnTo>
                <a:lnTo>
                  <a:pt x="419" y="472"/>
                </a:lnTo>
                <a:lnTo>
                  <a:pt x="419" y="476"/>
                </a:lnTo>
                <a:lnTo>
                  <a:pt x="419" y="479"/>
                </a:lnTo>
                <a:lnTo>
                  <a:pt x="419" y="485"/>
                </a:lnTo>
                <a:lnTo>
                  <a:pt x="417" y="491"/>
                </a:lnTo>
                <a:close/>
                <a:moveTo>
                  <a:pt x="406" y="404"/>
                </a:moveTo>
                <a:lnTo>
                  <a:pt x="404" y="403"/>
                </a:lnTo>
                <a:lnTo>
                  <a:pt x="402" y="401"/>
                </a:lnTo>
                <a:lnTo>
                  <a:pt x="401" y="397"/>
                </a:lnTo>
                <a:lnTo>
                  <a:pt x="401" y="394"/>
                </a:lnTo>
                <a:lnTo>
                  <a:pt x="401" y="385"/>
                </a:lnTo>
                <a:lnTo>
                  <a:pt x="402" y="372"/>
                </a:lnTo>
                <a:lnTo>
                  <a:pt x="406" y="379"/>
                </a:lnTo>
                <a:lnTo>
                  <a:pt x="406" y="386"/>
                </a:lnTo>
                <a:lnTo>
                  <a:pt x="406" y="389"/>
                </a:lnTo>
                <a:lnTo>
                  <a:pt x="407" y="392"/>
                </a:lnTo>
                <a:lnTo>
                  <a:pt x="410" y="394"/>
                </a:lnTo>
                <a:lnTo>
                  <a:pt x="414" y="396"/>
                </a:lnTo>
                <a:lnTo>
                  <a:pt x="414" y="390"/>
                </a:lnTo>
                <a:lnTo>
                  <a:pt x="414" y="386"/>
                </a:lnTo>
                <a:lnTo>
                  <a:pt x="415" y="385"/>
                </a:lnTo>
                <a:lnTo>
                  <a:pt x="417" y="385"/>
                </a:lnTo>
                <a:lnTo>
                  <a:pt x="418" y="389"/>
                </a:lnTo>
                <a:lnTo>
                  <a:pt x="419" y="394"/>
                </a:lnTo>
                <a:lnTo>
                  <a:pt x="419" y="400"/>
                </a:lnTo>
                <a:lnTo>
                  <a:pt x="419" y="406"/>
                </a:lnTo>
                <a:lnTo>
                  <a:pt x="418" y="411"/>
                </a:lnTo>
                <a:lnTo>
                  <a:pt x="417" y="417"/>
                </a:lnTo>
                <a:lnTo>
                  <a:pt x="414" y="414"/>
                </a:lnTo>
                <a:lnTo>
                  <a:pt x="414" y="411"/>
                </a:lnTo>
                <a:lnTo>
                  <a:pt x="414" y="406"/>
                </a:lnTo>
                <a:lnTo>
                  <a:pt x="413" y="401"/>
                </a:lnTo>
                <a:lnTo>
                  <a:pt x="411" y="397"/>
                </a:lnTo>
                <a:lnTo>
                  <a:pt x="406" y="394"/>
                </a:lnTo>
                <a:lnTo>
                  <a:pt x="406" y="400"/>
                </a:lnTo>
                <a:lnTo>
                  <a:pt x="406" y="404"/>
                </a:lnTo>
                <a:close/>
                <a:moveTo>
                  <a:pt x="402" y="477"/>
                </a:moveTo>
                <a:lnTo>
                  <a:pt x="395" y="466"/>
                </a:lnTo>
                <a:lnTo>
                  <a:pt x="392" y="460"/>
                </a:lnTo>
                <a:lnTo>
                  <a:pt x="391" y="453"/>
                </a:lnTo>
                <a:lnTo>
                  <a:pt x="393" y="445"/>
                </a:lnTo>
                <a:lnTo>
                  <a:pt x="395" y="451"/>
                </a:lnTo>
                <a:lnTo>
                  <a:pt x="394" y="458"/>
                </a:lnTo>
                <a:lnTo>
                  <a:pt x="394" y="460"/>
                </a:lnTo>
                <a:lnTo>
                  <a:pt x="395" y="464"/>
                </a:lnTo>
                <a:lnTo>
                  <a:pt x="397" y="467"/>
                </a:lnTo>
                <a:lnTo>
                  <a:pt x="399" y="470"/>
                </a:lnTo>
                <a:lnTo>
                  <a:pt x="399" y="462"/>
                </a:lnTo>
                <a:lnTo>
                  <a:pt x="400" y="453"/>
                </a:lnTo>
                <a:lnTo>
                  <a:pt x="401" y="456"/>
                </a:lnTo>
                <a:lnTo>
                  <a:pt x="402" y="458"/>
                </a:lnTo>
                <a:lnTo>
                  <a:pt x="402" y="465"/>
                </a:lnTo>
                <a:lnTo>
                  <a:pt x="402" y="477"/>
                </a:lnTo>
                <a:close/>
                <a:moveTo>
                  <a:pt x="391" y="390"/>
                </a:moveTo>
                <a:lnTo>
                  <a:pt x="390" y="390"/>
                </a:lnTo>
                <a:lnTo>
                  <a:pt x="388" y="390"/>
                </a:lnTo>
                <a:lnTo>
                  <a:pt x="386" y="387"/>
                </a:lnTo>
                <a:lnTo>
                  <a:pt x="385" y="383"/>
                </a:lnTo>
                <a:lnTo>
                  <a:pt x="385" y="376"/>
                </a:lnTo>
                <a:lnTo>
                  <a:pt x="386" y="369"/>
                </a:lnTo>
                <a:lnTo>
                  <a:pt x="386" y="366"/>
                </a:lnTo>
                <a:lnTo>
                  <a:pt x="386" y="362"/>
                </a:lnTo>
                <a:lnTo>
                  <a:pt x="384" y="359"/>
                </a:lnTo>
                <a:lnTo>
                  <a:pt x="380" y="357"/>
                </a:lnTo>
                <a:lnTo>
                  <a:pt x="380" y="354"/>
                </a:lnTo>
                <a:lnTo>
                  <a:pt x="380" y="351"/>
                </a:lnTo>
                <a:lnTo>
                  <a:pt x="387" y="358"/>
                </a:lnTo>
                <a:lnTo>
                  <a:pt x="393" y="365"/>
                </a:lnTo>
                <a:lnTo>
                  <a:pt x="392" y="366"/>
                </a:lnTo>
                <a:lnTo>
                  <a:pt x="391" y="367"/>
                </a:lnTo>
                <a:lnTo>
                  <a:pt x="391" y="379"/>
                </a:lnTo>
                <a:lnTo>
                  <a:pt x="391" y="390"/>
                </a:lnTo>
                <a:close/>
                <a:moveTo>
                  <a:pt x="387" y="443"/>
                </a:moveTo>
                <a:lnTo>
                  <a:pt x="386" y="452"/>
                </a:lnTo>
                <a:lnTo>
                  <a:pt x="384" y="462"/>
                </a:lnTo>
                <a:lnTo>
                  <a:pt x="383" y="457"/>
                </a:lnTo>
                <a:lnTo>
                  <a:pt x="383" y="453"/>
                </a:lnTo>
                <a:lnTo>
                  <a:pt x="383" y="448"/>
                </a:lnTo>
                <a:lnTo>
                  <a:pt x="381" y="444"/>
                </a:lnTo>
                <a:lnTo>
                  <a:pt x="378" y="441"/>
                </a:lnTo>
                <a:lnTo>
                  <a:pt x="373" y="437"/>
                </a:lnTo>
                <a:lnTo>
                  <a:pt x="374" y="444"/>
                </a:lnTo>
                <a:lnTo>
                  <a:pt x="374" y="449"/>
                </a:lnTo>
                <a:lnTo>
                  <a:pt x="372" y="448"/>
                </a:lnTo>
                <a:lnTo>
                  <a:pt x="371" y="446"/>
                </a:lnTo>
                <a:lnTo>
                  <a:pt x="371" y="443"/>
                </a:lnTo>
                <a:lnTo>
                  <a:pt x="370" y="439"/>
                </a:lnTo>
                <a:lnTo>
                  <a:pt x="370" y="430"/>
                </a:lnTo>
                <a:lnTo>
                  <a:pt x="371" y="416"/>
                </a:lnTo>
                <a:lnTo>
                  <a:pt x="373" y="418"/>
                </a:lnTo>
                <a:lnTo>
                  <a:pt x="374" y="422"/>
                </a:lnTo>
                <a:lnTo>
                  <a:pt x="376" y="425"/>
                </a:lnTo>
                <a:lnTo>
                  <a:pt x="374" y="429"/>
                </a:lnTo>
                <a:lnTo>
                  <a:pt x="374" y="432"/>
                </a:lnTo>
                <a:lnTo>
                  <a:pt x="376" y="435"/>
                </a:lnTo>
                <a:lnTo>
                  <a:pt x="378" y="437"/>
                </a:lnTo>
                <a:lnTo>
                  <a:pt x="383" y="438"/>
                </a:lnTo>
                <a:lnTo>
                  <a:pt x="383" y="434"/>
                </a:lnTo>
                <a:lnTo>
                  <a:pt x="384" y="429"/>
                </a:lnTo>
                <a:lnTo>
                  <a:pt x="386" y="431"/>
                </a:lnTo>
                <a:lnTo>
                  <a:pt x="387" y="432"/>
                </a:lnTo>
                <a:lnTo>
                  <a:pt x="388" y="437"/>
                </a:lnTo>
                <a:lnTo>
                  <a:pt x="387" y="443"/>
                </a:lnTo>
                <a:close/>
                <a:moveTo>
                  <a:pt x="399" y="369"/>
                </a:moveTo>
                <a:lnTo>
                  <a:pt x="397" y="371"/>
                </a:lnTo>
                <a:lnTo>
                  <a:pt x="395" y="372"/>
                </a:lnTo>
                <a:lnTo>
                  <a:pt x="395" y="368"/>
                </a:lnTo>
                <a:lnTo>
                  <a:pt x="394" y="365"/>
                </a:lnTo>
                <a:lnTo>
                  <a:pt x="397" y="367"/>
                </a:lnTo>
                <a:lnTo>
                  <a:pt x="399" y="369"/>
                </a:lnTo>
                <a:close/>
                <a:moveTo>
                  <a:pt x="475" y="441"/>
                </a:moveTo>
                <a:lnTo>
                  <a:pt x="481" y="449"/>
                </a:lnTo>
                <a:lnTo>
                  <a:pt x="487" y="457"/>
                </a:lnTo>
                <a:lnTo>
                  <a:pt x="482" y="453"/>
                </a:lnTo>
                <a:lnTo>
                  <a:pt x="477" y="449"/>
                </a:lnTo>
                <a:lnTo>
                  <a:pt x="477" y="460"/>
                </a:lnTo>
                <a:lnTo>
                  <a:pt x="477" y="470"/>
                </a:lnTo>
                <a:lnTo>
                  <a:pt x="479" y="473"/>
                </a:lnTo>
                <a:lnTo>
                  <a:pt x="481" y="476"/>
                </a:lnTo>
                <a:lnTo>
                  <a:pt x="484" y="479"/>
                </a:lnTo>
                <a:lnTo>
                  <a:pt x="489" y="483"/>
                </a:lnTo>
                <a:lnTo>
                  <a:pt x="482" y="479"/>
                </a:lnTo>
                <a:lnTo>
                  <a:pt x="476" y="474"/>
                </a:lnTo>
                <a:lnTo>
                  <a:pt x="474" y="470"/>
                </a:lnTo>
                <a:lnTo>
                  <a:pt x="474" y="464"/>
                </a:lnTo>
                <a:lnTo>
                  <a:pt x="474" y="453"/>
                </a:lnTo>
                <a:lnTo>
                  <a:pt x="475" y="441"/>
                </a:lnTo>
                <a:close/>
                <a:moveTo>
                  <a:pt x="491" y="462"/>
                </a:moveTo>
                <a:lnTo>
                  <a:pt x="495" y="462"/>
                </a:lnTo>
                <a:lnTo>
                  <a:pt x="496" y="463"/>
                </a:lnTo>
                <a:lnTo>
                  <a:pt x="500" y="469"/>
                </a:lnTo>
                <a:lnTo>
                  <a:pt x="503" y="474"/>
                </a:lnTo>
                <a:lnTo>
                  <a:pt x="502" y="474"/>
                </a:lnTo>
                <a:lnTo>
                  <a:pt x="501" y="474"/>
                </a:lnTo>
                <a:lnTo>
                  <a:pt x="497" y="470"/>
                </a:lnTo>
                <a:lnTo>
                  <a:pt x="494" y="464"/>
                </a:lnTo>
                <a:lnTo>
                  <a:pt x="496" y="472"/>
                </a:lnTo>
                <a:lnTo>
                  <a:pt x="500" y="479"/>
                </a:lnTo>
                <a:lnTo>
                  <a:pt x="501" y="483"/>
                </a:lnTo>
                <a:lnTo>
                  <a:pt x="501" y="487"/>
                </a:lnTo>
                <a:lnTo>
                  <a:pt x="501" y="491"/>
                </a:lnTo>
                <a:lnTo>
                  <a:pt x="498" y="495"/>
                </a:lnTo>
                <a:lnTo>
                  <a:pt x="498" y="493"/>
                </a:lnTo>
                <a:lnTo>
                  <a:pt x="497" y="490"/>
                </a:lnTo>
                <a:lnTo>
                  <a:pt x="496" y="485"/>
                </a:lnTo>
                <a:lnTo>
                  <a:pt x="495" y="480"/>
                </a:lnTo>
                <a:lnTo>
                  <a:pt x="493" y="473"/>
                </a:lnTo>
                <a:lnTo>
                  <a:pt x="490" y="465"/>
                </a:lnTo>
                <a:lnTo>
                  <a:pt x="490" y="463"/>
                </a:lnTo>
                <a:lnTo>
                  <a:pt x="491" y="462"/>
                </a:lnTo>
                <a:close/>
                <a:moveTo>
                  <a:pt x="280" y="337"/>
                </a:moveTo>
                <a:lnTo>
                  <a:pt x="275" y="320"/>
                </a:lnTo>
                <a:lnTo>
                  <a:pt x="269" y="303"/>
                </a:lnTo>
                <a:lnTo>
                  <a:pt x="263" y="310"/>
                </a:lnTo>
                <a:lnTo>
                  <a:pt x="257" y="316"/>
                </a:lnTo>
                <a:lnTo>
                  <a:pt x="255" y="310"/>
                </a:lnTo>
                <a:lnTo>
                  <a:pt x="252" y="305"/>
                </a:lnTo>
                <a:lnTo>
                  <a:pt x="256" y="303"/>
                </a:lnTo>
                <a:lnTo>
                  <a:pt x="261" y="299"/>
                </a:lnTo>
                <a:lnTo>
                  <a:pt x="263" y="294"/>
                </a:lnTo>
                <a:lnTo>
                  <a:pt x="265" y="289"/>
                </a:lnTo>
                <a:lnTo>
                  <a:pt x="260" y="285"/>
                </a:lnTo>
                <a:lnTo>
                  <a:pt x="255" y="282"/>
                </a:lnTo>
                <a:lnTo>
                  <a:pt x="255" y="281"/>
                </a:lnTo>
                <a:lnTo>
                  <a:pt x="256" y="280"/>
                </a:lnTo>
                <a:lnTo>
                  <a:pt x="261" y="278"/>
                </a:lnTo>
                <a:lnTo>
                  <a:pt x="266" y="276"/>
                </a:lnTo>
                <a:lnTo>
                  <a:pt x="268" y="273"/>
                </a:lnTo>
                <a:lnTo>
                  <a:pt x="268" y="267"/>
                </a:lnTo>
                <a:lnTo>
                  <a:pt x="269" y="267"/>
                </a:lnTo>
                <a:lnTo>
                  <a:pt x="270" y="267"/>
                </a:lnTo>
                <a:lnTo>
                  <a:pt x="274" y="271"/>
                </a:lnTo>
                <a:lnTo>
                  <a:pt x="277" y="277"/>
                </a:lnTo>
                <a:lnTo>
                  <a:pt x="280" y="285"/>
                </a:lnTo>
                <a:lnTo>
                  <a:pt x="281" y="294"/>
                </a:lnTo>
                <a:lnTo>
                  <a:pt x="282" y="301"/>
                </a:lnTo>
                <a:lnTo>
                  <a:pt x="283" y="306"/>
                </a:lnTo>
                <a:lnTo>
                  <a:pt x="282" y="309"/>
                </a:lnTo>
                <a:lnTo>
                  <a:pt x="280" y="312"/>
                </a:lnTo>
                <a:lnTo>
                  <a:pt x="279" y="312"/>
                </a:lnTo>
                <a:lnTo>
                  <a:pt x="277" y="312"/>
                </a:lnTo>
                <a:lnTo>
                  <a:pt x="281" y="323"/>
                </a:lnTo>
                <a:lnTo>
                  <a:pt x="284" y="334"/>
                </a:lnTo>
                <a:lnTo>
                  <a:pt x="282" y="336"/>
                </a:lnTo>
                <a:lnTo>
                  <a:pt x="280" y="337"/>
                </a:lnTo>
                <a:close/>
                <a:moveTo>
                  <a:pt x="549" y="1098"/>
                </a:moveTo>
                <a:lnTo>
                  <a:pt x="547" y="1096"/>
                </a:lnTo>
                <a:lnTo>
                  <a:pt x="546" y="1094"/>
                </a:lnTo>
                <a:lnTo>
                  <a:pt x="558" y="1087"/>
                </a:lnTo>
                <a:lnTo>
                  <a:pt x="569" y="1079"/>
                </a:lnTo>
                <a:lnTo>
                  <a:pt x="580" y="1071"/>
                </a:lnTo>
                <a:lnTo>
                  <a:pt x="592" y="1064"/>
                </a:lnTo>
                <a:lnTo>
                  <a:pt x="593" y="1065"/>
                </a:lnTo>
                <a:lnTo>
                  <a:pt x="594" y="1067"/>
                </a:lnTo>
                <a:lnTo>
                  <a:pt x="583" y="1074"/>
                </a:lnTo>
                <a:lnTo>
                  <a:pt x="571" y="1082"/>
                </a:lnTo>
                <a:lnTo>
                  <a:pt x="560" y="1091"/>
                </a:lnTo>
                <a:lnTo>
                  <a:pt x="549" y="1098"/>
                </a:lnTo>
                <a:close/>
                <a:moveTo>
                  <a:pt x="463" y="1154"/>
                </a:moveTo>
                <a:lnTo>
                  <a:pt x="479" y="1143"/>
                </a:lnTo>
                <a:lnTo>
                  <a:pt x="494" y="1130"/>
                </a:lnTo>
                <a:lnTo>
                  <a:pt x="493" y="1134"/>
                </a:lnTo>
                <a:lnTo>
                  <a:pt x="490" y="1137"/>
                </a:lnTo>
                <a:lnTo>
                  <a:pt x="486" y="1141"/>
                </a:lnTo>
                <a:lnTo>
                  <a:pt x="482" y="1144"/>
                </a:lnTo>
                <a:lnTo>
                  <a:pt x="473" y="1150"/>
                </a:lnTo>
                <a:lnTo>
                  <a:pt x="463" y="1154"/>
                </a:lnTo>
                <a:close/>
                <a:moveTo>
                  <a:pt x="445" y="1169"/>
                </a:moveTo>
                <a:lnTo>
                  <a:pt x="443" y="1168"/>
                </a:lnTo>
                <a:lnTo>
                  <a:pt x="442" y="1166"/>
                </a:lnTo>
                <a:lnTo>
                  <a:pt x="453" y="1161"/>
                </a:lnTo>
                <a:lnTo>
                  <a:pt x="462" y="1155"/>
                </a:lnTo>
                <a:lnTo>
                  <a:pt x="459" y="1159"/>
                </a:lnTo>
                <a:lnTo>
                  <a:pt x="455" y="1163"/>
                </a:lnTo>
                <a:lnTo>
                  <a:pt x="449" y="1166"/>
                </a:lnTo>
                <a:lnTo>
                  <a:pt x="445" y="1169"/>
                </a:lnTo>
                <a:close/>
                <a:moveTo>
                  <a:pt x="371" y="1219"/>
                </a:moveTo>
                <a:lnTo>
                  <a:pt x="371" y="1218"/>
                </a:lnTo>
                <a:lnTo>
                  <a:pt x="370" y="1217"/>
                </a:lnTo>
                <a:lnTo>
                  <a:pt x="379" y="1211"/>
                </a:lnTo>
                <a:lnTo>
                  <a:pt x="387" y="1205"/>
                </a:lnTo>
                <a:lnTo>
                  <a:pt x="397" y="1198"/>
                </a:lnTo>
                <a:lnTo>
                  <a:pt x="405" y="1192"/>
                </a:lnTo>
                <a:lnTo>
                  <a:pt x="406" y="1193"/>
                </a:lnTo>
                <a:lnTo>
                  <a:pt x="407" y="1194"/>
                </a:lnTo>
                <a:lnTo>
                  <a:pt x="398" y="1201"/>
                </a:lnTo>
                <a:lnTo>
                  <a:pt x="390" y="1207"/>
                </a:lnTo>
                <a:lnTo>
                  <a:pt x="380" y="1213"/>
                </a:lnTo>
                <a:lnTo>
                  <a:pt x="371" y="1219"/>
                </a:lnTo>
                <a:close/>
                <a:moveTo>
                  <a:pt x="321" y="1184"/>
                </a:moveTo>
                <a:lnTo>
                  <a:pt x="316" y="1179"/>
                </a:lnTo>
                <a:lnTo>
                  <a:pt x="311" y="1172"/>
                </a:lnTo>
                <a:lnTo>
                  <a:pt x="311" y="1166"/>
                </a:lnTo>
                <a:lnTo>
                  <a:pt x="311" y="1159"/>
                </a:lnTo>
                <a:lnTo>
                  <a:pt x="312" y="1151"/>
                </a:lnTo>
                <a:lnTo>
                  <a:pt x="315" y="1142"/>
                </a:lnTo>
                <a:lnTo>
                  <a:pt x="317" y="1148"/>
                </a:lnTo>
                <a:lnTo>
                  <a:pt x="319" y="1152"/>
                </a:lnTo>
                <a:lnTo>
                  <a:pt x="321" y="1155"/>
                </a:lnTo>
                <a:lnTo>
                  <a:pt x="321" y="1158"/>
                </a:lnTo>
                <a:lnTo>
                  <a:pt x="318" y="1161"/>
                </a:lnTo>
                <a:lnTo>
                  <a:pt x="317" y="1163"/>
                </a:lnTo>
                <a:lnTo>
                  <a:pt x="316" y="1166"/>
                </a:lnTo>
                <a:lnTo>
                  <a:pt x="316" y="1169"/>
                </a:lnTo>
                <a:lnTo>
                  <a:pt x="317" y="1173"/>
                </a:lnTo>
                <a:lnTo>
                  <a:pt x="321" y="1179"/>
                </a:lnTo>
                <a:lnTo>
                  <a:pt x="321" y="1180"/>
                </a:lnTo>
                <a:lnTo>
                  <a:pt x="322" y="1182"/>
                </a:lnTo>
                <a:lnTo>
                  <a:pt x="322" y="1183"/>
                </a:lnTo>
                <a:lnTo>
                  <a:pt x="321" y="1184"/>
                </a:lnTo>
                <a:close/>
                <a:moveTo>
                  <a:pt x="170" y="743"/>
                </a:moveTo>
                <a:lnTo>
                  <a:pt x="170" y="748"/>
                </a:lnTo>
                <a:lnTo>
                  <a:pt x="170" y="751"/>
                </a:lnTo>
                <a:lnTo>
                  <a:pt x="171" y="756"/>
                </a:lnTo>
                <a:lnTo>
                  <a:pt x="173" y="759"/>
                </a:lnTo>
                <a:lnTo>
                  <a:pt x="176" y="763"/>
                </a:lnTo>
                <a:lnTo>
                  <a:pt x="178" y="765"/>
                </a:lnTo>
                <a:lnTo>
                  <a:pt x="177" y="765"/>
                </a:lnTo>
                <a:lnTo>
                  <a:pt x="176" y="765"/>
                </a:lnTo>
                <a:lnTo>
                  <a:pt x="180" y="771"/>
                </a:lnTo>
                <a:lnTo>
                  <a:pt x="185" y="773"/>
                </a:lnTo>
                <a:lnTo>
                  <a:pt x="190" y="773"/>
                </a:lnTo>
                <a:lnTo>
                  <a:pt x="196" y="772"/>
                </a:lnTo>
                <a:lnTo>
                  <a:pt x="208" y="764"/>
                </a:lnTo>
                <a:lnTo>
                  <a:pt x="222" y="756"/>
                </a:lnTo>
                <a:lnTo>
                  <a:pt x="236" y="749"/>
                </a:lnTo>
                <a:lnTo>
                  <a:pt x="249" y="741"/>
                </a:lnTo>
                <a:lnTo>
                  <a:pt x="276" y="725"/>
                </a:lnTo>
                <a:lnTo>
                  <a:pt x="303" y="710"/>
                </a:lnTo>
                <a:lnTo>
                  <a:pt x="330" y="695"/>
                </a:lnTo>
                <a:lnTo>
                  <a:pt x="357" y="680"/>
                </a:lnTo>
                <a:lnTo>
                  <a:pt x="384" y="665"/>
                </a:lnTo>
                <a:lnTo>
                  <a:pt x="411" y="650"/>
                </a:lnTo>
                <a:lnTo>
                  <a:pt x="438" y="634"/>
                </a:lnTo>
                <a:lnTo>
                  <a:pt x="464" y="619"/>
                </a:lnTo>
                <a:lnTo>
                  <a:pt x="467" y="618"/>
                </a:lnTo>
                <a:lnTo>
                  <a:pt x="469" y="618"/>
                </a:lnTo>
                <a:lnTo>
                  <a:pt x="471" y="618"/>
                </a:lnTo>
                <a:lnTo>
                  <a:pt x="475" y="620"/>
                </a:lnTo>
                <a:lnTo>
                  <a:pt x="508" y="651"/>
                </a:lnTo>
                <a:lnTo>
                  <a:pt x="540" y="680"/>
                </a:lnTo>
                <a:lnTo>
                  <a:pt x="574" y="710"/>
                </a:lnTo>
                <a:lnTo>
                  <a:pt x="607" y="741"/>
                </a:lnTo>
                <a:lnTo>
                  <a:pt x="614" y="746"/>
                </a:lnTo>
                <a:lnTo>
                  <a:pt x="620" y="752"/>
                </a:lnTo>
                <a:lnTo>
                  <a:pt x="622" y="756"/>
                </a:lnTo>
                <a:lnTo>
                  <a:pt x="624" y="759"/>
                </a:lnTo>
                <a:lnTo>
                  <a:pt x="625" y="764"/>
                </a:lnTo>
                <a:lnTo>
                  <a:pt x="624" y="770"/>
                </a:lnTo>
                <a:lnTo>
                  <a:pt x="629" y="767"/>
                </a:lnTo>
                <a:lnTo>
                  <a:pt x="634" y="766"/>
                </a:lnTo>
                <a:lnTo>
                  <a:pt x="635" y="767"/>
                </a:lnTo>
                <a:lnTo>
                  <a:pt x="635" y="769"/>
                </a:lnTo>
                <a:lnTo>
                  <a:pt x="629" y="774"/>
                </a:lnTo>
                <a:lnTo>
                  <a:pt x="622" y="780"/>
                </a:lnTo>
                <a:lnTo>
                  <a:pt x="620" y="785"/>
                </a:lnTo>
                <a:lnTo>
                  <a:pt x="619" y="788"/>
                </a:lnTo>
                <a:lnTo>
                  <a:pt x="619" y="793"/>
                </a:lnTo>
                <a:lnTo>
                  <a:pt x="619" y="799"/>
                </a:lnTo>
                <a:lnTo>
                  <a:pt x="624" y="797"/>
                </a:lnTo>
                <a:lnTo>
                  <a:pt x="626" y="795"/>
                </a:lnTo>
                <a:lnTo>
                  <a:pt x="625" y="800"/>
                </a:lnTo>
                <a:lnTo>
                  <a:pt x="622" y="804"/>
                </a:lnTo>
                <a:lnTo>
                  <a:pt x="619" y="808"/>
                </a:lnTo>
                <a:lnTo>
                  <a:pt x="616" y="813"/>
                </a:lnTo>
                <a:lnTo>
                  <a:pt x="615" y="815"/>
                </a:lnTo>
                <a:lnTo>
                  <a:pt x="615" y="819"/>
                </a:lnTo>
                <a:lnTo>
                  <a:pt x="616" y="821"/>
                </a:lnTo>
                <a:lnTo>
                  <a:pt x="618" y="823"/>
                </a:lnTo>
                <a:lnTo>
                  <a:pt x="620" y="830"/>
                </a:lnTo>
                <a:lnTo>
                  <a:pt x="621" y="837"/>
                </a:lnTo>
                <a:lnTo>
                  <a:pt x="621" y="844"/>
                </a:lnTo>
                <a:lnTo>
                  <a:pt x="620" y="851"/>
                </a:lnTo>
                <a:lnTo>
                  <a:pt x="615" y="856"/>
                </a:lnTo>
                <a:lnTo>
                  <a:pt x="608" y="861"/>
                </a:lnTo>
                <a:lnTo>
                  <a:pt x="605" y="862"/>
                </a:lnTo>
                <a:lnTo>
                  <a:pt x="601" y="864"/>
                </a:lnTo>
                <a:lnTo>
                  <a:pt x="601" y="867"/>
                </a:lnTo>
                <a:lnTo>
                  <a:pt x="600" y="869"/>
                </a:lnTo>
                <a:lnTo>
                  <a:pt x="593" y="875"/>
                </a:lnTo>
                <a:lnTo>
                  <a:pt x="586" y="881"/>
                </a:lnTo>
                <a:lnTo>
                  <a:pt x="583" y="883"/>
                </a:lnTo>
                <a:lnTo>
                  <a:pt x="579" y="885"/>
                </a:lnTo>
                <a:lnTo>
                  <a:pt x="574" y="888"/>
                </a:lnTo>
                <a:lnTo>
                  <a:pt x="570" y="889"/>
                </a:lnTo>
                <a:lnTo>
                  <a:pt x="567" y="890"/>
                </a:lnTo>
                <a:lnTo>
                  <a:pt x="566" y="892"/>
                </a:lnTo>
                <a:lnTo>
                  <a:pt x="563" y="898"/>
                </a:lnTo>
                <a:lnTo>
                  <a:pt x="557" y="903"/>
                </a:lnTo>
                <a:lnTo>
                  <a:pt x="551" y="907"/>
                </a:lnTo>
                <a:lnTo>
                  <a:pt x="545" y="911"/>
                </a:lnTo>
                <a:lnTo>
                  <a:pt x="536" y="917"/>
                </a:lnTo>
                <a:lnTo>
                  <a:pt x="526" y="921"/>
                </a:lnTo>
                <a:lnTo>
                  <a:pt x="518" y="928"/>
                </a:lnTo>
                <a:lnTo>
                  <a:pt x="511" y="935"/>
                </a:lnTo>
                <a:lnTo>
                  <a:pt x="498" y="947"/>
                </a:lnTo>
                <a:lnTo>
                  <a:pt x="486" y="958"/>
                </a:lnTo>
                <a:lnTo>
                  <a:pt x="479" y="963"/>
                </a:lnTo>
                <a:lnTo>
                  <a:pt x="471" y="968"/>
                </a:lnTo>
                <a:lnTo>
                  <a:pt x="464" y="974"/>
                </a:lnTo>
                <a:lnTo>
                  <a:pt x="455" y="977"/>
                </a:lnTo>
                <a:lnTo>
                  <a:pt x="447" y="984"/>
                </a:lnTo>
                <a:lnTo>
                  <a:pt x="439" y="994"/>
                </a:lnTo>
                <a:lnTo>
                  <a:pt x="429" y="1001"/>
                </a:lnTo>
                <a:lnTo>
                  <a:pt x="420" y="1009"/>
                </a:lnTo>
                <a:lnTo>
                  <a:pt x="415" y="1012"/>
                </a:lnTo>
                <a:lnTo>
                  <a:pt x="411" y="1016"/>
                </a:lnTo>
                <a:lnTo>
                  <a:pt x="406" y="1018"/>
                </a:lnTo>
                <a:lnTo>
                  <a:pt x="400" y="1019"/>
                </a:lnTo>
                <a:lnTo>
                  <a:pt x="398" y="1021"/>
                </a:lnTo>
                <a:lnTo>
                  <a:pt x="397" y="1023"/>
                </a:lnTo>
                <a:lnTo>
                  <a:pt x="392" y="1028"/>
                </a:lnTo>
                <a:lnTo>
                  <a:pt x="387" y="1032"/>
                </a:lnTo>
                <a:lnTo>
                  <a:pt x="381" y="1035"/>
                </a:lnTo>
                <a:lnTo>
                  <a:pt x="376" y="1038"/>
                </a:lnTo>
                <a:lnTo>
                  <a:pt x="372" y="1042"/>
                </a:lnTo>
                <a:lnTo>
                  <a:pt x="369" y="1046"/>
                </a:lnTo>
                <a:lnTo>
                  <a:pt x="352" y="1059"/>
                </a:lnTo>
                <a:lnTo>
                  <a:pt x="335" y="1070"/>
                </a:lnTo>
                <a:lnTo>
                  <a:pt x="319" y="1080"/>
                </a:lnTo>
                <a:lnTo>
                  <a:pt x="304" y="1089"/>
                </a:lnTo>
                <a:lnTo>
                  <a:pt x="301" y="1093"/>
                </a:lnTo>
                <a:lnTo>
                  <a:pt x="298" y="1098"/>
                </a:lnTo>
                <a:lnTo>
                  <a:pt x="295" y="1107"/>
                </a:lnTo>
                <a:lnTo>
                  <a:pt x="293" y="1116"/>
                </a:lnTo>
                <a:lnTo>
                  <a:pt x="290" y="1126"/>
                </a:lnTo>
                <a:lnTo>
                  <a:pt x="287" y="1135"/>
                </a:lnTo>
                <a:lnTo>
                  <a:pt x="286" y="1138"/>
                </a:lnTo>
                <a:lnTo>
                  <a:pt x="287" y="1142"/>
                </a:lnTo>
                <a:lnTo>
                  <a:pt x="289" y="1144"/>
                </a:lnTo>
                <a:lnTo>
                  <a:pt x="293" y="1145"/>
                </a:lnTo>
                <a:lnTo>
                  <a:pt x="300" y="1148"/>
                </a:lnTo>
                <a:lnTo>
                  <a:pt x="308" y="1150"/>
                </a:lnTo>
                <a:lnTo>
                  <a:pt x="305" y="1154"/>
                </a:lnTo>
                <a:lnTo>
                  <a:pt x="302" y="1154"/>
                </a:lnTo>
                <a:lnTo>
                  <a:pt x="300" y="1154"/>
                </a:lnTo>
                <a:lnTo>
                  <a:pt x="296" y="1152"/>
                </a:lnTo>
                <a:lnTo>
                  <a:pt x="289" y="1151"/>
                </a:lnTo>
                <a:lnTo>
                  <a:pt x="282" y="1151"/>
                </a:lnTo>
                <a:lnTo>
                  <a:pt x="284" y="1157"/>
                </a:lnTo>
                <a:lnTo>
                  <a:pt x="286" y="1163"/>
                </a:lnTo>
                <a:lnTo>
                  <a:pt x="286" y="1165"/>
                </a:lnTo>
                <a:lnTo>
                  <a:pt x="286" y="1168"/>
                </a:lnTo>
                <a:lnTo>
                  <a:pt x="283" y="1168"/>
                </a:lnTo>
                <a:lnTo>
                  <a:pt x="281" y="1168"/>
                </a:lnTo>
                <a:lnTo>
                  <a:pt x="280" y="1166"/>
                </a:lnTo>
                <a:lnTo>
                  <a:pt x="277" y="1165"/>
                </a:lnTo>
                <a:lnTo>
                  <a:pt x="275" y="1170"/>
                </a:lnTo>
                <a:lnTo>
                  <a:pt x="274" y="1175"/>
                </a:lnTo>
                <a:lnTo>
                  <a:pt x="273" y="1178"/>
                </a:lnTo>
                <a:lnTo>
                  <a:pt x="273" y="1180"/>
                </a:lnTo>
                <a:lnTo>
                  <a:pt x="273" y="1183"/>
                </a:lnTo>
                <a:lnTo>
                  <a:pt x="274" y="1186"/>
                </a:lnTo>
                <a:lnTo>
                  <a:pt x="276" y="1187"/>
                </a:lnTo>
                <a:lnTo>
                  <a:pt x="280" y="1190"/>
                </a:lnTo>
                <a:lnTo>
                  <a:pt x="294" y="1197"/>
                </a:lnTo>
                <a:lnTo>
                  <a:pt x="308" y="1204"/>
                </a:lnTo>
                <a:lnTo>
                  <a:pt x="322" y="1211"/>
                </a:lnTo>
                <a:lnTo>
                  <a:pt x="337" y="1218"/>
                </a:lnTo>
                <a:lnTo>
                  <a:pt x="343" y="1221"/>
                </a:lnTo>
                <a:lnTo>
                  <a:pt x="349" y="1225"/>
                </a:lnTo>
                <a:lnTo>
                  <a:pt x="351" y="1226"/>
                </a:lnTo>
                <a:lnTo>
                  <a:pt x="355" y="1226"/>
                </a:lnTo>
                <a:lnTo>
                  <a:pt x="358" y="1225"/>
                </a:lnTo>
                <a:lnTo>
                  <a:pt x="362" y="1224"/>
                </a:lnTo>
                <a:lnTo>
                  <a:pt x="362" y="1227"/>
                </a:lnTo>
                <a:lnTo>
                  <a:pt x="362" y="1229"/>
                </a:lnTo>
                <a:lnTo>
                  <a:pt x="365" y="1233"/>
                </a:lnTo>
                <a:lnTo>
                  <a:pt x="370" y="1234"/>
                </a:lnTo>
                <a:lnTo>
                  <a:pt x="376" y="1234"/>
                </a:lnTo>
                <a:lnTo>
                  <a:pt x="380" y="1233"/>
                </a:lnTo>
                <a:lnTo>
                  <a:pt x="400" y="1219"/>
                </a:lnTo>
                <a:lnTo>
                  <a:pt x="421" y="1205"/>
                </a:lnTo>
                <a:lnTo>
                  <a:pt x="442" y="1191"/>
                </a:lnTo>
                <a:lnTo>
                  <a:pt x="462" y="1177"/>
                </a:lnTo>
                <a:lnTo>
                  <a:pt x="497" y="1152"/>
                </a:lnTo>
                <a:lnTo>
                  <a:pt x="533" y="1129"/>
                </a:lnTo>
                <a:lnTo>
                  <a:pt x="569" y="1105"/>
                </a:lnTo>
                <a:lnTo>
                  <a:pt x="604" y="1080"/>
                </a:lnTo>
                <a:lnTo>
                  <a:pt x="609" y="1075"/>
                </a:lnTo>
                <a:lnTo>
                  <a:pt x="616" y="1072"/>
                </a:lnTo>
                <a:lnTo>
                  <a:pt x="616" y="1082"/>
                </a:lnTo>
                <a:lnTo>
                  <a:pt x="616" y="1093"/>
                </a:lnTo>
                <a:lnTo>
                  <a:pt x="616" y="1103"/>
                </a:lnTo>
                <a:lnTo>
                  <a:pt x="616" y="1113"/>
                </a:lnTo>
                <a:lnTo>
                  <a:pt x="622" y="1110"/>
                </a:lnTo>
                <a:lnTo>
                  <a:pt x="628" y="1107"/>
                </a:lnTo>
                <a:lnTo>
                  <a:pt x="635" y="1105"/>
                </a:lnTo>
                <a:lnTo>
                  <a:pt x="642" y="1102"/>
                </a:lnTo>
                <a:lnTo>
                  <a:pt x="650" y="1100"/>
                </a:lnTo>
                <a:lnTo>
                  <a:pt x="659" y="1099"/>
                </a:lnTo>
                <a:lnTo>
                  <a:pt x="674" y="1098"/>
                </a:lnTo>
                <a:lnTo>
                  <a:pt x="690" y="1099"/>
                </a:lnTo>
                <a:lnTo>
                  <a:pt x="700" y="1100"/>
                </a:lnTo>
                <a:lnTo>
                  <a:pt x="709" y="1102"/>
                </a:lnTo>
                <a:lnTo>
                  <a:pt x="718" y="1105"/>
                </a:lnTo>
                <a:lnTo>
                  <a:pt x="728" y="1108"/>
                </a:lnTo>
                <a:lnTo>
                  <a:pt x="732" y="1112"/>
                </a:lnTo>
                <a:lnTo>
                  <a:pt x="736" y="1115"/>
                </a:lnTo>
                <a:lnTo>
                  <a:pt x="736" y="1116"/>
                </a:lnTo>
                <a:lnTo>
                  <a:pt x="735" y="1117"/>
                </a:lnTo>
                <a:lnTo>
                  <a:pt x="733" y="1117"/>
                </a:lnTo>
                <a:lnTo>
                  <a:pt x="731" y="1116"/>
                </a:lnTo>
                <a:lnTo>
                  <a:pt x="724" y="1113"/>
                </a:lnTo>
                <a:lnTo>
                  <a:pt x="716" y="1109"/>
                </a:lnTo>
                <a:lnTo>
                  <a:pt x="709" y="1107"/>
                </a:lnTo>
                <a:lnTo>
                  <a:pt x="701" y="1106"/>
                </a:lnTo>
                <a:lnTo>
                  <a:pt x="684" y="1103"/>
                </a:lnTo>
                <a:lnTo>
                  <a:pt x="668" y="1103"/>
                </a:lnTo>
                <a:lnTo>
                  <a:pt x="655" y="1105"/>
                </a:lnTo>
                <a:lnTo>
                  <a:pt x="642" y="1107"/>
                </a:lnTo>
                <a:lnTo>
                  <a:pt x="636" y="1109"/>
                </a:lnTo>
                <a:lnTo>
                  <a:pt x="629" y="1112"/>
                </a:lnTo>
                <a:lnTo>
                  <a:pt x="624" y="1114"/>
                </a:lnTo>
                <a:lnTo>
                  <a:pt x="619" y="1119"/>
                </a:lnTo>
                <a:lnTo>
                  <a:pt x="615" y="1121"/>
                </a:lnTo>
                <a:lnTo>
                  <a:pt x="613" y="1124"/>
                </a:lnTo>
                <a:lnTo>
                  <a:pt x="612" y="1127"/>
                </a:lnTo>
                <a:lnTo>
                  <a:pt x="611" y="1130"/>
                </a:lnTo>
                <a:lnTo>
                  <a:pt x="611" y="1133"/>
                </a:lnTo>
                <a:lnTo>
                  <a:pt x="612" y="1136"/>
                </a:lnTo>
                <a:lnTo>
                  <a:pt x="613" y="1140"/>
                </a:lnTo>
                <a:lnTo>
                  <a:pt x="615" y="1142"/>
                </a:lnTo>
                <a:lnTo>
                  <a:pt x="619" y="1140"/>
                </a:lnTo>
                <a:lnTo>
                  <a:pt x="624" y="1137"/>
                </a:lnTo>
                <a:lnTo>
                  <a:pt x="636" y="1131"/>
                </a:lnTo>
                <a:lnTo>
                  <a:pt x="649" y="1128"/>
                </a:lnTo>
                <a:lnTo>
                  <a:pt x="662" y="1127"/>
                </a:lnTo>
                <a:lnTo>
                  <a:pt x="675" y="1126"/>
                </a:lnTo>
                <a:lnTo>
                  <a:pt x="687" y="1126"/>
                </a:lnTo>
                <a:lnTo>
                  <a:pt x="698" y="1126"/>
                </a:lnTo>
                <a:lnTo>
                  <a:pt x="710" y="1128"/>
                </a:lnTo>
                <a:lnTo>
                  <a:pt x="722" y="1131"/>
                </a:lnTo>
                <a:lnTo>
                  <a:pt x="730" y="1135"/>
                </a:lnTo>
                <a:lnTo>
                  <a:pt x="739" y="1136"/>
                </a:lnTo>
                <a:lnTo>
                  <a:pt x="753" y="1134"/>
                </a:lnTo>
                <a:lnTo>
                  <a:pt x="766" y="1130"/>
                </a:lnTo>
                <a:lnTo>
                  <a:pt x="769" y="1129"/>
                </a:lnTo>
                <a:lnTo>
                  <a:pt x="772" y="1128"/>
                </a:lnTo>
                <a:lnTo>
                  <a:pt x="764" y="1127"/>
                </a:lnTo>
                <a:lnTo>
                  <a:pt x="756" y="1127"/>
                </a:lnTo>
                <a:lnTo>
                  <a:pt x="751" y="1127"/>
                </a:lnTo>
                <a:lnTo>
                  <a:pt x="747" y="1126"/>
                </a:lnTo>
                <a:lnTo>
                  <a:pt x="744" y="1124"/>
                </a:lnTo>
                <a:lnTo>
                  <a:pt x="740" y="1121"/>
                </a:lnTo>
                <a:lnTo>
                  <a:pt x="754" y="1122"/>
                </a:lnTo>
                <a:lnTo>
                  <a:pt x="769" y="1122"/>
                </a:lnTo>
                <a:lnTo>
                  <a:pt x="783" y="1122"/>
                </a:lnTo>
                <a:lnTo>
                  <a:pt x="797" y="1121"/>
                </a:lnTo>
                <a:lnTo>
                  <a:pt x="825" y="1117"/>
                </a:lnTo>
                <a:lnTo>
                  <a:pt x="852" y="1113"/>
                </a:lnTo>
                <a:lnTo>
                  <a:pt x="852" y="1113"/>
                </a:lnTo>
                <a:lnTo>
                  <a:pt x="852" y="1113"/>
                </a:lnTo>
                <a:lnTo>
                  <a:pt x="874" y="1108"/>
                </a:lnTo>
                <a:lnTo>
                  <a:pt x="896" y="1102"/>
                </a:lnTo>
                <a:lnTo>
                  <a:pt x="917" y="1098"/>
                </a:lnTo>
                <a:lnTo>
                  <a:pt x="939" y="1094"/>
                </a:lnTo>
                <a:lnTo>
                  <a:pt x="939" y="1084"/>
                </a:lnTo>
                <a:lnTo>
                  <a:pt x="939" y="1074"/>
                </a:lnTo>
                <a:lnTo>
                  <a:pt x="943" y="1068"/>
                </a:lnTo>
                <a:lnTo>
                  <a:pt x="943" y="1075"/>
                </a:lnTo>
                <a:lnTo>
                  <a:pt x="943" y="1082"/>
                </a:lnTo>
                <a:lnTo>
                  <a:pt x="943" y="1086"/>
                </a:lnTo>
                <a:lnTo>
                  <a:pt x="944" y="1089"/>
                </a:lnTo>
                <a:lnTo>
                  <a:pt x="946" y="1091"/>
                </a:lnTo>
                <a:lnTo>
                  <a:pt x="950" y="1092"/>
                </a:lnTo>
                <a:lnTo>
                  <a:pt x="957" y="1091"/>
                </a:lnTo>
                <a:lnTo>
                  <a:pt x="961" y="1089"/>
                </a:lnTo>
                <a:lnTo>
                  <a:pt x="964" y="1086"/>
                </a:lnTo>
                <a:lnTo>
                  <a:pt x="965" y="1082"/>
                </a:lnTo>
                <a:lnTo>
                  <a:pt x="965" y="1071"/>
                </a:lnTo>
                <a:lnTo>
                  <a:pt x="965" y="1058"/>
                </a:lnTo>
                <a:lnTo>
                  <a:pt x="968" y="1061"/>
                </a:lnTo>
                <a:lnTo>
                  <a:pt x="971" y="1064"/>
                </a:lnTo>
                <a:lnTo>
                  <a:pt x="974" y="1072"/>
                </a:lnTo>
                <a:lnTo>
                  <a:pt x="979" y="1079"/>
                </a:lnTo>
                <a:lnTo>
                  <a:pt x="984" y="1081"/>
                </a:lnTo>
                <a:lnTo>
                  <a:pt x="990" y="1084"/>
                </a:lnTo>
                <a:lnTo>
                  <a:pt x="992" y="1081"/>
                </a:lnTo>
                <a:lnTo>
                  <a:pt x="993" y="1079"/>
                </a:lnTo>
                <a:lnTo>
                  <a:pt x="993" y="1073"/>
                </a:lnTo>
                <a:lnTo>
                  <a:pt x="992" y="1067"/>
                </a:lnTo>
                <a:lnTo>
                  <a:pt x="991" y="1067"/>
                </a:lnTo>
                <a:lnTo>
                  <a:pt x="990" y="1067"/>
                </a:lnTo>
                <a:lnTo>
                  <a:pt x="993" y="1063"/>
                </a:lnTo>
                <a:lnTo>
                  <a:pt x="997" y="1059"/>
                </a:lnTo>
                <a:lnTo>
                  <a:pt x="998" y="1059"/>
                </a:lnTo>
                <a:lnTo>
                  <a:pt x="998" y="1060"/>
                </a:lnTo>
                <a:lnTo>
                  <a:pt x="998" y="1064"/>
                </a:lnTo>
                <a:lnTo>
                  <a:pt x="998" y="1067"/>
                </a:lnTo>
                <a:lnTo>
                  <a:pt x="999" y="1075"/>
                </a:lnTo>
                <a:lnTo>
                  <a:pt x="1000" y="1079"/>
                </a:lnTo>
                <a:lnTo>
                  <a:pt x="1005" y="1080"/>
                </a:lnTo>
                <a:lnTo>
                  <a:pt x="1013" y="1078"/>
                </a:lnTo>
                <a:lnTo>
                  <a:pt x="1013" y="1068"/>
                </a:lnTo>
                <a:lnTo>
                  <a:pt x="1013" y="1058"/>
                </a:lnTo>
                <a:lnTo>
                  <a:pt x="1015" y="1060"/>
                </a:lnTo>
                <a:lnTo>
                  <a:pt x="1016" y="1063"/>
                </a:lnTo>
                <a:lnTo>
                  <a:pt x="1018" y="1065"/>
                </a:lnTo>
                <a:lnTo>
                  <a:pt x="1018" y="1067"/>
                </a:lnTo>
                <a:lnTo>
                  <a:pt x="1018" y="1073"/>
                </a:lnTo>
                <a:lnTo>
                  <a:pt x="1020" y="1078"/>
                </a:lnTo>
                <a:lnTo>
                  <a:pt x="1026" y="1077"/>
                </a:lnTo>
                <a:lnTo>
                  <a:pt x="1030" y="1073"/>
                </a:lnTo>
                <a:lnTo>
                  <a:pt x="1033" y="1067"/>
                </a:lnTo>
                <a:lnTo>
                  <a:pt x="1033" y="1060"/>
                </a:lnTo>
                <a:lnTo>
                  <a:pt x="1042" y="1066"/>
                </a:lnTo>
                <a:lnTo>
                  <a:pt x="1051" y="1070"/>
                </a:lnTo>
                <a:lnTo>
                  <a:pt x="1061" y="1068"/>
                </a:lnTo>
                <a:lnTo>
                  <a:pt x="1071" y="1064"/>
                </a:lnTo>
                <a:lnTo>
                  <a:pt x="1073" y="1065"/>
                </a:lnTo>
                <a:lnTo>
                  <a:pt x="1074" y="1066"/>
                </a:lnTo>
                <a:lnTo>
                  <a:pt x="1080" y="1064"/>
                </a:lnTo>
                <a:lnTo>
                  <a:pt x="1084" y="1063"/>
                </a:lnTo>
                <a:lnTo>
                  <a:pt x="1122" y="1056"/>
                </a:lnTo>
                <a:lnTo>
                  <a:pt x="1160" y="1047"/>
                </a:lnTo>
                <a:lnTo>
                  <a:pt x="1198" y="1039"/>
                </a:lnTo>
                <a:lnTo>
                  <a:pt x="1234" y="1031"/>
                </a:lnTo>
                <a:lnTo>
                  <a:pt x="1229" y="1030"/>
                </a:lnTo>
                <a:lnTo>
                  <a:pt x="1223" y="1030"/>
                </a:lnTo>
                <a:lnTo>
                  <a:pt x="1191" y="1030"/>
                </a:lnTo>
                <a:lnTo>
                  <a:pt x="1158" y="1031"/>
                </a:lnTo>
                <a:lnTo>
                  <a:pt x="1125" y="1031"/>
                </a:lnTo>
                <a:lnTo>
                  <a:pt x="1092" y="1032"/>
                </a:lnTo>
                <a:lnTo>
                  <a:pt x="1060" y="1032"/>
                </a:lnTo>
                <a:lnTo>
                  <a:pt x="1027" y="1033"/>
                </a:lnTo>
                <a:lnTo>
                  <a:pt x="995" y="1033"/>
                </a:lnTo>
                <a:lnTo>
                  <a:pt x="963" y="1035"/>
                </a:lnTo>
                <a:lnTo>
                  <a:pt x="930" y="1035"/>
                </a:lnTo>
                <a:lnTo>
                  <a:pt x="926" y="1035"/>
                </a:lnTo>
                <a:lnTo>
                  <a:pt x="923" y="1035"/>
                </a:lnTo>
                <a:lnTo>
                  <a:pt x="898" y="1035"/>
                </a:lnTo>
                <a:lnTo>
                  <a:pt x="895" y="1035"/>
                </a:lnTo>
                <a:lnTo>
                  <a:pt x="890" y="1035"/>
                </a:lnTo>
                <a:lnTo>
                  <a:pt x="855" y="1036"/>
                </a:lnTo>
                <a:lnTo>
                  <a:pt x="819" y="1036"/>
                </a:lnTo>
                <a:lnTo>
                  <a:pt x="783" y="1037"/>
                </a:lnTo>
                <a:lnTo>
                  <a:pt x="746" y="1037"/>
                </a:lnTo>
                <a:lnTo>
                  <a:pt x="743" y="1037"/>
                </a:lnTo>
                <a:lnTo>
                  <a:pt x="739" y="1035"/>
                </a:lnTo>
                <a:lnTo>
                  <a:pt x="732" y="1029"/>
                </a:lnTo>
                <a:lnTo>
                  <a:pt x="724" y="1024"/>
                </a:lnTo>
                <a:lnTo>
                  <a:pt x="716" y="1021"/>
                </a:lnTo>
                <a:lnTo>
                  <a:pt x="707" y="1018"/>
                </a:lnTo>
                <a:lnTo>
                  <a:pt x="694" y="1016"/>
                </a:lnTo>
                <a:lnTo>
                  <a:pt x="682" y="1015"/>
                </a:lnTo>
                <a:lnTo>
                  <a:pt x="669" y="1015"/>
                </a:lnTo>
                <a:lnTo>
                  <a:pt x="657" y="1015"/>
                </a:lnTo>
                <a:lnTo>
                  <a:pt x="646" y="1017"/>
                </a:lnTo>
                <a:lnTo>
                  <a:pt x="634" y="1022"/>
                </a:lnTo>
                <a:lnTo>
                  <a:pt x="622" y="1028"/>
                </a:lnTo>
                <a:lnTo>
                  <a:pt x="612" y="1037"/>
                </a:lnTo>
                <a:lnTo>
                  <a:pt x="612" y="1032"/>
                </a:lnTo>
                <a:lnTo>
                  <a:pt x="614" y="1029"/>
                </a:lnTo>
                <a:lnTo>
                  <a:pt x="616" y="1026"/>
                </a:lnTo>
                <a:lnTo>
                  <a:pt x="619" y="1023"/>
                </a:lnTo>
                <a:lnTo>
                  <a:pt x="625" y="1019"/>
                </a:lnTo>
                <a:lnTo>
                  <a:pt x="631" y="1017"/>
                </a:lnTo>
                <a:lnTo>
                  <a:pt x="645" y="1014"/>
                </a:lnTo>
                <a:lnTo>
                  <a:pt x="659" y="1010"/>
                </a:lnTo>
                <a:lnTo>
                  <a:pt x="673" y="1009"/>
                </a:lnTo>
                <a:lnTo>
                  <a:pt x="687" y="1008"/>
                </a:lnTo>
                <a:lnTo>
                  <a:pt x="700" y="1010"/>
                </a:lnTo>
                <a:lnTo>
                  <a:pt x="714" y="1014"/>
                </a:lnTo>
                <a:lnTo>
                  <a:pt x="726" y="1018"/>
                </a:lnTo>
                <a:lnTo>
                  <a:pt x="740" y="1026"/>
                </a:lnTo>
                <a:lnTo>
                  <a:pt x="742" y="1019"/>
                </a:lnTo>
                <a:lnTo>
                  <a:pt x="742" y="1014"/>
                </a:lnTo>
                <a:lnTo>
                  <a:pt x="740" y="1011"/>
                </a:lnTo>
                <a:lnTo>
                  <a:pt x="738" y="1008"/>
                </a:lnTo>
                <a:lnTo>
                  <a:pt x="736" y="1005"/>
                </a:lnTo>
                <a:lnTo>
                  <a:pt x="733" y="1004"/>
                </a:lnTo>
                <a:lnTo>
                  <a:pt x="725" y="1000"/>
                </a:lnTo>
                <a:lnTo>
                  <a:pt x="718" y="995"/>
                </a:lnTo>
                <a:lnTo>
                  <a:pt x="710" y="991"/>
                </a:lnTo>
                <a:lnTo>
                  <a:pt x="701" y="990"/>
                </a:lnTo>
                <a:lnTo>
                  <a:pt x="693" y="989"/>
                </a:lnTo>
                <a:lnTo>
                  <a:pt x="683" y="988"/>
                </a:lnTo>
                <a:lnTo>
                  <a:pt x="680" y="986"/>
                </a:lnTo>
                <a:lnTo>
                  <a:pt x="677" y="984"/>
                </a:lnTo>
                <a:lnTo>
                  <a:pt x="677" y="982"/>
                </a:lnTo>
                <a:lnTo>
                  <a:pt x="678" y="981"/>
                </a:lnTo>
                <a:lnTo>
                  <a:pt x="685" y="982"/>
                </a:lnTo>
                <a:lnTo>
                  <a:pt x="693" y="984"/>
                </a:lnTo>
                <a:lnTo>
                  <a:pt x="695" y="984"/>
                </a:lnTo>
                <a:lnTo>
                  <a:pt x="697" y="984"/>
                </a:lnTo>
                <a:lnTo>
                  <a:pt x="702" y="983"/>
                </a:lnTo>
                <a:lnTo>
                  <a:pt x="705" y="983"/>
                </a:lnTo>
                <a:lnTo>
                  <a:pt x="719" y="988"/>
                </a:lnTo>
                <a:lnTo>
                  <a:pt x="733" y="993"/>
                </a:lnTo>
                <a:lnTo>
                  <a:pt x="731" y="948"/>
                </a:lnTo>
                <a:lnTo>
                  <a:pt x="730" y="905"/>
                </a:lnTo>
                <a:lnTo>
                  <a:pt x="730" y="862"/>
                </a:lnTo>
                <a:lnTo>
                  <a:pt x="730" y="819"/>
                </a:lnTo>
                <a:lnTo>
                  <a:pt x="731" y="818"/>
                </a:lnTo>
                <a:lnTo>
                  <a:pt x="732" y="818"/>
                </a:lnTo>
                <a:lnTo>
                  <a:pt x="735" y="822"/>
                </a:lnTo>
                <a:lnTo>
                  <a:pt x="737" y="828"/>
                </a:lnTo>
                <a:lnTo>
                  <a:pt x="739" y="825"/>
                </a:lnTo>
                <a:lnTo>
                  <a:pt x="740" y="821"/>
                </a:lnTo>
                <a:lnTo>
                  <a:pt x="740" y="815"/>
                </a:lnTo>
                <a:lnTo>
                  <a:pt x="739" y="811"/>
                </a:lnTo>
                <a:lnTo>
                  <a:pt x="737" y="806"/>
                </a:lnTo>
                <a:lnTo>
                  <a:pt x="733" y="804"/>
                </a:lnTo>
                <a:lnTo>
                  <a:pt x="722" y="797"/>
                </a:lnTo>
                <a:lnTo>
                  <a:pt x="711" y="792"/>
                </a:lnTo>
                <a:lnTo>
                  <a:pt x="708" y="791"/>
                </a:lnTo>
                <a:lnTo>
                  <a:pt x="704" y="788"/>
                </a:lnTo>
                <a:lnTo>
                  <a:pt x="702" y="787"/>
                </a:lnTo>
                <a:lnTo>
                  <a:pt x="702" y="786"/>
                </a:lnTo>
                <a:lnTo>
                  <a:pt x="701" y="784"/>
                </a:lnTo>
                <a:lnTo>
                  <a:pt x="702" y="780"/>
                </a:lnTo>
                <a:lnTo>
                  <a:pt x="712" y="783"/>
                </a:lnTo>
                <a:lnTo>
                  <a:pt x="723" y="787"/>
                </a:lnTo>
                <a:lnTo>
                  <a:pt x="728" y="790"/>
                </a:lnTo>
                <a:lnTo>
                  <a:pt x="732" y="793"/>
                </a:lnTo>
                <a:lnTo>
                  <a:pt x="736" y="797"/>
                </a:lnTo>
                <a:lnTo>
                  <a:pt x="739" y="801"/>
                </a:lnTo>
                <a:lnTo>
                  <a:pt x="740" y="798"/>
                </a:lnTo>
                <a:lnTo>
                  <a:pt x="742" y="794"/>
                </a:lnTo>
                <a:lnTo>
                  <a:pt x="742" y="792"/>
                </a:lnTo>
                <a:lnTo>
                  <a:pt x="742" y="788"/>
                </a:lnTo>
                <a:lnTo>
                  <a:pt x="738" y="783"/>
                </a:lnTo>
                <a:lnTo>
                  <a:pt x="733" y="777"/>
                </a:lnTo>
                <a:lnTo>
                  <a:pt x="723" y="771"/>
                </a:lnTo>
                <a:lnTo>
                  <a:pt x="712" y="766"/>
                </a:lnTo>
                <a:lnTo>
                  <a:pt x="702" y="763"/>
                </a:lnTo>
                <a:lnTo>
                  <a:pt x="690" y="762"/>
                </a:lnTo>
                <a:lnTo>
                  <a:pt x="682" y="760"/>
                </a:lnTo>
                <a:lnTo>
                  <a:pt x="673" y="759"/>
                </a:lnTo>
                <a:lnTo>
                  <a:pt x="673" y="758"/>
                </a:lnTo>
                <a:lnTo>
                  <a:pt x="673" y="756"/>
                </a:lnTo>
                <a:lnTo>
                  <a:pt x="680" y="755"/>
                </a:lnTo>
                <a:lnTo>
                  <a:pt x="688" y="753"/>
                </a:lnTo>
                <a:lnTo>
                  <a:pt x="695" y="753"/>
                </a:lnTo>
                <a:lnTo>
                  <a:pt x="702" y="755"/>
                </a:lnTo>
                <a:lnTo>
                  <a:pt x="717" y="759"/>
                </a:lnTo>
                <a:lnTo>
                  <a:pt x="731" y="764"/>
                </a:lnTo>
                <a:lnTo>
                  <a:pt x="731" y="725"/>
                </a:lnTo>
                <a:lnTo>
                  <a:pt x="731" y="687"/>
                </a:lnTo>
                <a:lnTo>
                  <a:pt x="731" y="648"/>
                </a:lnTo>
                <a:lnTo>
                  <a:pt x="731" y="611"/>
                </a:lnTo>
                <a:lnTo>
                  <a:pt x="732" y="615"/>
                </a:lnTo>
                <a:lnTo>
                  <a:pt x="733" y="617"/>
                </a:lnTo>
                <a:lnTo>
                  <a:pt x="736" y="617"/>
                </a:lnTo>
                <a:lnTo>
                  <a:pt x="737" y="617"/>
                </a:lnTo>
                <a:lnTo>
                  <a:pt x="737" y="609"/>
                </a:lnTo>
                <a:lnTo>
                  <a:pt x="736" y="602"/>
                </a:lnTo>
                <a:lnTo>
                  <a:pt x="732" y="595"/>
                </a:lnTo>
                <a:lnTo>
                  <a:pt x="729" y="590"/>
                </a:lnTo>
                <a:lnTo>
                  <a:pt x="723" y="587"/>
                </a:lnTo>
                <a:lnTo>
                  <a:pt x="716" y="583"/>
                </a:lnTo>
                <a:lnTo>
                  <a:pt x="703" y="578"/>
                </a:lnTo>
                <a:lnTo>
                  <a:pt x="690" y="576"/>
                </a:lnTo>
                <a:lnTo>
                  <a:pt x="677" y="575"/>
                </a:lnTo>
                <a:lnTo>
                  <a:pt x="663" y="575"/>
                </a:lnTo>
                <a:lnTo>
                  <a:pt x="659" y="575"/>
                </a:lnTo>
                <a:lnTo>
                  <a:pt x="655" y="575"/>
                </a:lnTo>
                <a:lnTo>
                  <a:pt x="650" y="573"/>
                </a:lnTo>
                <a:lnTo>
                  <a:pt x="647" y="569"/>
                </a:lnTo>
                <a:lnTo>
                  <a:pt x="625" y="548"/>
                </a:lnTo>
                <a:lnTo>
                  <a:pt x="602" y="526"/>
                </a:lnTo>
                <a:lnTo>
                  <a:pt x="580" y="504"/>
                </a:lnTo>
                <a:lnTo>
                  <a:pt x="558" y="483"/>
                </a:lnTo>
                <a:lnTo>
                  <a:pt x="522" y="446"/>
                </a:lnTo>
                <a:lnTo>
                  <a:pt x="486" y="410"/>
                </a:lnTo>
                <a:lnTo>
                  <a:pt x="449" y="375"/>
                </a:lnTo>
                <a:lnTo>
                  <a:pt x="413" y="339"/>
                </a:lnTo>
                <a:lnTo>
                  <a:pt x="377" y="303"/>
                </a:lnTo>
                <a:lnTo>
                  <a:pt x="341" y="268"/>
                </a:lnTo>
                <a:lnTo>
                  <a:pt x="304" y="232"/>
                </a:lnTo>
                <a:lnTo>
                  <a:pt x="267" y="197"/>
                </a:lnTo>
                <a:lnTo>
                  <a:pt x="259" y="189"/>
                </a:lnTo>
                <a:lnTo>
                  <a:pt x="250" y="180"/>
                </a:lnTo>
                <a:lnTo>
                  <a:pt x="240" y="192"/>
                </a:lnTo>
                <a:lnTo>
                  <a:pt x="229" y="205"/>
                </a:lnTo>
                <a:lnTo>
                  <a:pt x="218" y="217"/>
                </a:lnTo>
                <a:lnTo>
                  <a:pt x="207" y="228"/>
                </a:lnTo>
                <a:lnTo>
                  <a:pt x="205" y="231"/>
                </a:lnTo>
                <a:lnTo>
                  <a:pt x="204" y="234"/>
                </a:lnTo>
                <a:lnTo>
                  <a:pt x="204" y="236"/>
                </a:lnTo>
                <a:lnTo>
                  <a:pt x="204" y="240"/>
                </a:lnTo>
                <a:lnTo>
                  <a:pt x="207" y="250"/>
                </a:lnTo>
                <a:lnTo>
                  <a:pt x="210" y="260"/>
                </a:lnTo>
                <a:lnTo>
                  <a:pt x="215" y="285"/>
                </a:lnTo>
                <a:lnTo>
                  <a:pt x="222" y="310"/>
                </a:lnTo>
                <a:lnTo>
                  <a:pt x="228" y="336"/>
                </a:lnTo>
                <a:lnTo>
                  <a:pt x="235" y="360"/>
                </a:lnTo>
                <a:lnTo>
                  <a:pt x="238" y="367"/>
                </a:lnTo>
                <a:lnTo>
                  <a:pt x="241" y="373"/>
                </a:lnTo>
                <a:lnTo>
                  <a:pt x="266" y="395"/>
                </a:lnTo>
                <a:lnTo>
                  <a:pt x="290" y="417"/>
                </a:lnTo>
                <a:lnTo>
                  <a:pt x="314" y="439"/>
                </a:lnTo>
                <a:lnTo>
                  <a:pt x="338" y="462"/>
                </a:lnTo>
                <a:lnTo>
                  <a:pt x="363" y="484"/>
                </a:lnTo>
                <a:lnTo>
                  <a:pt x="386" y="506"/>
                </a:lnTo>
                <a:lnTo>
                  <a:pt x="411" y="528"/>
                </a:lnTo>
                <a:lnTo>
                  <a:pt x="435" y="550"/>
                </a:lnTo>
                <a:lnTo>
                  <a:pt x="459" y="573"/>
                </a:lnTo>
                <a:lnTo>
                  <a:pt x="483" y="595"/>
                </a:lnTo>
                <a:lnTo>
                  <a:pt x="508" y="617"/>
                </a:lnTo>
                <a:lnTo>
                  <a:pt x="531" y="639"/>
                </a:lnTo>
                <a:lnTo>
                  <a:pt x="562" y="667"/>
                </a:lnTo>
                <a:lnTo>
                  <a:pt x="591" y="694"/>
                </a:lnTo>
                <a:lnTo>
                  <a:pt x="621" y="722"/>
                </a:lnTo>
                <a:lnTo>
                  <a:pt x="650" y="750"/>
                </a:lnTo>
                <a:lnTo>
                  <a:pt x="655" y="753"/>
                </a:lnTo>
                <a:lnTo>
                  <a:pt x="661" y="758"/>
                </a:lnTo>
                <a:lnTo>
                  <a:pt x="660" y="759"/>
                </a:lnTo>
                <a:lnTo>
                  <a:pt x="659" y="760"/>
                </a:lnTo>
                <a:lnTo>
                  <a:pt x="654" y="759"/>
                </a:lnTo>
                <a:lnTo>
                  <a:pt x="650" y="757"/>
                </a:lnTo>
                <a:lnTo>
                  <a:pt x="641" y="749"/>
                </a:lnTo>
                <a:lnTo>
                  <a:pt x="632" y="741"/>
                </a:lnTo>
                <a:lnTo>
                  <a:pt x="622" y="731"/>
                </a:lnTo>
                <a:lnTo>
                  <a:pt x="613" y="723"/>
                </a:lnTo>
                <a:lnTo>
                  <a:pt x="595" y="707"/>
                </a:lnTo>
                <a:lnTo>
                  <a:pt x="577" y="690"/>
                </a:lnTo>
                <a:lnTo>
                  <a:pt x="559" y="674"/>
                </a:lnTo>
                <a:lnTo>
                  <a:pt x="542" y="658"/>
                </a:lnTo>
                <a:lnTo>
                  <a:pt x="505" y="625"/>
                </a:lnTo>
                <a:lnTo>
                  <a:pt x="468" y="591"/>
                </a:lnTo>
                <a:lnTo>
                  <a:pt x="432" y="558"/>
                </a:lnTo>
                <a:lnTo>
                  <a:pt x="395" y="525"/>
                </a:lnTo>
                <a:lnTo>
                  <a:pt x="358" y="491"/>
                </a:lnTo>
                <a:lnTo>
                  <a:pt x="321" y="457"/>
                </a:lnTo>
                <a:lnTo>
                  <a:pt x="283" y="423"/>
                </a:lnTo>
                <a:lnTo>
                  <a:pt x="246" y="388"/>
                </a:lnTo>
                <a:lnTo>
                  <a:pt x="241" y="385"/>
                </a:lnTo>
                <a:lnTo>
                  <a:pt x="236" y="380"/>
                </a:lnTo>
                <a:lnTo>
                  <a:pt x="233" y="375"/>
                </a:lnTo>
                <a:lnTo>
                  <a:pt x="231" y="369"/>
                </a:lnTo>
                <a:lnTo>
                  <a:pt x="224" y="347"/>
                </a:lnTo>
                <a:lnTo>
                  <a:pt x="218" y="325"/>
                </a:lnTo>
                <a:lnTo>
                  <a:pt x="212" y="303"/>
                </a:lnTo>
                <a:lnTo>
                  <a:pt x="206" y="281"/>
                </a:lnTo>
                <a:lnTo>
                  <a:pt x="203" y="267"/>
                </a:lnTo>
                <a:lnTo>
                  <a:pt x="199" y="253"/>
                </a:lnTo>
                <a:lnTo>
                  <a:pt x="196" y="239"/>
                </a:lnTo>
                <a:lnTo>
                  <a:pt x="192" y="225"/>
                </a:lnTo>
                <a:lnTo>
                  <a:pt x="186" y="227"/>
                </a:lnTo>
                <a:lnTo>
                  <a:pt x="180" y="229"/>
                </a:lnTo>
                <a:lnTo>
                  <a:pt x="178" y="231"/>
                </a:lnTo>
                <a:lnTo>
                  <a:pt x="176" y="232"/>
                </a:lnTo>
                <a:lnTo>
                  <a:pt x="174" y="234"/>
                </a:lnTo>
                <a:lnTo>
                  <a:pt x="176" y="239"/>
                </a:lnTo>
                <a:lnTo>
                  <a:pt x="178" y="249"/>
                </a:lnTo>
                <a:lnTo>
                  <a:pt x="181" y="261"/>
                </a:lnTo>
                <a:lnTo>
                  <a:pt x="184" y="271"/>
                </a:lnTo>
                <a:lnTo>
                  <a:pt x="186" y="283"/>
                </a:lnTo>
                <a:lnTo>
                  <a:pt x="192" y="304"/>
                </a:lnTo>
                <a:lnTo>
                  <a:pt x="198" y="326"/>
                </a:lnTo>
                <a:lnTo>
                  <a:pt x="204" y="348"/>
                </a:lnTo>
                <a:lnTo>
                  <a:pt x="210" y="369"/>
                </a:lnTo>
                <a:lnTo>
                  <a:pt x="212" y="376"/>
                </a:lnTo>
                <a:lnTo>
                  <a:pt x="214" y="383"/>
                </a:lnTo>
                <a:lnTo>
                  <a:pt x="218" y="388"/>
                </a:lnTo>
                <a:lnTo>
                  <a:pt x="224" y="394"/>
                </a:lnTo>
                <a:lnTo>
                  <a:pt x="247" y="415"/>
                </a:lnTo>
                <a:lnTo>
                  <a:pt x="272" y="437"/>
                </a:lnTo>
                <a:lnTo>
                  <a:pt x="296" y="459"/>
                </a:lnTo>
                <a:lnTo>
                  <a:pt x="319" y="480"/>
                </a:lnTo>
                <a:lnTo>
                  <a:pt x="336" y="494"/>
                </a:lnTo>
                <a:lnTo>
                  <a:pt x="352" y="509"/>
                </a:lnTo>
                <a:lnTo>
                  <a:pt x="336" y="520"/>
                </a:lnTo>
                <a:lnTo>
                  <a:pt x="319" y="529"/>
                </a:lnTo>
                <a:lnTo>
                  <a:pt x="293" y="546"/>
                </a:lnTo>
                <a:lnTo>
                  <a:pt x="265" y="562"/>
                </a:lnTo>
                <a:lnTo>
                  <a:pt x="236" y="578"/>
                </a:lnTo>
                <a:lnTo>
                  <a:pt x="208" y="595"/>
                </a:lnTo>
                <a:lnTo>
                  <a:pt x="201" y="599"/>
                </a:lnTo>
                <a:lnTo>
                  <a:pt x="196" y="604"/>
                </a:lnTo>
                <a:lnTo>
                  <a:pt x="191" y="610"/>
                </a:lnTo>
                <a:lnTo>
                  <a:pt x="187" y="618"/>
                </a:lnTo>
                <a:lnTo>
                  <a:pt x="184" y="626"/>
                </a:lnTo>
                <a:lnTo>
                  <a:pt x="180" y="633"/>
                </a:lnTo>
                <a:lnTo>
                  <a:pt x="180" y="638"/>
                </a:lnTo>
                <a:lnTo>
                  <a:pt x="180" y="641"/>
                </a:lnTo>
                <a:lnTo>
                  <a:pt x="181" y="646"/>
                </a:lnTo>
                <a:lnTo>
                  <a:pt x="184" y="651"/>
                </a:lnTo>
                <a:lnTo>
                  <a:pt x="187" y="655"/>
                </a:lnTo>
                <a:lnTo>
                  <a:pt x="190" y="658"/>
                </a:lnTo>
                <a:lnTo>
                  <a:pt x="193" y="657"/>
                </a:lnTo>
                <a:lnTo>
                  <a:pt x="198" y="654"/>
                </a:lnTo>
                <a:lnTo>
                  <a:pt x="224" y="639"/>
                </a:lnTo>
                <a:lnTo>
                  <a:pt x="249" y="624"/>
                </a:lnTo>
                <a:lnTo>
                  <a:pt x="275" y="610"/>
                </a:lnTo>
                <a:lnTo>
                  <a:pt x="301" y="595"/>
                </a:lnTo>
                <a:lnTo>
                  <a:pt x="322" y="582"/>
                </a:lnTo>
                <a:lnTo>
                  <a:pt x="343" y="569"/>
                </a:lnTo>
                <a:lnTo>
                  <a:pt x="364" y="557"/>
                </a:lnTo>
                <a:lnTo>
                  <a:pt x="385" y="544"/>
                </a:lnTo>
                <a:lnTo>
                  <a:pt x="388" y="544"/>
                </a:lnTo>
                <a:lnTo>
                  <a:pt x="391" y="546"/>
                </a:lnTo>
                <a:lnTo>
                  <a:pt x="390" y="548"/>
                </a:lnTo>
                <a:lnTo>
                  <a:pt x="388" y="550"/>
                </a:lnTo>
                <a:lnTo>
                  <a:pt x="381" y="554"/>
                </a:lnTo>
                <a:lnTo>
                  <a:pt x="374" y="558"/>
                </a:lnTo>
                <a:lnTo>
                  <a:pt x="353" y="570"/>
                </a:lnTo>
                <a:lnTo>
                  <a:pt x="332" y="582"/>
                </a:lnTo>
                <a:lnTo>
                  <a:pt x="311" y="594"/>
                </a:lnTo>
                <a:lnTo>
                  <a:pt x="291" y="605"/>
                </a:lnTo>
                <a:lnTo>
                  <a:pt x="275" y="615"/>
                </a:lnTo>
                <a:lnTo>
                  <a:pt x="259" y="624"/>
                </a:lnTo>
                <a:lnTo>
                  <a:pt x="242" y="633"/>
                </a:lnTo>
                <a:lnTo>
                  <a:pt x="226" y="643"/>
                </a:lnTo>
                <a:lnTo>
                  <a:pt x="215" y="648"/>
                </a:lnTo>
                <a:lnTo>
                  <a:pt x="206" y="654"/>
                </a:lnTo>
                <a:lnTo>
                  <a:pt x="196" y="660"/>
                </a:lnTo>
                <a:lnTo>
                  <a:pt x="185" y="666"/>
                </a:lnTo>
                <a:lnTo>
                  <a:pt x="192" y="673"/>
                </a:lnTo>
                <a:lnTo>
                  <a:pt x="197" y="675"/>
                </a:lnTo>
                <a:lnTo>
                  <a:pt x="203" y="674"/>
                </a:lnTo>
                <a:lnTo>
                  <a:pt x="210" y="671"/>
                </a:lnTo>
                <a:lnTo>
                  <a:pt x="222" y="664"/>
                </a:lnTo>
                <a:lnTo>
                  <a:pt x="235" y="657"/>
                </a:lnTo>
                <a:lnTo>
                  <a:pt x="248" y="650"/>
                </a:lnTo>
                <a:lnTo>
                  <a:pt x="261" y="641"/>
                </a:lnTo>
                <a:lnTo>
                  <a:pt x="296" y="622"/>
                </a:lnTo>
                <a:lnTo>
                  <a:pt x="330" y="602"/>
                </a:lnTo>
                <a:lnTo>
                  <a:pt x="365" y="582"/>
                </a:lnTo>
                <a:lnTo>
                  <a:pt x="399" y="562"/>
                </a:lnTo>
                <a:lnTo>
                  <a:pt x="404" y="560"/>
                </a:lnTo>
                <a:lnTo>
                  <a:pt x="407" y="560"/>
                </a:lnTo>
                <a:lnTo>
                  <a:pt x="410" y="562"/>
                </a:lnTo>
                <a:lnTo>
                  <a:pt x="412" y="565"/>
                </a:lnTo>
                <a:lnTo>
                  <a:pt x="402" y="571"/>
                </a:lnTo>
                <a:lnTo>
                  <a:pt x="392" y="577"/>
                </a:lnTo>
                <a:lnTo>
                  <a:pt x="381" y="583"/>
                </a:lnTo>
                <a:lnTo>
                  <a:pt x="371" y="589"/>
                </a:lnTo>
                <a:lnTo>
                  <a:pt x="328" y="615"/>
                </a:lnTo>
                <a:lnTo>
                  <a:pt x="284" y="640"/>
                </a:lnTo>
                <a:lnTo>
                  <a:pt x="240" y="666"/>
                </a:lnTo>
                <a:lnTo>
                  <a:pt x="197" y="692"/>
                </a:lnTo>
                <a:lnTo>
                  <a:pt x="190" y="696"/>
                </a:lnTo>
                <a:lnTo>
                  <a:pt x="184" y="700"/>
                </a:lnTo>
                <a:lnTo>
                  <a:pt x="179" y="706"/>
                </a:lnTo>
                <a:lnTo>
                  <a:pt x="176" y="714"/>
                </a:lnTo>
                <a:lnTo>
                  <a:pt x="173" y="722"/>
                </a:lnTo>
                <a:lnTo>
                  <a:pt x="169" y="730"/>
                </a:lnTo>
                <a:lnTo>
                  <a:pt x="167" y="734"/>
                </a:lnTo>
                <a:lnTo>
                  <a:pt x="166" y="737"/>
                </a:lnTo>
                <a:lnTo>
                  <a:pt x="167" y="741"/>
                </a:lnTo>
                <a:lnTo>
                  <a:pt x="170" y="743"/>
                </a:lnTo>
                <a:close/>
                <a:moveTo>
                  <a:pt x="1215" y="1211"/>
                </a:moveTo>
                <a:lnTo>
                  <a:pt x="1202" y="1215"/>
                </a:lnTo>
                <a:lnTo>
                  <a:pt x="1191" y="1219"/>
                </a:lnTo>
                <a:lnTo>
                  <a:pt x="1179" y="1222"/>
                </a:lnTo>
                <a:lnTo>
                  <a:pt x="1166" y="1226"/>
                </a:lnTo>
                <a:lnTo>
                  <a:pt x="1173" y="1221"/>
                </a:lnTo>
                <a:lnTo>
                  <a:pt x="1186" y="1217"/>
                </a:lnTo>
                <a:lnTo>
                  <a:pt x="1202" y="1211"/>
                </a:lnTo>
                <a:lnTo>
                  <a:pt x="1219" y="1207"/>
                </a:lnTo>
                <a:lnTo>
                  <a:pt x="1215" y="1211"/>
                </a:lnTo>
                <a:close/>
                <a:moveTo>
                  <a:pt x="749" y="1346"/>
                </a:moveTo>
                <a:lnTo>
                  <a:pt x="749" y="1345"/>
                </a:lnTo>
                <a:lnTo>
                  <a:pt x="747" y="1343"/>
                </a:lnTo>
                <a:lnTo>
                  <a:pt x="799" y="1329"/>
                </a:lnTo>
                <a:lnTo>
                  <a:pt x="850" y="1314"/>
                </a:lnTo>
                <a:lnTo>
                  <a:pt x="902" y="1298"/>
                </a:lnTo>
                <a:lnTo>
                  <a:pt x="952" y="1284"/>
                </a:lnTo>
                <a:lnTo>
                  <a:pt x="1004" y="1269"/>
                </a:lnTo>
                <a:lnTo>
                  <a:pt x="1055" y="1254"/>
                </a:lnTo>
                <a:lnTo>
                  <a:pt x="1106" y="1239"/>
                </a:lnTo>
                <a:lnTo>
                  <a:pt x="1157" y="1225"/>
                </a:lnTo>
                <a:lnTo>
                  <a:pt x="1158" y="1226"/>
                </a:lnTo>
                <a:lnTo>
                  <a:pt x="1158" y="1228"/>
                </a:lnTo>
                <a:lnTo>
                  <a:pt x="1108" y="1243"/>
                </a:lnTo>
                <a:lnTo>
                  <a:pt x="1056" y="1259"/>
                </a:lnTo>
                <a:lnTo>
                  <a:pt x="1005" y="1274"/>
                </a:lnTo>
                <a:lnTo>
                  <a:pt x="954" y="1289"/>
                </a:lnTo>
                <a:lnTo>
                  <a:pt x="903" y="1303"/>
                </a:lnTo>
                <a:lnTo>
                  <a:pt x="852" y="1318"/>
                </a:lnTo>
                <a:lnTo>
                  <a:pt x="800" y="1332"/>
                </a:lnTo>
                <a:lnTo>
                  <a:pt x="749" y="1346"/>
                </a:lnTo>
                <a:close/>
                <a:moveTo>
                  <a:pt x="728" y="1256"/>
                </a:moveTo>
                <a:lnTo>
                  <a:pt x="723" y="1257"/>
                </a:lnTo>
                <a:lnTo>
                  <a:pt x="718" y="1257"/>
                </a:lnTo>
                <a:lnTo>
                  <a:pt x="718" y="1256"/>
                </a:lnTo>
                <a:lnTo>
                  <a:pt x="718" y="1255"/>
                </a:lnTo>
                <a:lnTo>
                  <a:pt x="721" y="1254"/>
                </a:lnTo>
                <a:lnTo>
                  <a:pt x="723" y="1254"/>
                </a:lnTo>
                <a:lnTo>
                  <a:pt x="729" y="1253"/>
                </a:lnTo>
                <a:lnTo>
                  <a:pt x="736" y="1252"/>
                </a:lnTo>
                <a:lnTo>
                  <a:pt x="740" y="1249"/>
                </a:lnTo>
                <a:lnTo>
                  <a:pt x="745" y="1245"/>
                </a:lnTo>
                <a:lnTo>
                  <a:pt x="746" y="1243"/>
                </a:lnTo>
                <a:lnTo>
                  <a:pt x="747" y="1243"/>
                </a:lnTo>
                <a:lnTo>
                  <a:pt x="759" y="1240"/>
                </a:lnTo>
                <a:lnTo>
                  <a:pt x="771" y="1236"/>
                </a:lnTo>
                <a:lnTo>
                  <a:pt x="783" y="1233"/>
                </a:lnTo>
                <a:lnTo>
                  <a:pt x="794" y="1231"/>
                </a:lnTo>
                <a:lnTo>
                  <a:pt x="799" y="1229"/>
                </a:lnTo>
                <a:lnTo>
                  <a:pt x="804" y="1229"/>
                </a:lnTo>
                <a:lnTo>
                  <a:pt x="787" y="1236"/>
                </a:lnTo>
                <a:lnTo>
                  <a:pt x="772" y="1243"/>
                </a:lnTo>
                <a:lnTo>
                  <a:pt x="760" y="1247"/>
                </a:lnTo>
                <a:lnTo>
                  <a:pt x="750" y="1250"/>
                </a:lnTo>
                <a:lnTo>
                  <a:pt x="738" y="1254"/>
                </a:lnTo>
                <a:lnTo>
                  <a:pt x="728" y="1256"/>
                </a:lnTo>
                <a:close/>
                <a:moveTo>
                  <a:pt x="836" y="1255"/>
                </a:moveTo>
                <a:lnTo>
                  <a:pt x="836" y="1255"/>
                </a:lnTo>
                <a:lnTo>
                  <a:pt x="838" y="1255"/>
                </a:lnTo>
                <a:lnTo>
                  <a:pt x="838" y="1270"/>
                </a:lnTo>
                <a:lnTo>
                  <a:pt x="838" y="1287"/>
                </a:lnTo>
                <a:lnTo>
                  <a:pt x="836" y="1287"/>
                </a:lnTo>
                <a:lnTo>
                  <a:pt x="836" y="1287"/>
                </a:lnTo>
                <a:lnTo>
                  <a:pt x="836" y="1270"/>
                </a:lnTo>
                <a:lnTo>
                  <a:pt x="836" y="1255"/>
                </a:lnTo>
                <a:close/>
                <a:moveTo>
                  <a:pt x="877" y="1271"/>
                </a:moveTo>
                <a:lnTo>
                  <a:pt x="876" y="1271"/>
                </a:lnTo>
                <a:lnTo>
                  <a:pt x="876" y="1273"/>
                </a:lnTo>
                <a:lnTo>
                  <a:pt x="869" y="1261"/>
                </a:lnTo>
                <a:lnTo>
                  <a:pt x="862" y="1249"/>
                </a:lnTo>
                <a:lnTo>
                  <a:pt x="868" y="1253"/>
                </a:lnTo>
                <a:lnTo>
                  <a:pt x="871" y="1259"/>
                </a:lnTo>
                <a:lnTo>
                  <a:pt x="875" y="1266"/>
                </a:lnTo>
                <a:lnTo>
                  <a:pt x="877" y="1271"/>
                </a:lnTo>
                <a:close/>
                <a:moveTo>
                  <a:pt x="889" y="1239"/>
                </a:moveTo>
                <a:lnTo>
                  <a:pt x="889" y="1254"/>
                </a:lnTo>
                <a:lnTo>
                  <a:pt x="889" y="1269"/>
                </a:lnTo>
                <a:lnTo>
                  <a:pt x="889" y="1269"/>
                </a:lnTo>
                <a:lnTo>
                  <a:pt x="889" y="1269"/>
                </a:lnTo>
                <a:lnTo>
                  <a:pt x="888" y="1254"/>
                </a:lnTo>
                <a:lnTo>
                  <a:pt x="885" y="1240"/>
                </a:lnTo>
                <a:lnTo>
                  <a:pt x="888" y="1240"/>
                </a:lnTo>
                <a:lnTo>
                  <a:pt x="889" y="1239"/>
                </a:lnTo>
                <a:close/>
                <a:moveTo>
                  <a:pt x="944" y="1225"/>
                </a:moveTo>
                <a:lnTo>
                  <a:pt x="950" y="1238"/>
                </a:lnTo>
                <a:lnTo>
                  <a:pt x="954" y="1250"/>
                </a:lnTo>
                <a:lnTo>
                  <a:pt x="953" y="1250"/>
                </a:lnTo>
                <a:lnTo>
                  <a:pt x="952" y="1250"/>
                </a:lnTo>
                <a:lnTo>
                  <a:pt x="947" y="1239"/>
                </a:lnTo>
                <a:lnTo>
                  <a:pt x="942" y="1226"/>
                </a:lnTo>
                <a:lnTo>
                  <a:pt x="943" y="1226"/>
                </a:lnTo>
                <a:lnTo>
                  <a:pt x="944" y="1225"/>
                </a:lnTo>
                <a:close/>
                <a:moveTo>
                  <a:pt x="968" y="1213"/>
                </a:moveTo>
                <a:lnTo>
                  <a:pt x="975" y="1218"/>
                </a:lnTo>
                <a:lnTo>
                  <a:pt x="983" y="1225"/>
                </a:lnTo>
                <a:lnTo>
                  <a:pt x="987" y="1232"/>
                </a:lnTo>
                <a:lnTo>
                  <a:pt x="990" y="1236"/>
                </a:lnTo>
                <a:lnTo>
                  <a:pt x="978" y="1226"/>
                </a:lnTo>
                <a:lnTo>
                  <a:pt x="967" y="1214"/>
                </a:lnTo>
                <a:lnTo>
                  <a:pt x="968" y="1214"/>
                </a:lnTo>
                <a:lnTo>
                  <a:pt x="968" y="1213"/>
                </a:lnTo>
                <a:close/>
                <a:moveTo>
                  <a:pt x="1007" y="1203"/>
                </a:moveTo>
                <a:lnTo>
                  <a:pt x="1007" y="1203"/>
                </a:lnTo>
                <a:lnTo>
                  <a:pt x="1007" y="1203"/>
                </a:lnTo>
                <a:lnTo>
                  <a:pt x="1008" y="1208"/>
                </a:lnTo>
                <a:lnTo>
                  <a:pt x="1008" y="1215"/>
                </a:lnTo>
                <a:lnTo>
                  <a:pt x="1009" y="1214"/>
                </a:lnTo>
                <a:lnTo>
                  <a:pt x="1011" y="1213"/>
                </a:lnTo>
                <a:lnTo>
                  <a:pt x="1020" y="1221"/>
                </a:lnTo>
                <a:lnTo>
                  <a:pt x="1029" y="1228"/>
                </a:lnTo>
                <a:lnTo>
                  <a:pt x="1028" y="1229"/>
                </a:lnTo>
                <a:lnTo>
                  <a:pt x="1028" y="1231"/>
                </a:lnTo>
                <a:lnTo>
                  <a:pt x="1019" y="1225"/>
                </a:lnTo>
                <a:lnTo>
                  <a:pt x="1009" y="1217"/>
                </a:lnTo>
                <a:lnTo>
                  <a:pt x="1008" y="1227"/>
                </a:lnTo>
                <a:lnTo>
                  <a:pt x="1008" y="1234"/>
                </a:lnTo>
                <a:lnTo>
                  <a:pt x="1007" y="1234"/>
                </a:lnTo>
                <a:lnTo>
                  <a:pt x="1007" y="1234"/>
                </a:lnTo>
                <a:lnTo>
                  <a:pt x="1007" y="1219"/>
                </a:lnTo>
                <a:lnTo>
                  <a:pt x="1007" y="1203"/>
                </a:lnTo>
                <a:close/>
                <a:moveTo>
                  <a:pt x="1044" y="1190"/>
                </a:moveTo>
                <a:lnTo>
                  <a:pt x="1051" y="1203"/>
                </a:lnTo>
                <a:lnTo>
                  <a:pt x="1059" y="1215"/>
                </a:lnTo>
                <a:lnTo>
                  <a:pt x="1059" y="1217"/>
                </a:lnTo>
                <a:lnTo>
                  <a:pt x="1057" y="1217"/>
                </a:lnTo>
                <a:lnTo>
                  <a:pt x="1050" y="1207"/>
                </a:lnTo>
                <a:lnTo>
                  <a:pt x="1043" y="1198"/>
                </a:lnTo>
                <a:lnTo>
                  <a:pt x="1042" y="1194"/>
                </a:lnTo>
                <a:lnTo>
                  <a:pt x="1042" y="1191"/>
                </a:lnTo>
                <a:lnTo>
                  <a:pt x="1043" y="1190"/>
                </a:lnTo>
                <a:lnTo>
                  <a:pt x="1044" y="1190"/>
                </a:lnTo>
                <a:close/>
                <a:moveTo>
                  <a:pt x="1070" y="1184"/>
                </a:moveTo>
                <a:lnTo>
                  <a:pt x="1071" y="1200"/>
                </a:lnTo>
                <a:lnTo>
                  <a:pt x="1074" y="1215"/>
                </a:lnTo>
                <a:lnTo>
                  <a:pt x="1073" y="1215"/>
                </a:lnTo>
                <a:lnTo>
                  <a:pt x="1071" y="1215"/>
                </a:lnTo>
                <a:lnTo>
                  <a:pt x="1070" y="1200"/>
                </a:lnTo>
                <a:lnTo>
                  <a:pt x="1068" y="1184"/>
                </a:lnTo>
                <a:lnTo>
                  <a:pt x="1069" y="1184"/>
                </a:lnTo>
                <a:lnTo>
                  <a:pt x="1070" y="1184"/>
                </a:lnTo>
                <a:close/>
                <a:moveTo>
                  <a:pt x="1090" y="1178"/>
                </a:moveTo>
                <a:lnTo>
                  <a:pt x="1090" y="1178"/>
                </a:lnTo>
                <a:lnTo>
                  <a:pt x="1091" y="1178"/>
                </a:lnTo>
                <a:lnTo>
                  <a:pt x="1091" y="1194"/>
                </a:lnTo>
                <a:lnTo>
                  <a:pt x="1091" y="1211"/>
                </a:lnTo>
                <a:lnTo>
                  <a:pt x="1090" y="1211"/>
                </a:lnTo>
                <a:lnTo>
                  <a:pt x="1090" y="1211"/>
                </a:lnTo>
                <a:lnTo>
                  <a:pt x="1090" y="1194"/>
                </a:lnTo>
                <a:lnTo>
                  <a:pt x="1090" y="1178"/>
                </a:lnTo>
                <a:close/>
                <a:moveTo>
                  <a:pt x="1120" y="1168"/>
                </a:moveTo>
                <a:lnTo>
                  <a:pt x="1128" y="1173"/>
                </a:lnTo>
                <a:lnTo>
                  <a:pt x="1133" y="1179"/>
                </a:lnTo>
                <a:lnTo>
                  <a:pt x="1137" y="1183"/>
                </a:lnTo>
                <a:lnTo>
                  <a:pt x="1140" y="1185"/>
                </a:lnTo>
                <a:lnTo>
                  <a:pt x="1143" y="1186"/>
                </a:lnTo>
                <a:lnTo>
                  <a:pt x="1144" y="1187"/>
                </a:lnTo>
                <a:lnTo>
                  <a:pt x="1144" y="1190"/>
                </a:lnTo>
                <a:lnTo>
                  <a:pt x="1144" y="1193"/>
                </a:lnTo>
                <a:lnTo>
                  <a:pt x="1131" y="1182"/>
                </a:lnTo>
                <a:lnTo>
                  <a:pt x="1119" y="1170"/>
                </a:lnTo>
                <a:lnTo>
                  <a:pt x="1119" y="1169"/>
                </a:lnTo>
                <a:lnTo>
                  <a:pt x="1120" y="1168"/>
                </a:lnTo>
                <a:close/>
                <a:moveTo>
                  <a:pt x="666" y="1350"/>
                </a:moveTo>
                <a:lnTo>
                  <a:pt x="660" y="1350"/>
                </a:lnTo>
                <a:lnTo>
                  <a:pt x="653" y="1350"/>
                </a:lnTo>
                <a:lnTo>
                  <a:pt x="654" y="1347"/>
                </a:lnTo>
                <a:lnTo>
                  <a:pt x="654" y="1346"/>
                </a:lnTo>
                <a:lnTo>
                  <a:pt x="660" y="1346"/>
                </a:lnTo>
                <a:lnTo>
                  <a:pt x="667" y="1347"/>
                </a:lnTo>
                <a:lnTo>
                  <a:pt x="666" y="1349"/>
                </a:lnTo>
                <a:lnTo>
                  <a:pt x="666" y="1350"/>
                </a:lnTo>
                <a:close/>
                <a:moveTo>
                  <a:pt x="618" y="1359"/>
                </a:moveTo>
                <a:lnTo>
                  <a:pt x="618" y="1358"/>
                </a:lnTo>
                <a:lnTo>
                  <a:pt x="618" y="1357"/>
                </a:lnTo>
                <a:lnTo>
                  <a:pt x="628" y="1352"/>
                </a:lnTo>
                <a:lnTo>
                  <a:pt x="636" y="1350"/>
                </a:lnTo>
                <a:lnTo>
                  <a:pt x="643" y="1350"/>
                </a:lnTo>
                <a:lnTo>
                  <a:pt x="650" y="1351"/>
                </a:lnTo>
                <a:lnTo>
                  <a:pt x="634" y="1356"/>
                </a:lnTo>
                <a:lnTo>
                  <a:pt x="618" y="1359"/>
                </a:lnTo>
                <a:close/>
                <a:moveTo>
                  <a:pt x="538" y="1391"/>
                </a:moveTo>
                <a:lnTo>
                  <a:pt x="537" y="1391"/>
                </a:lnTo>
                <a:lnTo>
                  <a:pt x="536" y="1391"/>
                </a:lnTo>
                <a:lnTo>
                  <a:pt x="537" y="1375"/>
                </a:lnTo>
                <a:lnTo>
                  <a:pt x="538" y="1359"/>
                </a:lnTo>
                <a:lnTo>
                  <a:pt x="539" y="1359"/>
                </a:lnTo>
                <a:lnTo>
                  <a:pt x="540" y="1359"/>
                </a:lnTo>
                <a:lnTo>
                  <a:pt x="539" y="1375"/>
                </a:lnTo>
                <a:lnTo>
                  <a:pt x="538" y="1391"/>
                </a:lnTo>
                <a:close/>
                <a:moveTo>
                  <a:pt x="517" y="1381"/>
                </a:moveTo>
                <a:lnTo>
                  <a:pt x="516" y="1381"/>
                </a:lnTo>
                <a:lnTo>
                  <a:pt x="515" y="1381"/>
                </a:lnTo>
                <a:lnTo>
                  <a:pt x="516" y="1364"/>
                </a:lnTo>
                <a:lnTo>
                  <a:pt x="517" y="1346"/>
                </a:lnTo>
                <a:lnTo>
                  <a:pt x="517" y="1346"/>
                </a:lnTo>
                <a:lnTo>
                  <a:pt x="517" y="1347"/>
                </a:lnTo>
                <a:lnTo>
                  <a:pt x="517" y="1364"/>
                </a:lnTo>
                <a:lnTo>
                  <a:pt x="517" y="1381"/>
                </a:lnTo>
                <a:close/>
                <a:moveTo>
                  <a:pt x="498" y="1372"/>
                </a:moveTo>
                <a:lnTo>
                  <a:pt x="497" y="1372"/>
                </a:lnTo>
                <a:lnTo>
                  <a:pt x="497" y="1372"/>
                </a:lnTo>
                <a:lnTo>
                  <a:pt x="497" y="1363"/>
                </a:lnTo>
                <a:lnTo>
                  <a:pt x="497" y="1354"/>
                </a:lnTo>
                <a:lnTo>
                  <a:pt x="497" y="1345"/>
                </a:lnTo>
                <a:lnTo>
                  <a:pt x="497" y="1336"/>
                </a:lnTo>
                <a:lnTo>
                  <a:pt x="501" y="1338"/>
                </a:lnTo>
                <a:lnTo>
                  <a:pt x="502" y="1340"/>
                </a:lnTo>
                <a:lnTo>
                  <a:pt x="500" y="1356"/>
                </a:lnTo>
                <a:lnTo>
                  <a:pt x="498" y="1372"/>
                </a:lnTo>
                <a:close/>
                <a:moveTo>
                  <a:pt x="482" y="1365"/>
                </a:moveTo>
                <a:lnTo>
                  <a:pt x="483" y="1361"/>
                </a:lnTo>
                <a:lnTo>
                  <a:pt x="483" y="1358"/>
                </a:lnTo>
                <a:lnTo>
                  <a:pt x="483" y="1356"/>
                </a:lnTo>
                <a:lnTo>
                  <a:pt x="482" y="1353"/>
                </a:lnTo>
                <a:lnTo>
                  <a:pt x="479" y="1347"/>
                </a:lnTo>
                <a:lnTo>
                  <a:pt x="475" y="1343"/>
                </a:lnTo>
                <a:lnTo>
                  <a:pt x="473" y="1338"/>
                </a:lnTo>
                <a:lnTo>
                  <a:pt x="473" y="1335"/>
                </a:lnTo>
                <a:lnTo>
                  <a:pt x="473" y="1332"/>
                </a:lnTo>
                <a:lnTo>
                  <a:pt x="474" y="1329"/>
                </a:lnTo>
                <a:lnTo>
                  <a:pt x="476" y="1337"/>
                </a:lnTo>
                <a:lnTo>
                  <a:pt x="481" y="1345"/>
                </a:lnTo>
                <a:lnTo>
                  <a:pt x="483" y="1350"/>
                </a:lnTo>
                <a:lnTo>
                  <a:pt x="484" y="1354"/>
                </a:lnTo>
                <a:lnTo>
                  <a:pt x="484" y="1360"/>
                </a:lnTo>
                <a:lnTo>
                  <a:pt x="482" y="1365"/>
                </a:lnTo>
                <a:close/>
                <a:moveTo>
                  <a:pt x="463" y="1354"/>
                </a:moveTo>
                <a:lnTo>
                  <a:pt x="457" y="1340"/>
                </a:lnTo>
                <a:lnTo>
                  <a:pt x="452" y="1328"/>
                </a:lnTo>
                <a:lnTo>
                  <a:pt x="453" y="1328"/>
                </a:lnTo>
                <a:lnTo>
                  <a:pt x="455" y="1326"/>
                </a:lnTo>
                <a:lnTo>
                  <a:pt x="460" y="1339"/>
                </a:lnTo>
                <a:lnTo>
                  <a:pt x="466" y="1353"/>
                </a:lnTo>
                <a:lnTo>
                  <a:pt x="464" y="1353"/>
                </a:lnTo>
                <a:lnTo>
                  <a:pt x="463" y="1354"/>
                </a:lnTo>
                <a:close/>
                <a:moveTo>
                  <a:pt x="433" y="1343"/>
                </a:moveTo>
                <a:lnTo>
                  <a:pt x="432" y="1333"/>
                </a:lnTo>
                <a:lnTo>
                  <a:pt x="433" y="1324"/>
                </a:lnTo>
                <a:lnTo>
                  <a:pt x="433" y="1315"/>
                </a:lnTo>
                <a:lnTo>
                  <a:pt x="434" y="1305"/>
                </a:lnTo>
                <a:lnTo>
                  <a:pt x="435" y="1315"/>
                </a:lnTo>
                <a:lnTo>
                  <a:pt x="435" y="1324"/>
                </a:lnTo>
                <a:lnTo>
                  <a:pt x="434" y="1333"/>
                </a:lnTo>
                <a:lnTo>
                  <a:pt x="433" y="1343"/>
                </a:lnTo>
                <a:close/>
                <a:moveTo>
                  <a:pt x="420" y="1336"/>
                </a:moveTo>
                <a:lnTo>
                  <a:pt x="420" y="1336"/>
                </a:lnTo>
                <a:lnTo>
                  <a:pt x="419" y="1336"/>
                </a:lnTo>
                <a:lnTo>
                  <a:pt x="418" y="1335"/>
                </a:lnTo>
                <a:lnTo>
                  <a:pt x="417" y="1332"/>
                </a:lnTo>
                <a:lnTo>
                  <a:pt x="418" y="1326"/>
                </a:lnTo>
                <a:lnTo>
                  <a:pt x="418" y="1319"/>
                </a:lnTo>
                <a:lnTo>
                  <a:pt x="419" y="1316"/>
                </a:lnTo>
                <a:lnTo>
                  <a:pt x="418" y="1314"/>
                </a:lnTo>
                <a:lnTo>
                  <a:pt x="417" y="1310"/>
                </a:lnTo>
                <a:lnTo>
                  <a:pt x="415" y="1307"/>
                </a:lnTo>
                <a:lnTo>
                  <a:pt x="415" y="1303"/>
                </a:lnTo>
                <a:lnTo>
                  <a:pt x="419" y="1297"/>
                </a:lnTo>
                <a:lnTo>
                  <a:pt x="421" y="1298"/>
                </a:lnTo>
                <a:lnTo>
                  <a:pt x="422" y="1301"/>
                </a:lnTo>
                <a:lnTo>
                  <a:pt x="422" y="1309"/>
                </a:lnTo>
                <a:lnTo>
                  <a:pt x="421" y="1318"/>
                </a:lnTo>
                <a:lnTo>
                  <a:pt x="421" y="1326"/>
                </a:lnTo>
                <a:lnTo>
                  <a:pt x="420" y="1336"/>
                </a:lnTo>
                <a:close/>
                <a:moveTo>
                  <a:pt x="407" y="1328"/>
                </a:moveTo>
                <a:lnTo>
                  <a:pt x="404" y="1317"/>
                </a:lnTo>
                <a:lnTo>
                  <a:pt x="401" y="1308"/>
                </a:lnTo>
                <a:lnTo>
                  <a:pt x="398" y="1298"/>
                </a:lnTo>
                <a:lnTo>
                  <a:pt x="395" y="1288"/>
                </a:lnTo>
                <a:lnTo>
                  <a:pt x="397" y="1288"/>
                </a:lnTo>
                <a:lnTo>
                  <a:pt x="398" y="1288"/>
                </a:lnTo>
                <a:lnTo>
                  <a:pt x="401" y="1291"/>
                </a:lnTo>
                <a:lnTo>
                  <a:pt x="402" y="1296"/>
                </a:lnTo>
                <a:lnTo>
                  <a:pt x="404" y="1302"/>
                </a:lnTo>
                <a:lnTo>
                  <a:pt x="405" y="1307"/>
                </a:lnTo>
                <a:lnTo>
                  <a:pt x="407" y="1317"/>
                </a:lnTo>
                <a:lnTo>
                  <a:pt x="411" y="1326"/>
                </a:lnTo>
                <a:lnTo>
                  <a:pt x="408" y="1326"/>
                </a:lnTo>
                <a:lnTo>
                  <a:pt x="407" y="1328"/>
                </a:lnTo>
                <a:close/>
                <a:moveTo>
                  <a:pt x="378" y="1316"/>
                </a:moveTo>
                <a:lnTo>
                  <a:pt x="376" y="1307"/>
                </a:lnTo>
                <a:lnTo>
                  <a:pt x="376" y="1297"/>
                </a:lnTo>
                <a:lnTo>
                  <a:pt x="377" y="1287"/>
                </a:lnTo>
                <a:lnTo>
                  <a:pt x="376" y="1277"/>
                </a:lnTo>
                <a:lnTo>
                  <a:pt x="380" y="1278"/>
                </a:lnTo>
                <a:lnTo>
                  <a:pt x="383" y="1280"/>
                </a:lnTo>
                <a:lnTo>
                  <a:pt x="380" y="1289"/>
                </a:lnTo>
                <a:lnTo>
                  <a:pt x="380" y="1298"/>
                </a:lnTo>
                <a:lnTo>
                  <a:pt x="379" y="1308"/>
                </a:lnTo>
                <a:lnTo>
                  <a:pt x="378" y="1316"/>
                </a:lnTo>
                <a:close/>
                <a:moveTo>
                  <a:pt x="356" y="1307"/>
                </a:moveTo>
                <a:lnTo>
                  <a:pt x="359" y="1303"/>
                </a:lnTo>
                <a:lnTo>
                  <a:pt x="360" y="1301"/>
                </a:lnTo>
                <a:lnTo>
                  <a:pt x="360" y="1296"/>
                </a:lnTo>
                <a:lnTo>
                  <a:pt x="358" y="1293"/>
                </a:lnTo>
                <a:lnTo>
                  <a:pt x="353" y="1284"/>
                </a:lnTo>
                <a:lnTo>
                  <a:pt x="350" y="1276"/>
                </a:lnTo>
                <a:lnTo>
                  <a:pt x="350" y="1271"/>
                </a:lnTo>
                <a:lnTo>
                  <a:pt x="352" y="1264"/>
                </a:lnTo>
                <a:lnTo>
                  <a:pt x="353" y="1274"/>
                </a:lnTo>
                <a:lnTo>
                  <a:pt x="356" y="1281"/>
                </a:lnTo>
                <a:lnTo>
                  <a:pt x="359" y="1288"/>
                </a:lnTo>
                <a:lnTo>
                  <a:pt x="363" y="1296"/>
                </a:lnTo>
                <a:lnTo>
                  <a:pt x="364" y="1301"/>
                </a:lnTo>
                <a:lnTo>
                  <a:pt x="363" y="1304"/>
                </a:lnTo>
                <a:lnTo>
                  <a:pt x="360" y="1307"/>
                </a:lnTo>
                <a:lnTo>
                  <a:pt x="356" y="1307"/>
                </a:lnTo>
                <a:close/>
                <a:moveTo>
                  <a:pt x="331" y="1275"/>
                </a:moveTo>
                <a:lnTo>
                  <a:pt x="330" y="1285"/>
                </a:lnTo>
                <a:lnTo>
                  <a:pt x="330" y="1295"/>
                </a:lnTo>
                <a:lnTo>
                  <a:pt x="328" y="1291"/>
                </a:lnTo>
                <a:lnTo>
                  <a:pt x="326" y="1289"/>
                </a:lnTo>
                <a:lnTo>
                  <a:pt x="326" y="1281"/>
                </a:lnTo>
                <a:lnTo>
                  <a:pt x="326" y="1271"/>
                </a:lnTo>
                <a:lnTo>
                  <a:pt x="326" y="1262"/>
                </a:lnTo>
                <a:lnTo>
                  <a:pt x="326" y="1253"/>
                </a:lnTo>
                <a:lnTo>
                  <a:pt x="331" y="1255"/>
                </a:lnTo>
                <a:lnTo>
                  <a:pt x="332" y="1256"/>
                </a:lnTo>
                <a:lnTo>
                  <a:pt x="331" y="1263"/>
                </a:lnTo>
                <a:lnTo>
                  <a:pt x="332" y="1269"/>
                </a:lnTo>
                <a:lnTo>
                  <a:pt x="336" y="1275"/>
                </a:lnTo>
                <a:lnTo>
                  <a:pt x="343" y="1280"/>
                </a:lnTo>
                <a:lnTo>
                  <a:pt x="337" y="1277"/>
                </a:lnTo>
                <a:lnTo>
                  <a:pt x="331" y="1275"/>
                </a:lnTo>
                <a:close/>
                <a:moveTo>
                  <a:pt x="309" y="1280"/>
                </a:moveTo>
                <a:lnTo>
                  <a:pt x="308" y="1280"/>
                </a:lnTo>
                <a:lnTo>
                  <a:pt x="307" y="1280"/>
                </a:lnTo>
                <a:lnTo>
                  <a:pt x="304" y="1269"/>
                </a:lnTo>
                <a:lnTo>
                  <a:pt x="301" y="1257"/>
                </a:lnTo>
                <a:lnTo>
                  <a:pt x="297" y="1267"/>
                </a:lnTo>
                <a:lnTo>
                  <a:pt x="295" y="1274"/>
                </a:lnTo>
                <a:lnTo>
                  <a:pt x="294" y="1274"/>
                </a:lnTo>
                <a:lnTo>
                  <a:pt x="293" y="1274"/>
                </a:lnTo>
                <a:lnTo>
                  <a:pt x="291" y="1263"/>
                </a:lnTo>
                <a:lnTo>
                  <a:pt x="289" y="1254"/>
                </a:lnTo>
                <a:lnTo>
                  <a:pt x="288" y="1243"/>
                </a:lnTo>
                <a:lnTo>
                  <a:pt x="286" y="1233"/>
                </a:lnTo>
                <a:lnTo>
                  <a:pt x="289" y="1234"/>
                </a:lnTo>
                <a:lnTo>
                  <a:pt x="290" y="1235"/>
                </a:lnTo>
                <a:lnTo>
                  <a:pt x="291" y="1238"/>
                </a:lnTo>
                <a:lnTo>
                  <a:pt x="293" y="1239"/>
                </a:lnTo>
                <a:lnTo>
                  <a:pt x="293" y="1243"/>
                </a:lnTo>
                <a:lnTo>
                  <a:pt x="293" y="1247"/>
                </a:lnTo>
                <a:lnTo>
                  <a:pt x="294" y="1254"/>
                </a:lnTo>
                <a:lnTo>
                  <a:pt x="295" y="1262"/>
                </a:lnTo>
                <a:lnTo>
                  <a:pt x="296" y="1262"/>
                </a:lnTo>
                <a:lnTo>
                  <a:pt x="298" y="1262"/>
                </a:lnTo>
                <a:lnTo>
                  <a:pt x="300" y="1252"/>
                </a:lnTo>
                <a:lnTo>
                  <a:pt x="301" y="1241"/>
                </a:lnTo>
                <a:lnTo>
                  <a:pt x="302" y="1241"/>
                </a:lnTo>
                <a:lnTo>
                  <a:pt x="303" y="1241"/>
                </a:lnTo>
                <a:lnTo>
                  <a:pt x="304" y="1250"/>
                </a:lnTo>
                <a:lnTo>
                  <a:pt x="307" y="1261"/>
                </a:lnTo>
                <a:lnTo>
                  <a:pt x="307" y="1263"/>
                </a:lnTo>
                <a:lnTo>
                  <a:pt x="307" y="1266"/>
                </a:lnTo>
                <a:lnTo>
                  <a:pt x="307" y="1267"/>
                </a:lnTo>
                <a:lnTo>
                  <a:pt x="308" y="1268"/>
                </a:lnTo>
                <a:lnTo>
                  <a:pt x="309" y="1268"/>
                </a:lnTo>
                <a:lnTo>
                  <a:pt x="311" y="1268"/>
                </a:lnTo>
                <a:lnTo>
                  <a:pt x="310" y="1274"/>
                </a:lnTo>
                <a:lnTo>
                  <a:pt x="309" y="1280"/>
                </a:lnTo>
                <a:close/>
                <a:moveTo>
                  <a:pt x="95" y="1192"/>
                </a:moveTo>
                <a:lnTo>
                  <a:pt x="89" y="1178"/>
                </a:lnTo>
                <a:lnTo>
                  <a:pt x="84" y="1165"/>
                </a:lnTo>
                <a:lnTo>
                  <a:pt x="83" y="1164"/>
                </a:lnTo>
                <a:lnTo>
                  <a:pt x="81" y="1164"/>
                </a:lnTo>
                <a:lnTo>
                  <a:pt x="76" y="1172"/>
                </a:lnTo>
                <a:lnTo>
                  <a:pt x="72" y="1182"/>
                </a:lnTo>
                <a:lnTo>
                  <a:pt x="68" y="1178"/>
                </a:lnTo>
                <a:lnTo>
                  <a:pt x="67" y="1176"/>
                </a:lnTo>
                <a:lnTo>
                  <a:pt x="74" y="1163"/>
                </a:lnTo>
                <a:lnTo>
                  <a:pt x="81" y="1149"/>
                </a:lnTo>
                <a:lnTo>
                  <a:pt x="74" y="1149"/>
                </a:lnTo>
                <a:lnTo>
                  <a:pt x="68" y="1150"/>
                </a:lnTo>
                <a:lnTo>
                  <a:pt x="69" y="1147"/>
                </a:lnTo>
                <a:lnTo>
                  <a:pt x="70" y="1144"/>
                </a:lnTo>
                <a:lnTo>
                  <a:pt x="75" y="1142"/>
                </a:lnTo>
                <a:lnTo>
                  <a:pt x="79" y="1138"/>
                </a:lnTo>
                <a:lnTo>
                  <a:pt x="81" y="1134"/>
                </a:lnTo>
                <a:lnTo>
                  <a:pt x="81" y="1129"/>
                </a:lnTo>
                <a:lnTo>
                  <a:pt x="82" y="1127"/>
                </a:lnTo>
                <a:lnTo>
                  <a:pt x="84" y="1126"/>
                </a:lnTo>
                <a:lnTo>
                  <a:pt x="87" y="1126"/>
                </a:lnTo>
                <a:lnTo>
                  <a:pt x="89" y="1128"/>
                </a:lnTo>
                <a:lnTo>
                  <a:pt x="94" y="1144"/>
                </a:lnTo>
                <a:lnTo>
                  <a:pt x="97" y="1161"/>
                </a:lnTo>
                <a:lnTo>
                  <a:pt x="97" y="1163"/>
                </a:lnTo>
                <a:lnTo>
                  <a:pt x="96" y="1165"/>
                </a:lnTo>
                <a:lnTo>
                  <a:pt x="95" y="1165"/>
                </a:lnTo>
                <a:lnTo>
                  <a:pt x="95" y="1165"/>
                </a:lnTo>
                <a:lnTo>
                  <a:pt x="94" y="1159"/>
                </a:lnTo>
                <a:lnTo>
                  <a:pt x="93" y="1155"/>
                </a:lnTo>
                <a:lnTo>
                  <a:pt x="90" y="1159"/>
                </a:lnTo>
                <a:lnTo>
                  <a:pt x="90" y="1165"/>
                </a:lnTo>
                <a:lnTo>
                  <a:pt x="93" y="1172"/>
                </a:lnTo>
                <a:lnTo>
                  <a:pt x="96" y="1180"/>
                </a:lnTo>
                <a:lnTo>
                  <a:pt x="98" y="1185"/>
                </a:lnTo>
                <a:lnTo>
                  <a:pt x="98" y="1187"/>
                </a:lnTo>
                <a:lnTo>
                  <a:pt x="97" y="1190"/>
                </a:lnTo>
                <a:lnTo>
                  <a:pt x="95" y="1192"/>
                </a:lnTo>
                <a:close/>
                <a:moveTo>
                  <a:pt x="933" y="1161"/>
                </a:moveTo>
                <a:lnTo>
                  <a:pt x="928" y="1147"/>
                </a:lnTo>
                <a:lnTo>
                  <a:pt x="922" y="1133"/>
                </a:lnTo>
                <a:lnTo>
                  <a:pt x="924" y="1134"/>
                </a:lnTo>
                <a:lnTo>
                  <a:pt x="926" y="1136"/>
                </a:lnTo>
                <a:lnTo>
                  <a:pt x="929" y="1138"/>
                </a:lnTo>
                <a:lnTo>
                  <a:pt x="931" y="1143"/>
                </a:lnTo>
                <a:lnTo>
                  <a:pt x="932" y="1147"/>
                </a:lnTo>
                <a:lnTo>
                  <a:pt x="933" y="1151"/>
                </a:lnTo>
                <a:lnTo>
                  <a:pt x="935" y="1157"/>
                </a:lnTo>
                <a:lnTo>
                  <a:pt x="933" y="1161"/>
                </a:lnTo>
                <a:close/>
                <a:moveTo>
                  <a:pt x="940" y="1128"/>
                </a:moveTo>
                <a:lnTo>
                  <a:pt x="944" y="1134"/>
                </a:lnTo>
                <a:lnTo>
                  <a:pt x="946" y="1141"/>
                </a:lnTo>
                <a:lnTo>
                  <a:pt x="947" y="1143"/>
                </a:lnTo>
                <a:lnTo>
                  <a:pt x="949" y="1147"/>
                </a:lnTo>
                <a:lnTo>
                  <a:pt x="949" y="1150"/>
                </a:lnTo>
                <a:lnTo>
                  <a:pt x="949" y="1155"/>
                </a:lnTo>
                <a:lnTo>
                  <a:pt x="943" y="1142"/>
                </a:lnTo>
                <a:lnTo>
                  <a:pt x="938" y="1129"/>
                </a:lnTo>
                <a:lnTo>
                  <a:pt x="939" y="1128"/>
                </a:lnTo>
                <a:lnTo>
                  <a:pt x="940" y="1128"/>
                </a:lnTo>
                <a:close/>
                <a:moveTo>
                  <a:pt x="974" y="1121"/>
                </a:moveTo>
                <a:lnTo>
                  <a:pt x="975" y="1121"/>
                </a:lnTo>
                <a:lnTo>
                  <a:pt x="977" y="1121"/>
                </a:lnTo>
                <a:lnTo>
                  <a:pt x="977" y="1136"/>
                </a:lnTo>
                <a:lnTo>
                  <a:pt x="977" y="1151"/>
                </a:lnTo>
                <a:lnTo>
                  <a:pt x="975" y="1151"/>
                </a:lnTo>
                <a:lnTo>
                  <a:pt x="974" y="1151"/>
                </a:lnTo>
                <a:lnTo>
                  <a:pt x="974" y="1136"/>
                </a:lnTo>
                <a:lnTo>
                  <a:pt x="974" y="1121"/>
                </a:lnTo>
                <a:close/>
                <a:moveTo>
                  <a:pt x="998" y="1117"/>
                </a:moveTo>
                <a:lnTo>
                  <a:pt x="998" y="1131"/>
                </a:lnTo>
                <a:lnTo>
                  <a:pt x="998" y="1147"/>
                </a:lnTo>
                <a:lnTo>
                  <a:pt x="997" y="1147"/>
                </a:lnTo>
                <a:lnTo>
                  <a:pt x="997" y="1147"/>
                </a:lnTo>
                <a:lnTo>
                  <a:pt x="995" y="1133"/>
                </a:lnTo>
                <a:lnTo>
                  <a:pt x="995" y="1117"/>
                </a:lnTo>
                <a:lnTo>
                  <a:pt x="997" y="1117"/>
                </a:lnTo>
                <a:lnTo>
                  <a:pt x="998" y="1117"/>
                </a:lnTo>
                <a:close/>
                <a:moveTo>
                  <a:pt x="1014" y="1113"/>
                </a:moveTo>
                <a:lnTo>
                  <a:pt x="1015" y="1113"/>
                </a:lnTo>
                <a:lnTo>
                  <a:pt x="1016" y="1113"/>
                </a:lnTo>
                <a:lnTo>
                  <a:pt x="1016" y="1128"/>
                </a:lnTo>
                <a:lnTo>
                  <a:pt x="1016" y="1143"/>
                </a:lnTo>
                <a:lnTo>
                  <a:pt x="1015" y="1143"/>
                </a:lnTo>
                <a:lnTo>
                  <a:pt x="1014" y="1143"/>
                </a:lnTo>
                <a:lnTo>
                  <a:pt x="1014" y="1128"/>
                </a:lnTo>
                <a:lnTo>
                  <a:pt x="1014" y="1113"/>
                </a:lnTo>
                <a:close/>
                <a:moveTo>
                  <a:pt x="1040" y="1108"/>
                </a:moveTo>
                <a:lnTo>
                  <a:pt x="1041" y="1108"/>
                </a:lnTo>
                <a:lnTo>
                  <a:pt x="1042" y="1108"/>
                </a:lnTo>
                <a:lnTo>
                  <a:pt x="1043" y="1123"/>
                </a:lnTo>
                <a:lnTo>
                  <a:pt x="1043" y="1138"/>
                </a:lnTo>
                <a:lnTo>
                  <a:pt x="1042" y="1138"/>
                </a:lnTo>
                <a:lnTo>
                  <a:pt x="1040" y="1138"/>
                </a:lnTo>
                <a:lnTo>
                  <a:pt x="1040" y="1123"/>
                </a:lnTo>
                <a:lnTo>
                  <a:pt x="1040" y="1108"/>
                </a:lnTo>
                <a:close/>
                <a:moveTo>
                  <a:pt x="1066" y="1102"/>
                </a:moveTo>
                <a:lnTo>
                  <a:pt x="1067" y="1102"/>
                </a:lnTo>
                <a:lnTo>
                  <a:pt x="1068" y="1102"/>
                </a:lnTo>
                <a:lnTo>
                  <a:pt x="1068" y="1119"/>
                </a:lnTo>
                <a:lnTo>
                  <a:pt x="1069" y="1134"/>
                </a:lnTo>
                <a:lnTo>
                  <a:pt x="1068" y="1134"/>
                </a:lnTo>
                <a:lnTo>
                  <a:pt x="1066" y="1134"/>
                </a:lnTo>
                <a:lnTo>
                  <a:pt x="1066" y="1119"/>
                </a:lnTo>
                <a:lnTo>
                  <a:pt x="1066" y="1102"/>
                </a:lnTo>
                <a:close/>
                <a:moveTo>
                  <a:pt x="1099" y="1096"/>
                </a:moveTo>
                <a:lnTo>
                  <a:pt x="1099" y="1112"/>
                </a:lnTo>
                <a:lnTo>
                  <a:pt x="1099" y="1126"/>
                </a:lnTo>
                <a:lnTo>
                  <a:pt x="1099" y="1126"/>
                </a:lnTo>
                <a:lnTo>
                  <a:pt x="1099" y="1127"/>
                </a:lnTo>
                <a:lnTo>
                  <a:pt x="1098" y="1112"/>
                </a:lnTo>
                <a:lnTo>
                  <a:pt x="1097" y="1096"/>
                </a:lnTo>
                <a:lnTo>
                  <a:pt x="1098" y="1096"/>
                </a:lnTo>
                <a:lnTo>
                  <a:pt x="1099" y="1096"/>
                </a:lnTo>
                <a:close/>
                <a:moveTo>
                  <a:pt x="1120" y="1092"/>
                </a:moveTo>
                <a:lnTo>
                  <a:pt x="1122" y="1107"/>
                </a:lnTo>
                <a:lnTo>
                  <a:pt x="1123" y="1122"/>
                </a:lnTo>
                <a:lnTo>
                  <a:pt x="1122" y="1122"/>
                </a:lnTo>
                <a:lnTo>
                  <a:pt x="1120" y="1122"/>
                </a:lnTo>
                <a:lnTo>
                  <a:pt x="1119" y="1107"/>
                </a:lnTo>
                <a:lnTo>
                  <a:pt x="1118" y="1092"/>
                </a:lnTo>
                <a:lnTo>
                  <a:pt x="1119" y="1092"/>
                </a:lnTo>
                <a:lnTo>
                  <a:pt x="1120" y="109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799" dirty="0"/>
            </a:lvl1pPr>
          </a:lstStyle>
          <a:p>
            <a:pPr lvl="0" algn="ctr"/>
            <a:r>
              <a:rPr lang="en-US" sz="4799" dirty="0"/>
              <a:t>Fs≈</a:t>
            </a:r>
          </a:p>
        </p:txBody>
      </p:sp>
    </p:spTree>
    <p:extLst>
      <p:ext uri="{BB962C8B-B14F-4D97-AF65-F5344CB8AC3E}">
        <p14:creationId xmlns:p14="http://schemas.microsoft.com/office/powerpoint/2010/main" val="1466261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00">
            <a:extLst>
              <a:ext uri="{FF2B5EF4-FFF2-40B4-BE49-F238E27FC236}">
                <a16:creationId xmlns:a16="http://schemas.microsoft.com/office/drawing/2014/main" id="{F0B30F40-8E05-3A4E-9D98-911039E762D3}"/>
              </a:ext>
            </a:extLst>
          </p:cNvPr>
          <p:cNvSpPr>
            <a:spLocks noGrp="1" noEditPoints="1"/>
          </p:cNvSpPr>
          <p:nvPr>
            <p:ph type="pic" sz="quarter" idx="32"/>
          </p:nvPr>
        </p:nvSpPr>
        <p:spPr bwMode="auto">
          <a:xfrm>
            <a:off x="0" y="549013"/>
            <a:ext cx="5952003" cy="6599437"/>
          </a:xfrm>
          <a:custGeom>
            <a:avLst/>
            <a:gdLst>
              <a:gd name="T0" fmla="*/ 24438 w 30281"/>
              <a:gd name="T1" fmla="*/ 19531 h 26406"/>
              <a:gd name="T2" fmla="*/ 10938 w 30281"/>
              <a:gd name="T3" fmla="*/ 16281 h 26406"/>
              <a:gd name="T4" fmla="*/ 17000 w 30281"/>
              <a:gd name="T5" fmla="*/ 16718 h 26406"/>
              <a:gd name="T6" fmla="*/ 3344 w 30281"/>
              <a:gd name="T7" fmla="*/ 20624 h 26406"/>
              <a:gd name="T8" fmla="*/ 8688 w 30281"/>
              <a:gd name="T9" fmla="*/ 22499 h 26406"/>
              <a:gd name="T10" fmla="*/ 25031 w 30281"/>
              <a:gd name="T11" fmla="*/ 24531 h 26406"/>
              <a:gd name="T12" fmla="*/ 3188 w 30281"/>
              <a:gd name="T13" fmla="*/ 20156 h 26406"/>
              <a:gd name="T14" fmla="*/ 5750 w 30281"/>
              <a:gd name="T15" fmla="*/ 14031 h 26406"/>
              <a:gd name="T16" fmla="*/ 13156 w 30281"/>
              <a:gd name="T17" fmla="*/ 11562 h 26406"/>
              <a:gd name="T18" fmla="*/ 12938 w 30281"/>
              <a:gd name="T19" fmla="*/ 5750 h 26406"/>
              <a:gd name="T20" fmla="*/ 14844 w 30281"/>
              <a:gd name="T21" fmla="*/ 4375 h 26406"/>
              <a:gd name="T22" fmla="*/ 17438 w 30281"/>
              <a:gd name="T23" fmla="*/ 10156 h 26406"/>
              <a:gd name="T24" fmla="*/ 20531 w 30281"/>
              <a:gd name="T25" fmla="*/ 16687 h 26406"/>
              <a:gd name="T26" fmla="*/ 11594 w 30281"/>
              <a:gd name="T27" fmla="*/ 14312 h 26406"/>
              <a:gd name="T28" fmla="*/ 17844 w 30281"/>
              <a:gd name="T29" fmla="*/ 16781 h 26406"/>
              <a:gd name="T30" fmla="*/ 14094 w 30281"/>
              <a:gd name="T31" fmla="*/ 16218 h 26406"/>
              <a:gd name="T32" fmla="*/ 281 w 30281"/>
              <a:gd name="T33" fmla="*/ 23937 h 26406"/>
              <a:gd name="T34" fmla="*/ 14250 w 30281"/>
              <a:gd name="T35" fmla="*/ 22968 h 26406"/>
              <a:gd name="T36" fmla="*/ 12406 w 30281"/>
              <a:gd name="T37" fmla="*/ 17999 h 26406"/>
              <a:gd name="T38" fmla="*/ 11688 w 30281"/>
              <a:gd name="T39" fmla="*/ 21843 h 26406"/>
              <a:gd name="T40" fmla="*/ 9219 w 30281"/>
              <a:gd name="T41" fmla="*/ 22031 h 26406"/>
              <a:gd name="T42" fmla="*/ 7313 w 30281"/>
              <a:gd name="T43" fmla="*/ 21437 h 26406"/>
              <a:gd name="T44" fmla="*/ 5375 w 30281"/>
              <a:gd name="T45" fmla="*/ 23187 h 26406"/>
              <a:gd name="T46" fmla="*/ 3531 w 30281"/>
              <a:gd name="T47" fmla="*/ 24843 h 26406"/>
              <a:gd name="T48" fmla="*/ 6688 w 30281"/>
              <a:gd name="T49" fmla="*/ 23656 h 26406"/>
              <a:gd name="T50" fmla="*/ 10344 w 30281"/>
              <a:gd name="T51" fmla="*/ 22624 h 26406"/>
              <a:gd name="T52" fmla="*/ 14031 w 30281"/>
              <a:gd name="T53" fmla="*/ 23906 h 26406"/>
              <a:gd name="T54" fmla="*/ 19813 w 30281"/>
              <a:gd name="T55" fmla="*/ 19718 h 26406"/>
              <a:gd name="T56" fmla="*/ 17594 w 30281"/>
              <a:gd name="T57" fmla="*/ 21281 h 26406"/>
              <a:gd name="T58" fmla="*/ 22063 w 30281"/>
              <a:gd name="T59" fmla="*/ 21531 h 26406"/>
              <a:gd name="T60" fmla="*/ 26969 w 30281"/>
              <a:gd name="T61" fmla="*/ 22656 h 26406"/>
              <a:gd name="T62" fmla="*/ 27313 w 30281"/>
              <a:gd name="T63" fmla="*/ 21499 h 26406"/>
              <a:gd name="T64" fmla="*/ 26469 w 30281"/>
              <a:gd name="T65" fmla="*/ 19406 h 26406"/>
              <a:gd name="T66" fmla="*/ 23469 w 30281"/>
              <a:gd name="T67" fmla="*/ 19312 h 26406"/>
              <a:gd name="T68" fmla="*/ 24094 w 30281"/>
              <a:gd name="T69" fmla="*/ 19187 h 26406"/>
              <a:gd name="T70" fmla="*/ 25344 w 30281"/>
              <a:gd name="T71" fmla="*/ 19687 h 26406"/>
              <a:gd name="T72" fmla="*/ 23156 w 30281"/>
              <a:gd name="T73" fmla="*/ 20653 h 26406"/>
              <a:gd name="T74" fmla="*/ 23938 w 30281"/>
              <a:gd name="T75" fmla="*/ 20406 h 26406"/>
              <a:gd name="T76" fmla="*/ 26813 w 30281"/>
              <a:gd name="T77" fmla="*/ 23218 h 26406"/>
              <a:gd name="T78" fmla="*/ 2281 w 30281"/>
              <a:gd name="T79" fmla="*/ 16718 h 26406"/>
              <a:gd name="T80" fmla="*/ 20875 w 30281"/>
              <a:gd name="T81" fmla="*/ 16531 h 26406"/>
              <a:gd name="T82" fmla="*/ 1938 w 30281"/>
              <a:gd name="T83" fmla="*/ 16093 h 26406"/>
              <a:gd name="T84" fmla="*/ 15281 w 30281"/>
              <a:gd name="T85" fmla="*/ 24937 h 26406"/>
              <a:gd name="T86" fmla="*/ 20625 w 30281"/>
              <a:gd name="T87" fmla="*/ 16281 h 26406"/>
              <a:gd name="T88" fmla="*/ 16688 w 30281"/>
              <a:gd name="T89" fmla="*/ 10281 h 26406"/>
              <a:gd name="T90" fmla="*/ 12500 w 30281"/>
              <a:gd name="T91" fmla="*/ 8656 h 26406"/>
              <a:gd name="T92" fmla="*/ 15406 w 30281"/>
              <a:gd name="T93" fmla="*/ 8750 h 26406"/>
              <a:gd name="T94" fmla="*/ 14250 w 30281"/>
              <a:gd name="T95" fmla="*/ 3531 h 26406"/>
              <a:gd name="T96" fmla="*/ 13875 w 30281"/>
              <a:gd name="T97" fmla="*/ 8156 h 26406"/>
              <a:gd name="T98" fmla="*/ 8031 w 30281"/>
              <a:gd name="T99" fmla="*/ 12343 h 26406"/>
              <a:gd name="T100" fmla="*/ 3031 w 30281"/>
              <a:gd name="T101" fmla="*/ 16343 h 26406"/>
              <a:gd name="T102" fmla="*/ 1469 w 30281"/>
              <a:gd name="T103" fmla="*/ 18906 h 26406"/>
              <a:gd name="T104" fmla="*/ 5938 w 30281"/>
              <a:gd name="T105" fmla="*/ 15281 h 26406"/>
              <a:gd name="T106" fmla="*/ 7188 w 30281"/>
              <a:gd name="T107" fmla="*/ 15093 h 26406"/>
              <a:gd name="T108" fmla="*/ 3938 w 30281"/>
              <a:gd name="T109" fmla="*/ 15687 h 26406"/>
              <a:gd name="T110" fmla="*/ 813 w 30281"/>
              <a:gd name="T111" fmla="*/ 19562 h 26406"/>
              <a:gd name="T112" fmla="*/ 6781 w 30281"/>
              <a:gd name="T113" fmla="*/ 12906 h 26406"/>
              <a:gd name="T114" fmla="*/ 29969 w 30281"/>
              <a:gd name="T115" fmla="*/ 22687 h 26406"/>
              <a:gd name="T116" fmla="*/ 22781 w 30281"/>
              <a:gd name="T117" fmla="*/ 17843 h 26406"/>
              <a:gd name="T118" fmla="*/ 17750 w 30281"/>
              <a:gd name="T119" fmla="*/ 16093 h 26406"/>
              <a:gd name="T120" fmla="*/ 14563 w 30281"/>
              <a:gd name="T121" fmla="*/ 15499 h 26406"/>
              <a:gd name="T122" fmla="*/ 14281 w 30281"/>
              <a:gd name="T123" fmla="*/ 15249 h 26406"/>
              <a:gd name="T124" fmla="*/ 18938 w 30281"/>
              <a:gd name="T125" fmla="*/ 16124 h 26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281" h="26406">
                <a:moveTo>
                  <a:pt x="9438" y="20656"/>
                </a:moveTo>
                <a:cubicBezTo>
                  <a:pt x="9438" y="20656"/>
                  <a:pt x="9438" y="20687"/>
                  <a:pt x="9469" y="20718"/>
                </a:cubicBezTo>
                <a:cubicBezTo>
                  <a:pt x="9469" y="20749"/>
                  <a:pt x="9500" y="20781"/>
                  <a:pt x="9469" y="20812"/>
                </a:cubicBezTo>
                <a:cubicBezTo>
                  <a:pt x="9406" y="20812"/>
                  <a:pt x="9406" y="20781"/>
                  <a:pt x="9375" y="20749"/>
                </a:cubicBezTo>
                <a:cubicBezTo>
                  <a:pt x="9375" y="20718"/>
                  <a:pt x="9344" y="20687"/>
                  <a:pt x="9313" y="20656"/>
                </a:cubicBezTo>
                <a:cubicBezTo>
                  <a:pt x="9313" y="20593"/>
                  <a:pt x="9344" y="20562"/>
                  <a:pt x="9375" y="20593"/>
                </a:cubicBezTo>
                <a:lnTo>
                  <a:pt x="9375" y="20593"/>
                </a:lnTo>
                <a:cubicBezTo>
                  <a:pt x="9438" y="20624"/>
                  <a:pt x="9406" y="20562"/>
                  <a:pt x="9438" y="20531"/>
                </a:cubicBezTo>
                <a:cubicBezTo>
                  <a:pt x="9469" y="20468"/>
                  <a:pt x="9531" y="20468"/>
                  <a:pt x="9625" y="20499"/>
                </a:cubicBezTo>
                <a:cubicBezTo>
                  <a:pt x="9688" y="20531"/>
                  <a:pt x="9656" y="20593"/>
                  <a:pt x="9625" y="20624"/>
                </a:cubicBezTo>
                <a:cubicBezTo>
                  <a:pt x="9594" y="20687"/>
                  <a:pt x="9594" y="20781"/>
                  <a:pt x="9500" y="20687"/>
                </a:cubicBezTo>
                <a:cubicBezTo>
                  <a:pt x="9500" y="20656"/>
                  <a:pt x="9469" y="20656"/>
                  <a:pt x="9438" y="20656"/>
                </a:cubicBezTo>
                <a:close/>
                <a:moveTo>
                  <a:pt x="30125" y="24937"/>
                </a:moveTo>
                <a:cubicBezTo>
                  <a:pt x="30094" y="24812"/>
                  <a:pt x="30188" y="24874"/>
                  <a:pt x="30219" y="24906"/>
                </a:cubicBezTo>
                <a:cubicBezTo>
                  <a:pt x="30219" y="24749"/>
                  <a:pt x="30219" y="24624"/>
                  <a:pt x="30219" y="24499"/>
                </a:cubicBezTo>
                <a:cubicBezTo>
                  <a:pt x="30219" y="24499"/>
                  <a:pt x="30219" y="24468"/>
                  <a:pt x="30219" y="24437"/>
                </a:cubicBezTo>
                <a:cubicBezTo>
                  <a:pt x="30219" y="24343"/>
                  <a:pt x="30281" y="24249"/>
                  <a:pt x="30125" y="24218"/>
                </a:cubicBezTo>
                <a:cubicBezTo>
                  <a:pt x="30063" y="24187"/>
                  <a:pt x="30000" y="24093"/>
                  <a:pt x="29938" y="24031"/>
                </a:cubicBezTo>
                <a:cubicBezTo>
                  <a:pt x="30031" y="24031"/>
                  <a:pt x="30094" y="24031"/>
                  <a:pt x="30156" y="24062"/>
                </a:cubicBezTo>
                <a:cubicBezTo>
                  <a:pt x="30188" y="24062"/>
                  <a:pt x="30219" y="24124"/>
                  <a:pt x="30219" y="24062"/>
                </a:cubicBezTo>
                <a:cubicBezTo>
                  <a:pt x="30250" y="24031"/>
                  <a:pt x="30219" y="23968"/>
                  <a:pt x="30188" y="23968"/>
                </a:cubicBezTo>
                <a:cubicBezTo>
                  <a:pt x="30094" y="23968"/>
                  <a:pt x="30000" y="23937"/>
                  <a:pt x="29906" y="23968"/>
                </a:cubicBezTo>
                <a:cubicBezTo>
                  <a:pt x="29875" y="23999"/>
                  <a:pt x="29875" y="23999"/>
                  <a:pt x="29844" y="23968"/>
                </a:cubicBezTo>
                <a:cubicBezTo>
                  <a:pt x="29750" y="23906"/>
                  <a:pt x="29688" y="23843"/>
                  <a:pt x="29594" y="23749"/>
                </a:cubicBezTo>
                <a:cubicBezTo>
                  <a:pt x="29594" y="23749"/>
                  <a:pt x="29594" y="23749"/>
                  <a:pt x="29625" y="23749"/>
                </a:cubicBezTo>
                <a:cubicBezTo>
                  <a:pt x="29656" y="23718"/>
                  <a:pt x="29688" y="23749"/>
                  <a:pt x="29688" y="23687"/>
                </a:cubicBezTo>
                <a:cubicBezTo>
                  <a:pt x="29688" y="23656"/>
                  <a:pt x="29656" y="23624"/>
                  <a:pt x="29594" y="23656"/>
                </a:cubicBezTo>
                <a:cubicBezTo>
                  <a:pt x="29563" y="23687"/>
                  <a:pt x="29531" y="23656"/>
                  <a:pt x="29531" y="23593"/>
                </a:cubicBezTo>
                <a:cubicBezTo>
                  <a:pt x="29563" y="23593"/>
                  <a:pt x="29594" y="23624"/>
                  <a:pt x="29625" y="23593"/>
                </a:cubicBezTo>
                <a:cubicBezTo>
                  <a:pt x="29531" y="23562"/>
                  <a:pt x="29594" y="23499"/>
                  <a:pt x="29594" y="23437"/>
                </a:cubicBezTo>
                <a:cubicBezTo>
                  <a:pt x="29594" y="23406"/>
                  <a:pt x="29656" y="23437"/>
                  <a:pt x="29688" y="23437"/>
                </a:cubicBezTo>
                <a:cubicBezTo>
                  <a:pt x="29717" y="23407"/>
                  <a:pt x="29719" y="23434"/>
                  <a:pt x="29719" y="23464"/>
                </a:cubicBezTo>
                <a:lnTo>
                  <a:pt x="29719" y="23465"/>
                </a:lnTo>
                <a:lnTo>
                  <a:pt x="29719" y="23467"/>
                </a:lnTo>
                <a:lnTo>
                  <a:pt x="29719" y="23468"/>
                </a:lnTo>
                <a:cubicBezTo>
                  <a:pt x="29688" y="23499"/>
                  <a:pt x="29656" y="23437"/>
                  <a:pt x="29625" y="23499"/>
                </a:cubicBezTo>
                <a:lnTo>
                  <a:pt x="29625" y="23499"/>
                </a:lnTo>
                <a:cubicBezTo>
                  <a:pt x="29625" y="23562"/>
                  <a:pt x="29688" y="23531"/>
                  <a:pt x="29719" y="23562"/>
                </a:cubicBezTo>
                <a:cubicBezTo>
                  <a:pt x="29719" y="23562"/>
                  <a:pt x="29750" y="23562"/>
                  <a:pt x="29750" y="23562"/>
                </a:cubicBezTo>
                <a:cubicBezTo>
                  <a:pt x="29781" y="23593"/>
                  <a:pt x="29813" y="23593"/>
                  <a:pt x="29813" y="23562"/>
                </a:cubicBezTo>
                <a:cubicBezTo>
                  <a:pt x="29813" y="23531"/>
                  <a:pt x="29813" y="23499"/>
                  <a:pt x="29781" y="23499"/>
                </a:cubicBezTo>
                <a:cubicBezTo>
                  <a:pt x="29750" y="23499"/>
                  <a:pt x="29719" y="23531"/>
                  <a:pt x="29719" y="23468"/>
                </a:cubicBezTo>
                <a:cubicBezTo>
                  <a:pt x="29750" y="23468"/>
                  <a:pt x="29781" y="23499"/>
                  <a:pt x="29813" y="23468"/>
                </a:cubicBezTo>
                <a:cubicBezTo>
                  <a:pt x="29750" y="23406"/>
                  <a:pt x="29688" y="23406"/>
                  <a:pt x="29625" y="23406"/>
                </a:cubicBezTo>
                <a:cubicBezTo>
                  <a:pt x="29594" y="23406"/>
                  <a:pt x="29594" y="23374"/>
                  <a:pt x="29563" y="23343"/>
                </a:cubicBezTo>
                <a:cubicBezTo>
                  <a:pt x="29563" y="23343"/>
                  <a:pt x="29563" y="23312"/>
                  <a:pt x="29563" y="23312"/>
                </a:cubicBezTo>
                <a:cubicBezTo>
                  <a:pt x="29594" y="23312"/>
                  <a:pt x="29625" y="23312"/>
                  <a:pt x="29656" y="23312"/>
                </a:cubicBezTo>
                <a:cubicBezTo>
                  <a:pt x="29656" y="23312"/>
                  <a:pt x="29656" y="23312"/>
                  <a:pt x="29688" y="23343"/>
                </a:cubicBezTo>
                <a:cubicBezTo>
                  <a:pt x="29688" y="23374"/>
                  <a:pt x="29688" y="23374"/>
                  <a:pt x="29719" y="23374"/>
                </a:cubicBezTo>
                <a:cubicBezTo>
                  <a:pt x="29750" y="23343"/>
                  <a:pt x="29750" y="23343"/>
                  <a:pt x="29750" y="23312"/>
                </a:cubicBezTo>
                <a:cubicBezTo>
                  <a:pt x="29719" y="23281"/>
                  <a:pt x="29750" y="23249"/>
                  <a:pt x="29781" y="23249"/>
                </a:cubicBezTo>
                <a:cubicBezTo>
                  <a:pt x="29844" y="23312"/>
                  <a:pt x="29875" y="23249"/>
                  <a:pt x="29906" y="23249"/>
                </a:cubicBezTo>
                <a:cubicBezTo>
                  <a:pt x="30031" y="23187"/>
                  <a:pt x="30125" y="23187"/>
                  <a:pt x="30219" y="23281"/>
                </a:cubicBezTo>
                <a:cubicBezTo>
                  <a:pt x="30219" y="23156"/>
                  <a:pt x="30219" y="23062"/>
                  <a:pt x="30219" y="22968"/>
                </a:cubicBezTo>
                <a:cubicBezTo>
                  <a:pt x="30219" y="22812"/>
                  <a:pt x="30219" y="22812"/>
                  <a:pt x="30063" y="22843"/>
                </a:cubicBezTo>
                <a:cubicBezTo>
                  <a:pt x="30000" y="22843"/>
                  <a:pt x="29906" y="22843"/>
                  <a:pt x="29875" y="22812"/>
                </a:cubicBezTo>
                <a:cubicBezTo>
                  <a:pt x="29813" y="22749"/>
                  <a:pt x="29750" y="22749"/>
                  <a:pt x="29688" y="22718"/>
                </a:cubicBezTo>
                <a:cubicBezTo>
                  <a:pt x="29656" y="22687"/>
                  <a:pt x="29625" y="22749"/>
                  <a:pt x="29625" y="22687"/>
                </a:cubicBezTo>
                <a:cubicBezTo>
                  <a:pt x="29625" y="22656"/>
                  <a:pt x="29656" y="22687"/>
                  <a:pt x="29688" y="22656"/>
                </a:cubicBezTo>
                <a:cubicBezTo>
                  <a:pt x="29688" y="22656"/>
                  <a:pt x="29750" y="22656"/>
                  <a:pt x="29719" y="22624"/>
                </a:cubicBezTo>
                <a:cubicBezTo>
                  <a:pt x="29719" y="22593"/>
                  <a:pt x="29719" y="22593"/>
                  <a:pt x="29688" y="22593"/>
                </a:cubicBezTo>
                <a:cubicBezTo>
                  <a:pt x="29594" y="22624"/>
                  <a:pt x="29563" y="22562"/>
                  <a:pt x="29500" y="22531"/>
                </a:cubicBezTo>
                <a:cubicBezTo>
                  <a:pt x="29500" y="22499"/>
                  <a:pt x="29438" y="22499"/>
                  <a:pt x="29438" y="22531"/>
                </a:cubicBezTo>
                <a:cubicBezTo>
                  <a:pt x="29469" y="22593"/>
                  <a:pt x="29406" y="22562"/>
                  <a:pt x="29375" y="22562"/>
                </a:cubicBezTo>
                <a:cubicBezTo>
                  <a:pt x="29375" y="22499"/>
                  <a:pt x="29281" y="22499"/>
                  <a:pt x="29281" y="22437"/>
                </a:cubicBezTo>
                <a:cubicBezTo>
                  <a:pt x="29344" y="22437"/>
                  <a:pt x="29375" y="22499"/>
                  <a:pt x="29406" y="22499"/>
                </a:cubicBezTo>
                <a:cubicBezTo>
                  <a:pt x="29406" y="22437"/>
                  <a:pt x="29406" y="22374"/>
                  <a:pt x="29344" y="22374"/>
                </a:cubicBezTo>
                <a:cubicBezTo>
                  <a:pt x="29250" y="22374"/>
                  <a:pt x="29219" y="22312"/>
                  <a:pt x="29156" y="22249"/>
                </a:cubicBezTo>
                <a:cubicBezTo>
                  <a:pt x="29125" y="22218"/>
                  <a:pt x="29125" y="22218"/>
                  <a:pt x="29094" y="22187"/>
                </a:cubicBezTo>
                <a:cubicBezTo>
                  <a:pt x="29000" y="22156"/>
                  <a:pt x="28938" y="22031"/>
                  <a:pt x="29000" y="21937"/>
                </a:cubicBezTo>
                <a:cubicBezTo>
                  <a:pt x="29031" y="21874"/>
                  <a:pt x="29031" y="21843"/>
                  <a:pt x="29000" y="21781"/>
                </a:cubicBezTo>
                <a:cubicBezTo>
                  <a:pt x="28969" y="21843"/>
                  <a:pt x="28938" y="21843"/>
                  <a:pt x="28906" y="21781"/>
                </a:cubicBezTo>
                <a:cubicBezTo>
                  <a:pt x="28875" y="21749"/>
                  <a:pt x="28969" y="21781"/>
                  <a:pt x="28969" y="21749"/>
                </a:cubicBezTo>
                <a:cubicBezTo>
                  <a:pt x="28969" y="21718"/>
                  <a:pt x="28875" y="21718"/>
                  <a:pt x="28906" y="21656"/>
                </a:cubicBezTo>
                <a:cubicBezTo>
                  <a:pt x="28938" y="21656"/>
                  <a:pt x="29000" y="21624"/>
                  <a:pt x="29031" y="21656"/>
                </a:cubicBezTo>
                <a:cubicBezTo>
                  <a:pt x="29063" y="21656"/>
                  <a:pt x="29125" y="21656"/>
                  <a:pt x="29156" y="21718"/>
                </a:cubicBezTo>
                <a:cubicBezTo>
                  <a:pt x="29281" y="21812"/>
                  <a:pt x="29438" y="21937"/>
                  <a:pt x="29594" y="22031"/>
                </a:cubicBezTo>
                <a:cubicBezTo>
                  <a:pt x="29781" y="22218"/>
                  <a:pt x="30000" y="22312"/>
                  <a:pt x="30156" y="22531"/>
                </a:cubicBezTo>
                <a:cubicBezTo>
                  <a:pt x="30156" y="22531"/>
                  <a:pt x="30188" y="22562"/>
                  <a:pt x="30219" y="22562"/>
                </a:cubicBezTo>
                <a:cubicBezTo>
                  <a:pt x="30250" y="22531"/>
                  <a:pt x="30219" y="22531"/>
                  <a:pt x="30219" y="22499"/>
                </a:cubicBezTo>
                <a:cubicBezTo>
                  <a:pt x="30219" y="22437"/>
                  <a:pt x="30250" y="22374"/>
                  <a:pt x="30219" y="22312"/>
                </a:cubicBezTo>
                <a:cubicBezTo>
                  <a:pt x="30250" y="22249"/>
                  <a:pt x="30219" y="22187"/>
                  <a:pt x="30156" y="22156"/>
                </a:cubicBezTo>
                <a:cubicBezTo>
                  <a:pt x="29875" y="21937"/>
                  <a:pt x="29563" y="21718"/>
                  <a:pt x="29281" y="21499"/>
                </a:cubicBezTo>
                <a:cubicBezTo>
                  <a:pt x="29125" y="21374"/>
                  <a:pt x="28969" y="21218"/>
                  <a:pt x="28781" y="21124"/>
                </a:cubicBezTo>
                <a:cubicBezTo>
                  <a:pt x="28781" y="21093"/>
                  <a:pt x="28750" y="21093"/>
                  <a:pt x="28719" y="21062"/>
                </a:cubicBezTo>
                <a:cubicBezTo>
                  <a:pt x="28156" y="20624"/>
                  <a:pt x="27594" y="20187"/>
                  <a:pt x="27000" y="19749"/>
                </a:cubicBezTo>
                <a:cubicBezTo>
                  <a:pt x="26969" y="19687"/>
                  <a:pt x="26938" y="19656"/>
                  <a:pt x="26969" y="19624"/>
                </a:cubicBezTo>
                <a:cubicBezTo>
                  <a:pt x="26969" y="19562"/>
                  <a:pt x="26969" y="19531"/>
                  <a:pt x="26906" y="19468"/>
                </a:cubicBezTo>
                <a:cubicBezTo>
                  <a:pt x="26781" y="19406"/>
                  <a:pt x="26656" y="19281"/>
                  <a:pt x="26531" y="19187"/>
                </a:cubicBezTo>
                <a:cubicBezTo>
                  <a:pt x="26531" y="19187"/>
                  <a:pt x="26531" y="19218"/>
                  <a:pt x="26531" y="19218"/>
                </a:cubicBezTo>
                <a:cubicBezTo>
                  <a:pt x="26531" y="19218"/>
                  <a:pt x="26531" y="19187"/>
                  <a:pt x="26531" y="19187"/>
                </a:cubicBezTo>
                <a:cubicBezTo>
                  <a:pt x="26438" y="19156"/>
                  <a:pt x="26500" y="19093"/>
                  <a:pt x="26469" y="19062"/>
                </a:cubicBezTo>
                <a:cubicBezTo>
                  <a:pt x="26469" y="19031"/>
                  <a:pt x="26469" y="18999"/>
                  <a:pt x="26438" y="18999"/>
                </a:cubicBezTo>
                <a:cubicBezTo>
                  <a:pt x="26406" y="18999"/>
                  <a:pt x="26406" y="19031"/>
                  <a:pt x="26406" y="19031"/>
                </a:cubicBezTo>
                <a:cubicBezTo>
                  <a:pt x="26406" y="19062"/>
                  <a:pt x="26406" y="19093"/>
                  <a:pt x="26375" y="19124"/>
                </a:cubicBezTo>
                <a:cubicBezTo>
                  <a:pt x="26375" y="19218"/>
                  <a:pt x="26344" y="19249"/>
                  <a:pt x="26281" y="19187"/>
                </a:cubicBezTo>
                <a:cubicBezTo>
                  <a:pt x="26188" y="19124"/>
                  <a:pt x="26125" y="19062"/>
                  <a:pt x="26031" y="18999"/>
                </a:cubicBezTo>
                <a:cubicBezTo>
                  <a:pt x="26031" y="18999"/>
                  <a:pt x="26031" y="18999"/>
                  <a:pt x="26031" y="18999"/>
                </a:cubicBezTo>
                <a:cubicBezTo>
                  <a:pt x="25875" y="18843"/>
                  <a:pt x="25688" y="18718"/>
                  <a:pt x="25500" y="18593"/>
                </a:cubicBezTo>
                <a:cubicBezTo>
                  <a:pt x="25344" y="18437"/>
                  <a:pt x="25125" y="18437"/>
                  <a:pt x="24906" y="18437"/>
                </a:cubicBezTo>
                <a:cubicBezTo>
                  <a:pt x="24906" y="18437"/>
                  <a:pt x="24875" y="18437"/>
                  <a:pt x="24844" y="18437"/>
                </a:cubicBezTo>
                <a:cubicBezTo>
                  <a:pt x="24813" y="18343"/>
                  <a:pt x="24750" y="18343"/>
                  <a:pt x="24688" y="18406"/>
                </a:cubicBezTo>
                <a:cubicBezTo>
                  <a:pt x="24656" y="18374"/>
                  <a:pt x="24625" y="18343"/>
                  <a:pt x="24594" y="18343"/>
                </a:cubicBezTo>
                <a:cubicBezTo>
                  <a:pt x="24406" y="18281"/>
                  <a:pt x="24219" y="18249"/>
                  <a:pt x="24031" y="18218"/>
                </a:cubicBezTo>
                <a:cubicBezTo>
                  <a:pt x="23969" y="18187"/>
                  <a:pt x="23938" y="18218"/>
                  <a:pt x="23906" y="18249"/>
                </a:cubicBezTo>
                <a:cubicBezTo>
                  <a:pt x="23813" y="18249"/>
                  <a:pt x="23750" y="18312"/>
                  <a:pt x="23688" y="18343"/>
                </a:cubicBezTo>
                <a:cubicBezTo>
                  <a:pt x="23656" y="18312"/>
                  <a:pt x="23625" y="18281"/>
                  <a:pt x="23625" y="18218"/>
                </a:cubicBezTo>
                <a:cubicBezTo>
                  <a:pt x="23656" y="18156"/>
                  <a:pt x="23656" y="18124"/>
                  <a:pt x="23594" y="18093"/>
                </a:cubicBezTo>
                <a:cubicBezTo>
                  <a:pt x="23531" y="18062"/>
                  <a:pt x="23438" y="18093"/>
                  <a:pt x="23406" y="18156"/>
                </a:cubicBezTo>
                <a:cubicBezTo>
                  <a:pt x="23406" y="18156"/>
                  <a:pt x="23406" y="18187"/>
                  <a:pt x="23438" y="18187"/>
                </a:cubicBezTo>
                <a:cubicBezTo>
                  <a:pt x="23469" y="18156"/>
                  <a:pt x="23500" y="18156"/>
                  <a:pt x="23531" y="18124"/>
                </a:cubicBezTo>
                <a:cubicBezTo>
                  <a:pt x="23500" y="18187"/>
                  <a:pt x="23594" y="18281"/>
                  <a:pt x="23469" y="18312"/>
                </a:cubicBezTo>
                <a:cubicBezTo>
                  <a:pt x="23406" y="18281"/>
                  <a:pt x="23344" y="18249"/>
                  <a:pt x="23438" y="18187"/>
                </a:cubicBezTo>
                <a:cubicBezTo>
                  <a:pt x="23406" y="18187"/>
                  <a:pt x="23406" y="18156"/>
                  <a:pt x="23406" y="18156"/>
                </a:cubicBezTo>
                <a:cubicBezTo>
                  <a:pt x="23375" y="18187"/>
                  <a:pt x="23313" y="18187"/>
                  <a:pt x="23313" y="18124"/>
                </a:cubicBezTo>
                <a:cubicBezTo>
                  <a:pt x="23313" y="18031"/>
                  <a:pt x="23250" y="18031"/>
                  <a:pt x="23219" y="18031"/>
                </a:cubicBezTo>
                <a:cubicBezTo>
                  <a:pt x="23094" y="17999"/>
                  <a:pt x="23000" y="17968"/>
                  <a:pt x="22906" y="17968"/>
                </a:cubicBezTo>
                <a:cubicBezTo>
                  <a:pt x="22750" y="17906"/>
                  <a:pt x="22563" y="17874"/>
                  <a:pt x="22469" y="17749"/>
                </a:cubicBezTo>
                <a:cubicBezTo>
                  <a:pt x="22500" y="17718"/>
                  <a:pt x="22500" y="17687"/>
                  <a:pt x="22500" y="17656"/>
                </a:cubicBezTo>
                <a:cubicBezTo>
                  <a:pt x="22469" y="17624"/>
                  <a:pt x="22438" y="17624"/>
                  <a:pt x="22406" y="17624"/>
                </a:cubicBezTo>
                <a:cubicBezTo>
                  <a:pt x="22438" y="17656"/>
                  <a:pt x="22438" y="17687"/>
                  <a:pt x="22406" y="17718"/>
                </a:cubicBezTo>
                <a:cubicBezTo>
                  <a:pt x="22375" y="17781"/>
                  <a:pt x="22406" y="17781"/>
                  <a:pt x="22438" y="17812"/>
                </a:cubicBezTo>
                <a:cubicBezTo>
                  <a:pt x="22500" y="17874"/>
                  <a:pt x="22563" y="17906"/>
                  <a:pt x="22625" y="17968"/>
                </a:cubicBezTo>
                <a:cubicBezTo>
                  <a:pt x="22594" y="17968"/>
                  <a:pt x="22563" y="17968"/>
                  <a:pt x="22563" y="17968"/>
                </a:cubicBezTo>
                <a:cubicBezTo>
                  <a:pt x="22531" y="17906"/>
                  <a:pt x="22469" y="17874"/>
                  <a:pt x="22406" y="17843"/>
                </a:cubicBezTo>
                <a:cubicBezTo>
                  <a:pt x="22406" y="17843"/>
                  <a:pt x="22406" y="17843"/>
                  <a:pt x="22406" y="17843"/>
                </a:cubicBezTo>
                <a:cubicBezTo>
                  <a:pt x="22406" y="17812"/>
                  <a:pt x="22375" y="17812"/>
                  <a:pt x="22344" y="17812"/>
                </a:cubicBezTo>
                <a:cubicBezTo>
                  <a:pt x="22344" y="17812"/>
                  <a:pt x="22344" y="17812"/>
                  <a:pt x="22344" y="17812"/>
                </a:cubicBezTo>
                <a:cubicBezTo>
                  <a:pt x="22344" y="17843"/>
                  <a:pt x="22375" y="17874"/>
                  <a:pt x="22406" y="17874"/>
                </a:cubicBezTo>
                <a:cubicBezTo>
                  <a:pt x="22438" y="17937"/>
                  <a:pt x="22469" y="17968"/>
                  <a:pt x="22531" y="17999"/>
                </a:cubicBezTo>
                <a:cubicBezTo>
                  <a:pt x="22531" y="17999"/>
                  <a:pt x="22531" y="17999"/>
                  <a:pt x="22531" y="17999"/>
                </a:cubicBezTo>
                <a:cubicBezTo>
                  <a:pt x="22563" y="18031"/>
                  <a:pt x="22563" y="18031"/>
                  <a:pt x="22594" y="18062"/>
                </a:cubicBezTo>
                <a:cubicBezTo>
                  <a:pt x="22625" y="18093"/>
                  <a:pt x="22688" y="18124"/>
                  <a:pt x="22719" y="18156"/>
                </a:cubicBezTo>
                <a:cubicBezTo>
                  <a:pt x="22719" y="18156"/>
                  <a:pt x="22719" y="18156"/>
                  <a:pt x="22719" y="18187"/>
                </a:cubicBezTo>
                <a:cubicBezTo>
                  <a:pt x="22719" y="18187"/>
                  <a:pt x="22688" y="18187"/>
                  <a:pt x="22688" y="18187"/>
                </a:cubicBezTo>
                <a:cubicBezTo>
                  <a:pt x="22656" y="18156"/>
                  <a:pt x="22625" y="18156"/>
                  <a:pt x="22594" y="18124"/>
                </a:cubicBezTo>
                <a:cubicBezTo>
                  <a:pt x="22531" y="18093"/>
                  <a:pt x="22438" y="18093"/>
                  <a:pt x="22375" y="18124"/>
                </a:cubicBezTo>
                <a:cubicBezTo>
                  <a:pt x="22344" y="18124"/>
                  <a:pt x="22375" y="18218"/>
                  <a:pt x="22375" y="18281"/>
                </a:cubicBezTo>
                <a:cubicBezTo>
                  <a:pt x="22281" y="18281"/>
                  <a:pt x="22250" y="18218"/>
                  <a:pt x="22250" y="18124"/>
                </a:cubicBezTo>
                <a:cubicBezTo>
                  <a:pt x="22250" y="18093"/>
                  <a:pt x="22250" y="18031"/>
                  <a:pt x="22250" y="17999"/>
                </a:cubicBezTo>
                <a:cubicBezTo>
                  <a:pt x="22281" y="17874"/>
                  <a:pt x="22219" y="17874"/>
                  <a:pt x="22125" y="17906"/>
                </a:cubicBezTo>
                <a:cubicBezTo>
                  <a:pt x="22125" y="17874"/>
                  <a:pt x="22094" y="17874"/>
                  <a:pt x="22094" y="17874"/>
                </a:cubicBezTo>
                <a:cubicBezTo>
                  <a:pt x="22094" y="17874"/>
                  <a:pt x="22094" y="17874"/>
                  <a:pt x="22094" y="17874"/>
                </a:cubicBezTo>
                <a:cubicBezTo>
                  <a:pt x="22063" y="17874"/>
                  <a:pt x="22063" y="17874"/>
                  <a:pt x="22031" y="17874"/>
                </a:cubicBezTo>
                <a:cubicBezTo>
                  <a:pt x="22031" y="17874"/>
                  <a:pt x="22031" y="17874"/>
                  <a:pt x="22000" y="17874"/>
                </a:cubicBezTo>
                <a:cubicBezTo>
                  <a:pt x="22000" y="17874"/>
                  <a:pt x="22000" y="17843"/>
                  <a:pt x="22000" y="17843"/>
                </a:cubicBezTo>
                <a:cubicBezTo>
                  <a:pt x="22000" y="17843"/>
                  <a:pt x="22000" y="17843"/>
                  <a:pt x="22000" y="17843"/>
                </a:cubicBezTo>
                <a:cubicBezTo>
                  <a:pt x="22000" y="17843"/>
                  <a:pt x="22000" y="17843"/>
                  <a:pt x="21969" y="17843"/>
                </a:cubicBezTo>
                <a:cubicBezTo>
                  <a:pt x="22000" y="17812"/>
                  <a:pt x="22000" y="17781"/>
                  <a:pt x="22031" y="17812"/>
                </a:cubicBezTo>
                <a:cubicBezTo>
                  <a:pt x="22125" y="17843"/>
                  <a:pt x="22156" y="17781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18"/>
                  <a:pt x="22188" y="17718"/>
                  <a:pt x="22188" y="17749"/>
                </a:cubicBezTo>
                <a:lnTo>
                  <a:pt x="22188" y="17749"/>
                </a:lnTo>
                <a:cubicBezTo>
                  <a:pt x="22219" y="17749"/>
                  <a:pt x="22250" y="17718"/>
                  <a:pt x="22281" y="17687"/>
                </a:cubicBezTo>
                <a:cubicBezTo>
                  <a:pt x="22281" y="17656"/>
                  <a:pt x="22344" y="17656"/>
                  <a:pt x="22281" y="17624"/>
                </a:cubicBezTo>
                <a:cubicBezTo>
                  <a:pt x="22281" y="17593"/>
                  <a:pt x="22219" y="17531"/>
                  <a:pt x="22188" y="17624"/>
                </a:cubicBezTo>
                <a:cubicBezTo>
                  <a:pt x="22156" y="17624"/>
                  <a:pt x="22125" y="17624"/>
                  <a:pt x="22125" y="17687"/>
                </a:cubicBezTo>
                <a:cubicBezTo>
                  <a:pt x="22031" y="17656"/>
                  <a:pt x="21938" y="17624"/>
                  <a:pt x="21875" y="17531"/>
                </a:cubicBezTo>
                <a:cubicBezTo>
                  <a:pt x="21844" y="17531"/>
                  <a:pt x="21844" y="17531"/>
                  <a:pt x="21844" y="17499"/>
                </a:cubicBezTo>
                <a:cubicBezTo>
                  <a:pt x="21813" y="17499"/>
                  <a:pt x="21813" y="17499"/>
                  <a:pt x="21813" y="17499"/>
                </a:cubicBezTo>
                <a:cubicBezTo>
                  <a:pt x="21813" y="17499"/>
                  <a:pt x="21813" y="17499"/>
                  <a:pt x="21813" y="17499"/>
                </a:cubicBezTo>
                <a:cubicBezTo>
                  <a:pt x="21781" y="17499"/>
                  <a:pt x="21781" y="17499"/>
                  <a:pt x="21750" y="17499"/>
                </a:cubicBezTo>
                <a:cubicBezTo>
                  <a:pt x="21719" y="17468"/>
                  <a:pt x="21656" y="17499"/>
                  <a:pt x="21625" y="17499"/>
                </a:cubicBezTo>
                <a:cubicBezTo>
                  <a:pt x="21594" y="17624"/>
                  <a:pt x="21594" y="17718"/>
                  <a:pt x="21625" y="17812"/>
                </a:cubicBezTo>
                <a:cubicBezTo>
                  <a:pt x="21625" y="17843"/>
                  <a:pt x="21625" y="17843"/>
                  <a:pt x="21656" y="17843"/>
                </a:cubicBezTo>
                <a:cubicBezTo>
                  <a:pt x="21688" y="17843"/>
                  <a:pt x="21656" y="17843"/>
                  <a:pt x="21656" y="17812"/>
                </a:cubicBezTo>
                <a:cubicBezTo>
                  <a:pt x="21656" y="17749"/>
                  <a:pt x="21688" y="17781"/>
                  <a:pt x="21719" y="17781"/>
                </a:cubicBezTo>
                <a:cubicBezTo>
                  <a:pt x="21750" y="17812"/>
                  <a:pt x="21781" y="17874"/>
                  <a:pt x="21844" y="17843"/>
                </a:cubicBezTo>
                <a:cubicBezTo>
                  <a:pt x="21938" y="17874"/>
                  <a:pt x="21906" y="17968"/>
                  <a:pt x="21969" y="17999"/>
                </a:cubicBezTo>
                <a:cubicBezTo>
                  <a:pt x="21969" y="17999"/>
                  <a:pt x="21969" y="17999"/>
                  <a:pt x="22000" y="17999"/>
                </a:cubicBezTo>
                <a:cubicBezTo>
                  <a:pt x="21938" y="18093"/>
                  <a:pt x="22000" y="18156"/>
                  <a:pt x="22063" y="18187"/>
                </a:cubicBezTo>
                <a:cubicBezTo>
                  <a:pt x="22125" y="18218"/>
                  <a:pt x="22188" y="18249"/>
                  <a:pt x="22250" y="18281"/>
                </a:cubicBezTo>
                <a:cubicBezTo>
                  <a:pt x="22094" y="18249"/>
                  <a:pt x="21938" y="18124"/>
                  <a:pt x="21781" y="18062"/>
                </a:cubicBezTo>
                <a:cubicBezTo>
                  <a:pt x="21750" y="18062"/>
                  <a:pt x="21719" y="18031"/>
                  <a:pt x="21656" y="18062"/>
                </a:cubicBezTo>
                <a:cubicBezTo>
                  <a:pt x="21625" y="18093"/>
                  <a:pt x="21656" y="18124"/>
                  <a:pt x="21656" y="18187"/>
                </a:cubicBezTo>
                <a:cubicBezTo>
                  <a:pt x="21688" y="18156"/>
                  <a:pt x="21688" y="18093"/>
                  <a:pt x="21750" y="18093"/>
                </a:cubicBezTo>
                <a:cubicBezTo>
                  <a:pt x="21781" y="18124"/>
                  <a:pt x="21813" y="18187"/>
                  <a:pt x="21781" y="18218"/>
                </a:cubicBezTo>
                <a:cubicBezTo>
                  <a:pt x="21750" y="18281"/>
                  <a:pt x="21750" y="18374"/>
                  <a:pt x="21625" y="18406"/>
                </a:cubicBezTo>
                <a:cubicBezTo>
                  <a:pt x="21875" y="18531"/>
                  <a:pt x="22125" y="18656"/>
                  <a:pt x="22375" y="18781"/>
                </a:cubicBezTo>
                <a:cubicBezTo>
                  <a:pt x="22656" y="18968"/>
                  <a:pt x="22969" y="19124"/>
                  <a:pt x="23281" y="19312"/>
                </a:cubicBezTo>
                <a:cubicBezTo>
                  <a:pt x="23406" y="19374"/>
                  <a:pt x="23500" y="19437"/>
                  <a:pt x="23625" y="19499"/>
                </a:cubicBezTo>
                <a:cubicBezTo>
                  <a:pt x="23719" y="19562"/>
                  <a:pt x="23813" y="19624"/>
                  <a:pt x="23938" y="19687"/>
                </a:cubicBezTo>
                <a:cubicBezTo>
                  <a:pt x="23938" y="19687"/>
                  <a:pt x="23938" y="19687"/>
                  <a:pt x="23938" y="19687"/>
                </a:cubicBezTo>
                <a:cubicBezTo>
                  <a:pt x="24063" y="19781"/>
                  <a:pt x="24188" y="19843"/>
                  <a:pt x="24313" y="19937"/>
                </a:cubicBezTo>
                <a:cubicBezTo>
                  <a:pt x="24313" y="19937"/>
                  <a:pt x="24313" y="19937"/>
                  <a:pt x="24313" y="19937"/>
                </a:cubicBezTo>
                <a:cubicBezTo>
                  <a:pt x="24344" y="19937"/>
                  <a:pt x="24375" y="19999"/>
                  <a:pt x="24438" y="19968"/>
                </a:cubicBezTo>
                <a:cubicBezTo>
                  <a:pt x="24406" y="19937"/>
                  <a:pt x="24375" y="19906"/>
                  <a:pt x="24344" y="19906"/>
                </a:cubicBezTo>
                <a:cubicBezTo>
                  <a:pt x="24344" y="19874"/>
                  <a:pt x="24313" y="19843"/>
                  <a:pt x="24313" y="19843"/>
                </a:cubicBezTo>
                <a:cubicBezTo>
                  <a:pt x="24438" y="19781"/>
                  <a:pt x="24313" y="19781"/>
                  <a:pt x="24281" y="19749"/>
                </a:cubicBezTo>
                <a:cubicBezTo>
                  <a:pt x="24250" y="19687"/>
                  <a:pt x="24188" y="19749"/>
                  <a:pt x="24156" y="19687"/>
                </a:cubicBezTo>
                <a:cubicBezTo>
                  <a:pt x="24125" y="19656"/>
                  <a:pt x="24094" y="19656"/>
                  <a:pt x="24094" y="19718"/>
                </a:cubicBezTo>
                <a:cubicBezTo>
                  <a:pt x="24063" y="19749"/>
                  <a:pt x="24063" y="19718"/>
                  <a:pt x="24031" y="19718"/>
                </a:cubicBezTo>
                <a:cubicBezTo>
                  <a:pt x="24000" y="19687"/>
                  <a:pt x="23969" y="19656"/>
                  <a:pt x="23938" y="19656"/>
                </a:cubicBezTo>
                <a:cubicBezTo>
                  <a:pt x="23938" y="19624"/>
                  <a:pt x="23938" y="19593"/>
                  <a:pt x="23969" y="19531"/>
                </a:cubicBezTo>
                <a:cubicBezTo>
                  <a:pt x="24031" y="19562"/>
                  <a:pt x="24031" y="19531"/>
                  <a:pt x="24063" y="19499"/>
                </a:cubicBezTo>
                <a:cubicBezTo>
                  <a:pt x="24094" y="19499"/>
                  <a:pt x="24094" y="19499"/>
                  <a:pt x="24125" y="19499"/>
                </a:cubicBezTo>
                <a:cubicBezTo>
                  <a:pt x="24125" y="19656"/>
                  <a:pt x="24125" y="19656"/>
                  <a:pt x="24250" y="19656"/>
                </a:cubicBezTo>
                <a:cubicBezTo>
                  <a:pt x="24281" y="19656"/>
                  <a:pt x="24281" y="19687"/>
                  <a:pt x="24313" y="19687"/>
                </a:cubicBezTo>
                <a:cubicBezTo>
                  <a:pt x="24344" y="19718"/>
                  <a:pt x="24438" y="19781"/>
                  <a:pt x="24438" y="19656"/>
                </a:cubicBezTo>
                <a:cubicBezTo>
                  <a:pt x="24438" y="19624"/>
                  <a:pt x="24469" y="19624"/>
                  <a:pt x="24500" y="19624"/>
                </a:cubicBezTo>
                <a:cubicBezTo>
                  <a:pt x="24500" y="19562"/>
                  <a:pt x="24438" y="19562"/>
                  <a:pt x="24438" y="19531"/>
                </a:cubicBezTo>
                <a:cubicBezTo>
                  <a:pt x="24500" y="19531"/>
                  <a:pt x="24531" y="19562"/>
                  <a:pt x="24531" y="19624"/>
                </a:cubicBezTo>
                <a:cubicBezTo>
                  <a:pt x="24531" y="19624"/>
                  <a:pt x="24500" y="19624"/>
                  <a:pt x="24500" y="19624"/>
                </a:cubicBezTo>
                <a:cubicBezTo>
                  <a:pt x="24469" y="19656"/>
                  <a:pt x="24500" y="19656"/>
                  <a:pt x="24500" y="19687"/>
                </a:cubicBezTo>
                <a:cubicBezTo>
                  <a:pt x="24531" y="19687"/>
                  <a:pt x="24563" y="19687"/>
                  <a:pt x="24531" y="19718"/>
                </a:cubicBezTo>
                <a:cubicBezTo>
                  <a:pt x="24469" y="19812"/>
                  <a:pt x="24531" y="19843"/>
                  <a:pt x="24594" y="19843"/>
                </a:cubicBezTo>
                <a:cubicBezTo>
                  <a:pt x="24500" y="19937"/>
                  <a:pt x="24500" y="19937"/>
                  <a:pt x="24594" y="19999"/>
                </a:cubicBezTo>
                <a:cubicBezTo>
                  <a:pt x="24594" y="19999"/>
                  <a:pt x="24594" y="19999"/>
                  <a:pt x="24625" y="20031"/>
                </a:cubicBezTo>
                <a:cubicBezTo>
                  <a:pt x="24625" y="20031"/>
                  <a:pt x="24594" y="20031"/>
                  <a:pt x="24594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88" y="20031"/>
                  <a:pt x="24656" y="19968"/>
                </a:cubicBezTo>
                <a:cubicBezTo>
                  <a:pt x="24656" y="19968"/>
                  <a:pt x="24656" y="19968"/>
                  <a:pt x="24656" y="19968"/>
                </a:cubicBezTo>
                <a:cubicBezTo>
                  <a:pt x="24656" y="19968"/>
                  <a:pt x="24656" y="19968"/>
                  <a:pt x="24656" y="19937"/>
                </a:cubicBezTo>
                <a:cubicBezTo>
                  <a:pt x="24656" y="19906"/>
                  <a:pt x="24656" y="19906"/>
                  <a:pt x="24656" y="19874"/>
                </a:cubicBezTo>
                <a:cubicBezTo>
                  <a:pt x="24719" y="19874"/>
                  <a:pt x="24750" y="19906"/>
                  <a:pt x="24781" y="19937"/>
                </a:cubicBezTo>
                <a:cubicBezTo>
                  <a:pt x="24750" y="19906"/>
                  <a:pt x="24719" y="19874"/>
                  <a:pt x="24656" y="19874"/>
                </a:cubicBezTo>
                <a:cubicBezTo>
                  <a:pt x="24656" y="19906"/>
                  <a:pt x="24656" y="19937"/>
                  <a:pt x="24656" y="19968"/>
                </a:cubicBezTo>
                <a:lnTo>
                  <a:pt x="24656" y="19968"/>
                </a:lnTo>
                <a:cubicBezTo>
                  <a:pt x="24656" y="19968"/>
                  <a:pt x="24656" y="19968"/>
                  <a:pt x="24656" y="19968"/>
                </a:cubicBezTo>
                <a:cubicBezTo>
                  <a:pt x="24719" y="19968"/>
                  <a:pt x="24688" y="20031"/>
                  <a:pt x="24719" y="20031"/>
                </a:cubicBezTo>
                <a:cubicBezTo>
                  <a:pt x="24719" y="20062"/>
                  <a:pt x="24750" y="20093"/>
                  <a:pt x="24750" y="20093"/>
                </a:cubicBezTo>
                <a:cubicBezTo>
                  <a:pt x="24813" y="20062"/>
                  <a:pt x="24781" y="20031"/>
                  <a:pt x="24781" y="20031"/>
                </a:cubicBezTo>
                <a:cubicBezTo>
                  <a:pt x="24813" y="20031"/>
                  <a:pt x="24813" y="19937"/>
                  <a:pt x="24844" y="19968"/>
                </a:cubicBezTo>
                <a:cubicBezTo>
                  <a:pt x="24906" y="19999"/>
                  <a:pt x="24844" y="19999"/>
                  <a:pt x="24844" y="20031"/>
                </a:cubicBezTo>
                <a:cubicBezTo>
                  <a:pt x="24844" y="20093"/>
                  <a:pt x="24813" y="20124"/>
                  <a:pt x="24875" y="20156"/>
                </a:cubicBezTo>
                <a:cubicBezTo>
                  <a:pt x="24906" y="20187"/>
                  <a:pt x="24969" y="20187"/>
                  <a:pt x="24969" y="20124"/>
                </a:cubicBezTo>
                <a:cubicBezTo>
                  <a:pt x="25000" y="20093"/>
                  <a:pt x="25031" y="20093"/>
                  <a:pt x="25063" y="20156"/>
                </a:cubicBezTo>
                <a:cubicBezTo>
                  <a:pt x="25094" y="20187"/>
                  <a:pt x="25094" y="20249"/>
                  <a:pt x="25094" y="20281"/>
                </a:cubicBezTo>
                <a:cubicBezTo>
                  <a:pt x="25031" y="20312"/>
                  <a:pt x="25031" y="20249"/>
                  <a:pt x="24969" y="20281"/>
                </a:cubicBezTo>
                <a:lnTo>
                  <a:pt x="24969" y="20281"/>
                </a:lnTo>
                <a:cubicBezTo>
                  <a:pt x="25000" y="20312"/>
                  <a:pt x="25063" y="20343"/>
                  <a:pt x="25063" y="20406"/>
                </a:cubicBezTo>
                <a:cubicBezTo>
                  <a:pt x="25063" y="20406"/>
                  <a:pt x="25094" y="20406"/>
                  <a:pt x="25094" y="20406"/>
                </a:cubicBezTo>
                <a:cubicBezTo>
                  <a:pt x="25094" y="20437"/>
                  <a:pt x="25094" y="20437"/>
                  <a:pt x="25094" y="20468"/>
                </a:cubicBezTo>
                <a:cubicBezTo>
                  <a:pt x="25063" y="20468"/>
                  <a:pt x="25031" y="20437"/>
                  <a:pt x="25000" y="20437"/>
                </a:cubicBezTo>
                <a:cubicBezTo>
                  <a:pt x="24844" y="20312"/>
                  <a:pt x="24656" y="20218"/>
                  <a:pt x="24500" y="20093"/>
                </a:cubicBezTo>
                <a:cubicBezTo>
                  <a:pt x="24063" y="19812"/>
                  <a:pt x="23625" y="19562"/>
                  <a:pt x="23188" y="19312"/>
                </a:cubicBezTo>
                <a:cubicBezTo>
                  <a:pt x="22969" y="19156"/>
                  <a:pt x="22750" y="19062"/>
                  <a:pt x="22500" y="18937"/>
                </a:cubicBezTo>
                <a:cubicBezTo>
                  <a:pt x="22250" y="18781"/>
                  <a:pt x="22000" y="18656"/>
                  <a:pt x="21750" y="18499"/>
                </a:cubicBezTo>
                <a:cubicBezTo>
                  <a:pt x="21625" y="18437"/>
                  <a:pt x="21469" y="18406"/>
                  <a:pt x="21344" y="18312"/>
                </a:cubicBezTo>
                <a:cubicBezTo>
                  <a:pt x="21250" y="18249"/>
                  <a:pt x="21188" y="18187"/>
                  <a:pt x="21094" y="18218"/>
                </a:cubicBezTo>
                <a:cubicBezTo>
                  <a:pt x="21000" y="18156"/>
                  <a:pt x="20906" y="18156"/>
                  <a:pt x="20813" y="18124"/>
                </a:cubicBezTo>
                <a:cubicBezTo>
                  <a:pt x="20813" y="18124"/>
                  <a:pt x="20813" y="18124"/>
                  <a:pt x="20813" y="18124"/>
                </a:cubicBezTo>
                <a:cubicBezTo>
                  <a:pt x="20813" y="18124"/>
                  <a:pt x="20813" y="18124"/>
                  <a:pt x="20813" y="18124"/>
                </a:cubicBezTo>
                <a:cubicBezTo>
                  <a:pt x="20813" y="18093"/>
                  <a:pt x="20813" y="18093"/>
                  <a:pt x="20813" y="18093"/>
                </a:cubicBezTo>
                <a:cubicBezTo>
                  <a:pt x="20813" y="18062"/>
                  <a:pt x="20781" y="18062"/>
                  <a:pt x="20781" y="18062"/>
                </a:cubicBezTo>
                <a:cubicBezTo>
                  <a:pt x="20438" y="17906"/>
                  <a:pt x="20094" y="17749"/>
                  <a:pt x="19750" y="17624"/>
                </a:cubicBezTo>
                <a:cubicBezTo>
                  <a:pt x="19375" y="17468"/>
                  <a:pt x="19000" y="17343"/>
                  <a:pt x="18656" y="17218"/>
                </a:cubicBezTo>
                <a:cubicBezTo>
                  <a:pt x="18281" y="17124"/>
                  <a:pt x="17938" y="16999"/>
                  <a:pt x="17594" y="16906"/>
                </a:cubicBezTo>
                <a:cubicBezTo>
                  <a:pt x="17438" y="16874"/>
                  <a:pt x="17250" y="16812"/>
                  <a:pt x="17094" y="16812"/>
                </a:cubicBezTo>
                <a:cubicBezTo>
                  <a:pt x="17094" y="16781"/>
                  <a:pt x="17031" y="16718"/>
                  <a:pt x="17125" y="16749"/>
                </a:cubicBezTo>
                <a:cubicBezTo>
                  <a:pt x="17344" y="16812"/>
                  <a:pt x="17563" y="16843"/>
                  <a:pt x="17781" y="16906"/>
                </a:cubicBezTo>
                <a:cubicBezTo>
                  <a:pt x="18031" y="16968"/>
                  <a:pt x="18250" y="17062"/>
                  <a:pt x="18500" y="17124"/>
                </a:cubicBezTo>
                <a:cubicBezTo>
                  <a:pt x="18813" y="17218"/>
                  <a:pt x="19125" y="17343"/>
                  <a:pt x="19438" y="17437"/>
                </a:cubicBezTo>
                <a:cubicBezTo>
                  <a:pt x="19781" y="17593"/>
                  <a:pt x="20125" y="17718"/>
                  <a:pt x="20469" y="17874"/>
                </a:cubicBezTo>
                <a:cubicBezTo>
                  <a:pt x="20625" y="17937"/>
                  <a:pt x="20750" y="17968"/>
                  <a:pt x="20906" y="18062"/>
                </a:cubicBezTo>
                <a:cubicBezTo>
                  <a:pt x="21031" y="18124"/>
                  <a:pt x="21156" y="18124"/>
                  <a:pt x="21250" y="18218"/>
                </a:cubicBezTo>
                <a:cubicBezTo>
                  <a:pt x="21250" y="18218"/>
                  <a:pt x="21281" y="18218"/>
                  <a:pt x="21281" y="18218"/>
                </a:cubicBezTo>
                <a:cubicBezTo>
                  <a:pt x="21250" y="18156"/>
                  <a:pt x="21156" y="18156"/>
                  <a:pt x="21156" y="18062"/>
                </a:cubicBezTo>
                <a:cubicBezTo>
                  <a:pt x="21188" y="18093"/>
                  <a:pt x="21219" y="18093"/>
                  <a:pt x="21250" y="18124"/>
                </a:cubicBezTo>
                <a:cubicBezTo>
                  <a:pt x="21219" y="18093"/>
                  <a:pt x="21219" y="18062"/>
                  <a:pt x="21219" y="18031"/>
                </a:cubicBezTo>
                <a:cubicBezTo>
                  <a:pt x="21219" y="17999"/>
                  <a:pt x="21219" y="17968"/>
                  <a:pt x="21219" y="17937"/>
                </a:cubicBezTo>
                <a:cubicBezTo>
                  <a:pt x="21219" y="17937"/>
                  <a:pt x="21250" y="17906"/>
                  <a:pt x="21250" y="17906"/>
                </a:cubicBezTo>
                <a:cubicBezTo>
                  <a:pt x="21281" y="17906"/>
                  <a:pt x="21313" y="17906"/>
                  <a:pt x="21313" y="17874"/>
                </a:cubicBezTo>
                <a:cubicBezTo>
                  <a:pt x="21313" y="17843"/>
                  <a:pt x="21281" y="17843"/>
                  <a:pt x="21250" y="17812"/>
                </a:cubicBezTo>
                <a:cubicBezTo>
                  <a:pt x="21219" y="17781"/>
                  <a:pt x="21156" y="17812"/>
                  <a:pt x="21156" y="17749"/>
                </a:cubicBezTo>
                <a:cubicBezTo>
                  <a:pt x="21156" y="17749"/>
                  <a:pt x="21156" y="17718"/>
                  <a:pt x="21156" y="17718"/>
                </a:cubicBezTo>
                <a:lnTo>
                  <a:pt x="21156" y="17718"/>
                </a:lnTo>
                <a:cubicBezTo>
                  <a:pt x="21219" y="17718"/>
                  <a:pt x="21281" y="17781"/>
                  <a:pt x="21344" y="17812"/>
                </a:cubicBezTo>
                <a:cubicBezTo>
                  <a:pt x="21469" y="17874"/>
                  <a:pt x="21531" y="17812"/>
                  <a:pt x="21531" y="17687"/>
                </a:cubicBezTo>
                <a:cubicBezTo>
                  <a:pt x="21531" y="17624"/>
                  <a:pt x="21531" y="17562"/>
                  <a:pt x="21531" y="17531"/>
                </a:cubicBezTo>
                <a:cubicBezTo>
                  <a:pt x="21531" y="17499"/>
                  <a:pt x="21531" y="17437"/>
                  <a:pt x="21469" y="17437"/>
                </a:cubicBezTo>
                <a:cubicBezTo>
                  <a:pt x="21375" y="17281"/>
                  <a:pt x="21250" y="17218"/>
                  <a:pt x="21094" y="17124"/>
                </a:cubicBezTo>
                <a:cubicBezTo>
                  <a:pt x="21063" y="17124"/>
                  <a:pt x="21000" y="17124"/>
                  <a:pt x="20969" y="17124"/>
                </a:cubicBezTo>
                <a:cubicBezTo>
                  <a:pt x="20875" y="17124"/>
                  <a:pt x="20875" y="17156"/>
                  <a:pt x="20906" y="17312"/>
                </a:cubicBezTo>
                <a:cubicBezTo>
                  <a:pt x="20906" y="17343"/>
                  <a:pt x="20875" y="17374"/>
                  <a:pt x="20938" y="17374"/>
                </a:cubicBezTo>
                <a:cubicBezTo>
                  <a:pt x="20875" y="17437"/>
                  <a:pt x="20938" y="17531"/>
                  <a:pt x="20906" y="17593"/>
                </a:cubicBezTo>
                <a:cubicBezTo>
                  <a:pt x="20906" y="17593"/>
                  <a:pt x="20938" y="17624"/>
                  <a:pt x="20938" y="17624"/>
                </a:cubicBezTo>
                <a:cubicBezTo>
                  <a:pt x="21000" y="17624"/>
                  <a:pt x="21094" y="17687"/>
                  <a:pt x="21156" y="17718"/>
                </a:cubicBezTo>
                <a:cubicBezTo>
                  <a:pt x="21156" y="17718"/>
                  <a:pt x="21156" y="17718"/>
                  <a:pt x="21156" y="17749"/>
                </a:cubicBezTo>
                <a:cubicBezTo>
                  <a:pt x="21125" y="17749"/>
                  <a:pt x="21094" y="17749"/>
                  <a:pt x="21063" y="17718"/>
                </a:cubicBezTo>
                <a:cubicBezTo>
                  <a:pt x="20938" y="17687"/>
                  <a:pt x="20813" y="17624"/>
                  <a:pt x="20719" y="17562"/>
                </a:cubicBezTo>
                <a:cubicBezTo>
                  <a:pt x="20594" y="17531"/>
                  <a:pt x="20500" y="17468"/>
                  <a:pt x="20375" y="17437"/>
                </a:cubicBezTo>
                <a:cubicBezTo>
                  <a:pt x="20375" y="17437"/>
                  <a:pt x="20313" y="17406"/>
                  <a:pt x="20375" y="17374"/>
                </a:cubicBezTo>
                <a:cubicBezTo>
                  <a:pt x="20500" y="17437"/>
                  <a:pt x="20625" y="17468"/>
                  <a:pt x="20750" y="17531"/>
                </a:cubicBezTo>
                <a:cubicBezTo>
                  <a:pt x="20781" y="17562"/>
                  <a:pt x="20813" y="17562"/>
                  <a:pt x="20813" y="17562"/>
                </a:cubicBezTo>
                <a:cubicBezTo>
                  <a:pt x="20844" y="17531"/>
                  <a:pt x="20813" y="17499"/>
                  <a:pt x="20813" y="17499"/>
                </a:cubicBezTo>
                <a:cubicBezTo>
                  <a:pt x="20781" y="17468"/>
                  <a:pt x="20781" y="17468"/>
                  <a:pt x="20781" y="17468"/>
                </a:cubicBezTo>
                <a:cubicBezTo>
                  <a:pt x="20844" y="17406"/>
                  <a:pt x="20813" y="17343"/>
                  <a:pt x="20781" y="17312"/>
                </a:cubicBezTo>
                <a:cubicBezTo>
                  <a:pt x="20719" y="17156"/>
                  <a:pt x="20469" y="16968"/>
                  <a:pt x="20313" y="16968"/>
                </a:cubicBezTo>
                <a:cubicBezTo>
                  <a:pt x="20219" y="16968"/>
                  <a:pt x="20188" y="16999"/>
                  <a:pt x="20188" y="17093"/>
                </a:cubicBezTo>
                <a:cubicBezTo>
                  <a:pt x="20219" y="17156"/>
                  <a:pt x="20250" y="17187"/>
                  <a:pt x="20219" y="17218"/>
                </a:cubicBezTo>
                <a:cubicBezTo>
                  <a:pt x="20188" y="17312"/>
                  <a:pt x="20250" y="17312"/>
                  <a:pt x="20313" y="17343"/>
                </a:cubicBezTo>
                <a:cubicBezTo>
                  <a:pt x="20313" y="17374"/>
                  <a:pt x="20281" y="17374"/>
                  <a:pt x="20250" y="17374"/>
                </a:cubicBezTo>
                <a:cubicBezTo>
                  <a:pt x="20156" y="17312"/>
                  <a:pt x="20031" y="17281"/>
                  <a:pt x="19938" y="17249"/>
                </a:cubicBezTo>
                <a:cubicBezTo>
                  <a:pt x="19719" y="17156"/>
                  <a:pt x="19500" y="17031"/>
                  <a:pt x="19250" y="16999"/>
                </a:cubicBezTo>
                <a:cubicBezTo>
                  <a:pt x="19219" y="16937"/>
                  <a:pt x="19156" y="16937"/>
                  <a:pt x="19094" y="16937"/>
                </a:cubicBezTo>
                <a:cubicBezTo>
                  <a:pt x="18969" y="16843"/>
                  <a:pt x="18844" y="16812"/>
                  <a:pt x="18688" y="16781"/>
                </a:cubicBezTo>
                <a:cubicBezTo>
                  <a:pt x="18656" y="16749"/>
                  <a:pt x="18625" y="16749"/>
                  <a:pt x="18594" y="16718"/>
                </a:cubicBezTo>
                <a:cubicBezTo>
                  <a:pt x="18500" y="16687"/>
                  <a:pt x="18406" y="16656"/>
                  <a:pt x="18313" y="16656"/>
                </a:cubicBezTo>
                <a:cubicBezTo>
                  <a:pt x="18313" y="16656"/>
                  <a:pt x="18313" y="16624"/>
                  <a:pt x="18313" y="16624"/>
                </a:cubicBezTo>
                <a:cubicBezTo>
                  <a:pt x="18188" y="16593"/>
                  <a:pt x="18063" y="16531"/>
                  <a:pt x="17906" y="16531"/>
                </a:cubicBezTo>
                <a:cubicBezTo>
                  <a:pt x="17875" y="16499"/>
                  <a:pt x="17813" y="16531"/>
                  <a:pt x="17781" y="16499"/>
                </a:cubicBezTo>
                <a:cubicBezTo>
                  <a:pt x="17781" y="16468"/>
                  <a:pt x="17781" y="16468"/>
                  <a:pt x="17750" y="16468"/>
                </a:cubicBezTo>
                <a:cubicBezTo>
                  <a:pt x="17656" y="16468"/>
                  <a:pt x="17563" y="16406"/>
                  <a:pt x="17438" y="16374"/>
                </a:cubicBezTo>
                <a:cubicBezTo>
                  <a:pt x="17344" y="16343"/>
                  <a:pt x="17250" y="16343"/>
                  <a:pt x="17156" y="16312"/>
                </a:cubicBezTo>
                <a:cubicBezTo>
                  <a:pt x="16906" y="16218"/>
                  <a:pt x="16656" y="16187"/>
                  <a:pt x="16375" y="16124"/>
                </a:cubicBezTo>
                <a:cubicBezTo>
                  <a:pt x="16219" y="16093"/>
                  <a:pt x="16031" y="16062"/>
                  <a:pt x="15875" y="16031"/>
                </a:cubicBezTo>
                <a:cubicBezTo>
                  <a:pt x="15813" y="16031"/>
                  <a:pt x="15781" y="16031"/>
                  <a:pt x="15719" y="16031"/>
                </a:cubicBezTo>
                <a:cubicBezTo>
                  <a:pt x="15500" y="15937"/>
                  <a:pt x="15313" y="15937"/>
                  <a:pt x="15094" y="15906"/>
                </a:cubicBezTo>
                <a:cubicBezTo>
                  <a:pt x="15031" y="15906"/>
                  <a:pt x="14969" y="15906"/>
                  <a:pt x="14906" y="15999"/>
                </a:cubicBezTo>
                <a:cubicBezTo>
                  <a:pt x="14969" y="15874"/>
                  <a:pt x="14906" y="15906"/>
                  <a:pt x="14844" y="15874"/>
                </a:cubicBezTo>
                <a:cubicBezTo>
                  <a:pt x="14688" y="15843"/>
                  <a:pt x="14500" y="15874"/>
                  <a:pt x="14344" y="15843"/>
                </a:cubicBezTo>
                <a:cubicBezTo>
                  <a:pt x="14281" y="15843"/>
                  <a:pt x="14250" y="15874"/>
                  <a:pt x="14250" y="15937"/>
                </a:cubicBezTo>
                <a:cubicBezTo>
                  <a:pt x="14250" y="15906"/>
                  <a:pt x="14250" y="15906"/>
                  <a:pt x="14250" y="15906"/>
                </a:cubicBezTo>
                <a:cubicBezTo>
                  <a:pt x="14250" y="15906"/>
                  <a:pt x="14250" y="15906"/>
                  <a:pt x="14250" y="15906"/>
                </a:cubicBezTo>
                <a:cubicBezTo>
                  <a:pt x="14250" y="15906"/>
                  <a:pt x="14250" y="15906"/>
                  <a:pt x="14250" y="15906"/>
                </a:cubicBezTo>
                <a:cubicBezTo>
                  <a:pt x="14250" y="15906"/>
                  <a:pt x="14250" y="15906"/>
                  <a:pt x="14250" y="15937"/>
                </a:cubicBezTo>
                <a:cubicBezTo>
                  <a:pt x="14250" y="15937"/>
                  <a:pt x="14250" y="15937"/>
                  <a:pt x="14250" y="15937"/>
                </a:cubicBezTo>
                <a:cubicBezTo>
                  <a:pt x="14281" y="15968"/>
                  <a:pt x="14313" y="16031"/>
                  <a:pt x="14344" y="15937"/>
                </a:cubicBezTo>
                <a:cubicBezTo>
                  <a:pt x="14344" y="15906"/>
                  <a:pt x="14375" y="15906"/>
                  <a:pt x="14375" y="15937"/>
                </a:cubicBezTo>
                <a:cubicBezTo>
                  <a:pt x="14406" y="15968"/>
                  <a:pt x="14375" y="15937"/>
                  <a:pt x="14438" y="15937"/>
                </a:cubicBezTo>
                <a:cubicBezTo>
                  <a:pt x="14469" y="15906"/>
                  <a:pt x="14438" y="15968"/>
                  <a:pt x="14469" y="15968"/>
                </a:cubicBezTo>
                <a:cubicBezTo>
                  <a:pt x="14438" y="15968"/>
                  <a:pt x="14438" y="15968"/>
                  <a:pt x="14438" y="15968"/>
                </a:cubicBezTo>
                <a:cubicBezTo>
                  <a:pt x="14406" y="15999"/>
                  <a:pt x="14406" y="15999"/>
                  <a:pt x="14375" y="15999"/>
                </a:cubicBezTo>
                <a:cubicBezTo>
                  <a:pt x="14375" y="15999"/>
                  <a:pt x="14375" y="15999"/>
                  <a:pt x="14375" y="15999"/>
                </a:cubicBezTo>
                <a:cubicBezTo>
                  <a:pt x="14344" y="15999"/>
                  <a:pt x="14344" y="15999"/>
                  <a:pt x="14344" y="16031"/>
                </a:cubicBezTo>
                <a:cubicBezTo>
                  <a:pt x="14344" y="16031"/>
                  <a:pt x="14344" y="16031"/>
                  <a:pt x="14313" y="16031"/>
                </a:cubicBezTo>
                <a:cubicBezTo>
                  <a:pt x="14281" y="16031"/>
                  <a:pt x="14313" y="16062"/>
                  <a:pt x="14313" y="16062"/>
                </a:cubicBezTo>
                <a:cubicBezTo>
                  <a:pt x="14313" y="16093"/>
                  <a:pt x="14313" y="16156"/>
                  <a:pt x="14344" y="16187"/>
                </a:cubicBezTo>
                <a:cubicBezTo>
                  <a:pt x="14375" y="16249"/>
                  <a:pt x="14438" y="16218"/>
                  <a:pt x="14500" y="16218"/>
                </a:cubicBezTo>
                <a:cubicBezTo>
                  <a:pt x="14531" y="16218"/>
                  <a:pt x="14531" y="16218"/>
                  <a:pt x="14563" y="16218"/>
                </a:cubicBezTo>
                <a:cubicBezTo>
                  <a:pt x="14563" y="16249"/>
                  <a:pt x="14594" y="16281"/>
                  <a:pt x="14625" y="16281"/>
                </a:cubicBezTo>
                <a:cubicBezTo>
                  <a:pt x="14594" y="16187"/>
                  <a:pt x="14531" y="16124"/>
                  <a:pt x="14500" y="16031"/>
                </a:cubicBezTo>
                <a:cubicBezTo>
                  <a:pt x="14500" y="16062"/>
                  <a:pt x="14531" y="16062"/>
                  <a:pt x="14531" y="16062"/>
                </a:cubicBezTo>
                <a:cubicBezTo>
                  <a:pt x="14594" y="16124"/>
                  <a:pt x="14625" y="16218"/>
                  <a:pt x="14719" y="16312"/>
                </a:cubicBezTo>
                <a:cubicBezTo>
                  <a:pt x="14688" y="16187"/>
                  <a:pt x="14688" y="16124"/>
                  <a:pt x="14688" y="16031"/>
                </a:cubicBezTo>
                <a:cubicBezTo>
                  <a:pt x="14719" y="16062"/>
                  <a:pt x="14719" y="16093"/>
                  <a:pt x="14750" y="16093"/>
                </a:cubicBezTo>
                <a:cubicBezTo>
                  <a:pt x="14750" y="16093"/>
                  <a:pt x="14750" y="16093"/>
                  <a:pt x="14750" y="16093"/>
                </a:cubicBezTo>
                <a:cubicBezTo>
                  <a:pt x="14750" y="16156"/>
                  <a:pt x="14750" y="16187"/>
                  <a:pt x="14750" y="16249"/>
                </a:cubicBezTo>
                <a:cubicBezTo>
                  <a:pt x="14750" y="16281"/>
                  <a:pt x="14813" y="16281"/>
                  <a:pt x="14813" y="16312"/>
                </a:cubicBezTo>
                <a:cubicBezTo>
                  <a:pt x="14781" y="16343"/>
                  <a:pt x="14750" y="16343"/>
                  <a:pt x="14719" y="16343"/>
                </a:cubicBezTo>
                <a:cubicBezTo>
                  <a:pt x="14656" y="16343"/>
                  <a:pt x="14594" y="16312"/>
                  <a:pt x="14563" y="16281"/>
                </a:cubicBezTo>
                <a:cubicBezTo>
                  <a:pt x="14500" y="16218"/>
                  <a:pt x="14469" y="16218"/>
                  <a:pt x="14438" y="16281"/>
                </a:cubicBezTo>
                <a:cubicBezTo>
                  <a:pt x="14406" y="16312"/>
                  <a:pt x="14375" y="16343"/>
                  <a:pt x="14313" y="16312"/>
                </a:cubicBezTo>
                <a:cubicBezTo>
                  <a:pt x="14281" y="16312"/>
                  <a:pt x="14188" y="16312"/>
                  <a:pt x="14250" y="16218"/>
                </a:cubicBezTo>
                <a:cubicBezTo>
                  <a:pt x="14250" y="16218"/>
                  <a:pt x="14219" y="16218"/>
                  <a:pt x="14219" y="16187"/>
                </a:cubicBezTo>
                <a:cubicBezTo>
                  <a:pt x="14188" y="16187"/>
                  <a:pt x="14188" y="16187"/>
                  <a:pt x="14188" y="16156"/>
                </a:cubicBezTo>
                <a:cubicBezTo>
                  <a:pt x="14188" y="16156"/>
                  <a:pt x="14188" y="16124"/>
                  <a:pt x="14156" y="16156"/>
                </a:cubicBezTo>
                <a:cubicBezTo>
                  <a:pt x="14156" y="16156"/>
                  <a:pt x="14156" y="16124"/>
                  <a:pt x="14156" y="16124"/>
                </a:cubicBezTo>
                <a:cubicBezTo>
                  <a:pt x="14156" y="16124"/>
                  <a:pt x="14156" y="16124"/>
                  <a:pt x="14156" y="16124"/>
                </a:cubicBezTo>
                <a:cubicBezTo>
                  <a:pt x="14156" y="16124"/>
                  <a:pt x="14156" y="16124"/>
                  <a:pt x="14156" y="16124"/>
                </a:cubicBezTo>
                <a:cubicBezTo>
                  <a:pt x="14156" y="16031"/>
                  <a:pt x="14063" y="15968"/>
                  <a:pt x="14031" y="15874"/>
                </a:cubicBezTo>
                <a:cubicBezTo>
                  <a:pt x="14000" y="15906"/>
                  <a:pt x="14031" y="15937"/>
                  <a:pt x="14000" y="15968"/>
                </a:cubicBezTo>
                <a:cubicBezTo>
                  <a:pt x="14000" y="15937"/>
                  <a:pt x="13969" y="15906"/>
                  <a:pt x="13938" y="15874"/>
                </a:cubicBezTo>
                <a:cubicBezTo>
                  <a:pt x="14000" y="15874"/>
                  <a:pt x="14094" y="15843"/>
                  <a:pt x="14125" y="15906"/>
                </a:cubicBezTo>
                <a:cubicBezTo>
                  <a:pt x="14125" y="15906"/>
                  <a:pt x="14125" y="15906"/>
                  <a:pt x="14125" y="15906"/>
                </a:cubicBezTo>
                <a:cubicBezTo>
                  <a:pt x="14125" y="15937"/>
                  <a:pt x="14188" y="15968"/>
                  <a:pt x="14219" y="16031"/>
                </a:cubicBezTo>
                <a:cubicBezTo>
                  <a:pt x="14219" y="16031"/>
                  <a:pt x="14219" y="16062"/>
                  <a:pt x="14250" y="16062"/>
                </a:cubicBezTo>
                <a:cubicBezTo>
                  <a:pt x="14281" y="16031"/>
                  <a:pt x="14281" y="15999"/>
                  <a:pt x="14250" y="15999"/>
                </a:cubicBezTo>
                <a:cubicBezTo>
                  <a:pt x="14250" y="15968"/>
                  <a:pt x="14250" y="15937"/>
                  <a:pt x="14250" y="15937"/>
                </a:cubicBezTo>
                <a:cubicBezTo>
                  <a:pt x="14188" y="15937"/>
                  <a:pt x="14219" y="15906"/>
                  <a:pt x="14219" y="15874"/>
                </a:cubicBezTo>
                <a:cubicBezTo>
                  <a:pt x="14219" y="15812"/>
                  <a:pt x="14188" y="15843"/>
                  <a:pt x="14156" y="15843"/>
                </a:cubicBezTo>
                <a:cubicBezTo>
                  <a:pt x="14094" y="15843"/>
                  <a:pt x="14031" y="15843"/>
                  <a:pt x="13938" y="15843"/>
                </a:cubicBezTo>
                <a:cubicBezTo>
                  <a:pt x="13906" y="15812"/>
                  <a:pt x="13875" y="15812"/>
                  <a:pt x="13844" y="15812"/>
                </a:cubicBezTo>
                <a:cubicBezTo>
                  <a:pt x="13594" y="15812"/>
                  <a:pt x="13344" y="15749"/>
                  <a:pt x="13094" y="15874"/>
                </a:cubicBezTo>
                <a:cubicBezTo>
                  <a:pt x="13094" y="15843"/>
                  <a:pt x="13156" y="15843"/>
                  <a:pt x="13125" y="15812"/>
                </a:cubicBezTo>
                <a:cubicBezTo>
                  <a:pt x="13031" y="15843"/>
                  <a:pt x="12875" y="15718"/>
                  <a:pt x="12813" y="15906"/>
                </a:cubicBezTo>
                <a:cubicBezTo>
                  <a:pt x="12813" y="15906"/>
                  <a:pt x="12813" y="15906"/>
                  <a:pt x="12813" y="15906"/>
                </a:cubicBezTo>
                <a:cubicBezTo>
                  <a:pt x="12781" y="15906"/>
                  <a:pt x="12781" y="15874"/>
                  <a:pt x="12781" y="15874"/>
                </a:cubicBezTo>
                <a:cubicBezTo>
                  <a:pt x="12781" y="15812"/>
                  <a:pt x="12781" y="15812"/>
                  <a:pt x="12719" y="15812"/>
                </a:cubicBezTo>
                <a:cubicBezTo>
                  <a:pt x="12438" y="15843"/>
                  <a:pt x="12156" y="15843"/>
                  <a:pt x="11844" y="15874"/>
                </a:cubicBezTo>
                <a:cubicBezTo>
                  <a:pt x="11750" y="15874"/>
                  <a:pt x="11656" y="15874"/>
                  <a:pt x="11563" y="15906"/>
                </a:cubicBezTo>
                <a:cubicBezTo>
                  <a:pt x="11531" y="15937"/>
                  <a:pt x="11469" y="15937"/>
                  <a:pt x="11438" y="15937"/>
                </a:cubicBezTo>
                <a:cubicBezTo>
                  <a:pt x="11375" y="15937"/>
                  <a:pt x="11344" y="15906"/>
                  <a:pt x="11313" y="15937"/>
                </a:cubicBezTo>
                <a:cubicBezTo>
                  <a:pt x="11313" y="15937"/>
                  <a:pt x="11313" y="15937"/>
                  <a:pt x="11313" y="15937"/>
                </a:cubicBezTo>
                <a:cubicBezTo>
                  <a:pt x="11250" y="15968"/>
                  <a:pt x="11219" y="15968"/>
                  <a:pt x="11188" y="15968"/>
                </a:cubicBezTo>
                <a:cubicBezTo>
                  <a:pt x="11125" y="15968"/>
                  <a:pt x="11063" y="15968"/>
                  <a:pt x="11031" y="15968"/>
                </a:cubicBezTo>
                <a:cubicBezTo>
                  <a:pt x="11000" y="15968"/>
                  <a:pt x="10969" y="15968"/>
                  <a:pt x="10969" y="16031"/>
                </a:cubicBezTo>
                <a:cubicBezTo>
                  <a:pt x="10875" y="15999"/>
                  <a:pt x="10813" y="16031"/>
                  <a:pt x="10750" y="16031"/>
                </a:cubicBezTo>
                <a:cubicBezTo>
                  <a:pt x="10594" y="16062"/>
                  <a:pt x="10438" y="16093"/>
                  <a:pt x="10250" y="16124"/>
                </a:cubicBezTo>
                <a:cubicBezTo>
                  <a:pt x="10188" y="16156"/>
                  <a:pt x="10188" y="16187"/>
                  <a:pt x="10188" y="16249"/>
                </a:cubicBezTo>
                <a:cubicBezTo>
                  <a:pt x="10188" y="16281"/>
                  <a:pt x="10219" y="16312"/>
                  <a:pt x="10281" y="16312"/>
                </a:cubicBezTo>
                <a:cubicBezTo>
                  <a:pt x="10281" y="16312"/>
                  <a:pt x="10313" y="16312"/>
                  <a:pt x="10344" y="16343"/>
                </a:cubicBezTo>
                <a:cubicBezTo>
                  <a:pt x="10344" y="16343"/>
                  <a:pt x="10344" y="16343"/>
                  <a:pt x="10344" y="16343"/>
                </a:cubicBezTo>
                <a:cubicBezTo>
                  <a:pt x="10375" y="16343"/>
                  <a:pt x="10438" y="16343"/>
                  <a:pt x="10531" y="16374"/>
                </a:cubicBezTo>
                <a:cubicBezTo>
                  <a:pt x="10500" y="16281"/>
                  <a:pt x="10406" y="16249"/>
                  <a:pt x="10375" y="16187"/>
                </a:cubicBezTo>
                <a:cubicBezTo>
                  <a:pt x="10438" y="16156"/>
                  <a:pt x="10469" y="16187"/>
                  <a:pt x="10500" y="16218"/>
                </a:cubicBezTo>
                <a:cubicBezTo>
                  <a:pt x="10563" y="16249"/>
                  <a:pt x="10594" y="16281"/>
                  <a:pt x="10625" y="16343"/>
                </a:cubicBezTo>
                <a:cubicBezTo>
                  <a:pt x="10656" y="16343"/>
                  <a:pt x="10656" y="16374"/>
                  <a:pt x="10688" y="16343"/>
                </a:cubicBezTo>
                <a:cubicBezTo>
                  <a:pt x="10688" y="16343"/>
                  <a:pt x="10688" y="16312"/>
                  <a:pt x="10688" y="16312"/>
                </a:cubicBezTo>
                <a:cubicBezTo>
                  <a:pt x="10688" y="16312"/>
                  <a:pt x="10719" y="16312"/>
                  <a:pt x="10719" y="16312"/>
                </a:cubicBezTo>
                <a:cubicBezTo>
                  <a:pt x="10750" y="16374"/>
                  <a:pt x="10813" y="16437"/>
                  <a:pt x="10813" y="16499"/>
                </a:cubicBezTo>
                <a:cubicBezTo>
                  <a:pt x="10844" y="16531"/>
                  <a:pt x="10969" y="16499"/>
                  <a:pt x="11000" y="16468"/>
                </a:cubicBezTo>
                <a:cubicBezTo>
                  <a:pt x="11000" y="16468"/>
                  <a:pt x="11000" y="16468"/>
                  <a:pt x="10969" y="16468"/>
                </a:cubicBezTo>
                <a:cubicBezTo>
                  <a:pt x="11000" y="16468"/>
                  <a:pt x="11000" y="16468"/>
                  <a:pt x="11000" y="16468"/>
                </a:cubicBezTo>
                <a:cubicBezTo>
                  <a:pt x="11031" y="16468"/>
                  <a:pt x="11031" y="16468"/>
                  <a:pt x="11031" y="16499"/>
                </a:cubicBezTo>
                <a:cubicBezTo>
                  <a:pt x="11031" y="16531"/>
                  <a:pt x="11031" y="16531"/>
                  <a:pt x="11063" y="16531"/>
                </a:cubicBezTo>
                <a:cubicBezTo>
                  <a:pt x="11094" y="16499"/>
                  <a:pt x="11125" y="16499"/>
                  <a:pt x="11125" y="16468"/>
                </a:cubicBezTo>
                <a:cubicBezTo>
                  <a:pt x="11063" y="16406"/>
                  <a:pt x="11031" y="16312"/>
                  <a:pt x="10938" y="16281"/>
                </a:cubicBezTo>
                <a:cubicBezTo>
                  <a:pt x="10938" y="16281"/>
                  <a:pt x="10938" y="16281"/>
                  <a:pt x="10938" y="16281"/>
                </a:cubicBezTo>
                <a:cubicBezTo>
                  <a:pt x="10938" y="16249"/>
                  <a:pt x="10938" y="16249"/>
                  <a:pt x="10969" y="16218"/>
                </a:cubicBezTo>
                <a:cubicBezTo>
                  <a:pt x="11031" y="16218"/>
                  <a:pt x="11063" y="16312"/>
                  <a:pt x="11125" y="16312"/>
                </a:cubicBezTo>
                <a:cubicBezTo>
                  <a:pt x="11063" y="16406"/>
                  <a:pt x="11156" y="16406"/>
                  <a:pt x="11188" y="16468"/>
                </a:cubicBezTo>
                <a:cubicBezTo>
                  <a:pt x="11188" y="16468"/>
                  <a:pt x="11219" y="16468"/>
                  <a:pt x="11219" y="16468"/>
                </a:cubicBezTo>
                <a:cubicBezTo>
                  <a:pt x="11219" y="16406"/>
                  <a:pt x="11156" y="16374"/>
                  <a:pt x="11188" y="16312"/>
                </a:cubicBezTo>
                <a:cubicBezTo>
                  <a:pt x="11188" y="16312"/>
                  <a:pt x="11188" y="16281"/>
                  <a:pt x="11219" y="16281"/>
                </a:cubicBezTo>
                <a:cubicBezTo>
                  <a:pt x="11219" y="16343"/>
                  <a:pt x="11281" y="16406"/>
                  <a:pt x="11281" y="16468"/>
                </a:cubicBezTo>
                <a:cubicBezTo>
                  <a:pt x="11281" y="16468"/>
                  <a:pt x="11281" y="16468"/>
                  <a:pt x="11281" y="16468"/>
                </a:cubicBezTo>
                <a:cubicBezTo>
                  <a:pt x="11250" y="16499"/>
                  <a:pt x="11250" y="16499"/>
                  <a:pt x="11219" y="16468"/>
                </a:cubicBezTo>
                <a:cubicBezTo>
                  <a:pt x="11219" y="16468"/>
                  <a:pt x="11188" y="16468"/>
                  <a:pt x="11188" y="16468"/>
                </a:cubicBezTo>
                <a:cubicBezTo>
                  <a:pt x="11156" y="16531"/>
                  <a:pt x="11219" y="16531"/>
                  <a:pt x="11250" y="16593"/>
                </a:cubicBezTo>
                <a:cubicBezTo>
                  <a:pt x="11219" y="16624"/>
                  <a:pt x="11156" y="16593"/>
                  <a:pt x="11156" y="16624"/>
                </a:cubicBezTo>
                <a:cubicBezTo>
                  <a:pt x="11125" y="16593"/>
                  <a:pt x="11063" y="16593"/>
                  <a:pt x="11031" y="16593"/>
                </a:cubicBezTo>
                <a:cubicBezTo>
                  <a:pt x="10938" y="16593"/>
                  <a:pt x="10969" y="16624"/>
                  <a:pt x="11000" y="16656"/>
                </a:cubicBezTo>
                <a:cubicBezTo>
                  <a:pt x="10875" y="16718"/>
                  <a:pt x="10813" y="16656"/>
                  <a:pt x="10750" y="16562"/>
                </a:cubicBezTo>
                <a:cubicBezTo>
                  <a:pt x="10750" y="16531"/>
                  <a:pt x="10719" y="16499"/>
                  <a:pt x="10688" y="16531"/>
                </a:cubicBezTo>
                <a:cubicBezTo>
                  <a:pt x="10688" y="16531"/>
                  <a:pt x="10688" y="16531"/>
                  <a:pt x="10688" y="16531"/>
                </a:cubicBezTo>
                <a:cubicBezTo>
                  <a:pt x="10688" y="16531"/>
                  <a:pt x="10688" y="16531"/>
                  <a:pt x="10688" y="16531"/>
                </a:cubicBezTo>
                <a:cubicBezTo>
                  <a:pt x="10688" y="16499"/>
                  <a:pt x="10688" y="16468"/>
                  <a:pt x="10656" y="16468"/>
                </a:cubicBezTo>
                <a:cubicBezTo>
                  <a:pt x="10625" y="16468"/>
                  <a:pt x="10625" y="16499"/>
                  <a:pt x="10625" y="16499"/>
                </a:cubicBezTo>
                <a:cubicBezTo>
                  <a:pt x="10594" y="16499"/>
                  <a:pt x="10594" y="16468"/>
                  <a:pt x="10594" y="16468"/>
                </a:cubicBezTo>
                <a:cubicBezTo>
                  <a:pt x="10563" y="16406"/>
                  <a:pt x="10531" y="16437"/>
                  <a:pt x="10500" y="16437"/>
                </a:cubicBezTo>
                <a:cubicBezTo>
                  <a:pt x="10469" y="16468"/>
                  <a:pt x="10469" y="16499"/>
                  <a:pt x="10500" y="16499"/>
                </a:cubicBezTo>
                <a:cubicBezTo>
                  <a:pt x="10500" y="16531"/>
                  <a:pt x="10531" y="16562"/>
                  <a:pt x="10531" y="16593"/>
                </a:cubicBezTo>
                <a:cubicBezTo>
                  <a:pt x="10531" y="16624"/>
                  <a:pt x="10563" y="16656"/>
                  <a:pt x="10500" y="16656"/>
                </a:cubicBezTo>
                <a:cubicBezTo>
                  <a:pt x="10500" y="16656"/>
                  <a:pt x="10500" y="16656"/>
                  <a:pt x="10500" y="16656"/>
                </a:cubicBezTo>
                <a:cubicBezTo>
                  <a:pt x="10500" y="16656"/>
                  <a:pt x="10500" y="16656"/>
                  <a:pt x="10500" y="16656"/>
                </a:cubicBezTo>
                <a:cubicBezTo>
                  <a:pt x="10500" y="16656"/>
                  <a:pt x="10500" y="16656"/>
                  <a:pt x="10500" y="16656"/>
                </a:cubicBezTo>
                <a:cubicBezTo>
                  <a:pt x="10469" y="16593"/>
                  <a:pt x="10469" y="16499"/>
                  <a:pt x="10375" y="16437"/>
                </a:cubicBezTo>
                <a:cubicBezTo>
                  <a:pt x="10406" y="16406"/>
                  <a:pt x="10344" y="16374"/>
                  <a:pt x="10344" y="16343"/>
                </a:cubicBezTo>
                <a:lnTo>
                  <a:pt x="10344" y="16343"/>
                </a:lnTo>
                <a:cubicBezTo>
                  <a:pt x="10344" y="16343"/>
                  <a:pt x="10344" y="16343"/>
                  <a:pt x="10344" y="16343"/>
                </a:cubicBezTo>
                <a:cubicBezTo>
                  <a:pt x="10281" y="16343"/>
                  <a:pt x="10188" y="16343"/>
                  <a:pt x="10219" y="16468"/>
                </a:cubicBezTo>
                <a:cubicBezTo>
                  <a:pt x="10219" y="16468"/>
                  <a:pt x="10219" y="16468"/>
                  <a:pt x="10219" y="16468"/>
                </a:cubicBezTo>
                <a:cubicBezTo>
                  <a:pt x="10219" y="16468"/>
                  <a:pt x="10219" y="16468"/>
                  <a:pt x="10219" y="16468"/>
                </a:cubicBezTo>
                <a:cubicBezTo>
                  <a:pt x="10188" y="16468"/>
                  <a:pt x="10188" y="16468"/>
                  <a:pt x="10156" y="16468"/>
                </a:cubicBezTo>
                <a:cubicBezTo>
                  <a:pt x="10156" y="16468"/>
                  <a:pt x="10156" y="16437"/>
                  <a:pt x="10156" y="16437"/>
                </a:cubicBezTo>
                <a:cubicBezTo>
                  <a:pt x="10125" y="16406"/>
                  <a:pt x="10063" y="16406"/>
                  <a:pt x="10031" y="16437"/>
                </a:cubicBezTo>
                <a:cubicBezTo>
                  <a:pt x="10000" y="16468"/>
                  <a:pt x="10063" y="16499"/>
                  <a:pt x="10094" y="16499"/>
                </a:cubicBezTo>
                <a:cubicBezTo>
                  <a:pt x="10125" y="16531"/>
                  <a:pt x="10188" y="16562"/>
                  <a:pt x="10250" y="16593"/>
                </a:cubicBezTo>
                <a:cubicBezTo>
                  <a:pt x="10250" y="16593"/>
                  <a:pt x="10281" y="16624"/>
                  <a:pt x="10281" y="16656"/>
                </a:cubicBezTo>
                <a:cubicBezTo>
                  <a:pt x="10219" y="16687"/>
                  <a:pt x="10156" y="16593"/>
                  <a:pt x="10094" y="16593"/>
                </a:cubicBezTo>
                <a:cubicBezTo>
                  <a:pt x="10094" y="16593"/>
                  <a:pt x="10094" y="16593"/>
                  <a:pt x="10094" y="16593"/>
                </a:cubicBezTo>
                <a:cubicBezTo>
                  <a:pt x="10094" y="16562"/>
                  <a:pt x="10094" y="16562"/>
                  <a:pt x="10063" y="16562"/>
                </a:cubicBezTo>
                <a:cubicBezTo>
                  <a:pt x="10063" y="16562"/>
                  <a:pt x="10031" y="16531"/>
                  <a:pt x="10000" y="16531"/>
                </a:cubicBezTo>
                <a:cubicBezTo>
                  <a:pt x="10000" y="16562"/>
                  <a:pt x="9969" y="16593"/>
                  <a:pt x="10000" y="16593"/>
                </a:cubicBezTo>
                <a:cubicBezTo>
                  <a:pt x="10031" y="16593"/>
                  <a:pt x="10031" y="16656"/>
                  <a:pt x="10063" y="16656"/>
                </a:cubicBezTo>
                <a:cubicBezTo>
                  <a:pt x="10094" y="16749"/>
                  <a:pt x="10094" y="16843"/>
                  <a:pt x="10219" y="16874"/>
                </a:cubicBezTo>
                <a:cubicBezTo>
                  <a:pt x="10125" y="16906"/>
                  <a:pt x="10125" y="16906"/>
                  <a:pt x="10063" y="16843"/>
                </a:cubicBezTo>
                <a:lnTo>
                  <a:pt x="10063" y="16843"/>
                </a:lnTo>
                <a:cubicBezTo>
                  <a:pt x="10000" y="16906"/>
                  <a:pt x="9938" y="16968"/>
                  <a:pt x="9875" y="16999"/>
                </a:cubicBezTo>
                <a:cubicBezTo>
                  <a:pt x="9750" y="17062"/>
                  <a:pt x="9688" y="16968"/>
                  <a:pt x="9625" y="16906"/>
                </a:cubicBezTo>
                <a:cubicBezTo>
                  <a:pt x="9625" y="16906"/>
                  <a:pt x="9625" y="16937"/>
                  <a:pt x="9594" y="16937"/>
                </a:cubicBezTo>
                <a:cubicBezTo>
                  <a:pt x="9625" y="16968"/>
                  <a:pt x="9625" y="16999"/>
                  <a:pt x="9594" y="17031"/>
                </a:cubicBezTo>
                <a:cubicBezTo>
                  <a:pt x="9563" y="17093"/>
                  <a:pt x="9531" y="17093"/>
                  <a:pt x="9531" y="17062"/>
                </a:cubicBezTo>
                <a:cubicBezTo>
                  <a:pt x="9500" y="17031"/>
                  <a:pt x="9469" y="16999"/>
                  <a:pt x="9438" y="16968"/>
                </a:cubicBezTo>
                <a:cubicBezTo>
                  <a:pt x="9438" y="16968"/>
                  <a:pt x="9438" y="16999"/>
                  <a:pt x="9438" y="16999"/>
                </a:cubicBezTo>
                <a:cubicBezTo>
                  <a:pt x="9438" y="16999"/>
                  <a:pt x="9438" y="16968"/>
                  <a:pt x="9438" y="16968"/>
                </a:cubicBezTo>
                <a:cubicBezTo>
                  <a:pt x="9438" y="16937"/>
                  <a:pt x="9469" y="16937"/>
                  <a:pt x="9469" y="16937"/>
                </a:cubicBezTo>
                <a:cubicBezTo>
                  <a:pt x="9531" y="16968"/>
                  <a:pt x="9531" y="16906"/>
                  <a:pt x="9531" y="16906"/>
                </a:cubicBezTo>
                <a:cubicBezTo>
                  <a:pt x="9563" y="16906"/>
                  <a:pt x="9594" y="16906"/>
                  <a:pt x="9594" y="16937"/>
                </a:cubicBezTo>
                <a:cubicBezTo>
                  <a:pt x="9625" y="16937"/>
                  <a:pt x="9625" y="16906"/>
                  <a:pt x="9625" y="16906"/>
                </a:cubicBezTo>
                <a:cubicBezTo>
                  <a:pt x="9563" y="16843"/>
                  <a:pt x="9500" y="16781"/>
                  <a:pt x="9438" y="16718"/>
                </a:cubicBezTo>
                <a:cubicBezTo>
                  <a:pt x="9438" y="16687"/>
                  <a:pt x="9438" y="16687"/>
                  <a:pt x="9406" y="16656"/>
                </a:cubicBezTo>
                <a:cubicBezTo>
                  <a:pt x="9406" y="16656"/>
                  <a:pt x="9406" y="16656"/>
                  <a:pt x="9406" y="16656"/>
                </a:cubicBezTo>
                <a:cubicBezTo>
                  <a:pt x="9406" y="16656"/>
                  <a:pt x="9438" y="16656"/>
                  <a:pt x="9438" y="16656"/>
                </a:cubicBezTo>
                <a:cubicBezTo>
                  <a:pt x="9438" y="16656"/>
                  <a:pt x="9438" y="16656"/>
                  <a:pt x="9438" y="16656"/>
                </a:cubicBezTo>
                <a:cubicBezTo>
                  <a:pt x="9438" y="16687"/>
                  <a:pt x="9469" y="16687"/>
                  <a:pt x="9500" y="16687"/>
                </a:cubicBezTo>
                <a:cubicBezTo>
                  <a:pt x="9500" y="16687"/>
                  <a:pt x="9500" y="16687"/>
                  <a:pt x="9500" y="16687"/>
                </a:cubicBezTo>
                <a:cubicBezTo>
                  <a:pt x="9563" y="16718"/>
                  <a:pt x="9625" y="16812"/>
                  <a:pt x="9719" y="16874"/>
                </a:cubicBezTo>
                <a:cubicBezTo>
                  <a:pt x="9719" y="16874"/>
                  <a:pt x="9750" y="16874"/>
                  <a:pt x="9750" y="16874"/>
                </a:cubicBezTo>
                <a:lnTo>
                  <a:pt x="9750" y="16874"/>
                </a:lnTo>
                <a:cubicBezTo>
                  <a:pt x="9750" y="16874"/>
                  <a:pt x="9719" y="16874"/>
                  <a:pt x="9719" y="16874"/>
                </a:cubicBezTo>
                <a:cubicBezTo>
                  <a:pt x="9750" y="16781"/>
                  <a:pt x="9656" y="16718"/>
                  <a:pt x="9656" y="16656"/>
                </a:cubicBezTo>
                <a:cubicBezTo>
                  <a:pt x="9688" y="16656"/>
                  <a:pt x="9688" y="16656"/>
                  <a:pt x="9688" y="16656"/>
                </a:cubicBezTo>
                <a:cubicBezTo>
                  <a:pt x="9688" y="16656"/>
                  <a:pt x="9719" y="16656"/>
                  <a:pt x="9719" y="16656"/>
                </a:cubicBezTo>
                <a:lnTo>
                  <a:pt x="9719" y="16656"/>
                </a:lnTo>
                <a:cubicBezTo>
                  <a:pt x="9719" y="16656"/>
                  <a:pt x="9719" y="16656"/>
                  <a:pt x="9719" y="16687"/>
                </a:cubicBezTo>
                <a:cubicBezTo>
                  <a:pt x="9719" y="16656"/>
                  <a:pt x="9719" y="16656"/>
                  <a:pt x="9719" y="16656"/>
                </a:cubicBezTo>
                <a:cubicBezTo>
                  <a:pt x="9719" y="16656"/>
                  <a:pt x="9719" y="16656"/>
                  <a:pt x="9719" y="16687"/>
                </a:cubicBezTo>
                <a:cubicBezTo>
                  <a:pt x="9750" y="16749"/>
                  <a:pt x="9781" y="16812"/>
                  <a:pt x="9813" y="16906"/>
                </a:cubicBezTo>
                <a:cubicBezTo>
                  <a:pt x="9813" y="16781"/>
                  <a:pt x="9938" y="16843"/>
                  <a:pt x="9938" y="16781"/>
                </a:cubicBezTo>
                <a:cubicBezTo>
                  <a:pt x="9969" y="16687"/>
                  <a:pt x="9875" y="16656"/>
                  <a:pt x="9813" y="16593"/>
                </a:cubicBezTo>
                <a:cubicBezTo>
                  <a:pt x="9781" y="16562"/>
                  <a:pt x="9781" y="16531"/>
                  <a:pt x="9719" y="16562"/>
                </a:cubicBezTo>
                <a:cubicBezTo>
                  <a:pt x="9688" y="16562"/>
                  <a:pt x="9656" y="16593"/>
                  <a:pt x="9656" y="16656"/>
                </a:cubicBezTo>
                <a:cubicBezTo>
                  <a:pt x="9594" y="16656"/>
                  <a:pt x="9594" y="16562"/>
                  <a:pt x="9531" y="16593"/>
                </a:cubicBezTo>
                <a:cubicBezTo>
                  <a:pt x="9531" y="16593"/>
                  <a:pt x="9531" y="16593"/>
                  <a:pt x="9531" y="16593"/>
                </a:cubicBezTo>
                <a:cubicBezTo>
                  <a:pt x="9531" y="16562"/>
                  <a:pt x="9531" y="16562"/>
                  <a:pt x="9563" y="16531"/>
                </a:cubicBezTo>
                <a:cubicBezTo>
                  <a:pt x="9563" y="16531"/>
                  <a:pt x="9563" y="16531"/>
                  <a:pt x="9563" y="16531"/>
                </a:cubicBezTo>
                <a:cubicBezTo>
                  <a:pt x="9563" y="16531"/>
                  <a:pt x="9563" y="16531"/>
                  <a:pt x="9563" y="16531"/>
                </a:cubicBezTo>
                <a:cubicBezTo>
                  <a:pt x="9563" y="16499"/>
                  <a:pt x="9563" y="16499"/>
                  <a:pt x="9563" y="16499"/>
                </a:cubicBezTo>
                <a:cubicBezTo>
                  <a:pt x="9594" y="16437"/>
                  <a:pt x="9656" y="16531"/>
                  <a:pt x="9656" y="16468"/>
                </a:cubicBezTo>
                <a:cubicBezTo>
                  <a:pt x="9656" y="16406"/>
                  <a:pt x="9594" y="16437"/>
                  <a:pt x="9594" y="16406"/>
                </a:cubicBezTo>
                <a:cubicBezTo>
                  <a:pt x="9594" y="16374"/>
                  <a:pt x="9563" y="16343"/>
                  <a:pt x="9625" y="16343"/>
                </a:cubicBezTo>
                <a:cubicBezTo>
                  <a:pt x="9719" y="16374"/>
                  <a:pt x="9781" y="16437"/>
                  <a:pt x="9844" y="16499"/>
                </a:cubicBezTo>
                <a:cubicBezTo>
                  <a:pt x="9875" y="16531"/>
                  <a:pt x="9906" y="16562"/>
                  <a:pt x="9938" y="16593"/>
                </a:cubicBezTo>
                <a:cubicBezTo>
                  <a:pt x="9969" y="16593"/>
                  <a:pt x="9875" y="16468"/>
                  <a:pt x="10000" y="16531"/>
                </a:cubicBezTo>
                <a:cubicBezTo>
                  <a:pt x="9969" y="16468"/>
                  <a:pt x="9938" y="16406"/>
                  <a:pt x="9875" y="16374"/>
                </a:cubicBezTo>
                <a:cubicBezTo>
                  <a:pt x="9813" y="16343"/>
                  <a:pt x="9781" y="16374"/>
                  <a:pt x="9781" y="16281"/>
                </a:cubicBezTo>
                <a:cubicBezTo>
                  <a:pt x="9813" y="16249"/>
                  <a:pt x="9750" y="16249"/>
                  <a:pt x="9750" y="16249"/>
                </a:cubicBezTo>
                <a:cubicBezTo>
                  <a:pt x="9719" y="16281"/>
                  <a:pt x="9688" y="16281"/>
                  <a:pt x="9656" y="16281"/>
                </a:cubicBezTo>
                <a:cubicBezTo>
                  <a:pt x="9531" y="16312"/>
                  <a:pt x="9406" y="16343"/>
                  <a:pt x="9313" y="16406"/>
                </a:cubicBezTo>
                <a:cubicBezTo>
                  <a:pt x="9313" y="16406"/>
                  <a:pt x="9281" y="16406"/>
                  <a:pt x="9250" y="16406"/>
                </a:cubicBezTo>
                <a:cubicBezTo>
                  <a:pt x="9250" y="16406"/>
                  <a:pt x="9250" y="16406"/>
                  <a:pt x="9250" y="16406"/>
                </a:cubicBezTo>
                <a:cubicBezTo>
                  <a:pt x="9250" y="16406"/>
                  <a:pt x="9250" y="16437"/>
                  <a:pt x="9250" y="16437"/>
                </a:cubicBezTo>
                <a:cubicBezTo>
                  <a:pt x="9219" y="16406"/>
                  <a:pt x="9219" y="16406"/>
                  <a:pt x="9188" y="16437"/>
                </a:cubicBezTo>
                <a:cubicBezTo>
                  <a:pt x="9188" y="16437"/>
                  <a:pt x="9188" y="16437"/>
                  <a:pt x="9188" y="16437"/>
                </a:cubicBezTo>
                <a:cubicBezTo>
                  <a:pt x="9125" y="16437"/>
                  <a:pt x="9063" y="16468"/>
                  <a:pt x="9000" y="16468"/>
                </a:cubicBezTo>
                <a:cubicBezTo>
                  <a:pt x="9031" y="16343"/>
                  <a:pt x="9156" y="16312"/>
                  <a:pt x="9250" y="16281"/>
                </a:cubicBezTo>
                <a:cubicBezTo>
                  <a:pt x="9344" y="16249"/>
                  <a:pt x="9469" y="16249"/>
                  <a:pt x="9563" y="16187"/>
                </a:cubicBezTo>
                <a:cubicBezTo>
                  <a:pt x="9688" y="16156"/>
                  <a:pt x="9781" y="16093"/>
                  <a:pt x="9938" y="16093"/>
                </a:cubicBezTo>
                <a:cubicBezTo>
                  <a:pt x="10000" y="16093"/>
                  <a:pt x="10094" y="16062"/>
                  <a:pt x="10156" y="15999"/>
                </a:cubicBezTo>
                <a:cubicBezTo>
                  <a:pt x="10000" y="15937"/>
                  <a:pt x="9938" y="15906"/>
                  <a:pt x="9781" y="15937"/>
                </a:cubicBezTo>
                <a:cubicBezTo>
                  <a:pt x="9625" y="15937"/>
                  <a:pt x="9531" y="16031"/>
                  <a:pt x="9531" y="16156"/>
                </a:cubicBezTo>
                <a:cubicBezTo>
                  <a:pt x="9438" y="16156"/>
                  <a:pt x="9313" y="16218"/>
                  <a:pt x="9188" y="16249"/>
                </a:cubicBezTo>
                <a:cubicBezTo>
                  <a:pt x="9219" y="16187"/>
                  <a:pt x="9313" y="16187"/>
                  <a:pt x="9313" y="16124"/>
                </a:cubicBezTo>
                <a:cubicBezTo>
                  <a:pt x="9313" y="16124"/>
                  <a:pt x="9313" y="16124"/>
                  <a:pt x="9313" y="16124"/>
                </a:cubicBezTo>
                <a:cubicBezTo>
                  <a:pt x="9344" y="16124"/>
                  <a:pt x="9375" y="16093"/>
                  <a:pt x="9375" y="16062"/>
                </a:cubicBezTo>
                <a:cubicBezTo>
                  <a:pt x="9375" y="16062"/>
                  <a:pt x="9375" y="16062"/>
                  <a:pt x="9375" y="16062"/>
                </a:cubicBezTo>
                <a:cubicBezTo>
                  <a:pt x="9406" y="16062"/>
                  <a:pt x="9438" y="16031"/>
                  <a:pt x="9438" y="15999"/>
                </a:cubicBezTo>
                <a:cubicBezTo>
                  <a:pt x="9438" y="15999"/>
                  <a:pt x="9438" y="15999"/>
                  <a:pt x="9438" y="15999"/>
                </a:cubicBezTo>
                <a:cubicBezTo>
                  <a:pt x="9469" y="15999"/>
                  <a:pt x="9500" y="15968"/>
                  <a:pt x="9500" y="15937"/>
                </a:cubicBezTo>
                <a:cubicBezTo>
                  <a:pt x="9531" y="15937"/>
                  <a:pt x="9531" y="15906"/>
                  <a:pt x="9563" y="15906"/>
                </a:cubicBezTo>
                <a:cubicBezTo>
                  <a:pt x="9719" y="15749"/>
                  <a:pt x="9844" y="15624"/>
                  <a:pt x="10000" y="15468"/>
                </a:cubicBezTo>
                <a:lnTo>
                  <a:pt x="10000" y="15468"/>
                </a:lnTo>
                <a:cubicBezTo>
                  <a:pt x="10125" y="15374"/>
                  <a:pt x="10250" y="15281"/>
                  <a:pt x="10344" y="15156"/>
                </a:cubicBezTo>
                <a:cubicBezTo>
                  <a:pt x="10406" y="15124"/>
                  <a:pt x="10438" y="15062"/>
                  <a:pt x="10469" y="15031"/>
                </a:cubicBezTo>
                <a:lnTo>
                  <a:pt x="10469" y="15031"/>
                </a:lnTo>
                <a:cubicBezTo>
                  <a:pt x="10469" y="15031"/>
                  <a:pt x="10469" y="15031"/>
                  <a:pt x="10469" y="15031"/>
                </a:cubicBezTo>
                <a:cubicBezTo>
                  <a:pt x="10500" y="14999"/>
                  <a:pt x="10500" y="14999"/>
                  <a:pt x="10500" y="14968"/>
                </a:cubicBezTo>
                <a:cubicBezTo>
                  <a:pt x="10500" y="14968"/>
                  <a:pt x="10500" y="14968"/>
                  <a:pt x="10500" y="14937"/>
                </a:cubicBezTo>
                <a:cubicBezTo>
                  <a:pt x="10469" y="14937"/>
                  <a:pt x="10438" y="14968"/>
                  <a:pt x="10438" y="14999"/>
                </a:cubicBezTo>
                <a:cubicBezTo>
                  <a:pt x="10375" y="15031"/>
                  <a:pt x="10344" y="15062"/>
                  <a:pt x="10313" y="15124"/>
                </a:cubicBezTo>
                <a:cubicBezTo>
                  <a:pt x="10281" y="15124"/>
                  <a:pt x="10250" y="15156"/>
                  <a:pt x="10250" y="15187"/>
                </a:cubicBezTo>
                <a:cubicBezTo>
                  <a:pt x="10094" y="15312"/>
                  <a:pt x="9969" y="15437"/>
                  <a:pt x="9813" y="15562"/>
                </a:cubicBezTo>
                <a:cubicBezTo>
                  <a:pt x="9719" y="15687"/>
                  <a:pt x="9594" y="15812"/>
                  <a:pt x="9469" y="15906"/>
                </a:cubicBezTo>
                <a:cubicBezTo>
                  <a:pt x="9438" y="15937"/>
                  <a:pt x="9438" y="15937"/>
                  <a:pt x="9406" y="15968"/>
                </a:cubicBezTo>
                <a:cubicBezTo>
                  <a:pt x="9375" y="15968"/>
                  <a:pt x="9375" y="15999"/>
                  <a:pt x="9344" y="16031"/>
                </a:cubicBezTo>
                <a:cubicBezTo>
                  <a:pt x="9313" y="16031"/>
                  <a:pt x="9313" y="16062"/>
                  <a:pt x="9281" y="16093"/>
                </a:cubicBezTo>
                <a:cubicBezTo>
                  <a:pt x="9281" y="16093"/>
                  <a:pt x="9250" y="16124"/>
                  <a:pt x="9250" y="16124"/>
                </a:cubicBezTo>
                <a:cubicBezTo>
                  <a:pt x="8844" y="16499"/>
                  <a:pt x="8438" y="16874"/>
                  <a:pt x="8063" y="17249"/>
                </a:cubicBezTo>
                <a:cubicBezTo>
                  <a:pt x="8031" y="17281"/>
                  <a:pt x="7938" y="17343"/>
                  <a:pt x="7969" y="17374"/>
                </a:cubicBezTo>
                <a:cubicBezTo>
                  <a:pt x="8031" y="17406"/>
                  <a:pt x="8063" y="17312"/>
                  <a:pt x="8094" y="17281"/>
                </a:cubicBezTo>
                <a:cubicBezTo>
                  <a:pt x="8344" y="17062"/>
                  <a:pt x="8563" y="16843"/>
                  <a:pt x="8813" y="16624"/>
                </a:cubicBezTo>
                <a:cubicBezTo>
                  <a:pt x="8844" y="16593"/>
                  <a:pt x="8906" y="16562"/>
                  <a:pt x="8969" y="16593"/>
                </a:cubicBezTo>
                <a:cubicBezTo>
                  <a:pt x="8938" y="16593"/>
                  <a:pt x="8906" y="16624"/>
                  <a:pt x="8938" y="16656"/>
                </a:cubicBezTo>
                <a:cubicBezTo>
                  <a:pt x="9000" y="16718"/>
                  <a:pt x="9063" y="16749"/>
                  <a:pt x="9125" y="16812"/>
                </a:cubicBezTo>
                <a:cubicBezTo>
                  <a:pt x="9156" y="16843"/>
                  <a:pt x="9156" y="16781"/>
                  <a:pt x="9156" y="16781"/>
                </a:cubicBezTo>
                <a:cubicBezTo>
                  <a:pt x="9156" y="16781"/>
                  <a:pt x="9188" y="16781"/>
                  <a:pt x="9219" y="16781"/>
                </a:cubicBezTo>
                <a:cubicBezTo>
                  <a:pt x="9219" y="16781"/>
                  <a:pt x="9219" y="16781"/>
                  <a:pt x="9219" y="16781"/>
                </a:cubicBezTo>
                <a:cubicBezTo>
                  <a:pt x="9219" y="16812"/>
                  <a:pt x="9219" y="16812"/>
                  <a:pt x="9250" y="16812"/>
                </a:cubicBezTo>
                <a:cubicBezTo>
                  <a:pt x="9250" y="16843"/>
                  <a:pt x="9281" y="16874"/>
                  <a:pt x="9313" y="16937"/>
                </a:cubicBezTo>
                <a:cubicBezTo>
                  <a:pt x="9281" y="16937"/>
                  <a:pt x="9219" y="16937"/>
                  <a:pt x="9281" y="16968"/>
                </a:cubicBezTo>
                <a:cubicBezTo>
                  <a:pt x="9313" y="17031"/>
                  <a:pt x="9344" y="17062"/>
                  <a:pt x="9406" y="17062"/>
                </a:cubicBezTo>
                <a:cubicBezTo>
                  <a:pt x="9406" y="17093"/>
                  <a:pt x="9438" y="17093"/>
                  <a:pt x="9406" y="17124"/>
                </a:cubicBezTo>
                <a:cubicBezTo>
                  <a:pt x="9406" y="17156"/>
                  <a:pt x="9375" y="17156"/>
                  <a:pt x="9344" y="17124"/>
                </a:cubicBezTo>
                <a:cubicBezTo>
                  <a:pt x="9313" y="17093"/>
                  <a:pt x="9313" y="17062"/>
                  <a:pt x="9250" y="17062"/>
                </a:cubicBezTo>
                <a:cubicBezTo>
                  <a:pt x="9281" y="17124"/>
                  <a:pt x="9313" y="17156"/>
                  <a:pt x="9313" y="17187"/>
                </a:cubicBezTo>
                <a:cubicBezTo>
                  <a:pt x="9313" y="17187"/>
                  <a:pt x="9313" y="17187"/>
                  <a:pt x="9313" y="17187"/>
                </a:cubicBezTo>
                <a:cubicBezTo>
                  <a:pt x="9250" y="17187"/>
                  <a:pt x="9188" y="17218"/>
                  <a:pt x="9125" y="17124"/>
                </a:cubicBezTo>
                <a:cubicBezTo>
                  <a:pt x="9125" y="17187"/>
                  <a:pt x="9156" y="17218"/>
                  <a:pt x="9188" y="17281"/>
                </a:cubicBezTo>
                <a:cubicBezTo>
                  <a:pt x="9188" y="17281"/>
                  <a:pt x="9156" y="17281"/>
                  <a:pt x="9156" y="17281"/>
                </a:cubicBezTo>
                <a:cubicBezTo>
                  <a:pt x="9156" y="17281"/>
                  <a:pt x="9125" y="17281"/>
                  <a:pt x="9125" y="17281"/>
                </a:cubicBezTo>
                <a:cubicBezTo>
                  <a:pt x="9125" y="17218"/>
                  <a:pt x="9063" y="17187"/>
                  <a:pt x="9063" y="17124"/>
                </a:cubicBezTo>
                <a:cubicBezTo>
                  <a:pt x="9125" y="17062"/>
                  <a:pt x="9063" y="16999"/>
                  <a:pt x="9063" y="16968"/>
                </a:cubicBezTo>
                <a:cubicBezTo>
                  <a:pt x="9063" y="16937"/>
                  <a:pt x="9094" y="16906"/>
                  <a:pt x="9063" y="16906"/>
                </a:cubicBezTo>
                <a:cubicBezTo>
                  <a:pt x="9000" y="16874"/>
                  <a:pt x="8969" y="16781"/>
                  <a:pt x="8906" y="16781"/>
                </a:cubicBezTo>
                <a:cubicBezTo>
                  <a:pt x="8875" y="16749"/>
                  <a:pt x="8875" y="16687"/>
                  <a:pt x="8844" y="16718"/>
                </a:cubicBezTo>
                <a:cubicBezTo>
                  <a:pt x="8813" y="16718"/>
                  <a:pt x="8813" y="16781"/>
                  <a:pt x="8813" y="16812"/>
                </a:cubicBezTo>
                <a:cubicBezTo>
                  <a:pt x="8750" y="16781"/>
                  <a:pt x="8750" y="16781"/>
                  <a:pt x="8719" y="16812"/>
                </a:cubicBezTo>
                <a:cubicBezTo>
                  <a:pt x="8688" y="16843"/>
                  <a:pt x="8688" y="16843"/>
                  <a:pt x="8656" y="16874"/>
                </a:cubicBezTo>
                <a:cubicBezTo>
                  <a:pt x="8656" y="16874"/>
                  <a:pt x="8625" y="16906"/>
                  <a:pt x="8656" y="16937"/>
                </a:cubicBezTo>
                <a:cubicBezTo>
                  <a:pt x="8656" y="16937"/>
                  <a:pt x="8688" y="16968"/>
                  <a:pt x="8688" y="16937"/>
                </a:cubicBezTo>
                <a:cubicBezTo>
                  <a:pt x="8719" y="16874"/>
                  <a:pt x="8750" y="16937"/>
                  <a:pt x="8750" y="16968"/>
                </a:cubicBezTo>
                <a:cubicBezTo>
                  <a:pt x="8781" y="16968"/>
                  <a:pt x="8781" y="16999"/>
                  <a:pt x="8813" y="17031"/>
                </a:cubicBezTo>
                <a:cubicBezTo>
                  <a:pt x="8813" y="17062"/>
                  <a:pt x="8844" y="17062"/>
                  <a:pt x="8875" y="17031"/>
                </a:cubicBezTo>
                <a:cubicBezTo>
                  <a:pt x="8906" y="17031"/>
                  <a:pt x="8906" y="16999"/>
                  <a:pt x="8875" y="16999"/>
                </a:cubicBezTo>
                <a:cubicBezTo>
                  <a:pt x="8875" y="16937"/>
                  <a:pt x="8844" y="16906"/>
                  <a:pt x="8813" y="16874"/>
                </a:cubicBezTo>
                <a:cubicBezTo>
                  <a:pt x="8875" y="16874"/>
                  <a:pt x="8875" y="16906"/>
                  <a:pt x="8906" y="16937"/>
                </a:cubicBezTo>
                <a:cubicBezTo>
                  <a:pt x="8906" y="16937"/>
                  <a:pt x="8906" y="16937"/>
                  <a:pt x="8906" y="16937"/>
                </a:cubicBezTo>
                <a:cubicBezTo>
                  <a:pt x="8938" y="16968"/>
                  <a:pt x="8969" y="17031"/>
                  <a:pt x="9000" y="17062"/>
                </a:cubicBezTo>
                <a:cubicBezTo>
                  <a:pt x="9000" y="17093"/>
                  <a:pt x="9063" y="17187"/>
                  <a:pt x="8969" y="17187"/>
                </a:cubicBezTo>
                <a:cubicBezTo>
                  <a:pt x="8969" y="17249"/>
                  <a:pt x="9031" y="17312"/>
                  <a:pt x="9063" y="17343"/>
                </a:cubicBezTo>
                <a:cubicBezTo>
                  <a:pt x="9094" y="17406"/>
                  <a:pt x="9125" y="17374"/>
                  <a:pt x="9156" y="17312"/>
                </a:cubicBezTo>
                <a:cubicBezTo>
                  <a:pt x="9219" y="17281"/>
                  <a:pt x="9281" y="17281"/>
                  <a:pt x="9344" y="17249"/>
                </a:cubicBezTo>
                <a:cubicBezTo>
                  <a:pt x="9344" y="17249"/>
                  <a:pt x="9375" y="17249"/>
                  <a:pt x="9375" y="17249"/>
                </a:cubicBezTo>
                <a:cubicBezTo>
                  <a:pt x="9375" y="17218"/>
                  <a:pt x="9406" y="17218"/>
                  <a:pt x="9438" y="17218"/>
                </a:cubicBezTo>
                <a:cubicBezTo>
                  <a:pt x="9438" y="17218"/>
                  <a:pt x="9469" y="17218"/>
                  <a:pt x="9469" y="17187"/>
                </a:cubicBezTo>
                <a:cubicBezTo>
                  <a:pt x="9531" y="17156"/>
                  <a:pt x="9594" y="17093"/>
                  <a:pt x="9688" y="17124"/>
                </a:cubicBezTo>
                <a:cubicBezTo>
                  <a:pt x="9719" y="17124"/>
                  <a:pt x="9719" y="17124"/>
                  <a:pt x="9750" y="17124"/>
                </a:cubicBezTo>
                <a:cubicBezTo>
                  <a:pt x="9906" y="17062"/>
                  <a:pt x="10094" y="16968"/>
                  <a:pt x="10281" y="16937"/>
                </a:cubicBezTo>
                <a:cubicBezTo>
                  <a:pt x="10313" y="16906"/>
                  <a:pt x="10313" y="16906"/>
                  <a:pt x="10344" y="16874"/>
                </a:cubicBezTo>
                <a:cubicBezTo>
                  <a:pt x="10375" y="16874"/>
                  <a:pt x="10406" y="16843"/>
                  <a:pt x="10438" y="16843"/>
                </a:cubicBezTo>
                <a:cubicBezTo>
                  <a:pt x="10531" y="16843"/>
                  <a:pt x="10625" y="16843"/>
                  <a:pt x="10688" y="16781"/>
                </a:cubicBezTo>
                <a:cubicBezTo>
                  <a:pt x="10688" y="16781"/>
                  <a:pt x="10688" y="16781"/>
                  <a:pt x="10688" y="16781"/>
                </a:cubicBezTo>
                <a:cubicBezTo>
                  <a:pt x="10719" y="16781"/>
                  <a:pt x="10781" y="16781"/>
                  <a:pt x="10813" y="16781"/>
                </a:cubicBezTo>
                <a:cubicBezTo>
                  <a:pt x="11063" y="16687"/>
                  <a:pt x="11344" y="16624"/>
                  <a:pt x="11625" y="16593"/>
                </a:cubicBezTo>
                <a:cubicBezTo>
                  <a:pt x="11844" y="16531"/>
                  <a:pt x="12031" y="16499"/>
                  <a:pt x="12250" y="16468"/>
                </a:cubicBezTo>
                <a:cubicBezTo>
                  <a:pt x="12531" y="16437"/>
                  <a:pt x="12813" y="16406"/>
                  <a:pt x="13063" y="16406"/>
                </a:cubicBezTo>
                <a:cubicBezTo>
                  <a:pt x="13531" y="16374"/>
                  <a:pt x="14031" y="16374"/>
                  <a:pt x="14500" y="16374"/>
                </a:cubicBezTo>
                <a:cubicBezTo>
                  <a:pt x="14969" y="16406"/>
                  <a:pt x="15438" y="16437"/>
                  <a:pt x="15906" y="16531"/>
                </a:cubicBezTo>
                <a:cubicBezTo>
                  <a:pt x="16281" y="16593"/>
                  <a:pt x="16625" y="16656"/>
                  <a:pt x="17000" y="16718"/>
                </a:cubicBezTo>
                <a:cubicBezTo>
                  <a:pt x="17063" y="16718"/>
                  <a:pt x="17000" y="16749"/>
                  <a:pt x="17000" y="16749"/>
                </a:cubicBezTo>
                <a:cubicBezTo>
                  <a:pt x="16938" y="16781"/>
                  <a:pt x="16906" y="16749"/>
                  <a:pt x="16844" y="16749"/>
                </a:cubicBezTo>
                <a:cubicBezTo>
                  <a:pt x="16531" y="16687"/>
                  <a:pt x="16219" y="16624"/>
                  <a:pt x="15906" y="16593"/>
                </a:cubicBezTo>
                <a:cubicBezTo>
                  <a:pt x="15594" y="16531"/>
                  <a:pt x="15313" y="16499"/>
                  <a:pt x="15031" y="16468"/>
                </a:cubicBezTo>
                <a:cubicBezTo>
                  <a:pt x="14500" y="16437"/>
                  <a:pt x="14000" y="16437"/>
                  <a:pt x="13500" y="16468"/>
                </a:cubicBezTo>
                <a:cubicBezTo>
                  <a:pt x="13063" y="16468"/>
                  <a:pt x="12625" y="16531"/>
                  <a:pt x="12219" y="16562"/>
                </a:cubicBezTo>
                <a:cubicBezTo>
                  <a:pt x="12000" y="16593"/>
                  <a:pt x="11750" y="16656"/>
                  <a:pt x="11531" y="16687"/>
                </a:cubicBezTo>
                <a:cubicBezTo>
                  <a:pt x="11188" y="16781"/>
                  <a:pt x="10875" y="16874"/>
                  <a:pt x="10531" y="16968"/>
                </a:cubicBezTo>
                <a:cubicBezTo>
                  <a:pt x="10188" y="17062"/>
                  <a:pt x="9875" y="17187"/>
                  <a:pt x="9563" y="17312"/>
                </a:cubicBezTo>
                <a:cubicBezTo>
                  <a:pt x="9469" y="17343"/>
                  <a:pt x="9344" y="17374"/>
                  <a:pt x="9313" y="17437"/>
                </a:cubicBezTo>
                <a:cubicBezTo>
                  <a:pt x="9250" y="17531"/>
                  <a:pt x="9156" y="17562"/>
                  <a:pt x="9063" y="17562"/>
                </a:cubicBezTo>
                <a:cubicBezTo>
                  <a:pt x="9000" y="17562"/>
                  <a:pt x="8938" y="17562"/>
                  <a:pt x="8938" y="17624"/>
                </a:cubicBezTo>
                <a:cubicBezTo>
                  <a:pt x="8938" y="17749"/>
                  <a:pt x="8844" y="17812"/>
                  <a:pt x="8750" y="17874"/>
                </a:cubicBezTo>
                <a:cubicBezTo>
                  <a:pt x="8750" y="17874"/>
                  <a:pt x="8719" y="17874"/>
                  <a:pt x="8719" y="17874"/>
                </a:cubicBezTo>
                <a:cubicBezTo>
                  <a:pt x="8688" y="17874"/>
                  <a:pt x="8688" y="17906"/>
                  <a:pt x="8688" y="17906"/>
                </a:cubicBezTo>
                <a:cubicBezTo>
                  <a:pt x="8594" y="17843"/>
                  <a:pt x="8594" y="17812"/>
                  <a:pt x="8688" y="17781"/>
                </a:cubicBezTo>
                <a:cubicBezTo>
                  <a:pt x="8719" y="17749"/>
                  <a:pt x="8750" y="17749"/>
                  <a:pt x="8781" y="17718"/>
                </a:cubicBezTo>
                <a:cubicBezTo>
                  <a:pt x="8781" y="17718"/>
                  <a:pt x="8781" y="17718"/>
                  <a:pt x="8781" y="17718"/>
                </a:cubicBezTo>
                <a:cubicBezTo>
                  <a:pt x="8781" y="17718"/>
                  <a:pt x="8813" y="17687"/>
                  <a:pt x="8813" y="17687"/>
                </a:cubicBezTo>
                <a:cubicBezTo>
                  <a:pt x="8781" y="17656"/>
                  <a:pt x="8781" y="17656"/>
                  <a:pt x="8750" y="17687"/>
                </a:cubicBezTo>
                <a:cubicBezTo>
                  <a:pt x="8656" y="17718"/>
                  <a:pt x="8594" y="17781"/>
                  <a:pt x="8500" y="17812"/>
                </a:cubicBezTo>
                <a:cubicBezTo>
                  <a:pt x="8375" y="17874"/>
                  <a:pt x="8375" y="17874"/>
                  <a:pt x="8469" y="17968"/>
                </a:cubicBezTo>
                <a:cubicBezTo>
                  <a:pt x="8469" y="17999"/>
                  <a:pt x="8500" y="17999"/>
                  <a:pt x="8500" y="17999"/>
                </a:cubicBezTo>
                <a:cubicBezTo>
                  <a:pt x="8500" y="18093"/>
                  <a:pt x="8438" y="18093"/>
                  <a:pt x="8375" y="18031"/>
                </a:cubicBezTo>
                <a:cubicBezTo>
                  <a:pt x="8313" y="17906"/>
                  <a:pt x="8281" y="17906"/>
                  <a:pt x="8188" y="17999"/>
                </a:cubicBezTo>
                <a:cubicBezTo>
                  <a:pt x="8156" y="18031"/>
                  <a:pt x="8094" y="18062"/>
                  <a:pt x="8063" y="18093"/>
                </a:cubicBezTo>
                <a:cubicBezTo>
                  <a:pt x="8031" y="18124"/>
                  <a:pt x="7969" y="18124"/>
                  <a:pt x="7969" y="18187"/>
                </a:cubicBezTo>
                <a:cubicBezTo>
                  <a:pt x="7969" y="18249"/>
                  <a:pt x="8031" y="18249"/>
                  <a:pt x="8063" y="18249"/>
                </a:cubicBezTo>
                <a:cubicBezTo>
                  <a:pt x="8031" y="18281"/>
                  <a:pt x="7969" y="18281"/>
                  <a:pt x="7969" y="18343"/>
                </a:cubicBezTo>
                <a:cubicBezTo>
                  <a:pt x="7969" y="18343"/>
                  <a:pt x="7938" y="18343"/>
                  <a:pt x="7938" y="18343"/>
                </a:cubicBezTo>
                <a:cubicBezTo>
                  <a:pt x="7813" y="18218"/>
                  <a:pt x="7813" y="18218"/>
                  <a:pt x="7719" y="18281"/>
                </a:cubicBezTo>
                <a:cubicBezTo>
                  <a:pt x="7656" y="18312"/>
                  <a:pt x="7656" y="18343"/>
                  <a:pt x="7688" y="18374"/>
                </a:cubicBezTo>
                <a:cubicBezTo>
                  <a:pt x="7719" y="18406"/>
                  <a:pt x="7781" y="18437"/>
                  <a:pt x="7719" y="18468"/>
                </a:cubicBezTo>
                <a:cubicBezTo>
                  <a:pt x="7688" y="18531"/>
                  <a:pt x="7656" y="18468"/>
                  <a:pt x="7594" y="18437"/>
                </a:cubicBezTo>
                <a:cubicBezTo>
                  <a:pt x="7594" y="18437"/>
                  <a:pt x="7563" y="18374"/>
                  <a:pt x="7531" y="18406"/>
                </a:cubicBezTo>
                <a:cubicBezTo>
                  <a:pt x="7469" y="18437"/>
                  <a:pt x="7438" y="18468"/>
                  <a:pt x="7406" y="18499"/>
                </a:cubicBezTo>
                <a:cubicBezTo>
                  <a:pt x="7375" y="18531"/>
                  <a:pt x="7406" y="18562"/>
                  <a:pt x="7438" y="18593"/>
                </a:cubicBezTo>
                <a:cubicBezTo>
                  <a:pt x="7469" y="18624"/>
                  <a:pt x="7469" y="18656"/>
                  <a:pt x="7438" y="18656"/>
                </a:cubicBezTo>
                <a:cubicBezTo>
                  <a:pt x="7438" y="18687"/>
                  <a:pt x="7406" y="18687"/>
                  <a:pt x="7375" y="18656"/>
                </a:cubicBezTo>
                <a:cubicBezTo>
                  <a:pt x="7344" y="18656"/>
                  <a:pt x="7344" y="18624"/>
                  <a:pt x="7344" y="18624"/>
                </a:cubicBezTo>
                <a:cubicBezTo>
                  <a:pt x="7313" y="18593"/>
                  <a:pt x="7281" y="18562"/>
                  <a:pt x="7219" y="18593"/>
                </a:cubicBezTo>
                <a:cubicBezTo>
                  <a:pt x="7188" y="18656"/>
                  <a:pt x="7188" y="18656"/>
                  <a:pt x="7219" y="18718"/>
                </a:cubicBezTo>
                <a:cubicBezTo>
                  <a:pt x="7250" y="18749"/>
                  <a:pt x="7281" y="18812"/>
                  <a:pt x="7188" y="18843"/>
                </a:cubicBezTo>
                <a:cubicBezTo>
                  <a:pt x="7188" y="18843"/>
                  <a:pt x="7188" y="18843"/>
                  <a:pt x="7188" y="18843"/>
                </a:cubicBezTo>
                <a:cubicBezTo>
                  <a:pt x="7156" y="18812"/>
                  <a:pt x="7156" y="18781"/>
                  <a:pt x="7125" y="18749"/>
                </a:cubicBezTo>
                <a:cubicBezTo>
                  <a:pt x="7094" y="18718"/>
                  <a:pt x="7063" y="18718"/>
                  <a:pt x="7000" y="18749"/>
                </a:cubicBezTo>
                <a:cubicBezTo>
                  <a:pt x="6906" y="18843"/>
                  <a:pt x="6906" y="18843"/>
                  <a:pt x="7000" y="18937"/>
                </a:cubicBezTo>
                <a:cubicBezTo>
                  <a:pt x="7031" y="18968"/>
                  <a:pt x="7031" y="18968"/>
                  <a:pt x="7031" y="18999"/>
                </a:cubicBezTo>
                <a:cubicBezTo>
                  <a:pt x="6969" y="18999"/>
                  <a:pt x="6906" y="18999"/>
                  <a:pt x="6844" y="18937"/>
                </a:cubicBezTo>
                <a:cubicBezTo>
                  <a:pt x="6844" y="18906"/>
                  <a:pt x="6813" y="18906"/>
                  <a:pt x="6781" y="18937"/>
                </a:cubicBezTo>
                <a:cubicBezTo>
                  <a:pt x="6750" y="18968"/>
                  <a:pt x="6781" y="18968"/>
                  <a:pt x="6781" y="18999"/>
                </a:cubicBezTo>
                <a:cubicBezTo>
                  <a:pt x="6813" y="18999"/>
                  <a:pt x="6813" y="19031"/>
                  <a:pt x="6813" y="19031"/>
                </a:cubicBezTo>
                <a:cubicBezTo>
                  <a:pt x="6844" y="19062"/>
                  <a:pt x="6844" y="19093"/>
                  <a:pt x="6813" y="19093"/>
                </a:cubicBezTo>
                <a:cubicBezTo>
                  <a:pt x="6781" y="19156"/>
                  <a:pt x="6781" y="19124"/>
                  <a:pt x="6750" y="19093"/>
                </a:cubicBezTo>
                <a:cubicBezTo>
                  <a:pt x="6656" y="19031"/>
                  <a:pt x="6563" y="19031"/>
                  <a:pt x="6500" y="19156"/>
                </a:cubicBezTo>
                <a:cubicBezTo>
                  <a:pt x="6500" y="19187"/>
                  <a:pt x="6469" y="19218"/>
                  <a:pt x="6438" y="19218"/>
                </a:cubicBezTo>
                <a:cubicBezTo>
                  <a:pt x="6344" y="19249"/>
                  <a:pt x="6281" y="19343"/>
                  <a:pt x="6188" y="19406"/>
                </a:cubicBezTo>
                <a:cubicBezTo>
                  <a:pt x="6156" y="19406"/>
                  <a:pt x="6125" y="19437"/>
                  <a:pt x="6156" y="19468"/>
                </a:cubicBezTo>
                <a:cubicBezTo>
                  <a:pt x="6188" y="19499"/>
                  <a:pt x="6219" y="19499"/>
                  <a:pt x="6219" y="19468"/>
                </a:cubicBezTo>
                <a:cubicBezTo>
                  <a:pt x="6281" y="19468"/>
                  <a:pt x="6313" y="19406"/>
                  <a:pt x="6375" y="19406"/>
                </a:cubicBezTo>
                <a:cubicBezTo>
                  <a:pt x="6375" y="19468"/>
                  <a:pt x="6344" y="19499"/>
                  <a:pt x="6344" y="19531"/>
                </a:cubicBezTo>
                <a:cubicBezTo>
                  <a:pt x="6344" y="19531"/>
                  <a:pt x="6344" y="19531"/>
                  <a:pt x="6313" y="19562"/>
                </a:cubicBezTo>
                <a:cubicBezTo>
                  <a:pt x="6281" y="19531"/>
                  <a:pt x="6250" y="19562"/>
                  <a:pt x="6250" y="19593"/>
                </a:cubicBezTo>
                <a:cubicBezTo>
                  <a:pt x="6219" y="19593"/>
                  <a:pt x="6188" y="19593"/>
                  <a:pt x="6125" y="19624"/>
                </a:cubicBezTo>
                <a:cubicBezTo>
                  <a:pt x="6125" y="19687"/>
                  <a:pt x="6063" y="19718"/>
                  <a:pt x="6000" y="19749"/>
                </a:cubicBezTo>
                <a:cubicBezTo>
                  <a:pt x="6063" y="19718"/>
                  <a:pt x="6125" y="19687"/>
                  <a:pt x="6125" y="19624"/>
                </a:cubicBezTo>
                <a:cubicBezTo>
                  <a:pt x="6063" y="19531"/>
                  <a:pt x="6000" y="19531"/>
                  <a:pt x="5938" y="19624"/>
                </a:cubicBezTo>
                <a:cubicBezTo>
                  <a:pt x="5875" y="19687"/>
                  <a:pt x="5781" y="19718"/>
                  <a:pt x="5750" y="19781"/>
                </a:cubicBezTo>
                <a:cubicBezTo>
                  <a:pt x="5719" y="19843"/>
                  <a:pt x="5625" y="19781"/>
                  <a:pt x="5625" y="19843"/>
                </a:cubicBezTo>
                <a:cubicBezTo>
                  <a:pt x="5594" y="19906"/>
                  <a:pt x="5563" y="19937"/>
                  <a:pt x="5531" y="19968"/>
                </a:cubicBezTo>
                <a:cubicBezTo>
                  <a:pt x="5375" y="20124"/>
                  <a:pt x="5219" y="20249"/>
                  <a:pt x="5094" y="20406"/>
                </a:cubicBezTo>
                <a:cubicBezTo>
                  <a:pt x="5000" y="20499"/>
                  <a:pt x="4938" y="20531"/>
                  <a:pt x="4813" y="20468"/>
                </a:cubicBezTo>
                <a:cubicBezTo>
                  <a:pt x="4906" y="20468"/>
                  <a:pt x="4875" y="20374"/>
                  <a:pt x="4906" y="20343"/>
                </a:cubicBezTo>
                <a:cubicBezTo>
                  <a:pt x="5188" y="20062"/>
                  <a:pt x="5500" y="19812"/>
                  <a:pt x="5750" y="19531"/>
                </a:cubicBezTo>
                <a:cubicBezTo>
                  <a:pt x="5906" y="19406"/>
                  <a:pt x="6063" y="19249"/>
                  <a:pt x="6219" y="19093"/>
                </a:cubicBezTo>
                <a:cubicBezTo>
                  <a:pt x="6250" y="19062"/>
                  <a:pt x="6281" y="19062"/>
                  <a:pt x="6250" y="19031"/>
                </a:cubicBezTo>
                <a:cubicBezTo>
                  <a:pt x="6219" y="18999"/>
                  <a:pt x="6188" y="19031"/>
                  <a:pt x="6188" y="19031"/>
                </a:cubicBezTo>
                <a:cubicBezTo>
                  <a:pt x="5938" y="19249"/>
                  <a:pt x="5719" y="19499"/>
                  <a:pt x="5469" y="19718"/>
                </a:cubicBezTo>
                <a:cubicBezTo>
                  <a:pt x="5219" y="19937"/>
                  <a:pt x="5000" y="20156"/>
                  <a:pt x="4750" y="20406"/>
                </a:cubicBezTo>
                <a:cubicBezTo>
                  <a:pt x="4719" y="20437"/>
                  <a:pt x="4688" y="20468"/>
                  <a:pt x="4625" y="20468"/>
                </a:cubicBezTo>
                <a:cubicBezTo>
                  <a:pt x="4594" y="20468"/>
                  <a:pt x="4563" y="20468"/>
                  <a:pt x="4563" y="20437"/>
                </a:cubicBezTo>
                <a:cubicBezTo>
                  <a:pt x="4531" y="20406"/>
                  <a:pt x="4563" y="20406"/>
                  <a:pt x="4563" y="20374"/>
                </a:cubicBezTo>
                <a:cubicBezTo>
                  <a:pt x="4813" y="20218"/>
                  <a:pt x="4969" y="19968"/>
                  <a:pt x="5188" y="19781"/>
                </a:cubicBezTo>
                <a:cubicBezTo>
                  <a:pt x="5219" y="19749"/>
                  <a:pt x="5250" y="19718"/>
                  <a:pt x="5250" y="19687"/>
                </a:cubicBezTo>
                <a:cubicBezTo>
                  <a:pt x="5250" y="19687"/>
                  <a:pt x="5250" y="19687"/>
                  <a:pt x="5250" y="19687"/>
                </a:cubicBezTo>
                <a:cubicBezTo>
                  <a:pt x="5281" y="19687"/>
                  <a:pt x="5313" y="19687"/>
                  <a:pt x="5313" y="19656"/>
                </a:cubicBezTo>
                <a:cubicBezTo>
                  <a:pt x="5469" y="19499"/>
                  <a:pt x="5688" y="19343"/>
                  <a:pt x="5844" y="19187"/>
                </a:cubicBezTo>
                <a:cubicBezTo>
                  <a:pt x="5906" y="19124"/>
                  <a:pt x="5969" y="19093"/>
                  <a:pt x="5969" y="19031"/>
                </a:cubicBezTo>
                <a:cubicBezTo>
                  <a:pt x="5969" y="19031"/>
                  <a:pt x="5969" y="19031"/>
                  <a:pt x="5969" y="19031"/>
                </a:cubicBezTo>
                <a:cubicBezTo>
                  <a:pt x="6031" y="18999"/>
                  <a:pt x="6031" y="18999"/>
                  <a:pt x="6031" y="18968"/>
                </a:cubicBezTo>
                <a:cubicBezTo>
                  <a:pt x="6094" y="18937"/>
                  <a:pt x="6156" y="18906"/>
                  <a:pt x="6156" y="18843"/>
                </a:cubicBezTo>
                <a:cubicBezTo>
                  <a:pt x="6188" y="18843"/>
                  <a:pt x="6188" y="18843"/>
                  <a:pt x="6219" y="18812"/>
                </a:cubicBezTo>
                <a:cubicBezTo>
                  <a:pt x="6344" y="18687"/>
                  <a:pt x="6469" y="18562"/>
                  <a:pt x="6594" y="18468"/>
                </a:cubicBezTo>
                <a:cubicBezTo>
                  <a:pt x="6750" y="18343"/>
                  <a:pt x="6844" y="18187"/>
                  <a:pt x="7000" y="18124"/>
                </a:cubicBezTo>
                <a:cubicBezTo>
                  <a:pt x="7031" y="18093"/>
                  <a:pt x="7000" y="18062"/>
                  <a:pt x="7000" y="18062"/>
                </a:cubicBezTo>
                <a:cubicBezTo>
                  <a:pt x="7000" y="18062"/>
                  <a:pt x="7000" y="18062"/>
                  <a:pt x="7000" y="18062"/>
                </a:cubicBezTo>
                <a:cubicBezTo>
                  <a:pt x="7063" y="18062"/>
                  <a:pt x="7094" y="18031"/>
                  <a:pt x="7125" y="17999"/>
                </a:cubicBezTo>
                <a:cubicBezTo>
                  <a:pt x="7281" y="17843"/>
                  <a:pt x="7438" y="17687"/>
                  <a:pt x="7594" y="17531"/>
                </a:cubicBezTo>
                <a:cubicBezTo>
                  <a:pt x="7688" y="17468"/>
                  <a:pt x="7750" y="17406"/>
                  <a:pt x="7813" y="17312"/>
                </a:cubicBezTo>
                <a:cubicBezTo>
                  <a:pt x="7781" y="17312"/>
                  <a:pt x="7781" y="17312"/>
                  <a:pt x="7781" y="17312"/>
                </a:cubicBezTo>
                <a:cubicBezTo>
                  <a:pt x="7781" y="17312"/>
                  <a:pt x="7781" y="17312"/>
                  <a:pt x="7813" y="17312"/>
                </a:cubicBezTo>
                <a:cubicBezTo>
                  <a:pt x="7844" y="17312"/>
                  <a:pt x="7844" y="17312"/>
                  <a:pt x="7875" y="17249"/>
                </a:cubicBezTo>
                <a:cubicBezTo>
                  <a:pt x="7906" y="17249"/>
                  <a:pt x="7906" y="17249"/>
                  <a:pt x="7906" y="17187"/>
                </a:cubicBezTo>
                <a:lnTo>
                  <a:pt x="7906" y="17187"/>
                </a:lnTo>
                <a:cubicBezTo>
                  <a:pt x="7969" y="17187"/>
                  <a:pt x="8000" y="17156"/>
                  <a:pt x="8031" y="17156"/>
                </a:cubicBezTo>
                <a:cubicBezTo>
                  <a:pt x="8156" y="17031"/>
                  <a:pt x="8281" y="16874"/>
                  <a:pt x="8406" y="16749"/>
                </a:cubicBezTo>
                <a:cubicBezTo>
                  <a:pt x="8500" y="16687"/>
                  <a:pt x="8594" y="16624"/>
                  <a:pt x="8656" y="16531"/>
                </a:cubicBezTo>
                <a:cubicBezTo>
                  <a:pt x="8688" y="16499"/>
                  <a:pt x="8750" y="16468"/>
                  <a:pt x="8750" y="16406"/>
                </a:cubicBezTo>
                <a:cubicBezTo>
                  <a:pt x="8750" y="16374"/>
                  <a:pt x="8781" y="16343"/>
                  <a:pt x="8813" y="16343"/>
                </a:cubicBezTo>
                <a:cubicBezTo>
                  <a:pt x="8813" y="16343"/>
                  <a:pt x="8813" y="16343"/>
                  <a:pt x="8813" y="16343"/>
                </a:cubicBezTo>
                <a:cubicBezTo>
                  <a:pt x="8906" y="16249"/>
                  <a:pt x="8969" y="16156"/>
                  <a:pt x="9063" y="16093"/>
                </a:cubicBezTo>
                <a:cubicBezTo>
                  <a:pt x="9219" y="15937"/>
                  <a:pt x="9375" y="15812"/>
                  <a:pt x="9531" y="15656"/>
                </a:cubicBezTo>
                <a:cubicBezTo>
                  <a:pt x="9531" y="15656"/>
                  <a:pt x="9531" y="15656"/>
                  <a:pt x="9531" y="15656"/>
                </a:cubicBezTo>
                <a:cubicBezTo>
                  <a:pt x="9594" y="15593"/>
                  <a:pt x="9688" y="15499"/>
                  <a:pt x="9781" y="15437"/>
                </a:cubicBezTo>
                <a:cubicBezTo>
                  <a:pt x="9781" y="15406"/>
                  <a:pt x="9813" y="15406"/>
                  <a:pt x="9813" y="15374"/>
                </a:cubicBezTo>
                <a:cubicBezTo>
                  <a:pt x="9906" y="15312"/>
                  <a:pt x="10000" y="15218"/>
                  <a:pt x="10063" y="15124"/>
                </a:cubicBezTo>
                <a:cubicBezTo>
                  <a:pt x="10063" y="15124"/>
                  <a:pt x="10063" y="15124"/>
                  <a:pt x="10063" y="15124"/>
                </a:cubicBezTo>
                <a:cubicBezTo>
                  <a:pt x="9938" y="15156"/>
                  <a:pt x="9844" y="15093"/>
                  <a:pt x="9750" y="15062"/>
                </a:cubicBezTo>
                <a:cubicBezTo>
                  <a:pt x="9688" y="15062"/>
                  <a:pt x="9625" y="15062"/>
                  <a:pt x="9594" y="15124"/>
                </a:cubicBezTo>
                <a:cubicBezTo>
                  <a:pt x="9688" y="15156"/>
                  <a:pt x="9750" y="15156"/>
                  <a:pt x="9844" y="15218"/>
                </a:cubicBezTo>
                <a:cubicBezTo>
                  <a:pt x="9719" y="15249"/>
                  <a:pt x="9656" y="15218"/>
                  <a:pt x="9563" y="15187"/>
                </a:cubicBezTo>
                <a:cubicBezTo>
                  <a:pt x="9563" y="15156"/>
                  <a:pt x="9563" y="15156"/>
                  <a:pt x="9594" y="15124"/>
                </a:cubicBezTo>
                <a:cubicBezTo>
                  <a:pt x="9563" y="15156"/>
                  <a:pt x="9563" y="15156"/>
                  <a:pt x="9563" y="15187"/>
                </a:cubicBezTo>
                <a:cubicBezTo>
                  <a:pt x="9531" y="15156"/>
                  <a:pt x="9500" y="15156"/>
                  <a:pt x="9500" y="15156"/>
                </a:cubicBezTo>
                <a:cubicBezTo>
                  <a:pt x="9469" y="15156"/>
                  <a:pt x="9469" y="15156"/>
                  <a:pt x="9469" y="15156"/>
                </a:cubicBezTo>
                <a:cubicBezTo>
                  <a:pt x="9469" y="15156"/>
                  <a:pt x="9469" y="15156"/>
                  <a:pt x="9469" y="15156"/>
                </a:cubicBezTo>
                <a:cubicBezTo>
                  <a:pt x="9469" y="15156"/>
                  <a:pt x="9469" y="15156"/>
                  <a:pt x="9469" y="15156"/>
                </a:cubicBezTo>
                <a:cubicBezTo>
                  <a:pt x="9438" y="15187"/>
                  <a:pt x="9438" y="15187"/>
                  <a:pt x="9438" y="15187"/>
                </a:cubicBezTo>
                <a:cubicBezTo>
                  <a:pt x="9438" y="15187"/>
                  <a:pt x="9438" y="15187"/>
                  <a:pt x="9438" y="15187"/>
                </a:cubicBezTo>
                <a:cubicBezTo>
                  <a:pt x="9500" y="15187"/>
                  <a:pt x="9563" y="15187"/>
                  <a:pt x="9531" y="15281"/>
                </a:cubicBezTo>
                <a:cubicBezTo>
                  <a:pt x="9563" y="15312"/>
                  <a:pt x="9563" y="15312"/>
                  <a:pt x="9563" y="15312"/>
                </a:cubicBezTo>
                <a:cubicBezTo>
                  <a:pt x="9594" y="15343"/>
                  <a:pt x="9688" y="15281"/>
                  <a:pt x="9656" y="15374"/>
                </a:cubicBezTo>
                <a:cubicBezTo>
                  <a:pt x="9438" y="15593"/>
                  <a:pt x="9219" y="15781"/>
                  <a:pt x="8969" y="15999"/>
                </a:cubicBezTo>
                <a:cubicBezTo>
                  <a:pt x="8875" y="16093"/>
                  <a:pt x="8813" y="16093"/>
                  <a:pt x="8688" y="16062"/>
                </a:cubicBezTo>
                <a:cubicBezTo>
                  <a:pt x="8625" y="16062"/>
                  <a:pt x="8594" y="16031"/>
                  <a:pt x="8531" y="16031"/>
                </a:cubicBezTo>
                <a:cubicBezTo>
                  <a:pt x="8500" y="16124"/>
                  <a:pt x="8531" y="16187"/>
                  <a:pt x="8625" y="16187"/>
                </a:cubicBezTo>
                <a:cubicBezTo>
                  <a:pt x="8656" y="16187"/>
                  <a:pt x="8719" y="16187"/>
                  <a:pt x="8719" y="16218"/>
                </a:cubicBezTo>
                <a:cubicBezTo>
                  <a:pt x="8750" y="16249"/>
                  <a:pt x="8688" y="16281"/>
                  <a:pt x="8656" y="16312"/>
                </a:cubicBezTo>
                <a:cubicBezTo>
                  <a:pt x="8625" y="16312"/>
                  <a:pt x="8625" y="16343"/>
                  <a:pt x="8594" y="16343"/>
                </a:cubicBezTo>
                <a:cubicBezTo>
                  <a:pt x="8469" y="16468"/>
                  <a:pt x="8344" y="16593"/>
                  <a:pt x="8188" y="16718"/>
                </a:cubicBezTo>
                <a:cubicBezTo>
                  <a:pt x="8156" y="16749"/>
                  <a:pt x="8125" y="16843"/>
                  <a:pt x="8031" y="16843"/>
                </a:cubicBezTo>
                <a:cubicBezTo>
                  <a:pt x="8031" y="16843"/>
                  <a:pt x="8031" y="16843"/>
                  <a:pt x="8031" y="16843"/>
                </a:cubicBezTo>
                <a:cubicBezTo>
                  <a:pt x="8031" y="16843"/>
                  <a:pt x="8031" y="16843"/>
                  <a:pt x="8031" y="16843"/>
                </a:cubicBezTo>
                <a:cubicBezTo>
                  <a:pt x="8031" y="16843"/>
                  <a:pt x="8031" y="16843"/>
                  <a:pt x="8031" y="16843"/>
                </a:cubicBezTo>
                <a:cubicBezTo>
                  <a:pt x="8031" y="16843"/>
                  <a:pt x="8000" y="16843"/>
                  <a:pt x="8000" y="16843"/>
                </a:cubicBezTo>
                <a:cubicBezTo>
                  <a:pt x="8000" y="16843"/>
                  <a:pt x="7969" y="16843"/>
                  <a:pt x="7969" y="16843"/>
                </a:cubicBezTo>
                <a:cubicBezTo>
                  <a:pt x="7969" y="16843"/>
                  <a:pt x="7938" y="16874"/>
                  <a:pt x="7938" y="16874"/>
                </a:cubicBezTo>
                <a:cubicBezTo>
                  <a:pt x="7938" y="16874"/>
                  <a:pt x="7969" y="16843"/>
                  <a:pt x="7969" y="16843"/>
                </a:cubicBezTo>
                <a:cubicBezTo>
                  <a:pt x="8000" y="16843"/>
                  <a:pt x="8000" y="16843"/>
                  <a:pt x="8031" y="16843"/>
                </a:cubicBezTo>
                <a:cubicBezTo>
                  <a:pt x="8000" y="16937"/>
                  <a:pt x="7938" y="16968"/>
                  <a:pt x="7844" y="17031"/>
                </a:cubicBezTo>
                <a:cubicBezTo>
                  <a:pt x="7844" y="17031"/>
                  <a:pt x="7844" y="17031"/>
                  <a:pt x="7844" y="17031"/>
                </a:cubicBezTo>
                <a:cubicBezTo>
                  <a:pt x="7844" y="17093"/>
                  <a:pt x="7813" y="17062"/>
                  <a:pt x="7781" y="17093"/>
                </a:cubicBezTo>
                <a:cubicBezTo>
                  <a:pt x="7781" y="17093"/>
                  <a:pt x="7781" y="17093"/>
                  <a:pt x="7781" y="17093"/>
                </a:cubicBezTo>
                <a:cubicBezTo>
                  <a:pt x="7781" y="17124"/>
                  <a:pt x="7750" y="17124"/>
                  <a:pt x="7719" y="17124"/>
                </a:cubicBezTo>
                <a:cubicBezTo>
                  <a:pt x="7719" y="17124"/>
                  <a:pt x="7719" y="17124"/>
                  <a:pt x="7719" y="17124"/>
                </a:cubicBezTo>
                <a:cubicBezTo>
                  <a:pt x="7656" y="17187"/>
                  <a:pt x="7531" y="17156"/>
                  <a:pt x="7469" y="17062"/>
                </a:cubicBezTo>
                <a:cubicBezTo>
                  <a:pt x="7469" y="17062"/>
                  <a:pt x="7438" y="17062"/>
                  <a:pt x="7438" y="17062"/>
                </a:cubicBezTo>
                <a:cubicBezTo>
                  <a:pt x="7438" y="17062"/>
                  <a:pt x="7438" y="17062"/>
                  <a:pt x="7438" y="17062"/>
                </a:cubicBezTo>
                <a:cubicBezTo>
                  <a:pt x="7406" y="17062"/>
                  <a:pt x="7406" y="17062"/>
                  <a:pt x="7406" y="17062"/>
                </a:cubicBezTo>
                <a:cubicBezTo>
                  <a:pt x="7344" y="17124"/>
                  <a:pt x="7281" y="17093"/>
                  <a:pt x="7250" y="17124"/>
                </a:cubicBezTo>
                <a:cubicBezTo>
                  <a:pt x="7219" y="17124"/>
                  <a:pt x="7188" y="17156"/>
                  <a:pt x="7188" y="17187"/>
                </a:cubicBezTo>
                <a:cubicBezTo>
                  <a:pt x="7188" y="17218"/>
                  <a:pt x="7219" y="17218"/>
                  <a:pt x="7250" y="17218"/>
                </a:cubicBezTo>
                <a:cubicBezTo>
                  <a:pt x="7313" y="17249"/>
                  <a:pt x="7406" y="17249"/>
                  <a:pt x="7469" y="17249"/>
                </a:cubicBezTo>
                <a:cubicBezTo>
                  <a:pt x="7500" y="17281"/>
                  <a:pt x="7531" y="17281"/>
                  <a:pt x="7531" y="17312"/>
                </a:cubicBezTo>
                <a:cubicBezTo>
                  <a:pt x="7531" y="17343"/>
                  <a:pt x="7500" y="17312"/>
                  <a:pt x="7469" y="17312"/>
                </a:cubicBezTo>
                <a:cubicBezTo>
                  <a:pt x="7313" y="17312"/>
                  <a:pt x="7156" y="17281"/>
                  <a:pt x="7000" y="17249"/>
                </a:cubicBezTo>
                <a:cubicBezTo>
                  <a:pt x="7000" y="17312"/>
                  <a:pt x="6938" y="17312"/>
                  <a:pt x="6906" y="17343"/>
                </a:cubicBezTo>
                <a:cubicBezTo>
                  <a:pt x="6875" y="17437"/>
                  <a:pt x="6969" y="17374"/>
                  <a:pt x="6969" y="17406"/>
                </a:cubicBezTo>
                <a:cubicBezTo>
                  <a:pt x="7000" y="17406"/>
                  <a:pt x="7000" y="17406"/>
                  <a:pt x="7000" y="17406"/>
                </a:cubicBezTo>
                <a:cubicBezTo>
                  <a:pt x="7125" y="17437"/>
                  <a:pt x="7219" y="17406"/>
                  <a:pt x="7344" y="17499"/>
                </a:cubicBezTo>
                <a:cubicBezTo>
                  <a:pt x="7188" y="17499"/>
                  <a:pt x="7031" y="17499"/>
                  <a:pt x="6906" y="17437"/>
                </a:cubicBezTo>
                <a:cubicBezTo>
                  <a:pt x="6844" y="17437"/>
                  <a:pt x="6781" y="17499"/>
                  <a:pt x="6688" y="17468"/>
                </a:cubicBezTo>
                <a:cubicBezTo>
                  <a:pt x="6719" y="17499"/>
                  <a:pt x="6719" y="17531"/>
                  <a:pt x="6688" y="17531"/>
                </a:cubicBezTo>
                <a:cubicBezTo>
                  <a:pt x="6813" y="17468"/>
                  <a:pt x="6813" y="17468"/>
                  <a:pt x="6875" y="17624"/>
                </a:cubicBezTo>
                <a:cubicBezTo>
                  <a:pt x="6906" y="17656"/>
                  <a:pt x="6906" y="17656"/>
                  <a:pt x="6906" y="17687"/>
                </a:cubicBezTo>
                <a:cubicBezTo>
                  <a:pt x="6969" y="17687"/>
                  <a:pt x="7000" y="17656"/>
                  <a:pt x="7063" y="17656"/>
                </a:cubicBezTo>
                <a:cubicBezTo>
                  <a:pt x="7063" y="17656"/>
                  <a:pt x="7125" y="17656"/>
                  <a:pt x="7125" y="17687"/>
                </a:cubicBezTo>
                <a:cubicBezTo>
                  <a:pt x="7125" y="17718"/>
                  <a:pt x="7094" y="17718"/>
                  <a:pt x="7063" y="17749"/>
                </a:cubicBezTo>
                <a:cubicBezTo>
                  <a:pt x="7063" y="17749"/>
                  <a:pt x="7031" y="17781"/>
                  <a:pt x="7000" y="17781"/>
                </a:cubicBezTo>
                <a:cubicBezTo>
                  <a:pt x="7000" y="17812"/>
                  <a:pt x="7000" y="17812"/>
                  <a:pt x="6969" y="17812"/>
                </a:cubicBezTo>
                <a:cubicBezTo>
                  <a:pt x="6969" y="17812"/>
                  <a:pt x="6969" y="17843"/>
                  <a:pt x="6938" y="17843"/>
                </a:cubicBezTo>
                <a:cubicBezTo>
                  <a:pt x="6938" y="17906"/>
                  <a:pt x="6906" y="17906"/>
                  <a:pt x="6875" y="17937"/>
                </a:cubicBezTo>
                <a:cubicBezTo>
                  <a:pt x="6844" y="17968"/>
                  <a:pt x="6781" y="17968"/>
                  <a:pt x="6844" y="18031"/>
                </a:cubicBezTo>
                <a:cubicBezTo>
                  <a:pt x="6844" y="18031"/>
                  <a:pt x="6844" y="18031"/>
                  <a:pt x="6813" y="18031"/>
                </a:cubicBezTo>
                <a:cubicBezTo>
                  <a:pt x="6656" y="18062"/>
                  <a:pt x="6594" y="18218"/>
                  <a:pt x="6469" y="18312"/>
                </a:cubicBezTo>
                <a:cubicBezTo>
                  <a:pt x="6250" y="18499"/>
                  <a:pt x="6031" y="18687"/>
                  <a:pt x="5844" y="18906"/>
                </a:cubicBezTo>
                <a:cubicBezTo>
                  <a:pt x="5781" y="18937"/>
                  <a:pt x="5719" y="18937"/>
                  <a:pt x="5656" y="18906"/>
                </a:cubicBezTo>
                <a:cubicBezTo>
                  <a:pt x="5531" y="18874"/>
                  <a:pt x="5406" y="18874"/>
                  <a:pt x="5281" y="18874"/>
                </a:cubicBezTo>
                <a:cubicBezTo>
                  <a:pt x="5281" y="18874"/>
                  <a:pt x="5281" y="18874"/>
                  <a:pt x="5281" y="18906"/>
                </a:cubicBezTo>
                <a:cubicBezTo>
                  <a:pt x="5250" y="19062"/>
                  <a:pt x="5250" y="19062"/>
                  <a:pt x="5438" y="19093"/>
                </a:cubicBezTo>
                <a:cubicBezTo>
                  <a:pt x="5469" y="19093"/>
                  <a:pt x="5531" y="19062"/>
                  <a:pt x="5563" y="19156"/>
                </a:cubicBezTo>
                <a:cubicBezTo>
                  <a:pt x="5438" y="19249"/>
                  <a:pt x="5344" y="19343"/>
                  <a:pt x="5219" y="19437"/>
                </a:cubicBezTo>
                <a:cubicBezTo>
                  <a:pt x="5188" y="19468"/>
                  <a:pt x="5156" y="19468"/>
                  <a:pt x="5125" y="19468"/>
                </a:cubicBezTo>
                <a:cubicBezTo>
                  <a:pt x="5125" y="19468"/>
                  <a:pt x="5125" y="19468"/>
                  <a:pt x="5125" y="19468"/>
                </a:cubicBezTo>
                <a:cubicBezTo>
                  <a:pt x="5125" y="19468"/>
                  <a:pt x="5125" y="19468"/>
                  <a:pt x="5125" y="19468"/>
                </a:cubicBezTo>
                <a:cubicBezTo>
                  <a:pt x="5094" y="19593"/>
                  <a:pt x="5000" y="19656"/>
                  <a:pt x="4906" y="19718"/>
                </a:cubicBezTo>
                <a:cubicBezTo>
                  <a:pt x="4781" y="19874"/>
                  <a:pt x="4625" y="19999"/>
                  <a:pt x="4500" y="20124"/>
                </a:cubicBezTo>
                <a:cubicBezTo>
                  <a:pt x="4375" y="20218"/>
                  <a:pt x="4250" y="20343"/>
                  <a:pt x="4125" y="20437"/>
                </a:cubicBezTo>
                <a:cubicBezTo>
                  <a:pt x="4063" y="20468"/>
                  <a:pt x="4031" y="20531"/>
                  <a:pt x="4000" y="20562"/>
                </a:cubicBezTo>
                <a:cubicBezTo>
                  <a:pt x="3906" y="20656"/>
                  <a:pt x="3813" y="20687"/>
                  <a:pt x="3688" y="20749"/>
                </a:cubicBezTo>
                <a:cubicBezTo>
                  <a:pt x="3594" y="20781"/>
                  <a:pt x="3531" y="20687"/>
                  <a:pt x="3469" y="20656"/>
                </a:cubicBezTo>
                <a:cubicBezTo>
                  <a:pt x="3438" y="20624"/>
                  <a:pt x="3406" y="20624"/>
                  <a:pt x="3344" y="20624"/>
                </a:cubicBezTo>
                <a:cubicBezTo>
                  <a:pt x="3281" y="20687"/>
                  <a:pt x="3188" y="20718"/>
                  <a:pt x="3094" y="20749"/>
                </a:cubicBezTo>
                <a:cubicBezTo>
                  <a:pt x="3063" y="20749"/>
                  <a:pt x="3031" y="20781"/>
                  <a:pt x="3000" y="20749"/>
                </a:cubicBezTo>
                <a:cubicBezTo>
                  <a:pt x="3000" y="20718"/>
                  <a:pt x="3031" y="20687"/>
                  <a:pt x="3063" y="20687"/>
                </a:cubicBezTo>
                <a:cubicBezTo>
                  <a:pt x="3094" y="20687"/>
                  <a:pt x="3094" y="20656"/>
                  <a:pt x="3094" y="20656"/>
                </a:cubicBezTo>
                <a:cubicBezTo>
                  <a:pt x="3094" y="20562"/>
                  <a:pt x="3031" y="20562"/>
                  <a:pt x="2969" y="20593"/>
                </a:cubicBezTo>
                <a:cubicBezTo>
                  <a:pt x="2938" y="20593"/>
                  <a:pt x="2906" y="20624"/>
                  <a:pt x="2906" y="20562"/>
                </a:cubicBezTo>
                <a:cubicBezTo>
                  <a:pt x="2906" y="20531"/>
                  <a:pt x="2906" y="20531"/>
                  <a:pt x="2938" y="20531"/>
                </a:cubicBezTo>
                <a:cubicBezTo>
                  <a:pt x="3000" y="20531"/>
                  <a:pt x="2969" y="20468"/>
                  <a:pt x="3000" y="20437"/>
                </a:cubicBezTo>
                <a:cubicBezTo>
                  <a:pt x="3000" y="20437"/>
                  <a:pt x="3000" y="20406"/>
                  <a:pt x="2969" y="20406"/>
                </a:cubicBezTo>
                <a:cubicBezTo>
                  <a:pt x="2938" y="20374"/>
                  <a:pt x="2938" y="20437"/>
                  <a:pt x="2906" y="20437"/>
                </a:cubicBezTo>
                <a:cubicBezTo>
                  <a:pt x="2875" y="20468"/>
                  <a:pt x="2844" y="20468"/>
                  <a:pt x="2813" y="20468"/>
                </a:cubicBezTo>
                <a:cubicBezTo>
                  <a:pt x="2813" y="20531"/>
                  <a:pt x="2875" y="20562"/>
                  <a:pt x="2875" y="20624"/>
                </a:cubicBezTo>
                <a:cubicBezTo>
                  <a:pt x="2813" y="20562"/>
                  <a:pt x="2781" y="20562"/>
                  <a:pt x="2719" y="20593"/>
                </a:cubicBezTo>
                <a:cubicBezTo>
                  <a:pt x="2688" y="20593"/>
                  <a:pt x="2656" y="20624"/>
                  <a:pt x="2656" y="20687"/>
                </a:cubicBezTo>
                <a:cubicBezTo>
                  <a:pt x="2656" y="20687"/>
                  <a:pt x="2656" y="20718"/>
                  <a:pt x="2656" y="20749"/>
                </a:cubicBezTo>
                <a:cubicBezTo>
                  <a:pt x="2656" y="20812"/>
                  <a:pt x="2594" y="20812"/>
                  <a:pt x="2563" y="20812"/>
                </a:cubicBezTo>
                <a:cubicBezTo>
                  <a:pt x="2531" y="20812"/>
                  <a:pt x="2500" y="20843"/>
                  <a:pt x="2469" y="20812"/>
                </a:cubicBezTo>
                <a:cubicBezTo>
                  <a:pt x="2438" y="20781"/>
                  <a:pt x="2500" y="20781"/>
                  <a:pt x="2531" y="20749"/>
                </a:cubicBezTo>
                <a:cubicBezTo>
                  <a:pt x="2469" y="20718"/>
                  <a:pt x="2469" y="20781"/>
                  <a:pt x="2438" y="20781"/>
                </a:cubicBezTo>
                <a:cubicBezTo>
                  <a:pt x="2375" y="20843"/>
                  <a:pt x="2313" y="20812"/>
                  <a:pt x="2281" y="20749"/>
                </a:cubicBezTo>
                <a:cubicBezTo>
                  <a:pt x="2344" y="20749"/>
                  <a:pt x="2375" y="20749"/>
                  <a:pt x="2375" y="20718"/>
                </a:cubicBezTo>
                <a:cubicBezTo>
                  <a:pt x="2375" y="20656"/>
                  <a:pt x="2344" y="20687"/>
                  <a:pt x="2313" y="20656"/>
                </a:cubicBezTo>
                <a:cubicBezTo>
                  <a:pt x="2281" y="20624"/>
                  <a:pt x="2281" y="20718"/>
                  <a:pt x="2250" y="20687"/>
                </a:cubicBezTo>
                <a:cubicBezTo>
                  <a:pt x="2156" y="20656"/>
                  <a:pt x="2094" y="20718"/>
                  <a:pt x="2000" y="20749"/>
                </a:cubicBezTo>
                <a:cubicBezTo>
                  <a:pt x="1875" y="20749"/>
                  <a:pt x="1969" y="20687"/>
                  <a:pt x="2000" y="20624"/>
                </a:cubicBezTo>
                <a:cubicBezTo>
                  <a:pt x="1938" y="20624"/>
                  <a:pt x="1906" y="20687"/>
                  <a:pt x="1875" y="20687"/>
                </a:cubicBezTo>
                <a:cubicBezTo>
                  <a:pt x="1844" y="20749"/>
                  <a:pt x="1781" y="20749"/>
                  <a:pt x="1750" y="20687"/>
                </a:cubicBezTo>
                <a:cubicBezTo>
                  <a:pt x="1750" y="20656"/>
                  <a:pt x="1750" y="20656"/>
                  <a:pt x="1719" y="20624"/>
                </a:cubicBezTo>
                <a:cubicBezTo>
                  <a:pt x="1688" y="20593"/>
                  <a:pt x="1688" y="20499"/>
                  <a:pt x="1625" y="20468"/>
                </a:cubicBezTo>
                <a:cubicBezTo>
                  <a:pt x="1656" y="20531"/>
                  <a:pt x="1594" y="20624"/>
                  <a:pt x="1719" y="20656"/>
                </a:cubicBezTo>
                <a:cubicBezTo>
                  <a:pt x="1719" y="20687"/>
                  <a:pt x="1781" y="20718"/>
                  <a:pt x="1719" y="20749"/>
                </a:cubicBezTo>
                <a:cubicBezTo>
                  <a:pt x="1656" y="20718"/>
                  <a:pt x="1625" y="20718"/>
                  <a:pt x="1563" y="20718"/>
                </a:cubicBezTo>
                <a:cubicBezTo>
                  <a:pt x="1563" y="20718"/>
                  <a:pt x="1563" y="20718"/>
                  <a:pt x="1531" y="20687"/>
                </a:cubicBezTo>
                <a:cubicBezTo>
                  <a:pt x="1500" y="20531"/>
                  <a:pt x="1375" y="20374"/>
                  <a:pt x="1281" y="20218"/>
                </a:cubicBezTo>
                <a:cubicBezTo>
                  <a:pt x="1313" y="20249"/>
                  <a:pt x="1281" y="20312"/>
                  <a:pt x="1313" y="20343"/>
                </a:cubicBezTo>
                <a:cubicBezTo>
                  <a:pt x="1375" y="20468"/>
                  <a:pt x="1406" y="20593"/>
                  <a:pt x="1500" y="20687"/>
                </a:cubicBezTo>
                <a:cubicBezTo>
                  <a:pt x="1469" y="20718"/>
                  <a:pt x="1406" y="20749"/>
                  <a:pt x="1406" y="20718"/>
                </a:cubicBezTo>
                <a:cubicBezTo>
                  <a:pt x="1375" y="20656"/>
                  <a:pt x="1313" y="20718"/>
                  <a:pt x="1281" y="20687"/>
                </a:cubicBezTo>
                <a:cubicBezTo>
                  <a:pt x="1250" y="20687"/>
                  <a:pt x="1188" y="20718"/>
                  <a:pt x="1188" y="20687"/>
                </a:cubicBezTo>
                <a:cubicBezTo>
                  <a:pt x="1188" y="20624"/>
                  <a:pt x="1156" y="20624"/>
                  <a:pt x="1094" y="20624"/>
                </a:cubicBezTo>
                <a:cubicBezTo>
                  <a:pt x="1063" y="20593"/>
                  <a:pt x="1063" y="20593"/>
                  <a:pt x="1063" y="20562"/>
                </a:cubicBezTo>
                <a:cubicBezTo>
                  <a:pt x="1063" y="20562"/>
                  <a:pt x="1063" y="20562"/>
                  <a:pt x="1094" y="20562"/>
                </a:cubicBezTo>
                <a:cubicBezTo>
                  <a:pt x="1094" y="20531"/>
                  <a:pt x="1094" y="20531"/>
                  <a:pt x="1094" y="20531"/>
                </a:cubicBezTo>
                <a:lnTo>
                  <a:pt x="1094" y="20531"/>
                </a:lnTo>
                <a:cubicBezTo>
                  <a:pt x="1063" y="20531"/>
                  <a:pt x="1063" y="20562"/>
                  <a:pt x="1063" y="20562"/>
                </a:cubicBezTo>
                <a:cubicBezTo>
                  <a:pt x="1063" y="20593"/>
                  <a:pt x="1031" y="20593"/>
                  <a:pt x="1000" y="20562"/>
                </a:cubicBezTo>
                <a:cubicBezTo>
                  <a:pt x="1000" y="20531"/>
                  <a:pt x="969" y="20562"/>
                  <a:pt x="969" y="20562"/>
                </a:cubicBezTo>
                <a:cubicBezTo>
                  <a:pt x="938" y="20593"/>
                  <a:pt x="969" y="20593"/>
                  <a:pt x="969" y="20624"/>
                </a:cubicBezTo>
                <a:cubicBezTo>
                  <a:pt x="1000" y="20624"/>
                  <a:pt x="1031" y="20624"/>
                  <a:pt x="1031" y="20656"/>
                </a:cubicBezTo>
                <a:cubicBezTo>
                  <a:pt x="1000" y="20687"/>
                  <a:pt x="969" y="20687"/>
                  <a:pt x="969" y="20656"/>
                </a:cubicBezTo>
                <a:cubicBezTo>
                  <a:pt x="875" y="20656"/>
                  <a:pt x="781" y="20656"/>
                  <a:pt x="719" y="20656"/>
                </a:cubicBezTo>
                <a:cubicBezTo>
                  <a:pt x="688" y="20656"/>
                  <a:pt x="656" y="20624"/>
                  <a:pt x="656" y="20656"/>
                </a:cubicBezTo>
                <a:cubicBezTo>
                  <a:pt x="719" y="20718"/>
                  <a:pt x="656" y="20687"/>
                  <a:pt x="625" y="20687"/>
                </a:cubicBezTo>
                <a:cubicBezTo>
                  <a:pt x="531" y="20718"/>
                  <a:pt x="438" y="20687"/>
                  <a:pt x="375" y="20656"/>
                </a:cubicBezTo>
                <a:cubicBezTo>
                  <a:pt x="375" y="20624"/>
                  <a:pt x="406" y="20656"/>
                  <a:pt x="438" y="20624"/>
                </a:cubicBezTo>
                <a:lnTo>
                  <a:pt x="438" y="20624"/>
                </a:lnTo>
                <a:cubicBezTo>
                  <a:pt x="344" y="20562"/>
                  <a:pt x="219" y="20593"/>
                  <a:pt x="125" y="20593"/>
                </a:cubicBezTo>
                <a:cubicBezTo>
                  <a:pt x="125" y="20624"/>
                  <a:pt x="188" y="20593"/>
                  <a:pt x="156" y="20624"/>
                </a:cubicBezTo>
                <a:cubicBezTo>
                  <a:pt x="94" y="20624"/>
                  <a:pt x="31" y="20656"/>
                  <a:pt x="0" y="20593"/>
                </a:cubicBezTo>
                <a:cubicBezTo>
                  <a:pt x="0" y="20624"/>
                  <a:pt x="0" y="20687"/>
                  <a:pt x="0" y="20718"/>
                </a:cubicBezTo>
                <a:cubicBezTo>
                  <a:pt x="94" y="20687"/>
                  <a:pt x="188" y="20718"/>
                  <a:pt x="281" y="20687"/>
                </a:cubicBezTo>
                <a:cubicBezTo>
                  <a:pt x="313" y="20718"/>
                  <a:pt x="344" y="20718"/>
                  <a:pt x="344" y="20749"/>
                </a:cubicBezTo>
                <a:cubicBezTo>
                  <a:pt x="313" y="20843"/>
                  <a:pt x="219" y="20843"/>
                  <a:pt x="125" y="20812"/>
                </a:cubicBezTo>
                <a:cubicBezTo>
                  <a:pt x="63" y="20812"/>
                  <a:pt x="31" y="20812"/>
                  <a:pt x="0" y="20812"/>
                </a:cubicBezTo>
                <a:cubicBezTo>
                  <a:pt x="0" y="20843"/>
                  <a:pt x="0" y="20874"/>
                  <a:pt x="0" y="20874"/>
                </a:cubicBezTo>
                <a:cubicBezTo>
                  <a:pt x="0" y="20874"/>
                  <a:pt x="63" y="20874"/>
                  <a:pt x="94" y="20874"/>
                </a:cubicBezTo>
                <a:cubicBezTo>
                  <a:pt x="125" y="20874"/>
                  <a:pt x="156" y="20906"/>
                  <a:pt x="94" y="20937"/>
                </a:cubicBezTo>
                <a:cubicBezTo>
                  <a:pt x="94" y="20937"/>
                  <a:pt x="94" y="20937"/>
                  <a:pt x="94" y="20937"/>
                </a:cubicBezTo>
                <a:cubicBezTo>
                  <a:pt x="188" y="20906"/>
                  <a:pt x="250" y="20999"/>
                  <a:pt x="313" y="20937"/>
                </a:cubicBezTo>
                <a:cubicBezTo>
                  <a:pt x="313" y="20968"/>
                  <a:pt x="313" y="20968"/>
                  <a:pt x="313" y="20968"/>
                </a:cubicBezTo>
                <a:cubicBezTo>
                  <a:pt x="344" y="20968"/>
                  <a:pt x="344" y="20968"/>
                  <a:pt x="344" y="20999"/>
                </a:cubicBezTo>
                <a:cubicBezTo>
                  <a:pt x="406" y="20999"/>
                  <a:pt x="438" y="20999"/>
                  <a:pt x="469" y="20968"/>
                </a:cubicBezTo>
                <a:cubicBezTo>
                  <a:pt x="500" y="20906"/>
                  <a:pt x="594" y="20906"/>
                  <a:pt x="656" y="20937"/>
                </a:cubicBezTo>
                <a:cubicBezTo>
                  <a:pt x="750" y="20937"/>
                  <a:pt x="813" y="20999"/>
                  <a:pt x="875" y="21031"/>
                </a:cubicBezTo>
                <a:cubicBezTo>
                  <a:pt x="875" y="21062"/>
                  <a:pt x="875" y="21093"/>
                  <a:pt x="844" y="21093"/>
                </a:cubicBezTo>
                <a:cubicBezTo>
                  <a:pt x="813" y="21062"/>
                  <a:pt x="750" y="21062"/>
                  <a:pt x="781" y="21031"/>
                </a:cubicBezTo>
                <a:cubicBezTo>
                  <a:pt x="750" y="20968"/>
                  <a:pt x="719" y="20999"/>
                  <a:pt x="688" y="21031"/>
                </a:cubicBezTo>
                <a:cubicBezTo>
                  <a:pt x="625" y="21093"/>
                  <a:pt x="531" y="21062"/>
                  <a:pt x="469" y="21031"/>
                </a:cubicBezTo>
                <a:cubicBezTo>
                  <a:pt x="438" y="21031"/>
                  <a:pt x="406" y="21031"/>
                  <a:pt x="375" y="21031"/>
                </a:cubicBezTo>
                <a:cubicBezTo>
                  <a:pt x="344" y="21062"/>
                  <a:pt x="344" y="21031"/>
                  <a:pt x="344" y="20999"/>
                </a:cubicBezTo>
                <a:cubicBezTo>
                  <a:pt x="344" y="20968"/>
                  <a:pt x="344" y="20968"/>
                  <a:pt x="313" y="20968"/>
                </a:cubicBezTo>
                <a:cubicBezTo>
                  <a:pt x="281" y="20968"/>
                  <a:pt x="313" y="21062"/>
                  <a:pt x="250" y="21031"/>
                </a:cubicBezTo>
                <a:cubicBezTo>
                  <a:pt x="188" y="20999"/>
                  <a:pt x="125" y="21031"/>
                  <a:pt x="63" y="20968"/>
                </a:cubicBezTo>
                <a:cubicBezTo>
                  <a:pt x="94" y="20968"/>
                  <a:pt x="94" y="20968"/>
                  <a:pt x="94" y="20937"/>
                </a:cubicBezTo>
                <a:cubicBezTo>
                  <a:pt x="94" y="20937"/>
                  <a:pt x="94" y="20937"/>
                  <a:pt x="94" y="20937"/>
                </a:cubicBezTo>
                <a:cubicBezTo>
                  <a:pt x="63" y="20906"/>
                  <a:pt x="31" y="20937"/>
                  <a:pt x="0" y="20937"/>
                </a:cubicBezTo>
                <a:cubicBezTo>
                  <a:pt x="0" y="20999"/>
                  <a:pt x="0" y="21062"/>
                  <a:pt x="0" y="21124"/>
                </a:cubicBezTo>
                <a:cubicBezTo>
                  <a:pt x="31" y="21124"/>
                  <a:pt x="63" y="21124"/>
                  <a:pt x="125" y="21124"/>
                </a:cubicBezTo>
                <a:cubicBezTo>
                  <a:pt x="94" y="21156"/>
                  <a:pt x="94" y="21187"/>
                  <a:pt x="125" y="21187"/>
                </a:cubicBezTo>
                <a:cubicBezTo>
                  <a:pt x="219" y="21124"/>
                  <a:pt x="313" y="21187"/>
                  <a:pt x="375" y="21187"/>
                </a:cubicBezTo>
                <a:cubicBezTo>
                  <a:pt x="438" y="21156"/>
                  <a:pt x="500" y="21218"/>
                  <a:pt x="563" y="21156"/>
                </a:cubicBezTo>
                <a:cubicBezTo>
                  <a:pt x="625" y="21187"/>
                  <a:pt x="719" y="21218"/>
                  <a:pt x="781" y="21218"/>
                </a:cubicBezTo>
                <a:cubicBezTo>
                  <a:pt x="531" y="21281"/>
                  <a:pt x="281" y="21437"/>
                  <a:pt x="0" y="21374"/>
                </a:cubicBezTo>
                <a:cubicBezTo>
                  <a:pt x="0" y="21562"/>
                  <a:pt x="0" y="21781"/>
                  <a:pt x="0" y="21968"/>
                </a:cubicBezTo>
                <a:cubicBezTo>
                  <a:pt x="31" y="21968"/>
                  <a:pt x="94" y="21999"/>
                  <a:pt x="125" y="21968"/>
                </a:cubicBezTo>
                <a:cubicBezTo>
                  <a:pt x="156" y="21968"/>
                  <a:pt x="188" y="21999"/>
                  <a:pt x="125" y="21999"/>
                </a:cubicBezTo>
                <a:cubicBezTo>
                  <a:pt x="94" y="22031"/>
                  <a:pt x="31" y="22031"/>
                  <a:pt x="0" y="22031"/>
                </a:cubicBezTo>
                <a:cubicBezTo>
                  <a:pt x="0" y="22031"/>
                  <a:pt x="0" y="22031"/>
                  <a:pt x="0" y="22062"/>
                </a:cubicBezTo>
                <a:cubicBezTo>
                  <a:pt x="31" y="22062"/>
                  <a:pt x="94" y="22062"/>
                  <a:pt x="156" y="22062"/>
                </a:cubicBezTo>
                <a:cubicBezTo>
                  <a:pt x="219" y="22062"/>
                  <a:pt x="219" y="22062"/>
                  <a:pt x="219" y="22031"/>
                </a:cubicBezTo>
                <a:cubicBezTo>
                  <a:pt x="219" y="22062"/>
                  <a:pt x="219" y="22062"/>
                  <a:pt x="156" y="22062"/>
                </a:cubicBezTo>
                <a:cubicBezTo>
                  <a:pt x="125" y="22156"/>
                  <a:pt x="31" y="22093"/>
                  <a:pt x="0" y="22156"/>
                </a:cubicBezTo>
                <a:cubicBezTo>
                  <a:pt x="0" y="22187"/>
                  <a:pt x="0" y="22187"/>
                  <a:pt x="0" y="22218"/>
                </a:cubicBezTo>
                <a:cubicBezTo>
                  <a:pt x="63" y="22187"/>
                  <a:pt x="156" y="22187"/>
                  <a:pt x="219" y="22156"/>
                </a:cubicBezTo>
                <a:cubicBezTo>
                  <a:pt x="281" y="22156"/>
                  <a:pt x="313" y="22124"/>
                  <a:pt x="375" y="22156"/>
                </a:cubicBezTo>
                <a:cubicBezTo>
                  <a:pt x="313" y="22218"/>
                  <a:pt x="219" y="22249"/>
                  <a:pt x="156" y="22281"/>
                </a:cubicBezTo>
                <a:cubicBezTo>
                  <a:pt x="94" y="22281"/>
                  <a:pt x="31" y="22281"/>
                  <a:pt x="0" y="22312"/>
                </a:cubicBezTo>
                <a:cubicBezTo>
                  <a:pt x="0" y="22312"/>
                  <a:pt x="0" y="22343"/>
                  <a:pt x="0" y="22343"/>
                </a:cubicBezTo>
                <a:lnTo>
                  <a:pt x="0" y="22343"/>
                </a:lnTo>
                <a:cubicBezTo>
                  <a:pt x="31" y="22374"/>
                  <a:pt x="63" y="22343"/>
                  <a:pt x="94" y="22343"/>
                </a:cubicBezTo>
                <a:cubicBezTo>
                  <a:pt x="125" y="22343"/>
                  <a:pt x="156" y="22343"/>
                  <a:pt x="156" y="22312"/>
                </a:cubicBezTo>
                <a:cubicBezTo>
                  <a:pt x="156" y="22312"/>
                  <a:pt x="188" y="22312"/>
                  <a:pt x="188" y="22312"/>
                </a:cubicBezTo>
                <a:cubicBezTo>
                  <a:pt x="469" y="22249"/>
                  <a:pt x="719" y="22156"/>
                  <a:pt x="1000" y="22093"/>
                </a:cubicBezTo>
                <a:cubicBezTo>
                  <a:pt x="969" y="22124"/>
                  <a:pt x="938" y="22124"/>
                  <a:pt x="906" y="22156"/>
                </a:cubicBezTo>
                <a:cubicBezTo>
                  <a:pt x="875" y="22156"/>
                  <a:pt x="844" y="22156"/>
                  <a:pt x="844" y="22187"/>
                </a:cubicBezTo>
                <a:cubicBezTo>
                  <a:pt x="844" y="22187"/>
                  <a:pt x="844" y="22187"/>
                  <a:pt x="844" y="22187"/>
                </a:cubicBezTo>
                <a:cubicBezTo>
                  <a:pt x="688" y="22218"/>
                  <a:pt x="531" y="22249"/>
                  <a:pt x="406" y="22281"/>
                </a:cubicBezTo>
                <a:cubicBezTo>
                  <a:pt x="406" y="22281"/>
                  <a:pt x="406" y="22281"/>
                  <a:pt x="406" y="22281"/>
                </a:cubicBezTo>
                <a:cubicBezTo>
                  <a:pt x="375" y="22281"/>
                  <a:pt x="375" y="22281"/>
                  <a:pt x="375" y="22312"/>
                </a:cubicBezTo>
                <a:cubicBezTo>
                  <a:pt x="250" y="22343"/>
                  <a:pt x="125" y="22374"/>
                  <a:pt x="0" y="22406"/>
                </a:cubicBezTo>
                <a:cubicBezTo>
                  <a:pt x="0" y="22437"/>
                  <a:pt x="0" y="22468"/>
                  <a:pt x="0" y="22468"/>
                </a:cubicBezTo>
                <a:cubicBezTo>
                  <a:pt x="63" y="22437"/>
                  <a:pt x="156" y="22374"/>
                  <a:pt x="219" y="22406"/>
                </a:cubicBezTo>
                <a:cubicBezTo>
                  <a:pt x="281" y="22406"/>
                  <a:pt x="313" y="22374"/>
                  <a:pt x="344" y="22343"/>
                </a:cubicBezTo>
                <a:cubicBezTo>
                  <a:pt x="375" y="22343"/>
                  <a:pt x="375" y="22343"/>
                  <a:pt x="375" y="22343"/>
                </a:cubicBezTo>
                <a:cubicBezTo>
                  <a:pt x="406" y="22343"/>
                  <a:pt x="438" y="22343"/>
                  <a:pt x="469" y="22343"/>
                </a:cubicBezTo>
                <a:cubicBezTo>
                  <a:pt x="469" y="22374"/>
                  <a:pt x="500" y="22374"/>
                  <a:pt x="531" y="22374"/>
                </a:cubicBezTo>
                <a:cubicBezTo>
                  <a:pt x="500" y="22406"/>
                  <a:pt x="469" y="22437"/>
                  <a:pt x="406" y="22468"/>
                </a:cubicBezTo>
                <a:cubicBezTo>
                  <a:pt x="375" y="22468"/>
                  <a:pt x="344" y="22468"/>
                  <a:pt x="344" y="22531"/>
                </a:cubicBezTo>
                <a:cubicBezTo>
                  <a:pt x="313" y="22562"/>
                  <a:pt x="281" y="22656"/>
                  <a:pt x="188" y="22624"/>
                </a:cubicBezTo>
                <a:cubicBezTo>
                  <a:pt x="156" y="22624"/>
                  <a:pt x="125" y="22624"/>
                  <a:pt x="94" y="22624"/>
                </a:cubicBezTo>
                <a:cubicBezTo>
                  <a:pt x="63" y="22562"/>
                  <a:pt x="156" y="22562"/>
                  <a:pt x="156" y="22531"/>
                </a:cubicBezTo>
                <a:lnTo>
                  <a:pt x="156" y="22531"/>
                </a:lnTo>
                <a:cubicBezTo>
                  <a:pt x="156" y="22531"/>
                  <a:pt x="156" y="22531"/>
                  <a:pt x="156" y="22531"/>
                </a:cubicBezTo>
                <a:cubicBezTo>
                  <a:pt x="156" y="22499"/>
                  <a:pt x="188" y="22468"/>
                  <a:pt x="188" y="22468"/>
                </a:cubicBezTo>
                <a:cubicBezTo>
                  <a:pt x="188" y="22468"/>
                  <a:pt x="188" y="22468"/>
                  <a:pt x="156" y="22468"/>
                </a:cubicBezTo>
                <a:cubicBezTo>
                  <a:pt x="125" y="22468"/>
                  <a:pt x="125" y="22499"/>
                  <a:pt x="125" y="22499"/>
                </a:cubicBezTo>
                <a:cubicBezTo>
                  <a:pt x="94" y="22531"/>
                  <a:pt x="31" y="22531"/>
                  <a:pt x="0" y="22562"/>
                </a:cubicBezTo>
                <a:cubicBezTo>
                  <a:pt x="0" y="22562"/>
                  <a:pt x="0" y="22593"/>
                  <a:pt x="0" y="22593"/>
                </a:cubicBezTo>
                <a:cubicBezTo>
                  <a:pt x="31" y="22593"/>
                  <a:pt x="63" y="22624"/>
                  <a:pt x="94" y="22624"/>
                </a:cubicBezTo>
                <a:cubicBezTo>
                  <a:pt x="125" y="22718"/>
                  <a:pt x="31" y="22687"/>
                  <a:pt x="0" y="22687"/>
                </a:cubicBezTo>
                <a:cubicBezTo>
                  <a:pt x="0" y="22781"/>
                  <a:pt x="0" y="22843"/>
                  <a:pt x="0" y="22906"/>
                </a:cubicBezTo>
                <a:cubicBezTo>
                  <a:pt x="94" y="22937"/>
                  <a:pt x="219" y="22937"/>
                  <a:pt x="344" y="22937"/>
                </a:cubicBezTo>
                <a:cubicBezTo>
                  <a:pt x="469" y="22937"/>
                  <a:pt x="594" y="22968"/>
                  <a:pt x="719" y="22937"/>
                </a:cubicBezTo>
                <a:cubicBezTo>
                  <a:pt x="750" y="22999"/>
                  <a:pt x="813" y="22968"/>
                  <a:pt x="875" y="22968"/>
                </a:cubicBezTo>
                <a:cubicBezTo>
                  <a:pt x="875" y="22968"/>
                  <a:pt x="875" y="22968"/>
                  <a:pt x="875" y="22968"/>
                </a:cubicBezTo>
                <a:cubicBezTo>
                  <a:pt x="844" y="23062"/>
                  <a:pt x="688" y="23156"/>
                  <a:pt x="625" y="23187"/>
                </a:cubicBezTo>
                <a:cubicBezTo>
                  <a:pt x="469" y="23218"/>
                  <a:pt x="313" y="23187"/>
                  <a:pt x="188" y="23187"/>
                </a:cubicBezTo>
                <a:cubicBezTo>
                  <a:pt x="125" y="23187"/>
                  <a:pt x="63" y="23156"/>
                  <a:pt x="0" y="23187"/>
                </a:cubicBezTo>
                <a:cubicBezTo>
                  <a:pt x="0" y="23187"/>
                  <a:pt x="0" y="23187"/>
                  <a:pt x="0" y="23187"/>
                </a:cubicBezTo>
                <a:cubicBezTo>
                  <a:pt x="63" y="23249"/>
                  <a:pt x="125" y="23218"/>
                  <a:pt x="219" y="23218"/>
                </a:cubicBezTo>
                <a:cubicBezTo>
                  <a:pt x="313" y="23249"/>
                  <a:pt x="406" y="23249"/>
                  <a:pt x="531" y="23249"/>
                </a:cubicBezTo>
                <a:cubicBezTo>
                  <a:pt x="531" y="23249"/>
                  <a:pt x="563" y="23249"/>
                  <a:pt x="563" y="23249"/>
                </a:cubicBezTo>
                <a:cubicBezTo>
                  <a:pt x="563" y="23281"/>
                  <a:pt x="563" y="23312"/>
                  <a:pt x="531" y="23312"/>
                </a:cubicBezTo>
                <a:cubicBezTo>
                  <a:pt x="469" y="23312"/>
                  <a:pt x="438" y="23343"/>
                  <a:pt x="406" y="23406"/>
                </a:cubicBezTo>
                <a:cubicBezTo>
                  <a:pt x="375" y="23468"/>
                  <a:pt x="313" y="23499"/>
                  <a:pt x="250" y="23499"/>
                </a:cubicBezTo>
                <a:cubicBezTo>
                  <a:pt x="156" y="23468"/>
                  <a:pt x="63" y="23468"/>
                  <a:pt x="0" y="23468"/>
                </a:cubicBezTo>
                <a:cubicBezTo>
                  <a:pt x="0" y="23468"/>
                  <a:pt x="0" y="23499"/>
                  <a:pt x="0" y="23499"/>
                </a:cubicBezTo>
                <a:cubicBezTo>
                  <a:pt x="0" y="23499"/>
                  <a:pt x="0" y="23531"/>
                  <a:pt x="0" y="23531"/>
                </a:cubicBezTo>
                <a:cubicBezTo>
                  <a:pt x="63" y="23531"/>
                  <a:pt x="156" y="23499"/>
                  <a:pt x="250" y="23562"/>
                </a:cubicBezTo>
                <a:cubicBezTo>
                  <a:pt x="156" y="23656"/>
                  <a:pt x="63" y="23718"/>
                  <a:pt x="0" y="23781"/>
                </a:cubicBezTo>
                <a:cubicBezTo>
                  <a:pt x="0" y="23874"/>
                  <a:pt x="0" y="23999"/>
                  <a:pt x="0" y="24093"/>
                </a:cubicBezTo>
                <a:cubicBezTo>
                  <a:pt x="0" y="24374"/>
                  <a:pt x="0" y="24656"/>
                  <a:pt x="0" y="24937"/>
                </a:cubicBezTo>
                <a:cubicBezTo>
                  <a:pt x="0" y="24999"/>
                  <a:pt x="0" y="25093"/>
                  <a:pt x="0" y="25156"/>
                </a:cubicBezTo>
                <a:cubicBezTo>
                  <a:pt x="1844" y="25156"/>
                  <a:pt x="1844" y="25156"/>
                  <a:pt x="1844" y="25156"/>
                </a:cubicBezTo>
                <a:cubicBezTo>
                  <a:pt x="1844" y="25156"/>
                  <a:pt x="1875" y="25156"/>
                  <a:pt x="1875" y="25156"/>
                </a:cubicBezTo>
                <a:cubicBezTo>
                  <a:pt x="1906" y="25124"/>
                  <a:pt x="1938" y="25062"/>
                  <a:pt x="2000" y="24999"/>
                </a:cubicBezTo>
                <a:cubicBezTo>
                  <a:pt x="2000" y="24968"/>
                  <a:pt x="2031" y="24937"/>
                  <a:pt x="2063" y="24968"/>
                </a:cubicBezTo>
                <a:cubicBezTo>
                  <a:pt x="2063" y="24999"/>
                  <a:pt x="2125" y="24999"/>
                  <a:pt x="2125" y="25031"/>
                </a:cubicBezTo>
                <a:cubicBezTo>
                  <a:pt x="2125" y="25062"/>
                  <a:pt x="2125" y="25124"/>
                  <a:pt x="2094" y="25156"/>
                </a:cubicBezTo>
                <a:cubicBezTo>
                  <a:pt x="2781" y="25156"/>
                  <a:pt x="2781" y="25156"/>
                  <a:pt x="2781" y="25156"/>
                </a:cubicBezTo>
                <a:cubicBezTo>
                  <a:pt x="2781" y="25156"/>
                  <a:pt x="2813" y="25156"/>
                  <a:pt x="2813" y="25156"/>
                </a:cubicBezTo>
                <a:cubicBezTo>
                  <a:pt x="3375" y="25156"/>
                  <a:pt x="3375" y="25156"/>
                  <a:pt x="3375" y="25156"/>
                </a:cubicBezTo>
                <a:cubicBezTo>
                  <a:pt x="3313" y="25156"/>
                  <a:pt x="3313" y="25156"/>
                  <a:pt x="3344" y="25093"/>
                </a:cubicBezTo>
                <a:cubicBezTo>
                  <a:pt x="3344" y="25093"/>
                  <a:pt x="3375" y="25062"/>
                  <a:pt x="3375" y="25062"/>
                </a:cubicBezTo>
                <a:cubicBezTo>
                  <a:pt x="3375" y="25062"/>
                  <a:pt x="3375" y="25062"/>
                  <a:pt x="3375" y="25062"/>
                </a:cubicBezTo>
                <a:cubicBezTo>
                  <a:pt x="3406" y="25031"/>
                  <a:pt x="3438" y="24999"/>
                  <a:pt x="3500" y="24968"/>
                </a:cubicBezTo>
                <a:cubicBezTo>
                  <a:pt x="3531" y="24968"/>
                  <a:pt x="3563" y="24937"/>
                  <a:pt x="3594" y="24968"/>
                </a:cubicBezTo>
                <a:cubicBezTo>
                  <a:pt x="3656" y="24999"/>
                  <a:pt x="3563" y="25031"/>
                  <a:pt x="3563" y="25062"/>
                </a:cubicBezTo>
                <a:cubicBezTo>
                  <a:pt x="3563" y="25062"/>
                  <a:pt x="3563" y="25093"/>
                  <a:pt x="3563" y="25124"/>
                </a:cubicBezTo>
                <a:cubicBezTo>
                  <a:pt x="3531" y="25124"/>
                  <a:pt x="3500" y="25156"/>
                  <a:pt x="3469" y="25156"/>
                </a:cubicBezTo>
                <a:cubicBezTo>
                  <a:pt x="3563" y="25156"/>
                  <a:pt x="3563" y="25156"/>
                  <a:pt x="3563" y="25156"/>
                </a:cubicBezTo>
                <a:cubicBezTo>
                  <a:pt x="3563" y="25156"/>
                  <a:pt x="3563" y="25124"/>
                  <a:pt x="3563" y="25124"/>
                </a:cubicBezTo>
                <a:cubicBezTo>
                  <a:pt x="3563" y="25156"/>
                  <a:pt x="3594" y="25124"/>
                  <a:pt x="3594" y="25124"/>
                </a:cubicBezTo>
                <a:cubicBezTo>
                  <a:pt x="3625" y="25062"/>
                  <a:pt x="3719" y="24999"/>
                  <a:pt x="3750" y="24906"/>
                </a:cubicBezTo>
                <a:cubicBezTo>
                  <a:pt x="3750" y="24906"/>
                  <a:pt x="3750" y="24906"/>
                  <a:pt x="3750" y="24906"/>
                </a:cubicBezTo>
                <a:cubicBezTo>
                  <a:pt x="3750" y="24906"/>
                  <a:pt x="3750" y="24906"/>
                  <a:pt x="3750" y="24874"/>
                </a:cubicBezTo>
                <a:cubicBezTo>
                  <a:pt x="3781" y="24906"/>
                  <a:pt x="3781" y="24874"/>
                  <a:pt x="3813" y="24843"/>
                </a:cubicBezTo>
                <a:cubicBezTo>
                  <a:pt x="3813" y="24812"/>
                  <a:pt x="3844" y="24812"/>
                  <a:pt x="3875" y="24843"/>
                </a:cubicBezTo>
                <a:cubicBezTo>
                  <a:pt x="3906" y="24843"/>
                  <a:pt x="3875" y="24874"/>
                  <a:pt x="3875" y="24874"/>
                </a:cubicBezTo>
                <a:cubicBezTo>
                  <a:pt x="3813" y="24937"/>
                  <a:pt x="3813" y="25031"/>
                  <a:pt x="3719" y="25031"/>
                </a:cubicBezTo>
                <a:cubicBezTo>
                  <a:pt x="3688" y="25031"/>
                  <a:pt x="3656" y="25062"/>
                  <a:pt x="3688" y="25093"/>
                </a:cubicBezTo>
                <a:cubicBezTo>
                  <a:pt x="3688" y="25124"/>
                  <a:pt x="3688" y="25156"/>
                  <a:pt x="3656" y="25156"/>
                </a:cubicBezTo>
                <a:cubicBezTo>
                  <a:pt x="4500" y="25156"/>
                  <a:pt x="4500" y="25156"/>
                  <a:pt x="4500" y="25156"/>
                </a:cubicBezTo>
                <a:cubicBezTo>
                  <a:pt x="4500" y="25156"/>
                  <a:pt x="4531" y="25156"/>
                  <a:pt x="4531" y="25156"/>
                </a:cubicBezTo>
                <a:cubicBezTo>
                  <a:pt x="4813" y="25156"/>
                  <a:pt x="4813" y="25156"/>
                  <a:pt x="4813" y="25156"/>
                </a:cubicBezTo>
                <a:cubicBezTo>
                  <a:pt x="5313" y="24687"/>
                  <a:pt x="5875" y="24281"/>
                  <a:pt x="6469" y="23906"/>
                </a:cubicBezTo>
                <a:cubicBezTo>
                  <a:pt x="6969" y="23624"/>
                  <a:pt x="7500" y="23374"/>
                  <a:pt x="8063" y="23187"/>
                </a:cubicBezTo>
                <a:cubicBezTo>
                  <a:pt x="8250" y="23124"/>
                  <a:pt x="8438" y="23062"/>
                  <a:pt x="8625" y="23031"/>
                </a:cubicBezTo>
                <a:cubicBezTo>
                  <a:pt x="8719" y="22999"/>
                  <a:pt x="8781" y="22843"/>
                  <a:pt x="8750" y="22749"/>
                </a:cubicBezTo>
                <a:cubicBezTo>
                  <a:pt x="8750" y="22749"/>
                  <a:pt x="8750" y="22781"/>
                  <a:pt x="8719" y="22781"/>
                </a:cubicBezTo>
                <a:cubicBezTo>
                  <a:pt x="8719" y="22781"/>
                  <a:pt x="8719" y="22781"/>
                  <a:pt x="8719" y="22781"/>
                </a:cubicBezTo>
                <a:cubicBezTo>
                  <a:pt x="8656" y="22687"/>
                  <a:pt x="8719" y="22593"/>
                  <a:pt x="8688" y="22499"/>
                </a:cubicBezTo>
                <a:cubicBezTo>
                  <a:pt x="8656" y="22468"/>
                  <a:pt x="8656" y="22468"/>
                  <a:pt x="8625" y="22499"/>
                </a:cubicBezTo>
                <a:cubicBezTo>
                  <a:pt x="8656" y="22468"/>
                  <a:pt x="8656" y="22468"/>
                  <a:pt x="8688" y="22499"/>
                </a:cubicBezTo>
                <a:cubicBezTo>
                  <a:pt x="8750" y="22468"/>
                  <a:pt x="8813" y="22406"/>
                  <a:pt x="8875" y="22406"/>
                </a:cubicBezTo>
                <a:cubicBezTo>
                  <a:pt x="8906" y="22531"/>
                  <a:pt x="8844" y="22656"/>
                  <a:pt x="8875" y="22812"/>
                </a:cubicBezTo>
                <a:cubicBezTo>
                  <a:pt x="8875" y="22812"/>
                  <a:pt x="8875" y="22812"/>
                  <a:pt x="8844" y="22812"/>
                </a:cubicBezTo>
                <a:cubicBezTo>
                  <a:pt x="8813" y="22812"/>
                  <a:pt x="8781" y="22843"/>
                  <a:pt x="8781" y="22906"/>
                </a:cubicBezTo>
                <a:cubicBezTo>
                  <a:pt x="8813" y="22937"/>
                  <a:pt x="8844" y="22968"/>
                  <a:pt x="8906" y="22968"/>
                </a:cubicBezTo>
                <a:cubicBezTo>
                  <a:pt x="8938" y="22937"/>
                  <a:pt x="9000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281" y="22843"/>
                  <a:pt x="9563" y="22906"/>
                  <a:pt x="9781" y="22812"/>
                </a:cubicBezTo>
                <a:cubicBezTo>
                  <a:pt x="9781" y="22812"/>
                  <a:pt x="9781" y="22812"/>
                  <a:pt x="9781" y="22812"/>
                </a:cubicBezTo>
                <a:cubicBezTo>
                  <a:pt x="9875" y="22812"/>
                  <a:pt x="9938" y="22843"/>
                  <a:pt x="10000" y="22781"/>
                </a:cubicBezTo>
                <a:cubicBezTo>
                  <a:pt x="10031" y="22781"/>
                  <a:pt x="10063" y="22781"/>
                  <a:pt x="10094" y="22781"/>
                </a:cubicBezTo>
                <a:cubicBezTo>
                  <a:pt x="10063" y="22749"/>
                  <a:pt x="10031" y="22749"/>
                  <a:pt x="10000" y="22749"/>
                </a:cubicBezTo>
                <a:cubicBezTo>
                  <a:pt x="10000" y="22749"/>
                  <a:pt x="10031" y="22718"/>
                  <a:pt x="10031" y="22718"/>
                </a:cubicBezTo>
                <a:cubicBezTo>
                  <a:pt x="10063" y="22718"/>
                  <a:pt x="10094" y="22718"/>
                  <a:pt x="10125" y="22749"/>
                </a:cubicBezTo>
                <a:cubicBezTo>
                  <a:pt x="10125" y="22749"/>
                  <a:pt x="10125" y="22781"/>
                  <a:pt x="10094" y="22781"/>
                </a:cubicBezTo>
                <a:cubicBezTo>
                  <a:pt x="10125" y="22843"/>
                  <a:pt x="10156" y="22812"/>
                  <a:pt x="10219" y="22812"/>
                </a:cubicBezTo>
                <a:cubicBezTo>
                  <a:pt x="10719" y="22812"/>
                  <a:pt x="11188" y="22874"/>
                  <a:pt x="11688" y="22999"/>
                </a:cubicBezTo>
                <a:cubicBezTo>
                  <a:pt x="12563" y="23281"/>
                  <a:pt x="13313" y="23749"/>
                  <a:pt x="13906" y="24468"/>
                </a:cubicBezTo>
                <a:cubicBezTo>
                  <a:pt x="14094" y="24687"/>
                  <a:pt x="14250" y="24937"/>
                  <a:pt x="14375" y="25156"/>
                </a:cubicBezTo>
                <a:cubicBezTo>
                  <a:pt x="14500" y="25156"/>
                  <a:pt x="14500" y="25156"/>
                  <a:pt x="14500" y="25156"/>
                </a:cubicBezTo>
                <a:cubicBezTo>
                  <a:pt x="14500" y="25124"/>
                  <a:pt x="14469" y="25093"/>
                  <a:pt x="14531" y="25062"/>
                </a:cubicBezTo>
                <a:cubicBezTo>
                  <a:pt x="14563" y="25062"/>
                  <a:pt x="14531" y="25062"/>
                  <a:pt x="14531" y="25062"/>
                </a:cubicBezTo>
                <a:cubicBezTo>
                  <a:pt x="14469" y="25031"/>
                  <a:pt x="14469" y="24999"/>
                  <a:pt x="14500" y="24968"/>
                </a:cubicBezTo>
                <a:cubicBezTo>
                  <a:pt x="14469" y="24937"/>
                  <a:pt x="14469" y="24937"/>
                  <a:pt x="14469" y="24937"/>
                </a:cubicBezTo>
                <a:cubicBezTo>
                  <a:pt x="14500" y="24937"/>
                  <a:pt x="14500" y="24937"/>
                  <a:pt x="14500" y="24937"/>
                </a:cubicBezTo>
                <a:lnTo>
                  <a:pt x="14500" y="24937"/>
                </a:lnTo>
                <a:cubicBezTo>
                  <a:pt x="14500" y="24937"/>
                  <a:pt x="14500" y="24937"/>
                  <a:pt x="14500" y="24968"/>
                </a:cubicBezTo>
                <a:cubicBezTo>
                  <a:pt x="14438" y="24937"/>
                  <a:pt x="14406" y="24937"/>
                  <a:pt x="14438" y="24874"/>
                </a:cubicBezTo>
                <a:cubicBezTo>
                  <a:pt x="14469" y="24843"/>
                  <a:pt x="14500" y="24812"/>
                  <a:pt x="14531" y="24781"/>
                </a:cubicBezTo>
                <a:cubicBezTo>
                  <a:pt x="14563" y="24749"/>
                  <a:pt x="14594" y="24781"/>
                  <a:pt x="14625" y="24749"/>
                </a:cubicBezTo>
                <a:cubicBezTo>
                  <a:pt x="14625" y="24749"/>
                  <a:pt x="14625" y="24749"/>
                  <a:pt x="14625" y="24749"/>
                </a:cubicBezTo>
                <a:cubicBezTo>
                  <a:pt x="14688" y="24781"/>
                  <a:pt x="14656" y="24843"/>
                  <a:pt x="14656" y="24874"/>
                </a:cubicBezTo>
                <a:cubicBezTo>
                  <a:pt x="14688" y="24937"/>
                  <a:pt x="14719" y="24999"/>
                  <a:pt x="14688" y="25062"/>
                </a:cubicBezTo>
                <a:cubicBezTo>
                  <a:pt x="14625" y="25062"/>
                  <a:pt x="14625" y="25124"/>
                  <a:pt x="14563" y="25156"/>
                </a:cubicBezTo>
                <a:cubicBezTo>
                  <a:pt x="14563" y="25156"/>
                  <a:pt x="14563" y="25156"/>
                  <a:pt x="14563" y="25156"/>
                </a:cubicBezTo>
                <a:cubicBezTo>
                  <a:pt x="15000" y="25156"/>
                  <a:pt x="15000" y="25156"/>
                  <a:pt x="15000" y="25156"/>
                </a:cubicBezTo>
                <a:cubicBezTo>
                  <a:pt x="14969" y="25124"/>
                  <a:pt x="14938" y="25031"/>
                  <a:pt x="14938" y="24968"/>
                </a:cubicBezTo>
                <a:cubicBezTo>
                  <a:pt x="14906" y="24812"/>
                  <a:pt x="14844" y="24656"/>
                  <a:pt x="14813" y="24499"/>
                </a:cubicBezTo>
                <a:cubicBezTo>
                  <a:pt x="14813" y="24437"/>
                  <a:pt x="14781" y="24374"/>
                  <a:pt x="14875" y="24343"/>
                </a:cubicBezTo>
                <a:cubicBezTo>
                  <a:pt x="14875" y="24343"/>
                  <a:pt x="14875" y="24281"/>
                  <a:pt x="14906" y="24249"/>
                </a:cubicBezTo>
                <a:cubicBezTo>
                  <a:pt x="14906" y="24249"/>
                  <a:pt x="14875" y="24218"/>
                  <a:pt x="14844" y="24218"/>
                </a:cubicBezTo>
                <a:cubicBezTo>
                  <a:pt x="14875" y="24218"/>
                  <a:pt x="14906" y="24249"/>
                  <a:pt x="14906" y="24249"/>
                </a:cubicBezTo>
                <a:cubicBezTo>
                  <a:pt x="14938" y="24249"/>
                  <a:pt x="14969" y="24218"/>
                  <a:pt x="15000" y="24218"/>
                </a:cubicBezTo>
                <a:cubicBezTo>
                  <a:pt x="15031" y="24281"/>
                  <a:pt x="15094" y="24249"/>
                  <a:pt x="15125" y="24281"/>
                </a:cubicBezTo>
                <a:cubicBezTo>
                  <a:pt x="15094" y="24312"/>
                  <a:pt x="15000" y="24406"/>
                  <a:pt x="15156" y="24406"/>
                </a:cubicBezTo>
                <a:cubicBezTo>
                  <a:pt x="15188" y="24406"/>
                  <a:pt x="15156" y="24437"/>
                  <a:pt x="15188" y="24437"/>
                </a:cubicBezTo>
                <a:cubicBezTo>
                  <a:pt x="15188" y="24437"/>
                  <a:pt x="15219" y="24406"/>
                  <a:pt x="15219" y="24374"/>
                </a:cubicBezTo>
                <a:cubicBezTo>
                  <a:pt x="15313" y="24468"/>
                  <a:pt x="15344" y="24593"/>
                  <a:pt x="15406" y="24718"/>
                </a:cubicBezTo>
                <a:cubicBezTo>
                  <a:pt x="15406" y="24718"/>
                  <a:pt x="15313" y="24687"/>
                  <a:pt x="15375" y="24749"/>
                </a:cubicBezTo>
                <a:cubicBezTo>
                  <a:pt x="15375" y="24781"/>
                  <a:pt x="15375" y="24843"/>
                  <a:pt x="15406" y="24874"/>
                </a:cubicBezTo>
                <a:cubicBezTo>
                  <a:pt x="15375" y="24843"/>
                  <a:pt x="15375" y="24781"/>
                  <a:pt x="15375" y="24749"/>
                </a:cubicBezTo>
                <a:cubicBezTo>
                  <a:pt x="15344" y="24874"/>
                  <a:pt x="15281" y="24781"/>
                  <a:pt x="15250" y="24781"/>
                </a:cubicBezTo>
                <a:cubicBezTo>
                  <a:pt x="15250" y="24874"/>
                  <a:pt x="15250" y="24874"/>
                  <a:pt x="15344" y="24874"/>
                </a:cubicBezTo>
                <a:cubicBezTo>
                  <a:pt x="15375" y="24874"/>
                  <a:pt x="15375" y="24874"/>
                  <a:pt x="15406" y="24906"/>
                </a:cubicBezTo>
                <a:cubicBezTo>
                  <a:pt x="15406" y="24937"/>
                  <a:pt x="15406" y="24937"/>
                  <a:pt x="15438" y="24906"/>
                </a:cubicBezTo>
                <a:cubicBezTo>
                  <a:pt x="15438" y="24906"/>
                  <a:pt x="15469" y="24843"/>
                  <a:pt x="15500" y="24874"/>
                </a:cubicBezTo>
                <a:cubicBezTo>
                  <a:pt x="15531" y="24906"/>
                  <a:pt x="15563" y="24968"/>
                  <a:pt x="15563" y="24999"/>
                </a:cubicBezTo>
                <a:cubicBezTo>
                  <a:pt x="15563" y="25031"/>
                  <a:pt x="15531" y="25031"/>
                  <a:pt x="15500" y="25031"/>
                </a:cubicBezTo>
                <a:cubicBezTo>
                  <a:pt x="15500" y="25031"/>
                  <a:pt x="15500" y="25031"/>
                  <a:pt x="15500" y="25031"/>
                </a:cubicBezTo>
                <a:cubicBezTo>
                  <a:pt x="15406" y="25093"/>
                  <a:pt x="15313" y="25124"/>
                  <a:pt x="15219" y="25156"/>
                </a:cubicBezTo>
                <a:cubicBezTo>
                  <a:pt x="15563" y="25156"/>
                  <a:pt x="15563" y="25156"/>
                  <a:pt x="15563" y="25156"/>
                </a:cubicBezTo>
                <a:cubicBezTo>
                  <a:pt x="15531" y="25156"/>
                  <a:pt x="15531" y="25124"/>
                  <a:pt x="15531" y="25124"/>
                </a:cubicBezTo>
                <a:cubicBezTo>
                  <a:pt x="15531" y="25093"/>
                  <a:pt x="15531" y="25062"/>
                  <a:pt x="15563" y="25062"/>
                </a:cubicBezTo>
                <a:cubicBezTo>
                  <a:pt x="15625" y="25062"/>
                  <a:pt x="15594" y="25093"/>
                  <a:pt x="15625" y="25124"/>
                </a:cubicBezTo>
                <a:cubicBezTo>
                  <a:pt x="15625" y="25124"/>
                  <a:pt x="15594" y="25156"/>
                  <a:pt x="15594" y="25156"/>
                </a:cubicBezTo>
                <a:cubicBezTo>
                  <a:pt x="17188" y="25156"/>
                  <a:pt x="17188" y="25156"/>
                  <a:pt x="17188" y="25156"/>
                </a:cubicBezTo>
                <a:cubicBezTo>
                  <a:pt x="17250" y="25156"/>
                  <a:pt x="17219" y="25031"/>
                  <a:pt x="17219" y="24999"/>
                </a:cubicBezTo>
                <a:cubicBezTo>
                  <a:pt x="17250" y="24937"/>
                  <a:pt x="17188" y="24906"/>
                  <a:pt x="17188" y="24906"/>
                </a:cubicBezTo>
                <a:cubicBezTo>
                  <a:pt x="17125" y="24937"/>
                  <a:pt x="17094" y="24843"/>
                  <a:pt x="17063" y="24906"/>
                </a:cubicBezTo>
                <a:cubicBezTo>
                  <a:pt x="17031" y="24937"/>
                  <a:pt x="17000" y="24937"/>
                  <a:pt x="16969" y="24906"/>
                </a:cubicBezTo>
                <a:cubicBezTo>
                  <a:pt x="16938" y="24781"/>
                  <a:pt x="16938" y="24624"/>
                  <a:pt x="16875" y="24499"/>
                </a:cubicBezTo>
                <a:cubicBezTo>
                  <a:pt x="16875" y="24499"/>
                  <a:pt x="16875" y="24468"/>
                  <a:pt x="16875" y="24468"/>
                </a:cubicBezTo>
                <a:cubicBezTo>
                  <a:pt x="17000" y="24437"/>
                  <a:pt x="16938" y="24374"/>
                  <a:pt x="16906" y="24343"/>
                </a:cubicBezTo>
                <a:cubicBezTo>
                  <a:pt x="16813" y="24249"/>
                  <a:pt x="16813" y="24156"/>
                  <a:pt x="16813" y="24062"/>
                </a:cubicBezTo>
                <a:cubicBezTo>
                  <a:pt x="16781" y="24031"/>
                  <a:pt x="16813" y="23999"/>
                  <a:pt x="16781" y="23968"/>
                </a:cubicBezTo>
                <a:cubicBezTo>
                  <a:pt x="16750" y="23968"/>
                  <a:pt x="16781" y="23937"/>
                  <a:pt x="16781" y="23937"/>
                </a:cubicBezTo>
                <a:cubicBezTo>
                  <a:pt x="16813" y="23906"/>
                  <a:pt x="16813" y="23906"/>
                  <a:pt x="16844" y="23937"/>
                </a:cubicBezTo>
                <a:cubicBezTo>
                  <a:pt x="16875" y="23968"/>
                  <a:pt x="16938" y="23968"/>
                  <a:pt x="16938" y="23906"/>
                </a:cubicBezTo>
                <a:cubicBezTo>
                  <a:pt x="16938" y="23906"/>
                  <a:pt x="16938" y="23906"/>
                  <a:pt x="16938" y="23906"/>
                </a:cubicBezTo>
                <a:cubicBezTo>
                  <a:pt x="17031" y="23874"/>
                  <a:pt x="17063" y="23937"/>
                  <a:pt x="17094" y="23968"/>
                </a:cubicBezTo>
                <a:cubicBezTo>
                  <a:pt x="17125" y="23999"/>
                  <a:pt x="17156" y="24031"/>
                  <a:pt x="17188" y="24062"/>
                </a:cubicBezTo>
                <a:cubicBezTo>
                  <a:pt x="17188" y="24031"/>
                  <a:pt x="17188" y="24031"/>
                  <a:pt x="17219" y="24031"/>
                </a:cubicBezTo>
                <a:cubicBezTo>
                  <a:pt x="17219" y="23937"/>
                  <a:pt x="17281" y="23999"/>
                  <a:pt x="17313" y="23999"/>
                </a:cubicBezTo>
                <a:cubicBezTo>
                  <a:pt x="17344" y="23999"/>
                  <a:pt x="17375" y="24031"/>
                  <a:pt x="17344" y="24093"/>
                </a:cubicBezTo>
                <a:cubicBezTo>
                  <a:pt x="17344" y="24093"/>
                  <a:pt x="17375" y="24124"/>
                  <a:pt x="17313" y="24156"/>
                </a:cubicBezTo>
                <a:cubicBezTo>
                  <a:pt x="17313" y="24156"/>
                  <a:pt x="17313" y="24124"/>
                  <a:pt x="17281" y="24124"/>
                </a:cubicBezTo>
                <a:cubicBezTo>
                  <a:pt x="17250" y="24093"/>
                  <a:pt x="17219" y="24062"/>
                  <a:pt x="17219" y="24031"/>
                </a:cubicBezTo>
                <a:cubicBezTo>
                  <a:pt x="17188" y="24031"/>
                  <a:pt x="17188" y="24031"/>
                  <a:pt x="17188" y="24062"/>
                </a:cubicBezTo>
                <a:cubicBezTo>
                  <a:pt x="17188" y="24062"/>
                  <a:pt x="17188" y="24062"/>
                  <a:pt x="17219" y="24093"/>
                </a:cubicBezTo>
                <a:cubicBezTo>
                  <a:pt x="17188" y="24093"/>
                  <a:pt x="17188" y="24124"/>
                  <a:pt x="17188" y="24124"/>
                </a:cubicBezTo>
                <a:cubicBezTo>
                  <a:pt x="17094" y="24156"/>
                  <a:pt x="17063" y="24187"/>
                  <a:pt x="17156" y="24218"/>
                </a:cubicBezTo>
                <a:cubicBezTo>
                  <a:pt x="17219" y="24249"/>
                  <a:pt x="17219" y="24281"/>
                  <a:pt x="17156" y="24312"/>
                </a:cubicBezTo>
                <a:cubicBezTo>
                  <a:pt x="17094" y="24343"/>
                  <a:pt x="17031" y="24312"/>
                  <a:pt x="17000" y="24374"/>
                </a:cubicBezTo>
                <a:cubicBezTo>
                  <a:pt x="17031" y="24406"/>
                  <a:pt x="17063" y="24406"/>
                  <a:pt x="17094" y="24374"/>
                </a:cubicBezTo>
                <a:cubicBezTo>
                  <a:pt x="17125" y="24343"/>
                  <a:pt x="17188" y="24281"/>
                  <a:pt x="17281" y="24312"/>
                </a:cubicBezTo>
                <a:cubicBezTo>
                  <a:pt x="17281" y="24343"/>
                  <a:pt x="17281" y="24343"/>
                  <a:pt x="17281" y="24343"/>
                </a:cubicBezTo>
                <a:cubicBezTo>
                  <a:pt x="17250" y="24468"/>
                  <a:pt x="17188" y="24593"/>
                  <a:pt x="17219" y="24749"/>
                </a:cubicBezTo>
                <a:cubicBezTo>
                  <a:pt x="17250" y="24656"/>
                  <a:pt x="17219" y="24562"/>
                  <a:pt x="17281" y="24531"/>
                </a:cubicBezTo>
                <a:cubicBezTo>
                  <a:pt x="17313" y="24562"/>
                  <a:pt x="17281" y="24624"/>
                  <a:pt x="17313" y="24624"/>
                </a:cubicBezTo>
                <a:cubicBezTo>
                  <a:pt x="17375" y="24624"/>
                  <a:pt x="17313" y="24562"/>
                  <a:pt x="17344" y="24531"/>
                </a:cubicBezTo>
                <a:cubicBezTo>
                  <a:pt x="17344" y="24499"/>
                  <a:pt x="17313" y="24499"/>
                  <a:pt x="17313" y="24499"/>
                </a:cubicBezTo>
                <a:cubicBezTo>
                  <a:pt x="17281" y="24468"/>
                  <a:pt x="17250" y="24406"/>
                  <a:pt x="17313" y="24374"/>
                </a:cubicBezTo>
                <a:cubicBezTo>
                  <a:pt x="17313" y="24374"/>
                  <a:pt x="17344" y="24406"/>
                  <a:pt x="17344" y="24406"/>
                </a:cubicBezTo>
                <a:cubicBezTo>
                  <a:pt x="17344" y="24406"/>
                  <a:pt x="17344" y="24406"/>
                  <a:pt x="17344" y="24406"/>
                </a:cubicBezTo>
                <a:cubicBezTo>
                  <a:pt x="17344" y="24406"/>
                  <a:pt x="17344" y="24406"/>
                  <a:pt x="17344" y="24406"/>
                </a:cubicBezTo>
                <a:cubicBezTo>
                  <a:pt x="17406" y="24437"/>
                  <a:pt x="17469" y="24531"/>
                  <a:pt x="17563" y="24562"/>
                </a:cubicBezTo>
                <a:cubicBezTo>
                  <a:pt x="17563" y="24593"/>
                  <a:pt x="17563" y="24624"/>
                  <a:pt x="17594" y="24593"/>
                </a:cubicBezTo>
                <a:cubicBezTo>
                  <a:pt x="17594" y="24593"/>
                  <a:pt x="17594" y="24562"/>
                  <a:pt x="17563" y="24562"/>
                </a:cubicBezTo>
                <a:cubicBezTo>
                  <a:pt x="17563" y="24499"/>
                  <a:pt x="17438" y="24499"/>
                  <a:pt x="17469" y="24374"/>
                </a:cubicBezTo>
                <a:cubicBezTo>
                  <a:pt x="17531" y="24437"/>
                  <a:pt x="17594" y="24468"/>
                  <a:pt x="17625" y="24562"/>
                </a:cubicBezTo>
                <a:cubicBezTo>
                  <a:pt x="17656" y="24562"/>
                  <a:pt x="17656" y="24593"/>
                  <a:pt x="17688" y="24562"/>
                </a:cubicBezTo>
                <a:cubicBezTo>
                  <a:pt x="17688" y="24562"/>
                  <a:pt x="17688" y="24562"/>
                  <a:pt x="17688" y="24531"/>
                </a:cubicBezTo>
                <a:cubicBezTo>
                  <a:pt x="17625" y="24468"/>
                  <a:pt x="17563" y="24374"/>
                  <a:pt x="17469" y="24343"/>
                </a:cubicBezTo>
                <a:cubicBezTo>
                  <a:pt x="17469" y="24312"/>
                  <a:pt x="17469" y="24312"/>
                  <a:pt x="17469" y="24312"/>
                </a:cubicBezTo>
                <a:cubicBezTo>
                  <a:pt x="17469" y="24187"/>
                  <a:pt x="17594" y="24218"/>
                  <a:pt x="17656" y="24156"/>
                </a:cubicBezTo>
                <a:cubicBezTo>
                  <a:pt x="17563" y="24124"/>
                  <a:pt x="17531" y="24187"/>
                  <a:pt x="17500" y="24218"/>
                </a:cubicBezTo>
                <a:cubicBezTo>
                  <a:pt x="17406" y="24187"/>
                  <a:pt x="17406" y="24124"/>
                  <a:pt x="17406" y="24062"/>
                </a:cubicBezTo>
                <a:cubicBezTo>
                  <a:pt x="17438" y="23999"/>
                  <a:pt x="17469" y="23937"/>
                  <a:pt x="17469" y="23843"/>
                </a:cubicBezTo>
                <a:cubicBezTo>
                  <a:pt x="17469" y="23781"/>
                  <a:pt x="17469" y="23718"/>
                  <a:pt x="17469" y="23656"/>
                </a:cubicBezTo>
                <a:cubicBezTo>
                  <a:pt x="17469" y="23656"/>
                  <a:pt x="17469" y="23624"/>
                  <a:pt x="17469" y="23624"/>
                </a:cubicBezTo>
                <a:lnTo>
                  <a:pt x="17469" y="23624"/>
                </a:lnTo>
                <a:cubicBezTo>
                  <a:pt x="17500" y="23656"/>
                  <a:pt x="17500" y="23656"/>
                  <a:pt x="17469" y="23656"/>
                </a:cubicBezTo>
                <a:cubicBezTo>
                  <a:pt x="17438" y="23843"/>
                  <a:pt x="17313" y="23781"/>
                  <a:pt x="17188" y="23781"/>
                </a:cubicBezTo>
                <a:cubicBezTo>
                  <a:pt x="17219" y="23874"/>
                  <a:pt x="17281" y="23843"/>
                  <a:pt x="17375" y="23843"/>
                </a:cubicBezTo>
                <a:cubicBezTo>
                  <a:pt x="17313" y="23906"/>
                  <a:pt x="17281" y="23968"/>
                  <a:pt x="17188" y="23937"/>
                </a:cubicBezTo>
                <a:cubicBezTo>
                  <a:pt x="17125" y="23906"/>
                  <a:pt x="17063" y="23843"/>
                  <a:pt x="17000" y="23812"/>
                </a:cubicBezTo>
                <a:cubicBezTo>
                  <a:pt x="17000" y="23812"/>
                  <a:pt x="17000" y="23812"/>
                  <a:pt x="17000" y="23843"/>
                </a:cubicBezTo>
                <a:cubicBezTo>
                  <a:pt x="17000" y="23812"/>
                  <a:pt x="17000" y="23812"/>
                  <a:pt x="17000" y="23812"/>
                </a:cubicBezTo>
                <a:cubicBezTo>
                  <a:pt x="16938" y="23749"/>
                  <a:pt x="16938" y="23656"/>
                  <a:pt x="16813" y="23656"/>
                </a:cubicBezTo>
                <a:cubicBezTo>
                  <a:pt x="16813" y="23656"/>
                  <a:pt x="16813" y="23656"/>
                  <a:pt x="16813" y="23624"/>
                </a:cubicBezTo>
                <a:cubicBezTo>
                  <a:pt x="16813" y="23593"/>
                  <a:pt x="16813" y="23593"/>
                  <a:pt x="16750" y="23562"/>
                </a:cubicBezTo>
                <a:cubicBezTo>
                  <a:pt x="16719" y="23562"/>
                  <a:pt x="16688" y="23499"/>
                  <a:pt x="16719" y="23468"/>
                </a:cubicBezTo>
                <a:cubicBezTo>
                  <a:pt x="16719" y="23437"/>
                  <a:pt x="16719" y="23374"/>
                  <a:pt x="16781" y="23343"/>
                </a:cubicBezTo>
                <a:cubicBezTo>
                  <a:pt x="16813" y="23343"/>
                  <a:pt x="16813" y="23312"/>
                  <a:pt x="16813" y="23281"/>
                </a:cubicBezTo>
                <a:cubicBezTo>
                  <a:pt x="16750" y="23218"/>
                  <a:pt x="16781" y="23218"/>
                  <a:pt x="16844" y="23187"/>
                </a:cubicBezTo>
                <a:cubicBezTo>
                  <a:pt x="16969" y="23093"/>
                  <a:pt x="17125" y="23093"/>
                  <a:pt x="17250" y="22968"/>
                </a:cubicBezTo>
                <a:cubicBezTo>
                  <a:pt x="17281" y="22937"/>
                  <a:pt x="17313" y="22937"/>
                  <a:pt x="17344" y="22999"/>
                </a:cubicBezTo>
                <a:cubicBezTo>
                  <a:pt x="17375" y="22999"/>
                  <a:pt x="17406" y="23031"/>
                  <a:pt x="17438" y="22999"/>
                </a:cubicBezTo>
                <a:cubicBezTo>
                  <a:pt x="17500" y="22999"/>
                  <a:pt x="17563" y="22999"/>
                  <a:pt x="17594" y="23031"/>
                </a:cubicBezTo>
                <a:cubicBezTo>
                  <a:pt x="17625" y="23093"/>
                  <a:pt x="17656" y="23124"/>
                  <a:pt x="17688" y="23187"/>
                </a:cubicBezTo>
                <a:cubicBezTo>
                  <a:pt x="17719" y="23374"/>
                  <a:pt x="17781" y="23562"/>
                  <a:pt x="17813" y="23749"/>
                </a:cubicBezTo>
                <a:cubicBezTo>
                  <a:pt x="17844" y="23812"/>
                  <a:pt x="17844" y="23843"/>
                  <a:pt x="17781" y="23843"/>
                </a:cubicBezTo>
                <a:cubicBezTo>
                  <a:pt x="17719" y="23874"/>
                  <a:pt x="17750" y="23906"/>
                  <a:pt x="17719" y="23968"/>
                </a:cubicBezTo>
                <a:cubicBezTo>
                  <a:pt x="17688" y="23999"/>
                  <a:pt x="17781" y="23999"/>
                  <a:pt x="17781" y="24031"/>
                </a:cubicBezTo>
                <a:cubicBezTo>
                  <a:pt x="17781" y="24093"/>
                  <a:pt x="17906" y="24062"/>
                  <a:pt x="17906" y="24156"/>
                </a:cubicBezTo>
                <a:cubicBezTo>
                  <a:pt x="17906" y="24218"/>
                  <a:pt x="17938" y="24281"/>
                  <a:pt x="17938" y="24374"/>
                </a:cubicBezTo>
                <a:cubicBezTo>
                  <a:pt x="17969" y="24531"/>
                  <a:pt x="18031" y="24687"/>
                  <a:pt x="18031" y="24843"/>
                </a:cubicBezTo>
                <a:cubicBezTo>
                  <a:pt x="18000" y="24843"/>
                  <a:pt x="17969" y="24812"/>
                  <a:pt x="17969" y="24812"/>
                </a:cubicBezTo>
                <a:cubicBezTo>
                  <a:pt x="17906" y="24749"/>
                  <a:pt x="17844" y="24687"/>
                  <a:pt x="17750" y="24656"/>
                </a:cubicBezTo>
                <a:lnTo>
                  <a:pt x="17750" y="24656"/>
                </a:lnTo>
                <a:cubicBezTo>
                  <a:pt x="17813" y="24749"/>
                  <a:pt x="17875" y="24812"/>
                  <a:pt x="17938" y="24874"/>
                </a:cubicBezTo>
                <a:cubicBezTo>
                  <a:pt x="17938" y="24874"/>
                  <a:pt x="17969" y="24874"/>
                  <a:pt x="17969" y="24874"/>
                </a:cubicBezTo>
                <a:cubicBezTo>
                  <a:pt x="17969" y="24906"/>
                  <a:pt x="17969" y="24906"/>
                  <a:pt x="17969" y="24937"/>
                </a:cubicBezTo>
                <a:cubicBezTo>
                  <a:pt x="17938" y="24968"/>
                  <a:pt x="17938" y="24999"/>
                  <a:pt x="17938" y="25031"/>
                </a:cubicBezTo>
                <a:cubicBezTo>
                  <a:pt x="17844" y="25031"/>
                  <a:pt x="17781" y="25062"/>
                  <a:pt x="17688" y="25062"/>
                </a:cubicBezTo>
                <a:cubicBezTo>
                  <a:pt x="17625" y="25031"/>
                  <a:pt x="17531" y="24999"/>
                  <a:pt x="17469" y="25093"/>
                </a:cubicBezTo>
                <a:cubicBezTo>
                  <a:pt x="17438" y="25093"/>
                  <a:pt x="17406" y="25093"/>
                  <a:pt x="17406" y="25093"/>
                </a:cubicBezTo>
                <a:cubicBezTo>
                  <a:pt x="17406" y="25124"/>
                  <a:pt x="17438" y="25156"/>
                  <a:pt x="17438" y="25156"/>
                </a:cubicBezTo>
                <a:cubicBezTo>
                  <a:pt x="17469" y="25156"/>
                  <a:pt x="17469" y="25156"/>
                  <a:pt x="17469" y="25156"/>
                </a:cubicBezTo>
                <a:cubicBezTo>
                  <a:pt x="17469" y="25156"/>
                  <a:pt x="17469" y="25156"/>
                  <a:pt x="17469" y="25156"/>
                </a:cubicBezTo>
                <a:cubicBezTo>
                  <a:pt x="17500" y="25156"/>
                  <a:pt x="17500" y="25156"/>
                  <a:pt x="17531" y="25156"/>
                </a:cubicBezTo>
                <a:cubicBezTo>
                  <a:pt x="17750" y="25156"/>
                  <a:pt x="17750" y="25156"/>
                  <a:pt x="17750" y="25156"/>
                </a:cubicBezTo>
                <a:cubicBezTo>
                  <a:pt x="17719" y="25156"/>
                  <a:pt x="17719" y="25156"/>
                  <a:pt x="17719" y="25156"/>
                </a:cubicBezTo>
                <a:cubicBezTo>
                  <a:pt x="17719" y="25156"/>
                  <a:pt x="17719" y="25124"/>
                  <a:pt x="17719" y="25124"/>
                </a:cubicBezTo>
                <a:cubicBezTo>
                  <a:pt x="17719" y="25093"/>
                  <a:pt x="17750" y="25124"/>
                  <a:pt x="17750" y="25124"/>
                </a:cubicBezTo>
                <a:cubicBezTo>
                  <a:pt x="17813" y="25124"/>
                  <a:pt x="17844" y="25031"/>
                  <a:pt x="17906" y="25124"/>
                </a:cubicBezTo>
                <a:cubicBezTo>
                  <a:pt x="17844" y="25124"/>
                  <a:pt x="17813" y="25124"/>
                  <a:pt x="17781" y="25156"/>
                </a:cubicBezTo>
                <a:cubicBezTo>
                  <a:pt x="17781" y="25156"/>
                  <a:pt x="17781" y="25156"/>
                  <a:pt x="17781" y="25156"/>
                </a:cubicBezTo>
                <a:cubicBezTo>
                  <a:pt x="18313" y="25156"/>
                  <a:pt x="18313" y="25156"/>
                  <a:pt x="18313" y="25156"/>
                </a:cubicBezTo>
                <a:cubicBezTo>
                  <a:pt x="18281" y="25093"/>
                  <a:pt x="18313" y="25031"/>
                  <a:pt x="18250" y="24999"/>
                </a:cubicBezTo>
                <a:cubicBezTo>
                  <a:pt x="18250" y="24999"/>
                  <a:pt x="18281" y="24968"/>
                  <a:pt x="18281" y="24968"/>
                </a:cubicBezTo>
                <a:cubicBezTo>
                  <a:pt x="18313" y="24968"/>
                  <a:pt x="18313" y="24999"/>
                  <a:pt x="18313" y="24999"/>
                </a:cubicBezTo>
                <a:cubicBezTo>
                  <a:pt x="18344" y="25062"/>
                  <a:pt x="18344" y="25093"/>
                  <a:pt x="18344" y="25156"/>
                </a:cubicBezTo>
                <a:cubicBezTo>
                  <a:pt x="18469" y="25156"/>
                  <a:pt x="18469" y="25156"/>
                  <a:pt x="18469" y="25156"/>
                </a:cubicBezTo>
                <a:cubicBezTo>
                  <a:pt x="18469" y="24718"/>
                  <a:pt x="18469" y="24281"/>
                  <a:pt x="18563" y="23843"/>
                </a:cubicBezTo>
                <a:cubicBezTo>
                  <a:pt x="18625" y="23437"/>
                  <a:pt x="18719" y="23062"/>
                  <a:pt x="18906" y="22687"/>
                </a:cubicBezTo>
                <a:cubicBezTo>
                  <a:pt x="19219" y="22156"/>
                  <a:pt x="19625" y="21718"/>
                  <a:pt x="20188" y="21499"/>
                </a:cubicBezTo>
                <a:cubicBezTo>
                  <a:pt x="20344" y="21437"/>
                  <a:pt x="20500" y="21406"/>
                  <a:pt x="20625" y="21374"/>
                </a:cubicBezTo>
                <a:cubicBezTo>
                  <a:pt x="20750" y="21343"/>
                  <a:pt x="20844" y="21406"/>
                  <a:pt x="20938" y="21437"/>
                </a:cubicBezTo>
                <a:cubicBezTo>
                  <a:pt x="21438" y="21656"/>
                  <a:pt x="21906" y="21937"/>
                  <a:pt x="22375" y="22249"/>
                </a:cubicBezTo>
                <a:cubicBezTo>
                  <a:pt x="22688" y="22468"/>
                  <a:pt x="23031" y="22718"/>
                  <a:pt x="23344" y="22968"/>
                </a:cubicBezTo>
                <a:cubicBezTo>
                  <a:pt x="23563" y="23156"/>
                  <a:pt x="23781" y="23343"/>
                  <a:pt x="24031" y="23562"/>
                </a:cubicBezTo>
                <a:cubicBezTo>
                  <a:pt x="24031" y="23562"/>
                  <a:pt x="24031" y="23562"/>
                  <a:pt x="24031" y="23562"/>
                </a:cubicBezTo>
                <a:cubicBezTo>
                  <a:pt x="24031" y="23562"/>
                  <a:pt x="24031" y="23562"/>
                  <a:pt x="24031" y="23562"/>
                </a:cubicBezTo>
                <a:cubicBezTo>
                  <a:pt x="24031" y="23562"/>
                  <a:pt x="24063" y="23562"/>
                  <a:pt x="24063" y="23593"/>
                </a:cubicBezTo>
                <a:cubicBezTo>
                  <a:pt x="24063" y="23593"/>
                  <a:pt x="24063" y="23593"/>
                  <a:pt x="24063" y="23593"/>
                </a:cubicBezTo>
                <a:cubicBezTo>
                  <a:pt x="24219" y="23749"/>
                  <a:pt x="24406" y="23937"/>
                  <a:pt x="24594" y="24093"/>
                </a:cubicBezTo>
                <a:cubicBezTo>
                  <a:pt x="24656" y="24156"/>
                  <a:pt x="24719" y="24218"/>
                  <a:pt x="24781" y="24281"/>
                </a:cubicBezTo>
                <a:cubicBezTo>
                  <a:pt x="24781" y="24281"/>
                  <a:pt x="24781" y="24281"/>
                  <a:pt x="24781" y="24281"/>
                </a:cubicBezTo>
                <a:cubicBezTo>
                  <a:pt x="24781" y="24312"/>
                  <a:pt x="24813" y="24312"/>
                  <a:pt x="24844" y="24312"/>
                </a:cubicBezTo>
                <a:cubicBezTo>
                  <a:pt x="24844" y="24312"/>
                  <a:pt x="24844" y="24312"/>
                  <a:pt x="24813" y="24281"/>
                </a:cubicBezTo>
                <a:cubicBezTo>
                  <a:pt x="24844" y="24312"/>
                  <a:pt x="24844" y="24312"/>
                  <a:pt x="24844" y="24312"/>
                </a:cubicBezTo>
                <a:cubicBezTo>
                  <a:pt x="24844" y="24343"/>
                  <a:pt x="24844" y="24343"/>
                  <a:pt x="24844" y="24343"/>
                </a:cubicBezTo>
                <a:cubicBezTo>
                  <a:pt x="24844" y="24343"/>
                  <a:pt x="24844" y="24343"/>
                  <a:pt x="24844" y="24343"/>
                </a:cubicBezTo>
                <a:cubicBezTo>
                  <a:pt x="24875" y="24406"/>
                  <a:pt x="24938" y="24437"/>
                  <a:pt x="25000" y="24499"/>
                </a:cubicBezTo>
                <a:cubicBezTo>
                  <a:pt x="25000" y="24499"/>
                  <a:pt x="25031" y="24499"/>
                  <a:pt x="25031" y="24531"/>
                </a:cubicBezTo>
                <a:cubicBezTo>
                  <a:pt x="25031" y="24531"/>
                  <a:pt x="25031" y="24531"/>
                  <a:pt x="25031" y="24531"/>
                </a:cubicBezTo>
                <a:cubicBezTo>
                  <a:pt x="25125" y="24656"/>
                  <a:pt x="25250" y="24781"/>
                  <a:pt x="25375" y="24906"/>
                </a:cubicBezTo>
                <a:cubicBezTo>
                  <a:pt x="25375" y="24906"/>
                  <a:pt x="25406" y="24906"/>
                  <a:pt x="25406" y="24937"/>
                </a:cubicBezTo>
                <a:cubicBezTo>
                  <a:pt x="25406" y="24937"/>
                  <a:pt x="25406" y="24937"/>
                  <a:pt x="25406" y="24937"/>
                </a:cubicBezTo>
                <a:cubicBezTo>
                  <a:pt x="25469" y="24999"/>
                  <a:pt x="25563" y="25093"/>
                  <a:pt x="25625" y="25156"/>
                </a:cubicBezTo>
                <a:cubicBezTo>
                  <a:pt x="25594" y="25124"/>
                  <a:pt x="25563" y="25062"/>
                  <a:pt x="25531" y="25031"/>
                </a:cubicBezTo>
                <a:cubicBezTo>
                  <a:pt x="25563" y="25062"/>
                  <a:pt x="25594" y="25124"/>
                  <a:pt x="25625" y="25156"/>
                </a:cubicBezTo>
                <a:cubicBezTo>
                  <a:pt x="25625" y="25156"/>
                  <a:pt x="25625" y="25156"/>
                  <a:pt x="25625" y="25156"/>
                </a:cubicBezTo>
                <a:cubicBezTo>
                  <a:pt x="30219" y="25156"/>
                  <a:pt x="30219" y="25156"/>
                  <a:pt x="30219" y="25156"/>
                </a:cubicBezTo>
                <a:cubicBezTo>
                  <a:pt x="30219" y="25062"/>
                  <a:pt x="30219" y="24999"/>
                  <a:pt x="30125" y="24937"/>
                </a:cubicBezTo>
                <a:close/>
                <a:moveTo>
                  <a:pt x="22906" y="18031"/>
                </a:moveTo>
                <a:cubicBezTo>
                  <a:pt x="22906" y="18031"/>
                  <a:pt x="22938" y="18031"/>
                  <a:pt x="22938" y="18062"/>
                </a:cubicBezTo>
                <a:cubicBezTo>
                  <a:pt x="22969" y="18062"/>
                  <a:pt x="22969" y="18062"/>
                  <a:pt x="22969" y="18093"/>
                </a:cubicBezTo>
                <a:cubicBezTo>
                  <a:pt x="22969" y="18124"/>
                  <a:pt x="22938" y="18093"/>
                  <a:pt x="22906" y="18093"/>
                </a:cubicBezTo>
                <a:cubicBezTo>
                  <a:pt x="22875" y="18062"/>
                  <a:pt x="22844" y="18093"/>
                  <a:pt x="22813" y="18093"/>
                </a:cubicBezTo>
                <a:cubicBezTo>
                  <a:pt x="22750" y="18124"/>
                  <a:pt x="22719" y="18093"/>
                  <a:pt x="22688" y="18031"/>
                </a:cubicBezTo>
                <a:cubicBezTo>
                  <a:pt x="22719" y="18031"/>
                  <a:pt x="22719" y="17999"/>
                  <a:pt x="22719" y="17968"/>
                </a:cubicBezTo>
                <a:cubicBezTo>
                  <a:pt x="22781" y="17999"/>
                  <a:pt x="22844" y="17999"/>
                  <a:pt x="22906" y="18031"/>
                </a:cubicBezTo>
                <a:close/>
                <a:moveTo>
                  <a:pt x="22656" y="18031"/>
                </a:moveTo>
                <a:lnTo>
                  <a:pt x="22625" y="18031"/>
                </a:lnTo>
                <a:cubicBezTo>
                  <a:pt x="22625" y="17999"/>
                  <a:pt x="22625" y="17999"/>
                  <a:pt x="22625" y="17968"/>
                </a:cubicBezTo>
                <a:cubicBezTo>
                  <a:pt x="22656" y="17999"/>
                  <a:pt x="22656" y="17999"/>
                  <a:pt x="22688" y="18031"/>
                </a:cubicBezTo>
                <a:moveTo>
                  <a:pt x="25063" y="20156"/>
                </a:moveTo>
                <a:cubicBezTo>
                  <a:pt x="25125" y="20156"/>
                  <a:pt x="25125" y="20218"/>
                  <a:pt x="25156" y="20249"/>
                </a:cubicBezTo>
                <a:cubicBezTo>
                  <a:pt x="25219" y="20281"/>
                  <a:pt x="25313" y="20312"/>
                  <a:pt x="25344" y="20406"/>
                </a:cubicBezTo>
                <a:cubicBezTo>
                  <a:pt x="25344" y="20406"/>
                  <a:pt x="25344" y="20406"/>
                  <a:pt x="25344" y="20406"/>
                </a:cubicBezTo>
                <a:cubicBezTo>
                  <a:pt x="25313" y="20406"/>
                  <a:pt x="25281" y="20374"/>
                  <a:pt x="25281" y="20406"/>
                </a:cubicBezTo>
                <a:cubicBezTo>
                  <a:pt x="25250" y="20437"/>
                  <a:pt x="25250" y="20468"/>
                  <a:pt x="25281" y="20468"/>
                </a:cubicBezTo>
                <a:cubicBezTo>
                  <a:pt x="25219" y="20499"/>
                  <a:pt x="25188" y="20437"/>
                  <a:pt x="25125" y="20406"/>
                </a:cubicBezTo>
                <a:cubicBezTo>
                  <a:pt x="25094" y="20406"/>
                  <a:pt x="25094" y="20406"/>
                  <a:pt x="25063" y="20406"/>
                </a:cubicBezTo>
                <a:cubicBezTo>
                  <a:pt x="25000" y="20374"/>
                  <a:pt x="24938" y="20343"/>
                  <a:pt x="24906" y="20281"/>
                </a:cubicBezTo>
                <a:cubicBezTo>
                  <a:pt x="24875" y="20281"/>
                  <a:pt x="24875" y="20281"/>
                  <a:pt x="24875" y="20281"/>
                </a:cubicBezTo>
                <a:cubicBezTo>
                  <a:pt x="24781" y="20281"/>
                  <a:pt x="24719" y="20187"/>
                  <a:pt x="24656" y="20156"/>
                </a:cubicBezTo>
                <a:lnTo>
                  <a:pt x="24656" y="20156"/>
                </a:lnTo>
                <a:cubicBezTo>
                  <a:pt x="24719" y="20124"/>
                  <a:pt x="24844" y="20187"/>
                  <a:pt x="24875" y="20281"/>
                </a:cubicBezTo>
                <a:cubicBezTo>
                  <a:pt x="24875" y="20281"/>
                  <a:pt x="24906" y="20281"/>
                  <a:pt x="24906" y="20281"/>
                </a:cubicBezTo>
                <a:cubicBezTo>
                  <a:pt x="24906" y="20281"/>
                  <a:pt x="24938" y="20281"/>
                  <a:pt x="24938" y="20249"/>
                </a:cubicBezTo>
                <a:cubicBezTo>
                  <a:pt x="24938" y="20156"/>
                  <a:pt x="25000" y="20156"/>
                  <a:pt x="25063" y="20156"/>
                </a:cubicBezTo>
                <a:close/>
                <a:moveTo>
                  <a:pt x="7844" y="17249"/>
                </a:moveTo>
                <a:cubicBezTo>
                  <a:pt x="7813" y="17249"/>
                  <a:pt x="7781" y="17281"/>
                  <a:pt x="7781" y="17281"/>
                </a:cubicBezTo>
                <a:cubicBezTo>
                  <a:pt x="7781" y="17281"/>
                  <a:pt x="7781" y="17281"/>
                  <a:pt x="7781" y="17281"/>
                </a:cubicBezTo>
                <a:cubicBezTo>
                  <a:pt x="7594" y="17468"/>
                  <a:pt x="7375" y="17656"/>
                  <a:pt x="7188" y="17812"/>
                </a:cubicBezTo>
                <a:cubicBezTo>
                  <a:pt x="7156" y="17874"/>
                  <a:pt x="7125" y="17906"/>
                  <a:pt x="7063" y="17937"/>
                </a:cubicBezTo>
                <a:cubicBezTo>
                  <a:pt x="7031" y="17968"/>
                  <a:pt x="7000" y="17999"/>
                  <a:pt x="7000" y="18031"/>
                </a:cubicBezTo>
                <a:cubicBezTo>
                  <a:pt x="6938" y="18031"/>
                  <a:pt x="6906" y="18093"/>
                  <a:pt x="6875" y="18124"/>
                </a:cubicBezTo>
                <a:cubicBezTo>
                  <a:pt x="6625" y="18343"/>
                  <a:pt x="6406" y="18562"/>
                  <a:pt x="6156" y="18781"/>
                </a:cubicBezTo>
                <a:cubicBezTo>
                  <a:pt x="6156" y="18781"/>
                  <a:pt x="6156" y="18812"/>
                  <a:pt x="6125" y="18812"/>
                </a:cubicBezTo>
                <a:cubicBezTo>
                  <a:pt x="6125" y="18812"/>
                  <a:pt x="6125" y="18812"/>
                  <a:pt x="6125" y="18812"/>
                </a:cubicBezTo>
                <a:cubicBezTo>
                  <a:pt x="6094" y="18843"/>
                  <a:pt x="6031" y="18874"/>
                  <a:pt x="6031" y="18937"/>
                </a:cubicBezTo>
                <a:cubicBezTo>
                  <a:pt x="6000" y="18937"/>
                  <a:pt x="5969" y="18968"/>
                  <a:pt x="5969" y="18999"/>
                </a:cubicBezTo>
                <a:cubicBezTo>
                  <a:pt x="5969" y="18999"/>
                  <a:pt x="5969" y="18999"/>
                  <a:pt x="5969" y="18999"/>
                </a:cubicBezTo>
                <a:cubicBezTo>
                  <a:pt x="5969" y="18999"/>
                  <a:pt x="5969" y="18999"/>
                  <a:pt x="5969" y="18999"/>
                </a:cubicBezTo>
                <a:cubicBezTo>
                  <a:pt x="5875" y="19062"/>
                  <a:pt x="5813" y="19124"/>
                  <a:pt x="5719" y="19187"/>
                </a:cubicBezTo>
                <a:cubicBezTo>
                  <a:pt x="5719" y="19218"/>
                  <a:pt x="5688" y="19218"/>
                  <a:pt x="5719" y="19249"/>
                </a:cubicBezTo>
                <a:cubicBezTo>
                  <a:pt x="5688" y="19218"/>
                  <a:pt x="5656" y="19249"/>
                  <a:pt x="5625" y="19281"/>
                </a:cubicBezTo>
                <a:cubicBezTo>
                  <a:pt x="5500" y="19406"/>
                  <a:pt x="5375" y="19531"/>
                  <a:pt x="5219" y="19656"/>
                </a:cubicBezTo>
                <a:cubicBezTo>
                  <a:pt x="5219" y="19656"/>
                  <a:pt x="5219" y="19656"/>
                  <a:pt x="5219" y="19656"/>
                </a:cubicBezTo>
                <a:cubicBezTo>
                  <a:pt x="5219" y="19656"/>
                  <a:pt x="5219" y="19656"/>
                  <a:pt x="5219" y="19656"/>
                </a:cubicBezTo>
                <a:cubicBezTo>
                  <a:pt x="5000" y="19843"/>
                  <a:pt x="4813" y="20031"/>
                  <a:pt x="4594" y="20249"/>
                </a:cubicBezTo>
                <a:cubicBezTo>
                  <a:pt x="4438" y="20374"/>
                  <a:pt x="4281" y="20531"/>
                  <a:pt x="4125" y="20656"/>
                </a:cubicBezTo>
                <a:cubicBezTo>
                  <a:pt x="4063" y="20718"/>
                  <a:pt x="4000" y="20781"/>
                  <a:pt x="3969" y="20812"/>
                </a:cubicBezTo>
                <a:cubicBezTo>
                  <a:pt x="3906" y="20874"/>
                  <a:pt x="3875" y="20968"/>
                  <a:pt x="3750" y="20937"/>
                </a:cubicBezTo>
                <a:cubicBezTo>
                  <a:pt x="3719" y="20937"/>
                  <a:pt x="3656" y="20999"/>
                  <a:pt x="3625" y="21062"/>
                </a:cubicBezTo>
                <a:cubicBezTo>
                  <a:pt x="3594" y="21093"/>
                  <a:pt x="3563" y="21124"/>
                  <a:pt x="3531" y="21156"/>
                </a:cubicBezTo>
                <a:cubicBezTo>
                  <a:pt x="3531" y="21187"/>
                  <a:pt x="3563" y="21156"/>
                  <a:pt x="3594" y="21156"/>
                </a:cubicBezTo>
                <a:cubicBezTo>
                  <a:pt x="3594" y="21249"/>
                  <a:pt x="3531" y="21218"/>
                  <a:pt x="3469" y="21249"/>
                </a:cubicBezTo>
                <a:cubicBezTo>
                  <a:pt x="3250" y="21499"/>
                  <a:pt x="3000" y="21718"/>
                  <a:pt x="2781" y="21937"/>
                </a:cubicBezTo>
                <a:cubicBezTo>
                  <a:pt x="2750" y="21937"/>
                  <a:pt x="2750" y="21968"/>
                  <a:pt x="2719" y="21968"/>
                </a:cubicBezTo>
                <a:cubicBezTo>
                  <a:pt x="2719" y="21968"/>
                  <a:pt x="2719" y="21968"/>
                  <a:pt x="2719" y="21968"/>
                </a:cubicBezTo>
                <a:cubicBezTo>
                  <a:pt x="2594" y="21937"/>
                  <a:pt x="2531" y="21968"/>
                  <a:pt x="2438" y="22062"/>
                </a:cubicBezTo>
                <a:cubicBezTo>
                  <a:pt x="2375" y="22156"/>
                  <a:pt x="2281" y="22156"/>
                  <a:pt x="2250" y="22249"/>
                </a:cubicBezTo>
                <a:cubicBezTo>
                  <a:pt x="2219" y="22249"/>
                  <a:pt x="2219" y="22218"/>
                  <a:pt x="2188" y="22218"/>
                </a:cubicBezTo>
                <a:cubicBezTo>
                  <a:pt x="2188" y="22218"/>
                  <a:pt x="2188" y="22218"/>
                  <a:pt x="2156" y="22218"/>
                </a:cubicBezTo>
                <a:cubicBezTo>
                  <a:pt x="2188" y="22218"/>
                  <a:pt x="2188" y="22218"/>
                  <a:pt x="2188" y="22218"/>
                </a:cubicBezTo>
                <a:cubicBezTo>
                  <a:pt x="2219" y="22187"/>
                  <a:pt x="2219" y="22187"/>
                  <a:pt x="2219" y="22187"/>
                </a:cubicBezTo>
                <a:cubicBezTo>
                  <a:pt x="2219" y="22156"/>
                  <a:pt x="2281" y="22156"/>
                  <a:pt x="2250" y="22124"/>
                </a:cubicBezTo>
                <a:cubicBezTo>
                  <a:pt x="2219" y="22093"/>
                  <a:pt x="2188" y="22124"/>
                  <a:pt x="2188" y="22156"/>
                </a:cubicBezTo>
                <a:cubicBezTo>
                  <a:pt x="2188" y="22156"/>
                  <a:pt x="2156" y="22156"/>
                  <a:pt x="2156" y="22124"/>
                </a:cubicBezTo>
                <a:cubicBezTo>
                  <a:pt x="2219" y="22062"/>
                  <a:pt x="2281" y="21999"/>
                  <a:pt x="2375" y="21937"/>
                </a:cubicBezTo>
                <a:cubicBezTo>
                  <a:pt x="2375" y="21968"/>
                  <a:pt x="2344" y="21999"/>
                  <a:pt x="2344" y="22031"/>
                </a:cubicBezTo>
                <a:cubicBezTo>
                  <a:pt x="2344" y="22031"/>
                  <a:pt x="2344" y="22031"/>
                  <a:pt x="2344" y="22031"/>
                </a:cubicBezTo>
                <a:cubicBezTo>
                  <a:pt x="2500" y="21968"/>
                  <a:pt x="2563" y="21843"/>
                  <a:pt x="2688" y="21749"/>
                </a:cubicBezTo>
                <a:cubicBezTo>
                  <a:pt x="2719" y="21718"/>
                  <a:pt x="2688" y="21687"/>
                  <a:pt x="2656" y="21687"/>
                </a:cubicBezTo>
                <a:cubicBezTo>
                  <a:pt x="2625" y="21656"/>
                  <a:pt x="2563" y="21656"/>
                  <a:pt x="2531" y="21687"/>
                </a:cubicBezTo>
                <a:cubicBezTo>
                  <a:pt x="2250" y="21749"/>
                  <a:pt x="1969" y="21843"/>
                  <a:pt x="1688" y="21937"/>
                </a:cubicBezTo>
                <a:cubicBezTo>
                  <a:pt x="1719" y="21937"/>
                  <a:pt x="1750" y="21937"/>
                  <a:pt x="1781" y="21937"/>
                </a:cubicBezTo>
                <a:cubicBezTo>
                  <a:pt x="1750" y="21937"/>
                  <a:pt x="1719" y="21937"/>
                  <a:pt x="1688" y="21937"/>
                </a:cubicBezTo>
                <a:cubicBezTo>
                  <a:pt x="1625" y="21937"/>
                  <a:pt x="1594" y="21937"/>
                  <a:pt x="1563" y="21968"/>
                </a:cubicBezTo>
                <a:cubicBezTo>
                  <a:pt x="1563" y="21968"/>
                  <a:pt x="1563" y="21968"/>
                  <a:pt x="1563" y="21999"/>
                </a:cubicBezTo>
                <a:cubicBezTo>
                  <a:pt x="1656" y="21968"/>
                  <a:pt x="1719" y="21937"/>
                  <a:pt x="1813" y="21968"/>
                </a:cubicBezTo>
                <a:cubicBezTo>
                  <a:pt x="1844" y="21968"/>
                  <a:pt x="1844" y="21937"/>
                  <a:pt x="1844" y="21937"/>
                </a:cubicBezTo>
                <a:cubicBezTo>
                  <a:pt x="1875" y="21906"/>
                  <a:pt x="1938" y="21906"/>
                  <a:pt x="1969" y="21906"/>
                </a:cubicBezTo>
                <a:cubicBezTo>
                  <a:pt x="1969" y="22062"/>
                  <a:pt x="1875" y="22124"/>
                  <a:pt x="1750" y="22187"/>
                </a:cubicBezTo>
                <a:cubicBezTo>
                  <a:pt x="1750" y="22187"/>
                  <a:pt x="1719" y="22156"/>
                  <a:pt x="1688" y="22187"/>
                </a:cubicBezTo>
                <a:cubicBezTo>
                  <a:pt x="1594" y="22249"/>
                  <a:pt x="1438" y="22281"/>
                  <a:pt x="1313" y="22343"/>
                </a:cubicBezTo>
                <a:cubicBezTo>
                  <a:pt x="1188" y="22406"/>
                  <a:pt x="1031" y="22406"/>
                  <a:pt x="875" y="22437"/>
                </a:cubicBezTo>
                <a:cubicBezTo>
                  <a:pt x="906" y="22499"/>
                  <a:pt x="969" y="22468"/>
                  <a:pt x="1031" y="22437"/>
                </a:cubicBezTo>
                <a:cubicBezTo>
                  <a:pt x="1188" y="22406"/>
                  <a:pt x="1344" y="22343"/>
                  <a:pt x="1531" y="22312"/>
                </a:cubicBezTo>
                <a:cubicBezTo>
                  <a:pt x="1563" y="22281"/>
                  <a:pt x="1625" y="22249"/>
                  <a:pt x="1688" y="22281"/>
                </a:cubicBezTo>
                <a:cubicBezTo>
                  <a:pt x="1469" y="22468"/>
                  <a:pt x="1219" y="22687"/>
                  <a:pt x="1000" y="22906"/>
                </a:cubicBezTo>
                <a:cubicBezTo>
                  <a:pt x="969" y="22906"/>
                  <a:pt x="969" y="22906"/>
                  <a:pt x="969" y="22937"/>
                </a:cubicBezTo>
                <a:cubicBezTo>
                  <a:pt x="969" y="22937"/>
                  <a:pt x="969" y="22937"/>
                  <a:pt x="969" y="22937"/>
                </a:cubicBezTo>
                <a:cubicBezTo>
                  <a:pt x="750" y="22906"/>
                  <a:pt x="531" y="22906"/>
                  <a:pt x="281" y="22874"/>
                </a:cubicBezTo>
                <a:cubicBezTo>
                  <a:pt x="250" y="22874"/>
                  <a:pt x="188" y="22874"/>
                  <a:pt x="125" y="22874"/>
                </a:cubicBezTo>
                <a:cubicBezTo>
                  <a:pt x="94" y="22874"/>
                  <a:pt x="63" y="22874"/>
                  <a:pt x="63" y="22843"/>
                </a:cubicBezTo>
                <a:cubicBezTo>
                  <a:pt x="31" y="22812"/>
                  <a:pt x="63" y="22812"/>
                  <a:pt x="94" y="22812"/>
                </a:cubicBezTo>
                <a:cubicBezTo>
                  <a:pt x="188" y="22687"/>
                  <a:pt x="313" y="22656"/>
                  <a:pt x="469" y="22624"/>
                </a:cubicBezTo>
                <a:cubicBezTo>
                  <a:pt x="438" y="22593"/>
                  <a:pt x="406" y="22624"/>
                  <a:pt x="406" y="22593"/>
                </a:cubicBezTo>
                <a:cubicBezTo>
                  <a:pt x="375" y="22593"/>
                  <a:pt x="375" y="22593"/>
                  <a:pt x="375" y="22593"/>
                </a:cubicBezTo>
                <a:cubicBezTo>
                  <a:pt x="344" y="22593"/>
                  <a:pt x="375" y="22562"/>
                  <a:pt x="375" y="22562"/>
                </a:cubicBezTo>
                <a:cubicBezTo>
                  <a:pt x="469" y="22499"/>
                  <a:pt x="531" y="22374"/>
                  <a:pt x="688" y="22406"/>
                </a:cubicBezTo>
                <a:cubicBezTo>
                  <a:pt x="656" y="22249"/>
                  <a:pt x="563" y="22374"/>
                  <a:pt x="500" y="22343"/>
                </a:cubicBezTo>
                <a:cubicBezTo>
                  <a:pt x="531" y="22249"/>
                  <a:pt x="594" y="22249"/>
                  <a:pt x="625" y="22281"/>
                </a:cubicBezTo>
                <a:cubicBezTo>
                  <a:pt x="719" y="22312"/>
                  <a:pt x="781" y="22281"/>
                  <a:pt x="844" y="22218"/>
                </a:cubicBezTo>
                <a:cubicBezTo>
                  <a:pt x="875" y="22218"/>
                  <a:pt x="906" y="22187"/>
                  <a:pt x="906" y="22187"/>
                </a:cubicBezTo>
                <a:cubicBezTo>
                  <a:pt x="1000" y="22156"/>
                  <a:pt x="1063" y="22156"/>
                  <a:pt x="1156" y="22156"/>
                </a:cubicBezTo>
                <a:cubicBezTo>
                  <a:pt x="1156" y="22124"/>
                  <a:pt x="1188" y="22093"/>
                  <a:pt x="1219" y="22093"/>
                </a:cubicBezTo>
                <a:cubicBezTo>
                  <a:pt x="1344" y="22093"/>
                  <a:pt x="1438" y="22031"/>
                  <a:pt x="1563" y="21999"/>
                </a:cubicBezTo>
                <a:cubicBezTo>
                  <a:pt x="1563" y="21968"/>
                  <a:pt x="1563" y="21968"/>
                  <a:pt x="1563" y="21968"/>
                </a:cubicBezTo>
                <a:cubicBezTo>
                  <a:pt x="1531" y="21968"/>
                  <a:pt x="1500" y="21968"/>
                  <a:pt x="1469" y="21999"/>
                </a:cubicBezTo>
                <a:cubicBezTo>
                  <a:pt x="1344" y="22031"/>
                  <a:pt x="1219" y="22062"/>
                  <a:pt x="1094" y="22093"/>
                </a:cubicBezTo>
                <a:cubicBezTo>
                  <a:pt x="1125" y="21999"/>
                  <a:pt x="1219" y="22031"/>
                  <a:pt x="1281" y="21999"/>
                </a:cubicBezTo>
                <a:cubicBezTo>
                  <a:pt x="1500" y="21937"/>
                  <a:pt x="1719" y="21906"/>
                  <a:pt x="1906" y="21812"/>
                </a:cubicBezTo>
                <a:cubicBezTo>
                  <a:pt x="2000" y="21781"/>
                  <a:pt x="2125" y="21749"/>
                  <a:pt x="2219" y="21718"/>
                </a:cubicBezTo>
                <a:cubicBezTo>
                  <a:pt x="2250" y="21718"/>
                  <a:pt x="2281" y="21718"/>
                  <a:pt x="2313" y="21687"/>
                </a:cubicBezTo>
                <a:cubicBezTo>
                  <a:pt x="2250" y="21687"/>
                  <a:pt x="2219" y="21656"/>
                  <a:pt x="2156" y="21656"/>
                </a:cubicBezTo>
                <a:cubicBezTo>
                  <a:pt x="2219" y="21656"/>
                  <a:pt x="2250" y="21687"/>
                  <a:pt x="2313" y="21687"/>
                </a:cubicBezTo>
                <a:cubicBezTo>
                  <a:pt x="2344" y="21687"/>
                  <a:pt x="2406" y="21687"/>
                  <a:pt x="2406" y="21656"/>
                </a:cubicBezTo>
                <a:cubicBezTo>
                  <a:pt x="2375" y="21562"/>
                  <a:pt x="2344" y="21499"/>
                  <a:pt x="2313" y="21437"/>
                </a:cubicBezTo>
                <a:cubicBezTo>
                  <a:pt x="2313" y="21406"/>
                  <a:pt x="2281" y="21406"/>
                  <a:pt x="2250" y="21437"/>
                </a:cubicBezTo>
                <a:cubicBezTo>
                  <a:pt x="2219" y="21468"/>
                  <a:pt x="2125" y="21468"/>
                  <a:pt x="2094" y="21468"/>
                </a:cubicBezTo>
                <a:cubicBezTo>
                  <a:pt x="1906" y="21499"/>
                  <a:pt x="1781" y="21593"/>
                  <a:pt x="1594" y="21593"/>
                </a:cubicBezTo>
                <a:cubicBezTo>
                  <a:pt x="1594" y="21593"/>
                  <a:pt x="1594" y="21593"/>
                  <a:pt x="1594" y="21593"/>
                </a:cubicBezTo>
                <a:cubicBezTo>
                  <a:pt x="1531" y="21593"/>
                  <a:pt x="1500" y="21593"/>
                  <a:pt x="1469" y="21656"/>
                </a:cubicBezTo>
                <a:cubicBezTo>
                  <a:pt x="1344" y="21656"/>
                  <a:pt x="1219" y="21718"/>
                  <a:pt x="1125" y="21718"/>
                </a:cubicBezTo>
                <a:cubicBezTo>
                  <a:pt x="1063" y="21718"/>
                  <a:pt x="1063" y="21749"/>
                  <a:pt x="1094" y="21781"/>
                </a:cubicBezTo>
                <a:cubicBezTo>
                  <a:pt x="1063" y="21812"/>
                  <a:pt x="1063" y="21812"/>
                  <a:pt x="1031" y="21812"/>
                </a:cubicBezTo>
                <a:cubicBezTo>
                  <a:pt x="1031" y="21749"/>
                  <a:pt x="1000" y="21781"/>
                  <a:pt x="969" y="21781"/>
                </a:cubicBezTo>
                <a:cubicBezTo>
                  <a:pt x="938" y="21781"/>
                  <a:pt x="938" y="21749"/>
                  <a:pt x="938" y="21718"/>
                </a:cubicBezTo>
                <a:cubicBezTo>
                  <a:pt x="1063" y="21718"/>
                  <a:pt x="1156" y="21687"/>
                  <a:pt x="1250" y="21656"/>
                </a:cubicBezTo>
                <a:cubicBezTo>
                  <a:pt x="1438" y="21624"/>
                  <a:pt x="1625" y="21562"/>
                  <a:pt x="1813" y="21499"/>
                </a:cubicBezTo>
                <a:cubicBezTo>
                  <a:pt x="1938" y="21468"/>
                  <a:pt x="2094" y="21406"/>
                  <a:pt x="2219" y="21406"/>
                </a:cubicBezTo>
                <a:cubicBezTo>
                  <a:pt x="2250" y="21406"/>
                  <a:pt x="2281" y="21374"/>
                  <a:pt x="2313" y="21374"/>
                </a:cubicBezTo>
                <a:cubicBezTo>
                  <a:pt x="2500" y="21281"/>
                  <a:pt x="2656" y="21374"/>
                  <a:pt x="2813" y="21374"/>
                </a:cubicBezTo>
                <a:cubicBezTo>
                  <a:pt x="2875" y="21374"/>
                  <a:pt x="2969" y="21374"/>
                  <a:pt x="3031" y="21374"/>
                </a:cubicBezTo>
                <a:cubicBezTo>
                  <a:pt x="3063" y="21374"/>
                  <a:pt x="3094" y="21374"/>
                  <a:pt x="3094" y="21343"/>
                </a:cubicBezTo>
                <a:cubicBezTo>
                  <a:pt x="3094" y="21312"/>
                  <a:pt x="3063" y="21312"/>
                  <a:pt x="3031" y="21312"/>
                </a:cubicBezTo>
                <a:cubicBezTo>
                  <a:pt x="2906" y="21312"/>
                  <a:pt x="2813" y="21281"/>
                  <a:pt x="2688" y="21281"/>
                </a:cubicBezTo>
                <a:cubicBezTo>
                  <a:pt x="2625" y="21249"/>
                  <a:pt x="2563" y="21249"/>
                  <a:pt x="2500" y="21249"/>
                </a:cubicBezTo>
                <a:cubicBezTo>
                  <a:pt x="2469" y="21249"/>
                  <a:pt x="2438" y="21249"/>
                  <a:pt x="2438" y="21218"/>
                </a:cubicBezTo>
                <a:cubicBezTo>
                  <a:pt x="2438" y="21187"/>
                  <a:pt x="2469" y="21187"/>
                  <a:pt x="2469" y="21156"/>
                </a:cubicBezTo>
                <a:cubicBezTo>
                  <a:pt x="2500" y="21156"/>
                  <a:pt x="2531" y="21124"/>
                  <a:pt x="2563" y="21124"/>
                </a:cubicBezTo>
                <a:cubicBezTo>
                  <a:pt x="2625" y="21093"/>
                  <a:pt x="2563" y="21093"/>
                  <a:pt x="2563" y="21093"/>
                </a:cubicBezTo>
                <a:cubicBezTo>
                  <a:pt x="2563" y="21062"/>
                  <a:pt x="2563" y="21062"/>
                  <a:pt x="2563" y="21062"/>
                </a:cubicBezTo>
                <a:cubicBezTo>
                  <a:pt x="2594" y="21062"/>
                  <a:pt x="2625" y="21093"/>
                  <a:pt x="2656" y="21062"/>
                </a:cubicBezTo>
                <a:cubicBezTo>
                  <a:pt x="2688" y="20999"/>
                  <a:pt x="2781" y="20999"/>
                  <a:pt x="2844" y="20999"/>
                </a:cubicBezTo>
                <a:cubicBezTo>
                  <a:pt x="3031" y="21031"/>
                  <a:pt x="3188" y="21031"/>
                  <a:pt x="3375" y="21062"/>
                </a:cubicBezTo>
                <a:cubicBezTo>
                  <a:pt x="3406" y="21062"/>
                  <a:pt x="3469" y="21062"/>
                  <a:pt x="3469" y="21031"/>
                </a:cubicBezTo>
                <a:cubicBezTo>
                  <a:pt x="3469" y="20999"/>
                  <a:pt x="3406" y="20968"/>
                  <a:pt x="3375" y="20968"/>
                </a:cubicBezTo>
                <a:cubicBezTo>
                  <a:pt x="3281" y="20968"/>
                  <a:pt x="3188" y="20968"/>
                  <a:pt x="3063" y="20937"/>
                </a:cubicBezTo>
                <a:cubicBezTo>
                  <a:pt x="3031" y="20937"/>
                  <a:pt x="2938" y="20999"/>
                  <a:pt x="2938" y="20874"/>
                </a:cubicBezTo>
                <a:cubicBezTo>
                  <a:pt x="2906" y="20906"/>
                  <a:pt x="2875" y="20843"/>
                  <a:pt x="2844" y="20874"/>
                </a:cubicBezTo>
                <a:cubicBezTo>
                  <a:pt x="2813" y="20874"/>
                  <a:pt x="2781" y="20906"/>
                  <a:pt x="2781" y="20843"/>
                </a:cubicBezTo>
                <a:cubicBezTo>
                  <a:pt x="2781" y="20812"/>
                  <a:pt x="2813" y="20812"/>
                  <a:pt x="2844" y="20781"/>
                </a:cubicBezTo>
                <a:cubicBezTo>
                  <a:pt x="2844" y="20781"/>
                  <a:pt x="2875" y="20812"/>
                  <a:pt x="2906" y="20781"/>
                </a:cubicBezTo>
                <a:cubicBezTo>
                  <a:pt x="2906" y="20781"/>
                  <a:pt x="2938" y="20749"/>
                  <a:pt x="2906" y="20749"/>
                </a:cubicBezTo>
                <a:cubicBezTo>
                  <a:pt x="2906" y="20718"/>
                  <a:pt x="2875" y="20718"/>
                  <a:pt x="2875" y="20718"/>
                </a:cubicBezTo>
                <a:cubicBezTo>
                  <a:pt x="2844" y="20749"/>
                  <a:pt x="2813" y="20749"/>
                  <a:pt x="2781" y="20749"/>
                </a:cubicBezTo>
                <a:cubicBezTo>
                  <a:pt x="2750" y="20781"/>
                  <a:pt x="2719" y="20781"/>
                  <a:pt x="2719" y="20718"/>
                </a:cubicBezTo>
                <a:cubicBezTo>
                  <a:pt x="2781" y="20593"/>
                  <a:pt x="2688" y="20687"/>
                  <a:pt x="2656" y="20687"/>
                </a:cubicBezTo>
                <a:cubicBezTo>
                  <a:pt x="2625" y="20656"/>
                  <a:pt x="2563" y="20749"/>
                  <a:pt x="2531" y="20656"/>
                </a:cubicBezTo>
                <a:cubicBezTo>
                  <a:pt x="2531" y="20656"/>
                  <a:pt x="2500" y="20624"/>
                  <a:pt x="2531" y="20624"/>
                </a:cubicBezTo>
                <a:cubicBezTo>
                  <a:pt x="2625" y="20593"/>
                  <a:pt x="2531" y="20562"/>
                  <a:pt x="2531" y="20531"/>
                </a:cubicBezTo>
                <a:cubicBezTo>
                  <a:pt x="2500" y="20406"/>
                  <a:pt x="2469" y="20437"/>
                  <a:pt x="2406" y="20531"/>
                </a:cubicBezTo>
                <a:cubicBezTo>
                  <a:pt x="2438" y="20374"/>
                  <a:pt x="2438" y="20343"/>
                  <a:pt x="2344" y="20343"/>
                </a:cubicBezTo>
                <a:cubicBezTo>
                  <a:pt x="2250" y="20437"/>
                  <a:pt x="2188" y="20531"/>
                  <a:pt x="2063" y="20562"/>
                </a:cubicBezTo>
                <a:cubicBezTo>
                  <a:pt x="2156" y="20499"/>
                  <a:pt x="2219" y="20406"/>
                  <a:pt x="2344" y="20343"/>
                </a:cubicBezTo>
                <a:cubicBezTo>
                  <a:pt x="2375" y="20281"/>
                  <a:pt x="2375" y="20249"/>
                  <a:pt x="2344" y="20187"/>
                </a:cubicBezTo>
                <a:cubicBezTo>
                  <a:pt x="2281" y="20093"/>
                  <a:pt x="2219" y="19968"/>
                  <a:pt x="2156" y="19874"/>
                </a:cubicBezTo>
                <a:cubicBezTo>
                  <a:pt x="2156" y="19843"/>
                  <a:pt x="2188" y="19843"/>
                  <a:pt x="2188" y="19874"/>
                </a:cubicBezTo>
                <a:cubicBezTo>
                  <a:pt x="2219" y="19968"/>
                  <a:pt x="2313" y="20062"/>
                  <a:pt x="2375" y="20156"/>
                </a:cubicBezTo>
                <a:cubicBezTo>
                  <a:pt x="2375" y="20187"/>
                  <a:pt x="2406" y="20281"/>
                  <a:pt x="2469" y="20218"/>
                </a:cubicBezTo>
                <a:cubicBezTo>
                  <a:pt x="2500" y="20187"/>
                  <a:pt x="2594" y="20156"/>
                  <a:pt x="2531" y="20062"/>
                </a:cubicBezTo>
                <a:cubicBezTo>
                  <a:pt x="2594" y="20062"/>
                  <a:pt x="2688" y="20093"/>
                  <a:pt x="2750" y="19999"/>
                </a:cubicBezTo>
                <a:cubicBezTo>
                  <a:pt x="2750" y="19968"/>
                  <a:pt x="2781" y="19968"/>
                  <a:pt x="2781" y="19999"/>
                </a:cubicBezTo>
                <a:cubicBezTo>
                  <a:pt x="2813" y="20031"/>
                  <a:pt x="2813" y="20062"/>
                  <a:pt x="2844" y="20062"/>
                </a:cubicBezTo>
                <a:cubicBezTo>
                  <a:pt x="2875" y="20124"/>
                  <a:pt x="2906" y="20156"/>
                  <a:pt x="3000" y="20156"/>
                </a:cubicBezTo>
                <a:cubicBezTo>
                  <a:pt x="3000" y="20156"/>
                  <a:pt x="3000" y="20156"/>
                  <a:pt x="3000" y="20124"/>
                </a:cubicBezTo>
                <a:lnTo>
                  <a:pt x="3000" y="20124"/>
                </a:lnTo>
                <a:cubicBezTo>
                  <a:pt x="3000" y="20124"/>
                  <a:pt x="3000" y="20124"/>
                  <a:pt x="3000" y="20124"/>
                </a:cubicBezTo>
                <a:cubicBezTo>
                  <a:pt x="3000" y="20124"/>
                  <a:pt x="3000" y="20156"/>
                  <a:pt x="3000" y="20156"/>
                </a:cubicBezTo>
                <a:cubicBezTo>
                  <a:pt x="3000" y="20187"/>
                  <a:pt x="3031" y="20156"/>
                  <a:pt x="3063" y="20187"/>
                </a:cubicBezTo>
                <a:cubicBezTo>
                  <a:pt x="3031" y="20249"/>
                  <a:pt x="2969" y="20218"/>
                  <a:pt x="2938" y="20218"/>
                </a:cubicBezTo>
                <a:cubicBezTo>
                  <a:pt x="3000" y="20312"/>
                  <a:pt x="3063" y="20374"/>
                  <a:pt x="3063" y="20468"/>
                </a:cubicBezTo>
                <a:cubicBezTo>
                  <a:pt x="3094" y="20499"/>
                  <a:pt x="3094" y="20499"/>
                  <a:pt x="3094" y="20499"/>
                </a:cubicBezTo>
                <a:cubicBezTo>
                  <a:pt x="3125" y="20499"/>
                  <a:pt x="3125" y="20499"/>
                  <a:pt x="3125" y="20531"/>
                </a:cubicBezTo>
                <a:cubicBezTo>
                  <a:pt x="3125" y="20562"/>
                  <a:pt x="3156" y="20593"/>
                  <a:pt x="3188" y="20624"/>
                </a:cubicBezTo>
                <a:cubicBezTo>
                  <a:pt x="3188" y="20656"/>
                  <a:pt x="3250" y="20656"/>
                  <a:pt x="3250" y="20624"/>
                </a:cubicBezTo>
                <a:cubicBezTo>
                  <a:pt x="3281" y="20531"/>
                  <a:pt x="3313" y="20499"/>
                  <a:pt x="3406" y="20593"/>
                </a:cubicBezTo>
                <a:cubicBezTo>
                  <a:pt x="3281" y="20437"/>
                  <a:pt x="3406" y="20343"/>
                  <a:pt x="3469" y="20249"/>
                </a:cubicBezTo>
                <a:cubicBezTo>
                  <a:pt x="3500" y="20124"/>
                  <a:pt x="3531" y="20031"/>
                  <a:pt x="3594" y="19937"/>
                </a:cubicBezTo>
                <a:cubicBezTo>
                  <a:pt x="3594" y="19906"/>
                  <a:pt x="3625" y="19843"/>
                  <a:pt x="3563" y="19843"/>
                </a:cubicBezTo>
                <a:cubicBezTo>
                  <a:pt x="3469" y="19968"/>
                  <a:pt x="3313" y="20062"/>
                  <a:pt x="3188" y="20156"/>
                </a:cubicBezTo>
                <a:lnTo>
                  <a:pt x="3188" y="20156"/>
                </a:lnTo>
                <a:cubicBezTo>
                  <a:pt x="3313" y="20062"/>
                  <a:pt x="3406" y="19906"/>
                  <a:pt x="3563" y="19843"/>
                </a:cubicBezTo>
                <a:cubicBezTo>
                  <a:pt x="3594" y="19812"/>
                  <a:pt x="3625" y="19812"/>
                  <a:pt x="3656" y="19749"/>
                </a:cubicBezTo>
                <a:cubicBezTo>
                  <a:pt x="3688" y="19624"/>
                  <a:pt x="3656" y="19624"/>
                  <a:pt x="3531" y="19593"/>
                </a:cubicBezTo>
                <a:cubicBezTo>
                  <a:pt x="3469" y="19593"/>
                  <a:pt x="3406" y="19624"/>
                  <a:pt x="3344" y="19593"/>
                </a:cubicBezTo>
                <a:cubicBezTo>
                  <a:pt x="3313" y="19562"/>
                  <a:pt x="3281" y="19593"/>
                  <a:pt x="3250" y="19624"/>
                </a:cubicBezTo>
                <a:cubicBezTo>
                  <a:pt x="3188" y="19687"/>
                  <a:pt x="3094" y="19718"/>
                  <a:pt x="3031" y="19812"/>
                </a:cubicBezTo>
                <a:cubicBezTo>
                  <a:pt x="3031" y="19843"/>
                  <a:pt x="3000" y="19874"/>
                  <a:pt x="3000" y="19906"/>
                </a:cubicBezTo>
                <a:cubicBezTo>
                  <a:pt x="3000" y="19906"/>
                  <a:pt x="2969" y="19937"/>
                  <a:pt x="3000" y="19968"/>
                </a:cubicBezTo>
                <a:cubicBezTo>
                  <a:pt x="3031" y="19999"/>
                  <a:pt x="3031" y="20031"/>
                  <a:pt x="2969" y="20062"/>
                </a:cubicBezTo>
                <a:cubicBezTo>
                  <a:pt x="2938" y="20062"/>
                  <a:pt x="2938" y="19999"/>
                  <a:pt x="2906" y="19968"/>
                </a:cubicBezTo>
                <a:cubicBezTo>
                  <a:pt x="2875" y="19937"/>
                  <a:pt x="2906" y="19906"/>
                  <a:pt x="2844" y="19937"/>
                </a:cubicBezTo>
                <a:cubicBezTo>
                  <a:pt x="2875" y="19843"/>
                  <a:pt x="2938" y="19874"/>
                  <a:pt x="3000" y="19906"/>
                </a:cubicBezTo>
                <a:cubicBezTo>
                  <a:pt x="3000" y="19906"/>
                  <a:pt x="3000" y="19906"/>
                  <a:pt x="3000" y="19906"/>
                </a:cubicBezTo>
                <a:cubicBezTo>
                  <a:pt x="2969" y="19843"/>
                  <a:pt x="2969" y="19812"/>
                  <a:pt x="3031" y="19781"/>
                </a:cubicBezTo>
                <a:cubicBezTo>
                  <a:pt x="3063" y="19718"/>
                  <a:pt x="3125" y="19687"/>
                  <a:pt x="3188" y="19656"/>
                </a:cubicBezTo>
                <a:cubicBezTo>
                  <a:pt x="3188" y="19624"/>
                  <a:pt x="3219" y="19624"/>
                  <a:pt x="3219" y="19593"/>
                </a:cubicBezTo>
                <a:cubicBezTo>
                  <a:pt x="3219" y="19562"/>
                  <a:pt x="3188" y="19562"/>
                  <a:pt x="3156" y="19562"/>
                </a:cubicBezTo>
                <a:cubicBezTo>
                  <a:pt x="3031" y="19531"/>
                  <a:pt x="2875" y="19531"/>
                  <a:pt x="2750" y="19499"/>
                </a:cubicBezTo>
                <a:cubicBezTo>
                  <a:pt x="2781" y="19499"/>
                  <a:pt x="2844" y="19499"/>
                  <a:pt x="2906" y="19499"/>
                </a:cubicBezTo>
                <a:cubicBezTo>
                  <a:pt x="2969" y="19499"/>
                  <a:pt x="3031" y="19531"/>
                  <a:pt x="3094" y="19499"/>
                </a:cubicBezTo>
                <a:cubicBezTo>
                  <a:pt x="3156" y="19468"/>
                  <a:pt x="3188" y="19531"/>
                  <a:pt x="3219" y="19562"/>
                </a:cubicBezTo>
                <a:cubicBezTo>
                  <a:pt x="3313" y="19531"/>
                  <a:pt x="3375" y="19562"/>
                  <a:pt x="3469" y="19562"/>
                </a:cubicBezTo>
                <a:cubicBezTo>
                  <a:pt x="3500" y="19562"/>
                  <a:pt x="3531" y="19531"/>
                  <a:pt x="3563" y="19499"/>
                </a:cubicBezTo>
                <a:cubicBezTo>
                  <a:pt x="3594" y="19468"/>
                  <a:pt x="3594" y="19437"/>
                  <a:pt x="3563" y="19437"/>
                </a:cubicBezTo>
                <a:cubicBezTo>
                  <a:pt x="3563" y="19406"/>
                  <a:pt x="3531" y="19406"/>
                  <a:pt x="3500" y="19406"/>
                </a:cubicBezTo>
                <a:cubicBezTo>
                  <a:pt x="3469" y="19437"/>
                  <a:pt x="3438" y="19468"/>
                  <a:pt x="3438" y="19406"/>
                </a:cubicBezTo>
                <a:cubicBezTo>
                  <a:pt x="3438" y="19374"/>
                  <a:pt x="3406" y="19374"/>
                  <a:pt x="3375" y="19374"/>
                </a:cubicBezTo>
                <a:cubicBezTo>
                  <a:pt x="3344" y="19343"/>
                  <a:pt x="3313" y="19406"/>
                  <a:pt x="3313" y="19343"/>
                </a:cubicBezTo>
                <a:cubicBezTo>
                  <a:pt x="3313" y="19312"/>
                  <a:pt x="3344" y="19312"/>
                  <a:pt x="3375" y="19312"/>
                </a:cubicBezTo>
                <a:cubicBezTo>
                  <a:pt x="3469" y="19343"/>
                  <a:pt x="3563" y="19343"/>
                  <a:pt x="3625" y="19281"/>
                </a:cubicBezTo>
                <a:cubicBezTo>
                  <a:pt x="3625" y="19281"/>
                  <a:pt x="3656" y="19249"/>
                  <a:pt x="3656" y="19249"/>
                </a:cubicBezTo>
                <a:cubicBezTo>
                  <a:pt x="3563" y="19218"/>
                  <a:pt x="3500" y="19187"/>
                  <a:pt x="3406" y="19218"/>
                </a:cubicBezTo>
                <a:cubicBezTo>
                  <a:pt x="3375" y="19218"/>
                  <a:pt x="3375" y="19218"/>
                  <a:pt x="3375" y="19218"/>
                </a:cubicBezTo>
                <a:cubicBezTo>
                  <a:pt x="3250" y="19156"/>
                  <a:pt x="3094" y="19156"/>
                  <a:pt x="2938" y="19156"/>
                </a:cubicBezTo>
                <a:cubicBezTo>
                  <a:pt x="2781" y="19124"/>
                  <a:pt x="2656" y="19062"/>
                  <a:pt x="2500" y="19093"/>
                </a:cubicBezTo>
                <a:cubicBezTo>
                  <a:pt x="2500" y="19093"/>
                  <a:pt x="2469" y="19062"/>
                  <a:pt x="2469" y="19062"/>
                </a:cubicBezTo>
                <a:cubicBezTo>
                  <a:pt x="2438" y="18999"/>
                  <a:pt x="2406" y="19031"/>
                  <a:pt x="2344" y="19031"/>
                </a:cubicBezTo>
                <a:cubicBezTo>
                  <a:pt x="2344" y="19062"/>
                  <a:pt x="2313" y="19062"/>
                  <a:pt x="2313" y="19062"/>
                </a:cubicBezTo>
                <a:cubicBezTo>
                  <a:pt x="2281" y="19031"/>
                  <a:pt x="2250" y="18999"/>
                  <a:pt x="2219" y="19062"/>
                </a:cubicBezTo>
                <a:cubicBezTo>
                  <a:pt x="2219" y="19093"/>
                  <a:pt x="2219" y="19156"/>
                  <a:pt x="2281" y="19187"/>
                </a:cubicBezTo>
                <a:cubicBezTo>
                  <a:pt x="2313" y="19187"/>
                  <a:pt x="2375" y="19187"/>
                  <a:pt x="2344" y="19249"/>
                </a:cubicBezTo>
                <a:cubicBezTo>
                  <a:pt x="2375" y="19312"/>
                  <a:pt x="2375" y="19437"/>
                  <a:pt x="2500" y="19437"/>
                </a:cubicBezTo>
                <a:cubicBezTo>
                  <a:pt x="2563" y="19437"/>
                  <a:pt x="2500" y="19468"/>
                  <a:pt x="2500" y="19499"/>
                </a:cubicBezTo>
                <a:cubicBezTo>
                  <a:pt x="2531" y="19624"/>
                  <a:pt x="2625" y="19718"/>
                  <a:pt x="2688" y="19812"/>
                </a:cubicBezTo>
                <a:cubicBezTo>
                  <a:pt x="2719" y="19843"/>
                  <a:pt x="2719" y="19874"/>
                  <a:pt x="2688" y="19937"/>
                </a:cubicBezTo>
                <a:cubicBezTo>
                  <a:pt x="2625" y="19906"/>
                  <a:pt x="2625" y="19843"/>
                  <a:pt x="2594" y="19781"/>
                </a:cubicBezTo>
                <a:cubicBezTo>
                  <a:pt x="2563" y="19718"/>
                  <a:pt x="2531" y="19718"/>
                  <a:pt x="2469" y="19781"/>
                </a:cubicBezTo>
                <a:cubicBezTo>
                  <a:pt x="2438" y="19812"/>
                  <a:pt x="2375" y="19812"/>
                  <a:pt x="2438" y="19874"/>
                </a:cubicBezTo>
                <a:cubicBezTo>
                  <a:pt x="2344" y="19843"/>
                  <a:pt x="2375" y="19781"/>
                  <a:pt x="2344" y="19718"/>
                </a:cubicBezTo>
                <a:cubicBezTo>
                  <a:pt x="2344" y="19718"/>
                  <a:pt x="2313" y="19718"/>
                  <a:pt x="2313" y="19687"/>
                </a:cubicBezTo>
                <a:cubicBezTo>
                  <a:pt x="2313" y="19687"/>
                  <a:pt x="2313" y="19687"/>
                  <a:pt x="2313" y="19687"/>
                </a:cubicBezTo>
                <a:cubicBezTo>
                  <a:pt x="2313" y="19718"/>
                  <a:pt x="2344" y="19718"/>
                  <a:pt x="2344" y="19718"/>
                </a:cubicBezTo>
                <a:cubicBezTo>
                  <a:pt x="2375" y="19749"/>
                  <a:pt x="2375" y="19718"/>
                  <a:pt x="2406" y="19718"/>
                </a:cubicBezTo>
                <a:cubicBezTo>
                  <a:pt x="2469" y="19749"/>
                  <a:pt x="2469" y="19656"/>
                  <a:pt x="2500" y="19656"/>
                </a:cubicBezTo>
                <a:cubicBezTo>
                  <a:pt x="2469" y="19624"/>
                  <a:pt x="2469" y="19531"/>
                  <a:pt x="2406" y="19499"/>
                </a:cubicBezTo>
                <a:cubicBezTo>
                  <a:pt x="2406" y="19562"/>
                  <a:pt x="2406" y="19593"/>
                  <a:pt x="2344" y="19593"/>
                </a:cubicBezTo>
                <a:cubicBezTo>
                  <a:pt x="2281" y="19593"/>
                  <a:pt x="2281" y="19656"/>
                  <a:pt x="2313" y="19687"/>
                </a:cubicBezTo>
                <a:cubicBezTo>
                  <a:pt x="2281" y="19687"/>
                  <a:pt x="2250" y="19687"/>
                  <a:pt x="2250" y="19656"/>
                </a:cubicBezTo>
                <a:cubicBezTo>
                  <a:pt x="2250" y="19593"/>
                  <a:pt x="2188" y="19593"/>
                  <a:pt x="2156" y="19624"/>
                </a:cubicBezTo>
                <a:cubicBezTo>
                  <a:pt x="2156" y="19593"/>
                  <a:pt x="2156" y="19593"/>
                  <a:pt x="2156" y="19593"/>
                </a:cubicBezTo>
                <a:cubicBezTo>
                  <a:pt x="2156" y="19593"/>
                  <a:pt x="2156" y="19593"/>
                  <a:pt x="2156" y="19593"/>
                </a:cubicBezTo>
                <a:cubicBezTo>
                  <a:pt x="2219" y="19531"/>
                  <a:pt x="2156" y="19437"/>
                  <a:pt x="2094" y="19437"/>
                </a:cubicBezTo>
                <a:cubicBezTo>
                  <a:pt x="2063" y="19437"/>
                  <a:pt x="2063" y="19437"/>
                  <a:pt x="2031" y="19437"/>
                </a:cubicBezTo>
                <a:cubicBezTo>
                  <a:pt x="1969" y="19374"/>
                  <a:pt x="1938" y="19406"/>
                  <a:pt x="1938" y="19499"/>
                </a:cubicBezTo>
                <a:cubicBezTo>
                  <a:pt x="1875" y="19499"/>
                  <a:pt x="1906" y="19437"/>
                  <a:pt x="1875" y="19406"/>
                </a:cubicBezTo>
                <a:cubicBezTo>
                  <a:pt x="1875" y="19374"/>
                  <a:pt x="1906" y="19374"/>
                  <a:pt x="1938" y="19374"/>
                </a:cubicBezTo>
                <a:cubicBezTo>
                  <a:pt x="1969" y="19343"/>
                  <a:pt x="1969" y="19374"/>
                  <a:pt x="2000" y="19374"/>
                </a:cubicBezTo>
                <a:cubicBezTo>
                  <a:pt x="2031" y="19374"/>
                  <a:pt x="2063" y="19406"/>
                  <a:pt x="2094" y="19343"/>
                </a:cubicBezTo>
                <a:cubicBezTo>
                  <a:pt x="2094" y="19312"/>
                  <a:pt x="2031" y="19312"/>
                  <a:pt x="2031" y="19312"/>
                </a:cubicBezTo>
                <a:cubicBezTo>
                  <a:pt x="1969" y="19249"/>
                  <a:pt x="1938" y="19218"/>
                  <a:pt x="1875" y="19218"/>
                </a:cubicBezTo>
                <a:cubicBezTo>
                  <a:pt x="1844" y="19218"/>
                  <a:pt x="1875" y="19156"/>
                  <a:pt x="1875" y="19124"/>
                </a:cubicBezTo>
                <a:cubicBezTo>
                  <a:pt x="1906" y="19156"/>
                  <a:pt x="1906" y="19218"/>
                  <a:pt x="1969" y="19124"/>
                </a:cubicBezTo>
                <a:cubicBezTo>
                  <a:pt x="2000" y="19093"/>
                  <a:pt x="2031" y="19124"/>
                  <a:pt x="2063" y="19156"/>
                </a:cubicBezTo>
                <a:cubicBezTo>
                  <a:pt x="2094" y="19218"/>
                  <a:pt x="2156" y="19218"/>
                  <a:pt x="2188" y="19156"/>
                </a:cubicBezTo>
                <a:cubicBezTo>
                  <a:pt x="2188" y="19156"/>
                  <a:pt x="2188" y="19124"/>
                  <a:pt x="2188" y="19124"/>
                </a:cubicBezTo>
                <a:cubicBezTo>
                  <a:pt x="2188" y="19124"/>
                  <a:pt x="2156" y="19124"/>
                  <a:pt x="2188" y="19093"/>
                </a:cubicBezTo>
                <a:cubicBezTo>
                  <a:pt x="2094" y="19031"/>
                  <a:pt x="2031" y="18999"/>
                  <a:pt x="1938" y="18999"/>
                </a:cubicBezTo>
                <a:cubicBezTo>
                  <a:pt x="1906" y="18999"/>
                  <a:pt x="1906" y="18999"/>
                  <a:pt x="1875" y="18999"/>
                </a:cubicBezTo>
                <a:cubicBezTo>
                  <a:pt x="1781" y="18968"/>
                  <a:pt x="1750" y="19031"/>
                  <a:pt x="1750" y="19124"/>
                </a:cubicBezTo>
                <a:cubicBezTo>
                  <a:pt x="1750" y="19156"/>
                  <a:pt x="1719" y="19156"/>
                  <a:pt x="1688" y="19156"/>
                </a:cubicBezTo>
                <a:cubicBezTo>
                  <a:pt x="1688" y="19156"/>
                  <a:pt x="1688" y="19156"/>
                  <a:pt x="1688" y="19156"/>
                </a:cubicBezTo>
                <a:cubicBezTo>
                  <a:pt x="1625" y="19093"/>
                  <a:pt x="1563" y="19156"/>
                  <a:pt x="1500" y="19187"/>
                </a:cubicBezTo>
                <a:cubicBezTo>
                  <a:pt x="1500" y="19249"/>
                  <a:pt x="1438" y="19249"/>
                  <a:pt x="1438" y="19312"/>
                </a:cubicBezTo>
                <a:cubicBezTo>
                  <a:pt x="1531" y="19281"/>
                  <a:pt x="1625" y="19343"/>
                  <a:pt x="1719" y="19343"/>
                </a:cubicBezTo>
                <a:cubicBezTo>
                  <a:pt x="1625" y="19374"/>
                  <a:pt x="1531" y="19374"/>
                  <a:pt x="1469" y="19343"/>
                </a:cubicBezTo>
                <a:cubicBezTo>
                  <a:pt x="1281" y="19281"/>
                  <a:pt x="1219" y="19437"/>
                  <a:pt x="1125" y="19499"/>
                </a:cubicBezTo>
                <a:cubicBezTo>
                  <a:pt x="1094" y="19499"/>
                  <a:pt x="1125" y="19531"/>
                  <a:pt x="1125" y="19562"/>
                </a:cubicBezTo>
                <a:cubicBezTo>
                  <a:pt x="1156" y="19593"/>
                  <a:pt x="1188" y="19656"/>
                  <a:pt x="1219" y="19718"/>
                </a:cubicBezTo>
                <a:cubicBezTo>
                  <a:pt x="1156" y="19687"/>
                  <a:pt x="1125" y="19687"/>
                  <a:pt x="1094" y="19624"/>
                </a:cubicBezTo>
                <a:cubicBezTo>
                  <a:pt x="1094" y="19593"/>
                  <a:pt x="1094" y="19531"/>
                  <a:pt x="1031" y="19562"/>
                </a:cubicBezTo>
                <a:cubicBezTo>
                  <a:pt x="1000" y="19562"/>
                  <a:pt x="938" y="19593"/>
                  <a:pt x="969" y="19687"/>
                </a:cubicBezTo>
                <a:cubicBezTo>
                  <a:pt x="844" y="19624"/>
                  <a:pt x="813" y="19718"/>
                  <a:pt x="719" y="19781"/>
                </a:cubicBezTo>
                <a:lnTo>
                  <a:pt x="719" y="19781"/>
                </a:lnTo>
                <a:cubicBezTo>
                  <a:pt x="625" y="19812"/>
                  <a:pt x="531" y="19906"/>
                  <a:pt x="406" y="19968"/>
                </a:cubicBezTo>
                <a:cubicBezTo>
                  <a:pt x="281" y="20062"/>
                  <a:pt x="125" y="20187"/>
                  <a:pt x="0" y="20281"/>
                </a:cubicBezTo>
                <a:cubicBezTo>
                  <a:pt x="0" y="20156"/>
                  <a:pt x="0" y="20062"/>
                  <a:pt x="0" y="19968"/>
                </a:cubicBezTo>
                <a:cubicBezTo>
                  <a:pt x="0" y="19874"/>
                  <a:pt x="0" y="19812"/>
                  <a:pt x="0" y="19718"/>
                </a:cubicBezTo>
                <a:cubicBezTo>
                  <a:pt x="0" y="19687"/>
                  <a:pt x="0" y="19656"/>
                  <a:pt x="0" y="19624"/>
                </a:cubicBezTo>
                <a:cubicBezTo>
                  <a:pt x="31" y="19624"/>
                  <a:pt x="63" y="19687"/>
                  <a:pt x="125" y="19656"/>
                </a:cubicBezTo>
                <a:cubicBezTo>
                  <a:pt x="156" y="19593"/>
                  <a:pt x="156" y="19656"/>
                  <a:pt x="188" y="19687"/>
                </a:cubicBezTo>
                <a:cubicBezTo>
                  <a:pt x="188" y="19656"/>
                  <a:pt x="188" y="19656"/>
                  <a:pt x="188" y="19656"/>
                </a:cubicBezTo>
                <a:cubicBezTo>
                  <a:pt x="188" y="19656"/>
                  <a:pt x="188" y="19656"/>
                  <a:pt x="188" y="19656"/>
                </a:cubicBezTo>
                <a:cubicBezTo>
                  <a:pt x="188" y="19624"/>
                  <a:pt x="188" y="19593"/>
                  <a:pt x="156" y="19593"/>
                </a:cubicBezTo>
                <a:cubicBezTo>
                  <a:pt x="125" y="19562"/>
                  <a:pt x="94" y="19531"/>
                  <a:pt x="94" y="19499"/>
                </a:cubicBezTo>
                <a:cubicBezTo>
                  <a:pt x="94" y="19468"/>
                  <a:pt x="125" y="19437"/>
                  <a:pt x="156" y="19437"/>
                </a:cubicBezTo>
                <a:cubicBezTo>
                  <a:pt x="188" y="19437"/>
                  <a:pt x="219" y="19437"/>
                  <a:pt x="219" y="19499"/>
                </a:cubicBezTo>
                <a:cubicBezTo>
                  <a:pt x="219" y="19499"/>
                  <a:pt x="219" y="19531"/>
                  <a:pt x="219" y="19562"/>
                </a:cubicBezTo>
                <a:cubicBezTo>
                  <a:pt x="219" y="19499"/>
                  <a:pt x="219" y="19437"/>
                  <a:pt x="313" y="19468"/>
                </a:cubicBezTo>
                <a:cubicBezTo>
                  <a:pt x="375" y="19468"/>
                  <a:pt x="406" y="19406"/>
                  <a:pt x="406" y="19343"/>
                </a:cubicBezTo>
                <a:cubicBezTo>
                  <a:pt x="375" y="19374"/>
                  <a:pt x="375" y="19343"/>
                  <a:pt x="344" y="19312"/>
                </a:cubicBezTo>
                <a:cubicBezTo>
                  <a:pt x="375" y="19343"/>
                  <a:pt x="375" y="19343"/>
                  <a:pt x="406" y="19343"/>
                </a:cubicBezTo>
                <a:cubicBezTo>
                  <a:pt x="375" y="19343"/>
                  <a:pt x="375" y="19343"/>
                  <a:pt x="344" y="19312"/>
                </a:cubicBezTo>
                <a:cubicBezTo>
                  <a:pt x="313" y="19312"/>
                  <a:pt x="313" y="19312"/>
                  <a:pt x="281" y="19312"/>
                </a:cubicBezTo>
                <a:cubicBezTo>
                  <a:pt x="281" y="19312"/>
                  <a:pt x="281" y="19312"/>
                  <a:pt x="281" y="19312"/>
                </a:cubicBezTo>
                <a:cubicBezTo>
                  <a:pt x="250" y="19312"/>
                  <a:pt x="219" y="19312"/>
                  <a:pt x="188" y="19312"/>
                </a:cubicBezTo>
                <a:cubicBezTo>
                  <a:pt x="63" y="19312"/>
                  <a:pt x="63" y="19281"/>
                  <a:pt x="63" y="19156"/>
                </a:cubicBezTo>
                <a:cubicBezTo>
                  <a:pt x="63" y="19093"/>
                  <a:pt x="31" y="18999"/>
                  <a:pt x="63" y="18968"/>
                </a:cubicBezTo>
                <a:cubicBezTo>
                  <a:pt x="94" y="18906"/>
                  <a:pt x="188" y="18968"/>
                  <a:pt x="250" y="18906"/>
                </a:cubicBezTo>
                <a:cubicBezTo>
                  <a:pt x="281" y="18906"/>
                  <a:pt x="344" y="18906"/>
                  <a:pt x="375" y="18874"/>
                </a:cubicBezTo>
                <a:cubicBezTo>
                  <a:pt x="375" y="18874"/>
                  <a:pt x="375" y="18874"/>
                  <a:pt x="344" y="18843"/>
                </a:cubicBezTo>
                <a:cubicBezTo>
                  <a:pt x="344" y="18843"/>
                  <a:pt x="313" y="18843"/>
                  <a:pt x="281" y="18843"/>
                </a:cubicBezTo>
                <a:cubicBezTo>
                  <a:pt x="281" y="18843"/>
                  <a:pt x="250" y="18843"/>
                  <a:pt x="219" y="18843"/>
                </a:cubicBezTo>
                <a:cubicBezTo>
                  <a:pt x="250" y="18843"/>
                  <a:pt x="281" y="18843"/>
                  <a:pt x="281" y="18843"/>
                </a:cubicBezTo>
                <a:cubicBezTo>
                  <a:pt x="188" y="18906"/>
                  <a:pt x="94" y="18937"/>
                  <a:pt x="0" y="18937"/>
                </a:cubicBezTo>
                <a:cubicBezTo>
                  <a:pt x="0" y="18843"/>
                  <a:pt x="0" y="18749"/>
                  <a:pt x="0" y="18656"/>
                </a:cubicBezTo>
                <a:cubicBezTo>
                  <a:pt x="63" y="18687"/>
                  <a:pt x="156" y="18718"/>
                  <a:pt x="219" y="18656"/>
                </a:cubicBezTo>
                <a:cubicBezTo>
                  <a:pt x="219" y="18656"/>
                  <a:pt x="250" y="18656"/>
                  <a:pt x="250" y="18656"/>
                </a:cubicBezTo>
                <a:cubicBezTo>
                  <a:pt x="313" y="18593"/>
                  <a:pt x="344" y="18656"/>
                  <a:pt x="406" y="18656"/>
                </a:cubicBezTo>
                <a:cubicBezTo>
                  <a:pt x="406" y="18624"/>
                  <a:pt x="406" y="18624"/>
                  <a:pt x="438" y="18624"/>
                </a:cubicBezTo>
                <a:cubicBezTo>
                  <a:pt x="438" y="18624"/>
                  <a:pt x="438" y="18624"/>
                  <a:pt x="438" y="18656"/>
                </a:cubicBezTo>
                <a:cubicBezTo>
                  <a:pt x="438" y="18624"/>
                  <a:pt x="438" y="18624"/>
                  <a:pt x="438" y="18624"/>
                </a:cubicBezTo>
                <a:cubicBezTo>
                  <a:pt x="500" y="18562"/>
                  <a:pt x="594" y="18593"/>
                  <a:pt x="656" y="18562"/>
                </a:cubicBezTo>
                <a:cubicBezTo>
                  <a:pt x="656" y="18562"/>
                  <a:pt x="656" y="18562"/>
                  <a:pt x="656" y="18562"/>
                </a:cubicBezTo>
                <a:cubicBezTo>
                  <a:pt x="656" y="18562"/>
                  <a:pt x="625" y="18562"/>
                  <a:pt x="625" y="18562"/>
                </a:cubicBezTo>
                <a:cubicBezTo>
                  <a:pt x="625" y="18562"/>
                  <a:pt x="594" y="18562"/>
                  <a:pt x="594" y="18562"/>
                </a:cubicBezTo>
                <a:cubicBezTo>
                  <a:pt x="594" y="18562"/>
                  <a:pt x="563" y="18562"/>
                  <a:pt x="563" y="18562"/>
                </a:cubicBezTo>
                <a:cubicBezTo>
                  <a:pt x="531" y="18562"/>
                  <a:pt x="500" y="18562"/>
                  <a:pt x="469" y="18562"/>
                </a:cubicBezTo>
                <a:cubicBezTo>
                  <a:pt x="406" y="18593"/>
                  <a:pt x="344" y="18593"/>
                  <a:pt x="313" y="18499"/>
                </a:cubicBezTo>
                <a:cubicBezTo>
                  <a:pt x="313" y="18468"/>
                  <a:pt x="281" y="18437"/>
                  <a:pt x="250" y="18468"/>
                </a:cubicBezTo>
                <a:cubicBezTo>
                  <a:pt x="188" y="18562"/>
                  <a:pt x="188" y="18468"/>
                  <a:pt x="156" y="18437"/>
                </a:cubicBezTo>
                <a:cubicBezTo>
                  <a:pt x="219" y="18437"/>
                  <a:pt x="250" y="18374"/>
                  <a:pt x="313" y="18343"/>
                </a:cubicBezTo>
                <a:cubicBezTo>
                  <a:pt x="313" y="18343"/>
                  <a:pt x="313" y="18312"/>
                  <a:pt x="313" y="18281"/>
                </a:cubicBezTo>
                <a:cubicBezTo>
                  <a:pt x="313" y="18281"/>
                  <a:pt x="281" y="18281"/>
                  <a:pt x="250" y="18281"/>
                </a:cubicBezTo>
                <a:cubicBezTo>
                  <a:pt x="219" y="18281"/>
                  <a:pt x="156" y="18343"/>
                  <a:pt x="156" y="18437"/>
                </a:cubicBezTo>
                <a:cubicBezTo>
                  <a:pt x="94" y="18406"/>
                  <a:pt x="31" y="18406"/>
                  <a:pt x="0" y="18437"/>
                </a:cubicBezTo>
                <a:cubicBezTo>
                  <a:pt x="0" y="18374"/>
                  <a:pt x="0" y="18312"/>
                  <a:pt x="0" y="18249"/>
                </a:cubicBezTo>
                <a:cubicBezTo>
                  <a:pt x="63" y="18218"/>
                  <a:pt x="156" y="18187"/>
                  <a:pt x="188" y="18093"/>
                </a:cubicBezTo>
                <a:cubicBezTo>
                  <a:pt x="156" y="18093"/>
                  <a:pt x="125" y="18093"/>
                  <a:pt x="94" y="18093"/>
                </a:cubicBezTo>
                <a:cubicBezTo>
                  <a:pt x="63" y="18093"/>
                  <a:pt x="31" y="18093"/>
                  <a:pt x="0" y="18093"/>
                </a:cubicBezTo>
                <a:cubicBezTo>
                  <a:pt x="0" y="18062"/>
                  <a:pt x="0" y="18031"/>
                  <a:pt x="0" y="17999"/>
                </a:cubicBezTo>
                <a:lnTo>
                  <a:pt x="0" y="17999"/>
                </a:lnTo>
                <a:cubicBezTo>
                  <a:pt x="31" y="17999"/>
                  <a:pt x="31" y="18062"/>
                  <a:pt x="94" y="18031"/>
                </a:cubicBezTo>
                <a:cubicBezTo>
                  <a:pt x="125" y="18031"/>
                  <a:pt x="156" y="18031"/>
                  <a:pt x="188" y="18062"/>
                </a:cubicBezTo>
                <a:cubicBezTo>
                  <a:pt x="250" y="18093"/>
                  <a:pt x="281" y="18062"/>
                  <a:pt x="281" y="17999"/>
                </a:cubicBezTo>
                <a:cubicBezTo>
                  <a:pt x="281" y="17968"/>
                  <a:pt x="281" y="17906"/>
                  <a:pt x="250" y="17874"/>
                </a:cubicBezTo>
                <a:cubicBezTo>
                  <a:pt x="219" y="17874"/>
                  <a:pt x="250" y="17843"/>
                  <a:pt x="250" y="17843"/>
                </a:cubicBezTo>
                <a:cubicBezTo>
                  <a:pt x="281" y="17781"/>
                  <a:pt x="281" y="17749"/>
                  <a:pt x="219" y="17749"/>
                </a:cubicBezTo>
                <a:cubicBezTo>
                  <a:pt x="219" y="17812"/>
                  <a:pt x="156" y="17781"/>
                  <a:pt x="125" y="17781"/>
                </a:cubicBezTo>
                <a:cubicBezTo>
                  <a:pt x="156" y="17749"/>
                  <a:pt x="188" y="17718"/>
                  <a:pt x="219" y="17718"/>
                </a:cubicBezTo>
                <a:cubicBezTo>
                  <a:pt x="250" y="17656"/>
                  <a:pt x="219" y="17593"/>
                  <a:pt x="219" y="17531"/>
                </a:cubicBezTo>
                <a:cubicBezTo>
                  <a:pt x="188" y="17374"/>
                  <a:pt x="156" y="17249"/>
                  <a:pt x="156" y="17093"/>
                </a:cubicBezTo>
                <a:cubicBezTo>
                  <a:pt x="156" y="17062"/>
                  <a:pt x="125" y="17062"/>
                  <a:pt x="125" y="17062"/>
                </a:cubicBezTo>
                <a:cubicBezTo>
                  <a:pt x="94" y="17093"/>
                  <a:pt x="94" y="17124"/>
                  <a:pt x="63" y="17093"/>
                </a:cubicBezTo>
                <a:cubicBezTo>
                  <a:pt x="63" y="17062"/>
                  <a:pt x="94" y="17062"/>
                  <a:pt x="94" y="17062"/>
                </a:cubicBezTo>
                <a:cubicBezTo>
                  <a:pt x="125" y="17031"/>
                  <a:pt x="156" y="17031"/>
                  <a:pt x="156" y="16999"/>
                </a:cubicBezTo>
                <a:cubicBezTo>
                  <a:pt x="125" y="16937"/>
                  <a:pt x="94" y="16999"/>
                  <a:pt x="63" y="16968"/>
                </a:cubicBezTo>
                <a:cubicBezTo>
                  <a:pt x="0" y="16968"/>
                  <a:pt x="31" y="17031"/>
                  <a:pt x="0" y="17031"/>
                </a:cubicBezTo>
                <a:cubicBezTo>
                  <a:pt x="0" y="16999"/>
                  <a:pt x="0" y="16968"/>
                  <a:pt x="0" y="16937"/>
                </a:cubicBezTo>
                <a:cubicBezTo>
                  <a:pt x="31" y="16937"/>
                  <a:pt x="63" y="16906"/>
                  <a:pt x="63" y="16874"/>
                </a:cubicBezTo>
                <a:cubicBezTo>
                  <a:pt x="63" y="16812"/>
                  <a:pt x="0" y="16874"/>
                  <a:pt x="0" y="16843"/>
                </a:cubicBezTo>
                <a:cubicBezTo>
                  <a:pt x="0" y="16749"/>
                  <a:pt x="0" y="16687"/>
                  <a:pt x="0" y="16624"/>
                </a:cubicBezTo>
                <a:cubicBezTo>
                  <a:pt x="0" y="16562"/>
                  <a:pt x="0" y="16468"/>
                  <a:pt x="0" y="16406"/>
                </a:cubicBezTo>
                <a:cubicBezTo>
                  <a:pt x="125" y="16374"/>
                  <a:pt x="281" y="16281"/>
                  <a:pt x="406" y="16218"/>
                </a:cubicBezTo>
                <a:cubicBezTo>
                  <a:pt x="750" y="16031"/>
                  <a:pt x="1094" y="15874"/>
                  <a:pt x="1438" y="15687"/>
                </a:cubicBezTo>
                <a:cubicBezTo>
                  <a:pt x="1781" y="15531"/>
                  <a:pt x="2094" y="15343"/>
                  <a:pt x="2438" y="15187"/>
                </a:cubicBezTo>
                <a:cubicBezTo>
                  <a:pt x="2969" y="14906"/>
                  <a:pt x="3531" y="14624"/>
                  <a:pt x="4063" y="14343"/>
                </a:cubicBezTo>
                <a:cubicBezTo>
                  <a:pt x="4281" y="14249"/>
                  <a:pt x="4469" y="14124"/>
                  <a:pt x="4688" y="14031"/>
                </a:cubicBezTo>
                <a:cubicBezTo>
                  <a:pt x="4719" y="13999"/>
                  <a:pt x="4750" y="13999"/>
                  <a:pt x="4781" y="13999"/>
                </a:cubicBezTo>
                <a:cubicBezTo>
                  <a:pt x="4781" y="13999"/>
                  <a:pt x="4813" y="13999"/>
                  <a:pt x="4813" y="13999"/>
                </a:cubicBezTo>
                <a:cubicBezTo>
                  <a:pt x="4844" y="13937"/>
                  <a:pt x="4875" y="13906"/>
                  <a:pt x="4938" y="13937"/>
                </a:cubicBezTo>
                <a:cubicBezTo>
                  <a:pt x="4938" y="13937"/>
                  <a:pt x="4938" y="13906"/>
                  <a:pt x="4969" y="13906"/>
                </a:cubicBezTo>
                <a:cubicBezTo>
                  <a:pt x="5000" y="13843"/>
                  <a:pt x="5063" y="13843"/>
                  <a:pt x="5094" y="13812"/>
                </a:cubicBezTo>
                <a:cubicBezTo>
                  <a:pt x="5125" y="13812"/>
                  <a:pt x="5125" y="13812"/>
                  <a:pt x="5125" y="13812"/>
                </a:cubicBezTo>
                <a:cubicBezTo>
                  <a:pt x="5125" y="13906"/>
                  <a:pt x="5188" y="13874"/>
                  <a:pt x="5219" y="13874"/>
                </a:cubicBezTo>
                <a:cubicBezTo>
                  <a:pt x="5313" y="13874"/>
                  <a:pt x="5344" y="13812"/>
                  <a:pt x="5438" y="13781"/>
                </a:cubicBezTo>
                <a:cubicBezTo>
                  <a:pt x="5469" y="13749"/>
                  <a:pt x="5531" y="13749"/>
                  <a:pt x="5563" y="13687"/>
                </a:cubicBezTo>
                <a:cubicBezTo>
                  <a:pt x="5594" y="13656"/>
                  <a:pt x="5625" y="13687"/>
                  <a:pt x="5625" y="13718"/>
                </a:cubicBezTo>
                <a:cubicBezTo>
                  <a:pt x="5688" y="13749"/>
                  <a:pt x="5750" y="13812"/>
                  <a:pt x="5781" y="13874"/>
                </a:cubicBezTo>
                <a:cubicBezTo>
                  <a:pt x="5656" y="13843"/>
                  <a:pt x="5563" y="13937"/>
                  <a:pt x="5438" y="13937"/>
                </a:cubicBezTo>
                <a:cubicBezTo>
                  <a:pt x="5531" y="13999"/>
                  <a:pt x="5625" y="13968"/>
                  <a:pt x="5750" y="13999"/>
                </a:cubicBezTo>
                <a:cubicBezTo>
                  <a:pt x="5781" y="13968"/>
                  <a:pt x="5813" y="13968"/>
                  <a:pt x="5844" y="13937"/>
                </a:cubicBezTo>
                <a:cubicBezTo>
                  <a:pt x="5906" y="13937"/>
                  <a:pt x="5938" y="13968"/>
                  <a:pt x="5906" y="14031"/>
                </a:cubicBezTo>
                <a:cubicBezTo>
                  <a:pt x="5875" y="13999"/>
                  <a:pt x="5875" y="13999"/>
                  <a:pt x="5844" y="14031"/>
                </a:cubicBezTo>
                <a:cubicBezTo>
                  <a:pt x="5875" y="13999"/>
                  <a:pt x="5875" y="13999"/>
                  <a:pt x="5906" y="14031"/>
                </a:cubicBezTo>
                <a:cubicBezTo>
                  <a:pt x="5969" y="14062"/>
                  <a:pt x="6031" y="14062"/>
                  <a:pt x="6094" y="14093"/>
                </a:cubicBezTo>
                <a:cubicBezTo>
                  <a:pt x="6094" y="14124"/>
                  <a:pt x="6156" y="14124"/>
                  <a:pt x="6156" y="14062"/>
                </a:cubicBezTo>
                <a:cubicBezTo>
                  <a:pt x="6156" y="14031"/>
                  <a:pt x="6219" y="14031"/>
                  <a:pt x="6219" y="14062"/>
                </a:cubicBezTo>
                <a:cubicBezTo>
                  <a:pt x="6219" y="14124"/>
                  <a:pt x="6250" y="14124"/>
                  <a:pt x="6281" y="14156"/>
                </a:cubicBezTo>
                <a:lnTo>
                  <a:pt x="6281" y="14156"/>
                </a:lnTo>
                <a:cubicBezTo>
                  <a:pt x="6094" y="14156"/>
                  <a:pt x="5938" y="14093"/>
                  <a:pt x="5781" y="14031"/>
                </a:cubicBezTo>
                <a:cubicBezTo>
                  <a:pt x="5781" y="14031"/>
                  <a:pt x="5750" y="14031"/>
                  <a:pt x="5750" y="14031"/>
                </a:cubicBezTo>
                <a:cubicBezTo>
                  <a:pt x="5594" y="13999"/>
                  <a:pt x="5438" y="13999"/>
                  <a:pt x="5313" y="13937"/>
                </a:cubicBezTo>
                <a:cubicBezTo>
                  <a:pt x="5281" y="13937"/>
                  <a:pt x="5219" y="13937"/>
                  <a:pt x="5188" y="13906"/>
                </a:cubicBezTo>
                <a:lnTo>
                  <a:pt x="5188" y="13906"/>
                </a:lnTo>
                <a:cubicBezTo>
                  <a:pt x="5125" y="13937"/>
                  <a:pt x="5031" y="13843"/>
                  <a:pt x="4969" y="13906"/>
                </a:cubicBezTo>
                <a:cubicBezTo>
                  <a:pt x="4969" y="13937"/>
                  <a:pt x="5000" y="13968"/>
                  <a:pt x="5031" y="13999"/>
                </a:cubicBezTo>
                <a:cubicBezTo>
                  <a:pt x="5188" y="13999"/>
                  <a:pt x="5313" y="14031"/>
                  <a:pt x="5469" y="14062"/>
                </a:cubicBezTo>
                <a:cubicBezTo>
                  <a:pt x="5594" y="14124"/>
                  <a:pt x="5750" y="14124"/>
                  <a:pt x="5875" y="14187"/>
                </a:cubicBezTo>
                <a:cubicBezTo>
                  <a:pt x="5906" y="14187"/>
                  <a:pt x="5906" y="14249"/>
                  <a:pt x="5969" y="14187"/>
                </a:cubicBezTo>
                <a:cubicBezTo>
                  <a:pt x="6000" y="14156"/>
                  <a:pt x="6031" y="14218"/>
                  <a:pt x="6063" y="14218"/>
                </a:cubicBezTo>
                <a:cubicBezTo>
                  <a:pt x="6125" y="14187"/>
                  <a:pt x="6219" y="14218"/>
                  <a:pt x="6281" y="14249"/>
                </a:cubicBezTo>
                <a:cubicBezTo>
                  <a:pt x="6313" y="14249"/>
                  <a:pt x="6344" y="14249"/>
                  <a:pt x="6344" y="14281"/>
                </a:cubicBezTo>
                <a:cubicBezTo>
                  <a:pt x="6344" y="14312"/>
                  <a:pt x="6313" y="14312"/>
                  <a:pt x="6281" y="14312"/>
                </a:cubicBezTo>
                <a:cubicBezTo>
                  <a:pt x="6281" y="14343"/>
                  <a:pt x="6219" y="14374"/>
                  <a:pt x="6219" y="14437"/>
                </a:cubicBezTo>
                <a:cubicBezTo>
                  <a:pt x="6219" y="14437"/>
                  <a:pt x="6219" y="14437"/>
                  <a:pt x="6219" y="14437"/>
                </a:cubicBezTo>
                <a:cubicBezTo>
                  <a:pt x="6219" y="14437"/>
                  <a:pt x="6219" y="14437"/>
                  <a:pt x="6219" y="14437"/>
                </a:cubicBezTo>
                <a:cubicBezTo>
                  <a:pt x="6250" y="14437"/>
                  <a:pt x="6250" y="14437"/>
                  <a:pt x="6281" y="14437"/>
                </a:cubicBezTo>
                <a:cubicBezTo>
                  <a:pt x="6281" y="14437"/>
                  <a:pt x="6281" y="14437"/>
                  <a:pt x="6281" y="14437"/>
                </a:cubicBezTo>
                <a:cubicBezTo>
                  <a:pt x="6281" y="14437"/>
                  <a:pt x="6281" y="14406"/>
                  <a:pt x="6281" y="14406"/>
                </a:cubicBezTo>
                <a:cubicBezTo>
                  <a:pt x="6344" y="14406"/>
                  <a:pt x="6406" y="14374"/>
                  <a:pt x="6438" y="14312"/>
                </a:cubicBezTo>
                <a:cubicBezTo>
                  <a:pt x="6438" y="14281"/>
                  <a:pt x="6438" y="14281"/>
                  <a:pt x="6469" y="14281"/>
                </a:cubicBezTo>
                <a:cubicBezTo>
                  <a:pt x="6500" y="14281"/>
                  <a:pt x="6531" y="14281"/>
                  <a:pt x="6563" y="14312"/>
                </a:cubicBezTo>
                <a:cubicBezTo>
                  <a:pt x="6875" y="14374"/>
                  <a:pt x="7156" y="14437"/>
                  <a:pt x="7469" y="14531"/>
                </a:cubicBezTo>
                <a:cubicBezTo>
                  <a:pt x="7750" y="14593"/>
                  <a:pt x="8063" y="14656"/>
                  <a:pt x="8375" y="14718"/>
                </a:cubicBezTo>
                <a:cubicBezTo>
                  <a:pt x="8594" y="14749"/>
                  <a:pt x="8813" y="14812"/>
                  <a:pt x="9031" y="14874"/>
                </a:cubicBezTo>
                <a:cubicBezTo>
                  <a:pt x="9250" y="14906"/>
                  <a:pt x="9438" y="14937"/>
                  <a:pt x="9656" y="14999"/>
                </a:cubicBezTo>
                <a:cubicBezTo>
                  <a:pt x="9813" y="14999"/>
                  <a:pt x="9938" y="15031"/>
                  <a:pt x="10094" y="15062"/>
                </a:cubicBezTo>
                <a:cubicBezTo>
                  <a:pt x="10281" y="14906"/>
                  <a:pt x="10469" y="14718"/>
                  <a:pt x="10656" y="14531"/>
                </a:cubicBezTo>
                <a:cubicBezTo>
                  <a:pt x="10875" y="14343"/>
                  <a:pt x="11125" y="14124"/>
                  <a:pt x="11344" y="13906"/>
                </a:cubicBezTo>
                <a:cubicBezTo>
                  <a:pt x="11344" y="13906"/>
                  <a:pt x="11375" y="13874"/>
                  <a:pt x="11344" y="13874"/>
                </a:cubicBezTo>
                <a:cubicBezTo>
                  <a:pt x="11344" y="13843"/>
                  <a:pt x="11313" y="13874"/>
                  <a:pt x="11281" y="13874"/>
                </a:cubicBezTo>
                <a:cubicBezTo>
                  <a:pt x="11188" y="13999"/>
                  <a:pt x="11031" y="14062"/>
                  <a:pt x="10938" y="14218"/>
                </a:cubicBezTo>
                <a:cubicBezTo>
                  <a:pt x="10906" y="14249"/>
                  <a:pt x="10875" y="14218"/>
                  <a:pt x="10844" y="14187"/>
                </a:cubicBezTo>
                <a:cubicBezTo>
                  <a:pt x="10781" y="14156"/>
                  <a:pt x="10719" y="14093"/>
                  <a:pt x="10625" y="14031"/>
                </a:cubicBezTo>
                <a:cubicBezTo>
                  <a:pt x="10625" y="14031"/>
                  <a:pt x="10625" y="14031"/>
                  <a:pt x="10625" y="14031"/>
                </a:cubicBezTo>
                <a:cubicBezTo>
                  <a:pt x="10594" y="14031"/>
                  <a:pt x="10594" y="13999"/>
                  <a:pt x="10563" y="13999"/>
                </a:cubicBezTo>
                <a:cubicBezTo>
                  <a:pt x="10563" y="13999"/>
                  <a:pt x="10563" y="13999"/>
                  <a:pt x="10563" y="13999"/>
                </a:cubicBezTo>
                <a:cubicBezTo>
                  <a:pt x="10563" y="14031"/>
                  <a:pt x="10563" y="14062"/>
                  <a:pt x="10594" y="14062"/>
                </a:cubicBezTo>
                <a:cubicBezTo>
                  <a:pt x="10656" y="14124"/>
                  <a:pt x="10719" y="14187"/>
                  <a:pt x="10781" y="14218"/>
                </a:cubicBezTo>
                <a:cubicBezTo>
                  <a:pt x="10813" y="14249"/>
                  <a:pt x="10844" y="14281"/>
                  <a:pt x="10813" y="14312"/>
                </a:cubicBezTo>
                <a:cubicBezTo>
                  <a:pt x="10750" y="14374"/>
                  <a:pt x="10688" y="14406"/>
                  <a:pt x="10625" y="14468"/>
                </a:cubicBezTo>
                <a:cubicBezTo>
                  <a:pt x="10625" y="14468"/>
                  <a:pt x="10625" y="14468"/>
                  <a:pt x="10594" y="14468"/>
                </a:cubicBezTo>
                <a:cubicBezTo>
                  <a:pt x="10594" y="14499"/>
                  <a:pt x="10563" y="14531"/>
                  <a:pt x="10563" y="14531"/>
                </a:cubicBezTo>
                <a:cubicBezTo>
                  <a:pt x="10438" y="14499"/>
                  <a:pt x="10313" y="14499"/>
                  <a:pt x="10219" y="14437"/>
                </a:cubicBezTo>
                <a:cubicBezTo>
                  <a:pt x="10188" y="14437"/>
                  <a:pt x="10188" y="14437"/>
                  <a:pt x="10156" y="14437"/>
                </a:cubicBezTo>
                <a:cubicBezTo>
                  <a:pt x="10125" y="14437"/>
                  <a:pt x="10094" y="14437"/>
                  <a:pt x="10094" y="14406"/>
                </a:cubicBezTo>
                <a:cubicBezTo>
                  <a:pt x="9875" y="14374"/>
                  <a:pt x="9688" y="14312"/>
                  <a:pt x="9500" y="14281"/>
                </a:cubicBezTo>
                <a:cubicBezTo>
                  <a:pt x="9625" y="14249"/>
                  <a:pt x="9750" y="14218"/>
                  <a:pt x="9875" y="14187"/>
                </a:cubicBezTo>
                <a:cubicBezTo>
                  <a:pt x="9906" y="14187"/>
                  <a:pt x="9906" y="14156"/>
                  <a:pt x="9938" y="14187"/>
                </a:cubicBezTo>
                <a:cubicBezTo>
                  <a:pt x="10031" y="14281"/>
                  <a:pt x="10125" y="14343"/>
                  <a:pt x="10219" y="14406"/>
                </a:cubicBezTo>
                <a:cubicBezTo>
                  <a:pt x="10250" y="14406"/>
                  <a:pt x="10281" y="14468"/>
                  <a:pt x="10344" y="14406"/>
                </a:cubicBezTo>
                <a:cubicBezTo>
                  <a:pt x="10313" y="14406"/>
                  <a:pt x="10281" y="14406"/>
                  <a:pt x="10281" y="14374"/>
                </a:cubicBezTo>
                <a:cubicBezTo>
                  <a:pt x="10156" y="14312"/>
                  <a:pt x="10063" y="14218"/>
                  <a:pt x="9969" y="14156"/>
                </a:cubicBezTo>
                <a:cubicBezTo>
                  <a:pt x="10031" y="14124"/>
                  <a:pt x="10094" y="14093"/>
                  <a:pt x="10156" y="14093"/>
                </a:cubicBezTo>
                <a:cubicBezTo>
                  <a:pt x="10219" y="14093"/>
                  <a:pt x="10313" y="14062"/>
                  <a:pt x="10375" y="14031"/>
                </a:cubicBezTo>
                <a:cubicBezTo>
                  <a:pt x="10438" y="13999"/>
                  <a:pt x="10406" y="13968"/>
                  <a:pt x="10344" y="13968"/>
                </a:cubicBezTo>
                <a:cubicBezTo>
                  <a:pt x="10250" y="13968"/>
                  <a:pt x="10156" y="14062"/>
                  <a:pt x="10031" y="14062"/>
                </a:cubicBezTo>
                <a:cubicBezTo>
                  <a:pt x="10000" y="14062"/>
                  <a:pt x="9969" y="14062"/>
                  <a:pt x="9938" y="14093"/>
                </a:cubicBezTo>
                <a:cubicBezTo>
                  <a:pt x="9938" y="14124"/>
                  <a:pt x="9906" y="14093"/>
                  <a:pt x="9875" y="14062"/>
                </a:cubicBezTo>
                <a:cubicBezTo>
                  <a:pt x="9875" y="14062"/>
                  <a:pt x="9875" y="14062"/>
                  <a:pt x="9875" y="14062"/>
                </a:cubicBezTo>
                <a:cubicBezTo>
                  <a:pt x="9844" y="14062"/>
                  <a:pt x="9813" y="14031"/>
                  <a:pt x="9781" y="13999"/>
                </a:cubicBezTo>
                <a:cubicBezTo>
                  <a:pt x="9781" y="13999"/>
                  <a:pt x="9781" y="13999"/>
                  <a:pt x="9781" y="13968"/>
                </a:cubicBezTo>
                <a:cubicBezTo>
                  <a:pt x="9750" y="13999"/>
                  <a:pt x="9719" y="13968"/>
                  <a:pt x="9719" y="13937"/>
                </a:cubicBezTo>
                <a:cubicBezTo>
                  <a:pt x="9719" y="13937"/>
                  <a:pt x="9719" y="13937"/>
                  <a:pt x="9719" y="13937"/>
                </a:cubicBezTo>
                <a:cubicBezTo>
                  <a:pt x="9625" y="13906"/>
                  <a:pt x="9531" y="13843"/>
                  <a:pt x="9469" y="13749"/>
                </a:cubicBezTo>
                <a:cubicBezTo>
                  <a:pt x="9563" y="13749"/>
                  <a:pt x="9656" y="13749"/>
                  <a:pt x="9781" y="13718"/>
                </a:cubicBezTo>
                <a:cubicBezTo>
                  <a:pt x="9656" y="13749"/>
                  <a:pt x="9563" y="13749"/>
                  <a:pt x="9469" y="13749"/>
                </a:cubicBezTo>
                <a:cubicBezTo>
                  <a:pt x="9406" y="13718"/>
                  <a:pt x="9438" y="13718"/>
                  <a:pt x="9500" y="13718"/>
                </a:cubicBezTo>
                <a:cubicBezTo>
                  <a:pt x="9594" y="13687"/>
                  <a:pt x="9719" y="13656"/>
                  <a:pt x="9813" y="13624"/>
                </a:cubicBezTo>
                <a:cubicBezTo>
                  <a:pt x="9938" y="13562"/>
                  <a:pt x="10031" y="13656"/>
                  <a:pt x="10094" y="13718"/>
                </a:cubicBezTo>
                <a:cubicBezTo>
                  <a:pt x="10188" y="13781"/>
                  <a:pt x="10281" y="13874"/>
                  <a:pt x="10406" y="13937"/>
                </a:cubicBezTo>
                <a:cubicBezTo>
                  <a:pt x="10469" y="13906"/>
                  <a:pt x="10375" y="13874"/>
                  <a:pt x="10375" y="13874"/>
                </a:cubicBezTo>
                <a:cubicBezTo>
                  <a:pt x="10344" y="13812"/>
                  <a:pt x="10281" y="13812"/>
                  <a:pt x="10250" y="13749"/>
                </a:cubicBezTo>
                <a:cubicBezTo>
                  <a:pt x="10156" y="13718"/>
                  <a:pt x="10125" y="13656"/>
                  <a:pt x="10031" y="13624"/>
                </a:cubicBezTo>
                <a:cubicBezTo>
                  <a:pt x="10031" y="13593"/>
                  <a:pt x="10031" y="13562"/>
                  <a:pt x="10063" y="13562"/>
                </a:cubicBezTo>
                <a:cubicBezTo>
                  <a:pt x="10188" y="13531"/>
                  <a:pt x="10281" y="13499"/>
                  <a:pt x="10406" y="13499"/>
                </a:cubicBezTo>
                <a:cubicBezTo>
                  <a:pt x="10406" y="13468"/>
                  <a:pt x="10406" y="13468"/>
                  <a:pt x="10406" y="13468"/>
                </a:cubicBezTo>
                <a:cubicBezTo>
                  <a:pt x="10438" y="13437"/>
                  <a:pt x="10406" y="13437"/>
                  <a:pt x="10375" y="13437"/>
                </a:cubicBezTo>
                <a:cubicBezTo>
                  <a:pt x="10313" y="13437"/>
                  <a:pt x="10219" y="13499"/>
                  <a:pt x="10156" y="13499"/>
                </a:cubicBezTo>
                <a:cubicBezTo>
                  <a:pt x="10125" y="13468"/>
                  <a:pt x="10094" y="13499"/>
                  <a:pt x="10063" y="13499"/>
                </a:cubicBezTo>
                <a:cubicBezTo>
                  <a:pt x="10000" y="13531"/>
                  <a:pt x="9906" y="13531"/>
                  <a:pt x="9844" y="13437"/>
                </a:cubicBezTo>
                <a:cubicBezTo>
                  <a:pt x="9813" y="13406"/>
                  <a:pt x="9750" y="13374"/>
                  <a:pt x="9688" y="13343"/>
                </a:cubicBezTo>
                <a:cubicBezTo>
                  <a:pt x="9594" y="13187"/>
                  <a:pt x="9375" y="13218"/>
                  <a:pt x="9219" y="13156"/>
                </a:cubicBezTo>
                <a:cubicBezTo>
                  <a:pt x="9219" y="13156"/>
                  <a:pt x="9188" y="13124"/>
                  <a:pt x="9188" y="13156"/>
                </a:cubicBezTo>
                <a:cubicBezTo>
                  <a:pt x="9156" y="13218"/>
                  <a:pt x="9094" y="13187"/>
                  <a:pt x="9063" y="13187"/>
                </a:cubicBezTo>
                <a:cubicBezTo>
                  <a:pt x="9000" y="13218"/>
                  <a:pt x="8938" y="13218"/>
                  <a:pt x="8875" y="13249"/>
                </a:cubicBezTo>
                <a:cubicBezTo>
                  <a:pt x="8813" y="13281"/>
                  <a:pt x="8813" y="13249"/>
                  <a:pt x="8781" y="13249"/>
                </a:cubicBezTo>
                <a:cubicBezTo>
                  <a:pt x="8719" y="13187"/>
                  <a:pt x="8656" y="13124"/>
                  <a:pt x="8594" y="13093"/>
                </a:cubicBezTo>
                <a:cubicBezTo>
                  <a:pt x="8563" y="13062"/>
                  <a:pt x="8500" y="13062"/>
                  <a:pt x="8531" y="13031"/>
                </a:cubicBezTo>
                <a:cubicBezTo>
                  <a:pt x="8531" y="12999"/>
                  <a:pt x="8563" y="13031"/>
                  <a:pt x="8594" y="13031"/>
                </a:cubicBezTo>
                <a:cubicBezTo>
                  <a:pt x="8594" y="13031"/>
                  <a:pt x="8625" y="13031"/>
                  <a:pt x="8625" y="12999"/>
                </a:cubicBezTo>
                <a:cubicBezTo>
                  <a:pt x="8500" y="12968"/>
                  <a:pt x="8375" y="12937"/>
                  <a:pt x="8281" y="12906"/>
                </a:cubicBezTo>
                <a:cubicBezTo>
                  <a:pt x="8188" y="12906"/>
                  <a:pt x="8063" y="12843"/>
                  <a:pt x="7969" y="12874"/>
                </a:cubicBezTo>
                <a:cubicBezTo>
                  <a:pt x="7938" y="12937"/>
                  <a:pt x="7906" y="12937"/>
                  <a:pt x="7844" y="12906"/>
                </a:cubicBezTo>
                <a:cubicBezTo>
                  <a:pt x="7844" y="12906"/>
                  <a:pt x="7844" y="12906"/>
                  <a:pt x="7844" y="12937"/>
                </a:cubicBezTo>
                <a:cubicBezTo>
                  <a:pt x="7813" y="12968"/>
                  <a:pt x="7781" y="12968"/>
                  <a:pt x="7750" y="12937"/>
                </a:cubicBezTo>
                <a:cubicBezTo>
                  <a:pt x="7750" y="12937"/>
                  <a:pt x="7719" y="12937"/>
                  <a:pt x="7719" y="12937"/>
                </a:cubicBezTo>
                <a:cubicBezTo>
                  <a:pt x="7719" y="12937"/>
                  <a:pt x="7688" y="12937"/>
                  <a:pt x="7688" y="12906"/>
                </a:cubicBezTo>
                <a:cubicBezTo>
                  <a:pt x="7688" y="12937"/>
                  <a:pt x="7719" y="12937"/>
                  <a:pt x="7719" y="12937"/>
                </a:cubicBezTo>
                <a:cubicBezTo>
                  <a:pt x="7594" y="12999"/>
                  <a:pt x="7531" y="12843"/>
                  <a:pt x="7438" y="12781"/>
                </a:cubicBezTo>
                <a:cubicBezTo>
                  <a:pt x="7531" y="12749"/>
                  <a:pt x="7594" y="12781"/>
                  <a:pt x="7688" y="12781"/>
                </a:cubicBezTo>
                <a:cubicBezTo>
                  <a:pt x="7531" y="12718"/>
                  <a:pt x="7344" y="12656"/>
                  <a:pt x="7188" y="12781"/>
                </a:cubicBezTo>
                <a:cubicBezTo>
                  <a:pt x="7156" y="12812"/>
                  <a:pt x="7125" y="12843"/>
                  <a:pt x="7063" y="12843"/>
                </a:cubicBezTo>
                <a:cubicBezTo>
                  <a:pt x="7094" y="12781"/>
                  <a:pt x="7125" y="12781"/>
                  <a:pt x="7188" y="12749"/>
                </a:cubicBezTo>
                <a:cubicBezTo>
                  <a:pt x="7188" y="12749"/>
                  <a:pt x="7188" y="12749"/>
                  <a:pt x="7188" y="12749"/>
                </a:cubicBezTo>
                <a:cubicBezTo>
                  <a:pt x="7188" y="12687"/>
                  <a:pt x="7156" y="12718"/>
                  <a:pt x="7125" y="12718"/>
                </a:cubicBezTo>
                <a:cubicBezTo>
                  <a:pt x="7031" y="12781"/>
                  <a:pt x="6938" y="12812"/>
                  <a:pt x="6844" y="12874"/>
                </a:cubicBezTo>
                <a:cubicBezTo>
                  <a:pt x="6813" y="12906"/>
                  <a:pt x="6813" y="12906"/>
                  <a:pt x="6781" y="12906"/>
                </a:cubicBezTo>
                <a:cubicBezTo>
                  <a:pt x="6750" y="12937"/>
                  <a:pt x="6750" y="12968"/>
                  <a:pt x="6688" y="12937"/>
                </a:cubicBezTo>
                <a:cubicBezTo>
                  <a:pt x="6719" y="12906"/>
                  <a:pt x="6750" y="12906"/>
                  <a:pt x="6781" y="12906"/>
                </a:cubicBezTo>
                <a:cubicBezTo>
                  <a:pt x="6813" y="12843"/>
                  <a:pt x="6906" y="12812"/>
                  <a:pt x="6906" y="12749"/>
                </a:cubicBezTo>
                <a:cubicBezTo>
                  <a:pt x="6875" y="12624"/>
                  <a:pt x="6938" y="12531"/>
                  <a:pt x="6969" y="12437"/>
                </a:cubicBezTo>
                <a:cubicBezTo>
                  <a:pt x="7031" y="12156"/>
                  <a:pt x="7125" y="11843"/>
                  <a:pt x="7188" y="11562"/>
                </a:cubicBezTo>
                <a:cubicBezTo>
                  <a:pt x="7219" y="11437"/>
                  <a:pt x="7250" y="11312"/>
                  <a:pt x="7313" y="11187"/>
                </a:cubicBezTo>
                <a:cubicBezTo>
                  <a:pt x="7313" y="11156"/>
                  <a:pt x="7313" y="11156"/>
                  <a:pt x="7375" y="11156"/>
                </a:cubicBezTo>
                <a:cubicBezTo>
                  <a:pt x="7813" y="11281"/>
                  <a:pt x="8250" y="11406"/>
                  <a:pt x="8688" y="11531"/>
                </a:cubicBezTo>
                <a:cubicBezTo>
                  <a:pt x="8750" y="11531"/>
                  <a:pt x="8813" y="11593"/>
                  <a:pt x="8844" y="11656"/>
                </a:cubicBezTo>
                <a:cubicBezTo>
                  <a:pt x="8844" y="11687"/>
                  <a:pt x="8844" y="11718"/>
                  <a:pt x="8813" y="11718"/>
                </a:cubicBezTo>
                <a:cubicBezTo>
                  <a:pt x="8781" y="11749"/>
                  <a:pt x="8781" y="11718"/>
                  <a:pt x="8750" y="11687"/>
                </a:cubicBezTo>
                <a:cubicBezTo>
                  <a:pt x="8719" y="11656"/>
                  <a:pt x="8719" y="11624"/>
                  <a:pt x="8688" y="11593"/>
                </a:cubicBezTo>
                <a:cubicBezTo>
                  <a:pt x="8656" y="11593"/>
                  <a:pt x="8656" y="11562"/>
                  <a:pt x="8625" y="11562"/>
                </a:cubicBezTo>
                <a:cubicBezTo>
                  <a:pt x="8563" y="11562"/>
                  <a:pt x="8594" y="11624"/>
                  <a:pt x="8594" y="11656"/>
                </a:cubicBezTo>
                <a:cubicBezTo>
                  <a:pt x="8656" y="11656"/>
                  <a:pt x="8688" y="11718"/>
                  <a:pt x="8719" y="11781"/>
                </a:cubicBezTo>
                <a:cubicBezTo>
                  <a:pt x="8781" y="11812"/>
                  <a:pt x="8906" y="11781"/>
                  <a:pt x="8938" y="11718"/>
                </a:cubicBezTo>
                <a:cubicBezTo>
                  <a:pt x="8969" y="11687"/>
                  <a:pt x="8938" y="11687"/>
                  <a:pt x="8938" y="11656"/>
                </a:cubicBezTo>
                <a:cubicBezTo>
                  <a:pt x="8906" y="11656"/>
                  <a:pt x="8875" y="11624"/>
                  <a:pt x="8906" y="11593"/>
                </a:cubicBezTo>
                <a:cubicBezTo>
                  <a:pt x="8938" y="11593"/>
                  <a:pt x="8969" y="11593"/>
                  <a:pt x="8969" y="11624"/>
                </a:cubicBezTo>
                <a:cubicBezTo>
                  <a:pt x="9000" y="11687"/>
                  <a:pt x="9000" y="11687"/>
                  <a:pt x="9063" y="11624"/>
                </a:cubicBezTo>
                <a:cubicBezTo>
                  <a:pt x="9063" y="11624"/>
                  <a:pt x="9094" y="11624"/>
                  <a:pt x="9125" y="11624"/>
                </a:cubicBezTo>
                <a:cubicBezTo>
                  <a:pt x="9469" y="11749"/>
                  <a:pt x="9844" y="11843"/>
                  <a:pt x="10188" y="11937"/>
                </a:cubicBezTo>
                <a:cubicBezTo>
                  <a:pt x="10438" y="11999"/>
                  <a:pt x="10688" y="12062"/>
                  <a:pt x="10938" y="12156"/>
                </a:cubicBezTo>
                <a:cubicBezTo>
                  <a:pt x="11219" y="12218"/>
                  <a:pt x="11500" y="12281"/>
                  <a:pt x="11781" y="12374"/>
                </a:cubicBezTo>
                <a:cubicBezTo>
                  <a:pt x="11781" y="12374"/>
                  <a:pt x="11813" y="12374"/>
                  <a:pt x="11813" y="12374"/>
                </a:cubicBezTo>
                <a:cubicBezTo>
                  <a:pt x="11813" y="12374"/>
                  <a:pt x="11813" y="12374"/>
                  <a:pt x="11844" y="12374"/>
                </a:cubicBezTo>
                <a:cubicBezTo>
                  <a:pt x="11844" y="12374"/>
                  <a:pt x="11875" y="12374"/>
                  <a:pt x="11906" y="12374"/>
                </a:cubicBezTo>
                <a:cubicBezTo>
                  <a:pt x="11688" y="12312"/>
                  <a:pt x="11469" y="12249"/>
                  <a:pt x="11250" y="12187"/>
                </a:cubicBezTo>
                <a:cubicBezTo>
                  <a:pt x="11000" y="12093"/>
                  <a:pt x="10719" y="12031"/>
                  <a:pt x="10469" y="11968"/>
                </a:cubicBezTo>
                <a:cubicBezTo>
                  <a:pt x="10313" y="11906"/>
                  <a:pt x="10125" y="11874"/>
                  <a:pt x="9969" y="11812"/>
                </a:cubicBezTo>
                <a:cubicBezTo>
                  <a:pt x="9938" y="11812"/>
                  <a:pt x="9906" y="11812"/>
                  <a:pt x="9875" y="11812"/>
                </a:cubicBezTo>
                <a:cubicBezTo>
                  <a:pt x="9875" y="11812"/>
                  <a:pt x="9875" y="11812"/>
                  <a:pt x="9875" y="11812"/>
                </a:cubicBezTo>
                <a:cubicBezTo>
                  <a:pt x="9688" y="11749"/>
                  <a:pt x="9500" y="11687"/>
                  <a:pt x="9313" y="11656"/>
                </a:cubicBezTo>
                <a:cubicBezTo>
                  <a:pt x="9281" y="11656"/>
                  <a:pt x="9250" y="11624"/>
                  <a:pt x="9250" y="11624"/>
                </a:cubicBezTo>
                <a:cubicBezTo>
                  <a:pt x="9219" y="11624"/>
                  <a:pt x="9188" y="11624"/>
                  <a:pt x="9188" y="11593"/>
                </a:cubicBezTo>
                <a:cubicBezTo>
                  <a:pt x="9219" y="11499"/>
                  <a:pt x="9094" y="11531"/>
                  <a:pt x="9031" y="11468"/>
                </a:cubicBezTo>
                <a:cubicBezTo>
                  <a:pt x="9031" y="11437"/>
                  <a:pt x="9000" y="11406"/>
                  <a:pt x="9000" y="11406"/>
                </a:cubicBezTo>
                <a:cubicBezTo>
                  <a:pt x="9000" y="11343"/>
                  <a:pt x="8969" y="11281"/>
                  <a:pt x="8938" y="11218"/>
                </a:cubicBezTo>
                <a:cubicBezTo>
                  <a:pt x="8906" y="11218"/>
                  <a:pt x="8875" y="11281"/>
                  <a:pt x="8875" y="11312"/>
                </a:cubicBezTo>
                <a:cubicBezTo>
                  <a:pt x="8875" y="11343"/>
                  <a:pt x="8906" y="11343"/>
                  <a:pt x="8938" y="11343"/>
                </a:cubicBezTo>
                <a:cubicBezTo>
                  <a:pt x="8938" y="11374"/>
                  <a:pt x="8969" y="11374"/>
                  <a:pt x="8938" y="11406"/>
                </a:cubicBezTo>
                <a:cubicBezTo>
                  <a:pt x="8938" y="11437"/>
                  <a:pt x="8906" y="11406"/>
                  <a:pt x="8906" y="11406"/>
                </a:cubicBezTo>
                <a:cubicBezTo>
                  <a:pt x="8875" y="11374"/>
                  <a:pt x="8844" y="11406"/>
                  <a:pt x="8813" y="11406"/>
                </a:cubicBezTo>
                <a:cubicBezTo>
                  <a:pt x="8844" y="11468"/>
                  <a:pt x="8938" y="11468"/>
                  <a:pt x="8969" y="11531"/>
                </a:cubicBezTo>
                <a:cubicBezTo>
                  <a:pt x="8938" y="11562"/>
                  <a:pt x="8906" y="11531"/>
                  <a:pt x="8906" y="11531"/>
                </a:cubicBezTo>
                <a:cubicBezTo>
                  <a:pt x="8594" y="11406"/>
                  <a:pt x="8250" y="11374"/>
                  <a:pt x="7938" y="11281"/>
                </a:cubicBezTo>
                <a:cubicBezTo>
                  <a:pt x="7813" y="11218"/>
                  <a:pt x="7656" y="11187"/>
                  <a:pt x="7531" y="11156"/>
                </a:cubicBezTo>
                <a:cubicBezTo>
                  <a:pt x="7469" y="11124"/>
                  <a:pt x="7469" y="11124"/>
                  <a:pt x="7500" y="11062"/>
                </a:cubicBezTo>
                <a:cubicBezTo>
                  <a:pt x="7594" y="10843"/>
                  <a:pt x="7656" y="10593"/>
                  <a:pt x="7719" y="10343"/>
                </a:cubicBezTo>
                <a:cubicBezTo>
                  <a:pt x="7750" y="10250"/>
                  <a:pt x="7781" y="10156"/>
                  <a:pt x="7813" y="10062"/>
                </a:cubicBezTo>
                <a:cubicBezTo>
                  <a:pt x="7844" y="9968"/>
                  <a:pt x="7875" y="9968"/>
                  <a:pt x="7969" y="10031"/>
                </a:cubicBezTo>
                <a:cubicBezTo>
                  <a:pt x="7969" y="10031"/>
                  <a:pt x="7969" y="10031"/>
                  <a:pt x="7969" y="10031"/>
                </a:cubicBezTo>
                <a:cubicBezTo>
                  <a:pt x="8125" y="10062"/>
                  <a:pt x="8313" y="10125"/>
                  <a:pt x="8469" y="10187"/>
                </a:cubicBezTo>
                <a:cubicBezTo>
                  <a:pt x="8906" y="10281"/>
                  <a:pt x="9313" y="10437"/>
                  <a:pt x="9750" y="10531"/>
                </a:cubicBezTo>
                <a:cubicBezTo>
                  <a:pt x="9781" y="10562"/>
                  <a:pt x="9813" y="10562"/>
                  <a:pt x="9844" y="10562"/>
                </a:cubicBezTo>
                <a:cubicBezTo>
                  <a:pt x="9875" y="10593"/>
                  <a:pt x="9875" y="10593"/>
                  <a:pt x="9875" y="10656"/>
                </a:cubicBezTo>
                <a:cubicBezTo>
                  <a:pt x="9813" y="10874"/>
                  <a:pt x="9781" y="11093"/>
                  <a:pt x="9719" y="11281"/>
                </a:cubicBezTo>
                <a:cubicBezTo>
                  <a:pt x="9719" y="11374"/>
                  <a:pt x="9719" y="11437"/>
                  <a:pt x="9594" y="11406"/>
                </a:cubicBezTo>
                <a:cubicBezTo>
                  <a:pt x="9594" y="11406"/>
                  <a:pt x="9563" y="11406"/>
                  <a:pt x="9563" y="11437"/>
                </a:cubicBezTo>
                <a:cubicBezTo>
                  <a:pt x="9531" y="11468"/>
                  <a:pt x="9500" y="11531"/>
                  <a:pt x="9594" y="11531"/>
                </a:cubicBezTo>
                <a:cubicBezTo>
                  <a:pt x="9719" y="11531"/>
                  <a:pt x="9656" y="11624"/>
                  <a:pt x="9656" y="11687"/>
                </a:cubicBezTo>
                <a:cubicBezTo>
                  <a:pt x="9719" y="11593"/>
                  <a:pt x="9688" y="11468"/>
                  <a:pt x="9781" y="11374"/>
                </a:cubicBezTo>
                <a:cubicBezTo>
                  <a:pt x="9813" y="11124"/>
                  <a:pt x="9875" y="10906"/>
                  <a:pt x="9938" y="10656"/>
                </a:cubicBezTo>
                <a:cubicBezTo>
                  <a:pt x="9938" y="10624"/>
                  <a:pt x="9938" y="10593"/>
                  <a:pt x="10000" y="10624"/>
                </a:cubicBezTo>
                <a:cubicBezTo>
                  <a:pt x="10031" y="10624"/>
                  <a:pt x="10094" y="10624"/>
                  <a:pt x="10094" y="10718"/>
                </a:cubicBezTo>
                <a:cubicBezTo>
                  <a:pt x="10031" y="10968"/>
                  <a:pt x="9969" y="11218"/>
                  <a:pt x="9906" y="11468"/>
                </a:cubicBezTo>
                <a:cubicBezTo>
                  <a:pt x="9906" y="11562"/>
                  <a:pt x="9906" y="11624"/>
                  <a:pt x="9875" y="11687"/>
                </a:cubicBezTo>
                <a:cubicBezTo>
                  <a:pt x="9844" y="11718"/>
                  <a:pt x="9875" y="11749"/>
                  <a:pt x="9906" y="11781"/>
                </a:cubicBezTo>
                <a:cubicBezTo>
                  <a:pt x="9906" y="11781"/>
                  <a:pt x="9969" y="11781"/>
                  <a:pt x="9969" y="11812"/>
                </a:cubicBezTo>
                <a:cubicBezTo>
                  <a:pt x="10000" y="11812"/>
                  <a:pt x="10031" y="11812"/>
                  <a:pt x="10031" y="11781"/>
                </a:cubicBezTo>
                <a:cubicBezTo>
                  <a:pt x="9875" y="11718"/>
                  <a:pt x="9875" y="11718"/>
                  <a:pt x="9938" y="11562"/>
                </a:cubicBezTo>
                <a:cubicBezTo>
                  <a:pt x="9969" y="11374"/>
                  <a:pt x="10031" y="11156"/>
                  <a:pt x="10063" y="10968"/>
                </a:cubicBezTo>
                <a:cubicBezTo>
                  <a:pt x="10094" y="10874"/>
                  <a:pt x="10125" y="10812"/>
                  <a:pt x="10125" y="10718"/>
                </a:cubicBezTo>
                <a:cubicBezTo>
                  <a:pt x="10125" y="10687"/>
                  <a:pt x="10125" y="10656"/>
                  <a:pt x="10188" y="10687"/>
                </a:cubicBezTo>
                <a:cubicBezTo>
                  <a:pt x="10563" y="10781"/>
                  <a:pt x="10906" y="10906"/>
                  <a:pt x="11281" y="10999"/>
                </a:cubicBezTo>
                <a:cubicBezTo>
                  <a:pt x="11438" y="11062"/>
                  <a:pt x="11594" y="11093"/>
                  <a:pt x="11750" y="11124"/>
                </a:cubicBezTo>
                <a:cubicBezTo>
                  <a:pt x="11813" y="11156"/>
                  <a:pt x="11813" y="11156"/>
                  <a:pt x="11781" y="11218"/>
                </a:cubicBezTo>
                <a:cubicBezTo>
                  <a:pt x="11750" y="11374"/>
                  <a:pt x="11750" y="11531"/>
                  <a:pt x="11719" y="11718"/>
                </a:cubicBezTo>
                <a:cubicBezTo>
                  <a:pt x="11719" y="11781"/>
                  <a:pt x="11719" y="11874"/>
                  <a:pt x="11656" y="11937"/>
                </a:cubicBezTo>
                <a:cubicBezTo>
                  <a:pt x="11656" y="11937"/>
                  <a:pt x="11656" y="11968"/>
                  <a:pt x="11656" y="11968"/>
                </a:cubicBezTo>
                <a:cubicBezTo>
                  <a:pt x="11656" y="11968"/>
                  <a:pt x="11656" y="11968"/>
                  <a:pt x="11656" y="11968"/>
                </a:cubicBezTo>
                <a:cubicBezTo>
                  <a:pt x="11688" y="11999"/>
                  <a:pt x="11625" y="12093"/>
                  <a:pt x="11719" y="12093"/>
                </a:cubicBezTo>
                <a:cubicBezTo>
                  <a:pt x="11750" y="11812"/>
                  <a:pt x="11781" y="11499"/>
                  <a:pt x="11844" y="11218"/>
                </a:cubicBezTo>
                <a:cubicBezTo>
                  <a:pt x="11844" y="11124"/>
                  <a:pt x="11906" y="11187"/>
                  <a:pt x="11906" y="11187"/>
                </a:cubicBezTo>
                <a:cubicBezTo>
                  <a:pt x="11938" y="11218"/>
                  <a:pt x="12000" y="11156"/>
                  <a:pt x="12000" y="11249"/>
                </a:cubicBezTo>
                <a:cubicBezTo>
                  <a:pt x="11938" y="11437"/>
                  <a:pt x="11938" y="11656"/>
                  <a:pt x="11906" y="11843"/>
                </a:cubicBezTo>
                <a:cubicBezTo>
                  <a:pt x="11906" y="11874"/>
                  <a:pt x="11875" y="11937"/>
                  <a:pt x="11875" y="11999"/>
                </a:cubicBezTo>
                <a:cubicBezTo>
                  <a:pt x="11875" y="11999"/>
                  <a:pt x="11875" y="11999"/>
                  <a:pt x="11875" y="11999"/>
                </a:cubicBezTo>
                <a:cubicBezTo>
                  <a:pt x="11875" y="12062"/>
                  <a:pt x="11875" y="12124"/>
                  <a:pt x="11875" y="12187"/>
                </a:cubicBezTo>
                <a:cubicBezTo>
                  <a:pt x="11906" y="12156"/>
                  <a:pt x="11875" y="12124"/>
                  <a:pt x="11906" y="12093"/>
                </a:cubicBezTo>
                <a:cubicBezTo>
                  <a:pt x="11906" y="12062"/>
                  <a:pt x="11938" y="12062"/>
                  <a:pt x="11938" y="12031"/>
                </a:cubicBezTo>
                <a:cubicBezTo>
                  <a:pt x="11906" y="11999"/>
                  <a:pt x="11906" y="11968"/>
                  <a:pt x="11938" y="11937"/>
                </a:cubicBezTo>
                <a:cubicBezTo>
                  <a:pt x="11969" y="11718"/>
                  <a:pt x="12000" y="11499"/>
                  <a:pt x="12031" y="11281"/>
                </a:cubicBezTo>
                <a:cubicBezTo>
                  <a:pt x="12031" y="11218"/>
                  <a:pt x="12063" y="11218"/>
                  <a:pt x="12094" y="11249"/>
                </a:cubicBezTo>
                <a:cubicBezTo>
                  <a:pt x="12438" y="11343"/>
                  <a:pt x="12813" y="11437"/>
                  <a:pt x="13156" y="11562"/>
                </a:cubicBezTo>
                <a:cubicBezTo>
                  <a:pt x="13313" y="11593"/>
                  <a:pt x="13438" y="11656"/>
                  <a:pt x="13594" y="11687"/>
                </a:cubicBezTo>
                <a:cubicBezTo>
                  <a:pt x="13625" y="11687"/>
                  <a:pt x="13625" y="11687"/>
                  <a:pt x="13656" y="11718"/>
                </a:cubicBezTo>
                <a:cubicBezTo>
                  <a:pt x="14000" y="11781"/>
                  <a:pt x="14313" y="11906"/>
                  <a:pt x="14656" y="11999"/>
                </a:cubicBezTo>
                <a:cubicBezTo>
                  <a:pt x="14688" y="11999"/>
                  <a:pt x="14719" y="11999"/>
                  <a:pt x="14750" y="11999"/>
                </a:cubicBezTo>
                <a:cubicBezTo>
                  <a:pt x="14656" y="11937"/>
                  <a:pt x="14531" y="11906"/>
                  <a:pt x="14406" y="11874"/>
                </a:cubicBezTo>
                <a:cubicBezTo>
                  <a:pt x="13938" y="11749"/>
                  <a:pt x="13469" y="11593"/>
                  <a:pt x="13000" y="11468"/>
                </a:cubicBezTo>
                <a:cubicBezTo>
                  <a:pt x="12625" y="11343"/>
                  <a:pt x="12250" y="11218"/>
                  <a:pt x="11875" y="11124"/>
                </a:cubicBezTo>
                <a:cubicBezTo>
                  <a:pt x="11625" y="11062"/>
                  <a:pt x="11406" y="10968"/>
                  <a:pt x="11188" y="10906"/>
                </a:cubicBezTo>
                <a:cubicBezTo>
                  <a:pt x="10875" y="10812"/>
                  <a:pt x="10594" y="10749"/>
                  <a:pt x="10313" y="10624"/>
                </a:cubicBezTo>
                <a:cubicBezTo>
                  <a:pt x="10250" y="10593"/>
                  <a:pt x="10156" y="10593"/>
                  <a:pt x="10125" y="10562"/>
                </a:cubicBezTo>
                <a:cubicBezTo>
                  <a:pt x="10094" y="10562"/>
                  <a:pt x="10094" y="10562"/>
                  <a:pt x="10094" y="10531"/>
                </a:cubicBezTo>
                <a:cubicBezTo>
                  <a:pt x="10031" y="10562"/>
                  <a:pt x="9969" y="10562"/>
                  <a:pt x="9938" y="10468"/>
                </a:cubicBezTo>
                <a:cubicBezTo>
                  <a:pt x="10031" y="10499"/>
                  <a:pt x="10063" y="10437"/>
                  <a:pt x="10125" y="10406"/>
                </a:cubicBezTo>
                <a:cubicBezTo>
                  <a:pt x="10188" y="10281"/>
                  <a:pt x="10344" y="10218"/>
                  <a:pt x="10406" y="10093"/>
                </a:cubicBezTo>
                <a:cubicBezTo>
                  <a:pt x="10438" y="10031"/>
                  <a:pt x="10500" y="10000"/>
                  <a:pt x="10531" y="9937"/>
                </a:cubicBezTo>
                <a:cubicBezTo>
                  <a:pt x="10563" y="9906"/>
                  <a:pt x="10594" y="9843"/>
                  <a:pt x="10656" y="9875"/>
                </a:cubicBezTo>
                <a:cubicBezTo>
                  <a:pt x="10656" y="9875"/>
                  <a:pt x="10688" y="9875"/>
                  <a:pt x="10688" y="9875"/>
                </a:cubicBezTo>
                <a:cubicBezTo>
                  <a:pt x="10719" y="9812"/>
                  <a:pt x="10656" y="9812"/>
                  <a:pt x="10656" y="9781"/>
                </a:cubicBezTo>
                <a:cubicBezTo>
                  <a:pt x="10719" y="9781"/>
                  <a:pt x="10750" y="9812"/>
                  <a:pt x="10813" y="9812"/>
                </a:cubicBezTo>
                <a:cubicBezTo>
                  <a:pt x="10813" y="9843"/>
                  <a:pt x="10844" y="9843"/>
                  <a:pt x="10844" y="9812"/>
                </a:cubicBezTo>
                <a:cubicBezTo>
                  <a:pt x="10844" y="9812"/>
                  <a:pt x="10844" y="9812"/>
                  <a:pt x="10844" y="9812"/>
                </a:cubicBezTo>
                <a:cubicBezTo>
                  <a:pt x="10813" y="9750"/>
                  <a:pt x="10781" y="9781"/>
                  <a:pt x="10750" y="9750"/>
                </a:cubicBezTo>
                <a:cubicBezTo>
                  <a:pt x="10750" y="9718"/>
                  <a:pt x="10750" y="9718"/>
                  <a:pt x="10719" y="9718"/>
                </a:cubicBezTo>
                <a:lnTo>
                  <a:pt x="10719" y="9718"/>
                </a:lnTo>
                <a:cubicBezTo>
                  <a:pt x="10719" y="9718"/>
                  <a:pt x="10719" y="9750"/>
                  <a:pt x="10719" y="9750"/>
                </a:cubicBezTo>
                <a:cubicBezTo>
                  <a:pt x="10719" y="9750"/>
                  <a:pt x="10750" y="9750"/>
                  <a:pt x="10750" y="9750"/>
                </a:cubicBezTo>
                <a:cubicBezTo>
                  <a:pt x="10813" y="9750"/>
                  <a:pt x="10813" y="9718"/>
                  <a:pt x="10813" y="9687"/>
                </a:cubicBezTo>
                <a:cubicBezTo>
                  <a:pt x="10750" y="9625"/>
                  <a:pt x="10781" y="9625"/>
                  <a:pt x="10813" y="9593"/>
                </a:cubicBezTo>
                <a:cubicBezTo>
                  <a:pt x="10969" y="9406"/>
                  <a:pt x="11094" y="9218"/>
                  <a:pt x="11219" y="9031"/>
                </a:cubicBezTo>
                <a:cubicBezTo>
                  <a:pt x="11250" y="9031"/>
                  <a:pt x="11250" y="9000"/>
                  <a:pt x="11281" y="9000"/>
                </a:cubicBezTo>
                <a:cubicBezTo>
                  <a:pt x="11344" y="9000"/>
                  <a:pt x="11344" y="8968"/>
                  <a:pt x="11313" y="8906"/>
                </a:cubicBezTo>
                <a:cubicBezTo>
                  <a:pt x="11344" y="8906"/>
                  <a:pt x="11344" y="8906"/>
                  <a:pt x="11344" y="8906"/>
                </a:cubicBezTo>
                <a:cubicBezTo>
                  <a:pt x="11375" y="8968"/>
                  <a:pt x="11438" y="8968"/>
                  <a:pt x="11500" y="8968"/>
                </a:cubicBezTo>
                <a:cubicBezTo>
                  <a:pt x="11469" y="8875"/>
                  <a:pt x="11406" y="8906"/>
                  <a:pt x="11375" y="8906"/>
                </a:cubicBezTo>
                <a:cubicBezTo>
                  <a:pt x="11375" y="8875"/>
                  <a:pt x="11438" y="8875"/>
                  <a:pt x="11406" y="8812"/>
                </a:cubicBezTo>
                <a:cubicBezTo>
                  <a:pt x="11531" y="8656"/>
                  <a:pt x="11625" y="8531"/>
                  <a:pt x="11719" y="8375"/>
                </a:cubicBezTo>
                <a:cubicBezTo>
                  <a:pt x="11750" y="8312"/>
                  <a:pt x="11781" y="8281"/>
                  <a:pt x="11844" y="8250"/>
                </a:cubicBezTo>
                <a:cubicBezTo>
                  <a:pt x="11844" y="8250"/>
                  <a:pt x="11844" y="8218"/>
                  <a:pt x="11875" y="8250"/>
                </a:cubicBezTo>
                <a:cubicBezTo>
                  <a:pt x="11906" y="8250"/>
                  <a:pt x="11906" y="8250"/>
                  <a:pt x="11906" y="8281"/>
                </a:cubicBezTo>
                <a:cubicBezTo>
                  <a:pt x="11906" y="8250"/>
                  <a:pt x="11906" y="8250"/>
                  <a:pt x="11938" y="8250"/>
                </a:cubicBezTo>
                <a:cubicBezTo>
                  <a:pt x="11938" y="8250"/>
                  <a:pt x="11969" y="8250"/>
                  <a:pt x="11969" y="8250"/>
                </a:cubicBezTo>
                <a:cubicBezTo>
                  <a:pt x="12094" y="8312"/>
                  <a:pt x="12250" y="8375"/>
                  <a:pt x="12375" y="8406"/>
                </a:cubicBezTo>
                <a:cubicBezTo>
                  <a:pt x="12438" y="8406"/>
                  <a:pt x="12469" y="8406"/>
                  <a:pt x="12500" y="8437"/>
                </a:cubicBezTo>
                <a:cubicBezTo>
                  <a:pt x="12531" y="8468"/>
                  <a:pt x="12594" y="8468"/>
                  <a:pt x="12594" y="8531"/>
                </a:cubicBezTo>
                <a:cubicBezTo>
                  <a:pt x="12625" y="8531"/>
                  <a:pt x="12656" y="8531"/>
                  <a:pt x="12688" y="8593"/>
                </a:cubicBezTo>
                <a:cubicBezTo>
                  <a:pt x="12688" y="8593"/>
                  <a:pt x="12719" y="8562"/>
                  <a:pt x="12719" y="8562"/>
                </a:cubicBezTo>
                <a:cubicBezTo>
                  <a:pt x="12719" y="8562"/>
                  <a:pt x="12719" y="8531"/>
                  <a:pt x="12719" y="8531"/>
                </a:cubicBezTo>
                <a:cubicBezTo>
                  <a:pt x="12906" y="8593"/>
                  <a:pt x="13063" y="8656"/>
                  <a:pt x="13219" y="8687"/>
                </a:cubicBezTo>
                <a:cubicBezTo>
                  <a:pt x="13250" y="8718"/>
                  <a:pt x="13281" y="8718"/>
                  <a:pt x="13344" y="8718"/>
                </a:cubicBezTo>
                <a:cubicBezTo>
                  <a:pt x="13375" y="8750"/>
                  <a:pt x="13438" y="8781"/>
                  <a:pt x="13500" y="8781"/>
                </a:cubicBezTo>
                <a:cubicBezTo>
                  <a:pt x="13469" y="8812"/>
                  <a:pt x="13438" y="8812"/>
                  <a:pt x="13438" y="8843"/>
                </a:cubicBezTo>
                <a:cubicBezTo>
                  <a:pt x="13469" y="8843"/>
                  <a:pt x="13469" y="8875"/>
                  <a:pt x="13469" y="8906"/>
                </a:cubicBezTo>
                <a:cubicBezTo>
                  <a:pt x="13406" y="9062"/>
                  <a:pt x="13375" y="9218"/>
                  <a:pt x="13344" y="9375"/>
                </a:cubicBezTo>
                <a:cubicBezTo>
                  <a:pt x="13313" y="9437"/>
                  <a:pt x="13313" y="9468"/>
                  <a:pt x="13281" y="9437"/>
                </a:cubicBezTo>
                <a:cubicBezTo>
                  <a:pt x="13281" y="9500"/>
                  <a:pt x="13250" y="9531"/>
                  <a:pt x="13219" y="9500"/>
                </a:cubicBezTo>
                <a:cubicBezTo>
                  <a:pt x="13125" y="9468"/>
                  <a:pt x="13188" y="9531"/>
                  <a:pt x="13188" y="9562"/>
                </a:cubicBezTo>
                <a:cubicBezTo>
                  <a:pt x="13188" y="9562"/>
                  <a:pt x="13219" y="9562"/>
                  <a:pt x="13219" y="9562"/>
                </a:cubicBezTo>
                <a:cubicBezTo>
                  <a:pt x="13250" y="9562"/>
                  <a:pt x="13250" y="9562"/>
                  <a:pt x="13219" y="9593"/>
                </a:cubicBezTo>
                <a:cubicBezTo>
                  <a:pt x="13281" y="9750"/>
                  <a:pt x="13188" y="9875"/>
                  <a:pt x="13156" y="10031"/>
                </a:cubicBezTo>
                <a:cubicBezTo>
                  <a:pt x="13125" y="10125"/>
                  <a:pt x="13094" y="10218"/>
                  <a:pt x="13063" y="10343"/>
                </a:cubicBezTo>
                <a:cubicBezTo>
                  <a:pt x="13063" y="10406"/>
                  <a:pt x="13031" y="10375"/>
                  <a:pt x="13000" y="10375"/>
                </a:cubicBezTo>
                <a:cubicBezTo>
                  <a:pt x="13031" y="10406"/>
                  <a:pt x="12938" y="10406"/>
                  <a:pt x="13000" y="10437"/>
                </a:cubicBezTo>
                <a:cubicBezTo>
                  <a:pt x="13000" y="10468"/>
                  <a:pt x="13000" y="10468"/>
                  <a:pt x="12938" y="10468"/>
                </a:cubicBezTo>
                <a:cubicBezTo>
                  <a:pt x="12906" y="10437"/>
                  <a:pt x="12875" y="10437"/>
                  <a:pt x="12875" y="10468"/>
                </a:cubicBezTo>
                <a:cubicBezTo>
                  <a:pt x="12844" y="10499"/>
                  <a:pt x="12906" y="10499"/>
                  <a:pt x="12906" y="10499"/>
                </a:cubicBezTo>
                <a:cubicBezTo>
                  <a:pt x="12938" y="10531"/>
                  <a:pt x="12938" y="10593"/>
                  <a:pt x="13000" y="10624"/>
                </a:cubicBezTo>
                <a:cubicBezTo>
                  <a:pt x="13000" y="10624"/>
                  <a:pt x="13000" y="10656"/>
                  <a:pt x="12969" y="10687"/>
                </a:cubicBezTo>
                <a:cubicBezTo>
                  <a:pt x="12875" y="10874"/>
                  <a:pt x="12813" y="11093"/>
                  <a:pt x="12750" y="11312"/>
                </a:cubicBezTo>
                <a:cubicBezTo>
                  <a:pt x="12813" y="11312"/>
                  <a:pt x="12906" y="11343"/>
                  <a:pt x="12969" y="11374"/>
                </a:cubicBezTo>
                <a:cubicBezTo>
                  <a:pt x="13156" y="11437"/>
                  <a:pt x="13344" y="11468"/>
                  <a:pt x="13563" y="11531"/>
                </a:cubicBezTo>
                <a:cubicBezTo>
                  <a:pt x="13344" y="11468"/>
                  <a:pt x="13156" y="11437"/>
                  <a:pt x="12969" y="11374"/>
                </a:cubicBezTo>
                <a:cubicBezTo>
                  <a:pt x="13094" y="10968"/>
                  <a:pt x="13219" y="10562"/>
                  <a:pt x="13313" y="10156"/>
                </a:cubicBezTo>
                <a:cubicBezTo>
                  <a:pt x="13438" y="9750"/>
                  <a:pt x="13531" y="9343"/>
                  <a:pt x="13625" y="8906"/>
                </a:cubicBezTo>
                <a:cubicBezTo>
                  <a:pt x="13625" y="8843"/>
                  <a:pt x="13656" y="8843"/>
                  <a:pt x="13688" y="8875"/>
                </a:cubicBezTo>
                <a:cubicBezTo>
                  <a:pt x="13750" y="8875"/>
                  <a:pt x="13813" y="8906"/>
                  <a:pt x="13844" y="8937"/>
                </a:cubicBezTo>
                <a:cubicBezTo>
                  <a:pt x="13875" y="8937"/>
                  <a:pt x="13906" y="8937"/>
                  <a:pt x="13938" y="8906"/>
                </a:cubicBezTo>
                <a:cubicBezTo>
                  <a:pt x="13906" y="8906"/>
                  <a:pt x="13906" y="8906"/>
                  <a:pt x="13906" y="8906"/>
                </a:cubicBezTo>
                <a:cubicBezTo>
                  <a:pt x="13844" y="8875"/>
                  <a:pt x="13813" y="8843"/>
                  <a:pt x="13750" y="8843"/>
                </a:cubicBezTo>
                <a:cubicBezTo>
                  <a:pt x="13719" y="8843"/>
                  <a:pt x="13688" y="8812"/>
                  <a:pt x="13656" y="8781"/>
                </a:cubicBezTo>
                <a:cubicBezTo>
                  <a:pt x="13688" y="8750"/>
                  <a:pt x="13719" y="8781"/>
                  <a:pt x="13750" y="8781"/>
                </a:cubicBezTo>
                <a:cubicBezTo>
                  <a:pt x="13781" y="8781"/>
                  <a:pt x="13813" y="8781"/>
                  <a:pt x="13844" y="8781"/>
                </a:cubicBezTo>
                <a:cubicBezTo>
                  <a:pt x="13844" y="8781"/>
                  <a:pt x="13875" y="8781"/>
                  <a:pt x="13875" y="8781"/>
                </a:cubicBezTo>
                <a:cubicBezTo>
                  <a:pt x="13906" y="8718"/>
                  <a:pt x="13938" y="8750"/>
                  <a:pt x="13969" y="8781"/>
                </a:cubicBezTo>
                <a:cubicBezTo>
                  <a:pt x="13969" y="8718"/>
                  <a:pt x="13938" y="8718"/>
                  <a:pt x="13875" y="8718"/>
                </a:cubicBezTo>
                <a:cubicBezTo>
                  <a:pt x="13844" y="8718"/>
                  <a:pt x="13813" y="8718"/>
                  <a:pt x="13813" y="8718"/>
                </a:cubicBezTo>
                <a:cubicBezTo>
                  <a:pt x="13781" y="8750"/>
                  <a:pt x="13750" y="8750"/>
                  <a:pt x="13719" y="8750"/>
                </a:cubicBezTo>
                <a:cubicBezTo>
                  <a:pt x="13719" y="8750"/>
                  <a:pt x="13688" y="8750"/>
                  <a:pt x="13688" y="8750"/>
                </a:cubicBezTo>
                <a:cubicBezTo>
                  <a:pt x="13625" y="8687"/>
                  <a:pt x="13781" y="8687"/>
                  <a:pt x="13719" y="8625"/>
                </a:cubicBezTo>
                <a:cubicBezTo>
                  <a:pt x="13625" y="8562"/>
                  <a:pt x="13750" y="8562"/>
                  <a:pt x="13750" y="8531"/>
                </a:cubicBezTo>
                <a:cubicBezTo>
                  <a:pt x="13719" y="8531"/>
                  <a:pt x="13719" y="8500"/>
                  <a:pt x="13719" y="8468"/>
                </a:cubicBezTo>
                <a:cubicBezTo>
                  <a:pt x="13719" y="8406"/>
                  <a:pt x="13719" y="8312"/>
                  <a:pt x="13750" y="8250"/>
                </a:cubicBezTo>
                <a:cubicBezTo>
                  <a:pt x="13719" y="8281"/>
                  <a:pt x="13688" y="8312"/>
                  <a:pt x="13656" y="8343"/>
                </a:cubicBezTo>
                <a:cubicBezTo>
                  <a:pt x="13625" y="8312"/>
                  <a:pt x="13688" y="8250"/>
                  <a:pt x="13625" y="8218"/>
                </a:cubicBezTo>
                <a:cubicBezTo>
                  <a:pt x="13625" y="8218"/>
                  <a:pt x="13625" y="8218"/>
                  <a:pt x="13625" y="8250"/>
                </a:cubicBezTo>
                <a:cubicBezTo>
                  <a:pt x="13625" y="8250"/>
                  <a:pt x="13625" y="8250"/>
                  <a:pt x="13625" y="8250"/>
                </a:cubicBezTo>
                <a:cubicBezTo>
                  <a:pt x="13625" y="8281"/>
                  <a:pt x="13563" y="8312"/>
                  <a:pt x="13594" y="8343"/>
                </a:cubicBezTo>
                <a:cubicBezTo>
                  <a:pt x="13594" y="8375"/>
                  <a:pt x="13594" y="8406"/>
                  <a:pt x="13594" y="8437"/>
                </a:cubicBezTo>
                <a:cubicBezTo>
                  <a:pt x="13531" y="8500"/>
                  <a:pt x="13563" y="8593"/>
                  <a:pt x="13531" y="8656"/>
                </a:cubicBezTo>
                <a:cubicBezTo>
                  <a:pt x="13500" y="8687"/>
                  <a:pt x="13469" y="8656"/>
                  <a:pt x="13438" y="8656"/>
                </a:cubicBezTo>
                <a:cubicBezTo>
                  <a:pt x="13406" y="8687"/>
                  <a:pt x="13438" y="8687"/>
                  <a:pt x="13438" y="8718"/>
                </a:cubicBezTo>
                <a:cubicBezTo>
                  <a:pt x="13344" y="8718"/>
                  <a:pt x="13281" y="8656"/>
                  <a:pt x="13219" y="8656"/>
                </a:cubicBezTo>
                <a:cubicBezTo>
                  <a:pt x="13313" y="8625"/>
                  <a:pt x="13406" y="8562"/>
                  <a:pt x="13500" y="8593"/>
                </a:cubicBezTo>
                <a:cubicBezTo>
                  <a:pt x="13500" y="8531"/>
                  <a:pt x="13438" y="8562"/>
                  <a:pt x="13406" y="8531"/>
                </a:cubicBezTo>
                <a:cubicBezTo>
                  <a:pt x="13375" y="8593"/>
                  <a:pt x="13344" y="8531"/>
                  <a:pt x="13313" y="8531"/>
                </a:cubicBezTo>
                <a:cubicBezTo>
                  <a:pt x="13313" y="8531"/>
                  <a:pt x="13313" y="8531"/>
                  <a:pt x="13313" y="8531"/>
                </a:cubicBezTo>
                <a:cubicBezTo>
                  <a:pt x="13313" y="8531"/>
                  <a:pt x="13281" y="8531"/>
                  <a:pt x="13281" y="8531"/>
                </a:cubicBezTo>
                <a:cubicBezTo>
                  <a:pt x="13281" y="8687"/>
                  <a:pt x="13219" y="8531"/>
                  <a:pt x="13188" y="8562"/>
                </a:cubicBezTo>
                <a:cubicBezTo>
                  <a:pt x="13125" y="8531"/>
                  <a:pt x="13063" y="8500"/>
                  <a:pt x="13031" y="8562"/>
                </a:cubicBezTo>
                <a:lnTo>
                  <a:pt x="13031" y="8562"/>
                </a:lnTo>
                <a:cubicBezTo>
                  <a:pt x="13031" y="8625"/>
                  <a:pt x="13094" y="8593"/>
                  <a:pt x="13125" y="8625"/>
                </a:cubicBezTo>
                <a:cubicBezTo>
                  <a:pt x="13188" y="8656"/>
                  <a:pt x="13188" y="8593"/>
                  <a:pt x="13188" y="8562"/>
                </a:cubicBezTo>
                <a:cubicBezTo>
                  <a:pt x="13156" y="8531"/>
                  <a:pt x="13188" y="8500"/>
                  <a:pt x="13188" y="8500"/>
                </a:cubicBezTo>
                <a:cubicBezTo>
                  <a:pt x="13219" y="8468"/>
                  <a:pt x="13250" y="8500"/>
                  <a:pt x="13250" y="8500"/>
                </a:cubicBezTo>
                <a:cubicBezTo>
                  <a:pt x="13250" y="8468"/>
                  <a:pt x="13219" y="8468"/>
                  <a:pt x="13188" y="8468"/>
                </a:cubicBezTo>
                <a:cubicBezTo>
                  <a:pt x="13094" y="8468"/>
                  <a:pt x="13031" y="8500"/>
                  <a:pt x="12969" y="8500"/>
                </a:cubicBezTo>
                <a:cubicBezTo>
                  <a:pt x="12969" y="8500"/>
                  <a:pt x="12938" y="8500"/>
                  <a:pt x="12938" y="8500"/>
                </a:cubicBezTo>
                <a:cubicBezTo>
                  <a:pt x="12906" y="8625"/>
                  <a:pt x="12844" y="8468"/>
                  <a:pt x="12781" y="8500"/>
                </a:cubicBezTo>
                <a:cubicBezTo>
                  <a:pt x="12781" y="8437"/>
                  <a:pt x="12875" y="8468"/>
                  <a:pt x="12875" y="8406"/>
                </a:cubicBezTo>
                <a:cubicBezTo>
                  <a:pt x="12844" y="8343"/>
                  <a:pt x="12781" y="8437"/>
                  <a:pt x="12750" y="8406"/>
                </a:cubicBezTo>
                <a:cubicBezTo>
                  <a:pt x="12690" y="8375"/>
                  <a:pt x="12688" y="8433"/>
                  <a:pt x="12688" y="8465"/>
                </a:cubicBezTo>
                <a:lnTo>
                  <a:pt x="12688" y="8467"/>
                </a:lnTo>
                <a:lnTo>
                  <a:pt x="12688" y="8468"/>
                </a:lnTo>
                <a:cubicBezTo>
                  <a:pt x="12719" y="8437"/>
                  <a:pt x="12719" y="8437"/>
                  <a:pt x="12750" y="8468"/>
                </a:cubicBezTo>
                <a:cubicBezTo>
                  <a:pt x="12750" y="8468"/>
                  <a:pt x="12750" y="8468"/>
                  <a:pt x="12750" y="8468"/>
                </a:cubicBezTo>
                <a:lnTo>
                  <a:pt x="12750" y="8468"/>
                </a:lnTo>
                <a:cubicBezTo>
                  <a:pt x="12719" y="8468"/>
                  <a:pt x="12688" y="8468"/>
                  <a:pt x="12688" y="8468"/>
                </a:cubicBezTo>
                <a:cubicBezTo>
                  <a:pt x="12625" y="8468"/>
                  <a:pt x="12594" y="8406"/>
                  <a:pt x="12500" y="8406"/>
                </a:cubicBezTo>
                <a:cubicBezTo>
                  <a:pt x="12563" y="8375"/>
                  <a:pt x="12625" y="8375"/>
                  <a:pt x="12656" y="8343"/>
                </a:cubicBezTo>
                <a:cubicBezTo>
                  <a:pt x="12719" y="8343"/>
                  <a:pt x="12781" y="8406"/>
                  <a:pt x="12813" y="8312"/>
                </a:cubicBezTo>
                <a:cubicBezTo>
                  <a:pt x="12781" y="8312"/>
                  <a:pt x="12719" y="8281"/>
                  <a:pt x="12688" y="8281"/>
                </a:cubicBezTo>
                <a:cubicBezTo>
                  <a:pt x="12625" y="8312"/>
                  <a:pt x="12563" y="8312"/>
                  <a:pt x="12563" y="8218"/>
                </a:cubicBezTo>
                <a:cubicBezTo>
                  <a:pt x="12531" y="8218"/>
                  <a:pt x="12500" y="8218"/>
                  <a:pt x="12438" y="8187"/>
                </a:cubicBezTo>
                <a:cubicBezTo>
                  <a:pt x="12375" y="8250"/>
                  <a:pt x="12344" y="8218"/>
                  <a:pt x="12313" y="8125"/>
                </a:cubicBezTo>
                <a:cubicBezTo>
                  <a:pt x="12281" y="8093"/>
                  <a:pt x="12250" y="8125"/>
                  <a:pt x="12219" y="8093"/>
                </a:cubicBezTo>
                <a:cubicBezTo>
                  <a:pt x="12188" y="8187"/>
                  <a:pt x="12125" y="8125"/>
                  <a:pt x="12094" y="8125"/>
                </a:cubicBezTo>
                <a:cubicBezTo>
                  <a:pt x="12031" y="8218"/>
                  <a:pt x="12000" y="8125"/>
                  <a:pt x="11938" y="8125"/>
                </a:cubicBezTo>
                <a:cubicBezTo>
                  <a:pt x="11969" y="8031"/>
                  <a:pt x="12031" y="8062"/>
                  <a:pt x="12063" y="8093"/>
                </a:cubicBezTo>
                <a:cubicBezTo>
                  <a:pt x="12063" y="8062"/>
                  <a:pt x="12063" y="8062"/>
                  <a:pt x="12094" y="8031"/>
                </a:cubicBezTo>
                <a:cubicBezTo>
                  <a:pt x="12031" y="8062"/>
                  <a:pt x="12000" y="8000"/>
                  <a:pt x="11938" y="8062"/>
                </a:cubicBezTo>
                <a:cubicBezTo>
                  <a:pt x="11938" y="8062"/>
                  <a:pt x="11938" y="8062"/>
                  <a:pt x="11938" y="8062"/>
                </a:cubicBezTo>
                <a:cubicBezTo>
                  <a:pt x="11906" y="8031"/>
                  <a:pt x="11938" y="8031"/>
                  <a:pt x="11938" y="8000"/>
                </a:cubicBezTo>
                <a:cubicBezTo>
                  <a:pt x="11969" y="7937"/>
                  <a:pt x="12031" y="7968"/>
                  <a:pt x="12063" y="7906"/>
                </a:cubicBezTo>
                <a:cubicBezTo>
                  <a:pt x="12000" y="7843"/>
                  <a:pt x="12094" y="7812"/>
                  <a:pt x="12125" y="7750"/>
                </a:cubicBezTo>
                <a:cubicBezTo>
                  <a:pt x="12094" y="7750"/>
                  <a:pt x="12031" y="7781"/>
                  <a:pt x="12031" y="7718"/>
                </a:cubicBezTo>
                <a:cubicBezTo>
                  <a:pt x="12031" y="7687"/>
                  <a:pt x="12000" y="7687"/>
                  <a:pt x="12000" y="7687"/>
                </a:cubicBezTo>
                <a:cubicBezTo>
                  <a:pt x="11969" y="7718"/>
                  <a:pt x="11938" y="7718"/>
                  <a:pt x="11938" y="7750"/>
                </a:cubicBezTo>
                <a:cubicBezTo>
                  <a:pt x="11938" y="7750"/>
                  <a:pt x="11938" y="7750"/>
                  <a:pt x="11906" y="7750"/>
                </a:cubicBezTo>
                <a:cubicBezTo>
                  <a:pt x="11906" y="7781"/>
                  <a:pt x="11906" y="7781"/>
                  <a:pt x="11906" y="7781"/>
                </a:cubicBezTo>
                <a:cubicBezTo>
                  <a:pt x="11906" y="7812"/>
                  <a:pt x="11906" y="7812"/>
                  <a:pt x="11875" y="7812"/>
                </a:cubicBezTo>
                <a:cubicBezTo>
                  <a:pt x="11875" y="7812"/>
                  <a:pt x="11875" y="7843"/>
                  <a:pt x="11875" y="7843"/>
                </a:cubicBezTo>
                <a:cubicBezTo>
                  <a:pt x="11844" y="7875"/>
                  <a:pt x="11844" y="7906"/>
                  <a:pt x="11813" y="7937"/>
                </a:cubicBezTo>
                <a:cubicBezTo>
                  <a:pt x="11813" y="7875"/>
                  <a:pt x="11813" y="7843"/>
                  <a:pt x="11813" y="7812"/>
                </a:cubicBezTo>
                <a:cubicBezTo>
                  <a:pt x="11813" y="7843"/>
                  <a:pt x="11813" y="7875"/>
                  <a:pt x="11813" y="7937"/>
                </a:cubicBezTo>
                <a:cubicBezTo>
                  <a:pt x="11750" y="8000"/>
                  <a:pt x="11719" y="8062"/>
                  <a:pt x="11688" y="8093"/>
                </a:cubicBezTo>
                <a:cubicBezTo>
                  <a:pt x="11656" y="8125"/>
                  <a:pt x="11688" y="8187"/>
                  <a:pt x="11625" y="8187"/>
                </a:cubicBezTo>
                <a:cubicBezTo>
                  <a:pt x="11625" y="8187"/>
                  <a:pt x="11625" y="8187"/>
                  <a:pt x="11625" y="8187"/>
                </a:cubicBezTo>
                <a:cubicBezTo>
                  <a:pt x="11625" y="8218"/>
                  <a:pt x="11625" y="8218"/>
                  <a:pt x="11594" y="8218"/>
                </a:cubicBezTo>
                <a:cubicBezTo>
                  <a:pt x="11563" y="8281"/>
                  <a:pt x="11531" y="8343"/>
                  <a:pt x="11500" y="8375"/>
                </a:cubicBezTo>
                <a:cubicBezTo>
                  <a:pt x="11500" y="8406"/>
                  <a:pt x="11469" y="8406"/>
                  <a:pt x="11438" y="8406"/>
                </a:cubicBezTo>
                <a:cubicBezTo>
                  <a:pt x="11406" y="8500"/>
                  <a:pt x="11344" y="8593"/>
                  <a:pt x="11281" y="8656"/>
                </a:cubicBezTo>
                <a:cubicBezTo>
                  <a:pt x="11250" y="8687"/>
                  <a:pt x="11250" y="8781"/>
                  <a:pt x="11188" y="8781"/>
                </a:cubicBezTo>
                <a:cubicBezTo>
                  <a:pt x="11188" y="8781"/>
                  <a:pt x="11188" y="8812"/>
                  <a:pt x="11188" y="8812"/>
                </a:cubicBezTo>
                <a:cubicBezTo>
                  <a:pt x="11188" y="8812"/>
                  <a:pt x="11188" y="8843"/>
                  <a:pt x="11156" y="8843"/>
                </a:cubicBezTo>
                <a:cubicBezTo>
                  <a:pt x="11156" y="8843"/>
                  <a:pt x="11156" y="8843"/>
                  <a:pt x="11156" y="8843"/>
                </a:cubicBezTo>
                <a:cubicBezTo>
                  <a:pt x="11094" y="8968"/>
                  <a:pt x="11000" y="9062"/>
                  <a:pt x="10906" y="9187"/>
                </a:cubicBezTo>
                <a:cubicBezTo>
                  <a:pt x="10781" y="9312"/>
                  <a:pt x="10688" y="9468"/>
                  <a:pt x="10563" y="9625"/>
                </a:cubicBezTo>
                <a:cubicBezTo>
                  <a:pt x="10563" y="9625"/>
                  <a:pt x="10531" y="9625"/>
                  <a:pt x="10500" y="9625"/>
                </a:cubicBezTo>
                <a:cubicBezTo>
                  <a:pt x="10563" y="9531"/>
                  <a:pt x="10594" y="9437"/>
                  <a:pt x="10656" y="9343"/>
                </a:cubicBezTo>
                <a:cubicBezTo>
                  <a:pt x="10844" y="8875"/>
                  <a:pt x="10969" y="8406"/>
                  <a:pt x="11188" y="7937"/>
                </a:cubicBezTo>
                <a:cubicBezTo>
                  <a:pt x="11313" y="7593"/>
                  <a:pt x="11469" y="7250"/>
                  <a:pt x="11594" y="6875"/>
                </a:cubicBezTo>
                <a:cubicBezTo>
                  <a:pt x="11625" y="6812"/>
                  <a:pt x="11688" y="6750"/>
                  <a:pt x="11781" y="6750"/>
                </a:cubicBezTo>
                <a:cubicBezTo>
                  <a:pt x="11938" y="6687"/>
                  <a:pt x="12063" y="6625"/>
                  <a:pt x="12219" y="6593"/>
                </a:cubicBezTo>
                <a:cubicBezTo>
                  <a:pt x="12344" y="6562"/>
                  <a:pt x="12375" y="6500"/>
                  <a:pt x="12406" y="6406"/>
                </a:cubicBezTo>
                <a:cubicBezTo>
                  <a:pt x="12406" y="6281"/>
                  <a:pt x="12406" y="6187"/>
                  <a:pt x="12531" y="6125"/>
                </a:cubicBezTo>
                <a:cubicBezTo>
                  <a:pt x="12531" y="6250"/>
                  <a:pt x="12406" y="6343"/>
                  <a:pt x="12438" y="6468"/>
                </a:cubicBezTo>
                <a:cubicBezTo>
                  <a:pt x="12500" y="6468"/>
                  <a:pt x="12500" y="6531"/>
                  <a:pt x="12531" y="6562"/>
                </a:cubicBezTo>
                <a:lnTo>
                  <a:pt x="12531" y="6562"/>
                </a:lnTo>
                <a:cubicBezTo>
                  <a:pt x="12563" y="6468"/>
                  <a:pt x="12625" y="6343"/>
                  <a:pt x="12625" y="6218"/>
                </a:cubicBezTo>
                <a:cubicBezTo>
                  <a:pt x="12625" y="6312"/>
                  <a:pt x="12500" y="6281"/>
                  <a:pt x="12531" y="6375"/>
                </a:cubicBezTo>
                <a:cubicBezTo>
                  <a:pt x="12531" y="6437"/>
                  <a:pt x="12500" y="6468"/>
                  <a:pt x="12438" y="6468"/>
                </a:cubicBezTo>
                <a:cubicBezTo>
                  <a:pt x="12375" y="6500"/>
                  <a:pt x="12406" y="6562"/>
                  <a:pt x="12406" y="6625"/>
                </a:cubicBezTo>
                <a:cubicBezTo>
                  <a:pt x="12406" y="6593"/>
                  <a:pt x="12406" y="6531"/>
                  <a:pt x="12469" y="6593"/>
                </a:cubicBezTo>
                <a:cubicBezTo>
                  <a:pt x="12469" y="6625"/>
                  <a:pt x="12594" y="6687"/>
                  <a:pt x="12625" y="6562"/>
                </a:cubicBezTo>
                <a:cubicBezTo>
                  <a:pt x="12625" y="6531"/>
                  <a:pt x="12656" y="6531"/>
                  <a:pt x="12688" y="6562"/>
                </a:cubicBezTo>
                <a:cubicBezTo>
                  <a:pt x="12750" y="6562"/>
                  <a:pt x="12781" y="6562"/>
                  <a:pt x="12813" y="6500"/>
                </a:cubicBezTo>
                <a:cubicBezTo>
                  <a:pt x="12781" y="6500"/>
                  <a:pt x="12750" y="6500"/>
                  <a:pt x="12750" y="6500"/>
                </a:cubicBezTo>
                <a:cubicBezTo>
                  <a:pt x="12719" y="6500"/>
                  <a:pt x="12656" y="6500"/>
                  <a:pt x="12688" y="6468"/>
                </a:cubicBezTo>
                <a:cubicBezTo>
                  <a:pt x="12688" y="6406"/>
                  <a:pt x="12719" y="6406"/>
                  <a:pt x="12750" y="6437"/>
                </a:cubicBezTo>
                <a:cubicBezTo>
                  <a:pt x="12750" y="6437"/>
                  <a:pt x="12781" y="6437"/>
                  <a:pt x="12781" y="6406"/>
                </a:cubicBezTo>
                <a:cubicBezTo>
                  <a:pt x="12875" y="6375"/>
                  <a:pt x="12875" y="6437"/>
                  <a:pt x="12875" y="6468"/>
                </a:cubicBezTo>
                <a:cubicBezTo>
                  <a:pt x="12938" y="6531"/>
                  <a:pt x="12969" y="6468"/>
                  <a:pt x="13000" y="6437"/>
                </a:cubicBezTo>
                <a:cubicBezTo>
                  <a:pt x="13031" y="6406"/>
                  <a:pt x="12969" y="6406"/>
                  <a:pt x="12938" y="6375"/>
                </a:cubicBezTo>
                <a:cubicBezTo>
                  <a:pt x="12875" y="6375"/>
                  <a:pt x="12844" y="6343"/>
                  <a:pt x="12813" y="6343"/>
                </a:cubicBezTo>
                <a:cubicBezTo>
                  <a:pt x="12719" y="6312"/>
                  <a:pt x="12719" y="6250"/>
                  <a:pt x="12781" y="6187"/>
                </a:cubicBezTo>
                <a:cubicBezTo>
                  <a:pt x="12813" y="6156"/>
                  <a:pt x="12844" y="6156"/>
                  <a:pt x="12813" y="6093"/>
                </a:cubicBezTo>
                <a:cubicBezTo>
                  <a:pt x="12781" y="6031"/>
                  <a:pt x="12844" y="6000"/>
                  <a:pt x="12906" y="6000"/>
                </a:cubicBezTo>
                <a:cubicBezTo>
                  <a:pt x="12906" y="6000"/>
                  <a:pt x="12875" y="5968"/>
                  <a:pt x="12875" y="5937"/>
                </a:cubicBezTo>
                <a:cubicBezTo>
                  <a:pt x="12938" y="5937"/>
                  <a:pt x="12969" y="5937"/>
                  <a:pt x="13000" y="5937"/>
                </a:cubicBezTo>
                <a:cubicBezTo>
                  <a:pt x="13031" y="5937"/>
                  <a:pt x="13063" y="5968"/>
                  <a:pt x="13094" y="5937"/>
                </a:cubicBezTo>
                <a:cubicBezTo>
                  <a:pt x="13094" y="5906"/>
                  <a:pt x="13094" y="5875"/>
                  <a:pt x="13063" y="5843"/>
                </a:cubicBezTo>
                <a:cubicBezTo>
                  <a:pt x="13031" y="5812"/>
                  <a:pt x="13031" y="5750"/>
                  <a:pt x="12969" y="5750"/>
                </a:cubicBezTo>
                <a:cubicBezTo>
                  <a:pt x="12938" y="5750"/>
                  <a:pt x="12938" y="5750"/>
                  <a:pt x="12938" y="5750"/>
                </a:cubicBezTo>
                <a:cubicBezTo>
                  <a:pt x="12969" y="5687"/>
                  <a:pt x="12906" y="5593"/>
                  <a:pt x="13000" y="5593"/>
                </a:cubicBezTo>
                <a:cubicBezTo>
                  <a:pt x="13094" y="5593"/>
                  <a:pt x="13063" y="5562"/>
                  <a:pt x="13031" y="5531"/>
                </a:cubicBezTo>
                <a:cubicBezTo>
                  <a:pt x="13000" y="5500"/>
                  <a:pt x="13000" y="5468"/>
                  <a:pt x="13000" y="5437"/>
                </a:cubicBezTo>
                <a:cubicBezTo>
                  <a:pt x="13000" y="5437"/>
                  <a:pt x="13031" y="5406"/>
                  <a:pt x="13063" y="5406"/>
                </a:cubicBezTo>
                <a:cubicBezTo>
                  <a:pt x="13094" y="5406"/>
                  <a:pt x="13156" y="5406"/>
                  <a:pt x="13188" y="5343"/>
                </a:cubicBezTo>
                <a:cubicBezTo>
                  <a:pt x="13188" y="5343"/>
                  <a:pt x="13219" y="5312"/>
                  <a:pt x="13250" y="5312"/>
                </a:cubicBezTo>
                <a:cubicBezTo>
                  <a:pt x="13281" y="5312"/>
                  <a:pt x="13344" y="5281"/>
                  <a:pt x="13313" y="5250"/>
                </a:cubicBezTo>
                <a:cubicBezTo>
                  <a:pt x="13313" y="5218"/>
                  <a:pt x="13281" y="5187"/>
                  <a:pt x="13250" y="5187"/>
                </a:cubicBezTo>
                <a:cubicBezTo>
                  <a:pt x="13188" y="5187"/>
                  <a:pt x="13156" y="5125"/>
                  <a:pt x="13094" y="5156"/>
                </a:cubicBezTo>
                <a:cubicBezTo>
                  <a:pt x="13156" y="5093"/>
                  <a:pt x="13094" y="5000"/>
                  <a:pt x="13156" y="4968"/>
                </a:cubicBezTo>
                <a:cubicBezTo>
                  <a:pt x="13156" y="4968"/>
                  <a:pt x="13156" y="4968"/>
                  <a:pt x="13156" y="4968"/>
                </a:cubicBezTo>
                <a:lnTo>
                  <a:pt x="13156" y="4968"/>
                </a:lnTo>
                <a:cubicBezTo>
                  <a:pt x="13156" y="5000"/>
                  <a:pt x="13156" y="5000"/>
                  <a:pt x="13188" y="5031"/>
                </a:cubicBezTo>
                <a:cubicBezTo>
                  <a:pt x="13188" y="5031"/>
                  <a:pt x="13219" y="5000"/>
                  <a:pt x="13219" y="5000"/>
                </a:cubicBezTo>
                <a:cubicBezTo>
                  <a:pt x="13219" y="4968"/>
                  <a:pt x="13250" y="4968"/>
                  <a:pt x="13250" y="4937"/>
                </a:cubicBezTo>
                <a:cubicBezTo>
                  <a:pt x="13250" y="4968"/>
                  <a:pt x="13219" y="4968"/>
                  <a:pt x="13219" y="5000"/>
                </a:cubicBezTo>
                <a:cubicBezTo>
                  <a:pt x="13219" y="4968"/>
                  <a:pt x="13188" y="4968"/>
                  <a:pt x="13156" y="4968"/>
                </a:cubicBezTo>
                <a:cubicBezTo>
                  <a:pt x="13156" y="4968"/>
                  <a:pt x="13156" y="4968"/>
                  <a:pt x="13156" y="4968"/>
                </a:cubicBezTo>
                <a:cubicBezTo>
                  <a:pt x="13156" y="4937"/>
                  <a:pt x="13156" y="4875"/>
                  <a:pt x="13188" y="4875"/>
                </a:cubicBezTo>
                <a:cubicBezTo>
                  <a:pt x="13188" y="4781"/>
                  <a:pt x="13250" y="4781"/>
                  <a:pt x="13313" y="4781"/>
                </a:cubicBezTo>
                <a:cubicBezTo>
                  <a:pt x="13375" y="4750"/>
                  <a:pt x="13375" y="4718"/>
                  <a:pt x="13344" y="4656"/>
                </a:cubicBezTo>
                <a:cubicBezTo>
                  <a:pt x="13313" y="4656"/>
                  <a:pt x="13281" y="4625"/>
                  <a:pt x="13281" y="4625"/>
                </a:cubicBezTo>
                <a:cubicBezTo>
                  <a:pt x="13281" y="4531"/>
                  <a:pt x="13281" y="4437"/>
                  <a:pt x="13313" y="4343"/>
                </a:cubicBezTo>
                <a:cubicBezTo>
                  <a:pt x="13281" y="4312"/>
                  <a:pt x="13375" y="4343"/>
                  <a:pt x="13313" y="4281"/>
                </a:cubicBezTo>
                <a:cubicBezTo>
                  <a:pt x="13313" y="4250"/>
                  <a:pt x="13281" y="4218"/>
                  <a:pt x="13250" y="4218"/>
                </a:cubicBezTo>
                <a:cubicBezTo>
                  <a:pt x="13219" y="4250"/>
                  <a:pt x="13188" y="4281"/>
                  <a:pt x="13219" y="4312"/>
                </a:cubicBezTo>
                <a:cubicBezTo>
                  <a:pt x="13219" y="4343"/>
                  <a:pt x="13219" y="4375"/>
                  <a:pt x="13188" y="4375"/>
                </a:cubicBezTo>
                <a:cubicBezTo>
                  <a:pt x="13094" y="4406"/>
                  <a:pt x="13125" y="4468"/>
                  <a:pt x="13125" y="4562"/>
                </a:cubicBezTo>
                <a:cubicBezTo>
                  <a:pt x="13125" y="4656"/>
                  <a:pt x="13094" y="4781"/>
                  <a:pt x="13063" y="4875"/>
                </a:cubicBezTo>
                <a:cubicBezTo>
                  <a:pt x="13063" y="4906"/>
                  <a:pt x="13031" y="4906"/>
                  <a:pt x="13031" y="4906"/>
                </a:cubicBezTo>
                <a:cubicBezTo>
                  <a:pt x="13000" y="4906"/>
                  <a:pt x="13000" y="4937"/>
                  <a:pt x="13000" y="4968"/>
                </a:cubicBezTo>
                <a:cubicBezTo>
                  <a:pt x="13094" y="5000"/>
                  <a:pt x="13031" y="5062"/>
                  <a:pt x="13000" y="5093"/>
                </a:cubicBezTo>
                <a:cubicBezTo>
                  <a:pt x="12969" y="5218"/>
                  <a:pt x="12969" y="5343"/>
                  <a:pt x="12875" y="5437"/>
                </a:cubicBezTo>
                <a:cubicBezTo>
                  <a:pt x="12813" y="5500"/>
                  <a:pt x="12875" y="5531"/>
                  <a:pt x="12875" y="5593"/>
                </a:cubicBezTo>
                <a:cubicBezTo>
                  <a:pt x="12813" y="5750"/>
                  <a:pt x="12781" y="5937"/>
                  <a:pt x="12688" y="6062"/>
                </a:cubicBezTo>
                <a:cubicBezTo>
                  <a:pt x="12656" y="6093"/>
                  <a:pt x="12656" y="6125"/>
                  <a:pt x="12656" y="6156"/>
                </a:cubicBezTo>
                <a:cubicBezTo>
                  <a:pt x="12688" y="6187"/>
                  <a:pt x="12688" y="6187"/>
                  <a:pt x="12656" y="6187"/>
                </a:cubicBezTo>
                <a:cubicBezTo>
                  <a:pt x="12625" y="6187"/>
                  <a:pt x="12625" y="6156"/>
                  <a:pt x="12625" y="6156"/>
                </a:cubicBezTo>
                <a:cubicBezTo>
                  <a:pt x="12625" y="6125"/>
                  <a:pt x="12625" y="6125"/>
                  <a:pt x="12625" y="6093"/>
                </a:cubicBezTo>
                <a:cubicBezTo>
                  <a:pt x="12719" y="5968"/>
                  <a:pt x="12719" y="5781"/>
                  <a:pt x="12781" y="5625"/>
                </a:cubicBezTo>
                <a:cubicBezTo>
                  <a:pt x="12813" y="5531"/>
                  <a:pt x="12813" y="5406"/>
                  <a:pt x="12844" y="5281"/>
                </a:cubicBezTo>
                <a:cubicBezTo>
                  <a:pt x="12906" y="5125"/>
                  <a:pt x="12938" y="4937"/>
                  <a:pt x="13000" y="4781"/>
                </a:cubicBezTo>
                <a:cubicBezTo>
                  <a:pt x="13000" y="4718"/>
                  <a:pt x="13000" y="4625"/>
                  <a:pt x="13031" y="4531"/>
                </a:cubicBezTo>
                <a:cubicBezTo>
                  <a:pt x="12906" y="4562"/>
                  <a:pt x="12844" y="4718"/>
                  <a:pt x="12875" y="4843"/>
                </a:cubicBezTo>
                <a:cubicBezTo>
                  <a:pt x="12906" y="4937"/>
                  <a:pt x="12906" y="5000"/>
                  <a:pt x="12813" y="5062"/>
                </a:cubicBezTo>
                <a:cubicBezTo>
                  <a:pt x="12781" y="5093"/>
                  <a:pt x="12781" y="5156"/>
                  <a:pt x="12781" y="5187"/>
                </a:cubicBezTo>
                <a:cubicBezTo>
                  <a:pt x="12781" y="5250"/>
                  <a:pt x="12719" y="5312"/>
                  <a:pt x="12688" y="5375"/>
                </a:cubicBezTo>
                <a:cubicBezTo>
                  <a:pt x="12719" y="5281"/>
                  <a:pt x="12750" y="5156"/>
                  <a:pt x="12750" y="5062"/>
                </a:cubicBezTo>
                <a:cubicBezTo>
                  <a:pt x="12813" y="4875"/>
                  <a:pt x="12875" y="4656"/>
                  <a:pt x="12906" y="4437"/>
                </a:cubicBezTo>
                <a:cubicBezTo>
                  <a:pt x="12969" y="4187"/>
                  <a:pt x="13031" y="3968"/>
                  <a:pt x="13094" y="3718"/>
                </a:cubicBezTo>
                <a:cubicBezTo>
                  <a:pt x="13219" y="3312"/>
                  <a:pt x="13313" y="2906"/>
                  <a:pt x="13406" y="2468"/>
                </a:cubicBezTo>
                <a:cubicBezTo>
                  <a:pt x="13500" y="2187"/>
                  <a:pt x="13563" y="1906"/>
                  <a:pt x="13625" y="1593"/>
                </a:cubicBezTo>
                <a:cubicBezTo>
                  <a:pt x="13625" y="1531"/>
                  <a:pt x="13625" y="1500"/>
                  <a:pt x="13563" y="1468"/>
                </a:cubicBezTo>
                <a:cubicBezTo>
                  <a:pt x="13531" y="1468"/>
                  <a:pt x="13531" y="1468"/>
                  <a:pt x="13531" y="1468"/>
                </a:cubicBezTo>
                <a:cubicBezTo>
                  <a:pt x="13438" y="1343"/>
                  <a:pt x="13406" y="1062"/>
                  <a:pt x="13469" y="937"/>
                </a:cubicBezTo>
                <a:cubicBezTo>
                  <a:pt x="13563" y="750"/>
                  <a:pt x="13625" y="562"/>
                  <a:pt x="13688" y="343"/>
                </a:cubicBezTo>
                <a:cubicBezTo>
                  <a:pt x="13781" y="468"/>
                  <a:pt x="13875" y="562"/>
                  <a:pt x="13875" y="718"/>
                </a:cubicBezTo>
                <a:cubicBezTo>
                  <a:pt x="13938" y="718"/>
                  <a:pt x="13938" y="750"/>
                  <a:pt x="13938" y="781"/>
                </a:cubicBezTo>
                <a:cubicBezTo>
                  <a:pt x="13875" y="937"/>
                  <a:pt x="13844" y="1093"/>
                  <a:pt x="13813" y="1250"/>
                </a:cubicBezTo>
                <a:cubicBezTo>
                  <a:pt x="13781" y="1437"/>
                  <a:pt x="13750" y="1625"/>
                  <a:pt x="13719" y="1812"/>
                </a:cubicBezTo>
                <a:cubicBezTo>
                  <a:pt x="13688" y="2000"/>
                  <a:pt x="13625" y="2187"/>
                  <a:pt x="13594" y="2375"/>
                </a:cubicBezTo>
                <a:cubicBezTo>
                  <a:pt x="13594" y="2531"/>
                  <a:pt x="13563" y="2687"/>
                  <a:pt x="13500" y="2843"/>
                </a:cubicBezTo>
                <a:cubicBezTo>
                  <a:pt x="13469" y="2968"/>
                  <a:pt x="13594" y="2906"/>
                  <a:pt x="13594" y="2937"/>
                </a:cubicBezTo>
                <a:cubicBezTo>
                  <a:pt x="13656" y="3031"/>
                  <a:pt x="13688" y="2937"/>
                  <a:pt x="13719" y="2906"/>
                </a:cubicBezTo>
                <a:cubicBezTo>
                  <a:pt x="13719" y="2906"/>
                  <a:pt x="13688" y="2906"/>
                  <a:pt x="13688" y="2875"/>
                </a:cubicBezTo>
                <a:cubicBezTo>
                  <a:pt x="13688" y="2843"/>
                  <a:pt x="13594" y="2906"/>
                  <a:pt x="13625" y="2843"/>
                </a:cubicBezTo>
                <a:cubicBezTo>
                  <a:pt x="13656" y="2781"/>
                  <a:pt x="13594" y="2656"/>
                  <a:pt x="13688" y="2593"/>
                </a:cubicBezTo>
                <a:cubicBezTo>
                  <a:pt x="13719" y="2593"/>
                  <a:pt x="13719" y="2593"/>
                  <a:pt x="13719" y="2562"/>
                </a:cubicBezTo>
                <a:cubicBezTo>
                  <a:pt x="13719" y="2562"/>
                  <a:pt x="13719" y="2562"/>
                  <a:pt x="13719" y="2562"/>
                </a:cubicBezTo>
                <a:cubicBezTo>
                  <a:pt x="13688" y="2562"/>
                  <a:pt x="13688" y="2562"/>
                  <a:pt x="13688" y="2593"/>
                </a:cubicBezTo>
                <a:cubicBezTo>
                  <a:pt x="13656" y="2593"/>
                  <a:pt x="13656" y="2562"/>
                  <a:pt x="13656" y="2531"/>
                </a:cubicBezTo>
                <a:cubicBezTo>
                  <a:pt x="13688" y="2437"/>
                  <a:pt x="13688" y="2312"/>
                  <a:pt x="13781" y="2281"/>
                </a:cubicBezTo>
                <a:cubicBezTo>
                  <a:pt x="13750" y="2281"/>
                  <a:pt x="13719" y="2281"/>
                  <a:pt x="13719" y="2250"/>
                </a:cubicBezTo>
                <a:cubicBezTo>
                  <a:pt x="13750" y="2187"/>
                  <a:pt x="13719" y="2093"/>
                  <a:pt x="13781" y="2062"/>
                </a:cubicBezTo>
                <a:cubicBezTo>
                  <a:pt x="13781" y="1906"/>
                  <a:pt x="13813" y="1781"/>
                  <a:pt x="13844" y="1625"/>
                </a:cubicBezTo>
                <a:cubicBezTo>
                  <a:pt x="13844" y="1593"/>
                  <a:pt x="13844" y="1531"/>
                  <a:pt x="13906" y="1500"/>
                </a:cubicBezTo>
                <a:cubicBezTo>
                  <a:pt x="13844" y="1468"/>
                  <a:pt x="13844" y="1406"/>
                  <a:pt x="13906" y="1343"/>
                </a:cubicBezTo>
                <a:cubicBezTo>
                  <a:pt x="13969" y="1343"/>
                  <a:pt x="14000" y="1343"/>
                  <a:pt x="14063" y="1375"/>
                </a:cubicBezTo>
                <a:cubicBezTo>
                  <a:pt x="14000" y="1343"/>
                  <a:pt x="13969" y="1343"/>
                  <a:pt x="13906" y="1343"/>
                </a:cubicBezTo>
                <a:cubicBezTo>
                  <a:pt x="13938" y="1312"/>
                  <a:pt x="13875" y="1312"/>
                  <a:pt x="13906" y="1281"/>
                </a:cubicBezTo>
                <a:cubicBezTo>
                  <a:pt x="13906" y="1218"/>
                  <a:pt x="13875" y="1156"/>
                  <a:pt x="13969" y="1156"/>
                </a:cubicBezTo>
                <a:cubicBezTo>
                  <a:pt x="13938" y="1125"/>
                  <a:pt x="13906" y="1093"/>
                  <a:pt x="13938" y="1062"/>
                </a:cubicBezTo>
                <a:cubicBezTo>
                  <a:pt x="13906" y="1000"/>
                  <a:pt x="14031" y="1000"/>
                  <a:pt x="13969" y="937"/>
                </a:cubicBezTo>
                <a:cubicBezTo>
                  <a:pt x="13938" y="906"/>
                  <a:pt x="14000" y="843"/>
                  <a:pt x="14000" y="781"/>
                </a:cubicBezTo>
                <a:cubicBezTo>
                  <a:pt x="14000" y="781"/>
                  <a:pt x="14000" y="781"/>
                  <a:pt x="14000" y="781"/>
                </a:cubicBezTo>
                <a:cubicBezTo>
                  <a:pt x="13938" y="687"/>
                  <a:pt x="14000" y="625"/>
                  <a:pt x="14031" y="562"/>
                </a:cubicBezTo>
                <a:cubicBezTo>
                  <a:pt x="14031" y="468"/>
                  <a:pt x="14063" y="406"/>
                  <a:pt x="14063" y="312"/>
                </a:cubicBezTo>
                <a:cubicBezTo>
                  <a:pt x="14094" y="250"/>
                  <a:pt x="14094" y="250"/>
                  <a:pt x="14156" y="281"/>
                </a:cubicBezTo>
                <a:cubicBezTo>
                  <a:pt x="14313" y="343"/>
                  <a:pt x="14469" y="437"/>
                  <a:pt x="14656" y="531"/>
                </a:cubicBezTo>
                <a:cubicBezTo>
                  <a:pt x="14625" y="437"/>
                  <a:pt x="14531" y="437"/>
                  <a:pt x="14500" y="406"/>
                </a:cubicBezTo>
                <a:cubicBezTo>
                  <a:pt x="14344" y="312"/>
                  <a:pt x="14188" y="250"/>
                  <a:pt x="14063" y="156"/>
                </a:cubicBezTo>
                <a:cubicBezTo>
                  <a:pt x="14063" y="156"/>
                  <a:pt x="14031" y="156"/>
                  <a:pt x="14031" y="156"/>
                </a:cubicBezTo>
                <a:cubicBezTo>
                  <a:pt x="13938" y="218"/>
                  <a:pt x="13875" y="218"/>
                  <a:pt x="13781" y="218"/>
                </a:cubicBezTo>
                <a:cubicBezTo>
                  <a:pt x="13844" y="187"/>
                  <a:pt x="13875" y="125"/>
                  <a:pt x="13906" y="31"/>
                </a:cubicBezTo>
                <a:cubicBezTo>
                  <a:pt x="13906" y="0"/>
                  <a:pt x="14000" y="0"/>
                  <a:pt x="14031" y="31"/>
                </a:cubicBezTo>
                <a:cubicBezTo>
                  <a:pt x="14094" y="93"/>
                  <a:pt x="14125" y="156"/>
                  <a:pt x="14219" y="93"/>
                </a:cubicBezTo>
                <a:cubicBezTo>
                  <a:pt x="14281" y="62"/>
                  <a:pt x="14281" y="125"/>
                  <a:pt x="14313" y="125"/>
                </a:cubicBezTo>
                <a:cubicBezTo>
                  <a:pt x="14313" y="250"/>
                  <a:pt x="14406" y="250"/>
                  <a:pt x="14469" y="312"/>
                </a:cubicBezTo>
                <a:cubicBezTo>
                  <a:pt x="14594" y="375"/>
                  <a:pt x="14688" y="437"/>
                  <a:pt x="14844" y="437"/>
                </a:cubicBezTo>
                <a:cubicBezTo>
                  <a:pt x="14938" y="406"/>
                  <a:pt x="14938" y="500"/>
                  <a:pt x="14906" y="562"/>
                </a:cubicBezTo>
                <a:cubicBezTo>
                  <a:pt x="14906" y="687"/>
                  <a:pt x="15000" y="781"/>
                  <a:pt x="14969" y="906"/>
                </a:cubicBezTo>
                <a:cubicBezTo>
                  <a:pt x="14969" y="906"/>
                  <a:pt x="14969" y="906"/>
                  <a:pt x="14969" y="937"/>
                </a:cubicBezTo>
                <a:cubicBezTo>
                  <a:pt x="14969" y="968"/>
                  <a:pt x="14938" y="1031"/>
                  <a:pt x="14906" y="1031"/>
                </a:cubicBezTo>
                <a:cubicBezTo>
                  <a:pt x="14906" y="1062"/>
                  <a:pt x="14906" y="1093"/>
                  <a:pt x="14875" y="1125"/>
                </a:cubicBezTo>
                <a:cubicBezTo>
                  <a:pt x="14906" y="1187"/>
                  <a:pt x="14875" y="1250"/>
                  <a:pt x="14813" y="1312"/>
                </a:cubicBezTo>
                <a:cubicBezTo>
                  <a:pt x="14750" y="1375"/>
                  <a:pt x="14781" y="1468"/>
                  <a:pt x="14781" y="1562"/>
                </a:cubicBezTo>
                <a:cubicBezTo>
                  <a:pt x="14781" y="1593"/>
                  <a:pt x="14844" y="1656"/>
                  <a:pt x="14750" y="1656"/>
                </a:cubicBezTo>
                <a:cubicBezTo>
                  <a:pt x="14750" y="1656"/>
                  <a:pt x="14750" y="1687"/>
                  <a:pt x="14750" y="1687"/>
                </a:cubicBezTo>
                <a:cubicBezTo>
                  <a:pt x="14781" y="1718"/>
                  <a:pt x="14813" y="1750"/>
                  <a:pt x="14813" y="1781"/>
                </a:cubicBezTo>
                <a:cubicBezTo>
                  <a:pt x="14813" y="1843"/>
                  <a:pt x="14813" y="1875"/>
                  <a:pt x="14750" y="1875"/>
                </a:cubicBezTo>
                <a:cubicBezTo>
                  <a:pt x="14750" y="1843"/>
                  <a:pt x="14750" y="1812"/>
                  <a:pt x="14719" y="1781"/>
                </a:cubicBezTo>
                <a:cubicBezTo>
                  <a:pt x="14719" y="1750"/>
                  <a:pt x="14750" y="1750"/>
                  <a:pt x="14750" y="1750"/>
                </a:cubicBezTo>
                <a:cubicBezTo>
                  <a:pt x="14750" y="1750"/>
                  <a:pt x="14750" y="1781"/>
                  <a:pt x="14781" y="1781"/>
                </a:cubicBezTo>
                <a:cubicBezTo>
                  <a:pt x="14750" y="1781"/>
                  <a:pt x="14750" y="1750"/>
                  <a:pt x="14750" y="1750"/>
                </a:cubicBezTo>
                <a:cubicBezTo>
                  <a:pt x="14750" y="1750"/>
                  <a:pt x="14750" y="1718"/>
                  <a:pt x="14719" y="1718"/>
                </a:cubicBezTo>
                <a:cubicBezTo>
                  <a:pt x="14719" y="1718"/>
                  <a:pt x="14719" y="1718"/>
                  <a:pt x="14719" y="1718"/>
                </a:cubicBezTo>
                <a:cubicBezTo>
                  <a:pt x="14719" y="1718"/>
                  <a:pt x="14719" y="1718"/>
                  <a:pt x="14719" y="1687"/>
                </a:cubicBezTo>
                <a:cubicBezTo>
                  <a:pt x="14688" y="1687"/>
                  <a:pt x="14688" y="1656"/>
                  <a:pt x="14656" y="1656"/>
                </a:cubicBezTo>
                <a:cubicBezTo>
                  <a:pt x="14688" y="1656"/>
                  <a:pt x="14688" y="1687"/>
                  <a:pt x="14719" y="1687"/>
                </a:cubicBezTo>
                <a:cubicBezTo>
                  <a:pt x="14688" y="1718"/>
                  <a:pt x="14688" y="1718"/>
                  <a:pt x="14688" y="1718"/>
                </a:cubicBezTo>
                <a:cubicBezTo>
                  <a:pt x="14688" y="1718"/>
                  <a:pt x="14656" y="1718"/>
                  <a:pt x="14656" y="1718"/>
                </a:cubicBezTo>
                <a:cubicBezTo>
                  <a:pt x="14656" y="1718"/>
                  <a:pt x="14656" y="1718"/>
                  <a:pt x="14656" y="1718"/>
                </a:cubicBezTo>
                <a:cubicBezTo>
                  <a:pt x="14656" y="1750"/>
                  <a:pt x="14625" y="1781"/>
                  <a:pt x="14625" y="1812"/>
                </a:cubicBezTo>
                <a:cubicBezTo>
                  <a:pt x="14594" y="1812"/>
                  <a:pt x="14563" y="1781"/>
                  <a:pt x="14531" y="1781"/>
                </a:cubicBezTo>
                <a:cubicBezTo>
                  <a:pt x="14563" y="1781"/>
                  <a:pt x="14594" y="1812"/>
                  <a:pt x="14625" y="1812"/>
                </a:cubicBezTo>
                <a:cubicBezTo>
                  <a:pt x="14656" y="1812"/>
                  <a:pt x="14656" y="1812"/>
                  <a:pt x="14688" y="1812"/>
                </a:cubicBezTo>
                <a:cubicBezTo>
                  <a:pt x="14688" y="1843"/>
                  <a:pt x="14688" y="1875"/>
                  <a:pt x="14688" y="1937"/>
                </a:cubicBezTo>
                <a:cubicBezTo>
                  <a:pt x="14688" y="1968"/>
                  <a:pt x="14656" y="1968"/>
                  <a:pt x="14625" y="2000"/>
                </a:cubicBezTo>
                <a:cubicBezTo>
                  <a:pt x="14656" y="2031"/>
                  <a:pt x="14656" y="2062"/>
                  <a:pt x="14719" y="2031"/>
                </a:cubicBezTo>
                <a:cubicBezTo>
                  <a:pt x="14719" y="2031"/>
                  <a:pt x="14719" y="2031"/>
                  <a:pt x="14750" y="2031"/>
                </a:cubicBezTo>
                <a:cubicBezTo>
                  <a:pt x="14750" y="2000"/>
                  <a:pt x="14719" y="2000"/>
                  <a:pt x="14688" y="2000"/>
                </a:cubicBezTo>
                <a:cubicBezTo>
                  <a:pt x="14688" y="2000"/>
                  <a:pt x="14719" y="2000"/>
                  <a:pt x="14719" y="2000"/>
                </a:cubicBezTo>
                <a:cubicBezTo>
                  <a:pt x="14719" y="1937"/>
                  <a:pt x="14719" y="1937"/>
                  <a:pt x="14688" y="1937"/>
                </a:cubicBezTo>
                <a:cubicBezTo>
                  <a:pt x="14688" y="1875"/>
                  <a:pt x="14688" y="1843"/>
                  <a:pt x="14688" y="1812"/>
                </a:cubicBezTo>
                <a:cubicBezTo>
                  <a:pt x="14688" y="1812"/>
                  <a:pt x="14719" y="1781"/>
                  <a:pt x="14719" y="1781"/>
                </a:cubicBezTo>
                <a:cubicBezTo>
                  <a:pt x="14750" y="1812"/>
                  <a:pt x="14750" y="1843"/>
                  <a:pt x="14750" y="1875"/>
                </a:cubicBezTo>
                <a:cubicBezTo>
                  <a:pt x="14750" y="1937"/>
                  <a:pt x="14813" y="1968"/>
                  <a:pt x="14844" y="2000"/>
                </a:cubicBezTo>
                <a:cubicBezTo>
                  <a:pt x="14875" y="2062"/>
                  <a:pt x="14875" y="2093"/>
                  <a:pt x="14813" y="2125"/>
                </a:cubicBezTo>
                <a:cubicBezTo>
                  <a:pt x="14781" y="2125"/>
                  <a:pt x="14781" y="2156"/>
                  <a:pt x="14813" y="2187"/>
                </a:cubicBezTo>
                <a:cubicBezTo>
                  <a:pt x="14813" y="2218"/>
                  <a:pt x="14875" y="2218"/>
                  <a:pt x="14875" y="2281"/>
                </a:cubicBezTo>
                <a:cubicBezTo>
                  <a:pt x="14906" y="2343"/>
                  <a:pt x="14875" y="2375"/>
                  <a:pt x="14813" y="2406"/>
                </a:cubicBezTo>
                <a:cubicBezTo>
                  <a:pt x="14813" y="2437"/>
                  <a:pt x="14813" y="2437"/>
                  <a:pt x="14844" y="2468"/>
                </a:cubicBezTo>
                <a:cubicBezTo>
                  <a:pt x="14906" y="2531"/>
                  <a:pt x="14938" y="2593"/>
                  <a:pt x="14938" y="2687"/>
                </a:cubicBezTo>
                <a:cubicBezTo>
                  <a:pt x="14906" y="2687"/>
                  <a:pt x="14844" y="2687"/>
                  <a:pt x="14813" y="2687"/>
                </a:cubicBezTo>
                <a:cubicBezTo>
                  <a:pt x="14813" y="2718"/>
                  <a:pt x="14844" y="2750"/>
                  <a:pt x="14844" y="2781"/>
                </a:cubicBezTo>
                <a:cubicBezTo>
                  <a:pt x="14844" y="2781"/>
                  <a:pt x="14875" y="2781"/>
                  <a:pt x="14875" y="2750"/>
                </a:cubicBezTo>
                <a:cubicBezTo>
                  <a:pt x="14875" y="2781"/>
                  <a:pt x="14875" y="2812"/>
                  <a:pt x="14875" y="2843"/>
                </a:cubicBezTo>
                <a:cubicBezTo>
                  <a:pt x="14875" y="2843"/>
                  <a:pt x="14875" y="2843"/>
                  <a:pt x="14875" y="2843"/>
                </a:cubicBezTo>
                <a:lnTo>
                  <a:pt x="14875" y="2843"/>
                </a:lnTo>
                <a:cubicBezTo>
                  <a:pt x="14875" y="2812"/>
                  <a:pt x="14844" y="2812"/>
                  <a:pt x="14844" y="2781"/>
                </a:cubicBezTo>
                <a:cubicBezTo>
                  <a:pt x="14813" y="2843"/>
                  <a:pt x="14781" y="2718"/>
                  <a:pt x="14750" y="2781"/>
                </a:cubicBezTo>
                <a:cubicBezTo>
                  <a:pt x="14719" y="2843"/>
                  <a:pt x="14656" y="2906"/>
                  <a:pt x="14750" y="2968"/>
                </a:cubicBezTo>
                <a:cubicBezTo>
                  <a:pt x="14750" y="2968"/>
                  <a:pt x="14750" y="2968"/>
                  <a:pt x="14750" y="2968"/>
                </a:cubicBezTo>
                <a:cubicBezTo>
                  <a:pt x="14750" y="2968"/>
                  <a:pt x="14719" y="2968"/>
                  <a:pt x="14719" y="2968"/>
                </a:cubicBezTo>
                <a:cubicBezTo>
                  <a:pt x="14719" y="2968"/>
                  <a:pt x="14750" y="2968"/>
                  <a:pt x="14750" y="2968"/>
                </a:cubicBezTo>
                <a:cubicBezTo>
                  <a:pt x="14750" y="2968"/>
                  <a:pt x="14750" y="2968"/>
                  <a:pt x="14750" y="2968"/>
                </a:cubicBezTo>
                <a:cubicBezTo>
                  <a:pt x="14813" y="3000"/>
                  <a:pt x="14813" y="2937"/>
                  <a:pt x="14813" y="2875"/>
                </a:cubicBezTo>
                <a:cubicBezTo>
                  <a:pt x="14844" y="2906"/>
                  <a:pt x="14844" y="2937"/>
                  <a:pt x="14875" y="2937"/>
                </a:cubicBezTo>
                <a:cubicBezTo>
                  <a:pt x="14875" y="2937"/>
                  <a:pt x="14875" y="2937"/>
                  <a:pt x="14875" y="2937"/>
                </a:cubicBezTo>
                <a:cubicBezTo>
                  <a:pt x="14875" y="2906"/>
                  <a:pt x="14906" y="2875"/>
                  <a:pt x="14875" y="2843"/>
                </a:cubicBezTo>
                <a:cubicBezTo>
                  <a:pt x="14875" y="2843"/>
                  <a:pt x="14875" y="2843"/>
                  <a:pt x="14875" y="2843"/>
                </a:cubicBezTo>
                <a:cubicBezTo>
                  <a:pt x="14938" y="2843"/>
                  <a:pt x="14938" y="2843"/>
                  <a:pt x="14969" y="2875"/>
                </a:cubicBezTo>
                <a:cubicBezTo>
                  <a:pt x="14969" y="2906"/>
                  <a:pt x="15000" y="2937"/>
                  <a:pt x="14969" y="2968"/>
                </a:cubicBezTo>
                <a:cubicBezTo>
                  <a:pt x="14938" y="3000"/>
                  <a:pt x="14906" y="3031"/>
                  <a:pt x="14875" y="2968"/>
                </a:cubicBezTo>
                <a:cubicBezTo>
                  <a:pt x="14844" y="3000"/>
                  <a:pt x="14781" y="3000"/>
                  <a:pt x="14844" y="3031"/>
                </a:cubicBezTo>
                <a:cubicBezTo>
                  <a:pt x="14875" y="3062"/>
                  <a:pt x="14844" y="3093"/>
                  <a:pt x="14844" y="3093"/>
                </a:cubicBezTo>
                <a:cubicBezTo>
                  <a:pt x="14813" y="3093"/>
                  <a:pt x="14781" y="3093"/>
                  <a:pt x="14750" y="3093"/>
                </a:cubicBezTo>
                <a:cubicBezTo>
                  <a:pt x="14750" y="3093"/>
                  <a:pt x="14750" y="3125"/>
                  <a:pt x="14781" y="3125"/>
                </a:cubicBezTo>
                <a:cubicBezTo>
                  <a:pt x="14781" y="3156"/>
                  <a:pt x="14750" y="3156"/>
                  <a:pt x="14719" y="3156"/>
                </a:cubicBezTo>
                <a:cubicBezTo>
                  <a:pt x="14719" y="3187"/>
                  <a:pt x="14688" y="3187"/>
                  <a:pt x="14688" y="3218"/>
                </a:cubicBezTo>
                <a:cubicBezTo>
                  <a:pt x="14688" y="3218"/>
                  <a:pt x="14688" y="3218"/>
                  <a:pt x="14688" y="3218"/>
                </a:cubicBezTo>
                <a:cubicBezTo>
                  <a:pt x="14688" y="3218"/>
                  <a:pt x="14688" y="3218"/>
                  <a:pt x="14688" y="3218"/>
                </a:cubicBezTo>
                <a:cubicBezTo>
                  <a:pt x="14719" y="3187"/>
                  <a:pt x="14719" y="3187"/>
                  <a:pt x="14719" y="3187"/>
                </a:cubicBezTo>
                <a:cubicBezTo>
                  <a:pt x="14656" y="3281"/>
                  <a:pt x="14813" y="3281"/>
                  <a:pt x="14813" y="3312"/>
                </a:cubicBezTo>
                <a:cubicBezTo>
                  <a:pt x="14813" y="3343"/>
                  <a:pt x="14813" y="3343"/>
                  <a:pt x="14813" y="3312"/>
                </a:cubicBezTo>
                <a:cubicBezTo>
                  <a:pt x="14844" y="3250"/>
                  <a:pt x="14906" y="3250"/>
                  <a:pt x="14938" y="3218"/>
                </a:cubicBezTo>
                <a:cubicBezTo>
                  <a:pt x="14969" y="3187"/>
                  <a:pt x="15000" y="3218"/>
                  <a:pt x="15031" y="3250"/>
                </a:cubicBezTo>
                <a:cubicBezTo>
                  <a:pt x="15063" y="3312"/>
                  <a:pt x="15063" y="3375"/>
                  <a:pt x="15063" y="3437"/>
                </a:cubicBezTo>
                <a:cubicBezTo>
                  <a:pt x="15031" y="3437"/>
                  <a:pt x="15031" y="3406"/>
                  <a:pt x="15031" y="3406"/>
                </a:cubicBezTo>
                <a:cubicBezTo>
                  <a:pt x="14969" y="3406"/>
                  <a:pt x="14938" y="3375"/>
                  <a:pt x="14906" y="3406"/>
                </a:cubicBezTo>
                <a:cubicBezTo>
                  <a:pt x="14844" y="3468"/>
                  <a:pt x="14938" y="3500"/>
                  <a:pt x="14938" y="3531"/>
                </a:cubicBezTo>
                <a:cubicBezTo>
                  <a:pt x="14938" y="3531"/>
                  <a:pt x="14969" y="3562"/>
                  <a:pt x="14969" y="3562"/>
                </a:cubicBezTo>
                <a:cubicBezTo>
                  <a:pt x="15000" y="3562"/>
                  <a:pt x="15031" y="3625"/>
                  <a:pt x="15063" y="3625"/>
                </a:cubicBezTo>
                <a:cubicBezTo>
                  <a:pt x="15125" y="3593"/>
                  <a:pt x="15063" y="3531"/>
                  <a:pt x="15094" y="3500"/>
                </a:cubicBezTo>
                <a:cubicBezTo>
                  <a:pt x="15125" y="3593"/>
                  <a:pt x="15125" y="3718"/>
                  <a:pt x="15125" y="3812"/>
                </a:cubicBezTo>
                <a:cubicBezTo>
                  <a:pt x="15125" y="3843"/>
                  <a:pt x="15094" y="3875"/>
                  <a:pt x="15094" y="3875"/>
                </a:cubicBezTo>
                <a:cubicBezTo>
                  <a:pt x="15031" y="3906"/>
                  <a:pt x="15063" y="3843"/>
                  <a:pt x="15031" y="3843"/>
                </a:cubicBezTo>
                <a:cubicBezTo>
                  <a:pt x="15031" y="3812"/>
                  <a:pt x="15000" y="3812"/>
                  <a:pt x="14969" y="3843"/>
                </a:cubicBezTo>
                <a:cubicBezTo>
                  <a:pt x="14938" y="3875"/>
                  <a:pt x="14875" y="3906"/>
                  <a:pt x="14844" y="3906"/>
                </a:cubicBezTo>
                <a:cubicBezTo>
                  <a:pt x="14781" y="3937"/>
                  <a:pt x="14719" y="3968"/>
                  <a:pt x="14781" y="4062"/>
                </a:cubicBezTo>
                <a:cubicBezTo>
                  <a:pt x="14813" y="4093"/>
                  <a:pt x="14813" y="4125"/>
                  <a:pt x="14813" y="4156"/>
                </a:cubicBezTo>
                <a:cubicBezTo>
                  <a:pt x="14813" y="4187"/>
                  <a:pt x="14813" y="4187"/>
                  <a:pt x="14813" y="4218"/>
                </a:cubicBezTo>
                <a:cubicBezTo>
                  <a:pt x="14813" y="4218"/>
                  <a:pt x="14844" y="4218"/>
                  <a:pt x="14844" y="4218"/>
                </a:cubicBezTo>
                <a:cubicBezTo>
                  <a:pt x="14906" y="4156"/>
                  <a:pt x="15063" y="4187"/>
                  <a:pt x="15094" y="4093"/>
                </a:cubicBezTo>
                <a:cubicBezTo>
                  <a:pt x="15094" y="4093"/>
                  <a:pt x="15156" y="4093"/>
                  <a:pt x="15156" y="4125"/>
                </a:cubicBezTo>
                <a:cubicBezTo>
                  <a:pt x="15188" y="4250"/>
                  <a:pt x="15219" y="4406"/>
                  <a:pt x="15219" y="4562"/>
                </a:cubicBezTo>
                <a:cubicBezTo>
                  <a:pt x="15219" y="4468"/>
                  <a:pt x="15188" y="4406"/>
                  <a:pt x="15188" y="4343"/>
                </a:cubicBezTo>
                <a:cubicBezTo>
                  <a:pt x="15156" y="4312"/>
                  <a:pt x="15188" y="4281"/>
                  <a:pt x="15125" y="4281"/>
                </a:cubicBezTo>
                <a:cubicBezTo>
                  <a:pt x="15094" y="4281"/>
                  <a:pt x="15063" y="4250"/>
                  <a:pt x="15000" y="4281"/>
                </a:cubicBezTo>
                <a:cubicBezTo>
                  <a:pt x="14969" y="4343"/>
                  <a:pt x="14906" y="4343"/>
                  <a:pt x="14875" y="4375"/>
                </a:cubicBezTo>
                <a:cubicBezTo>
                  <a:pt x="14875" y="4375"/>
                  <a:pt x="14844" y="4375"/>
                  <a:pt x="14844" y="4375"/>
                </a:cubicBezTo>
                <a:cubicBezTo>
                  <a:pt x="14844" y="4375"/>
                  <a:pt x="14844" y="4375"/>
                  <a:pt x="14844" y="4375"/>
                </a:cubicBezTo>
                <a:cubicBezTo>
                  <a:pt x="14781" y="4468"/>
                  <a:pt x="14813" y="4531"/>
                  <a:pt x="14813" y="4593"/>
                </a:cubicBezTo>
                <a:cubicBezTo>
                  <a:pt x="14813" y="4687"/>
                  <a:pt x="14906" y="4718"/>
                  <a:pt x="14906" y="4781"/>
                </a:cubicBezTo>
                <a:cubicBezTo>
                  <a:pt x="14938" y="4781"/>
                  <a:pt x="14938" y="4812"/>
                  <a:pt x="14906" y="4812"/>
                </a:cubicBezTo>
                <a:cubicBezTo>
                  <a:pt x="14906" y="4812"/>
                  <a:pt x="14906" y="4812"/>
                  <a:pt x="14906" y="4812"/>
                </a:cubicBezTo>
                <a:cubicBezTo>
                  <a:pt x="14906" y="4812"/>
                  <a:pt x="14906" y="4812"/>
                  <a:pt x="14906" y="4812"/>
                </a:cubicBezTo>
                <a:cubicBezTo>
                  <a:pt x="14875" y="4812"/>
                  <a:pt x="14844" y="4812"/>
                  <a:pt x="14844" y="4812"/>
                </a:cubicBezTo>
                <a:cubicBezTo>
                  <a:pt x="14906" y="4875"/>
                  <a:pt x="14844" y="4937"/>
                  <a:pt x="14875" y="5000"/>
                </a:cubicBezTo>
                <a:cubicBezTo>
                  <a:pt x="14875" y="5000"/>
                  <a:pt x="14875" y="5031"/>
                  <a:pt x="14875" y="5031"/>
                </a:cubicBezTo>
                <a:cubicBezTo>
                  <a:pt x="14875" y="5062"/>
                  <a:pt x="14875" y="5093"/>
                  <a:pt x="14875" y="5125"/>
                </a:cubicBezTo>
                <a:cubicBezTo>
                  <a:pt x="14875" y="5250"/>
                  <a:pt x="14969" y="5250"/>
                  <a:pt x="15031" y="5312"/>
                </a:cubicBezTo>
                <a:cubicBezTo>
                  <a:pt x="15031" y="5312"/>
                  <a:pt x="15031" y="5312"/>
                  <a:pt x="15031" y="5312"/>
                </a:cubicBezTo>
                <a:cubicBezTo>
                  <a:pt x="15094" y="5218"/>
                  <a:pt x="15188" y="5250"/>
                  <a:pt x="15250" y="5218"/>
                </a:cubicBezTo>
                <a:cubicBezTo>
                  <a:pt x="15281" y="5218"/>
                  <a:pt x="15281" y="5156"/>
                  <a:pt x="15313" y="5187"/>
                </a:cubicBezTo>
                <a:cubicBezTo>
                  <a:pt x="15344" y="5218"/>
                  <a:pt x="15406" y="5218"/>
                  <a:pt x="15406" y="5281"/>
                </a:cubicBezTo>
                <a:cubicBezTo>
                  <a:pt x="15406" y="5406"/>
                  <a:pt x="15500" y="5500"/>
                  <a:pt x="15469" y="5593"/>
                </a:cubicBezTo>
                <a:cubicBezTo>
                  <a:pt x="15469" y="5625"/>
                  <a:pt x="15500" y="5625"/>
                  <a:pt x="15500" y="5656"/>
                </a:cubicBezTo>
                <a:cubicBezTo>
                  <a:pt x="15406" y="5562"/>
                  <a:pt x="15438" y="5437"/>
                  <a:pt x="15375" y="5343"/>
                </a:cubicBezTo>
                <a:cubicBezTo>
                  <a:pt x="15344" y="5437"/>
                  <a:pt x="15313" y="5500"/>
                  <a:pt x="15281" y="5562"/>
                </a:cubicBezTo>
                <a:cubicBezTo>
                  <a:pt x="15281" y="5656"/>
                  <a:pt x="15156" y="5718"/>
                  <a:pt x="15094" y="5687"/>
                </a:cubicBezTo>
                <a:cubicBezTo>
                  <a:pt x="15063" y="5687"/>
                  <a:pt x="15000" y="5687"/>
                  <a:pt x="15031" y="5593"/>
                </a:cubicBezTo>
                <a:cubicBezTo>
                  <a:pt x="15031" y="5593"/>
                  <a:pt x="15000" y="5562"/>
                  <a:pt x="14969" y="5562"/>
                </a:cubicBezTo>
                <a:cubicBezTo>
                  <a:pt x="15031" y="5562"/>
                  <a:pt x="15094" y="5562"/>
                  <a:pt x="15125" y="5593"/>
                </a:cubicBezTo>
                <a:cubicBezTo>
                  <a:pt x="15125" y="5625"/>
                  <a:pt x="15156" y="5625"/>
                  <a:pt x="15188" y="5625"/>
                </a:cubicBezTo>
                <a:cubicBezTo>
                  <a:pt x="15188" y="5593"/>
                  <a:pt x="15188" y="5593"/>
                  <a:pt x="15188" y="5562"/>
                </a:cubicBezTo>
                <a:cubicBezTo>
                  <a:pt x="15156" y="5531"/>
                  <a:pt x="15188" y="5500"/>
                  <a:pt x="15219" y="5500"/>
                </a:cubicBezTo>
                <a:cubicBezTo>
                  <a:pt x="15281" y="5500"/>
                  <a:pt x="15281" y="5437"/>
                  <a:pt x="15281" y="5437"/>
                </a:cubicBezTo>
                <a:cubicBezTo>
                  <a:pt x="15313" y="5375"/>
                  <a:pt x="15313" y="5343"/>
                  <a:pt x="15281" y="5343"/>
                </a:cubicBezTo>
                <a:cubicBezTo>
                  <a:pt x="15281" y="5281"/>
                  <a:pt x="15250" y="5343"/>
                  <a:pt x="15219" y="5343"/>
                </a:cubicBezTo>
                <a:cubicBezTo>
                  <a:pt x="15188" y="5343"/>
                  <a:pt x="15125" y="5375"/>
                  <a:pt x="15094" y="5406"/>
                </a:cubicBezTo>
                <a:cubicBezTo>
                  <a:pt x="15094" y="5406"/>
                  <a:pt x="15063" y="5437"/>
                  <a:pt x="15031" y="5406"/>
                </a:cubicBezTo>
                <a:cubicBezTo>
                  <a:pt x="14969" y="5406"/>
                  <a:pt x="14906" y="5437"/>
                  <a:pt x="14938" y="5531"/>
                </a:cubicBezTo>
                <a:cubicBezTo>
                  <a:pt x="14938" y="5656"/>
                  <a:pt x="14969" y="5781"/>
                  <a:pt x="14938" y="5906"/>
                </a:cubicBezTo>
                <a:cubicBezTo>
                  <a:pt x="14938" y="5937"/>
                  <a:pt x="14938" y="5968"/>
                  <a:pt x="15000" y="5968"/>
                </a:cubicBezTo>
                <a:cubicBezTo>
                  <a:pt x="15031" y="5968"/>
                  <a:pt x="15031" y="5937"/>
                  <a:pt x="15031" y="5906"/>
                </a:cubicBezTo>
                <a:cubicBezTo>
                  <a:pt x="15031" y="5843"/>
                  <a:pt x="15031" y="5812"/>
                  <a:pt x="15125" y="5812"/>
                </a:cubicBezTo>
                <a:cubicBezTo>
                  <a:pt x="15094" y="5937"/>
                  <a:pt x="15125" y="5937"/>
                  <a:pt x="15250" y="5875"/>
                </a:cubicBezTo>
                <a:cubicBezTo>
                  <a:pt x="15281" y="5875"/>
                  <a:pt x="15313" y="5843"/>
                  <a:pt x="15375" y="5843"/>
                </a:cubicBezTo>
                <a:cubicBezTo>
                  <a:pt x="15375" y="5843"/>
                  <a:pt x="15375" y="5812"/>
                  <a:pt x="15406" y="5812"/>
                </a:cubicBezTo>
                <a:cubicBezTo>
                  <a:pt x="15438" y="5812"/>
                  <a:pt x="15375" y="5718"/>
                  <a:pt x="15469" y="5750"/>
                </a:cubicBezTo>
                <a:cubicBezTo>
                  <a:pt x="15500" y="5750"/>
                  <a:pt x="15469" y="5812"/>
                  <a:pt x="15531" y="5843"/>
                </a:cubicBezTo>
                <a:cubicBezTo>
                  <a:pt x="15531" y="5843"/>
                  <a:pt x="15531" y="5843"/>
                  <a:pt x="15531" y="5843"/>
                </a:cubicBezTo>
                <a:cubicBezTo>
                  <a:pt x="15531" y="5906"/>
                  <a:pt x="15563" y="5937"/>
                  <a:pt x="15563" y="5968"/>
                </a:cubicBezTo>
                <a:cubicBezTo>
                  <a:pt x="15625" y="6031"/>
                  <a:pt x="15625" y="6093"/>
                  <a:pt x="15625" y="6156"/>
                </a:cubicBezTo>
                <a:cubicBezTo>
                  <a:pt x="15625" y="6093"/>
                  <a:pt x="15531" y="6062"/>
                  <a:pt x="15531" y="5968"/>
                </a:cubicBezTo>
                <a:cubicBezTo>
                  <a:pt x="15531" y="5968"/>
                  <a:pt x="15531" y="5968"/>
                  <a:pt x="15500" y="5937"/>
                </a:cubicBezTo>
                <a:cubicBezTo>
                  <a:pt x="15500" y="5937"/>
                  <a:pt x="15500" y="5937"/>
                  <a:pt x="15500" y="5937"/>
                </a:cubicBezTo>
                <a:cubicBezTo>
                  <a:pt x="15500" y="5937"/>
                  <a:pt x="15500" y="5937"/>
                  <a:pt x="15500" y="5937"/>
                </a:cubicBezTo>
                <a:cubicBezTo>
                  <a:pt x="15500" y="6000"/>
                  <a:pt x="15469" y="6062"/>
                  <a:pt x="15469" y="6093"/>
                </a:cubicBezTo>
                <a:cubicBezTo>
                  <a:pt x="15438" y="6156"/>
                  <a:pt x="15438" y="6187"/>
                  <a:pt x="15469" y="6187"/>
                </a:cubicBezTo>
                <a:cubicBezTo>
                  <a:pt x="15531" y="6218"/>
                  <a:pt x="15500" y="6156"/>
                  <a:pt x="15531" y="6125"/>
                </a:cubicBezTo>
                <a:cubicBezTo>
                  <a:pt x="15531" y="6187"/>
                  <a:pt x="15500" y="6281"/>
                  <a:pt x="15500" y="6343"/>
                </a:cubicBezTo>
                <a:cubicBezTo>
                  <a:pt x="15500" y="6375"/>
                  <a:pt x="15500" y="6406"/>
                  <a:pt x="15531" y="6406"/>
                </a:cubicBezTo>
                <a:cubicBezTo>
                  <a:pt x="15531" y="6437"/>
                  <a:pt x="15563" y="6437"/>
                  <a:pt x="15500" y="6437"/>
                </a:cubicBezTo>
                <a:cubicBezTo>
                  <a:pt x="15469" y="6437"/>
                  <a:pt x="15469" y="6437"/>
                  <a:pt x="15469" y="6468"/>
                </a:cubicBezTo>
                <a:cubicBezTo>
                  <a:pt x="15469" y="6468"/>
                  <a:pt x="15469" y="6468"/>
                  <a:pt x="15469" y="6468"/>
                </a:cubicBezTo>
                <a:cubicBezTo>
                  <a:pt x="15469" y="6468"/>
                  <a:pt x="15469" y="6437"/>
                  <a:pt x="15438" y="6437"/>
                </a:cubicBezTo>
                <a:cubicBezTo>
                  <a:pt x="15406" y="6375"/>
                  <a:pt x="15344" y="6343"/>
                  <a:pt x="15281" y="6343"/>
                </a:cubicBezTo>
                <a:cubicBezTo>
                  <a:pt x="15219" y="6375"/>
                  <a:pt x="15188" y="6343"/>
                  <a:pt x="15156" y="6312"/>
                </a:cubicBezTo>
                <a:cubicBezTo>
                  <a:pt x="15156" y="6312"/>
                  <a:pt x="15125" y="6250"/>
                  <a:pt x="15094" y="6281"/>
                </a:cubicBezTo>
                <a:cubicBezTo>
                  <a:pt x="15063" y="6312"/>
                  <a:pt x="15063" y="6375"/>
                  <a:pt x="15094" y="6406"/>
                </a:cubicBezTo>
                <a:cubicBezTo>
                  <a:pt x="15125" y="6406"/>
                  <a:pt x="15125" y="6437"/>
                  <a:pt x="15156" y="6468"/>
                </a:cubicBezTo>
                <a:cubicBezTo>
                  <a:pt x="15250" y="6500"/>
                  <a:pt x="15250" y="6531"/>
                  <a:pt x="15188" y="6593"/>
                </a:cubicBezTo>
                <a:cubicBezTo>
                  <a:pt x="15250" y="6593"/>
                  <a:pt x="15344" y="6562"/>
                  <a:pt x="15406" y="6531"/>
                </a:cubicBezTo>
                <a:cubicBezTo>
                  <a:pt x="15438" y="6531"/>
                  <a:pt x="15469" y="6500"/>
                  <a:pt x="15469" y="6500"/>
                </a:cubicBezTo>
                <a:cubicBezTo>
                  <a:pt x="15469" y="6500"/>
                  <a:pt x="15469" y="6500"/>
                  <a:pt x="15469" y="6500"/>
                </a:cubicBezTo>
                <a:cubicBezTo>
                  <a:pt x="15500" y="6531"/>
                  <a:pt x="15531" y="6531"/>
                  <a:pt x="15531" y="6531"/>
                </a:cubicBezTo>
                <a:cubicBezTo>
                  <a:pt x="15563" y="6500"/>
                  <a:pt x="15563" y="6500"/>
                  <a:pt x="15594" y="6500"/>
                </a:cubicBezTo>
                <a:cubicBezTo>
                  <a:pt x="15594" y="6468"/>
                  <a:pt x="15688" y="6468"/>
                  <a:pt x="15688" y="6468"/>
                </a:cubicBezTo>
                <a:cubicBezTo>
                  <a:pt x="15719" y="6500"/>
                  <a:pt x="15719" y="6500"/>
                  <a:pt x="15719" y="6500"/>
                </a:cubicBezTo>
                <a:cubicBezTo>
                  <a:pt x="15719" y="6531"/>
                  <a:pt x="15750" y="6531"/>
                  <a:pt x="15750" y="6531"/>
                </a:cubicBezTo>
                <a:cubicBezTo>
                  <a:pt x="15750" y="6562"/>
                  <a:pt x="15750" y="6562"/>
                  <a:pt x="15781" y="6562"/>
                </a:cubicBezTo>
                <a:cubicBezTo>
                  <a:pt x="15875" y="6906"/>
                  <a:pt x="15969" y="7250"/>
                  <a:pt x="16094" y="7593"/>
                </a:cubicBezTo>
                <a:cubicBezTo>
                  <a:pt x="16063" y="7500"/>
                  <a:pt x="16031" y="7406"/>
                  <a:pt x="15969" y="7375"/>
                </a:cubicBezTo>
                <a:cubicBezTo>
                  <a:pt x="15906" y="7343"/>
                  <a:pt x="15875" y="7250"/>
                  <a:pt x="15781" y="7281"/>
                </a:cubicBezTo>
                <a:cubicBezTo>
                  <a:pt x="15719" y="7343"/>
                  <a:pt x="15594" y="7312"/>
                  <a:pt x="15625" y="7468"/>
                </a:cubicBezTo>
                <a:cubicBezTo>
                  <a:pt x="15531" y="7406"/>
                  <a:pt x="15469" y="7406"/>
                  <a:pt x="15375" y="7437"/>
                </a:cubicBezTo>
                <a:cubicBezTo>
                  <a:pt x="15313" y="7468"/>
                  <a:pt x="15344" y="7500"/>
                  <a:pt x="15344" y="7562"/>
                </a:cubicBezTo>
                <a:cubicBezTo>
                  <a:pt x="15375" y="7625"/>
                  <a:pt x="15344" y="7718"/>
                  <a:pt x="15438" y="7750"/>
                </a:cubicBezTo>
                <a:cubicBezTo>
                  <a:pt x="15469" y="7718"/>
                  <a:pt x="15563" y="7843"/>
                  <a:pt x="15531" y="7687"/>
                </a:cubicBezTo>
                <a:cubicBezTo>
                  <a:pt x="15563" y="7812"/>
                  <a:pt x="15625" y="7812"/>
                  <a:pt x="15688" y="7750"/>
                </a:cubicBezTo>
                <a:cubicBezTo>
                  <a:pt x="15625" y="7812"/>
                  <a:pt x="15719" y="7843"/>
                  <a:pt x="15750" y="7843"/>
                </a:cubicBezTo>
                <a:cubicBezTo>
                  <a:pt x="15875" y="7843"/>
                  <a:pt x="15938" y="7937"/>
                  <a:pt x="16063" y="7968"/>
                </a:cubicBezTo>
                <a:cubicBezTo>
                  <a:pt x="16094" y="7968"/>
                  <a:pt x="16125" y="8000"/>
                  <a:pt x="16125" y="7906"/>
                </a:cubicBezTo>
                <a:cubicBezTo>
                  <a:pt x="16125" y="7906"/>
                  <a:pt x="16125" y="7875"/>
                  <a:pt x="16125" y="7875"/>
                </a:cubicBezTo>
                <a:cubicBezTo>
                  <a:pt x="16156" y="7875"/>
                  <a:pt x="16188" y="7875"/>
                  <a:pt x="16188" y="7906"/>
                </a:cubicBezTo>
                <a:cubicBezTo>
                  <a:pt x="16188" y="8031"/>
                  <a:pt x="16344" y="8062"/>
                  <a:pt x="16438" y="8125"/>
                </a:cubicBezTo>
                <a:cubicBezTo>
                  <a:pt x="16438" y="8125"/>
                  <a:pt x="16469" y="8125"/>
                  <a:pt x="16469" y="8156"/>
                </a:cubicBezTo>
                <a:cubicBezTo>
                  <a:pt x="16469" y="8187"/>
                  <a:pt x="16500" y="8218"/>
                  <a:pt x="16531" y="8218"/>
                </a:cubicBezTo>
                <a:cubicBezTo>
                  <a:pt x="16750" y="8187"/>
                  <a:pt x="16906" y="8312"/>
                  <a:pt x="17094" y="8375"/>
                </a:cubicBezTo>
                <a:cubicBezTo>
                  <a:pt x="17156" y="8375"/>
                  <a:pt x="17156" y="8437"/>
                  <a:pt x="17219" y="8468"/>
                </a:cubicBezTo>
                <a:cubicBezTo>
                  <a:pt x="17281" y="8625"/>
                  <a:pt x="17344" y="8781"/>
                  <a:pt x="17375" y="8937"/>
                </a:cubicBezTo>
                <a:cubicBezTo>
                  <a:pt x="17406" y="8937"/>
                  <a:pt x="17406" y="8968"/>
                  <a:pt x="17406" y="8968"/>
                </a:cubicBezTo>
                <a:cubicBezTo>
                  <a:pt x="17344" y="9062"/>
                  <a:pt x="17313" y="9156"/>
                  <a:pt x="17219" y="9218"/>
                </a:cubicBezTo>
                <a:cubicBezTo>
                  <a:pt x="17188" y="9281"/>
                  <a:pt x="17125" y="9375"/>
                  <a:pt x="17063" y="9437"/>
                </a:cubicBezTo>
                <a:cubicBezTo>
                  <a:pt x="17031" y="9406"/>
                  <a:pt x="17000" y="9343"/>
                  <a:pt x="16969" y="9312"/>
                </a:cubicBezTo>
                <a:cubicBezTo>
                  <a:pt x="16938" y="9312"/>
                  <a:pt x="16906" y="9312"/>
                  <a:pt x="16875" y="9281"/>
                </a:cubicBezTo>
                <a:cubicBezTo>
                  <a:pt x="16844" y="9281"/>
                  <a:pt x="16813" y="9250"/>
                  <a:pt x="16813" y="9281"/>
                </a:cubicBezTo>
                <a:cubicBezTo>
                  <a:pt x="16813" y="9281"/>
                  <a:pt x="16813" y="9281"/>
                  <a:pt x="16813" y="9281"/>
                </a:cubicBezTo>
                <a:cubicBezTo>
                  <a:pt x="16844" y="9281"/>
                  <a:pt x="16875" y="9281"/>
                  <a:pt x="16875" y="9312"/>
                </a:cubicBezTo>
                <a:cubicBezTo>
                  <a:pt x="16938" y="9312"/>
                  <a:pt x="16938" y="9375"/>
                  <a:pt x="16969" y="9406"/>
                </a:cubicBezTo>
                <a:cubicBezTo>
                  <a:pt x="17000" y="9468"/>
                  <a:pt x="17031" y="9531"/>
                  <a:pt x="17063" y="9593"/>
                </a:cubicBezTo>
                <a:cubicBezTo>
                  <a:pt x="17094" y="9593"/>
                  <a:pt x="17125" y="9656"/>
                  <a:pt x="17125" y="9687"/>
                </a:cubicBezTo>
                <a:cubicBezTo>
                  <a:pt x="17125" y="9718"/>
                  <a:pt x="17125" y="9750"/>
                  <a:pt x="17125" y="9750"/>
                </a:cubicBezTo>
                <a:cubicBezTo>
                  <a:pt x="17094" y="9781"/>
                  <a:pt x="17063" y="9750"/>
                  <a:pt x="17031" y="9750"/>
                </a:cubicBezTo>
                <a:cubicBezTo>
                  <a:pt x="17000" y="9687"/>
                  <a:pt x="16938" y="9687"/>
                  <a:pt x="16906" y="9687"/>
                </a:cubicBezTo>
                <a:cubicBezTo>
                  <a:pt x="16906" y="9718"/>
                  <a:pt x="16906" y="9750"/>
                  <a:pt x="16875" y="9750"/>
                </a:cubicBezTo>
                <a:cubicBezTo>
                  <a:pt x="16875" y="9750"/>
                  <a:pt x="16844" y="9750"/>
                  <a:pt x="16844" y="9718"/>
                </a:cubicBezTo>
                <a:cubicBezTo>
                  <a:pt x="16813" y="9687"/>
                  <a:pt x="16781" y="9687"/>
                  <a:pt x="16781" y="9687"/>
                </a:cubicBezTo>
                <a:cubicBezTo>
                  <a:pt x="16688" y="9750"/>
                  <a:pt x="16656" y="9718"/>
                  <a:pt x="16625" y="9656"/>
                </a:cubicBezTo>
                <a:cubicBezTo>
                  <a:pt x="16563" y="9593"/>
                  <a:pt x="16500" y="9687"/>
                  <a:pt x="16469" y="9656"/>
                </a:cubicBezTo>
                <a:cubicBezTo>
                  <a:pt x="16438" y="9656"/>
                  <a:pt x="16469" y="9687"/>
                  <a:pt x="16469" y="9687"/>
                </a:cubicBezTo>
                <a:cubicBezTo>
                  <a:pt x="16469" y="9687"/>
                  <a:pt x="16469" y="9687"/>
                  <a:pt x="16469" y="9687"/>
                </a:cubicBezTo>
                <a:lnTo>
                  <a:pt x="16469" y="9687"/>
                </a:lnTo>
                <a:cubicBezTo>
                  <a:pt x="16438" y="9687"/>
                  <a:pt x="16375" y="9593"/>
                  <a:pt x="16375" y="9718"/>
                </a:cubicBezTo>
                <a:cubicBezTo>
                  <a:pt x="16375" y="9718"/>
                  <a:pt x="16375" y="9718"/>
                  <a:pt x="16375" y="9718"/>
                </a:cubicBezTo>
                <a:cubicBezTo>
                  <a:pt x="16406" y="9718"/>
                  <a:pt x="16438" y="9750"/>
                  <a:pt x="16469" y="9687"/>
                </a:cubicBezTo>
                <a:cubicBezTo>
                  <a:pt x="16469" y="9687"/>
                  <a:pt x="16469" y="9687"/>
                  <a:pt x="16469" y="9687"/>
                </a:cubicBezTo>
                <a:cubicBezTo>
                  <a:pt x="16531" y="9687"/>
                  <a:pt x="16563" y="9750"/>
                  <a:pt x="16625" y="9812"/>
                </a:cubicBezTo>
                <a:cubicBezTo>
                  <a:pt x="16719" y="9750"/>
                  <a:pt x="16750" y="9812"/>
                  <a:pt x="16813" y="9875"/>
                </a:cubicBezTo>
                <a:cubicBezTo>
                  <a:pt x="16844" y="9875"/>
                  <a:pt x="16875" y="9875"/>
                  <a:pt x="16906" y="9843"/>
                </a:cubicBezTo>
                <a:cubicBezTo>
                  <a:pt x="16938" y="9843"/>
                  <a:pt x="16969" y="9875"/>
                  <a:pt x="16969" y="9875"/>
                </a:cubicBezTo>
                <a:cubicBezTo>
                  <a:pt x="17000" y="9906"/>
                  <a:pt x="17000" y="9937"/>
                  <a:pt x="16969" y="9937"/>
                </a:cubicBezTo>
                <a:cubicBezTo>
                  <a:pt x="16969" y="9937"/>
                  <a:pt x="16938" y="9937"/>
                  <a:pt x="16906" y="9937"/>
                </a:cubicBezTo>
                <a:lnTo>
                  <a:pt x="16906" y="9937"/>
                </a:lnTo>
                <a:cubicBezTo>
                  <a:pt x="16875" y="9906"/>
                  <a:pt x="16813" y="9906"/>
                  <a:pt x="16813" y="9875"/>
                </a:cubicBezTo>
                <a:cubicBezTo>
                  <a:pt x="16750" y="9875"/>
                  <a:pt x="16688" y="9843"/>
                  <a:pt x="16625" y="9812"/>
                </a:cubicBezTo>
                <a:cubicBezTo>
                  <a:pt x="16500" y="9812"/>
                  <a:pt x="16438" y="9750"/>
                  <a:pt x="16375" y="9750"/>
                </a:cubicBezTo>
                <a:cubicBezTo>
                  <a:pt x="16375" y="9750"/>
                  <a:pt x="16375" y="9750"/>
                  <a:pt x="16375" y="9750"/>
                </a:cubicBezTo>
                <a:cubicBezTo>
                  <a:pt x="16313" y="9718"/>
                  <a:pt x="16250" y="9687"/>
                  <a:pt x="16188" y="9687"/>
                </a:cubicBezTo>
                <a:cubicBezTo>
                  <a:pt x="16219" y="9625"/>
                  <a:pt x="16344" y="9625"/>
                  <a:pt x="16375" y="9562"/>
                </a:cubicBezTo>
                <a:cubicBezTo>
                  <a:pt x="16313" y="9562"/>
                  <a:pt x="16219" y="9593"/>
                  <a:pt x="16188" y="9656"/>
                </a:cubicBezTo>
                <a:cubicBezTo>
                  <a:pt x="16156" y="9656"/>
                  <a:pt x="16125" y="9656"/>
                  <a:pt x="16125" y="9656"/>
                </a:cubicBezTo>
                <a:cubicBezTo>
                  <a:pt x="16063" y="9656"/>
                  <a:pt x="16031" y="9625"/>
                  <a:pt x="16000" y="9625"/>
                </a:cubicBezTo>
                <a:cubicBezTo>
                  <a:pt x="15938" y="9625"/>
                  <a:pt x="15906" y="9656"/>
                  <a:pt x="15938" y="9750"/>
                </a:cubicBezTo>
                <a:cubicBezTo>
                  <a:pt x="16156" y="10218"/>
                  <a:pt x="16406" y="10687"/>
                  <a:pt x="16656" y="11187"/>
                </a:cubicBezTo>
                <a:cubicBezTo>
                  <a:pt x="16906" y="11624"/>
                  <a:pt x="17156" y="12062"/>
                  <a:pt x="17438" y="12468"/>
                </a:cubicBezTo>
                <a:cubicBezTo>
                  <a:pt x="17469" y="12562"/>
                  <a:pt x="17531" y="12624"/>
                  <a:pt x="17563" y="12687"/>
                </a:cubicBezTo>
                <a:cubicBezTo>
                  <a:pt x="17625" y="12781"/>
                  <a:pt x="17750" y="12812"/>
                  <a:pt x="17844" y="12843"/>
                </a:cubicBezTo>
                <a:cubicBezTo>
                  <a:pt x="17906" y="12843"/>
                  <a:pt x="17906" y="12812"/>
                  <a:pt x="17906" y="12781"/>
                </a:cubicBezTo>
                <a:cubicBezTo>
                  <a:pt x="17875" y="12687"/>
                  <a:pt x="17844" y="12656"/>
                  <a:pt x="17781" y="12718"/>
                </a:cubicBezTo>
                <a:cubicBezTo>
                  <a:pt x="17750" y="12749"/>
                  <a:pt x="17719" y="12749"/>
                  <a:pt x="17719" y="12718"/>
                </a:cubicBezTo>
                <a:cubicBezTo>
                  <a:pt x="17656" y="12624"/>
                  <a:pt x="17594" y="12562"/>
                  <a:pt x="17563" y="12468"/>
                </a:cubicBezTo>
                <a:cubicBezTo>
                  <a:pt x="17625" y="12499"/>
                  <a:pt x="17719" y="12437"/>
                  <a:pt x="17750" y="12531"/>
                </a:cubicBezTo>
                <a:cubicBezTo>
                  <a:pt x="17781" y="12499"/>
                  <a:pt x="17813" y="12499"/>
                  <a:pt x="17844" y="12468"/>
                </a:cubicBezTo>
                <a:cubicBezTo>
                  <a:pt x="17875" y="12437"/>
                  <a:pt x="17875" y="12437"/>
                  <a:pt x="17844" y="12406"/>
                </a:cubicBezTo>
                <a:cubicBezTo>
                  <a:pt x="17813" y="12374"/>
                  <a:pt x="17844" y="12343"/>
                  <a:pt x="17844" y="12312"/>
                </a:cubicBezTo>
                <a:cubicBezTo>
                  <a:pt x="17875" y="12312"/>
                  <a:pt x="17906" y="12374"/>
                  <a:pt x="17938" y="12374"/>
                </a:cubicBezTo>
                <a:cubicBezTo>
                  <a:pt x="18000" y="12281"/>
                  <a:pt x="17969" y="12249"/>
                  <a:pt x="17875" y="12249"/>
                </a:cubicBezTo>
                <a:cubicBezTo>
                  <a:pt x="17813" y="12249"/>
                  <a:pt x="17813" y="12156"/>
                  <a:pt x="17750" y="12156"/>
                </a:cubicBezTo>
                <a:cubicBezTo>
                  <a:pt x="17688" y="12156"/>
                  <a:pt x="17594" y="12187"/>
                  <a:pt x="17531" y="12156"/>
                </a:cubicBezTo>
                <a:cubicBezTo>
                  <a:pt x="17531" y="12156"/>
                  <a:pt x="17531" y="12156"/>
                  <a:pt x="17500" y="12187"/>
                </a:cubicBezTo>
                <a:cubicBezTo>
                  <a:pt x="17406" y="12249"/>
                  <a:pt x="17438" y="12249"/>
                  <a:pt x="17344" y="12156"/>
                </a:cubicBezTo>
                <a:cubicBezTo>
                  <a:pt x="17313" y="12093"/>
                  <a:pt x="17281" y="12031"/>
                  <a:pt x="17250" y="11968"/>
                </a:cubicBezTo>
                <a:cubicBezTo>
                  <a:pt x="17219" y="11968"/>
                  <a:pt x="17219" y="11937"/>
                  <a:pt x="17281" y="11937"/>
                </a:cubicBezTo>
                <a:cubicBezTo>
                  <a:pt x="17281" y="11874"/>
                  <a:pt x="17250" y="11874"/>
                  <a:pt x="17219" y="11874"/>
                </a:cubicBezTo>
                <a:cubicBezTo>
                  <a:pt x="17188" y="11874"/>
                  <a:pt x="17156" y="11843"/>
                  <a:pt x="17156" y="11843"/>
                </a:cubicBezTo>
                <a:cubicBezTo>
                  <a:pt x="17188" y="11781"/>
                  <a:pt x="17219" y="11812"/>
                  <a:pt x="17219" y="11812"/>
                </a:cubicBezTo>
                <a:cubicBezTo>
                  <a:pt x="17219" y="11812"/>
                  <a:pt x="17219" y="11843"/>
                  <a:pt x="17250" y="11843"/>
                </a:cubicBezTo>
                <a:cubicBezTo>
                  <a:pt x="17250" y="11843"/>
                  <a:pt x="17250" y="11812"/>
                  <a:pt x="17250" y="11812"/>
                </a:cubicBezTo>
                <a:cubicBezTo>
                  <a:pt x="17250" y="11812"/>
                  <a:pt x="17250" y="11812"/>
                  <a:pt x="17219" y="11812"/>
                </a:cubicBezTo>
                <a:cubicBezTo>
                  <a:pt x="17281" y="11749"/>
                  <a:pt x="17344" y="11781"/>
                  <a:pt x="17375" y="11843"/>
                </a:cubicBezTo>
                <a:cubicBezTo>
                  <a:pt x="17406" y="11968"/>
                  <a:pt x="17500" y="11906"/>
                  <a:pt x="17563" y="11937"/>
                </a:cubicBezTo>
                <a:cubicBezTo>
                  <a:pt x="17563" y="11874"/>
                  <a:pt x="17531" y="11906"/>
                  <a:pt x="17500" y="11874"/>
                </a:cubicBezTo>
                <a:cubicBezTo>
                  <a:pt x="17500" y="11812"/>
                  <a:pt x="17625" y="11812"/>
                  <a:pt x="17594" y="11749"/>
                </a:cubicBezTo>
                <a:cubicBezTo>
                  <a:pt x="17594" y="11718"/>
                  <a:pt x="17594" y="11687"/>
                  <a:pt x="17563" y="11687"/>
                </a:cubicBezTo>
                <a:cubicBezTo>
                  <a:pt x="17500" y="11718"/>
                  <a:pt x="17438" y="11624"/>
                  <a:pt x="17344" y="11687"/>
                </a:cubicBezTo>
                <a:cubicBezTo>
                  <a:pt x="17281" y="11718"/>
                  <a:pt x="17250" y="11718"/>
                  <a:pt x="17188" y="11718"/>
                </a:cubicBezTo>
                <a:cubicBezTo>
                  <a:pt x="17125" y="11749"/>
                  <a:pt x="17125" y="11687"/>
                  <a:pt x="17094" y="11656"/>
                </a:cubicBezTo>
                <a:cubicBezTo>
                  <a:pt x="17000" y="11656"/>
                  <a:pt x="17000" y="11531"/>
                  <a:pt x="16969" y="11499"/>
                </a:cubicBezTo>
                <a:cubicBezTo>
                  <a:pt x="16969" y="11468"/>
                  <a:pt x="17000" y="11437"/>
                  <a:pt x="17031" y="11437"/>
                </a:cubicBezTo>
                <a:cubicBezTo>
                  <a:pt x="17063" y="11468"/>
                  <a:pt x="17094" y="11468"/>
                  <a:pt x="17156" y="11468"/>
                </a:cubicBezTo>
                <a:cubicBezTo>
                  <a:pt x="17156" y="11468"/>
                  <a:pt x="17188" y="11468"/>
                  <a:pt x="17188" y="11468"/>
                </a:cubicBezTo>
                <a:cubicBezTo>
                  <a:pt x="17219" y="11312"/>
                  <a:pt x="17219" y="11406"/>
                  <a:pt x="17250" y="11437"/>
                </a:cubicBezTo>
                <a:cubicBezTo>
                  <a:pt x="17281" y="11468"/>
                  <a:pt x="17313" y="11437"/>
                  <a:pt x="17313" y="11437"/>
                </a:cubicBezTo>
                <a:cubicBezTo>
                  <a:pt x="17344" y="11406"/>
                  <a:pt x="17344" y="11374"/>
                  <a:pt x="17344" y="11343"/>
                </a:cubicBezTo>
                <a:cubicBezTo>
                  <a:pt x="17344" y="11312"/>
                  <a:pt x="17313" y="11343"/>
                  <a:pt x="17281" y="11343"/>
                </a:cubicBezTo>
                <a:cubicBezTo>
                  <a:pt x="17250" y="11343"/>
                  <a:pt x="17188" y="11343"/>
                  <a:pt x="17156" y="11281"/>
                </a:cubicBezTo>
                <a:cubicBezTo>
                  <a:pt x="17125" y="11218"/>
                  <a:pt x="17031" y="11249"/>
                  <a:pt x="17000" y="11312"/>
                </a:cubicBezTo>
                <a:cubicBezTo>
                  <a:pt x="16938" y="11406"/>
                  <a:pt x="16906" y="11406"/>
                  <a:pt x="16875" y="11312"/>
                </a:cubicBezTo>
                <a:cubicBezTo>
                  <a:pt x="16781" y="11187"/>
                  <a:pt x="16719" y="11031"/>
                  <a:pt x="16625" y="10874"/>
                </a:cubicBezTo>
                <a:cubicBezTo>
                  <a:pt x="16625" y="10843"/>
                  <a:pt x="16594" y="10812"/>
                  <a:pt x="16594" y="10812"/>
                </a:cubicBezTo>
                <a:cubicBezTo>
                  <a:pt x="16594" y="10812"/>
                  <a:pt x="16594" y="10781"/>
                  <a:pt x="16594" y="10781"/>
                </a:cubicBezTo>
                <a:cubicBezTo>
                  <a:pt x="16594" y="10781"/>
                  <a:pt x="16594" y="10812"/>
                  <a:pt x="16594" y="10812"/>
                </a:cubicBezTo>
                <a:cubicBezTo>
                  <a:pt x="16531" y="10781"/>
                  <a:pt x="16531" y="10718"/>
                  <a:pt x="16563" y="10687"/>
                </a:cubicBezTo>
                <a:cubicBezTo>
                  <a:pt x="16563" y="10656"/>
                  <a:pt x="16594" y="10624"/>
                  <a:pt x="16563" y="10593"/>
                </a:cubicBezTo>
                <a:cubicBezTo>
                  <a:pt x="16469" y="10593"/>
                  <a:pt x="16469" y="10531"/>
                  <a:pt x="16438" y="10468"/>
                </a:cubicBezTo>
                <a:cubicBezTo>
                  <a:pt x="16406" y="10468"/>
                  <a:pt x="16406" y="10468"/>
                  <a:pt x="16375" y="10437"/>
                </a:cubicBezTo>
                <a:cubicBezTo>
                  <a:pt x="16281" y="10218"/>
                  <a:pt x="16188" y="10000"/>
                  <a:pt x="16063" y="9812"/>
                </a:cubicBezTo>
                <a:cubicBezTo>
                  <a:pt x="16031" y="9781"/>
                  <a:pt x="16031" y="9750"/>
                  <a:pt x="16031" y="9718"/>
                </a:cubicBezTo>
                <a:cubicBezTo>
                  <a:pt x="16063" y="9687"/>
                  <a:pt x="16094" y="9687"/>
                  <a:pt x="16125" y="9687"/>
                </a:cubicBezTo>
                <a:cubicBezTo>
                  <a:pt x="16156" y="9687"/>
                  <a:pt x="16188" y="9718"/>
                  <a:pt x="16219" y="9718"/>
                </a:cubicBezTo>
                <a:cubicBezTo>
                  <a:pt x="16344" y="9781"/>
                  <a:pt x="16500" y="9843"/>
                  <a:pt x="16625" y="9875"/>
                </a:cubicBezTo>
                <a:cubicBezTo>
                  <a:pt x="16688" y="9875"/>
                  <a:pt x="16688" y="9968"/>
                  <a:pt x="16750" y="9968"/>
                </a:cubicBezTo>
                <a:cubicBezTo>
                  <a:pt x="16844" y="9906"/>
                  <a:pt x="16906" y="10000"/>
                  <a:pt x="17000" y="10031"/>
                </a:cubicBezTo>
                <a:cubicBezTo>
                  <a:pt x="17031" y="10031"/>
                  <a:pt x="17094" y="10000"/>
                  <a:pt x="17094" y="10062"/>
                </a:cubicBezTo>
                <a:cubicBezTo>
                  <a:pt x="17094" y="10062"/>
                  <a:pt x="17094" y="10062"/>
                  <a:pt x="17094" y="10062"/>
                </a:cubicBezTo>
                <a:cubicBezTo>
                  <a:pt x="17094" y="10093"/>
                  <a:pt x="17094" y="10093"/>
                  <a:pt x="17094" y="10125"/>
                </a:cubicBezTo>
                <a:cubicBezTo>
                  <a:pt x="17094" y="10125"/>
                  <a:pt x="17094" y="10125"/>
                  <a:pt x="17094" y="10125"/>
                </a:cubicBezTo>
                <a:cubicBezTo>
                  <a:pt x="17156" y="10031"/>
                  <a:pt x="17188" y="10062"/>
                  <a:pt x="17250" y="10093"/>
                </a:cubicBezTo>
                <a:cubicBezTo>
                  <a:pt x="17313" y="10125"/>
                  <a:pt x="17313" y="10156"/>
                  <a:pt x="17281" y="10187"/>
                </a:cubicBezTo>
                <a:cubicBezTo>
                  <a:pt x="17313" y="10218"/>
                  <a:pt x="17344" y="10187"/>
                  <a:pt x="17344" y="10156"/>
                </a:cubicBezTo>
                <a:cubicBezTo>
                  <a:pt x="17375" y="10156"/>
                  <a:pt x="17406" y="10156"/>
                  <a:pt x="17438" y="10156"/>
                </a:cubicBezTo>
                <a:cubicBezTo>
                  <a:pt x="17438" y="10187"/>
                  <a:pt x="17406" y="10218"/>
                  <a:pt x="17406" y="10218"/>
                </a:cubicBezTo>
                <a:cubicBezTo>
                  <a:pt x="17313" y="10250"/>
                  <a:pt x="17250" y="10312"/>
                  <a:pt x="17188" y="10250"/>
                </a:cubicBezTo>
                <a:cubicBezTo>
                  <a:pt x="17188" y="10250"/>
                  <a:pt x="17188" y="10250"/>
                  <a:pt x="17156" y="10250"/>
                </a:cubicBezTo>
                <a:cubicBezTo>
                  <a:pt x="17219" y="10343"/>
                  <a:pt x="17156" y="10343"/>
                  <a:pt x="17125" y="10343"/>
                </a:cubicBezTo>
                <a:cubicBezTo>
                  <a:pt x="17156" y="10343"/>
                  <a:pt x="17188" y="10375"/>
                  <a:pt x="17219" y="10406"/>
                </a:cubicBezTo>
                <a:cubicBezTo>
                  <a:pt x="17250" y="10312"/>
                  <a:pt x="17375" y="10250"/>
                  <a:pt x="17500" y="10250"/>
                </a:cubicBezTo>
                <a:cubicBezTo>
                  <a:pt x="17500" y="10250"/>
                  <a:pt x="17500" y="10250"/>
                  <a:pt x="17500" y="10250"/>
                </a:cubicBezTo>
                <a:cubicBezTo>
                  <a:pt x="17563" y="10281"/>
                  <a:pt x="17594" y="10375"/>
                  <a:pt x="17656" y="10468"/>
                </a:cubicBezTo>
                <a:cubicBezTo>
                  <a:pt x="17781" y="10624"/>
                  <a:pt x="17906" y="10781"/>
                  <a:pt x="18000" y="10968"/>
                </a:cubicBezTo>
                <a:cubicBezTo>
                  <a:pt x="18031" y="11062"/>
                  <a:pt x="18094" y="11156"/>
                  <a:pt x="18156" y="11249"/>
                </a:cubicBezTo>
                <a:cubicBezTo>
                  <a:pt x="18281" y="11343"/>
                  <a:pt x="18375" y="11499"/>
                  <a:pt x="18469" y="11624"/>
                </a:cubicBezTo>
                <a:cubicBezTo>
                  <a:pt x="18594" y="11812"/>
                  <a:pt x="18719" y="11999"/>
                  <a:pt x="18875" y="12156"/>
                </a:cubicBezTo>
                <a:cubicBezTo>
                  <a:pt x="18906" y="12218"/>
                  <a:pt x="18875" y="12312"/>
                  <a:pt x="19000" y="12312"/>
                </a:cubicBezTo>
                <a:cubicBezTo>
                  <a:pt x="18938" y="12343"/>
                  <a:pt x="18906" y="12281"/>
                  <a:pt x="18906" y="12312"/>
                </a:cubicBezTo>
                <a:cubicBezTo>
                  <a:pt x="18906" y="12343"/>
                  <a:pt x="18906" y="12343"/>
                  <a:pt x="18906" y="12343"/>
                </a:cubicBezTo>
                <a:cubicBezTo>
                  <a:pt x="19063" y="12406"/>
                  <a:pt x="19156" y="12562"/>
                  <a:pt x="19250" y="12687"/>
                </a:cubicBezTo>
                <a:cubicBezTo>
                  <a:pt x="19375" y="12812"/>
                  <a:pt x="19469" y="12937"/>
                  <a:pt x="19594" y="13093"/>
                </a:cubicBezTo>
                <a:cubicBezTo>
                  <a:pt x="19656" y="13187"/>
                  <a:pt x="19719" y="13281"/>
                  <a:pt x="19781" y="13343"/>
                </a:cubicBezTo>
                <a:cubicBezTo>
                  <a:pt x="19875" y="13437"/>
                  <a:pt x="20000" y="13468"/>
                  <a:pt x="20094" y="13499"/>
                </a:cubicBezTo>
                <a:cubicBezTo>
                  <a:pt x="20469" y="13624"/>
                  <a:pt x="20844" y="13718"/>
                  <a:pt x="21219" y="13843"/>
                </a:cubicBezTo>
                <a:cubicBezTo>
                  <a:pt x="21563" y="13937"/>
                  <a:pt x="21906" y="14031"/>
                  <a:pt x="22250" y="14156"/>
                </a:cubicBezTo>
                <a:cubicBezTo>
                  <a:pt x="22375" y="14187"/>
                  <a:pt x="22469" y="14218"/>
                  <a:pt x="22563" y="14281"/>
                </a:cubicBezTo>
                <a:cubicBezTo>
                  <a:pt x="22500" y="14249"/>
                  <a:pt x="22406" y="14249"/>
                  <a:pt x="22344" y="14218"/>
                </a:cubicBezTo>
                <a:cubicBezTo>
                  <a:pt x="21938" y="14093"/>
                  <a:pt x="21531" y="13968"/>
                  <a:pt x="21125" y="13843"/>
                </a:cubicBezTo>
                <a:cubicBezTo>
                  <a:pt x="20781" y="13749"/>
                  <a:pt x="20406" y="13624"/>
                  <a:pt x="20063" y="13531"/>
                </a:cubicBezTo>
                <a:cubicBezTo>
                  <a:pt x="19813" y="13468"/>
                  <a:pt x="19563" y="13374"/>
                  <a:pt x="19313" y="13312"/>
                </a:cubicBezTo>
                <a:cubicBezTo>
                  <a:pt x="19125" y="13249"/>
                  <a:pt x="18906" y="13218"/>
                  <a:pt x="18719" y="13124"/>
                </a:cubicBezTo>
                <a:cubicBezTo>
                  <a:pt x="18531" y="13062"/>
                  <a:pt x="18313" y="13031"/>
                  <a:pt x="18125" y="12968"/>
                </a:cubicBezTo>
                <a:cubicBezTo>
                  <a:pt x="17938" y="12937"/>
                  <a:pt x="17781" y="12874"/>
                  <a:pt x="17625" y="12812"/>
                </a:cubicBezTo>
                <a:cubicBezTo>
                  <a:pt x="17438" y="12781"/>
                  <a:pt x="17250" y="12718"/>
                  <a:pt x="17063" y="12656"/>
                </a:cubicBezTo>
                <a:cubicBezTo>
                  <a:pt x="16625" y="12531"/>
                  <a:pt x="16188" y="12406"/>
                  <a:pt x="15750" y="12281"/>
                </a:cubicBezTo>
                <a:cubicBezTo>
                  <a:pt x="15625" y="12249"/>
                  <a:pt x="15531" y="12218"/>
                  <a:pt x="15406" y="12218"/>
                </a:cubicBezTo>
                <a:cubicBezTo>
                  <a:pt x="15719" y="12312"/>
                  <a:pt x="16063" y="12406"/>
                  <a:pt x="16375" y="12531"/>
                </a:cubicBezTo>
                <a:cubicBezTo>
                  <a:pt x="16531" y="12562"/>
                  <a:pt x="16688" y="12593"/>
                  <a:pt x="16844" y="12656"/>
                </a:cubicBezTo>
                <a:cubicBezTo>
                  <a:pt x="16875" y="12656"/>
                  <a:pt x="16906" y="12656"/>
                  <a:pt x="16906" y="12687"/>
                </a:cubicBezTo>
                <a:cubicBezTo>
                  <a:pt x="16875" y="12812"/>
                  <a:pt x="16906" y="12937"/>
                  <a:pt x="16906" y="13062"/>
                </a:cubicBezTo>
                <a:cubicBezTo>
                  <a:pt x="16938" y="13093"/>
                  <a:pt x="16938" y="13156"/>
                  <a:pt x="16906" y="13187"/>
                </a:cubicBezTo>
                <a:cubicBezTo>
                  <a:pt x="16938" y="13249"/>
                  <a:pt x="16938" y="13343"/>
                  <a:pt x="16938" y="13406"/>
                </a:cubicBezTo>
                <a:cubicBezTo>
                  <a:pt x="16938" y="13406"/>
                  <a:pt x="16938" y="13406"/>
                  <a:pt x="16938" y="13406"/>
                </a:cubicBezTo>
                <a:cubicBezTo>
                  <a:pt x="16969" y="13343"/>
                  <a:pt x="16938" y="13281"/>
                  <a:pt x="16969" y="13218"/>
                </a:cubicBezTo>
                <a:cubicBezTo>
                  <a:pt x="16969" y="13187"/>
                  <a:pt x="16969" y="13187"/>
                  <a:pt x="16969" y="13156"/>
                </a:cubicBezTo>
                <a:cubicBezTo>
                  <a:pt x="16938" y="13124"/>
                  <a:pt x="16938" y="13093"/>
                  <a:pt x="16938" y="13062"/>
                </a:cubicBezTo>
                <a:cubicBezTo>
                  <a:pt x="16938" y="13062"/>
                  <a:pt x="16938" y="13062"/>
                  <a:pt x="16938" y="13062"/>
                </a:cubicBezTo>
                <a:cubicBezTo>
                  <a:pt x="16906" y="12999"/>
                  <a:pt x="16938" y="12937"/>
                  <a:pt x="16938" y="12874"/>
                </a:cubicBezTo>
                <a:cubicBezTo>
                  <a:pt x="16906" y="12656"/>
                  <a:pt x="16906" y="12656"/>
                  <a:pt x="17125" y="12718"/>
                </a:cubicBezTo>
                <a:cubicBezTo>
                  <a:pt x="17438" y="12812"/>
                  <a:pt x="17750" y="12906"/>
                  <a:pt x="18063" y="12999"/>
                </a:cubicBezTo>
                <a:cubicBezTo>
                  <a:pt x="18156" y="13031"/>
                  <a:pt x="18281" y="13062"/>
                  <a:pt x="18375" y="13093"/>
                </a:cubicBezTo>
                <a:cubicBezTo>
                  <a:pt x="18406" y="13093"/>
                  <a:pt x="18438" y="13093"/>
                  <a:pt x="18469" y="13124"/>
                </a:cubicBezTo>
                <a:cubicBezTo>
                  <a:pt x="18500" y="13124"/>
                  <a:pt x="18531" y="13156"/>
                  <a:pt x="18563" y="13156"/>
                </a:cubicBezTo>
                <a:cubicBezTo>
                  <a:pt x="18594" y="13156"/>
                  <a:pt x="18594" y="13156"/>
                  <a:pt x="18594" y="13156"/>
                </a:cubicBezTo>
                <a:cubicBezTo>
                  <a:pt x="18625" y="13156"/>
                  <a:pt x="18625" y="13156"/>
                  <a:pt x="18656" y="13187"/>
                </a:cubicBezTo>
                <a:cubicBezTo>
                  <a:pt x="18656" y="13156"/>
                  <a:pt x="18688" y="13187"/>
                  <a:pt x="18688" y="13187"/>
                </a:cubicBezTo>
                <a:cubicBezTo>
                  <a:pt x="18875" y="13249"/>
                  <a:pt x="19094" y="13312"/>
                  <a:pt x="19281" y="13343"/>
                </a:cubicBezTo>
                <a:cubicBezTo>
                  <a:pt x="19438" y="13406"/>
                  <a:pt x="19625" y="13468"/>
                  <a:pt x="19781" y="13499"/>
                </a:cubicBezTo>
                <a:cubicBezTo>
                  <a:pt x="19813" y="13499"/>
                  <a:pt x="19875" y="13499"/>
                  <a:pt x="19906" y="13531"/>
                </a:cubicBezTo>
                <a:cubicBezTo>
                  <a:pt x="19938" y="13531"/>
                  <a:pt x="19969" y="13562"/>
                  <a:pt x="20000" y="13562"/>
                </a:cubicBezTo>
                <a:cubicBezTo>
                  <a:pt x="20031" y="13562"/>
                  <a:pt x="20031" y="13562"/>
                  <a:pt x="20063" y="13593"/>
                </a:cubicBezTo>
                <a:cubicBezTo>
                  <a:pt x="20250" y="13624"/>
                  <a:pt x="20438" y="13687"/>
                  <a:pt x="20625" y="13749"/>
                </a:cubicBezTo>
                <a:cubicBezTo>
                  <a:pt x="20844" y="13812"/>
                  <a:pt x="21031" y="13874"/>
                  <a:pt x="21250" y="13937"/>
                </a:cubicBezTo>
                <a:cubicBezTo>
                  <a:pt x="21250" y="13937"/>
                  <a:pt x="21281" y="13937"/>
                  <a:pt x="21281" y="13937"/>
                </a:cubicBezTo>
                <a:cubicBezTo>
                  <a:pt x="21313" y="13937"/>
                  <a:pt x="21344" y="13937"/>
                  <a:pt x="21375" y="13999"/>
                </a:cubicBezTo>
                <a:cubicBezTo>
                  <a:pt x="21531" y="14031"/>
                  <a:pt x="21656" y="14062"/>
                  <a:pt x="21813" y="14093"/>
                </a:cubicBezTo>
                <a:cubicBezTo>
                  <a:pt x="22063" y="14187"/>
                  <a:pt x="22281" y="14249"/>
                  <a:pt x="22531" y="14312"/>
                </a:cubicBezTo>
                <a:cubicBezTo>
                  <a:pt x="22563" y="14343"/>
                  <a:pt x="22594" y="14343"/>
                  <a:pt x="22531" y="14406"/>
                </a:cubicBezTo>
                <a:cubicBezTo>
                  <a:pt x="22375" y="14531"/>
                  <a:pt x="22219" y="14656"/>
                  <a:pt x="22063" y="14781"/>
                </a:cubicBezTo>
                <a:cubicBezTo>
                  <a:pt x="22031" y="14812"/>
                  <a:pt x="22031" y="14812"/>
                  <a:pt x="22000" y="14843"/>
                </a:cubicBezTo>
                <a:cubicBezTo>
                  <a:pt x="21969" y="14843"/>
                  <a:pt x="21938" y="14906"/>
                  <a:pt x="21906" y="14937"/>
                </a:cubicBezTo>
                <a:cubicBezTo>
                  <a:pt x="21906" y="14968"/>
                  <a:pt x="21938" y="14968"/>
                  <a:pt x="21938" y="14968"/>
                </a:cubicBezTo>
                <a:cubicBezTo>
                  <a:pt x="22188" y="15031"/>
                  <a:pt x="22406" y="15124"/>
                  <a:pt x="22656" y="15187"/>
                </a:cubicBezTo>
                <a:cubicBezTo>
                  <a:pt x="22750" y="15187"/>
                  <a:pt x="22875" y="15187"/>
                  <a:pt x="22875" y="15343"/>
                </a:cubicBezTo>
                <a:cubicBezTo>
                  <a:pt x="22875" y="15374"/>
                  <a:pt x="22969" y="15374"/>
                  <a:pt x="23000" y="15406"/>
                </a:cubicBezTo>
                <a:cubicBezTo>
                  <a:pt x="23063" y="15437"/>
                  <a:pt x="23094" y="15437"/>
                  <a:pt x="23063" y="15499"/>
                </a:cubicBezTo>
                <a:cubicBezTo>
                  <a:pt x="23063" y="15531"/>
                  <a:pt x="23031" y="15531"/>
                  <a:pt x="23031" y="15531"/>
                </a:cubicBezTo>
                <a:cubicBezTo>
                  <a:pt x="23031" y="15562"/>
                  <a:pt x="23000" y="15593"/>
                  <a:pt x="23031" y="15624"/>
                </a:cubicBezTo>
                <a:cubicBezTo>
                  <a:pt x="23063" y="15656"/>
                  <a:pt x="23031" y="15718"/>
                  <a:pt x="23000" y="15718"/>
                </a:cubicBezTo>
                <a:cubicBezTo>
                  <a:pt x="22906" y="15781"/>
                  <a:pt x="22938" y="15843"/>
                  <a:pt x="22938" y="15874"/>
                </a:cubicBezTo>
                <a:cubicBezTo>
                  <a:pt x="22938" y="16062"/>
                  <a:pt x="22969" y="16249"/>
                  <a:pt x="23063" y="16437"/>
                </a:cubicBezTo>
                <a:cubicBezTo>
                  <a:pt x="23094" y="16468"/>
                  <a:pt x="23094" y="16499"/>
                  <a:pt x="23063" y="16531"/>
                </a:cubicBezTo>
                <a:cubicBezTo>
                  <a:pt x="23000" y="16562"/>
                  <a:pt x="23031" y="16656"/>
                  <a:pt x="22938" y="16593"/>
                </a:cubicBezTo>
                <a:cubicBezTo>
                  <a:pt x="22906" y="16593"/>
                  <a:pt x="22875" y="16562"/>
                  <a:pt x="22844" y="16624"/>
                </a:cubicBezTo>
                <a:cubicBezTo>
                  <a:pt x="22844" y="16593"/>
                  <a:pt x="22813" y="16593"/>
                  <a:pt x="22813" y="16593"/>
                </a:cubicBezTo>
                <a:cubicBezTo>
                  <a:pt x="22813" y="16593"/>
                  <a:pt x="22844" y="16593"/>
                  <a:pt x="22844" y="16624"/>
                </a:cubicBezTo>
                <a:cubicBezTo>
                  <a:pt x="22844" y="16624"/>
                  <a:pt x="22875" y="16624"/>
                  <a:pt x="22875" y="16624"/>
                </a:cubicBezTo>
                <a:cubicBezTo>
                  <a:pt x="22906" y="16624"/>
                  <a:pt x="22906" y="16624"/>
                  <a:pt x="22906" y="16656"/>
                </a:cubicBezTo>
                <a:cubicBezTo>
                  <a:pt x="22938" y="16656"/>
                  <a:pt x="22969" y="16656"/>
                  <a:pt x="22969" y="16687"/>
                </a:cubicBezTo>
                <a:cubicBezTo>
                  <a:pt x="22969" y="16718"/>
                  <a:pt x="22969" y="16718"/>
                  <a:pt x="22969" y="16718"/>
                </a:cubicBezTo>
                <a:cubicBezTo>
                  <a:pt x="22906" y="16749"/>
                  <a:pt x="22906" y="16718"/>
                  <a:pt x="22906" y="16718"/>
                </a:cubicBezTo>
                <a:cubicBezTo>
                  <a:pt x="22844" y="16687"/>
                  <a:pt x="22813" y="16624"/>
                  <a:pt x="22719" y="16624"/>
                </a:cubicBezTo>
                <a:cubicBezTo>
                  <a:pt x="22719" y="16656"/>
                  <a:pt x="22719" y="16656"/>
                  <a:pt x="22719" y="16656"/>
                </a:cubicBezTo>
                <a:cubicBezTo>
                  <a:pt x="22750" y="16687"/>
                  <a:pt x="22813" y="16718"/>
                  <a:pt x="22844" y="16718"/>
                </a:cubicBezTo>
                <a:cubicBezTo>
                  <a:pt x="22938" y="16781"/>
                  <a:pt x="22938" y="16843"/>
                  <a:pt x="22875" y="16906"/>
                </a:cubicBezTo>
                <a:cubicBezTo>
                  <a:pt x="22906" y="16968"/>
                  <a:pt x="22938" y="17031"/>
                  <a:pt x="23000" y="17062"/>
                </a:cubicBezTo>
                <a:cubicBezTo>
                  <a:pt x="23031" y="17093"/>
                  <a:pt x="23031" y="17156"/>
                  <a:pt x="22969" y="17156"/>
                </a:cubicBezTo>
                <a:cubicBezTo>
                  <a:pt x="22875" y="17156"/>
                  <a:pt x="22938" y="17218"/>
                  <a:pt x="22938" y="17249"/>
                </a:cubicBezTo>
                <a:cubicBezTo>
                  <a:pt x="22906" y="17281"/>
                  <a:pt x="22875" y="17218"/>
                  <a:pt x="22844" y="17249"/>
                </a:cubicBezTo>
                <a:cubicBezTo>
                  <a:pt x="22844" y="17281"/>
                  <a:pt x="22875" y="17281"/>
                  <a:pt x="22875" y="17312"/>
                </a:cubicBezTo>
                <a:cubicBezTo>
                  <a:pt x="22875" y="17312"/>
                  <a:pt x="22875" y="17312"/>
                  <a:pt x="22875" y="17312"/>
                </a:cubicBezTo>
                <a:cubicBezTo>
                  <a:pt x="22938" y="17312"/>
                  <a:pt x="22969" y="17374"/>
                  <a:pt x="23031" y="17374"/>
                </a:cubicBezTo>
                <a:cubicBezTo>
                  <a:pt x="23000" y="17281"/>
                  <a:pt x="23063" y="17249"/>
                  <a:pt x="23125" y="17218"/>
                </a:cubicBezTo>
                <a:cubicBezTo>
                  <a:pt x="23125" y="17187"/>
                  <a:pt x="23156" y="17187"/>
                  <a:pt x="23188" y="17218"/>
                </a:cubicBezTo>
                <a:cubicBezTo>
                  <a:pt x="23219" y="17218"/>
                  <a:pt x="23250" y="17249"/>
                  <a:pt x="23281" y="17249"/>
                </a:cubicBezTo>
                <a:cubicBezTo>
                  <a:pt x="23313" y="17249"/>
                  <a:pt x="23375" y="17249"/>
                  <a:pt x="23406" y="17281"/>
                </a:cubicBezTo>
                <a:cubicBezTo>
                  <a:pt x="23438" y="17312"/>
                  <a:pt x="23469" y="17281"/>
                  <a:pt x="23469" y="17249"/>
                </a:cubicBezTo>
                <a:cubicBezTo>
                  <a:pt x="23344" y="17156"/>
                  <a:pt x="23219" y="17031"/>
                  <a:pt x="23094" y="16937"/>
                </a:cubicBezTo>
                <a:cubicBezTo>
                  <a:pt x="23063" y="16937"/>
                  <a:pt x="23063" y="16906"/>
                  <a:pt x="23031" y="16906"/>
                </a:cubicBezTo>
                <a:cubicBezTo>
                  <a:pt x="23000" y="16906"/>
                  <a:pt x="22969" y="16906"/>
                  <a:pt x="23000" y="16874"/>
                </a:cubicBezTo>
                <a:cubicBezTo>
                  <a:pt x="23031" y="16843"/>
                  <a:pt x="23031" y="16874"/>
                  <a:pt x="23063" y="16874"/>
                </a:cubicBezTo>
                <a:cubicBezTo>
                  <a:pt x="23188" y="16999"/>
                  <a:pt x="23344" y="17062"/>
                  <a:pt x="23500" y="17124"/>
                </a:cubicBezTo>
                <a:cubicBezTo>
                  <a:pt x="23531" y="17093"/>
                  <a:pt x="23500" y="17093"/>
                  <a:pt x="23469" y="17062"/>
                </a:cubicBezTo>
                <a:cubicBezTo>
                  <a:pt x="23469" y="17062"/>
                  <a:pt x="23438" y="17062"/>
                  <a:pt x="23406" y="17031"/>
                </a:cubicBezTo>
                <a:cubicBezTo>
                  <a:pt x="23438" y="16999"/>
                  <a:pt x="23469" y="16968"/>
                  <a:pt x="23531" y="17031"/>
                </a:cubicBezTo>
                <a:cubicBezTo>
                  <a:pt x="23688" y="17218"/>
                  <a:pt x="23875" y="17343"/>
                  <a:pt x="24063" y="17499"/>
                </a:cubicBezTo>
                <a:cubicBezTo>
                  <a:pt x="24125" y="17531"/>
                  <a:pt x="24156" y="17624"/>
                  <a:pt x="24125" y="17687"/>
                </a:cubicBezTo>
                <a:cubicBezTo>
                  <a:pt x="24063" y="17749"/>
                  <a:pt x="24000" y="17687"/>
                  <a:pt x="23969" y="17656"/>
                </a:cubicBezTo>
                <a:cubicBezTo>
                  <a:pt x="23875" y="17593"/>
                  <a:pt x="23813" y="17499"/>
                  <a:pt x="23688" y="17499"/>
                </a:cubicBezTo>
                <a:cubicBezTo>
                  <a:pt x="23656" y="17499"/>
                  <a:pt x="23625" y="17437"/>
                  <a:pt x="23563" y="17406"/>
                </a:cubicBezTo>
                <a:cubicBezTo>
                  <a:pt x="23531" y="17374"/>
                  <a:pt x="23594" y="17312"/>
                  <a:pt x="23594" y="17281"/>
                </a:cubicBezTo>
                <a:cubicBezTo>
                  <a:pt x="23625" y="17187"/>
                  <a:pt x="23594" y="17187"/>
                  <a:pt x="23531" y="17187"/>
                </a:cubicBezTo>
                <a:cubicBezTo>
                  <a:pt x="23531" y="17187"/>
                  <a:pt x="23531" y="17187"/>
                  <a:pt x="23531" y="17187"/>
                </a:cubicBezTo>
                <a:cubicBezTo>
                  <a:pt x="23500" y="17218"/>
                  <a:pt x="23500" y="17249"/>
                  <a:pt x="23500" y="17281"/>
                </a:cubicBezTo>
                <a:cubicBezTo>
                  <a:pt x="23500" y="17312"/>
                  <a:pt x="23469" y="17374"/>
                  <a:pt x="23406" y="17312"/>
                </a:cubicBezTo>
                <a:cubicBezTo>
                  <a:pt x="23375" y="17312"/>
                  <a:pt x="23344" y="17312"/>
                  <a:pt x="23313" y="17312"/>
                </a:cubicBezTo>
                <a:cubicBezTo>
                  <a:pt x="23281" y="17312"/>
                  <a:pt x="23250" y="17312"/>
                  <a:pt x="23219" y="17281"/>
                </a:cubicBezTo>
                <a:cubicBezTo>
                  <a:pt x="23188" y="17281"/>
                  <a:pt x="23188" y="17249"/>
                  <a:pt x="23188" y="17249"/>
                </a:cubicBezTo>
                <a:cubicBezTo>
                  <a:pt x="23188" y="17249"/>
                  <a:pt x="23188" y="17281"/>
                  <a:pt x="23219" y="17281"/>
                </a:cubicBezTo>
                <a:cubicBezTo>
                  <a:pt x="23188" y="17281"/>
                  <a:pt x="23188" y="17312"/>
                  <a:pt x="23188" y="17343"/>
                </a:cubicBezTo>
                <a:cubicBezTo>
                  <a:pt x="23281" y="17406"/>
                  <a:pt x="23344" y="17499"/>
                  <a:pt x="23469" y="17562"/>
                </a:cubicBezTo>
                <a:cubicBezTo>
                  <a:pt x="23313" y="17562"/>
                  <a:pt x="23219" y="17499"/>
                  <a:pt x="23094" y="17468"/>
                </a:cubicBezTo>
                <a:cubicBezTo>
                  <a:pt x="23000" y="17468"/>
                  <a:pt x="22938" y="17437"/>
                  <a:pt x="22844" y="17437"/>
                </a:cubicBezTo>
                <a:cubicBezTo>
                  <a:pt x="22813" y="17437"/>
                  <a:pt x="22781" y="17406"/>
                  <a:pt x="22750" y="17374"/>
                </a:cubicBezTo>
                <a:cubicBezTo>
                  <a:pt x="22750" y="17343"/>
                  <a:pt x="22781" y="17312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lnTo>
                  <a:pt x="22813" y="17312"/>
                </a:lnTo>
                <a:cubicBezTo>
                  <a:pt x="22813" y="17281"/>
                  <a:pt x="22781" y="17249"/>
                  <a:pt x="22844" y="17249"/>
                </a:cubicBezTo>
                <a:cubicBezTo>
                  <a:pt x="22844" y="17218"/>
                  <a:pt x="22844" y="17156"/>
                  <a:pt x="22875" y="17124"/>
                </a:cubicBezTo>
                <a:cubicBezTo>
                  <a:pt x="22906" y="17031"/>
                  <a:pt x="22875" y="16999"/>
                  <a:pt x="22781" y="16937"/>
                </a:cubicBezTo>
                <a:cubicBezTo>
                  <a:pt x="22781" y="16937"/>
                  <a:pt x="22781" y="16937"/>
                  <a:pt x="22781" y="16937"/>
                </a:cubicBezTo>
                <a:lnTo>
                  <a:pt x="22781" y="16937"/>
                </a:lnTo>
                <a:cubicBezTo>
                  <a:pt x="22781" y="16937"/>
                  <a:pt x="22813" y="16906"/>
                  <a:pt x="22813" y="16874"/>
                </a:cubicBezTo>
                <a:cubicBezTo>
                  <a:pt x="22813" y="16874"/>
                  <a:pt x="22813" y="16874"/>
                  <a:pt x="22813" y="16843"/>
                </a:cubicBezTo>
                <a:cubicBezTo>
                  <a:pt x="22781" y="16843"/>
                  <a:pt x="22813" y="16843"/>
                  <a:pt x="22813" y="16812"/>
                </a:cubicBezTo>
                <a:cubicBezTo>
                  <a:pt x="22813" y="16812"/>
                  <a:pt x="22813" y="16812"/>
                  <a:pt x="22813" y="16812"/>
                </a:cubicBezTo>
                <a:cubicBezTo>
                  <a:pt x="22813" y="16812"/>
                  <a:pt x="22844" y="16749"/>
                  <a:pt x="22750" y="16781"/>
                </a:cubicBezTo>
                <a:cubicBezTo>
                  <a:pt x="22750" y="16781"/>
                  <a:pt x="22719" y="16781"/>
                  <a:pt x="22688" y="16749"/>
                </a:cubicBezTo>
                <a:cubicBezTo>
                  <a:pt x="22688" y="16718"/>
                  <a:pt x="22656" y="16718"/>
                  <a:pt x="22656" y="16687"/>
                </a:cubicBezTo>
                <a:cubicBezTo>
                  <a:pt x="22656" y="16718"/>
                  <a:pt x="22688" y="16718"/>
                  <a:pt x="22688" y="16749"/>
                </a:cubicBezTo>
                <a:cubicBezTo>
                  <a:pt x="22688" y="16781"/>
                  <a:pt x="22688" y="16781"/>
                  <a:pt x="22656" y="16781"/>
                </a:cubicBezTo>
                <a:cubicBezTo>
                  <a:pt x="22656" y="16812"/>
                  <a:pt x="22625" y="16843"/>
                  <a:pt x="22594" y="16812"/>
                </a:cubicBezTo>
                <a:cubicBezTo>
                  <a:pt x="22563" y="16749"/>
                  <a:pt x="22500" y="16749"/>
                  <a:pt x="22406" y="16718"/>
                </a:cubicBezTo>
                <a:cubicBezTo>
                  <a:pt x="22469" y="16812"/>
                  <a:pt x="22594" y="16781"/>
                  <a:pt x="22594" y="16874"/>
                </a:cubicBezTo>
                <a:cubicBezTo>
                  <a:pt x="22656" y="16906"/>
                  <a:pt x="22719" y="16937"/>
                  <a:pt x="22781" y="16937"/>
                </a:cubicBezTo>
                <a:cubicBezTo>
                  <a:pt x="22781" y="16937"/>
                  <a:pt x="22781" y="16937"/>
                  <a:pt x="22781" y="16937"/>
                </a:cubicBezTo>
                <a:cubicBezTo>
                  <a:pt x="22781" y="16999"/>
                  <a:pt x="22844" y="17062"/>
                  <a:pt x="22781" y="17093"/>
                </a:cubicBezTo>
                <a:cubicBezTo>
                  <a:pt x="22750" y="17031"/>
                  <a:pt x="22625" y="17062"/>
                  <a:pt x="22594" y="16968"/>
                </a:cubicBezTo>
                <a:cubicBezTo>
                  <a:pt x="22563" y="17031"/>
                  <a:pt x="22625" y="17031"/>
                  <a:pt x="22594" y="17093"/>
                </a:cubicBezTo>
                <a:cubicBezTo>
                  <a:pt x="22500" y="16999"/>
                  <a:pt x="22406" y="16937"/>
                  <a:pt x="22313" y="16906"/>
                </a:cubicBezTo>
                <a:cubicBezTo>
                  <a:pt x="22313" y="16906"/>
                  <a:pt x="22313" y="16937"/>
                  <a:pt x="22313" y="16937"/>
                </a:cubicBezTo>
                <a:cubicBezTo>
                  <a:pt x="22313" y="16937"/>
                  <a:pt x="22344" y="16937"/>
                  <a:pt x="22344" y="16937"/>
                </a:cubicBezTo>
                <a:cubicBezTo>
                  <a:pt x="22375" y="16968"/>
                  <a:pt x="22406" y="16968"/>
                  <a:pt x="22406" y="16999"/>
                </a:cubicBezTo>
                <a:cubicBezTo>
                  <a:pt x="22406" y="16999"/>
                  <a:pt x="22375" y="17031"/>
                  <a:pt x="22375" y="17031"/>
                </a:cubicBezTo>
                <a:cubicBezTo>
                  <a:pt x="22344" y="17031"/>
                  <a:pt x="22313" y="17031"/>
                  <a:pt x="22313" y="16999"/>
                </a:cubicBezTo>
                <a:cubicBezTo>
                  <a:pt x="22313" y="16999"/>
                  <a:pt x="22313" y="16968"/>
                  <a:pt x="22281" y="16968"/>
                </a:cubicBezTo>
                <a:cubicBezTo>
                  <a:pt x="22281" y="16968"/>
                  <a:pt x="22281" y="16968"/>
                  <a:pt x="22281" y="16968"/>
                </a:cubicBezTo>
                <a:cubicBezTo>
                  <a:pt x="22250" y="16906"/>
                  <a:pt x="22219" y="16874"/>
                  <a:pt x="22188" y="16843"/>
                </a:cubicBezTo>
                <a:cubicBezTo>
                  <a:pt x="22188" y="16843"/>
                  <a:pt x="22188" y="16843"/>
                  <a:pt x="22188" y="16843"/>
                </a:cubicBezTo>
                <a:cubicBezTo>
                  <a:pt x="22125" y="16812"/>
                  <a:pt x="22125" y="16843"/>
                  <a:pt x="22094" y="16874"/>
                </a:cubicBezTo>
                <a:cubicBezTo>
                  <a:pt x="22094" y="16906"/>
                  <a:pt x="22063" y="16937"/>
                  <a:pt x="22031" y="16937"/>
                </a:cubicBezTo>
                <a:cubicBezTo>
                  <a:pt x="22031" y="16999"/>
                  <a:pt x="22000" y="16968"/>
                  <a:pt x="21969" y="16968"/>
                </a:cubicBezTo>
                <a:cubicBezTo>
                  <a:pt x="21906" y="16937"/>
                  <a:pt x="21875" y="16874"/>
                  <a:pt x="21813" y="16874"/>
                </a:cubicBezTo>
                <a:cubicBezTo>
                  <a:pt x="21813" y="16874"/>
                  <a:pt x="21813" y="16874"/>
                  <a:pt x="21813" y="16874"/>
                </a:cubicBezTo>
                <a:cubicBezTo>
                  <a:pt x="21813" y="16874"/>
                  <a:pt x="21813" y="16874"/>
                  <a:pt x="21813" y="16874"/>
                </a:cubicBezTo>
                <a:cubicBezTo>
                  <a:pt x="21813" y="16874"/>
                  <a:pt x="21813" y="16874"/>
                  <a:pt x="21813" y="16874"/>
                </a:cubicBezTo>
                <a:cubicBezTo>
                  <a:pt x="21750" y="16812"/>
                  <a:pt x="21656" y="16749"/>
                  <a:pt x="21531" y="16718"/>
                </a:cubicBezTo>
                <a:cubicBezTo>
                  <a:pt x="21531" y="16749"/>
                  <a:pt x="21563" y="16749"/>
                  <a:pt x="21563" y="16781"/>
                </a:cubicBezTo>
                <a:cubicBezTo>
                  <a:pt x="21563" y="16781"/>
                  <a:pt x="21563" y="16781"/>
                  <a:pt x="21563" y="16781"/>
                </a:cubicBezTo>
                <a:cubicBezTo>
                  <a:pt x="21594" y="16781"/>
                  <a:pt x="21625" y="16812"/>
                  <a:pt x="21656" y="16812"/>
                </a:cubicBezTo>
                <a:cubicBezTo>
                  <a:pt x="21719" y="16843"/>
                  <a:pt x="21750" y="16906"/>
                  <a:pt x="21813" y="16874"/>
                </a:cubicBezTo>
                <a:cubicBezTo>
                  <a:pt x="21813" y="16937"/>
                  <a:pt x="21844" y="16937"/>
                  <a:pt x="21875" y="16937"/>
                </a:cubicBezTo>
                <a:cubicBezTo>
                  <a:pt x="22000" y="17031"/>
                  <a:pt x="22000" y="17062"/>
                  <a:pt x="21875" y="17187"/>
                </a:cubicBezTo>
                <a:cubicBezTo>
                  <a:pt x="21844" y="17187"/>
                  <a:pt x="21813" y="17187"/>
                  <a:pt x="21875" y="17249"/>
                </a:cubicBezTo>
                <a:cubicBezTo>
                  <a:pt x="21875" y="17249"/>
                  <a:pt x="21875" y="17249"/>
                  <a:pt x="21875" y="17249"/>
                </a:cubicBezTo>
                <a:cubicBezTo>
                  <a:pt x="21906" y="17281"/>
                  <a:pt x="21969" y="17312"/>
                  <a:pt x="21938" y="17343"/>
                </a:cubicBezTo>
                <a:cubicBezTo>
                  <a:pt x="21906" y="17406"/>
                  <a:pt x="21875" y="17312"/>
                  <a:pt x="21844" y="17312"/>
                </a:cubicBezTo>
                <a:cubicBezTo>
                  <a:pt x="21844" y="17312"/>
                  <a:pt x="21844" y="17312"/>
                  <a:pt x="21813" y="17312"/>
                </a:cubicBezTo>
                <a:cubicBezTo>
                  <a:pt x="21813" y="17343"/>
                  <a:pt x="21844" y="17374"/>
                  <a:pt x="21813" y="17374"/>
                </a:cubicBezTo>
                <a:cubicBezTo>
                  <a:pt x="21781" y="17374"/>
                  <a:pt x="21750" y="17343"/>
                  <a:pt x="21750" y="17312"/>
                </a:cubicBezTo>
                <a:cubicBezTo>
                  <a:pt x="21750" y="17312"/>
                  <a:pt x="21750" y="17312"/>
                  <a:pt x="21750" y="17312"/>
                </a:cubicBezTo>
                <a:cubicBezTo>
                  <a:pt x="21688" y="17312"/>
                  <a:pt x="21656" y="17249"/>
                  <a:pt x="21625" y="17218"/>
                </a:cubicBezTo>
                <a:cubicBezTo>
                  <a:pt x="21625" y="17218"/>
                  <a:pt x="21625" y="17218"/>
                  <a:pt x="21625" y="17218"/>
                </a:cubicBezTo>
                <a:cubicBezTo>
                  <a:pt x="21531" y="17187"/>
                  <a:pt x="21500" y="17124"/>
                  <a:pt x="21469" y="17062"/>
                </a:cubicBezTo>
                <a:cubicBezTo>
                  <a:pt x="21438" y="17062"/>
                  <a:pt x="21406" y="17062"/>
                  <a:pt x="21406" y="17062"/>
                </a:cubicBezTo>
                <a:cubicBezTo>
                  <a:pt x="21406" y="17062"/>
                  <a:pt x="21406" y="17093"/>
                  <a:pt x="21375" y="17093"/>
                </a:cubicBezTo>
                <a:cubicBezTo>
                  <a:pt x="21313" y="17124"/>
                  <a:pt x="21094" y="17031"/>
                  <a:pt x="21031" y="16968"/>
                </a:cubicBezTo>
                <a:cubicBezTo>
                  <a:pt x="20938" y="16843"/>
                  <a:pt x="20844" y="16718"/>
                  <a:pt x="20750" y="16593"/>
                </a:cubicBezTo>
                <a:cubicBezTo>
                  <a:pt x="20719" y="16562"/>
                  <a:pt x="20688" y="16531"/>
                  <a:pt x="20688" y="16531"/>
                </a:cubicBezTo>
                <a:cubicBezTo>
                  <a:pt x="20625" y="16499"/>
                  <a:pt x="20625" y="16531"/>
                  <a:pt x="20625" y="16562"/>
                </a:cubicBezTo>
                <a:cubicBezTo>
                  <a:pt x="20750" y="16687"/>
                  <a:pt x="20844" y="16843"/>
                  <a:pt x="20938" y="16968"/>
                </a:cubicBezTo>
                <a:cubicBezTo>
                  <a:pt x="20938" y="16999"/>
                  <a:pt x="20938" y="16999"/>
                  <a:pt x="20938" y="16999"/>
                </a:cubicBezTo>
                <a:cubicBezTo>
                  <a:pt x="20813" y="16906"/>
                  <a:pt x="20688" y="16812"/>
                  <a:pt x="20563" y="16749"/>
                </a:cubicBezTo>
                <a:cubicBezTo>
                  <a:pt x="20500" y="16718"/>
                  <a:pt x="20500" y="16718"/>
                  <a:pt x="20531" y="16687"/>
                </a:cubicBezTo>
                <a:cubicBezTo>
                  <a:pt x="20563" y="16656"/>
                  <a:pt x="20594" y="16593"/>
                  <a:pt x="20625" y="16562"/>
                </a:cubicBezTo>
                <a:cubicBezTo>
                  <a:pt x="20625" y="16531"/>
                  <a:pt x="20594" y="16499"/>
                  <a:pt x="20563" y="16499"/>
                </a:cubicBezTo>
                <a:cubicBezTo>
                  <a:pt x="20500" y="16562"/>
                  <a:pt x="20469" y="16624"/>
                  <a:pt x="20438" y="16656"/>
                </a:cubicBezTo>
                <a:cubicBezTo>
                  <a:pt x="20375" y="16656"/>
                  <a:pt x="20313" y="16593"/>
                  <a:pt x="20250" y="16562"/>
                </a:cubicBezTo>
                <a:cubicBezTo>
                  <a:pt x="20250" y="16531"/>
                  <a:pt x="20219" y="16531"/>
                  <a:pt x="20188" y="16531"/>
                </a:cubicBezTo>
                <a:cubicBezTo>
                  <a:pt x="20094" y="16562"/>
                  <a:pt x="20063" y="16437"/>
                  <a:pt x="19969" y="16437"/>
                </a:cubicBezTo>
                <a:lnTo>
                  <a:pt x="19969" y="16437"/>
                </a:lnTo>
                <a:cubicBezTo>
                  <a:pt x="20031" y="16531"/>
                  <a:pt x="20094" y="16593"/>
                  <a:pt x="20125" y="16656"/>
                </a:cubicBezTo>
                <a:cubicBezTo>
                  <a:pt x="20156" y="16718"/>
                  <a:pt x="20188" y="16749"/>
                  <a:pt x="20250" y="16812"/>
                </a:cubicBezTo>
                <a:cubicBezTo>
                  <a:pt x="20250" y="16843"/>
                  <a:pt x="20281" y="16843"/>
                  <a:pt x="20313" y="16812"/>
                </a:cubicBezTo>
                <a:cubicBezTo>
                  <a:pt x="20313" y="16781"/>
                  <a:pt x="20344" y="16781"/>
                  <a:pt x="20375" y="16749"/>
                </a:cubicBezTo>
                <a:cubicBezTo>
                  <a:pt x="20375" y="16718"/>
                  <a:pt x="20406" y="16687"/>
                  <a:pt x="20344" y="16656"/>
                </a:cubicBezTo>
                <a:cubicBezTo>
                  <a:pt x="20313" y="16656"/>
                  <a:pt x="20281" y="16624"/>
                  <a:pt x="20250" y="16593"/>
                </a:cubicBezTo>
                <a:cubicBezTo>
                  <a:pt x="20250" y="16593"/>
                  <a:pt x="20188" y="16593"/>
                  <a:pt x="20188" y="16531"/>
                </a:cubicBezTo>
                <a:cubicBezTo>
                  <a:pt x="20125" y="16437"/>
                  <a:pt x="20063" y="16406"/>
                  <a:pt x="19969" y="16374"/>
                </a:cubicBezTo>
                <a:cubicBezTo>
                  <a:pt x="19906" y="16343"/>
                  <a:pt x="19906" y="16312"/>
                  <a:pt x="19969" y="16249"/>
                </a:cubicBezTo>
                <a:cubicBezTo>
                  <a:pt x="19969" y="16218"/>
                  <a:pt x="20000" y="16187"/>
                  <a:pt x="20031" y="16156"/>
                </a:cubicBezTo>
                <a:cubicBezTo>
                  <a:pt x="20031" y="16124"/>
                  <a:pt x="20063" y="16093"/>
                  <a:pt x="20094" y="16093"/>
                </a:cubicBezTo>
                <a:cubicBezTo>
                  <a:pt x="20125" y="16031"/>
                  <a:pt x="20188" y="16031"/>
                  <a:pt x="20219" y="16062"/>
                </a:cubicBezTo>
                <a:cubicBezTo>
                  <a:pt x="20188" y="15999"/>
                  <a:pt x="20125" y="15968"/>
                  <a:pt x="20063" y="15968"/>
                </a:cubicBezTo>
                <a:cubicBezTo>
                  <a:pt x="20094" y="15999"/>
                  <a:pt x="20063" y="16031"/>
                  <a:pt x="20031" y="16031"/>
                </a:cubicBezTo>
                <a:cubicBezTo>
                  <a:pt x="20000" y="16062"/>
                  <a:pt x="20000" y="16062"/>
                  <a:pt x="19969" y="16031"/>
                </a:cubicBezTo>
                <a:cubicBezTo>
                  <a:pt x="19875" y="15968"/>
                  <a:pt x="19781" y="15906"/>
                  <a:pt x="19656" y="15874"/>
                </a:cubicBezTo>
                <a:cubicBezTo>
                  <a:pt x="19719" y="15937"/>
                  <a:pt x="19813" y="15999"/>
                  <a:pt x="19906" y="16031"/>
                </a:cubicBezTo>
                <a:cubicBezTo>
                  <a:pt x="19938" y="16062"/>
                  <a:pt x="19969" y="16093"/>
                  <a:pt x="19969" y="16124"/>
                </a:cubicBezTo>
                <a:cubicBezTo>
                  <a:pt x="19938" y="16156"/>
                  <a:pt x="19906" y="16187"/>
                  <a:pt x="19875" y="16218"/>
                </a:cubicBezTo>
                <a:cubicBezTo>
                  <a:pt x="19813" y="16249"/>
                  <a:pt x="19813" y="16187"/>
                  <a:pt x="19813" y="16156"/>
                </a:cubicBezTo>
                <a:cubicBezTo>
                  <a:pt x="19719" y="16062"/>
                  <a:pt x="19656" y="15968"/>
                  <a:pt x="19594" y="15874"/>
                </a:cubicBezTo>
                <a:cubicBezTo>
                  <a:pt x="19563" y="15843"/>
                  <a:pt x="19531" y="15812"/>
                  <a:pt x="19469" y="15812"/>
                </a:cubicBezTo>
                <a:cubicBezTo>
                  <a:pt x="19531" y="15968"/>
                  <a:pt x="19656" y="16031"/>
                  <a:pt x="19719" y="16187"/>
                </a:cubicBezTo>
                <a:cubicBezTo>
                  <a:pt x="19594" y="16124"/>
                  <a:pt x="19500" y="16031"/>
                  <a:pt x="19344" y="15999"/>
                </a:cubicBezTo>
                <a:cubicBezTo>
                  <a:pt x="19469" y="16093"/>
                  <a:pt x="19594" y="16187"/>
                  <a:pt x="19719" y="16249"/>
                </a:cubicBezTo>
                <a:cubicBezTo>
                  <a:pt x="19781" y="16281"/>
                  <a:pt x="19781" y="16312"/>
                  <a:pt x="19750" y="16343"/>
                </a:cubicBezTo>
                <a:cubicBezTo>
                  <a:pt x="19594" y="16468"/>
                  <a:pt x="19625" y="16468"/>
                  <a:pt x="19469" y="16374"/>
                </a:cubicBezTo>
                <a:cubicBezTo>
                  <a:pt x="19375" y="16281"/>
                  <a:pt x="19250" y="16218"/>
                  <a:pt x="19156" y="16156"/>
                </a:cubicBezTo>
                <a:cubicBezTo>
                  <a:pt x="19094" y="16124"/>
                  <a:pt x="19094" y="16124"/>
                  <a:pt x="19125" y="16062"/>
                </a:cubicBezTo>
                <a:cubicBezTo>
                  <a:pt x="19219" y="15999"/>
                  <a:pt x="19313" y="15937"/>
                  <a:pt x="19375" y="15874"/>
                </a:cubicBezTo>
                <a:cubicBezTo>
                  <a:pt x="19375" y="15843"/>
                  <a:pt x="19438" y="15843"/>
                  <a:pt x="19406" y="15812"/>
                </a:cubicBezTo>
                <a:cubicBezTo>
                  <a:pt x="19375" y="15781"/>
                  <a:pt x="19344" y="15781"/>
                  <a:pt x="19313" y="15812"/>
                </a:cubicBezTo>
                <a:cubicBezTo>
                  <a:pt x="19313" y="15812"/>
                  <a:pt x="19281" y="15843"/>
                  <a:pt x="19250" y="15874"/>
                </a:cubicBezTo>
                <a:cubicBezTo>
                  <a:pt x="19250" y="15906"/>
                  <a:pt x="19219" y="15906"/>
                  <a:pt x="19188" y="15906"/>
                </a:cubicBezTo>
                <a:cubicBezTo>
                  <a:pt x="19188" y="15906"/>
                  <a:pt x="19188" y="15937"/>
                  <a:pt x="19188" y="15937"/>
                </a:cubicBezTo>
                <a:cubicBezTo>
                  <a:pt x="19188" y="15937"/>
                  <a:pt x="19156" y="15937"/>
                  <a:pt x="19156" y="15937"/>
                </a:cubicBezTo>
                <a:cubicBezTo>
                  <a:pt x="19156" y="15937"/>
                  <a:pt x="19156" y="15937"/>
                  <a:pt x="19156" y="15937"/>
                </a:cubicBezTo>
                <a:cubicBezTo>
                  <a:pt x="19156" y="15937"/>
                  <a:pt x="19156" y="15968"/>
                  <a:pt x="19156" y="15968"/>
                </a:cubicBezTo>
                <a:cubicBezTo>
                  <a:pt x="19156" y="15968"/>
                  <a:pt x="19125" y="15968"/>
                  <a:pt x="19125" y="15968"/>
                </a:cubicBezTo>
                <a:cubicBezTo>
                  <a:pt x="19063" y="16062"/>
                  <a:pt x="19031" y="16062"/>
                  <a:pt x="19000" y="15968"/>
                </a:cubicBezTo>
                <a:cubicBezTo>
                  <a:pt x="18938" y="15874"/>
                  <a:pt x="18875" y="15812"/>
                  <a:pt x="18844" y="15718"/>
                </a:cubicBezTo>
                <a:cubicBezTo>
                  <a:pt x="18813" y="15718"/>
                  <a:pt x="18813" y="15687"/>
                  <a:pt x="18813" y="15687"/>
                </a:cubicBezTo>
                <a:cubicBezTo>
                  <a:pt x="18813" y="15656"/>
                  <a:pt x="18844" y="15656"/>
                  <a:pt x="18875" y="15656"/>
                </a:cubicBezTo>
                <a:cubicBezTo>
                  <a:pt x="18844" y="15656"/>
                  <a:pt x="18813" y="15656"/>
                  <a:pt x="18813" y="15687"/>
                </a:cubicBezTo>
                <a:cubicBezTo>
                  <a:pt x="18781" y="15656"/>
                  <a:pt x="18750" y="15624"/>
                  <a:pt x="18719" y="15624"/>
                </a:cubicBezTo>
                <a:cubicBezTo>
                  <a:pt x="18750" y="15749"/>
                  <a:pt x="18875" y="15874"/>
                  <a:pt x="18906" y="15999"/>
                </a:cubicBezTo>
                <a:cubicBezTo>
                  <a:pt x="18781" y="15906"/>
                  <a:pt x="18625" y="15812"/>
                  <a:pt x="18500" y="15718"/>
                </a:cubicBezTo>
                <a:cubicBezTo>
                  <a:pt x="18531" y="15687"/>
                  <a:pt x="18594" y="15656"/>
                  <a:pt x="18625" y="15593"/>
                </a:cubicBezTo>
                <a:cubicBezTo>
                  <a:pt x="18594" y="15562"/>
                  <a:pt x="18531" y="15593"/>
                  <a:pt x="18500" y="15624"/>
                </a:cubicBezTo>
                <a:cubicBezTo>
                  <a:pt x="18438" y="15687"/>
                  <a:pt x="18406" y="15656"/>
                  <a:pt x="18344" y="15624"/>
                </a:cubicBezTo>
                <a:cubicBezTo>
                  <a:pt x="18313" y="15624"/>
                  <a:pt x="18281" y="15562"/>
                  <a:pt x="18219" y="15562"/>
                </a:cubicBezTo>
                <a:cubicBezTo>
                  <a:pt x="18219" y="15562"/>
                  <a:pt x="18188" y="15562"/>
                  <a:pt x="18188" y="15562"/>
                </a:cubicBezTo>
                <a:cubicBezTo>
                  <a:pt x="18250" y="15593"/>
                  <a:pt x="18281" y="15624"/>
                  <a:pt x="18344" y="15687"/>
                </a:cubicBezTo>
                <a:cubicBezTo>
                  <a:pt x="18375" y="15687"/>
                  <a:pt x="18406" y="15718"/>
                  <a:pt x="18344" y="15749"/>
                </a:cubicBezTo>
                <a:cubicBezTo>
                  <a:pt x="18344" y="15749"/>
                  <a:pt x="18344" y="15749"/>
                  <a:pt x="18344" y="15749"/>
                </a:cubicBezTo>
                <a:cubicBezTo>
                  <a:pt x="18344" y="15781"/>
                  <a:pt x="18313" y="15812"/>
                  <a:pt x="18281" y="15812"/>
                </a:cubicBezTo>
                <a:cubicBezTo>
                  <a:pt x="18250" y="15843"/>
                  <a:pt x="18219" y="15874"/>
                  <a:pt x="18188" y="15812"/>
                </a:cubicBezTo>
                <a:cubicBezTo>
                  <a:pt x="18125" y="15687"/>
                  <a:pt x="18063" y="15593"/>
                  <a:pt x="18000" y="15499"/>
                </a:cubicBezTo>
                <a:cubicBezTo>
                  <a:pt x="17969" y="15499"/>
                  <a:pt x="17938" y="15437"/>
                  <a:pt x="17906" y="15437"/>
                </a:cubicBezTo>
                <a:cubicBezTo>
                  <a:pt x="17906" y="15437"/>
                  <a:pt x="17906" y="15406"/>
                  <a:pt x="17906" y="15406"/>
                </a:cubicBezTo>
                <a:cubicBezTo>
                  <a:pt x="17906" y="15406"/>
                  <a:pt x="17906" y="15437"/>
                  <a:pt x="17906" y="15437"/>
                </a:cubicBezTo>
                <a:cubicBezTo>
                  <a:pt x="17906" y="15531"/>
                  <a:pt x="18000" y="15593"/>
                  <a:pt x="18031" y="15687"/>
                </a:cubicBezTo>
                <a:cubicBezTo>
                  <a:pt x="18063" y="15718"/>
                  <a:pt x="18063" y="15749"/>
                  <a:pt x="18094" y="15812"/>
                </a:cubicBezTo>
                <a:cubicBezTo>
                  <a:pt x="17969" y="15749"/>
                  <a:pt x="17906" y="15624"/>
                  <a:pt x="17781" y="15624"/>
                </a:cubicBezTo>
                <a:cubicBezTo>
                  <a:pt x="17750" y="15656"/>
                  <a:pt x="17813" y="15656"/>
                  <a:pt x="17813" y="15687"/>
                </a:cubicBezTo>
                <a:cubicBezTo>
                  <a:pt x="17938" y="15749"/>
                  <a:pt x="18000" y="15812"/>
                  <a:pt x="18125" y="15874"/>
                </a:cubicBezTo>
                <a:cubicBezTo>
                  <a:pt x="18156" y="15874"/>
                  <a:pt x="18156" y="15906"/>
                  <a:pt x="18125" y="15937"/>
                </a:cubicBezTo>
                <a:cubicBezTo>
                  <a:pt x="17938" y="16062"/>
                  <a:pt x="17938" y="16062"/>
                  <a:pt x="17750" y="15968"/>
                </a:cubicBezTo>
                <a:cubicBezTo>
                  <a:pt x="17656" y="15874"/>
                  <a:pt x="17563" y="15812"/>
                  <a:pt x="17438" y="15749"/>
                </a:cubicBezTo>
                <a:cubicBezTo>
                  <a:pt x="17375" y="15718"/>
                  <a:pt x="17406" y="15718"/>
                  <a:pt x="17438" y="15687"/>
                </a:cubicBezTo>
                <a:cubicBezTo>
                  <a:pt x="17469" y="15656"/>
                  <a:pt x="17531" y="15624"/>
                  <a:pt x="17563" y="15593"/>
                </a:cubicBezTo>
                <a:cubicBezTo>
                  <a:pt x="17625" y="15531"/>
                  <a:pt x="17656" y="15562"/>
                  <a:pt x="17719" y="15593"/>
                </a:cubicBezTo>
                <a:lnTo>
                  <a:pt x="17719" y="15593"/>
                </a:lnTo>
                <a:cubicBezTo>
                  <a:pt x="17719" y="15624"/>
                  <a:pt x="17750" y="15624"/>
                  <a:pt x="17781" y="15624"/>
                </a:cubicBezTo>
                <a:cubicBezTo>
                  <a:pt x="17719" y="15562"/>
                  <a:pt x="17813" y="15499"/>
                  <a:pt x="17781" y="15437"/>
                </a:cubicBezTo>
                <a:cubicBezTo>
                  <a:pt x="17781" y="15437"/>
                  <a:pt x="17813" y="15406"/>
                  <a:pt x="17781" y="15406"/>
                </a:cubicBezTo>
                <a:cubicBezTo>
                  <a:pt x="17625" y="15374"/>
                  <a:pt x="17781" y="15343"/>
                  <a:pt x="17781" y="15312"/>
                </a:cubicBezTo>
                <a:cubicBezTo>
                  <a:pt x="17781" y="15281"/>
                  <a:pt x="17750" y="15281"/>
                  <a:pt x="17719" y="15281"/>
                </a:cubicBezTo>
                <a:cubicBezTo>
                  <a:pt x="17656" y="15343"/>
                  <a:pt x="17625" y="15343"/>
                  <a:pt x="17594" y="15281"/>
                </a:cubicBezTo>
                <a:cubicBezTo>
                  <a:pt x="17594" y="15249"/>
                  <a:pt x="17594" y="15249"/>
                  <a:pt x="17625" y="15218"/>
                </a:cubicBezTo>
                <a:cubicBezTo>
                  <a:pt x="17625" y="15218"/>
                  <a:pt x="17656" y="15187"/>
                  <a:pt x="17656" y="15187"/>
                </a:cubicBezTo>
                <a:cubicBezTo>
                  <a:pt x="17656" y="15156"/>
                  <a:pt x="17656" y="15156"/>
                  <a:pt x="17656" y="15124"/>
                </a:cubicBezTo>
                <a:cubicBezTo>
                  <a:pt x="17656" y="15124"/>
                  <a:pt x="17625" y="15124"/>
                  <a:pt x="17625" y="15124"/>
                </a:cubicBezTo>
                <a:cubicBezTo>
                  <a:pt x="17594" y="15156"/>
                  <a:pt x="17563" y="15187"/>
                  <a:pt x="17531" y="15187"/>
                </a:cubicBezTo>
                <a:cubicBezTo>
                  <a:pt x="17500" y="15281"/>
                  <a:pt x="17563" y="15312"/>
                  <a:pt x="17594" y="15374"/>
                </a:cubicBezTo>
                <a:cubicBezTo>
                  <a:pt x="17625" y="15406"/>
                  <a:pt x="17656" y="15406"/>
                  <a:pt x="17625" y="15468"/>
                </a:cubicBezTo>
                <a:cubicBezTo>
                  <a:pt x="17594" y="15499"/>
                  <a:pt x="17563" y="15468"/>
                  <a:pt x="17531" y="15437"/>
                </a:cubicBezTo>
                <a:cubicBezTo>
                  <a:pt x="17438" y="15374"/>
                  <a:pt x="17344" y="15312"/>
                  <a:pt x="17250" y="15249"/>
                </a:cubicBezTo>
                <a:cubicBezTo>
                  <a:pt x="17313" y="15374"/>
                  <a:pt x="17469" y="15406"/>
                  <a:pt x="17531" y="15531"/>
                </a:cubicBezTo>
                <a:cubicBezTo>
                  <a:pt x="17500" y="15562"/>
                  <a:pt x="17438" y="15593"/>
                  <a:pt x="17406" y="15624"/>
                </a:cubicBezTo>
                <a:cubicBezTo>
                  <a:pt x="17375" y="15656"/>
                  <a:pt x="17344" y="15624"/>
                  <a:pt x="17344" y="15593"/>
                </a:cubicBezTo>
                <a:cubicBezTo>
                  <a:pt x="17281" y="15499"/>
                  <a:pt x="17219" y="15406"/>
                  <a:pt x="17188" y="15312"/>
                </a:cubicBezTo>
                <a:cubicBezTo>
                  <a:pt x="17156" y="15249"/>
                  <a:pt x="17125" y="15218"/>
                  <a:pt x="17063" y="15218"/>
                </a:cubicBezTo>
                <a:cubicBezTo>
                  <a:pt x="17125" y="15343"/>
                  <a:pt x="17156" y="15437"/>
                  <a:pt x="17219" y="15562"/>
                </a:cubicBezTo>
                <a:cubicBezTo>
                  <a:pt x="17188" y="15593"/>
                  <a:pt x="17156" y="15562"/>
                  <a:pt x="17156" y="15562"/>
                </a:cubicBezTo>
                <a:cubicBezTo>
                  <a:pt x="17063" y="15499"/>
                  <a:pt x="16969" y="15437"/>
                  <a:pt x="16875" y="15374"/>
                </a:cubicBezTo>
                <a:cubicBezTo>
                  <a:pt x="16844" y="15343"/>
                  <a:pt x="16813" y="15312"/>
                  <a:pt x="16906" y="15249"/>
                </a:cubicBezTo>
                <a:cubicBezTo>
                  <a:pt x="16938" y="15249"/>
                  <a:pt x="16938" y="15218"/>
                  <a:pt x="16969" y="15218"/>
                </a:cubicBezTo>
                <a:cubicBezTo>
                  <a:pt x="16875" y="15156"/>
                  <a:pt x="16813" y="15281"/>
                  <a:pt x="16719" y="15281"/>
                </a:cubicBezTo>
                <a:cubicBezTo>
                  <a:pt x="16688" y="15249"/>
                  <a:pt x="16656" y="15218"/>
                  <a:pt x="16625" y="15187"/>
                </a:cubicBezTo>
                <a:cubicBezTo>
                  <a:pt x="16656" y="15218"/>
                  <a:pt x="16688" y="15249"/>
                  <a:pt x="16719" y="15281"/>
                </a:cubicBezTo>
                <a:cubicBezTo>
                  <a:pt x="16719" y="15281"/>
                  <a:pt x="16688" y="15281"/>
                  <a:pt x="16688" y="15312"/>
                </a:cubicBezTo>
                <a:cubicBezTo>
                  <a:pt x="16688" y="15312"/>
                  <a:pt x="16688" y="15312"/>
                  <a:pt x="16688" y="15312"/>
                </a:cubicBezTo>
                <a:cubicBezTo>
                  <a:pt x="16469" y="15468"/>
                  <a:pt x="16469" y="15437"/>
                  <a:pt x="16375" y="15218"/>
                </a:cubicBezTo>
                <a:cubicBezTo>
                  <a:pt x="16344" y="15156"/>
                  <a:pt x="16313" y="15093"/>
                  <a:pt x="16281" y="15031"/>
                </a:cubicBezTo>
                <a:cubicBezTo>
                  <a:pt x="16281" y="14999"/>
                  <a:pt x="16219" y="14999"/>
                  <a:pt x="16219" y="14999"/>
                </a:cubicBezTo>
                <a:cubicBezTo>
                  <a:pt x="16188" y="15031"/>
                  <a:pt x="16219" y="15062"/>
                  <a:pt x="16219" y="15062"/>
                </a:cubicBezTo>
                <a:cubicBezTo>
                  <a:pt x="16250" y="15156"/>
                  <a:pt x="16281" y="15249"/>
                  <a:pt x="16344" y="15312"/>
                </a:cubicBezTo>
                <a:cubicBezTo>
                  <a:pt x="16375" y="15406"/>
                  <a:pt x="16313" y="15374"/>
                  <a:pt x="16281" y="15374"/>
                </a:cubicBezTo>
                <a:cubicBezTo>
                  <a:pt x="16281" y="15374"/>
                  <a:pt x="16281" y="15374"/>
                  <a:pt x="16281" y="15374"/>
                </a:cubicBezTo>
                <a:lnTo>
                  <a:pt x="16281" y="15374"/>
                </a:lnTo>
                <a:cubicBezTo>
                  <a:pt x="16281" y="15312"/>
                  <a:pt x="16250" y="15312"/>
                  <a:pt x="16188" y="15312"/>
                </a:cubicBezTo>
                <a:cubicBezTo>
                  <a:pt x="16219" y="15343"/>
                  <a:pt x="16250" y="15374"/>
                  <a:pt x="16281" y="15374"/>
                </a:cubicBezTo>
                <a:cubicBezTo>
                  <a:pt x="16281" y="15374"/>
                  <a:pt x="16281" y="15374"/>
                  <a:pt x="16281" y="15374"/>
                </a:cubicBezTo>
                <a:cubicBezTo>
                  <a:pt x="16281" y="15374"/>
                  <a:pt x="16281" y="15406"/>
                  <a:pt x="16281" y="15406"/>
                </a:cubicBezTo>
                <a:cubicBezTo>
                  <a:pt x="16375" y="15468"/>
                  <a:pt x="16375" y="15468"/>
                  <a:pt x="16281" y="15531"/>
                </a:cubicBezTo>
                <a:cubicBezTo>
                  <a:pt x="16281" y="15562"/>
                  <a:pt x="16250" y="15562"/>
                  <a:pt x="16250" y="15562"/>
                </a:cubicBezTo>
                <a:cubicBezTo>
                  <a:pt x="16156" y="15656"/>
                  <a:pt x="16094" y="15656"/>
                  <a:pt x="16000" y="15562"/>
                </a:cubicBezTo>
                <a:cubicBezTo>
                  <a:pt x="15875" y="15468"/>
                  <a:pt x="15781" y="15406"/>
                  <a:pt x="15656" y="15312"/>
                </a:cubicBezTo>
                <a:cubicBezTo>
                  <a:pt x="15594" y="15281"/>
                  <a:pt x="15594" y="15281"/>
                  <a:pt x="15656" y="15249"/>
                </a:cubicBezTo>
                <a:cubicBezTo>
                  <a:pt x="15719" y="15218"/>
                  <a:pt x="15781" y="15187"/>
                  <a:pt x="15844" y="15124"/>
                </a:cubicBezTo>
                <a:cubicBezTo>
                  <a:pt x="15844" y="15093"/>
                  <a:pt x="15813" y="15093"/>
                  <a:pt x="15781" y="15093"/>
                </a:cubicBezTo>
                <a:cubicBezTo>
                  <a:pt x="15750" y="15031"/>
                  <a:pt x="15688" y="14999"/>
                  <a:pt x="15625" y="14937"/>
                </a:cubicBezTo>
                <a:cubicBezTo>
                  <a:pt x="15688" y="14999"/>
                  <a:pt x="15750" y="15031"/>
                  <a:pt x="15781" y="15093"/>
                </a:cubicBezTo>
                <a:cubicBezTo>
                  <a:pt x="15750" y="15124"/>
                  <a:pt x="15719" y="15124"/>
                  <a:pt x="15688" y="15156"/>
                </a:cubicBezTo>
                <a:cubicBezTo>
                  <a:pt x="15594" y="15249"/>
                  <a:pt x="15563" y="15156"/>
                  <a:pt x="15531" y="15093"/>
                </a:cubicBezTo>
                <a:cubicBezTo>
                  <a:pt x="15500" y="14999"/>
                  <a:pt x="15469" y="14937"/>
                  <a:pt x="15438" y="14843"/>
                </a:cubicBezTo>
                <a:cubicBezTo>
                  <a:pt x="15406" y="14812"/>
                  <a:pt x="15375" y="14781"/>
                  <a:pt x="15344" y="14781"/>
                </a:cubicBezTo>
                <a:cubicBezTo>
                  <a:pt x="15344" y="14906"/>
                  <a:pt x="15438" y="14999"/>
                  <a:pt x="15438" y="15156"/>
                </a:cubicBezTo>
                <a:cubicBezTo>
                  <a:pt x="15313" y="15062"/>
                  <a:pt x="15188" y="14968"/>
                  <a:pt x="15031" y="14874"/>
                </a:cubicBezTo>
                <a:cubicBezTo>
                  <a:pt x="15094" y="14812"/>
                  <a:pt x="15188" y="14812"/>
                  <a:pt x="15250" y="14749"/>
                </a:cubicBezTo>
                <a:cubicBezTo>
                  <a:pt x="15188" y="14718"/>
                  <a:pt x="15125" y="14749"/>
                  <a:pt x="15094" y="14781"/>
                </a:cubicBezTo>
                <a:cubicBezTo>
                  <a:pt x="15000" y="14812"/>
                  <a:pt x="14938" y="14843"/>
                  <a:pt x="14875" y="14781"/>
                </a:cubicBezTo>
                <a:cubicBezTo>
                  <a:pt x="14813" y="14718"/>
                  <a:pt x="14750" y="14687"/>
                  <a:pt x="14688" y="14656"/>
                </a:cubicBezTo>
                <a:cubicBezTo>
                  <a:pt x="14688" y="14656"/>
                  <a:pt x="14656" y="14656"/>
                  <a:pt x="14656" y="14656"/>
                </a:cubicBezTo>
                <a:cubicBezTo>
                  <a:pt x="14719" y="14718"/>
                  <a:pt x="14781" y="14749"/>
                  <a:pt x="14844" y="14781"/>
                </a:cubicBezTo>
                <a:cubicBezTo>
                  <a:pt x="14875" y="14812"/>
                  <a:pt x="14906" y="14843"/>
                  <a:pt x="14906" y="14843"/>
                </a:cubicBezTo>
                <a:cubicBezTo>
                  <a:pt x="14844" y="14906"/>
                  <a:pt x="14781" y="14906"/>
                  <a:pt x="14719" y="14937"/>
                </a:cubicBezTo>
                <a:cubicBezTo>
                  <a:pt x="14688" y="14968"/>
                  <a:pt x="14625" y="14968"/>
                  <a:pt x="14625" y="14906"/>
                </a:cubicBezTo>
                <a:cubicBezTo>
                  <a:pt x="14594" y="14812"/>
                  <a:pt x="14563" y="14749"/>
                  <a:pt x="14531" y="14656"/>
                </a:cubicBezTo>
                <a:cubicBezTo>
                  <a:pt x="14531" y="14624"/>
                  <a:pt x="14500" y="14593"/>
                  <a:pt x="14500" y="14593"/>
                </a:cubicBezTo>
                <a:cubicBezTo>
                  <a:pt x="14500" y="14562"/>
                  <a:pt x="14469" y="14562"/>
                  <a:pt x="14438" y="14562"/>
                </a:cubicBezTo>
                <a:cubicBezTo>
                  <a:pt x="14406" y="14562"/>
                  <a:pt x="14406" y="14593"/>
                  <a:pt x="14438" y="14624"/>
                </a:cubicBezTo>
                <a:cubicBezTo>
                  <a:pt x="14438" y="14718"/>
                  <a:pt x="14500" y="14812"/>
                  <a:pt x="14500" y="14937"/>
                </a:cubicBezTo>
                <a:cubicBezTo>
                  <a:pt x="14375" y="14843"/>
                  <a:pt x="14250" y="14749"/>
                  <a:pt x="14094" y="14656"/>
                </a:cubicBezTo>
                <a:cubicBezTo>
                  <a:pt x="14156" y="14593"/>
                  <a:pt x="14250" y="14593"/>
                  <a:pt x="14313" y="14531"/>
                </a:cubicBezTo>
                <a:cubicBezTo>
                  <a:pt x="14281" y="14499"/>
                  <a:pt x="14219" y="14499"/>
                  <a:pt x="14188" y="14531"/>
                </a:cubicBezTo>
                <a:cubicBezTo>
                  <a:pt x="14094" y="14593"/>
                  <a:pt x="14000" y="14593"/>
                  <a:pt x="13906" y="14531"/>
                </a:cubicBezTo>
                <a:cubicBezTo>
                  <a:pt x="13875" y="14468"/>
                  <a:pt x="13813" y="14437"/>
                  <a:pt x="13719" y="14406"/>
                </a:cubicBezTo>
                <a:cubicBezTo>
                  <a:pt x="13781" y="14468"/>
                  <a:pt x="13813" y="14531"/>
                  <a:pt x="13906" y="14531"/>
                </a:cubicBezTo>
                <a:cubicBezTo>
                  <a:pt x="13906" y="14562"/>
                  <a:pt x="13938" y="14562"/>
                  <a:pt x="13969" y="14624"/>
                </a:cubicBezTo>
                <a:cubicBezTo>
                  <a:pt x="13875" y="14656"/>
                  <a:pt x="13781" y="14687"/>
                  <a:pt x="13688" y="14718"/>
                </a:cubicBezTo>
                <a:cubicBezTo>
                  <a:pt x="13656" y="14718"/>
                  <a:pt x="13656" y="14718"/>
                  <a:pt x="13656" y="14687"/>
                </a:cubicBezTo>
                <a:cubicBezTo>
                  <a:pt x="13625" y="14593"/>
                  <a:pt x="13625" y="14531"/>
                  <a:pt x="13594" y="14468"/>
                </a:cubicBezTo>
                <a:cubicBezTo>
                  <a:pt x="13563" y="14374"/>
                  <a:pt x="13563" y="14312"/>
                  <a:pt x="13469" y="14312"/>
                </a:cubicBezTo>
                <a:cubicBezTo>
                  <a:pt x="13469" y="14437"/>
                  <a:pt x="13531" y="14562"/>
                  <a:pt x="13531" y="14718"/>
                </a:cubicBezTo>
                <a:cubicBezTo>
                  <a:pt x="13438" y="14624"/>
                  <a:pt x="13344" y="14593"/>
                  <a:pt x="13281" y="14499"/>
                </a:cubicBezTo>
                <a:cubicBezTo>
                  <a:pt x="13281" y="14499"/>
                  <a:pt x="13281" y="14499"/>
                  <a:pt x="13281" y="14499"/>
                </a:cubicBezTo>
                <a:cubicBezTo>
                  <a:pt x="13281" y="14499"/>
                  <a:pt x="13281" y="14499"/>
                  <a:pt x="13281" y="14499"/>
                </a:cubicBezTo>
                <a:cubicBezTo>
                  <a:pt x="13219" y="14499"/>
                  <a:pt x="13188" y="14437"/>
                  <a:pt x="13156" y="14437"/>
                </a:cubicBezTo>
                <a:cubicBezTo>
                  <a:pt x="13125" y="14437"/>
                  <a:pt x="13094" y="14406"/>
                  <a:pt x="13063" y="14406"/>
                </a:cubicBezTo>
                <a:cubicBezTo>
                  <a:pt x="13219" y="14531"/>
                  <a:pt x="13344" y="14624"/>
                  <a:pt x="13500" y="14718"/>
                </a:cubicBezTo>
                <a:cubicBezTo>
                  <a:pt x="13500" y="14749"/>
                  <a:pt x="13531" y="14749"/>
                  <a:pt x="13531" y="14781"/>
                </a:cubicBezTo>
                <a:cubicBezTo>
                  <a:pt x="13531" y="14812"/>
                  <a:pt x="13500" y="14812"/>
                  <a:pt x="13469" y="14812"/>
                </a:cubicBezTo>
                <a:cubicBezTo>
                  <a:pt x="13438" y="14843"/>
                  <a:pt x="13375" y="14843"/>
                  <a:pt x="13313" y="14874"/>
                </a:cubicBezTo>
                <a:cubicBezTo>
                  <a:pt x="13219" y="14937"/>
                  <a:pt x="13125" y="14937"/>
                  <a:pt x="13031" y="14843"/>
                </a:cubicBezTo>
                <a:cubicBezTo>
                  <a:pt x="13031" y="14781"/>
                  <a:pt x="12938" y="14812"/>
                  <a:pt x="12938" y="14718"/>
                </a:cubicBezTo>
                <a:cubicBezTo>
                  <a:pt x="12844" y="14718"/>
                  <a:pt x="12781" y="14624"/>
                  <a:pt x="12688" y="14593"/>
                </a:cubicBezTo>
                <a:cubicBezTo>
                  <a:pt x="12656" y="14562"/>
                  <a:pt x="12719" y="14531"/>
                  <a:pt x="12750" y="14531"/>
                </a:cubicBezTo>
                <a:cubicBezTo>
                  <a:pt x="12844" y="14499"/>
                  <a:pt x="12938" y="14468"/>
                  <a:pt x="13031" y="14437"/>
                </a:cubicBezTo>
                <a:cubicBezTo>
                  <a:pt x="13031" y="14406"/>
                  <a:pt x="13000" y="14406"/>
                  <a:pt x="13000" y="14374"/>
                </a:cubicBezTo>
                <a:cubicBezTo>
                  <a:pt x="12938" y="14312"/>
                  <a:pt x="12844" y="14281"/>
                  <a:pt x="12781" y="14218"/>
                </a:cubicBezTo>
                <a:cubicBezTo>
                  <a:pt x="12844" y="14281"/>
                  <a:pt x="12938" y="14312"/>
                  <a:pt x="13000" y="14374"/>
                </a:cubicBezTo>
                <a:cubicBezTo>
                  <a:pt x="12906" y="14406"/>
                  <a:pt x="12813" y="14406"/>
                  <a:pt x="12719" y="14468"/>
                </a:cubicBezTo>
                <a:cubicBezTo>
                  <a:pt x="12688" y="14499"/>
                  <a:pt x="12625" y="14468"/>
                  <a:pt x="12625" y="14406"/>
                </a:cubicBezTo>
                <a:cubicBezTo>
                  <a:pt x="12625" y="14312"/>
                  <a:pt x="12625" y="14218"/>
                  <a:pt x="12594" y="14156"/>
                </a:cubicBezTo>
                <a:cubicBezTo>
                  <a:pt x="12594" y="14124"/>
                  <a:pt x="12594" y="14093"/>
                  <a:pt x="12563" y="14093"/>
                </a:cubicBezTo>
                <a:cubicBezTo>
                  <a:pt x="12531" y="14062"/>
                  <a:pt x="12531" y="14031"/>
                  <a:pt x="12500" y="14062"/>
                </a:cubicBezTo>
                <a:cubicBezTo>
                  <a:pt x="12469" y="14062"/>
                  <a:pt x="12469" y="14093"/>
                  <a:pt x="12469" y="14124"/>
                </a:cubicBezTo>
                <a:cubicBezTo>
                  <a:pt x="12500" y="14218"/>
                  <a:pt x="12500" y="14312"/>
                  <a:pt x="12531" y="14437"/>
                </a:cubicBezTo>
                <a:cubicBezTo>
                  <a:pt x="12375" y="14374"/>
                  <a:pt x="12281" y="14249"/>
                  <a:pt x="12125" y="14156"/>
                </a:cubicBezTo>
                <a:cubicBezTo>
                  <a:pt x="12125" y="14156"/>
                  <a:pt x="12094" y="14156"/>
                  <a:pt x="12094" y="14156"/>
                </a:cubicBezTo>
                <a:cubicBezTo>
                  <a:pt x="12094" y="14156"/>
                  <a:pt x="12094" y="14156"/>
                  <a:pt x="12094" y="14156"/>
                </a:cubicBezTo>
                <a:lnTo>
                  <a:pt x="12094" y="14156"/>
                </a:lnTo>
                <a:cubicBezTo>
                  <a:pt x="12063" y="14156"/>
                  <a:pt x="12063" y="14156"/>
                  <a:pt x="12063" y="14156"/>
                </a:cubicBezTo>
                <a:cubicBezTo>
                  <a:pt x="12063" y="14156"/>
                  <a:pt x="12063" y="14156"/>
                  <a:pt x="12063" y="14156"/>
                </a:cubicBezTo>
                <a:cubicBezTo>
                  <a:pt x="12063" y="14156"/>
                  <a:pt x="12063" y="14156"/>
                  <a:pt x="12094" y="14156"/>
                </a:cubicBezTo>
                <a:cubicBezTo>
                  <a:pt x="12094" y="14156"/>
                  <a:pt x="12094" y="14156"/>
                  <a:pt x="12094" y="14156"/>
                </a:cubicBezTo>
                <a:cubicBezTo>
                  <a:pt x="12219" y="14281"/>
                  <a:pt x="12344" y="14374"/>
                  <a:pt x="12469" y="14468"/>
                </a:cubicBezTo>
                <a:cubicBezTo>
                  <a:pt x="12531" y="14499"/>
                  <a:pt x="12531" y="14531"/>
                  <a:pt x="12469" y="14531"/>
                </a:cubicBezTo>
                <a:cubicBezTo>
                  <a:pt x="12375" y="14593"/>
                  <a:pt x="12250" y="14656"/>
                  <a:pt x="12125" y="14656"/>
                </a:cubicBezTo>
                <a:cubicBezTo>
                  <a:pt x="12094" y="14656"/>
                  <a:pt x="12094" y="14656"/>
                  <a:pt x="12063" y="14656"/>
                </a:cubicBezTo>
                <a:cubicBezTo>
                  <a:pt x="11969" y="14562"/>
                  <a:pt x="11875" y="14499"/>
                  <a:pt x="11781" y="14437"/>
                </a:cubicBezTo>
                <a:cubicBezTo>
                  <a:pt x="11750" y="14406"/>
                  <a:pt x="11719" y="14374"/>
                  <a:pt x="11656" y="14343"/>
                </a:cubicBezTo>
                <a:cubicBezTo>
                  <a:pt x="11625" y="14343"/>
                  <a:pt x="11594" y="14343"/>
                  <a:pt x="11594" y="14312"/>
                </a:cubicBezTo>
                <a:cubicBezTo>
                  <a:pt x="11594" y="14281"/>
                  <a:pt x="11594" y="14249"/>
                  <a:pt x="11594" y="14218"/>
                </a:cubicBezTo>
                <a:cubicBezTo>
                  <a:pt x="11594" y="14218"/>
                  <a:pt x="11594" y="14218"/>
                  <a:pt x="11594" y="14218"/>
                </a:cubicBezTo>
                <a:cubicBezTo>
                  <a:pt x="11594" y="14156"/>
                  <a:pt x="11594" y="14124"/>
                  <a:pt x="11594" y="14093"/>
                </a:cubicBezTo>
                <a:cubicBezTo>
                  <a:pt x="11563" y="14156"/>
                  <a:pt x="11531" y="14187"/>
                  <a:pt x="11531" y="14249"/>
                </a:cubicBezTo>
                <a:cubicBezTo>
                  <a:pt x="11500" y="14406"/>
                  <a:pt x="11531" y="14562"/>
                  <a:pt x="11531" y="14718"/>
                </a:cubicBezTo>
                <a:cubicBezTo>
                  <a:pt x="11531" y="14749"/>
                  <a:pt x="11531" y="14781"/>
                  <a:pt x="11500" y="14781"/>
                </a:cubicBezTo>
                <a:cubicBezTo>
                  <a:pt x="11344" y="14781"/>
                  <a:pt x="11219" y="14718"/>
                  <a:pt x="11094" y="14687"/>
                </a:cubicBezTo>
                <a:cubicBezTo>
                  <a:pt x="11000" y="14656"/>
                  <a:pt x="11000" y="14624"/>
                  <a:pt x="11063" y="14562"/>
                </a:cubicBezTo>
                <a:cubicBezTo>
                  <a:pt x="11125" y="14468"/>
                  <a:pt x="11219" y="14406"/>
                  <a:pt x="11313" y="14312"/>
                </a:cubicBezTo>
                <a:cubicBezTo>
                  <a:pt x="11344" y="14249"/>
                  <a:pt x="11406" y="14281"/>
                  <a:pt x="11438" y="14281"/>
                </a:cubicBezTo>
                <a:cubicBezTo>
                  <a:pt x="11469" y="14281"/>
                  <a:pt x="11500" y="14281"/>
                  <a:pt x="11469" y="14249"/>
                </a:cubicBezTo>
                <a:cubicBezTo>
                  <a:pt x="11469" y="14249"/>
                  <a:pt x="11469" y="14218"/>
                  <a:pt x="11438" y="14187"/>
                </a:cubicBezTo>
                <a:cubicBezTo>
                  <a:pt x="11375" y="14187"/>
                  <a:pt x="11344" y="14187"/>
                  <a:pt x="11313" y="14218"/>
                </a:cubicBezTo>
                <a:cubicBezTo>
                  <a:pt x="11281" y="14249"/>
                  <a:pt x="11281" y="14249"/>
                  <a:pt x="11250" y="14249"/>
                </a:cubicBezTo>
                <a:cubicBezTo>
                  <a:pt x="11250" y="14281"/>
                  <a:pt x="11219" y="14281"/>
                  <a:pt x="11219" y="14312"/>
                </a:cubicBezTo>
                <a:cubicBezTo>
                  <a:pt x="11219" y="14312"/>
                  <a:pt x="11219" y="14312"/>
                  <a:pt x="11219" y="14312"/>
                </a:cubicBezTo>
                <a:cubicBezTo>
                  <a:pt x="11125" y="14406"/>
                  <a:pt x="11031" y="14531"/>
                  <a:pt x="10875" y="14593"/>
                </a:cubicBezTo>
                <a:cubicBezTo>
                  <a:pt x="10781" y="14624"/>
                  <a:pt x="10750" y="14687"/>
                  <a:pt x="10688" y="14749"/>
                </a:cubicBezTo>
                <a:cubicBezTo>
                  <a:pt x="10656" y="14781"/>
                  <a:pt x="10625" y="14781"/>
                  <a:pt x="10625" y="14812"/>
                </a:cubicBezTo>
                <a:lnTo>
                  <a:pt x="10625" y="14812"/>
                </a:lnTo>
                <a:cubicBezTo>
                  <a:pt x="10625" y="14843"/>
                  <a:pt x="10656" y="14843"/>
                  <a:pt x="10656" y="14843"/>
                </a:cubicBezTo>
                <a:cubicBezTo>
                  <a:pt x="10688" y="14843"/>
                  <a:pt x="10688" y="14812"/>
                  <a:pt x="10719" y="14781"/>
                </a:cubicBezTo>
                <a:cubicBezTo>
                  <a:pt x="10781" y="14749"/>
                  <a:pt x="10844" y="14687"/>
                  <a:pt x="10875" y="14593"/>
                </a:cubicBezTo>
                <a:cubicBezTo>
                  <a:pt x="10969" y="14468"/>
                  <a:pt x="11063" y="14374"/>
                  <a:pt x="11188" y="14281"/>
                </a:cubicBezTo>
                <a:lnTo>
                  <a:pt x="11188" y="14281"/>
                </a:lnTo>
                <a:cubicBezTo>
                  <a:pt x="11188" y="14249"/>
                  <a:pt x="11219" y="14249"/>
                  <a:pt x="11219" y="14249"/>
                </a:cubicBezTo>
                <a:cubicBezTo>
                  <a:pt x="11281" y="14187"/>
                  <a:pt x="11344" y="14124"/>
                  <a:pt x="11406" y="14062"/>
                </a:cubicBezTo>
                <a:cubicBezTo>
                  <a:pt x="11344" y="14031"/>
                  <a:pt x="11313" y="14031"/>
                  <a:pt x="11281" y="14062"/>
                </a:cubicBezTo>
                <a:cubicBezTo>
                  <a:pt x="10969" y="14374"/>
                  <a:pt x="10625" y="14687"/>
                  <a:pt x="10313" y="14999"/>
                </a:cubicBezTo>
                <a:cubicBezTo>
                  <a:pt x="10156" y="15124"/>
                  <a:pt x="10000" y="15281"/>
                  <a:pt x="9844" y="15437"/>
                </a:cubicBezTo>
                <a:cubicBezTo>
                  <a:pt x="9844" y="15437"/>
                  <a:pt x="9813" y="15437"/>
                  <a:pt x="9813" y="15437"/>
                </a:cubicBezTo>
                <a:cubicBezTo>
                  <a:pt x="9750" y="15562"/>
                  <a:pt x="9656" y="15624"/>
                  <a:pt x="9563" y="15687"/>
                </a:cubicBezTo>
                <a:cubicBezTo>
                  <a:pt x="9531" y="15687"/>
                  <a:pt x="9531" y="15687"/>
                  <a:pt x="9531" y="15656"/>
                </a:cubicBezTo>
                <a:cubicBezTo>
                  <a:pt x="9531" y="15687"/>
                  <a:pt x="9531" y="15687"/>
                  <a:pt x="9563" y="15687"/>
                </a:cubicBezTo>
                <a:cubicBezTo>
                  <a:pt x="9438" y="15843"/>
                  <a:pt x="9250" y="15968"/>
                  <a:pt x="9125" y="16093"/>
                </a:cubicBezTo>
                <a:cubicBezTo>
                  <a:pt x="9063" y="16156"/>
                  <a:pt x="8969" y="16218"/>
                  <a:pt x="8938" y="16312"/>
                </a:cubicBezTo>
                <a:cubicBezTo>
                  <a:pt x="8906" y="16343"/>
                  <a:pt x="8875" y="16343"/>
                  <a:pt x="8844" y="16343"/>
                </a:cubicBezTo>
                <a:cubicBezTo>
                  <a:pt x="8813" y="16374"/>
                  <a:pt x="8813" y="16406"/>
                  <a:pt x="8750" y="16406"/>
                </a:cubicBezTo>
                <a:cubicBezTo>
                  <a:pt x="8688" y="16406"/>
                  <a:pt x="8656" y="16468"/>
                  <a:pt x="8625" y="16499"/>
                </a:cubicBezTo>
                <a:cubicBezTo>
                  <a:pt x="8406" y="16687"/>
                  <a:pt x="8219" y="16874"/>
                  <a:pt x="8031" y="17062"/>
                </a:cubicBezTo>
                <a:cubicBezTo>
                  <a:pt x="8000" y="17093"/>
                  <a:pt x="7938" y="17124"/>
                  <a:pt x="7906" y="17187"/>
                </a:cubicBezTo>
                <a:cubicBezTo>
                  <a:pt x="7875" y="17187"/>
                  <a:pt x="7844" y="17218"/>
                  <a:pt x="7844" y="17249"/>
                </a:cubicBezTo>
                <a:close/>
                <a:moveTo>
                  <a:pt x="22188" y="17624"/>
                </a:moveTo>
                <a:cubicBezTo>
                  <a:pt x="22188" y="17624"/>
                  <a:pt x="22188" y="17624"/>
                  <a:pt x="22188" y="17624"/>
                </a:cubicBezTo>
                <a:cubicBezTo>
                  <a:pt x="22188" y="17624"/>
                  <a:pt x="22188" y="17624"/>
                  <a:pt x="22188" y="17624"/>
                </a:cubicBezTo>
                <a:cubicBezTo>
                  <a:pt x="22188" y="17624"/>
                  <a:pt x="22188" y="17624"/>
                  <a:pt x="22188" y="17624"/>
                </a:cubicBezTo>
                <a:close/>
                <a:moveTo>
                  <a:pt x="22125" y="17999"/>
                </a:moveTo>
                <a:cubicBezTo>
                  <a:pt x="22125" y="17999"/>
                  <a:pt x="22188" y="18062"/>
                  <a:pt x="22094" y="18031"/>
                </a:cubicBezTo>
                <a:cubicBezTo>
                  <a:pt x="22063" y="18031"/>
                  <a:pt x="22031" y="17999"/>
                  <a:pt x="22000" y="17999"/>
                </a:cubicBezTo>
                <a:cubicBezTo>
                  <a:pt x="22031" y="17999"/>
                  <a:pt x="22000" y="17968"/>
                  <a:pt x="22000" y="17968"/>
                </a:cubicBezTo>
                <a:cubicBezTo>
                  <a:pt x="22063" y="17937"/>
                  <a:pt x="22094" y="17968"/>
                  <a:pt x="22125" y="17999"/>
                </a:cubicBezTo>
                <a:cubicBezTo>
                  <a:pt x="22156" y="17968"/>
                  <a:pt x="22156" y="17968"/>
                  <a:pt x="22188" y="17937"/>
                </a:cubicBezTo>
                <a:cubicBezTo>
                  <a:pt x="22156" y="17968"/>
                  <a:pt x="22156" y="17968"/>
                  <a:pt x="22125" y="17999"/>
                </a:cubicBezTo>
                <a:close/>
                <a:moveTo>
                  <a:pt x="20875" y="17687"/>
                </a:moveTo>
                <a:cubicBezTo>
                  <a:pt x="20906" y="17687"/>
                  <a:pt x="20938" y="17718"/>
                  <a:pt x="20938" y="17781"/>
                </a:cubicBezTo>
                <a:cubicBezTo>
                  <a:pt x="20938" y="17843"/>
                  <a:pt x="20969" y="17874"/>
                  <a:pt x="21031" y="17874"/>
                </a:cubicBezTo>
                <a:cubicBezTo>
                  <a:pt x="21031" y="17874"/>
                  <a:pt x="21031" y="17874"/>
                  <a:pt x="21031" y="17874"/>
                </a:cubicBezTo>
                <a:cubicBezTo>
                  <a:pt x="20969" y="17937"/>
                  <a:pt x="21000" y="17968"/>
                  <a:pt x="21031" y="18031"/>
                </a:cubicBezTo>
                <a:cubicBezTo>
                  <a:pt x="20938" y="18062"/>
                  <a:pt x="20906" y="17999"/>
                  <a:pt x="20844" y="17968"/>
                </a:cubicBezTo>
                <a:cubicBezTo>
                  <a:pt x="20844" y="17968"/>
                  <a:pt x="20813" y="17937"/>
                  <a:pt x="20813" y="17937"/>
                </a:cubicBezTo>
                <a:cubicBezTo>
                  <a:pt x="20906" y="17874"/>
                  <a:pt x="20844" y="17781"/>
                  <a:pt x="20875" y="17687"/>
                </a:cubicBezTo>
                <a:close/>
                <a:moveTo>
                  <a:pt x="20500" y="17749"/>
                </a:moveTo>
                <a:cubicBezTo>
                  <a:pt x="20500" y="17749"/>
                  <a:pt x="20500" y="17812"/>
                  <a:pt x="20563" y="17781"/>
                </a:cubicBezTo>
                <a:cubicBezTo>
                  <a:pt x="20563" y="17749"/>
                  <a:pt x="20563" y="17718"/>
                  <a:pt x="20563" y="17687"/>
                </a:cubicBezTo>
                <a:cubicBezTo>
                  <a:pt x="20563" y="17687"/>
                  <a:pt x="20563" y="17656"/>
                  <a:pt x="20563" y="17624"/>
                </a:cubicBezTo>
                <a:cubicBezTo>
                  <a:pt x="20594" y="17624"/>
                  <a:pt x="20563" y="17656"/>
                  <a:pt x="20594" y="17687"/>
                </a:cubicBezTo>
                <a:cubicBezTo>
                  <a:pt x="20625" y="17749"/>
                  <a:pt x="20594" y="17812"/>
                  <a:pt x="20656" y="17843"/>
                </a:cubicBezTo>
                <a:lnTo>
                  <a:pt x="20656" y="17843"/>
                </a:lnTo>
                <a:cubicBezTo>
                  <a:pt x="20656" y="17874"/>
                  <a:pt x="20719" y="17781"/>
                  <a:pt x="20750" y="17718"/>
                </a:cubicBezTo>
                <a:cubicBezTo>
                  <a:pt x="20781" y="17718"/>
                  <a:pt x="20750" y="17656"/>
                  <a:pt x="20781" y="17656"/>
                </a:cubicBezTo>
                <a:cubicBezTo>
                  <a:pt x="20813" y="17718"/>
                  <a:pt x="20750" y="17749"/>
                  <a:pt x="20750" y="17812"/>
                </a:cubicBezTo>
                <a:cubicBezTo>
                  <a:pt x="20750" y="17843"/>
                  <a:pt x="20688" y="17843"/>
                  <a:pt x="20719" y="17906"/>
                </a:cubicBezTo>
                <a:cubicBezTo>
                  <a:pt x="20750" y="17906"/>
                  <a:pt x="20719" y="17906"/>
                  <a:pt x="20688" y="17906"/>
                </a:cubicBezTo>
                <a:cubicBezTo>
                  <a:pt x="20656" y="17906"/>
                  <a:pt x="20500" y="17812"/>
                  <a:pt x="20469" y="17781"/>
                </a:cubicBezTo>
                <a:cubicBezTo>
                  <a:pt x="20469" y="17781"/>
                  <a:pt x="20469" y="17749"/>
                  <a:pt x="20500" y="17749"/>
                </a:cubicBezTo>
                <a:close/>
                <a:moveTo>
                  <a:pt x="20438" y="17718"/>
                </a:moveTo>
                <a:cubicBezTo>
                  <a:pt x="20438" y="17718"/>
                  <a:pt x="20438" y="17718"/>
                  <a:pt x="20438" y="17718"/>
                </a:cubicBezTo>
                <a:cubicBezTo>
                  <a:pt x="20406" y="17656"/>
                  <a:pt x="20406" y="17624"/>
                  <a:pt x="20375" y="17624"/>
                </a:cubicBezTo>
                <a:cubicBezTo>
                  <a:pt x="20406" y="17624"/>
                  <a:pt x="20406" y="17656"/>
                  <a:pt x="20438" y="17718"/>
                </a:cubicBezTo>
                <a:close/>
                <a:moveTo>
                  <a:pt x="20188" y="17593"/>
                </a:moveTo>
                <a:cubicBezTo>
                  <a:pt x="20188" y="17531"/>
                  <a:pt x="20188" y="17468"/>
                  <a:pt x="20188" y="17374"/>
                </a:cubicBezTo>
                <a:cubicBezTo>
                  <a:pt x="20281" y="17437"/>
                  <a:pt x="20250" y="17562"/>
                  <a:pt x="20313" y="17624"/>
                </a:cubicBezTo>
                <a:cubicBezTo>
                  <a:pt x="20313" y="17624"/>
                  <a:pt x="20313" y="17624"/>
                  <a:pt x="20313" y="17624"/>
                </a:cubicBezTo>
                <a:cubicBezTo>
                  <a:pt x="20313" y="17624"/>
                  <a:pt x="20313" y="17624"/>
                  <a:pt x="20313" y="17624"/>
                </a:cubicBezTo>
                <a:cubicBezTo>
                  <a:pt x="20313" y="17656"/>
                  <a:pt x="20313" y="17687"/>
                  <a:pt x="20313" y="17749"/>
                </a:cubicBezTo>
                <a:cubicBezTo>
                  <a:pt x="20313" y="17749"/>
                  <a:pt x="20344" y="17749"/>
                  <a:pt x="20344" y="17749"/>
                </a:cubicBezTo>
                <a:cubicBezTo>
                  <a:pt x="20344" y="17749"/>
                  <a:pt x="20344" y="17749"/>
                  <a:pt x="20344" y="17749"/>
                </a:cubicBezTo>
                <a:cubicBezTo>
                  <a:pt x="20344" y="17749"/>
                  <a:pt x="20313" y="17749"/>
                  <a:pt x="20313" y="17749"/>
                </a:cubicBezTo>
                <a:cubicBezTo>
                  <a:pt x="20250" y="17718"/>
                  <a:pt x="20156" y="17718"/>
                  <a:pt x="20188" y="17624"/>
                </a:cubicBezTo>
                <a:cubicBezTo>
                  <a:pt x="20188" y="17624"/>
                  <a:pt x="20188" y="17624"/>
                  <a:pt x="20188" y="17624"/>
                </a:cubicBezTo>
                <a:cubicBezTo>
                  <a:pt x="20188" y="17624"/>
                  <a:pt x="20188" y="17624"/>
                  <a:pt x="20188" y="17624"/>
                </a:cubicBezTo>
                <a:cubicBezTo>
                  <a:pt x="20188" y="17624"/>
                  <a:pt x="20188" y="17593"/>
                  <a:pt x="20188" y="17593"/>
                </a:cubicBezTo>
                <a:cubicBezTo>
                  <a:pt x="20188" y="17593"/>
                  <a:pt x="20188" y="17593"/>
                  <a:pt x="20188" y="17593"/>
                </a:cubicBezTo>
                <a:cubicBezTo>
                  <a:pt x="20156" y="17593"/>
                  <a:pt x="20156" y="17593"/>
                  <a:pt x="20125" y="17593"/>
                </a:cubicBezTo>
                <a:cubicBezTo>
                  <a:pt x="20156" y="17593"/>
                  <a:pt x="20156" y="17593"/>
                  <a:pt x="20188" y="17593"/>
                </a:cubicBezTo>
                <a:close/>
                <a:moveTo>
                  <a:pt x="19844" y="17499"/>
                </a:moveTo>
                <a:cubicBezTo>
                  <a:pt x="19875" y="17499"/>
                  <a:pt x="19875" y="17562"/>
                  <a:pt x="19875" y="17499"/>
                </a:cubicBezTo>
                <a:cubicBezTo>
                  <a:pt x="19906" y="17437"/>
                  <a:pt x="19875" y="17406"/>
                  <a:pt x="19844" y="17374"/>
                </a:cubicBezTo>
                <a:cubicBezTo>
                  <a:pt x="19875" y="17343"/>
                  <a:pt x="19875" y="17312"/>
                  <a:pt x="19906" y="17343"/>
                </a:cubicBezTo>
                <a:cubicBezTo>
                  <a:pt x="19906" y="17374"/>
                  <a:pt x="19906" y="17406"/>
                  <a:pt x="19938" y="17437"/>
                </a:cubicBezTo>
                <a:cubicBezTo>
                  <a:pt x="19938" y="17468"/>
                  <a:pt x="19938" y="17531"/>
                  <a:pt x="19969" y="17562"/>
                </a:cubicBezTo>
                <a:cubicBezTo>
                  <a:pt x="20000" y="17531"/>
                  <a:pt x="20031" y="17499"/>
                  <a:pt x="20031" y="17437"/>
                </a:cubicBezTo>
                <a:cubicBezTo>
                  <a:pt x="20063" y="17437"/>
                  <a:pt x="20063" y="17437"/>
                  <a:pt x="20063" y="17437"/>
                </a:cubicBezTo>
                <a:cubicBezTo>
                  <a:pt x="20063" y="17437"/>
                  <a:pt x="20063" y="17437"/>
                  <a:pt x="20063" y="17437"/>
                </a:cubicBezTo>
                <a:cubicBezTo>
                  <a:pt x="20094" y="17406"/>
                  <a:pt x="20063" y="17374"/>
                  <a:pt x="20094" y="17343"/>
                </a:cubicBezTo>
                <a:cubicBezTo>
                  <a:pt x="20094" y="17343"/>
                  <a:pt x="20125" y="17343"/>
                  <a:pt x="20125" y="17374"/>
                </a:cubicBezTo>
                <a:cubicBezTo>
                  <a:pt x="20125" y="17406"/>
                  <a:pt x="20094" y="17437"/>
                  <a:pt x="20063" y="17437"/>
                </a:cubicBezTo>
                <a:cubicBezTo>
                  <a:pt x="20063" y="17468"/>
                  <a:pt x="20063" y="17468"/>
                  <a:pt x="20063" y="17499"/>
                </a:cubicBezTo>
                <a:cubicBezTo>
                  <a:pt x="20063" y="17499"/>
                  <a:pt x="20063" y="17499"/>
                  <a:pt x="20063" y="17499"/>
                </a:cubicBezTo>
                <a:cubicBezTo>
                  <a:pt x="20094" y="17531"/>
                  <a:pt x="20000" y="17562"/>
                  <a:pt x="20063" y="17593"/>
                </a:cubicBezTo>
                <a:cubicBezTo>
                  <a:pt x="20031" y="17624"/>
                  <a:pt x="19875" y="17593"/>
                  <a:pt x="19844" y="17531"/>
                </a:cubicBezTo>
                <a:cubicBezTo>
                  <a:pt x="19813" y="17531"/>
                  <a:pt x="19813" y="17499"/>
                  <a:pt x="19844" y="17499"/>
                </a:cubicBezTo>
                <a:close/>
                <a:moveTo>
                  <a:pt x="19500" y="17187"/>
                </a:moveTo>
                <a:cubicBezTo>
                  <a:pt x="19500" y="17156"/>
                  <a:pt x="19469" y="17124"/>
                  <a:pt x="19500" y="17124"/>
                </a:cubicBezTo>
                <a:cubicBezTo>
                  <a:pt x="19531" y="17093"/>
                  <a:pt x="19563" y="17124"/>
                  <a:pt x="19563" y="17156"/>
                </a:cubicBezTo>
                <a:cubicBezTo>
                  <a:pt x="19563" y="17156"/>
                  <a:pt x="19594" y="17187"/>
                  <a:pt x="19594" y="17187"/>
                </a:cubicBezTo>
                <a:cubicBezTo>
                  <a:pt x="19563" y="17249"/>
                  <a:pt x="19625" y="17281"/>
                  <a:pt x="19656" y="17312"/>
                </a:cubicBezTo>
                <a:cubicBezTo>
                  <a:pt x="19656" y="17312"/>
                  <a:pt x="19656" y="17312"/>
                  <a:pt x="19656" y="17312"/>
                </a:cubicBezTo>
                <a:cubicBezTo>
                  <a:pt x="19656" y="17343"/>
                  <a:pt x="19656" y="17343"/>
                  <a:pt x="19656" y="17374"/>
                </a:cubicBezTo>
                <a:cubicBezTo>
                  <a:pt x="19656" y="17406"/>
                  <a:pt x="19656" y="17437"/>
                  <a:pt x="19656" y="17468"/>
                </a:cubicBezTo>
                <a:cubicBezTo>
                  <a:pt x="19656" y="17468"/>
                  <a:pt x="19688" y="17468"/>
                  <a:pt x="19688" y="17468"/>
                </a:cubicBezTo>
                <a:cubicBezTo>
                  <a:pt x="19688" y="17468"/>
                  <a:pt x="19688" y="17499"/>
                  <a:pt x="19688" y="17499"/>
                </a:cubicBezTo>
                <a:cubicBezTo>
                  <a:pt x="19656" y="17499"/>
                  <a:pt x="19656" y="17499"/>
                  <a:pt x="19656" y="17468"/>
                </a:cubicBezTo>
                <a:cubicBezTo>
                  <a:pt x="19594" y="17437"/>
                  <a:pt x="19500" y="17437"/>
                  <a:pt x="19531" y="17343"/>
                </a:cubicBezTo>
                <a:cubicBezTo>
                  <a:pt x="19531" y="17312"/>
                  <a:pt x="19500" y="17249"/>
                  <a:pt x="19469" y="17249"/>
                </a:cubicBezTo>
                <a:cubicBezTo>
                  <a:pt x="19469" y="17249"/>
                  <a:pt x="19469" y="17249"/>
                  <a:pt x="19469" y="17249"/>
                </a:cubicBezTo>
                <a:cubicBezTo>
                  <a:pt x="19469" y="17218"/>
                  <a:pt x="19438" y="17218"/>
                  <a:pt x="19438" y="17218"/>
                </a:cubicBezTo>
                <a:cubicBezTo>
                  <a:pt x="19438" y="17218"/>
                  <a:pt x="19469" y="17218"/>
                  <a:pt x="19469" y="17249"/>
                </a:cubicBezTo>
                <a:cubicBezTo>
                  <a:pt x="19500" y="17218"/>
                  <a:pt x="19500" y="17218"/>
                  <a:pt x="19500" y="17187"/>
                </a:cubicBezTo>
                <a:close/>
                <a:moveTo>
                  <a:pt x="19375" y="17187"/>
                </a:moveTo>
                <a:cubicBezTo>
                  <a:pt x="19375" y="17187"/>
                  <a:pt x="19406" y="17156"/>
                  <a:pt x="19406" y="17156"/>
                </a:cubicBezTo>
                <a:cubicBezTo>
                  <a:pt x="19406" y="17124"/>
                  <a:pt x="19375" y="17093"/>
                  <a:pt x="19438" y="17062"/>
                </a:cubicBezTo>
                <a:cubicBezTo>
                  <a:pt x="19438" y="17062"/>
                  <a:pt x="19438" y="17093"/>
                  <a:pt x="19438" y="17093"/>
                </a:cubicBezTo>
                <a:cubicBezTo>
                  <a:pt x="19438" y="17124"/>
                  <a:pt x="19438" y="17156"/>
                  <a:pt x="19406" y="17156"/>
                </a:cubicBezTo>
                <a:cubicBezTo>
                  <a:pt x="19406" y="17187"/>
                  <a:pt x="19406" y="17187"/>
                  <a:pt x="19406" y="17218"/>
                </a:cubicBezTo>
                <a:cubicBezTo>
                  <a:pt x="19406" y="17218"/>
                  <a:pt x="19406" y="17218"/>
                  <a:pt x="19406" y="17218"/>
                </a:cubicBezTo>
                <a:cubicBezTo>
                  <a:pt x="19438" y="17249"/>
                  <a:pt x="19313" y="17281"/>
                  <a:pt x="19406" y="17312"/>
                </a:cubicBezTo>
                <a:cubicBezTo>
                  <a:pt x="19406" y="17343"/>
                  <a:pt x="19406" y="17374"/>
                  <a:pt x="19344" y="17374"/>
                </a:cubicBezTo>
                <a:cubicBezTo>
                  <a:pt x="19313" y="17374"/>
                  <a:pt x="19313" y="17343"/>
                  <a:pt x="19313" y="17312"/>
                </a:cubicBezTo>
                <a:cubicBezTo>
                  <a:pt x="19344" y="17281"/>
                  <a:pt x="19344" y="17218"/>
                  <a:pt x="19375" y="17187"/>
                </a:cubicBezTo>
                <a:close/>
                <a:moveTo>
                  <a:pt x="18469" y="16968"/>
                </a:moveTo>
                <a:cubicBezTo>
                  <a:pt x="18500" y="16968"/>
                  <a:pt x="18500" y="17031"/>
                  <a:pt x="18563" y="17031"/>
                </a:cubicBezTo>
                <a:cubicBezTo>
                  <a:pt x="18563" y="16937"/>
                  <a:pt x="18531" y="16906"/>
                  <a:pt x="18500" y="16843"/>
                </a:cubicBezTo>
                <a:cubicBezTo>
                  <a:pt x="18531" y="16843"/>
                  <a:pt x="18563" y="16843"/>
                  <a:pt x="18563" y="16874"/>
                </a:cubicBezTo>
                <a:cubicBezTo>
                  <a:pt x="18563" y="16874"/>
                  <a:pt x="18563" y="16874"/>
                  <a:pt x="18563" y="16874"/>
                </a:cubicBezTo>
                <a:cubicBezTo>
                  <a:pt x="18594" y="16937"/>
                  <a:pt x="18594" y="16968"/>
                  <a:pt x="18625" y="17031"/>
                </a:cubicBezTo>
                <a:cubicBezTo>
                  <a:pt x="18625" y="17062"/>
                  <a:pt x="18625" y="17093"/>
                  <a:pt x="18656" y="17093"/>
                </a:cubicBezTo>
                <a:cubicBezTo>
                  <a:pt x="18656" y="17062"/>
                  <a:pt x="18688" y="17062"/>
                  <a:pt x="18688" y="17031"/>
                </a:cubicBezTo>
                <a:cubicBezTo>
                  <a:pt x="18688" y="17031"/>
                  <a:pt x="18688" y="16999"/>
                  <a:pt x="18688" y="16968"/>
                </a:cubicBezTo>
                <a:cubicBezTo>
                  <a:pt x="18719" y="16937"/>
                  <a:pt x="18750" y="16937"/>
                  <a:pt x="18688" y="16906"/>
                </a:cubicBezTo>
                <a:cubicBezTo>
                  <a:pt x="18688" y="16906"/>
                  <a:pt x="18688" y="16906"/>
                  <a:pt x="18688" y="16906"/>
                </a:cubicBezTo>
                <a:cubicBezTo>
                  <a:pt x="18688" y="16906"/>
                  <a:pt x="18688" y="16874"/>
                  <a:pt x="18688" y="16874"/>
                </a:cubicBezTo>
                <a:cubicBezTo>
                  <a:pt x="18719" y="16874"/>
                  <a:pt x="18719" y="16874"/>
                  <a:pt x="18719" y="16812"/>
                </a:cubicBezTo>
                <a:cubicBezTo>
                  <a:pt x="18781" y="16843"/>
                  <a:pt x="18781" y="16843"/>
                  <a:pt x="18750" y="16906"/>
                </a:cubicBezTo>
                <a:cubicBezTo>
                  <a:pt x="18750" y="16937"/>
                  <a:pt x="18750" y="16937"/>
                  <a:pt x="18750" y="16968"/>
                </a:cubicBezTo>
                <a:cubicBezTo>
                  <a:pt x="18750" y="16999"/>
                  <a:pt x="18750" y="16999"/>
                  <a:pt x="18750" y="16999"/>
                </a:cubicBezTo>
                <a:cubicBezTo>
                  <a:pt x="18750" y="17031"/>
                  <a:pt x="18688" y="17062"/>
                  <a:pt x="18750" y="17093"/>
                </a:cubicBezTo>
                <a:cubicBezTo>
                  <a:pt x="18781" y="17093"/>
                  <a:pt x="18813" y="17124"/>
                  <a:pt x="18844" y="17093"/>
                </a:cubicBezTo>
                <a:cubicBezTo>
                  <a:pt x="18875" y="17062"/>
                  <a:pt x="18813" y="17031"/>
                  <a:pt x="18813" y="16999"/>
                </a:cubicBezTo>
                <a:cubicBezTo>
                  <a:pt x="18844" y="16968"/>
                  <a:pt x="18844" y="16937"/>
                  <a:pt x="18813" y="16906"/>
                </a:cubicBezTo>
                <a:cubicBezTo>
                  <a:pt x="18813" y="16906"/>
                  <a:pt x="18813" y="16874"/>
                  <a:pt x="18813" y="16874"/>
                </a:cubicBezTo>
                <a:cubicBezTo>
                  <a:pt x="18844" y="16843"/>
                  <a:pt x="18844" y="16874"/>
                  <a:pt x="18875" y="16874"/>
                </a:cubicBezTo>
                <a:cubicBezTo>
                  <a:pt x="18906" y="16906"/>
                  <a:pt x="19000" y="17156"/>
                  <a:pt x="19000" y="17218"/>
                </a:cubicBezTo>
                <a:cubicBezTo>
                  <a:pt x="18969" y="17249"/>
                  <a:pt x="18938" y="17218"/>
                  <a:pt x="18938" y="17218"/>
                </a:cubicBezTo>
                <a:cubicBezTo>
                  <a:pt x="18906" y="17218"/>
                  <a:pt x="18906" y="17187"/>
                  <a:pt x="18875" y="17187"/>
                </a:cubicBezTo>
                <a:cubicBezTo>
                  <a:pt x="18813" y="17156"/>
                  <a:pt x="18781" y="17124"/>
                  <a:pt x="18688" y="17124"/>
                </a:cubicBezTo>
                <a:cubicBezTo>
                  <a:pt x="18625" y="17156"/>
                  <a:pt x="18531" y="17093"/>
                  <a:pt x="18500" y="17031"/>
                </a:cubicBezTo>
                <a:cubicBezTo>
                  <a:pt x="18469" y="16999"/>
                  <a:pt x="18469" y="16999"/>
                  <a:pt x="18438" y="16999"/>
                </a:cubicBezTo>
                <a:cubicBezTo>
                  <a:pt x="18469" y="16999"/>
                  <a:pt x="18469" y="16968"/>
                  <a:pt x="18469" y="16968"/>
                </a:cubicBezTo>
                <a:close/>
                <a:moveTo>
                  <a:pt x="18313" y="16656"/>
                </a:moveTo>
                <a:cubicBezTo>
                  <a:pt x="18313" y="16718"/>
                  <a:pt x="18313" y="16749"/>
                  <a:pt x="18344" y="16781"/>
                </a:cubicBezTo>
                <a:cubicBezTo>
                  <a:pt x="18375" y="16781"/>
                  <a:pt x="18375" y="16781"/>
                  <a:pt x="18406" y="16781"/>
                </a:cubicBezTo>
                <a:cubicBezTo>
                  <a:pt x="18375" y="16812"/>
                  <a:pt x="18375" y="16812"/>
                  <a:pt x="18313" y="16781"/>
                </a:cubicBezTo>
                <a:cubicBezTo>
                  <a:pt x="18313" y="16749"/>
                  <a:pt x="18250" y="16718"/>
                  <a:pt x="18313" y="16656"/>
                </a:cubicBezTo>
                <a:close/>
                <a:moveTo>
                  <a:pt x="18156" y="16656"/>
                </a:moveTo>
                <a:cubicBezTo>
                  <a:pt x="18188" y="16624"/>
                  <a:pt x="18188" y="16656"/>
                  <a:pt x="18219" y="16687"/>
                </a:cubicBezTo>
                <a:cubicBezTo>
                  <a:pt x="18219" y="16718"/>
                  <a:pt x="18250" y="16749"/>
                  <a:pt x="18250" y="16781"/>
                </a:cubicBezTo>
                <a:cubicBezTo>
                  <a:pt x="18250" y="16812"/>
                  <a:pt x="18281" y="16812"/>
                  <a:pt x="18313" y="16781"/>
                </a:cubicBezTo>
                <a:cubicBezTo>
                  <a:pt x="18313" y="16843"/>
                  <a:pt x="18313" y="16874"/>
                  <a:pt x="18313" y="16937"/>
                </a:cubicBezTo>
                <a:cubicBezTo>
                  <a:pt x="18344" y="16968"/>
                  <a:pt x="18375" y="16999"/>
                  <a:pt x="18406" y="16999"/>
                </a:cubicBezTo>
                <a:cubicBezTo>
                  <a:pt x="18406" y="16999"/>
                  <a:pt x="18406" y="16999"/>
                  <a:pt x="18438" y="16999"/>
                </a:cubicBezTo>
                <a:cubicBezTo>
                  <a:pt x="18406" y="16999"/>
                  <a:pt x="18406" y="16999"/>
                  <a:pt x="18406" y="16999"/>
                </a:cubicBezTo>
                <a:cubicBezTo>
                  <a:pt x="18313" y="17031"/>
                  <a:pt x="18250" y="16968"/>
                  <a:pt x="18156" y="16937"/>
                </a:cubicBezTo>
                <a:cubicBezTo>
                  <a:pt x="18156" y="16937"/>
                  <a:pt x="18156" y="16937"/>
                  <a:pt x="18156" y="16937"/>
                </a:cubicBezTo>
                <a:cubicBezTo>
                  <a:pt x="18250" y="16906"/>
                  <a:pt x="18188" y="16874"/>
                  <a:pt x="18156" y="16843"/>
                </a:cubicBezTo>
                <a:cubicBezTo>
                  <a:pt x="18156" y="16781"/>
                  <a:pt x="18188" y="16749"/>
                  <a:pt x="18156" y="16718"/>
                </a:cubicBezTo>
                <a:cubicBezTo>
                  <a:pt x="18125" y="16687"/>
                  <a:pt x="18125" y="16656"/>
                  <a:pt x="18156" y="16656"/>
                </a:cubicBezTo>
                <a:close/>
                <a:moveTo>
                  <a:pt x="17844" y="16781"/>
                </a:moveTo>
                <a:cubicBezTo>
                  <a:pt x="17844" y="16812"/>
                  <a:pt x="17844" y="16843"/>
                  <a:pt x="17875" y="16812"/>
                </a:cubicBezTo>
                <a:cubicBezTo>
                  <a:pt x="17906" y="16812"/>
                  <a:pt x="17906" y="16781"/>
                  <a:pt x="17875" y="16749"/>
                </a:cubicBezTo>
                <a:cubicBezTo>
                  <a:pt x="17875" y="16718"/>
                  <a:pt x="17844" y="16687"/>
                  <a:pt x="17844" y="16624"/>
                </a:cubicBezTo>
                <a:cubicBezTo>
                  <a:pt x="17875" y="16593"/>
                  <a:pt x="17875" y="16624"/>
                  <a:pt x="17906" y="16656"/>
                </a:cubicBezTo>
                <a:cubicBezTo>
                  <a:pt x="17906" y="16656"/>
                  <a:pt x="17906" y="16656"/>
                  <a:pt x="17906" y="16656"/>
                </a:cubicBezTo>
                <a:cubicBezTo>
                  <a:pt x="17906" y="16718"/>
                  <a:pt x="17938" y="16812"/>
                  <a:pt x="18000" y="16906"/>
                </a:cubicBezTo>
                <a:cubicBezTo>
                  <a:pt x="18000" y="16812"/>
                  <a:pt x="18031" y="16781"/>
                  <a:pt x="18031" y="16718"/>
                </a:cubicBezTo>
                <a:cubicBezTo>
                  <a:pt x="18063" y="16687"/>
                  <a:pt x="18063" y="16656"/>
                  <a:pt x="18031" y="16593"/>
                </a:cubicBezTo>
                <a:cubicBezTo>
                  <a:pt x="18063" y="16593"/>
                  <a:pt x="18094" y="16624"/>
                  <a:pt x="18094" y="16656"/>
                </a:cubicBezTo>
                <a:cubicBezTo>
                  <a:pt x="18063" y="16718"/>
                  <a:pt x="18125" y="16781"/>
                  <a:pt x="18031" y="16843"/>
                </a:cubicBezTo>
                <a:cubicBezTo>
                  <a:pt x="18031" y="16843"/>
                  <a:pt x="18031" y="16843"/>
                  <a:pt x="18031" y="16874"/>
                </a:cubicBezTo>
                <a:cubicBezTo>
                  <a:pt x="18031" y="16906"/>
                  <a:pt x="18094" y="16906"/>
                  <a:pt x="18063" y="16937"/>
                </a:cubicBezTo>
                <a:cubicBezTo>
                  <a:pt x="18031" y="16937"/>
                  <a:pt x="18000" y="16906"/>
                  <a:pt x="17969" y="16906"/>
                </a:cubicBezTo>
                <a:cubicBezTo>
                  <a:pt x="17906" y="16906"/>
                  <a:pt x="17844" y="16874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13" y="16749"/>
                </a:cubicBezTo>
                <a:cubicBezTo>
                  <a:pt x="17844" y="16781"/>
                  <a:pt x="17844" y="16781"/>
                  <a:pt x="17844" y="16781"/>
                </a:cubicBezTo>
                <a:close/>
                <a:moveTo>
                  <a:pt x="17469" y="16593"/>
                </a:moveTo>
                <a:cubicBezTo>
                  <a:pt x="17531" y="16562"/>
                  <a:pt x="17469" y="16531"/>
                  <a:pt x="17469" y="16499"/>
                </a:cubicBezTo>
                <a:cubicBezTo>
                  <a:pt x="17469" y="16468"/>
                  <a:pt x="17469" y="16468"/>
                  <a:pt x="17469" y="16437"/>
                </a:cubicBezTo>
                <a:cubicBezTo>
                  <a:pt x="17500" y="16437"/>
                  <a:pt x="17531" y="16437"/>
                  <a:pt x="17531" y="16468"/>
                </a:cubicBezTo>
                <a:cubicBezTo>
                  <a:pt x="17563" y="16562"/>
                  <a:pt x="17656" y="16624"/>
                  <a:pt x="17656" y="16749"/>
                </a:cubicBezTo>
                <a:cubicBezTo>
                  <a:pt x="17656" y="16781"/>
                  <a:pt x="17688" y="16781"/>
                  <a:pt x="17719" y="16749"/>
                </a:cubicBezTo>
                <a:cubicBezTo>
                  <a:pt x="17719" y="16749"/>
                  <a:pt x="17750" y="16749"/>
                  <a:pt x="17750" y="16781"/>
                </a:cubicBezTo>
                <a:cubicBezTo>
                  <a:pt x="17750" y="16781"/>
                  <a:pt x="17750" y="16812"/>
                  <a:pt x="17719" y="16812"/>
                </a:cubicBezTo>
                <a:cubicBezTo>
                  <a:pt x="17656" y="16874"/>
                  <a:pt x="17531" y="16812"/>
                  <a:pt x="17531" y="16718"/>
                </a:cubicBezTo>
                <a:cubicBezTo>
                  <a:pt x="17531" y="16687"/>
                  <a:pt x="17563" y="16656"/>
                  <a:pt x="17500" y="16656"/>
                </a:cubicBezTo>
                <a:cubicBezTo>
                  <a:pt x="17469" y="16624"/>
                  <a:pt x="17469" y="16624"/>
                  <a:pt x="17469" y="16593"/>
                </a:cubicBezTo>
                <a:cubicBezTo>
                  <a:pt x="17469" y="16593"/>
                  <a:pt x="17438" y="16593"/>
                  <a:pt x="17406" y="16593"/>
                </a:cubicBezTo>
                <a:cubicBezTo>
                  <a:pt x="17438" y="16593"/>
                  <a:pt x="17469" y="16593"/>
                  <a:pt x="17469" y="16593"/>
                </a:cubicBezTo>
                <a:close/>
                <a:moveTo>
                  <a:pt x="17344" y="16718"/>
                </a:moveTo>
                <a:cubicBezTo>
                  <a:pt x="17344" y="16718"/>
                  <a:pt x="17344" y="16718"/>
                  <a:pt x="17344" y="16718"/>
                </a:cubicBezTo>
                <a:cubicBezTo>
                  <a:pt x="17375" y="16656"/>
                  <a:pt x="17344" y="16593"/>
                  <a:pt x="17344" y="16562"/>
                </a:cubicBezTo>
                <a:cubicBezTo>
                  <a:pt x="17406" y="16531"/>
                  <a:pt x="17375" y="16468"/>
                  <a:pt x="17375" y="16437"/>
                </a:cubicBezTo>
                <a:cubicBezTo>
                  <a:pt x="17375" y="16437"/>
                  <a:pt x="17344" y="16406"/>
                  <a:pt x="17375" y="16406"/>
                </a:cubicBezTo>
                <a:cubicBezTo>
                  <a:pt x="17406" y="16406"/>
                  <a:pt x="17406" y="16406"/>
                  <a:pt x="17406" y="16437"/>
                </a:cubicBezTo>
                <a:cubicBezTo>
                  <a:pt x="17406" y="16499"/>
                  <a:pt x="17406" y="16531"/>
                  <a:pt x="17406" y="16593"/>
                </a:cubicBezTo>
                <a:cubicBezTo>
                  <a:pt x="17406" y="16593"/>
                  <a:pt x="17406" y="16593"/>
                  <a:pt x="17406" y="16593"/>
                </a:cubicBezTo>
                <a:cubicBezTo>
                  <a:pt x="17406" y="16624"/>
                  <a:pt x="17406" y="16656"/>
                  <a:pt x="17406" y="16687"/>
                </a:cubicBezTo>
                <a:cubicBezTo>
                  <a:pt x="17406" y="16718"/>
                  <a:pt x="17438" y="16718"/>
                  <a:pt x="17406" y="16749"/>
                </a:cubicBezTo>
                <a:cubicBezTo>
                  <a:pt x="17406" y="16781"/>
                  <a:pt x="17375" y="16781"/>
                  <a:pt x="17375" y="16749"/>
                </a:cubicBezTo>
                <a:cubicBezTo>
                  <a:pt x="17344" y="16718"/>
                  <a:pt x="17281" y="16718"/>
                  <a:pt x="17250" y="16718"/>
                </a:cubicBezTo>
                <a:cubicBezTo>
                  <a:pt x="17281" y="16718"/>
                  <a:pt x="17313" y="16718"/>
                  <a:pt x="17344" y="16718"/>
                </a:cubicBezTo>
                <a:close/>
                <a:moveTo>
                  <a:pt x="14500" y="16031"/>
                </a:moveTo>
                <a:cubicBezTo>
                  <a:pt x="14500" y="16031"/>
                  <a:pt x="14500" y="16031"/>
                  <a:pt x="14469" y="16031"/>
                </a:cubicBezTo>
                <a:cubicBezTo>
                  <a:pt x="14469" y="15999"/>
                  <a:pt x="14469" y="15999"/>
                  <a:pt x="14469" y="15999"/>
                </a:cubicBezTo>
                <a:cubicBezTo>
                  <a:pt x="14469" y="15999"/>
                  <a:pt x="14469" y="15999"/>
                  <a:pt x="14469" y="15999"/>
                </a:cubicBezTo>
                <a:cubicBezTo>
                  <a:pt x="14469" y="15999"/>
                  <a:pt x="14469" y="15999"/>
                  <a:pt x="14469" y="15968"/>
                </a:cubicBezTo>
                <a:cubicBezTo>
                  <a:pt x="14500" y="15999"/>
                  <a:pt x="14500" y="15999"/>
                  <a:pt x="14500" y="16031"/>
                </a:cubicBezTo>
                <a:close/>
                <a:moveTo>
                  <a:pt x="11000" y="16406"/>
                </a:moveTo>
                <a:cubicBezTo>
                  <a:pt x="11000" y="16437"/>
                  <a:pt x="10969" y="16437"/>
                  <a:pt x="10938" y="16437"/>
                </a:cubicBezTo>
                <a:cubicBezTo>
                  <a:pt x="10938" y="16437"/>
                  <a:pt x="10938" y="16437"/>
                  <a:pt x="10938" y="16437"/>
                </a:cubicBezTo>
                <a:cubicBezTo>
                  <a:pt x="10906" y="16406"/>
                  <a:pt x="10875" y="16374"/>
                  <a:pt x="10938" y="16343"/>
                </a:cubicBezTo>
                <a:cubicBezTo>
                  <a:pt x="10969" y="16343"/>
                  <a:pt x="11000" y="16343"/>
                  <a:pt x="11000" y="16406"/>
                </a:cubicBezTo>
                <a:close/>
                <a:moveTo>
                  <a:pt x="9000" y="16499"/>
                </a:moveTo>
                <a:cubicBezTo>
                  <a:pt x="9000" y="16468"/>
                  <a:pt x="8969" y="16468"/>
                  <a:pt x="8969" y="16468"/>
                </a:cubicBezTo>
                <a:cubicBezTo>
                  <a:pt x="8969" y="16468"/>
                  <a:pt x="8969" y="16468"/>
                  <a:pt x="9000" y="16468"/>
                </a:cubicBezTo>
                <a:cubicBezTo>
                  <a:pt x="9000" y="16468"/>
                  <a:pt x="9000" y="16468"/>
                  <a:pt x="9000" y="16499"/>
                </a:cubicBezTo>
                <a:close/>
                <a:moveTo>
                  <a:pt x="9188" y="16593"/>
                </a:moveTo>
                <a:cubicBezTo>
                  <a:pt x="9188" y="16562"/>
                  <a:pt x="9188" y="16531"/>
                  <a:pt x="9156" y="16531"/>
                </a:cubicBezTo>
                <a:cubicBezTo>
                  <a:pt x="9188" y="16531"/>
                  <a:pt x="9219" y="16562"/>
                  <a:pt x="9188" y="16593"/>
                </a:cubicBezTo>
                <a:close/>
                <a:moveTo>
                  <a:pt x="9125" y="16531"/>
                </a:moveTo>
                <a:cubicBezTo>
                  <a:pt x="9094" y="16531"/>
                  <a:pt x="9031" y="16531"/>
                  <a:pt x="9031" y="16562"/>
                </a:cubicBezTo>
                <a:cubicBezTo>
                  <a:pt x="9031" y="16593"/>
                  <a:pt x="9063" y="16624"/>
                  <a:pt x="9125" y="16656"/>
                </a:cubicBezTo>
                <a:cubicBezTo>
                  <a:pt x="9125" y="16656"/>
                  <a:pt x="9125" y="16687"/>
                  <a:pt x="9094" y="16687"/>
                </a:cubicBezTo>
                <a:cubicBezTo>
                  <a:pt x="9063" y="16656"/>
                  <a:pt x="9031" y="16624"/>
                  <a:pt x="9000" y="16593"/>
                </a:cubicBezTo>
                <a:cubicBezTo>
                  <a:pt x="9000" y="16562"/>
                  <a:pt x="9000" y="16531"/>
                  <a:pt x="9000" y="16499"/>
                </a:cubicBezTo>
                <a:cubicBezTo>
                  <a:pt x="9000" y="16499"/>
                  <a:pt x="9000" y="16499"/>
                  <a:pt x="9000" y="16499"/>
                </a:cubicBezTo>
                <a:cubicBezTo>
                  <a:pt x="9063" y="16499"/>
                  <a:pt x="9094" y="16499"/>
                  <a:pt x="9156" y="16531"/>
                </a:cubicBezTo>
                <a:cubicBezTo>
                  <a:pt x="9156" y="16531"/>
                  <a:pt x="9125" y="16531"/>
                  <a:pt x="9125" y="16531"/>
                </a:cubicBezTo>
                <a:close/>
                <a:moveTo>
                  <a:pt x="9219" y="16687"/>
                </a:moveTo>
                <a:cubicBezTo>
                  <a:pt x="9188" y="16687"/>
                  <a:pt x="9188" y="16687"/>
                  <a:pt x="9156" y="16687"/>
                </a:cubicBezTo>
                <a:cubicBezTo>
                  <a:pt x="9156" y="16656"/>
                  <a:pt x="9156" y="16656"/>
                  <a:pt x="9188" y="16656"/>
                </a:cubicBezTo>
                <a:cubicBezTo>
                  <a:pt x="9188" y="16656"/>
                  <a:pt x="9188" y="16656"/>
                  <a:pt x="9188" y="16656"/>
                </a:cubicBezTo>
                <a:cubicBezTo>
                  <a:pt x="9188" y="16624"/>
                  <a:pt x="9188" y="16624"/>
                  <a:pt x="9188" y="16624"/>
                </a:cubicBezTo>
                <a:cubicBezTo>
                  <a:pt x="9188" y="16624"/>
                  <a:pt x="9188" y="16593"/>
                  <a:pt x="9188" y="16593"/>
                </a:cubicBezTo>
                <a:cubicBezTo>
                  <a:pt x="9250" y="16624"/>
                  <a:pt x="9281" y="16562"/>
                  <a:pt x="9313" y="16593"/>
                </a:cubicBezTo>
                <a:cubicBezTo>
                  <a:pt x="9281" y="16624"/>
                  <a:pt x="9250" y="16656"/>
                  <a:pt x="9219" y="16687"/>
                </a:cubicBezTo>
                <a:close/>
                <a:moveTo>
                  <a:pt x="10688" y="16531"/>
                </a:moveTo>
                <a:cubicBezTo>
                  <a:pt x="10688" y="16531"/>
                  <a:pt x="10688" y="16562"/>
                  <a:pt x="10688" y="16562"/>
                </a:cubicBezTo>
                <a:cubicBezTo>
                  <a:pt x="10688" y="16562"/>
                  <a:pt x="10688" y="16531"/>
                  <a:pt x="10688" y="16531"/>
                </a:cubicBezTo>
                <a:close/>
                <a:moveTo>
                  <a:pt x="11031" y="16656"/>
                </a:moveTo>
                <a:cubicBezTo>
                  <a:pt x="11063" y="16656"/>
                  <a:pt x="11094" y="16656"/>
                  <a:pt x="11125" y="16656"/>
                </a:cubicBezTo>
                <a:cubicBezTo>
                  <a:pt x="11094" y="16656"/>
                  <a:pt x="11063" y="16656"/>
                  <a:pt x="11031" y="16656"/>
                </a:cubicBezTo>
                <a:close/>
                <a:moveTo>
                  <a:pt x="12531" y="15874"/>
                </a:moveTo>
                <a:cubicBezTo>
                  <a:pt x="12531" y="15874"/>
                  <a:pt x="12563" y="15874"/>
                  <a:pt x="12563" y="15874"/>
                </a:cubicBezTo>
                <a:cubicBezTo>
                  <a:pt x="12563" y="15874"/>
                  <a:pt x="12563" y="15906"/>
                  <a:pt x="12563" y="15906"/>
                </a:cubicBezTo>
                <a:cubicBezTo>
                  <a:pt x="12594" y="15937"/>
                  <a:pt x="12594" y="15968"/>
                  <a:pt x="12625" y="15999"/>
                </a:cubicBezTo>
                <a:cubicBezTo>
                  <a:pt x="12563" y="15999"/>
                  <a:pt x="12563" y="15968"/>
                  <a:pt x="12563" y="15937"/>
                </a:cubicBezTo>
                <a:cubicBezTo>
                  <a:pt x="12531" y="15937"/>
                  <a:pt x="12531" y="15906"/>
                  <a:pt x="12531" y="15874"/>
                </a:cubicBezTo>
                <a:close/>
                <a:moveTo>
                  <a:pt x="11125" y="16156"/>
                </a:moveTo>
                <a:cubicBezTo>
                  <a:pt x="11094" y="16156"/>
                  <a:pt x="11125" y="16124"/>
                  <a:pt x="11125" y="16093"/>
                </a:cubicBezTo>
                <a:cubicBezTo>
                  <a:pt x="11094" y="16093"/>
                  <a:pt x="11031" y="16093"/>
                  <a:pt x="11063" y="16031"/>
                </a:cubicBezTo>
                <a:cubicBezTo>
                  <a:pt x="11063" y="16031"/>
                  <a:pt x="11094" y="16031"/>
                  <a:pt x="11125" y="16031"/>
                </a:cubicBezTo>
                <a:cubicBezTo>
                  <a:pt x="11125" y="16062"/>
                  <a:pt x="11125" y="16093"/>
                  <a:pt x="11125" y="16093"/>
                </a:cubicBezTo>
                <a:cubicBezTo>
                  <a:pt x="11156" y="16124"/>
                  <a:pt x="11156" y="16124"/>
                  <a:pt x="11156" y="16156"/>
                </a:cubicBezTo>
                <a:cubicBezTo>
                  <a:pt x="11156" y="16156"/>
                  <a:pt x="11156" y="16156"/>
                  <a:pt x="11125" y="16156"/>
                </a:cubicBezTo>
                <a:close/>
                <a:moveTo>
                  <a:pt x="11500" y="16406"/>
                </a:moveTo>
                <a:cubicBezTo>
                  <a:pt x="11469" y="16406"/>
                  <a:pt x="11469" y="16343"/>
                  <a:pt x="11406" y="16374"/>
                </a:cubicBezTo>
                <a:cubicBezTo>
                  <a:pt x="11406" y="16374"/>
                  <a:pt x="11406" y="16374"/>
                  <a:pt x="11406" y="16374"/>
                </a:cubicBezTo>
                <a:cubicBezTo>
                  <a:pt x="11406" y="16281"/>
                  <a:pt x="11344" y="16281"/>
                  <a:pt x="11313" y="16249"/>
                </a:cubicBezTo>
                <a:cubicBezTo>
                  <a:pt x="11313" y="16249"/>
                  <a:pt x="11313" y="16249"/>
                  <a:pt x="11313" y="16249"/>
                </a:cubicBezTo>
                <a:cubicBezTo>
                  <a:pt x="11250" y="16156"/>
                  <a:pt x="11219" y="16093"/>
                  <a:pt x="11125" y="16031"/>
                </a:cubicBezTo>
                <a:cubicBezTo>
                  <a:pt x="11156" y="15999"/>
                  <a:pt x="11188" y="15999"/>
                  <a:pt x="11219" y="15999"/>
                </a:cubicBezTo>
                <a:cubicBezTo>
                  <a:pt x="11219" y="15999"/>
                  <a:pt x="11219" y="15999"/>
                  <a:pt x="11250" y="15999"/>
                </a:cubicBezTo>
                <a:cubicBezTo>
                  <a:pt x="11250" y="15999"/>
                  <a:pt x="11250" y="15999"/>
                  <a:pt x="11250" y="15999"/>
                </a:cubicBezTo>
                <a:cubicBezTo>
                  <a:pt x="11250" y="16062"/>
                  <a:pt x="11281" y="16062"/>
                  <a:pt x="11313" y="16093"/>
                </a:cubicBezTo>
                <a:cubicBezTo>
                  <a:pt x="11375" y="16124"/>
                  <a:pt x="11406" y="16156"/>
                  <a:pt x="11469" y="16187"/>
                </a:cubicBezTo>
                <a:cubicBezTo>
                  <a:pt x="11469" y="16187"/>
                  <a:pt x="11469" y="16218"/>
                  <a:pt x="11469" y="16218"/>
                </a:cubicBezTo>
                <a:cubicBezTo>
                  <a:pt x="11438" y="16281"/>
                  <a:pt x="11500" y="16343"/>
                  <a:pt x="11531" y="16406"/>
                </a:cubicBezTo>
                <a:cubicBezTo>
                  <a:pt x="11563" y="16437"/>
                  <a:pt x="11594" y="16468"/>
                  <a:pt x="11656" y="16499"/>
                </a:cubicBezTo>
                <a:cubicBezTo>
                  <a:pt x="11531" y="16531"/>
                  <a:pt x="11531" y="16468"/>
                  <a:pt x="11500" y="16406"/>
                </a:cubicBezTo>
                <a:close/>
                <a:moveTo>
                  <a:pt x="11656" y="16249"/>
                </a:moveTo>
                <a:cubicBezTo>
                  <a:pt x="11625" y="16281"/>
                  <a:pt x="11625" y="16281"/>
                  <a:pt x="11594" y="16249"/>
                </a:cubicBezTo>
                <a:cubicBezTo>
                  <a:pt x="11563" y="16218"/>
                  <a:pt x="11531" y="16187"/>
                  <a:pt x="11500" y="16156"/>
                </a:cubicBezTo>
                <a:cubicBezTo>
                  <a:pt x="11500" y="16156"/>
                  <a:pt x="11500" y="16156"/>
                  <a:pt x="11500" y="16156"/>
                </a:cubicBezTo>
                <a:cubicBezTo>
                  <a:pt x="11469" y="16124"/>
                  <a:pt x="11500" y="16093"/>
                  <a:pt x="11563" y="16093"/>
                </a:cubicBezTo>
                <a:cubicBezTo>
                  <a:pt x="11563" y="16156"/>
                  <a:pt x="11594" y="16156"/>
                  <a:pt x="11625" y="16187"/>
                </a:cubicBezTo>
                <a:cubicBezTo>
                  <a:pt x="11656" y="16218"/>
                  <a:pt x="11656" y="16218"/>
                  <a:pt x="11656" y="16249"/>
                </a:cubicBezTo>
                <a:close/>
                <a:moveTo>
                  <a:pt x="12156" y="16343"/>
                </a:moveTo>
                <a:cubicBezTo>
                  <a:pt x="12125" y="16312"/>
                  <a:pt x="12094" y="16343"/>
                  <a:pt x="12063" y="16343"/>
                </a:cubicBezTo>
                <a:cubicBezTo>
                  <a:pt x="12031" y="16343"/>
                  <a:pt x="12031" y="16374"/>
                  <a:pt x="12031" y="16374"/>
                </a:cubicBezTo>
                <a:cubicBezTo>
                  <a:pt x="12031" y="16406"/>
                  <a:pt x="12094" y="16437"/>
                  <a:pt x="12063" y="16437"/>
                </a:cubicBezTo>
                <a:cubicBezTo>
                  <a:pt x="12031" y="16437"/>
                  <a:pt x="11969" y="16437"/>
                  <a:pt x="11969" y="16374"/>
                </a:cubicBezTo>
                <a:cubicBezTo>
                  <a:pt x="11969" y="16374"/>
                  <a:pt x="11969" y="16343"/>
                  <a:pt x="11938" y="16343"/>
                </a:cubicBezTo>
                <a:cubicBezTo>
                  <a:pt x="11938" y="16281"/>
                  <a:pt x="11906" y="16249"/>
                  <a:pt x="11906" y="16187"/>
                </a:cubicBezTo>
                <a:cubicBezTo>
                  <a:pt x="11906" y="16187"/>
                  <a:pt x="11906" y="16156"/>
                  <a:pt x="11875" y="16156"/>
                </a:cubicBezTo>
                <a:cubicBezTo>
                  <a:pt x="11875" y="16156"/>
                  <a:pt x="11875" y="16156"/>
                  <a:pt x="11875" y="16156"/>
                </a:cubicBezTo>
                <a:cubicBezTo>
                  <a:pt x="11875" y="16124"/>
                  <a:pt x="11844" y="16093"/>
                  <a:pt x="11813" y="16093"/>
                </a:cubicBezTo>
                <a:cubicBezTo>
                  <a:pt x="11844" y="16093"/>
                  <a:pt x="11875" y="16124"/>
                  <a:pt x="11875" y="16156"/>
                </a:cubicBezTo>
                <a:cubicBezTo>
                  <a:pt x="11875" y="16124"/>
                  <a:pt x="11906" y="16093"/>
                  <a:pt x="11906" y="16124"/>
                </a:cubicBezTo>
                <a:cubicBezTo>
                  <a:pt x="11938" y="16156"/>
                  <a:pt x="11938" y="16156"/>
                  <a:pt x="11938" y="16156"/>
                </a:cubicBezTo>
                <a:cubicBezTo>
                  <a:pt x="11969" y="16218"/>
                  <a:pt x="11969" y="16249"/>
                  <a:pt x="11969" y="16281"/>
                </a:cubicBezTo>
                <a:cubicBezTo>
                  <a:pt x="12000" y="16343"/>
                  <a:pt x="12063" y="16312"/>
                  <a:pt x="12094" y="16312"/>
                </a:cubicBezTo>
                <a:cubicBezTo>
                  <a:pt x="12125" y="16312"/>
                  <a:pt x="12156" y="16312"/>
                  <a:pt x="12156" y="16312"/>
                </a:cubicBezTo>
                <a:cubicBezTo>
                  <a:pt x="12156" y="16249"/>
                  <a:pt x="12125" y="16249"/>
                  <a:pt x="12094" y="16218"/>
                </a:cubicBezTo>
                <a:cubicBezTo>
                  <a:pt x="12031" y="16218"/>
                  <a:pt x="12031" y="16187"/>
                  <a:pt x="12000" y="16156"/>
                </a:cubicBezTo>
                <a:cubicBezTo>
                  <a:pt x="12031" y="16124"/>
                  <a:pt x="12000" y="16093"/>
                  <a:pt x="12000" y="16062"/>
                </a:cubicBezTo>
                <a:cubicBezTo>
                  <a:pt x="11938" y="16031"/>
                  <a:pt x="11906" y="15968"/>
                  <a:pt x="11875" y="15937"/>
                </a:cubicBezTo>
                <a:cubicBezTo>
                  <a:pt x="11938" y="15874"/>
                  <a:pt x="11969" y="15937"/>
                  <a:pt x="12031" y="15968"/>
                </a:cubicBezTo>
                <a:cubicBezTo>
                  <a:pt x="12031" y="15968"/>
                  <a:pt x="12031" y="15968"/>
                  <a:pt x="12031" y="15968"/>
                </a:cubicBezTo>
                <a:cubicBezTo>
                  <a:pt x="12063" y="15999"/>
                  <a:pt x="12063" y="16093"/>
                  <a:pt x="12156" y="16093"/>
                </a:cubicBezTo>
                <a:cubicBezTo>
                  <a:pt x="12188" y="16093"/>
                  <a:pt x="12219" y="16093"/>
                  <a:pt x="12188" y="16124"/>
                </a:cubicBezTo>
                <a:cubicBezTo>
                  <a:pt x="12188" y="16249"/>
                  <a:pt x="12281" y="16312"/>
                  <a:pt x="12375" y="16406"/>
                </a:cubicBezTo>
                <a:cubicBezTo>
                  <a:pt x="12281" y="16406"/>
                  <a:pt x="12219" y="16406"/>
                  <a:pt x="12156" y="16343"/>
                </a:cubicBezTo>
                <a:close/>
                <a:moveTo>
                  <a:pt x="12688" y="16374"/>
                </a:moveTo>
                <a:cubicBezTo>
                  <a:pt x="12656" y="16374"/>
                  <a:pt x="12563" y="16406"/>
                  <a:pt x="12563" y="16312"/>
                </a:cubicBezTo>
                <a:cubicBezTo>
                  <a:pt x="12563" y="16281"/>
                  <a:pt x="12531" y="16249"/>
                  <a:pt x="12531" y="16249"/>
                </a:cubicBezTo>
                <a:cubicBezTo>
                  <a:pt x="12500" y="16187"/>
                  <a:pt x="12438" y="16156"/>
                  <a:pt x="12438" y="16093"/>
                </a:cubicBezTo>
                <a:cubicBezTo>
                  <a:pt x="12438" y="16093"/>
                  <a:pt x="12438" y="16093"/>
                  <a:pt x="12438" y="16093"/>
                </a:cubicBezTo>
                <a:cubicBezTo>
                  <a:pt x="12406" y="16093"/>
                  <a:pt x="12406" y="16062"/>
                  <a:pt x="12375" y="16031"/>
                </a:cubicBezTo>
                <a:cubicBezTo>
                  <a:pt x="12375" y="15999"/>
                  <a:pt x="12375" y="15999"/>
                  <a:pt x="12406" y="15999"/>
                </a:cubicBezTo>
                <a:cubicBezTo>
                  <a:pt x="12469" y="15999"/>
                  <a:pt x="12531" y="15999"/>
                  <a:pt x="12563" y="16031"/>
                </a:cubicBezTo>
                <a:cubicBezTo>
                  <a:pt x="12531" y="15999"/>
                  <a:pt x="12469" y="15999"/>
                  <a:pt x="12406" y="15999"/>
                </a:cubicBezTo>
                <a:cubicBezTo>
                  <a:pt x="12406" y="16031"/>
                  <a:pt x="12469" y="16062"/>
                  <a:pt x="12438" y="16093"/>
                </a:cubicBezTo>
                <a:lnTo>
                  <a:pt x="12438" y="16093"/>
                </a:lnTo>
                <a:cubicBezTo>
                  <a:pt x="12438" y="16093"/>
                  <a:pt x="12438" y="16093"/>
                  <a:pt x="12438" y="16093"/>
                </a:cubicBezTo>
                <a:cubicBezTo>
                  <a:pt x="12531" y="16124"/>
                  <a:pt x="12563" y="16218"/>
                  <a:pt x="12594" y="16281"/>
                </a:cubicBezTo>
                <a:cubicBezTo>
                  <a:pt x="12625" y="16312"/>
                  <a:pt x="12594" y="16343"/>
                  <a:pt x="12656" y="16343"/>
                </a:cubicBezTo>
                <a:cubicBezTo>
                  <a:pt x="12656" y="16343"/>
                  <a:pt x="12656" y="16312"/>
                  <a:pt x="12656" y="16281"/>
                </a:cubicBezTo>
                <a:cubicBezTo>
                  <a:pt x="12625" y="16218"/>
                  <a:pt x="12625" y="16124"/>
                  <a:pt x="12594" y="16062"/>
                </a:cubicBezTo>
                <a:cubicBezTo>
                  <a:pt x="12625" y="15999"/>
                  <a:pt x="12625" y="16093"/>
                  <a:pt x="12656" y="16093"/>
                </a:cubicBezTo>
                <a:cubicBezTo>
                  <a:pt x="12656" y="16093"/>
                  <a:pt x="12688" y="16093"/>
                  <a:pt x="12688" y="16093"/>
                </a:cubicBezTo>
                <a:cubicBezTo>
                  <a:pt x="12688" y="16093"/>
                  <a:pt x="12656" y="16093"/>
                  <a:pt x="12656" y="16093"/>
                </a:cubicBezTo>
                <a:cubicBezTo>
                  <a:pt x="12656" y="16124"/>
                  <a:pt x="12688" y="16156"/>
                  <a:pt x="12688" y="16187"/>
                </a:cubicBezTo>
                <a:cubicBezTo>
                  <a:pt x="12688" y="16249"/>
                  <a:pt x="12688" y="16281"/>
                  <a:pt x="12750" y="16249"/>
                </a:cubicBezTo>
                <a:cubicBezTo>
                  <a:pt x="12750" y="16312"/>
                  <a:pt x="12781" y="16374"/>
                  <a:pt x="12688" y="16374"/>
                </a:cubicBezTo>
                <a:close/>
                <a:moveTo>
                  <a:pt x="13438" y="16312"/>
                </a:moveTo>
                <a:cubicBezTo>
                  <a:pt x="13344" y="16343"/>
                  <a:pt x="13250" y="16343"/>
                  <a:pt x="13188" y="16281"/>
                </a:cubicBezTo>
                <a:cubicBezTo>
                  <a:pt x="13125" y="16218"/>
                  <a:pt x="13094" y="16218"/>
                  <a:pt x="13063" y="16312"/>
                </a:cubicBezTo>
                <a:cubicBezTo>
                  <a:pt x="13063" y="16312"/>
                  <a:pt x="13063" y="16343"/>
                  <a:pt x="13063" y="16343"/>
                </a:cubicBezTo>
                <a:cubicBezTo>
                  <a:pt x="13000" y="16374"/>
                  <a:pt x="12938" y="16281"/>
                  <a:pt x="12875" y="16343"/>
                </a:cubicBezTo>
                <a:cubicBezTo>
                  <a:pt x="12875" y="16312"/>
                  <a:pt x="12844" y="16281"/>
                  <a:pt x="12844" y="16249"/>
                </a:cubicBezTo>
                <a:cubicBezTo>
                  <a:pt x="12875" y="16218"/>
                  <a:pt x="12844" y="16187"/>
                  <a:pt x="12813" y="16187"/>
                </a:cubicBezTo>
                <a:cubicBezTo>
                  <a:pt x="12813" y="16187"/>
                  <a:pt x="12813" y="16187"/>
                  <a:pt x="12813" y="16187"/>
                </a:cubicBezTo>
                <a:cubicBezTo>
                  <a:pt x="12813" y="16187"/>
                  <a:pt x="12813" y="16187"/>
                  <a:pt x="12813" y="16187"/>
                </a:cubicBezTo>
                <a:cubicBezTo>
                  <a:pt x="12813" y="16156"/>
                  <a:pt x="12781" y="16156"/>
                  <a:pt x="12750" y="16156"/>
                </a:cubicBezTo>
                <a:cubicBezTo>
                  <a:pt x="12750" y="16156"/>
                  <a:pt x="12750" y="16124"/>
                  <a:pt x="12750" y="16093"/>
                </a:cubicBezTo>
                <a:cubicBezTo>
                  <a:pt x="12750" y="16124"/>
                  <a:pt x="12719" y="16124"/>
                  <a:pt x="12719" y="16093"/>
                </a:cubicBezTo>
                <a:cubicBezTo>
                  <a:pt x="12719" y="16124"/>
                  <a:pt x="12750" y="16124"/>
                  <a:pt x="12750" y="16093"/>
                </a:cubicBezTo>
                <a:cubicBezTo>
                  <a:pt x="12750" y="15999"/>
                  <a:pt x="12625" y="15968"/>
                  <a:pt x="12625" y="15874"/>
                </a:cubicBezTo>
                <a:cubicBezTo>
                  <a:pt x="12719" y="15843"/>
                  <a:pt x="12750" y="15937"/>
                  <a:pt x="12781" y="15999"/>
                </a:cubicBezTo>
                <a:cubicBezTo>
                  <a:pt x="12813" y="16031"/>
                  <a:pt x="12813" y="16062"/>
                  <a:pt x="12875" y="16062"/>
                </a:cubicBezTo>
                <a:cubicBezTo>
                  <a:pt x="12875" y="16031"/>
                  <a:pt x="12906" y="15999"/>
                  <a:pt x="12875" y="15968"/>
                </a:cubicBezTo>
                <a:cubicBezTo>
                  <a:pt x="12844" y="15937"/>
                  <a:pt x="12875" y="15968"/>
                  <a:pt x="12875" y="15968"/>
                </a:cubicBezTo>
                <a:cubicBezTo>
                  <a:pt x="12906" y="15968"/>
                  <a:pt x="12938" y="15937"/>
                  <a:pt x="12938" y="15906"/>
                </a:cubicBezTo>
                <a:cubicBezTo>
                  <a:pt x="12938" y="15906"/>
                  <a:pt x="12906" y="15874"/>
                  <a:pt x="12938" y="15874"/>
                </a:cubicBezTo>
                <a:cubicBezTo>
                  <a:pt x="12969" y="15874"/>
                  <a:pt x="13031" y="15843"/>
                  <a:pt x="13063" y="15906"/>
                </a:cubicBezTo>
                <a:cubicBezTo>
                  <a:pt x="13094" y="15937"/>
                  <a:pt x="13125" y="15968"/>
                  <a:pt x="13156" y="16031"/>
                </a:cubicBezTo>
                <a:cubicBezTo>
                  <a:pt x="13219" y="16093"/>
                  <a:pt x="13281" y="16187"/>
                  <a:pt x="13344" y="16281"/>
                </a:cubicBezTo>
                <a:cubicBezTo>
                  <a:pt x="13344" y="16156"/>
                  <a:pt x="13313" y="16093"/>
                  <a:pt x="13281" y="15999"/>
                </a:cubicBezTo>
                <a:cubicBezTo>
                  <a:pt x="13313" y="15999"/>
                  <a:pt x="13344" y="16031"/>
                  <a:pt x="13375" y="16031"/>
                </a:cubicBezTo>
                <a:cubicBezTo>
                  <a:pt x="13375" y="16031"/>
                  <a:pt x="13375" y="16031"/>
                  <a:pt x="13375" y="16031"/>
                </a:cubicBezTo>
                <a:cubicBezTo>
                  <a:pt x="13344" y="16062"/>
                  <a:pt x="13375" y="16093"/>
                  <a:pt x="13375" y="16124"/>
                </a:cubicBezTo>
                <a:cubicBezTo>
                  <a:pt x="13375" y="16187"/>
                  <a:pt x="13469" y="16249"/>
                  <a:pt x="13438" y="16312"/>
                </a:cubicBezTo>
                <a:cubicBezTo>
                  <a:pt x="13500" y="16343"/>
                  <a:pt x="13531" y="16343"/>
                  <a:pt x="13594" y="16343"/>
                </a:cubicBezTo>
                <a:cubicBezTo>
                  <a:pt x="13531" y="16343"/>
                  <a:pt x="13500" y="16343"/>
                  <a:pt x="13438" y="16312"/>
                </a:cubicBezTo>
                <a:close/>
                <a:moveTo>
                  <a:pt x="13688" y="16312"/>
                </a:moveTo>
                <a:cubicBezTo>
                  <a:pt x="13625" y="16312"/>
                  <a:pt x="13563" y="16281"/>
                  <a:pt x="13500" y="16249"/>
                </a:cubicBezTo>
                <a:cubicBezTo>
                  <a:pt x="13500" y="16249"/>
                  <a:pt x="13500" y="16249"/>
                  <a:pt x="13500" y="16249"/>
                </a:cubicBezTo>
                <a:cubicBezTo>
                  <a:pt x="13531" y="16218"/>
                  <a:pt x="13531" y="16156"/>
                  <a:pt x="13469" y="16124"/>
                </a:cubicBezTo>
                <a:cubicBezTo>
                  <a:pt x="13438" y="16124"/>
                  <a:pt x="13438" y="16062"/>
                  <a:pt x="13406" y="16062"/>
                </a:cubicBezTo>
                <a:cubicBezTo>
                  <a:pt x="13469" y="16031"/>
                  <a:pt x="13406" y="15999"/>
                  <a:pt x="13406" y="15968"/>
                </a:cubicBezTo>
                <a:cubicBezTo>
                  <a:pt x="13375" y="15937"/>
                  <a:pt x="13344" y="15906"/>
                  <a:pt x="13344" y="15874"/>
                </a:cubicBezTo>
                <a:cubicBezTo>
                  <a:pt x="13406" y="15843"/>
                  <a:pt x="13438" y="15906"/>
                  <a:pt x="13469" y="15937"/>
                </a:cubicBezTo>
                <a:cubicBezTo>
                  <a:pt x="13500" y="15968"/>
                  <a:pt x="13500" y="16062"/>
                  <a:pt x="13594" y="16031"/>
                </a:cubicBezTo>
                <a:cubicBezTo>
                  <a:pt x="13594" y="16031"/>
                  <a:pt x="13625" y="16062"/>
                  <a:pt x="13594" y="16093"/>
                </a:cubicBezTo>
                <a:cubicBezTo>
                  <a:pt x="13594" y="16156"/>
                  <a:pt x="13625" y="16156"/>
                  <a:pt x="13656" y="16156"/>
                </a:cubicBezTo>
                <a:cubicBezTo>
                  <a:pt x="13688" y="16187"/>
                  <a:pt x="13688" y="16187"/>
                  <a:pt x="13688" y="16218"/>
                </a:cubicBezTo>
                <a:cubicBezTo>
                  <a:pt x="13688" y="16249"/>
                  <a:pt x="13750" y="16312"/>
                  <a:pt x="13688" y="16312"/>
                </a:cubicBezTo>
                <a:close/>
                <a:moveTo>
                  <a:pt x="14063" y="16156"/>
                </a:moveTo>
                <a:cubicBezTo>
                  <a:pt x="14063" y="16187"/>
                  <a:pt x="14094" y="16187"/>
                  <a:pt x="14094" y="16218"/>
                </a:cubicBezTo>
                <a:cubicBezTo>
                  <a:pt x="14094" y="16218"/>
                  <a:pt x="14094" y="16218"/>
                  <a:pt x="14094" y="16218"/>
                </a:cubicBezTo>
                <a:cubicBezTo>
                  <a:pt x="14063" y="16218"/>
                  <a:pt x="14031" y="16218"/>
                  <a:pt x="14031" y="16187"/>
                </a:cubicBezTo>
                <a:cubicBezTo>
                  <a:pt x="14031" y="16156"/>
                  <a:pt x="14031" y="16156"/>
                  <a:pt x="14063" y="16156"/>
                </a:cubicBezTo>
                <a:close/>
                <a:moveTo>
                  <a:pt x="13969" y="16312"/>
                </a:moveTo>
                <a:cubicBezTo>
                  <a:pt x="14000" y="16281"/>
                  <a:pt x="14063" y="16249"/>
                  <a:pt x="14094" y="16312"/>
                </a:cubicBezTo>
                <a:cubicBezTo>
                  <a:pt x="14063" y="16312"/>
                  <a:pt x="14000" y="16312"/>
                  <a:pt x="13969" y="16312"/>
                </a:cubicBezTo>
                <a:close/>
                <a:moveTo>
                  <a:pt x="14125" y="16249"/>
                </a:moveTo>
                <a:cubicBezTo>
                  <a:pt x="14125" y="16218"/>
                  <a:pt x="14125" y="16218"/>
                  <a:pt x="14125" y="16218"/>
                </a:cubicBezTo>
                <a:cubicBezTo>
                  <a:pt x="14125" y="16218"/>
                  <a:pt x="14125" y="16218"/>
                  <a:pt x="14125" y="16218"/>
                </a:cubicBezTo>
                <a:lnTo>
                  <a:pt x="14125" y="16249"/>
                </a:lnTo>
                <a:close/>
                <a:moveTo>
                  <a:pt x="15031" y="16343"/>
                </a:moveTo>
                <a:cubicBezTo>
                  <a:pt x="15000" y="16343"/>
                  <a:pt x="14969" y="16343"/>
                  <a:pt x="14938" y="16312"/>
                </a:cubicBezTo>
                <a:cubicBezTo>
                  <a:pt x="14938" y="16281"/>
                  <a:pt x="14938" y="16218"/>
                  <a:pt x="14875" y="16218"/>
                </a:cubicBezTo>
                <a:cubicBezTo>
                  <a:pt x="14875" y="16218"/>
                  <a:pt x="14875" y="16218"/>
                  <a:pt x="14875" y="16218"/>
                </a:cubicBezTo>
                <a:cubicBezTo>
                  <a:pt x="14875" y="16218"/>
                  <a:pt x="14875" y="16218"/>
                  <a:pt x="14875" y="16218"/>
                </a:cubicBezTo>
                <a:cubicBezTo>
                  <a:pt x="14875" y="16218"/>
                  <a:pt x="14875" y="16187"/>
                  <a:pt x="14875" y="16187"/>
                </a:cubicBezTo>
                <a:cubicBezTo>
                  <a:pt x="14875" y="16187"/>
                  <a:pt x="14844" y="16187"/>
                  <a:pt x="14844" y="16187"/>
                </a:cubicBezTo>
                <a:cubicBezTo>
                  <a:pt x="14844" y="16156"/>
                  <a:pt x="14813" y="16156"/>
                  <a:pt x="14813" y="16124"/>
                </a:cubicBezTo>
                <a:cubicBezTo>
                  <a:pt x="14813" y="16062"/>
                  <a:pt x="14781" y="16031"/>
                  <a:pt x="14750" y="15999"/>
                </a:cubicBezTo>
                <a:cubicBezTo>
                  <a:pt x="14750" y="15968"/>
                  <a:pt x="14750" y="15937"/>
                  <a:pt x="14750" y="15937"/>
                </a:cubicBezTo>
                <a:cubicBezTo>
                  <a:pt x="14781" y="15906"/>
                  <a:pt x="14813" y="15937"/>
                  <a:pt x="14813" y="15937"/>
                </a:cubicBezTo>
                <a:cubicBezTo>
                  <a:pt x="14844" y="15968"/>
                  <a:pt x="14875" y="15999"/>
                  <a:pt x="14875" y="16031"/>
                </a:cubicBezTo>
                <a:cubicBezTo>
                  <a:pt x="14875" y="16062"/>
                  <a:pt x="14906" y="16093"/>
                  <a:pt x="14906" y="16093"/>
                </a:cubicBezTo>
                <a:cubicBezTo>
                  <a:pt x="15000" y="16093"/>
                  <a:pt x="15000" y="16156"/>
                  <a:pt x="15031" y="16218"/>
                </a:cubicBezTo>
                <a:cubicBezTo>
                  <a:pt x="15031" y="16218"/>
                  <a:pt x="15031" y="16218"/>
                  <a:pt x="15031" y="16187"/>
                </a:cubicBezTo>
                <a:cubicBezTo>
                  <a:pt x="15031" y="16218"/>
                  <a:pt x="15031" y="16218"/>
                  <a:pt x="15031" y="16218"/>
                </a:cubicBezTo>
                <a:cubicBezTo>
                  <a:pt x="15031" y="16249"/>
                  <a:pt x="15063" y="16281"/>
                  <a:pt x="15063" y="16312"/>
                </a:cubicBezTo>
                <a:cubicBezTo>
                  <a:pt x="15063" y="16343"/>
                  <a:pt x="15031" y="16343"/>
                  <a:pt x="15031" y="16343"/>
                </a:cubicBezTo>
                <a:close/>
                <a:moveTo>
                  <a:pt x="15594" y="16312"/>
                </a:moveTo>
                <a:cubicBezTo>
                  <a:pt x="15594" y="16249"/>
                  <a:pt x="15500" y="16187"/>
                  <a:pt x="15469" y="16124"/>
                </a:cubicBezTo>
                <a:cubicBezTo>
                  <a:pt x="15469" y="16093"/>
                  <a:pt x="15438" y="16031"/>
                  <a:pt x="15469" y="16031"/>
                </a:cubicBezTo>
                <a:cubicBezTo>
                  <a:pt x="15500" y="15999"/>
                  <a:pt x="15531" y="16031"/>
                  <a:pt x="15531" y="16062"/>
                </a:cubicBezTo>
                <a:cubicBezTo>
                  <a:pt x="15563" y="16156"/>
                  <a:pt x="15625" y="16156"/>
                  <a:pt x="15656" y="16218"/>
                </a:cubicBezTo>
                <a:cubicBezTo>
                  <a:pt x="15656" y="16218"/>
                  <a:pt x="15656" y="16249"/>
                  <a:pt x="15656" y="16281"/>
                </a:cubicBezTo>
                <a:cubicBezTo>
                  <a:pt x="15656" y="16343"/>
                  <a:pt x="15688" y="16374"/>
                  <a:pt x="15719" y="16437"/>
                </a:cubicBezTo>
                <a:cubicBezTo>
                  <a:pt x="15656" y="16406"/>
                  <a:pt x="15563" y="16437"/>
                  <a:pt x="15594" y="16312"/>
                </a:cubicBezTo>
                <a:close/>
                <a:moveTo>
                  <a:pt x="16063" y="16468"/>
                </a:moveTo>
                <a:cubicBezTo>
                  <a:pt x="16031" y="16499"/>
                  <a:pt x="16000" y="16468"/>
                  <a:pt x="15938" y="16468"/>
                </a:cubicBezTo>
                <a:cubicBezTo>
                  <a:pt x="15938" y="16468"/>
                  <a:pt x="15906" y="16468"/>
                  <a:pt x="15906" y="16468"/>
                </a:cubicBezTo>
                <a:cubicBezTo>
                  <a:pt x="15938" y="16437"/>
                  <a:pt x="15969" y="16406"/>
                  <a:pt x="15906" y="16374"/>
                </a:cubicBezTo>
                <a:cubicBezTo>
                  <a:pt x="15906" y="16343"/>
                  <a:pt x="15906" y="16343"/>
                  <a:pt x="15906" y="16312"/>
                </a:cubicBezTo>
                <a:cubicBezTo>
                  <a:pt x="15906" y="16312"/>
                  <a:pt x="15938" y="16312"/>
                  <a:pt x="15938" y="16343"/>
                </a:cubicBezTo>
                <a:cubicBezTo>
                  <a:pt x="15969" y="16374"/>
                  <a:pt x="15969" y="16406"/>
                  <a:pt x="16000" y="16437"/>
                </a:cubicBezTo>
                <a:cubicBezTo>
                  <a:pt x="16031" y="16374"/>
                  <a:pt x="16000" y="16281"/>
                  <a:pt x="16031" y="16218"/>
                </a:cubicBezTo>
                <a:cubicBezTo>
                  <a:pt x="16031" y="16218"/>
                  <a:pt x="16031" y="16218"/>
                  <a:pt x="16031" y="16218"/>
                </a:cubicBezTo>
                <a:cubicBezTo>
                  <a:pt x="16031" y="16249"/>
                  <a:pt x="16063" y="16281"/>
                  <a:pt x="16063" y="16281"/>
                </a:cubicBezTo>
                <a:cubicBezTo>
                  <a:pt x="16063" y="16281"/>
                  <a:pt x="16063" y="16281"/>
                  <a:pt x="16063" y="16281"/>
                </a:cubicBezTo>
                <a:cubicBezTo>
                  <a:pt x="16063" y="16312"/>
                  <a:pt x="16063" y="16312"/>
                  <a:pt x="16063" y="16343"/>
                </a:cubicBezTo>
                <a:cubicBezTo>
                  <a:pt x="16063" y="16343"/>
                  <a:pt x="16063" y="16374"/>
                  <a:pt x="16063" y="16374"/>
                </a:cubicBezTo>
                <a:cubicBezTo>
                  <a:pt x="16031" y="16406"/>
                  <a:pt x="16156" y="16437"/>
                  <a:pt x="16063" y="16468"/>
                </a:cubicBezTo>
                <a:close/>
                <a:moveTo>
                  <a:pt x="16219" y="16468"/>
                </a:moveTo>
                <a:cubicBezTo>
                  <a:pt x="16250" y="16437"/>
                  <a:pt x="16219" y="16406"/>
                  <a:pt x="16188" y="16374"/>
                </a:cubicBezTo>
                <a:cubicBezTo>
                  <a:pt x="16188" y="16374"/>
                  <a:pt x="16156" y="16343"/>
                  <a:pt x="16125" y="16312"/>
                </a:cubicBezTo>
                <a:cubicBezTo>
                  <a:pt x="16125" y="16312"/>
                  <a:pt x="16125" y="16312"/>
                  <a:pt x="16125" y="16312"/>
                </a:cubicBezTo>
                <a:cubicBezTo>
                  <a:pt x="16125" y="16312"/>
                  <a:pt x="16125" y="16312"/>
                  <a:pt x="16125" y="16312"/>
                </a:cubicBezTo>
                <a:cubicBezTo>
                  <a:pt x="16188" y="16281"/>
                  <a:pt x="16125" y="16249"/>
                  <a:pt x="16125" y="16218"/>
                </a:cubicBezTo>
                <a:cubicBezTo>
                  <a:pt x="16125" y="16187"/>
                  <a:pt x="16094" y="16156"/>
                  <a:pt x="16125" y="16156"/>
                </a:cubicBezTo>
                <a:cubicBezTo>
                  <a:pt x="16125" y="16124"/>
                  <a:pt x="16188" y="16156"/>
                  <a:pt x="16188" y="16156"/>
                </a:cubicBezTo>
                <a:cubicBezTo>
                  <a:pt x="16188" y="16249"/>
                  <a:pt x="16250" y="16281"/>
                  <a:pt x="16313" y="16312"/>
                </a:cubicBezTo>
                <a:cubicBezTo>
                  <a:pt x="16313" y="16343"/>
                  <a:pt x="16313" y="16374"/>
                  <a:pt x="16313" y="16374"/>
                </a:cubicBezTo>
                <a:cubicBezTo>
                  <a:pt x="16313" y="16437"/>
                  <a:pt x="16344" y="16468"/>
                  <a:pt x="16375" y="16499"/>
                </a:cubicBezTo>
                <a:cubicBezTo>
                  <a:pt x="16313" y="16531"/>
                  <a:pt x="16281" y="16499"/>
                  <a:pt x="16219" y="16468"/>
                </a:cubicBezTo>
                <a:close/>
                <a:moveTo>
                  <a:pt x="1719" y="21749"/>
                </a:moveTo>
                <a:cubicBezTo>
                  <a:pt x="1719" y="21749"/>
                  <a:pt x="1719" y="21749"/>
                  <a:pt x="1719" y="21749"/>
                </a:cubicBezTo>
                <a:cubicBezTo>
                  <a:pt x="1750" y="21749"/>
                  <a:pt x="1750" y="21749"/>
                  <a:pt x="1750" y="21749"/>
                </a:cubicBezTo>
                <a:cubicBezTo>
                  <a:pt x="1750" y="21749"/>
                  <a:pt x="1781" y="21749"/>
                  <a:pt x="1813" y="21749"/>
                </a:cubicBezTo>
                <a:cubicBezTo>
                  <a:pt x="1813" y="21749"/>
                  <a:pt x="1844" y="21812"/>
                  <a:pt x="1781" y="21781"/>
                </a:cubicBezTo>
                <a:cubicBezTo>
                  <a:pt x="1750" y="21781"/>
                  <a:pt x="1688" y="21843"/>
                  <a:pt x="1688" y="21749"/>
                </a:cubicBezTo>
                <a:cubicBezTo>
                  <a:pt x="1688" y="21749"/>
                  <a:pt x="1719" y="21749"/>
                  <a:pt x="1719" y="21749"/>
                </a:cubicBezTo>
                <a:close/>
                <a:moveTo>
                  <a:pt x="1438" y="21718"/>
                </a:moveTo>
                <a:cubicBezTo>
                  <a:pt x="1438" y="21718"/>
                  <a:pt x="1438" y="21718"/>
                  <a:pt x="1438" y="21718"/>
                </a:cubicBezTo>
                <a:cubicBezTo>
                  <a:pt x="1469" y="21718"/>
                  <a:pt x="1500" y="21718"/>
                  <a:pt x="1500" y="21687"/>
                </a:cubicBezTo>
                <a:cubicBezTo>
                  <a:pt x="1531" y="21687"/>
                  <a:pt x="1531" y="21687"/>
                  <a:pt x="1531" y="21687"/>
                </a:cubicBezTo>
                <a:cubicBezTo>
                  <a:pt x="1531" y="21687"/>
                  <a:pt x="1531" y="21687"/>
                  <a:pt x="1500" y="21687"/>
                </a:cubicBezTo>
                <a:cubicBezTo>
                  <a:pt x="1563" y="21687"/>
                  <a:pt x="1594" y="21718"/>
                  <a:pt x="1625" y="21718"/>
                </a:cubicBezTo>
                <a:cubicBezTo>
                  <a:pt x="1563" y="21718"/>
                  <a:pt x="1500" y="21781"/>
                  <a:pt x="1438" y="21718"/>
                </a:cubicBezTo>
                <a:cubicBezTo>
                  <a:pt x="1438" y="21718"/>
                  <a:pt x="1438" y="21718"/>
                  <a:pt x="1438" y="21718"/>
                </a:cubicBezTo>
                <a:close/>
                <a:moveTo>
                  <a:pt x="1563" y="21781"/>
                </a:moveTo>
                <a:cubicBezTo>
                  <a:pt x="1531" y="21906"/>
                  <a:pt x="1406" y="21843"/>
                  <a:pt x="1313" y="21874"/>
                </a:cubicBezTo>
                <a:cubicBezTo>
                  <a:pt x="1375" y="21781"/>
                  <a:pt x="1500" y="21874"/>
                  <a:pt x="1563" y="21781"/>
                </a:cubicBezTo>
                <a:close/>
                <a:moveTo>
                  <a:pt x="2313" y="20937"/>
                </a:moveTo>
                <a:cubicBezTo>
                  <a:pt x="2344" y="20906"/>
                  <a:pt x="2375" y="20906"/>
                  <a:pt x="2406" y="20937"/>
                </a:cubicBezTo>
                <a:cubicBezTo>
                  <a:pt x="2438" y="20999"/>
                  <a:pt x="2531" y="20968"/>
                  <a:pt x="2531" y="21062"/>
                </a:cubicBezTo>
                <a:cubicBezTo>
                  <a:pt x="2469" y="21062"/>
                  <a:pt x="2406" y="21062"/>
                  <a:pt x="2344" y="21062"/>
                </a:cubicBezTo>
                <a:cubicBezTo>
                  <a:pt x="2344" y="21062"/>
                  <a:pt x="2344" y="21062"/>
                  <a:pt x="2344" y="21062"/>
                </a:cubicBezTo>
                <a:cubicBezTo>
                  <a:pt x="2281" y="21062"/>
                  <a:pt x="2250" y="21062"/>
                  <a:pt x="2250" y="21031"/>
                </a:cubicBezTo>
                <a:cubicBezTo>
                  <a:pt x="2250" y="20999"/>
                  <a:pt x="2281" y="20968"/>
                  <a:pt x="2313" y="20937"/>
                </a:cubicBezTo>
                <a:close/>
                <a:moveTo>
                  <a:pt x="2063" y="21124"/>
                </a:moveTo>
                <a:cubicBezTo>
                  <a:pt x="2063" y="21093"/>
                  <a:pt x="2125" y="21062"/>
                  <a:pt x="2156" y="21062"/>
                </a:cubicBezTo>
                <a:cubicBezTo>
                  <a:pt x="2156" y="21062"/>
                  <a:pt x="2156" y="21093"/>
                  <a:pt x="2156" y="21093"/>
                </a:cubicBezTo>
                <a:cubicBezTo>
                  <a:pt x="2125" y="21156"/>
                  <a:pt x="2094" y="21093"/>
                  <a:pt x="2063" y="21156"/>
                </a:cubicBezTo>
                <a:cubicBezTo>
                  <a:pt x="2063" y="21124"/>
                  <a:pt x="2031" y="21124"/>
                  <a:pt x="2063" y="21124"/>
                </a:cubicBezTo>
                <a:close/>
                <a:moveTo>
                  <a:pt x="563" y="20843"/>
                </a:moveTo>
                <a:cubicBezTo>
                  <a:pt x="469" y="20874"/>
                  <a:pt x="375" y="20874"/>
                  <a:pt x="281" y="20843"/>
                </a:cubicBezTo>
                <a:cubicBezTo>
                  <a:pt x="375" y="20812"/>
                  <a:pt x="469" y="20749"/>
                  <a:pt x="594" y="20749"/>
                </a:cubicBezTo>
                <a:cubicBezTo>
                  <a:pt x="563" y="20749"/>
                  <a:pt x="563" y="20749"/>
                  <a:pt x="531" y="20718"/>
                </a:cubicBezTo>
                <a:cubicBezTo>
                  <a:pt x="563" y="20749"/>
                  <a:pt x="563" y="20749"/>
                  <a:pt x="594" y="20749"/>
                </a:cubicBezTo>
                <a:cubicBezTo>
                  <a:pt x="594" y="20749"/>
                  <a:pt x="594" y="20749"/>
                  <a:pt x="594" y="20749"/>
                </a:cubicBezTo>
                <a:cubicBezTo>
                  <a:pt x="625" y="20812"/>
                  <a:pt x="594" y="20812"/>
                  <a:pt x="563" y="20843"/>
                </a:cubicBezTo>
                <a:close/>
                <a:moveTo>
                  <a:pt x="594" y="21406"/>
                </a:moveTo>
                <a:cubicBezTo>
                  <a:pt x="625" y="21374"/>
                  <a:pt x="656" y="21374"/>
                  <a:pt x="688" y="21374"/>
                </a:cubicBezTo>
                <a:cubicBezTo>
                  <a:pt x="719" y="21374"/>
                  <a:pt x="719" y="21374"/>
                  <a:pt x="750" y="21374"/>
                </a:cubicBezTo>
                <a:cubicBezTo>
                  <a:pt x="750" y="21374"/>
                  <a:pt x="750" y="21374"/>
                  <a:pt x="750" y="21374"/>
                </a:cubicBezTo>
                <a:cubicBezTo>
                  <a:pt x="750" y="21374"/>
                  <a:pt x="750" y="21406"/>
                  <a:pt x="750" y="21437"/>
                </a:cubicBezTo>
                <a:cubicBezTo>
                  <a:pt x="688" y="21437"/>
                  <a:pt x="656" y="21468"/>
                  <a:pt x="625" y="21437"/>
                </a:cubicBezTo>
                <a:cubicBezTo>
                  <a:pt x="594" y="21437"/>
                  <a:pt x="594" y="21406"/>
                  <a:pt x="594" y="21406"/>
                </a:cubicBezTo>
                <a:close/>
                <a:moveTo>
                  <a:pt x="406" y="22093"/>
                </a:moveTo>
                <a:cubicBezTo>
                  <a:pt x="344" y="22062"/>
                  <a:pt x="313" y="22093"/>
                  <a:pt x="250" y="22093"/>
                </a:cubicBezTo>
                <a:cubicBezTo>
                  <a:pt x="281" y="22062"/>
                  <a:pt x="281" y="22031"/>
                  <a:pt x="344" y="22031"/>
                </a:cubicBezTo>
                <a:cubicBezTo>
                  <a:pt x="375" y="22031"/>
                  <a:pt x="375" y="21999"/>
                  <a:pt x="375" y="21968"/>
                </a:cubicBezTo>
                <a:cubicBezTo>
                  <a:pt x="406" y="21999"/>
                  <a:pt x="438" y="21999"/>
                  <a:pt x="438" y="21999"/>
                </a:cubicBezTo>
                <a:cubicBezTo>
                  <a:pt x="469" y="21999"/>
                  <a:pt x="469" y="21999"/>
                  <a:pt x="469" y="21999"/>
                </a:cubicBezTo>
                <a:cubicBezTo>
                  <a:pt x="500" y="22062"/>
                  <a:pt x="406" y="22093"/>
                  <a:pt x="406" y="22093"/>
                </a:cubicBezTo>
                <a:close/>
                <a:moveTo>
                  <a:pt x="844" y="21781"/>
                </a:moveTo>
                <a:cubicBezTo>
                  <a:pt x="844" y="21812"/>
                  <a:pt x="813" y="21843"/>
                  <a:pt x="844" y="21843"/>
                </a:cubicBezTo>
                <a:cubicBezTo>
                  <a:pt x="844" y="21874"/>
                  <a:pt x="844" y="21874"/>
                  <a:pt x="844" y="21874"/>
                </a:cubicBezTo>
                <a:cubicBezTo>
                  <a:pt x="813" y="21874"/>
                  <a:pt x="813" y="21843"/>
                  <a:pt x="781" y="21843"/>
                </a:cubicBezTo>
                <a:cubicBezTo>
                  <a:pt x="750" y="21874"/>
                  <a:pt x="750" y="21874"/>
                  <a:pt x="719" y="21906"/>
                </a:cubicBezTo>
                <a:cubicBezTo>
                  <a:pt x="750" y="21874"/>
                  <a:pt x="750" y="21874"/>
                  <a:pt x="781" y="21843"/>
                </a:cubicBezTo>
                <a:cubicBezTo>
                  <a:pt x="656" y="21843"/>
                  <a:pt x="531" y="21937"/>
                  <a:pt x="438" y="21937"/>
                </a:cubicBezTo>
                <a:cubicBezTo>
                  <a:pt x="406" y="21937"/>
                  <a:pt x="375" y="21937"/>
                  <a:pt x="375" y="21968"/>
                </a:cubicBezTo>
                <a:cubicBezTo>
                  <a:pt x="344" y="21968"/>
                  <a:pt x="281" y="21968"/>
                  <a:pt x="219" y="21968"/>
                </a:cubicBezTo>
                <a:cubicBezTo>
                  <a:pt x="250" y="21968"/>
                  <a:pt x="250" y="21937"/>
                  <a:pt x="250" y="21937"/>
                </a:cubicBezTo>
                <a:cubicBezTo>
                  <a:pt x="250" y="21937"/>
                  <a:pt x="219" y="21937"/>
                  <a:pt x="219" y="21937"/>
                </a:cubicBezTo>
                <a:cubicBezTo>
                  <a:pt x="219" y="21937"/>
                  <a:pt x="250" y="21937"/>
                  <a:pt x="250" y="21937"/>
                </a:cubicBezTo>
                <a:cubicBezTo>
                  <a:pt x="375" y="21906"/>
                  <a:pt x="469" y="21874"/>
                  <a:pt x="594" y="21843"/>
                </a:cubicBezTo>
                <a:cubicBezTo>
                  <a:pt x="594" y="21843"/>
                  <a:pt x="781" y="21781"/>
                  <a:pt x="844" y="21781"/>
                </a:cubicBezTo>
                <a:cubicBezTo>
                  <a:pt x="844" y="21781"/>
                  <a:pt x="875" y="21749"/>
                  <a:pt x="844" y="21781"/>
                </a:cubicBezTo>
                <a:close/>
                <a:moveTo>
                  <a:pt x="1875" y="20999"/>
                </a:moveTo>
                <a:cubicBezTo>
                  <a:pt x="1875" y="20999"/>
                  <a:pt x="1875" y="20999"/>
                  <a:pt x="1875" y="20999"/>
                </a:cubicBezTo>
                <a:cubicBezTo>
                  <a:pt x="1875" y="20999"/>
                  <a:pt x="1875" y="20999"/>
                  <a:pt x="1875" y="20999"/>
                </a:cubicBezTo>
                <a:close/>
                <a:moveTo>
                  <a:pt x="1656" y="20906"/>
                </a:moveTo>
                <a:cubicBezTo>
                  <a:pt x="1656" y="20906"/>
                  <a:pt x="1656" y="20937"/>
                  <a:pt x="1656" y="20937"/>
                </a:cubicBezTo>
                <a:cubicBezTo>
                  <a:pt x="1750" y="20968"/>
                  <a:pt x="1813" y="20999"/>
                  <a:pt x="1875" y="20999"/>
                </a:cubicBezTo>
                <a:cubicBezTo>
                  <a:pt x="1813" y="20999"/>
                  <a:pt x="1750" y="20968"/>
                  <a:pt x="1656" y="20937"/>
                </a:cubicBezTo>
                <a:cubicBezTo>
                  <a:pt x="1656" y="20937"/>
                  <a:pt x="1656" y="20937"/>
                  <a:pt x="1656" y="20937"/>
                </a:cubicBezTo>
                <a:cubicBezTo>
                  <a:pt x="1656" y="20937"/>
                  <a:pt x="1656" y="20937"/>
                  <a:pt x="1656" y="20937"/>
                </a:cubicBezTo>
                <a:cubicBezTo>
                  <a:pt x="1656" y="20937"/>
                  <a:pt x="1656" y="20906"/>
                  <a:pt x="1656" y="20906"/>
                </a:cubicBezTo>
                <a:close/>
                <a:moveTo>
                  <a:pt x="1594" y="20874"/>
                </a:moveTo>
                <a:cubicBezTo>
                  <a:pt x="1594" y="20874"/>
                  <a:pt x="1594" y="20874"/>
                  <a:pt x="1594" y="20874"/>
                </a:cubicBezTo>
                <a:cubicBezTo>
                  <a:pt x="1594" y="20874"/>
                  <a:pt x="1594" y="20874"/>
                  <a:pt x="1594" y="20874"/>
                </a:cubicBezTo>
                <a:cubicBezTo>
                  <a:pt x="1594" y="20874"/>
                  <a:pt x="1594" y="20874"/>
                  <a:pt x="1594" y="20874"/>
                </a:cubicBezTo>
                <a:close/>
                <a:moveTo>
                  <a:pt x="1438" y="20906"/>
                </a:moveTo>
                <a:cubicBezTo>
                  <a:pt x="1438" y="20906"/>
                  <a:pt x="1469" y="20906"/>
                  <a:pt x="1469" y="20906"/>
                </a:cubicBezTo>
                <a:cubicBezTo>
                  <a:pt x="1500" y="20906"/>
                  <a:pt x="1469" y="20874"/>
                  <a:pt x="1469" y="20874"/>
                </a:cubicBezTo>
                <a:cubicBezTo>
                  <a:pt x="1469" y="20843"/>
                  <a:pt x="1469" y="20843"/>
                  <a:pt x="1500" y="20812"/>
                </a:cubicBezTo>
                <a:cubicBezTo>
                  <a:pt x="1531" y="20812"/>
                  <a:pt x="1531" y="20843"/>
                  <a:pt x="1531" y="20874"/>
                </a:cubicBezTo>
                <a:cubicBezTo>
                  <a:pt x="1531" y="20937"/>
                  <a:pt x="1563" y="20937"/>
                  <a:pt x="1625" y="20937"/>
                </a:cubicBezTo>
                <a:cubicBezTo>
                  <a:pt x="1625" y="20937"/>
                  <a:pt x="1625" y="20937"/>
                  <a:pt x="1625" y="20937"/>
                </a:cubicBezTo>
                <a:cubicBezTo>
                  <a:pt x="1625" y="20937"/>
                  <a:pt x="1625" y="20937"/>
                  <a:pt x="1625" y="20937"/>
                </a:cubicBezTo>
                <a:cubicBezTo>
                  <a:pt x="1625" y="20937"/>
                  <a:pt x="1625" y="20937"/>
                  <a:pt x="1656" y="20937"/>
                </a:cubicBezTo>
                <a:cubicBezTo>
                  <a:pt x="1625" y="20937"/>
                  <a:pt x="1625" y="20968"/>
                  <a:pt x="1625" y="20968"/>
                </a:cubicBezTo>
                <a:cubicBezTo>
                  <a:pt x="1625" y="20968"/>
                  <a:pt x="1625" y="20968"/>
                  <a:pt x="1594" y="20968"/>
                </a:cubicBezTo>
                <a:cubicBezTo>
                  <a:pt x="1625" y="20968"/>
                  <a:pt x="1625" y="20968"/>
                  <a:pt x="1625" y="20968"/>
                </a:cubicBezTo>
                <a:cubicBezTo>
                  <a:pt x="1594" y="20968"/>
                  <a:pt x="1563" y="20937"/>
                  <a:pt x="1563" y="20968"/>
                </a:cubicBezTo>
                <a:cubicBezTo>
                  <a:pt x="1500" y="20999"/>
                  <a:pt x="1469" y="20937"/>
                  <a:pt x="1438" y="20968"/>
                </a:cubicBezTo>
                <a:cubicBezTo>
                  <a:pt x="1438" y="20937"/>
                  <a:pt x="1406" y="20906"/>
                  <a:pt x="1375" y="20906"/>
                </a:cubicBezTo>
                <a:cubicBezTo>
                  <a:pt x="1344" y="20874"/>
                  <a:pt x="1313" y="20874"/>
                  <a:pt x="1313" y="20812"/>
                </a:cubicBezTo>
                <a:cubicBezTo>
                  <a:pt x="1375" y="20812"/>
                  <a:pt x="1438" y="20781"/>
                  <a:pt x="1438" y="20906"/>
                </a:cubicBezTo>
                <a:close/>
                <a:moveTo>
                  <a:pt x="1094" y="20781"/>
                </a:moveTo>
                <a:cubicBezTo>
                  <a:pt x="1125" y="20781"/>
                  <a:pt x="1188" y="20781"/>
                  <a:pt x="1219" y="20812"/>
                </a:cubicBezTo>
                <a:cubicBezTo>
                  <a:pt x="1188" y="20781"/>
                  <a:pt x="1125" y="20781"/>
                  <a:pt x="1094" y="20781"/>
                </a:cubicBezTo>
                <a:cubicBezTo>
                  <a:pt x="1094" y="20781"/>
                  <a:pt x="1094" y="20781"/>
                  <a:pt x="1094" y="20781"/>
                </a:cubicBezTo>
                <a:close/>
                <a:moveTo>
                  <a:pt x="1094" y="20781"/>
                </a:moveTo>
                <a:cubicBezTo>
                  <a:pt x="1094" y="20812"/>
                  <a:pt x="1125" y="20812"/>
                  <a:pt x="1188" y="20812"/>
                </a:cubicBezTo>
                <a:cubicBezTo>
                  <a:pt x="1250" y="20843"/>
                  <a:pt x="1281" y="20874"/>
                  <a:pt x="1281" y="20937"/>
                </a:cubicBezTo>
                <a:cubicBezTo>
                  <a:pt x="1219" y="20937"/>
                  <a:pt x="1156" y="20937"/>
                  <a:pt x="1125" y="20937"/>
                </a:cubicBezTo>
                <a:cubicBezTo>
                  <a:pt x="1094" y="20937"/>
                  <a:pt x="1063" y="20937"/>
                  <a:pt x="1031" y="20906"/>
                </a:cubicBezTo>
                <a:cubicBezTo>
                  <a:pt x="1063" y="20874"/>
                  <a:pt x="1031" y="20812"/>
                  <a:pt x="1094" y="20781"/>
                </a:cubicBezTo>
                <a:close/>
                <a:moveTo>
                  <a:pt x="1031" y="21031"/>
                </a:moveTo>
                <a:cubicBezTo>
                  <a:pt x="1125" y="20999"/>
                  <a:pt x="1188" y="20937"/>
                  <a:pt x="1250" y="21031"/>
                </a:cubicBezTo>
                <a:cubicBezTo>
                  <a:pt x="1281" y="21062"/>
                  <a:pt x="1313" y="20968"/>
                  <a:pt x="1375" y="20999"/>
                </a:cubicBezTo>
                <a:cubicBezTo>
                  <a:pt x="1406" y="21031"/>
                  <a:pt x="1438" y="20968"/>
                  <a:pt x="1438" y="21031"/>
                </a:cubicBezTo>
                <a:cubicBezTo>
                  <a:pt x="1438" y="21093"/>
                  <a:pt x="1406" y="21062"/>
                  <a:pt x="1375" y="21062"/>
                </a:cubicBezTo>
                <a:cubicBezTo>
                  <a:pt x="1344" y="21062"/>
                  <a:pt x="1344" y="21062"/>
                  <a:pt x="1313" y="21062"/>
                </a:cubicBezTo>
                <a:cubicBezTo>
                  <a:pt x="1344" y="21124"/>
                  <a:pt x="1344" y="21156"/>
                  <a:pt x="1281" y="21124"/>
                </a:cubicBezTo>
                <a:cubicBezTo>
                  <a:pt x="1188" y="21124"/>
                  <a:pt x="1125" y="21124"/>
                  <a:pt x="1063" y="21124"/>
                </a:cubicBezTo>
                <a:cubicBezTo>
                  <a:pt x="1031" y="21093"/>
                  <a:pt x="1031" y="21062"/>
                  <a:pt x="1031" y="21031"/>
                </a:cubicBezTo>
                <a:close/>
                <a:moveTo>
                  <a:pt x="1031" y="21281"/>
                </a:moveTo>
                <a:cubicBezTo>
                  <a:pt x="1063" y="21249"/>
                  <a:pt x="1094" y="21218"/>
                  <a:pt x="1156" y="21249"/>
                </a:cubicBezTo>
                <a:cubicBezTo>
                  <a:pt x="1156" y="21312"/>
                  <a:pt x="1094" y="21312"/>
                  <a:pt x="1063" y="21343"/>
                </a:cubicBezTo>
                <a:cubicBezTo>
                  <a:pt x="1063" y="21374"/>
                  <a:pt x="1000" y="21374"/>
                  <a:pt x="1000" y="21343"/>
                </a:cubicBezTo>
                <a:cubicBezTo>
                  <a:pt x="969" y="21281"/>
                  <a:pt x="1000" y="21281"/>
                  <a:pt x="1031" y="21281"/>
                </a:cubicBezTo>
                <a:close/>
                <a:moveTo>
                  <a:pt x="969" y="20812"/>
                </a:moveTo>
                <a:cubicBezTo>
                  <a:pt x="938" y="20781"/>
                  <a:pt x="938" y="20749"/>
                  <a:pt x="906" y="20749"/>
                </a:cubicBezTo>
                <a:cubicBezTo>
                  <a:pt x="938" y="20749"/>
                  <a:pt x="938" y="20781"/>
                  <a:pt x="969" y="20812"/>
                </a:cubicBezTo>
                <a:close/>
                <a:moveTo>
                  <a:pt x="750" y="20874"/>
                </a:moveTo>
                <a:cubicBezTo>
                  <a:pt x="688" y="20812"/>
                  <a:pt x="750" y="20812"/>
                  <a:pt x="750" y="20781"/>
                </a:cubicBezTo>
                <a:cubicBezTo>
                  <a:pt x="750" y="20781"/>
                  <a:pt x="750" y="20781"/>
                  <a:pt x="750" y="20781"/>
                </a:cubicBezTo>
                <a:cubicBezTo>
                  <a:pt x="781" y="20749"/>
                  <a:pt x="844" y="20749"/>
                  <a:pt x="875" y="20749"/>
                </a:cubicBezTo>
                <a:cubicBezTo>
                  <a:pt x="875" y="20749"/>
                  <a:pt x="875" y="20749"/>
                  <a:pt x="875" y="20749"/>
                </a:cubicBezTo>
                <a:cubicBezTo>
                  <a:pt x="906" y="20812"/>
                  <a:pt x="938" y="20812"/>
                  <a:pt x="969" y="20843"/>
                </a:cubicBezTo>
                <a:cubicBezTo>
                  <a:pt x="969" y="20874"/>
                  <a:pt x="969" y="20906"/>
                  <a:pt x="938" y="20937"/>
                </a:cubicBezTo>
                <a:cubicBezTo>
                  <a:pt x="875" y="20874"/>
                  <a:pt x="813" y="20906"/>
                  <a:pt x="750" y="20874"/>
                </a:cubicBezTo>
                <a:close/>
                <a:moveTo>
                  <a:pt x="156" y="24031"/>
                </a:moveTo>
                <a:cubicBezTo>
                  <a:pt x="156" y="24031"/>
                  <a:pt x="125" y="24062"/>
                  <a:pt x="94" y="23999"/>
                </a:cubicBezTo>
                <a:cubicBezTo>
                  <a:pt x="94" y="23968"/>
                  <a:pt x="156" y="23937"/>
                  <a:pt x="156" y="23937"/>
                </a:cubicBezTo>
                <a:cubicBezTo>
                  <a:pt x="219" y="23906"/>
                  <a:pt x="219" y="23937"/>
                  <a:pt x="219" y="23968"/>
                </a:cubicBezTo>
                <a:cubicBezTo>
                  <a:pt x="219" y="23999"/>
                  <a:pt x="188" y="23999"/>
                  <a:pt x="156" y="24031"/>
                </a:cubicBezTo>
                <a:close/>
                <a:moveTo>
                  <a:pt x="281" y="23937"/>
                </a:moveTo>
                <a:cubicBezTo>
                  <a:pt x="281" y="23937"/>
                  <a:pt x="281" y="23937"/>
                  <a:pt x="281" y="23937"/>
                </a:cubicBezTo>
                <a:cubicBezTo>
                  <a:pt x="281" y="23937"/>
                  <a:pt x="281" y="23937"/>
                  <a:pt x="281" y="23937"/>
                </a:cubicBezTo>
                <a:cubicBezTo>
                  <a:pt x="313" y="23906"/>
                  <a:pt x="344" y="23874"/>
                  <a:pt x="375" y="23874"/>
                </a:cubicBezTo>
                <a:cubicBezTo>
                  <a:pt x="344" y="23874"/>
                  <a:pt x="313" y="23906"/>
                  <a:pt x="281" y="23937"/>
                </a:cubicBezTo>
                <a:close/>
                <a:moveTo>
                  <a:pt x="469" y="23749"/>
                </a:moveTo>
                <a:cubicBezTo>
                  <a:pt x="469" y="23749"/>
                  <a:pt x="438" y="23749"/>
                  <a:pt x="438" y="23749"/>
                </a:cubicBezTo>
                <a:cubicBezTo>
                  <a:pt x="438" y="23749"/>
                  <a:pt x="438" y="23749"/>
                  <a:pt x="438" y="23749"/>
                </a:cubicBezTo>
                <a:cubicBezTo>
                  <a:pt x="438" y="23718"/>
                  <a:pt x="438" y="23718"/>
                  <a:pt x="438" y="23687"/>
                </a:cubicBezTo>
                <a:cubicBezTo>
                  <a:pt x="438" y="23687"/>
                  <a:pt x="438" y="23687"/>
                  <a:pt x="438" y="23687"/>
                </a:cubicBezTo>
                <a:cubicBezTo>
                  <a:pt x="438" y="23687"/>
                  <a:pt x="438" y="23687"/>
                  <a:pt x="438" y="23687"/>
                </a:cubicBezTo>
                <a:cubicBezTo>
                  <a:pt x="438" y="23687"/>
                  <a:pt x="438" y="23687"/>
                  <a:pt x="438" y="23687"/>
                </a:cubicBezTo>
                <a:cubicBezTo>
                  <a:pt x="469" y="23687"/>
                  <a:pt x="469" y="23687"/>
                  <a:pt x="469" y="23656"/>
                </a:cubicBezTo>
                <a:cubicBezTo>
                  <a:pt x="500" y="23624"/>
                  <a:pt x="500" y="23593"/>
                  <a:pt x="563" y="23624"/>
                </a:cubicBezTo>
                <a:cubicBezTo>
                  <a:pt x="594" y="23562"/>
                  <a:pt x="656" y="23499"/>
                  <a:pt x="688" y="23437"/>
                </a:cubicBezTo>
                <a:cubicBezTo>
                  <a:pt x="656" y="23499"/>
                  <a:pt x="594" y="23562"/>
                  <a:pt x="563" y="23624"/>
                </a:cubicBezTo>
                <a:cubicBezTo>
                  <a:pt x="563" y="23687"/>
                  <a:pt x="500" y="23718"/>
                  <a:pt x="469" y="23749"/>
                </a:cubicBezTo>
                <a:close/>
                <a:moveTo>
                  <a:pt x="1656" y="22624"/>
                </a:moveTo>
                <a:cubicBezTo>
                  <a:pt x="1688" y="22624"/>
                  <a:pt x="1688" y="22624"/>
                  <a:pt x="1719" y="22624"/>
                </a:cubicBezTo>
                <a:cubicBezTo>
                  <a:pt x="1688" y="22624"/>
                  <a:pt x="1688" y="22624"/>
                  <a:pt x="1656" y="22624"/>
                </a:cubicBezTo>
                <a:close/>
                <a:moveTo>
                  <a:pt x="1656" y="22624"/>
                </a:moveTo>
                <a:cubicBezTo>
                  <a:pt x="1656" y="22656"/>
                  <a:pt x="1656" y="22656"/>
                  <a:pt x="1656" y="22687"/>
                </a:cubicBezTo>
                <a:cubicBezTo>
                  <a:pt x="1625" y="22687"/>
                  <a:pt x="1625" y="22718"/>
                  <a:pt x="1594" y="22718"/>
                </a:cubicBezTo>
                <a:cubicBezTo>
                  <a:pt x="1563" y="22781"/>
                  <a:pt x="1531" y="22749"/>
                  <a:pt x="1500" y="22687"/>
                </a:cubicBezTo>
                <a:cubicBezTo>
                  <a:pt x="1563" y="22687"/>
                  <a:pt x="1594" y="22593"/>
                  <a:pt x="1656" y="22624"/>
                </a:cubicBezTo>
                <a:close/>
                <a:moveTo>
                  <a:pt x="1313" y="22874"/>
                </a:moveTo>
                <a:cubicBezTo>
                  <a:pt x="1344" y="22843"/>
                  <a:pt x="1375" y="22843"/>
                  <a:pt x="1406" y="22812"/>
                </a:cubicBezTo>
                <a:cubicBezTo>
                  <a:pt x="1375" y="22843"/>
                  <a:pt x="1344" y="22843"/>
                  <a:pt x="1313" y="22874"/>
                </a:cubicBezTo>
                <a:cubicBezTo>
                  <a:pt x="1344" y="22874"/>
                  <a:pt x="1375" y="22874"/>
                  <a:pt x="1375" y="22906"/>
                </a:cubicBezTo>
                <a:cubicBezTo>
                  <a:pt x="1375" y="22937"/>
                  <a:pt x="1344" y="22968"/>
                  <a:pt x="1313" y="22968"/>
                </a:cubicBezTo>
                <a:cubicBezTo>
                  <a:pt x="1313" y="22968"/>
                  <a:pt x="1281" y="22937"/>
                  <a:pt x="1250" y="22937"/>
                </a:cubicBezTo>
                <a:cubicBezTo>
                  <a:pt x="1281" y="22906"/>
                  <a:pt x="1313" y="22906"/>
                  <a:pt x="1313" y="22874"/>
                </a:cubicBezTo>
                <a:close/>
                <a:moveTo>
                  <a:pt x="1375" y="23874"/>
                </a:moveTo>
                <a:cubicBezTo>
                  <a:pt x="1313" y="23874"/>
                  <a:pt x="1344" y="23812"/>
                  <a:pt x="1313" y="23812"/>
                </a:cubicBezTo>
                <a:cubicBezTo>
                  <a:pt x="1313" y="23687"/>
                  <a:pt x="1406" y="23624"/>
                  <a:pt x="1500" y="23624"/>
                </a:cubicBezTo>
                <a:cubicBezTo>
                  <a:pt x="1531" y="23624"/>
                  <a:pt x="1563" y="23656"/>
                  <a:pt x="1563" y="23687"/>
                </a:cubicBezTo>
                <a:cubicBezTo>
                  <a:pt x="1563" y="23718"/>
                  <a:pt x="1531" y="23718"/>
                  <a:pt x="1500" y="23718"/>
                </a:cubicBezTo>
                <a:cubicBezTo>
                  <a:pt x="1438" y="23718"/>
                  <a:pt x="1406" y="23749"/>
                  <a:pt x="1406" y="23812"/>
                </a:cubicBezTo>
                <a:cubicBezTo>
                  <a:pt x="1406" y="23843"/>
                  <a:pt x="1438" y="23874"/>
                  <a:pt x="1375" y="23874"/>
                </a:cubicBezTo>
                <a:close/>
                <a:moveTo>
                  <a:pt x="1469" y="24093"/>
                </a:moveTo>
                <a:cubicBezTo>
                  <a:pt x="1469" y="24062"/>
                  <a:pt x="1469" y="24031"/>
                  <a:pt x="1531" y="24031"/>
                </a:cubicBezTo>
                <a:cubicBezTo>
                  <a:pt x="1594" y="24031"/>
                  <a:pt x="1625" y="23999"/>
                  <a:pt x="1625" y="23968"/>
                </a:cubicBezTo>
                <a:cubicBezTo>
                  <a:pt x="1625" y="23906"/>
                  <a:pt x="1625" y="23874"/>
                  <a:pt x="1688" y="23874"/>
                </a:cubicBezTo>
                <a:cubicBezTo>
                  <a:pt x="1750" y="23906"/>
                  <a:pt x="1719" y="23937"/>
                  <a:pt x="1719" y="23968"/>
                </a:cubicBezTo>
                <a:cubicBezTo>
                  <a:pt x="1719" y="24093"/>
                  <a:pt x="1625" y="24156"/>
                  <a:pt x="1469" y="24093"/>
                </a:cubicBezTo>
                <a:close/>
                <a:moveTo>
                  <a:pt x="2063" y="22343"/>
                </a:moveTo>
                <a:cubicBezTo>
                  <a:pt x="2000" y="22312"/>
                  <a:pt x="1969" y="22406"/>
                  <a:pt x="1938" y="22312"/>
                </a:cubicBezTo>
                <a:cubicBezTo>
                  <a:pt x="1969" y="22281"/>
                  <a:pt x="2031" y="22249"/>
                  <a:pt x="2094" y="22187"/>
                </a:cubicBezTo>
                <a:cubicBezTo>
                  <a:pt x="2063" y="22249"/>
                  <a:pt x="2031" y="22281"/>
                  <a:pt x="2063" y="22343"/>
                </a:cubicBezTo>
                <a:close/>
                <a:moveTo>
                  <a:pt x="15188" y="22749"/>
                </a:moveTo>
                <a:cubicBezTo>
                  <a:pt x="15188" y="22749"/>
                  <a:pt x="15188" y="22749"/>
                  <a:pt x="15188" y="22781"/>
                </a:cubicBezTo>
                <a:cubicBezTo>
                  <a:pt x="15188" y="22781"/>
                  <a:pt x="15188" y="22781"/>
                  <a:pt x="15156" y="22781"/>
                </a:cubicBezTo>
                <a:cubicBezTo>
                  <a:pt x="15125" y="22781"/>
                  <a:pt x="15125" y="22781"/>
                  <a:pt x="15094" y="22749"/>
                </a:cubicBezTo>
                <a:cubicBezTo>
                  <a:pt x="15094" y="22687"/>
                  <a:pt x="15125" y="22687"/>
                  <a:pt x="15156" y="22687"/>
                </a:cubicBezTo>
                <a:cubicBezTo>
                  <a:pt x="15219" y="22687"/>
                  <a:pt x="15188" y="22718"/>
                  <a:pt x="15188" y="22749"/>
                </a:cubicBezTo>
                <a:close/>
                <a:moveTo>
                  <a:pt x="15125" y="22999"/>
                </a:moveTo>
                <a:cubicBezTo>
                  <a:pt x="15125" y="22999"/>
                  <a:pt x="15094" y="22999"/>
                  <a:pt x="15094" y="22968"/>
                </a:cubicBezTo>
                <a:cubicBezTo>
                  <a:pt x="15063" y="22937"/>
                  <a:pt x="15094" y="22906"/>
                  <a:pt x="15125" y="22906"/>
                </a:cubicBezTo>
                <a:cubicBezTo>
                  <a:pt x="15156" y="22906"/>
                  <a:pt x="15156" y="22937"/>
                  <a:pt x="15156" y="22937"/>
                </a:cubicBezTo>
                <a:cubicBezTo>
                  <a:pt x="15188" y="22999"/>
                  <a:pt x="15156" y="22999"/>
                  <a:pt x="15125" y="22999"/>
                </a:cubicBezTo>
                <a:close/>
                <a:moveTo>
                  <a:pt x="15156" y="23406"/>
                </a:moveTo>
                <a:cubicBezTo>
                  <a:pt x="15156" y="23468"/>
                  <a:pt x="15125" y="23499"/>
                  <a:pt x="15063" y="23499"/>
                </a:cubicBezTo>
                <a:cubicBezTo>
                  <a:pt x="15094" y="23468"/>
                  <a:pt x="15125" y="23437"/>
                  <a:pt x="15156" y="23406"/>
                </a:cubicBezTo>
                <a:close/>
                <a:moveTo>
                  <a:pt x="15156" y="22374"/>
                </a:moveTo>
                <a:cubicBezTo>
                  <a:pt x="15125" y="22406"/>
                  <a:pt x="15094" y="22374"/>
                  <a:pt x="15063" y="22406"/>
                </a:cubicBezTo>
                <a:cubicBezTo>
                  <a:pt x="15031" y="22374"/>
                  <a:pt x="15125" y="22374"/>
                  <a:pt x="15063" y="22343"/>
                </a:cubicBezTo>
                <a:cubicBezTo>
                  <a:pt x="15094" y="22343"/>
                  <a:pt x="15156" y="22312"/>
                  <a:pt x="15156" y="22374"/>
                </a:cubicBezTo>
                <a:close/>
                <a:moveTo>
                  <a:pt x="15031" y="22218"/>
                </a:moveTo>
                <a:cubicBezTo>
                  <a:pt x="15063" y="22218"/>
                  <a:pt x="15094" y="22249"/>
                  <a:pt x="15063" y="22281"/>
                </a:cubicBezTo>
                <a:cubicBezTo>
                  <a:pt x="15063" y="22281"/>
                  <a:pt x="15031" y="22312"/>
                  <a:pt x="15063" y="22343"/>
                </a:cubicBezTo>
                <a:cubicBezTo>
                  <a:pt x="15031" y="22312"/>
                  <a:pt x="15031" y="22374"/>
                  <a:pt x="14969" y="22374"/>
                </a:cubicBezTo>
                <a:cubicBezTo>
                  <a:pt x="14969" y="22343"/>
                  <a:pt x="15000" y="22312"/>
                  <a:pt x="15000" y="22249"/>
                </a:cubicBezTo>
                <a:cubicBezTo>
                  <a:pt x="14969" y="22218"/>
                  <a:pt x="15000" y="22187"/>
                  <a:pt x="15031" y="22218"/>
                </a:cubicBezTo>
                <a:close/>
                <a:moveTo>
                  <a:pt x="14938" y="21374"/>
                </a:moveTo>
                <a:cubicBezTo>
                  <a:pt x="14969" y="21374"/>
                  <a:pt x="14969" y="21343"/>
                  <a:pt x="15000" y="21343"/>
                </a:cubicBezTo>
                <a:cubicBezTo>
                  <a:pt x="15031" y="21374"/>
                  <a:pt x="14969" y="21406"/>
                  <a:pt x="15000" y="21437"/>
                </a:cubicBezTo>
                <a:cubicBezTo>
                  <a:pt x="14969" y="21437"/>
                  <a:pt x="14938" y="21468"/>
                  <a:pt x="14938" y="21468"/>
                </a:cubicBezTo>
                <a:cubicBezTo>
                  <a:pt x="14906" y="21437"/>
                  <a:pt x="14906" y="21406"/>
                  <a:pt x="14938" y="21374"/>
                </a:cubicBezTo>
                <a:close/>
                <a:moveTo>
                  <a:pt x="14906" y="21468"/>
                </a:moveTo>
                <a:cubicBezTo>
                  <a:pt x="14906" y="21468"/>
                  <a:pt x="14938" y="21468"/>
                  <a:pt x="14938" y="21468"/>
                </a:cubicBezTo>
                <a:cubicBezTo>
                  <a:pt x="14938" y="21468"/>
                  <a:pt x="14938" y="21499"/>
                  <a:pt x="14906" y="21468"/>
                </a:cubicBezTo>
                <a:cubicBezTo>
                  <a:pt x="14906" y="21468"/>
                  <a:pt x="14906" y="21468"/>
                  <a:pt x="14906" y="21468"/>
                </a:cubicBezTo>
                <a:close/>
                <a:moveTo>
                  <a:pt x="14938" y="22218"/>
                </a:moveTo>
                <a:cubicBezTo>
                  <a:pt x="14938" y="22249"/>
                  <a:pt x="14906" y="22312"/>
                  <a:pt x="14906" y="22343"/>
                </a:cubicBezTo>
                <a:cubicBezTo>
                  <a:pt x="14844" y="22249"/>
                  <a:pt x="14844" y="22218"/>
                  <a:pt x="14938" y="22218"/>
                </a:cubicBezTo>
                <a:close/>
                <a:moveTo>
                  <a:pt x="14906" y="22562"/>
                </a:moveTo>
                <a:cubicBezTo>
                  <a:pt x="14938" y="22624"/>
                  <a:pt x="15000" y="22718"/>
                  <a:pt x="14875" y="22781"/>
                </a:cubicBezTo>
                <a:cubicBezTo>
                  <a:pt x="14844" y="22687"/>
                  <a:pt x="14750" y="22593"/>
                  <a:pt x="14906" y="22562"/>
                </a:cubicBezTo>
                <a:close/>
                <a:moveTo>
                  <a:pt x="14938" y="23281"/>
                </a:moveTo>
                <a:cubicBezTo>
                  <a:pt x="15063" y="23281"/>
                  <a:pt x="14969" y="23374"/>
                  <a:pt x="14969" y="23406"/>
                </a:cubicBezTo>
                <a:cubicBezTo>
                  <a:pt x="14969" y="23437"/>
                  <a:pt x="14969" y="23437"/>
                  <a:pt x="15000" y="23437"/>
                </a:cubicBezTo>
                <a:cubicBezTo>
                  <a:pt x="14969" y="23437"/>
                  <a:pt x="14969" y="23468"/>
                  <a:pt x="14969" y="23468"/>
                </a:cubicBezTo>
                <a:cubicBezTo>
                  <a:pt x="14969" y="23468"/>
                  <a:pt x="14969" y="23468"/>
                  <a:pt x="14938" y="23499"/>
                </a:cubicBezTo>
                <a:cubicBezTo>
                  <a:pt x="14906" y="23406"/>
                  <a:pt x="14844" y="23343"/>
                  <a:pt x="14750" y="23312"/>
                </a:cubicBezTo>
                <a:cubicBezTo>
                  <a:pt x="14750" y="23281"/>
                  <a:pt x="14750" y="23281"/>
                  <a:pt x="14750" y="23249"/>
                </a:cubicBezTo>
                <a:cubicBezTo>
                  <a:pt x="14719" y="23249"/>
                  <a:pt x="14719" y="23249"/>
                  <a:pt x="14719" y="23249"/>
                </a:cubicBezTo>
                <a:cubicBezTo>
                  <a:pt x="14719" y="23249"/>
                  <a:pt x="14719" y="23249"/>
                  <a:pt x="14750" y="23249"/>
                </a:cubicBezTo>
                <a:cubicBezTo>
                  <a:pt x="14750" y="23249"/>
                  <a:pt x="14781" y="23187"/>
                  <a:pt x="14813" y="23249"/>
                </a:cubicBezTo>
                <a:cubicBezTo>
                  <a:pt x="14906" y="23187"/>
                  <a:pt x="14938" y="23187"/>
                  <a:pt x="14938" y="23281"/>
                </a:cubicBezTo>
                <a:close/>
                <a:moveTo>
                  <a:pt x="14750" y="21187"/>
                </a:moveTo>
                <a:cubicBezTo>
                  <a:pt x="14750" y="21156"/>
                  <a:pt x="14781" y="21156"/>
                  <a:pt x="14781" y="21156"/>
                </a:cubicBezTo>
                <a:cubicBezTo>
                  <a:pt x="14844" y="21187"/>
                  <a:pt x="14813" y="21249"/>
                  <a:pt x="14813" y="21281"/>
                </a:cubicBezTo>
                <a:cubicBezTo>
                  <a:pt x="14750" y="21249"/>
                  <a:pt x="14719" y="21218"/>
                  <a:pt x="14750" y="21187"/>
                </a:cubicBezTo>
                <a:close/>
                <a:moveTo>
                  <a:pt x="14750" y="17374"/>
                </a:moveTo>
                <a:cubicBezTo>
                  <a:pt x="14750" y="17374"/>
                  <a:pt x="14781" y="17374"/>
                  <a:pt x="14781" y="17374"/>
                </a:cubicBezTo>
                <a:cubicBezTo>
                  <a:pt x="14813" y="17406"/>
                  <a:pt x="14813" y="17437"/>
                  <a:pt x="14813" y="17499"/>
                </a:cubicBezTo>
                <a:cubicBezTo>
                  <a:pt x="14750" y="17468"/>
                  <a:pt x="14750" y="17437"/>
                  <a:pt x="14750" y="17374"/>
                </a:cubicBezTo>
                <a:close/>
                <a:moveTo>
                  <a:pt x="14656" y="21249"/>
                </a:moveTo>
                <a:cubicBezTo>
                  <a:pt x="14688" y="21218"/>
                  <a:pt x="14688" y="21249"/>
                  <a:pt x="14688" y="21281"/>
                </a:cubicBezTo>
                <a:cubicBezTo>
                  <a:pt x="14688" y="21312"/>
                  <a:pt x="14750" y="21312"/>
                  <a:pt x="14750" y="21374"/>
                </a:cubicBezTo>
                <a:cubicBezTo>
                  <a:pt x="14688" y="21374"/>
                  <a:pt x="14656" y="21343"/>
                  <a:pt x="14625" y="21281"/>
                </a:cubicBezTo>
                <a:cubicBezTo>
                  <a:pt x="14625" y="21281"/>
                  <a:pt x="14625" y="21249"/>
                  <a:pt x="14656" y="21249"/>
                </a:cubicBezTo>
                <a:close/>
                <a:moveTo>
                  <a:pt x="14625" y="21781"/>
                </a:moveTo>
                <a:cubicBezTo>
                  <a:pt x="14656" y="21781"/>
                  <a:pt x="14656" y="21843"/>
                  <a:pt x="14688" y="21874"/>
                </a:cubicBezTo>
                <a:cubicBezTo>
                  <a:pt x="14688" y="21906"/>
                  <a:pt x="14656" y="21906"/>
                  <a:pt x="14656" y="21937"/>
                </a:cubicBezTo>
                <a:cubicBezTo>
                  <a:pt x="14625" y="21874"/>
                  <a:pt x="14594" y="21843"/>
                  <a:pt x="14563" y="21812"/>
                </a:cubicBezTo>
                <a:cubicBezTo>
                  <a:pt x="14563" y="21781"/>
                  <a:pt x="14594" y="21781"/>
                  <a:pt x="14625" y="21781"/>
                </a:cubicBezTo>
                <a:close/>
                <a:moveTo>
                  <a:pt x="14250" y="24218"/>
                </a:moveTo>
                <a:cubicBezTo>
                  <a:pt x="14250" y="24187"/>
                  <a:pt x="14281" y="24187"/>
                  <a:pt x="14281" y="24124"/>
                </a:cubicBezTo>
                <a:cubicBezTo>
                  <a:pt x="14250" y="24093"/>
                  <a:pt x="14281" y="24062"/>
                  <a:pt x="14313" y="24062"/>
                </a:cubicBezTo>
                <a:cubicBezTo>
                  <a:pt x="14313" y="24062"/>
                  <a:pt x="14313" y="24062"/>
                  <a:pt x="14313" y="24031"/>
                </a:cubicBezTo>
                <a:cubicBezTo>
                  <a:pt x="14313" y="24062"/>
                  <a:pt x="14313" y="24062"/>
                  <a:pt x="14313" y="24062"/>
                </a:cubicBezTo>
                <a:cubicBezTo>
                  <a:pt x="14313" y="24062"/>
                  <a:pt x="14313" y="24093"/>
                  <a:pt x="14344" y="24093"/>
                </a:cubicBezTo>
                <a:cubicBezTo>
                  <a:pt x="14438" y="24187"/>
                  <a:pt x="14375" y="24249"/>
                  <a:pt x="14313" y="24281"/>
                </a:cubicBezTo>
                <a:cubicBezTo>
                  <a:pt x="14281" y="24281"/>
                  <a:pt x="14281" y="24281"/>
                  <a:pt x="14281" y="24249"/>
                </a:cubicBezTo>
                <a:cubicBezTo>
                  <a:pt x="14313" y="24218"/>
                  <a:pt x="14281" y="24218"/>
                  <a:pt x="14250" y="24218"/>
                </a:cubicBezTo>
                <a:close/>
                <a:moveTo>
                  <a:pt x="14313" y="23874"/>
                </a:moveTo>
                <a:cubicBezTo>
                  <a:pt x="14313" y="23874"/>
                  <a:pt x="14250" y="23874"/>
                  <a:pt x="14281" y="23812"/>
                </a:cubicBezTo>
                <a:cubicBezTo>
                  <a:pt x="14313" y="23812"/>
                  <a:pt x="14344" y="23781"/>
                  <a:pt x="14406" y="23812"/>
                </a:cubicBezTo>
                <a:cubicBezTo>
                  <a:pt x="14469" y="23843"/>
                  <a:pt x="14500" y="23937"/>
                  <a:pt x="14469" y="24093"/>
                </a:cubicBezTo>
                <a:cubicBezTo>
                  <a:pt x="14406" y="23999"/>
                  <a:pt x="14344" y="23968"/>
                  <a:pt x="14313" y="23874"/>
                </a:cubicBezTo>
                <a:close/>
                <a:moveTo>
                  <a:pt x="13906" y="23249"/>
                </a:moveTo>
                <a:cubicBezTo>
                  <a:pt x="13875" y="23218"/>
                  <a:pt x="13813" y="23218"/>
                  <a:pt x="13781" y="23281"/>
                </a:cubicBezTo>
                <a:cubicBezTo>
                  <a:pt x="13781" y="23312"/>
                  <a:pt x="13750" y="23343"/>
                  <a:pt x="13719" y="23312"/>
                </a:cubicBezTo>
                <a:cubicBezTo>
                  <a:pt x="13688" y="23281"/>
                  <a:pt x="13625" y="23281"/>
                  <a:pt x="13688" y="23187"/>
                </a:cubicBezTo>
                <a:cubicBezTo>
                  <a:pt x="13719" y="23124"/>
                  <a:pt x="13813" y="23093"/>
                  <a:pt x="13844" y="22999"/>
                </a:cubicBezTo>
                <a:cubicBezTo>
                  <a:pt x="13844" y="22999"/>
                  <a:pt x="13875" y="22999"/>
                  <a:pt x="13875" y="22999"/>
                </a:cubicBezTo>
                <a:cubicBezTo>
                  <a:pt x="13938" y="22999"/>
                  <a:pt x="14094" y="23124"/>
                  <a:pt x="14094" y="23218"/>
                </a:cubicBezTo>
                <a:cubicBezTo>
                  <a:pt x="14094" y="23312"/>
                  <a:pt x="14000" y="23343"/>
                  <a:pt x="13969" y="23406"/>
                </a:cubicBezTo>
                <a:cubicBezTo>
                  <a:pt x="13969" y="23437"/>
                  <a:pt x="13938" y="23531"/>
                  <a:pt x="13875" y="23437"/>
                </a:cubicBezTo>
                <a:cubicBezTo>
                  <a:pt x="13813" y="23406"/>
                  <a:pt x="13875" y="23374"/>
                  <a:pt x="13875" y="23343"/>
                </a:cubicBezTo>
                <a:cubicBezTo>
                  <a:pt x="13906" y="23312"/>
                  <a:pt x="13969" y="23281"/>
                  <a:pt x="13906" y="23249"/>
                </a:cubicBezTo>
                <a:close/>
                <a:moveTo>
                  <a:pt x="12938" y="22656"/>
                </a:moveTo>
                <a:cubicBezTo>
                  <a:pt x="12938" y="22718"/>
                  <a:pt x="12906" y="22749"/>
                  <a:pt x="12844" y="22687"/>
                </a:cubicBezTo>
                <a:cubicBezTo>
                  <a:pt x="12781" y="22656"/>
                  <a:pt x="12750" y="22656"/>
                  <a:pt x="12688" y="22624"/>
                </a:cubicBezTo>
                <a:cubicBezTo>
                  <a:pt x="12594" y="22593"/>
                  <a:pt x="12594" y="22468"/>
                  <a:pt x="12656" y="22406"/>
                </a:cubicBezTo>
                <a:cubicBezTo>
                  <a:pt x="12750" y="22343"/>
                  <a:pt x="12844" y="22468"/>
                  <a:pt x="12906" y="22468"/>
                </a:cubicBezTo>
                <a:cubicBezTo>
                  <a:pt x="12938" y="22468"/>
                  <a:pt x="13000" y="22499"/>
                  <a:pt x="12969" y="22562"/>
                </a:cubicBezTo>
                <a:cubicBezTo>
                  <a:pt x="12969" y="22562"/>
                  <a:pt x="12969" y="22562"/>
                  <a:pt x="12969" y="22562"/>
                </a:cubicBezTo>
                <a:cubicBezTo>
                  <a:pt x="13000" y="22624"/>
                  <a:pt x="12969" y="22656"/>
                  <a:pt x="12938" y="22656"/>
                </a:cubicBezTo>
                <a:close/>
                <a:moveTo>
                  <a:pt x="12094" y="21781"/>
                </a:moveTo>
                <a:cubicBezTo>
                  <a:pt x="12063" y="21687"/>
                  <a:pt x="12063" y="21656"/>
                  <a:pt x="12156" y="21656"/>
                </a:cubicBezTo>
                <a:cubicBezTo>
                  <a:pt x="12125" y="21687"/>
                  <a:pt x="12125" y="21749"/>
                  <a:pt x="12094" y="21781"/>
                </a:cubicBezTo>
                <a:close/>
                <a:moveTo>
                  <a:pt x="12125" y="21906"/>
                </a:moveTo>
                <a:cubicBezTo>
                  <a:pt x="12094" y="21937"/>
                  <a:pt x="12094" y="21999"/>
                  <a:pt x="12094" y="22062"/>
                </a:cubicBezTo>
                <a:cubicBezTo>
                  <a:pt x="12000" y="21999"/>
                  <a:pt x="12031" y="21937"/>
                  <a:pt x="12031" y="21874"/>
                </a:cubicBezTo>
                <a:cubicBezTo>
                  <a:pt x="12063" y="21843"/>
                  <a:pt x="12063" y="21843"/>
                  <a:pt x="12094" y="21843"/>
                </a:cubicBezTo>
                <a:cubicBezTo>
                  <a:pt x="12125" y="21843"/>
                  <a:pt x="12125" y="21874"/>
                  <a:pt x="12125" y="21906"/>
                </a:cubicBezTo>
                <a:close/>
                <a:moveTo>
                  <a:pt x="12094" y="17906"/>
                </a:moveTo>
                <a:cubicBezTo>
                  <a:pt x="12094" y="17874"/>
                  <a:pt x="12125" y="17874"/>
                  <a:pt x="12125" y="17874"/>
                </a:cubicBezTo>
                <a:cubicBezTo>
                  <a:pt x="12156" y="17843"/>
                  <a:pt x="12156" y="17906"/>
                  <a:pt x="12188" y="17906"/>
                </a:cubicBezTo>
                <a:cubicBezTo>
                  <a:pt x="12219" y="17937"/>
                  <a:pt x="12188" y="17937"/>
                  <a:pt x="12188" y="17968"/>
                </a:cubicBezTo>
                <a:cubicBezTo>
                  <a:pt x="12188" y="17968"/>
                  <a:pt x="12188" y="17968"/>
                  <a:pt x="12188" y="17968"/>
                </a:cubicBezTo>
                <a:cubicBezTo>
                  <a:pt x="12156" y="17968"/>
                  <a:pt x="12156" y="17968"/>
                  <a:pt x="12125" y="17937"/>
                </a:cubicBezTo>
                <a:cubicBezTo>
                  <a:pt x="12125" y="17937"/>
                  <a:pt x="12094" y="17968"/>
                  <a:pt x="12094" y="17906"/>
                </a:cubicBezTo>
                <a:close/>
                <a:moveTo>
                  <a:pt x="12188" y="21874"/>
                </a:moveTo>
                <a:cubicBezTo>
                  <a:pt x="12188" y="21874"/>
                  <a:pt x="12156" y="21906"/>
                  <a:pt x="12156" y="21937"/>
                </a:cubicBezTo>
                <a:cubicBezTo>
                  <a:pt x="12156" y="21906"/>
                  <a:pt x="12188" y="21874"/>
                  <a:pt x="12188" y="21874"/>
                </a:cubicBezTo>
                <a:close/>
                <a:moveTo>
                  <a:pt x="12156" y="21031"/>
                </a:moveTo>
                <a:cubicBezTo>
                  <a:pt x="12156" y="20968"/>
                  <a:pt x="12250" y="20937"/>
                  <a:pt x="12344" y="20874"/>
                </a:cubicBezTo>
                <a:cubicBezTo>
                  <a:pt x="12313" y="20999"/>
                  <a:pt x="12281" y="21124"/>
                  <a:pt x="12250" y="21218"/>
                </a:cubicBezTo>
                <a:cubicBezTo>
                  <a:pt x="12219" y="21156"/>
                  <a:pt x="12125" y="21093"/>
                  <a:pt x="12156" y="21031"/>
                </a:cubicBezTo>
                <a:close/>
                <a:moveTo>
                  <a:pt x="13250" y="17124"/>
                </a:moveTo>
                <a:cubicBezTo>
                  <a:pt x="13344" y="17156"/>
                  <a:pt x="13375" y="17249"/>
                  <a:pt x="13469" y="17281"/>
                </a:cubicBezTo>
                <a:cubicBezTo>
                  <a:pt x="13500" y="17281"/>
                  <a:pt x="13500" y="17312"/>
                  <a:pt x="13469" y="17343"/>
                </a:cubicBezTo>
                <a:cubicBezTo>
                  <a:pt x="13438" y="17343"/>
                  <a:pt x="13438" y="17374"/>
                  <a:pt x="13406" y="17374"/>
                </a:cubicBezTo>
                <a:cubicBezTo>
                  <a:pt x="13375" y="17374"/>
                  <a:pt x="13344" y="17406"/>
                  <a:pt x="13313" y="17374"/>
                </a:cubicBezTo>
                <a:cubicBezTo>
                  <a:pt x="13281" y="17343"/>
                  <a:pt x="13375" y="17343"/>
                  <a:pt x="13344" y="17312"/>
                </a:cubicBezTo>
                <a:cubicBezTo>
                  <a:pt x="13313" y="17312"/>
                  <a:pt x="13250" y="17281"/>
                  <a:pt x="13219" y="17343"/>
                </a:cubicBezTo>
                <a:cubicBezTo>
                  <a:pt x="13188" y="17374"/>
                  <a:pt x="13156" y="17374"/>
                  <a:pt x="13156" y="17343"/>
                </a:cubicBezTo>
                <a:cubicBezTo>
                  <a:pt x="13063" y="17281"/>
                  <a:pt x="13000" y="17249"/>
                  <a:pt x="12938" y="17187"/>
                </a:cubicBezTo>
                <a:cubicBezTo>
                  <a:pt x="12875" y="17124"/>
                  <a:pt x="12906" y="17124"/>
                  <a:pt x="12938" y="17093"/>
                </a:cubicBezTo>
                <a:cubicBezTo>
                  <a:pt x="13031" y="17031"/>
                  <a:pt x="13156" y="17031"/>
                  <a:pt x="13250" y="17124"/>
                </a:cubicBezTo>
                <a:close/>
                <a:moveTo>
                  <a:pt x="13031" y="16812"/>
                </a:moveTo>
                <a:cubicBezTo>
                  <a:pt x="13063" y="16812"/>
                  <a:pt x="13094" y="16812"/>
                  <a:pt x="13094" y="16843"/>
                </a:cubicBezTo>
                <a:cubicBezTo>
                  <a:pt x="13094" y="16874"/>
                  <a:pt x="13063" y="16874"/>
                  <a:pt x="13063" y="16874"/>
                </a:cubicBezTo>
                <a:cubicBezTo>
                  <a:pt x="13031" y="16874"/>
                  <a:pt x="13000" y="16874"/>
                  <a:pt x="13000" y="16843"/>
                </a:cubicBezTo>
                <a:cubicBezTo>
                  <a:pt x="13000" y="16812"/>
                  <a:pt x="13031" y="16812"/>
                  <a:pt x="13031" y="16812"/>
                </a:cubicBezTo>
                <a:close/>
                <a:moveTo>
                  <a:pt x="13219" y="16937"/>
                </a:moveTo>
                <a:cubicBezTo>
                  <a:pt x="13250" y="16937"/>
                  <a:pt x="13438" y="17093"/>
                  <a:pt x="13438" y="17124"/>
                </a:cubicBezTo>
                <a:cubicBezTo>
                  <a:pt x="13438" y="17156"/>
                  <a:pt x="13406" y="17156"/>
                  <a:pt x="13406" y="17156"/>
                </a:cubicBezTo>
                <a:cubicBezTo>
                  <a:pt x="13344" y="17124"/>
                  <a:pt x="13250" y="17062"/>
                  <a:pt x="13188" y="16999"/>
                </a:cubicBezTo>
                <a:cubicBezTo>
                  <a:pt x="13188" y="16999"/>
                  <a:pt x="13188" y="16968"/>
                  <a:pt x="13219" y="16937"/>
                </a:cubicBezTo>
                <a:close/>
                <a:moveTo>
                  <a:pt x="13469" y="17187"/>
                </a:moveTo>
                <a:cubicBezTo>
                  <a:pt x="13531" y="17187"/>
                  <a:pt x="13563" y="17187"/>
                  <a:pt x="13594" y="17249"/>
                </a:cubicBezTo>
                <a:cubicBezTo>
                  <a:pt x="13594" y="17249"/>
                  <a:pt x="13594" y="17281"/>
                  <a:pt x="13563" y="17281"/>
                </a:cubicBezTo>
                <a:cubicBezTo>
                  <a:pt x="13531" y="17281"/>
                  <a:pt x="13500" y="17249"/>
                  <a:pt x="13469" y="17187"/>
                </a:cubicBezTo>
                <a:close/>
                <a:moveTo>
                  <a:pt x="14125" y="22812"/>
                </a:moveTo>
                <a:cubicBezTo>
                  <a:pt x="14156" y="22812"/>
                  <a:pt x="14188" y="22812"/>
                  <a:pt x="14219" y="22781"/>
                </a:cubicBezTo>
                <a:cubicBezTo>
                  <a:pt x="14250" y="22781"/>
                  <a:pt x="14250" y="22781"/>
                  <a:pt x="14250" y="22812"/>
                </a:cubicBezTo>
                <a:cubicBezTo>
                  <a:pt x="14281" y="22906"/>
                  <a:pt x="14281" y="22968"/>
                  <a:pt x="14219" y="23031"/>
                </a:cubicBezTo>
                <a:cubicBezTo>
                  <a:pt x="14188" y="23031"/>
                  <a:pt x="14188" y="23062"/>
                  <a:pt x="14156" y="23062"/>
                </a:cubicBezTo>
                <a:cubicBezTo>
                  <a:pt x="14156" y="23062"/>
                  <a:pt x="14156" y="23062"/>
                  <a:pt x="14156" y="23031"/>
                </a:cubicBezTo>
                <a:cubicBezTo>
                  <a:pt x="14125" y="23031"/>
                  <a:pt x="14156" y="22999"/>
                  <a:pt x="14156" y="22999"/>
                </a:cubicBezTo>
                <a:cubicBezTo>
                  <a:pt x="14188" y="22968"/>
                  <a:pt x="14188" y="22968"/>
                  <a:pt x="14250" y="22968"/>
                </a:cubicBezTo>
                <a:cubicBezTo>
                  <a:pt x="14125" y="22937"/>
                  <a:pt x="14125" y="22874"/>
                  <a:pt x="14125" y="22812"/>
                </a:cubicBezTo>
                <a:close/>
                <a:moveTo>
                  <a:pt x="14094" y="22093"/>
                </a:moveTo>
                <a:cubicBezTo>
                  <a:pt x="14156" y="22093"/>
                  <a:pt x="14125" y="22156"/>
                  <a:pt x="14156" y="22156"/>
                </a:cubicBezTo>
                <a:cubicBezTo>
                  <a:pt x="14156" y="22187"/>
                  <a:pt x="14156" y="22249"/>
                  <a:pt x="14125" y="22249"/>
                </a:cubicBezTo>
                <a:cubicBezTo>
                  <a:pt x="14063" y="22218"/>
                  <a:pt x="14000" y="22187"/>
                  <a:pt x="14000" y="22156"/>
                </a:cubicBezTo>
                <a:cubicBezTo>
                  <a:pt x="14000" y="22093"/>
                  <a:pt x="14063" y="22124"/>
                  <a:pt x="14094" y="22093"/>
                </a:cubicBezTo>
                <a:close/>
                <a:moveTo>
                  <a:pt x="14000" y="22093"/>
                </a:moveTo>
                <a:cubicBezTo>
                  <a:pt x="13969" y="22093"/>
                  <a:pt x="13969" y="22062"/>
                  <a:pt x="13969" y="22031"/>
                </a:cubicBezTo>
                <a:cubicBezTo>
                  <a:pt x="13938" y="21937"/>
                  <a:pt x="14000" y="21843"/>
                  <a:pt x="14063" y="21843"/>
                </a:cubicBezTo>
                <a:cubicBezTo>
                  <a:pt x="14125" y="21874"/>
                  <a:pt x="14125" y="21968"/>
                  <a:pt x="14125" y="21999"/>
                </a:cubicBezTo>
                <a:cubicBezTo>
                  <a:pt x="14125" y="22093"/>
                  <a:pt x="14063" y="22062"/>
                  <a:pt x="14000" y="22093"/>
                </a:cubicBezTo>
                <a:close/>
                <a:moveTo>
                  <a:pt x="14094" y="22687"/>
                </a:moveTo>
                <a:cubicBezTo>
                  <a:pt x="14125" y="22687"/>
                  <a:pt x="14125" y="22687"/>
                  <a:pt x="14125" y="22687"/>
                </a:cubicBezTo>
                <a:cubicBezTo>
                  <a:pt x="14125" y="22687"/>
                  <a:pt x="14125" y="22718"/>
                  <a:pt x="14156" y="22718"/>
                </a:cubicBezTo>
                <a:cubicBezTo>
                  <a:pt x="14156" y="22749"/>
                  <a:pt x="14094" y="22781"/>
                  <a:pt x="14094" y="22812"/>
                </a:cubicBezTo>
                <a:cubicBezTo>
                  <a:pt x="14094" y="22812"/>
                  <a:pt x="14063" y="22812"/>
                  <a:pt x="14031" y="22781"/>
                </a:cubicBezTo>
                <a:cubicBezTo>
                  <a:pt x="14063" y="22749"/>
                  <a:pt x="14063" y="22718"/>
                  <a:pt x="14094" y="22687"/>
                </a:cubicBezTo>
                <a:close/>
                <a:moveTo>
                  <a:pt x="14250" y="18187"/>
                </a:moveTo>
                <a:cubicBezTo>
                  <a:pt x="14250" y="18218"/>
                  <a:pt x="14250" y="18218"/>
                  <a:pt x="14250" y="18218"/>
                </a:cubicBezTo>
                <a:cubicBezTo>
                  <a:pt x="14219" y="18218"/>
                  <a:pt x="14219" y="18187"/>
                  <a:pt x="14219" y="18187"/>
                </a:cubicBezTo>
                <a:cubicBezTo>
                  <a:pt x="14219" y="18124"/>
                  <a:pt x="14188" y="18093"/>
                  <a:pt x="14156" y="18062"/>
                </a:cubicBezTo>
                <a:cubicBezTo>
                  <a:pt x="14156" y="18124"/>
                  <a:pt x="14125" y="18156"/>
                  <a:pt x="14125" y="18187"/>
                </a:cubicBezTo>
                <a:cubicBezTo>
                  <a:pt x="14094" y="18156"/>
                  <a:pt x="14031" y="18124"/>
                  <a:pt x="14000" y="18062"/>
                </a:cubicBezTo>
                <a:cubicBezTo>
                  <a:pt x="14031" y="18031"/>
                  <a:pt x="14063" y="18031"/>
                  <a:pt x="14094" y="18031"/>
                </a:cubicBezTo>
                <a:cubicBezTo>
                  <a:pt x="14063" y="17999"/>
                  <a:pt x="14031" y="17968"/>
                  <a:pt x="14000" y="17999"/>
                </a:cubicBezTo>
                <a:cubicBezTo>
                  <a:pt x="14000" y="17999"/>
                  <a:pt x="13938" y="17968"/>
                  <a:pt x="14000" y="17968"/>
                </a:cubicBezTo>
                <a:cubicBezTo>
                  <a:pt x="14031" y="17937"/>
                  <a:pt x="14063" y="17874"/>
                  <a:pt x="14094" y="17968"/>
                </a:cubicBezTo>
                <a:cubicBezTo>
                  <a:pt x="14094" y="18031"/>
                  <a:pt x="14094" y="18062"/>
                  <a:pt x="14188" y="18031"/>
                </a:cubicBezTo>
                <a:cubicBezTo>
                  <a:pt x="14219" y="18031"/>
                  <a:pt x="14281" y="18156"/>
                  <a:pt x="14250" y="18187"/>
                </a:cubicBezTo>
                <a:close/>
                <a:moveTo>
                  <a:pt x="14094" y="17374"/>
                </a:moveTo>
                <a:cubicBezTo>
                  <a:pt x="14063" y="17406"/>
                  <a:pt x="14063" y="17406"/>
                  <a:pt x="14063" y="17437"/>
                </a:cubicBezTo>
                <a:cubicBezTo>
                  <a:pt x="14031" y="17499"/>
                  <a:pt x="14000" y="17531"/>
                  <a:pt x="13938" y="17468"/>
                </a:cubicBezTo>
                <a:cubicBezTo>
                  <a:pt x="13938" y="17437"/>
                  <a:pt x="13906" y="17437"/>
                  <a:pt x="13906" y="17437"/>
                </a:cubicBezTo>
                <a:cubicBezTo>
                  <a:pt x="13906" y="17406"/>
                  <a:pt x="13875" y="17374"/>
                  <a:pt x="13906" y="17374"/>
                </a:cubicBezTo>
                <a:cubicBezTo>
                  <a:pt x="13938" y="17374"/>
                  <a:pt x="14000" y="17343"/>
                  <a:pt x="14031" y="17374"/>
                </a:cubicBezTo>
                <a:cubicBezTo>
                  <a:pt x="14063" y="17437"/>
                  <a:pt x="14063" y="17406"/>
                  <a:pt x="14094" y="17374"/>
                </a:cubicBezTo>
                <a:close/>
                <a:moveTo>
                  <a:pt x="14094" y="17124"/>
                </a:moveTo>
                <a:cubicBezTo>
                  <a:pt x="14125" y="17124"/>
                  <a:pt x="14156" y="17156"/>
                  <a:pt x="14188" y="17218"/>
                </a:cubicBezTo>
                <a:cubicBezTo>
                  <a:pt x="14188" y="17218"/>
                  <a:pt x="14156" y="17218"/>
                  <a:pt x="14156" y="17249"/>
                </a:cubicBezTo>
                <a:cubicBezTo>
                  <a:pt x="14125" y="17218"/>
                  <a:pt x="14063" y="17218"/>
                  <a:pt x="14063" y="17156"/>
                </a:cubicBezTo>
                <a:cubicBezTo>
                  <a:pt x="14063" y="17124"/>
                  <a:pt x="14063" y="17124"/>
                  <a:pt x="14094" y="17124"/>
                </a:cubicBezTo>
                <a:close/>
                <a:moveTo>
                  <a:pt x="13781" y="17312"/>
                </a:moveTo>
                <a:cubicBezTo>
                  <a:pt x="13875" y="17218"/>
                  <a:pt x="13938" y="17187"/>
                  <a:pt x="14063" y="17281"/>
                </a:cubicBezTo>
                <a:cubicBezTo>
                  <a:pt x="13969" y="17281"/>
                  <a:pt x="13906" y="17312"/>
                  <a:pt x="13781" y="17312"/>
                </a:cubicBezTo>
                <a:close/>
                <a:moveTo>
                  <a:pt x="13813" y="17437"/>
                </a:moveTo>
                <a:cubicBezTo>
                  <a:pt x="13813" y="17406"/>
                  <a:pt x="13875" y="17468"/>
                  <a:pt x="13906" y="17437"/>
                </a:cubicBezTo>
                <a:cubicBezTo>
                  <a:pt x="13875" y="17499"/>
                  <a:pt x="13969" y="17499"/>
                  <a:pt x="13969" y="17531"/>
                </a:cubicBezTo>
                <a:cubicBezTo>
                  <a:pt x="13938" y="17562"/>
                  <a:pt x="13906" y="17531"/>
                  <a:pt x="13875" y="17531"/>
                </a:cubicBezTo>
                <a:cubicBezTo>
                  <a:pt x="13844" y="17499"/>
                  <a:pt x="13781" y="17499"/>
                  <a:pt x="13813" y="17437"/>
                </a:cubicBezTo>
                <a:close/>
                <a:moveTo>
                  <a:pt x="13938" y="21249"/>
                </a:moveTo>
                <a:cubicBezTo>
                  <a:pt x="13969" y="21249"/>
                  <a:pt x="13969" y="21312"/>
                  <a:pt x="13969" y="21343"/>
                </a:cubicBezTo>
                <a:cubicBezTo>
                  <a:pt x="14000" y="21406"/>
                  <a:pt x="13938" y="21437"/>
                  <a:pt x="13906" y="21437"/>
                </a:cubicBezTo>
                <a:cubicBezTo>
                  <a:pt x="13844" y="21437"/>
                  <a:pt x="13844" y="21374"/>
                  <a:pt x="13844" y="21374"/>
                </a:cubicBezTo>
                <a:cubicBezTo>
                  <a:pt x="13844" y="21312"/>
                  <a:pt x="13906" y="21281"/>
                  <a:pt x="13938" y="21249"/>
                </a:cubicBezTo>
                <a:close/>
                <a:moveTo>
                  <a:pt x="13844" y="22687"/>
                </a:moveTo>
                <a:cubicBezTo>
                  <a:pt x="13781" y="22749"/>
                  <a:pt x="13750" y="22687"/>
                  <a:pt x="13750" y="22624"/>
                </a:cubicBezTo>
                <a:cubicBezTo>
                  <a:pt x="13719" y="22624"/>
                  <a:pt x="13719" y="22656"/>
                  <a:pt x="13719" y="22656"/>
                </a:cubicBezTo>
                <a:cubicBezTo>
                  <a:pt x="13719" y="22656"/>
                  <a:pt x="13719" y="22687"/>
                  <a:pt x="13719" y="22687"/>
                </a:cubicBezTo>
                <a:cubicBezTo>
                  <a:pt x="13719" y="22718"/>
                  <a:pt x="13688" y="22749"/>
                  <a:pt x="13656" y="22718"/>
                </a:cubicBezTo>
                <a:cubicBezTo>
                  <a:pt x="13625" y="22687"/>
                  <a:pt x="13563" y="22687"/>
                  <a:pt x="13625" y="22656"/>
                </a:cubicBezTo>
                <a:cubicBezTo>
                  <a:pt x="13656" y="22624"/>
                  <a:pt x="13656" y="22562"/>
                  <a:pt x="13688" y="22499"/>
                </a:cubicBezTo>
                <a:cubicBezTo>
                  <a:pt x="13719" y="22468"/>
                  <a:pt x="13750" y="22374"/>
                  <a:pt x="13844" y="22406"/>
                </a:cubicBezTo>
                <a:cubicBezTo>
                  <a:pt x="13906" y="22406"/>
                  <a:pt x="13906" y="22499"/>
                  <a:pt x="13938" y="22562"/>
                </a:cubicBezTo>
                <a:cubicBezTo>
                  <a:pt x="13938" y="22624"/>
                  <a:pt x="13938" y="22718"/>
                  <a:pt x="13875" y="22781"/>
                </a:cubicBezTo>
                <a:cubicBezTo>
                  <a:pt x="13844" y="22781"/>
                  <a:pt x="13844" y="22843"/>
                  <a:pt x="13813" y="22812"/>
                </a:cubicBezTo>
                <a:cubicBezTo>
                  <a:pt x="13781" y="22781"/>
                  <a:pt x="13813" y="22749"/>
                  <a:pt x="13844" y="22749"/>
                </a:cubicBezTo>
                <a:cubicBezTo>
                  <a:pt x="13844" y="22718"/>
                  <a:pt x="13875" y="22718"/>
                  <a:pt x="13844" y="22687"/>
                </a:cubicBezTo>
                <a:close/>
                <a:moveTo>
                  <a:pt x="13781" y="21937"/>
                </a:moveTo>
                <a:cubicBezTo>
                  <a:pt x="13781" y="21906"/>
                  <a:pt x="13813" y="21906"/>
                  <a:pt x="13844" y="21874"/>
                </a:cubicBezTo>
                <a:cubicBezTo>
                  <a:pt x="13844" y="21874"/>
                  <a:pt x="13875" y="21906"/>
                  <a:pt x="13875" y="21906"/>
                </a:cubicBezTo>
                <a:cubicBezTo>
                  <a:pt x="13875" y="21937"/>
                  <a:pt x="13844" y="21968"/>
                  <a:pt x="13813" y="21968"/>
                </a:cubicBezTo>
                <a:cubicBezTo>
                  <a:pt x="13813" y="21968"/>
                  <a:pt x="13781" y="21968"/>
                  <a:pt x="13781" y="21937"/>
                </a:cubicBezTo>
                <a:close/>
                <a:moveTo>
                  <a:pt x="13875" y="21656"/>
                </a:moveTo>
                <a:cubicBezTo>
                  <a:pt x="13906" y="21749"/>
                  <a:pt x="13813" y="21749"/>
                  <a:pt x="13781" y="21749"/>
                </a:cubicBezTo>
                <a:cubicBezTo>
                  <a:pt x="13750" y="21781"/>
                  <a:pt x="13719" y="21749"/>
                  <a:pt x="13719" y="21812"/>
                </a:cubicBezTo>
                <a:cubicBezTo>
                  <a:pt x="13719" y="21843"/>
                  <a:pt x="13719" y="21843"/>
                  <a:pt x="13688" y="21843"/>
                </a:cubicBezTo>
                <a:cubicBezTo>
                  <a:pt x="13625" y="21874"/>
                  <a:pt x="13594" y="21812"/>
                  <a:pt x="13563" y="21781"/>
                </a:cubicBezTo>
                <a:cubicBezTo>
                  <a:pt x="13531" y="21781"/>
                  <a:pt x="13531" y="21749"/>
                  <a:pt x="13563" y="21718"/>
                </a:cubicBezTo>
                <a:cubicBezTo>
                  <a:pt x="13594" y="21656"/>
                  <a:pt x="13656" y="21593"/>
                  <a:pt x="13750" y="21593"/>
                </a:cubicBezTo>
                <a:cubicBezTo>
                  <a:pt x="13813" y="21593"/>
                  <a:pt x="13844" y="21624"/>
                  <a:pt x="13875" y="21656"/>
                </a:cubicBezTo>
                <a:close/>
                <a:moveTo>
                  <a:pt x="13688" y="21281"/>
                </a:moveTo>
                <a:cubicBezTo>
                  <a:pt x="13625" y="21281"/>
                  <a:pt x="13594" y="21343"/>
                  <a:pt x="13563" y="21374"/>
                </a:cubicBezTo>
                <a:cubicBezTo>
                  <a:pt x="13531" y="21406"/>
                  <a:pt x="13500" y="21343"/>
                  <a:pt x="13500" y="21281"/>
                </a:cubicBezTo>
                <a:cubicBezTo>
                  <a:pt x="13500" y="21218"/>
                  <a:pt x="13531" y="21156"/>
                  <a:pt x="13531" y="21093"/>
                </a:cubicBezTo>
                <a:cubicBezTo>
                  <a:pt x="13531" y="21062"/>
                  <a:pt x="13563" y="21062"/>
                  <a:pt x="13594" y="21062"/>
                </a:cubicBezTo>
                <a:cubicBezTo>
                  <a:pt x="13594" y="21062"/>
                  <a:pt x="13719" y="21249"/>
                  <a:pt x="13719" y="21281"/>
                </a:cubicBezTo>
                <a:cubicBezTo>
                  <a:pt x="13719" y="21281"/>
                  <a:pt x="13688" y="21281"/>
                  <a:pt x="13688" y="21281"/>
                </a:cubicBezTo>
                <a:close/>
                <a:moveTo>
                  <a:pt x="13500" y="21999"/>
                </a:moveTo>
                <a:cubicBezTo>
                  <a:pt x="13469" y="22031"/>
                  <a:pt x="13406" y="22031"/>
                  <a:pt x="13406" y="22093"/>
                </a:cubicBezTo>
                <a:cubicBezTo>
                  <a:pt x="13438" y="22124"/>
                  <a:pt x="13406" y="22156"/>
                  <a:pt x="13344" y="22156"/>
                </a:cubicBezTo>
                <a:cubicBezTo>
                  <a:pt x="13406" y="22031"/>
                  <a:pt x="13406" y="22031"/>
                  <a:pt x="13500" y="21999"/>
                </a:cubicBezTo>
                <a:close/>
                <a:moveTo>
                  <a:pt x="13469" y="21093"/>
                </a:moveTo>
                <a:cubicBezTo>
                  <a:pt x="13469" y="21124"/>
                  <a:pt x="13469" y="21187"/>
                  <a:pt x="13438" y="21187"/>
                </a:cubicBezTo>
                <a:cubicBezTo>
                  <a:pt x="13438" y="21187"/>
                  <a:pt x="13406" y="21156"/>
                  <a:pt x="13406" y="21124"/>
                </a:cubicBezTo>
                <a:cubicBezTo>
                  <a:pt x="13406" y="21093"/>
                  <a:pt x="13406" y="21062"/>
                  <a:pt x="13438" y="21062"/>
                </a:cubicBezTo>
                <a:cubicBezTo>
                  <a:pt x="13469" y="21062"/>
                  <a:pt x="13469" y="21093"/>
                  <a:pt x="13469" y="21093"/>
                </a:cubicBezTo>
                <a:close/>
                <a:moveTo>
                  <a:pt x="13406" y="21343"/>
                </a:moveTo>
                <a:cubicBezTo>
                  <a:pt x="13406" y="21374"/>
                  <a:pt x="13375" y="21374"/>
                  <a:pt x="13344" y="21374"/>
                </a:cubicBezTo>
                <a:cubicBezTo>
                  <a:pt x="13281" y="21374"/>
                  <a:pt x="13281" y="21312"/>
                  <a:pt x="13250" y="21249"/>
                </a:cubicBezTo>
                <a:cubicBezTo>
                  <a:pt x="13250" y="21218"/>
                  <a:pt x="13281" y="21156"/>
                  <a:pt x="13344" y="21187"/>
                </a:cubicBezTo>
                <a:cubicBezTo>
                  <a:pt x="13375" y="21218"/>
                  <a:pt x="13406" y="21249"/>
                  <a:pt x="13406" y="21343"/>
                </a:cubicBezTo>
                <a:close/>
                <a:moveTo>
                  <a:pt x="12938" y="17906"/>
                </a:moveTo>
                <a:cubicBezTo>
                  <a:pt x="12906" y="17906"/>
                  <a:pt x="12938" y="17874"/>
                  <a:pt x="12969" y="17874"/>
                </a:cubicBezTo>
                <a:cubicBezTo>
                  <a:pt x="13000" y="17874"/>
                  <a:pt x="13031" y="17874"/>
                  <a:pt x="13063" y="17874"/>
                </a:cubicBezTo>
                <a:cubicBezTo>
                  <a:pt x="13063" y="17937"/>
                  <a:pt x="13063" y="17999"/>
                  <a:pt x="13063" y="18093"/>
                </a:cubicBezTo>
                <a:cubicBezTo>
                  <a:pt x="13031" y="18093"/>
                  <a:pt x="13031" y="18124"/>
                  <a:pt x="13000" y="18156"/>
                </a:cubicBezTo>
                <a:cubicBezTo>
                  <a:pt x="13000" y="18124"/>
                  <a:pt x="12969" y="18093"/>
                  <a:pt x="12938" y="18062"/>
                </a:cubicBezTo>
                <a:cubicBezTo>
                  <a:pt x="12938" y="18031"/>
                  <a:pt x="12906" y="17999"/>
                  <a:pt x="12938" y="17968"/>
                </a:cubicBezTo>
                <a:cubicBezTo>
                  <a:pt x="13031" y="17968"/>
                  <a:pt x="13031" y="17937"/>
                  <a:pt x="12938" y="17906"/>
                </a:cubicBezTo>
                <a:close/>
                <a:moveTo>
                  <a:pt x="13000" y="20937"/>
                </a:moveTo>
                <a:cubicBezTo>
                  <a:pt x="13031" y="21031"/>
                  <a:pt x="13063" y="21062"/>
                  <a:pt x="13125" y="21124"/>
                </a:cubicBezTo>
                <a:cubicBezTo>
                  <a:pt x="13125" y="21062"/>
                  <a:pt x="13094" y="20999"/>
                  <a:pt x="13094" y="20937"/>
                </a:cubicBezTo>
                <a:cubicBezTo>
                  <a:pt x="13188" y="20906"/>
                  <a:pt x="13250" y="20937"/>
                  <a:pt x="13281" y="21031"/>
                </a:cubicBezTo>
                <a:cubicBezTo>
                  <a:pt x="13281" y="21093"/>
                  <a:pt x="13281" y="21124"/>
                  <a:pt x="13250" y="21124"/>
                </a:cubicBezTo>
                <a:cubicBezTo>
                  <a:pt x="13188" y="21156"/>
                  <a:pt x="13156" y="21218"/>
                  <a:pt x="13125" y="21249"/>
                </a:cubicBezTo>
                <a:cubicBezTo>
                  <a:pt x="13094" y="21281"/>
                  <a:pt x="13063" y="21312"/>
                  <a:pt x="13000" y="21249"/>
                </a:cubicBezTo>
                <a:cubicBezTo>
                  <a:pt x="12938" y="21156"/>
                  <a:pt x="12906" y="21062"/>
                  <a:pt x="13000" y="20937"/>
                </a:cubicBezTo>
                <a:close/>
                <a:moveTo>
                  <a:pt x="13094" y="17874"/>
                </a:moveTo>
                <a:cubicBezTo>
                  <a:pt x="13125" y="17874"/>
                  <a:pt x="13156" y="17874"/>
                  <a:pt x="13156" y="17906"/>
                </a:cubicBezTo>
                <a:cubicBezTo>
                  <a:pt x="13156" y="17874"/>
                  <a:pt x="13125" y="17874"/>
                  <a:pt x="13094" y="17874"/>
                </a:cubicBezTo>
                <a:close/>
                <a:moveTo>
                  <a:pt x="13156" y="17937"/>
                </a:moveTo>
                <a:cubicBezTo>
                  <a:pt x="13156" y="17937"/>
                  <a:pt x="13156" y="17937"/>
                  <a:pt x="13156" y="17937"/>
                </a:cubicBezTo>
                <a:cubicBezTo>
                  <a:pt x="13156" y="17968"/>
                  <a:pt x="13219" y="18031"/>
                  <a:pt x="13156" y="18062"/>
                </a:cubicBezTo>
                <a:cubicBezTo>
                  <a:pt x="13125" y="18031"/>
                  <a:pt x="13094" y="17999"/>
                  <a:pt x="13094" y="17937"/>
                </a:cubicBezTo>
                <a:cubicBezTo>
                  <a:pt x="13094" y="17937"/>
                  <a:pt x="13094" y="17906"/>
                  <a:pt x="13125" y="17906"/>
                </a:cubicBezTo>
                <a:cubicBezTo>
                  <a:pt x="13125" y="17906"/>
                  <a:pt x="13156" y="17937"/>
                  <a:pt x="13156" y="17937"/>
                </a:cubicBezTo>
                <a:close/>
                <a:moveTo>
                  <a:pt x="13344" y="21593"/>
                </a:moveTo>
                <a:cubicBezTo>
                  <a:pt x="13375" y="21593"/>
                  <a:pt x="13344" y="21624"/>
                  <a:pt x="13344" y="21624"/>
                </a:cubicBezTo>
                <a:cubicBezTo>
                  <a:pt x="13281" y="21624"/>
                  <a:pt x="13250" y="21624"/>
                  <a:pt x="13219" y="21562"/>
                </a:cubicBezTo>
                <a:cubicBezTo>
                  <a:pt x="13281" y="21531"/>
                  <a:pt x="13344" y="21531"/>
                  <a:pt x="13344" y="21593"/>
                </a:cubicBezTo>
                <a:close/>
                <a:moveTo>
                  <a:pt x="13063" y="21999"/>
                </a:moveTo>
                <a:cubicBezTo>
                  <a:pt x="13094" y="21999"/>
                  <a:pt x="13094" y="22031"/>
                  <a:pt x="13094" y="22062"/>
                </a:cubicBezTo>
                <a:cubicBezTo>
                  <a:pt x="13094" y="22093"/>
                  <a:pt x="13094" y="22124"/>
                  <a:pt x="13063" y="22124"/>
                </a:cubicBezTo>
                <a:cubicBezTo>
                  <a:pt x="13031" y="22093"/>
                  <a:pt x="13000" y="22093"/>
                  <a:pt x="13000" y="22062"/>
                </a:cubicBezTo>
                <a:cubicBezTo>
                  <a:pt x="13000" y="22031"/>
                  <a:pt x="13031" y="21999"/>
                  <a:pt x="13063" y="21999"/>
                </a:cubicBezTo>
                <a:close/>
                <a:moveTo>
                  <a:pt x="13094" y="21718"/>
                </a:moveTo>
                <a:cubicBezTo>
                  <a:pt x="13156" y="21656"/>
                  <a:pt x="13219" y="21687"/>
                  <a:pt x="13250" y="21656"/>
                </a:cubicBezTo>
                <a:cubicBezTo>
                  <a:pt x="13219" y="21781"/>
                  <a:pt x="13156" y="21718"/>
                  <a:pt x="13094" y="21718"/>
                </a:cubicBezTo>
                <a:close/>
                <a:moveTo>
                  <a:pt x="13250" y="22093"/>
                </a:moveTo>
                <a:cubicBezTo>
                  <a:pt x="13250" y="22124"/>
                  <a:pt x="13250" y="22124"/>
                  <a:pt x="13250" y="22156"/>
                </a:cubicBezTo>
                <a:cubicBezTo>
                  <a:pt x="13219" y="22124"/>
                  <a:pt x="13156" y="22093"/>
                  <a:pt x="13156" y="22031"/>
                </a:cubicBezTo>
                <a:cubicBezTo>
                  <a:pt x="13188" y="21999"/>
                  <a:pt x="13219" y="22031"/>
                  <a:pt x="13250" y="22093"/>
                </a:cubicBezTo>
                <a:close/>
                <a:moveTo>
                  <a:pt x="13250" y="22468"/>
                </a:moveTo>
                <a:cubicBezTo>
                  <a:pt x="13250" y="22406"/>
                  <a:pt x="13250" y="22343"/>
                  <a:pt x="13313" y="22343"/>
                </a:cubicBezTo>
                <a:cubicBezTo>
                  <a:pt x="13344" y="22343"/>
                  <a:pt x="13375" y="22406"/>
                  <a:pt x="13344" y="22437"/>
                </a:cubicBezTo>
                <a:cubicBezTo>
                  <a:pt x="13344" y="22468"/>
                  <a:pt x="13375" y="22531"/>
                  <a:pt x="13313" y="22531"/>
                </a:cubicBezTo>
                <a:cubicBezTo>
                  <a:pt x="13281" y="22499"/>
                  <a:pt x="13219" y="22499"/>
                  <a:pt x="13250" y="22468"/>
                </a:cubicBezTo>
                <a:close/>
                <a:moveTo>
                  <a:pt x="13000" y="17343"/>
                </a:moveTo>
                <a:cubicBezTo>
                  <a:pt x="12906" y="17343"/>
                  <a:pt x="12875" y="17249"/>
                  <a:pt x="12813" y="17249"/>
                </a:cubicBezTo>
                <a:cubicBezTo>
                  <a:pt x="12813" y="17218"/>
                  <a:pt x="12750" y="17218"/>
                  <a:pt x="12813" y="17187"/>
                </a:cubicBezTo>
                <a:cubicBezTo>
                  <a:pt x="12844" y="17156"/>
                  <a:pt x="12844" y="17187"/>
                  <a:pt x="12875" y="17187"/>
                </a:cubicBezTo>
                <a:cubicBezTo>
                  <a:pt x="12906" y="17249"/>
                  <a:pt x="12969" y="17281"/>
                  <a:pt x="13000" y="17343"/>
                </a:cubicBezTo>
                <a:close/>
                <a:moveTo>
                  <a:pt x="12688" y="21124"/>
                </a:moveTo>
                <a:cubicBezTo>
                  <a:pt x="12719" y="21124"/>
                  <a:pt x="12813" y="21281"/>
                  <a:pt x="12813" y="21281"/>
                </a:cubicBezTo>
                <a:cubicBezTo>
                  <a:pt x="12813" y="21312"/>
                  <a:pt x="12781" y="21312"/>
                  <a:pt x="12781" y="21312"/>
                </a:cubicBezTo>
                <a:cubicBezTo>
                  <a:pt x="12719" y="21281"/>
                  <a:pt x="12688" y="21218"/>
                  <a:pt x="12688" y="21156"/>
                </a:cubicBezTo>
                <a:cubicBezTo>
                  <a:pt x="12688" y="21156"/>
                  <a:pt x="12688" y="21124"/>
                  <a:pt x="12688" y="21124"/>
                </a:cubicBezTo>
                <a:close/>
                <a:moveTo>
                  <a:pt x="12688" y="17906"/>
                </a:moveTo>
                <a:cubicBezTo>
                  <a:pt x="12656" y="17874"/>
                  <a:pt x="12688" y="17843"/>
                  <a:pt x="12719" y="17874"/>
                </a:cubicBezTo>
                <a:cubicBezTo>
                  <a:pt x="12750" y="17874"/>
                  <a:pt x="12781" y="17906"/>
                  <a:pt x="12750" y="17906"/>
                </a:cubicBezTo>
                <a:cubicBezTo>
                  <a:pt x="12750" y="17937"/>
                  <a:pt x="12781" y="17968"/>
                  <a:pt x="12719" y="17968"/>
                </a:cubicBezTo>
                <a:cubicBezTo>
                  <a:pt x="12688" y="17968"/>
                  <a:pt x="12688" y="17937"/>
                  <a:pt x="12688" y="17906"/>
                </a:cubicBezTo>
                <a:close/>
                <a:moveTo>
                  <a:pt x="12781" y="21093"/>
                </a:moveTo>
                <a:cubicBezTo>
                  <a:pt x="12781" y="21062"/>
                  <a:pt x="12813" y="20999"/>
                  <a:pt x="12844" y="20999"/>
                </a:cubicBezTo>
                <a:cubicBezTo>
                  <a:pt x="12906" y="20999"/>
                  <a:pt x="12875" y="21062"/>
                  <a:pt x="12875" y="21093"/>
                </a:cubicBezTo>
                <a:cubicBezTo>
                  <a:pt x="12844" y="21124"/>
                  <a:pt x="12906" y="21187"/>
                  <a:pt x="12844" y="21187"/>
                </a:cubicBezTo>
                <a:cubicBezTo>
                  <a:pt x="12781" y="21187"/>
                  <a:pt x="12781" y="21124"/>
                  <a:pt x="12781" y="21093"/>
                </a:cubicBezTo>
                <a:close/>
                <a:moveTo>
                  <a:pt x="12906" y="21781"/>
                </a:moveTo>
                <a:cubicBezTo>
                  <a:pt x="12875" y="21812"/>
                  <a:pt x="12875" y="21874"/>
                  <a:pt x="12875" y="21906"/>
                </a:cubicBezTo>
                <a:cubicBezTo>
                  <a:pt x="12813" y="21874"/>
                  <a:pt x="12813" y="21843"/>
                  <a:pt x="12813" y="21812"/>
                </a:cubicBezTo>
                <a:cubicBezTo>
                  <a:pt x="12813" y="21749"/>
                  <a:pt x="12875" y="21812"/>
                  <a:pt x="12906" y="21781"/>
                </a:cubicBezTo>
                <a:close/>
                <a:moveTo>
                  <a:pt x="12906" y="18156"/>
                </a:moveTo>
                <a:cubicBezTo>
                  <a:pt x="12875" y="18093"/>
                  <a:pt x="12813" y="18093"/>
                  <a:pt x="12781" y="18031"/>
                </a:cubicBezTo>
                <a:cubicBezTo>
                  <a:pt x="12906" y="18031"/>
                  <a:pt x="12906" y="18031"/>
                  <a:pt x="12906" y="18156"/>
                </a:cubicBezTo>
                <a:close/>
                <a:moveTo>
                  <a:pt x="12813" y="17281"/>
                </a:moveTo>
                <a:cubicBezTo>
                  <a:pt x="12813" y="17281"/>
                  <a:pt x="12813" y="17312"/>
                  <a:pt x="12781" y="17312"/>
                </a:cubicBezTo>
                <a:cubicBezTo>
                  <a:pt x="12750" y="17312"/>
                  <a:pt x="12688" y="17312"/>
                  <a:pt x="12625" y="17281"/>
                </a:cubicBezTo>
                <a:cubicBezTo>
                  <a:pt x="12688" y="17249"/>
                  <a:pt x="12719" y="17218"/>
                  <a:pt x="12781" y="17249"/>
                </a:cubicBezTo>
                <a:cubicBezTo>
                  <a:pt x="12781" y="17249"/>
                  <a:pt x="12781" y="17281"/>
                  <a:pt x="12813" y="17281"/>
                </a:cubicBezTo>
                <a:close/>
                <a:moveTo>
                  <a:pt x="12875" y="17624"/>
                </a:moveTo>
                <a:cubicBezTo>
                  <a:pt x="12750" y="17624"/>
                  <a:pt x="12656" y="17624"/>
                  <a:pt x="12531" y="17624"/>
                </a:cubicBezTo>
                <a:cubicBezTo>
                  <a:pt x="12594" y="17531"/>
                  <a:pt x="12750" y="17531"/>
                  <a:pt x="12875" y="17624"/>
                </a:cubicBezTo>
                <a:close/>
                <a:moveTo>
                  <a:pt x="12563" y="20874"/>
                </a:moveTo>
                <a:cubicBezTo>
                  <a:pt x="12594" y="20906"/>
                  <a:pt x="12625" y="20937"/>
                  <a:pt x="12625" y="20999"/>
                </a:cubicBezTo>
                <a:cubicBezTo>
                  <a:pt x="12656" y="21031"/>
                  <a:pt x="12625" y="21062"/>
                  <a:pt x="12625" y="21062"/>
                </a:cubicBezTo>
                <a:cubicBezTo>
                  <a:pt x="12563" y="21062"/>
                  <a:pt x="12594" y="20999"/>
                  <a:pt x="12563" y="20999"/>
                </a:cubicBezTo>
                <a:cubicBezTo>
                  <a:pt x="12531" y="20937"/>
                  <a:pt x="12500" y="20937"/>
                  <a:pt x="12500" y="20874"/>
                </a:cubicBezTo>
                <a:cubicBezTo>
                  <a:pt x="12531" y="20874"/>
                  <a:pt x="12531" y="20874"/>
                  <a:pt x="12563" y="20874"/>
                </a:cubicBezTo>
                <a:close/>
                <a:moveTo>
                  <a:pt x="12406" y="21218"/>
                </a:moveTo>
                <a:cubicBezTo>
                  <a:pt x="12375" y="21249"/>
                  <a:pt x="12375" y="21218"/>
                  <a:pt x="12375" y="21187"/>
                </a:cubicBezTo>
                <a:cubicBezTo>
                  <a:pt x="12344" y="21093"/>
                  <a:pt x="12344" y="20999"/>
                  <a:pt x="12438" y="20906"/>
                </a:cubicBezTo>
                <a:cubicBezTo>
                  <a:pt x="12438" y="20906"/>
                  <a:pt x="12469" y="20937"/>
                  <a:pt x="12469" y="20937"/>
                </a:cubicBezTo>
                <a:cubicBezTo>
                  <a:pt x="12563" y="21093"/>
                  <a:pt x="12563" y="21124"/>
                  <a:pt x="12406" y="21218"/>
                </a:cubicBezTo>
                <a:close/>
                <a:moveTo>
                  <a:pt x="12313" y="21874"/>
                </a:moveTo>
                <a:cubicBezTo>
                  <a:pt x="12313" y="21906"/>
                  <a:pt x="12281" y="21937"/>
                  <a:pt x="12250" y="21968"/>
                </a:cubicBezTo>
                <a:cubicBezTo>
                  <a:pt x="12219" y="21906"/>
                  <a:pt x="12250" y="21874"/>
                  <a:pt x="12281" y="21812"/>
                </a:cubicBezTo>
                <a:cubicBezTo>
                  <a:pt x="12281" y="21781"/>
                  <a:pt x="12313" y="21781"/>
                  <a:pt x="12344" y="21812"/>
                </a:cubicBezTo>
                <a:cubicBezTo>
                  <a:pt x="12375" y="21843"/>
                  <a:pt x="12344" y="21843"/>
                  <a:pt x="12313" y="21874"/>
                </a:cubicBezTo>
                <a:close/>
                <a:moveTo>
                  <a:pt x="12406" y="17999"/>
                </a:moveTo>
                <a:cubicBezTo>
                  <a:pt x="12375" y="17906"/>
                  <a:pt x="12313" y="17937"/>
                  <a:pt x="12250" y="17906"/>
                </a:cubicBezTo>
                <a:cubicBezTo>
                  <a:pt x="12281" y="17843"/>
                  <a:pt x="12375" y="17906"/>
                  <a:pt x="12406" y="17874"/>
                </a:cubicBezTo>
                <a:cubicBezTo>
                  <a:pt x="12406" y="17906"/>
                  <a:pt x="12406" y="17937"/>
                  <a:pt x="12406" y="17999"/>
                </a:cubicBezTo>
                <a:close/>
                <a:moveTo>
                  <a:pt x="12281" y="22281"/>
                </a:moveTo>
                <a:cubicBezTo>
                  <a:pt x="12344" y="22249"/>
                  <a:pt x="12531" y="22343"/>
                  <a:pt x="12531" y="22437"/>
                </a:cubicBezTo>
                <a:cubicBezTo>
                  <a:pt x="12531" y="22468"/>
                  <a:pt x="12563" y="22593"/>
                  <a:pt x="12438" y="22499"/>
                </a:cubicBezTo>
                <a:cubicBezTo>
                  <a:pt x="12406" y="22499"/>
                  <a:pt x="12344" y="22468"/>
                  <a:pt x="12281" y="22437"/>
                </a:cubicBezTo>
                <a:cubicBezTo>
                  <a:pt x="12250" y="22437"/>
                  <a:pt x="12219" y="22437"/>
                  <a:pt x="12219" y="22406"/>
                </a:cubicBezTo>
                <a:cubicBezTo>
                  <a:pt x="12219" y="22343"/>
                  <a:pt x="12219" y="22312"/>
                  <a:pt x="12281" y="22281"/>
                </a:cubicBezTo>
                <a:close/>
                <a:moveTo>
                  <a:pt x="12625" y="21874"/>
                </a:moveTo>
                <a:cubicBezTo>
                  <a:pt x="12625" y="21874"/>
                  <a:pt x="12625" y="21874"/>
                  <a:pt x="12625" y="21874"/>
                </a:cubicBezTo>
                <a:cubicBezTo>
                  <a:pt x="12656" y="21874"/>
                  <a:pt x="12719" y="21843"/>
                  <a:pt x="12719" y="21812"/>
                </a:cubicBezTo>
                <a:cubicBezTo>
                  <a:pt x="12719" y="21843"/>
                  <a:pt x="12656" y="21874"/>
                  <a:pt x="12625" y="21874"/>
                </a:cubicBezTo>
                <a:cubicBezTo>
                  <a:pt x="12625" y="21906"/>
                  <a:pt x="12625" y="21906"/>
                  <a:pt x="12656" y="21906"/>
                </a:cubicBezTo>
                <a:cubicBezTo>
                  <a:pt x="12688" y="21906"/>
                  <a:pt x="12688" y="21937"/>
                  <a:pt x="12688" y="21968"/>
                </a:cubicBezTo>
                <a:cubicBezTo>
                  <a:pt x="12656" y="21999"/>
                  <a:pt x="12656" y="22031"/>
                  <a:pt x="12625" y="22031"/>
                </a:cubicBezTo>
                <a:cubicBezTo>
                  <a:pt x="12594" y="22031"/>
                  <a:pt x="12594" y="21968"/>
                  <a:pt x="12563" y="21968"/>
                </a:cubicBezTo>
                <a:cubicBezTo>
                  <a:pt x="12500" y="21874"/>
                  <a:pt x="12594" y="21906"/>
                  <a:pt x="12625" y="21874"/>
                </a:cubicBezTo>
                <a:close/>
                <a:moveTo>
                  <a:pt x="13000" y="22687"/>
                </a:moveTo>
                <a:cubicBezTo>
                  <a:pt x="13094" y="22531"/>
                  <a:pt x="13094" y="22531"/>
                  <a:pt x="13250" y="22624"/>
                </a:cubicBezTo>
                <a:cubicBezTo>
                  <a:pt x="13281" y="22656"/>
                  <a:pt x="13344" y="22656"/>
                  <a:pt x="13375" y="22687"/>
                </a:cubicBezTo>
                <a:cubicBezTo>
                  <a:pt x="13406" y="22687"/>
                  <a:pt x="13406" y="22718"/>
                  <a:pt x="13406" y="22749"/>
                </a:cubicBezTo>
                <a:cubicBezTo>
                  <a:pt x="13344" y="22781"/>
                  <a:pt x="13344" y="22874"/>
                  <a:pt x="13281" y="22937"/>
                </a:cubicBezTo>
                <a:cubicBezTo>
                  <a:pt x="13250" y="22937"/>
                  <a:pt x="13219" y="22937"/>
                  <a:pt x="13219" y="22937"/>
                </a:cubicBezTo>
                <a:cubicBezTo>
                  <a:pt x="13156" y="22874"/>
                  <a:pt x="13094" y="22843"/>
                  <a:pt x="13031" y="22812"/>
                </a:cubicBezTo>
                <a:cubicBezTo>
                  <a:pt x="12969" y="22781"/>
                  <a:pt x="12969" y="22749"/>
                  <a:pt x="13000" y="22687"/>
                </a:cubicBezTo>
                <a:close/>
                <a:moveTo>
                  <a:pt x="13344" y="22968"/>
                </a:moveTo>
                <a:cubicBezTo>
                  <a:pt x="13438" y="22718"/>
                  <a:pt x="13469" y="22718"/>
                  <a:pt x="13688" y="22843"/>
                </a:cubicBezTo>
                <a:cubicBezTo>
                  <a:pt x="13781" y="22937"/>
                  <a:pt x="13781" y="22937"/>
                  <a:pt x="13688" y="23062"/>
                </a:cubicBezTo>
                <a:cubicBezTo>
                  <a:pt x="13656" y="23093"/>
                  <a:pt x="13688" y="23156"/>
                  <a:pt x="13625" y="23156"/>
                </a:cubicBezTo>
                <a:cubicBezTo>
                  <a:pt x="13594" y="23156"/>
                  <a:pt x="13594" y="23187"/>
                  <a:pt x="13563" y="23156"/>
                </a:cubicBezTo>
                <a:cubicBezTo>
                  <a:pt x="13500" y="23124"/>
                  <a:pt x="13406" y="23062"/>
                  <a:pt x="13344" y="22999"/>
                </a:cubicBezTo>
                <a:cubicBezTo>
                  <a:pt x="13313" y="22999"/>
                  <a:pt x="13344" y="22968"/>
                  <a:pt x="13344" y="22968"/>
                </a:cubicBezTo>
                <a:close/>
                <a:moveTo>
                  <a:pt x="14063" y="23406"/>
                </a:moveTo>
                <a:cubicBezTo>
                  <a:pt x="14094" y="23374"/>
                  <a:pt x="14094" y="23343"/>
                  <a:pt x="14125" y="23343"/>
                </a:cubicBezTo>
                <a:cubicBezTo>
                  <a:pt x="14156" y="23312"/>
                  <a:pt x="14188" y="23218"/>
                  <a:pt x="14219" y="23249"/>
                </a:cubicBezTo>
                <a:cubicBezTo>
                  <a:pt x="14313" y="23312"/>
                  <a:pt x="14375" y="23343"/>
                  <a:pt x="14375" y="23437"/>
                </a:cubicBezTo>
                <a:cubicBezTo>
                  <a:pt x="14375" y="23562"/>
                  <a:pt x="14344" y="23687"/>
                  <a:pt x="14219" y="23749"/>
                </a:cubicBezTo>
                <a:cubicBezTo>
                  <a:pt x="14188" y="23749"/>
                  <a:pt x="14188" y="23749"/>
                  <a:pt x="14156" y="23718"/>
                </a:cubicBezTo>
                <a:cubicBezTo>
                  <a:pt x="14125" y="23718"/>
                  <a:pt x="14125" y="23687"/>
                  <a:pt x="14094" y="23656"/>
                </a:cubicBezTo>
                <a:cubicBezTo>
                  <a:pt x="13969" y="23562"/>
                  <a:pt x="13969" y="23531"/>
                  <a:pt x="14063" y="23406"/>
                </a:cubicBezTo>
                <a:close/>
                <a:moveTo>
                  <a:pt x="14469" y="21124"/>
                </a:moveTo>
                <a:cubicBezTo>
                  <a:pt x="14469" y="21218"/>
                  <a:pt x="14375" y="21218"/>
                  <a:pt x="14344" y="21249"/>
                </a:cubicBezTo>
                <a:cubicBezTo>
                  <a:pt x="14313" y="21249"/>
                  <a:pt x="14281" y="21218"/>
                  <a:pt x="14313" y="21187"/>
                </a:cubicBezTo>
                <a:cubicBezTo>
                  <a:pt x="14344" y="21062"/>
                  <a:pt x="14406" y="21124"/>
                  <a:pt x="14469" y="21124"/>
                </a:cubicBezTo>
                <a:close/>
                <a:moveTo>
                  <a:pt x="14281" y="17562"/>
                </a:moveTo>
                <a:cubicBezTo>
                  <a:pt x="14250" y="17562"/>
                  <a:pt x="14219" y="17593"/>
                  <a:pt x="14188" y="17531"/>
                </a:cubicBezTo>
                <a:cubicBezTo>
                  <a:pt x="14188" y="17499"/>
                  <a:pt x="14125" y="17499"/>
                  <a:pt x="14125" y="17437"/>
                </a:cubicBezTo>
                <a:cubicBezTo>
                  <a:pt x="14125" y="17406"/>
                  <a:pt x="14125" y="17374"/>
                  <a:pt x="14094" y="17374"/>
                </a:cubicBezTo>
                <a:cubicBezTo>
                  <a:pt x="14125" y="17343"/>
                  <a:pt x="14125" y="17312"/>
                  <a:pt x="14156" y="17343"/>
                </a:cubicBezTo>
                <a:cubicBezTo>
                  <a:pt x="14188" y="17406"/>
                  <a:pt x="14219" y="17406"/>
                  <a:pt x="14188" y="17437"/>
                </a:cubicBezTo>
                <a:cubicBezTo>
                  <a:pt x="14188" y="17468"/>
                  <a:pt x="14188" y="17468"/>
                  <a:pt x="14188" y="17499"/>
                </a:cubicBezTo>
                <a:cubicBezTo>
                  <a:pt x="14188" y="17499"/>
                  <a:pt x="14219" y="17499"/>
                  <a:pt x="14250" y="17499"/>
                </a:cubicBezTo>
                <a:cubicBezTo>
                  <a:pt x="14281" y="17468"/>
                  <a:pt x="14281" y="17468"/>
                  <a:pt x="14313" y="17499"/>
                </a:cubicBezTo>
                <a:cubicBezTo>
                  <a:pt x="14344" y="17531"/>
                  <a:pt x="14313" y="17531"/>
                  <a:pt x="14281" y="17562"/>
                </a:cubicBezTo>
                <a:close/>
                <a:moveTo>
                  <a:pt x="14313" y="17156"/>
                </a:moveTo>
                <a:cubicBezTo>
                  <a:pt x="14313" y="17156"/>
                  <a:pt x="14313" y="17187"/>
                  <a:pt x="14281" y="17187"/>
                </a:cubicBezTo>
                <a:cubicBezTo>
                  <a:pt x="14281" y="17187"/>
                  <a:pt x="14250" y="17187"/>
                  <a:pt x="14250" y="17187"/>
                </a:cubicBezTo>
                <a:cubicBezTo>
                  <a:pt x="14219" y="17156"/>
                  <a:pt x="14219" y="17124"/>
                  <a:pt x="14188" y="17124"/>
                </a:cubicBezTo>
                <a:cubicBezTo>
                  <a:pt x="14188" y="17124"/>
                  <a:pt x="14156" y="17093"/>
                  <a:pt x="14125" y="17093"/>
                </a:cubicBezTo>
                <a:cubicBezTo>
                  <a:pt x="14219" y="17031"/>
                  <a:pt x="14281" y="17062"/>
                  <a:pt x="14313" y="17156"/>
                </a:cubicBezTo>
                <a:close/>
                <a:moveTo>
                  <a:pt x="13781" y="16906"/>
                </a:moveTo>
                <a:cubicBezTo>
                  <a:pt x="13781" y="16874"/>
                  <a:pt x="13813" y="16906"/>
                  <a:pt x="13844" y="16906"/>
                </a:cubicBezTo>
                <a:cubicBezTo>
                  <a:pt x="13844" y="16937"/>
                  <a:pt x="13875" y="16968"/>
                  <a:pt x="13906" y="16937"/>
                </a:cubicBezTo>
                <a:cubicBezTo>
                  <a:pt x="13969" y="16843"/>
                  <a:pt x="13875" y="16906"/>
                  <a:pt x="13844" y="16874"/>
                </a:cubicBezTo>
                <a:cubicBezTo>
                  <a:pt x="13781" y="16843"/>
                  <a:pt x="13813" y="16781"/>
                  <a:pt x="13813" y="16718"/>
                </a:cubicBezTo>
                <a:cubicBezTo>
                  <a:pt x="13844" y="16718"/>
                  <a:pt x="13906" y="16687"/>
                  <a:pt x="13906" y="16718"/>
                </a:cubicBezTo>
                <a:cubicBezTo>
                  <a:pt x="14000" y="16781"/>
                  <a:pt x="14063" y="16843"/>
                  <a:pt x="14125" y="16906"/>
                </a:cubicBezTo>
                <a:cubicBezTo>
                  <a:pt x="14125" y="16906"/>
                  <a:pt x="14125" y="16937"/>
                  <a:pt x="14125" y="16937"/>
                </a:cubicBezTo>
                <a:cubicBezTo>
                  <a:pt x="14094" y="16968"/>
                  <a:pt x="14063" y="16968"/>
                  <a:pt x="14063" y="16968"/>
                </a:cubicBezTo>
                <a:cubicBezTo>
                  <a:pt x="14031" y="16906"/>
                  <a:pt x="13969" y="16968"/>
                  <a:pt x="13906" y="16937"/>
                </a:cubicBezTo>
                <a:cubicBezTo>
                  <a:pt x="13906" y="16968"/>
                  <a:pt x="13906" y="16968"/>
                  <a:pt x="13906" y="16968"/>
                </a:cubicBezTo>
                <a:cubicBezTo>
                  <a:pt x="13906" y="16999"/>
                  <a:pt x="13969" y="16999"/>
                  <a:pt x="13938" y="17031"/>
                </a:cubicBezTo>
                <a:cubicBezTo>
                  <a:pt x="13875" y="17062"/>
                  <a:pt x="13844" y="16999"/>
                  <a:pt x="13813" y="16999"/>
                </a:cubicBezTo>
                <a:cubicBezTo>
                  <a:pt x="13781" y="16968"/>
                  <a:pt x="13781" y="16937"/>
                  <a:pt x="13781" y="16906"/>
                </a:cubicBezTo>
                <a:close/>
                <a:moveTo>
                  <a:pt x="13875" y="21093"/>
                </a:moveTo>
                <a:cubicBezTo>
                  <a:pt x="13906" y="21093"/>
                  <a:pt x="13844" y="21156"/>
                  <a:pt x="13813" y="21187"/>
                </a:cubicBezTo>
                <a:cubicBezTo>
                  <a:pt x="13813" y="21187"/>
                  <a:pt x="13781" y="21218"/>
                  <a:pt x="13750" y="21249"/>
                </a:cubicBezTo>
                <a:cubicBezTo>
                  <a:pt x="13750" y="21187"/>
                  <a:pt x="13719" y="21124"/>
                  <a:pt x="13688" y="21093"/>
                </a:cubicBezTo>
                <a:cubicBezTo>
                  <a:pt x="13656" y="21031"/>
                  <a:pt x="13656" y="20999"/>
                  <a:pt x="13719" y="20999"/>
                </a:cubicBezTo>
                <a:cubicBezTo>
                  <a:pt x="13813" y="20999"/>
                  <a:pt x="13844" y="21062"/>
                  <a:pt x="13875" y="21093"/>
                </a:cubicBezTo>
                <a:close/>
                <a:moveTo>
                  <a:pt x="13688" y="18156"/>
                </a:moveTo>
                <a:cubicBezTo>
                  <a:pt x="13688" y="18218"/>
                  <a:pt x="13656" y="18249"/>
                  <a:pt x="13625" y="18187"/>
                </a:cubicBezTo>
                <a:cubicBezTo>
                  <a:pt x="13594" y="18156"/>
                  <a:pt x="13594" y="18093"/>
                  <a:pt x="13531" y="18031"/>
                </a:cubicBezTo>
                <a:cubicBezTo>
                  <a:pt x="13531" y="18124"/>
                  <a:pt x="13594" y="18156"/>
                  <a:pt x="13563" y="18218"/>
                </a:cubicBezTo>
                <a:cubicBezTo>
                  <a:pt x="13469" y="18187"/>
                  <a:pt x="13438" y="18093"/>
                  <a:pt x="13375" y="18031"/>
                </a:cubicBezTo>
                <a:cubicBezTo>
                  <a:pt x="13375" y="17999"/>
                  <a:pt x="13375" y="17999"/>
                  <a:pt x="13375" y="17999"/>
                </a:cubicBezTo>
                <a:cubicBezTo>
                  <a:pt x="13313" y="17968"/>
                  <a:pt x="13281" y="17937"/>
                  <a:pt x="13313" y="17906"/>
                </a:cubicBezTo>
                <a:cubicBezTo>
                  <a:pt x="13313" y="17874"/>
                  <a:pt x="13375" y="17874"/>
                  <a:pt x="13406" y="17874"/>
                </a:cubicBezTo>
                <a:cubicBezTo>
                  <a:pt x="13469" y="17906"/>
                  <a:pt x="13531" y="17874"/>
                  <a:pt x="13594" y="17906"/>
                </a:cubicBezTo>
                <a:cubicBezTo>
                  <a:pt x="13656" y="17906"/>
                  <a:pt x="13688" y="17937"/>
                  <a:pt x="13688" y="17999"/>
                </a:cubicBezTo>
                <a:cubicBezTo>
                  <a:pt x="13656" y="18062"/>
                  <a:pt x="13688" y="18124"/>
                  <a:pt x="13688" y="18156"/>
                </a:cubicBezTo>
                <a:close/>
                <a:moveTo>
                  <a:pt x="13563" y="16749"/>
                </a:moveTo>
                <a:cubicBezTo>
                  <a:pt x="13625" y="16718"/>
                  <a:pt x="13625" y="16749"/>
                  <a:pt x="13625" y="16781"/>
                </a:cubicBezTo>
                <a:cubicBezTo>
                  <a:pt x="13656" y="16874"/>
                  <a:pt x="13594" y="16812"/>
                  <a:pt x="13563" y="16812"/>
                </a:cubicBezTo>
                <a:cubicBezTo>
                  <a:pt x="13563" y="16812"/>
                  <a:pt x="13563" y="16812"/>
                  <a:pt x="13563" y="16812"/>
                </a:cubicBezTo>
                <a:cubicBezTo>
                  <a:pt x="13563" y="16812"/>
                  <a:pt x="13531" y="16812"/>
                  <a:pt x="13531" y="16812"/>
                </a:cubicBezTo>
                <a:cubicBezTo>
                  <a:pt x="13563" y="16781"/>
                  <a:pt x="13531" y="16749"/>
                  <a:pt x="13563" y="16749"/>
                </a:cubicBezTo>
                <a:close/>
                <a:moveTo>
                  <a:pt x="13531" y="16812"/>
                </a:moveTo>
                <a:cubicBezTo>
                  <a:pt x="13531" y="16812"/>
                  <a:pt x="13531" y="16843"/>
                  <a:pt x="13563" y="16843"/>
                </a:cubicBezTo>
                <a:cubicBezTo>
                  <a:pt x="13594" y="16874"/>
                  <a:pt x="13656" y="16906"/>
                  <a:pt x="13594" y="16999"/>
                </a:cubicBezTo>
                <a:cubicBezTo>
                  <a:pt x="13563" y="17031"/>
                  <a:pt x="13625" y="17031"/>
                  <a:pt x="13625" y="17031"/>
                </a:cubicBezTo>
                <a:cubicBezTo>
                  <a:pt x="13688" y="17062"/>
                  <a:pt x="13656" y="17124"/>
                  <a:pt x="13656" y="17187"/>
                </a:cubicBezTo>
                <a:cubicBezTo>
                  <a:pt x="13656" y="17187"/>
                  <a:pt x="13656" y="17187"/>
                  <a:pt x="13625" y="17187"/>
                </a:cubicBezTo>
                <a:cubicBezTo>
                  <a:pt x="13594" y="17187"/>
                  <a:pt x="13563" y="17156"/>
                  <a:pt x="13531" y="17093"/>
                </a:cubicBezTo>
                <a:cubicBezTo>
                  <a:pt x="13531" y="17093"/>
                  <a:pt x="13563" y="17062"/>
                  <a:pt x="13531" y="17062"/>
                </a:cubicBezTo>
                <a:cubicBezTo>
                  <a:pt x="13406" y="17093"/>
                  <a:pt x="13375" y="16968"/>
                  <a:pt x="13281" y="16937"/>
                </a:cubicBezTo>
                <a:cubicBezTo>
                  <a:pt x="13281" y="16937"/>
                  <a:pt x="13281" y="16906"/>
                  <a:pt x="13281" y="16906"/>
                </a:cubicBezTo>
                <a:cubicBezTo>
                  <a:pt x="13313" y="16874"/>
                  <a:pt x="13500" y="16812"/>
                  <a:pt x="13531" y="16812"/>
                </a:cubicBezTo>
                <a:close/>
                <a:moveTo>
                  <a:pt x="13031" y="16656"/>
                </a:moveTo>
                <a:cubicBezTo>
                  <a:pt x="13125" y="16656"/>
                  <a:pt x="13219" y="16624"/>
                  <a:pt x="13344" y="16656"/>
                </a:cubicBezTo>
                <a:cubicBezTo>
                  <a:pt x="13313" y="16718"/>
                  <a:pt x="13281" y="16718"/>
                  <a:pt x="13250" y="16718"/>
                </a:cubicBezTo>
                <a:cubicBezTo>
                  <a:pt x="13188" y="16718"/>
                  <a:pt x="13125" y="16718"/>
                  <a:pt x="13063" y="16718"/>
                </a:cubicBezTo>
                <a:cubicBezTo>
                  <a:pt x="13031" y="16749"/>
                  <a:pt x="13000" y="16718"/>
                  <a:pt x="13000" y="16687"/>
                </a:cubicBezTo>
                <a:cubicBezTo>
                  <a:pt x="12969" y="16656"/>
                  <a:pt x="13031" y="16656"/>
                  <a:pt x="13031" y="16656"/>
                </a:cubicBezTo>
                <a:close/>
                <a:moveTo>
                  <a:pt x="12938" y="16968"/>
                </a:moveTo>
                <a:cubicBezTo>
                  <a:pt x="12813" y="17062"/>
                  <a:pt x="12781" y="17062"/>
                  <a:pt x="12656" y="16906"/>
                </a:cubicBezTo>
                <a:cubicBezTo>
                  <a:pt x="12719" y="16843"/>
                  <a:pt x="12813" y="16843"/>
                  <a:pt x="12875" y="16843"/>
                </a:cubicBezTo>
                <a:cubicBezTo>
                  <a:pt x="12938" y="16812"/>
                  <a:pt x="12969" y="16874"/>
                  <a:pt x="13000" y="16906"/>
                </a:cubicBezTo>
                <a:cubicBezTo>
                  <a:pt x="13000" y="16937"/>
                  <a:pt x="12938" y="16937"/>
                  <a:pt x="12938" y="16968"/>
                </a:cubicBezTo>
                <a:close/>
                <a:moveTo>
                  <a:pt x="12500" y="16718"/>
                </a:moveTo>
                <a:cubicBezTo>
                  <a:pt x="12531" y="16687"/>
                  <a:pt x="12563" y="16718"/>
                  <a:pt x="12594" y="16718"/>
                </a:cubicBezTo>
                <a:cubicBezTo>
                  <a:pt x="12625" y="16687"/>
                  <a:pt x="12656" y="16687"/>
                  <a:pt x="12719" y="16687"/>
                </a:cubicBezTo>
                <a:cubicBezTo>
                  <a:pt x="12750" y="16718"/>
                  <a:pt x="12813" y="16718"/>
                  <a:pt x="12844" y="16687"/>
                </a:cubicBezTo>
                <a:cubicBezTo>
                  <a:pt x="12875" y="16656"/>
                  <a:pt x="12938" y="16687"/>
                  <a:pt x="12938" y="16718"/>
                </a:cubicBezTo>
                <a:cubicBezTo>
                  <a:pt x="12969" y="16749"/>
                  <a:pt x="12969" y="16781"/>
                  <a:pt x="12938" y="16781"/>
                </a:cubicBezTo>
                <a:cubicBezTo>
                  <a:pt x="12813" y="16718"/>
                  <a:pt x="12719" y="16843"/>
                  <a:pt x="12625" y="16812"/>
                </a:cubicBezTo>
                <a:cubicBezTo>
                  <a:pt x="12625" y="16812"/>
                  <a:pt x="12594" y="16843"/>
                  <a:pt x="12563" y="16812"/>
                </a:cubicBezTo>
                <a:cubicBezTo>
                  <a:pt x="12563" y="16781"/>
                  <a:pt x="12500" y="16781"/>
                  <a:pt x="12500" y="16718"/>
                </a:cubicBezTo>
                <a:close/>
                <a:moveTo>
                  <a:pt x="12688" y="17062"/>
                </a:moveTo>
                <a:cubicBezTo>
                  <a:pt x="12688" y="17062"/>
                  <a:pt x="12688" y="17093"/>
                  <a:pt x="12688" y="17093"/>
                </a:cubicBezTo>
                <a:cubicBezTo>
                  <a:pt x="12656" y="17093"/>
                  <a:pt x="12656" y="17093"/>
                  <a:pt x="12625" y="17093"/>
                </a:cubicBezTo>
                <a:cubicBezTo>
                  <a:pt x="12563" y="17031"/>
                  <a:pt x="12500" y="16999"/>
                  <a:pt x="12438" y="16937"/>
                </a:cubicBezTo>
                <a:cubicBezTo>
                  <a:pt x="12531" y="16906"/>
                  <a:pt x="12688" y="16999"/>
                  <a:pt x="12688" y="17062"/>
                </a:cubicBezTo>
                <a:close/>
                <a:moveTo>
                  <a:pt x="12313" y="16781"/>
                </a:moveTo>
                <a:cubicBezTo>
                  <a:pt x="12375" y="16749"/>
                  <a:pt x="12406" y="16812"/>
                  <a:pt x="12438" y="16843"/>
                </a:cubicBezTo>
                <a:cubicBezTo>
                  <a:pt x="12375" y="16874"/>
                  <a:pt x="12344" y="16874"/>
                  <a:pt x="12313" y="16843"/>
                </a:cubicBezTo>
                <a:cubicBezTo>
                  <a:pt x="12281" y="16812"/>
                  <a:pt x="12281" y="16781"/>
                  <a:pt x="12313" y="16781"/>
                </a:cubicBezTo>
                <a:close/>
                <a:moveTo>
                  <a:pt x="12156" y="16843"/>
                </a:moveTo>
                <a:cubicBezTo>
                  <a:pt x="12188" y="16843"/>
                  <a:pt x="12188" y="16843"/>
                  <a:pt x="12219" y="16874"/>
                </a:cubicBezTo>
                <a:cubicBezTo>
                  <a:pt x="12219" y="16874"/>
                  <a:pt x="12188" y="16906"/>
                  <a:pt x="12188" y="16906"/>
                </a:cubicBezTo>
                <a:cubicBezTo>
                  <a:pt x="12125" y="16906"/>
                  <a:pt x="12094" y="16937"/>
                  <a:pt x="12063" y="16906"/>
                </a:cubicBezTo>
                <a:cubicBezTo>
                  <a:pt x="12094" y="16874"/>
                  <a:pt x="12125" y="16874"/>
                  <a:pt x="12156" y="16843"/>
                </a:cubicBezTo>
                <a:close/>
                <a:moveTo>
                  <a:pt x="12344" y="16937"/>
                </a:moveTo>
                <a:cubicBezTo>
                  <a:pt x="12375" y="16937"/>
                  <a:pt x="12563" y="17093"/>
                  <a:pt x="12594" y="17124"/>
                </a:cubicBezTo>
                <a:cubicBezTo>
                  <a:pt x="12594" y="17124"/>
                  <a:pt x="12594" y="17124"/>
                  <a:pt x="12563" y="17156"/>
                </a:cubicBezTo>
                <a:cubicBezTo>
                  <a:pt x="12531" y="17187"/>
                  <a:pt x="12469" y="17218"/>
                  <a:pt x="12406" y="17249"/>
                </a:cubicBezTo>
                <a:cubicBezTo>
                  <a:pt x="12406" y="17249"/>
                  <a:pt x="12406" y="17249"/>
                  <a:pt x="12406" y="17249"/>
                </a:cubicBezTo>
                <a:cubicBezTo>
                  <a:pt x="12375" y="17156"/>
                  <a:pt x="12281" y="17187"/>
                  <a:pt x="12219" y="17156"/>
                </a:cubicBezTo>
                <a:cubicBezTo>
                  <a:pt x="12156" y="17124"/>
                  <a:pt x="12094" y="17062"/>
                  <a:pt x="12031" y="16999"/>
                </a:cubicBezTo>
                <a:cubicBezTo>
                  <a:pt x="12125" y="16968"/>
                  <a:pt x="12250" y="16968"/>
                  <a:pt x="12344" y="16937"/>
                </a:cubicBezTo>
                <a:close/>
                <a:moveTo>
                  <a:pt x="11906" y="17031"/>
                </a:moveTo>
                <a:cubicBezTo>
                  <a:pt x="11938" y="16999"/>
                  <a:pt x="11938" y="16999"/>
                  <a:pt x="11969" y="17031"/>
                </a:cubicBezTo>
                <a:cubicBezTo>
                  <a:pt x="12031" y="17093"/>
                  <a:pt x="12094" y="17124"/>
                  <a:pt x="12156" y="17187"/>
                </a:cubicBezTo>
                <a:cubicBezTo>
                  <a:pt x="12031" y="17187"/>
                  <a:pt x="11969" y="17124"/>
                  <a:pt x="11906" y="17062"/>
                </a:cubicBezTo>
                <a:cubicBezTo>
                  <a:pt x="11906" y="17062"/>
                  <a:pt x="11906" y="17031"/>
                  <a:pt x="11906" y="17031"/>
                </a:cubicBezTo>
                <a:close/>
                <a:moveTo>
                  <a:pt x="11875" y="17437"/>
                </a:moveTo>
                <a:cubicBezTo>
                  <a:pt x="12063" y="17374"/>
                  <a:pt x="12188" y="17468"/>
                  <a:pt x="12313" y="17562"/>
                </a:cubicBezTo>
                <a:cubicBezTo>
                  <a:pt x="12313" y="17562"/>
                  <a:pt x="12344" y="17593"/>
                  <a:pt x="12344" y="17593"/>
                </a:cubicBezTo>
                <a:cubicBezTo>
                  <a:pt x="12313" y="17624"/>
                  <a:pt x="12313" y="17624"/>
                  <a:pt x="12281" y="17624"/>
                </a:cubicBezTo>
                <a:cubicBezTo>
                  <a:pt x="12219" y="17624"/>
                  <a:pt x="12188" y="17624"/>
                  <a:pt x="12125" y="17656"/>
                </a:cubicBezTo>
                <a:cubicBezTo>
                  <a:pt x="12063" y="17624"/>
                  <a:pt x="12031" y="17624"/>
                  <a:pt x="11969" y="17656"/>
                </a:cubicBezTo>
                <a:cubicBezTo>
                  <a:pt x="11906" y="17656"/>
                  <a:pt x="11875" y="17624"/>
                  <a:pt x="11844" y="17562"/>
                </a:cubicBezTo>
                <a:cubicBezTo>
                  <a:pt x="11781" y="17437"/>
                  <a:pt x="11750" y="17437"/>
                  <a:pt x="11875" y="17437"/>
                </a:cubicBezTo>
                <a:close/>
                <a:moveTo>
                  <a:pt x="11906" y="21999"/>
                </a:moveTo>
                <a:cubicBezTo>
                  <a:pt x="11844" y="21968"/>
                  <a:pt x="11813" y="21968"/>
                  <a:pt x="11813" y="21906"/>
                </a:cubicBezTo>
                <a:cubicBezTo>
                  <a:pt x="11844" y="21906"/>
                  <a:pt x="11844" y="21874"/>
                  <a:pt x="11875" y="21874"/>
                </a:cubicBezTo>
                <a:cubicBezTo>
                  <a:pt x="11938" y="21906"/>
                  <a:pt x="11906" y="21937"/>
                  <a:pt x="11906" y="21999"/>
                </a:cubicBezTo>
                <a:close/>
                <a:moveTo>
                  <a:pt x="11875" y="21656"/>
                </a:moveTo>
                <a:cubicBezTo>
                  <a:pt x="11906" y="21624"/>
                  <a:pt x="11906" y="21624"/>
                  <a:pt x="11875" y="21624"/>
                </a:cubicBezTo>
                <a:cubicBezTo>
                  <a:pt x="11844" y="21593"/>
                  <a:pt x="11844" y="21593"/>
                  <a:pt x="11844" y="21593"/>
                </a:cubicBezTo>
                <a:cubicBezTo>
                  <a:pt x="11844" y="21531"/>
                  <a:pt x="11875" y="21562"/>
                  <a:pt x="11906" y="21562"/>
                </a:cubicBezTo>
                <a:cubicBezTo>
                  <a:pt x="11938" y="21531"/>
                  <a:pt x="11969" y="21562"/>
                  <a:pt x="12031" y="21531"/>
                </a:cubicBezTo>
                <a:cubicBezTo>
                  <a:pt x="11969" y="21562"/>
                  <a:pt x="12000" y="21718"/>
                  <a:pt x="11875" y="21656"/>
                </a:cubicBezTo>
                <a:close/>
                <a:moveTo>
                  <a:pt x="11688" y="20843"/>
                </a:moveTo>
                <a:cubicBezTo>
                  <a:pt x="11719" y="20843"/>
                  <a:pt x="11719" y="20874"/>
                  <a:pt x="11719" y="20906"/>
                </a:cubicBezTo>
                <a:cubicBezTo>
                  <a:pt x="11688" y="20937"/>
                  <a:pt x="11688" y="20968"/>
                  <a:pt x="11688" y="20999"/>
                </a:cubicBezTo>
                <a:cubicBezTo>
                  <a:pt x="11656" y="21031"/>
                  <a:pt x="11656" y="21062"/>
                  <a:pt x="11688" y="21062"/>
                </a:cubicBezTo>
                <a:cubicBezTo>
                  <a:pt x="11719" y="21062"/>
                  <a:pt x="11750" y="21062"/>
                  <a:pt x="11750" y="21031"/>
                </a:cubicBezTo>
                <a:cubicBezTo>
                  <a:pt x="11750" y="20968"/>
                  <a:pt x="11781" y="20937"/>
                  <a:pt x="11781" y="20874"/>
                </a:cubicBezTo>
                <a:cubicBezTo>
                  <a:pt x="11781" y="20843"/>
                  <a:pt x="11781" y="20812"/>
                  <a:pt x="11813" y="20812"/>
                </a:cubicBezTo>
                <a:cubicBezTo>
                  <a:pt x="11844" y="20812"/>
                  <a:pt x="11844" y="20843"/>
                  <a:pt x="11844" y="20843"/>
                </a:cubicBezTo>
                <a:cubicBezTo>
                  <a:pt x="11938" y="20937"/>
                  <a:pt x="11938" y="20999"/>
                  <a:pt x="11875" y="21093"/>
                </a:cubicBezTo>
                <a:cubicBezTo>
                  <a:pt x="11844" y="21124"/>
                  <a:pt x="11813" y="21156"/>
                  <a:pt x="11781" y="21156"/>
                </a:cubicBezTo>
                <a:cubicBezTo>
                  <a:pt x="11719" y="21187"/>
                  <a:pt x="11656" y="21093"/>
                  <a:pt x="11563" y="21124"/>
                </a:cubicBezTo>
                <a:cubicBezTo>
                  <a:pt x="11531" y="21156"/>
                  <a:pt x="11500" y="20999"/>
                  <a:pt x="11563" y="20937"/>
                </a:cubicBezTo>
                <a:cubicBezTo>
                  <a:pt x="11563" y="20906"/>
                  <a:pt x="11531" y="20906"/>
                  <a:pt x="11500" y="20906"/>
                </a:cubicBezTo>
                <a:cubicBezTo>
                  <a:pt x="11500" y="20906"/>
                  <a:pt x="11469" y="20968"/>
                  <a:pt x="11438" y="20906"/>
                </a:cubicBezTo>
                <a:cubicBezTo>
                  <a:pt x="11406" y="20874"/>
                  <a:pt x="11469" y="20874"/>
                  <a:pt x="11469" y="20843"/>
                </a:cubicBezTo>
                <a:cubicBezTo>
                  <a:pt x="11469" y="20812"/>
                  <a:pt x="11500" y="20812"/>
                  <a:pt x="11500" y="20781"/>
                </a:cubicBezTo>
                <a:cubicBezTo>
                  <a:pt x="11500" y="20781"/>
                  <a:pt x="11500" y="20781"/>
                  <a:pt x="11500" y="20781"/>
                </a:cubicBezTo>
                <a:cubicBezTo>
                  <a:pt x="11500" y="20781"/>
                  <a:pt x="11500" y="20781"/>
                  <a:pt x="11500" y="20781"/>
                </a:cubicBezTo>
                <a:cubicBezTo>
                  <a:pt x="11531" y="20749"/>
                  <a:pt x="11563" y="20749"/>
                  <a:pt x="11594" y="20718"/>
                </a:cubicBezTo>
                <a:cubicBezTo>
                  <a:pt x="11656" y="20718"/>
                  <a:pt x="11656" y="20749"/>
                  <a:pt x="11656" y="20781"/>
                </a:cubicBezTo>
                <a:cubicBezTo>
                  <a:pt x="11625" y="20781"/>
                  <a:pt x="11625" y="20812"/>
                  <a:pt x="11594" y="20812"/>
                </a:cubicBezTo>
                <a:cubicBezTo>
                  <a:pt x="11594" y="20843"/>
                  <a:pt x="11594" y="20874"/>
                  <a:pt x="11594" y="20874"/>
                </a:cubicBezTo>
                <a:cubicBezTo>
                  <a:pt x="11625" y="20906"/>
                  <a:pt x="11656" y="20874"/>
                  <a:pt x="11656" y="20874"/>
                </a:cubicBezTo>
                <a:cubicBezTo>
                  <a:pt x="11656" y="20843"/>
                  <a:pt x="11656" y="20812"/>
                  <a:pt x="11688" y="20843"/>
                </a:cubicBezTo>
                <a:close/>
                <a:moveTo>
                  <a:pt x="11594" y="21749"/>
                </a:moveTo>
                <a:cubicBezTo>
                  <a:pt x="11625" y="21718"/>
                  <a:pt x="11625" y="21687"/>
                  <a:pt x="11594" y="21656"/>
                </a:cubicBezTo>
                <a:cubicBezTo>
                  <a:pt x="11594" y="21624"/>
                  <a:pt x="11625" y="21593"/>
                  <a:pt x="11656" y="21593"/>
                </a:cubicBezTo>
                <a:cubicBezTo>
                  <a:pt x="11688" y="21562"/>
                  <a:pt x="11719" y="21562"/>
                  <a:pt x="11719" y="21624"/>
                </a:cubicBezTo>
                <a:cubicBezTo>
                  <a:pt x="11719" y="21656"/>
                  <a:pt x="11781" y="21656"/>
                  <a:pt x="11781" y="21718"/>
                </a:cubicBezTo>
                <a:cubicBezTo>
                  <a:pt x="11781" y="21749"/>
                  <a:pt x="11844" y="21781"/>
                  <a:pt x="11813" y="21781"/>
                </a:cubicBezTo>
                <a:cubicBezTo>
                  <a:pt x="11750" y="21812"/>
                  <a:pt x="11750" y="21874"/>
                  <a:pt x="11688" y="21843"/>
                </a:cubicBezTo>
                <a:cubicBezTo>
                  <a:pt x="11563" y="21843"/>
                  <a:pt x="11563" y="21843"/>
                  <a:pt x="11594" y="21749"/>
                </a:cubicBezTo>
                <a:close/>
                <a:moveTo>
                  <a:pt x="11594" y="21999"/>
                </a:moveTo>
                <a:cubicBezTo>
                  <a:pt x="11563" y="21968"/>
                  <a:pt x="11563" y="21937"/>
                  <a:pt x="11594" y="21906"/>
                </a:cubicBezTo>
                <a:cubicBezTo>
                  <a:pt x="11594" y="21906"/>
                  <a:pt x="11625" y="21906"/>
                  <a:pt x="11625" y="21906"/>
                </a:cubicBezTo>
                <a:cubicBezTo>
                  <a:pt x="11656" y="21968"/>
                  <a:pt x="11594" y="21968"/>
                  <a:pt x="11594" y="21999"/>
                </a:cubicBezTo>
                <a:close/>
                <a:moveTo>
                  <a:pt x="11625" y="20656"/>
                </a:moveTo>
                <a:cubicBezTo>
                  <a:pt x="11625" y="20656"/>
                  <a:pt x="11625" y="20656"/>
                  <a:pt x="11656" y="20656"/>
                </a:cubicBezTo>
                <a:cubicBezTo>
                  <a:pt x="11625" y="20656"/>
                  <a:pt x="11625" y="20656"/>
                  <a:pt x="11625" y="20656"/>
                </a:cubicBezTo>
                <a:close/>
                <a:moveTo>
                  <a:pt x="11563" y="16874"/>
                </a:moveTo>
                <a:cubicBezTo>
                  <a:pt x="11594" y="16874"/>
                  <a:pt x="11656" y="16906"/>
                  <a:pt x="11656" y="16937"/>
                </a:cubicBezTo>
                <a:cubicBezTo>
                  <a:pt x="11625" y="16999"/>
                  <a:pt x="11563" y="17031"/>
                  <a:pt x="11500" y="17031"/>
                </a:cubicBezTo>
                <a:cubicBezTo>
                  <a:pt x="11438" y="17031"/>
                  <a:pt x="11469" y="16968"/>
                  <a:pt x="11469" y="16968"/>
                </a:cubicBezTo>
                <a:cubicBezTo>
                  <a:pt x="11438" y="16843"/>
                  <a:pt x="11531" y="16874"/>
                  <a:pt x="11563" y="16874"/>
                </a:cubicBezTo>
                <a:close/>
                <a:moveTo>
                  <a:pt x="11438" y="17624"/>
                </a:moveTo>
                <a:cubicBezTo>
                  <a:pt x="11438" y="17593"/>
                  <a:pt x="11438" y="17499"/>
                  <a:pt x="11531" y="17531"/>
                </a:cubicBezTo>
                <a:cubicBezTo>
                  <a:pt x="11563" y="17562"/>
                  <a:pt x="11563" y="17499"/>
                  <a:pt x="11594" y="17499"/>
                </a:cubicBezTo>
                <a:cubicBezTo>
                  <a:pt x="11594" y="17499"/>
                  <a:pt x="11594" y="17499"/>
                  <a:pt x="11594" y="17531"/>
                </a:cubicBezTo>
                <a:cubicBezTo>
                  <a:pt x="11625" y="17562"/>
                  <a:pt x="11688" y="17593"/>
                  <a:pt x="11656" y="17656"/>
                </a:cubicBezTo>
                <a:cubicBezTo>
                  <a:pt x="11625" y="17687"/>
                  <a:pt x="11563" y="17656"/>
                  <a:pt x="11531" y="17687"/>
                </a:cubicBezTo>
                <a:cubicBezTo>
                  <a:pt x="11469" y="17687"/>
                  <a:pt x="11406" y="17687"/>
                  <a:pt x="11438" y="17624"/>
                </a:cubicBezTo>
                <a:close/>
                <a:moveTo>
                  <a:pt x="11469" y="20749"/>
                </a:moveTo>
                <a:cubicBezTo>
                  <a:pt x="11438" y="20781"/>
                  <a:pt x="11406" y="20812"/>
                  <a:pt x="11375" y="20781"/>
                </a:cubicBezTo>
                <a:cubicBezTo>
                  <a:pt x="11375" y="20781"/>
                  <a:pt x="11344" y="20749"/>
                  <a:pt x="11375" y="20749"/>
                </a:cubicBezTo>
                <a:cubicBezTo>
                  <a:pt x="11375" y="20718"/>
                  <a:pt x="11406" y="20749"/>
                  <a:pt x="11469" y="20749"/>
                </a:cubicBezTo>
                <a:close/>
                <a:moveTo>
                  <a:pt x="11344" y="17281"/>
                </a:moveTo>
                <a:cubicBezTo>
                  <a:pt x="11344" y="17281"/>
                  <a:pt x="11313" y="17281"/>
                  <a:pt x="11313" y="17281"/>
                </a:cubicBezTo>
                <a:cubicBezTo>
                  <a:pt x="11313" y="17281"/>
                  <a:pt x="11344" y="17281"/>
                  <a:pt x="11344" y="17281"/>
                </a:cubicBezTo>
                <a:close/>
                <a:moveTo>
                  <a:pt x="11188" y="17249"/>
                </a:moveTo>
                <a:cubicBezTo>
                  <a:pt x="11156" y="17249"/>
                  <a:pt x="11125" y="17249"/>
                  <a:pt x="11125" y="17281"/>
                </a:cubicBezTo>
                <a:cubicBezTo>
                  <a:pt x="11125" y="17249"/>
                  <a:pt x="11156" y="17249"/>
                  <a:pt x="11188" y="17249"/>
                </a:cubicBezTo>
                <a:close/>
                <a:moveTo>
                  <a:pt x="11063" y="17312"/>
                </a:moveTo>
                <a:cubicBezTo>
                  <a:pt x="11063" y="17312"/>
                  <a:pt x="11094" y="17312"/>
                  <a:pt x="11125" y="17312"/>
                </a:cubicBezTo>
                <a:cubicBezTo>
                  <a:pt x="11125" y="17312"/>
                  <a:pt x="11125" y="17312"/>
                  <a:pt x="11125" y="17312"/>
                </a:cubicBezTo>
                <a:cubicBezTo>
                  <a:pt x="11125" y="17312"/>
                  <a:pt x="11125" y="17312"/>
                  <a:pt x="11125" y="17312"/>
                </a:cubicBezTo>
                <a:cubicBezTo>
                  <a:pt x="11125" y="17312"/>
                  <a:pt x="11125" y="17312"/>
                  <a:pt x="11125" y="17312"/>
                </a:cubicBezTo>
                <a:cubicBezTo>
                  <a:pt x="11156" y="17249"/>
                  <a:pt x="11188" y="17281"/>
                  <a:pt x="11219" y="17281"/>
                </a:cubicBezTo>
                <a:cubicBezTo>
                  <a:pt x="11250" y="17281"/>
                  <a:pt x="11250" y="17281"/>
                  <a:pt x="11281" y="17281"/>
                </a:cubicBezTo>
                <a:cubicBezTo>
                  <a:pt x="11281" y="17281"/>
                  <a:pt x="11281" y="17281"/>
                  <a:pt x="11281" y="17281"/>
                </a:cubicBezTo>
                <a:cubicBezTo>
                  <a:pt x="11313" y="17281"/>
                  <a:pt x="11344" y="17281"/>
                  <a:pt x="11375" y="17312"/>
                </a:cubicBezTo>
                <a:cubicBezTo>
                  <a:pt x="11344" y="17312"/>
                  <a:pt x="11344" y="17312"/>
                  <a:pt x="11344" y="17343"/>
                </a:cubicBezTo>
                <a:cubicBezTo>
                  <a:pt x="11313" y="17374"/>
                  <a:pt x="11281" y="17374"/>
                  <a:pt x="11250" y="17343"/>
                </a:cubicBezTo>
                <a:cubicBezTo>
                  <a:pt x="11219" y="17312"/>
                  <a:pt x="11188" y="17312"/>
                  <a:pt x="11125" y="17312"/>
                </a:cubicBezTo>
                <a:cubicBezTo>
                  <a:pt x="11188" y="17343"/>
                  <a:pt x="11250" y="17374"/>
                  <a:pt x="11313" y="17374"/>
                </a:cubicBezTo>
                <a:cubicBezTo>
                  <a:pt x="11250" y="17437"/>
                  <a:pt x="11313" y="17499"/>
                  <a:pt x="11344" y="17531"/>
                </a:cubicBezTo>
                <a:cubicBezTo>
                  <a:pt x="11406" y="17593"/>
                  <a:pt x="11344" y="17656"/>
                  <a:pt x="11313" y="17656"/>
                </a:cubicBezTo>
                <a:cubicBezTo>
                  <a:pt x="11281" y="17687"/>
                  <a:pt x="11219" y="17718"/>
                  <a:pt x="11156" y="17656"/>
                </a:cubicBezTo>
                <a:cubicBezTo>
                  <a:pt x="11125" y="17562"/>
                  <a:pt x="11063" y="17468"/>
                  <a:pt x="11000" y="17374"/>
                </a:cubicBezTo>
                <a:cubicBezTo>
                  <a:pt x="10969" y="17312"/>
                  <a:pt x="11000" y="17312"/>
                  <a:pt x="11063" y="17312"/>
                </a:cubicBezTo>
                <a:close/>
                <a:moveTo>
                  <a:pt x="11250" y="21031"/>
                </a:moveTo>
                <a:cubicBezTo>
                  <a:pt x="11250" y="20999"/>
                  <a:pt x="11313" y="20968"/>
                  <a:pt x="11313" y="20968"/>
                </a:cubicBezTo>
                <a:cubicBezTo>
                  <a:pt x="11344" y="20937"/>
                  <a:pt x="11375" y="20968"/>
                  <a:pt x="11344" y="20968"/>
                </a:cubicBezTo>
                <a:cubicBezTo>
                  <a:pt x="11344" y="21031"/>
                  <a:pt x="11344" y="21062"/>
                  <a:pt x="11281" y="21062"/>
                </a:cubicBezTo>
                <a:cubicBezTo>
                  <a:pt x="11281" y="21062"/>
                  <a:pt x="11219" y="21062"/>
                  <a:pt x="11250" y="21031"/>
                </a:cubicBezTo>
                <a:close/>
                <a:moveTo>
                  <a:pt x="11156" y="20999"/>
                </a:moveTo>
                <a:cubicBezTo>
                  <a:pt x="11125" y="20999"/>
                  <a:pt x="11125" y="20968"/>
                  <a:pt x="11125" y="20968"/>
                </a:cubicBezTo>
                <a:cubicBezTo>
                  <a:pt x="11156" y="20906"/>
                  <a:pt x="11188" y="20843"/>
                  <a:pt x="11188" y="20781"/>
                </a:cubicBezTo>
                <a:cubicBezTo>
                  <a:pt x="11188" y="20749"/>
                  <a:pt x="11219" y="20749"/>
                  <a:pt x="11219" y="20749"/>
                </a:cubicBezTo>
                <a:cubicBezTo>
                  <a:pt x="11250" y="20749"/>
                  <a:pt x="11250" y="20749"/>
                  <a:pt x="11250" y="20781"/>
                </a:cubicBezTo>
                <a:cubicBezTo>
                  <a:pt x="11281" y="20812"/>
                  <a:pt x="11281" y="20843"/>
                  <a:pt x="11313" y="20843"/>
                </a:cubicBezTo>
                <a:cubicBezTo>
                  <a:pt x="11313" y="20874"/>
                  <a:pt x="11188" y="20999"/>
                  <a:pt x="11156" y="20999"/>
                </a:cubicBezTo>
                <a:close/>
                <a:moveTo>
                  <a:pt x="11031" y="22281"/>
                </a:moveTo>
                <a:cubicBezTo>
                  <a:pt x="11031" y="22281"/>
                  <a:pt x="11031" y="22312"/>
                  <a:pt x="11000" y="22312"/>
                </a:cubicBezTo>
                <a:cubicBezTo>
                  <a:pt x="10969" y="22312"/>
                  <a:pt x="10938" y="22312"/>
                  <a:pt x="10906" y="22249"/>
                </a:cubicBezTo>
                <a:cubicBezTo>
                  <a:pt x="10969" y="22249"/>
                  <a:pt x="11000" y="22249"/>
                  <a:pt x="11031" y="22281"/>
                </a:cubicBezTo>
                <a:close/>
                <a:moveTo>
                  <a:pt x="11000" y="21687"/>
                </a:moveTo>
                <a:cubicBezTo>
                  <a:pt x="11000" y="21749"/>
                  <a:pt x="11000" y="21812"/>
                  <a:pt x="10969" y="21874"/>
                </a:cubicBezTo>
                <a:cubicBezTo>
                  <a:pt x="10906" y="21781"/>
                  <a:pt x="10969" y="21749"/>
                  <a:pt x="11000" y="21687"/>
                </a:cubicBezTo>
                <a:close/>
                <a:moveTo>
                  <a:pt x="11000" y="20937"/>
                </a:moveTo>
                <a:cubicBezTo>
                  <a:pt x="11000" y="20937"/>
                  <a:pt x="11000" y="20968"/>
                  <a:pt x="11000" y="20999"/>
                </a:cubicBezTo>
                <a:cubicBezTo>
                  <a:pt x="10969" y="20999"/>
                  <a:pt x="10969" y="21062"/>
                  <a:pt x="10938" y="21062"/>
                </a:cubicBezTo>
                <a:cubicBezTo>
                  <a:pt x="10906" y="21062"/>
                  <a:pt x="10906" y="21031"/>
                  <a:pt x="10875" y="20999"/>
                </a:cubicBezTo>
                <a:cubicBezTo>
                  <a:pt x="10875" y="20968"/>
                  <a:pt x="10844" y="20937"/>
                  <a:pt x="10875" y="20906"/>
                </a:cubicBezTo>
                <a:cubicBezTo>
                  <a:pt x="10969" y="20843"/>
                  <a:pt x="11031" y="20812"/>
                  <a:pt x="11125" y="20718"/>
                </a:cubicBezTo>
                <a:cubicBezTo>
                  <a:pt x="11125" y="20843"/>
                  <a:pt x="11063" y="20937"/>
                  <a:pt x="11063" y="21062"/>
                </a:cubicBezTo>
                <a:cubicBezTo>
                  <a:pt x="11000" y="21031"/>
                  <a:pt x="11031" y="20968"/>
                  <a:pt x="11000" y="20937"/>
                </a:cubicBezTo>
                <a:close/>
                <a:moveTo>
                  <a:pt x="10375" y="21562"/>
                </a:moveTo>
                <a:cubicBezTo>
                  <a:pt x="10469" y="21562"/>
                  <a:pt x="10438" y="21656"/>
                  <a:pt x="10500" y="21656"/>
                </a:cubicBezTo>
                <a:cubicBezTo>
                  <a:pt x="10469" y="21718"/>
                  <a:pt x="10406" y="21718"/>
                  <a:pt x="10375" y="21718"/>
                </a:cubicBezTo>
                <a:cubicBezTo>
                  <a:pt x="10313" y="21718"/>
                  <a:pt x="10344" y="21656"/>
                  <a:pt x="10344" y="21624"/>
                </a:cubicBezTo>
                <a:cubicBezTo>
                  <a:pt x="10344" y="21593"/>
                  <a:pt x="10375" y="21593"/>
                  <a:pt x="10375" y="21562"/>
                </a:cubicBezTo>
                <a:cubicBezTo>
                  <a:pt x="10375" y="21499"/>
                  <a:pt x="10375" y="21437"/>
                  <a:pt x="10406" y="21437"/>
                </a:cubicBezTo>
                <a:cubicBezTo>
                  <a:pt x="10469" y="21437"/>
                  <a:pt x="10500" y="21499"/>
                  <a:pt x="10531" y="21562"/>
                </a:cubicBezTo>
                <a:cubicBezTo>
                  <a:pt x="10531" y="21562"/>
                  <a:pt x="10531" y="21562"/>
                  <a:pt x="10531" y="21562"/>
                </a:cubicBezTo>
                <a:cubicBezTo>
                  <a:pt x="10531" y="21562"/>
                  <a:pt x="10531" y="21562"/>
                  <a:pt x="10531" y="21562"/>
                </a:cubicBezTo>
                <a:cubicBezTo>
                  <a:pt x="10500" y="21562"/>
                  <a:pt x="10469" y="21624"/>
                  <a:pt x="10438" y="21562"/>
                </a:cubicBezTo>
                <a:cubicBezTo>
                  <a:pt x="10438" y="21531"/>
                  <a:pt x="10406" y="21531"/>
                  <a:pt x="10375" y="21562"/>
                </a:cubicBezTo>
                <a:cubicBezTo>
                  <a:pt x="10375" y="21562"/>
                  <a:pt x="10375" y="21562"/>
                  <a:pt x="10375" y="21562"/>
                </a:cubicBezTo>
                <a:close/>
                <a:moveTo>
                  <a:pt x="10313" y="20968"/>
                </a:moveTo>
                <a:cubicBezTo>
                  <a:pt x="10313" y="20843"/>
                  <a:pt x="10344" y="20749"/>
                  <a:pt x="10438" y="20687"/>
                </a:cubicBezTo>
                <a:cubicBezTo>
                  <a:pt x="10469" y="20687"/>
                  <a:pt x="10469" y="20656"/>
                  <a:pt x="10469" y="20656"/>
                </a:cubicBezTo>
                <a:cubicBezTo>
                  <a:pt x="10500" y="20656"/>
                  <a:pt x="10500" y="20687"/>
                  <a:pt x="10500" y="20687"/>
                </a:cubicBezTo>
                <a:cubicBezTo>
                  <a:pt x="10469" y="20781"/>
                  <a:pt x="10469" y="20906"/>
                  <a:pt x="10406" y="20968"/>
                </a:cubicBezTo>
                <a:cubicBezTo>
                  <a:pt x="10375" y="20999"/>
                  <a:pt x="10344" y="21031"/>
                  <a:pt x="10313" y="20968"/>
                </a:cubicBezTo>
                <a:close/>
                <a:moveTo>
                  <a:pt x="10500" y="21031"/>
                </a:moveTo>
                <a:cubicBezTo>
                  <a:pt x="10500" y="20968"/>
                  <a:pt x="10531" y="20968"/>
                  <a:pt x="10563" y="20937"/>
                </a:cubicBezTo>
                <a:cubicBezTo>
                  <a:pt x="10594" y="20906"/>
                  <a:pt x="10594" y="20906"/>
                  <a:pt x="10625" y="20874"/>
                </a:cubicBezTo>
                <a:cubicBezTo>
                  <a:pt x="10656" y="20874"/>
                  <a:pt x="10688" y="20812"/>
                  <a:pt x="10688" y="20874"/>
                </a:cubicBezTo>
                <a:cubicBezTo>
                  <a:pt x="10719" y="20906"/>
                  <a:pt x="10750" y="20906"/>
                  <a:pt x="10719" y="20968"/>
                </a:cubicBezTo>
                <a:cubicBezTo>
                  <a:pt x="10688" y="20999"/>
                  <a:pt x="10625" y="21031"/>
                  <a:pt x="10594" y="21031"/>
                </a:cubicBezTo>
                <a:cubicBezTo>
                  <a:pt x="10563" y="21031"/>
                  <a:pt x="10500" y="21031"/>
                  <a:pt x="10500" y="21031"/>
                </a:cubicBezTo>
                <a:close/>
                <a:moveTo>
                  <a:pt x="10531" y="20812"/>
                </a:moveTo>
                <a:cubicBezTo>
                  <a:pt x="10531" y="20749"/>
                  <a:pt x="10563" y="20718"/>
                  <a:pt x="10594" y="20656"/>
                </a:cubicBezTo>
                <a:cubicBezTo>
                  <a:pt x="10656" y="20718"/>
                  <a:pt x="10656" y="20781"/>
                  <a:pt x="10594" y="20843"/>
                </a:cubicBezTo>
                <a:cubicBezTo>
                  <a:pt x="10563" y="20843"/>
                  <a:pt x="10563" y="20843"/>
                  <a:pt x="10531" y="20843"/>
                </a:cubicBezTo>
                <a:cubicBezTo>
                  <a:pt x="10500" y="20843"/>
                  <a:pt x="10531" y="20812"/>
                  <a:pt x="10531" y="20812"/>
                </a:cubicBezTo>
                <a:close/>
                <a:moveTo>
                  <a:pt x="10813" y="21468"/>
                </a:moveTo>
                <a:cubicBezTo>
                  <a:pt x="10750" y="21499"/>
                  <a:pt x="10688" y="21562"/>
                  <a:pt x="10656" y="21624"/>
                </a:cubicBezTo>
                <a:cubicBezTo>
                  <a:pt x="10625" y="21562"/>
                  <a:pt x="10625" y="21499"/>
                  <a:pt x="10656" y="21437"/>
                </a:cubicBezTo>
                <a:cubicBezTo>
                  <a:pt x="10719" y="21374"/>
                  <a:pt x="10750" y="21468"/>
                  <a:pt x="10813" y="21468"/>
                </a:cubicBezTo>
                <a:close/>
                <a:moveTo>
                  <a:pt x="10625" y="21749"/>
                </a:moveTo>
                <a:cubicBezTo>
                  <a:pt x="10688" y="21781"/>
                  <a:pt x="10688" y="21843"/>
                  <a:pt x="10719" y="21906"/>
                </a:cubicBezTo>
                <a:cubicBezTo>
                  <a:pt x="10625" y="21906"/>
                  <a:pt x="10594" y="21874"/>
                  <a:pt x="10625" y="21749"/>
                </a:cubicBezTo>
                <a:close/>
                <a:moveTo>
                  <a:pt x="10719" y="21656"/>
                </a:moveTo>
                <a:cubicBezTo>
                  <a:pt x="10750" y="21624"/>
                  <a:pt x="10750" y="21562"/>
                  <a:pt x="10813" y="21562"/>
                </a:cubicBezTo>
                <a:cubicBezTo>
                  <a:pt x="10844" y="21562"/>
                  <a:pt x="10844" y="21624"/>
                  <a:pt x="10844" y="21624"/>
                </a:cubicBezTo>
                <a:cubicBezTo>
                  <a:pt x="10813" y="21656"/>
                  <a:pt x="10781" y="21687"/>
                  <a:pt x="10719" y="21656"/>
                </a:cubicBezTo>
                <a:close/>
                <a:moveTo>
                  <a:pt x="10781" y="20874"/>
                </a:moveTo>
                <a:cubicBezTo>
                  <a:pt x="10781" y="20843"/>
                  <a:pt x="10719" y="20812"/>
                  <a:pt x="10781" y="20749"/>
                </a:cubicBezTo>
                <a:cubicBezTo>
                  <a:pt x="10844" y="20718"/>
                  <a:pt x="10875" y="20656"/>
                  <a:pt x="10938" y="20656"/>
                </a:cubicBezTo>
                <a:cubicBezTo>
                  <a:pt x="10969" y="20687"/>
                  <a:pt x="11031" y="20656"/>
                  <a:pt x="11031" y="20687"/>
                </a:cubicBezTo>
                <a:cubicBezTo>
                  <a:pt x="11031" y="20718"/>
                  <a:pt x="11000" y="20749"/>
                  <a:pt x="10969" y="20749"/>
                </a:cubicBezTo>
                <a:cubicBezTo>
                  <a:pt x="10938" y="20781"/>
                  <a:pt x="10906" y="20812"/>
                  <a:pt x="10844" y="20843"/>
                </a:cubicBezTo>
                <a:cubicBezTo>
                  <a:pt x="10844" y="20874"/>
                  <a:pt x="10813" y="20906"/>
                  <a:pt x="10781" y="20874"/>
                </a:cubicBezTo>
                <a:close/>
                <a:moveTo>
                  <a:pt x="10563" y="17343"/>
                </a:moveTo>
                <a:cubicBezTo>
                  <a:pt x="10594" y="17374"/>
                  <a:pt x="10563" y="17406"/>
                  <a:pt x="10563" y="17406"/>
                </a:cubicBezTo>
                <a:cubicBezTo>
                  <a:pt x="10594" y="17437"/>
                  <a:pt x="10625" y="17437"/>
                  <a:pt x="10625" y="17437"/>
                </a:cubicBezTo>
                <a:cubicBezTo>
                  <a:pt x="10594" y="17343"/>
                  <a:pt x="10688" y="17374"/>
                  <a:pt x="10688" y="17343"/>
                </a:cubicBezTo>
                <a:cubicBezTo>
                  <a:pt x="10750" y="17281"/>
                  <a:pt x="10750" y="17312"/>
                  <a:pt x="10781" y="17343"/>
                </a:cubicBezTo>
                <a:cubicBezTo>
                  <a:pt x="10844" y="17468"/>
                  <a:pt x="10906" y="17562"/>
                  <a:pt x="11000" y="17687"/>
                </a:cubicBezTo>
                <a:cubicBezTo>
                  <a:pt x="11000" y="17687"/>
                  <a:pt x="11000" y="17718"/>
                  <a:pt x="10969" y="17749"/>
                </a:cubicBezTo>
                <a:cubicBezTo>
                  <a:pt x="10875" y="17781"/>
                  <a:pt x="10781" y="17718"/>
                  <a:pt x="10781" y="17624"/>
                </a:cubicBezTo>
                <a:cubicBezTo>
                  <a:pt x="10781" y="17562"/>
                  <a:pt x="10719" y="17562"/>
                  <a:pt x="10688" y="17531"/>
                </a:cubicBezTo>
                <a:cubicBezTo>
                  <a:pt x="10656" y="17531"/>
                  <a:pt x="10625" y="17593"/>
                  <a:pt x="10625" y="17624"/>
                </a:cubicBezTo>
                <a:cubicBezTo>
                  <a:pt x="10625" y="17624"/>
                  <a:pt x="10625" y="17656"/>
                  <a:pt x="10625" y="17656"/>
                </a:cubicBezTo>
                <a:cubicBezTo>
                  <a:pt x="10625" y="17687"/>
                  <a:pt x="10656" y="17749"/>
                  <a:pt x="10625" y="17749"/>
                </a:cubicBezTo>
                <a:cubicBezTo>
                  <a:pt x="10563" y="17749"/>
                  <a:pt x="10500" y="17749"/>
                  <a:pt x="10469" y="17687"/>
                </a:cubicBezTo>
                <a:cubicBezTo>
                  <a:pt x="10438" y="17656"/>
                  <a:pt x="10469" y="17624"/>
                  <a:pt x="10500" y="17593"/>
                </a:cubicBezTo>
                <a:cubicBezTo>
                  <a:pt x="10531" y="17562"/>
                  <a:pt x="10531" y="17499"/>
                  <a:pt x="10531" y="17468"/>
                </a:cubicBezTo>
                <a:cubicBezTo>
                  <a:pt x="10531" y="17437"/>
                  <a:pt x="10531" y="17374"/>
                  <a:pt x="10563" y="17343"/>
                </a:cubicBezTo>
                <a:close/>
                <a:moveTo>
                  <a:pt x="10313" y="17218"/>
                </a:moveTo>
                <a:cubicBezTo>
                  <a:pt x="10344" y="17218"/>
                  <a:pt x="10344" y="17218"/>
                  <a:pt x="10344" y="17218"/>
                </a:cubicBezTo>
                <a:cubicBezTo>
                  <a:pt x="10344" y="17187"/>
                  <a:pt x="10344" y="17187"/>
                  <a:pt x="10344" y="17187"/>
                </a:cubicBezTo>
                <a:cubicBezTo>
                  <a:pt x="10344" y="17187"/>
                  <a:pt x="10344" y="17218"/>
                  <a:pt x="10344" y="17218"/>
                </a:cubicBezTo>
                <a:cubicBezTo>
                  <a:pt x="10344" y="17218"/>
                  <a:pt x="10344" y="17187"/>
                  <a:pt x="10344" y="17187"/>
                </a:cubicBezTo>
                <a:cubicBezTo>
                  <a:pt x="10438" y="17156"/>
                  <a:pt x="10500" y="17187"/>
                  <a:pt x="10500" y="17281"/>
                </a:cubicBezTo>
                <a:cubicBezTo>
                  <a:pt x="10531" y="17312"/>
                  <a:pt x="10531" y="17343"/>
                  <a:pt x="10500" y="17343"/>
                </a:cubicBezTo>
                <a:cubicBezTo>
                  <a:pt x="10375" y="17281"/>
                  <a:pt x="10406" y="17406"/>
                  <a:pt x="10375" y="17437"/>
                </a:cubicBezTo>
                <a:cubicBezTo>
                  <a:pt x="10313" y="17374"/>
                  <a:pt x="10344" y="17281"/>
                  <a:pt x="10313" y="17218"/>
                </a:cubicBezTo>
                <a:close/>
                <a:moveTo>
                  <a:pt x="10188" y="20593"/>
                </a:moveTo>
                <a:cubicBezTo>
                  <a:pt x="10219" y="20656"/>
                  <a:pt x="10250" y="20593"/>
                  <a:pt x="10313" y="20593"/>
                </a:cubicBezTo>
                <a:cubicBezTo>
                  <a:pt x="10344" y="20593"/>
                  <a:pt x="10375" y="20593"/>
                  <a:pt x="10344" y="20656"/>
                </a:cubicBezTo>
                <a:cubicBezTo>
                  <a:pt x="10344" y="20687"/>
                  <a:pt x="10281" y="20718"/>
                  <a:pt x="10281" y="20718"/>
                </a:cubicBezTo>
                <a:cubicBezTo>
                  <a:pt x="10188" y="20812"/>
                  <a:pt x="10156" y="20812"/>
                  <a:pt x="10125" y="20687"/>
                </a:cubicBezTo>
                <a:cubicBezTo>
                  <a:pt x="10094" y="20656"/>
                  <a:pt x="10156" y="20593"/>
                  <a:pt x="10188" y="20593"/>
                </a:cubicBezTo>
                <a:close/>
                <a:moveTo>
                  <a:pt x="10281" y="21437"/>
                </a:moveTo>
                <a:cubicBezTo>
                  <a:pt x="10313" y="21531"/>
                  <a:pt x="10250" y="21562"/>
                  <a:pt x="10219" y="21593"/>
                </a:cubicBezTo>
                <a:cubicBezTo>
                  <a:pt x="10219" y="21624"/>
                  <a:pt x="10188" y="21624"/>
                  <a:pt x="10188" y="21624"/>
                </a:cubicBezTo>
                <a:cubicBezTo>
                  <a:pt x="10156" y="21624"/>
                  <a:pt x="10156" y="21593"/>
                  <a:pt x="10125" y="21562"/>
                </a:cubicBezTo>
                <a:cubicBezTo>
                  <a:pt x="10188" y="21562"/>
                  <a:pt x="10156" y="21499"/>
                  <a:pt x="10219" y="21499"/>
                </a:cubicBezTo>
                <a:cubicBezTo>
                  <a:pt x="10219" y="21468"/>
                  <a:pt x="10281" y="21499"/>
                  <a:pt x="10281" y="21437"/>
                </a:cubicBezTo>
                <a:close/>
                <a:moveTo>
                  <a:pt x="9969" y="20781"/>
                </a:moveTo>
                <a:cubicBezTo>
                  <a:pt x="10000" y="20749"/>
                  <a:pt x="10031" y="20812"/>
                  <a:pt x="10031" y="20843"/>
                </a:cubicBezTo>
                <a:cubicBezTo>
                  <a:pt x="10063" y="20874"/>
                  <a:pt x="10063" y="20906"/>
                  <a:pt x="10031" y="20937"/>
                </a:cubicBezTo>
                <a:cubicBezTo>
                  <a:pt x="10000" y="20937"/>
                  <a:pt x="10000" y="20999"/>
                  <a:pt x="9969" y="20937"/>
                </a:cubicBezTo>
                <a:cubicBezTo>
                  <a:pt x="9938" y="20906"/>
                  <a:pt x="9906" y="20937"/>
                  <a:pt x="9906" y="20937"/>
                </a:cubicBezTo>
                <a:cubicBezTo>
                  <a:pt x="9875" y="20968"/>
                  <a:pt x="9844" y="20937"/>
                  <a:pt x="9844" y="20906"/>
                </a:cubicBezTo>
                <a:cubicBezTo>
                  <a:pt x="9844" y="20843"/>
                  <a:pt x="9906" y="20781"/>
                  <a:pt x="9969" y="20781"/>
                </a:cubicBezTo>
                <a:close/>
                <a:moveTo>
                  <a:pt x="9906" y="21343"/>
                </a:moveTo>
                <a:cubicBezTo>
                  <a:pt x="9844" y="21343"/>
                  <a:pt x="9844" y="21249"/>
                  <a:pt x="9813" y="21218"/>
                </a:cubicBezTo>
                <a:cubicBezTo>
                  <a:pt x="9813" y="21187"/>
                  <a:pt x="9844" y="21156"/>
                  <a:pt x="9875" y="21156"/>
                </a:cubicBezTo>
                <a:cubicBezTo>
                  <a:pt x="9938" y="21156"/>
                  <a:pt x="10031" y="21249"/>
                  <a:pt x="10031" y="21312"/>
                </a:cubicBezTo>
                <a:cubicBezTo>
                  <a:pt x="10031" y="21374"/>
                  <a:pt x="9938" y="21343"/>
                  <a:pt x="9906" y="21343"/>
                </a:cubicBezTo>
                <a:close/>
                <a:moveTo>
                  <a:pt x="10000" y="21749"/>
                </a:moveTo>
                <a:cubicBezTo>
                  <a:pt x="9969" y="21812"/>
                  <a:pt x="9906" y="21749"/>
                  <a:pt x="9875" y="21781"/>
                </a:cubicBezTo>
                <a:cubicBezTo>
                  <a:pt x="9875" y="21812"/>
                  <a:pt x="9844" y="21781"/>
                  <a:pt x="9844" y="21781"/>
                </a:cubicBezTo>
                <a:cubicBezTo>
                  <a:pt x="9844" y="21718"/>
                  <a:pt x="9906" y="21718"/>
                  <a:pt x="9938" y="21718"/>
                </a:cubicBezTo>
                <a:cubicBezTo>
                  <a:pt x="9969" y="21718"/>
                  <a:pt x="10000" y="21687"/>
                  <a:pt x="10000" y="21749"/>
                </a:cubicBezTo>
                <a:close/>
                <a:moveTo>
                  <a:pt x="9719" y="20874"/>
                </a:moveTo>
                <a:cubicBezTo>
                  <a:pt x="9688" y="20874"/>
                  <a:pt x="9656" y="20937"/>
                  <a:pt x="9625" y="20874"/>
                </a:cubicBezTo>
                <a:cubicBezTo>
                  <a:pt x="9594" y="20843"/>
                  <a:pt x="9594" y="20781"/>
                  <a:pt x="9625" y="20749"/>
                </a:cubicBezTo>
                <a:cubicBezTo>
                  <a:pt x="9688" y="20687"/>
                  <a:pt x="9750" y="20624"/>
                  <a:pt x="9844" y="20562"/>
                </a:cubicBezTo>
                <a:cubicBezTo>
                  <a:pt x="9844" y="20687"/>
                  <a:pt x="9844" y="20812"/>
                  <a:pt x="9719" y="20874"/>
                </a:cubicBezTo>
                <a:close/>
                <a:moveTo>
                  <a:pt x="9719" y="21624"/>
                </a:moveTo>
                <a:cubicBezTo>
                  <a:pt x="9688" y="21624"/>
                  <a:pt x="9688" y="21624"/>
                  <a:pt x="9688" y="21593"/>
                </a:cubicBezTo>
                <a:cubicBezTo>
                  <a:pt x="9688" y="21531"/>
                  <a:pt x="9750" y="21531"/>
                  <a:pt x="9781" y="21531"/>
                </a:cubicBezTo>
                <a:cubicBezTo>
                  <a:pt x="9781" y="21499"/>
                  <a:pt x="9781" y="21531"/>
                  <a:pt x="9781" y="21562"/>
                </a:cubicBezTo>
                <a:cubicBezTo>
                  <a:pt x="9813" y="21593"/>
                  <a:pt x="9750" y="21624"/>
                  <a:pt x="9719" y="21624"/>
                </a:cubicBezTo>
                <a:close/>
                <a:moveTo>
                  <a:pt x="9781" y="21687"/>
                </a:moveTo>
                <a:cubicBezTo>
                  <a:pt x="9813" y="21749"/>
                  <a:pt x="9750" y="21749"/>
                  <a:pt x="9719" y="21812"/>
                </a:cubicBezTo>
                <a:cubicBezTo>
                  <a:pt x="9688" y="21718"/>
                  <a:pt x="9719" y="21687"/>
                  <a:pt x="9750" y="21656"/>
                </a:cubicBezTo>
                <a:cubicBezTo>
                  <a:pt x="9781" y="21656"/>
                  <a:pt x="9781" y="21656"/>
                  <a:pt x="9781" y="21687"/>
                </a:cubicBezTo>
                <a:close/>
                <a:moveTo>
                  <a:pt x="9813" y="20531"/>
                </a:moveTo>
                <a:cubicBezTo>
                  <a:pt x="9750" y="20562"/>
                  <a:pt x="9719" y="20593"/>
                  <a:pt x="9688" y="20624"/>
                </a:cubicBezTo>
                <a:cubicBezTo>
                  <a:pt x="9656" y="20499"/>
                  <a:pt x="9656" y="20499"/>
                  <a:pt x="9813" y="20531"/>
                </a:cubicBezTo>
                <a:close/>
                <a:moveTo>
                  <a:pt x="9094" y="22156"/>
                </a:moveTo>
                <a:cubicBezTo>
                  <a:pt x="9094" y="22156"/>
                  <a:pt x="9094" y="22124"/>
                  <a:pt x="9094" y="22093"/>
                </a:cubicBezTo>
                <a:cubicBezTo>
                  <a:pt x="9094" y="22062"/>
                  <a:pt x="9063" y="22031"/>
                  <a:pt x="9094" y="21968"/>
                </a:cubicBezTo>
                <a:cubicBezTo>
                  <a:pt x="9125" y="21906"/>
                  <a:pt x="9188" y="21999"/>
                  <a:pt x="9250" y="21937"/>
                </a:cubicBezTo>
                <a:cubicBezTo>
                  <a:pt x="9250" y="21937"/>
                  <a:pt x="9281" y="21968"/>
                  <a:pt x="9281" y="21968"/>
                </a:cubicBezTo>
                <a:cubicBezTo>
                  <a:pt x="9281" y="21999"/>
                  <a:pt x="9281" y="22031"/>
                  <a:pt x="9313" y="21999"/>
                </a:cubicBezTo>
                <a:cubicBezTo>
                  <a:pt x="9344" y="21999"/>
                  <a:pt x="9375" y="22031"/>
                  <a:pt x="9344" y="22062"/>
                </a:cubicBezTo>
                <a:cubicBezTo>
                  <a:pt x="9313" y="22093"/>
                  <a:pt x="9281" y="22093"/>
                  <a:pt x="9219" y="22031"/>
                </a:cubicBezTo>
                <a:cubicBezTo>
                  <a:pt x="9219" y="22156"/>
                  <a:pt x="9188" y="22156"/>
                  <a:pt x="9094" y="22156"/>
                </a:cubicBezTo>
                <a:close/>
                <a:moveTo>
                  <a:pt x="9094" y="21281"/>
                </a:moveTo>
                <a:cubicBezTo>
                  <a:pt x="9094" y="21218"/>
                  <a:pt x="9125" y="21218"/>
                  <a:pt x="9156" y="21281"/>
                </a:cubicBezTo>
                <a:cubicBezTo>
                  <a:pt x="9188" y="21281"/>
                  <a:pt x="9188" y="21312"/>
                  <a:pt x="9188" y="21312"/>
                </a:cubicBezTo>
                <a:cubicBezTo>
                  <a:pt x="9219" y="21374"/>
                  <a:pt x="9281" y="21437"/>
                  <a:pt x="9250" y="21468"/>
                </a:cubicBezTo>
                <a:cubicBezTo>
                  <a:pt x="9219" y="21531"/>
                  <a:pt x="9125" y="21499"/>
                  <a:pt x="9094" y="21531"/>
                </a:cubicBezTo>
                <a:cubicBezTo>
                  <a:pt x="9031" y="21531"/>
                  <a:pt x="9031" y="21531"/>
                  <a:pt x="9031" y="21499"/>
                </a:cubicBezTo>
                <a:cubicBezTo>
                  <a:pt x="9063" y="21406"/>
                  <a:pt x="9063" y="21343"/>
                  <a:pt x="9094" y="21281"/>
                </a:cubicBezTo>
                <a:close/>
                <a:moveTo>
                  <a:pt x="9063" y="20843"/>
                </a:moveTo>
                <a:cubicBezTo>
                  <a:pt x="9063" y="20812"/>
                  <a:pt x="9094" y="20781"/>
                  <a:pt x="9156" y="20749"/>
                </a:cubicBezTo>
                <a:cubicBezTo>
                  <a:pt x="9125" y="20812"/>
                  <a:pt x="9156" y="20843"/>
                  <a:pt x="9094" y="20843"/>
                </a:cubicBezTo>
                <a:cubicBezTo>
                  <a:pt x="9063" y="20874"/>
                  <a:pt x="9031" y="20843"/>
                  <a:pt x="9063" y="20843"/>
                </a:cubicBezTo>
                <a:close/>
                <a:moveTo>
                  <a:pt x="9281" y="21687"/>
                </a:moveTo>
                <a:cubicBezTo>
                  <a:pt x="9281" y="21656"/>
                  <a:pt x="9281" y="21593"/>
                  <a:pt x="9313" y="21593"/>
                </a:cubicBezTo>
                <a:cubicBezTo>
                  <a:pt x="9375" y="21593"/>
                  <a:pt x="9375" y="21656"/>
                  <a:pt x="9406" y="21687"/>
                </a:cubicBezTo>
                <a:cubicBezTo>
                  <a:pt x="9344" y="21718"/>
                  <a:pt x="9313" y="21718"/>
                  <a:pt x="9281" y="21687"/>
                </a:cubicBezTo>
                <a:close/>
                <a:moveTo>
                  <a:pt x="9375" y="21437"/>
                </a:moveTo>
                <a:cubicBezTo>
                  <a:pt x="9313" y="21468"/>
                  <a:pt x="9313" y="21437"/>
                  <a:pt x="9313" y="21406"/>
                </a:cubicBezTo>
                <a:cubicBezTo>
                  <a:pt x="9313" y="21343"/>
                  <a:pt x="9219" y="21343"/>
                  <a:pt x="9250" y="21312"/>
                </a:cubicBezTo>
                <a:cubicBezTo>
                  <a:pt x="9250" y="21281"/>
                  <a:pt x="9188" y="21249"/>
                  <a:pt x="9250" y="21249"/>
                </a:cubicBezTo>
                <a:cubicBezTo>
                  <a:pt x="9250" y="21218"/>
                  <a:pt x="9281" y="21218"/>
                  <a:pt x="9313" y="21218"/>
                </a:cubicBezTo>
                <a:cubicBezTo>
                  <a:pt x="9375" y="21249"/>
                  <a:pt x="9406" y="21281"/>
                  <a:pt x="9469" y="21312"/>
                </a:cubicBezTo>
                <a:cubicBezTo>
                  <a:pt x="9469" y="21312"/>
                  <a:pt x="9500" y="21343"/>
                  <a:pt x="9500" y="21343"/>
                </a:cubicBezTo>
                <a:cubicBezTo>
                  <a:pt x="9469" y="21406"/>
                  <a:pt x="9406" y="21437"/>
                  <a:pt x="9375" y="21437"/>
                </a:cubicBezTo>
                <a:close/>
                <a:moveTo>
                  <a:pt x="9250" y="21093"/>
                </a:moveTo>
                <a:cubicBezTo>
                  <a:pt x="9281" y="21093"/>
                  <a:pt x="9313" y="21093"/>
                  <a:pt x="9344" y="21093"/>
                </a:cubicBezTo>
                <a:cubicBezTo>
                  <a:pt x="9375" y="21093"/>
                  <a:pt x="9406" y="21124"/>
                  <a:pt x="9406" y="21124"/>
                </a:cubicBezTo>
                <a:cubicBezTo>
                  <a:pt x="9406" y="21156"/>
                  <a:pt x="9375" y="21156"/>
                  <a:pt x="9375" y="21187"/>
                </a:cubicBezTo>
                <a:cubicBezTo>
                  <a:pt x="9313" y="21187"/>
                  <a:pt x="9281" y="21187"/>
                  <a:pt x="9250" y="21156"/>
                </a:cubicBezTo>
                <a:cubicBezTo>
                  <a:pt x="9250" y="21124"/>
                  <a:pt x="9250" y="21124"/>
                  <a:pt x="9250" y="21093"/>
                </a:cubicBezTo>
                <a:close/>
                <a:moveTo>
                  <a:pt x="9219" y="20812"/>
                </a:moveTo>
                <a:cubicBezTo>
                  <a:pt x="9219" y="20749"/>
                  <a:pt x="9219" y="20718"/>
                  <a:pt x="9250" y="20656"/>
                </a:cubicBezTo>
                <a:cubicBezTo>
                  <a:pt x="9313" y="20687"/>
                  <a:pt x="9313" y="20749"/>
                  <a:pt x="9313" y="20749"/>
                </a:cubicBezTo>
                <a:cubicBezTo>
                  <a:pt x="9344" y="20781"/>
                  <a:pt x="9375" y="20843"/>
                  <a:pt x="9344" y="20874"/>
                </a:cubicBezTo>
                <a:cubicBezTo>
                  <a:pt x="9344" y="20906"/>
                  <a:pt x="9281" y="20874"/>
                  <a:pt x="9250" y="20874"/>
                </a:cubicBezTo>
                <a:cubicBezTo>
                  <a:pt x="9219" y="20874"/>
                  <a:pt x="9188" y="20843"/>
                  <a:pt x="9219" y="20812"/>
                </a:cubicBezTo>
                <a:close/>
                <a:moveTo>
                  <a:pt x="9188" y="20562"/>
                </a:moveTo>
                <a:cubicBezTo>
                  <a:pt x="9188" y="20624"/>
                  <a:pt x="9000" y="20812"/>
                  <a:pt x="8938" y="20812"/>
                </a:cubicBezTo>
                <a:cubicBezTo>
                  <a:pt x="8938" y="20781"/>
                  <a:pt x="8906" y="20718"/>
                  <a:pt x="8938" y="20718"/>
                </a:cubicBezTo>
                <a:cubicBezTo>
                  <a:pt x="8969" y="20624"/>
                  <a:pt x="9063" y="20562"/>
                  <a:pt x="9156" y="20531"/>
                </a:cubicBezTo>
                <a:cubicBezTo>
                  <a:pt x="9188" y="20499"/>
                  <a:pt x="9188" y="20531"/>
                  <a:pt x="9188" y="20562"/>
                </a:cubicBezTo>
                <a:close/>
                <a:moveTo>
                  <a:pt x="8750" y="20406"/>
                </a:moveTo>
                <a:cubicBezTo>
                  <a:pt x="8750" y="20406"/>
                  <a:pt x="8750" y="20406"/>
                  <a:pt x="8781" y="20406"/>
                </a:cubicBezTo>
                <a:cubicBezTo>
                  <a:pt x="8875" y="20468"/>
                  <a:pt x="8969" y="20406"/>
                  <a:pt x="9094" y="20437"/>
                </a:cubicBezTo>
                <a:cubicBezTo>
                  <a:pt x="9094" y="20437"/>
                  <a:pt x="9125" y="20437"/>
                  <a:pt x="9125" y="20437"/>
                </a:cubicBezTo>
                <a:cubicBezTo>
                  <a:pt x="9125" y="20468"/>
                  <a:pt x="9125" y="20468"/>
                  <a:pt x="9094" y="20499"/>
                </a:cubicBezTo>
                <a:cubicBezTo>
                  <a:pt x="9063" y="20531"/>
                  <a:pt x="9031" y="20562"/>
                  <a:pt x="8969" y="20593"/>
                </a:cubicBezTo>
                <a:cubicBezTo>
                  <a:pt x="8906" y="20624"/>
                  <a:pt x="8844" y="20593"/>
                  <a:pt x="8813" y="20531"/>
                </a:cubicBezTo>
                <a:cubicBezTo>
                  <a:pt x="8813" y="20499"/>
                  <a:pt x="8781" y="20468"/>
                  <a:pt x="8750" y="20437"/>
                </a:cubicBezTo>
                <a:cubicBezTo>
                  <a:pt x="8750" y="20437"/>
                  <a:pt x="8719" y="20406"/>
                  <a:pt x="8750" y="20406"/>
                </a:cubicBezTo>
                <a:close/>
                <a:moveTo>
                  <a:pt x="8656" y="20468"/>
                </a:moveTo>
                <a:cubicBezTo>
                  <a:pt x="8688" y="20437"/>
                  <a:pt x="8688" y="20468"/>
                  <a:pt x="8719" y="20499"/>
                </a:cubicBezTo>
                <a:cubicBezTo>
                  <a:pt x="8781" y="20562"/>
                  <a:pt x="8750" y="20624"/>
                  <a:pt x="8813" y="20656"/>
                </a:cubicBezTo>
                <a:cubicBezTo>
                  <a:pt x="8813" y="20718"/>
                  <a:pt x="8781" y="20718"/>
                  <a:pt x="8750" y="20749"/>
                </a:cubicBezTo>
                <a:cubicBezTo>
                  <a:pt x="8719" y="20781"/>
                  <a:pt x="8719" y="20749"/>
                  <a:pt x="8688" y="20718"/>
                </a:cubicBezTo>
                <a:cubicBezTo>
                  <a:pt x="8656" y="20687"/>
                  <a:pt x="8625" y="20624"/>
                  <a:pt x="8594" y="20562"/>
                </a:cubicBezTo>
                <a:cubicBezTo>
                  <a:pt x="8563" y="20531"/>
                  <a:pt x="8625" y="20499"/>
                  <a:pt x="8656" y="20468"/>
                </a:cubicBezTo>
                <a:close/>
                <a:moveTo>
                  <a:pt x="8906" y="21124"/>
                </a:moveTo>
                <a:cubicBezTo>
                  <a:pt x="8938" y="21187"/>
                  <a:pt x="8906" y="21218"/>
                  <a:pt x="8844" y="21249"/>
                </a:cubicBezTo>
                <a:cubicBezTo>
                  <a:pt x="8781" y="21249"/>
                  <a:pt x="8719" y="21249"/>
                  <a:pt x="8656" y="21281"/>
                </a:cubicBezTo>
                <a:cubicBezTo>
                  <a:pt x="8625" y="21281"/>
                  <a:pt x="8563" y="21281"/>
                  <a:pt x="8594" y="21187"/>
                </a:cubicBezTo>
                <a:cubicBezTo>
                  <a:pt x="8625" y="21124"/>
                  <a:pt x="8563" y="21124"/>
                  <a:pt x="8500" y="21124"/>
                </a:cubicBezTo>
                <a:cubicBezTo>
                  <a:pt x="8625" y="20999"/>
                  <a:pt x="8813" y="20999"/>
                  <a:pt x="8906" y="21124"/>
                </a:cubicBezTo>
                <a:close/>
                <a:moveTo>
                  <a:pt x="8656" y="21374"/>
                </a:moveTo>
                <a:cubicBezTo>
                  <a:pt x="8656" y="21374"/>
                  <a:pt x="8625" y="21343"/>
                  <a:pt x="8656" y="21343"/>
                </a:cubicBezTo>
                <a:cubicBezTo>
                  <a:pt x="8688" y="21281"/>
                  <a:pt x="8750" y="21312"/>
                  <a:pt x="8813" y="21312"/>
                </a:cubicBezTo>
                <a:cubicBezTo>
                  <a:pt x="8750" y="21343"/>
                  <a:pt x="8719" y="21406"/>
                  <a:pt x="8656" y="21374"/>
                </a:cubicBezTo>
                <a:close/>
                <a:moveTo>
                  <a:pt x="8688" y="21624"/>
                </a:moveTo>
                <a:cubicBezTo>
                  <a:pt x="8656" y="21624"/>
                  <a:pt x="8594" y="21656"/>
                  <a:pt x="8563" y="21656"/>
                </a:cubicBezTo>
                <a:cubicBezTo>
                  <a:pt x="8531" y="21656"/>
                  <a:pt x="8500" y="21656"/>
                  <a:pt x="8500" y="21656"/>
                </a:cubicBezTo>
                <a:cubicBezTo>
                  <a:pt x="8500" y="21624"/>
                  <a:pt x="8531" y="21624"/>
                  <a:pt x="8531" y="21593"/>
                </a:cubicBezTo>
                <a:cubicBezTo>
                  <a:pt x="8563" y="21593"/>
                  <a:pt x="8594" y="21562"/>
                  <a:pt x="8625" y="21531"/>
                </a:cubicBezTo>
                <a:cubicBezTo>
                  <a:pt x="8688" y="21499"/>
                  <a:pt x="8688" y="21531"/>
                  <a:pt x="8688" y="21562"/>
                </a:cubicBezTo>
                <a:cubicBezTo>
                  <a:pt x="8719" y="21562"/>
                  <a:pt x="8719" y="21624"/>
                  <a:pt x="8688" y="21624"/>
                </a:cubicBezTo>
                <a:close/>
                <a:moveTo>
                  <a:pt x="8531" y="21281"/>
                </a:moveTo>
                <a:cubicBezTo>
                  <a:pt x="8531" y="21312"/>
                  <a:pt x="8500" y="21312"/>
                  <a:pt x="8469" y="21312"/>
                </a:cubicBezTo>
                <a:cubicBezTo>
                  <a:pt x="8438" y="21312"/>
                  <a:pt x="8406" y="21281"/>
                  <a:pt x="8438" y="21249"/>
                </a:cubicBezTo>
                <a:cubicBezTo>
                  <a:pt x="8438" y="21218"/>
                  <a:pt x="8438" y="21187"/>
                  <a:pt x="8469" y="21187"/>
                </a:cubicBezTo>
                <a:cubicBezTo>
                  <a:pt x="8500" y="21187"/>
                  <a:pt x="8531" y="21249"/>
                  <a:pt x="8531" y="21281"/>
                </a:cubicBezTo>
                <a:close/>
                <a:moveTo>
                  <a:pt x="8500" y="20656"/>
                </a:moveTo>
                <a:cubicBezTo>
                  <a:pt x="8469" y="20718"/>
                  <a:pt x="8469" y="20749"/>
                  <a:pt x="8406" y="20781"/>
                </a:cubicBezTo>
                <a:cubicBezTo>
                  <a:pt x="8406" y="20781"/>
                  <a:pt x="8406" y="20781"/>
                  <a:pt x="8375" y="20781"/>
                </a:cubicBezTo>
                <a:cubicBezTo>
                  <a:pt x="8375" y="20749"/>
                  <a:pt x="8313" y="20781"/>
                  <a:pt x="8313" y="20749"/>
                </a:cubicBezTo>
                <a:cubicBezTo>
                  <a:pt x="8281" y="20718"/>
                  <a:pt x="8344" y="20687"/>
                  <a:pt x="8344" y="20687"/>
                </a:cubicBezTo>
                <a:cubicBezTo>
                  <a:pt x="8375" y="20656"/>
                  <a:pt x="8375" y="20656"/>
                  <a:pt x="8406" y="20656"/>
                </a:cubicBezTo>
                <a:cubicBezTo>
                  <a:pt x="8438" y="20624"/>
                  <a:pt x="8438" y="20593"/>
                  <a:pt x="8469" y="20593"/>
                </a:cubicBezTo>
                <a:cubicBezTo>
                  <a:pt x="8500" y="20593"/>
                  <a:pt x="8500" y="20656"/>
                  <a:pt x="8500" y="20656"/>
                </a:cubicBezTo>
                <a:close/>
                <a:moveTo>
                  <a:pt x="8094" y="21437"/>
                </a:moveTo>
                <a:cubicBezTo>
                  <a:pt x="8125" y="21406"/>
                  <a:pt x="8188" y="21406"/>
                  <a:pt x="8250" y="21374"/>
                </a:cubicBezTo>
                <a:cubicBezTo>
                  <a:pt x="8281" y="21374"/>
                  <a:pt x="8281" y="21406"/>
                  <a:pt x="8281" y="21406"/>
                </a:cubicBezTo>
                <a:cubicBezTo>
                  <a:pt x="8281" y="21499"/>
                  <a:pt x="8250" y="21562"/>
                  <a:pt x="8219" y="21624"/>
                </a:cubicBezTo>
                <a:cubicBezTo>
                  <a:pt x="8188" y="21687"/>
                  <a:pt x="8188" y="21656"/>
                  <a:pt x="8156" y="21624"/>
                </a:cubicBezTo>
                <a:cubicBezTo>
                  <a:pt x="8156" y="21593"/>
                  <a:pt x="8156" y="21562"/>
                  <a:pt x="8094" y="21562"/>
                </a:cubicBezTo>
                <a:cubicBezTo>
                  <a:pt x="8094" y="21531"/>
                  <a:pt x="8094" y="21531"/>
                  <a:pt x="8094" y="21531"/>
                </a:cubicBezTo>
                <a:cubicBezTo>
                  <a:pt x="8125" y="21499"/>
                  <a:pt x="8031" y="21468"/>
                  <a:pt x="8094" y="21437"/>
                </a:cubicBezTo>
                <a:close/>
                <a:moveTo>
                  <a:pt x="8094" y="21624"/>
                </a:moveTo>
                <a:cubicBezTo>
                  <a:pt x="8000" y="21624"/>
                  <a:pt x="7969" y="21562"/>
                  <a:pt x="7906" y="21531"/>
                </a:cubicBezTo>
                <a:cubicBezTo>
                  <a:pt x="7875" y="21531"/>
                  <a:pt x="7875" y="21499"/>
                  <a:pt x="7906" y="21468"/>
                </a:cubicBezTo>
                <a:cubicBezTo>
                  <a:pt x="7938" y="21437"/>
                  <a:pt x="7969" y="21437"/>
                  <a:pt x="8031" y="21468"/>
                </a:cubicBezTo>
                <a:cubicBezTo>
                  <a:pt x="8031" y="21499"/>
                  <a:pt x="8031" y="21562"/>
                  <a:pt x="8094" y="21562"/>
                </a:cubicBezTo>
                <a:cubicBezTo>
                  <a:pt x="8031" y="21562"/>
                  <a:pt x="8125" y="21593"/>
                  <a:pt x="8094" y="21624"/>
                </a:cubicBezTo>
                <a:close/>
                <a:moveTo>
                  <a:pt x="8156" y="21249"/>
                </a:moveTo>
                <a:cubicBezTo>
                  <a:pt x="8156" y="21249"/>
                  <a:pt x="8156" y="21249"/>
                  <a:pt x="8156" y="21249"/>
                </a:cubicBezTo>
                <a:cubicBezTo>
                  <a:pt x="8125" y="21218"/>
                  <a:pt x="8094" y="21249"/>
                  <a:pt x="8094" y="21249"/>
                </a:cubicBezTo>
                <a:cubicBezTo>
                  <a:pt x="8063" y="21281"/>
                  <a:pt x="8000" y="21343"/>
                  <a:pt x="7969" y="21312"/>
                </a:cubicBezTo>
                <a:cubicBezTo>
                  <a:pt x="7938" y="21249"/>
                  <a:pt x="7875" y="21187"/>
                  <a:pt x="7906" y="21093"/>
                </a:cubicBezTo>
                <a:cubicBezTo>
                  <a:pt x="7906" y="21062"/>
                  <a:pt x="7969" y="21062"/>
                  <a:pt x="8000" y="21093"/>
                </a:cubicBezTo>
                <a:cubicBezTo>
                  <a:pt x="8031" y="21093"/>
                  <a:pt x="8063" y="21156"/>
                  <a:pt x="8094" y="21093"/>
                </a:cubicBezTo>
                <a:cubicBezTo>
                  <a:pt x="8094" y="21156"/>
                  <a:pt x="8188" y="21187"/>
                  <a:pt x="8156" y="21249"/>
                </a:cubicBezTo>
                <a:cubicBezTo>
                  <a:pt x="8156" y="21249"/>
                  <a:pt x="8156" y="21249"/>
                  <a:pt x="8156" y="21249"/>
                </a:cubicBezTo>
                <a:close/>
                <a:moveTo>
                  <a:pt x="8250" y="21343"/>
                </a:moveTo>
                <a:cubicBezTo>
                  <a:pt x="8188" y="21374"/>
                  <a:pt x="8125" y="21374"/>
                  <a:pt x="8063" y="21374"/>
                </a:cubicBezTo>
                <a:cubicBezTo>
                  <a:pt x="8063" y="21343"/>
                  <a:pt x="8094" y="21312"/>
                  <a:pt x="8125" y="21312"/>
                </a:cubicBezTo>
                <a:cubicBezTo>
                  <a:pt x="8156" y="21281"/>
                  <a:pt x="8188" y="21281"/>
                  <a:pt x="8156" y="21249"/>
                </a:cubicBezTo>
                <a:cubicBezTo>
                  <a:pt x="8188" y="21281"/>
                  <a:pt x="8219" y="21249"/>
                  <a:pt x="8219" y="21249"/>
                </a:cubicBezTo>
                <a:cubicBezTo>
                  <a:pt x="8281" y="21249"/>
                  <a:pt x="8313" y="21249"/>
                  <a:pt x="8313" y="21281"/>
                </a:cubicBezTo>
                <a:cubicBezTo>
                  <a:pt x="8313" y="21343"/>
                  <a:pt x="8281" y="21343"/>
                  <a:pt x="8250" y="21343"/>
                </a:cubicBezTo>
                <a:close/>
                <a:moveTo>
                  <a:pt x="8469" y="20468"/>
                </a:moveTo>
                <a:cubicBezTo>
                  <a:pt x="8469" y="20468"/>
                  <a:pt x="8469" y="20499"/>
                  <a:pt x="8469" y="20499"/>
                </a:cubicBezTo>
                <a:cubicBezTo>
                  <a:pt x="8469" y="20531"/>
                  <a:pt x="8313" y="20624"/>
                  <a:pt x="8219" y="20624"/>
                </a:cubicBezTo>
                <a:cubicBezTo>
                  <a:pt x="8313" y="20562"/>
                  <a:pt x="8375" y="20531"/>
                  <a:pt x="8438" y="20468"/>
                </a:cubicBezTo>
                <a:cubicBezTo>
                  <a:pt x="8438" y="20468"/>
                  <a:pt x="8469" y="20468"/>
                  <a:pt x="8469" y="20468"/>
                </a:cubicBezTo>
                <a:close/>
                <a:moveTo>
                  <a:pt x="8188" y="20499"/>
                </a:moveTo>
                <a:cubicBezTo>
                  <a:pt x="8188" y="20468"/>
                  <a:pt x="8219" y="20437"/>
                  <a:pt x="8219" y="20406"/>
                </a:cubicBezTo>
                <a:cubicBezTo>
                  <a:pt x="8219" y="20343"/>
                  <a:pt x="8250" y="20312"/>
                  <a:pt x="8313" y="20343"/>
                </a:cubicBezTo>
                <a:cubicBezTo>
                  <a:pt x="8344" y="20343"/>
                  <a:pt x="8406" y="20312"/>
                  <a:pt x="8406" y="20374"/>
                </a:cubicBezTo>
                <a:cubicBezTo>
                  <a:pt x="8438" y="20406"/>
                  <a:pt x="8375" y="20437"/>
                  <a:pt x="8344" y="20468"/>
                </a:cubicBezTo>
                <a:cubicBezTo>
                  <a:pt x="8313" y="20499"/>
                  <a:pt x="8281" y="20499"/>
                  <a:pt x="8250" y="20531"/>
                </a:cubicBezTo>
                <a:cubicBezTo>
                  <a:pt x="8219" y="20562"/>
                  <a:pt x="8219" y="20562"/>
                  <a:pt x="8188" y="20562"/>
                </a:cubicBezTo>
                <a:cubicBezTo>
                  <a:pt x="8188" y="20531"/>
                  <a:pt x="8188" y="20531"/>
                  <a:pt x="8188" y="20499"/>
                </a:cubicBezTo>
                <a:close/>
                <a:moveTo>
                  <a:pt x="8250" y="21031"/>
                </a:moveTo>
                <a:cubicBezTo>
                  <a:pt x="8281" y="21062"/>
                  <a:pt x="8281" y="21093"/>
                  <a:pt x="8281" y="21124"/>
                </a:cubicBezTo>
                <a:cubicBezTo>
                  <a:pt x="8250" y="21124"/>
                  <a:pt x="8250" y="21156"/>
                  <a:pt x="8188" y="21156"/>
                </a:cubicBezTo>
                <a:cubicBezTo>
                  <a:pt x="8156" y="21124"/>
                  <a:pt x="8125" y="21093"/>
                  <a:pt x="8094" y="21093"/>
                </a:cubicBezTo>
                <a:cubicBezTo>
                  <a:pt x="8125" y="21062"/>
                  <a:pt x="8219" y="20999"/>
                  <a:pt x="8250" y="21031"/>
                </a:cubicBezTo>
                <a:close/>
                <a:moveTo>
                  <a:pt x="8156" y="20999"/>
                </a:moveTo>
                <a:cubicBezTo>
                  <a:pt x="8094" y="20999"/>
                  <a:pt x="8063" y="21031"/>
                  <a:pt x="8000" y="20999"/>
                </a:cubicBezTo>
                <a:cubicBezTo>
                  <a:pt x="7969" y="20999"/>
                  <a:pt x="7969" y="20999"/>
                  <a:pt x="7969" y="20999"/>
                </a:cubicBezTo>
                <a:cubicBezTo>
                  <a:pt x="7969" y="20968"/>
                  <a:pt x="7969" y="20968"/>
                  <a:pt x="8000" y="20968"/>
                </a:cubicBezTo>
                <a:cubicBezTo>
                  <a:pt x="8031" y="20937"/>
                  <a:pt x="8031" y="20937"/>
                  <a:pt x="8063" y="20937"/>
                </a:cubicBezTo>
                <a:cubicBezTo>
                  <a:pt x="8094" y="20937"/>
                  <a:pt x="8125" y="20937"/>
                  <a:pt x="8125" y="20937"/>
                </a:cubicBezTo>
                <a:cubicBezTo>
                  <a:pt x="8156" y="20968"/>
                  <a:pt x="8188" y="20999"/>
                  <a:pt x="8156" y="20999"/>
                </a:cubicBezTo>
                <a:close/>
                <a:moveTo>
                  <a:pt x="7875" y="20593"/>
                </a:moveTo>
                <a:cubicBezTo>
                  <a:pt x="7906" y="20562"/>
                  <a:pt x="7938" y="20499"/>
                  <a:pt x="7969" y="20468"/>
                </a:cubicBezTo>
                <a:cubicBezTo>
                  <a:pt x="8031" y="20406"/>
                  <a:pt x="8063" y="20437"/>
                  <a:pt x="8094" y="20468"/>
                </a:cubicBezTo>
                <a:cubicBezTo>
                  <a:pt x="8125" y="20562"/>
                  <a:pt x="8031" y="20718"/>
                  <a:pt x="7938" y="20718"/>
                </a:cubicBezTo>
                <a:cubicBezTo>
                  <a:pt x="7875" y="20718"/>
                  <a:pt x="7844" y="20656"/>
                  <a:pt x="7875" y="20593"/>
                </a:cubicBezTo>
                <a:close/>
                <a:moveTo>
                  <a:pt x="7875" y="18406"/>
                </a:moveTo>
                <a:cubicBezTo>
                  <a:pt x="7875" y="18406"/>
                  <a:pt x="7875" y="18406"/>
                  <a:pt x="7875" y="18406"/>
                </a:cubicBezTo>
                <a:cubicBezTo>
                  <a:pt x="7844" y="18406"/>
                  <a:pt x="7844" y="18406"/>
                  <a:pt x="7844" y="18437"/>
                </a:cubicBezTo>
                <a:cubicBezTo>
                  <a:pt x="7844" y="18406"/>
                  <a:pt x="7844" y="18406"/>
                  <a:pt x="7875" y="18406"/>
                </a:cubicBezTo>
                <a:close/>
                <a:moveTo>
                  <a:pt x="7813" y="21124"/>
                </a:moveTo>
                <a:cubicBezTo>
                  <a:pt x="7844" y="21187"/>
                  <a:pt x="7875" y="21249"/>
                  <a:pt x="7906" y="21312"/>
                </a:cubicBezTo>
                <a:cubicBezTo>
                  <a:pt x="7969" y="21374"/>
                  <a:pt x="7906" y="21406"/>
                  <a:pt x="7875" y="21437"/>
                </a:cubicBezTo>
                <a:cubicBezTo>
                  <a:pt x="7813" y="21437"/>
                  <a:pt x="7781" y="21468"/>
                  <a:pt x="7750" y="21374"/>
                </a:cubicBezTo>
                <a:cubicBezTo>
                  <a:pt x="7750" y="21281"/>
                  <a:pt x="7719" y="21218"/>
                  <a:pt x="7813" y="21124"/>
                </a:cubicBezTo>
                <a:close/>
                <a:moveTo>
                  <a:pt x="7750" y="22499"/>
                </a:moveTo>
                <a:cubicBezTo>
                  <a:pt x="7688" y="22468"/>
                  <a:pt x="7688" y="22406"/>
                  <a:pt x="7656" y="22343"/>
                </a:cubicBezTo>
                <a:cubicBezTo>
                  <a:pt x="7656" y="22343"/>
                  <a:pt x="7656" y="22343"/>
                  <a:pt x="7656" y="22312"/>
                </a:cubicBezTo>
                <a:cubicBezTo>
                  <a:pt x="7656" y="22249"/>
                  <a:pt x="7719" y="22281"/>
                  <a:pt x="7750" y="22281"/>
                </a:cubicBezTo>
                <a:cubicBezTo>
                  <a:pt x="7813" y="22249"/>
                  <a:pt x="7781" y="22343"/>
                  <a:pt x="7844" y="22374"/>
                </a:cubicBezTo>
                <a:cubicBezTo>
                  <a:pt x="7875" y="22374"/>
                  <a:pt x="7844" y="22406"/>
                  <a:pt x="7813" y="22437"/>
                </a:cubicBezTo>
                <a:cubicBezTo>
                  <a:pt x="7750" y="22437"/>
                  <a:pt x="7813" y="22531"/>
                  <a:pt x="7750" y="22499"/>
                </a:cubicBezTo>
                <a:close/>
                <a:moveTo>
                  <a:pt x="7781" y="22843"/>
                </a:moveTo>
                <a:cubicBezTo>
                  <a:pt x="7750" y="22843"/>
                  <a:pt x="7750" y="22843"/>
                  <a:pt x="7719" y="22843"/>
                </a:cubicBezTo>
                <a:cubicBezTo>
                  <a:pt x="7750" y="22843"/>
                  <a:pt x="7750" y="22843"/>
                  <a:pt x="7781" y="22843"/>
                </a:cubicBezTo>
                <a:close/>
                <a:moveTo>
                  <a:pt x="7594" y="22281"/>
                </a:moveTo>
                <a:cubicBezTo>
                  <a:pt x="7656" y="22343"/>
                  <a:pt x="7594" y="22468"/>
                  <a:pt x="7688" y="22531"/>
                </a:cubicBezTo>
                <a:cubicBezTo>
                  <a:pt x="7656" y="22562"/>
                  <a:pt x="7625" y="22562"/>
                  <a:pt x="7625" y="22531"/>
                </a:cubicBezTo>
                <a:cubicBezTo>
                  <a:pt x="7594" y="22468"/>
                  <a:pt x="7531" y="22437"/>
                  <a:pt x="7500" y="22406"/>
                </a:cubicBezTo>
                <a:cubicBezTo>
                  <a:pt x="7531" y="22343"/>
                  <a:pt x="7563" y="22343"/>
                  <a:pt x="7594" y="22281"/>
                </a:cubicBezTo>
                <a:close/>
                <a:moveTo>
                  <a:pt x="7500" y="22249"/>
                </a:moveTo>
                <a:cubicBezTo>
                  <a:pt x="7500" y="22218"/>
                  <a:pt x="7531" y="22187"/>
                  <a:pt x="7563" y="22187"/>
                </a:cubicBezTo>
                <a:cubicBezTo>
                  <a:pt x="7594" y="22187"/>
                  <a:pt x="7594" y="22218"/>
                  <a:pt x="7594" y="22249"/>
                </a:cubicBezTo>
                <a:cubicBezTo>
                  <a:pt x="7625" y="22281"/>
                  <a:pt x="7563" y="22281"/>
                  <a:pt x="7531" y="22312"/>
                </a:cubicBezTo>
                <a:cubicBezTo>
                  <a:pt x="7531" y="22312"/>
                  <a:pt x="7500" y="22281"/>
                  <a:pt x="7500" y="22249"/>
                </a:cubicBezTo>
                <a:close/>
                <a:moveTo>
                  <a:pt x="7750" y="22218"/>
                </a:moveTo>
                <a:cubicBezTo>
                  <a:pt x="7719" y="22218"/>
                  <a:pt x="7688" y="22249"/>
                  <a:pt x="7656" y="22249"/>
                </a:cubicBezTo>
                <a:cubicBezTo>
                  <a:pt x="7625" y="22249"/>
                  <a:pt x="7625" y="22218"/>
                  <a:pt x="7625" y="22187"/>
                </a:cubicBezTo>
                <a:cubicBezTo>
                  <a:pt x="7625" y="22156"/>
                  <a:pt x="7656" y="22124"/>
                  <a:pt x="7688" y="22124"/>
                </a:cubicBezTo>
                <a:cubicBezTo>
                  <a:pt x="7688" y="22156"/>
                  <a:pt x="7750" y="22156"/>
                  <a:pt x="7750" y="22218"/>
                </a:cubicBezTo>
                <a:close/>
                <a:moveTo>
                  <a:pt x="7625" y="21562"/>
                </a:moveTo>
                <a:cubicBezTo>
                  <a:pt x="7656" y="21499"/>
                  <a:pt x="7688" y="21499"/>
                  <a:pt x="7719" y="21531"/>
                </a:cubicBezTo>
                <a:cubicBezTo>
                  <a:pt x="7688" y="21531"/>
                  <a:pt x="7688" y="21624"/>
                  <a:pt x="7625" y="21593"/>
                </a:cubicBezTo>
                <a:cubicBezTo>
                  <a:pt x="7625" y="21593"/>
                  <a:pt x="7625" y="21562"/>
                  <a:pt x="7625" y="21562"/>
                </a:cubicBezTo>
                <a:close/>
                <a:moveTo>
                  <a:pt x="7500" y="21187"/>
                </a:moveTo>
                <a:cubicBezTo>
                  <a:pt x="7563" y="21187"/>
                  <a:pt x="7594" y="21218"/>
                  <a:pt x="7594" y="21281"/>
                </a:cubicBezTo>
                <a:cubicBezTo>
                  <a:pt x="7625" y="21312"/>
                  <a:pt x="7594" y="21343"/>
                  <a:pt x="7531" y="21343"/>
                </a:cubicBezTo>
                <a:cubicBezTo>
                  <a:pt x="7469" y="21343"/>
                  <a:pt x="7438" y="21281"/>
                  <a:pt x="7438" y="21218"/>
                </a:cubicBezTo>
                <a:cubicBezTo>
                  <a:pt x="7406" y="21187"/>
                  <a:pt x="7469" y="21187"/>
                  <a:pt x="7500" y="21187"/>
                </a:cubicBezTo>
                <a:close/>
                <a:moveTo>
                  <a:pt x="7469" y="21406"/>
                </a:moveTo>
                <a:cubicBezTo>
                  <a:pt x="7469" y="21374"/>
                  <a:pt x="7438" y="21343"/>
                  <a:pt x="7500" y="21374"/>
                </a:cubicBezTo>
                <a:cubicBezTo>
                  <a:pt x="7563" y="21374"/>
                  <a:pt x="7594" y="21406"/>
                  <a:pt x="7531" y="21499"/>
                </a:cubicBezTo>
                <a:cubicBezTo>
                  <a:pt x="7531" y="21468"/>
                  <a:pt x="7469" y="21531"/>
                  <a:pt x="7469" y="21468"/>
                </a:cubicBezTo>
                <a:cubicBezTo>
                  <a:pt x="7469" y="21437"/>
                  <a:pt x="7469" y="21437"/>
                  <a:pt x="7469" y="21437"/>
                </a:cubicBezTo>
                <a:cubicBezTo>
                  <a:pt x="7469" y="21437"/>
                  <a:pt x="7469" y="21406"/>
                  <a:pt x="7469" y="21406"/>
                </a:cubicBezTo>
                <a:close/>
                <a:moveTo>
                  <a:pt x="7344" y="21281"/>
                </a:moveTo>
                <a:cubicBezTo>
                  <a:pt x="7375" y="21281"/>
                  <a:pt x="7406" y="21281"/>
                  <a:pt x="7406" y="21281"/>
                </a:cubicBezTo>
                <a:cubicBezTo>
                  <a:pt x="7375" y="21343"/>
                  <a:pt x="7469" y="21374"/>
                  <a:pt x="7406" y="21437"/>
                </a:cubicBezTo>
                <a:cubicBezTo>
                  <a:pt x="7406" y="21437"/>
                  <a:pt x="7375" y="21437"/>
                  <a:pt x="7375" y="21437"/>
                </a:cubicBezTo>
                <a:cubicBezTo>
                  <a:pt x="7375" y="21406"/>
                  <a:pt x="7375" y="21406"/>
                  <a:pt x="7375" y="21406"/>
                </a:cubicBezTo>
                <a:cubicBezTo>
                  <a:pt x="7313" y="21343"/>
                  <a:pt x="7313" y="21406"/>
                  <a:pt x="7313" y="21437"/>
                </a:cubicBezTo>
                <a:cubicBezTo>
                  <a:pt x="7313" y="21468"/>
                  <a:pt x="7281" y="21499"/>
                  <a:pt x="7281" y="21531"/>
                </a:cubicBezTo>
                <a:cubicBezTo>
                  <a:pt x="7250" y="21562"/>
                  <a:pt x="7219" y="21562"/>
                  <a:pt x="7219" y="21531"/>
                </a:cubicBezTo>
                <a:cubicBezTo>
                  <a:pt x="7219" y="21406"/>
                  <a:pt x="7313" y="21374"/>
                  <a:pt x="7344" y="21281"/>
                </a:cubicBezTo>
                <a:close/>
                <a:moveTo>
                  <a:pt x="7219" y="22406"/>
                </a:moveTo>
                <a:cubicBezTo>
                  <a:pt x="7250" y="22406"/>
                  <a:pt x="7250" y="22437"/>
                  <a:pt x="7250" y="22468"/>
                </a:cubicBezTo>
                <a:cubicBezTo>
                  <a:pt x="7219" y="22499"/>
                  <a:pt x="7188" y="22562"/>
                  <a:pt x="7281" y="22562"/>
                </a:cubicBezTo>
                <a:cubicBezTo>
                  <a:pt x="7313" y="22593"/>
                  <a:pt x="7313" y="22656"/>
                  <a:pt x="7313" y="22687"/>
                </a:cubicBezTo>
                <a:cubicBezTo>
                  <a:pt x="7219" y="22718"/>
                  <a:pt x="7125" y="22749"/>
                  <a:pt x="7125" y="22593"/>
                </a:cubicBezTo>
                <a:cubicBezTo>
                  <a:pt x="7094" y="22593"/>
                  <a:pt x="7094" y="22593"/>
                  <a:pt x="7094" y="22593"/>
                </a:cubicBezTo>
                <a:cubicBezTo>
                  <a:pt x="7094" y="22593"/>
                  <a:pt x="7094" y="22593"/>
                  <a:pt x="7094" y="22624"/>
                </a:cubicBezTo>
                <a:cubicBezTo>
                  <a:pt x="7063" y="22656"/>
                  <a:pt x="7094" y="22718"/>
                  <a:pt x="7125" y="22749"/>
                </a:cubicBezTo>
                <a:cubicBezTo>
                  <a:pt x="7094" y="22843"/>
                  <a:pt x="7000" y="22812"/>
                  <a:pt x="6938" y="22843"/>
                </a:cubicBezTo>
                <a:cubicBezTo>
                  <a:pt x="6875" y="22874"/>
                  <a:pt x="6938" y="22781"/>
                  <a:pt x="6875" y="22749"/>
                </a:cubicBezTo>
                <a:cubicBezTo>
                  <a:pt x="6844" y="22718"/>
                  <a:pt x="6813" y="22656"/>
                  <a:pt x="6813" y="22593"/>
                </a:cubicBezTo>
                <a:cubicBezTo>
                  <a:pt x="6844" y="22593"/>
                  <a:pt x="6844" y="22624"/>
                  <a:pt x="6875" y="22624"/>
                </a:cubicBezTo>
                <a:cubicBezTo>
                  <a:pt x="6906" y="22656"/>
                  <a:pt x="6906" y="22687"/>
                  <a:pt x="6906" y="22718"/>
                </a:cubicBezTo>
                <a:cubicBezTo>
                  <a:pt x="6906" y="22718"/>
                  <a:pt x="6906" y="22749"/>
                  <a:pt x="6938" y="22718"/>
                </a:cubicBezTo>
                <a:cubicBezTo>
                  <a:pt x="6969" y="22718"/>
                  <a:pt x="6969" y="22718"/>
                  <a:pt x="6938" y="22687"/>
                </a:cubicBezTo>
                <a:cubicBezTo>
                  <a:pt x="6938" y="22624"/>
                  <a:pt x="7000" y="22624"/>
                  <a:pt x="7031" y="22593"/>
                </a:cubicBezTo>
                <a:cubicBezTo>
                  <a:pt x="7063" y="22562"/>
                  <a:pt x="7063" y="22593"/>
                  <a:pt x="7094" y="22624"/>
                </a:cubicBezTo>
                <a:cubicBezTo>
                  <a:pt x="7094" y="22593"/>
                  <a:pt x="7094" y="22593"/>
                  <a:pt x="7094" y="22593"/>
                </a:cubicBezTo>
                <a:cubicBezTo>
                  <a:pt x="7094" y="22562"/>
                  <a:pt x="7156" y="22531"/>
                  <a:pt x="7063" y="22499"/>
                </a:cubicBezTo>
                <a:cubicBezTo>
                  <a:pt x="7063" y="22499"/>
                  <a:pt x="7031" y="22437"/>
                  <a:pt x="7063" y="22406"/>
                </a:cubicBezTo>
                <a:cubicBezTo>
                  <a:pt x="7125" y="22374"/>
                  <a:pt x="7156" y="22374"/>
                  <a:pt x="7219" y="22406"/>
                </a:cubicBezTo>
                <a:close/>
                <a:moveTo>
                  <a:pt x="7313" y="22687"/>
                </a:moveTo>
                <a:cubicBezTo>
                  <a:pt x="7313" y="22687"/>
                  <a:pt x="7313" y="22687"/>
                  <a:pt x="7313" y="22687"/>
                </a:cubicBezTo>
                <a:cubicBezTo>
                  <a:pt x="7281" y="22749"/>
                  <a:pt x="7219" y="22749"/>
                  <a:pt x="7188" y="22749"/>
                </a:cubicBezTo>
                <a:cubicBezTo>
                  <a:pt x="7219" y="22749"/>
                  <a:pt x="7281" y="22749"/>
                  <a:pt x="7313" y="22687"/>
                </a:cubicBezTo>
                <a:close/>
                <a:moveTo>
                  <a:pt x="6844" y="22531"/>
                </a:moveTo>
                <a:cubicBezTo>
                  <a:pt x="6844" y="22499"/>
                  <a:pt x="6906" y="22531"/>
                  <a:pt x="6938" y="22499"/>
                </a:cubicBezTo>
                <a:cubicBezTo>
                  <a:pt x="6969" y="22437"/>
                  <a:pt x="7000" y="22437"/>
                  <a:pt x="7031" y="22468"/>
                </a:cubicBezTo>
                <a:cubicBezTo>
                  <a:pt x="7063" y="22499"/>
                  <a:pt x="7063" y="22562"/>
                  <a:pt x="7000" y="22562"/>
                </a:cubicBezTo>
                <a:cubicBezTo>
                  <a:pt x="6969" y="22593"/>
                  <a:pt x="6938" y="22656"/>
                  <a:pt x="6875" y="22624"/>
                </a:cubicBezTo>
                <a:cubicBezTo>
                  <a:pt x="6906" y="22562"/>
                  <a:pt x="6813" y="22593"/>
                  <a:pt x="6844" y="22531"/>
                </a:cubicBezTo>
                <a:close/>
                <a:moveTo>
                  <a:pt x="7188" y="22093"/>
                </a:moveTo>
                <a:cubicBezTo>
                  <a:pt x="7219" y="22156"/>
                  <a:pt x="7219" y="22187"/>
                  <a:pt x="7125" y="22218"/>
                </a:cubicBezTo>
                <a:cubicBezTo>
                  <a:pt x="7031" y="22281"/>
                  <a:pt x="6938" y="22343"/>
                  <a:pt x="6844" y="22374"/>
                </a:cubicBezTo>
                <a:cubicBezTo>
                  <a:pt x="6750" y="22437"/>
                  <a:pt x="6688" y="22406"/>
                  <a:pt x="6688" y="22281"/>
                </a:cubicBezTo>
                <a:cubicBezTo>
                  <a:pt x="6688" y="22281"/>
                  <a:pt x="6688" y="22249"/>
                  <a:pt x="6688" y="22249"/>
                </a:cubicBezTo>
                <a:cubicBezTo>
                  <a:pt x="6688" y="22124"/>
                  <a:pt x="6750" y="22062"/>
                  <a:pt x="6938" y="21999"/>
                </a:cubicBezTo>
                <a:cubicBezTo>
                  <a:pt x="7031" y="21968"/>
                  <a:pt x="7125" y="21999"/>
                  <a:pt x="7188" y="22093"/>
                </a:cubicBezTo>
                <a:close/>
                <a:moveTo>
                  <a:pt x="6406" y="22999"/>
                </a:moveTo>
                <a:cubicBezTo>
                  <a:pt x="6406" y="22999"/>
                  <a:pt x="6406" y="22968"/>
                  <a:pt x="6375" y="22968"/>
                </a:cubicBezTo>
                <a:cubicBezTo>
                  <a:pt x="6344" y="22968"/>
                  <a:pt x="6344" y="22999"/>
                  <a:pt x="6344" y="22999"/>
                </a:cubicBezTo>
                <a:cubicBezTo>
                  <a:pt x="6344" y="23031"/>
                  <a:pt x="6344" y="23031"/>
                  <a:pt x="6344" y="23062"/>
                </a:cubicBezTo>
                <a:cubicBezTo>
                  <a:pt x="6250" y="23031"/>
                  <a:pt x="6281" y="22968"/>
                  <a:pt x="6281" y="22906"/>
                </a:cubicBezTo>
                <a:cubicBezTo>
                  <a:pt x="6250" y="22874"/>
                  <a:pt x="6281" y="22843"/>
                  <a:pt x="6313" y="22843"/>
                </a:cubicBezTo>
                <a:cubicBezTo>
                  <a:pt x="6344" y="22843"/>
                  <a:pt x="6375" y="22812"/>
                  <a:pt x="6406" y="22781"/>
                </a:cubicBezTo>
                <a:cubicBezTo>
                  <a:pt x="6438" y="22687"/>
                  <a:pt x="6594" y="22718"/>
                  <a:pt x="6656" y="22624"/>
                </a:cubicBezTo>
                <a:cubicBezTo>
                  <a:pt x="6656" y="22624"/>
                  <a:pt x="6656" y="22687"/>
                  <a:pt x="6688" y="22718"/>
                </a:cubicBezTo>
                <a:cubicBezTo>
                  <a:pt x="6688" y="22718"/>
                  <a:pt x="6688" y="22718"/>
                  <a:pt x="6688" y="22718"/>
                </a:cubicBezTo>
                <a:cubicBezTo>
                  <a:pt x="6688" y="22749"/>
                  <a:pt x="6656" y="22812"/>
                  <a:pt x="6688" y="22874"/>
                </a:cubicBezTo>
                <a:cubicBezTo>
                  <a:pt x="6688" y="22843"/>
                  <a:pt x="6719" y="22843"/>
                  <a:pt x="6750" y="22843"/>
                </a:cubicBezTo>
                <a:cubicBezTo>
                  <a:pt x="6781" y="22937"/>
                  <a:pt x="6781" y="22906"/>
                  <a:pt x="6688" y="22937"/>
                </a:cubicBezTo>
                <a:cubicBezTo>
                  <a:pt x="6656" y="22968"/>
                  <a:pt x="6625" y="22999"/>
                  <a:pt x="6563" y="23031"/>
                </a:cubicBezTo>
                <a:cubicBezTo>
                  <a:pt x="6531" y="23093"/>
                  <a:pt x="6500" y="23093"/>
                  <a:pt x="6438" y="23062"/>
                </a:cubicBezTo>
                <a:cubicBezTo>
                  <a:pt x="6438" y="23062"/>
                  <a:pt x="6438" y="23093"/>
                  <a:pt x="6438" y="23093"/>
                </a:cubicBezTo>
                <a:cubicBezTo>
                  <a:pt x="6438" y="23093"/>
                  <a:pt x="6438" y="23062"/>
                  <a:pt x="6438" y="23062"/>
                </a:cubicBezTo>
                <a:cubicBezTo>
                  <a:pt x="6438" y="23031"/>
                  <a:pt x="6406" y="23031"/>
                  <a:pt x="6406" y="22999"/>
                </a:cubicBezTo>
                <a:close/>
                <a:moveTo>
                  <a:pt x="6938" y="20468"/>
                </a:moveTo>
                <a:cubicBezTo>
                  <a:pt x="6969" y="20437"/>
                  <a:pt x="7000" y="20468"/>
                  <a:pt x="7031" y="20499"/>
                </a:cubicBezTo>
                <a:cubicBezTo>
                  <a:pt x="7000" y="20531"/>
                  <a:pt x="6938" y="20499"/>
                  <a:pt x="6938" y="20562"/>
                </a:cubicBezTo>
                <a:cubicBezTo>
                  <a:pt x="6938" y="20593"/>
                  <a:pt x="6906" y="20562"/>
                  <a:pt x="6938" y="20562"/>
                </a:cubicBezTo>
                <a:cubicBezTo>
                  <a:pt x="6938" y="20531"/>
                  <a:pt x="6875" y="20531"/>
                  <a:pt x="6906" y="20499"/>
                </a:cubicBezTo>
                <a:cubicBezTo>
                  <a:pt x="6906" y="20468"/>
                  <a:pt x="6906" y="20468"/>
                  <a:pt x="6938" y="20468"/>
                </a:cubicBezTo>
                <a:close/>
                <a:moveTo>
                  <a:pt x="6844" y="20812"/>
                </a:moveTo>
                <a:cubicBezTo>
                  <a:pt x="6875" y="20781"/>
                  <a:pt x="6906" y="20781"/>
                  <a:pt x="6938" y="20812"/>
                </a:cubicBezTo>
                <a:cubicBezTo>
                  <a:pt x="6969" y="20843"/>
                  <a:pt x="6938" y="20874"/>
                  <a:pt x="6906" y="20874"/>
                </a:cubicBezTo>
                <a:cubicBezTo>
                  <a:pt x="6875" y="20937"/>
                  <a:pt x="6844" y="20937"/>
                  <a:pt x="6813" y="20999"/>
                </a:cubicBezTo>
                <a:cubicBezTo>
                  <a:pt x="6781" y="20968"/>
                  <a:pt x="6750" y="20968"/>
                  <a:pt x="6781" y="20937"/>
                </a:cubicBezTo>
                <a:cubicBezTo>
                  <a:pt x="6844" y="20906"/>
                  <a:pt x="6813" y="20843"/>
                  <a:pt x="6844" y="20812"/>
                </a:cubicBezTo>
                <a:close/>
                <a:moveTo>
                  <a:pt x="6656" y="20781"/>
                </a:moveTo>
                <a:cubicBezTo>
                  <a:pt x="6688" y="20812"/>
                  <a:pt x="6688" y="20749"/>
                  <a:pt x="6719" y="20718"/>
                </a:cubicBezTo>
                <a:cubicBezTo>
                  <a:pt x="6750" y="20718"/>
                  <a:pt x="6781" y="20749"/>
                  <a:pt x="6750" y="20781"/>
                </a:cubicBezTo>
                <a:cubicBezTo>
                  <a:pt x="6719" y="20781"/>
                  <a:pt x="6688" y="20843"/>
                  <a:pt x="6656" y="20812"/>
                </a:cubicBezTo>
                <a:cubicBezTo>
                  <a:pt x="6656" y="20812"/>
                  <a:pt x="6656" y="20781"/>
                  <a:pt x="6656" y="20781"/>
                </a:cubicBezTo>
                <a:cubicBezTo>
                  <a:pt x="6656" y="20781"/>
                  <a:pt x="6656" y="20781"/>
                  <a:pt x="6625" y="20781"/>
                </a:cubicBezTo>
                <a:cubicBezTo>
                  <a:pt x="6656" y="20781"/>
                  <a:pt x="6656" y="20781"/>
                  <a:pt x="6656" y="20781"/>
                </a:cubicBezTo>
                <a:close/>
                <a:moveTo>
                  <a:pt x="6688" y="20843"/>
                </a:moveTo>
                <a:cubicBezTo>
                  <a:pt x="6719" y="20843"/>
                  <a:pt x="6750" y="20812"/>
                  <a:pt x="6781" y="20812"/>
                </a:cubicBezTo>
                <a:cubicBezTo>
                  <a:pt x="6719" y="20968"/>
                  <a:pt x="6625" y="20999"/>
                  <a:pt x="6563" y="20937"/>
                </a:cubicBezTo>
                <a:cubicBezTo>
                  <a:pt x="6563" y="20906"/>
                  <a:pt x="6594" y="20874"/>
                  <a:pt x="6594" y="20874"/>
                </a:cubicBezTo>
                <a:cubicBezTo>
                  <a:pt x="6625" y="20874"/>
                  <a:pt x="6656" y="20843"/>
                  <a:pt x="6688" y="20843"/>
                </a:cubicBezTo>
                <a:close/>
                <a:moveTo>
                  <a:pt x="6500" y="20812"/>
                </a:moveTo>
                <a:cubicBezTo>
                  <a:pt x="6531" y="20781"/>
                  <a:pt x="6563" y="20749"/>
                  <a:pt x="6594" y="20781"/>
                </a:cubicBezTo>
                <a:cubicBezTo>
                  <a:pt x="6594" y="20781"/>
                  <a:pt x="6594" y="20781"/>
                  <a:pt x="6594" y="20781"/>
                </a:cubicBezTo>
                <a:cubicBezTo>
                  <a:pt x="6594" y="20781"/>
                  <a:pt x="6594" y="20781"/>
                  <a:pt x="6594" y="20812"/>
                </a:cubicBezTo>
                <a:cubicBezTo>
                  <a:pt x="6594" y="20843"/>
                  <a:pt x="6563" y="20874"/>
                  <a:pt x="6531" y="20843"/>
                </a:cubicBezTo>
                <a:cubicBezTo>
                  <a:pt x="6531" y="20843"/>
                  <a:pt x="6500" y="20812"/>
                  <a:pt x="6500" y="20812"/>
                </a:cubicBezTo>
                <a:close/>
                <a:moveTo>
                  <a:pt x="6500" y="21312"/>
                </a:moveTo>
                <a:cubicBezTo>
                  <a:pt x="6500" y="21312"/>
                  <a:pt x="6531" y="21312"/>
                  <a:pt x="6531" y="21343"/>
                </a:cubicBezTo>
                <a:cubicBezTo>
                  <a:pt x="6531" y="21343"/>
                  <a:pt x="6531" y="21343"/>
                  <a:pt x="6531" y="21343"/>
                </a:cubicBezTo>
                <a:cubicBezTo>
                  <a:pt x="6531" y="21437"/>
                  <a:pt x="6469" y="21468"/>
                  <a:pt x="6406" y="21531"/>
                </a:cubicBezTo>
                <a:cubicBezTo>
                  <a:pt x="6406" y="21468"/>
                  <a:pt x="6438" y="21343"/>
                  <a:pt x="6500" y="21312"/>
                </a:cubicBezTo>
                <a:close/>
                <a:moveTo>
                  <a:pt x="6375" y="21249"/>
                </a:moveTo>
                <a:cubicBezTo>
                  <a:pt x="6406" y="21249"/>
                  <a:pt x="6406" y="21187"/>
                  <a:pt x="6406" y="21187"/>
                </a:cubicBezTo>
                <a:cubicBezTo>
                  <a:pt x="6438" y="21187"/>
                  <a:pt x="6438" y="21187"/>
                  <a:pt x="6438" y="21187"/>
                </a:cubicBezTo>
                <a:cubicBezTo>
                  <a:pt x="6406" y="21218"/>
                  <a:pt x="6406" y="21218"/>
                  <a:pt x="6406" y="21249"/>
                </a:cubicBezTo>
                <a:cubicBezTo>
                  <a:pt x="6406" y="21249"/>
                  <a:pt x="6406" y="21249"/>
                  <a:pt x="6406" y="21249"/>
                </a:cubicBezTo>
                <a:cubicBezTo>
                  <a:pt x="6406" y="21249"/>
                  <a:pt x="6344" y="21218"/>
                  <a:pt x="6375" y="21281"/>
                </a:cubicBezTo>
                <a:cubicBezTo>
                  <a:pt x="6375" y="21406"/>
                  <a:pt x="6250" y="21374"/>
                  <a:pt x="6219" y="21437"/>
                </a:cubicBezTo>
                <a:cubicBezTo>
                  <a:pt x="6219" y="21343"/>
                  <a:pt x="6250" y="21249"/>
                  <a:pt x="6375" y="21249"/>
                </a:cubicBezTo>
                <a:close/>
                <a:moveTo>
                  <a:pt x="6031" y="21406"/>
                </a:moveTo>
                <a:cubicBezTo>
                  <a:pt x="6063" y="21374"/>
                  <a:pt x="6094" y="21343"/>
                  <a:pt x="6125" y="21312"/>
                </a:cubicBezTo>
                <a:cubicBezTo>
                  <a:pt x="6094" y="21343"/>
                  <a:pt x="6094" y="21374"/>
                  <a:pt x="6094" y="21406"/>
                </a:cubicBezTo>
                <a:cubicBezTo>
                  <a:pt x="6094" y="21437"/>
                  <a:pt x="6063" y="21437"/>
                  <a:pt x="6063" y="21437"/>
                </a:cubicBezTo>
                <a:cubicBezTo>
                  <a:pt x="6031" y="21437"/>
                  <a:pt x="6031" y="21406"/>
                  <a:pt x="6031" y="21406"/>
                </a:cubicBezTo>
                <a:close/>
                <a:moveTo>
                  <a:pt x="6031" y="21687"/>
                </a:moveTo>
                <a:cubicBezTo>
                  <a:pt x="6063" y="21656"/>
                  <a:pt x="6063" y="21687"/>
                  <a:pt x="6063" y="21718"/>
                </a:cubicBezTo>
                <a:cubicBezTo>
                  <a:pt x="6125" y="21781"/>
                  <a:pt x="6031" y="21781"/>
                  <a:pt x="6031" y="21812"/>
                </a:cubicBezTo>
                <a:cubicBezTo>
                  <a:pt x="6031" y="21781"/>
                  <a:pt x="5938" y="21718"/>
                  <a:pt x="6031" y="21687"/>
                </a:cubicBezTo>
                <a:close/>
                <a:moveTo>
                  <a:pt x="5969" y="22062"/>
                </a:moveTo>
                <a:cubicBezTo>
                  <a:pt x="5969" y="22062"/>
                  <a:pt x="6000" y="22062"/>
                  <a:pt x="6000" y="22093"/>
                </a:cubicBezTo>
                <a:cubicBezTo>
                  <a:pt x="5969" y="22124"/>
                  <a:pt x="5969" y="22156"/>
                  <a:pt x="5906" y="22156"/>
                </a:cubicBezTo>
                <a:cubicBezTo>
                  <a:pt x="5906" y="22156"/>
                  <a:pt x="5906" y="22156"/>
                  <a:pt x="5875" y="22156"/>
                </a:cubicBezTo>
                <a:cubicBezTo>
                  <a:pt x="5875" y="22124"/>
                  <a:pt x="5875" y="22093"/>
                  <a:pt x="5906" y="22093"/>
                </a:cubicBezTo>
                <a:cubicBezTo>
                  <a:pt x="5938" y="22093"/>
                  <a:pt x="5938" y="22031"/>
                  <a:pt x="5969" y="22062"/>
                </a:cubicBezTo>
                <a:close/>
                <a:moveTo>
                  <a:pt x="5875" y="21312"/>
                </a:moveTo>
                <a:cubicBezTo>
                  <a:pt x="5906" y="21312"/>
                  <a:pt x="5906" y="21343"/>
                  <a:pt x="5938" y="21374"/>
                </a:cubicBezTo>
                <a:cubicBezTo>
                  <a:pt x="5938" y="21406"/>
                  <a:pt x="5906" y="21437"/>
                  <a:pt x="5875" y="21437"/>
                </a:cubicBezTo>
                <a:cubicBezTo>
                  <a:pt x="5844" y="21437"/>
                  <a:pt x="5813" y="21406"/>
                  <a:pt x="5813" y="21374"/>
                </a:cubicBezTo>
                <a:cubicBezTo>
                  <a:pt x="5813" y="21343"/>
                  <a:pt x="5844" y="21312"/>
                  <a:pt x="5875" y="21312"/>
                </a:cubicBezTo>
                <a:close/>
                <a:moveTo>
                  <a:pt x="5813" y="21906"/>
                </a:moveTo>
                <a:cubicBezTo>
                  <a:pt x="5813" y="21874"/>
                  <a:pt x="5844" y="21874"/>
                  <a:pt x="5844" y="21843"/>
                </a:cubicBezTo>
                <a:cubicBezTo>
                  <a:pt x="5875" y="21906"/>
                  <a:pt x="5906" y="21937"/>
                  <a:pt x="5906" y="21968"/>
                </a:cubicBezTo>
                <a:cubicBezTo>
                  <a:pt x="5906" y="22031"/>
                  <a:pt x="5875" y="21968"/>
                  <a:pt x="5875" y="21968"/>
                </a:cubicBezTo>
                <a:cubicBezTo>
                  <a:pt x="5844" y="21999"/>
                  <a:pt x="5813" y="22031"/>
                  <a:pt x="5781" y="22062"/>
                </a:cubicBezTo>
                <a:cubicBezTo>
                  <a:pt x="5781" y="22093"/>
                  <a:pt x="5750" y="22093"/>
                  <a:pt x="5719" y="22093"/>
                </a:cubicBezTo>
                <a:cubicBezTo>
                  <a:pt x="5719" y="22062"/>
                  <a:pt x="5688" y="22031"/>
                  <a:pt x="5719" y="21999"/>
                </a:cubicBezTo>
                <a:cubicBezTo>
                  <a:pt x="5750" y="21968"/>
                  <a:pt x="5781" y="21937"/>
                  <a:pt x="5813" y="21906"/>
                </a:cubicBezTo>
                <a:close/>
                <a:moveTo>
                  <a:pt x="5813" y="22562"/>
                </a:moveTo>
                <a:cubicBezTo>
                  <a:pt x="5813" y="22593"/>
                  <a:pt x="5813" y="22593"/>
                  <a:pt x="5781" y="22624"/>
                </a:cubicBezTo>
                <a:cubicBezTo>
                  <a:pt x="5781" y="22624"/>
                  <a:pt x="5781" y="22624"/>
                  <a:pt x="5781" y="22624"/>
                </a:cubicBezTo>
                <a:cubicBezTo>
                  <a:pt x="5781" y="22624"/>
                  <a:pt x="5781" y="22624"/>
                  <a:pt x="5781" y="22624"/>
                </a:cubicBezTo>
                <a:cubicBezTo>
                  <a:pt x="5813" y="22593"/>
                  <a:pt x="5813" y="22593"/>
                  <a:pt x="5813" y="22562"/>
                </a:cubicBezTo>
                <a:close/>
                <a:moveTo>
                  <a:pt x="5750" y="23843"/>
                </a:moveTo>
                <a:cubicBezTo>
                  <a:pt x="5750" y="23843"/>
                  <a:pt x="5750" y="23843"/>
                  <a:pt x="5719" y="23843"/>
                </a:cubicBezTo>
                <a:cubicBezTo>
                  <a:pt x="5719" y="23843"/>
                  <a:pt x="5719" y="23843"/>
                  <a:pt x="5719" y="23843"/>
                </a:cubicBezTo>
                <a:cubicBezTo>
                  <a:pt x="5719" y="23718"/>
                  <a:pt x="5656" y="23812"/>
                  <a:pt x="5594" y="23812"/>
                </a:cubicBezTo>
                <a:cubicBezTo>
                  <a:pt x="5594" y="23812"/>
                  <a:pt x="5594" y="23812"/>
                  <a:pt x="5563" y="23812"/>
                </a:cubicBezTo>
                <a:cubicBezTo>
                  <a:pt x="5594" y="23781"/>
                  <a:pt x="5625" y="23781"/>
                  <a:pt x="5656" y="23718"/>
                </a:cubicBezTo>
                <a:cubicBezTo>
                  <a:pt x="5656" y="23687"/>
                  <a:pt x="5688" y="23687"/>
                  <a:pt x="5719" y="23718"/>
                </a:cubicBezTo>
                <a:cubicBezTo>
                  <a:pt x="5750" y="23718"/>
                  <a:pt x="5781" y="23749"/>
                  <a:pt x="5750" y="23781"/>
                </a:cubicBezTo>
                <a:cubicBezTo>
                  <a:pt x="5719" y="23812"/>
                  <a:pt x="5750" y="23812"/>
                  <a:pt x="5750" y="23843"/>
                </a:cubicBezTo>
                <a:close/>
                <a:moveTo>
                  <a:pt x="5438" y="22812"/>
                </a:moveTo>
                <a:cubicBezTo>
                  <a:pt x="5438" y="22812"/>
                  <a:pt x="5438" y="22812"/>
                  <a:pt x="5438" y="22812"/>
                </a:cubicBezTo>
                <a:cubicBezTo>
                  <a:pt x="5438" y="22812"/>
                  <a:pt x="5438" y="22812"/>
                  <a:pt x="5406" y="22812"/>
                </a:cubicBezTo>
                <a:cubicBezTo>
                  <a:pt x="5438" y="22812"/>
                  <a:pt x="5438" y="22812"/>
                  <a:pt x="5438" y="22812"/>
                </a:cubicBezTo>
                <a:cubicBezTo>
                  <a:pt x="5438" y="22781"/>
                  <a:pt x="5438" y="22749"/>
                  <a:pt x="5438" y="22718"/>
                </a:cubicBezTo>
                <a:cubicBezTo>
                  <a:pt x="5469" y="22656"/>
                  <a:pt x="5531" y="22562"/>
                  <a:pt x="5594" y="22499"/>
                </a:cubicBezTo>
                <a:cubicBezTo>
                  <a:pt x="5625" y="22437"/>
                  <a:pt x="5688" y="22437"/>
                  <a:pt x="5719" y="22437"/>
                </a:cubicBezTo>
                <a:cubicBezTo>
                  <a:pt x="5656" y="22562"/>
                  <a:pt x="5563" y="22687"/>
                  <a:pt x="5438" y="22812"/>
                </a:cubicBezTo>
                <a:close/>
                <a:moveTo>
                  <a:pt x="5500" y="22999"/>
                </a:moveTo>
                <a:cubicBezTo>
                  <a:pt x="5500" y="23062"/>
                  <a:pt x="5469" y="23093"/>
                  <a:pt x="5438" y="23093"/>
                </a:cubicBezTo>
                <a:cubicBezTo>
                  <a:pt x="5438" y="23062"/>
                  <a:pt x="5469" y="23031"/>
                  <a:pt x="5500" y="22999"/>
                </a:cubicBezTo>
                <a:close/>
                <a:moveTo>
                  <a:pt x="5063" y="22968"/>
                </a:moveTo>
                <a:cubicBezTo>
                  <a:pt x="5094" y="22937"/>
                  <a:pt x="5125" y="22968"/>
                  <a:pt x="5094" y="22999"/>
                </a:cubicBezTo>
                <a:cubicBezTo>
                  <a:pt x="5094" y="22999"/>
                  <a:pt x="5094" y="22999"/>
                  <a:pt x="5094" y="23031"/>
                </a:cubicBezTo>
                <a:cubicBezTo>
                  <a:pt x="5094" y="23031"/>
                  <a:pt x="5094" y="23031"/>
                  <a:pt x="5094" y="23031"/>
                </a:cubicBezTo>
                <a:cubicBezTo>
                  <a:pt x="5094" y="23031"/>
                  <a:pt x="5063" y="23062"/>
                  <a:pt x="5063" y="23062"/>
                </a:cubicBezTo>
                <a:cubicBezTo>
                  <a:pt x="5063" y="23062"/>
                  <a:pt x="5063" y="23062"/>
                  <a:pt x="5063" y="23062"/>
                </a:cubicBezTo>
                <a:cubicBezTo>
                  <a:pt x="5031" y="23062"/>
                  <a:pt x="4969" y="23093"/>
                  <a:pt x="4938" y="23062"/>
                </a:cubicBezTo>
                <a:cubicBezTo>
                  <a:pt x="4938" y="22999"/>
                  <a:pt x="5000" y="22968"/>
                  <a:pt x="5063" y="22968"/>
                </a:cubicBezTo>
                <a:close/>
                <a:moveTo>
                  <a:pt x="4875" y="23031"/>
                </a:moveTo>
                <a:cubicBezTo>
                  <a:pt x="4844" y="23031"/>
                  <a:pt x="4844" y="23062"/>
                  <a:pt x="4813" y="23031"/>
                </a:cubicBezTo>
                <a:cubicBezTo>
                  <a:pt x="4781" y="22999"/>
                  <a:pt x="4813" y="22968"/>
                  <a:pt x="4813" y="22968"/>
                </a:cubicBezTo>
                <a:cubicBezTo>
                  <a:pt x="4906" y="22937"/>
                  <a:pt x="4906" y="22874"/>
                  <a:pt x="4938" y="22812"/>
                </a:cubicBezTo>
                <a:cubicBezTo>
                  <a:pt x="4969" y="22781"/>
                  <a:pt x="5000" y="22781"/>
                  <a:pt x="5031" y="22781"/>
                </a:cubicBezTo>
                <a:cubicBezTo>
                  <a:pt x="5031" y="22843"/>
                  <a:pt x="5031" y="22874"/>
                  <a:pt x="4969" y="22874"/>
                </a:cubicBezTo>
                <a:cubicBezTo>
                  <a:pt x="4906" y="22906"/>
                  <a:pt x="4938" y="22999"/>
                  <a:pt x="4875" y="23031"/>
                </a:cubicBezTo>
                <a:close/>
                <a:moveTo>
                  <a:pt x="5031" y="22718"/>
                </a:moveTo>
                <a:cubicBezTo>
                  <a:pt x="5094" y="22624"/>
                  <a:pt x="5156" y="22562"/>
                  <a:pt x="5219" y="22468"/>
                </a:cubicBezTo>
                <a:cubicBezTo>
                  <a:pt x="5250" y="22406"/>
                  <a:pt x="5281" y="22437"/>
                  <a:pt x="5313" y="22437"/>
                </a:cubicBezTo>
                <a:cubicBezTo>
                  <a:pt x="5281" y="22531"/>
                  <a:pt x="5188" y="22624"/>
                  <a:pt x="5125" y="22718"/>
                </a:cubicBezTo>
                <a:cubicBezTo>
                  <a:pt x="5094" y="22749"/>
                  <a:pt x="5063" y="22749"/>
                  <a:pt x="5031" y="22718"/>
                </a:cubicBezTo>
                <a:close/>
                <a:moveTo>
                  <a:pt x="5375" y="22312"/>
                </a:moveTo>
                <a:cubicBezTo>
                  <a:pt x="5406" y="22249"/>
                  <a:pt x="5406" y="22312"/>
                  <a:pt x="5406" y="22343"/>
                </a:cubicBezTo>
                <a:cubicBezTo>
                  <a:pt x="5406" y="22343"/>
                  <a:pt x="5406" y="22343"/>
                  <a:pt x="5406" y="22343"/>
                </a:cubicBezTo>
                <a:cubicBezTo>
                  <a:pt x="5375" y="22374"/>
                  <a:pt x="5375" y="22437"/>
                  <a:pt x="5313" y="22374"/>
                </a:cubicBezTo>
                <a:cubicBezTo>
                  <a:pt x="5281" y="22343"/>
                  <a:pt x="5344" y="22312"/>
                  <a:pt x="5375" y="22312"/>
                </a:cubicBezTo>
                <a:close/>
                <a:moveTo>
                  <a:pt x="5250" y="22593"/>
                </a:moveTo>
                <a:cubicBezTo>
                  <a:pt x="5313" y="22562"/>
                  <a:pt x="5344" y="22468"/>
                  <a:pt x="5406" y="22437"/>
                </a:cubicBezTo>
                <a:cubicBezTo>
                  <a:pt x="5438" y="22406"/>
                  <a:pt x="5438" y="22374"/>
                  <a:pt x="5438" y="22343"/>
                </a:cubicBezTo>
                <a:cubicBezTo>
                  <a:pt x="5438" y="22343"/>
                  <a:pt x="5438" y="22343"/>
                  <a:pt x="5438" y="22343"/>
                </a:cubicBezTo>
                <a:cubicBezTo>
                  <a:pt x="5438" y="22343"/>
                  <a:pt x="5438" y="22343"/>
                  <a:pt x="5438" y="22343"/>
                </a:cubicBezTo>
                <a:cubicBezTo>
                  <a:pt x="5469" y="22343"/>
                  <a:pt x="5500" y="22312"/>
                  <a:pt x="5531" y="22281"/>
                </a:cubicBezTo>
                <a:cubicBezTo>
                  <a:pt x="5563" y="22281"/>
                  <a:pt x="5656" y="22343"/>
                  <a:pt x="5594" y="22374"/>
                </a:cubicBezTo>
                <a:cubicBezTo>
                  <a:pt x="5531" y="22406"/>
                  <a:pt x="5531" y="22499"/>
                  <a:pt x="5500" y="22531"/>
                </a:cubicBezTo>
                <a:cubicBezTo>
                  <a:pt x="5438" y="22593"/>
                  <a:pt x="5406" y="22656"/>
                  <a:pt x="5375" y="22718"/>
                </a:cubicBezTo>
                <a:cubicBezTo>
                  <a:pt x="5344" y="22749"/>
                  <a:pt x="5281" y="22781"/>
                  <a:pt x="5219" y="22749"/>
                </a:cubicBezTo>
                <a:cubicBezTo>
                  <a:pt x="5188" y="22687"/>
                  <a:pt x="5219" y="22656"/>
                  <a:pt x="5250" y="22593"/>
                </a:cubicBezTo>
                <a:close/>
                <a:moveTo>
                  <a:pt x="5531" y="22249"/>
                </a:moveTo>
                <a:cubicBezTo>
                  <a:pt x="5563" y="22249"/>
                  <a:pt x="5625" y="22249"/>
                  <a:pt x="5656" y="22249"/>
                </a:cubicBezTo>
                <a:cubicBezTo>
                  <a:pt x="5625" y="22249"/>
                  <a:pt x="5563" y="22249"/>
                  <a:pt x="5531" y="22249"/>
                </a:cubicBezTo>
                <a:close/>
                <a:moveTo>
                  <a:pt x="5375" y="22812"/>
                </a:moveTo>
                <a:cubicBezTo>
                  <a:pt x="5406" y="22812"/>
                  <a:pt x="5406" y="22843"/>
                  <a:pt x="5406" y="22843"/>
                </a:cubicBezTo>
                <a:cubicBezTo>
                  <a:pt x="5406" y="22874"/>
                  <a:pt x="5406" y="22906"/>
                  <a:pt x="5344" y="22906"/>
                </a:cubicBezTo>
                <a:cubicBezTo>
                  <a:pt x="5344" y="22906"/>
                  <a:pt x="5313" y="22874"/>
                  <a:pt x="5313" y="22874"/>
                </a:cubicBezTo>
                <a:cubicBezTo>
                  <a:pt x="5313" y="22843"/>
                  <a:pt x="5344" y="22812"/>
                  <a:pt x="5375" y="22812"/>
                </a:cubicBezTo>
                <a:close/>
                <a:moveTo>
                  <a:pt x="5375" y="23187"/>
                </a:moveTo>
                <a:cubicBezTo>
                  <a:pt x="5375" y="23156"/>
                  <a:pt x="5406" y="23124"/>
                  <a:pt x="5438" y="23124"/>
                </a:cubicBezTo>
                <a:cubicBezTo>
                  <a:pt x="5438" y="23156"/>
                  <a:pt x="5406" y="23187"/>
                  <a:pt x="5375" y="23187"/>
                </a:cubicBezTo>
                <a:cubicBezTo>
                  <a:pt x="5375" y="23249"/>
                  <a:pt x="5313" y="23249"/>
                  <a:pt x="5281" y="23312"/>
                </a:cubicBezTo>
                <a:cubicBezTo>
                  <a:pt x="5313" y="23249"/>
                  <a:pt x="5313" y="23187"/>
                  <a:pt x="5375" y="23187"/>
                </a:cubicBezTo>
                <a:close/>
                <a:moveTo>
                  <a:pt x="5313" y="21874"/>
                </a:moveTo>
                <a:cubicBezTo>
                  <a:pt x="5375" y="21812"/>
                  <a:pt x="5406" y="21749"/>
                  <a:pt x="5500" y="21812"/>
                </a:cubicBezTo>
                <a:cubicBezTo>
                  <a:pt x="5500" y="21812"/>
                  <a:pt x="5500" y="21812"/>
                  <a:pt x="5500" y="21781"/>
                </a:cubicBezTo>
                <a:cubicBezTo>
                  <a:pt x="5500" y="21843"/>
                  <a:pt x="5500" y="21843"/>
                  <a:pt x="5563" y="21843"/>
                </a:cubicBezTo>
                <a:cubicBezTo>
                  <a:pt x="5563" y="21812"/>
                  <a:pt x="5563" y="21781"/>
                  <a:pt x="5531" y="21781"/>
                </a:cubicBezTo>
                <a:cubicBezTo>
                  <a:pt x="5563" y="21781"/>
                  <a:pt x="5531" y="21718"/>
                  <a:pt x="5594" y="21718"/>
                </a:cubicBezTo>
                <a:cubicBezTo>
                  <a:pt x="5563" y="21656"/>
                  <a:pt x="5625" y="21656"/>
                  <a:pt x="5656" y="21624"/>
                </a:cubicBezTo>
                <a:cubicBezTo>
                  <a:pt x="5656" y="21593"/>
                  <a:pt x="5688" y="21624"/>
                  <a:pt x="5719" y="21656"/>
                </a:cubicBezTo>
                <a:cubicBezTo>
                  <a:pt x="5750" y="21687"/>
                  <a:pt x="5688" y="21687"/>
                  <a:pt x="5688" y="21687"/>
                </a:cubicBezTo>
                <a:cubicBezTo>
                  <a:pt x="5625" y="21718"/>
                  <a:pt x="5625" y="21812"/>
                  <a:pt x="5563" y="21843"/>
                </a:cubicBezTo>
                <a:cubicBezTo>
                  <a:pt x="5531" y="21937"/>
                  <a:pt x="5469" y="21968"/>
                  <a:pt x="5406" y="22031"/>
                </a:cubicBezTo>
                <a:cubicBezTo>
                  <a:pt x="5375" y="22093"/>
                  <a:pt x="5344" y="22062"/>
                  <a:pt x="5313" y="21999"/>
                </a:cubicBezTo>
                <a:cubicBezTo>
                  <a:pt x="5313" y="21968"/>
                  <a:pt x="5281" y="21906"/>
                  <a:pt x="5313" y="21874"/>
                </a:cubicBezTo>
                <a:close/>
                <a:moveTo>
                  <a:pt x="5281" y="22031"/>
                </a:moveTo>
                <a:cubicBezTo>
                  <a:pt x="5250" y="22062"/>
                  <a:pt x="5219" y="22093"/>
                  <a:pt x="5219" y="22093"/>
                </a:cubicBezTo>
                <a:cubicBezTo>
                  <a:pt x="5188" y="22093"/>
                  <a:pt x="5156" y="22093"/>
                  <a:pt x="5188" y="22062"/>
                </a:cubicBezTo>
                <a:cubicBezTo>
                  <a:pt x="5188" y="22031"/>
                  <a:pt x="5188" y="21999"/>
                  <a:pt x="5219" y="21999"/>
                </a:cubicBezTo>
                <a:cubicBezTo>
                  <a:pt x="5250" y="21999"/>
                  <a:pt x="5250" y="22031"/>
                  <a:pt x="5281" y="22031"/>
                </a:cubicBezTo>
                <a:close/>
                <a:moveTo>
                  <a:pt x="4781" y="20656"/>
                </a:moveTo>
                <a:cubicBezTo>
                  <a:pt x="4844" y="20656"/>
                  <a:pt x="4938" y="20656"/>
                  <a:pt x="4969" y="20718"/>
                </a:cubicBezTo>
                <a:cubicBezTo>
                  <a:pt x="5031" y="20687"/>
                  <a:pt x="5125" y="20624"/>
                  <a:pt x="5219" y="20593"/>
                </a:cubicBezTo>
                <a:cubicBezTo>
                  <a:pt x="5125" y="20624"/>
                  <a:pt x="5031" y="20687"/>
                  <a:pt x="4969" y="20718"/>
                </a:cubicBezTo>
                <a:cubicBezTo>
                  <a:pt x="4969" y="20718"/>
                  <a:pt x="4938" y="20749"/>
                  <a:pt x="4938" y="20749"/>
                </a:cubicBezTo>
                <a:cubicBezTo>
                  <a:pt x="4844" y="20749"/>
                  <a:pt x="4813" y="20843"/>
                  <a:pt x="4781" y="20937"/>
                </a:cubicBezTo>
                <a:cubicBezTo>
                  <a:pt x="4688" y="20906"/>
                  <a:pt x="4688" y="20843"/>
                  <a:pt x="4688" y="20781"/>
                </a:cubicBezTo>
                <a:cubicBezTo>
                  <a:pt x="4688" y="20718"/>
                  <a:pt x="4750" y="20687"/>
                  <a:pt x="4781" y="20656"/>
                </a:cubicBezTo>
                <a:close/>
                <a:moveTo>
                  <a:pt x="5063" y="20937"/>
                </a:moveTo>
                <a:cubicBezTo>
                  <a:pt x="5094" y="20937"/>
                  <a:pt x="5094" y="20968"/>
                  <a:pt x="5094" y="20999"/>
                </a:cubicBezTo>
                <a:cubicBezTo>
                  <a:pt x="5094" y="21093"/>
                  <a:pt x="5031" y="21187"/>
                  <a:pt x="4938" y="21156"/>
                </a:cubicBezTo>
                <a:cubicBezTo>
                  <a:pt x="4906" y="21156"/>
                  <a:pt x="4875" y="21156"/>
                  <a:pt x="4875" y="21124"/>
                </a:cubicBezTo>
                <a:cubicBezTo>
                  <a:pt x="4875" y="21062"/>
                  <a:pt x="4906" y="21062"/>
                  <a:pt x="4938" y="21062"/>
                </a:cubicBezTo>
                <a:cubicBezTo>
                  <a:pt x="4969" y="21062"/>
                  <a:pt x="5000" y="21062"/>
                  <a:pt x="5000" y="20999"/>
                </a:cubicBezTo>
                <a:cubicBezTo>
                  <a:pt x="5000" y="20968"/>
                  <a:pt x="5000" y="20937"/>
                  <a:pt x="5063" y="20937"/>
                </a:cubicBezTo>
                <a:close/>
                <a:moveTo>
                  <a:pt x="4719" y="21374"/>
                </a:moveTo>
                <a:cubicBezTo>
                  <a:pt x="4719" y="21343"/>
                  <a:pt x="4750" y="21312"/>
                  <a:pt x="4750" y="21312"/>
                </a:cubicBezTo>
                <a:cubicBezTo>
                  <a:pt x="4750" y="21312"/>
                  <a:pt x="4750" y="21312"/>
                  <a:pt x="4750" y="21312"/>
                </a:cubicBezTo>
                <a:cubicBezTo>
                  <a:pt x="4781" y="21312"/>
                  <a:pt x="4750" y="21343"/>
                  <a:pt x="4750" y="21343"/>
                </a:cubicBezTo>
                <a:cubicBezTo>
                  <a:pt x="4750" y="21343"/>
                  <a:pt x="4781" y="21312"/>
                  <a:pt x="4750" y="21312"/>
                </a:cubicBezTo>
                <a:cubicBezTo>
                  <a:pt x="4750" y="21312"/>
                  <a:pt x="4719" y="21343"/>
                  <a:pt x="4719" y="21374"/>
                </a:cubicBezTo>
                <a:cubicBezTo>
                  <a:pt x="4688" y="21374"/>
                  <a:pt x="4688" y="21374"/>
                  <a:pt x="4656" y="21374"/>
                </a:cubicBezTo>
                <a:cubicBezTo>
                  <a:pt x="4688" y="21374"/>
                  <a:pt x="4688" y="21374"/>
                  <a:pt x="4719" y="21374"/>
                </a:cubicBezTo>
                <a:close/>
                <a:moveTo>
                  <a:pt x="4719" y="21374"/>
                </a:moveTo>
                <a:cubicBezTo>
                  <a:pt x="4719" y="21374"/>
                  <a:pt x="4719" y="21374"/>
                  <a:pt x="4719" y="21374"/>
                </a:cubicBezTo>
                <a:cubicBezTo>
                  <a:pt x="4719" y="21374"/>
                  <a:pt x="4719" y="21374"/>
                  <a:pt x="4719" y="21374"/>
                </a:cubicBezTo>
                <a:cubicBezTo>
                  <a:pt x="4719" y="21374"/>
                  <a:pt x="4719" y="21374"/>
                  <a:pt x="4719" y="21374"/>
                </a:cubicBezTo>
                <a:close/>
                <a:moveTo>
                  <a:pt x="4656" y="22656"/>
                </a:moveTo>
                <a:cubicBezTo>
                  <a:pt x="4656" y="22656"/>
                  <a:pt x="4656" y="22656"/>
                  <a:pt x="4656" y="22656"/>
                </a:cubicBezTo>
                <a:cubicBezTo>
                  <a:pt x="4656" y="22656"/>
                  <a:pt x="4656" y="22656"/>
                  <a:pt x="4656" y="22656"/>
                </a:cubicBezTo>
                <a:cubicBezTo>
                  <a:pt x="4656" y="22656"/>
                  <a:pt x="4656" y="22656"/>
                  <a:pt x="4656" y="22656"/>
                </a:cubicBezTo>
                <a:close/>
                <a:moveTo>
                  <a:pt x="4656" y="21437"/>
                </a:moveTo>
                <a:cubicBezTo>
                  <a:pt x="4656" y="21437"/>
                  <a:pt x="4656" y="21437"/>
                  <a:pt x="4656" y="21437"/>
                </a:cubicBezTo>
                <a:cubicBezTo>
                  <a:pt x="4656" y="21437"/>
                  <a:pt x="4656" y="21437"/>
                  <a:pt x="4656" y="21437"/>
                </a:cubicBezTo>
                <a:cubicBezTo>
                  <a:pt x="4656" y="21437"/>
                  <a:pt x="4656" y="21437"/>
                  <a:pt x="4656" y="21437"/>
                </a:cubicBezTo>
                <a:close/>
                <a:moveTo>
                  <a:pt x="4625" y="22687"/>
                </a:moveTo>
                <a:cubicBezTo>
                  <a:pt x="4594" y="22718"/>
                  <a:pt x="4594" y="22749"/>
                  <a:pt x="4563" y="22781"/>
                </a:cubicBezTo>
                <a:cubicBezTo>
                  <a:pt x="4531" y="22812"/>
                  <a:pt x="4531" y="22812"/>
                  <a:pt x="4469" y="22812"/>
                </a:cubicBezTo>
                <a:cubicBezTo>
                  <a:pt x="4438" y="22843"/>
                  <a:pt x="4438" y="22874"/>
                  <a:pt x="4438" y="22906"/>
                </a:cubicBezTo>
                <a:cubicBezTo>
                  <a:pt x="4438" y="22906"/>
                  <a:pt x="4438" y="22937"/>
                  <a:pt x="4469" y="22937"/>
                </a:cubicBezTo>
                <a:cubicBezTo>
                  <a:pt x="4500" y="22937"/>
                  <a:pt x="4500" y="22906"/>
                  <a:pt x="4531" y="22906"/>
                </a:cubicBezTo>
                <a:cubicBezTo>
                  <a:pt x="4563" y="22874"/>
                  <a:pt x="4594" y="22812"/>
                  <a:pt x="4594" y="22781"/>
                </a:cubicBezTo>
                <a:cubicBezTo>
                  <a:pt x="4625" y="22749"/>
                  <a:pt x="4656" y="22749"/>
                  <a:pt x="4656" y="22718"/>
                </a:cubicBezTo>
                <a:cubicBezTo>
                  <a:pt x="4656" y="22718"/>
                  <a:pt x="4656" y="22718"/>
                  <a:pt x="4656" y="22718"/>
                </a:cubicBezTo>
                <a:cubicBezTo>
                  <a:pt x="4688" y="22687"/>
                  <a:pt x="4719" y="22781"/>
                  <a:pt x="4750" y="22718"/>
                </a:cubicBezTo>
                <a:cubicBezTo>
                  <a:pt x="4781" y="22687"/>
                  <a:pt x="4688" y="22718"/>
                  <a:pt x="4688" y="22687"/>
                </a:cubicBezTo>
                <a:cubicBezTo>
                  <a:pt x="4688" y="22656"/>
                  <a:pt x="4688" y="22656"/>
                  <a:pt x="4688" y="22656"/>
                </a:cubicBezTo>
                <a:cubicBezTo>
                  <a:pt x="4750" y="22593"/>
                  <a:pt x="4813" y="22531"/>
                  <a:pt x="4906" y="22531"/>
                </a:cubicBezTo>
                <a:cubicBezTo>
                  <a:pt x="4938" y="22499"/>
                  <a:pt x="4969" y="22499"/>
                  <a:pt x="4969" y="22437"/>
                </a:cubicBezTo>
                <a:cubicBezTo>
                  <a:pt x="4969" y="22406"/>
                  <a:pt x="5000" y="22374"/>
                  <a:pt x="5031" y="22374"/>
                </a:cubicBezTo>
                <a:cubicBezTo>
                  <a:pt x="5031" y="22374"/>
                  <a:pt x="5031" y="22374"/>
                  <a:pt x="5031" y="22374"/>
                </a:cubicBezTo>
                <a:cubicBezTo>
                  <a:pt x="5031" y="22374"/>
                  <a:pt x="5031" y="22374"/>
                  <a:pt x="5031" y="22374"/>
                </a:cubicBezTo>
                <a:cubicBezTo>
                  <a:pt x="5031" y="22374"/>
                  <a:pt x="5031" y="22374"/>
                  <a:pt x="5031" y="22374"/>
                </a:cubicBezTo>
                <a:cubicBezTo>
                  <a:pt x="5063" y="22343"/>
                  <a:pt x="5094" y="22312"/>
                  <a:pt x="5094" y="22281"/>
                </a:cubicBezTo>
                <a:cubicBezTo>
                  <a:pt x="5125" y="22281"/>
                  <a:pt x="5125" y="22281"/>
                  <a:pt x="5125" y="22281"/>
                </a:cubicBezTo>
                <a:cubicBezTo>
                  <a:pt x="5188" y="22281"/>
                  <a:pt x="5219" y="22187"/>
                  <a:pt x="5250" y="22249"/>
                </a:cubicBezTo>
                <a:cubicBezTo>
                  <a:pt x="5250" y="22281"/>
                  <a:pt x="5219" y="22343"/>
                  <a:pt x="5156" y="22374"/>
                </a:cubicBezTo>
                <a:cubicBezTo>
                  <a:pt x="5094" y="22374"/>
                  <a:pt x="5094" y="22406"/>
                  <a:pt x="5094" y="22437"/>
                </a:cubicBezTo>
                <a:cubicBezTo>
                  <a:pt x="5063" y="22531"/>
                  <a:pt x="5000" y="22624"/>
                  <a:pt x="4938" y="22687"/>
                </a:cubicBezTo>
                <a:cubicBezTo>
                  <a:pt x="4781" y="22874"/>
                  <a:pt x="4656" y="23031"/>
                  <a:pt x="4531" y="23187"/>
                </a:cubicBezTo>
                <a:cubicBezTo>
                  <a:pt x="4469" y="23249"/>
                  <a:pt x="4469" y="23343"/>
                  <a:pt x="4375" y="23343"/>
                </a:cubicBezTo>
                <a:cubicBezTo>
                  <a:pt x="4375" y="23343"/>
                  <a:pt x="4344" y="23343"/>
                  <a:pt x="4344" y="23343"/>
                </a:cubicBezTo>
                <a:cubicBezTo>
                  <a:pt x="4375" y="23374"/>
                  <a:pt x="4375" y="23406"/>
                  <a:pt x="4344" y="23406"/>
                </a:cubicBezTo>
                <a:cubicBezTo>
                  <a:pt x="4313" y="23406"/>
                  <a:pt x="4313" y="23374"/>
                  <a:pt x="4313" y="23343"/>
                </a:cubicBezTo>
                <a:cubicBezTo>
                  <a:pt x="4281" y="23281"/>
                  <a:pt x="4250" y="23187"/>
                  <a:pt x="4313" y="23124"/>
                </a:cubicBezTo>
                <a:cubicBezTo>
                  <a:pt x="4344" y="23124"/>
                  <a:pt x="4344" y="23124"/>
                  <a:pt x="4375" y="23124"/>
                </a:cubicBezTo>
                <a:cubicBezTo>
                  <a:pt x="4375" y="23156"/>
                  <a:pt x="4406" y="23187"/>
                  <a:pt x="4406" y="23218"/>
                </a:cubicBezTo>
                <a:cubicBezTo>
                  <a:pt x="4406" y="23249"/>
                  <a:pt x="4406" y="23249"/>
                  <a:pt x="4438" y="23249"/>
                </a:cubicBezTo>
                <a:lnTo>
                  <a:pt x="4438" y="23249"/>
                </a:lnTo>
                <a:cubicBezTo>
                  <a:pt x="4469" y="23218"/>
                  <a:pt x="4469" y="23218"/>
                  <a:pt x="4438" y="23187"/>
                </a:cubicBezTo>
                <a:cubicBezTo>
                  <a:pt x="4438" y="23156"/>
                  <a:pt x="4406" y="23156"/>
                  <a:pt x="4375" y="23124"/>
                </a:cubicBezTo>
                <a:cubicBezTo>
                  <a:pt x="4375" y="23093"/>
                  <a:pt x="4313" y="22968"/>
                  <a:pt x="4313" y="22968"/>
                </a:cubicBezTo>
                <a:cubicBezTo>
                  <a:pt x="4313" y="22968"/>
                  <a:pt x="4313" y="22968"/>
                  <a:pt x="4313" y="22968"/>
                </a:cubicBezTo>
                <a:cubicBezTo>
                  <a:pt x="4313" y="22999"/>
                  <a:pt x="4344" y="23031"/>
                  <a:pt x="4281" y="23062"/>
                </a:cubicBezTo>
                <a:cubicBezTo>
                  <a:pt x="4281" y="23062"/>
                  <a:pt x="4250" y="23062"/>
                  <a:pt x="4250" y="23031"/>
                </a:cubicBezTo>
                <a:cubicBezTo>
                  <a:pt x="4250" y="22999"/>
                  <a:pt x="4281" y="22968"/>
                  <a:pt x="4313" y="22968"/>
                </a:cubicBezTo>
                <a:cubicBezTo>
                  <a:pt x="4375" y="22812"/>
                  <a:pt x="4500" y="22749"/>
                  <a:pt x="4625" y="22687"/>
                </a:cubicBezTo>
                <a:close/>
                <a:moveTo>
                  <a:pt x="4719" y="23312"/>
                </a:moveTo>
                <a:cubicBezTo>
                  <a:pt x="4625" y="23312"/>
                  <a:pt x="4625" y="23374"/>
                  <a:pt x="4594" y="23406"/>
                </a:cubicBezTo>
                <a:cubicBezTo>
                  <a:pt x="4563" y="23437"/>
                  <a:pt x="4563" y="23437"/>
                  <a:pt x="4531" y="23437"/>
                </a:cubicBezTo>
                <a:cubicBezTo>
                  <a:pt x="4500" y="23406"/>
                  <a:pt x="4500" y="23374"/>
                  <a:pt x="4531" y="23343"/>
                </a:cubicBezTo>
                <a:cubicBezTo>
                  <a:pt x="4625" y="23312"/>
                  <a:pt x="4625" y="23218"/>
                  <a:pt x="4688" y="23156"/>
                </a:cubicBezTo>
                <a:cubicBezTo>
                  <a:pt x="4719" y="23124"/>
                  <a:pt x="4719" y="23124"/>
                  <a:pt x="4750" y="23124"/>
                </a:cubicBezTo>
                <a:cubicBezTo>
                  <a:pt x="4750" y="23124"/>
                  <a:pt x="4750" y="23156"/>
                  <a:pt x="4750" y="23187"/>
                </a:cubicBezTo>
                <a:cubicBezTo>
                  <a:pt x="4719" y="23218"/>
                  <a:pt x="4688" y="23249"/>
                  <a:pt x="4719" y="23312"/>
                </a:cubicBezTo>
                <a:close/>
                <a:moveTo>
                  <a:pt x="4469" y="21624"/>
                </a:moveTo>
                <a:cubicBezTo>
                  <a:pt x="4469" y="21624"/>
                  <a:pt x="4469" y="21624"/>
                  <a:pt x="4469" y="21624"/>
                </a:cubicBezTo>
                <a:cubicBezTo>
                  <a:pt x="4469" y="21624"/>
                  <a:pt x="4469" y="21593"/>
                  <a:pt x="4469" y="21593"/>
                </a:cubicBezTo>
                <a:cubicBezTo>
                  <a:pt x="4438" y="21624"/>
                  <a:pt x="4406" y="21656"/>
                  <a:pt x="4406" y="21656"/>
                </a:cubicBezTo>
                <a:cubicBezTo>
                  <a:pt x="4406" y="21656"/>
                  <a:pt x="4406" y="21687"/>
                  <a:pt x="4406" y="21687"/>
                </a:cubicBezTo>
                <a:cubicBezTo>
                  <a:pt x="4406" y="21687"/>
                  <a:pt x="4406" y="21687"/>
                  <a:pt x="4406" y="21687"/>
                </a:cubicBezTo>
                <a:cubicBezTo>
                  <a:pt x="4406" y="21687"/>
                  <a:pt x="4406" y="21656"/>
                  <a:pt x="4406" y="21656"/>
                </a:cubicBezTo>
                <a:cubicBezTo>
                  <a:pt x="4406" y="21656"/>
                  <a:pt x="4438" y="21624"/>
                  <a:pt x="4469" y="21593"/>
                </a:cubicBezTo>
                <a:cubicBezTo>
                  <a:pt x="4469" y="21593"/>
                  <a:pt x="4500" y="21562"/>
                  <a:pt x="4500" y="21562"/>
                </a:cubicBezTo>
                <a:cubicBezTo>
                  <a:pt x="4500" y="21562"/>
                  <a:pt x="4469" y="21593"/>
                  <a:pt x="4469" y="21593"/>
                </a:cubicBezTo>
                <a:cubicBezTo>
                  <a:pt x="4469" y="21593"/>
                  <a:pt x="4469" y="21624"/>
                  <a:pt x="4469" y="21624"/>
                </a:cubicBezTo>
                <a:close/>
                <a:moveTo>
                  <a:pt x="3594" y="21124"/>
                </a:moveTo>
                <a:cubicBezTo>
                  <a:pt x="3625" y="21124"/>
                  <a:pt x="3625" y="21124"/>
                  <a:pt x="3625" y="21124"/>
                </a:cubicBezTo>
                <a:cubicBezTo>
                  <a:pt x="3625" y="21156"/>
                  <a:pt x="3594" y="21156"/>
                  <a:pt x="3594" y="21156"/>
                </a:cubicBezTo>
                <a:cubicBezTo>
                  <a:pt x="3594" y="21156"/>
                  <a:pt x="3594" y="21124"/>
                  <a:pt x="3594" y="21124"/>
                </a:cubicBezTo>
                <a:close/>
                <a:moveTo>
                  <a:pt x="3813" y="21499"/>
                </a:moveTo>
                <a:cubicBezTo>
                  <a:pt x="3906" y="21312"/>
                  <a:pt x="4063" y="21187"/>
                  <a:pt x="4188" y="21093"/>
                </a:cubicBezTo>
                <a:cubicBezTo>
                  <a:pt x="4250" y="20999"/>
                  <a:pt x="4344" y="20937"/>
                  <a:pt x="4406" y="20843"/>
                </a:cubicBezTo>
                <a:cubicBezTo>
                  <a:pt x="4438" y="20843"/>
                  <a:pt x="4438" y="20812"/>
                  <a:pt x="4469" y="20812"/>
                </a:cubicBezTo>
                <a:cubicBezTo>
                  <a:pt x="4500" y="20812"/>
                  <a:pt x="4500" y="20874"/>
                  <a:pt x="4500" y="20874"/>
                </a:cubicBezTo>
                <a:cubicBezTo>
                  <a:pt x="4469" y="20968"/>
                  <a:pt x="4500" y="21062"/>
                  <a:pt x="4438" y="21124"/>
                </a:cubicBezTo>
                <a:cubicBezTo>
                  <a:pt x="4188" y="21374"/>
                  <a:pt x="3969" y="21624"/>
                  <a:pt x="3750" y="21874"/>
                </a:cubicBezTo>
                <a:cubicBezTo>
                  <a:pt x="3688" y="21937"/>
                  <a:pt x="3656" y="21999"/>
                  <a:pt x="3594" y="22062"/>
                </a:cubicBezTo>
                <a:cubicBezTo>
                  <a:pt x="3656" y="21874"/>
                  <a:pt x="3719" y="21687"/>
                  <a:pt x="3813" y="21499"/>
                </a:cubicBezTo>
                <a:close/>
                <a:moveTo>
                  <a:pt x="3438" y="21656"/>
                </a:moveTo>
                <a:cubicBezTo>
                  <a:pt x="3438" y="21656"/>
                  <a:pt x="3438" y="21656"/>
                  <a:pt x="3438" y="21656"/>
                </a:cubicBezTo>
                <a:cubicBezTo>
                  <a:pt x="3438" y="21687"/>
                  <a:pt x="3438" y="21687"/>
                  <a:pt x="3438" y="21718"/>
                </a:cubicBezTo>
                <a:cubicBezTo>
                  <a:pt x="3438" y="21687"/>
                  <a:pt x="3438" y="21687"/>
                  <a:pt x="3438" y="21656"/>
                </a:cubicBezTo>
                <a:close/>
                <a:moveTo>
                  <a:pt x="3094" y="24531"/>
                </a:moveTo>
                <a:cubicBezTo>
                  <a:pt x="3125" y="24499"/>
                  <a:pt x="3125" y="24468"/>
                  <a:pt x="3156" y="24437"/>
                </a:cubicBezTo>
                <a:cubicBezTo>
                  <a:pt x="3188" y="24468"/>
                  <a:pt x="3250" y="24531"/>
                  <a:pt x="3125" y="24562"/>
                </a:cubicBezTo>
                <a:cubicBezTo>
                  <a:pt x="3125" y="24562"/>
                  <a:pt x="3125" y="24624"/>
                  <a:pt x="3094" y="24562"/>
                </a:cubicBezTo>
                <a:cubicBezTo>
                  <a:pt x="3094" y="24562"/>
                  <a:pt x="3063" y="24531"/>
                  <a:pt x="3094" y="24531"/>
                </a:cubicBezTo>
                <a:close/>
                <a:moveTo>
                  <a:pt x="3063" y="24718"/>
                </a:moveTo>
                <a:cubicBezTo>
                  <a:pt x="3063" y="24718"/>
                  <a:pt x="3063" y="24718"/>
                  <a:pt x="3063" y="24718"/>
                </a:cubicBezTo>
                <a:cubicBezTo>
                  <a:pt x="3063" y="24687"/>
                  <a:pt x="3031" y="24687"/>
                  <a:pt x="3031" y="24687"/>
                </a:cubicBezTo>
                <a:cubicBezTo>
                  <a:pt x="3031" y="24687"/>
                  <a:pt x="3063" y="24687"/>
                  <a:pt x="3063" y="24718"/>
                </a:cubicBezTo>
                <a:close/>
                <a:moveTo>
                  <a:pt x="2281" y="24156"/>
                </a:moveTo>
                <a:cubicBezTo>
                  <a:pt x="2281" y="24156"/>
                  <a:pt x="2281" y="24156"/>
                  <a:pt x="2313" y="24156"/>
                </a:cubicBezTo>
                <a:cubicBezTo>
                  <a:pt x="2281" y="24156"/>
                  <a:pt x="2281" y="24156"/>
                  <a:pt x="2281" y="24156"/>
                </a:cubicBezTo>
                <a:cubicBezTo>
                  <a:pt x="2281" y="24156"/>
                  <a:pt x="2281" y="24156"/>
                  <a:pt x="2281" y="24187"/>
                </a:cubicBezTo>
                <a:cubicBezTo>
                  <a:pt x="2281" y="24187"/>
                  <a:pt x="2281" y="24187"/>
                  <a:pt x="2281" y="24187"/>
                </a:cubicBezTo>
                <a:cubicBezTo>
                  <a:pt x="2281" y="24156"/>
                  <a:pt x="2281" y="24156"/>
                  <a:pt x="2281" y="24156"/>
                </a:cubicBezTo>
                <a:cubicBezTo>
                  <a:pt x="2281" y="24156"/>
                  <a:pt x="2250" y="24156"/>
                  <a:pt x="2250" y="24156"/>
                </a:cubicBezTo>
                <a:cubicBezTo>
                  <a:pt x="2250" y="24156"/>
                  <a:pt x="2281" y="24156"/>
                  <a:pt x="2281" y="24156"/>
                </a:cubicBezTo>
                <a:close/>
                <a:moveTo>
                  <a:pt x="2531" y="24562"/>
                </a:moveTo>
                <a:cubicBezTo>
                  <a:pt x="2531" y="24624"/>
                  <a:pt x="2469" y="24656"/>
                  <a:pt x="2438" y="24687"/>
                </a:cubicBezTo>
                <a:cubicBezTo>
                  <a:pt x="2375" y="24718"/>
                  <a:pt x="2344" y="24781"/>
                  <a:pt x="2313" y="24812"/>
                </a:cubicBezTo>
                <a:cubicBezTo>
                  <a:pt x="2313" y="24874"/>
                  <a:pt x="2250" y="24874"/>
                  <a:pt x="2219" y="24874"/>
                </a:cubicBezTo>
                <a:cubicBezTo>
                  <a:pt x="2219" y="24812"/>
                  <a:pt x="2219" y="24749"/>
                  <a:pt x="2313" y="24718"/>
                </a:cubicBezTo>
                <a:cubicBezTo>
                  <a:pt x="2344" y="24687"/>
                  <a:pt x="2344" y="24656"/>
                  <a:pt x="2375" y="24593"/>
                </a:cubicBezTo>
                <a:cubicBezTo>
                  <a:pt x="2406" y="24562"/>
                  <a:pt x="2438" y="24468"/>
                  <a:pt x="2531" y="24468"/>
                </a:cubicBezTo>
                <a:cubicBezTo>
                  <a:pt x="2531" y="24499"/>
                  <a:pt x="2500" y="24531"/>
                  <a:pt x="2531" y="24562"/>
                </a:cubicBezTo>
                <a:close/>
                <a:moveTo>
                  <a:pt x="2594" y="22093"/>
                </a:moveTo>
                <a:cubicBezTo>
                  <a:pt x="2594" y="22062"/>
                  <a:pt x="2625" y="22031"/>
                  <a:pt x="2656" y="22031"/>
                </a:cubicBezTo>
                <a:cubicBezTo>
                  <a:pt x="2656" y="22062"/>
                  <a:pt x="2625" y="22062"/>
                  <a:pt x="2594" y="22093"/>
                </a:cubicBezTo>
                <a:close/>
                <a:moveTo>
                  <a:pt x="2656" y="22031"/>
                </a:moveTo>
                <a:cubicBezTo>
                  <a:pt x="2656" y="21999"/>
                  <a:pt x="2688" y="21968"/>
                  <a:pt x="2719" y="21968"/>
                </a:cubicBezTo>
                <a:cubicBezTo>
                  <a:pt x="2719" y="21999"/>
                  <a:pt x="2688" y="22031"/>
                  <a:pt x="2656" y="22031"/>
                </a:cubicBezTo>
                <a:close/>
                <a:moveTo>
                  <a:pt x="2844" y="24968"/>
                </a:moveTo>
                <a:cubicBezTo>
                  <a:pt x="2813" y="25031"/>
                  <a:pt x="2781" y="25124"/>
                  <a:pt x="2688" y="25031"/>
                </a:cubicBezTo>
                <a:cubicBezTo>
                  <a:pt x="2719" y="24999"/>
                  <a:pt x="2750" y="24906"/>
                  <a:pt x="2813" y="24937"/>
                </a:cubicBezTo>
                <a:cubicBezTo>
                  <a:pt x="2844" y="24937"/>
                  <a:pt x="2844" y="24968"/>
                  <a:pt x="2844" y="24968"/>
                </a:cubicBezTo>
                <a:close/>
                <a:moveTo>
                  <a:pt x="2969" y="25093"/>
                </a:moveTo>
                <a:cubicBezTo>
                  <a:pt x="2938" y="25124"/>
                  <a:pt x="2906" y="25124"/>
                  <a:pt x="2906" y="25093"/>
                </a:cubicBezTo>
                <a:cubicBezTo>
                  <a:pt x="2906" y="25062"/>
                  <a:pt x="2938" y="25031"/>
                  <a:pt x="2938" y="25031"/>
                </a:cubicBezTo>
                <a:cubicBezTo>
                  <a:pt x="2938" y="25031"/>
                  <a:pt x="2938" y="25062"/>
                  <a:pt x="2938" y="25062"/>
                </a:cubicBezTo>
                <a:cubicBezTo>
                  <a:pt x="2938" y="25093"/>
                  <a:pt x="3000" y="25062"/>
                  <a:pt x="2969" y="25093"/>
                </a:cubicBezTo>
                <a:close/>
                <a:moveTo>
                  <a:pt x="3156" y="24937"/>
                </a:moveTo>
                <a:cubicBezTo>
                  <a:pt x="3188" y="24937"/>
                  <a:pt x="3188" y="24906"/>
                  <a:pt x="3188" y="24874"/>
                </a:cubicBezTo>
                <a:cubicBezTo>
                  <a:pt x="3188" y="24781"/>
                  <a:pt x="3094" y="24874"/>
                  <a:pt x="3094" y="24812"/>
                </a:cubicBezTo>
                <a:cubicBezTo>
                  <a:pt x="3063" y="24843"/>
                  <a:pt x="3063" y="24843"/>
                  <a:pt x="3094" y="24874"/>
                </a:cubicBezTo>
                <a:cubicBezTo>
                  <a:pt x="3156" y="24906"/>
                  <a:pt x="3063" y="24906"/>
                  <a:pt x="3063" y="24937"/>
                </a:cubicBezTo>
                <a:cubicBezTo>
                  <a:pt x="3094" y="24937"/>
                  <a:pt x="3125" y="24937"/>
                  <a:pt x="3156" y="24937"/>
                </a:cubicBezTo>
                <a:cubicBezTo>
                  <a:pt x="3094" y="24968"/>
                  <a:pt x="3094" y="24968"/>
                  <a:pt x="3125" y="24999"/>
                </a:cubicBezTo>
                <a:cubicBezTo>
                  <a:pt x="3094" y="25031"/>
                  <a:pt x="3094" y="25062"/>
                  <a:pt x="3031" y="25031"/>
                </a:cubicBezTo>
                <a:cubicBezTo>
                  <a:pt x="3031" y="24999"/>
                  <a:pt x="3000" y="24999"/>
                  <a:pt x="2938" y="24999"/>
                </a:cubicBezTo>
                <a:cubicBezTo>
                  <a:pt x="2938" y="24968"/>
                  <a:pt x="2906" y="25031"/>
                  <a:pt x="2906" y="24968"/>
                </a:cubicBezTo>
                <a:cubicBezTo>
                  <a:pt x="2906" y="24968"/>
                  <a:pt x="2938" y="24937"/>
                  <a:pt x="2938" y="24937"/>
                </a:cubicBezTo>
                <a:cubicBezTo>
                  <a:pt x="3000" y="24937"/>
                  <a:pt x="3031" y="24906"/>
                  <a:pt x="3031" y="24843"/>
                </a:cubicBezTo>
                <a:cubicBezTo>
                  <a:pt x="3031" y="24781"/>
                  <a:pt x="3063" y="24781"/>
                  <a:pt x="3063" y="24718"/>
                </a:cubicBezTo>
                <a:cubicBezTo>
                  <a:pt x="3063" y="24718"/>
                  <a:pt x="3063" y="24718"/>
                  <a:pt x="3063" y="24718"/>
                </a:cubicBezTo>
                <a:cubicBezTo>
                  <a:pt x="3063" y="24718"/>
                  <a:pt x="3063" y="24718"/>
                  <a:pt x="3063" y="24718"/>
                </a:cubicBezTo>
                <a:cubicBezTo>
                  <a:pt x="3063" y="24718"/>
                  <a:pt x="3063" y="24718"/>
                  <a:pt x="3063" y="24718"/>
                </a:cubicBezTo>
                <a:cubicBezTo>
                  <a:pt x="3125" y="24718"/>
                  <a:pt x="3125" y="24687"/>
                  <a:pt x="3156" y="24656"/>
                </a:cubicBezTo>
                <a:cubicBezTo>
                  <a:pt x="3219" y="24687"/>
                  <a:pt x="3281" y="24718"/>
                  <a:pt x="3344" y="24749"/>
                </a:cubicBezTo>
                <a:cubicBezTo>
                  <a:pt x="3344" y="24749"/>
                  <a:pt x="3344" y="24749"/>
                  <a:pt x="3344" y="24749"/>
                </a:cubicBezTo>
                <a:cubicBezTo>
                  <a:pt x="3281" y="24781"/>
                  <a:pt x="3281" y="24874"/>
                  <a:pt x="3188" y="24874"/>
                </a:cubicBezTo>
                <a:cubicBezTo>
                  <a:pt x="3188" y="24906"/>
                  <a:pt x="3188" y="24937"/>
                  <a:pt x="3156" y="24937"/>
                </a:cubicBezTo>
                <a:close/>
                <a:moveTo>
                  <a:pt x="3375" y="24968"/>
                </a:moveTo>
                <a:cubicBezTo>
                  <a:pt x="3375" y="24999"/>
                  <a:pt x="3344" y="25031"/>
                  <a:pt x="3344" y="25062"/>
                </a:cubicBezTo>
                <a:cubicBezTo>
                  <a:pt x="3281" y="25031"/>
                  <a:pt x="3281" y="25124"/>
                  <a:pt x="3219" y="25124"/>
                </a:cubicBezTo>
                <a:cubicBezTo>
                  <a:pt x="3250" y="25062"/>
                  <a:pt x="3313" y="25031"/>
                  <a:pt x="3313" y="24937"/>
                </a:cubicBezTo>
                <a:cubicBezTo>
                  <a:pt x="3313" y="24937"/>
                  <a:pt x="3344" y="24937"/>
                  <a:pt x="3375" y="24937"/>
                </a:cubicBezTo>
                <a:cubicBezTo>
                  <a:pt x="3375" y="24937"/>
                  <a:pt x="3375" y="24968"/>
                  <a:pt x="3375" y="24968"/>
                </a:cubicBezTo>
                <a:close/>
                <a:moveTo>
                  <a:pt x="3656" y="24812"/>
                </a:moveTo>
                <a:cubicBezTo>
                  <a:pt x="3625" y="24843"/>
                  <a:pt x="3594" y="24906"/>
                  <a:pt x="3531" y="24843"/>
                </a:cubicBezTo>
                <a:cubicBezTo>
                  <a:pt x="3563" y="24812"/>
                  <a:pt x="3594" y="24781"/>
                  <a:pt x="3625" y="24749"/>
                </a:cubicBezTo>
                <a:cubicBezTo>
                  <a:pt x="3656" y="24781"/>
                  <a:pt x="3688" y="24781"/>
                  <a:pt x="3656" y="24812"/>
                </a:cubicBezTo>
                <a:close/>
                <a:moveTo>
                  <a:pt x="3688" y="24624"/>
                </a:moveTo>
                <a:cubicBezTo>
                  <a:pt x="3625" y="24656"/>
                  <a:pt x="3563" y="24718"/>
                  <a:pt x="3469" y="24718"/>
                </a:cubicBezTo>
                <a:cubicBezTo>
                  <a:pt x="3531" y="24656"/>
                  <a:pt x="3563" y="24593"/>
                  <a:pt x="3625" y="24562"/>
                </a:cubicBezTo>
                <a:cubicBezTo>
                  <a:pt x="3688" y="24531"/>
                  <a:pt x="3656" y="24624"/>
                  <a:pt x="3688" y="24624"/>
                </a:cubicBezTo>
                <a:cubicBezTo>
                  <a:pt x="3688" y="24624"/>
                  <a:pt x="3688" y="24656"/>
                  <a:pt x="3688" y="24656"/>
                </a:cubicBezTo>
                <a:cubicBezTo>
                  <a:pt x="3688" y="24656"/>
                  <a:pt x="3688" y="24624"/>
                  <a:pt x="3688" y="24624"/>
                </a:cubicBezTo>
                <a:close/>
                <a:moveTo>
                  <a:pt x="3844" y="24687"/>
                </a:moveTo>
                <a:cubicBezTo>
                  <a:pt x="3781" y="24718"/>
                  <a:pt x="3688" y="24687"/>
                  <a:pt x="3688" y="24656"/>
                </a:cubicBezTo>
                <a:cubicBezTo>
                  <a:pt x="3688" y="24656"/>
                  <a:pt x="3688" y="24656"/>
                  <a:pt x="3719" y="24656"/>
                </a:cubicBezTo>
                <a:cubicBezTo>
                  <a:pt x="3750" y="24624"/>
                  <a:pt x="3781" y="24593"/>
                  <a:pt x="3813" y="24562"/>
                </a:cubicBezTo>
                <a:cubicBezTo>
                  <a:pt x="3813" y="24593"/>
                  <a:pt x="3750" y="24656"/>
                  <a:pt x="3844" y="24656"/>
                </a:cubicBezTo>
                <a:cubicBezTo>
                  <a:pt x="3875" y="24656"/>
                  <a:pt x="3844" y="24687"/>
                  <a:pt x="3844" y="24687"/>
                </a:cubicBezTo>
                <a:close/>
                <a:moveTo>
                  <a:pt x="3844" y="24062"/>
                </a:moveTo>
                <a:cubicBezTo>
                  <a:pt x="3719" y="24218"/>
                  <a:pt x="3625" y="24406"/>
                  <a:pt x="3469" y="24531"/>
                </a:cubicBezTo>
                <a:cubicBezTo>
                  <a:pt x="3438" y="24562"/>
                  <a:pt x="3438" y="24656"/>
                  <a:pt x="3344" y="24687"/>
                </a:cubicBezTo>
                <a:cubicBezTo>
                  <a:pt x="3344" y="24687"/>
                  <a:pt x="3313" y="24718"/>
                  <a:pt x="3313" y="24687"/>
                </a:cubicBezTo>
                <a:cubicBezTo>
                  <a:pt x="3313" y="24624"/>
                  <a:pt x="3313" y="24624"/>
                  <a:pt x="3281" y="24624"/>
                </a:cubicBezTo>
                <a:cubicBezTo>
                  <a:pt x="3250" y="24656"/>
                  <a:pt x="3219" y="24656"/>
                  <a:pt x="3188" y="24624"/>
                </a:cubicBezTo>
                <a:cubicBezTo>
                  <a:pt x="3188" y="24562"/>
                  <a:pt x="3219" y="24562"/>
                  <a:pt x="3250" y="24531"/>
                </a:cubicBezTo>
                <a:cubicBezTo>
                  <a:pt x="3313" y="24499"/>
                  <a:pt x="3313" y="24437"/>
                  <a:pt x="3313" y="24374"/>
                </a:cubicBezTo>
                <a:cubicBezTo>
                  <a:pt x="3281" y="24437"/>
                  <a:pt x="3219" y="24437"/>
                  <a:pt x="3156" y="24437"/>
                </a:cubicBezTo>
                <a:cubicBezTo>
                  <a:pt x="3156" y="24406"/>
                  <a:pt x="3156" y="24406"/>
                  <a:pt x="3188" y="24374"/>
                </a:cubicBezTo>
                <a:cubicBezTo>
                  <a:pt x="3156" y="24343"/>
                  <a:pt x="3125" y="24406"/>
                  <a:pt x="3094" y="24374"/>
                </a:cubicBezTo>
                <a:cubicBezTo>
                  <a:pt x="3156" y="24312"/>
                  <a:pt x="3219" y="24249"/>
                  <a:pt x="3250" y="24187"/>
                </a:cubicBezTo>
                <a:cubicBezTo>
                  <a:pt x="3313" y="24187"/>
                  <a:pt x="3219" y="24249"/>
                  <a:pt x="3250" y="24281"/>
                </a:cubicBezTo>
                <a:cubicBezTo>
                  <a:pt x="3250" y="24281"/>
                  <a:pt x="3219" y="24281"/>
                  <a:pt x="3219" y="24281"/>
                </a:cubicBezTo>
                <a:cubicBezTo>
                  <a:pt x="3219" y="24281"/>
                  <a:pt x="3219" y="24312"/>
                  <a:pt x="3219" y="24312"/>
                </a:cubicBezTo>
                <a:cubicBezTo>
                  <a:pt x="3250" y="24312"/>
                  <a:pt x="3250" y="24281"/>
                  <a:pt x="3281" y="24281"/>
                </a:cubicBezTo>
                <a:cubicBezTo>
                  <a:pt x="3281" y="24249"/>
                  <a:pt x="3313" y="24218"/>
                  <a:pt x="3313" y="24187"/>
                </a:cubicBezTo>
                <a:cubicBezTo>
                  <a:pt x="3344" y="24156"/>
                  <a:pt x="3406" y="24156"/>
                  <a:pt x="3406" y="24187"/>
                </a:cubicBezTo>
                <a:cubicBezTo>
                  <a:pt x="3406" y="24249"/>
                  <a:pt x="3438" y="24249"/>
                  <a:pt x="3469" y="24249"/>
                </a:cubicBezTo>
                <a:cubicBezTo>
                  <a:pt x="3594" y="24281"/>
                  <a:pt x="3625" y="24156"/>
                  <a:pt x="3688" y="24093"/>
                </a:cubicBezTo>
                <a:cubicBezTo>
                  <a:pt x="3719" y="24062"/>
                  <a:pt x="3656" y="24093"/>
                  <a:pt x="3656" y="24062"/>
                </a:cubicBezTo>
                <a:cubicBezTo>
                  <a:pt x="3625" y="24031"/>
                  <a:pt x="3625" y="23999"/>
                  <a:pt x="3656" y="23999"/>
                </a:cubicBezTo>
                <a:cubicBezTo>
                  <a:pt x="3688" y="23937"/>
                  <a:pt x="3750" y="23874"/>
                  <a:pt x="3781" y="23812"/>
                </a:cubicBezTo>
                <a:cubicBezTo>
                  <a:pt x="3813" y="23812"/>
                  <a:pt x="3844" y="23781"/>
                  <a:pt x="3844" y="23718"/>
                </a:cubicBezTo>
                <a:cubicBezTo>
                  <a:pt x="3781" y="23718"/>
                  <a:pt x="3750" y="23781"/>
                  <a:pt x="3781" y="23812"/>
                </a:cubicBezTo>
                <a:cubicBezTo>
                  <a:pt x="3750" y="23812"/>
                  <a:pt x="3719" y="23843"/>
                  <a:pt x="3719" y="23874"/>
                </a:cubicBezTo>
                <a:cubicBezTo>
                  <a:pt x="3688" y="23906"/>
                  <a:pt x="3625" y="23968"/>
                  <a:pt x="3594" y="24031"/>
                </a:cubicBezTo>
                <a:cubicBezTo>
                  <a:pt x="3531" y="24093"/>
                  <a:pt x="3438" y="23999"/>
                  <a:pt x="3344" y="24031"/>
                </a:cubicBezTo>
                <a:cubicBezTo>
                  <a:pt x="3406" y="23968"/>
                  <a:pt x="3469" y="23874"/>
                  <a:pt x="3563" y="23843"/>
                </a:cubicBezTo>
                <a:cubicBezTo>
                  <a:pt x="3500" y="23874"/>
                  <a:pt x="3469" y="23906"/>
                  <a:pt x="3500" y="23968"/>
                </a:cubicBezTo>
                <a:lnTo>
                  <a:pt x="3500" y="23968"/>
                </a:lnTo>
                <a:cubicBezTo>
                  <a:pt x="3563" y="23937"/>
                  <a:pt x="3563" y="23906"/>
                  <a:pt x="3563" y="23843"/>
                </a:cubicBezTo>
                <a:cubicBezTo>
                  <a:pt x="3594" y="23843"/>
                  <a:pt x="3625" y="23843"/>
                  <a:pt x="3656" y="23781"/>
                </a:cubicBezTo>
                <a:cubicBezTo>
                  <a:pt x="3656" y="23781"/>
                  <a:pt x="3688" y="23781"/>
                  <a:pt x="3688" y="23781"/>
                </a:cubicBezTo>
                <a:cubicBezTo>
                  <a:pt x="3719" y="23718"/>
                  <a:pt x="3719" y="23624"/>
                  <a:pt x="3813" y="23656"/>
                </a:cubicBezTo>
                <a:cubicBezTo>
                  <a:pt x="3906" y="23687"/>
                  <a:pt x="3969" y="23562"/>
                  <a:pt x="4063" y="23624"/>
                </a:cubicBezTo>
                <a:cubicBezTo>
                  <a:pt x="4063" y="23624"/>
                  <a:pt x="4063" y="23624"/>
                  <a:pt x="4063" y="23624"/>
                </a:cubicBezTo>
                <a:cubicBezTo>
                  <a:pt x="4031" y="23499"/>
                  <a:pt x="4156" y="23531"/>
                  <a:pt x="4188" y="23468"/>
                </a:cubicBezTo>
                <a:cubicBezTo>
                  <a:pt x="4219" y="23468"/>
                  <a:pt x="4219" y="23437"/>
                  <a:pt x="4219" y="23437"/>
                </a:cubicBezTo>
                <a:cubicBezTo>
                  <a:pt x="4188" y="23374"/>
                  <a:pt x="4188" y="23437"/>
                  <a:pt x="4156" y="23437"/>
                </a:cubicBezTo>
                <a:cubicBezTo>
                  <a:pt x="4125" y="23406"/>
                  <a:pt x="4063" y="23343"/>
                  <a:pt x="4000" y="23374"/>
                </a:cubicBezTo>
                <a:cubicBezTo>
                  <a:pt x="4063" y="23249"/>
                  <a:pt x="4094" y="23249"/>
                  <a:pt x="4156" y="23312"/>
                </a:cubicBezTo>
                <a:cubicBezTo>
                  <a:pt x="4125" y="23343"/>
                  <a:pt x="4125" y="23343"/>
                  <a:pt x="4125" y="23343"/>
                </a:cubicBezTo>
                <a:cubicBezTo>
                  <a:pt x="4125" y="23343"/>
                  <a:pt x="4125" y="23374"/>
                  <a:pt x="4125" y="23374"/>
                </a:cubicBezTo>
                <a:cubicBezTo>
                  <a:pt x="4156" y="23374"/>
                  <a:pt x="4156" y="23343"/>
                  <a:pt x="4156" y="23343"/>
                </a:cubicBezTo>
                <a:cubicBezTo>
                  <a:pt x="4156" y="23343"/>
                  <a:pt x="4156" y="23312"/>
                  <a:pt x="4156" y="23312"/>
                </a:cubicBezTo>
                <a:cubicBezTo>
                  <a:pt x="4188" y="23343"/>
                  <a:pt x="4219" y="23312"/>
                  <a:pt x="4250" y="23343"/>
                </a:cubicBezTo>
                <a:cubicBezTo>
                  <a:pt x="4281" y="23374"/>
                  <a:pt x="4281" y="23531"/>
                  <a:pt x="4250" y="23562"/>
                </a:cubicBezTo>
                <a:cubicBezTo>
                  <a:pt x="4156" y="23656"/>
                  <a:pt x="4094" y="23781"/>
                  <a:pt x="4000" y="23874"/>
                </a:cubicBezTo>
                <a:cubicBezTo>
                  <a:pt x="3938" y="23906"/>
                  <a:pt x="3906" y="23999"/>
                  <a:pt x="3844" y="24062"/>
                </a:cubicBezTo>
                <a:close/>
                <a:moveTo>
                  <a:pt x="3875" y="24187"/>
                </a:moveTo>
                <a:cubicBezTo>
                  <a:pt x="3938" y="24124"/>
                  <a:pt x="3969" y="24062"/>
                  <a:pt x="4031" y="23999"/>
                </a:cubicBezTo>
                <a:cubicBezTo>
                  <a:pt x="4156" y="23906"/>
                  <a:pt x="4219" y="23749"/>
                  <a:pt x="4313" y="23656"/>
                </a:cubicBezTo>
                <a:cubicBezTo>
                  <a:pt x="4313" y="23624"/>
                  <a:pt x="4344" y="23593"/>
                  <a:pt x="4375" y="23624"/>
                </a:cubicBezTo>
                <a:cubicBezTo>
                  <a:pt x="4375" y="23624"/>
                  <a:pt x="4375" y="23687"/>
                  <a:pt x="4375" y="23718"/>
                </a:cubicBezTo>
                <a:cubicBezTo>
                  <a:pt x="4281" y="23812"/>
                  <a:pt x="4219" y="23906"/>
                  <a:pt x="4125" y="23999"/>
                </a:cubicBezTo>
                <a:cubicBezTo>
                  <a:pt x="4063" y="24062"/>
                  <a:pt x="4000" y="24093"/>
                  <a:pt x="3969" y="24187"/>
                </a:cubicBezTo>
                <a:cubicBezTo>
                  <a:pt x="3969" y="24218"/>
                  <a:pt x="3906" y="24156"/>
                  <a:pt x="3875" y="24187"/>
                </a:cubicBezTo>
                <a:close/>
                <a:moveTo>
                  <a:pt x="4063" y="24624"/>
                </a:moveTo>
                <a:cubicBezTo>
                  <a:pt x="4063" y="24656"/>
                  <a:pt x="4031" y="24656"/>
                  <a:pt x="4000" y="24624"/>
                </a:cubicBezTo>
                <a:cubicBezTo>
                  <a:pt x="4000" y="24593"/>
                  <a:pt x="4000" y="24562"/>
                  <a:pt x="4031" y="24562"/>
                </a:cubicBezTo>
                <a:cubicBezTo>
                  <a:pt x="4094" y="24562"/>
                  <a:pt x="4094" y="24468"/>
                  <a:pt x="4156" y="24499"/>
                </a:cubicBezTo>
                <a:cubicBezTo>
                  <a:pt x="4125" y="24562"/>
                  <a:pt x="4094" y="24593"/>
                  <a:pt x="4063" y="24624"/>
                </a:cubicBezTo>
                <a:close/>
                <a:moveTo>
                  <a:pt x="4531" y="23968"/>
                </a:moveTo>
                <a:cubicBezTo>
                  <a:pt x="4531" y="23968"/>
                  <a:pt x="4531" y="23968"/>
                  <a:pt x="4531" y="23999"/>
                </a:cubicBezTo>
                <a:cubicBezTo>
                  <a:pt x="4531" y="24124"/>
                  <a:pt x="4406" y="24156"/>
                  <a:pt x="4344" y="24249"/>
                </a:cubicBezTo>
                <a:cubicBezTo>
                  <a:pt x="4313" y="24156"/>
                  <a:pt x="4406" y="24093"/>
                  <a:pt x="4406" y="23999"/>
                </a:cubicBezTo>
                <a:cubicBezTo>
                  <a:pt x="4344" y="24031"/>
                  <a:pt x="4313" y="24062"/>
                  <a:pt x="4250" y="24093"/>
                </a:cubicBezTo>
                <a:cubicBezTo>
                  <a:pt x="4219" y="24093"/>
                  <a:pt x="4188" y="24093"/>
                  <a:pt x="4188" y="24093"/>
                </a:cubicBezTo>
                <a:cubicBezTo>
                  <a:pt x="4156" y="24062"/>
                  <a:pt x="4188" y="24031"/>
                  <a:pt x="4188" y="24031"/>
                </a:cubicBezTo>
                <a:cubicBezTo>
                  <a:pt x="4219" y="23906"/>
                  <a:pt x="4313" y="23843"/>
                  <a:pt x="4406" y="23749"/>
                </a:cubicBezTo>
                <a:cubicBezTo>
                  <a:pt x="4406" y="23718"/>
                  <a:pt x="4438" y="23687"/>
                  <a:pt x="4469" y="23656"/>
                </a:cubicBezTo>
                <a:cubicBezTo>
                  <a:pt x="4469" y="23656"/>
                  <a:pt x="4469" y="23593"/>
                  <a:pt x="4531" y="23593"/>
                </a:cubicBezTo>
                <a:cubicBezTo>
                  <a:pt x="4563" y="23593"/>
                  <a:pt x="4563" y="23656"/>
                  <a:pt x="4594" y="23687"/>
                </a:cubicBezTo>
                <a:cubicBezTo>
                  <a:pt x="4625" y="23687"/>
                  <a:pt x="4594" y="23749"/>
                  <a:pt x="4563" y="23749"/>
                </a:cubicBezTo>
                <a:cubicBezTo>
                  <a:pt x="4469" y="23812"/>
                  <a:pt x="4469" y="23906"/>
                  <a:pt x="4406" y="23968"/>
                </a:cubicBezTo>
                <a:cubicBezTo>
                  <a:pt x="4375" y="23999"/>
                  <a:pt x="4375" y="23999"/>
                  <a:pt x="4406" y="23999"/>
                </a:cubicBezTo>
                <a:cubicBezTo>
                  <a:pt x="4438" y="23999"/>
                  <a:pt x="4531" y="23937"/>
                  <a:pt x="4531" y="23906"/>
                </a:cubicBezTo>
                <a:cubicBezTo>
                  <a:pt x="4563" y="23843"/>
                  <a:pt x="4563" y="23812"/>
                  <a:pt x="4625" y="23781"/>
                </a:cubicBezTo>
                <a:cubicBezTo>
                  <a:pt x="4656" y="23781"/>
                  <a:pt x="4656" y="23749"/>
                  <a:pt x="4656" y="23718"/>
                </a:cubicBezTo>
                <a:cubicBezTo>
                  <a:pt x="4656" y="23687"/>
                  <a:pt x="4688" y="23656"/>
                  <a:pt x="4719" y="23656"/>
                </a:cubicBezTo>
                <a:cubicBezTo>
                  <a:pt x="4750" y="23687"/>
                  <a:pt x="4781" y="23749"/>
                  <a:pt x="4750" y="23749"/>
                </a:cubicBezTo>
                <a:cubicBezTo>
                  <a:pt x="4656" y="23812"/>
                  <a:pt x="4656" y="23937"/>
                  <a:pt x="4531" y="23968"/>
                </a:cubicBezTo>
                <a:close/>
                <a:moveTo>
                  <a:pt x="4750" y="25062"/>
                </a:moveTo>
                <a:cubicBezTo>
                  <a:pt x="4750" y="25062"/>
                  <a:pt x="4719" y="25062"/>
                  <a:pt x="4719" y="25062"/>
                </a:cubicBezTo>
                <a:cubicBezTo>
                  <a:pt x="4719" y="25124"/>
                  <a:pt x="4688" y="25124"/>
                  <a:pt x="4656" y="25124"/>
                </a:cubicBezTo>
                <a:cubicBezTo>
                  <a:pt x="4625" y="25093"/>
                  <a:pt x="4656" y="25062"/>
                  <a:pt x="4625" y="25062"/>
                </a:cubicBezTo>
                <a:cubicBezTo>
                  <a:pt x="4656" y="25031"/>
                  <a:pt x="4625" y="24999"/>
                  <a:pt x="4688" y="24968"/>
                </a:cubicBezTo>
                <a:cubicBezTo>
                  <a:pt x="4719" y="24968"/>
                  <a:pt x="4719" y="24968"/>
                  <a:pt x="4750" y="24968"/>
                </a:cubicBezTo>
                <a:cubicBezTo>
                  <a:pt x="4781" y="24999"/>
                  <a:pt x="4781" y="25031"/>
                  <a:pt x="4750" y="25062"/>
                </a:cubicBezTo>
                <a:close/>
                <a:moveTo>
                  <a:pt x="4781" y="23624"/>
                </a:moveTo>
                <a:cubicBezTo>
                  <a:pt x="4750" y="23593"/>
                  <a:pt x="4750" y="23562"/>
                  <a:pt x="4781" y="23531"/>
                </a:cubicBezTo>
                <a:cubicBezTo>
                  <a:pt x="4781" y="23531"/>
                  <a:pt x="4813" y="23531"/>
                  <a:pt x="4813" y="23531"/>
                </a:cubicBezTo>
                <a:cubicBezTo>
                  <a:pt x="4813" y="23499"/>
                  <a:pt x="4813" y="23499"/>
                  <a:pt x="4813" y="23499"/>
                </a:cubicBezTo>
                <a:cubicBezTo>
                  <a:pt x="4813" y="23499"/>
                  <a:pt x="4813" y="23499"/>
                  <a:pt x="4813" y="23499"/>
                </a:cubicBezTo>
                <a:cubicBezTo>
                  <a:pt x="4844" y="23499"/>
                  <a:pt x="4875" y="23499"/>
                  <a:pt x="4875" y="23468"/>
                </a:cubicBezTo>
                <a:cubicBezTo>
                  <a:pt x="4875" y="23468"/>
                  <a:pt x="4844" y="23437"/>
                  <a:pt x="4813" y="23437"/>
                </a:cubicBezTo>
                <a:cubicBezTo>
                  <a:pt x="4813" y="23374"/>
                  <a:pt x="4844" y="23374"/>
                  <a:pt x="4875" y="23343"/>
                </a:cubicBezTo>
                <a:cubicBezTo>
                  <a:pt x="4875" y="23343"/>
                  <a:pt x="4875" y="23312"/>
                  <a:pt x="4938" y="23312"/>
                </a:cubicBezTo>
                <a:cubicBezTo>
                  <a:pt x="4938" y="23281"/>
                  <a:pt x="4938" y="23281"/>
                  <a:pt x="4938" y="23281"/>
                </a:cubicBezTo>
                <a:cubicBezTo>
                  <a:pt x="4938" y="23281"/>
                  <a:pt x="4938" y="23312"/>
                  <a:pt x="4938" y="23312"/>
                </a:cubicBezTo>
                <a:cubicBezTo>
                  <a:pt x="4938" y="23312"/>
                  <a:pt x="4938" y="23312"/>
                  <a:pt x="4938" y="23312"/>
                </a:cubicBezTo>
                <a:cubicBezTo>
                  <a:pt x="4938" y="23312"/>
                  <a:pt x="4938" y="23312"/>
                  <a:pt x="4938" y="23312"/>
                </a:cubicBezTo>
                <a:cubicBezTo>
                  <a:pt x="4938" y="23343"/>
                  <a:pt x="4906" y="23343"/>
                  <a:pt x="4875" y="23374"/>
                </a:cubicBezTo>
                <a:lnTo>
                  <a:pt x="4875" y="23374"/>
                </a:lnTo>
                <a:cubicBezTo>
                  <a:pt x="4875" y="23406"/>
                  <a:pt x="4875" y="23437"/>
                  <a:pt x="4813" y="23437"/>
                </a:cubicBezTo>
                <a:cubicBezTo>
                  <a:pt x="4781" y="23468"/>
                  <a:pt x="4719" y="23499"/>
                  <a:pt x="4719" y="23562"/>
                </a:cubicBezTo>
                <a:cubicBezTo>
                  <a:pt x="4688" y="23624"/>
                  <a:pt x="4625" y="23624"/>
                  <a:pt x="4594" y="23593"/>
                </a:cubicBezTo>
                <a:cubicBezTo>
                  <a:pt x="4563" y="23562"/>
                  <a:pt x="4563" y="23499"/>
                  <a:pt x="4594" y="23468"/>
                </a:cubicBezTo>
                <a:cubicBezTo>
                  <a:pt x="4625" y="23406"/>
                  <a:pt x="4688" y="23374"/>
                  <a:pt x="4719" y="23312"/>
                </a:cubicBezTo>
                <a:cubicBezTo>
                  <a:pt x="4781" y="23249"/>
                  <a:pt x="4844" y="23187"/>
                  <a:pt x="4875" y="23156"/>
                </a:cubicBezTo>
                <a:cubicBezTo>
                  <a:pt x="4906" y="23124"/>
                  <a:pt x="4938" y="23124"/>
                  <a:pt x="4938" y="23093"/>
                </a:cubicBezTo>
                <a:cubicBezTo>
                  <a:pt x="4938" y="23124"/>
                  <a:pt x="4906" y="23124"/>
                  <a:pt x="4875" y="23156"/>
                </a:cubicBezTo>
                <a:cubicBezTo>
                  <a:pt x="4938" y="23156"/>
                  <a:pt x="5000" y="23093"/>
                  <a:pt x="5000" y="23187"/>
                </a:cubicBezTo>
                <a:cubicBezTo>
                  <a:pt x="4969" y="23187"/>
                  <a:pt x="4969" y="23218"/>
                  <a:pt x="4969" y="23281"/>
                </a:cubicBezTo>
                <a:cubicBezTo>
                  <a:pt x="5000" y="23249"/>
                  <a:pt x="5000" y="23218"/>
                  <a:pt x="5000" y="23187"/>
                </a:cubicBezTo>
                <a:cubicBezTo>
                  <a:pt x="5031" y="23187"/>
                  <a:pt x="5031" y="23187"/>
                  <a:pt x="5031" y="23187"/>
                </a:cubicBezTo>
                <a:cubicBezTo>
                  <a:pt x="5031" y="23156"/>
                  <a:pt x="5031" y="23124"/>
                  <a:pt x="5031" y="23124"/>
                </a:cubicBezTo>
                <a:cubicBezTo>
                  <a:pt x="5031" y="23124"/>
                  <a:pt x="5031" y="23156"/>
                  <a:pt x="5031" y="23187"/>
                </a:cubicBezTo>
                <a:cubicBezTo>
                  <a:pt x="5125" y="23093"/>
                  <a:pt x="5188" y="22999"/>
                  <a:pt x="5313" y="22999"/>
                </a:cubicBezTo>
                <a:cubicBezTo>
                  <a:pt x="5188" y="23156"/>
                  <a:pt x="5094" y="23312"/>
                  <a:pt x="4969" y="23437"/>
                </a:cubicBezTo>
                <a:cubicBezTo>
                  <a:pt x="4938" y="23468"/>
                  <a:pt x="4906" y="23499"/>
                  <a:pt x="4875" y="23562"/>
                </a:cubicBezTo>
                <a:cubicBezTo>
                  <a:pt x="4875" y="23593"/>
                  <a:pt x="4844" y="23624"/>
                  <a:pt x="4781" y="23624"/>
                </a:cubicBezTo>
                <a:close/>
                <a:moveTo>
                  <a:pt x="4938" y="23781"/>
                </a:moveTo>
                <a:cubicBezTo>
                  <a:pt x="4906" y="23843"/>
                  <a:pt x="4875" y="23874"/>
                  <a:pt x="4844" y="23906"/>
                </a:cubicBezTo>
                <a:cubicBezTo>
                  <a:pt x="4844" y="23843"/>
                  <a:pt x="4844" y="23843"/>
                  <a:pt x="4938" y="23781"/>
                </a:cubicBezTo>
                <a:close/>
                <a:moveTo>
                  <a:pt x="4906" y="24906"/>
                </a:moveTo>
                <a:cubicBezTo>
                  <a:pt x="4875" y="24906"/>
                  <a:pt x="4906" y="24843"/>
                  <a:pt x="4875" y="24843"/>
                </a:cubicBezTo>
                <a:cubicBezTo>
                  <a:pt x="4875" y="24781"/>
                  <a:pt x="4906" y="24749"/>
                  <a:pt x="4938" y="24718"/>
                </a:cubicBezTo>
                <a:cubicBezTo>
                  <a:pt x="4969" y="24718"/>
                  <a:pt x="5031" y="24749"/>
                  <a:pt x="5031" y="24781"/>
                </a:cubicBezTo>
                <a:cubicBezTo>
                  <a:pt x="5000" y="24843"/>
                  <a:pt x="4969" y="24874"/>
                  <a:pt x="4906" y="24906"/>
                </a:cubicBezTo>
                <a:close/>
                <a:moveTo>
                  <a:pt x="5250" y="24624"/>
                </a:moveTo>
                <a:cubicBezTo>
                  <a:pt x="5250" y="24656"/>
                  <a:pt x="5188" y="24687"/>
                  <a:pt x="5156" y="24718"/>
                </a:cubicBezTo>
                <a:cubicBezTo>
                  <a:pt x="5094" y="24687"/>
                  <a:pt x="5125" y="24624"/>
                  <a:pt x="5063" y="24624"/>
                </a:cubicBezTo>
                <a:cubicBezTo>
                  <a:pt x="5094" y="24593"/>
                  <a:pt x="5125" y="24562"/>
                  <a:pt x="5188" y="24562"/>
                </a:cubicBezTo>
                <a:cubicBezTo>
                  <a:pt x="5188" y="24562"/>
                  <a:pt x="5250" y="24562"/>
                  <a:pt x="5250" y="24624"/>
                </a:cubicBezTo>
                <a:close/>
                <a:moveTo>
                  <a:pt x="5188" y="24281"/>
                </a:moveTo>
                <a:cubicBezTo>
                  <a:pt x="5156" y="24281"/>
                  <a:pt x="5156" y="24249"/>
                  <a:pt x="5156" y="24218"/>
                </a:cubicBezTo>
                <a:cubicBezTo>
                  <a:pt x="5188" y="24187"/>
                  <a:pt x="5219" y="24218"/>
                  <a:pt x="5281" y="24187"/>
                </a:cubicBezTo>
                <a:cubicBezTo>
                  <a:pt x="5250" y="24249"/>
                  <a:pt x="5219" y="24281"/>
                  <a:pt x="5188" y="24281"/>
                </a:cubicBezTo>
                <a:close/>
                <a:moveTo>
                  <a:pt x="5375" y="24499"/>
                </a:moveTo>
                <a:cubicBezTo>
                  <a:pt x="5344" y="24499"/>
                  <a:pt x="5313" y="24468"/>
                  <a:pt x="5281" y="24437"/>
                </a:cubicBezTo>
                <a:cubicBezTo>
                  <a:pt x="5281" y="24406"/>
                  <a:pt x="5406" y="24281"/>
                  <a:pt x="5438" y="24312"/>
                </a:cubicBezTo>
                <a:cubicBezTo>
                  <a:pt x="5469" y="24312"/>
                  <a:pt x="5438" y="24374"/>
                  <a:pt x="5531" y="24406"/>
                </a:cubicBezTo>
                <a:cubicBezTo>
                  <a:pt x="5469" y="24437"/>
                  <a:pt x="5438" y="24499"/>
                  <a:pt x="5375" y="24499"/>
                </a:cubicBezTo>
                <a:close/>
                <a:moveTo>
                  <a:pt x="5938" y="24093"/>
                </a:moveTo>
                <a:cubicBezTo>
                  <a:pt x="5906" y="24124"/>
                  <a:pt x="5906" y="24156"/>
                  <a:pt x="5844" y="24187"/>
                </a:cubicBezTo>
                <a:cubicBezTo>
                  <a:pt x="5844" y="24124"/>
                  <a:pt x="5844" y="24124"/>
                  <a:pt x="5844" y="24093"/>
                </a:cubicBezTo>
                <a:cubicBezTo>
                  <a:pt x="5844" y="24062"/>
                  <a:pt x="5844" y="24062"/>
                  <a:pt x="5813" y="24062"/>
                </a:cubicBezTo>
                <a:cubicBezTo>
                  <a:pt x="5781" y="24062"/>
                  <a:pt x="5813" y="24093"/>
                  <a:pt x="5813" y="24093"/>
                </a:cubicBezTo>
                <a:cubicBezTo>
                  <a:pt x="5813" y="24187"/>
                  <a:pt x="5750" y="24187"/>
                  <a:pt x="5688" y="24156"/>
                </a:cubicBezTo>
                <a:cubicBezTo>
                  <a:pt x="5656" y="24218"/>
                  <a:pt x="5719" y="24218"/>
                  <a:pt x="5719" y="24249"/>
                </a:cubicBezTo>
                <a:cubicBezTo>
                  <a:pt x="5719" y="24281"/>
                  <a:pt x="5688" y="24281"/>
                  <a:pt x="5688" y="24281"/>
                </a:cubicBezTo>
                <a:cubicBezTo>
                  <a:pt x="5656" y="24312"/>
                  <a:pt x="5625" y="24374"/>
                  <a:pt x="5594" y="24312"/>
                </a:cubicBezTo>
                <a:cubicBezTo>
                  <a:pt x="5563" y="24281"/>
                  <a:pt x="5500" y="24187"/>
                  <a:pt x="5594" y="24156"/>
                </a:cubicBezTo>
                <a:cubicBezTo>
                  <a:pt x="5688" y="24124"/>
                  <a:pt x="5750" y="24062"/>
                  <a:pt x="5813" y="23968"/>
                </a:cubicBezTo>
                <a:cubicBezTo>
                  <a:pt x="5844" y="23937"/>
                  <a:pt x="5906" y="23937"/>
                  <a:pt x="5938" y="23968"/>
                </a:cubicBezTo>
                <a:cubicBezTo>
                  <a:pt x="5938" y="23999"/>
                  <a:pt x="6031" y="24062"/>
                  <a:pt x="5938" y="24093"/>
                </a:cubicBezTo>
                <a:close/>
                <a:moveTo>
                  <a:pt x="6000" y="23343"/>
                </a:moveTo>
                <a:cubicBezTo>
                  <a:pt x="6000" y="23406"/>
                  <a:pt x="5906" y="23374"/>
                  <a:pt x="5875" y="23406"/>
                </a:cubicBezTo>
                <a:cubicBezTo>
                  <a:pt x="5844" y="23437"/>
                  <a:pt x="5875" y="23406"/>
                  <a:pt x="5875" y="23406"/>
                </a:cubicBezTo>
                <a:cubicBezTo>
                  <a:pt x="5844" y="23374"/>
                  <a:pt x="5844" y="23343"/>
                  <a:pt x="5875" y="23312"/>
                </a:cubicBezTo>
                <a:cubicBezTo>
                  <a:pt x="5906" y="23249"/>
                  <a:pt x="5969" y="23187"/>
                  <a:pt x="6031" y="23187"/>
                </a:cubicBezTo>
                <a:cubicBezTo>
                  <a:pt x="6063" y="23156"/>
                  <a:pt x="6094" y="23156"/>
                  <a:pt x="6125" y="23187"/>
                </a:cubicBezTo>
                <a:cubicBezTo>
                  <a:pt x="6156" y="23218"/>
                  <a:pt x="6156" y="23249"/>
                  <a:pt x="6125" y="23281"/>
                </a:cubicBezTo>
                <a:cubicBezTo>
                  <a:pt x="6125" y="23312"/>
                  <a:pt x="6094" y="23343"/>
                  <a:pt x="6063" y="23343"/>
                </a:cubicBezTo>
                <a:cubicBezTo>
                  <a:pt x="6031" y="23312"/>
                  <a:pt x="6031" y="23312"/>
                  <a:pt x="6000" y="23343"/>
                </a:cubicBezTo>
                <a:close/>
                <a:moveTo>
                  <a:pt x="6438" y="23781"/>
                </a:moveTo>
                <a:cubicBezTo>
                  <a:pt x="6438" y="23781"/>
                  <a:pt x="6406" y="23874"/>
                  <a:pt x="6344" y="23843"/>
                </a:cubicBezTo>
                <a:cubicBezTo>
                  <a:pt x="6344" y="23843"/>
                  <a:pt x="6344" y="23812"/>
                  <a:pt x="6344" y="23812"/>
                </a:cubicBezTo>
                <a:cubicBezTo>
                  <a:pt x="6344" y="23781"/>
                  <a:pt x="6344" y="23749"/>
                  <a:pt x="6313" y="23749"/>
                </a:cubicBezTo>
                <a:cubicBezTo>
                  <a:pt x="6313" y="23749"/>
                  <a:pt x="6281" y="23781"/>
                  <a:pt x="6281" y="23781"/>
                </a:cubicBezTo>
                <a:cubicBezTo>
                  <a:pt x="6281" y="23874"/>
                  <a:pt x="6219" y="23843"/>
                  <a:pt x="6125" y="23812"/>
                </a:cubicBezTo>
                <a:cubicBezTo>
                  <a:pt x="6313" y="23968"/>
                  <a:pt x="6125" y="23968"/>
                  <a:pt x="6094" y="24031"/>
                </a:cubicBezTo>
                <a:cubicBezTo>
                  <a:pt x="6063" y="23999"/>
                  <a:pt x="6063" y="23999"/>
                  <a:pt x="6063" y="23968"/>
                </a:cubicBezTo>
                <a:cubicBezTo>
                  <a:pt x="6000" y="23812"/>
                  <a:pt x="6031" y="23781"/>
                  <a:pt x="6219" y="23749"/>
                </a:cubicBezTo>
                <a:cubicBezTo>
                  <a:pt x="6250" y="23718"/>
                  <a:pt x="6281" y="23687"/>
                  <a:pt x="6281" y="23656"/>
                </a:cubicBezTo>
                <a:cubicBezTo>
                  <a:pt x="6313" y="23593"/>
                  <a:pt x="6344" y="23593"/>
                  <a:pt x="6406" y="23593"/>
                </a:cubicBezTo>
                <a:cubicBezTo>
                  <a:pt x="6406" y="23656"/>
                  <a:pt x="6469" y="23718"/>
                  <a:pt x="6438" y="23781"/>
                </a:cubicBezTo>
                <a:close/>
                <a:moveTo>
                  <a:pt x="6469" y="23312"/>
                </a:moveTo>
                <a:cubicBezTo>
                  <a:pt x="6438" y="23312"/>
                  <a:pt x="6438" y="23281"/>
                  <a:pt x="6469" y="23249"/>
                </a:cubicBezTo>
                <a:cubicBezTo>
                  <a:pt x="6500" y="23187"/>
                  <a:pt x="6531" y="23218"/>
                  <a:pt x="6594" y="23249"/>
                </a:cubicBezTo>
                <a:cubicBezTo>
                  <a:pt x="6531" y="23281"/>
                  <a:pt x="6531" y="23343"/>
                  <a:pt x="6469" y="23312"/>
                </a:cubicBezTo>
                <a:close/>
                <a:moveTo>
                  <a:pt x="6813" y="23593"/>
                </a:moveTo>
                <a:cubicBezTo>
                  <a:pt x="6813" y="23562"/>
                  <a:pt x="6813" y="23531"/>
                  <a:pt x="6813" y="23468"/>
                </a:cubicBezTo>
                <a:cubicBezTo>
                  <a:pt x="6781" y="23562"/>
                  <a:pt x="6719" y="23593"/>
                  <a:pt x="6656" y="23531"/>
                </a:cubicBezTo>
                <a:cubicBezTo>
                  <a:pt x="6656" y="23562"/>
                  <a:pt x="6656" y="23562"/>
                  <a:pt x="6656" y="23593"/>
                </a:cubicBezTo>
                <a:cubicBezTo>
                  <a:pt x="6656" y="23624"/>
                  <a:pt x="6719" y="23624"/>
                  <a:pt x="6688" y="23656"/>
                </a:cubicBezTo>
                <a:cubicBezTo>
                  <a:pt x="6656" y="23687"/>
                  <a:pt x="6625" y="23718"/>
                  <a:pt x="6563" y="23718"/>
                </a:cubicBezTo>
                <a:cubicBezTo>
                  <a:pt x="6531" y="23718"/>
                  <a:pt x="6563" y="23656"/>
                  <a:pt x="6531" y="23656"/>
                </a:cubicBezTo>
                <a:cubicBezTo>
                  <a:pt x="6500" y="23499"/>
                  <a:pt x="6469" y="23468"/>
                  <a:pt x="6625" y="23437"/>
                </a:cubicBezTo>
                <a:cubicBezTo>
                  <a:pt x="6688" y="23406"/>
                  <a:pt x="6750" y="23343"/>
                  <a:pt x="6813" y="23312"/>
                </a:cubicBezTo>
                <a:cubicBezTo>
                  <a:pt x="6844" y="23281"/>
                  <a:pt x="6875" y="23249"/>
                  <a:pt x="6875" y="23343"/>
                </a:cubicBezTo>
                <a:cubicBezTo>
                  <a:pt x="6875" y="23343"/>
                  <a:pt x="6875" y="23374"/>
                  <a:pt x="6906" y="23374"/>
                </a:cubicBezTo>
                <a:cubicBezTo>
                  <a:pt x="6969" y="23468"/>
                  <a:pt x="6938" y="23531"/>
                  <a:pt x="6813" y="23593"/>
                </a:cubicBezTo>
                <a:close/>
                <a:moveTo>
                  <a:pt x="7313" y="23374"/>
                </a:moveTo>
                <a:cubicBezTo>
                  <a:pt x="7313" y="23312"/>
                  <a:pt x="7313" y="23281"/>
                  <a:pt x="7313" y="23218"/>
                </a:cubicBezTo>
                <a:cubicBezTo>
                  <a:pt x="7250" y="23312"/>
                  <a:pt x="7219" y="23343"/>
                  <a:pt x="7094" y="23281"/>
                </a:cubicBezTo>
                <a:cubicBezTo>
                  <a:pt x="7250" y="23437"/>
                  <a:pt x="7094" y="23437"/>
                  <a:pt x="7063" y="23468"/>
                </a:cubicBezTo>
                <a:cubicBezTo>
                  <a:pt x="7031" y="23406"/>
                  <a:pt x="7031" y="23374"/>
                  <a:pt x="7000" y="23343"/>
                </a:cubicBezTo>
                <a:cubicBezTo>
                  <a:pt x="7000" y="23281"/>
                  <a:pt x="6969" y="23187"/>
                  <a:pt x="7063" y="23156"/>
                </a:cubicBezTo>
                <a:cubicBezTo>
                  <a:pt x="7156" y="23124"/>
                  <a:pt x="7250" y="23062"/>
                  <a:pt x="7313" y="23031"/>
                </a:cubicBezTo>
                <a:cubicBezTo>
                  <a:pt x="7344" y="22999"/>
                  <a:pt x="7344" y="23031"/>
                  <a:pt x="7375" y="23062"/>
                </a:cubicBezTo>
                <a:cubicBezTo>
                  <a:pt x="7406" y="23124"/>
                  <a:pt x="7406" y="23218"/>
                  <a:pt x="7406" y="23281"/>
                </a:cubicBezTo>
                <a:cubicBezTo>
                  <a:pt x="7438" y="23312"/>
                  <a:pt x="7344" y="23343"/>
                  <a:pt x="7313" y="23374"/>
                </a:cubicBezTo>
                <a:close/>
                <a:moveTo>
                  <a:pt x="7406" y="22093"/>
                </a:moveTo>
                <a:cubicBezTo>
                  <a:pt x="7375" y="22093"/>
                  <a:pt x="7344" y="22156"/>
                  <a:pt x="7313" y="22124"/>
                </a:cubicBezTo>
                <a:cubicBezTo>
                  <a:pt x="7281" y="22093"/>
                  <a:pt x="7281" y="22062"/>
                  <a:pt x="7281" y="21999"/>
                </a:cubicBezTo>
                <a:cubicBezTo>
                  <a:pt x="7281" y="21874"/>
                  <a:pt x="7469" y="21749"/>
                  <a:pt x="7594" y="21781"/>
                </a:cubicBezTo>
                <a:cubicBezTo>
                  <a:pt x="7594" y="21781"/>
                  <a:pt x="7625" y="21781"/>
                  <a:pt x="7625" y="21812"/>
                </a:cubicBezTo>
                <a:cubicBezTo>
                  <a:pt x="7563" y="21874"/>
                  <a:pt x="7594" y="21937"/>
                  <a:pt x="7594" y="21968"/>
                </a:cubicBezTo>
                <a:cubicBezTo>
                  <a:pt x="7594" y="22062"/>
                  <a:pt x="7500" y="22031"/>
                  <a:pt x="7469" y="22062"/>
                </a:cubicBezTo>
                <a:cubicBezTo>
                  <a:pt x="7438" y="22093"/>
                  <a:pt x="7406" y="22093"/>
                  <a:pt x="7406" y="22093"/>
                </a:cubicBezTo>
                <a:close/>
                <a:moveTo>
                  <a:pt x="7500" y="22562"/>
                </a:moveTo>
                <a:cubicBezTo>
                  <a:pt x="7469" y="22531"/>
                  <a:pt x="7500" y="22499"/>
                  <a:pt x="7500" y="22468"/>
                </a:cubicBezTo>
                <a:cubicBezTo>
                  <a:pt x="7500" y="22468"/>
                  <a:pt x="7531" y="22468"/>
                  <a:pt x="7531" y="22499"/>
                </a:cubicBezTo>
                <a:cubicBezTo>
                  <a:pt x="7563" y="22531"/>
                  <a:pt x="7594" y="22531"/>
                  <a:pt x="7594" y="22562"/>
                </a:cubicBezTo>
                <a:cubicBezTo>
                  <a:pt x="7563" y="22593"/>
                  <a:pt x="7531" y="22562"/>
                  <a:pt x="7500" y="22562"/>
                </a:cubicBezTo>
                <a:close/>
                <a:moveTo>
                  <a:pt x="7688" y="22531"/>
                </a:moveTo>
                <a:cubicBezTo>
                  <a:pt x="7688" y="22531"/>
                  <a:pt x="7688" y="22531"/>
                  <a:pt x="7688" y="22531"/>
                </a:cubicBezTo>
                <a:cubicBezTo>
                  <a:pt x="7656" y="22593"/>
                  <a:pt x="7563" y="22624"/>
                  <a:pt x="7500" y="22593"/>
                </a:cubicBezTo>
                <a:cubicBezTo>
                  <a:pt x="7563" y="22624"/>
                  <a:pt x="7656" y="22593"/>
                  <a:pt x="7688" y="22531"/>
                </a:cubicBezTo>
                <a:close/>
                <a:moveTo>
                  <a:pt x="7750" y="23093"/>
                </a:moveTo>
                <a:cubicBezTo>
                  <a:pt x="7750" y="23124"/>
                  <a:pt x="7719" y="23124"/>
                  <a:pt x="7719" y="23124"/>
                </a:cubicBezTo>
                <a:cubicBezTo>
                  <a:pt x="7688" y="23156"/>
                  <a:pt x="7656" y="23062"/>
                  <a:pt x="7656" y="23093"/>
                </a:cubicBezTo>
                <a:cubicBezTo>
                  <a:pt x="7625" y="23124"/>
                  <a:pt x="7625" y="23124"/>
                  <a:pt x="7656" y="23124"/>
                </a:cubicBezTo>
                <a:cubicBezTo>
                  <a:pt x="7656" y="23156"/>
                  <a:pt x="7688" y="23187"/>
                  <a:pt x="7656" y="23218"/>
                </a:cubicBezTo>
                <a:cubicBezTo>
                  <a:pt x="7625" y="23218"/>
                  <a:pt x="7594" y="23218"/>
                  <a:pt x="7563" y="23249"/>
                </a:cubicBezTo>
                <a:cubicBezTo>
                  <a:pt x="7531" y="23249"/>
                  <a:pt x="7531" y="23218"/>
                  <a:pt x="7531" y="23218"/>
                </a:cubicBezTo>
                <a:cubicBezTo>
                  <a:pt x="7594" y="23156"/>
                  <a:pt x="7531" y="23062"/>
                  <a:pt x="7531" y="22968"/>
                </a:cubicBezTo>
                <a:cubicBezTo>
                  <a:pt x="7563" y="22937"/>
                  <a:pt x="7563" y="22874"/>
                  <a:pt x="7625" y="22874"/>
                </a:cubicBezTo>
                <a:cubicBezTo>
                  <a:pt x="7656" y="22874"/>
                  <a:pt x="7625" y="22937"/>
                  <a:pt x="7656" y="22968"/>
                </a:cubicBezTo>
                <a:cubicBezTo>
                  <a:pt x="7688" y="22968"/>
                  <a:pt x="7688" y="22999"/>
                  <a:pt x="7688" y="22999"/>
                </a:cubicBezTo>
                <a:cubicBezTo>
                  <a:pt x="7688" y="22999"/>
                  <a:pt x="7688" y="22999"/>
                  <a:pt x="7688" y="22999"/>
                </a:cubicBezTo>
                <a:cubicBezTo>
                  <a:pt x="7719" y="23031"/>
                  <a:pt x="7719" y="23062"/>
                  <a:pt x="7719" y="23124"/>
                </a:cubicBezTo>
                <a:cubicBezTo>
                  <a:pt x="7719" y="23124"/>
                  <a:pt x="7750" y="23124"/>
                  <a:pt x="7750" y="23093"/>
                </a:cubicBezTo>
                <a:cubicBezTo>
                  <a:pt x="7750" y="23093"/>
                  <a:pt x="7750" y="23093"/>
                  <a:pt x="7750" y="23093"/>
                </a:cubicBezTo>
                <a:close/>
                <a:moveTo>
                  <a:pt x="7781" y="23156"/>
                </a:moveTo>
                <a:cubicBezTo>
                  <a:pt x="7781" y="23124"/>
                  <a:pt x="7781" y="23062"/>
                  <a:pt x="7781" y="23031"/>
                </a:cubicBezTo>
                <a:cubicBezTo>
                  <a:pt x="7750" y="23031"/>
                  <a:pt x="7750" y="23093"/>
                  <a:pt x="7750" y="23093"/>
                </a:cubicBezTo>
                <a:cubicBezTo>
                  <a:pt x="7719" y="23062"/>
                  <a:pt x="7750" y="22999"/>
                  <a:pt x="7688" y="22968"/>
                </a:cubicBezTo>
                <a:cubicBezTo>
                  <a:pt x="7688" y="22968"/>
                  <a:pt x="7688" y="22999"/>
                  <a:pt x="7688" y="22999"/>
                </a:cubicBezTo>
                <a:cubicBezTo>
                  <a:pt x="7688" y="22999"/>
                  <a:pt x="7688" y="22968"/>
                  <a:pt x="7688" y="22968"/>
                </a:cubicBezTo>
                <a:cubicBezTo>
                  <a:pt x="7688" y="22968"/>
                  <a:pt x="7688" y="22968"/>
                  <a:pt x="7688" y="22937"/>
                </a:cubicBezTo>
                <a:cubicBezTo>
                  <a:pt x="7719" y="22937"/>
                  <a:pt x="7719" y="22906"/>
                  <a:pt x="7688" y="22906"/>
                </a:cubicBezTo>
                <a:cubicBezTo>
                  <a:pt x="7688" y="22874"/>
                  <a:pt x="7719" y="22874"/>
                  <a:pt x="7719" y="22874"/>
                </a:cubicBezTo>
                <a:cubicBezTo>
                  <a:pt x="7750" y="22843"/>
                  <a:pt x="7813" y="22906"/>
                  <a:pt x="7813" y="22812"/>
                </a:cubicBezTo>
                <a:cubicBezTo>
                  <a:pt x="7875" y="22812"/>
                  <a:pt x="7875" y="22874"/>
                  <a:pt x="7875" y="22937"/>
                </a:cubicBezTo>
                <a:cubicBezTo>
                  <a:pt x="7938" y="23093"/>
                  <a:pt x="7938" y="23093"/>
                  <a:pt x="7781" y="23156"/>
                </a:cubicBezTo>
                <a:close/>
                <a:moveTo>
                  <a:pt x="7938" y="22187"/>
                </a:moveTo>
                <a:cubicBezTo>
                  <a:pt x="7938" y="22187"/>
                  <a:pt x="7938" y="22218"/>
                  <a:pt x="7938" y="22249"/>
                </a:cubicBezTo>
                <a:cubicBezTo>
                  <a:pt x="7938" y="22218"/>
                  <a:pt x="7938" y="22187"/>
                  <a:pt x="7938" y="22187"/>
                </a:cubicBezTo>
                <a:close/>
                <a:moveTo>
                  <a:pt x="7938" y="22156"/>
                </a:moveTo>
                <a:cubicBezTo>
                  <a:pt x="7906" y="22062"/>
                  <a:pt x="7938" y="22031"/>
                  <a:pt x="8031" y="21999"/>
                </a:cubicBezTo>
                <a:cubicBezTo>
                  <a:pt x="8094" y="21968"/>
                  <a:pt x="8156" y="21999"/>
                  <a:pt x="8219" y="21906"/>
                </a:cubicBezTo>
                <a:cubicBezTo>
                  <a:pt x="8219" y="21906"/>
                  <a:pt x="8281" y="21906"/>
                  <a:pt x="8313" y="21937"/>
                </a:cubicBezTo>
                <a:cubicBezTo>
                  <a:pt x="8344" y="21937"/>
                  <a:pt x="8344" y="21968"/>
                  <a:pt x="8313" y="21999"/>
                </a:cubicBezTo>
                <a:cubicBezTo>
                  <a:pt x="8281" y="22062"/>
                  <a:pt x="8313" y="22124"/>
                  <a:pt x="8344" y="22187"/>
                </a:cubicBezTo>
                <a:cubicBezTo>
                  <a:pt x="8375" y="22249"/>
                  <a:pt x="8313" y="22281"/>
                  <a:pt x="8313" y="22312"/>
                </a:cubicBezTo>
                <a:cubicBezTo>
                  <a:pt x="8313" y="22343"/>
                  <a:pt x="8313" y="22343"/>
                  <a:pt x="8281" y="22343"/>
                </a:cubicBezTo>
                <a:cubicBezTo>
                  <a:pt x="8219" y="22343"/>
                  <a:pt x="8156" y="22374"/>
                  <a:pt x="8063" y="22406"/>
                </a:cubicBezTo>
                <a:cubicBezTo>
                  <a:pt x="8031" y="22437"/>
                  <a:pt x="8031" y="22406"/>
                  <a:pt x="8000" y="22374"/>
                </a:cubicBezTo>
                <a:cubicBezTo>
                  <a:pt x="8000" y="22281"/>
                  <a:pt x="8031" y="22218"/>
                  <a:pt x="8094" y="22124"/>
                </a:cubicBezTo>
                <a:cubicBezTo>
                  <a:pt x="8094" y="22093"/>
                  <a:pt x="8125" y="22093"/>
                  <a:pt x="8156" y="22093"/>
                </a:cubicBezTo>
                <a:cubicBezTo>
                  <a:pt x="8188" y="22093"/>
                  <a:pt x="8188" y="22124"/>
                  <a:pt x="8188" y="22156"/>
                </a:cubicBezTo>
                <a:cubicBezTo>
                  <a:pt x="8188" y="22187"/>
                  <a:pt x="8219" y="22218"/>
                  <a:pt x="8219" y="22281"/>
                </a:cubicBezTo>
                <a:cubicBezTo>
                  <a:pt x="8250" y="22218"/>
                  <a:pt x="8219" y="22156"/>
                  <a:pt x="8219" y="22124"/>
                </a:cubicBezTo>
                <a:cubicBezTo>
                  <a:pt x="8219" y="21999"/>
                  <a:pt x="8219" y="21999"/>
                  <a:pt x="8125" y="22062"/>
                </a:cubicBezTo>
                <a:cubicBezTo>
                  <a:pt x="8094" y="22062"/>
                  <a:pt x="8094" y="22093"/>
                  <a:pt x="8063" y="22093"/>
                </a:cubicBezTo>
                <a:cubicBezTo>
                  <a:pt x="8031" y="22124"/>
                  <a:pt x="8000" y="22187"/>
                  <a:pt x="7938" y="22156"/>
                </a:cubicBezTo>
                <a:close/>
                <a:moveTo>
                  <a:pt x="8000" y="22374"/>
                </a:moveTo>
                <a:cubicBezTo>
                  <a:pt x="8000" y="22374"/>
                  <a:pt x="8000" y="22374"/>
                  <a:pt x="8000" y="22374"/>
                </a:cubicBezTo>
                <a:cubicBezTo>
                  <a:pt x="8000" y="22374"/>
                  <a:pt x="8000" y="22374"/>
                  <a:pt x="8000" y="22343"/>
                </a:cubicBezTo>
                <a:cubicBezTo>
                  <a:pt x="8000" y="22374"/>
                  <a:pt x="8000" y="22374"/>
                  <a:pt x="8000" y="22374"/>
                </a:cubicBezTo>
                <a:close/>
                <a:moveTo>
                  <a:pt x="8313" y="22999"/>
                </a:moveTo>
                <a:cubicBezTo>
                  <a:pt x="8281" y="22999"/>
                  <a:pt x="8281" y="22999"/>
                  <a:pt x="8281" y="22968"/>
                </a:cubicBezTo>
                <a:cubicBezTo>
                  <a:pt x="8281" y="22937"/>
                  <a:pt x="8281" y="22906"/>
                  <a:pt x="8281" y="22874"/>
                </a:cubicBezTo>
                <a:cubicBezTo>
                  <a:pt x="8219" y="22906"/>
                  <a:pt x="8188" y="22999"/>
                  <a:pt x="8125" y="22937"/>
                </a:cubicBezTo>
                <a:cubicBezTo>
                  <a:pt x="8125" y="22937"/>
                  <a:pt x="8125" y="22937"/>
                  <a:pt x="8125" y="22968"/>
                </a:cubicBezTo>
                <a:cubicBezTo>
                  <a:pt x="8125" y="22968"/>
                  <a:pt x="8188" y="22999"/>
                  <a:pt x="8156" y="23031"/>
                </a:cubicBezTo>
                <a:cubicBezTo>
                  <a:pt x="8125" y="23062"/>
                  <a:pt x="8063" y="23062"/>
                  <a:pt x="8031" y="23062"/>
                </a:cubicBezTo>
                <a:cubicBezTo>
                  <a:pt x="8000" y="23062"/>
                  <a:pt x="8031" y="22999"/>
                  <a:pt x="8031" y="22999"/>
                </a:cubicBezTo>
                <a:cubicBezTo>
                  <a:pt x="8000" y="22968"/>
                  <a:pt x="8000" y="22906"/>
                  <a:pt x="8000" y="22906"/>
                </a:cubicBezTo>
                <a:cubicBezTo>
                  <a:pt x="7969" y="22812"/>
                  <a:pt x="8031" y="22749"/>
                  <a:pt x="8063" y="22687"/>
                </a:cubicBezTo>
                <a:cubicBezTo>
                  <a:pt x="8094" y="22624"/>
                  <a:pt x="8156" y="22687"/>
                  <a:pt x="8188" y="22656"/>
                </a:cubicBezTo>
                <a:cubicBezTo>
                  <a:pt x="8219" y="22593"/>
                  <a:pt x="8281" y="22624"/>
                  <a:pt x="8344" y="22656"/>
                </a:cubicBezTo>
                <a:cubicBezTo>
                  <a:pt x="8375" y="22687"/>
                  <a:pt x="8375" y="22718"/>
                  <a:pt x="8375" y="22749"/>
                </a:cubicBezTo>
                <a:cubicBezTo>
                  <a:pt x="8406" y="22781"/>
                  <a:pt x="8375" y="22843"/>
                  <a:pt x="8406" y="22874"/>
                </a:cubicBezTo>
                <a:cubicBezTo>
                  <a:pt x="8438" y="22968"/>
                  <a:pt x="8344" y="22968"/>
                  <a:pt x="8313" y="22999"/>
                </a:cubicBezTo>
                <a:close/>
                <a:moveTo>
                  <a:pt x="8438" y="21499"/>
                </a:moveTo>
                <a:cubicBezTo>
                  <a:pt x="8438" y="21468"/>
                  <a:pt x="8438" y="21406"/>
                  <a:pt x="8406" y="21374"/>
                </a:cubicBezTo>
                <a:cubicBezTo>
                  <a:pt x="8469" y="21406"/>
                  <a:pt x="8531" y="21343"/>
                  <a:pt x="8563" y="21374"/>
                </a:cubicBezTo>
                <a:cubicBezTo>
                  <a:pt x="8563" y="21406"/>
                  <a:pt x="8625" y="21437"/>
                  <a:pt x="8594" y="21468"/>
                </a:cubicBezTo>
                <a:cubicBezTo>
                  <a:pt x="8563" y="21499"/>
                  <a:pt x="8500" y="21562"/>
                  <a:pt x="8469" y="21562"/>
                </a:cubicBezTo>
                <a:cubicBezTo>
                  <a:pt x="8438" y="21562"/>
                  <a:pt x="8438" y="21531"/>
                  <a:pt x="8438" y="21499"/>
                </a:cubicBezTo>
                <a:close/>
                <a:moveTo>
                  <a:pt x="8688" y="22593"/>
                </a:moveTo>
                <a:cubicBezTo>
                  <a:pt x="8688" y="22656"/>
                  <a:pt x="8688" y="22749"/>
                  <a:pt x="8688" y="22812"/>
                </a:cubicBezTo>
                <a:cubicBezTo>
                  <a:pt x="8625" y="22843"/>
                  <a:pt x="8656" y="22781"/>
                  <a:pt x="8625" y="22781"/>
                </a:cubicBezTo>
                <a:cubicBezTo>
                  <a:pt x="8625" y="22781"/>
                  <a:pt x="8594" y="22812"/>
                  <a:pt x="8594" y="22812"/>
                </a:cubicBezTo>
                <a:cubicBezTo>
                  <a:pt x="8625" y="22843"/>
                  <a:pt x="8656" y="22874"/>
                  <a:pt x="8625" y="22906"/>
                </a:cubicBezTo>
                <a:cubicBezTo>
                  <a:pt x="8594" y="22937"/>
                  <a:pt x="8563" y="22874"/>
                  <a:pt x="8500" y="22906"/>
                </a:cubicBezTo>
                <a:cubicBezTo>
                  <a:pt x="8500" y="22937"/>
                  <a:pt x="8500" y="22906"/>
                  <a:pt x="8500" y="22874"/>
                </a:cubicBezTo>
                <a:cubicBezTo>
                  <a:pt x="8500" y="22787"/>
                  <a:pt x="8500" y="22700"/>
                  <a:pt x="8475" y="22613"/>
                </a:cubicBezTo>
                <a:cubicBezTo>
                  <a:pt x="8484" y="22624"/>
                  <a:pt x="8500" y="22624"/>
                  <a:pt x="8500" y="22624"/>
                </a:cubicBezTo>
                <a:cubicBezTo>
                  <a:pt x="8531" y="22593"/>
                  <a:pt x="8531" y="22593"/>
                  <a:pt x="8531" y="22562"/>
                </a:cubicBezTo>
                <a:cubicBezTo>
                  <a:pt x="8531" y="22562"/>
                  <a:pt x="8469" y="22562"/>
                  <a:pt x="8469" y="22593"/>
                </a:cubicBezTo>
                <a:cubicBezTo>
                  <a:pt x="8438" y="22531"/>
                  <a:pt x="8469" y="22531"/>
                  <a:pt x="8500" y="22531"/>
                </a:cubicBezTo>
                <a:cubicBezTo>
                  <a:pt x="8531" y="22531"/>
                  <a:pt x="8594" y="22531"/>
                  <a:pt x="8625" y="22499"/>
                </a:cubicBezTo>
                <a:cubicBezTo>
                  <a:pt x="8656" y="22499"/>
                  <a:pt x="8688" y="22531"/>
                  <a:pt x="8688" y="22593"/>
                </a:cubicBezTo>
                <a:close/>
                <a:moveTo>
                  <a:pt x="8781" y="22187"/>
                </a:moveTo>
                <a:cubicBezTo>
                  <a:pt x="8781" y="22156"/>
                  <a:pt x="8781" y="22124"/>
                  <a:pt x="8781" y="22093"/>
                </a:cubicBezTo>
                <a:cubicBezTo>
                  <a:pt x="8781" y="22093"/>
                  <a:pt x="8750" y="22093"/>
                  <a:pt x="8750" y="22093"/>
                </a:cubicBezTo>
                <a:cubicBezTo>
                  <a:pt x="8750" y="22124"/>
                  <a:pt x="8750" y="22156"/>
                  <a:pt x="8750" y="22187"/>
                </a:cubicBezTo>
                <a:cubicBezTo>
                  <a:pt x="8750" y="22218"/>
                  <a:pt x="8750" y="22249"/>
                  <a:pt x="8719" y="22218"/>
                </a:cubicBezTo>
                <a:cubicBezTo>
                  <a:pt x="8719" y="22187"/>
                  <a:pt x="8688" y="22218"/>
                  <a:pt x="8688" y="22249"/>
                </a:cubicBezTo>
                <a:cubicBezTo>
                  <a:pt x="8688" y="22312"/>
                  <a:pt x="8656" y="22281"/>
                  <a:pt x="8625" y="22281"/>
                </a:cubicBezTo>
                <a:cubicBezTo>
                  <a:pt x="8594" y="22281"/>
                  <a:pt x="8563" y="22249"/>
                  <a:pt x="8563" y="22218"/>
                </a:cubicBezTo>
                <a:cubicBezTo>
                  <a:pt x="8531" y="22156"/>
                  <a:pt x="8563" y="22093"/>
                  <a:pt x="8500" y="22031"/>
                </a:cubicBezTo>
                <a:cubicBezTo>
                  <a:pt x="8500" y="21999"/>
                  <a:pt x="8531" y="21937"/>
                  <a:pt x="8563" y="21937"/>
                </a:cubicBezTo>
                <a:cubicBezTo>
                  <a:pt x="8656" y="21874"/>
                  <a:pt x="8719" y="21906"/>
                  <a:pt x="8750" y="21999"/>
                </a:cubicBezTo>
                <a:cubicBezTo>
                  <a:pt x="8750" y="21968"/>
                  <a:pt x="8750" y="21937"/>
                  <a:pt x="8813" y="21937"/>
                </a:cubicBezTo>
                <a:cubicBezTo>
                  <a:pt x="8844" y="21937"/>
                  <a:pt x="8844" y="21968"/>
                  <a:pt x="8844" y="21999"/>
                </a:cubicBezTo>
                <a:cubicBezTo>
                  <a:pt x="8844" y="22062"/>
                  <a:pt x="8906" y="22156"/>
                  <a:pt x="8781" y="22187"/>
                </a:cubicBezTo>
                <a:close/>
                <a:moveTo>
                  <a:pt x="8906" y="21531"/>
                </a:moveTo>
                <a:cubicBezTo>
                  <a:pt x="8875" y="21562"/>
                  <a:pt x="8750" y="21468"/>
                  <a:pt x="8750" y="21437"/>
                </a:cubicBezTo>
                <a:cubicBezTo>
                  <a:pt x="8781" y="21374"/>
                  <a:pt x="8844" y="21312"/>
                  <a:pt x="8906" y="21312"/>
                </a:cubicBezTo>
                <a:cubicBezTo>
                  <a:pt x="8969" y="21312"/>
                  <a:pt x="8906" y="21406"/>
                  <a:pt x="8938" y="21437"/>
                </a:cubicBezTo>
                <a:cubicBezTo>
                  <a:pt x="8906" y="21468"/>
                  <a:pt x="8969" y="21531"/>
                  <a:pt x="8906" y="21531"/>
                </a:cubicBezTo>
                <a:close/>
                <a:moveTo>
                  <a:pt x="9344" y="22656"/>
                </a:moveTo>
                <a:cubicBezTo>
                  <a:pt x="9344" y="22718"/>
                  <a:pt x="9313" y="22749"/>
                  <a:pt x="9250" y="22781"/>
                </a:cubicBezTo>
                <a:cubicBezTo>
                  <a:pt x="9250" y="22781"/>
                  <a:pt x="9250" y="22781"/>
                  <a:pt x="9219" y="22781"/>
                </a:cubicBezTo>
                <a:cubicBezTo>
                  <a:pt x="9188" y="22749"/>
                  <a:pt x="9219" y="22718"/>
                  <a:pt x="9188" y="22687"/>
                </a:cubicBezTo>
                <a:cubicBezTo>
                  <a:pt x="9250" y="22718"/>
                  <a:pt x="9250" y="22687"/>
                  <a:pt x="9219" y="22624"/>
                </a:cubicBezTo>
                <a:lnTo>
                  <a:pt x="9219" y="22624"/>
                </a:lnTo>
                <a:cubicBezTo>
                  <a:pt x="9219" y="22656"/>
                  <a:pt x="9219" y="22687"/>
                  <a:pt x="9188" y="22687"/>
                </a:cubicBezTo>
                <a:cubicBezTo>
                  <a:pt x="9188" y="22687"/>
                  <a:pt x="9156" y="22718"/>
                  <a:pt x="9125" y="22718"/>
                </a:cubicBezTo>
                <a:cubicBezTo>
                  <a:pt x="9094" y="22687"/>
                  <a:pt x="9094" y="22687"/>
                  <a:pt x="9094" y="22718"/>
                </a:cubicBezTo>
                <a:cubicBezTo>
                  <a:pt x="9125" y="22843"/>
                  <a:pt x="9031" y="22781"/>
                  <a:pt x="9000" y="22812"/>
                </a:cubicBezTo>
                <a:cubicBezTo>
                  <a:pt x="8969" y="22812"/>
                  <a:pt x="8969" y="22812"/>
                  <a:pt x="8969" y="22718"/>
                </a:cubicBezTo>
                <a:cubicBezTo>
                  <a:pt x="8969" y="22624"/>
                  <a:pt x="8969" y="22531"/>
                  <a:pt x="9063" y="22437"/>
                </a:cubicBezTo>
                <a:cubicBezTo>
                  <a:pt x="9031" y="22406"/>
                  <a:pt x="9000" y="22437"/>
                  <a:pt x="9000" y="22468"/>
                </a:cubicBezTo>
                <a:cubicBezTo>
                  <a:pt x="8969" y="22468"/>
                  <a:pt x="8938" y="22437"/>
                  <a:pt x="8938" y="22406"/>
                </a:cubicBezTo>
                <a:cubicBezTo>
                  <a:pt x="8938" y="22374"/>
                  <a:pt x="9000" y="22374"/>
                  <a:pt x="9031" y="22374"/>
                </a:cubicBezTo>
                <a:cubicBezTo>
                  <a:pt x="9063" y="22343"/>
                  <a:pt x="9125" y="22312"/>
                  <a:pt x="9156" y="22343"/>
                </a:cubicBezTo>
                <a:cubicBezTo>
                  <a:pt x="9188" y="22374"/>
                  <a:pt x="9125" y="22374"/>
                  <a:pt x="9094" y="22374"/>
                </a:cubicBezTo>
                <a:cubicBezTo>
                  <a:pt x="9125" y="22406"/>
                  <a:pt x="9156" y="22406"/>
                  <a:pt x="9188" y="22374"/>
                </a:cubicBezTo>
                <a:cubicBezTo>
                  <a:pt x="9188" y="22374"/>
                  <a:pt x="9188" y="22374"/>
                  <a:pt x="9188" y="22374"/>
                </a:cubicBezTo>
                <a:cubicBezTo>
                  <a:pt x="9250" y="22374"/>
                  <a:pt x="9281" y="22468"/>
                  <a:pt x="9344" y="22468"/>
                </a:cubicBezTo>
                <a:cubicBezTo>
                  <a:pt x="9344" y="22531"/>
                  <a:pt x="9344" y="22593"/>
                  <a:pt x="9344" y="22656"/>
                </a:cubicBezTo>
                <a:close/>
                <a:moveTo>
                  <a:pt x="9344" y="22468"/>
                </a:moveTo>
                <a:cubicBezTo>
                  <a:pt x="9313" y="22374"/>
                  <a:pt x="9250" y="22343"/>
                  <a:pt x="9188" y="22374"/>
                </a:cubicBezTo>
                <a:cubicBezTo>
                  <a:pt x="9156" y="22281"/>
                  <a:pt x="9250" y="22281"/>
                  <a:pt x="9281" y="22312"/>
                </a:cubicBezTo>
                <a:cubicBezTo>
                  <a:pt x="9313" y="22312"/>
                  <a:pt x="9344" y="22281"/>
                  <a:pt x="9375" y="22281"/>
                </a:cubicBezTo>
                <a:cubicBezTo>
                  <a:pt x="9375" y="22312"/>
                  <a:pt x="9375" y="22343"/>
                  <a:pt x="9375" y="22374"/>
                </a:cubicBezTo>
                <a:cubicBezTo>
                  <a:pt x="9406" y="22374"/>
                  <a:pt x="9438" y="22374"/>
                  <a:pt x="9438" y="22374"/>
                </a:cubicBezTo>
                <a:cubicBezTo>
                  <a:pt x="9469" y="22312"/>
                  <a:pt x="9500" y="22249"/>
                  <a:pt x="9594" y="22249"/>
                </a:cubicBezTo>
                <a:cubicBezTo>
                  <a:pt x="9594" y="22249"/>
                  <a:pt x="9625" y="22218"/>
                  <a:pt x="9625" y="22249"/>
                </a:cubicBezTo>
                <a:cubicBezTo>
                  <a:pt x="9625" y="22281"/>
                  <a:pt x="9625" y="22312"/>
                  <a:pt x="9594" y="22312"/>
                </a:cubicBezTo>
                <a:cubicBezTo>
                  <a:pt x="9531" y="22312"/>
                  <a:pt x="9500" y="22374"/>
                  <a:pt x="9438" y="22406"/>
                </a:cubicBezTo>
                <a:cubicBezTo>
                  <a:pt x="9438" y="22374"/>
                  <a:pt x="9438" y="22374"/>
                  <a:pt x="9438" y="22374"/>
                </a:cubicBezTo>
                <a:cubicBezTo>
                  <a:pt x="9438" y="22374"/>
                  <a:pt x="9406" y="22374"/>
                  <a:pt x="9375" y="22374"/>
                </a:cubicBezTo>
                <a:cubicBezTo>
                  <a:pt x="9375" y="22406"/>
                  <a:pt x="9406" y="22437"/>
                  <a:pt x="9344" y="22468"/>
                </a:cubicBezTo>
                <a:close/>
                <a:moveTo>
                  <a:pt x="9750" y="22718"/>
                </a:moveTo>
                <a:cubicBezTo>
                  <a:pt x="9750" y="22718"/>
                  <a:pt x="9750" y="22718"/>
                  <a:pt x="9750" y="22749"/>
                </a:cubicBezTo>
                <a:cubicBezTo>
                  <a:pt x="9688" y="22749"/>
                  <a:pt x="9563" y="22656"/>
                  <a:pt x="9563" y="22593"/>
                </a:cubicBezTo>
                <a:cubicBezTo>
                  <a:pt x="9531" y="22624"/>
                  <a:pt x="9563" y="22687"/>
                  <a:pt x="9563" y="22718"/>
                </a:cubicBezTo>
                <a:cubicBezTo>
                  <a:pt x="9531" y="22749"/>
                  <a:pt x="9500" y="22687"/>
                  <a:pt x="9469" y="22718"/>
                </a:cubicBezTo>
                <a:cubicBezTo>
                  <a:pt x="9469" y="22749"/>
                  <a:pt x="9438" y="22718"/>
                  <a:pt x="9438" y="22687"/>
                </a:cubicBezTo>
                <a:cubicBezTo>
                  <a:pt x="9438" y="22624"/>
                  <a:pt x="9438" y="22531"/>
                  <a:pt x="9469" y="22468"/>
                </a:cubicBezTo>
                <a:cubicBezTo>
                  <a:pt x="9500" y="22437"/>
                  <a:pt x="9500" y="22406"/>
                  <a:pt x="9531" y="22374"/>
                </a:cubicBezTo>
                <a:cubicBezTo>
                  <a:pt x="9594" y="22312"/>
                  <a:pt x="9625" y="22312"/>
                  <a:pt x="9656" y="22437"/>
                </a:cubicBezTo>
                <a:cubicBezTo>
                  <a:pt x="9656" y="22343"/>
                  <a:pt x="9688" y="22312"/>
                  <a:pt x="9750" y="22343"/>
                </a:cubicBezTo>
                <a:cubicBezTo>
                  <a:pt x="9719" y="22281"/>
                  <a:pt x="9625" y="22312"/>
                  <a:pt x="9656" y="22218"/>
                </a:cubicBezTo>
                <a:cubicBezTo>
                  <a:pt x="9719" y="22187"/>
                  <a:pt x="9781" y="22218"/>
                  <a:pt x="9844" y="22218"/>
                </a:cubicBezTo>
                <a:cubicBezTo>
                  <a:pt x="9844" y="22218"/>
                  <a:pt x="9844" y="22218"/>
                  <a:pt x="9844" y="22218"/>
                </a:cubicBezTo>
                <a:cubicBezTo>
                  <a:pt x="9844" y="22218"/>
                  <a:pt x="9906" y="22218"/>
                  <a:pt x="9875" y="22281"/>
                </a:cubicBezTo>
                <a:cubicBezTo>
                  <a:pt x="9875" y="22281"/>
                  <a:pt x="9875" y="22281"/>
                  <a:pt x="9875" y="22281"/>
                </a:cubicBezTo>
                <a:cubicBezTo>
                  <a:pt x="9875" y="22281"/>
                  <a:pt x="9875" y="22281"/>
                  <a:pt x="9875" y="22281"/>
                </a:cubicBezTo>
                <a:cubicBezTo>
                  <a:pt x="9875" y="22281"/>
                  <a:pt x="9875" y="22281"/>
                  <a:pt x="9875" y="22281"/>
                </a:cubicBezTo>
                <a:cubicBezTo>
                  <a:pt x="9844" y="22281"/>
                  <a:pt x="9813" y="22281"/>
                  <a:pt x="9844" y="22312"/>
                </a:cubicBezTo>
                <a:cubicBezTo>
                  <a:pt x="9844" y="22343"/>
                  <a:pt x="9844" y="22374"/>
                  <a:pt x="9844" y="22406"/>
                </a:cubicBezTo>
                <a:cubicBezTo>
                  <a:pt x="9844" y="22437"/>
                  <a:pt x="9844" y="22468"/>
                  <a:pt x="9813" y="22499"/>
                </a:cubicBezTo>
                <a:cubicBezTo>
                  <a:pt x="9781" y="22593"/>
                  <a:pt x="9813" y="22687"/>
                  <a:pt x="9750" y="22718"/>
                </a:cubicBezTo>
                <a:close/>
                <a:moveTo>
                  <a:pt x="10781" y="22312"/>
                </a:moveTo>
                <a:cubicBezTo>
                  <a:pt x="10750" y="22437"/>
                  <a:pt x="10688" y="22531"/>
                  <a:pt x="10688" y="22656"/>
                </a:cubicBezTo>
                <a:cubicBezTo>
                  <a:pt x="10688" y="22718"/>
                  <a:pt x="10625" y="22687"/>
                  <a:pt x="10594" y="22687"/>
                </a:cubicBezTo>
                <a:cubicBezTo>
                  <a:pt x="10531" y="22687"/>
                  <a:pt x="10594" y="22656"/>
                  <a:pt x="10563" y="22624"/>
                </a:cubicBezTo>
                <a:cubicBezTo>
                  <a:pt x="10531" y="22624"/>
                  <a:pt x="10469" y="22656"/>
                  <a:pt x="10469" y="22593"/>
                </a:cubicBezTo>
                <a:cubicBezTo>
                  <a:pt x="10438" y="22624"/>
                  <a:pt x="10500" y="22687"/>
                  <a:pt x="10406" y="22687"/>
                </a:cubicBezTo>
                <a:cubicBezTo>
                  <a:pt x="10406" y="22687"/>
                  <a:pt x="10313" y="22718"/>
                  <a:pt x="10344" y="22624"/>
                </a:cubicBezTo>
                <a:cubicBezTo>
                  <a:pt x="10344" y="22593"/>
                  <a:pt x="10375" y="22531"/>
                  <a:pt x="10375" y="22468"/>
                </a:cubicBezTo>
                <a:cubicBezTo>
                  <a:pt x="10375" y="22437"/>
                  <a:pt x="10406" y="22437"/>
                  <a:pt x="10375" y="22406"/>
                </a:cubicBezTo>
                <a:cubicBezTo>
                  <a:pt x="10344" y="22374"/>
                  <a:pt x="10313" y="22406"/>
                  <a:pt x="10313" y="22406"/>
                </a:cubicBezTo>
                <a:cubicBezTo>
                  <a:pt x="10250" y="22406"/>
                  <a:pt x="10281" y="22437"/>
                  <a:pt x="10281" y="22468"/>
                </a:cubicBezTo>
                <a:cubicBezTo>
                  <a:pt x="10281" y="22531"/>
                  <a:pt x="10313" y="22593"/>
                  <a:pt x="10281" y="22656"/>
                </a:cubicBezTo>
                <a:cubicBezTo>
                  <a:pt x="10250" y="22687"/>
                  <a:pt x="10188" y="22656"/>
                  <a:pt x="10156" y="22687"/>
                </a:cubicBezTo>
                <a:cubicBezTo>
                  <a:pt x="10094" y="22687"/>
                  <a:pt x="10094" y="22656"/>
                  <a:pt x="10125" y="22624"/>
                </a:cubicBezTo>
                <a:cubicBezTo>
                  <a:pt x="10188" y="22562"/>
                  <a:pt x="10063" y="22593"/>
                  <a:pt x="10094" y="22562"/>
                </a:cubicBezTo>
                <a:cubicBezTo>
                  <a:pt x="10063" y="22562"/>
                  <a:pt x="10094" y="22593"/>
                  <a:pt x="10063" y="22593"/>
                </a:cubicBezTo>
                <a:cubicBezTo>
                  <a:pt x="10063" y="22593"/>
                  <a:pt x="10031" y="22593"/>
                  <a:pt x="10031" y="22593"/>
                </a:cubicBezTo>
                <a:cubicBezTo>
                  <a:pt x="10031" y="22593"/>
                  <a:pt x="10031" y="22562"/>
                  <a:pt x="10031" y="22531"/>
                </a:cubicBezTo>
                <a:cubicBezTo>
                  <a:pt x="9969" y="22562"/>
                  <a:pt x="10031" y="22656"/>
                  <a:pt x="10000" y="22687"/>
                </a:cubicBezTo>
                <a:cubicBezTo>
                  <a:pt x="9906" y="22687"/>
                  <a:pt x="9875" y="22687"/>
                  <a:pt x="9906" y="22593"/>
                </a:cubicBezTo>
                <a:cubicBezTo>
                  <a:pt x="9906" y="22562"/>
                  <a:pt x="9906" y="22499"/>
                  <a:pt x="9906" y="22468"/>
                </a:cubicBezTo>
                <a:cubicBezTo>
                  <a:pt x="9906" y="22499"/>
                  <a:pt x="9875" y="22531"/>
                  <a:pt x="9844" y="22531"/>
                </a:cubicBezTo>
                <a:cubicBezTo>
                  <a:pt x="9875" y="22531"/>
                  <a:pt x="9906" y="22499"/>
                  <a:pt x="9906" y="22468"/>
                </a:cubicBezTo>
                <a:cubicBezTo>
                  <a:pt x="9906" y="22437"/>
                  <a:pt x="9906" y="22437"/>
                  <a:pt x="9906" y="22406"/>
                </a:cubicBezTo>
                <a:cubicBezTo>
                  <a:pt x="9938" y="22406"/>
                  <a:pt x="10000" y="22374"/>
                  <a:pt x="9938" y="22343"/>
                </a:cubicBezTo>
                <a:cubicBezTo>
                  <a:pt x="9906" y="22312"/>
                  <a:pt x="9906" y="22312"/>
                  <a:pt x="9906" y="22281"/>
                </a:cubicBezTo>
                <a:cubicBezTo>
                  <a:pt x="9938" y="22218"/>
                  <a:pt x="9969" y="22218"/>
                  <a:pt x="10031" y="22218"/>
                </a:cubicBezTo>
                <a:cubicBezTo>
                  <a:pt x="10094" y="22218"/>
                  <a:pt x="10156" y="22187"/>
                  <a:pt x="10219" y="22156"/>
                </a:cubicBezTo>
                <a:cubicBezTo>
                  <a:pt x="10219" y="22124"/>
                  <a:pt x="10250" y="22093"/>
                  <a:pt x="10219" y="22062"/>
                </a:cubicBezTo>
                <a:cubicBezTo>
                  <a:pt x="10250" y="22093"/>
                  <a:pt x="10219" y="22124"/>
                  <a:pt x="10219" y="22156"/>
                </a:cubicBezTo>
                <a:cubicBezTo>
                  <a:pt x="10250" y="22187"/>
                  <a:pt x="10250" y="22187"/>
                  <a:pt x="10250" y="22187"/>
                </a:cubicBezTo>
                <a:cubicBezTo>
                  <a:pt x="10250" y="22187"/>
                  <a:pt x="10250" y="22187"/>
                  <a:pt x="10250" y="22187"/>
                </a:cubicBezTo>
                <a:cubicBezTo>
                  <a:pt x="10250" y="22218"/>
                  <a:pt x="10281" y="22249"/>
                  <a:pt x="10281" y="22249"/>
                </a:cubicBezTo>
                <a:cubicBezTo>
                  <a:pt x="10281" y="22249"/>
                  <a:pt x="10313" y="22218"/>
                  <a:pt x="10313" y="22218"/>
                </a:cubicBezTo>
                <a:cubicBezTo>
                  <a:pt x="10344" y="22312"/>
                  <a:pt x="10344" y="22312"/>
                  <a:pt x="10438" y="22218"/>
                </a:cubicBezTo>
                <a:cubicBezTo>
                  <a:pt x="10469" y="22218"/>
                  <a:pt x="10469" y="22218"/>
                  <a:pt x="10500" y="22218"/>
                </a:cubicBezTo>
                <a:cubicBezTo>
                  <a:pt x="10563" y="22218"/>
                  <a:pt x="10625" y="22218"/>
                  <a:pt x="10719" y="22218"/>
                </a:cubicBezTo>
                <a:cubicBezTo>
                  <a:pt x="10781" y="22218"/>
                  <a:pt x="10813" y="22249"/>
                  <a:pt x="10781" y="22312"/>
                </a:cubicBezTo>
                <a:close/>
                <a:moveTo>
                  <a:pt x="10875" y="22656"/>
                </a:moveTo>
                <a:cubicBezTo>
                  <a:pt x="10875" y="22656"/>
                  <a:pt x="10844" y="22687"/>
                  <a:pt x="10844" y="22687"/>
                </a:cubicBezTo>
                <a:cubicBezTo>
                  <a:pt x="10813" y="22687"/>
                  <a:pt x="10813" y="22656"/>
                  <a:pt x="10813" y="22656"/>
                </a:cubicBezTo>
                <a:cubicBezTo>
                  <a:pt x="10813" y="22593"/>
                  <a:pt x="10813" y="22531"/>
                  <a:pt x="10813" y="22437"/>
                </a:cubicBezTo>
                <a:cubicBezTo>
                  <a:pt x="10906" y="22406"/>
                  <a:pt x="10875" y="22499"/>
                  <a:pt x="10875" y="22531"/>
                </a:cubicBezTo>
                <a:cubicBezTo>
                  <a:pt x="10875" y="22562"/>
                  <a:pt x="10844" y="22593"/>
                  <a:pt x="10875" y="22656"/>
                </a:cubicBezTo>
                <a:close/>
                <a:moveTo>
                  <a:pt x="10813" y="21937"/>
                </a:moveTo>
                <a:cubicBezTo>
                  <a:pt x="10844" y="21843"/>
                  <a:pt x="10719" y="21843"/>
                  <a:pt x="10750" y="21781"/>
                </a:cubicBezTo>
                <a:cubicBezTo>
                  <a:pt x="10750" y="21687"/>
                  <a:pt x="10750" y="21687"/>
                  <a:pt x="10813" y="21718"/>
                </a:cubicBezTo>
                <a:cubicBezTo>
                  <a:pt x="10906" y="21718"/>
                  <a:pt x="10906" y="21781"/>
                  <a:pt x="10813" y="21937"/>
                </a:cubicBezTo>
                <a:close/>
                <a:moveTo>
                  <a:pt x="10938" y="22687"/>
                </a:moveTo>
                <a:cubicBezTo>
                  <a:pt x="10938" y="22687"/>
                  <a:pt x="10938" y="22687"/>
                  <a:pt x="10938" y="22687"/>
                </a:cubicBezTo>
                <a:cubicBezTo>
                  <a:pt x="10938" y="22687"/>
                  <a:pt x="10938" y="22687"/>
                  <a:pt x="10938" y="22687"/>
                </a:cubicBezTo>
                <a:close/>
                <a:moveTo>
                  <a:pt x="11125" y="22687"/>
                </a:moveTo>
                <a:cubicBezTo>
                  <a:pt x="11094" y="22781"/>
                  <a:pt x="11063" y="22749"/>
                  <a:pt x="11000" y="22749"/>
                </a:cubicBezTo>
                <a:cubicBezTo>
                  <a:pt x="10938" y="22749"/>
                  <a:pt x="11000" y="22687"/>
                  <a:pt x="11000" y="22687"/>
                </a:cubicBezTo>
                <a:cubicBezTo>
                  <a:pt x="11000" y="22656"/>
                  <a:pt x="11000" y="22656"/>
                  <a:pt x="10969" y="22656"/>
                </a:cubicBezTo>
                <a:cubicBezTo>
                  <a:pt x="10969" y="22656"/>
                  <a:pt x="10969" y="22656"/>
                  <a:pt x="10969" y="22656"/>
                </a:cubicBezTo>
                <a:cubicBezTo>
                  <a:pt x="10969" y="22656"/>
                  <a:pt x="10938" y="22656"/>
                  <a:pt x="10906" y="22656"/>
                </a:cubicBezTo>
                <a:cubicBezTo>
                  <a:pt x="10906" y="22656"/>
                  <a:pt x="10906" y="22624"/>
                  <a:pt x="10906" y="22624"/>
                </a:cubicBezTo>
                <a:cubicBezTo>
                  <a:pt x="10906" y="22593"/>
                  <a:pt x="10906" y="22593"/>
                  <a:pt x="10906" y="22562"/>
                </a:cubicBezTo>
                <a:cubicBezTo>
                  <a:pt x="10906" y="22562"/>
                  <a:pt x="10906" y="22562"/>
                  <a:pt x="10906" y="22562"/>
                </a:cubicBezTo>
                <a:cubicBezTo>
                  <a:pt x="10938" y="22593"/>
                  <a:pt x="10938" y="22593"/>
                  <a:pt x="10938" y="22624"/>
                </a:cubicBezTo>
                <a:cubicBezTo>
                  <a:pt x="11000" y="22562"/>
                  <a:pt x="11000" y="22468"/>
                  <a:pt x="11063" y="22437"/>
                </a:cubicBezTo>
                <a:cubicBezTo>
                  <a:pt x="11094" y="22406"/>
                  <a:pt x="11094" y="22374"/>
                  <a:pt x="11094" y="22437"/>
                </a:cubicBezTo>
                <a:cubicBezTo>
                  <a:pt x="11094" y="22499"/>
                  <a:pt x="11156" y="22437"/>
                  <a:pt x="11156" y="22468"/>
                </a:cubicBezTo>
                <a:cubicBezTo>
                  <a:pt x="11156" y="22531"/>
                  <a:pt x="11125" y="22624"/>
                  <a:pt x="11125" y="22687"/>
                </a:cubicBezTo>
                <a:close/>
                <a:moveTo>
                  <a:pt x="11188" y="21437"/>
                </a:moveTo>
                <a:cubicBezTo>
                  <a:pt x="11250" y="21437"/>
                  <a:pt x="11250" y="21468"/>
                  <a:pt x="11250" y="21499"/>
                </a:cubicBezTo>
                <a:cubicBezTo>
                  <a:pt x="11219" y="21499"/>
                  <a:pt x="11250" y="21562"/>
                  <a:pt x="11219" y="21562"/>
                </a:cubicBezTo>
                <a:cubicBezTo>
                  <a:pt x="11156" y="21562"/>
                  <a:pt x="11219" y="21499"/>
                  <a:pt x="11188" y="21468"/>
                </a:cubicBezTo>
                <a:cubicBezTo>
                  <a:pt x="11156" y="21468"/>
                  <a:pt x="11188" y="21437"/>
                  <a:pt x="11188" y="21437"/>
                </a:cubicBezTo>
                <a:close/>
                <a:moveTo>
                  <a:pt x="11375" y="22812"/>
                </a:moveTo>
                <a:cubicBezTo>
                  <a:pt x="11406" y="22781"/>
                  <a:pt x="11406" y="22749"/>
                  <a:pt x="11438" y="22718"/>
                </a:cubicBezTo>
                <a:cubicBezTo>
                  <a:pt x="11375" y="22749"/>
                  <a:pt x="11344" y="22749"/>
                  <a:pt x="11313" y="22656"/>
                </a:cubicBezTo>
                <a:cubicBezTo>
                  <a:pt x="11281" y="22812"/>
                  <a:pt x="11281" y="22812"/>
                  <a:pt x="11188" y="22749"/>
                </a:cubicBezTo>
                <a:cubicBezTo>
                  <a:pt x="11188" y="22749"/>
                  <a:pt x="11188" y="22749"/>
                  <a:pt x="11188" y="22749"/>
                </a:cubicBezTo>
                <a:cubicBezTo>
                  <a:pt x="11250" y="22656"/>
                  <a:pt x="11188" y="22562"/>
                  <a:pt x="11281" y="22499"/>
                </a:cubicBezTo>
                <a:cubicBezTo>
                  <a:pt x="11313" y="22468"/>
                  <a:pt x="11375" y="22437"/>
                  <a:pt x="11281" y="22406"/>
                </a:cubicBezTo>
                <a:cubicBezTo>
                  <a:pt x="11281" y="22406"/>
                  <a:pt x="11344" y="22312"/>
                  <a:pt x="11375" y="22312"/>
                </a:cubicBezTo>
                <a:cubicBezTo>
                  <a:pt x="11438" y="22343"/>
                  <a:pt x="11531" y="22343"/>
                  <a:pt x="11594" y="22343"/>
                </a:cubicBezTo>
                <a:cubicBezTo>
                  <a:pt x="11656" y="22374"/>
                  <a:pt x="11688" y="22406"/>
                  <a:pt x="11656" y="22468"/>
                </a:cubicBezTo>
                <a:cubicBezTo>
                  <a:pt x="11625" y="22499"/>
                  <a:pt x="11625" y="22531"/>
                  <a:pt x="11594" y="22562"/>
                </a:cubicBezTo>
                <a:cubicBezTo>
                  <a:pt x="11563" y="22593"/>
                  <a:pt x="11531" y="22656"/>
                  <a:pt x="11531" y="22718"/>
                </a:cubicBezTo>
                <a:cubicBezTo>
                  <a:pt x="11531" y="22812"/>
                  <a:pt x="11500" y="22843"/>
                  <a:pt x="11375" y="22812"/>
                </a:cubicBezTo>
                <a:close/>
                <a:moveTo>
                  <a:pt x="11781" y="22937"/>
                </a:moveTo>
                <a:cubicBezTo>
                  <a:pt x="11781" y="22937"/>
                  <a:pt x="11781" y="22874"/>
                  <a:pt x="11813" y="22874"/>
                </a:cubicBezTo>
                <a:cubicBezTo>
                  <a:pt x="11813" y="22843"/>
                  <a:pt x="11813" y="22843"/>
                  <a:pt x="11844" y="22812"/>
                </a:cubicBezTo>
                <a:cubicBezTo>
                  <a:pt x="11781" y="22843"/>
                  <a:pt x="11719" y="22874"/>
                  <a:pt x="11719" y="22781"/>
                </a:cubicBezTo>
                <a:cubicBezTo>
                  <a:pt x="11688" y="22781"/>
                  <a:pt x="11688" y="22812"/>
                  <a:pt x="11688" y="22843"/>
                </a:cubicBezTo>
                <a:cubicBezTo>
                  <a:pt x="11688" y="22874"/>
                  <a:pt x="11688" y="22906"/>
                  <a:pt x="11656" y="22874"/>
                </a:cubicBezTo>
                <a:cubicBezTo>
                  <a:pt x="11625" y="22874"/>
                  <a:pt x="11594" y="22843"/>
                  <a:pt x="11594" y="22812"/>
                </a:cubicBezTo>
                <a:cubicBezTo>
                  <a:pt x="11656" y="22718"/>
                  <a:pt x="11625" y="22624"/>
                  <a:pt x="11719" y="22562"/>
                </a:cubicBezTo>
                <a:cubicBezTo>
                  <a:pt x="11719" y="22562"/>
                  <a:pt x="11719" y="22468"/>
                  <a:pt x="11750" y="22437"/>
                </a:cubicBezTo>
                <a:cubicBezTo>
                  <a:pt x="11750" y="22406"/>
                  <a:pt x="11781" y="22406"/>
                  <a:pt x="11781" y="22406"/>
                </a:cubicBezTo>
                <a:cubicBezTo>
                  <a:pt x="11875" y="22437"/>
                  <a:pt x="11969" y="22468"/>
                  <a:pt x="12031" y="22499"/>
                </a:cubicBezTo>
                <a:cubicBezTo>
                  <a:pt x="12063" y="22499"/>
                  <a:pt x="12094" y="22531"/>
                  <a:pt x="12063" y="22562"/>
                </a:cubicBezTo>
                <a:cubicBezTo>
                  <a:pt x="12000" y="22687"/>
                  <a:pt x="11906" y="22781"/>
                  <a:pt x="11906" y="22937"/>
                </a:cubicBezTo>
                <a:cubicBezTo>
                  <a:pt x="11906" y="22968"/>
                  <a:pt x="11813" y="22937"/>
                  <a:pt x="11781" y="22937"/>
                </a:cubicBezTo>
                <a:close/>
                <a:moveTo>
                  <a:pt x="12219" y="22937"/>
                </a:moveTo>
                <a:cubicBezTo>
                  <a:pt x="12156" y="22999"/>
                  <a:pt x="12125" y="22968"/>
                  <a:pt x="12094" y="22906"/>
                </a:cubicBezTo>
                <a:cubicBezTo>
                  <a:pt x="12063" y="22968"/>
                  <a:pt x="12094" y="23062"/>
                  <a:pt x="12000" y="22968"/>
                </a:cubicBezTo>
                <a:cubicBezTo>
                  <a:pt x="12000" y="22968"/>
                  <a:pt x="11969" y="22968"/>
                  <a:pt x="11969" y="22968"/>
                </a:cubicBezTo>
                <a:cubicBezTo>
                  <a:pt x="12063" y="22874"/>
                  <a:pt x="12000" y="22749"/>
                  <a:pt x="12125" y="22687"/>
                </a:cubicBezTo>
                <a:cubicBezTo>
                  <a:pt x="12125" y="22687"/>
                  <a:pt x="12125" y="22687"/>
                  <a:pt x="12125" y="22687"/>
                </a:cubicBezTo>
                <a:cubicBezTo>
                  <a:pt x="12188" y="22624"/>
                  <a:pt x="12250" y="22718"/>
                  <a:pt x="12344" y="22687"/>
                </a:cubicBezTo>
                <a:cubicBezTo>
                  <a:pt x="12313" y="22656"/>
                  <a:pt x="12281" y="22624"/>
                  <a:pt x="12219" y="22624"/>
                </a:cubicBezTo>
                <a:cubicBezTo>
                  <a:pt x="12188" y="22624"/>
                  <a:pt x="12156" y="22656"/>
                  <a:pt x="12156" y="22593"/>
                </a:cubicBezTo>
                <a:cubicBezTo>
                  <a:pt x="12156" y="22562"/>
                  <a:pt x="12156" y="22562"/>
                  <a:pt x="12156" y="22531"/>
                </a:cubicBezTo>
                <a:cubicBezTo>
                  <a:pt x="12219" y="22562"/>
                  <a:pt x="12313" y="22562"/>
                  <a:pt x="12375" y="22624"/>
                </a:cubicBezTo>
                <a:cubicBezTo>
                  <a:pt x="12469" y="22687"/>
                  <a:pt x="12500" y="22749"/>
                  <a:pt x="12406" y="22812"/>
                </a:cubicBezTo>
                <a:cubicBezTo>
                  <a:pt x="12313" y="22874"/>
                  <a:pt x="12344" y="22999"/>
                  <a:pt x="12250" y="23093"/>
                </a:cubicBezTo>
                <a:cubicBezTo>
                  <a:pt x="12156" y="23062"/>
                  <a:pt x="12156" y="23062"/>
                  <a:pt x="12219" y="22937"/>
                </a:cubicBezTo>
                <a:close/>
                <a:moveTo>
                  <a:pt x="12594" y="23249"/>
                </a:moveTo>
                <a:cubicBezTo>
                  <a:pt x="12563" y="23249"/>
                  <a:pt x="12531" y="23249"/>
                  <a:pt x="12531" y="23218"/>
                </a:cubicBezTo>
                <a:cubicBezTo>
                  <a:pt x="12500" y="23187"/>
                  <a:pt x="12531" y="23187"/>
                  <a:pt x="12563" y="23156"/>
                </a:cubicBezTo>
                <a:cubicBezTo>
                  <a:pt x="12563" y="23156"/>
                  <a:pt x="12563" y="23156"/>
                  <a:pt x="12563" y="23124"/>
                </a:cubicBezTo>
                <a:cubicBezTo>
                  <a:pt x="12500" y="23156"/>
                  <a:pt x="12469" y="23124"/>
                  <a:pt x="12469" y="23062"/>
                </a:cubicBezTo>
                <a:cubicBezTo>
                  <a:pt x="12469" y="23062"/>
                  <a:pt x="12438" y="23062"/>
                  <a:pt x="12438" y="23093"/>
                </a:cubicBezTo>
                <a:cubicBezTo>
                  <a:pt x="12438" y="23124"/>
                  <a:pt x="12438" y="23156"/>
                  <a:pt x="12406" y="23156"/>
                </a:cubicBezTo>
                <a:cubicBezTo>
                  <a:pt x="12406" y="23187"/>
                  <a:pt x="12406" y="23156"/>
                  <a:pt x="12375" y="23156"/>
                </a:cubicBezTo>
                <a:cubicBezTo>
                  <a:pt x="12375" y="23124"/>
                  <a:pt x="12344" y="23093"/>
                  <a:pt x="12375" y="23062"/>
                </a:cubicBezTo>
                <a:cubicBezTo>
                  <a:pt x="12406" y="22999"/>
                  <a:pt x="12438" y="22937"/>
                  <a:pt x="12469" y="22874"/>
                </a:cubicBezTo>
                <a:cubicBezTo>
                  <a:pt x="12469" y="22874"/>
                  <a:pt x="12500" y="22874"/>
                  <a:pt x="12500" y="22874"/>
                </a:cubicBezTo>
                <a:cubicBezTo>
                  <a:pt x="12500" y="22874"/>
                  <a:pt x="12500" y="22843"/>
                  <a:pt x="12500" y="22843"/>
                </a:cubicBezTo>
                <a:cubicBezTo>
                  <a:pt x="12563" y="22843"/>
                  <a:pt x="12594" y="22812"/>
                  <a:pt x="12625" y="22874"/>
                </a:cubicBezTo>
                <a:cubicBezTo>
                  <a:pt x="12594" y="22906"/>
                  <a:pt x="12594" y="22937"/>
                  <a:pt x="12594" y="22968"/>
                </a:cubicBezTo>
                <a:cubicBezTo>
                  <a:pt x="12594" y="22937"/>
                  <a:pt x="12625" y="22906"/>
                  <a:pt x="12625" y="22874"/>
                </a:cubicBezTo>
                <a:cubicBezTo>
                  <a:pt x="12656" y="22874"/>
                  <a:pt x="12688" y="22874"/>
                  <a:pt x="12719" y="22906"/>
                </a:cubicBezTo>
                <a:cubicBezTo>
                  <a:pt x="12688" y="22781"/>
                  <a:pt x="12594" y="22812"/>
                  <a:pt x="12500" y="22812"/>
                </a:cubicBezTo>
                <a:cubicBezTo>
                  <a:pt x="12500" y="22812"/>
                  <a:pt x="12500" y="22812"/>
                  <a:pt x="12500" y="22812"/>
                </a:cubicBezTo>
                <a:cubicBezTo>
                  <a:pt x="12500" y="22812"/>
                  <a:pt x="12500" y="22812"/>
                  <a:pt x="12500" y="22812"/>
                </a:cubicBezTo>
                <a:cubicBezTo>
                  <a:pt x="12500" y="22781"/>
                  <a:pt x="12563" y="22749"/>
                  <a:pt x="12531" y="22718"/>
                </a:cubicBezTo>
                <a:cubicBezTo>
                  <a:pt x="12531" y="22687"/>
                  <a:pt x="12563" y="22687"/>
                  <a:pt x="12563" y="22687"/>
                </a:cubicBezTo>
                <a:cubicBezTo>
                  <a:pt x="12656" y="22749"/>
                  <a:pt x="12750" y="22781"/>
                  <a:pt x="12813" y="22812"/>
                </a:cubicBezTo>
                <a:cubicBezTo>
                  <a:pt x="12844" y="22843"/>
                  <a:pt x="12875" y="22874"/>
                  <a:pt x="12813" y="22874"/>
                </a:cubicBezTo>
                <a:cubicBezTo>
                  <a:pt x="12781" y="22874"/>
                  <a:pt x="12781" y="22937"/>
                  <a:pt x="12750" y="22968"/>
                </a:cubicBezTo>
                <a:cubicBezTo>
                  <a:pt x="12750" y="22968"/>
                  <a:pt x="12750" y="22999"/>
                  <a:pt x="12750" y="22999"/>
                </a:cubicBezTo>
                <a:cubicBezTo>
                  <a:pt x="12750" y="22999"/>
                  <a:pt x="12750" y="22968"/>
                  <a:pt x="12750" y="22968"/>
                </a:cubicBezTo>
                <a:cubicBezTo>
                  <a:pt x="12750" y="22937"/>
                  <a:pt x="12719" y="22937"/>
                  <a:pt x="12719" y="22937"/>
                </a:cubicBezTo>
                <a:cubicBezTo>
                  <a:pt x="12688" y="22968"/>
                  <a:pt x="12719" y="22999"/>
                  <a:pt x="12750" y="22999"/>
                </a:cubicBezTo>
                <a:cubicBezTo>
                  <a:pt x="12719" y="23062"/>
                  <a:pt x="12688" y="23156"/>
                  <a:pt x="12625" y="23218"/>
                </a:cubicBezTo>
                <a:cubicBezTo>
                  <a:pt x="12625" y="23218"/>
                  <a:pt x="12625" y="23249"/>
                  <a:pt x="12594" y="23249"/>
                </a:cubicBezTo>
                <a:close/>
                <a:moveTo>
                  <a:pt x="12906" y="23437"/>
                </a:moveTo>
                <a:cubicBezTo>
                  <a:pt x="12906" y="23437"/>
                  <a:pt x="12844" y="23437"/>
                  <a:pt x="12875" y="23406"/>
                </a:cubicBezTo>
                <a:cubicBezTo>
                  <a:pt x="12906" y="23343"/>
                  <a:pt x="12875" y="23312"/>
                  <a:pt x="12844" y="23312"/>
                </a:cubicBezTo>
                <a:cubicBezTo>
                  <a:pt x="12813" y="23312"/>
                  <a:pt x="12813" y="23281"/>
                  <a:pt x="12813" y="23249"/>
                </a:cubicBezTo>
                <a:cubicBezTo>
                  <a:pt x="12781" y="23281"/>
                  <a:pt x="12781" y="23343"/>
                  <a:pt x="12750" y="23343"/>
                </a:cubicBezTo>
                <a:cubicBezTo>
                  <a:pt x="12719" y="23343"/>
                  <a:pt x="12688" y="23312"/>
                  <a:pt x="12719" y="23249"/>
                </a:cubicBezTo>
                <a:cubicBezTo>
                  <a:pt x="12781" y="23187"/>
                  <a:pt x="12781" y="23093"/>
                  <a:pt x="12875" y="23031"/>
                </a:cubicBezTo>
                <a:cubicBezTo>
                  <a:pt x="12906" y="22999"/>
                  <a:pt x="12906" y="22937"/>
                  <a:pt x="12906" y="22874"/>
                </a:cubicBezTo>
                <a:cubicBezTo>
                  <a:pt x="12969" y="22937"/>
                  <a:pt x="13063" y="22968"/>
                  <a:pt x="13125" y="22999"/>
                </a:cubicBezTo>
                <a:cubicBezTo>
                  <a:pt x="13219" y="23031"/>
                  <a:pt x="13188" y="23093"/>
                  <a:pt x="13156" y="23156"/>
                </a:cubicBezTo>
                <a:cubicBezTo>
                  <a:pt x="13156" y="23156"/>
                  <a:pt x="13125" y="23187"/>
                  <a:pt x="13125" y="23187"/>
                </a:cubicBezTo>
                <a:cubicBezTo>
                  <a:pt x="13094" y="23187"/>
                  <a:pt x="13125" y="23124"/>
                  <a:pt x="13063" y="23124"/>
                </a:cubicBezTo>
                <a:cubicBezTo>
                  <a:pt x="13063" y="23124"/>
                  <a:pt x="13063" y="23124"/>
                  <a:pt x="13063" y="23124"/>
                </a:cubicBezTo>
                <a:cubicBezTo>
                  <a:pt x="13063" y="23156"/>
                  <a:pt x="13063" y="23218"/>
                  <a:pt x="13063" y="23249"/>
                </a:cubicBezTo>
                <a:cubicBezTo>
                  <a:pt x="13063" y="23312"/>
                  <a:pt x="12969" y="23374"/>
                  <a:pt x="12969" y="23437"/>
                </a:cubicBezTo>
                <a:cubicBezTo>
                  <a:pt x="12969" y="23468"/>
                  <a:pt x="12938" y="23468"/>
                  <a:pt x="12906" y="23437"/>
                </a:cubicBezTo>
                <a:close/>
                <a:moveTo>
                  <a:pt x="13188" y="23656"/>
                </a:moveTo>
                <a:cubicBezTo>
                  <a:pt x="13156" y="23624"/>
                  <a:pt x="13188" y="23593"/>
                  <a:pt x="13219" y="23562"/>
                </a:cubicBezTo>
                <a:cubicBezTo>
                  <a:pt x="13219" y="23562"/>
                  <a:pt x="13219" y="23562"/>
                  <a:pt x="13219" y="23531"/>
                </a:cubicBezTo>
                <a:cubicBezTo>
                  <a:pt x="13188" y="23562"/>
                  <a:pt x="13125" y="23531"/>
                  <a:pt x="13125" y="23468"/>
                </a:cubicBezTo>
                <a:cubicBezTo>
                  <a:pt x="13094" y="23499"/>
                  <a:pt x="13156" y="23562"/>
                  <a:pt x="13063" y="23562"/>
                </a:cubicBezTo>
                <a:cubicBezTo>
                  <a:pt x="13000" y="23531"/>
                  <a:pt x="13031" y="23499"/>
                  <a:pt x="13063" y="23437"/>
                </a:cubicBezTo>
                <a:cubicBezTo>
                  <a:pt x="13094" y="23374"/>
                  <a:pt x="13156" y="23281"/>
                  <a:pt x="13250" y="23218"/>
                </a:cubicBezTo>
                <a:cubicBezTo>
                  <a:pt x="13250" y="23218"/>
                  <a:pt x="13250" y="23218"/>
                  <a:pt x="13250" y="23218"/>
                </a:cubicBezTo>
                <a:cubicBezTo>
                  <a:pt x="13250" y="23249"/>
                  <a:pt x="13250" y="23249"/>
                  <a:pt x="13281" y="23249"/>
                </a:cubicBezTo>
                <a:cubicBezTo>
                  <a:pt x="13313" y="23249"/>
                  <a:pt x="13344" y="23343"/>
                  <a:pt x="13375" y="23312"/>
                </a:cubicBezTo>
                <a:cubicBezTo>
                  <a:pt x="13438" y="23281"/>
                  <a:pt x="13344" y="23218"/>
                  <a:pt x="13375" y="23187"/>
                </a:cubicBezTo>
                <a:cubicBezTo>
                  <a:pt x="13344" y="23187"/>
                  <a:pt x="13375" y="23249"/>
                  <a:pt x="13313" y="23218"/>
                </a:cubicBezTo>
                <a:cubicBezTo>
                  <a:pt x="13281" y="23187"/>
                  <a:pt x="13250" y="23218"/>
                  <a:pt x="13250" y="23218"/>
                </a:cubicBezTo>
                <a:cubicBezTo>
                  <a:pt x="13219" y="23187"/>
                  <a:pt x="13250" y="23156"/>
                  <a:pt x="13250" y="23124"/>
                </a:cubicBezTo>
                <a:cubicBezTo>
                  <a:pt x="13281" y="23093"/>
                  <a:pt x="13281" y="23062"/>
                  <a:pt x="13313" y="23124"/>
                </a:cubicBezTo>
                <a:cubicBezTo>
                  <a:pt x="13313" y="23156"/>
                  <a:pt x="13375" y="23124"/>
                  <a:pt x="13375" y="23187"/>
                </a:cubicBezTo>
                <a:cubicBezTo>
                  <a:pt x="13438" y="23187"/>
                  <a:pt x="13469" y="23218"/>
                  <a:pt x="13500" y="23281"/>
                </a:cubicBezTo>
                <a:cubicBezTo>
                  <a:pt x="13563" y="23343"/>
                  <a:pt x="13469" y="23374"/>
                  <a:pt x="13469" y="23406"/>
                </a:cubicBezTo>
                <a:cubicBezTo>
                  <a:pt x="13406" y="23406"/>
                  <a:pt x="13406" y="23374"/>
                  <a:pt x="13438" y="23312"/>
                </a:cubicBezTo>
                <a:cubicBezTo>
                  <a:pt x="13375" y="23374"/>
                  <a:pt x="13375" y="23406"/>
                  <a:pt x="13406" y="23437"/>
                </a:cubicBezTo>
                <a:cubicBezTo>
                  <a:pt x="13344" y="23499"/>
                  <a:pt x="13344" y="23593"/>
                  <a:pt x="13313" y="23624"/>
                </a:cubicBezTo>
                <a:cubicBezTo>
                  <a:pt x="13250" y="23687"/>
                  <a:pt x="13219" y="23687"/>
                  <a:pt x="13188" y="23656"/>
                </a:cubicBezTo>
                <a:close/>
                <a:moveTo>
                  <a:pt x="13531" y="23937"/>
                </a:moveTo>
                <a:cubicBezTo>
                  <a:pt x="13531" y="23906"/>
                  <a:pt x="13500" y="23906"/>
                  <a:pt x="13469" y="23874"/>
                </a:cubicBezTo>
                <a:cubicBezTo>
                  <a:pt x="13469" y="23843"/>
                  <a:pt x="13500" y="23843"/>
                  <a:pt x="13531" y="23843"/>
                </a:cubicBezTo>
                <a:cubicBezTo>
                  <a:pt x="13531" y="23812"/>
                  <a:pt x="13531" y="23812"/>
                  <a:pt x="13531" y="23781"/>
                </a:cubicBezTo>
                <a:cubicBezTo>
                  <a:pt x="13500" y="23812"/>
                  <a:pt x="13438" y="23781"/>
                  <a:pt x="13438" y="23718"/>
                </a:cubicBezTo>
                <a:cubicBezTo>
                  <a:pt x="13406" y="23749"/>
                  <a:pt x="13438" y="23812"/>
                  <a:pt x="13406" y="23781"/>
                </a:cubicBezTo>
                <a:cubicBezTo>
                  <a:pt x="13375" y="23781"/>
                  <a:pt x="13375" y="23781"/>
                  <a:pt x="13344" y="23781"/>
                </a:cubicBezTo>
                <a:cubicBezTo>
                  <a:pt x="13344" y="23749"/>
                  <a:pt x="13375" y="23718"/>
                  <a:pt x="13375" y="23718"/>
                </a:cubicBezTo>
                <a:cubicBezTo>
                  <a:pt x="13438" y="23624"/>
                  <a:pt x="13563" y="23593"/>
                  <a:pt x="13563" y="23499"/>
                </a:cubicBezTo>
                <a:cubicBezTo>
                  <a:pt x="13594" y="23499"/>
                  <a:pt x="13625" y="23531"/>
                  <a:pt x="13594" y="23593"/>
                </a:cubicBezTo>
                <a:cubicBezTo>
                  <a:pt x="13625" y="23562"/>
                  <a:pt x="13656" y="23562"/>
                  <a:pt x="13688" y="23531"/>
                </a:cubicBezTo>
                <a:cubicBezTo>
                  <a:pt x="13688" y="23499"/>
                  <a:pt x="13688" y="23468"/>
                  <a:pt x="13750" y="23468"/>
                </a:cubicBezTo>
                <a:cubicBezTo>
                  <a:pt x="13875" y="23562"/>
                  <a:pt x="13844" y="23624"/>
                  <a:pt x="13719" y="23718"/>
                </a:cubicBezTo>
                <a:cubicBezTo>
                  <a:pt x="13719" y="23656"/>
                  <a:pt x="13750" y="23593"/>
                  <a:pt x="13688" y="23531"/>
                </a:cubicBezTo>
                <a:cubicBezTo>
                  <a:pt x="13719" y="23593"/>
                  <a:pt x="13688" y="23656"/>
                  <a:pt x="13688" y="23718"/>
                </a:cubicBezTo>
                <a:cubicBezTo>
                  <a:pt x="13688" y="23718"/>
                  <a:pt x="13719" y="23718"/>
                  <a:pt x="13719" y="23718"/>
                </a:cubicBezTo>
                <a:cubicBezTo>
                  <a:pt x="13688" y="23718"/>
                  <a:pt x="13688" y="23718"/>
                  <a:pt x="13688" y="23718"/>
                </a:cubicBezTo>
                <a:cubicBezTo>
                  <a:pt x="13656" y="23781"/>
                  <a:pt x="13625" y="23843"/>
                  <a:pt x="13594" y="23906"/>
                </a:cubicBezTo>
                <a:cubicBezTo>
                  <a:pt x="13563" y="23906"/>
                  <a:pt x="13563" y="23937"/>
                  <a:pt x="13531" y="23937"/>
                </a:cubicBezTo>
                <a:close/>
                <a:moveTo>
                  <a:pt x="13875" y="24156"/>
                </a:moveTo>
                <a:cubicBezTo>
                  <a:pt x="13844" y="24187"/>
                  <a:pt x="13844" y="24249"/>
                  <a:pt x="13781" y="24187"/>
                </a:cubicBezTo>
                <a:cubicBezTo>
                  <a:pt x="13750" y="24124"/>
                  <a:pt x="13781" y="24124"/>
                  <a:pt x="13813" y="24093"/>
                </a:cubicBezTo>
                <a:cubicBezTo>
                  <a:pt x="13813" y="24093"/>
                  <a:pt x="13813" y="24093"/>
                  <a:pt x="13844" y="24062"/>
                </a:cubicBezTo>
                <a:cubicBezTo>
                  <a:pt x="13750" y="24093"/>
                  <a:pt x="13750" y="24031"/>
                  <a:pt x="13750" y="23968"/>
                </a:cubicBezTo>
                <a:cubicBezTo>
                  <a:pt x="13719" y="23999"/>
                  <a:pt x="13719" y="24062"/>
                  <a:pt x="13656" y="24062"/>
                </a:cubicBezTo>
                <a:cubicBezTo>
                  <a:pt x="13656" y="23968"/>
                  <a:pt x="13719" y="23874"/>
                  <a:pt x="13781" y="23812"/>
                </a:cubicBezTo>
                <a:cubicBezTo>
                  <a:pt x="13844" y="23749"/>
                  <a:pt x="13875" y="23687"/>
                  <a:pt x="13906" y="23624"/>
                </a:cubicBezTo>
                <a:cubicBezTo>
                  <a:pt x="13969" y="23687"/>
                  <a:pt x="14031" y="23749"/>
                  <a:pt x="14094" y="23781"/>
                </a:cubicBezTo>
                <a:cubicBezTo>
                  <a:pt x="14125" y="23812"/>
                  <a:pt x="14156" y="23843"/>
                  <a:pt x="14125" y="23906"/>
                </a:cubicBezTo>
                <a:cubicBezTo>
                  <a:pt x="14094" y="23937"/>
                  <a:pt x="14063" y="23968"/>
                  <a:pt x="14031" y="23906"/>
                </a:cubicBezTo>
                <a:cubicBezTo>
                  <a:pt x="14000" y="23906"/>
                  <a:pt x="13969" y="23968"/>
                  <a:pt x="14000" y="23968"/>
                </a:cubicBezTo>
                <a:cubicBezTo>
                  <a:pt x="14094" y="23999"/>
                  <a:pt x="14000" y="23999"/>
                  <a:pt x="13969" y="24031"/>
                </a:cubicBezTo>
                <a:cubicBezTo>
                  <a:pt x="13938" y="24062"/>
                  <a:pt x="13906" y="24124"/>
                  <a:pt x="13875" y="24156"/>
                </a:cubicBezTo>
                <a:close/>
                <a:moveTo>
                  <a:pt x="14125" y="24468"/>
                </a:moveTo>
                <a:cubicBezTo>
                  <a:pt x="14094" y="24468"/>
                  <a:pt x="14094" y="24562"/>
                  <a:pt x="14063" y="24499"/>
                </a:cubicBezTo>
                <a:cubicBezTo>
                  <a:pt x="14000" y="24437"/>
                  <a:pt x="14031" y="24406"/>
                  <a:pt x="14063" y="24406"/>
                </a:cubicBezTo>
                <a:cubicBezTo>
                  <a:pt x="14094" y="24374"/>
                  <a:pt x="14094" y="24374"/>
                  <a:pt x="14094" y="24374"/>
                </a:cubicBezTo>
                <a:cubicBezTo>
                  <a:pt x="14000" y="24406"/>
                  <a:pt x="14000" y="24343"/>
                  <a:pt x="14031" y="24281"/>
                </a:cubicBezTo>
                <a:cubicBezTo>
                  <a:pt x="14000" y="24281"/>
                  <a:pt x="14000" y="24281"/>
                  <a:pt x="14000" y="24281"/>
                </a:cubicBezTo>
                <a:cubicBezTo>
                  <a:pt x="13969" y="24312"/>
                  <a:pt x="13969" y="24374"/>
                  <a:pt x="13938" y="24343"/>
                </a:cubicBezTo>
                <a:cubicBezTo>
                  <a:pt x="13875" y="24312"/>
                  <a:pt x="13938" y="24281"/>
                  <a:pt x="13938" y="24249"/>
                </a:cubicBezTo>
                <a:cubicBezTo>
                  <a:pt x="14000" y="24156"/>
                  <a:pt x="14031" y="24093"/>
                  <a:pt x="14156" y="24062"/>
                </a:cubicBezTo>
                <a:cubicBezTo>
                  <a:pt x="14125" y="23999"/>
                  <a:pt x="14156" y="23968"/>
                  <a:pt x="14188" y="23937"/>
                </a:cubicBezTo>
                <a:cubicBezTo>
                  <a:pt x="14219" y="23937"/>
                  <a:pt x="14250" y="23999"/>
                  <a:pt x="14281" y="24031"/>
                </a:cubicBezTo>
                <a:cubicBezTo>
                  <a:pt x="14250" y="24062"/>
                  <a:pt x="14250" y="24093"/>
                  <a:pt x="14219" y="24093"/>
                </a:cubicBezTo>
                <a:cubicBezTo>
                  <a:pt x="14188" y="24031"/>
                  <a:pt x="14156" y="24062"/>
                  <a:pt x="14156" y="24062"/>
                </a:cubicBezTo>
                <a:cubicBezTo>
                  <a:pt x="14156" y="24093"/>
                  <a:pt x="14188" y="24093"/>
                  <a:pt x="14188" y="24093"/>
                </a:cubicBezTo>
                <a:cubicBezTo>
                  <a:pt x="14188" y="24093"/>
                  <a:pt x="14188" y="24124"/>
                  <a:pt x="14188" y="24156"/>
                </a:cubicBezTo>
                <a:cubicBezTo>
                  <a:pt x="14125" y="24187"/>
                  <a:pt x="14094" y="24249"/>
                  <a:pt x="14063" y="24312"/>
                </a:cubicBezTo>
                <a:cubicBezTo>
                  <a:pt x="14125" y="24249"/>
                  <a:pt x="14188" y="24218"/>
                  <a:pt x="14188" y="24156"/>
                </a:cubicBezTo>
                <a:cubicBezTo>
                  <a:pt x="14250" y="24156"/>
                  <a:pt x="14250" y="24187"/>
                  <a:pt x="14250" y="24218"/>
                </a:cubicBezTo>
                <a:cubicBezTo>
                  <a:pt x="14250" y="24249"/>
                  <a:pt x="14219" y="24281"/>
                  <a:pt x="14250" y="24343"/>
                </a:cubicBezTo>
                <a:cubicBezTo>
                  <a:pt x="14250" y="24343"/>
                  <a:pt x="14281" y="24343"/>
                  <a:pt x="14281" y="24343"/>
                </a:cubicBezTo>
                <a:cubicBezTo>
                  <a:pt x="14281" y="24343"/>
                  <a:pt x="14250" y="24343"/>
                  <a:pt x="14250" y="24343"/>
                </a:cubicBezTo>
                <a:cubicBezTo>
                  <a:pt x="14188" y="24374"/>
                  <a:pt x="14188" y="24437"/>
                  <a:pt x="14125" y="24468"/>
                </a:cubicBezTo>
                <a:close/>
                <a:moveTo>
                  <a:pt x="14500" y="24656"/>
                </a:moveTo>
                <a:cubicBezTo>
                  <a:pt x="14438" y="24718"/>
                  <a:pt x="14406" y="24812"/>
                  <a:pt x="14313" y="24843"/>
                </a:cubicBezTo>
                <a:cubicBezTo>
                  <a:pt x="14250" y="24781"/>
                  <a:pt x="14250" y="24749"/>
                  <a:pt x="14344" y="24718"/>
                </a:cubicBezTo>
                <a:cubicBezTo>
                  <a:pt x="14281" y="24718"/>
                  <a:pt x="14250" y="24624"/>
                  <a:pt x="14188" y="24656"/>
                </a:cubicBezTo>
                <a:cubicBezTo>
                  <a:pt x="14188" y="24656"/>
                  <a:pt x="14156" y="24624"/>
                  <a:pt x="14156" y="24624"/>
                </a:cubicBezTo>
                <a:cubicBezTo>
                  <a:pt x="14219" y="24562"/>
                  <a:pt x="14188" y="24468"/>
                  <a:pt x="14313" y="24437"/>
                </a:cubicBezTo>
                <a:cubicBezTo>
                  <a:pt x="14406" y="24406"/>
                  <a:pt x="14406" y="24312"/>
                  <a:pt x="14469" y="24281"/>
                </a:cubicBezTo>
                <a:cubicBezTo>
                  <a:pt x="14563" y="24343"/>
                  <a:pt x="14563" y="24468"/>
                  <a:pt x="14625" y="24562"/>
                </a:cubicBezTo>
                <a:cubicBezTo>
                  <a:pt x="14594" y="24593"/>
                  <a:pt x="14531" y="24624"/>
                  <a:pt x="14500" y="24656"/>
                </a:cubicBezTo>
                <a:close/>
                <a:moveTo>
                  <a:pt x="14625" y="22343"/>
                </a:moveTo>
                <a:cubicBezTo>
                  <a:pt x="14594" y="22343"/>
                  <a:pt x="14531" y="22343"/>
                  <a:pt x="14500" y="22343"/>
                </a:cubicBezTo>
                <a:cubicBezTo>
                  <a:pt x="14531" y="22312"/>
                  <a:pt x="14563" y="22281"/>
                  <a:pt x="14594" y="22281"/>
                </a:cubicBezTo>
                <a:cubicBezTo>
                  <a:pt x="14594" y="22249"/>
                  <a:pt x="14656" y="22249"/>
                  <a:pt x="14688" y="22187"/>
                </a:cubicBezTo>
                <a:cubicBezTo>
                  <a:pt x="14688" y="22187"/>
                  <a:pt x="14719" y="22218"/>
                  <a:pt x="14719" y="22218"/>
                </a:cubicBezTo>
                <a:cubicBezTo>
                  <a:pt x="14750" y="22281"/>
                  <a:pt x="14688" y="22343"/>
                  <a:pt x="14625" y="22343"/>
                </a:cubicBezTo>
                <a:close/>
                <a:moveTo>
                  <a:pt x="15250" y="23937"/>
                </a:moveTo>
                <a:cubicBezTo>
                  <a:pt x="15219" y="23999"/>
                  <a:pt x="15188" y="24093"/>
                  <a:pt x="15250" y="24156"/>
                </a:cubicBezTo>
                <a:cubicBezTo>
                  <a:pt x="15188" y="24093"/>
                  <a:pt x="15125" y="24062"/>
                  <a:pt x="15063" y="24093"/>
                </a:cubicBezTo>
                <a:cubicBezTo>
                  <a:pt x="15031" y="24124"/>
                  <a:pt x="15063" y="24156"/>
                  <a:pt x="15063" y="24156"/>
                </a:cubicBezTo>
                <a:cubicBezTo>
                  <a:pt x="14969" y="24156"/>
                  <a:pt x="14906" y="24156"/>
                  <a:pt x="14813" y="24156"/>
                </a:cubicBezTo>
                <a:cubicBezTo>
                  <a:pt x="14813" y="24156"/>
                  <a:pt x="14813" y="24156"/>
                  <a:pt x="14813" y="24156"/>
                </a:cubicBezTo>
                <a:cubicBezTo>
                  <a:pt x="14813" y="24124"/>
                  <a:pt x="14844" y="24124"/>
                  <a:pt x="14844" y="24093"/>
                </a:cubicBezTo>
                <a:cubicBezTo>
                  <a:pt x="14875" y="24093"/>
                  <a:pt x="14906" y="24093"/>
                  <a:pt x="14906" y="24062"/>
                </a:cubicBezTo>
                <a:lnTo>
                  <a:pt x="14906" y="24062"/>
                </a:lnTo>
                <a:cubicBezTo>
                  <a:pt x="14875" y="24062"/>
                  <a:pt x="14875" y="24062"/>
                  <a:pt x="14844" y="24093"/>
                </a:cubicBezTo>
                <a:cubicBezTo>
                  <a:pt x="14813" y="24093"/>
                  <a:pt x="14781" y="24124"/>
                  <a:pt x="14750" y="24093"/>
                </a:cubicBezTo>
                <a:cubicBezTo>
                  <a:pt x="14750" y="24124"/>
                  <a:pt x="14750" y="24124"/>
                  <a:pt x="14750" y="24124"/>
                </a:cubicBezTo>
                <a:cubicBezTo>
                  <a:pt x="14750" y="24124"/>
                  <a:pt x="14750" y="24124"/>
                  <a:pt x="14750" y="24093"/>
                </a:cubicBezTo>
                <a:cubicBezTo>
                  <a:pt x="14750" y="23968"/>
                  <a:pt x="14688" y="23843"/>
                  <a:pt x="14688" y="23718"/>
                </a:cubicBezTo>
                <a:cubicBezTo>
                  <a:pt x="14750" y="23749"/>
                  <a:pt x="14781" y="23812"/>
                  <a:pt x="14844" y="23843"/>
                </a:cubicBezTo>
                <a:cubicBezTo>
                  <a:pt x="14875" y="23843"/>
                  <a:pt x="14844" y="23812"/>
                  <a:pt x="14875" y="23781"/>
                </a:cubicBezTo>
                <a:cubicBezTo>
                  <a:pt x="14875" y="23749"/>
                  <a:pt x="14875" y="23718"/>
                  <a:pt x="14906" y="23687"/>
                </a:cubicBezTo>
                <a:cubicBezTo>
                  <a:pt x="14938" y="23593"/>
                  <a:pt x="15063" y="23593"/>
                  <a:pt x="15125" y="23562"/>
                </a:cubicBezTo>
                <a:cubicBezTo>
                  <a:pt x="15156" y="23562"/>
                  <a:pt x="15156" y="23531"/>
                  <a:pt x="15156" y="23562"/>
                </a:cubicBezTo>
                <a:cubicBezTo>
                  <a:pt x="15188" y="23624"/>
                  <a:pt x="15125" y="23718"/>
                  <a:pt x="15063" y="23718"/>
                </a:cubicBezTo>
                <a:cubicBezTo>
                  <a:pt x="15000" y="23718"/>
                  <a:pt x="14969" y="23718"/>
                  <a:pt x="15000" y="23781"/>
                </a:cubicBezTo>
                <a:cubicBezTo>
                  <a:pt x="15000" y="23812"/>
                  <a:pt x="14969" y="23843"/>
                  <a:pt x="14938" y="23874"/>
                </a:cubicBezTo>
                <a:cubicBezTo>
                  <a:pt x="14844" y="23874"/>
                  <a:pt x="14875" y="23906"/>
                  <a:pt x="14906" y="23937"/>
                </a:cubicBezTo>
                <a:cubicBezTo>
                  <a:pt x="14906" y="23968"/>
                  <a:pt x="14938" y="23999"/>
                  <a:pt x="14938" y="24031"/>
                </a:cubicBezTo>
                <a:cubicBezTo>
                  <a:pt x="14938" y="24031"/>
                  <a:pt x="14938" y="24031"/>
                  <a:pt x="14906" y="24031"/>
                </a:cubicBezTo>
                <a:cubicBezTo>
                  <a:pt x="14938" y="24062"/>
                  <a:pt x="14938" y="24062"/>
                  <a:pt x="14938" y="24031"/>
                </a:cubicBezTo>
                <a:cubicBezTo>
                  <a:pt x="14969" y="24031"/>
                  <a:pt x="15000" y="24124"/>
                  <a:pt x="15031" y="24031"/>
                </a:cubicBezTo>
                <a:cubicBezTo>
                  <a:pt x="15031" y="24031"/>
                  <a:pt x="15031" y="23999"/>
                  <a:pt x="15063" y="23999"/>
                </a:cubicBezTo>
                <a:cubicBezTo>
                  <a:pt x="15156" y="24031"/>
                  <a:pt x="15156" y="23937"/>
                  <a:pt x="15156" y="23874"/>
                </a:cubicBezTo>
                <a:cubicBezTo>
                  <a:pt x="15156" y="23843"/>
                  <a:pt x="15156" y="23843"/>
                  <a:pt x="15156" y="23812"/>
                </a:cubicBezTo>
                <a:cubicBezTo>
                  <a:pt x="15219" y="23843"/>
                  <a:pt x="15250" y="23874"/>
                  <a:pt x="15250" y="23937"/>
                </a:cubicBezTo>
                <a:close/>
                <a:moveTo>
                  <a:pt x="15281" y="22937"/>
                </a:moveTo>
                <a:cubicBezTo>
                  <a:pt x="15281" y="22968"/>
                  <a:pt x="15250" y="22968"/>
                  <a:pt x="15219" y="22937"/>
                </a:cubicBezTo>
                <a:cubicBezTo>
                  <a:pt x="15219" y="22906"/>
                  <a:pt x="15188" y="22874"/>
                  <a:pt x="15188" y="22843"/>
                </a:cubicBezTo>
                <a:cubicBezTo>
                  <a:pt x="15219" y="22843"/>
                  <a:pt x="15219" y="22812"/>
                  <a:pt x="15219" y="22812"/>
                </a:cubicBezTo>
                <a:cubicBezTo>
                  <a:pt x="15250" y="22812"/>
                  <a:pt x="15250" y="22749"/>
                  <a:pt x="15281" y="22781"/>
                </a:cubicBezTo>
                <a:cubicBezTo>
                  <a:pt x="15313" y="22812"/>
                  <a:pt x="15281" y="22874"/>
                  <a:pt x="15281" y="22937"/>
                </a:cubicBezTo>
                <a:close/>
                <a:moveTo>
                  <a:pt x="15344" y="17343"/>
                </a:moveTo>
                <a:cubicBezTo>
                  <a:pt x="15313" y="17374"/>
                  <a:pt x="15281" y="17406"/>
                  <a:pt x="15281" y="17374"/>
                </a:cubicBezTo>
                <a:cubicBezTo>
                  <a:pt x="15250" y="17343"/>
                  <a:pt x="15219" y="17281"/>
                  <a:pt x="15250" y="17218"/>
                </a:cubicBezTo>
                <a:cubicBezTo>
                  <a:pt x="15250" y="17218"/>
                  <a:pt x="15250" y="17218"/>
                  <a:pt x="15281" y="17218"/>
                </a:cubicBezTo>
                <a:cubicBezTo>
                  <a:pt x="15281" y="17218"/>
                  <a:pt x="15281" y="17218"/>
                  <a:pt x="15281" y="17218"/>
                </a:cubicBezTo>
                <a:cubicBezTo>
                  <a:pt x="15281" y="17249"/>
                  <a:pt x="15313" y="17249"/>
                  <a:pt x="15344" y="17249"/>
                </a:cubicBezTo>
                <a:cubicBezTo>
                  <a:pt x="15344" y="17281"/>
                  <a:pt x="15406" y="17343"/>
                  <a:pt x="15344" y="17343"/>
                </a:cubicBezTo>
                <a:close/>
                <a:moveTo>
                  <a:pt x="15344" y="17249"/>
                </a:moveTo>
                <a:cubicBezTo>
                  <a:pt x="15344" y="17218"/>
                  <a:pt x="15313" y="17218"/>
                  <a:pt x="15281" y="17218"/>
                </a:cubicBezTo>
                <a:cubicBezTo>
                  <a:pt x="15281" y="17218"/>
                  <a:pt x="15281" y="17187"/>
                  <a:pt x="15313" y="17187"/>
                </a:cubicBezTo>
                <a:cubicBezTo>
                  <a:pt x="15281" y="17187"/>
                  <a:pt x="15281" y="17187"/>
                  <a:pt x="15281" y="17187"/>
                </a:cubicBezTo>
                <a:cubicBezTo>
                  <a:pt x="15281" y="17187"/>
                  <a:pt x="15281" y="17187"/>
                  <a:pt x="15281" y="17187"/>
                </a:cubicBezTo>
                <a:cubicBezTo>
                  <a:pt x="15281" y="17187"/>
                  <a:pt x="15281" y="17187"/>
                  <a:pt x="15281" y="17187"/>
                </a:cubicBezTo>
                <a:cubicBezTo>
                  <a:pt x="15281" y="17156"/>
                  <a:pt x="15250" y="17156"/>
                  <a:pt x="15250" y="17124"/>
                </a:cubicBezTo>
                <a:cubicBezTo>
                  <a:pt x="15313" y="17093"/>
                  <a:pt x="15344" y="17156"/>
                  <a:pt x="15375" y="17218"/>
                </a:cubicBezTo>
                <a:cubicBezTo>
                  <a:pt x="15438" y="17249"/>
                  <a:pt x="15375" y="17249"/>
                  <a:pt x="15344" y="17249"/>
                </a:cubicBezTo>
                <a:close/>
                <a:moveTo>
                  <a:pt x="17438" y="24343"/>
                </a:moveTo>
                <a:cubicBezTo>
                  <a:pt x="17438" y="24437"/>
                  <a:pt x="17406" y="24374"/>
                  <a:pt x="17375" y="24374"/>
                </a:cubicBezTo>
                <a:cubicBezTo>
                  <a:pt x="17375" y="24374"/>
                  <a:pt x="17375" y="24374"/>
                  <a:pt x="17375" y="24406"/>
                </a:cubicBezTo>
                <a:cubicBezTo>
                  <a:pt x="17375" y="24374"/>
                  <a:pt x="17375" y="24374"/>
                  <a:pt x="17375" y="24374"/>
                </a:cubicBezTo>
                <a:cubicBezTo>
                  <a:pt x="17375" y="24374"/>
                  <a:pt x="17375" y="24374"/>
                  <a:pt x="17375" y="24374"/>
                </a:cubicBezTo>
                <a:cubicBezTo>
                  <a:pt x="17375" y="24343"/>
                  <a:pt x="17281" y="24312"/>
                  <a:pt x="17344" y="24281"/>
                </a:cubicBezTo>
                <a:cubicBezTo>
                  <a:pt x="17406" y="24249"/>
                  <a:pt x="17406" y="24312"/>
                  <a:pt x="17438" y="24343"/>
                </a:cubicBezTo>
                <a:close/>
                <a:moveTo>
                  <a:pt x="17156" y="23937"/>
                </a:moveTo>
                <a:cubicBezTo>
                  <a:pt x="17156" y="23937"/>
                  <a:pt x="17156" y="23937"/>
                  <a:pt x="17156" y="23968"/>
                </a:cubicBezTo>
                <a:cubicBezTo>
                  <a:pt x="17156" y="23968"/>
                  <a:pt x="17156" y="23968"/>
                  <a:pt x="17156" y="23968"/>
                </a:cubicBezTo>
                <a:cubicBezTo>
                  <a:pt x="17156" y="23968"/>
                  <a:pt x="17156" y="23937"/>
                  <a:pt x="17156" y="23937"/>
                </a:cubicBezTo>
                <a:cubicBezTo>
                  <a:pt x="17156" y="23937"/>
                  <a:pt x="17156" y="23937"/>
                  <a:pt x="17156" y="23937"/>
                </a:cubicBezTo>
                <a:close/>
                <a:moveTo>
                  <a:pt x="17125" y="21624"/>
                </a:moveTo>
                <a:cubicBezTo>
                  <a:pt x="17188" y="21593"/>
                  <a:pt x="17188" y="21656"/>
                  <a:pt x="17219" y="21687"/>
                </a:cubicBezTo>
                <a:cubicBezTo>
                  <a:pt x="17188" y="21687"/>
                  <a:pt x="17125" y="21687"/>
                  <a:pt x="17125" y="21656"/>
                </a:cubicBezTo>
                <a:cubicBezTo>
                  <a:pt x="17094" y="21624"/>
                  <a:pt x="17125" y="21624"/>
                  <a:pt x="17125" y="21624"/>
                </a:cubicBezTo>
                <a:close/>
                <a:moveTo>
                  <a:pt x="17219" y="21906"/>
                </a:moveTo>
                <a:cubicBezTo>
                  <a:pt x="17219" y="21906"/>
                  <a:pt x="17219" y="21906"/>
                  <a:pt x="17219" y="21906"/>
                </a:cubicBezTo>
                <a:cubicBezTo>
                  <a:pt x="17219" y="21937"/>
                  <a:pt x="17188" y="21937"/>
                  <a:pt x="17188" y="21906"/>
                </a:cubicBezTo>
                <a:cubicBezTo>
                  <a:pt x="17125" y="21906"/>
                  <a:pt x="17125" y="21843"/>
                  <a:pt x="17125" y="21812"/>
                </a:cubicBezTo>
                <a:cubicBezTo>
                  <a:pt x="17125" y="21812"/>
                  <a:pt x="17156" y="21812"/>
                  <a:pt x="17156" y="21812"/>
                </a:cubicBezTo>
                <a:cubicBezTo>
                  <a:pt x="17188" y="21812"/>
                  <a:pt x="17188" y="21812"/>
                  <a:pt x="17219" y="21843"/>
                </a:cubicBezTo>
                <a:cubicBezTo>
                  <a:pt x="17125" y="21874"/>
                  <a:pt x="17188" y="21874"/>
                  <a:pt x="17219" y="21906"/>
                </a:cubicBezTo>
                <a:close/>
                <a:moveTo>
                  <a:pt x="17094" y="21906"/>
                </a:moveTo>
                <a:cubicBezTo>
                  <a:pt x="17094" y="21937"/>
                  <a:pt x="17063" y="21937"/>
                  <a:pt x="17031" y="21937"/>
                </a:cubicBezTo>
                <a:cubicBezTo>
                  <a:pt x="17000" y="21968"/>
                  <a:pt x="17000" y="21968"/>
                  <a:pt x="16969" y="21906"/>
                </a:cubicBezTo>
                <a:cubicBezTo>
                  <a:pt x="16969" y="21874"/>
                  <a:pt x="17000" y="21843"/>
                  <a:pt x="17031" y="21843"/>
                </a:cubicBezTo>
                <a:cubicBezTo>
                  <a:pt x="17063" y="21843"/>
                  <a:pt x="17094" y="21874"/>
                  <a:pt x="17094" y="21906"/>
                </a:cubicBezTo>
                <a:close/>
                <a:moveTo>
                  <a:pt x="16781" y="16562"/>
                </a:moveTo>
                <a:cubicBezTo>
                  <a:pt x="16750" y="16593"/>
                  <a:pt x="16750" y="16624"/>
                  <a:pt x="16719" y="16624"/>
                </a:cubicBezTo>
                <a:cubicBezTo>
                  <a:pt x="16656" y="16624"/>
                  <a:pt x="16688" y="16562"/>
                  <a:pt x="16688" y="16531"/>
                </a:cubicBezTo>
                <a:cubicBezTo>
                  <a:pt x="16688" y="16531"/>
                  <a:pt x="16688" y="16531"/>
                  <a:pt x="16688" y="16531"/>
                </a:cubicBezTo>
                <a:cubicBezTo>
                  <a:pt x="16688" y="16499"/>
                  <a:pt x="16688" y="16437"/>
                  <a:pt x="16688" y="16406"/>
                </a:cubicBezTo>
                <a:cubicBezTo>
                  <a:pt x="16719" y="16374"/>
                  <a:pt x="16750" y="16374"/>
                  <a:pt x="16750" y="16406"/>
                </a:cubicBezTo>
                <a:cubicBezTo>
                  <a:pt x="16750" y="16406"/>
                  <a:pt x="16750" y="16406"/>
                  <a:pt x="16750" y="16406"/>
                </a:cubicBezTo>
                <a:cubicBezTo>
                  <a:pt x="16750" y="16437"/>
                  <a:pt x="16688" y="16531"/>
                  <a:pt x="16813" y="16531"/>
                </a:cubicBezTo>
                <a:cubicBezTo>
                  <a:pt x="16781" y="16531"/>
                  <a:pt x="16781" y="16562"/>
                  <a:pt x="16781" y="16562"/>
                </a:cubicBezTo>
                <a:close/>
                <a:moveTo>
                  <a:pt x="17000" y="16656"/>
                </a:moveTo>
                <a:cubicBezTo>
                  <a:pt x="16969" y="16656"/>
                  <a:pt x="16938" y="16656"/>
                  <a:pt x="16906" y="16624"/>
                </a:cubicBezTo>
                <a:cubicBezTo>
                  <a:pt x="16813" y="16624"/>
                  <a:pt x="16875" y="16593"/>
                  <a:pt x="16875" y="16562"/>
                </a:cubicBezTo>
                <a:cubicBezTo>
                  <a:pt x="16844" y="16468"/>
                  <a:pt x="16813" y="16406"/>
                  <a:pt x="16813" y="16343"/>
                </a:cubicBezTo>
                <a:cubicBezTo>
                  <a:pt x="16781" y="16312"/>
                  <a:pt x="16781" y="16281"/>
                  <a:pt x="16781" y="16249"/>
                </a:cubicBezTo>
                <a:cubicBezTo>
                  <a:pt x="16906" y="16312"/>
                  <a:pt x="16875" y="16437"/>
                  <a:pt x="17000" y="16468"/>
                </a:cubicBezTo>
                <a:cubicBezTo>
                  <a:pt x="17000" y="16468"/>
                  <a:pt x="17000" y="16499"/>
                  <a:pt x="17000" y="16499"/>
                </a:cubicBezTo>
                <a:cubicBezTo>
                  <a:pt x="16969" y="16499"/>
                  <a:pt x="16969" y="16531"/>
                  <a:pt x="16969" y="16531"/>
                </a:cubicBezTo>
                <a:cubicBezTo>
                  <a:pt x="16969" y="16531"/>
                  <a:pt x="16969" y="16531"/>
                  <a:pt x="17000" y="16531"/>
                </a:cubicBezTo>
                <a:cubicBezTo>
                  <a:pt x="17000" y="16531"/>
                  <a:pt x="17000" y="16531"/>
                  <a:pt x="17000" y="16531"/>
                </a:cubicBezTo>
                <a:cubicBezTo>
                  <a:pt x="17000" y="16562"/>
                  <a:pt x="16969" y="16593"/>
                  <a:pt x="17031" y="16624"/>
                </a:cubicBezTo>
                <a:cubicBezTo>
                  <a:pt x="17031" y="16624"/>
                  <a:pt x="17031" y="16624"/>
                  <a:pt x="17031" y="16624"/>
                </a:cubicBezTo>
                <a:cubicBezTo>
                  <a:pt x="17031" y="16624"/>
                  <a:pt x="17031" y="16624"/>
                  <a:pt x="17031" y="16624"/>
                </a:cubicBezTo>
                <a:cubicBezTo>
                  <a:pt x="17000" y="16624"/>
                  <a:pt x="17063" y="16656"/>
                  <a:pt x="17000" y="16656"/>
                </a:cubicBezTo>
                <a:close/>
                <a:moveTo>
                  <a:pt x="16719" y="21281"/>
                </a:moveTo>
                <a:cubicBezTo>
                  <a:pt x="16750" y="21249"/>
                  <a:pt x="16781" y="21249"/>
                  <a:pt x="16813" y="21312"/>
                </a:cubicBezTo>
                <a:cubicBezTo>
                  <a:pt x="16813" y="21343"/>
                  <a:pt x="16781" y="21374"/>
                  <a:pt x="16750" y="21374"/>
                </a:cubicBezTo>
                <a:cubicBezTo>
                  <a:pt x="16750" y="21374"/>
                  <a:pt x="16750" y="21374"/>
                  <a:pt x="16750" y="21374"/>
                </a:cubicBezTo>
                <a:cubicBezTo>
                  <a:pt x="16750" y="21343"/>
                  <a:pt x="16656" y="21343"/>
                  <a:pt x="16719" y="21281"/>
                </a:cubicBezTo>
                <a:close/>
                <a:moveTo>
                  <a:pt x="16719" y="22406"/>
                </a:moveTo>
                <a:cubicBezTo>
                  <a:pt x="16719" y="22374"/>
                  <a:pt x="16688" y="22343"/>
                  <a:pt x="16688" y="22281"/>
                </a:cubicBezTo>
                <a:cubicBezTo>
                  <a:pt x="16688" y="22281"/>
                  <a:pt x="16688" y="22249"/>
                  <a:pt x="16688" y="22249"/>
                </a:cubicBezTo>
                <a:cubicBezTo>
                  <a:pt x="16813" y="22249"/>
                  <a:pt x="16750" y="22124"/>
                  <a:pt x="16781" y="22093"/>
                </a:cubicBezTo>
                <a:cubicBezTo>
                  <a:pt x="16781" y="22093"/>
                  <a:pt x="16813" y="22093"/>
                  <a:pt x="16813" y="22093"/>
                </a:cubicBezTo>
                <a:cubicBezTo>
                  <a:pt x="16813" y="22093"/>
                  <a:pt x="16813" y="22093"/>
                  <a:pt x="16813" y="22093"/>
                </a:cubicBezTo>
                <a:cubicBezTo>
                  <a:pt x="16813" y="22124"/>
                  <a:pt x="16813" y="22124"/>
                  <a:pt x="16813" y="22124"/>
                </a:cubicBezTo>
                <a:cubicBezTo>
                  <a:pt x="16844" y="22124"/>
                  <a:pt x="16813" y="22187"/>
                  <a:pt x="16844" y="22187"/>
                </a:cubicBezTo>
                <a:cubicBezTo>
                  <a:pt x="16844" y="22187"/>
                  <a:pt x="16844" y="22187"/>
                  <a:pt x="16844" y="22187"/>
                </a:cubicBezTo>
                <a:cubicBezTo>
                  <a:pt x="16875" y="22218"/>
                  <a:pt x="16875" y="22249"/>
                  <a:pt x="16906" y="22281"/>
                </a:cubicBezTo>
                <a:cubicBezTo>
                  <a:pt x="16844" y="22312"/>
                  <a:pt x="16781" y="22343"/>
                  <a:pt x="16719" y="22406"/>
                </a:cubicBezTo>
                <a:close/>
                <a:moveTo>
                  <a:pt x="16906" y="22656"/>
                </a:moveTo>
                <a:cubicBezTo>
                  <a:pt x="16875" y="22687"/>
                  <a:pt x="16906" y="22781"/>
                  <a:pt x="16875" y="22812"/>
                </a:cubicBezTo>
                <a:cubicBezTo>
                  <a:pt x="16781" y="22812"/>
                  <a:pt x="16844" y="22749"/>
                  <a:pt x="16844" y="22718"/>
                </a:cubicBezTo>
                <a:cubicBezTo>
                  <a:pt x="16875" y="22687"/>
                  <a:pt x="16875" y="22656"/>
                  <a:pt x="16844" y="22624"/>
                </a:cubicBezTo>
                <a:cubicBezTo>
                  <a:pt x="16813" y="22593"/>
                  <a:pt x="16813" y="22531"/>
                  <a:pt x="16844" y="22531"/>
                </a:cubicBezTo>
                <a:cubicBezTo>
                  <a:pt x="16906" y="22499"/>
                  <a:pt x="16875" y="22593"/>
                  <a:pt x="16906" y="22593"/>
                </a:cubicBezTo>
                <a:cubicBezTo>
                  <a:pt x="16938" y="22593"/>
                  <a:pt x="16906" y="22624"/>
                  <a:pt x="16906" y="22656"/>
                </a:cubicBezTo>
                <a:close/>
                <a:moveTo>
                  <a:pt x="17000" y="21062"/>
                </a:moveTo>
                <a:cubicBezTo>
                  <a:pt x="17031" y="21062"/>
                  <a:pt x="17031" y="21093"/>
                  <a:pt x="17063" y="21124"/>
                </a:cubicBezTo>
                <a:cubicBezTo>
                  <a:pt x="17063" y="21156"/>
                  <a:pt x="17031" y="21156"/>
                  <a:pt x="17000" y="21156"/>
                </a:cubicBezTo>
                <a:cubicBezTo>
                  <a:pt x="16969" y="21156"/>
                  <a:pt x="16969" y="21124"/>
                  <a:pt x="16969" y="21093"/>
                </a:cubicBezTo>
                <a:cubicBezTo>
                  <a:pt x="16969" y="21062"/>
                  <a:pt x="16969" y="21062"/>
                  <a:pt x="17000" y="21062"/>
                </a:cubicBezTo>
                <a:close/>
                <a:moveTo>
                  <a:pt x="17063" y="22781"/>
                </a:moveTo>
                <a:cubicBezTo>
                  <a:pt x="16969" y="22749"/>
                  <a:pt x="16969" y="22718"/>
                  <a:pt x="17000" y="22687"/>
                </a:cubicBezTo>
                <a:cubicBezTo>
                  <a:pt x="17000" y="22656"/>
                  <a:pt x="17000" y="22656"/>
                  <a:pt x="17031" y="22656"/>
                </a:cubicBezTo>
                <a:cubicBezTo>
                  <a:pt x="17063" y="22687"/>
                  <a:pt x="17031" y="22718"/>
                  <a:pt x="17063" y="22781"/>
                </a:cubicBezTo>
                <a:close/>
                <a:moveTo>
                  <a:pt x="17063" y="22624"/>
                </a:moveTo>
                <a:cubicBezTo>
                  <a:pt x="17000" y="22624"/>
                  <a:pt x="17000" y="22531"/>
                  <a:pt x="16969" y="22499"/>
                </a:cubicBezTo>
                <a:cubicBezTo>
                  <a:pt x="16969" y="22499"/>
                  <a:pt x="16969" y="22468"/>
                  <a:pt x="17000" y="22468"/>
                </a:cubicBezTo>
                <a:cubicBezTo>
                  <a:pt x="17063" y="22468"/>
                  <a:pt x="17094" y="22531"/>
                  <a:pt x="17094" y="22562"/>
                </a:cubicBezTo>
                <a:cubicBezTo>
                  <a:pt x="17094" y="22593"/>
                  <a:pt x="17094" y="22624"/>
                  <a:pt x="17063" y="22624"/>
                </a:cubicBezTo>
                <a:close/>
                <a:moveTo>
                  <a:pt x="17063" y="21999"/>
                </a:moveTo>
                <a:cubicBezTo>
                  <a:pt x="17094" y="21999"/>
                  <a:pt x="17125" y="21968"/>
                  <a:pt x="17125" y="21999"/>
                </a:cubicBezTo>
                <a:cubicBezTo>
                  <a:pt x="17156" y="22031"/>
                  <a:pt x="17188" y="22062"/>
                  <a:pt x="17188" y="22124"/>
                </a:cubicBezTo>
                <a:cubicBezTo>
                  <a:pt x="17125" y="22124"/>
                  <a:pt x="17125" y="22093"/>
                  <a:pt x="17094" y="22031"/>
                </a:cubicBezTo>
                <a:cubicBezTo>
                  <a:pt x="17094" y="22031"/>
                  <a:pt x="17063" y="22031"/>
                  <a:pt x="17063" y="21999"/>
                </a:cubicBezTo>
                <a:close/>
                <a:moveTo>
                  <a:pt x="17219" y="22749"/>
                </a:moveTo>
                <a:cubicBezTo>
                  <a:pt x="17188" y="22749"/>
                  <a:pt x="17156" y="22749"/>
                  <a:pt x="17156" y="22718"/>
                </a:cubicBezTo>
                <a:cubicBezTo>
                  <a:pt x="17188" y="22656"/>
                  <a:pt x="17031" y="22624"/>
                  <a:pt x="17156" y="22531"/>
                </a:cubicBezTo>
                <a:cubicBezTo>
                  <a:pt x="17188" y="22499"/>
                  <a:pt x="17094" y="22499"/>
                  <a:pt x="17125" y="22437"/>
                </a:cubicBezTo>
                <a:cubicBezTo>
                  <a:pt x="17156" y="22437"/>
                  <a:pt x="17188" y="22437"/>
                  <a:pt x="17219" y="22468"/>
                </a:cubicBezTo>
                <a:cubicBezTo>
                  <a:pt x="17219" y="22531"/>
                  <a:pt x="17219" y="22624"/>
                  <a:pt x="17219" y="22718"/>
                </a:cubicBezTo>
                <a:cubicBezTo>
                  <a:pt x="17219" y="22749"/>
                  <a:pt x="17219" y="22749"/>
                  <a:pt x="17219" y="22749"/>
                </a:cubicBezTo>
                <a:close/>
                <a:moveTo>
                  <a:pt x="17969" y="25062"/>
                </a:moveTo>
                <a:cubicBezTo>
                  <a:pt x="17969" y="25062"/>
                  <a:pt x="17969" y="25062"/>
                  <a:pt x="17969" y="25062"/>
                </a:cubicBezTo>
                <a:cubicBezTo>
                  <a:pt x="17969" y="25062"/>
                  <a:pt x="17969" y="25062"/>
                  <a:pt x="17969" y="25062"/>
                </a:cubicBezTo>
                <a:cubicBezTo>
                  <a:pt x="17969" y="25062"/>
                  <a:pt x="17969" y="25062"/>
                  <a:pt x="17969" y="25062"/>
                </a:cubicBezTo>
                <a:close/>
                <a:moveTo>
                  <a:pt x="17969" y="25156"/>
                </a:moveTo>
                <a:cubicBezTo>
                  <a:pt x="17906" y="25093"/>
                  <a:pt x="17906" y="25093"/>
                  <a:pt x="17969" y="25062"/>
                </a:cubicBezTo>
                <a:cubicBezTo>
                  <a:pt x="18000" y="25093"/>
                  <a:pt x="17969" y="25124"/>
                  <a:pt x="17969" y="25156"/>
                </a:cubicBezTo>
                <a:close/>
                <a:moveTo>
                  <a:pt x="19750" y="19687"/>
                </a:moveTo>
                <a:cubicBezTo>
                  <a:pt x="19750" y="19656"/>
                  <a:pt x="19813" y="19718"/>
                  <a:pt x="19813" y="19718"/>
                </a:cubicBezTo>
                <a:cubicBezTo>
                  <a:pt x="19844" y="19749"/>
                  <a:pt x="19875" y="19718"/>
                  <a:pt x="19875" y="19718"/>
                </a:cubicBezTo>
                <a:cubicBezTo>
                  <a:pt x="19906" y="19749"/>
                  <a:pt x="19906" y="19781"/>
                  <a:pt x="19906" y="19812"/>
                </a:cubicBezTo>
                <a:cubicBezTo>
                  <a:pt x="19906" y="19843"/>
                  <a:pt x="19906" y="19843"/>
                  <a:pt x="19875" y="19843"/>
                </a:cubicBezTo>
                <a:cubicBezTo>
                  <a:pt x="19844" y="19843"/>
                  <a:pt x="19813" y="19781"/>
                  <a:pt x="19750" y="19781"/>
                </a:cubicBezTo>
                <a:cubicBezTo>
                  <a:pt x="19750" y="19749"/>
                  <a:pt x="19719" y="19718"/>
                  <a:pt x="19750" y="19687"/>
                </a:cubicBezTo>
                <a:close/>
                <a:moveTo>
                  <a:pt x="19719" y="20531"/>
                </a:moveTo>
                <a:cubicBezTo>
                  <a:pt x="19719" y="20562"/>
                  <a:pt x="19719" y="20593"/>
                  <a:pt x="19656" y="20624"/>
                </a:cubicBezTo>
                <a:cubicBezTo>
                  <a:pt x="19625" y="20624"/>
                  <a:pt x="19656" y="20593"/>
                  <a:pt x="19656" y="20562"/>
                </a:cubicBezTo>
                <a:cubicBezTo>
                  <a:pt x="19656" y="20531"/>
                  <a:pt x="19656" y="20499"/>
                  <a:pt x="19688" y="20499"/>
                </a:cubicBezTo>
                <a:cubicBezTo>
                  <a:pt x="19719" y="20499"/>
                  <a:pt x="19750" y="20499"/>
                  <a:pt x="19719" y="20531"/>
                </a:cubicBezTo>
                <a:close/>
                <a:moveTo>
                  <a:pt x="19781" y="19499"/>
                </a:moveTo>
                <a:cubicBezTo>
                  <a:pt x="19781" y="19531"/>
                  <a:pt x="19813" y="19562"/>
                  <a:pt x="19844" y="19562"/>
                </a:cubicBezTo>
                <a:cubicBezTo>
                  <a:pt x="19813" y="19593"/>
                  <a:pt x="19781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19" y="19593"/>
                  <a:pt x="19688" y="19562"/>
                  <a:pt x="19719" y="19499"/>
                </a:cubicBezTo>
                <a:cubicBezTo>
                  <a:pt x="19688" y="19499"/>
                  <a:pt x="19688" y="19499"/>
                  <a:pt x="19656" y="19468"/>
                </a:cubicBezTo>
                <a:cubicBezTo>
                  <a:pt x="19688" y="19499"/>
                  <a:pt x="19688" y="19499"/>
                  <a:pt x="19719" y="19499"/>
                </a:cubicBezTo>
                <a:cubicBezTo>
                  <a:pt x="19719" y="19499"/>
                  <a:pt x="19750" y="19499"/>
                  <a:pt x="19781" y="19499"/>
                </a:cubicBezTo>
                <a:cubicBezTo>
                  <a:pt x="19813" y="19468"/>
                  <a:pt x="19875" y="19437"/>
                  <a:pt x="19938" y="19437"/>
                </a:cubicBezTo>
                <a:cubicBezTo>
                  <a:pt x="19875" y="19437"/>
                  <a:pt x="19813" y="19468"/>
                  <a:pt x="19781" y="19499"/>
                </a:cubicBezTo>
                <a:close/>
                <a:moveTo>
                  <a:pt x="19750" y="19249"/>
                </a:moveTo>
                <a:cubicBezTo>
                  <a:pt x="19813" y="19281"/>
                  <a:pt x="19813" y="19343"/>
                  <a:pt x="19813" y="19374"/>
                </a:cubicBezTo>
                <a:cubicBezTo>
                  <a:pt x="19844" y="19406"/>
                  <a:pt x="19813" y="19406"/>
                  <a:pt x="19781" y="19406"/>
                </a:cubicBezTo>
                <a:cubicBezTo>
                  <a:pt x="19750" y="19406"/>
                  <a:pt x="19719" y="19374"/>
                  <a:pt x="19688" y="19406"/>
                </a:cubicBezTo>
                <a:cubicBezTo>
                  <a:pt x="19656" y="19374"/>
                  <a:pt x="19625" y="19343"/>
                  <a:pt x="19625" y="19312"/>
                </a:cubicBezTo>
                <a:cubicBezTo>
                  <a:pt x="19656" y="19218"/>
                  <a:pt x="19719" y="19249"/>
                  <a:pt x="19750" y="19249"/>
                </a:cubicBezTo>
                <a:close/>
                <a:moveTo>
                  <a:pt x="19625" y="21031"/>
                </a:moveTo>
                <a:cubicBezTo>
                  <a:pt x="19656" y="21062"/>
                  <a:pt x="19656" y="21093"/>
                  <a:pt x="19656" y="21124"/>
                </a:cubicBezTo>
                <a:cubicBezTo>
                  <a:pt x="19594" y="21124"/>
                  <a:pt x="19563" y="21218"/>
                  <a:pt x="19500" y="21187"/>
                </a:cubicBezTo>
                <a:cubicBezTo>
                  <a:pt x="19469" y="21187"/>
                  <a:pt x="19469" y="21218"/>
                  <a:pt x="19469" y="21249"/>
                </a:cubicBezTo>
                <a:cubicBezTo>
                  <a:pt x="19469" y="21218"/>
                  <a:pt x="19469" y="21187"/>
                  <a:pt x="19500" y="21187"/>
                </a:cubicBezTo>
                <a:cubicBezTo>
                  <a:pt x="19500" y="21156"/>
                  <a:pt x="19500" y="21156"/>
                  <a:pt x="19500" y="21156"/>
                </a:cubicBezTo>
                <a:cubicBezTo>
                  <a:pt x="19500" y="21124"/>
                  <a:pt x="19500" y="21124"/>
                  <a:pt x="19500" y="21124"/>
                </a:cubicBezTo>
                <a:cubicBezTo>
                  <a:pt x="19500" y="21124"/>
                  <a:pt x="19500" y="21124"/>
                  <a:pt x="19531" y="21124"/>
                </a:cubicBezTo>
                <a:cubicBezTo>
                  <a:pt x="19531" y="21124"/>
                  <a:pt x="19531" y="21093"/>
                  <a:pt x="19531" y="21093"/>
                </a:cubicBezTo>
                <a:cubicBezTo>
                  <a:pt x="19531" y="21062"/>
                  <a:pt x="19563" y="21031"/>
                  <a:pt x="19625" y="21031"/>
                </a:cubicBezTo>
                <a:close/>
                <a:moveTo>
                  <a:pt x="19469" y="19843"/>
                </a:moveTo>
                <a:cubicBezTo>
                  <a:pt x="19500" y="19843"/>
                  <a:pt x="19531" y="19874"/>
                  <a:pt x="19563" y="19937"/>
                </a:cubicBezTo>
                <a:cubicBezTo>
                  <a:pt x="19563" y="19937"/>
                  <a:pt x="19531" y="19968"/>
                  <a:pt x="19531" y="19968"/>
                </a:cubicBezTo>
                <a:cubicBezTo>
                  <a:pt x="19469" y="19937"/>
                  <a:pt x="19438" y="19937"/>
                  <a:pt x="19406" y="19874"/>
                </a:cubicBezTo>
                <a:cubicBezTo>
                  <a:pt x="19375" y="19874"/>
                  <a:pt x="19438" y="19843"/>
                  <a:pt x="19469" y="19843"/>
                </a:cubicBezTo>
                <a:close/>
                <a:moveTo>
                  <a:pt x="19031" y="19593"/>
                </a:moveTo>
                <a:cubicBezTo>
                  <a:pt x="19063" y="19593"/>
                  <a:pt x="19094" y="19593"/>
                  <a:pt x="19094" y="19656"/>
                </a:cubicBezTo>
                <a:cubicBezTo>
                  <a:pt x="19094" y="19687"/>
                  <a:pt x="19094" y="19687"/>
                  <a:pt x="19063" y="19687"/>
                </a:cubicBezTo>
                <a:cubicBezTo>
                  <a:pt x="19031" y="19687"/>
                  <a:pt x="19031" y="19656"/>
                  <a:pt x="19000" y="19624"/>
                </a:cubicBezTo>
                <a:cubicBezTo>
                  <a:pt x="19000" y="19593"/>
                  <a:pt x="19000" y="19593"/>
                  <a:pt x="19031" y="19593"/>
                </a:cubicBezTo>
                <a:close/>
                <a:moveTo>
                  <a:pt x="18969" y="20218"/>
                </a:moveTo>
                <a:cubicBezTo>
                  <a:pt x="19000" y="20187"/>
                  <a:pt x="19063" y="20218"/>
                  <a:pt x="19094" y="20218"/>
                </a:cubicBezTo>
                <a:cubicBezTo>
                  <a:pt x="19125" y="20218"/>
                  <a:pt x="19156" y="20249"/>
                  <a:pt x="19156" y="20281"/>
                </a:cubicBezTo>
                <a:cubicBezTo>
                  <a:pt x="19094" y="20312"/>
                  <a:pt x="19156" y="20343"/>
                  <a:pt x="19156" y="20406"/>
                </a:cubicBezTo>
                <a:cubicBezTo>
                  <a:pt x="19156" y="20406"/>
                  <a:pt x="19156" y="20437"/>
                  <a:pt x="19156" y="20468"/>
                </a:cubicBezTo>
                <a:cubicBezTo>
                  <a:pt x="19125" y="20406"/>
                  <a:pt x="19063" y="20499"/>
                  <a:pt x="19063" y="20437"/>
                </a:cubicBezTo>
                <a:cubicBezTo>
                  <a:pt x="19031" y="20406"/>
                  <a:pt x="19000" y="20406"/>
                  <a:pt x="19031" y="20374"/>
                </a:cubicBezTo>
                <a:cubicBezTo>
                  <a:pt x="19094" y="20312"/>
                  <a:pt x="19031" y="20312"/>
                  <a:pt x="19000" y="20312"/>
                </a:cubicBezTo>
                <a:cubicBezTo>
                  <a:pt x="18969" y="20281"/>
                  <a:pt x="18969" y="20249"/>
                  <a:pt x="18969" y="20218"/>
                </a:cubicBezTo>
                <a:close/>
                <a:moveTo>
                  <a:pt x="18875" y="20937"/>
                </a:moveTo>
                <a:cubicBezTo>
                  <a:pt x="18938" y="20906"/>
                  <a:pt x="18938" y="20999"/>
                  <a:pt x="18969" y="20999"/>
                </a:cubicBezTo>
                <a:cubicBezTo>
                  <a:pt x="18938" y="20968"/>
                  <a:pt x="18875" y="21093"/>
                  <a:pt x="18844" y="20968"/>
                </a:cubicBezTo>
                <a:cubicBezTo>
                  <a:pt x="18844" y="20968"/>
                  <a:pt x="18875" y="20937"/>
                  <a:pt x="18875" y="20937"/>
                </a:cubicBezTo>
                <a:close/>
                <a:moveTo>
                  <a:pt x="18563" y="21031"/>
                </a:moveTo>
                <a:cubicBezTo>
                  <a:pt x="18563" y="20968"/>
                  <a:pt x="18594" y="20968"/>
                  <a:pt x="18625" y="20968"/>
                </a:cubicBezTo>
                <a:cubicBezTo>
                  <a:pt x="18719" y="20968"/>
                  <a:pt x="18750" y="21031"/>
                  <a:pt x="18750" y="21093"/>
                </a:cubicBezTo>
                <a:cubicBezTo>
                  <a:pt x="18688" y="21031"/>
                  <a:pt x="18594" y="21062"/>
                  <a:pt x="18563" y="21031"/>
                </a:cubicBezTo>
                <a:close/>
                <a:moveTo>
                  <a:pt x="18688" y="21156"/>
                </a:moveTo>
                <a:cubicBezTo>
                  <a:pt x="18688" y="21156"/>
                  <a:pt x="18656" y="21156"/>
                  <a:pt x="18656" y="21124"/>
                </a:cubicBezTo>
                <a:cubicBezTo>
                  <a:pt x="18656" y="21156"/>
                  <a:pt x="18688" y="21156"/>
                  <a:pt x="18688" y="21156"/>
                </a:cubicBezTo>
                <a:close/>
                <a:moveTo>
                  <a:pt x="18719" y="21406"/>
                </a:moveTo>
                <a:cubicBezTo>
                  <a:pt x="18781" y="21437"/>
                  <a:pt x="18813" y="21499"/>
                  <a:pt x="18813" y="21531"/>
                </a:cubicBezTo>
                <a:cubicBezTo>
                  <a:pt x="18813" y="21562"/>
                  <a:pt x="18719" y="21687"/>
                  <a:pt x="18688" y="21687"/>
                </a:cubicBezTo>
                <a:cubicBezTo>
                  <a:pt x="18656" y="21656"/>
                  <a:pt x="18656" y="21593"/>
                  <a:pt x="18656" y="21499"/>
                </a:cubicBezTo>
                <a:cubicBezTo>
                  <a:pt x="18656" y="21468"/>
                  <a:pt x="18656" y="21406"/>
                  <a:pt x="18719" y="21406"/>
                </a:cubicBezTo>
                <a:close/>
                <a:moveTo>
                  <a:pt x="18688" y="19843"/>
                </a:moveTo>
                <a:cubicBezTo>
                  <a:pt x="18750" y="19874"/>
                  <a:pt x="18750" y="19906"/>
                  <a:pt x="18750" y="19937"/>
                </a:cubicBezTo>
                <a:cubicBezTo>
                  <a:pt x="18750" y="19968"/>
                  <a:pt x="18719" y="19999"/>
                  <a:pt x="18719" y="19999"/>
                </a:cubicBezTo>
                <a:cubicBezTo>
                  <a:pt x="18688" y="19968"/>
                  <a:pt x="18688" y="19937"/>
                  <a:pt x="18656" y="19874"/>
                </a:cubicBezTo>
                <a:cubicBezTo>
                  <a:pt x="18656" y="19874"/>
                  <a:pt x="18688" y="19843"/>
                  <a:pt x="18688" y="19843"/>
                </a:cubicBezTo>
                <a:close/>
                <a:moveTo>
                  <a:pt x="18750" y="20374"/>
                </a:moveTo>
                <a:cubicBezTo>
                  <a:pt x="18813" y="20406"/>
                  <a:pt x="18781" y="20437"/>
                  <a:pt x="18781" y="20468"/>
                </a:cubicBezTo>
                <a:cubicBezTo>
                  <a:pt x="18813" y="20531"/>
                  <a:pt x="18750" y="20562"/>
                  <a:pt x="18719" y="20562"/>
                </a:cubicBezTo>
                <a:cubicBezTo>
                  <a:pt x="18688" y="20593"/>
                  <a:pt x="18688" y="20531"/>
                  <a:pt x="18656" y="20499"/>
                </a:cubicBezTo>
                <a:cubicBezTo>
                  <a:pt x="18656" y="20468"/>
                  <a:pt x="18625" y="20406"/>
                  <a:pt x="18563" y="20406"/>
                </a:cubicBezTo>
                <a:cubicBezTo>
                  <a:pt x="18625" y="20343"/>
                  <a:pt x="18688" y="20312"/>
                  <a:pt x="18750" y="20374"/>
                </a:cubicBezTo>
                <a:close/>
                <a:moveTo>
                  <a:pt x="18563" y="19843"/>
                </a:moveTo>
                <a:cubicBezTo>
                  <a:pt x="18594" y="19843"/>
                  <a:pt x="18594" y="19843"/>
                  <a:pt x="18594" y="19874"/>
                </a:cubicBezTo>
                <a:cubicBezTo>
                  <a:pt x="18625" y="19906"/>
                  <a:pt x="18594" y="19906"/>
                  <a:pt x="18563" y="19906"/>
                </a:cubicBezTo>
                <a:cubicBezTo>
                  <a:pt x="18563" y="19937"/>
                  <a:pt x="18531" y="19906"/>
                  <a:pt x="18531" y="19874"/>
                </a:cubicBezTo>
                <a:cubicBezTo>
                  <a:pt x="18500" y="19843"/>
                  <a:pt x="18531" y="19843"/>
                  <a:pt x="18563" y="19843"/>
                </a:cubicBezTo>
                <a:close/>
                <a:moveTo>
                  <a:pt x="18531" y="21187"/>
                </a:moveTo>
                <a:cubicBezTo>
                  <a:pt x="18563" y="21124"/>
                  <a:pt x="18594" y="21156"/>
                  <a:pt x="18625" y="21187"/>
                </a:cubicBezTo>
                <a:cubicBezTo>
                  <a:pt x="18625" y="21187"/>
                  <a:pt x="18625" y="21187"/>
                  <a:pt x="18625" y="21187"/>
                </a:cubicBezTo>
                <a:cubicBezTo>
                  <a:pt x="18625" y="21249"/>
                  <a:pt x="18594" y="21249"/>
                  <a:pt x="18531" y="21249"/>
                </a:cubicBezTo>
                <a:cubicBezTo>
                  <a:pt x="18500" y="21249"/>
                  <a:pt x="18500" y="21218"/>
                  <a:pt x="18531" y="21187"/>
                </a:cubicBezTo>
                <a:close/>
                <a:moveTo>
                  <a:pt x="18500" y="21624"/>
                </a:moveTo>
                <a:cubicBezTo>
                  <a:pt x="18531" y="21656"/>
                  <a:pt x="18563" y="21687"/>
                  <a:pt x="18563" y="21718"/>
                </a:cubicBezTo>
                <a:cubicBezTo>
                  <a:pt x="18625" y="21812"/>
                  <a:pt x="18625" y="21874"/>
                  <a:pt x="18531" y="21968"/>
                </a:cubicBezTo>
                <a:cubicBezTo>
                  <a:pt x="18500" y="21999"/>
                  <a:pt x="18469" y="21968"/>
                  <a:pt x="18469" y="21937"/>
                </a:cubicBezTo>
                <a:cubicBezTo>
                  <a:pt x="18406" y="21843"/>
                  <a:pt x="18375" y="21781"/>
                  <a:pt x="18375" y="21687"/>
                </a:cubicBezTo>
                <a:cubicBezTo>
                  <a:pt x="18375" y="21624"/>
                  <a:pt x="18406" y="21593"/>
                  <a:pt x="18438" y="21562"/>
                </a:cubicBezTo>
                <a:cubicBezTo>
                  <a:pt x="18469" y="21562"/>
                  <a:pt x="18500" y="21593"/>
                  <a:pt x="18500" y="21624"/>
                </a:cubicBezTo>
                <a:close/>
                <a:moveTo>
                  <a:pt x="18438" y="21156"/>
                </a:moveTo>
                <a:cubicBezTo>
                  <a:pt x="18406" y="21156"/>
                  <a:pt x="18469" y="21218"/>
                  <a:pt x="18406" y="21218"/>
                </a:cubicBezTo>
                <a:cubicBezTo>
                  <a:pt x="18375" y="21218"/>
                  <a:pt x="18375" y="21187"/>
                  <a:pt x="18375" y="21156"/>
                </a:cubicBezTo>
                <a:cubicBezTo>
                  <a:pt x="18375" y="21093"/>
                  <a:pt x="18281" y="21062"/>
                  <a:pt x="18406" y="21031"/>
                </a:cubicBezTo>
                <a:cubicBezTo>
                  <a:pt x="18406" y="21062"/>
                  <a:pt x="18406" y="21124"/>
                  <a:pt x="18438" y="21156"/>
                </a:cubicBezTo>
                <a:close/>
                <a:moveTo>
                  <a:pt x="18406" y="20062"/>
                </a:moveTo>
                <a:cubicBezTo>
                  <a:pt x="18313" y="20062"/>
                  <a:pt x="18281" y="20031"/>
                  <a:pt x="18250" y="19999"/>
                </a:cubicBezTo>
                <a:cubicBezTo>
                  <a:pt x="18281" y="19968"/>
                  <a:pt x="18281" y="19968"/>
                  <a:pt x="18406" y="20062"/>
                </a:cubicBezTo>
                <a:close/>
                <a:moveTo>
                  <a:pt x="18250" y="21124"/>
                </a:moveTo>
                <a:cubicBezTo>
                  <a:pt x="18250" y="21124"/>
                  <a:pt x="18250" y="21093"/>
                  <a:pt x="18281" y="21093"/>
                </a:cubicBezTo>
                <a:cubicBezTo>
                  <a:pt x="18313" y="21156"/>
                  <a:pt x="18344" y="21187"/>
                  <a:pt x="18375" y="21249"/>
                </a:cubicBezTo>
                <a:cubicBezTo>
                  <a:pt x="18375" y="21281"/>
                  <a:pt x="18375" y="21281"/>
                  <a:pt x="18375" y="21312"/>
                </a:cubicBezTo>
                <a:cubicBezTo>
                  <a:pt x="18344" y="21312"/>
                  <a:pt x="18313" y="21312"/>
                  <a:pt x="18313" y="21281"/>
                </a:cubicBezTo>
                <a:cubicBezTo>
                  <a:pt x="18313" y="21249"/>
                  <a:pt x="18281" y="21249"/>
                  <a:pt x="18250" y="21249"/>
                </a:cubicBezTo>
                <a:cubicBezTo>
                  <a:pt x="18219" y="21218"/>
                  <a:pt x="18156" y="21187"/>
                  <a:pt x="18250" y="21124"/>
                </a:cubicBezTo>
                <a:close/>
                <a:moveTo>
                  <a:pt x="18281" y="21374"/>
                </a:moveTo>
                <a:cubicBezTo>
                  <a:pt x="18281" y="21374"/>
                  <a:pt x="18281" y="21374"/>
                  <a:pt x="18281" y="21374"/>
                </a:cubicBezTo>
                <a:cubicBezTo>
                  <a:pt x="18281" y="21374"/>
                  <a:pt x="18281" y="21374"/>
                  <a:pt x="18281" y="21374"/>
                </a:cubicBezTo>
                <a:close/>
                <a:moveTo>
                  <a:pt x="18156" y="21406"/>
                </a:moveTo>
                <a:cubicBezTo>
                  <a:pt x="18188" y="21343"/>
                  <a:pt x="18219" y="21374"/>
                  <a:pt x="18250" y="21406"/>
                </a:cubicBezTo>
                <a:cubicBezTo>
                  <a:pt x="18250" y="21406"/>
                  <a:pt x="18281" y="21406"/>
                  <a:pt x="18281" y="21406"/>
                </a:cubicBezTo>
                <a:cubicBezTo>
                  <a:pt x="18281" y="21406"/>
                  <a:pt x="18281" y="21406"/>
                  <a:pt x="18281" y="21406"/>
                </a:cubicBezTo>
                <a:cubicBezTo>
                  <a:pt x="18250" y="21437"/>
                  <a:pt x="18250" y="21468"/>
                  <a:pt x="18188" y="21468"/>
                </a:cubicBezTo>
                <a:cubicBezTo>
                  <a:pt x="18156" y="21468"/>
                  <a:pt x="18156" y="21437"/>
                  <a:pt x="18156" y="21406"/>
                </a:cubicBezTo>
                <a:close/>
                <a:moveTo>
                  <a:pt x="18125" y="21781"/>
                </a:moveTo>
                <a:cubicBezTo>
                  <a:pt x="18156" y="21718"/>
                  <a:pt x="18156" y="21687"/>
                  <a:pt x="18219" y="21749"/>
                </a:cubicBezTo>
                <a:cubicBezTo>
                  <a:pt x="18281" y="21843"/>
                  <a:pt x="18375" y="21937"/>
                  <a:pt x="18438" y="22031"/>
                </a:cubicBezTo>
                <a:cubicBezTo>
                  <a:pt x="18469" y="22093"/>
                  <a:pt x="18438" y="22124"/>
                  <a:pt x="18438" y="22156"/>
                </a:cubicBezTo>
                <a:cubicBezTo>
                  <a:pt x="18406" y="22218"/>
                  <a:pt x="18375" y="22249"/>
                  <a:pt x="18344" y="22281"/>
                </a:cubicBezTo>
                <a:cubicBezTo>
                  <a:pt x="18281" y="22187"/>
                  <a:pt x="18219" y="22093"/>
                  <a:pt x="18125" y="21999"/>
                </a:cubicBezTo>
                <a:cubicBezTo>
                  <a:pt x="18156" y="21937"/>
                  <a:pt x="18094" y="21874"/>
                  <a:pt x="18125" y="21781"/>
                </a:cubicBezTo>
                <a:close/>
                <a:moveTo>
                  <a:pt x="18063" y="21312"/>
                </a:moveTo>
                <a:cubicBezTo>
                  <a:pt x="18063" y="21343"/>
                  <a:pt x="18031" y="21343"/>
                  <a:pt x="18031" y="21312"/>
                </a:cubicBezTo>
                <a:cubicBezTo>
                  <a:pt x="18000" y="21281"/>
                  <a:pt x="18000" y="21249"/>
                  <a:pt x="17969" y="21218"/>
                </a:cubicBezTo>
                <a:cubicBezTo>
                  <a:pt x="18031" y="21249"/>
                  <a:pt x="18063" y="21249"/>
                  <a:pt x="18063" y="21312"/>
                </a:cubicBezTo>
                <a:close/>
                <a:moveTo>
                  <a:pt x="17875" y="20749"/>
                </a:moveTo>
                <a:cubicBezTo>
                  <a:pt x="17906" y="20749"/>
                  <a:pt x="17938" y="20781"/>
                  <a:pt x="17938" y="20781"/>
                </a:cubicBezTo>
                <a:cubicBezTo>
                  <a:pt x="17906" y="20843"/>
                  <a:pt x="18000" y="20874"/>
                  <a:pt x="17938" y="20937"/>
                </a:cubicBezTo>
                <a:cubicBezTo>
                  <a:pt x="17938" y="20968"/>
                  <a:pt x="17875" y="20968"/>
                  <a:pt x="17875" y="20937"/>
                </a:cubicBezTo>
                <a:cubicBezTo>
                  <a:pt x="17844" y="20874"/>
                  <a:pt x="17844" y="20812"/>
                  <a:pt x="17844" y="20781"/>
                </a:cubicBezTo>
                <a:cubicBezTo>
                  <a:pt x="17844" y="20749"/>
                  <a:pt x="17875" y="20749"/>
                  <a:pt x="17875" y="20749"/>
                </a:cubicBezTo>
                <a:close/>
                <a:moveTo>
                  <a:pt x="17844" y="21093"/>
                </a:moveTo>
                <a:cubicBezTo>
                  <a:pt x="17875" y="21093"/>
                  <a:pt x="17906" y="21093"/>
                  <a:pt x="17906" y="21124"/>
                </a:cubicBezTo>
                <a:cubicBezTo>
                  <a:pt x="17906" y="21187"/>
                  <a:pt x="17938" y="21249"/>
                  <a:pt x="17969" y="21312"/>
                </a:cubicBezTo>
                <a:cubicBezTo>
                  <a:pt x="18000" y="21343"/>
                  <a:pt x="17969" y="21343"/>
                  <a:pt x="17938" y="21343"/>
                </a:cubicBezTo>
                <a:cubicBezTo>
                  <a:pt x="17906" y="21343"/>
                  <a:pt x="17875" y="21343"/>
                  <a:pt x="17875" y="21312"/>
                </a:cubicBezTo>
                <a:cubicBezTo>
                  <a:pt x="17813" y="21249"/>
                  <a:pt x="17875" y="21187"/>
                  <a:pt x="17844" y="21124"/>
                </a:cubicBezTo>
                <a:cubicBezTo>
                  <a:pt x="17844" y="21093"/>
                  <a:pt x="17844" y="21093"/>
                  <a:pt x="17844" y="21093"/>
                </a:cubicBezTo>
                <a:close/>
                <a:moveTo>
                  <a:pt x="17844" y="22124"/>
                </a:moveTo>
                <a:cubicBezTo>
                  <a:pt x="17875" y="22093"/>
                  <a:pt x="17844" y="22062"/>
                  <a:pt x="17844" y="22062"/>
                </a:cubicBezTo>
                <a:cubicBezTo>
                  <a:pt x="17844" y="22031"/>
                  <a:pt x="17844" y="21999"/>
                  <a:pt x="17844" y="21968"/>
                </a:cubicBezTo>
                <a:cubicBezTo>
                  <a:pt x="17844" y="21937"/>
                  <a:pt x="17844" y="21906"/>
                  <a:pt x="17875" y="21874"/>
                </a:cubicBezTo>
                <a:cubicBezTo>
                  <a:pt x="17906" y="21874"/>
                  <a:pt x="17938" y="21906"/>
                  <a:pt x="17969" y="21937"/>
                </a:cubicBezTo>
                <a:cubicBezTo>
                  <a:pt x="18000" y="21999"/>
                  <a:pt x="18031" y="22031"/>
                  <a:pt x="18063" y="22062"/>
                </a:cubicBezTo>
                <a:cubicBezTo>
                  <a:pt x="18063" y="22062"/>
                  <a:pt x="18063" y="22062"/>
                  <a:pt x="18063" y="22062"/>
                </a:cubicBezTo>
                <a:cubicBezTo>
                  <a:pt x="18063" y="22062"/>
                  <a:pt x="18063" y="22062"/>
                  <a:pt x="18063" y="22062"/>
                </a:cubicBezTo>
                <a:cubicBezTo>
                  <a:pt x="18063" y="22062"/>
                  <a:pt x="18063" y="22062"/>
                  <a:pt x="18063" y="22062"/>
                </a:cubicBezTo>
                <a:cubicBezTo>
                  <a:pt x="18063" y="22093"/>
                  <a:pt x="18063" y="22093"/>
                  <a:pt x="18094" y="22124"/>
                </a:cubicBezTo>
                <a:cubicBezTo>
                  <a:pt x="18156" y="22187"/>
                  <a:pt x="18219" y="22281"/>
                  <a:pt x="18281" y="22343"/>
                </a:cubicBezTo>
                <a:cubicBezTo>
                  <a:pt x="18313" y="22343"/>
                  <a:pt x="18313" y="22343"/>
                  <a:pt x="18344" y="22312"/>
                </a:cubicBezTo>
                <a:cubicBezTo>
                  <a:pt x="18313" y="22343"/>
                  <a:pt x="18313" y="22343"/>
                  <a:pt x="18281" y="22343"/>
                </a:cubicBezTo>
                <a:cubicBezTo>
                  <a:pt x="18281" y="22343"/>
                  <a:pt x="18313" y="22374"/>
                  <a:pt x="18313" y="22374"/>
                </a:cubicBezTo>
                <a:cubicBezTo>
                  <a:pt x="18313" y="22374"/>
                  <a:pt x="18313" y="22374"/>
                  <a:pt x="18313" y="22374"/>
                </a:cubicBezTo>
                <a:cubicBezTo>
                  <a:pt x="18313" y="22374"/>
                  <a:pt x="18313" y="22374"/>
                  <a:pt x="18313" y="22374"/>
                </a:cubicBezTo>
                <a:cubicBezTo>
                  <a:pt x="18313" y="22468"/>
                  <a:pt x="18250" y="22499"/>
                  <a:pt x="18250" y="22562"/>
                </a:cubicBezTo>
                <a:cubicBezTo>
                  <a:pt x="18219" y="22593"/>
                  <a:pt x="18219" y="22562"/>
                  <a:pt x="18188" y="22562"/>
                </a:cubicBezTo>
                <a:cubicBezTo>
                  <a:pt x="18094" y="22406"/>
                  <a:pt x="17969" y="22281"/>
                  <a:pt x="17875" y="22156"/>
                </a:cubicBezTo>
                <a:cubicBezTo>
                  <a:pt x="17844" y="22156"/>
                  <a:pt x="17813" y="22156"/>
                  <a:pt x="17813" y="22187"/>
                </a:cubicBezTo>
                <a:cubicBezTo>
                  <a:pt x="17813" y="22156"/>
                  <a:pt x="17844" y="22156"/>
                  <a:pt x="17875" y="22156"/>
                </a:cubicBezTo>
                <a:cubicBezTo>
                  <a:pt x="17875" y="22156"/>
                  <a:pt x="17844" y="22124"/>
                  <a:pt x="17844" y="22124"/>
                </a:cubicBezTo>
                <a:close/>
                <a:moveTo>
                  <a:pt x="17281" y="21937"/>
                </a:moveTo>
                <a:cubicBezTo>
                  <a:pt x="17250" y="21906"/>
                  <a:pt x="17281" y="21906"/>
                  <a:pt x="17313" y="21906"/>
                </a:cubicBezTo>
                <a:cubicBezTo>
                  <a:pt x="17344" y="21906"/>
                  <a:pt x="17375" y="21906"/>
                  <a:pt x="17406" y="21937"/>
                </a:cubicBezTo>
                <a:cubicBezTo>
                  <a:pt x="17406" y="21937"/>
                  <a:pt x="17438" y="21968"/>
                  <a:pt x="17406" y="21999"/>
                </a:cubicBezTo>
                <a:cubicBezTo>
                  <a:pt x="17344" y="22031"/>
                  <a:pt x="17344" y="22093"/>
                  <a:pt x="17281" y="22093"/>
                </a:cubicBezTo>
                <a:cubicBezTo>
                  <a:pt x="17281" y="22031"/>
                  <a:pt x="17313" y="21968"/>
                  <a:pt x="17281" y="21937"/>
                </a:cubicBezTo>
                <a:close/>
                <a:moveTo>
                  <a:pt x="17344" y="22656"/>
                </a:moveTo>
                <a:cubicBezTo>
                  <a:pt x="17281" y="22656"/>
                  <a:pt x="17281" y="22593"/>
                  <a:pt x="17250" y="22562"/>
                </a:cubicBezTo>
                <a:cubicBezTo>
                  <a:pt x="17250" y="22531"/>
                  <a:pt x="17250" y="22499"/>
                  <a:pt x="17281" y="22531"/>
                </a:cubicBezTo>
                <a:cubicBezTo>
                  <a:pt x="17375" y="22531"/>
                  <a:pt x="17375" y="22593"/>
                  <a:pt x="17375" y="22624"/>
                </a:cubicBezTo>
                <a:cubicBezTo>
                  <a:pt x="17375" y="22656"/>
                  <a:pt x="17375" y="22687"/>
                  <a:pt x="17344" y="22656"/>
                </a:cubicBezTo>
                <a:close/>
                <a:moveTo>
                  <a:pt x="17500" y="22374"/>
                </a:moveTo>
                <a:cubicBezTo>
                  <a:pt x="17469" y="22374"/>
                  <a:pt x="17438" y="22343"/>
                  <a:pt x="17438" y="22312"/>
                </a:cubicBezTo>
                <a:cubicBezTo>
                  <a:pt x="17406" y="22312"/>
                  <a:pt x="17406" y="22281"/>
                  <a:pt x="17406" y="22281"/>
                </a:cubicBezTo>
                <a:cubicBezTo>
                  <a:pt x="17406" y="22281"/>
                  <a:pt x="17406" y="22281"/>
                  <a:pt x="17406" y="22249"/>
                </a:cubicBezTo>
                <a:cubicBezTo>
                  <a:pt x="17406" y="22249"/>
                  <a:pt x="17406" y="22249"/>
                  <a:pt x="17406" y="22218"/>
                </a:cubicBezTo>
                <a:cubicBezTo>
                  <a:pt x="17406" y="22187"/>
                  <a:pt x="17406" y="22187"/>
                  <a:pt x="17438" y="22187"/>
                </a:cubicBezTo>
                <a:cubicBezTo>
                  <a:pt x="17469" y="22156"/>
                  <a:pt x="17469" y="22187"/>
                  <a:pt x="17469" y="22218"/>
                </a:cubicBezTo>
                <a:cubicBezTo>
                  <a:pt x="17500" y="22249"/>
                  <a:pt x="17500" y="22281"/>
                  <a:pt x="17500" y="22312"/>
                </a:cubicBezTo>
                <a:cubicBezTo>
                  <a:pt x="17500" y="22343"/>
                  <a:pt x="17500" y="22374"/>
                  <a:pt x="17500" y="22374"/>
                </a:cubicBezTo>
                <a:close/>
                <a:moveTo>
                  <a:pt x="17625" y="21687"/>
                </a:moveTo>
                <a:cubicBezTo>
                  <a:pt x="17594" y="21687"/>
                  <a:pt x="17594" y="21718"/>
                  <a:pt x="17594" y="21687"/>
                </a:cubicBezTo>
                <a:cubicBezTo>
                  <a:pt x="17563" y="21687"/>
                  <a:pt x="17531" y="21656"/>
                  <a:pt x="17531" y="21624"/>
                </a:cubicBezTo>
                <a:cubicBezTo>
                  <a:pt x="17531" y="21593"/>
                  <a:pt x="17531" y="21562"/>
                  <a:pt x="17531" y="21499"/>
                </a:cubicBezTo>
                <a:cubicBezTo>
                  <a:pt x="17531" y="21468"/>
                  <a:pt x="17563" y="21468"/>
                  <a:pt x="17563" y="21499"/>
                </a:cubicBezTo>
                <a:cubicBezTo>
                  <a:pt x="17531" y="21562"/>
                  <a:pt x="17594" y="21562"/>
                  <a:pt x="17625" y="21593"/>
                </a:cubicBezTo>
                <a:cubicBezTo>
                  <a:pt x="17625" y="21624"/>
                  <a:pt x="17656" y="21656"/>
                  <a:pt x="17625" y="21687"/>
                </a:cubicBezTo>
                <a:close/>
                <a:moveTo>
                  <a:pt x="17594" y="21281"/>
                </a:moveTo>
                <a:cubicBezTo>
                  <a:pt x="17656" y="21281"/>
                  <a:pt x="17656" y="21187"/>
                  <a:pt x="17719" y="21187"/>
                </a:cubicBezTo>
                <a:cubicBezTo>
                  <a:pt x="17719" y="21187"/>
                  <a:pt x="17750" y="21187"/>
                  <a:pt x="17750" y="21218"/>
                </a:cubicBezTo>
                <a:cubicBezTo>
                  <a:pt x="17750" y="21249"/>
                  <a:pt x="17750" y="21281"/>
                  <a:pt x="17719" y="21312"/>
                </a:cubicBezTo>
                <a:cubicBezTo>
                  <a:pt x="17688" y="21281"/>
                  <a:pt x="17688" y="21249"/>
                  <a:pt x="17625" y="21281"/>
                </a:cubicBezTo>
                <a:cubicBezTo>
                  <a:pt x="17656" y="21312"/>
                  <a:pt x="17656" y="21312"/>
                  <a:pt x="17688" y="21312"/>
                </a:cubicBezTo>
                <a:cubicBezTo>
                  <a:pt x="17688" y="21343"/>
                  <a:pt x="17719" y="21374"/>
                  <a:pt x="17719" y="21374"/>
                </a:cubicBezTo>
                <a:cubicBezTo>
                  <a:pt x="17688" y="21406"/>
                  <a:pt x="17656" y="21374"/>
                  <a:pt x="17656" y="21374"/>
                </a:cubicBezTo>
                <a:cubicBezTo>
                  <a:pt x="17625" y="21343"/>
                  <a:pt x="17594" y="21312"/>
                  <a:pt x="17594" y="21281"/>
                </a:cubicBezTo>
                <a:close/>
                <a:moveTo>
                  <a:pt x="17688" y="21468"/>
                </a:moveTo>
                <a:cubicBezTo>
                  <a:pt x="17656" y="21437"/>
                  <a:pt x="17688" y="21437"/>
                  <a:pt x="17688" y="21437"/>
                </a:cubicBezTo>
                <a:cubicBezTo>
                  <a:pt x="17750" y="21437"/>
                  <a:pt x="17750" y="21468"/>
                  <a:pt x="17750" y="21531"/>
                </a:cubicBezTo>
                <a:cubicBezTo>
                  <a:pt x="17750" y="21531"/>
                  <a:pt x="17750" y="21562"/>
                  <a:pt x="17719" y="21562"/>
                </a:cubicBezTo>
                <a:cubicBezTo>
                  <a:pt x="17719" y="21531"/>
                  <a:pt x="17688" y="21499"/>
                  <a:pt x="17688" y="21468"/>
                </a:cubicBezTo>
                <a:close/>
                <a:moveTo>
                  <a:pt x="17813" y="22562"/>
                </a:moveTo>
                <a:cubicBezTo>
                  <a:pt x="17781" y="22562"/>
                  <a:pt x="17813" y="22531"/>
                  <a:pt x="17813" y="22531"/>
                </a:cubicBezTo>
                <a:cubicBezTo>
                  <a:pt x="17813" y="22531"/>
                  <a:pt x="17844" y="22499"/>
                  <a:pt x="17813" y="22499"/>
                </a:cubicBezTo>
                <a:cubicBezTo>
                  <a:pt x="17750" y="22468"/>
                  <a:pt x="17750" y="22406"/>
                  <a:pt x="17719" y="22374"/>
                </a:cubicBezTo>
                <a:cubicBezTo>
                  <a:pt x="17719" y="22374"/>
                  <a:pt x="17719" y="22374"/>
                  <a:pt x="17719" y="22406"/>
                </a:cubicBezTo>
                <a:cubicBezTo>
                  <a:pt x="17719" y="22374"/>
                  <a:pt x="17719" y="22374"/>
                  <a:pt x="17719" y="22374"/>
                </a:cubicBezTo>
                <a:cubicBezTo>
                  <a:pt x="17719" y="22312"/>
                  <a:pt x="17719" y="22281"/>
                  <a:pt x="17781" y="22249"/>
                </a:cubicBezTo>
                <a:cubicBezTo>
                  <a:pt x="17813" y="22281"/>
                  <a:pt x="17875" y="22343"/>
                  <a:pt x="17906" y="22374"/>
                </a:cubicBezTo>
                <a:cubicBezTo>
                  <a:pt x="17938" y="22437"/>
                  <a:pt x="18031" y="22468"/>
                  <a:pt x="17969" y="22562"/>
                </a:cubicBezTo>
                <a:cubicBezTo>
                  <a:pt x="17969" y="22562"/>
                  <a:pt x="17969" y="22562"/>
                  <a:pt x="18000" y="22562"/>
                </a:cubicBezTo>
                <a:cubicBezTo>
                  <a:pt x="18031" y="22624"/>
                  <a:pt x="18094" y="22593"/>
                  <a:pt x="18125" y="22656"/>
                </a:cubicBezTo>
                <a:cubicBezTo>
                  <a:pt x="18156" y="22656"/>
                  <a:pt x="18156" y="22687"/>
                  <a:pt x="18188" y="22687"/>
                </a:cubicBezTo>
                <a:cubicBezTo>
                  <a:pt x="18219" y="22781"/>
                  <a:pt x="18125" y="22843"/>
                  <a:pt x="18125" y="22937"/>
                </a:cubicBezTo>
                <a:cubicBezTo>
                  <a:pt x="18063" y="22874"/>
                  <a:pt x="18063" y="22781"/>
                  <a:pt x="17969" y="22749"/>
                </a:cubicBezTo>
                <a:cubicBezTo>
                  <a:pt x="17906" y="22718"/>
                  <a:pt x="17875" y="22624"/>
                  <a:pt x="17813" y="22562"/>
                </a:cubicBezTo>
                <a:close/>
                <a:moveTo>
                  <a:pt x="18094" y="22999"/>
                </a:moveTo>
                <a:cubicBezTo>
                  <a:pt x="18094" y="22999"/>
                  <a:pt x="18063" y="22999"/>
                  <a:pt x="18063" y="22968"/>
                </a:cubicBezTo>
                <a:cubicBezTo>
                  <a:pt x="18063" y="22999"/>
                  <a:pt x="18094" y="22999"/>
                  <a:pt x="18094" y="22999"/>
                </a:cubicBezTo>
                <a:close/>
                <a:moveTo>
                  <a:pt x="18000" y="23593"/>
                </a:moveTo>
                <a:cubicBezTo>
                  <a:pt x="17969" y="23531"/>
                  <a:pt x="17969" y="23468"/>
                  <a:pt x="18000" y="23406"/>
                </a:cubicBezTo>
                <a:cubicBezTo>
                  <a:pt x="18031" y="23468"/>
                  <a:pt x="18000" y="23531"/>
                  <a:pt x="18000" y="23593"/>
                </a:cubicBezTo>
                <a:close/>
                <a:moveTo>
                  <a:pt x="18063" y="23281"/>
                </a:moveTo>
                <a:cubicBezTo>
                  <a:pt x="18031" y="23343"/>
                  <a:pt x="18031" y="23343"/>
                  <a:pt x="18000" y="23343"/>
                </a:cubicBezTo>
                <a:cubicBezTo>
                  <a:pt x="18031" y="23343"/>
                  <a:pt x="18031" y="23343"/>
                  <a:pt x="18063" y="23281"/>
                </a:cubicBezTo>
                <a:cubicBezTo>
                  <a:pt x="18000" y="23281"/>
                  <a:pt x="17969" y="23187"/>
                  <a:pt x="17906" y="23156"/>
                </a:cubicBezTo>
                <a:cubicBezTo>
                  <a:pt x="17906" y="23156"/>
                  <a:pt x="17906" y="23156"/>
                  <a:pt x="17906" y="23156"/>
                </a:cubicBezTo>
                <a:cubicBezTo>
                  <a:pt x="17906" y="23124"/>
                  <a:pt x="17906" y="23124"/>
                  <a:pt x="17906" y="23124"/>
                </a:cubicBezTo>
                <a:cubicBezTo>
                  <a:pt x="17875" y="23062"/>
                  <a:pt x="17875" y="22999"/>
                  <a:pt x="17875" y="22937"/>
                </a:cubicBezTo>
                <a:cubicBezTo>
                  <a:pt x="17844" y="22874"/>
                  <a:pt x="17875" y="22843"/>
                  <a:pt x="17938" y="22874"/>
                </a:cubicBezTo>
                <a:cubicBezTo>
                  <a:pt x="17938" y="22843"/>
                  <a:pt x="17906" y="22812"/>
                  <a:pt x="17906" y="22781"/>
                </a:cubicBezTo>
                <a:cubicBezTo>
                  <a:pt x="17906" y="22812"/>
                  <a:pt x="17938" y="22843"/>
                  <a:pt x="17938" y="22874"/>
                </a:cubicBezTo>
                <a:cubicBezTo>
                  <a:pt x="17938" y="22937"/>
                  <a:pt x="17969" y="22937"/>
                  <a:pt x="18000" y="22968"/>
                </a:cubicBezTo>
                <a:cubicBezTo>
                  <a:pt x="18031" y="22968"/>
                  <a:pt x="18031" y="22999"/>
                  <a:pt x="18031" y="22999"/>
                </a:cubicBezTo>
                <a:cubicBezTo>
                  <a:pt x="18125" y="23093"/>
                  <a:pt x="18094" y="23187"/>
                  <a:pt x="18063" y="23281"/>
                </a:cubicBezTo>
                <a:close/>
                <a:moveTo>
                  <a:pt x="18344" y="24812"/>
                </a:moveTo>
                <a:cubicBezTo>
                  <a:pt x="18219" y="24749"/>
                  <a:pt x="18188" y="24656"/>
                  <a:pt x="18188" y="24562"/>
                </a:cubicBezTo>
                <a:cubicBezTo>
                  <a:pt x="18188" y="24531"/>
                  <a:pt x="18125" y="24468"/>
                  <a:pt x="18188" y="24468"/>
                </a:cubicBezTo>
                <a:cubicBezTo>
                  <a:pt x="18219" y="24437"/>
                  <a:pt x="18250" y="24499"/>
                  <a:pt x="18281" y="24531"/>
                </a:cubicBezTo>
                <a:cubicBezTo>
                  <a:pt x="18375" y="24593"/>
                  <a:pt x="18313" y="24718"/>
                  <a:pt x="18344" y="24812"/>
                </a:cubicBezTo>
                <a:close/>
                <a:moveTo>
                  <a:pt x="18344" y="24406"/>
                </a:moveTo>
                <a:cubicBezTo>
                  <a:pt x="18281" y="24374"/>
                  <a:pt x="18250" y="24343"/>
                  <a:pt x="18219" y="24312"/>
                </a:cubicBezTo>
                <a:cubicBezTo>
                  <a:pt x="18125" y="24281"/>
                  <a:pt x="18063" y="24093"/>
                  <a:pt x="18094" y="24031"/>
                </a:cubicBezTo>
                <a:cubicBezTo>
                  <a:pt x="18094" y="23999"/>
                  <a:pt x="18125" y="23968"/>
                  <a:pt x="18156" y="23999"/>
                </a:cubicBezTo>
                <a:cubicBezTo>
                  <a:pt x="18188" y="24062"/>
                  <a:pt x="18250" y="24062"/>
                  <a:pt x="18281" y="24093"/>
                </a:cubicBezTo>
                <a:cubicBezTo>
                  <a:pt x="18344" y="24218"/>
                  <a:pt x="18375" y="24281"/>
                  <a:pt x="18344" y="24406"/>
                </a:cubicBezTo>
                <a:close/>
                <a:moveTo>
                  <a:pt x="18375" y="24031"/>
                </a:moveTo>
                <a:cubicBezTo>
                  <a:pt x="18313" y="23968"/>
                  <a:pt x="18250" y="23937"/>
                  <a:pt x="18188" y="23874"/>
                </a:cubicBezTo>
                <a:cubicBezTo>
                  <a:pt x="18125" y="23874"/>
                  <a:pt x="18125" y="23624"/>
                  <a:pt x="18156" y="23624"/>
                </a:cubicBezTo>
                <a:cubicBezTo>
                  <a:pt x="18156" y="23593"/>
                  <a:pt x="18188" y="23593"/>
                  <a:pt x="18188" y="23624"/>
                </a:cubicBezTo>
                <a:cubicBezTo>
                  <a:pt x="18188" y="23687"/>
                  <a:pt x="18250" y="23656"/>
                  <a:pt x="18281" y="23687"/>
                </a:cubicBezTo>
                <a:cubicBezTo>
                  <a:pt x="18406" y="23812"/>
                  <a:pt x="18406" y="23812"/>
                  <a:pt x="18375" y="24031"/>
                </a:cubicBezTo>
                <a:close/>
                <a:moveTo>
                  <a:pt x="18438" y="23656"/>
                </a:moveTo>
                <a:cubicBezTo>
                  <a:pt x="18438" y="23687"/>
                  <a:pt x="18406" y="23656"/>
                  <a:pt x="18375" y="23656"/>
                </a:cubicBezTo>
                <a:cubicBezTo>
                  <a:pt x="18344" y="23562"/>
                  <a:pt x="18281" y="23562"/>
                  <a:pt x="18219" y="23499"/>
                </a:cubicBezTo>
                <a:cubicBezTo>
                  <a:pt x="18156" y="23468"/>
                  <a:pt x="18156" y="23437"/>
                  <a:pt x="18188" y="23374"/>
                </a:cubicBezTo>
                <a:cubicBezTo>
                  <a:pt x="18188" y="23343"/>
                  <a:pt x="18188" y="23312"/>
                  <a:pt x="18188" y="23281"/>
                </a:cubicBezTo>
                <a:cubicBezTo>
                  <a:pt x="18188" y="23249"/>
                  <a:pt x="18219" y="23218"/>
                  <a:pt x="18250" y="23218"/>
                </a:cubicBezTo>
                <a:cubicBezTo>
                  <a:pt x="18313" y="23312"/>
                  <a:pt x="18406" y="23374"/>
                  <a:pt x="18469" y="23499"/>
                </a:cubicBezTo>
                <a:cubicBezTo>
                  <a:pt x="18469" y="23499"/>
                  <a:pt x="18469" y="23499"/>
                  <a:pt x="18469" y="23531"/>
                </a:cubicBezTo>
                <a:cubicBezTo>
                  <a:pt x="18438" y="23562"/>
                  <a:pt x="18438" y="23593"/>
                  <a:pt x="18438" y="23656"/>
                </a:cubicBezTo>
                <a:close/>
                <a:moveTo>
                  <a:pt x="18531" y="23312"/>
                </a:moveTo>
                <a:cubicBezTo>
                  <a:pt x="18500" y="23343"/>
                  <a:pt x="18469" y="23312"/>
                  <a:pt x="18469" y="23312"/>
                </a:cubicBezTo>
                <a:cubicBezTo>
                  <a:pt x="18438" y="23249"/>
                  <a:pt x="18375" y="23218"/>
                  <a:pt x="18313" y="23187"/>
                </a:cubicBezTo>
                <a:cubicBezTo>
                  <a:pt x="18250" y="23062"/>
                  <a:pt x="18250" y="23062"/>
                  <a:pt x="18406" y="23062"/>
                </a:cubicBezTo>
                <a:cubicBezTo>
                  <a:pt x="18375" y="23031"/>
                  <a:pt x="18375" y="23031"/>
                  <a:pt x="18375" y="22999"/>
                </a:cubicBezTo>
                <a:cubicBezTo>
                  <a:pt x="18375" y="23031"/>
                  <a:pt x="18375" y="23031"/>
                  <a:pt x="18406" y="23062"/>
                </a:cubicBezTo>
                <a:cubicBezTo>
                  <a:pt x="18406" y="23062"/>
                  <a:pt x="18406" y="23062"/>
                  <a:pt x="18406" y="23062"/>
                </a:cubicBezTo>
                <a:cubicBezTo>
                  <a:pt x="18438" y="23124"/>
                  <a:pt x="18469" y="23124"/>
                  <a:pt x="18500" y="23124"/>
                </a:cubicBezTo>
                <a:cubicBezTo>
                  <a:pt x="18563" y="23156"/>
                  <a:pt x="18563" y="23281"/>
                  <a:pt x="18531" y="23312"/>
                </a:cubicBezTo>
                <a:close/>
                <a:moveTo>
                  <a:pt x="18625" y="22937"/>
                </a:moveTo>
                <a:cubicBezTo>
                  <a:pt x="18625" y="22937"/>
                  <a:pt x="18625" y="22968"/>
                  <a:pt x="18625" y="22968"/>
                </a:cubicBezTo>
                <a:cubicBezTo>
                  <a:pt x="18625" y="22999"/>
                  <a:pt x="18625" y="22999"/>
                  <a:pt x="18625" y="22999"/>
                </a:cubicBezTo>
                <a:cubicBezTo>
                  <a:pt x="18625" y="22999"/>
                  <a:pt x="18625" y="22999"/>
                  <a:pt x="18625" y="22999"/>
                </a:cubicBezTo>
                <a:cubicBezTo>
                  <a:pt x="18594" y="22999"/>
                  <a:pt x="18563" y="22999"/>
                  <a:pt x="18563" y="22968"/>
                </a:cubicBezTo>
                <a:cubicBezTo>
                  <a:pt x="18500" y="22906"/>
                  <a:pt x="18469" y="22812"/>
                  <a:pt x="18375" y="22812"/>
                </a:cubicBezTo>
                <a:cubicBezTo>
                  <a:pt x="18313" y="22718"/>
                  <a:pt x="18375" y="22656"/>
                  <a:pt x="18375" y="22562"/>
                </a:cubicBezTo>
                <a:cubicBezTo>
                  <a:pt x="18375" y="22562"/>
                  <a:pt x="18406" y="22531"/>
                  <a:pt x="18438" y="22562"/>
                </a:cubicBezTo>
                <a:cubicBezTo>
                  <a:pt x="18500" y="22656"/>
                  <a:pt x="18625" y="22749"/>
                  <a:pt x="18656" y="22874"/>
                </a:cubicBezTo>
                <a:cubicBezTo>
                  <a:pt x="18656" y="22906"/>
                  <a:pt x="18625" y="22906"/>
                  <a:pt x="18625" y="22937"/>
                </a:cubicBezTo>
                <a:close/>
                <a:moveTo>
                  <a:pt x="18656" y="22937"/>
                </a:moveTo>
                <a:cubicBezTo>
                  <a:pt x="18656" y="22937"/>
                  <a:pt x="18688" y="22906"/>
                  <a:pt x="18688" y="22874"/>
                </a:cubicBezTo>
                <a:cubicBezTo>
                  <a:pt x="18688" y="22906"/>
                  <a:pt x="18656" y="22937"/>
                  <a:pt x="18656" y="22937"/>
                </a:cubicBezTo>
                <a:close/>
                <a:moveTo>
                  <a:pt x="18750" y="22687"/>
                </a:moveTo>
                <a:cubicBezTo>
                  <a:pt x="18688" y="22718"/>
                  <a:pt x="18688" y="22656"/>
                  <a:pt x="18656" y="22624"/>
                </a:cubicBezTo>
                <a:cubicBezTo>
                  <a:pt x="18625" y="22593"/>
                  <a:pt x="18594" y="22562"/>
                  <a:pt x="18563" y="22531"/>
                </a:cubicBezTo>
                <a:cubicBezTo>
                  <a:pt x="18438" y="22437"/>
                  <a:pt x="18438" y="22374"/>
                  <a:pt x="18531" y="22281"/>
                </a:cubicBezTo>
                <a:cubicBezTo>
                  <a:pt x="18531" y="22249"/>
                  <a:pt x="18563" y="22218"/>
                  <a:pt x="18594" y="22249"/>
                </a:cubicBezTo>
                <a:cubicBezTo>
                  <a:pt x="18625" y="22343"/>
                  <a:pt x="18750" y="22406"/>
                  <a:pt x="18781" y="22531"/>
                </a:cubicBezTo>
                <a:cubicBezTo>
                  <a:pt x="18781" y="22562"/>
                  <a:pt x="18781" y="22562"/>
                  <a:pt x="18813" y="22593"/>
                </a:cubicBezTo>
                <a:cubicBezTo>
                  <a:pt x="18750" y="22624"/>
                  <a:pt x="18781" y="22687"/>
                  <a:pt x="18750" y="22687"/>
                </a:cubicBezTo>
                <a:close/>
                <a:moveTo>
                  <a:pt x="18906" y="22406"/>
                </a:moveTo>
                <a:cubicBezTo>
                  <a:pt x="18906" y="22437"/>
                  <a:pt x="18906" y="22437"/>
                  <a:pt x="18875" y="22437"/>
                </a:cubicBezTo>
                <a:cubicBezTo>
                  <a:pt x="18875" y="22437"/>
                  <a:pt x="18813" y="22406"/>
                  <a:pt x="18813" y="22374"/>
                </a:cubicBezTo>
                <a:cubicBezTo>
                  <a:pt x="18781" y="22312"/>
                  <a:pt x="18719" y="22281"/>
                  <a:pt x="18688" y="22218"/>
                </a:cubicBezTo>
                <a:cubicBezTo>
                  <a:pt x="18594" y="22124"/>
                  <a:pt x="18594" y="22031"/>
                  <a:pt x="18688" y="21968"/>
                </a:cubicBezTo>
                <a:cubicBezTo>
                  <a:pt x="18688" y="21968"/>
                  <a:pt x="18719" y="21937"/>
                  <a:pt x="18719" y="21968"/>
                </a:cubicBezTo>
                <a:cubicBezTo>
                  <a:pt x="18750" y="21968"/>
                  <a:pt x="18781" y="21999"/>
                  <a:pt x="18750" y="22031"/>
                </a:cubicBezTo>
                <a:cubicBezTo>
                  <a:pt x="18750" y="22062"/>
                  <a:pt x="18750" y="22062"/>
                  <a:pt x="18781" y="22062"/>
                </a:cubicBezTo>
                <a:cubicBezTo>
                  <a:pt x="18875" y="22062"/>
                  <a:pt x="18969" y="22343"/>
                  <a:pt x="18906" y="22406"/>
                </a:cubicBezTo>
                <a:close/>
                <a:moveTo>
                  <a:pt x="19094" y="22156"/>
                </a:moveTo>
                <a:cubicBezTo>
                  <a:pt x="19094" y="22156"/>
                  <a:pt x="19094" y="22187"/>
                  <a:pt x="19063" y="22187"/>
                </a:cubicBezTo>
                <a:cubicBezTo>
                  <a:pt x="19031" y="22218"/>
                  <a:pt x="19031" y="22187"/>
                  <a:pt x="19031" y="22156"/>
                </a:cubicBezTo>
                <a:cubicBezTo>
                  <a:pt x="18969" y="22062"/>
                  <a:pt x="18875" y="21999"/>
                  <a:pt x="18813" y="21906"/>
                </a:cubicBezTo>
                <a:cubicBezTo>
                  <a:pt x="18781" y="21874"/>
                  <a:pt x="18813" y="21718"/>
                  <a:pt x="18875" y="21687"/>
                </a:cubicBezTo>
                <a:cubicBezTo>
                  <a:pt x="18906" y="21687"/>
                  <a:pt x="18906" y="21656"/>
                  <a:pt x="18906" y="21687"/>
                </a:cubicBezTo>
                <a:cubicBezTo>
                  <a:pt x="18906" y="21718"/>
                  <a:pt x="18969" y="21718"/>
                  <a:pt x="18938" y="21749"/>
                </a:cubicBezTo>
                <a:cubicBezTo>
                  <a:pt x="18938" y="21781"/>
                  <a:pt x="18875" y="21812"/>
                  <a:pt x="18906" y="21874"/>
                </a:cubicBezTo>
                <a:cubicBezTo>
                  <a:pt x="18938" y="21749"/>
                  <a:pt x="19000" y="21781"/>
                  <a:pt x="19031" y="21843"/>
                </a:cubicBezTo>
                <a:cubicBezTo>
                  <a:pt x="19063" y="21937"/>
                  <a:pt x="19156" y="22031"/>
                  <a:pt x="19094" y="22156"/>
                </a:cubicBezTo>
                <a:close/>
                <a:moveTo>
                  <a:pt x="19281" y="21937"/>
                </a:moveTo>
                <a:cubicBezTo>
                  <a:pt x="19281" y="21968"/>
                  <a:pt x="19250" y="21968"/>
                  <a:pt x="19219" y="21968"/>
                </a:cubicBezTo>
                <a:cubicBezTo>
                  <a:pt x="19188" y="21874"/>
                  <a:pt x="19125" y="21812"/>
                  <a:pt x="19094" y="21718"/>
                </a:cubicBezTo>
                <a:cubicBezTo>
                  <a:pt x="19094" y="21718"/>
                  <a:pt x="19094" y="21687"/>
                  <a:pt x="19094" y="21656"/>
                </a:cubicBezTo>
                <a:lnTo>
                  <a:pt x="19094" y="21656"/>
                </a:lnTo>
                <a:cubicBezTo>
                  <a:pt x="19094" y="21687"/>
                  <a:pt x="19094" y="21718"/>
                  <a:pt x="19094" y="21718"/>
                </a:cubicBezTo>
                <a:cubicBezTo>
                  <a:pt x="18938" y="21624"/>
                  <a:pt x="18938" y="21562"/>
                  <a:pt x="19063" y="21468"/>
                </a:cubicBezTo>
                <a:cubicBezTo>
                  <a:pt x="19125" y="21437"/>
                  <a:pt x="19125" y="21468"/>
                  <a:pt x="19156" y="21468"/>
                </a:cubicBezTo>
                <a:cubicBezTo>
                  <a:pt x="19188" y="21593"/>
                  <a:pt x="19281" y="21656"/>
                  <a:pt x="19313" y="21781"/>
                </a:cubicBezTo>
                <a:cubicBezTo>
                  <a:pt x="19344" y="21843"/>
                  <a:pt x="19281" y="21906"/>
                  <a:pt x="19281" y="21937"/>
                </a:cubicBezTo>
                <a:close/>
                <a:moveTo>
                  <a:pt x="19469" y="21781"/>
                </a:moveTo>
                <a:cubicBezTo>
                  <a:pt x="19469" y="21749"/>
                  <a:pt x="19406" y="21718"/>
                  <a:pt x="19406" y="21687"/>
                </a:cubicBezTo>
                <a:cubicBezTo>
                  <a:pt x="19375" y="21624"/>
                  <a:pt x="19344" y="21593"/>
                  <a:pt x="19313" y="21562"/>
                </a:cubicBezTo>
                <a:cubicBezTo>
                  <a:pt x="19313" y="21531"/>
                  <a:pt x="19281" y="21531"/>
                  <a:pt x="19281" y="21499"/>
                </a:cubicBezTo>
                <a:cubicBezTo>
                  <a:pt x="19281" y="21468"/>
                  <a:pt x="19313" y="21499"/>
                  <a:pt x="19344" y="21499"/>
                </a:cubicBezTo>
                <a:cubicBezTo>
                  <a:pt x="19406" y="21499"/>
                  <a:pt x="19438" y="21468"/>
                  <a:pt x="19375" y="21406"/>
                </a:cubicBezTo>
                <a:cubicBezTo>
                  <a:pt x="19375" y="21374"/>
                  <a:pt x="19375" y="21374"/>
                  <a:pt x="19375" y="21343"/>
                </a:cubicBezTo>
                <a:cubicBezTo>
                  <a:pt x="19406" y="21343"/>
                  <a:pt x="19438" y="21343"/>
                  <a:pt x="19438" y="21374"/>
                </a:cubicBezTo>
                <a:cubicBezTo>
                  <a:pt x="19469" y="21437"/>
                  <a:pt x="19531" y="21531"/>
                  <a:pt x="19563" y="21624"/>
                </a:cubicBezTo>
                <a:cubicBezTo>
                  <a:pt x="19563" y="21656"/>
                  <a:pt x="19500" y="21781"/>
                  <a:pt x="19469" y="21781"/>
                </a:cubicBezTo>
                <a:close/>
                <a:moveTo>
                  <a:pt x="19531" y="21312"/>
                </a:moveTo>
                <a:cubicBezTo>
                  <a:pt x="19531" y="21281"/>
                  <a:pt x="19594" y="21343"/>
                  <a:pt x="19594" y="21281"/>
                </a:cubicBezTo>
                <a:cubicBezTo>
                  <a:pt x="19563" y="21187"/>
                  <a:pt x="19625" y="21187"/>
                  <a:pt x="19688" y="21156"/>
                </a:cubicBezTo>
                <a:cubicBezTo>
                  <a:pt x="19750" y="21249"/>
                  <a:pt x="19813" y="21312"/>
                  <a:pt x="19750" y="21437"/>
                </a:cubicBezTo>
                <a:cubicBezTo>
                  <a:pt x="19719" y="21406"/>
                  <a:pt x="19688" y="21468"/>
                  <a:pt x="19656" y="21468"/>
                </a:cubicBezTo>
                <a:cubicBezTo>
                  <a:pt x="19594" y="21406"/>
                  <a:pt x="19563" y="21343"/>
                  <a:pt x="19531" y="21312"/>
                </a:cubicBezTo>
                <a:close/>
                <a:moveTo>
                  <a:pt x="19719" y="21593"/>
                </a:moveTo>
                <a:cubicBezTo>
                  <a:pt x="19688" y="21624"/>
                  <a:pt x="19688" y="21562"/>
                  <a:pt x="19719" y="21562"/>
                </a:cubicBezTo>
                <a:cubicBezTo>
                  <a:pt x="19719" y="21531"/>
                  <a:pt x="19688" y="21531"/>
                  <a:pt x="19656" y="21531"/>
                </a:cubicBezTo>
                <a:cubicBezTo>
                  <a:pt x="19688" y="21468"/>
                  <a:pt x="19719" y="21499"/>
                  <a:pt x="19750" y="21499"/>
                </a:cubicBezTo>
                <a:cubicBezTo>
                  <a:pt x="19781" y="21499"/>
                  <a:pt x="19781" y="21499"/>
                  <a:pt x="19781" y="21468"/>
                </a:cubicBezTo>
                <a:cubicBezTo>
                  <a:pt x="19781" y="21499"/>
                  <a:pt x="19781" y="21499"/>
                  <a:pt x="19750" y="21499"/>
                </a:cubicBezTo>
                <a:cubicBezTo>
                  <a:pt x="19781" y="21531"/>
                  <a:pt x="19781" y="21531"/>
                  <a:pt x="19781" y="21562"/>
                </a:cubicBezTo>
                <a:cubicBezTo>
                  <a:pt x="19781" y="21593"/>
                  <a:pt x="19750" y="21593"/>
                  <a:pt x="19719" y="21593"/>
                </a:cubicBezTo>
                <a:close/>
                <a:moveTo>
                  <a:pt x="20063" y="21249"/>
                </a:moveTo>
                <a:cubicBezTo>
                  <a:pt x="20063" y="21281"/>
                  <a:pt x="20063" y="21312"/>
                  <a:pt x="20063" y="21343"/>
                </a:cubicBezTo>
                <a:cubicBezTo>
                  <a:pt x="20000" y="21343"/>
                  <a:pt x="20094" y="21437"/>
                  <a:pt x="20031" y="21437"/>
                </a:cubicBezTo>
                <a:cubicBezTo>
                  <a:pt x="20000" y="21437"/>
                  <a:pt x="19969" y="21468"/>
                  <a:pt x="19969" y="21437"/>
                </a:cubicBezTo>
                <a:cubicBezTo>
                  <a:pt x="19906" y="21312"/>
                  <a:pt x="19813" y="21187"/>
                  <a:pt x="19750" y="21062"/>
                </a:cubicBezTo>
                <a:cubicBezTo>
                  <a:pt x="19750" y="21062"/>
                  <a:pt x="19750" y="21062"/>
                  <a:pt x="19750" y="21031"/>
                </a:cubicBezTo>
                <a:cubicBezTo>
                  <a:pt x="19875" y="21093"/>
                  <a:pt x="20063" y="21031"/>
                  <a:pt x="20063" y="21249"/>
                </a:cubicBezTo>
                <a:cubicBezTo>
                  <a:pt x="20063" y="21249"/>
                  <a:pt x="20063" y="21249"/>
                  <a:pt x="20063" y="21249"/>
                </a:cubicBezTo>
                <a:close/>
                <a:moveTo>
                  <a:pt x="20281" y="21312"/>
                </a:moveTo>
                <a:cubicBezTo>
                  <a:pt x="20219" y="21312"/>
                  <a:pt x="20250" y="21218"/>
                  <a:pt x="20219" y="21187"/>
                </a:cubicBezTo>
                <a:cubicBezTo>
                  <a:pt x="20188" y="21187"/>
                  <a:pt x="20219" y="21156"/>
                  <a:pt x="20250" y="21187"/>
                </a:cubicBezTo>
                <a:cubicBezTo>
                  <a:pt x="20281" y="21218"/>
                  <a:pt x="20344" y="21187"/>
                  <a:pt x="20344" y="21312"/>
                </a:cubicBezTo>
                <a:cubicBezTo>
                  <a:pt x="20344" y="21312"/>
                  <a:pt x="20313" y="21343"/>
                  <a:pt x="20281" y="21312"/>
                </a:cubicBezTo>
                <a:close/>
                <a:moveTo>
                  <a:pt x="20406" y="20781"/>
                </a:moveTo>
                <a:cubicBezTo>
                  <a:pt x="20375" y="20781"/>
                  <a:pt x="20375" y="20781"/>
                  <a:pt x="20375" y="20749"/>
                </a:cubicBezTo>
                <a:cubicBezTo>
                  <a:pt x="20375" y="20718"/>
                  <a:pt x="20375" y="20718"/>
                  <a:pt x="20406" y="20718"/>
                </a:cubicBezTo>
                <a:cubicBezTo>
                  <a:pt x="20406" y="20718"/>
                  <a:pt x="20438" y="20749"/>
                  <a:pt x="20438" y="20749"/>
                </a:cubicBezTo>
                <a:cubicBezTo>
                  <a:pt x="20438" y="20781"/>
                  <a:pt x="20406" y="20781"/>
                  <a:pt x="20406" y="20781"/>
                </a:cubicBezTo>
                <a:close/>
                <a:moveTo>
                  <a:pt x="20625" y="21062"/>
                </a:moveTo>
                <a:cubicBezTo>
                  <a:pt x="20625" y="21062"/>
                  <a:pt x="20625" y="21062"/>
                  <a:pt x="20625" y="21062"/>
                </a:cubicBezTo>
                <a:cubicBezTo>
                  <a:pt x="20594" y="21062"/>
                  <a:pt x="20563" y="21031"/>
                  <a:pt x="20563" y="20999"/>
                </a:cubicBezTo>
                <a:cubicBezTo>
                  <a:pt x="20531" y="20999"/>
                  <a:pt x="20531" y="20968"/>
                  <a:pt x="20531" y="20968"/>
                </a:cubicBezTo>
                <a:cubicBezTo>
                  <a:pt x="20563" y="20937"/>
                  <a:pt x="20625" y="20968"/>
                  <a:pt x="20656" y="20968"/>
                </a:cubicBezTo>
                <a:cubicBezTo>
                  <a:pt x="20656" y="20968"/>
                  <a:pt x="20688" y="20968"/>
                  <a:pt x="20688" y="20999"/>
                </a:cubicBezTo>
                <a:cubicBezTo>
                  <a:pt x="20656" y="21031"/>
                  <a:pt x="20625" y="21031"/>
                  <a:pt x="20625" y="21062"/>
                </a:cubicBezTo>
                <a:close/>
                <a:moveTo>
                  <a:pt x="21656" y="18999"/>
                </a:moveTo>
                <a:cubicBezTo>
                  <a:pt x="21625" y="18999"/>
                  <a:pt x="21594" y="18937"/>
                  <a:pt x="21594" y="18906"/>
                </a:cubicBezTo>
                <a:cubicBezTo>
                  <a:pt x="21563" y="18906"/>
                  <a:pt x="21594" y="18874"/>
                  <a:pt x="21625" y="18874"/>
                </a:cubicBezTo>
                <a:cubicBezTo>
                  <a:pt x="21656" y="18906"/>
                  <a:pt x="21656" y="18937"/>
                  <a:pt x="21688" y="18968"/>
                </a:cubicBezTo>
                <a:cubicBezTo>
                  <a:pt x="21688" y="18999"/>
                  <a:pt x="21656" y="18999"/>
                  <a:pt x="21656" y="18999"/>
                </a:cubicBezTo>
                <a:close/>
                <a:moveTo>
                  <a:pt x="21875" y="19249"/>
                </a:moveTo>
                <a:cubicBezTo>
                  <a:pt x="21906" y="19218"/>
                  <a:pt x="21906" y="19187"/>
                  <a:pt x="21906" y="19124"/>
                </a:cubicBezTo>
                <a:cubicBezTo>
                  <a:pt x="21906" y="19156"/>
                  <a:pt x="21875" y="19156"/>
                  <a:pt x="21875" y="19156"/>
                </a:cubicBezTo>
                <a:cubicBezTo>
                  <a:pt x="21813" y="19156"/>
                  <a:pt x="21781" y="19124"/>
                  <a:pt x="21750" y="19093"/>
                </a:cubicBezTo>
                <a:cubicBezTo>
                  <a:pt x="21813" y="19031"/>
                  <a:pt x="21844" y="19124"/>
                  <a:pt x="21906" y="19124"/>
                </a:cubicBezTo>
                <a:cubicBezTo>
                  <a:pt x="21906" y="19124"/>
                  <a:pt x="21906" y="19124"/>
                  <a:pt x="21906" y="19124"/>
                </a:cubicBezTo>
                <a:cubicBezTo>
                  <a:pt x="21906" y="19187"/>
                  <a:pt x="21906" y="19218"/>
                  <a:pt x="21875" y="19249"/>
                </a:cubicBezTo>
                <a:close/>
                <a:moveTo>
                  <a:pt x="22000" y="21406"/>
                </a:moveTo>
                <a:cubicBezTo>
                  <a:pt x="22000" y="21437"/>
                  <a:pt x="22000" y="21437"/>
                  <a:pt x="22000" y="21437"/>
                </a:cubicBezTo>
                <a:cubicBezTo>
                  <a:pt x="22000" y="21437"/>
                  <a:pt x="22000" y="21468"/>
                  <a:pt x="21969" y="21468"/>
                </a:cubicBezTo>
                <a:cubicBezTo>
                  <a:pt x="21969" y="21499"/>
                  <a:pt x="21938" y="21499"/>
                  <a:pt x="21938" y="21468"/>
                </a:cubicBezTo>
                <a:cubicBezTo>
                  <a:pt x="21906" y="21437"/>
                  <a:pt x="21906" y="21437"/>
                  <a:pt x="21906" y="21406"/>
                </a:cubicBezTo>
                <a:cubicBezTo>
                  <a:pt x="21938" y="21374"/>
                  <a:pt x="21969" y="21374"/>
                  <a:pt x="21969" y="21374"/>
                </a:cubicBezTo>
                <a:cubicBezTo>
                  <a:pt x="22000" y="21374"/>
                  <a:pt x="22031" y="21374"/>
                  <a:pt x="22000" y="21406"/>
                </a:cubicBezTo>
                <a:close/>
                <a:moveTo>
                  <a:pt x="22125" y="21562"/>
                </a:moveTo>
                <a:cubicBezTo>
                  <a:pt x="22094" y="21562"/>
                  <a:pt x="22063" y="21562"/>
                  <a:pt x="22063" y="21531"/>
                </a:cubicBezTo>
                <a:cubicBezTo>
                  <a:pt x="22063" y="21499"/>
                  <a:pt x="22031" y="21499"/>
                  <a:pt x="22031" y="21499"/>
                </a:cubicBezTo>
                <a:cubicBezTo>
                  <a:pt x="22063" y="21499"/>
                  <a:pt x="22063" y="21468"/>
                  <a:pt x="22094" y="21468"/>
                </a:cubicBezTo>
                <a:cubicBezTo>
                  <a:pt x="22125" y="21468"/>
                  <a:pt x="22125" y="21468"/>
                  <a:pt x="22156" y="21499"/>
                </a:cubicBezTo>
                <a:cubicBezTo>
                  <a:pt x="22156" y="21531"/>
                  <a:pt x="22156" y="21531"/>
                  <a:pt x="22125" y="21562"/>
                </a:cubicBezTo>
                <a:close/>
                <a:moveTo>
                  <a:pt x="22125" y="18999"/>
                </a:moveTo>
                <a:cubicBezTo>
                  <a:pt x="22125" y="18999"/>
                  <a:pt x="22125" y="18968"/>
                  <a:pt x="22156" y="18937"/>
                </a:cubicBezTo>
                <a:cubicBezTo>
                  <a:pt x="22188" y="18937"/>
                  <a:pt x="22219" y="18937"/>
                  <a:pt x="22219" y="18968"/>
                </a:cubicBezTo>
                <a:cubicBezTo>
                  <a:pt x="22281" y="19031"/>
                  <a:pt x="22313" y="19062"/>
                  <a:pt x="22344" y="19124"/>
                </a:cubicBezTo>
                <a:cubicBezTo>
                  <a:pt x="22250" y="19124"/>
                  <a:pt x="22219" y="19031"/>
                  <a:pt x="22125" y="18999"/>
                </a:cubicBezTo>
                <a:close/>
                <a:moveTo>
                  <a:pt x="29625" y="23124"/>
                </a:moveTo>
                <a:cubicBezTo>
                  <a:pt x="29625" y="23187"/>
                  <a:pt x="29594" y="23187"/>
                  <a:pt x="29563" y="23187"/>
                </a:cubicBezTo>
                <a:cubicBezTo>
                  <a:pt x="29531" y="23187"/>
                  <a:pt x="29500" y="23187"/>
                  <a:pt x="29500" y="23156"/>
                </a:cubicBezTo>
                <a:cubicBezTo>
                  <a:pt x="29500" y="23093"/>
                  <a:pt x="29563" y="23124"/>
                  <a:pt x="29594" y="23093"/>
                </a:cubicBezTo>
                <a:cubicBezTo>
                  <a:pt x="29594" y="23093"/>
                  <a:pt x="29625" y="23124"/>
                  <a:pt x="29625" y="23124"/>
                </a:cubicBezTo>
                <a:close/>
                <a:moveTo>
                  <a:pt x="30000" y="22937"/>
                </a:moveTo>
                <a:cubicBezTo>
                  <a:pt x="30031" y="22937"/>
                  <a:pt x="30031" y="22937"/>
                  <a:pt x="30063" y="22968"/>
                </a:cubicBezTo>
                <a:cubicBezTo>
                  <a:pt x="30094" y="22968"/>
                  <a:pt x="30125" y="22999"/>
                  <a:pt x="30125" y="23031"/>
                </a:cubicBezTo>
                <a:cubicBezTo>
                  <a:pt x="30125" y="23031"/>
                  <a:pt x="30125" y="23031"/>
                  <a:pt x="30125" y="23031"/>
                </a:cubicBezTo>
                <a:cubicBezTo>
                  <a:pt x="30094" y="23031"/>
                  <a:pt x="30063" y="22999"/>
                  <a:pt x="30031" y="22968"/>
                </a:cubicBezTo>
                <a:cubicBezTo>
                  <a:pt x="30031" y="22968"/>
                  <a:pt x="30000" y="22968"/>
                  <a:pt x="30000" y="22937"/>
                </a:cubicBezTo>
                <a:cubicBezTo>
                  <a:pt x="30000" y="22937"/>
                  <a:pt x="30000" y="22937"/>
                  <a:pt x="30000" y="22937"/>
                </a:cubicBezTo>
                <a:close/>
                <a:moveTo>
                  <a:pt x="29969" y="23124"/>
                </a:moveTo>
                <a:cubicBezTo>
                  <a:pt x="29969" y="23124"/>
                  <a:pt x="30000" y="23124"/>
                  <a:pt x="30000" y="23156"/>
                </a:cubicBezTo>
                <a:cubicBezTo>
                  <a:pt x="29969" y="23187"/>
                  <a:pt x="29969" y="23187"/>
                  <a:pt x="29938" y="23187"/>
                </a:cubicBezTo>
                <a:cubicBezTo>
                  <a:pt x="29906" y="23187"/>
                  <a:pt x="29875" y="23156"/>
                  <a:pt x="29844" y="23156"/>
                </a:cubicBezTo>
                <a:cubicBezTo>
                  <a:pt x="29813" y="23124"/>
                  <a:pt x="29781" y="23062"/>
                  <a:pt x="29719" y="23062"/>
                </a:cubicBezTo>
                <a:cubicBezTo>
                  <a:pt x="29719" y="23093"/>
                  <a:pt x="29719" y="23093"/>
                  <a:pt x="29750" y="23124"/>
                </a:cubicBezTo>
                <a:cubicBezTo>
                  <a:pt x="29750" y="23124"/>
                  <a:pt x="29750" y="23124"/>
                  <a:pt x="29750" y="23156"/>
                </a:cubicBezTo>
                <a:cubicBezTo>
                  <a:pt x="29719" y="23156"/>
                  <a:pt x="29719" y="23156"/>
                  <a:pt x="29688" y="23156"/>
                </a:cubicBezTo>
                <a:cubicBezTo>
                  <a:pt x="29656" y="23124"/>
                  <a:pt x="29625" y="23062"/>
                  <a:pt x="29656" y="23031"/>
                </a:cubicBezTo>
                <a:cubicBezTo>
                  <a:pt x="29688" y="22999"/>
                  <a:pt x="29750" y="22968"/>
                  <a:pt x="29813" y="23031"/>
                </a:cubicBezTo>
                <a:cubicBezTo>
                  <a:pt x="29844" y="23062"/>
                  <a:pt x="29906" y="23093"/>
                  <a:pt x="29969" y="23124"/>
                </a:cubicBezTo>
                <a:close/>
                <a:moveTo>
                  <a:pt x="29656" y="22812"/>
                </a:moveTo>
                <a:cubicBezTo>
                  <a:pt x="29688" y="22812"/>
                  <a:pt x="29688" y="22812"/>
                  <a:pt x="29719" y="22812"/>
                </a:cubicBezTo>
                <a:cubicBezTo>
                  <a:pt x="29719" y="22812"/>
                  <a:pt x="29719" y="22781"/>
                  <a:pt x="29750" y="22781"/>
                </a:cubicBezTo>
                <a:cubicBezTo>
                  <a:pt x="29750" y="22781"/>
                  <a:pt x="29750" y="22812"/>
                  <a:pt x="29750" y="22812"/>
                </a:cubicBezTo>
                <a:cubicBezTo>
                  <a:pt x="29750" y="22812"/>
                  <a:pt x="29719" y="22812"/>
                  <a:pt x="29719" y="22812"/>
                </a:cubicBezTo>
                <a:cubicBezTo>
                  <a:pt x="29688" y="22812"/>
                  <a:pt x="29688" y="22812"/>
                  <a:pt x="29656" y="22812"/>
                </a:cubicBezTo>
                <a:cubicBezTo>
                  <a:pt x="29625" y="22812"/>
                  <a:pt x="29563" y="22781"/>
                  <a:pt x="29531" y="22781"/>
                </a:cubicBezTo>
                <a:cubicBezTo>
                  <a:pt x="29563" y="22749"/>
                  <a:pt x="29625" y="22749"/>
                  <a:pt x="29656" y="22812"/>
                </a:cubicBezTo>
                <a:close/>
                <a:moveTo>
                  <a:pt x="29469" y="22874"/>
                </a:moveTo>
                <a:cubicBezTo>
                  <a:pt x="29563" y="22812"/>
                  <a:pt x="29563" y="22812"/>
                  <a:pt x="29656" y="22874"/>
                </a:cubicBezTo>
                <a:cubicBezTo>
                  <a:pt x="29688" y="22874"/>
                  <a:pt x="29719" y="22874"/>
                  <a:pt x="29719" y="22874"/>
                </a:cubicBezTo>
                <a:cubicBezTo>
                  <a:pt x="29688" y="22968"/>
                  <a:pt x="29625" y="22999"/>
                  <a:pt x="29563" y="22906"/>
                </a:cubicBezTo>
                <a:cubicBezTo>
                  <a:pt x="29563" y="22874"/>
                  <a:pt x="29563" y="22874"/>
                  <a:pt x="29531" y="22874"/>
                </a:cubicBezTo>
                <a:cubicBezTo>
                  <a:pt x="29531" y="22874"/>
                  <a:pt x="29531" y="22874"/>
                  <a:pt x="29531" y="22906"/>
                </a:cubicBezTo>
                <a:cubicBezTo>
                  <a:pt x="29500" y="22968"/>
                  <a:pt x="29500" y="22937"/>
                  <a:pt x="29438" y="22937"/>
                </a:cubicBezTo>
                <a:cubicBezTo>
                  <a:pt x="29438" y="22937"/>
                  <a:pt x="29406" y="22937"/>
                  <a:pt x="29375" y="22906"/>
                </a:cubicBezTo>
                <a:cubicBezTo>
                  <a:pt x="29375" y="22874"/>
                  <a:pt x="29375" y="22843"/>
                  <a:pt x="29375" y="22812"/>
                </a:cubicBezTo>
                <a:cubicBezTo>
                  <a:pt x="29375" y="22812"/>
                  <a:pt x="29375" y="22812"/>
                  <a:pt x="29375" y="22812"/>
                </a:cubicBezTo>
                <a:cubicBezTo>
                  <a:pt x="29375" y="22812"/>
                  <a:pt x="29375" y="22812"/>
                  <a:pt x="29375" y="22812"/>
                </a:cubicBezTo>
                <a:cubicBezTo>
                  <a:pt x="29406" y="22843"/>
                  <a:pt x="29438" y="22874"/>
                  <a:pt x="29469" y="22874"/>
                </a:cubicBezTo>
                <a:close/>
                <a:moveTo>
                  <a:pt x="29375" y="22562"/>
                </a:moveTo>
                <a:cubicBezTo>
                  <a:pt x="29375" y="22593"/>
                  <a:pt x="29375" y="22624"/>
                  <a:pt x="29406" y="22624"/>
                </a:cubicBezTo>
                <a:cubicBezTo>
                  <a:pt x="29438" y="22656"/>
                  <a:pt x="29469" y="22656"/>
                  <a:pt x="29438" y="22687"/>
                </a:cubicBezTo>
                <a:cubicBezTo>
                  <a:pt x="29438" y="22718"/>
                  <a:pt x="29406" y="22718"/>
                  <a:pt x="29406" y="22687"/>
                </a:cubicBezTo>
                <a:cubicBezTo>
                  <a:pt x="29375" y="22687"/>
                  <a:pt x="29313" y="22656"/>
                  <a:pt x="29313" y="22593"/>
                </a:cubicBezTo>
                <a:cubicBezTo>
                  <a:pt x="29313" y="22562"/>
                  <a:pt x="29375" y="22593"/>
                  <a:pt x="29375" y="22562"/>
                </a:cubicBezTo>
                <a:close/>
                <a:moveTo>
                  <a:pt x="29188" y="22562"/>
                </a:moveTo>
                <a:cubicBezTo>
                  <a:pt x="29188" y="22593"/>
                  <a:pt x="29156" y="22593"/>
                  <a:pt x="29156" y="22562"/>
                </a:cubicBezTo>
                <a:cubicBezTo>
                  <a:pt x="29125" y="22531"/>
                  <a:pt x="29125" y="22499"/>
                  <a:pt x="29094" y="22531"/>
                </a:cubicBezTo>
                <a:cubicBezTo>
                  <a:pt x="29094" y="22531"/>
                  <a:pt x="29094" y="22499"/>
                  <a:pt x="29063" y="22499"/>
                </a:cubicBezTo>
                <a:cubicBezTo>
                  <a:pt x="29063" y="22499"/>
                  <a:pt x="29063" y="22499"/>
                  <a:pt x="29063" y="22499"/>
                </a:cubicBezTo>
                <a:cubicBezTo>
                  <a:pt x="29063" y="22499"/>
                  <a:pt x="29031" y="22468"/>
                  <a:pt x="29094" y="22468"/>
                </a:cubicBezTo>
                <a:cubicBezTo>
                  <a:pt x="29125" y="22437"/>
                  <a:pt x="29156" y="22468"/>
                  <a:pt x="29188" y="22499"/>
                </a:cubicBezTo>
                <a:cubicBezTo>
                  <a:pt x="29188" y="22531"/>
                  <a:pt x="29219" y="22531"/>
                  <a:pt x="29188" y="22562"/>
                </a:cubicBezTo>
                <a:close/>
                <a:moveTo>
                  <a:pt x="29094" y="22562"/>
                </a:moveTo>
                <a:cubicBezTo>
                  <a:pt x="29063" y="22593"/>
                  <a:pt x="29031" y="22593"/>
                  <a:pt x="29000" y="22656"/>
                </a:cubicBezTo>
                <a:cubicBezTo>
                  <a:pt x="29000" y="22687"/>
                  <a:pt x="29000" y="22718"/>
                  <a:pt x="28938" y="22687"/>
                </a:cubicBezTo>
                <a:cubicBezTo>
                  <a:pt x="28906" y="22656"/>
                  <a:pt x="28844" y="22624"/>
                  <a:pt x="28844" y="22562"/>
                </a:cubicBezTo>
                <a:cubicBezTo>
                  <a:pt x="28844" y="22531"/>
                  <a:pt x="28875" y="22562"/>
                  <a:pt x="28906" y="22562"/>
                </a:cubicBezTo>
                <a:cubicBezTo>
                  <a:pt x="28938" y="22593"/>
                  <a:pt x="28969" y="22624"/>
                  <a:pt x="29000" y="22656"/>
                </a:cubicBezTo>
                <a:cubicBezTo>
                  <a:pt x="29031" y="22593"/>
                  <a:pt x="29063" y="22593"/>
                  <a:pt x="29094" y="22562"/>
                </a:cubicBezTo>
                <a:close/>
                <a:moveTo>
                  <a:pt x="28969" y="21312"/>
                </a:moveTo>
                <a:cubicBezTo>
                  <a:pt x="29031" y="21343"/>
                  <a:pt x="29063" y="21374"/>
                  <a:pt x="29125" y="21437"/>
                </a:cubicBezTo>
                <a:cubicBezTo>
                  <a:pt x="29156" y="21468"/>
                  <a:pt x="29094" y="21437"/>
                  <a:pt x="29094" y="21437"/>
                </a:cubicBezTo>
                <a:cubicBezTo>
                  <a:pt x="29094" y="21437"/>
                  <a:pt x="29094" y="21437"/>
                  <a:pt x="29094" y="21437"/>
                </a:cubicBezTo>
                <a:cubicBezTo>
                  <a:pt x="29063" y="21499"/>
                  <a:pt x="29125" y="21562"/>
                  <a:pt x="29125" y="21624"/>
                </a:cubicBezTo>
                <a:cubicBezTo>
                  <a:pt x="29125" y="21562"/>
                  <a:pt x="29063" y="21499"/>
                  <a:pt x="29094" y="21437"/>
                </a:cubicBezTo>
                <a:cubicBezTo>
                  <a:pt x="29063" y="21437"/>
                  <a:pt x="29031" y="21437"/>
                  <a:pt x="29000" y="21406"/>
                </a:cubicBezTo>
                <a:cubicBezTo>
                  <a:pt x="28938" y="21343"/>
                  <a:pt x="28906" y="21343"/>
                  <a:pt x="28844" y="21374"/>
                </a:cubicBezTo>
                <a:cubicBezTo>
                  <a:pt x="28844" y="21374"/>
                  <a:pt x="28844" y="21374"/>
                  <a:pt x="28844" y="21374"/>
                </a:cubicBezTo>
                <a:cubicBezTo>
                  <a:pt x="28875" y="21374"/>
                  <a:pt x="28875" y="21374"/>
                  <a:pt x="28875" y="21406"/>
                </a:cubicBezTo>
                <a:cubicBezTo>
                  <a:pt x="28875" y="21437"/>
                  <a:pt x="28875" y="21437"/>
                  <a:pt x="28844" y="21468"/>
                </a:cubicBezTo>
                <a:cubicBezTo>
                  <a:pt x="28844" y="21437"/>
                  <a:pt x="28844" y="21406"/>
                  <a:pt x="28844" y="21374"/>
                </a:cubicBezTo>
                <a:lnTo>
                  <a:pt x="28844" y="21374"/>
                </a:lnTo>
                <a:cubicBezTo>
                  <a:pt x="28844" y="21374"/>
                  <a:pt x="28844" y="21374"/>
                  <a:pt x="28844" y="21374"/>
                </a:cubicBezTo>
                <a:cubicBezTo>
                  <a:pt x="28813" y="21374"/>
                  <a:pt x="28813" y="21312"/>
                  <a:pt x="28813" y="21312"/>
                </a:cubicBezTo>
                <a:cubicBezTo>
                  <a:pt x="28844" y="21249"/>
                  <a:pt x="28906" y="21249"/>
                  <a:pt x="28969" y="21312"/>
                </a:cubicBezTo>
                <a:close/>
                <a:moveTo>
                  <a:pt x="28781" y="21124"/>
                </a:moveTo>
                <a:cubicBezTo>
                  <a:pt x="28781" y="21187"/>
                  <a:pt x="28813" y="21187"/>
                  <a:pt x="28844" y="21218"/>
                </a:cubicBezTo>
                <a:cubicBezTo>
                  <a:pt x="28813" y="21249"/>
                  <a:pt x="28750" y="21218"/>
                  <a:pt x="28719" y="21218"/>
                </a:cubicBezTo>
                <a:cubicBezTo>
                  <a:pt x="28750" y="21249"/>
                  <a:pt x="28781" y="21281"/>
                  <a:pt x="28813" y="21312"/>
                </a:cubicBezTo>
                <a:cubicBezTo>
                  <a:pt x="28781" y="21281"/>
                  <a:pt x="28750" y="21249"/>
                  <a:pt x="28719" y="21218"/>
                </a:cubicBezTo>
                <a:cubicBezTo>
                  <a:pt x="28719" y="21218"/>
                  <a:pt x="28719" y="21218"/>
                  <a:pt x="28719" y="21218"/>
                </a:cubicBezTo>
                <a:cubicBezTo>
                  <a:pt x="28719" y="21218"/>
                  <a:pt x="28719" y="21218"/>
                  <a:pt x="28688" y="21218"/>
                </a:cubicBezTo>
                <a:cubicBezTo>
                  <a:pt x="28688" y="21218"/>
                  <a:pt x="28656" y="21218"/>
                  <a:pt x="28656" y="21218"/>
                </a:cubicBezTo>
                <a:cubicBezTo>
                  <a:pt x="28625" y="21218"/>
                  <a:pt x="28594" y="21218"/>
                  <a:pt x="28594" y="21187"/>
                </a:cubicBezTo>
                <a:cubicBezTo>
                  <a:pt x="28594" y="21218"/>
                  <a:pt x="28625" y="21218"/>
                  <a:pt x="28656" y="21218"/>
                </a:cubicBezTo>
                <a:cubicBezTo>
                  <a:pt x="28594" y="21156"/>
                  <a:pt x="28531" y="21124"/>
                  <a:pt x="28500" y="21062"/>
                </a:cubicBezTo>
                <a:cubicBezTo>
                  <a:pt x="28594" y="21093"/>
                  <a:pt x="28688" y="21062"/>
                  <a:pt x="28781" y="21124"/>
                </a:cubicBezTo>
                <a:close/>
                <a:moveTo>
                  <a:pt x="28406" y="20937"/>
                </a:moveTo>
                <a:cubicBezTo>
                  <a:pt x="28406" y="20906"/>
                  <a:pt x="28406" y="20874"/>
                  <a:pt x="28406" y="20874"/>
                </a:cubicBezTo>
                <a:cubicBezTo>
                  <a:pt x="28500" y="20937"/>
                  <a:pt x="28563" y="20968"/>
                  <a:pt x="28594" y="21031"/>
                </a:cubicBezTo>
                <a:cubicBezTo>
                  <a:pt x="28531" y="21031"/>
                  <a:pt x="28469" y="21031"/>
                  <a:pt x="28438" y="20968"/>
                </a:cubicBezTo>
                <a:lnTo>
                  <a:pt x="28438" y="20968"/>
                </a:lnTo>
                <a:lnTo>
                  <a:pt x="28438" y="20968"/>
                </a:lnTo>
                <a:lnTo>
                  <a:pt x="28438" y="20968"/>
                </a:lnTo>
                <a:cubicBezTo>
                  <a:pt x="28438" y="20937"/>
                  <a:pt x="28437" y="20937"/>
                  <a:pt x="28406" y="20937"/>
                </a:cubicBezTo>
                <a:lnTo>
                  <a:pt x="28406" y="20937"/>
                </a:lnTo>
                <a:cubicBezTo>
                  <a:pt x="28438" y="20937"/>
                  <a:pt x="28438" y="20968"/>
                  <a:pt x="28438" y="20968"/>
                </a:cubicBezTo>
                <a:cubicBezTo>
                  <a:pt x="28406" y="20999"/>
                  <a:pt x="28406" y="20999"/>
                  <a:pt x="28406" y="20999"/>
                </a:cubicBezTo>
                <a:cubicBezTo>
                  <a:pt x="28406" y="20999"/>
                  <a:pt x="28406" y="20999"/>
                  <a:pt x="28438" y="20968"/>
                </a:cubicBezTo>
                <a:moveTo>
                  <a:pt x="28375" y="21062"/>
                </a:moveTo>
                <a:cubicBezTo>
                  <a:pt x="28438" y="21062"/>
                  <a:pt x="28469" y="21156"/>
                  <a:pt x="28531" y="21187"/>
                </a:cubicBezTo>
                <a:cubicBezTo>
                  <a:pt x="28469" y="21187"/>
                  <a:pt x="28469" y="21187"/>
                  <a:pt x="28438" y="21156"/>
                </a:cubicBezTo>
                <a:cubicBezTo>
                  <a:pt x="28438" y="21124"/>
                  <a:pt x="28344" y="21124"/>
                  <a:pt x="28375" y="21062"/>
                </a:cubicBezTo>
                <a:close/>
                <a:moveTo>
                  <a:pt x="28313" y="21656"/>
                </a:moveTo>
                <a:cubicBezTo>
                  <a:pt x="28344" y="21624"/>
                  <a:pt x="28375" y="21687"/>
                  <a:pt x="28406" y="21687"/>
                </a:cubicBezTo>
                <a:cubicBezTo>
                  <a:pt x="28406" y="21718"/>
                  <a:pt x="28438" y="21749"/>
                  <a:pt x="28406" y="21781"/>
                </a:cubicBezTo>
                <a:cubicBezTo>
                  <a:pt x="28375" y="21781"/>
                  <a:pt x="28375" y="21781"/>
                  <a:pt x="28406" y="21781"/>
                </a:cubicBezTo>
                <a:cubicBezTo>
                  <a:pt x="28469" y="21812"/>
                  <a:pt x="28500" y="21906"/>
                  <a:pt x="28531" y="21968"/>
                </a:cubicBezTo>
                <a:cubicBezTo>
                  <a:pt x="28563" y="21843"/>
                  <a:pt x="28469" y="21781"/>
                  <a:pt x="28406" y="21687"/>
                </a:cubicBezTo>
                <a:cubicBezTo>
                  <a:pt x="28406" y="21687"/>
                  <a:pt x="28406" y="21687"/>
                  <a:pt x="28406" y="21687"/>
                </a:cubicBezTo>
                <a:cubicBezTo>
                  <a:pt x="28406" y="21656"/>
                  <a:pt x="28375" y="21593"/>
                  <a:pt x="28438" y="21562"/>
                </a:cubicBezTo>
                <a:cubicBezTo>
                  <a:pt x="28500" y="21562"/>
                  <a:pt x="28594" y="21468"/>
                  <a:pt x="28656" y="21593"/>
                </a:cubicBezTo>
                <a:cubicBezTo>
                  <a:pt x="28688" y="21593"/>
                  <a:pt x="28750" y="21593"/>
                  <a:pt x="28781" y="21593"/>
                </a:cubicBezTo>
                <a:cubicBezTo>
                  <a:pt x="28813" y="21593"/>
                  <a:pt x="28844" y="21593"/>
                  <a:pt x="28844" y="21624"/>
                </a:cubicBezTo>
                <a:cubicBezTo>
                  <a:pt x="28875" y="21593"/>
                  <a:pt x="28875" y="21562"/>
                  <a:pt x="28875" y="21531"/>
                </a:cubicBezTo>
                <a:cubicBezTo>
                  <a:pt x="28875" y="21562"/>
                  <a:pt x="28875" y="21593"/>
                  <a:pt x="28844" y="21624"/>
                </a:cubicBezTo>
                <a:cubicBezTo>
                  <a:pt x="28875" y="21687"/>
                  <a:pt x="28844" y="21749"/>
                  <a:pt x="28875" y="21812"/>
                </a:cubicBezTo>
                <a:cubicBezTo>
                  <a:pt x="28906" y="21843"/>
                  <a:pt x="28906" y="21906"/>
                  <a:pt x="28969" y="21906"/>
                </a:cubicBezTo>
                <a:cubicBezTo>
                  <a:pt x="28875" y="21906"/>
                  <a:pt x="28875" y="21937"/>
                  <a:pt x="28875" y="21999"/>
                </a:cubicBezTo>
                <a:cubicBezTo>
                  <a:pt x="28875" y="22031"/>
                  <a:pt x="28969" y="22124"/>
                  <a:pt x="28844" y="22156"/>
                </a:cubicBezTo>
                <a:cubicBezTo>
                  <a:pt x="28844" y="22156"/>
                  <a:pt x="28875" y="22218"/>
                  <a:pt x="28906" y="22218"/>
                </a:cubicBezTo>
                <a:cubicBezTo>
                  <a:pt x="28938" y="22249"/>
                  <a:pt x="28969" y="22281"/>
                  <a:pt x="29000" y="22281"/>
                </a:cubicBezTo>
                <a:cubicBezTo>
                  <a:pt x="29031" y="22281"/>
                  <a:pt x="28969" y="22249"/>
                  <a:pt x="29031" y="22218"/>
                </a:cubicBezTo>
                <a:cubicBezTo>
                  <a:pt x="29063" y="22187"/>
                  <a:pt x="29094" y="22218"/>
                  <a:pt x="29094" y="22249"/>
                </a:cubicBezTo>
                <a:cubicBezTo>
                  <a:pt x="29094" y="22281"/>
                  <a:pt x="29125" y="22281"/>
                  <a:pt x="29156" y="22281"/>
                </a:cubicBezTo>
                <a:cubicBezTo>
                  <a:pt x="29156" y="22281"/>
                  <a:pt x="29188" y="22312"/>
                  <a:pt x="29156" y="22312"/>
                </a:cubicBezTo>
                <a:cubicBezTo>
                  <a:pt x="29156" y="22343"/>
                  <a:pt x="29125" y="22343"/>
                  <a:pt x="29125" y="22343"/>
                </a:cubicBezTo>
                <a:cubicBezTo>
                  <a:pt x="29094" y="22312"/>
                  <a:pt x="29031" y="22374"/>
                  <a:pt x="29000" y="22343"/>
                </a:cubicBezTo>
                <a:cubicBezTo>
                  <a:pt x="28938" y="22312"/>
                  <a:pt x="28938" y="22218"/>
                  <a:pt x="28844" y="22312"/>
                </a:cubicBezTo>
                <a:cubicBezTo>
                  <a:pt x="28844" y="22249"/>
                  <a:pt x="28781" y="22218"/>
                  <a:pt x="28781" y="22187"/>
                </a:cubicBezTo>
                <a:cubicBezTo>
                  <a:pt x="28781" y="22156"/>
                  <a:pt x="28750" y="22156"/>
                  <a:pt x="28750" y="22156"/>
                </a:cubicBezTo>
                <a:cubicBezTo>
                  <a:pt x="28688" y="22031"/>
                  <a:pt x="28813" y="22156"/>
                  <a:pt x="28813" y="22093"/>
                </a:cubicBezTo>
                <a:lnTo>
                  <a:pt x="28813" y="22093"/>
                </a:lnTo>
                <a:cubicBezTo>
                  <a:pt x="28813" y="22062"/>
                  <a:pt x="28781" y="21999"/>
                  <a:pt x="28719" y="22031"/>
                </a:cubicBezTo>
                <a:cubicBezTo>
                  <a:pt x="28688" y="22062"/>
                  <a:pt x="28656" y="22031"/>
                  <a:pt x="28656" y="22093"/>
                </a:cubicBezTo>
                <a:cubicBezTo>
                  <a:pt x="28656" y="22124"/>
                  <a:pt x="28688" y="22156"/>
                  <a:pt x="28750" y="22156"/>
                </a:cubicBezTo>
                <a:cubicBezTo>
                  <a:pt x="28781" y="22187"/>
                  <a:pt x="28750" y="22218"/>
                  <a:pt x="28750" y="22281"/>
                </a:cubicBezTo>
                <a:cubicBezTo>
                  <a:pt x="28656" y="22187"/>
                  <a:pt x="28594" y="22093"/>
                  <a:pt x="28563" y="21968"/>
                </a:cubicBezTo>
                <a:cubicBezTo>
                  <a:pt x="28500" y="21999"/>
                  <a:pt x="28375" y="21937"/>
                  <a:pt x="28344" y="21874"/>
                </a:cubicBezTo>
                <a:cubicBezTo>
                  <a:pt x="28344" y="21843"/>
                  <a:pt x="28344" y="21812"/>
                  <a:pt x="28313" y="21781"/>
                </a:cubicBezTo>
                <a:cubicBezTo>
                  <a:pt x="28281" y="21749"/>
                  <a:pt x="28281" y="21687"/>
                  <a:pt x="28313" y="21656"/>
                </a:cubicBezTo>
                <a:close/>
                <a:moveTo>
                  <a:pt x="28813" y="23187"/>
                </a:moveTo>
                <a:cubicBezTo>
                  <a:pt x="28813" y="23187"/>
                  <a:pt x="28781" y="23187"/>
                  <a:pt x="28781" y="23187"/>
                </a:cubicBezTo>
                <a:cubicBezTo>
                  <a:pt x="28781" y="23187"/>
                  <a:pt x="28781" y="23187"/>
                  <a:pt x="28781" y="23187"/>
                </a:cubicBezTo>
                <a:cubicBezTo>
                  <a:pt x="28781" y="23187"/>
                  <a:pt x="28781" y="23187"/>
                  <a:pt x="28813" y="23187"/>
                </a:cubicBezTo>
                <a:close/>
                <a:moveTo>
                  <a:pt x="28781" y="23187"/>
                </a:moveTo>
                <a:cubicBezTo>
                  <a:pt x="28750" y="23187"/>
                  <a:pt x="28719" y="23156"/>
                  <a:pt x="28719" y="23124"/>
                </a:cubicBezTo>
                <a:cubicBezTo>
                  <a:pt x="28750" y="23124"/>
                  <a:pt x="28781" y="23156"/>
                  <a:pt x="28781" y="23187"/>
                </a:cubicBezTo>
                <a:close/>
                <a:moveTo>
                  <a:pt x="28000" y="23781"/>
                </a:moveTo>
                <a:cubicBezTo>
                  <a:pt x="28000" y="23749"/>
                  <a:pt x="28031" y="23749"/>
                  <a:pt x="28063" y="23718"/>
                </a:cubicBezTo>
                <a:cubicBezTo>
                  <a:pt x="28000" y="23749"/>
                  <a:pt x="27969" y="23749"/>
                  <a:pt x="27906" y="23749"/>
                </a:cubicBezTo>
                <a:cubicBezTo>
                  <a:pt x="27969" y="23749"/>
                  <a:pt x="28000" y="23749"/>
                  <a:pt x="28063" y="23718"/>
                </a:cubicBezTo>
                <a:cubicBezTo>
                  <a:pt x="28063" y="23718"/>
                  <a:pt x="28063" y="23718"/>
                  <a:pt x="28094" y="23718"/>
                </a:cubicBezTo>
                <a:cubicBezTo>
                  <a:pt x="28094" y="23749"/>
                  <a:pt x="28094" y="23718"/>
                  <a:pt x="28094" y="23718"/>
                </a:cubicBezTo>
                <a:cubicBezTo>
                  <a:pt x="28156" y="23687"/>
                  <a:pt x="28188" y="23749"/>
                  <a:pt x="28219" y="23718"/>
                </a:cubicBezTo>
                <a:cubicBezTo>
                  <a:pt x="28219" y="23718"/>
                  <a:pt x="28219" y="23718"/>
                  <a:pt x="28219" y="23718"/>
                </a:cubicBezTo>
                <a:cubicBezTo>
                  <a:pt x="28219" y="23749"/>
                  <a:pt x="28219" y="23749"/>
                  <a:pt x="28219" y="23781"/>
                </a:cubicBezTo>
                <a:cubicBezTo>
                  <a:pt x="28250" y="23781"/>
                  <a:pt x="28281" y="23812"/>
                  <a:pt x="28281" y="23843"/>
                </a:cubicBezTo>
                <a:cubicBezTo>
                  <a:pt x="28250" y="23874"/>
                  <a:pt x="28219" y="23843"/>
                  <a:pt x="28188" y="23843"/>
                </a:cubicBezTo>
                <a:cubicBezTo>
                  <a:pt x="28156" y="23843"/>
                  <a:pt x="28188" y="23812"/>
                  <a:pt x="28219" y="23781"/>
                </a:cubicBezTo>
                <a:cubicBezTo>
                  <a:pt x="28125" y="23781"/>
                  <a:pt x="28063" y="23812"/>
                  <a:pt x="28000" y="23781"/>
                </a:cubicBezTo>
                <a:close/>
                <a:moveTo>
                  <a:pt x="27688" y="23343"/>
                </a:moveTo>
                <a:cubicBezTo>
                  <a:pt x="27688" y="23343"/>
                  <a:pt x="27688" y="23312"/>
                  <a:pt x="27688" y="23312"/>
                </a:cubicBezTo>
                <a:cubicBezTo>
                  <a:pt x="27500" y="23312"/>
                  <a:pt x="27438" y="23187"/>
                  <a:pt x="27406" y="23031"/>
                </a:cubicBezTo>
                <a:cubicBezTo>
                  <a:pt x="27406" y="22999"/>
                  <a:pt x="27375" y="22968"/>
                  <a:pt x="27375" y="22937"/>
                </a:cubicBezTo>
                <a:cubicBezTo>
                  <a:pt x="27469" y="23031"/>
                  <a:pt x="27625" y="22968"/>
                  <a:pt x="27719" y="23062"/>
                </a:cubicBezTo>
                <a:cubicBezTo>
                  <a:pt x="27781" y="23124"/>
                  <a:pt x="27813" y="23218"/>
                  <a:pt x="27875" y="23312"/>
                </a:cubicBezTo>
                <a:cubicBezTo>
                  <a:pt x="27875" y="23343"/>
                  <a:pt x="27813" y="23312"/>
                  <a:pt x="27813" y="23343"/>
                </a:cubicBezTo>
                <a:cubicBezTo>
                  <a:pt x="27781" y="23374"/>
                  <a:pt x="27719" y="23374"/>
                  <a:pt x="27688" y="23343"/>
                </a:cubicBezTo>
                <a:close/>
                <a:moveTo>
                  <a:pt x="27719" y="23656"/>
                </a:moveTo>
                <a:cubicBezTo>
                  <a:pt x="27719" y="23656"/>
                  <a:pt x="27688" y="23656"/>
                  <a:pt x="27688" y="23656"/>
                </a:cubicBezTo>
                <a:cubicBezTo>
                  <a:pt x="27688" y="23624"/>
                  <a:pt x="27688" y="23624"/>
                  <a:pt x="27719" y="23624"/>
                </a:cubicBezTo>
                <a:cubicBezTo>
                  <a:pt x="27719" y="23624"/>
                  <a:pt x="27750" y="23624"/>
                  <a:pt x="27750" y="23656"/>
                </a:cubicBezTo>
                <a:cubicBezTo>
                  <a:pt x="27750" y="23656"/>
                  <a:pt x="27719" y="23656"/>
                  <a:pt x="27719" y="23656"/>
                </a:cubicBezTo>
                <a:close/>
                <a:moveTo>
                  <a:pt x="27125" y="22749"/>
                </a:moveTo>
                <a:cubicBezTo>
                  <a:pt x="27094" y="22749"/>
                  <a:pt x="27094" y="22749"/>
                  <a:pt x="27125" y="22718"/>
                </a:cubicBezTo>
                <a:cubicBezTo>
                  <a:pt x="27156" y="22687"/>
                  <a:pt x="27188" y="22687"/>
                  <a:pt x="27250" y="22687"/>
                </a:cubicBezTo>
                <a:cubicBezTo>
                  <a:pt x="27281" y="22687"/>
                  <a:pt x="27344" y="22718"/>
                  <a:pt x="27375" y="22656"/>
                </a:cubicBezTo>
                <a:cubicBezTo>
                  <a:pt x="27406" y="22624"/>
                  <a:pt x="27438" y="22624"/>
                  <a:pt x="27438" y="22624"/>
                </a:cubicBezTo>
                <a:cubicBezTo>
                  <a:pt x="27531" y="22687"/>
                  <a:pt x="27656" y="22687"/>
                  <a:pt x="27719" y="22781"/>
                </a:cubicBezTo>
                <a:cubicBezTo>
                  <a:pt x="27719" y="22812"/>
                  <a:pt x="27688" y="22812"/>
                  <a:pt x="27656" y="22812"/>
                </a:cubicBezTo>
                <a:cubicBezTo>
                  <a:pt x="27594" y="22781"/>
                  <a:pt x="27531" y="22781"/>
                  <a:pt x="27469" y="22718"/>
                </a:cubicBezTo>
                <a:cubicBezTo>
                  <a:pt x="27438" y="22687"/>
                  <a:pt x="27406" y="22687"/>
                  <a:pt x="27375" y="22687"/>
                </a:cubicBezTo>
                <a:cubicBezTo>
                  <a:pt x="27375" y="22781"/>
                  <a:pt x="27469" y="22749"/>
                  <a:pt x="27469" y="22843"/>
                </a:cubicBezTo>
                <a:cubicBezTo>
                  <a:pt x="27375" y="22812"/>
                  <a:pt x="27250" y="22781"/>
                  <a:pt x="27125" y="22749"/>
                </a:cubicBezTo>
                <a:cubicBezTo>
                  <a:pt x="27125" y="22749"/>
                  <a:pt x="27125" y="22749"/>
                  <a:pt x="27125" y="22749"/>
                </a:cubicBezTo>
                <a:cubicBezTo>
                  <a:pt x="27125" y="22749"/>
                  <a:pt x="27125" y="22749"/>
                  <a:pt x="27125" y="22749"/>
                </a:cubicBezTo>
                <a:close/>
                <a:moveTo>
                  <a:pt x="26969" y="22656"/>
                </a:moveTo>
                <a:cubicBezTo>
                  <a:pt x="26969" y="22687"/>
                  <a:pt x="26969" y="22687"/>
                  <a:pt x="26938" y="22687"/>
                </a:cubicBezTo>
                <a:cubicBezTo>
                  <a:pt x="26906" y="22687"/>
                  <a:pt x="26844" y="22718"/>
                  <a:pt x="26844" y="22656"/>
                </a:cubicBezTo>
                <a:cubicBezTo>
                  <a:pt x="26844" y="22624"/>
                  <a:pt x="26813" y="22562"/>
                  <a:pt x="26844" y="22531"/>
                </a:cubicBezTo>
                <a:cubicBezTo>
                  <a:pt x="26844" y="22531"/>
                  <a:pt x="26844" y="22531"/>
                  <a:pt x="26844" y="22499"/>
                </a:cubicBezTo>
                <a:cubicBezTo>
                  <a:pt x="26844" y="22531"/>
                  <a:pt x="26844" y="22531"/>
                  <a:pt x="26844" y="22531"/>
                </a:cubicBezTo>
                <a:cubicBezTo>
                  <a:pt x="26906" y="22499"/>
                  <a:pt x="26969" y="22562"/>
                  <a:pt x="27031" y="22499"/>
                </a:cubicBezTo>
                <a:cubicBezTo>
                  <a:pt x="27031" y="22499"/>
                  <a:pt x="27063" y="22499"/>
                  <a:pt x="27063" y="22531"/>
                </a:cubicBezTo>
                <a:cubicBezTo>
                  <a:pt x="27063" y="22531"/>
                  <a:pt x="27000" y="22593"/>
                  <a:pt x="27094" y="22593"/>
                </a:cubicBezTo>
                <a:cubicBezTo>
                  <a:pt x="27125" y="22593"/>
                  <a:pt x="27125" y="22531"/>
                  <a:pt x="27156" y="22593"/>
                </a:cubicBezTo>
                <a:cubicBezTo>
                  <a:pt x="27125" y="22656"/>
                  <a:pt x="27125" y="22624"/>
                  <a:pt x="27063" y="22656"/>
                </a:cubicBezTo>
                <a:cubicBezTo>
                  <a:pt x="27000" y="22656"/>
                  <a:pt x="26969" y="22562"/>
                  <a:pt x="26906" y="22624"/>
                </a:cubicBezTo>
                <a:cubicBezTo>
                  <a:pt x="26938" y="22656"/>
                  <a:pt x="26969" y="22624"/>
                  <a:pt x="26969" y="22656"/>
                </a:cubicBezTo>
                <a:close/>
                <a:moveTo>
                  <a:pt x="26156" y="22531"/>
                </a:moveTo>
                <a:cubicBezTo>
                  <a:pt x="26156" y="22499"/>
                  <a:pt x="26125" y="22468"/>
                  <a:pt x="26125" y="22437"/>
                </a:cubicBezTo>
                <a:cubicBezTo>
                  <a:pt x="26188" y="22406"/>
                  <a:pt x="26219" y="22437"/>
                  <a:pt x="26250" y="22437"/>
                </a:cubicBezTo>
                <a:cubicBezTo>
                  <a:pt x="26344" y="22499"/>
                  <a:pt x="26250" y="22562"/>
                  <a:pt x="26313" y="22593"/>
                </a:cubicBezTo>
                <a:cubicBezTo>
                  <a:pt x="26281" y="22656"/>
                  <a:pt x="26219" y="22656"/>
                  <a:pt x="26188" y="22656"/>
                </a:cubicBezTo>
                <a:cubicBezTo>
                  <a:pt x="26156" y="22656"/>
                  <a:pt x="26125" y="22624"/>
                  <a:pt x="26125" y="22624"/>
                </a:cubicBezTo>
                <a:cubicBezTo>
                  <a:pt x="26125" y="22593"/>
                  <a:pt x="26125" y="22562"/>
                  <a:pt x="26156" y="22562"/>
                </a:cubicBezTo>
                <a:cubicBezTo>
                  <a:pt x="26188" y="22562"/>
                  <a:pt x="26188" y="22562"/>
                  <a:pt x="26156" y="22531"/>
                </a:cubicBezTo>
                <a:close/>
                <a:moveTo>
                  <a:pt x="26281" y="22031"/>
                </a:moveTo>
                <a:cubicBezTo>
                  <a:pt x="26156" y="22062"/>
                  <a:pt x="26156" y="22062"/>
                  <a:pt x="26125" y="21906"/>
                </a:cubicBezTo>
                <a:cubicBezTo>
                  <a:pt x="26063" y="21781"/>
                  <a:pt x="26000" y="21624"/>
                  <a:pt x="25969" y="21468"/>
                </a:cubicBezTo>
                <a:cubicBezTo>
                  <a:pt x="25969" y="21437"/>
                  <a:pt x="25969" y="21406"/>
                  <a:pt x="26000" y="21374"/>
                </a:cubicBezTo>
                <a:cubicBezTo>
                  <a:pt x="26031" y="21343"/>
                  <a:pt x="26063" y="21406"/>
                  <a:pt x="26094" y="21406"/>
                </a:cubicBezTo>
                <a:cubicBezTo>
                  <a:pt x="26219" y="21499"/>
                  <a:pt x="26313" y="21593"/>
                  <a:pt x="26438" y="21687"/>
                </a:cubicBezTo>
                <a:cubicBezTo>
                  <a:pt x="26469" y="21687"/>
                  <a:pt x="26469" y="21687"/>
                  <a:pt x="26469" y="21718"/>
                </a:cubicBezTo>
                <a:cubicBezTo>
                  <a:pt x="26469" y="21687"/>
                  <a:pt x="26469" y="21687"/>
                  <a:pt x="26438" y="21687"/>
                </a:cubicBezTo>
                <a:cubicBezTo>
                  <a:pt x="26406" y="21718"/>
                  <a:pt x="26406" y="21781"/>
                  <a:pt x="26438" y="21812"/>
                </a:cubicBezTo>
                <a:cubicBezTo>
                  <a:pt x="26500" y="21937"/>
                  <a:pt x="26500" y="21937"/>
                  <a:pt x="26344" y="21999"/>
                </a:cubicBezTo>
                <a:cubicBezTo>
                  <a:pt x="26344" y="22031"/>
                  <a:pt x="26313" y="22031"/>
                  <a:pt x="26281" y="22031"/>
                </a:cubicBezTo>
                <a:close/>
                <a:moveTo>
                  <a:pt x="26594" y="21906"/>
                </a:moveTo>
                <a:cubicBezTo>
                  <a:pt x="26563" y="21937"/>
                  <a:pt x="26500" y="21937"/>
                  <a:pt x="26500" y="21874"/>
                </a:cubicBezTo>
                <a:cubicBezTo>
                  <a:pt x="26500" y="21812"/>
                  <a:pt x="26469" y="21781"/>
                  <a:pt x="26469" y="21718"/>
                </a:cubicBezTo>
                <a:cubicBezTo>
                  <a:pt x="26469" y="21718"/>
                  <a:pt x="26469" y="21718"/>
                  <a:pt x="26469" y="21718"/>
                </a:cubicBezTo>
                <a:cubicBezTo>
                  <a:pt x="26531" y="21749"/>
                  <a:pt x="26594" y="21812"/>
                  <a:pt x="26656" y="21874"/>
                </a:cubicBezTo>
                <a:cubicBezTo>
                  <a:pt x="26656" y="21874"/>
                  <a:pt x="26625" y="21906"/>
                  <a:pt x="26594" y="21906"/>
                </a:cubicBezTo>
                <a:close/>
                <a:moveTo>
                  <a:pt x="26750" y="21968"/>
                </a:moveTo>
                <a:cubicBezTo>
                  <a:pt x="26750" y="21968"/>
                  <a:pt x="26750" y="21968"/>
                  <a:pt x="26750" y="21968"/>
                </a:cubicBezTo>
                <a:cubicBezTo>
                  <a:pt x="26750" y="22062"/>
                  <a:pt x="26656" y="21999"/>
                  <a:pt x="26594" y="22031"/>
                </a:cubicBezTo>
                <a:cubicBezTo>
                  <a:pt x="26594" y="21968"/>
                  <a:pt x="26625" y="21968"/>
                  <a:pt x="26656" y="21968"/>
                </a:cubicBezTo>
                <a:cubicBezTo>
                  <a:pt x="26688" y="21968"/>
                  <a:pt x="26719" y="21999"/>
                  <a:pt x="26750" y="21968"/>
                </a:cubicBezTo>
                <a:close/>
                <a:moveTo>
                  <a:pt x="26563" y="22562"/>
                </a:moveTo>
                <a:cubicBezTo>
                  <a:pt x="26531" y="22531"/>
                  <a:pt x="26500" y="22593"/>
                  <a:pt x="26438" y="22562"/>
                </a:cubicBezTo>
                <a:cubicBezTo>
                  <a:pt x="26500" y="22499"/>
                  <a:pt x="26531" y="22499"/>
                  <a:pt x="26563" y="22562"/>
                </a:cubicBezTo>
                <a:close/>
                <a:moveTo>
                  <a:pt x="26500" y="22468"/>
                </a:moveTo>
                <a:cubicBezTo>
                  <a:pt x="26531" y="22468"/>
                  <a:pt x="26594" y="22437"/>
                  <a:pt x="26688" y="22437"/>
                </a:cubicBezTo>
                <a:cubicBezTo>
                  <a:pt x="26688" y="22437"/>
                  <a:pt x="26719" y="22468"/>
                  <a:pt x="26719" y="22437"/>
                </a:cubicBezTo>
                <a:cubicBezTo>
                  <a:pt x="26781" y="22374"/>
                  <a:pt x="26813" y="22406"/>
                  <a:pt x="26875" y="22406"/>
                </a:cubicBezTo>
                <a:cubicBezTo>
                  <a:pt x="26906" y="22406"/>
                  <a:pt x="26906" y="22406"/>
                  <a:pt x="26906" y="22437"/>
                </a:cubicBezTo>
                <a:cubicBezTo>
                  <a:pt x="26906" y="22437"/>
                  <a:pt x="26875" y="22437"/>
                  <a:pt x="26875" y="22437"/>
                </a:cubicBezTo>
                <a:cubicBezTo>
                  <a:pt x="26844" y="22468"/>
                  <a:pt x="26813" y="22468"/>
                  <a:pt x="26750" y="22468"/>
                </a:cubicBezTo>
                <a:cubicBezTo>
                  <a:pt x="26688" y="22562"/>
                  <a:pt x="26594" y="22468"/>
                  <a:pt x="26500" y="22468"/>
                </a:cubicBezTo>
                <a:close/>
                <a:moveTo>
                  <a:pt x="26656" y="22593"/>
                </a:moveTo>
                <a:cubicBezTo>
                  <a:pt x="26688" y="22562"/>
                  <a:pt x="26719" y="22593"/>
                  <a:pt x="26750" y="22593"/>
                </a:cubicBezTo>
                <a:cubicBezTo>
                  <a:pt x="26781" y="22593"/>
                  <a:pt x="26813" y="22562"/>
                  <a:pt x="26813" y="22624"/>
                </a:cubicBezTo>
                <a:cubicBezTo>
                  <a:pt x="26813" y="22656"/>
                  <a:pt x="26781" y="22624"/>
                  <a:pt x="26750" y="22656"/>
                </a:cubicBezTo>
                <a:cubicBezTo>
                  <a:pt x="26719" y="22656"/>
                  <a:pt x="26688" y="22624"/>
                  <a:pt x="26656" y="22624"/>
                </a:cubicBezTo>
                <a:cubicBezTo>
                  <a:pt x="26656" y="22624"/>
                  <a:pt x="26656" y="22624"/>
                  <a:pt x="26656" y="22624"/>
                </a:cubicBezTo>
                <a:cubicBezTo>
                  <a:pt x="26656" y="22624"/>
                  <a:pt x="26656" y="22593"/>
                  <a:pt x="26656" y="22593"/>
                </a:cubicBezTo>
                <a:close/>
                <a:moveTo>
                  <a:pt x="26844" y="22749"/>
                </a:moveTo>
                <a:cubicBezTo>
                  <a:pt x="26813" y="22812"/>
                  <a:pt x="26781" y="22812"/>
                  <a:pt x="26750" y="22812"/>
                </a:cubicBezTo>
                <a:cubicBezTo>
                  <a:pt x="26719" y="22812"/>
                  <a:pt x="26719" y="22781"/>
                  <a:pt x="26719" y="22781"/>
                </a:cubicBezTo>
                <a:cubicBezTo>
                  <a:pt x="26750" y="22749"/>
                  <a:pt x="26781" y="22749"/>
                  <a:pt x="26844" y="22749"/>
                </a:cubicBezTo>
                <a:close/>
                <a:moveTo>
                  <a:pt x="27031" y="22156"/>
                </a:moveTo>
                <a:cubicBezTo>
                  <a:pt x="27094" y="22156"/>
                  <a:pt x="27125" y="22218"/>
                  <a:pt x="27188" y="22249"/>
                </a:cubicBezTo>
                <a:cubicBezTo>
                  <a:pt x="27219" y="22281"/>
                  <a:pt x="27219" y="22281"/>
                  <a:pt x="27219" y="22312"/>
                </a:cubicBezTo>
                <a:cubicBezTo>
                  <a:pt x="27188" y="22312"/>
                  <a:pt x="27188" y="22312"/>
                  <a:pt x="27156" y="22343"/>
                </a:cubicBezTo>
                <a:cubicBezTo>
                  <a:pt x="27094" y="22343"/>
                  <a:pt x="27031" y="22281"/>
                  <a:pt x="26969" y="22281"/>
                </a:cubicBezTo>
                <a:cubicBezTo>
                  <a:pt x="26969" y="22281"/>
                  <a:pt x="26969" y="22281"/>
                  <a:pt x="26969" y="22281"/>
                </a:cubicBezTo>
                <a:cubicBezTo>
                  <a:pt x="26938" y="22218"/>
                  <a:pt x="27000" y="22187"/>
                  <a:pt x="27031" y="22156"/>
                </a:cubicBezTo>
                <a:close/>
                <a:moveTo>
                  <a:pt x="27750" y="22781"/>
                </a:moveTo>
                <a:cubicBezTo>
                  <a:pt x="27750" y="22781"/>
                  <a:pt x="27750" y="22781"/>
                  <a:pt x="27750" y="22781"/>
                </a:cubicBezTo>
                <a:cubicBezTo>
                  <a:pt x="27781" y="22781"/>
                  <a:pt x="27813" y="22781"/>
                  <a:pt x="27844" y="22812"/>
                </a:cubicBezTo>
                <a:cubicBezTo>
                  <a:pt x="27844" y="22812"/>
                  <a:pt x="27844" y="22812"/>
                  <a:pt x="27844" y="22812"/>
                </a:cubicBezTo>
                <a:cubicBezTo>
                  <a:pt x="27875" y="22843"/>
                  <a:pt x="27906" y="22843"/>
                  <a:pt x="27938" y="22874"/>
                </a:cubicBezTo>
                <a:cubicBezTo>
                  <a:pt x="27875" y="22874"/>
                  <a:pt x="27813" y="22843"/>
                  <a:pt x="27750" y="22781"/>
                </a:cubicBezTo>
                <a:close/>
                <a:moveTo>
                  <a:pt x="27844" y="22374"/>
                </a:moveTo>
                <a:cubicBezTo>
                  <a:pt x="27875" y="22374"/>
                  <a:pt x="27875" y="22437"/>
                  <a:pt x="27906" y="22437"/>
                </a:cubicBezTo>
                <a:cubicBezTo>
                  <a:pt x="27875" y="22437"/>
                  <a:pt x="27875" y="22406"/>
                  <a:pt x="27844" y="22374"/>
                </a:cubicBezTo>
                <a:close/>
                <a:moveTo>
                  <a:pt x="27906" y="22468"/>
                </a:moveTo>
                <a:cubicBezTo>
                  <a:pt x="27969" y="22468"/>
                  <a:pt x="27969" y="22468"/>
                  <a:pt x="28000" y="22499"/>
                </a:cubicBezTo>
                <a:cubicBezTo>
                  <a:pt x="27969" y="22531"/>
                  <a:pt x="27938" y="22468"/>
                  <a:pt x="27906" y="22468"/>
                </a:cubicBezTo>
                <a:close/>
                <a:moveTo>
                  <a:pt x="28000" y="22531"/>
                </a:moveTo>
                <a:cubicBezTo>
                  <a:pt x="28031" y="22531"/>
                  <a:pt x="28063" y="22531"/>
                  <a:pt x="28063" y="22562"/>
                </a:cubicBezTo>
                <a:cubicBezTo>
                  <a:pt x="28031" y="22562"/>
                  <a:pt x="28000" y="22562"/>
                  <a:pt x="28000" y="22531"/>
                </a:cubicBezTo>
                <a:close/>
                <a:moveTo>
                  <a:pt x="28063" y="22562"/>
                </a:moveTo>
                <a:cubicBezTo>
                  <a:pt x="28094" y="22562"/>
                  <a:pt x="28125" y="22593"/>
                  <a:pt x="28125" y="22624"/>
                </a:cubicBezTo>
                <a:cubicBezTo>
                  <a:pt x="28094" y="22624"/>
                  <a:pt x="28063" y="22593"/>
                  <a:pt x="28063" y="22562"/>
                </a:cubicBezTo>
                <a:close/>
                <a:moveTo>
                  <a:pt x="28125" y="22624"/>
                </a:moveTo>
                <a:cubicBezTo>
                  <a:pt x="28219" y="22687"/>
                  <a:pt x="28281" y="22718"/>
                  <a:pt x="28344" y="22812"/>
                </a:cubicBezTo>
                <a:cubicBezTo>
                  <a:pt x="28250" y="22781"/>
                  <a:pt x="28188" y="22687"/>
                  <a:pt x="28125" y="22624"/>
                </a:cubicBezTo>
                <a:close/>
                <a:moveTo>
                  <a:pt x="28375" y="23781"/>
                </a:moveTo>
                <a:cubicBezTo>
                  <a:pt x="28406" y="23781"/>
                  <a:pt x="28406" y="23812"/>
                  <a:pt x="28438" y="23812"/>
                </a:cubicBezTo>
                <a:cubicBezTo>
                  <a:pt x="28438" y="23812"/>
                  <a:pt x="28438" y="23812"/>
                  <a:pt x="28438" y="23812"/>
                </a:cubicBezTo>
                <a:cubicBezTo>
                  <a:pt x="28438" y="23812"/>
                  <a:pt x="28438" y="23812"/>
                  <a:pt x="28469" y="23812"/>
                </a:cubicBezTo>
                <a:cubicBezTo>
                  <a:pt x="28469" y="23812"/>
                  <a:pt x="28469" y="23812"/>
                  <a:pt x="28469" y="23812"/>
                </a:cubicBezTo>
                <a:cubicBezTo>
                  <a:pt x="28469" y="23843"/>
                  <a:pt x="28469" y="23843"/>
                  <a:pt x="28500" y="23812"/>
                </a:cubicBezTo>
                <a:cubicBezTo>
                  <a:pt x="28531" y="23843"/>
                  <a:pt x="28563" y="23843"/>
                  <a:pt x="28563" y="23874"/>
                </a:cubicBezTo>
                <a:cubicBezTo>
                  <a:pt x="28500" y="23906"/>
                  <a:pt x="28438" y="23906"/>
                  <a:pt x="28375" y="23874"/>
                </a:cubicBezTo>
                <a:cubicBezTo>
                  <a:pt x="28313" y="23874"/>
                  <a:pt x="28281" y="23874"/>
                  <a:pt x="28281" y="23812"/>
                </a:cubicBezTo>
                <a:cubicBezTo>
                  <a:pt x="28313" y="23749"/>
                  <a:pt x="28344" y="23781"/>
                  <a:pt x="28375" y="23781"/>
                </a:cubicBezTo>
                <a:close/>
                <a:moveTo>
                  <a:pt x="28344" y="22812"/>
                </a:moveTo>
                <a:cubicBezTo>
                  <a:pt x="28406" y="22812"/>
                  <a:pt x="28406" y="22843"/>
                  <a:pt x="28406" y="22874"/>
                </a:cubicBezTo>
                <a:cubicBezTo>
                  <a:pt x="28375" y="22874"/>
                  <a:pt x="28375" y="22843"/>
                  <a:pt x="28344" y="22812"/>
                </a:cubicBezTo>
                <a:close/>
                <a:moveTo>
                  <a:pt x="28406" y="23437"/>
                </a:moveTo>
                <a:cubicBezTo>
                  <a:pt x="28406" y="23437"/>
                  <a:pt x="28406" y="23437"/>
                  <a:pt x="28406" y="23437"/>
                </a:cubicBezTo>
                <a:cubicBezTo>
                  <a:pt x="28406" y="23437"/>
                  <a:pt x="28438" y="23468"/>
                  <a:pt x="28438" y="23468"/>
                </a:cubicBezTo>
                <a:cubicBezTo>
                  <a:pt x="28438" y="23468"/>
                  <a:pt x="28406" y="23437"/>
                  <a:pt x="28406" y="23437"/>
                </a:cubicBezTo>
                <a:close/>
                <a:moveTo>
                  <a:pt x="28406" y="22874"/>
                </a:moveTo>
                <a:cubicBezTo>
                  <a:pt x="28531" y="22937"/>
                  <a:pt x="28625" y="23031"/>
                  <a:pt x="28719" y="23124"/>
                </a:cubicBezTo>
                <a:cubicBezTo>
                  <a:pt x="28594" y="23062"/>
                  <a:pt x="28500" y="22968"/>
                  <a:pt x="28406" y="22874"/>
                </a:cubicBezTo>
                <a:close/>
                <a:moveTo>
                  <a:pt x="28281" y="21843"/>
                </a:moveTo>
                <a:cubicBezTo>
                  <a:pt x="28281" y="21843"/>
                  <a:pt x="28250" y="21843"/>
                  <a:pt x="28250" y="21843"/>
                </a:cubicBezTo>
                <a:cubicBezTo>
                  <a:pt x="28281" y="21874"/>
                  <a:pt x="28313" y="21906"/>
                  <a:pt x="28344" y="21968"/>
                </a:cubicBezTo>
                <a:cubicBezTo>
                  <a:pt x="28281" y="21968"/>
                  <a:pt x="28250" y="21937"/>
                  <a:pt x="28219" y="21906"/>
                </a:cubicBezTo>
                <a:cubicBezTo>
                  <a:pt x="28219" y="21906"/>
                  <a:pt x="28188" y="21906"/>
                  <a:pt x="28188" y="21906"/>
                </a:cubicBezTo>
                <a:cubicBezTo>
                  <a:pt x="28188" y="21937"/>
                  <a:pt x="28188" y="21968"/>
                  <a:pt x="28188" y="21968"/>
                </a:cubicBezTo>
                <a:cubicBezTo>
                  <a:pt x="28250" y="21999"/>
                  <a:pt x="28313" y="22031"/>
                  <a:pt x="28375" y="22062"/>
                </a:cubicBezTo>
                <a:cubicBezTo>
                  <a:pt x="28406" y="22093"/>
                  <a:pt x="28438" y="22124"/>
                  <a:pt x="28406" y="22156"/>
                </a:cubicBezTo>
                <a:cubicBezTo>
                  <a:pt x="28406" y="22218"/>
                  <a:pt x="28469" y="22249"/>
                  <a:pt x="28438" y="22312"/>
                </a:cubicBezTo>
                <a:cubicBezTo>
                  <a:pt x="28438" y="22312"/>
                  <a:pt x="28469" y="22312"/>
                  <a:pt x="28500" y="22312"/>
                </a:cubicBezTo>
                <a:cubicBezTo>
                  <a:pt x="28531" y="22281"/>
                  <a:pt x="28563" y="22312"/>
                  <a:pt x="28594" y="22343"/>
                </a:cubicBezTo>
                <a:cubicBezTo>
                  <a:pt x="28594" y="22374"/>
                  <a:pt x="28625" y="22406"/>
                  <a:pt x="28563" y="22406"/>
                </a:cubicBezTo>
                <a:cubicBezTo>
                  <a:pt x="28531" y="22374"/>
                  <a:pt x="28469" y="22437"/>
                  <a:pt x="28438" y="22468"/>
                </a:cubicBezTo>
                <a:cubicBezTo>
                  <a:pt x="28438" y="22468"/>
                  <a:pt x="28438" y="22468"/>
                  <a:pt x="28438" y="22499"/>
                </a:cubicBezTo>
                <a:cubicBezTo>
                  <a:pt x="28438" y="22499"/>
                  <a:pt x="28469" y="22531"/>
                  <a:pt x="28469" y="22499"/>
                </a:cubicBezTo>
                <a:cubicBezTo>
                  <a:pt x="28563" y="22437"/>
                  <a:pt x="28594" y="22531"/>
                  <a:pt x="28594" y="22593"/>
                </a:cubicBezTo>
                <a:cubicBezTo>
                  <a:pt x="28594" y="22656"/>
                  <a:pt x="28656" y="22718"/>
                  <a:pt x="28688" y="22781"/>
                </a:cubicBezTo>
                <a:cubicBezTo>
                  <a:pt x="28688" y="22781"/>
                  <a:pt x="28688" y="22781"/>
                  <a:pt x="28688" y="22749"/>
                </a:cubicBezTo>
                <a:cubicBezTo>
                  <a:pt x="28688" y="22781"/>
                  <a:pt x="28688" y="22781"/>
                  <a:pt x="28688" y="22781"/>
                </a:cubicBezTo>
                <a:cubicBezTo>
                  <a:pt x="28688" y="22812"/>
                  <a:pt x="28719" y="22843"/>
                  <a:pt x="28656" y="22874"/>
                </a:cubicBezTo>
                <a:cubicBezTo>
                  <a:pt x="28531" y="22843"/>
                  <a:pt x="28406" y="22749"/>
                  <a:pt x="28344" y="22624"/>
                </a:cubicBezTo>
                <a:cubicBezTo>
                  <a:pt x="28344" y="22593"/>
                  <a:pt x="28344" y="22531"/>
                  <a:pt x="28281" y="22593"/>
                </a:cubicBezTo>
                <a:cubicBezTo>
                  <a:pt x="28281" y="22593"/>
                  <a:pt x="28250" y="22562"/>
                  <a:pt x="28250" y="22562"/>
                </a:cubicBezTo>
                <a:cubicBezTo>
                  <a:pt x="28219" y="22531"/>
                  <a:pt x="28219" y="22468"/>
                  <a:pt x="28156" y="22499"/>
                </a:cubicBezTo>
                <a:cubicBezTo>
                  <a:pt x="28156" y="22499"/>
                  <a:pt x="28125" y="22468"/>
                  <a:pt x="28125" y="22468"/>
                </a:cubicBezTo>
                <a:cubicBezTo>
                  <a:pt x="28188" y="22468"/>
                  <a:pt x="28188" y="22374"/>
                  <a:pt x="28219" y="22406"/>
                </a:cubicBezTo>
                <a:cubicBezTo>
                  <a:pt x="28250" y="22437"/>
                  <a:pt x="28281" y="22437"/>
                  <a:pt x="28281" y="22437"/>
                </a:cubicBezTo>
                <a:cubicBezTo>
                  <a:pt x="28313" y="22406"/>
                  <a:pt x="28313" y="22406"/>
                  <a:pt x="28313" y="22374"/>
                </a:cubicBezTo>
                <a:cubicBezTo>
                  <a:pt x="28281" y="22343"/>
                  <a:pt x="28250" y="22312"/>
                  <a:pt x="28219" y="22312"/>
                </a:cubicBezTo>
                <a:cubicBezTo>
                  <a:pt x="28188" y="22343"/>
                  <a:pt x="28156" y="22343"/>
                  <a:pt x="28156" y="22312"/>
                </a:cubicBezTo>
                <a:cubicBezTo>
                  <a:pt x="28156" y="22312"/>
                  <a:pt x="28156" y="22312"/>
                  <a:pt x="28156" y="22312"/>
                </a:cubicBezTo>
                <a:cubicBezTo>
                  <a:pt x="28125" y="22312"/>
                  <a:pt x="28125" y="22312"/>
                  <a:pt x="28125" y="22312"/>
                </a:cubicBezTo>
                <a:cubicBezTo>
                  <a:pt x="28125" y="22312"/>
                  <a:pt x="28125" y="22343"/>
                  <a:pt x="28125" y="22343"/>
                </a:cubicBezTo>
                <a:cubicBezTo>
                  <a:pt x="28125" y="22343"/>
                  <a:pt x="28156" y="22374"/>
                  <a:pt x="28125" y="22374"/>
                </a:cubicBezTo>
                <a:cubicBezTo>
                  <a:pt x="28094" y="22374"/>
                  <a:pt x="28094" y="22343"/>
                  <a:pt x="28063" y="22343"/>
                </a:cubicBezTo>
                <a:cubicBezTo>
                  <a:pt x="27906" y="22406"/>
                  <a:pt x="27844" y="22249"/>
                  <a:pt x="27750" y="22218"/>
                </a:cubicBezTo>
                <a:cubicBezTo>
                  <a:pt x="27781" y="22218"/>
                  <a:pt x="27844" y="22218"/>
                  <a:pt x="27906" y="22218"/>
                </a:cubicBezTo>
                <a:cubicBezTo>
                  <a:pt x="27906" y="22156"/>
                  <a:pt x="27875" y="22156"/>
                  <a:pt x="27844" y="22187"/>
                </a:cubicBezTo>
                <a:cubicBezTo>
                  <a:pt x="27750" y="22187"/>
                  <a:pt x="27719" y="22156"/>
                  <a:pt x="27656" y="22093"/>
                </a:cubicBezTo>
                <a:cubicBezTo>
                  <a:pt x="27625" y="22062"/>
                  <a:pt x="27594" y="22031"/>
                  <a:pt x="27563" y="22031"/>
                </a:cubicBezTo>
                <a:cubicBezTo>
                  <a:pt x="27469" y="21968"/>
                  <a:pt x="27438" y="21906"/>
                  <a:pt x="27406" y="21843"/>
                </a:cubicBezTo>
                <a:cubicBezTo>
                  <a:pt x="27406" y="21812"/>
                  <a:pt x="27406" y="21812"/>
                  <a:pt x="27438" y="21781"/>
                </a:cubicBezTo>
                <a:cubicBezTo>
                  <a:pt x="27438" y="21781"/>
                  <a:pt x="27469" y="21781"/>
                  <a:pt x="27469" y="21812"/>
                </a:cubicBezTo>
                <a:cubicBezTo>
                  <a:pt x="27469" y="21843"/>
                  <a:pt x="27469" y="21937"/>
                  <a:pt x="27531" y="21874"/>
                </a:cubicBezTo>
                <a:cubicBezTo>
                  <a:pt x="27625" y="21812"/>
                  <a:pt x="27531" y="21812"/>
                  <a:pt x="27500" y="21781"/>
                </a:cubicBezTo>
                <a:cubicBezTo>
                  <a:pt x="27500" y="21749"/>
                  <a:pt x="27500" y="21749"/>
                  <a:pt x="27500" y="21749"/>
                </a:cubicBezTo>
                <a:cubicBezTo>
                  <a:pt x="27438" y="21749"/>
                  <a:pt x="27406" y="21718"/>
                  <a:pt x="27375" y="21718"/>
                </a:cubicBezTo>
                <a:cubicBezTo>
                  <a:pt x="27406" y="21718"/>
                  <a:pt x="27438" y="21749"/>
                  <a:pt x="27500" y="21749"/>
                </a:cubicBezTo>
                <a:cubicBezTo>
                  <a:pt x="27500" y="21718"/>
                  <a:pt x="27531" y="21718"/>
                  <a:pt x="27531" y="21718"/>
                </a:cubicBezTo>
                <a:cubicBezTo>
                  <a:pt x="27594" y="21812"/>
                  <a:pt x="27656" y="21843"/>
                  <a:pt x="27750" y="21781"/>
                </a:cubicBezTo>
                <a:cubicBezTo>
                  <a:pt x="27781" y="21781"/>
                  <a:pt x="27844" y="21781"/>
                  <a:pt x="27844" y="21812"/>
                </a:cubicBezTo>
                <a:cubicBezTo>
                  <a:pt x="27813" y="21906"/>
                  <a:pt x="27875" y="21906"/>
                  <a:pt x="27906" y="21968"/>
                </a:cubicBezTo>
                <a:cubicBezTo>
                  <a:pt x="27938" y="22031"/>
                  <a:pt x="27938" y="22093"/>
                  <a:pt x="27969" y="22156"/>
                </a:cubicBezTo>
                <a:cubicBezTo>
                  <a:pt x="28000" y="22124"/>
                  <a:pt x="28000" y="22062"/>
                  <a:pt x="28031" y="22124"/>
                </a:cubicBezTo>
                <a:cubicBezTo>
                  <a:pt x="28063" y="22156"/>
                  <a:pt x="28125" y="22156"/>
                  <a:pt x="28156" y="22156"/>
                </a:cubicBezTo>
                <a:cubicBezTo>
                  <a:pt x="28188" y="22187"/>
                  <a:pt x="28250" y="22218"/>
                  <a:pt x="28281" y="22218"/>
                </a:cubicBezTo>
                <a:cubicBezTo>
                  <a:pt x="28250" y="22312"/>
                  <a:pt x="28156" y="22218"/>
                  <a:pt x="28094" y="22249"/>
                </a:cubicBezTo>
                <a:cubicBezTo>
                  <a:pt x="28094" y="22249"/>
                  <a:pt x="28094" y="22249"/>
                  <a:pt x="28094" y="22249"/>
                </a:cubicBezTo>
                <a:cubicBezTo>
                  <a:pt x="28063" y="22218"/>
                  <a:pt x="28094" y="22218"/>
                  <a:pt x="28125" y="22218"/>
                </a:cubicBezTo>
                <a:lnTo>
                  <a:pt x="28125" y="22218"/>
                </a:lnTo>
                <a:cubicBezTo>
                  <a:pt x="28156" y="22218"/>
                  <a:pt x="28156" y="22187"/>
                  <a:pt x="28156" y="22156"/>
                </a:cubicBezTo>
                <a:cubicBezTo>
                  <a:pt x="28156" y="22031"/>
                  <a:pt x="28063" y="21937"/>
                  <a:pt x="28063" y="21812"/>
                </a:cubicBezTo>
                <a:cubicBezTo>
                  <a:pt x="28125" y="21874"/>
                  <a:pt x="28188" y="21874"/>
                  <a:pt x="28250" y="21843"/>
                </a:cubicBezTo>
                <a:cubicBezTo>
                  <a:pt x="28188" y="21812"/>
                  <a:pt x="28094" y="21781"/>
                  <a:pt x="28031" y="21749"/>
                </a:cubicBezTo>
                <a:cubicBezTo>
                  <a:pt x="28031" y="21749"/>
                  <a:pt x="28000" y="21749"/>
                  <a:pt x="28000" y="21781"/>
                </a:cubicBezTo>
                <a:cubicBezTo>
                  <a:pt x="28000" y="21843"/>
                  <a:pt x="27969" y="21843"/>
                  <a:pt x="27938" y="21843"/>
                </a:cubicBezTo>
                <a:cubicBezTo>
                  <a:pt x="27938" y="21781"/>
                  <a:pt x="27938" y="21718"/>
                  <a:pt x="28000" y="21718"/>
                </a:cubicBezTo>
                <a:cubicBezTo>
                  <a:pt x="28031" y="21718"/>
                  <a:pt x="28063" y="21687"/>
                  <a:pt x="28094" y="21687"/>
                </a:cubicBezTo>
                <a:cubicBezTo>
                  <a:pt x="28188" y="21656"/>
                  <a:pt x="28313" y="21718"/>
                  <a:pt x="28281" y="21843"/>
                </a:cubicBezTo>
                <a:close/>
                <a:moveTo>
                  <a:pt x="27781" y="22343"/>
                </a:moveTo>
                <a:cubicBezTo>
                  <a:pt x="27719" y="22312"/>
                  <a:pt x="27688" y="22281"/>
                  <a:pt x="27625" y="22218"/>
                </a:cubicBezTo>
                <a:cubicBezTo>
                  <a:pt x="27719" y="22218"/>
                  <a:pt x="27750" y="22281"/>
                  <a:pt x="27781" y="22343"/>
                </a:cubicBezTo>
                <a:close/>
                <a:moveTo>
                  <a:pt x="27219" y="21843"/>
                </a:moveTo>
                <a:cubicBezTo>
                  <a:pt x="27250" y="21843"/>
                  <a:pt x="27250" y="21874"/>
                  <a:pt x="27281" y="21906"/>
                </a:cubicBezTo>
                <a:cubicBezTo>
                  <a:pt x="27250" y="21906"/>
                  <a:pt x="27219" y="21874"/>
                  <a:pt x="27219" y="21843"/>
                </a:cubicBezTo>
                <a:cubicBezTo>
                  <a:pt x="27125" y="21843"/>
                  <a:pt x="27094" y="21781"/>
                  <a:pt x="27063" y="21718"/>
                </a:cubicBezTo>
                <a:cubicBezTo>
                  <a:pt x="27125" y="21749"/>
                  <a:pt x="27156" y="21781"/>
                  <a:pt x="27219" y="21843"/>
                </a:cubicBezTo>
                <a:close/>
                <a:moveTo>
                  <a:pt x="27219" y="21656"/>
                </a:moveTo>
                <a:cubicBezTo>
                  <a:pt x="27219" y="21656"/>
                  <a:pt x="27250" y="21656"/>
                  <a:pt x="27250" y="21624"/>
                </a:cubicBezTo>
                <a:cubicBezTo>
                  <a:pt x="27250" y="21656"/>
                  <a:pt x="27219" y="21656"/>
                  <a:pt x="27219" y="21656"/>
                </a:cubicBezTo>
                <a:close/>
                <a:moveTo>
                  <a:pt x="27250" y="21593"/>
                </a:moveTo>
                <a:cubicBezTo>
                  <a:pt x="27125" y="21624"/>
                  <a:pt x="26969" y="21562"/>
                  <a:pt x="26906" y="21437"/>
                </a:cubicBezTo>
                <a:cubicBezTo>
                  <a:pt x="26906" y="21406"/>
                  <a:pt x="26875" y="21343"/>
                  <a:pt x="26906" y="21312"/>
                </a:cubicBezTo>
                <a:cubicBezTo>
                  <a:pt x="26938" y="21281"/>
                  <a:pt x="27000" y="21312"/>
                  <a:pt x="27031" y="21343"/>
                </a:cubicBezTo>
                <a:cubicBezTo>
                  <a:pt x="27063" y="21406"/>
                  <a:pt x="27094" y="21437"/>
                  <a:pt x="27156" y="21468"/>
                </a:cubicBezTo>
                <a:cubicBezTo>
                  <a:pt x="27188" y="21468"/>
                  <a:pt x="27219" y="21468"/>
                  <a:pt x="27250" y="21499"/>
                </a:cubicBezTo>
                <a:cubicBezTo>
                  <a:pt x="27250" y="21406"/>
                  <a:pt x="27125" y="21437"/>
                  <a:pt x="27125" y="21374"/>
                </a:cubicBezTo>
                <a:cubicBezTo>
                  <a:pt x="27219" y="21374"/>
                  <a:pt x="27313" y="21406"/>
                  <a:pt x="27313" y="21499"/>
                </a:cubicBezTo>
                <a:cubicBezTo>
                  <a:pt x="27375" y="21531"/>
                  <a:pt x="27438" y="21562"/>
                  <a:pt x="27469" y="21593"/>
                </a:cubicBezTo>
                <a:cubicBezTo>
                  <a:pt x="27438" y="21562"/>
                  <a:pt x="27375" y="21531"/>
                  <a:pt x="27313" y="21499"/>
                </a:cubicBezTo>
                <a:cubicBezTo>
                  <a:pt x="27313" y="21531"/>
                  <a:pt x="27313" y="21531"/>
                  <a:pt x="27313" y="21562"/>
                </a:cubicBezTo>
                <a:cubicBezTo>
                  <a:pt x="27313" y="21562"/>
                  <a:pt x="27281" y="21562"/>
                  <a:pt x="27281" y="21593"/>
                </a:cubicBezTo>
                <a:cubicBezTo>
                  <a:pt x="27281" y="21593"/>
                  <a:pt x="27250" y="21593"/>
                  <a:pt x="27250" y="21593"/>
                </a:cubicBezTo>
                <a:close/>
                <a:moveTo>
                  <a:pt x="27031" y="21718"/>
                </a:moveTo>
                <a:cubicBezTo>
                  <a:pt x="27000" y="21687"/>
                  <a:pt x="26938" y="21656"/>
                  <a:pt x="26906" y="21593"/>
                </a:cubicBezTo>
                <a:cubicBezTo>
                  <a:pt x="26969" y="21624"/>
                  <a:pt x="27031" y="21656"/>
                  <a:pt x="27031" y="21718"/>
                </a:cubicBezTo>
                <a:close/>
                <a:moveTo>
                  <a:pt x="26531" y="21156"/>
                </a:moveTo>
                <a:cubicBezTo>
                  <a:pt x="26625" y="21124"/>
                  <a:pt x="26688" y="21156"/>
                  <a:pt x="26750" y="21218"/>
                </a:cubicBezTo>
                <a:cubicBezTo>
                  <a:pt x="26656" y="21281"/>
                  <a:pt x="26594" y="21218"/>
                  <a:pt x="26531" y="21156"/>
                </a:cubicBezTo>
                <a:close/>
                <a:moveTo>
                  <a:pt x="26563" y="21312"/>
                </a:moveTo>
                <a:cubicBezTo>
                  <a:pt x="26563" y="21312"/>
                  <a:pt x="26563" y="21312"/>
                  <a:pt x="26563" y="21312"/>
                </a:cubicBezTo>
                <a:cubicBezTo>
                  <a:pt x="26563" y="21312"/>
                  <a:pt x="26563" y="21312"/>
                  <a:pt x="26563" y="21312"/>
                </a:cubicBezTo>
                <a:cubicBezTo>
                  <a:pt x="26563" y="21312"/>
                  <a:pt x="26563" y="21312"/>
                  <a:pt x="26563" y="21312"/>
                </a:cubicBezTo>
                <a:close/>
                <a:moveTo>
                  <a:pt x="26469" y="21249"/>
                </a:moveTo>
                <a:cubicBezTo>
                  <a:pt x="26531" y="21249"/>
                  <a:pt x="26531" y="21281"/>
                  <a:pt x="26531" y="21312"/>
                </a:cubicBezTo>
                <a:cubicBezTo>
                  <a:pt x="26531" y="21281"/>
                  <a:pt x="26500" y="21281"/>
                  <a:pt x="26469" y="21249"/>
                </a:cubicBezTo>
                <a:close/>
                <a:moveTo>
                  <a:pt x="26531" y="21406"/>
                </a:moveTo>
                <a:cubicBezTo>
                  <a:pt x="26500" y="21406"/>
                  <a:pt x="26500" y="21406"/>
                  <a:pt x="26469" y="21374"/>
                </a:cubicBezTo>
                <a:cubicBezTo>
                  <a:pt x="26469" y="21374"/>
                  <a:pt x="26469" y="21374"/>
                  <a:pt x="26469" y="21374"/>
                </a:cubicBezTo>
                <a:cubicBezTo>
                  <a:pt x="26500" y="21406"/>
                  <a:pt x="26500" y="21406"/>
                  <a:pt x="26531" y="21406"/>
                </a:cubicBezTo>
                <a:close/>
                <a:moveTo>
                  <a:pt x="26844" y="21531"/>
                </a:moveTo>
                <a:cubicBezTo>
                  <a:pt x="26750" y="21499"/>
                  <a:pt x="26688" y="21437"/>
                  <a:pt x="26625" y="21374"/>
                </a:cubicBezTo>
                <a:cubicBezTo>
                  <a:pt x="26719" y="21406"/>
                  <a:pt x="26781" y="21468"/>
                  <a:pt x="26844" y="21531"/>
                </a:cubicBezTo>
                <a:close/>
                <a:moveTo>
                  <a:pt x="26563" y="20937"/>
                </a:moveTo>
                <a:cubicBezTo>
                  <a:pt x="26563" y="20937"/>
                  <a:pt x="26531" y="20906"/>
                  <a:pt x="26500" y="20937"/>
                </a:cubicBezTo>
                <a:cubicBezTo>
                  <a:pt x="26500" y="20937"/>
                  <a:pt x="26469" y="20937"/>
                  <a:pt x="26469" y="20937"/>
                </a:cubicBezTo>
                <a:cubicBezTo>
                  <a:pt x="26531" y="20906"/>
                  <a:pt x="26406" y="20843"/>
                  <a:pt x="26500" y="20843"/>
                </a:cubicBezTo>
                <a:cubicBezTo>
                  <a:pt x="26563" y="20843"/>
                  <a:pt x="26625" y="20874"/>
                  <a:pt x="26656" y="20874"/>
                </a:cubicBezTo>
                <a:cubicBezTo>
                  <a:pt x="26750" y="20906"/>
                  <a:pt x="26813" y="20906"/>
                  <a:pt x="26875" y="20906"/>
                </a:cubicBezTo>
                <a:cubicBezTo>
                  <a:pt x="26938" y="20906"/>
                  <a:pt x="26938" y="20906"/>
                  <a:pt x="26938" y="20968"/>
                </a:cubicBezTo>
                <a:cubicBezTo>
                  <a:pt x="26938" y="20999"/>
                  <a:pt x="26969" y="21031"/>
                  <a:pt x="27000" y="21031"/>
                </a:cubicBezTo>
                <a:cubicBezTo>
                  <a:pt x="27063" y="21031"/>
                  <a:pt x="27094" y="21031"/>
                  <a:pt x="27125" y="21093"/>
                </a:cubicBezTo>
                <a:cubicBezTo>
                  <a:pt x="27125" y="21124"/>
                  <a:pt x="27125" y="21124"/>
                  <a:pt x="27156" y="21124"/>
                </a:cubicBezTo>
                <a:cubicBezTo>
                  <a:pt x="27219" y="21093"/>
                  <a:pt x="27281" y="21093"/>
                  <a:pt x="27344" y="21031"/>
                </a:cubicBezTo>
                <a:cubicBezTo>
                  <a:pt x="27375" y="20999"/>
                  <a:pt x="27375" y="21031"/>
                  <a:pt x="27406" y="21031"/>
                </a:cubicBezTo>
                <a:cubicBezTo>
                  <a:pt x="27344" y="21124"/>
                  <a:pt x="27438" y="21093"/>
                  <a:pt x="27469" y="21124"/>
                </a:cubicBezTo>
                <a:cubicBezTo>
                  <a:pt x="27469" y="21124"/>
                  <a:pt x="27500" y="21156"/>
                  <a:pt x="27531" y="21124"/>
                </a:cubicBezTo>
                <a:cubicBezTo>
                  <a:pt x="27531" y="21093"/>
                  <a:pt x="27531" y="21062"/>
                  <a:pt x="27500" y="21062"/>
                </a:cubicBezTo>
                <a:cubicBezTo>
                  <a:pt x="27469" y="21031"/>
                  <a:pt x="27438" y="20999"/>
                  <a:pt x="27406" y="20968"/>
                </a:cubicBezTo>
                <a:cubicBezTo>
                  <a:pt x="27531" y="20843"/>
                  <a:pt x="27656" y="20874"/>
                  <a:pt x="27750" y="21031"/>
                </a:cubicBezTo>
                <a:cubicBezTo>
                  <a:pt x="27688" y="20999"/>
                  <a:pt x="27625" y="20968"/>
                  <a:pt x="27563" y="20937"/>
                </a:cubicBezTo>
                <a:cubicBezTo>
                  <a:pt x="27563" y="20937"/>
                  <a:pt x="27531" y="20906"/>
                  <a:pt x="27500" y="20937"/>
                </a:cubicBezTo>
                <a:cubicBezTo>
                  <a:pt x="27469" y="20968"/>
                  <a:pt x="27531" y="20968"/>
                  <a:pt x="27531" y="20999"/>
                </a:cubicBezTo>
                <a:cubicBezTo>
                  <a:pt x="27563" y="21031"/>
                  <a:pt x="27594" y="21062"/>
                  <a:pt x="27656" y="21093"/>
                </a:cubicBezTo>
                <a:cubicBezTo>
                  <a:pt x="27625" y="21124"/>
                  <a:pt x="27594" y="21093"/>
                  <a:pt x="27594" y="21093"/>
                </a:cubicBezTo>
                <a:cubicBezTo>
                  <a:pt x="27563" y="21124"/>
                  <a:pt x="27594" y="21156"/>
                  <a:pt x="27625" y="21156"/>
                </a:cubicBezTo>
                <a:cubicBezTo>
                  <a:pt x="27656" y="21156"/>
                  <a:pt x="27625" y="21249"/>
                  <a:pt x="27688" y="21249"/>
                </a:cubicBezTo>
                <a:cubicBezTo>
                  <a:pt x="27688" y="21249"/>
                  <a:pt x="27688" y="21249"/>
                  <a:pt x="27688" y="21281"/>
                </a:cubicBezTo>
                <a:cubicBezTo>
                  <a:pt x="27656" y="21343"/>
                  <a:pt x="27438" y="21312"/>
                  <a:pt x="27406" y="21249"/>
                </a:cubicBezTo>
                <a:cubicBezTo>
                  <a:pt x="27406" y="21249"/>
                  <a:pt x="27375" y="21249"/>
                  <a:pt x="27406" y="21218"/>
                </a:cubicBezTo>
                <a:cubicBezTo>
                  <a:pt x="27406" y="21156"/>
                  <a:pt x="27406" y="21187"/>
                  <a:pt x="27344" y="21156"/>
                </a:cubicBezTo>
                <a:cubicBezTo>
                  <a:pt x="27281" y="21156"/>
                  <a:pt x="27219" y="21156"/>
                  <a:pt x="27156" y="21156"/>
                </a:cubicBezTo>
                <a:cubicBezTo>
                  <a:pt x="27094" y="21187"/>
                  <a:pt x="27031" y="21093"/>
                  <a:pt x="26938" y="21124"/>
                </a:cubicBezTo>
                <a:cubicBezTo>
                  <a:pt x="26906" y="21156"/>
                  <a:pt x="26938" y="21156"/>
                  <a:pt x="26938" y="21156"/>
                </a:cubicBezTo>
                <a:cubicBezTo>
                  <a:pt x="26938" y="21156"/>
                  <a:pt x="26906" y="21156"/>
                  <a:pt x="26938" y="21124"/>
                </a:cubicBezTo>
                <a:cubicBezTo>
                  <a:pt x="26938" y="21093"/>
                  <a:pt x="26938" y="21062"/>
                  <a:pt x="26875" y="21062"/>
                </a:cubicBezTo>
                <a:cubicBezTo>
                  <a:pt x="26781" y="21062"/>
                  <a:pt x="26688" y="20999"/>
                  <a:pt x="26563" y="20937"/>
                </a:cubicBezTo>
                <a:close/>
                <a:moveTo>
                  <a:pt x="26313" y="21093"/>
                </a:moveTo>
                <a:cubicBezTo>
                  <a:pt x="26375" y="21156"/>
                  <a:pt x="26469" y="21156"/>
                  <a:pt x="26469" y="21249"/>
                </a:cubicBezTo>
                <a:cubicBezTo>
                  <a:pt x="26406" y="21218"/>
                  <a:pt x="26375" y="21156"/>
                  <a:pt x="26313" y="21093"/>
                </a:cubicBezTo>
                <a:close/>
                <a:moveTo>
                  <a:pt x="26469" y="21374"/>
                </a:moveTo>
                <a:cubicBezTo>
                  <a:pt x="26469" y="21374"/>
                  <a:pt x="26469" y="21374"/>
                  <a:pt x="26438" y="21374"/>
                </a:cubicBezTo>
                <a:cubicBezTo>
                  <a:pt x="26438" y="21374"/>
                  <a:pt x="26438" y="21374"/>
                  <a:pt x="26438" y="21374"/>
                </a:cubicBezTo>
                <a:cubicBezTo>
                  <a:pt x="26469" y="21374"/>
                  <a:pt x="26469" y="21374"/>
                  <a:pt x="26469" y="21374"/>
                </a:cubicBezTo>
                <a:close/>
                <a:moveTo>
                  <a:pt x="25500" y="20499"/>
                </a:moveTo>
                <a:cubicBezTo>
                  <a:pt x="25563" y="20562"/>
                  <a:pt x="25625" y="20624"/>
                  <a:pt x="25688" y="20656"/>
                </a:cubicBezTo>
                <a:cubicBezTo>
                  <a:pt x="25688" y="20656"/>
                  <a:pt x="25719" y="20687"/>
                  <a:pt x="25719" y="20687"/>
                </a:cubicBezTo>
                <a:cubicBezTo>
                  <a:pt x="25688" y="20687"/>
                  <a:pt x="25656" y="20687"/>
                  <a:pt x="25656" y="20718"/>
                </a:cubicBezTo>
                <a:cubicBezTo>
                  <a:pt x="25656" y="20812"/>
                  <a:pt x="25594" y="20718"/>
                  <a:pt x="25594" y="20718"/>
                </a:cubicBezTo>
                <a:cubicBezTo>
                  <a:pt x="25563" y="20687"/>
                  <a:pt x="25531" y="20687"/>
                  <a:pt x="25531" y="20687"/>
                </a:cubicBezTo>
                <a:cubicBezTo>
                  <a:pt x="25531" y="20656"/>
                  <a:pt x="25500" y="20656"/>
                  <a:pt x="25469" y="20656"/>
                </a:cubicBezTo>
                <a:cubicBezTo>
                  <a:pt x="25406" y="20624"/>
                  <a:pt x="25375" y="20562"/>
                  <a:pt x="25438" y="20499"/>
                </a:cubicBezTo>
                <a:cubicBezTo>
                  <a:pt x="25438" y="20499"/>
                  <a:pt x="25406" y="20499"/>
                  <a:pt x="25406" y="20499"/>
                </a:cubicBezTo>
                <a:cubicBezTo>
                  <a:pt x="25406" y="20499"/>
                  <a:pt x="25406" y="20499"/>
                  <a:pt x="25406" y="20499"/>
                </a:cubicBezTo>
                <a:cubicBezTo>
                  <a:pt x="25406" y="20499"/>
                  <a:pt x="25375" y="20499"/>
                  <a:pt x="25375" y="20468"/>
                </a:cubicBezTo>
                <a:cubicBezTo>
                  <a:pt x="25375" y="20499"/>
                  <a:pt x="25406" y="20499"/>
                  <a:pt x="25406" y="20499"/>
                </a:cubicBezTo>
                <a:cubicBezTo>
                  <a:pt x="25406" y="20468"/>
                  <a:pt x="25406" y="20468"/>
                  <a:pt x="25406" y="20437"/>
                </a:cubicBezTo>
                <a:cubicBezTo>
                  <a:pt x="25469" y="20437"/>
                  <a:pt x="25469" y="20437"/>
                  <a:pt x="25406" y="20343"/>
                </a:cubicBezTo>
                <a:cubicBezTo>
                  <a:pt x="25531" y="20437"/>
                  <a:pt x="25656" y="20499"/>
                  <a:pt x="25750" y="20624"/>
                </a:cubicBezTo>
                <a:cubicBezTo>
                  <a:pt x="25813" y="20656"/>
                  <a:pt x="25875" y="20687"/>
                  <a:pt x="25906" y="20749"/>
                </a:cubicBezTo>
                <a:cubicBezTo>
                  <a:pt x="25844" y="20718"/>
                  <a:pt x="25781" y="20687"/>
                  <a:pt x="25750" y="20624"/>
                </a:cubicBezTo>
                <a:cubicBezTo>
                  <a:pt x="25750" y="20624"/>
                  <a:pt x="25719" y="20624"/>
                  <a:pt x="25719" y="20624"/>
                </a:cubicBezTo>
                <a:cubicBezTo>
                  <a:pt x="25719" y="20624"/>
                  <a:pt x="25719" y="20624"/>
                  <a:pt x="25719" y="20624"/>
                </a:cubicBezTo>
                <a:cubicBezTo>
                  <a:pt x="25656" y="20562"/>
                  <a:pt x="25594" y="20499"/>
                  <a:pt x="25531" y="20468"/>
                </a:cubicBezTo>
                <a:cubicBezTo>
                  <a:pt x="25531" y="20468"/>
                  <a:pt x="25531" y="20468"/>
                  <a:pt x="25531" y="20499"/>
                </a:cubicBezTo>
                <a:cubicBezTo>
                  <a:pt x="25500" y="20499"/>
                  <a:pt x="25500" y="20468"/>
                  <a:pt x="25500" y="20468"/>
                </a:cubicBezTo>
                <a:cubicBezTo>
                  <a:pt x="25500" y="20499"/>
                  <a:pt x="25500" y="20499"/>
                  <a:pt x="25500" y="20499"/>
                </a:cubicBezTo>
                <a:close/>
                <a:moveTo>
                  <a:pt x="25344" y="20406"/>
                </a:moveTo>
                <a:cubicBezTo>
                  <a:pt x="25375" y="20406"/>
                  <a:pt x="25406" y="20406"/>
                  <a:pt x="25406" y="20437"/>
                </a:cubicBezTo>
                <a:cubicBezTo>
                  <a:pt x="25375" y="20437"/>
                  <a:pt x="25344" y="20437"/>
                  <a:pt x="25344" y="20406"/>
                </a:cubicBezTo>
                <a:close/>
                <a:moveTo>
                  <a:pt x="25875" y="20656"/>
                </a:moveTo>
                <a:cubicBezTo>
                  <a:pt x="25875" y="20656"/>
                  <a:pt x="25875" y="20624"/>
                  <a:pt x="25875" y="20624"/>
                </a:cubicBezTo>
                <a:cubicBezTo>
                  <a:pt x="25938" y="20624"/>
                  <a:pt x="26000" y="20624"/>
                  <a:pt x="26031" y="20656"/>
                </a:cubicBezTo>
                <a:cubicBezTo>
                  <a:pt x="26094" y="20687"/>
                  <a:pt x="26125" y="20687"/>
                  <a:pt x="26188" y="20687"/>
                </a:cubicBezTo>
                <a:cubicBezTo>
                  <a:pt x="26281" y="20656"/>
                  <a:pt x="26375" y="20718"/>
                  <a:pt x="26469" y="20718"/>
                </a:cubicBezTo>
                <a:cubicBezTo>
                  <a:pt x="26469" y="20718"/>
                  <a:pt x="26500" y="20749"/>
                  <a:pt x="26531" y="20749"/>
                </a:cubicBezTo>
                <a:cubicBezTo>
                  <a:pt x="26531" y="20718"/>
                  <a:pt x="26563" y="20749"/>
                  <a:pt x="26563" y="20749"/>
                </a:cubicBezTo>
                <a:cubicBezTo>
                  <a:pt x="26563" y="20749"/>
                  <a:pt x="26531" y="20781"/>
                  <a:pt x="26531" y="20781"/>
                </a:cubicBezTo>
                <a:cubicBezTo>
                  <a:pt x="26500" y="20781"/>
                  <a:pt x="26438" y="20812"/>
                  <a:pt x="26406" y="20781"/>
                </a:cubicBezTo>
                <a:cubicBezTo>
                  <a:pt x="26344" y="20749"/>
                  <a:pt x="26281" y="20749"/>
                  <a:pt x="26250" y="20781"/>
                </a:cubicBezTo>
                <a:cubicBezTo>
                  <a:pt x="26188" y="20812"/>
                  <a:pt x="26156" y="20749"/>
                  <a:pt x="26125" y="20749"/>
                </a:cubicBezTo>
                <a:cubicBezTo>
                  <a:pt x="26000" y="20781"/>
                  <a:pt x="25938" y="20718"/>
                  <a:pt x="25875" y="20656"/>
                </a:cubicBezTo>
                <a:close/>
                <a:moveTo>
                  <a:pt x="26219" y="20812"/>
                </a:moveTo>
                <a:cubicBezTo>
                  <a:pt x="26344" y="20812"/>
                  <a:pt x="26281" y="20937"/>
                  <a:pt x="26344" y="20937"/>
                </a:cubicBezTo>
                <a:cubicBezTo>
                  <a:pt x="26313" y="20968"/>
                  <a:pt x="26313" y="20999"/>
                  <a:pt x="26250" y="20968"/>
                </a:cubicBezTo>
                <a:cubicBezTo>
                  <a:pt x="26188" y="20906"/>
                  <a:pt x="26125" y="20874"/>
                  <a:pt x="26063" y="20812"/>
                </a:cubicBezTo>
                <a:cubicBezTo>
                  <a:pt x="26125" y="20812"/>
                  <a:pt x="26188" y="20812"/>
                  <a:pt x="26219" y="20812"/>
                </a:cubicBezTo>
                <a:close/>
                <a:moveTo>
                  <a:pt x="26625" y="20781"/>
                </a:moveTo>
                <a:cubicBezTo>
                  <a:pt x="26656" y="20781"/>
                  <a:pt x="26688" y="20781"/>
                  <a:pt x="26688" y="20812"/>
                </a:cubicBezTo>
                <a:cubicBezTo>
                  <a:pt x="26688" y="20812"/>
                  <a:pt x="26688" y="20843"/>
                  <a:pt x="26688" y="20843"/>
                </a:cubicBezTo>
                <a:cubicBezTo>
                  <a:pt x="26656" y="20843"/>
                  <a:pt x="26625" y="20812"/>
                  <a:pt x="26625" y="20781"/>
                </a:cubicBezTo>
                <a:close/>
                <a:moveTo>
                  <a:pt x="26719" y="20812"/>
                </a:moveTo>
                <a:cubicBezTo>
                  <a:pt x="26719" y="20781"/>
                  <a:pt x="26750" y="20781"/>
                  <a:pt x="26781" y="20781"/>
                </a:cubicBezTo>
                <a:cubicBezTo>
                  <a:pt x="26781" y="20781"/>
                  <a:pt x="26813" y="20781"/>
                  <a:pt x="26813" y="20812"/>
                </a:cubicBezTo>
                <a:cubicBezTo>
                  <a:pt x="26813" y="20843"/>
                  <a:pt x="26781" y="20843"/>
                  <a:pt x="26781" y="20843"/>
                </a:cubicBezTo>
                <a:cubicBezTo>
                  <a:pt x="26750" y="20843"/>
                  <a:pt x="26719" y="20843"/>
                  <a:pt x="26719" y="20812"/>
                </a:cubicBezTo>
                <a:close/>
                <a:moveTo>
                  <a:pt x="27813" y="21624"/>
                </a:moveTo>
                <a:cubicBezTo>
                  <a:pt x="27813" y="21624"/>
                  <a:pt x="27813" y="21593"/>
                  <a:pt x="27813" y="21593"/>
                </a:cubicBezTo>
                <a:cubicBezTo>
                  <a:pt x="27813" y="21593"/>
                  <a:pt x="27813" y="21593"/>
                  <a:pt x="27813" y="21593"/>
                </a:cubicBezTo>
                <a:cubicBezTo>
                  <a:pt x="27813" y="21593"/>
                  <a:pt x="27813" y="21593"/>
                  <a:pt x="27813" y="21593"/>
                </a:cubicBezTo>
                <a:cubicBezTo>
                  <a:pt x="27844" y="21593"/>
                  <a:pt x="27844" y="21593"/>
                  <a:pt x="27844" y="21593"/>
                </a:cubicBezTo>
                <a:cubicBezTo>
                  <a:pt x="27844" y="21593"/>
                  <a:pt x="27844" y="21593"/>
                  <a:pt x="27844" y="21593"/>
                </a:cubicBezTo>
                <a:cubicBezTo>
                  <a:pt x="27844" y="21593"/>
                  <a:pt x="27844" y="21624"/>
                  <a:pt x="27844" y="21624"/>
                </a:cubicBezTo>
                <a:cubicBezTo>
                  <a:pt x="27844" y="21624"/>
                  <a:pt x="27844" y="21624"/>
                  <a:pt x="27844" y="21624"/>
                </a:cubicBezTo>
                <a:cubicBezTo>
                  <a:pt x="27844" y="21624"/>
                  <a:pt x="27844" y="21624"/>
                  <a:pt x="27844" y="21624"/>
                </a:cubicBezTo>
                <a:cubicBezTo>
                  <a:pt x="27844" y="21624"/>
                  <a:pt x="27844" y="21687"/>
                  <a:pt x="27813" y="21656"/>
                </a:cubicBezTo>
                <a:cubicBezTo>
                  <a:pt x="27781" y="21624"/>
                  <a:pt x="27781" y="21624"/>
                  <a:pt x="27750" y="21624"/>
                </a:cubicBezTo>
                <a:cubicBezTo>
                  <a:pt x="27719" y="21656"/>
                  <a:pt x="27688" y="21624"/>
                  <a:pt x="27688" y="21624"/>
                </a:cubicBezTo>
                <a:cubicBezTo>
                  <a:pt x="27688" y="21593"/>
                  <a:pt x="27719" y="21593"/>
                  <a:pt x="27750" y="21593"/>
                </a:cubicBezTo>
                <a:cubicBezTo>
                  <a:pt x="27750" y="21624"/>
                  <a:pt x="27781" y="21624"/>
                  <a:pt x="27813" y="21624"/>
                </a:cubicBezTo>
                <a:close/>
                <a:moveTo>
                  <a:pt x="27688" y="21749"/>
                </a:moveTo>
                <a:cubicBezTo>
                  <a:pt x="27688" y="21781"/>
                  <a:pt x="27656" y="21749"/>
                  <a:pt x="27625" y="21749"/>
                </a:cubicBezTo>
                <a:cubicBezTo>
                  <a:pt x="27594" y="21749"/>
                  <a:pt x="27563" y="21718"/>
                  <a:pt x="27531" y="21718"/>
                </a:cubicBezTo>
                <a:cubicBezTo>
                  <a:pt x="27500" y="21687"/>
                  <a:pt x="27500" y="21656"/>
                  <a:pt x="27531" y="21624"/>
                </a:cubicBezTo>
                <a:cubicBezTo>
                  <a:pt x="27594" y="21656"/>
                  <a:pt x="27625" y="21718"/>
                  <a:pt x="27656" y="21718"/>
                </a:cubicBezTo>
                <a:cubicBezTo>
                  <a:pt x="27688" y="21718"/>
                  <a:pt x="27688" y="21718"/>
                  <a:pt x="27688" y="21749"/>
                </a:cubicBezTo>
                <a:close/>
                <a:moveTo>
                  <a:pt x="26906" y="21593"/>
                </a:moveTo>
                <a:cubicBezTo>
                  <a:pt x="26875" y="21593"/>
                  <a:pt x="26844" y="21593"/>
                  <a:pt x="26844" y="21562"/>
                </a:cubicBezTo>
                <a:cubicBezTo>
                  <a:pt x="26875" y="21562"/>
                  <a:pt x="26906" y="21562"/>
                  <a:pt x="26906" y="21593"/>
                </a:cubicBezTo>
                <a:close/>
                <a:moveTo>
                  <a:pt x="28125" y="21562"/>
                </a:moveTo>
                <a:cubicBezTo>
                  <a:pt x="28125" y="21562"/>
                  <a:pt x="28125" y="21562"/>
                  <a:pt x="28125" y="21593"/>
                </a:cubicBezTo>
                <a:cubicBezTo>
                  <a:pt x="28125" y="21593"/>
                  <a:pt x="28156" y="21593"/>
                  <a:pt x="28156" y="21593"/>
                </a:cubicBezTo>
                <a:cubicBezTo>
                  <a:pt x="28156" y="21593"/>
                  <a:pt x="28156" y="21593"/>
                  <a:pt x="28188" y="21593"/>
                </a:cubicBezTo>
                <a:cubicBezTo>
                  <a:pt x="28156" y="21593"/>
                  <a:pt x="28156" y="21593"/>
                  <a:pt x="28156" y="21593"/>
                </a:cubicBezTo>
                <a:cubicBezTo>
                  <a:pt x="28094" y="21593"/>
                  <a:pt x="28031" y="21624"/>
                  <a:pt x="28000" y="21562"/>
                </a:cubicBezTo>
                <a:cubicBezTo>
                  <a:pt x="28031" y="21499"/>
                  <a:pt x="28063" y="21531"/>
                  <a:pt x="28094" y="21562"/>
                </a:cubicBezTo>
                <a:cubicBezTo>
                  <a:pt x="28094" y="21562"/>
                  <a:pt x="28125" y="21593"/>
                  <a:pt x="28125" y="21593"/>
                </a:cubicBezTo>
                <a:cubicBezTo>
                  <a:pt x="28125" y="21562"/>
                  <a:pt x="28125" y="21562"/>
                  <a:pt x="28125" y="21562"/>
                </a:cubicBezTo>
                <a:close/>
                <a:moveTo>
                  <a:pt x="28031" y="21374"/>
                </a:moveTo>
                <a:cubicBezTo>
                  <a:pt x="28000" y="21343"/>
                  <a:pt x="28000" y="21343"/>
                  <a:pt x="28000" y="21312"/>
                </a:cubicBezTo>
                <a:cubicBezTo>
                  <a:pt x="28031" y="21281"/>
                  <a:pt x="28031" y="21218"/>
                  <a:pt x="27969" y="21249"/>
                </a:cubicBezTo>
                <a:cubicBezTo>
                  <a:pt x="27906" y="21249"/>
                  <a:pt x="27906" y="21187"/>
                  <a:pt x="27875" y="21156"/>
                </a:cubicBezTo>
                <a:cubicBezTo>
                  <a:pt x="27969" y="21156"/>
                  <a:pt x="28031" y="21156"/>
                  <a:pt x="28125" y="21156"/>
                </a:cubicBezTo>
                <a:cubicBezTo>
                  <a:pt x="28125" y="21187"/>
                  <a:pt x="28156" y="21187"/>
                  <a:pt x="28156" y="21218"/>
                </a:cubicBezTo>
                <a:cubicBezTo>
                  <a:pt x="28156" y="21343"/>
                  <a:pt x="28125" y="21374"/>
                  <a:pt x="28031" y="21374"/>
                </a:cubicBezTo>
                <a:close/>
                <a:moveTo>
                  <a:pt x="27938" y="21843"/>
                </a:moveTo>
                <a:cubicBezTo>
                  <a:pt x="27938" y="21874"/>
                  <a:pt x="28000" y="21843"/>
                  <a:pt x="28000" y="21874"/>
                </a:cubicBezTo>
                <a:cubicBezTo>
                  <a:pt x="28063" y="21906"/>
                  <a:pt x="28063" y="21937"/>
                  <a:pt x="28063" y="21968"/>
                </a:cubicBezTo>
                <a:cubicBezTo>
                  <a:pt x="28031" y="21999"/>
                  <a:pt x="28000" y="21968"/>
                  <a:pt x="28000" y="21937"/>
                </a:cubicBezTo>
                <a:cubicBezTo>
                  <a:pt x="27969" y="21906"/>
                  <a:pt x="27938" y="21906"/>
                  <a:pt x="27938" y="21906"/>
                </a:cubicBezTo>
                <a:cubicBezTo>
                  <a:pt x="27906" y="21906"/>
                  <a:pt x="27875" y="21874"/>
                  <a:pt x="27875" y="21874"/>
                </a:cubicBezTo>
                <a:cubicBezTo>
                  <a:pt x="27875" y="21843"/>
                  <a:pt x="27906" y="21843"/>
                  <a:pt x="27938" y="21843"/>
                </a:cubicBezTo>
                <a:close/>
                <a:moveTo>
                  <a:pt x="26938" y="19749"/>
                </a:moveTo>
                <a:cubicBezTo>
                  <a:pt x="27000" y="19781"/>
                  <a:pt x="27063" y="19812"/>
                  <a:pt x="27094" y="19874"/>
                </a:cubicBezTo>
                <a:cubicBezTo>
                  <a:pt x="27063" y="19874"/>
                  <a:pt x="27000" y="19843"/>
                  <a:pt x="26969" y="19843"/>
                </a:cubicBezTo>
                <a:cubicBezTo>
                  <a:pt x="26938" y="19843"/>
                  <a:pt x="26906" y="19812"/>
                  <a:pt x="26875" y="19781"/>
                </a:cubicBezTo>
                <a:cubicBezTo>
                  <a:pt x="26875" y="19781"/>
                  <a:pt x="26875" y="19781"/>
                  <a:pt x="26875" y="19781"/>
                </a:cubicBezTo>
                <a:cubicBezTo>
                  <a:pt x="26906" y="19749"/>
                  <a:pt x="26938" y="19749"/>
                  <a:pt x="26938" y="19749"/>
                </a:cubicBezTo>
                <a:close/>
                <a:moveTo>
                  <a:pt x="26469" y="19218"/>
                </a:moveTo>
                <a:cubicBezTo>
                  <a:pt x="26469" y="19218"/>
                  <a:pt x="26469" y="19218"/>
                  <a:pt x="26469" y="19218"/>
                </a:cubicBezTo>
                <a:cubicBezTo>
                  <a:pt x="26500" y="19218"/>
                  <a:pt x="26500" y="19218"/>
                  <a:pt x="26531" y="19218"/>
                </a:cubicBezTo>
                <a:cubicBezTo>
                  <a:pt x="26531" y="19218"/>
                  <a:pt x="26531" y="19218"/>
                  <a:pt x="26531" y="19218"/>
                </a:cubicBezTo>
                <a:cubicBezTo>
                  <a:pt x="26594" y="19312"/>
                  <a:pt x="26656" y="19406"/>
                  <a:pt x="26781" y="19437"/>
                </a:cubicBezTo>
                <a:cubicBezTo>
                  <a:pt x="26813" y="19437"/>
                  <a:pt x="26813" y="19468"/>
                  <a:pt x="26844" y="19499"/>
                </a:cubicBezTo>
                <a:cubicBezTo>
                  <a:pt x="26875" y="19499"/>
                  <a:pt x="26906" y="19499"/>
                  <a:pt x="26906" y="19562"/>
                </a:cubicBezTo>
                <a:cubicBezTo>
                  <a:pt x="26875" y="19593"/>
                  <a:pt x="26844" y="19593"/>
                  <a:pt x="26813" y="19593"/>
                </a:cubicBezTo>
                <a:cubicBezTo>
                  <a:pt x="26813" y="19593"/>
                  <a:pt x="26781" y="19624"/>
                  <a:pt x="26781" y="19656"/>
                </a:cubicBezTo>
                <a:cubicBezTo>
                  <a:pt x="26781" y="19624"/>
                  <a:pt x="26813" y="19593"/>
                  <a:pt x="26813" y="19593"/>
                </a:cubicBezTo>
                <a:cubicBezTo>
                  <a:pt x="26813" y="19593"/>
                  <a:pt x="26813" y="19593"/>
                  <a:pt x="26781" y="19562"/>
                </a:cubicBezTo>
                <a:cubicBezTo>
                  <a:pt x="26781" y="19593"/>
                  <a:pt x="26781" y="19593"/>
                  <a:pt x="26781" y="19593"/>
                </a:cubicBezTo>
                <a:cubicBezTo>
                  <a:pt x="26781" y="19593"/>
                  <a:pt x="26781" y="19593"/>
                  <a:pt x="26781" y="19562"/>
                </a:cubicBezTo>
                <a:cubicBezTo>
                  <a:pt x="26750" y="19468"/>
                  <a:pt x="26656" y="19437"/>
                  <a:pt x="26563" y="19406"/>
                </a:cubicBezTo>
                <a:cubicBezTo>
                  <a:pt x="26531" y="19343"/>
                  <a:pt x="26469" y="19312"/>
                  <a:pt x="26469" y="19218"/>
                </a:cubicBezTo>
                <a:cubicBezTo>
                  <a:pt x="26469" y="19218"/>
                  <a:pt x="26469" y="19218"/>
                  <a:pt x="26469" y="19218"/>
                </a:cubicBezTo>
                <a:close/>
                <a:moveTo>
                  <a:pt x="26688" y="20156"/>
                </a:moveTo>
                <a:cubicBezTo>
                  <a:pt x="26719" y="20187"/>
                  <a:pt x="26688" y="20187"/>
                  <a:pt x="26656" y="20187"/>
                </a:cubicBezTo>
                <a:cubicBezTo>
                  <a:pt x="26594" y="20187"/>
                  <a:pt x="26563" y="20156"/>
                  <a:pt x="26500" y="20156"/>
                </a:cubicBezTo>
                <a:cubicBezTo>
                  <a:pt x="26500" y="20156"/>
                  <a:pt x="26500" y="20156"/>
                  <a:pt x="26500" y="20156"/>
                </a:cubicBezTo>
                <a:cubicBezTo>
                  <a:pt x="26469" y="20124"/>
                  <a:pt x="26469" y="20093"/>
                  <a:pt x="26531" y="20093"/>
                </a:cubicBezTo>
                <a:cubicBezTo>
                  <a:pt x="26594" y="20062"/>
                  <a:pt x="26688" y="19999"/>
                  <a:pt x="26750" y="20031"/>
                </a:cubicBezTo>
                <a:cubicBezTo>
                  <a:pt x="26781" y="20062"/>
                  <a:pt x="26813" y="20062"/>
                  <a:pt x="26813" y="20093"/>
                </a:cubicBezTo>
                <a:cubicBezTo>
                  <a:pt x="26813" y="20156"/>
                  <a:pt x="26813" y="20187"/>
                  <a:pt x="26750" y="20124"/>
                </a:cubicBezTo>
                <a:cubicBezTo>
                  <a:pt x="26719" y="20093"/>
                  <a:pt x="26719" y="20093"/>
                  <a:pt x="26688" y="20093"/>
                </a:cubicBezTo>
                <a:cubicBezTo>
                  <a:pt x="26656" y="20124"/>
                  <a:pt x="26656" y="20124"/>
                  <a:pt x="26688" y="20156"/>
                </a:cubicBezTo>
                <a:close/>
                <a:moveTo>
                  <a:pt x="26531" y="19437"/>
                </a:moveTo>
                <a:cubicBezTo>
                  <a:pt x="26531" y="19437"/>
                  <a:pt x="26531" y="19437"/>
                  <a:pt x="26563" y="19437"/>
                </a:cubicBezTo>
                <a:cubicBezTo>
                  <a:pt x="26563" y="19437"/>
                  <a:pt x="26563" y="19437"/>
                  <a:pt x="26563" y="19437"/>
                </a:cubicBezTo>
                <a:cubicBezTo>
                  <a:pt x="26563" y="19437"/>
                  <a:pt x="26563" y="19437"/>
                  <a:pt x="26563" y="19437"/>
                </a:cubicBezTo>
                <a:cubicBezTo>
                  <a:pt x="26531" y="19437"/>
                  <a:pt x="26531" y="19437"/>
                  <a:pt x="26531" y="19437"/>
                </a:cubicBezTo>
                <a:cubicBezTo>
                  <a:pt x="26563" y="19499"/>
                  <a:pt x="26625" y="19531"/>
                  <a:pt x="26656" y="19562"/>
                </a:cubicBezTo>
                <a:cubicBezTo>
                  <a:pt x="26625" y="19531"/>
                  <a:pt x="26563" y="19499"/>
                  <a:pt x="26531" y="19437"/>
                </a:cubicBezTo>
                <a:cubicBezTo>
                  <a:pt x="26500" y="19437"/>
                  <a:pt x="26469" y="19406"/>
                  <a:pt x="26469" y="19406"/>
                </a:cubicBezTo>
                <a:cubicBezTo>
                  <a:pt x="26469" y="19406"/>
                  <a:pt x="26500" y="19437"/>
                  <a:pt x="26531" y="19437"/>
                </a:cubicBezTo>
                <a:close/>
                <a:moveTo>
                  <a:pt x="25531" y="19124"/>
                </a:moveTo>
                <a:cubicBezTo>
                  <a:pt x="25563" y="19156"/>
                  <a:pt x="25594" y="19312"/>
                  <a:pt x="25563" y="19343"/>
                </a:cubicBezTo>
                <a:cubicBezTo>
                  <a:pt x="25563" y="19374"/>
                  <a:pt x="25531" y="19343"/>
                  <a:pt x="25531" y="19343"/>
                </a:cubicBezTo>
                <a:cubicBezTo>
                  <a:pt x="25531" y="19249"/>
                  <a:pt x="25500" y="19187"/>
                  <a:pt x="25531" y="19124"/>
                </a:cubicBezTo>
                <a:close/>
                <a:moveTo>
                  <a:pt x="25531" y="18999"/>
                </a:moveTo>
                <a:cubicBezTo>
                  <a:pt x="25500" y="18968"/>
                  <a:pt x="25531" y="18937"/>
                  <a:pt x="25500" y="18937"/>
                </a:cubicBezTo>
                <a:cubicBezTo>
                  <a:pt x="25500" y="18937"/>
                  <a:pt x="25500" y="18937"/>
                  <a:pt x="25500" y="18937"/>
                </a:cubicBezTo>
                <a:cubicBezTo>
                  <a:pt x="25500" y="18874"/>
                  <a:pt x="25469" y="18843"/>
                  <a:pt x="25500" y="18781"/>
                </a:cubicBezTo>
                <a:cubicBezTo>
                  <a:pt x="25500" y="18749"/>
                  <a:pt x="25500" y="18718"/>
                  <a:pt x="25469" y="18718"/>
                </a:cubicBezTo>
                <a:cubicBezTo>
                  <a:pt x="25469" y="18718"/>
                  <a:pt x="25469" y="18687"/>
                  <a:pt x="25469" y="18687"/>
                </a:cubicBezTo>
                <a:cubicBezTo>
                  <a:pt x="25469" y="18718"/>
                  <a:pt x="25500" y="18687"/>
                  <a:pt x="25531" y="18718"/>
                </a:cubicBezTo>
                <a:cubicBezTo>
                  <a:pt x="25469" y="18812"/>
                  <a:pt x="25563" y="18906"/>
                  <a:pt x="25531" y="18999"/>
                </a:cubicBezTo>
                <a:close/>
                <a:moveTo>
                  <a:pt x="25500" y="18624"/>
                </a:moveTo>
                <a:cubicBezTo>
                  <a:pt x="25469" y="18656"/>
                  <a:pt x="25438" y="18624"/>
                  <a:pt x="25406" y="18656"/>
                </a:cubicBezTo>
                <a:cubicBezTo>
                  <a:pt x="25406" y="18656"/>
                  <a:pt x="25375" y="18656"/>
                  <a:pt x="25344" y="18624"/>
                </a:cubicBezTo>
                <a:cubicBezTo>
                  <a:pt x="25344" y="18593"/>
                  <a:pt x="25281" y="18593"/>
                  <a:pt x="25281" y="18531"/>
                </a:cubicBezTo>
                <a:cubicBezTo>
                  <a:pt x="25344" y="18593"/>
                  <a:pt x="25438" y="18562"/>
                  <a:pt x="25500" y="18624"/>
                </a:cubicBezTo>
                <a:close/>
                <a:moveTo>
                  <a:pt x="25281" y="18531"/>
                </a:moveTo>
                <a:cubicBezTo>
                  <a:pt x="25281" y="18531"/>
                  <a:pt x="25250" y="18531"/>
                  <a:pt x="25250" y="18531"/>
                </a:cubicBezTo>
                <a:cubicBezTo>
                  <a:pt x="25250" y="18531"/>
                  <a:pt x="25281" y="18531"/>
                  <a:pt x="25281" y="18531"/>
                </a:cubicBezTo>
                <a:close/>
                <a:moveTo>
                  <a:pt x="25313" y="18968"/>
                </a:moveTo>
                <a:cubicBezTo>
                  <a:pt x="25281" y="18968"/>
                  <a:pt x="25281" y="18968"/>
                  <a:pt x="25250" y="18968"/>
                </a:cubicBezTo>
                <a:cubicBezTo>
                  <a:pt x="25281" y="18968"/>
                  <a:pt x="25281" y="18968"/>
                  <a:pt x="25313" y="18968"/>
                </a:cubicBezTo>
                <a:close/>
                <a:moveTo>
                  <a:pt x="25094" y="18531"/>
                </a:moveTo>
                <a:cubicBezTo>
                  <a:pt x="25156" y="18499"/>
                  <a:pt x="25188" y="18531"/>
                  <a:pt x="25188" y="18593"/>
                </a:cubicBezTo>
                <a:cubicBezTo>
                  <a:pt x="25188" y="18593"/>
                  <a:pt x="25156" y="18593"/>
                  <a:pt x="25156" y="18593"/>
                </a:cubicBezTo>
                <a:cubicBezTo>
                  <a:pt x="25156" y="18593"/>
                  <a:pt x="25156" y="18593"/>
                  <a:pt x="25156" y="18593"/>
                </a:cubicBezTo>
                <a:cubicBezTo>
                  <a:pt x="25156" y="18593"/>
                  <a:pt x="25156" y="18593"/>
                  <a:pt x="25156" y="18593"/>
                </a:cubicBezTo>
                <a:cubicBezTo>
                  <a:pt x="25125" y="18593"/>
                  <a:pt x="25125" y="18593"/>
                  <a:pt x="25125" y="18593"/>
                </a:cubicBezTo>
                <a:cubicBezTo>
                  <a:pt x="25125" y="18562"/>
                  <a:pt x="25063" y="18531"/>
                  <a:pt x="25094" y="18531"/>
                </a:cubicBezTo>
                <a:close/>
                <a:moveTo>
                  <a:pt x="24875" y="18593"/>
                </a:moveTo>
                <a:cubicBezTo>
                  <a:pt x="24906" y="18593"/>
                  <a:pt x="24938" y="18593"/>
                  <a:pt x="24969" y="18624"/>
                </a:cubicBezTo>
                <a:cubicBezTo>
                  <a:pt x="24969" y="18656"/>
                  <a:pt x="24938" y="18656"/>
                  <a:pt x="24906" y="18687"/>
                </a:cubicBezTo>
                <a:cubicBezTo>
                  <a:pt x="24906" y="18687"/>
                  <a:pt x="24906" y="18656"/>
                  <a:pt x="24906" y="18656"/>
                </a:cubicBezTo>
                <a:lnTo>
                  <a:pt x="24906" y="18656"/>
                </a:lnTo>
                <a:cubicBezTo>
                  <a:pt x="24906" y="18656"/>
                  <a:pt x="24875" y="18656"/>
                  <a:pt x="24875" y="18656"/>
                </a:cubicBezTo>
                <a:cubicBezTo>
                  <a:pt x="24875" y="18687"/>
                  <a:pt x="24906" y="18687"/>
                  <a:pt x="24906" y="18687"/>
                </a:cubicBezTo>
                <a:cubicBezTo>
                  <a:pt x="24906" y="18687"/>
                  <a:pt x="24906" y="18718"/>
                  <a:pt x="24875" y="18718"/>
                </a:cubicBezTo>
                <a:cubicBezTo>
                  <a:pt x="24844" y="18687"/>
                  <a:pt x="24844" y="18656"/>
                  <a:pt x="24844" y="18624"/>
                </a:cubicBezTo>
                <a:cubicBezTo>
                  <a:pt x="24844" y="18593"/>
                  <a:pt x="24844" y="18593"/>
                  <a:pt x="24875" y="18593"/>
                </a:cubicBezTo>
                <a:close/>
                <a:moveTo>
                  <a:pt x="24906" y="18968"/>
                </a:moveTo>
                <a:cubicBezTo>
                  <a:pt x="24875" y="18968"/>
                  <a:pt x="24875" y="18968"/>
                  <a:pt x="24844" y="18968"/>
                </a:cubicBezTo>
                <a:cubicBezTo>
                  <a:pt x="24875" y="18968"/>
                  <a:pt x="24875" y="18968"/>
                  <a:pt x="24906" y="18968"/>
                </a:cubicBezTo>
                <a:close/>
                <a:moveTo>
                  <a:pt x="24656" y="18624"/>
                </a:moveTo>
                <a:cubicBezTo>
                  <a:pt x="24688" y="18624"/>
                  <a:pt x="24719" y="18624"/>
                  <a:pt x="24719" y="18624"/>
                </a:cubicBezTo>
                <a:cubicBezTo>
                  <a:pt x="24719" y="18624"/>
                  <a:pt x="24688" y="18624"/>
                  <a:pt x="24656" y="18624"/>
                </a:cubicBezTo>
                <a:cubicBezTo>
                  <a:pt x="24656" y="18656"/>
                  <a:pt x="24563" y="18624"/>
                  <a:pt x="24594" y="18687"/>
                </a:cubicBezTo>
                <a:cubicBezTo>
                  <a:pt x="24594" y="18656"/>
                  <a:pt x="24563" y="18624"/>
                  <a:pt x="24531" y="18593"/>
                </a:cubicBezTo>
                <a:cubicBezTo>
                  <a:pt x="24594" y="18562"/>
                  <a:pt x="24625" y="18562"/>
                  <a:pt x="24656" y="18624"/>
                </a:cubicBezTo>
                <a:close/>
                <a:moveTo>
                  <a:pt x="24625" y="18968"/>
                </a:moveTo>
                <a:cubicBezTo>
                  <a:pt x="24594" y="18968"/>
                  <a:pt x="24594" y="18968"/>
                  <a:pt x="24594" y="18968"/>
                </a:cubicBezTo>
                <a:cubicBezTo>
                  <a:pt x="24594" y="18968"/>
                  <a:pt x="24625" y="18968"/>
                  <a:pt x="24625" y="18968"/>
                </a:cubicBezTo>
                <a:close/>
                <a:moveTo>
                  <a:pt x="24219" y="18343"/>
                </a:moveTo>
                <a:cubicBezTo>
                  <a:pt x="24250" y="18312"/>
                  <a:pt x="24281" y="18312"/>
                  <a:pt x="24313" y="18343"/>
                </a:cubicBezTo>
                <a:cubicBezTo>
                  <a:pt x="24344" y="18343"/>
                  <a:pt x="24344" y="18343"/>
                  <a:pt x="24375" y="18374"/>
                </a:cubicBezTo>
                <a:cubicBezTo>
                  <a:pt x="24406" y="18374"/>
                  <a:pt x="24438" y="18374"/>
                  <a:pt x="24438" y="18406"/>
                </a:cubicBezTo>
                <a:cubicBezTo>
                  <a:pt x="24438" y="18437"/>
                  <a:pt x="24406" y="18437"/>
                  <a:pt x="24375" y="18437"/>
                </a:cubicBezTo>
                <a:cubicBezTo>
                  <a:pt x="24375" y="18437"/>
                  <a:pt x="24375" y="18468"/>
                  <a:pt x="24344" y="18468"/>
                </a:cubicBezTo>
                <a:cubicBezTo>
                  <a:pt x="24344" y="18468"/>
                  <a:pt x="24344" y="18468"/>
                  <a:pt x="24344" y="18468"/>
                </a:cubicBezTo>
                <a:cubicBezTo>
                  <a:pt x="24313" y="18531"/>
                  <a:pt x="24406" y="18531"/>
                  <a:pt x="24375" y="18593"/>
                </a:cubicBezTo>
                <a:cubicBezTo>
                  <a:pt x="24344" y="18593"/>
                  <a:pt x="24313" y="18562"/>
                  <a:pt x="24281" y="18531"/>
                </a:cubicBezTo>
                <a:cubicBezTo>
                  <a:pt x="24250" y="18531"/>
                  <a:pt x="24250" y="18499"/>
                  <a:pt x="24281" y="18499"/>
                </a:cubicBezTo>
                <a:cubicBezTo>
                  <a:pt x="24344" y="18468"/>
                  <a:pt x="24281" y="18468"/>
                  <a:pt x="24281" y="18437"/>
                </a:cubicBezTo>
                <a:cubicBezTo>
                  <a:pt x="24250" y="18437"/>
                  <a:pt x="24188" y="18406"/>
                  <a:pt x="24219" y="18343"/>
                </a:cubicBezTo>
                <a:close/>
                <a:moveTo>
                  <a:pt x="24313" y="18749"/>
                </a:moveTo>
                <a:cubicBezTo>
                  <a:pt x="24281" y="18718"/>
                  <a:pt x="24250" y="18687"/>
                  <a:pt x="24219" y="18687"/>
                </a:cubicBezTo>
                <a:cubicBezTo>
                  <a:pt x="24281" y="18593"/>
                  <a:pt x="24344" y="18718"/>
                  <a:pt x="24406" y="18718"/>
                </a:cubicBezTo>
                <a:cubicBezTo>
                  <a:pt x="24375" y="18749"/>
                  <a:pt x="24344" y="18781"/>
                  <a:pt x="24313" y="18749"/>
                </a:cubicBezTo>
                <a:close/>
                <a:moveTo>
                  <a:pt x="24375" y="18906"/>
                </a:moveTo>
                <a:cubicBezTo>
                  <a:pt x="24344" y="18906"/>
                  <a:pt x="24344" y="18874"/>
                  <a:pt x="24313" y="18874"/>
                </a:cubicBezTo>
                <a:cubicBezTo>
                  <a:pt x="24313" y="18874"/>
                  <a:pt x="24281" y="18843"/>
                  <a:pt x="24281" y="18843"/>
                </a:cubicBezTo>
                <a:cubicBezTo>
                  <a:pt x="24281" y="18843"/>
                  <a:pt x="24313" y="18874"/>
                  <a:pt x="24313" y="18874"/>
                </a:cubicBezTo>
                <a:cubicBezTo>
                  <a:pt x="24344" y="18874"/>
                  <a:pt x="24344" y="18906"/>
                  <a:pt x="24375" y="18906"/>
                </a:cubicBezTo>
                <a:close/>
                <a:moveTo>
                  <a:pt x="23906" y="18593"/>
                </a:moveTo>
                <a:cubicBezTo>
                  <a:pt x="23906" y="18593"/>
                  <a:pt x="23906" y="18593"/>
                  <a:pt x="23875" y="18624"/>
                </a:cubicBezTo>
                <a:cubicBezTo>
                  <a:pt x="23906" y="18624"/>
                  <a:pt x="23906" y="18624"/>
                  <a:pt x="23906" y="18656"/>
                </a:cubicBezTo>
                <a:cubicBezTo>
                  <a:pt x="23906" y="18656"/>
                  <a:pt x="23906" y="18656"/>
                  <a:pt x="23906" y="18656"/>
                </a:cubicBezTo>
                <a:cubicBezTo>
                  <a:pt x="23906" y="18656"/>
                  <a:pt x="23906" y="18656"/>
                  <a:pt x="23906" y="18656"/>
                </a:cubicBezTo>
                <a:cubicBezTo>
                  <a:pt x="23906" y="18656"/>
                  <a:pt x="23906" y="18656"/>
                  <a:pt x="23906" y="18656"/>
                </a:cubicBezTo>
                <a:cubicBezTo>
                  <a:pt x="23906" y="18624"/>
                  <a:pt x="23906" y="18624"/>
                  <a:pt x="23875" y="18624"/>
                </a:cubicBezTo>
                <a:cubicBezTo>
                  <a:pt x="23906" y="18593"/>
                  <a:pt x="23906" y="18593"/>
                  <a:pt x="23906" y="18593"/>
                </a:cubicBezTo>
                <a:close/>
                <a:moveTo>
                  <a:pt x="23906" y="18812"/>
                </a:moveTo>
                <a:cubicBezTo>
                  <a:pt x="23938" y="18812"/>
                  <a:pt x="23969" y="18874"/>
                  <a:pt x="24000" y="18874"/>
                </a:cubicBezTo>
                <a:cubicBezTo>
                  <a:pt x="24125" y="18906"/>
                  <a:pt x="24156" y="19031"/>
                  <a:pt x="24094" y="19124"/>
                </a:cubicBezTo>
                <a:cubicBezTo>
                  <a:pt x="24000" y="19062"/>
                  <a:pt x="23938" y="18999"/>
                  <a:pt x="23875" y="18937"/>
                </a:cubicBezTo>
                <a:cubicBezTo>
                  <a:pt x="23906" y="18906"/>
                  <a:pt x="23844" y="18843"/>
                  <a:pt x="23906" y="18812"/>
                </a:cubicBezTo>
                <a:close/>
                <a:moveTo>
                  <a:pt x="23750" y="18781"/>
                </a:moveTo>
                <a:cubicBezTo>
                  <a:pt x="23781" y="18781"/>
                  <a:pt x="23781" y="18812"/>
                  <a:pt x="23781" y="18843"/>
                </a:cubicBezTo>
                <a:cubicBezTo>
                  <a:pt x="23781" y="18812"/>
                  <a:pt x="23781" y="18781"/>
                  <a:pt x="23750" y="18781"/>
                </a:cubicBezTo>
                <a:cubicBezTo>
                  <a:pt x="23719" y="18781"/>
                  <a:pt x="23656" y="18749"/>
                  <a:pt x="23594" y="18718"/>
                </a:cubicBezTo>
                <a:cubicBezTo>
                  <a:pt x="23656" y="18656"/>
                  <a:pt x="23750" y="18687"/>
                  <a:pt x="23750" y="18781"/>
                </a:cubicBezTo>
                <a:close/>
                <a:moveTo>
                  <a:pt x="23750" y="18937"/>
                </a:moveTo>
                <a:cubicBezTo>
                  <a:pt x="23719" y="18937"/>
                  <a:pt x="23688" y="18937"/>
                  <a:pt x="23688" y="18906"/>
                </a:cubicBezTo>
                <a:cubicBezTo>
                  <a:pt x="23719" y="18906"/>
                  <a:pt x="23750" y="18906"/>
                  <a:pt x="23750" y="18937"/>
                </a:cubicBezTo>
                <a:close/>
                <a:moveTo>
                  <a:pt x="23656" y="18874"/>
                </a:moveTo>
                <a:cubicBezTo>
                  <a:pt x="23594" y="18812"/>
                  <a:pt x="23531" y="18781"/>
                  <a:pt x="23469" y="18718"/>
                </a:cubicBezTo>
                <a:cubicBezTo>
                  <a:pt x="23563" y="18749"/>
                  <a:pt x="23594" y="18812"/>
                  <a:pt x="23656" y="18874"/>
                </a:cubicBezTo>
                <a:close/>
                <a:moveTo>
                  <a:pt x="23563" y="18874"/>
                </a:moveTo>
                <a:cubicBezTo>
                  <a:pt x="23563" y="18874"/>
                  <a:pt x="23531" y="18874"/>
                  <a:pt x="23531" y="18874"/>
                </a:cubicBezTo>
                <a:cubicBezTo>
                  <a:pt x="23531" y="18874"/>
                  <a:pt x="23531" y="18874"/>
                  <a:pt x="23531" y="18874"/>
                </a:cubicBezTo>
                <a:cubicBezTo>
                  <a:pt x="23531" y="18874"/>
                  <a:pt x="23531" y="18874"/>
                  <a:pt x="23531" y="18874"/>
                </a:cubicBezTo>
                <a:cubicBezTo>
                  <a:pt x="23563" y="18874"/>
                  <a:pt x="23563" y="18874"/>
                  <a:pt x="23563" y="18874"/>
                </a:cubicBezTo>
                <a:close/>
                <a:moveTo>
                  <a:pt x="23375" y="18374"/>
                </a:moveTo>
                <a:cubicBezTo>
                  <a:pt x="23344" y="18374"/>
                  <a:pt x="23344" y="18406"/>
                  <a:pt x="23344" y="18406"/>
                </a:cubicBezTo>
                <a:cubicBezTo>
                  <a:pt x="23313" y="18406"/>
                  <a:pt x="23313" y="18374"/>
                  <a:pt x="23281" y="18374"/>
                </a:cubicBezTo>
                <a:cubicBezTo>
                  <a:pt x="23281" y="18343"/>
                  <a:pt x="23281" y="18312"/>
                  <a:pt x="23281" y="18281"/>
                </a:cubicBezTo>
                <a:cubicBezTo>
                  <a:pt x="23281" y="18281"/>
                  <a:pt x="23281" y="18281"/>
                  <a:pt x="23281" y="18281"/>
                </a:cubicBezTo>
                <a:cubicBezTo>
                  <a:pt x="23375" y="18249"/>
                  <a:pt x="23313" y="18343"/>
                  <a:pt x="23375" y="18374"/>
                </a:cubicBezTo>
                <a:close/>
                <a:moveTo>
                  <a:pt x="23438" y="18687"/>
                </a:moveTo>
                <a:cubicBezTo>
                  <a:pt x="23375" y="18656"/>
                  <a:pt x="23344" y="18593"/>
                  <a:pt x="23281" y="18562"/>
                </a:cubicBezTo>
                <a:cubicBezTo>
                  <a:pt x="23344" y="18593"/>
                  <a:pt x="23406" y="18624"/>
                  <a:pt x="23438" y="18687"/>
                </a:cubicBezTo>
                <a:close/>
                <a:moveTo>
                  <a:pt x="23125" y="18031"/>
                </a:moveTo>
                <a:cubicBezTo>
                  <a:pt x="23125" y="18031"/>
                  <a:pt x="23156" y="18031"/>
                  <a:pt x="23188" y="18062"/>
                </a:cubicBezTo>
                <a:cubicBezTo>
                  <a:pt x="23156" y="18124"/>
                  <a:pt x="23125" y="18124"/>
                  <a:pt x="23125" y="18124"/>
                </a:cubicBezTo>
                <a:cubicBezTo>
                  <a:pt x="23094" y="18124"/>
                  <a:pt x="23063" y="18093"/>
                  <a:pt x="23063" y="18062"/>
                </a:cubicBezTo>
                <a:cubicBezTo>
                  <a:pt x="23063" y="18031"/>
                  <a:pt x="23094" y="18031"/>
                  <a:pt x="23125" y="18031"/>
                </a:cubicBezTo>
                <a:close/>
                <a:moveTo>
                  <a:pt x="22906" y="18124"/>
                </a:moveTo>
                <a:cubicBezTo>
                  <a:pt x="22906" y="18124"/>
                  <a:pt x="22906" y="18124"/>
                  <a:pt x="22906" y="18124"/>
                </a:cubicBezTo>
                <a:cubicBezTo>
                  <a:pt x="22906" y="18124"/>
                  <a:pt x="22906" y="18124"/>
                  <a:pt x="22906" y="18124"/>
                </a:cubicBezTo>
                <a:cubicBezTo>
                  <a:pt x="22938" y="18124"/>
                  <a:pt x="22938" y="18124"/>
                  <a:pt x="22938" y="18124"/>
                </a:cubicBezTo>
                <a:cubicBezTo>
                  <a:pt x="22938" y="18124"/>
                  <a:pt x="22938" y="18124"/>
                  <a:pt x="22938" y="18124"/>
                </a:cubicBezTo>
                <a:cubicBezTo>
                  <a:pt x="22969" y="18124"/>
                  <a:pt x="22969" y="18124"/>
                  <a:pt x="22969" y="18124"/>
                </a:cubicBezTo>
                <a:cubicBezTo>
                  <a:pt x="23000" y="18124"/>
                  <a:pt x="23000" y="18124"/>
                  <a:pt x="23000" y="18124"/>
                </a:cubicBezTo>
                <a:cubicBezTo>
                  <a:pt x="23000" y="18124"/>
                  <a:pt x="23000" y="18124"/>
                  <a:pt x="23000" y="18124"/>
                </a:cubicBezTo>
                <a:cubicBezTo>
                  <a:pt x="23000" y="18124"/>
                  <a:pt x="23000" y="18124"/>
                  <a:pt x="23000" y="18124"/>
                </a:cubicBezTo>
                <a:cubicBezTo>
                  <a:pt x="23000" y="18156"/>
                  <a:pt x="23000" y="18156"/>
                  <a:pt x="23000" y="18124"/>
                </a:cubicBezTo>
                <a:cubicBezTo>
                  <a:pt x="23031" y="18156"/>
                  <a:pt x="23094" y="18124"/>
                  <a:pt x="23094" y="18187"/>
                </a:cubicBezTo>
                <a:cubicBezTo>
                  <a:pt x="23094" y="18187"/>
                  <a:pt x="23094" y="18187"/>
                  <a:pt x="23094" y="18187"/>
                </a:cubicBezTo>
                <a:cubicBezTo>
                  <a:pt x="23094" y="18218"/>
                  <a:pt x="23094" y="18218"/>
                  <a:pt x="23094" y="18218"/>
                </a:cubicBezTo>
                <a:cubicBezTo>
                  <a:pt x="23094" y="18218"/>
                  <a:pt x="23094" y="18218"/>
                  <a:pt x="23094" y="18218"/>
                </a:cubicBezTo>
                <a:cubicBezTo>
                  <a:pt x="23063" y="18249"/>
                  <a:pt x="23063" y="18281"/>
                  <a:pt x="23000" y="18249"/>
                </a:cubicBezTo>
                <a:cubicBezTo>
                  <a:pt x="22969" y="18218"/>
                  <a:pt x="22938" y="18187"/>
                  <a:pt x="22906" y="18156"/>
                </a:cubicBezTo>
                <a:cubicBezTo>
                  <a:pt x="22875" y="18124"/>
                  <a:pt x="22906" y="18124"/>
                  <a:pt x="22906" y="18124"/>
                </a:cubicBezTo>
                <a:close/>
                <a:moveTo>
                  <a:pt x="22875" y="18187"/>
                </a:moveTo>
                <a:cubicBezTo>
                  <a:pt x="22875" y="18218"/>
                  <a:pt x="22875" y="18218"/>
                  <a:pt x="22906" y="18218"/>
                </a:cubicBezTo>
                <a:cubicBezTo>
                  <a:pt x="22906" y="18218"/>
                  <a:pt x="22906" y="18218"/>
                  <a:pt x="22906" y="18218"/>
                </a:cubicBezTo>
                <a:cubicBezTo>
                  <a:pt x="22906" y="18249"/>
                  <a:pt x="22906" y="18218"/>
                  <a:pt x="22906" y="18218"/>
                </a:cubicBezTo>
                <a:cubicBezTo>
                  <a:pt x="22875" y="18218"/>
                  <a:pt x="22875" y="18218"/>
                  <a:pt x="22875" y="18218"/>
                </a:cubicBezTo>
                <a:cubicBezTo>
                  <a:pt x="22875" y="18218"/>
                  <a:pt x="22875" y="18218"/>
                  <a:pt x="22875" y="18187"/>
                </a:cubicBezTo>
                <a:close/>
                <a:moveTo>
                  <a:pt x="22813" y="18156"/>
                </a:moveTo>
                <a:cubicBezTo>
                  <a:pt x="22813" y="18156"/>
                  <a:pt x="22844" y="18156"/>
                  <a:pt x="22844" y="18156"/>
                </a:cubicBezTo>
                <a:cubicBezTo>
                  <a:pt x="22844" y="18187"/>
                  <a:pt x="22844" y="18187"/>
                  <a:pt x="22813" y="18187"/>
                </a:cubicBezTo>
                <a:cubicBezTo>
                  <a:pt x="22813" y="18156"/>
                  <a:pt x="22813" y="18156"/>
                  <a:pt x="22813" y="18156"/>
                </a:cubicBezTo>
                <a:cubicBezTo>
                  <a:pt x="22813" y="18156"/>
                  <a:pt x="22813" y="18156"/>
                  <a:pt x="22813" y="18156"/>
                </a:cubicBezTo>
                <a:close/>
                <a:moveTo>
                  <a:pt x="21938" y="18218"/>
                </a:moveTo>
                <a:cubicBezTo>
                  <a:pt x="21969" y="18218"/>
                  <a:pt x="21969" y="18218"/>
                  <a:pt x="21969" y="18218"/>
                </a:cubicBezTo>
                <a:cubicBezTo>
                  <a:pt x="21969" y="18249"/>
                  <a:pt x="21969" y="18249"/>
                  <a:pt x="21969" y="18249"/>
                </a:cubicBezTo>
                <a:cubicBezTo>
                  <a:pt x="21969" y="18249"/>
                  <a:pt x="21938" y="18249"/>
                  <a:pt x="21938" y="18249"/>
                </a:cubicBezTo>
                <a:cubicBezTo>
                  <a:pt x="21938" y="18249"/>
                  <a:pt x="21938" y="18218"/>
                  <a:pt x="21938" y="18218"/>
                </a:cubicBezTo>
                <a:close/>
                <a:moveTo>
                  <a:pt x="22500" y="18812"/>
                </a:moveTo>
                <a:cubicBezTo>
                  <a:pt x="22469" y="18812"/>
                  <a:pt x="22469" y="18781"/>
                  <a:pt x="22500" y="18749"/>
                </a:cubicBezTo>
                <a:cubicBezTo>
                  <a:pt x="22531" y="18749"/>
                  <a:pt x="22531" y="18718"/>
                  <a:pt x="22531" y="18687"/>
                </a:cubicBezTo>
                <a:cubicBezTo>
                  <a:pt x="22563" y="18718"/>
                  <a:pt x="22563" y="18781"/>
                  <a:pt x="22625" y="18781"/>
                </a:cubicBezTo>
                <a:cubicBezTo>
                  <a:pt x="22625" y="18749"/>
                  <a:pt x="22625" y="18718"/>
                  <a:pt x="22625" y="18687"/>
                </a:cubicBezTo>
                <a:cubicBezTo>
                  <a:pt x="22656" y="18656"/>
                  <a:pt x="22656" y="18656"/>
                  <a:pt x="22688" y="18718"/>
                </a:cubicBezTo>
                <a:cubicBezTo>
                  <a:pt x="22688" y="18718"/>
                  <a:pt x="22688" y="18718"/>
                  <a:pt x="22688" y="18718"/>
                </a:cubicBezTo>
                <a:cubicBezTo>
                  <a:pt x="22688" y="18718"/>
                  <a:pt x="22656" y="18749"/>
                  <a:pt x="22688" y="18749"/>
                </a:cubicBezTo>
                <a:cubicBezTo>
                  <a:pt x="22688" y="18781"/>
                  <a:pt x="22656" y="18843"/>
                  <a:pt x="22688" y="18843"/>
                </a:cubicBezTo>
                <a:cubicBezTo>
                  <a:pt x="22750" y="18843"/>
                  <a:pt x="22781" y="18843"/>
                  <a:pt x="22813" y="18812"/>
                </a:cubicBezTo>
                <a:cubicBezTo>
                  <a:pt x="22813" y="18781"/>
                  <a:pt x="22813" y="18781"/>
                  <a:pt x="22813" y="18781"/>
                </a:cubicBezTo>
                <a:cubicBezTo>
                  <a:pt x="22844" y="18781"/>
                  <a:pt x="22844" y="18781"/>
                  <a:pt x="22844" y="18781"/>
                </a:cubicBezTo>
                <a:cubicBezTo>
                  <a:pt x="22875" y="18781"/>
                  <a:pt x="22875" y="18687"/>
                  <a:pt x="22906" y="18718"/>
                </a:cubicBezTo>
                <a:cubicBezTo>
                  <a:pt x="22938" y="18749"/>
                  <a:pt x="22875" y="18781"/>
                  <a:pt x="22875" y="18812"/>
                </a:cubicBezTo>
                <a:cubicBezTo>
                  <a:pt x="22875" y="18812"/>
                  <a:pt x="22875" y="18812"/>
                  <a:pt x="22875" y="18812"/>
                </a:cubicBezTo>
                <a:cubicBezTo>
                  <a:pt x="22813" y="18843"/>
                  <a:pt x="22750" y="18874"/>
                  <a:pt x="22844" y="18937"/>
                </a:cubicBezTo>
                <a:cubicBezTo>
                  <a:pt x="22719" y="18968"/>
                  <a:pt x="22625" y="18843"/>
                  <a:pt x="22500" y="18812"/>
                </a:cubicBezTo>
                <a:close/>
                <a:moveTo>
                  <a:pt x="23719" y="19531"/>
                </a:moveTo>
                <a:cubicBezTo>
                  <a:pt x="23688" y="19499"/>
                  <a:pt x="23688" y="19468"/>
                  <a:pt x="23656" y="19468"/>
                </a:cubicBezTo>
                <a:cubicBezTo>
                  <a:pt x="23656" y="19437"/>
                  <a:pt x="23563" y="19406"/>
                  <a:pt x="23625" y="19374"/>
                </a:cubicBezTo>
                <a:cubicBezTo>
                  <a:pt x="23563" y="19281"/>
                  <a:pt x="23625" y="19281"/>
                  <a:pt x="23688" y="19249"/>
                </a:cubicBezTo>
                <a:cubicBezTo>
                  <a:pt x="23719" y="19249"/>
                  <a:pt x="23688" y="19187"/>
                  <a:pt x="23750" y="19187"/>
                </a:cubicBezTo>
                <a:cubicBezTo>
                  <a:pt x="23781" y="19218"/>
                  <a:pt x="23781" y="19249"/>
                  <a:pt x="23781" y="19281"/>
                </a:cubicBezTo>
                <a:cubicBezTo>
                  <a:pt x="23750" y="19343"/>
                  <a:pt x="23781" y="19374"/>
                  <a:pt x="23813" y="19406"/>
                </a:cubicBezTo>
                <a:cubicBezTo>
                  <a:pt x="23813" y="19406"/>
                  <a:pt x="23813" y="19437"/>
                  <a:pt x="23813" y="19437"/>
                </a:cubicBezTo>
                <a:cubicBezTo>
                  <a:pt x="23813" y="19437"/>
                  <a:pt x="23813" y="19437"/>
                  <a:pt x="23813" y="19437"/>
                </a:cubicBezTo>
                <a:cubicBezTo>
                  <a:pt x="23781" y="19562"/>
                  <a:pt x="23875" y="19531"/>
                  <a:pt x="23906" y="19562"/>
                </a:cubicBezTo>
                <a:cubicBezTo>
                  <a:pt x="23844" y="19593"/>
                  <a:pt x="23781" y="19531"/>
                  <a:pt x="23719" y="19531"/>
                </a:cubicBezTo>
                <a:close/>
                <a:moveTo>
                  <a:pt x="24031" y="19187"/>
                </a:moveTo>
                <a:cubicBezTo>
                  <a:pt x="24000" y="19187"/>
                  <a:pt x="23969" y="19156"/>
                  <a:pt x="23969" y="19124"/>
                </a:cubicBezTo>
                <a:cubicBezTo>
                  <a:pt x="23969" y="19124"/>
                  <a:pt x="23969" y="19124"/>
                  <a:pt x="23969" y="19124"/>
                </a:cubicBezTo>
                <a:cubicBezTo>
                  <a:pt x="23909" y="19124"/>
                  <a:pt x="23906" y="19039"/>
                  <a:pt x="23824" y="19059"/>
                </a:cubicBezTo>
                <a:cubicBezTo>
                  <a:pt x="23833" y="19050"/>
                  <a:pt x="23813" y="19025"/>
                  <a:pt x="23813" y="18999"/>
                </a:cubicBezTo>
                <a:cubicBezTo>
                  <a:pt x="23875" y="19031"/>
                  <a:pt x="23938" y="19062"/>
                  <a:pt x="23969" y="19124"/>
                </a:cubicBezTo>
                <a:lnTo>
                  <a:pt x="23969" y="19124"/>
                </a:lnTo>
                <a:cubicBezTo>
                  <a:pt x="23969" y="19124"/>
                  <a:pt x="23969" y="19124"/>
                  <a:pt x="23969" y="19124"/>
                </a:cubicBezTo>
                <a:cubicBezTo>
                  <a:pt x="24000" y="19124"/>
                  <a:pt x="24031" y="19156"/>
                  <a:pt x="24031" y="19187"/>
                </a:cubicBezTo>
                <a:cubicBezTo>
                  <a:pt x="24031" y="19187"/>
                  <a:pt x="24031" y="19187"/>
                  <a:pt x="24031" y="19187"/>
                </a:cubicBezTo>
                <a:close/>
                <a:moveTo>
                  <a:pt x="23813" y="19062"/>
                </a:moveTo>
                <a:cubicBezTo>
                  <a:pt x="23844" y="19156"/>
                  <a:pt x="23875" y="19218"/>
                  <a:pt x="23938" y="19249"/>
                </a:cubicBezTo>
                <a:cubicBezTo>
                  <a:pt x="24000" y="19281"/>
                  <a:pt x="24063" y="19312"/>
                  <a:pt x="24125" y="19343"/>
                </a:cubicBezTo>
                <a:cubicBezTo>
                  <a:pt x="24063" y="19343"/>
                  <a:pt x="23969" y="19312"/>
                  <a:pt x="23938" y="19249"/>
                </a:cubicBezTo>
                <a:cubicBezTo>
                  <a:pt x="23875" y="19249"/>
                  <a:pt x="23844" y="19187"/>
                  <a:pt x="23781" y="19187"/>
                </a:cubicBezTo>
                <a:cubicBezTo>
                  <a:pt x="23781" y="19187"/>
                  <a:pt x="23781" y="19187"/>
                  <a:pt x="23781" y="19187"/>
                </a:cubicBezTo>
                <a:cubicBezTo>
                  <a:pt x="23719" y="19124"/>
                  <a:pt x="23656" y="19093"/>
                  <a:pt x="23625" y="19062"/>
                </a:cubicBezTo>
                <a:cubicBezTo>
                  <a:pt x="23563" y="19062"/>
                  <a:pt x="23531" y="19062"/>
                  <a:pt x="23469" y="19093"/>
                </a:cubicBezTo>
                <a:cubicBezTo>
                  <a:pt x="23438" y="19062"/>
                  <a:pt x="23406" y="19062"/>
                  <a:pt x="23406" y="19093"/>
                </a:cubicBezTo>
                <a:cubicBezTo>
                  <a:pt x="23375" y="19156"/>
                  <a:pt x="23438" y="19187"/>
                  <a:pt x="23469" y="19218"/>
                </a:cubicBezTo>
                <a:cubicBezTo>
                  <a:pt x="23500" y="19281"/>
                  <a:pt x="23500" y="19218"/>
                  <a:pt x="23531" y="19218"/>
                </a:cubicBezTo>
                <a:cubicBezTo>
                  <a:pt x="23563" y="19187"/>
                  <a:pt x="23594" y="19156"/>
                  <a:pt x="23563" y="19093"/>
                </a:cubicBezTo>
                <a:cubicBezTo>
                  <a:pt x="23625" y="19124"/>
                  <a:pt x="23688" y="19156"/>
                  <a:pt x="23594" y="19187"/>
                </a:cubicBezTo>
                <a:cubicBezTo>
                  <a:pt x="23563" y="19218"/>
                  <a:pt x="23500" y="19281"/>
                  <a:pt x="23469" y="19312"/>
                </a:cubicBezTo>
                <a:cubicBezTo>
                  <a:pt x="23438" y="19312"/>
                  <a:pt x="23438" y="19312"/>
                  <a:pt x="23438" y="19312"/>
                </a:cubicBezTo>
                <a:cubicBezTo>
                  <a:pt x="23375" y="19343"/>
                  <a:pt x="23156" y="19156"/>
                  <a:pt x="23125" y="19093"/>
                </a:cubicBezTo>
                <a:cubicBezTo>
                  <a:pt x="23125" y="19031"/>
                  <a:pt x="23188" y="19062"/>
                  <a:pt x="23188" y="19031"/>
                </a:cubicBezTo>
                <a:cubicBezTo>
                  <a:pt x="23219" y="19031"/>
                  <a:pt x="23219" y="19062"/>
                  <a:pt x="23219" y="19093"/>
                </a:cubicBezTo>
                <a:cubicBezTo>
                  <a:pt x="23250" y="19124"/>
                  <a:pt x="23156" y="19093"/>
                  <a:pt x="23188" y="19124"/>
                </a:cubicBezTo>
                <a:cubicBezTo>
                  <a:pt x="23219" y="19156"/>
                  <a:pt x="23250" y="19156"/>
                  <a:pt x="23281" y="19187"/>
                </a:cubicBezTo>
                <a:cubicBezTo>
                  <a:pt x="23281" y="19218"/>
                  <a:pt x="23281" y="19218"/>
                  <a:pt x="23344" y="19249"/>
                </a:cubicBezTo>
                <a:cubicBezTo>
                  <a:pt x="23313" y="19156"/>
                  <a:pt x="23344" y="19062"/>
                  <a:pt x="23406" y="18999"/>
                </a:cubicBezTo>
                <a:cubicBezTo>
                  <a:pt x="23406" y="18968"/>
                  <a:pt x="23406" y="18968"/>
                  <a:pt x="23406" y="18937"/>
                </a:cubicBezTo>
                <a:cubicBezTo>
                  <a:pt x="23250" y="18906"/>
                  <a:pt x="23188" y="18781"/>
                  <a:pt x="23031" y="18749"/>
                </a:cubicBezTo>
                <a:cubicBezTo>
                  <a:pt x="23031" y="18874"/>
                  <a:pt x="23094" y="18968"/>
                  <a:pt x="23094" y="19093"/>
                </a:cubicBezTo>
                <a:cubicBezTo>
                  <a:pt x="23094" y="19124"/>
                  <a:pt x="23063" y="19124"/>
                  <a:pt x="23031" y="19124"/>
                </a:cubicBezTo>
                <a:cubicBezTo>
                  <a:pt x="22969" y="19062"/>
                  <a:pt x="22875" y="19031"/>
                  <a:pt x="22844" y="18937"/>
                </a:cubicBezTo>
                <a:cubicBezTo>
                  <a:pt x="22844" y="18937"/>
                  <a:pt x="22844" y="18937"/>
                  <a:pt x="22844" y="18937"/>
                </a:cubicBezTo>
                <a:cubicBezTo>
                  <a:pt x="22844" y="18906"/>
                  <a:pt x="22906" y="19031"/>
                  <a:pt x="22906" y="18937"/>
                </a:cubicBezTo>
                <a:cubicBezTo>
                  <a:pt x="22938" y="18874"/>
                  <a:pt x="22969" y="18874"/>
                  <a:pt x="22969" y="18812"/>
                </a:cubicBezTo>
                <a:cubicBezTo>
                  <a:pt x="22969" y="18749"/>
                  <a:pt x="23000" y="18781"/>
                  <a:pt x="23031" y="18749"/>
                </a:cubicBezTo>
                <a:cubicBezTo>
                  <a:pt x="23031" y="18749"/>
                  <a:pt x="23031" y="18749"/>
                  <a:pt x="23000" y="18718"/>
                </a:cubicBezTo>
                <a:cubicBezTo>
                  <a:pt x="22813" y="18624"/>
                  <a:pt x="22625" y="18531"/>
                  <a:pt x="22406" y="18406"/>
                </a:cubicBezTo>
                <a:cubicBezTo>
                  <a:pt x="22406" y="18406"/>
                  <a:pt x="22375" y="18406"/>
                  <a:pt x="22375" y="18406"/>
                </a:cubicBezTo>
                <a:cubicBezTo>
                  <a:pt x="22344" y="18406"/>
                  <a:pt x="22375" y="18437"/>
                  <a:pt x="22375" y="18437"/>
                </a:cubicBezTo>
                <a:cubicBezTo>
                  <a:pt x="22313" y="18531"/>
                  <a:pt x="22375" y="18562"/>
                  <a:pt x="22438" y="18593"/>
                </a:cubicBezTo>
                <a:cubicBezTo>
                  <a:pt x="22375" y="18656"/>
                  <a:pt x="22406" y="18687"/>
                  <a:pt x="22438" y="18718"/>
                </a:cubicBezTo>
                <a:cubicBezTo>
                  <a:pt x="22375" y="18749"/>
                  <a:pt x="22344" y="18749"/>
                  <a:pt x="22281" y="18687"/>
                </a:cubicBezTo>
                <a:cubicBezTo>
                  <a:pt x="22219" y="18624"/>
                  <a:pt x="22094" y="18624"/>
                  <a:pt x="22031" y="18562"/>
                </a:cubicBezTo>
                <a:cubicBezTo>
                  <a:pt x="22000" y="18531"/>
                  <a:pt x="22000" y="18531"/>
                  <a:pt x="21969" y="18531"/>
                </a:cubicBezTo>
                <a:cubicBezTo>
                  <a:pt x="21969" y="18531"/>
                  <a:pt x="21969" y="18531"/>
                  <a:pt x="21969" y="18531"/>
                </a:cubicBezTo>
                <a:cubicBezTo>
                  <a:pt x="21844" y="18499"/>
                  <a:pt x="21844" y="18468"/>
                  <a:pt x="21813" y="18312"/>
                </a:cubicBezTo>
                <a:cubicBezTo>
                  <a:pt x="21875" y="18343"/>
                  <a:pt x="21875" y="18406"/>
                  <a:pt x="21906" y="18468"/>
                </a:cubicBezTo>
                <a:cubicBezTo>
                  <a:pt x="21938" y="18406"/>
                  <a:pt x="21938" y="18374"/>
                  <a:pt x="21938" y="18312"/>
                </a:cubicBezTo>
                <a:cubicBezTo>
                  <a:pt x="21938" y="18312"/>
                  <a:pt x="21938" y="18249"/>
                  <a:pt x="21969" y="18312"/>
                </a:cubicBezTo>
                <a:cubicBezTo>
                  <a:pt x="21969" y="18312"/>
                  <a:pt x="21969" y="18312"/>
                  <a:pt x="21969" y="18312"/>
                </a:cubicBezTo>
                <a:cubicBezTo>
                  <a:pt x="21969" y="18374"/>
                  <a:pt x="21969" y="18437"/>
                  <a:pt x="21969" y="18531"/>
                </a:cubicBezTo>
                <a:lnTo>
                  <a:pt x="21969" y="18531"/>
                </a:lnTo>
                <a:cubicBezTo>
                  <a:pt x="21969" y="18531"/>
                  <a:pt x="21969" y="18531"/>
                  <a:pt x="21969" y="18531"/>
                </a:cubicBezTo>
                <a:cubicBezTo>
                  <a:pt x="22063" y="18499"/>
                  <a:pt x="22063" y="18468"/>
                  <a:pt x="22031" y="18406"/>
                </a:cubicBezTo>
                <a:cubicBezTo>
                  <a:pt x="22063" y="18406"/>
                  <a:pt x="22094" y="18406"/>
                  <a:pt x="22094" y="18406"/>
                </a:cubicBezTo>
                <a:cubicBezTo>
                  <a:pt x="22156" y="18406"/>
                  <a:pt x="22156" y="18437"/>
                  <a:pt x="22156" y="18468"/>
                </a:cubicBezTo>
                <a:cubicBezTo>
                  <a:pt x="22125" y="18468"/>
                  <a:pt x="22094" y="18468"/>
                  <a:pt x="22094" y="18499"/>
                </a:cubicBezTo>
                <a:cubicBezTo>
                  <a:pt x="22094" y="18531"/>
                  <a:pt x="22094" y="18531"/>
                  <a:pt x="22125" y="18531"/>
                </a:cubicBezTo>
                <a:cubicBezTo>
                  <a:pt x="22156" y="18531"/>
                  <a:pt x="22156" y="18624"/>
                  <a:pt x="22219" y="18562"/>
                </a:cubicBezTo>
                <a:cubicBezTo>
                  <a:pt x="22219" y="18562"/>
                  <a:pt x="22219" y="18562"/>
                  <a:pt x="22219" y="18531"/>
                </a:cubicBezTo>
                <a:cubicBezTo>
                  <a:pt x="22219" y="18531"/>
                  <a:pt x="22250" y="18499"/>
                  <a:pt x="22250" y="18499"/>
                </a:cubicBezTo>
                <a:cubicBezTo>
                  <a:pt x="22219" y="18374"/>
                  <a:pt x="22313" y="18406"/>
                  <a:pt x="22375" y="18406"/>
                </a:cubicBezTo>
                <a:cubicBezTo>
                  <a:pt x="22406" y="18374"/>
                  <a:pt x="22250" y="18343"/>
                  <a:pt x="22375" y="18343"/>
                </a:cubicBezTo>
                <a:cubicBezTo>
                  <a:pt x="22531" y="18437"/>
                  <a:pt x="22688" y="18499"/>
                  <a:pt x="22844" y="18593"/>
                </a:cubicBezTo>
                <a:cubicBezTo>
                  <a:pt x="22875" y="18624"/>
                  <a:pt x="22938" y="18656"/>
                  <a:pt x="22969" y="18624"/>
                </a:cubicBezTo>
                <a:cubicBezTo>
                  <a:pt x="23000" y="18593"/>
                  <a:pt x="22969" y="18531"/>
                  <a:pt x="22969" y="18499"/>
                </a:cubicBezTo>
                <a:cubicBezTo>
                  <a:pt x="22969" y="18437"/>
                  <a:pt x="22938" y="18406"/>
                  <a:pt x="22906" y="18343"/>
                </a:cubicBezTo>
                <a:cubicBezTo>
                  <a:pt x="22906" y="18343"/>
                  <a:pt x="22906" y="18343"/>
                  <a:pt x="22906" y="18343"/>
                </a:cubicBezTo>
                <a:cubicBezTo>
                  <a:pt x="22875" y="18343"/>
                  <a:pt x="22875" y="18312"/>
                  <a:pt x="22844" y="18312"/>
                </a:cubicBezTo>
                <a:cubicBezTo>
                  <a:pt x="22906" y="18281"/>
                  <a:pt x="22906" y="18312"/>
                  <a:pt x="22906" y="18343"/>
                </a:cubicBezTo>
                <a:lnTo>
                  <a:pt x="22906" y="18343"/>
                </a:lnTo>
                <a:cubicBezTo>
                  <a:pt x="22906" y="18343"/>
                  <a:pt x="22906" y="18343"/>
                  <a:pt x="22906" y="18343"/>
                </a:cubicBezTo>
                <a:cubicBezTo>
                  <a:pt x="23031" y="18374"/>
                  <a:pt x="23063" y="18468"/>
                  <a:pt x="23156" y="18531"/>
                </a:cubicBezTo>
                <a:cubicBezTo>
                  <a:pt x="23250" y="18624"/>
                  <a:pt x="23344" y="18718"/>
                  <a:pt x="23438" y="18781"/>
                </a:cubicBezTo>
                <a:cubicBezTo>
                  <a:pt x="23438" y="18781"/>
                  <a:pt x="23531" y="18812"/>
                  <a:pt x="23469" y="18812"/>
                </a:cubicBezTo>
                <a:cubicBezTo>
                  <a:pt x="23406" y="18812"/>
                  <a:pt x="23375" y="18781"/>
                  <a:pt x="23313" y="18749"/>
                </a:cubicBezTo>
                <a:lnTo>
                  <a:pt x="23313" y="18749"/>
                </a:lnTo>
                <a:lnTo>
                  <a:pt x="23313" y="18749"/>
                </a:lnTo>
                <a:lnTo>
                  <a:pt x="23313" y="18749"/>
                </a:lnTo>
                <a:lnTo>
                  <a:pt x="23313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8" y="18749"/>
                </a:lnTo>
                <a:lnTo>
                  <a:pt x="23308" y="18749"/>
                </a:lnTo>
                <a:lnTo>
                  <a:pt x="23308" y="18749"/>
                </a:lnTo>
                <a:lnTo>
                  <a:pt x="23308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6" y="18749"/>
                </a:lnTo>
                <a:lnTo>
                  <a:pt x="23306" y="18749"/>
                </a:lnTo>
                <a:lnTo>
                  <a:pt x="23305" y="18749"/>
                </a:lnTo>
                <a:lnTo>
                  <a:pt x="23305" y="18749"/>
                </a:lnTo>
                <a:lnTo>
                  <a:pt x="23305" y="18749"/>
                </a:lnTo>
                <a:lnTo>
                  <a:pt x="23305" y="18749"/>
                </a:lnTo>
                <a:lnTo>
                  <a:pt x="23304" y="18749"/>
                </a:lnTo>
                <a:lnTo>
                  <a:pt x="23304" y="18749"/>
                </a:lnTo>
                <a:lnTo>
                  <a:pt x="23304" y="18749"/>
                </a:lnTo>
                <a:lnTo>
                  <a:pt x="23303" y="18749"/>
                </a:lnTo>
                <a:lnTo>
                  <a:pt x="23303" y="18749"/>
                </a:lnTo>
                <a:lnTo>
                  <a:pt x="23303" y="18749"/>
                </a:lnTo>
                <a:lnTo>
                  <a:pt x="23302" y="18749"/>
                </a:lnTo>
                <a:lnTo>
                  <a:pt x="23302" y="18749"/>
                </a:lnTo>
                <a:lnTo>
                  <a:pt x="23302" y="18749"/>
                </a:lnTo>
                <a:lnTo>
                  <a:pt x="23301" y="18749"/>
                </a:lnTo>
                <a:lnTo>
                  <a:pt x="23301" y="18749"/>
                </a:lnTo>
                <a:lnTo>
                  <a:pt x="23301" y="18749"/>
                </a:lnTo>
                <a:lnTo>
                  <a:pt x="23300" y="18749"/>
                </a:lnTo>
                <a:lnTo>
                  <a:pt x="23300" y="18749"/>
                </a:lnTo>
                <a:lnTo>
                  <a:pt x="23299" y="18749"/>
                </a:lnTo>
                <a:lnTo>
                  <a:pt x="23299" y="18749"/>
                </a:lnTo>
                <a:lnTo>
                  <a:pt x="23299" y="18749"/>
                </a:lnTo>
                <a:lnTo>
                  <a:pt x="23298" y="18749"/>
                </a:lnTo>
                <a:lnTo>
                  <a:pt x="23298" y="18749"/>
                </a:lnTo>
                <a:lnTo>
                  <a:pt x="23298" y="18749"/>
                </a:lnTo>
                <a:lnTo>
                  <a:pt x="23297" y="18749"/>
                </a:lnTo>
                <a:lnTo>
                  <a:pt x="23297" y="18749"/>
                </a:lnTo>
                <a:lnTo>
                  <a:pt x="23296" y="18749"/>
                </a:lnTo>
                <a:lnTo>
                  <a:pt x="23296" y="18749"/>
                </a:lnTo>
                <a:lnTo>
                  <a:pt x="23295" y="18749"/>
                </a:lnTo>
                <a:lnTo>
                  <a:pt x="23295" y="18749"/>
                </a:lnTo>
                <a:lnTo>
                  <a:pt x="23295" y="18749"/>
                </a:lnTo>
                <a:lnTo>
                  <a:pt x="23294" y="18749"/>
                </a:lnTo>
                <a:lnTo>
                  <a:pt x="23294" y="18749"/>
                </a:lnTo>
                <a:lnTo>
                  <a:pt x="23293" y="18749"/>
                </a:lnTo>
                <a:lnTo>
                  <a:pt x="23293" y="18749"/>
                </a:lnTo>
                <a:lnTo>
                  <a:pt x="23293" y="18749"/>
                </a:lnTo>
                <a:lnTo>
                  <a:pt x="23292" y="18749"/>
                </a:lnTo>
                <a:lnTo>
                  <a:pt x="23292" y="18749"/>
                </a:lnTo>
                <a:lnTo>
                  <a:pt x="23291" y="18749"/>
                </a:lnTo>
                <a:lnTo>
                  <a:pt x="23291" y="18749"/>
                </a:lnTo>
                <a:lnTo>
                  <a:pt x="23290" y="18749"/>
                </a:lnTo>
                <a:lnTo>
                  <a:pt x="23290" y="18749"/>
                </a:lnTo>
                <a:lnTo>
                  <a:pt x="23289" y="18749"/>
                </a:lnTo>
                <a:lnTo>
                  <a:pt x="23289" y="18749"/>
                </a:lnTo>
                <a:lnTo>
                  <a:pt x="23289" y="18749"/>
                </a:lnTo>
                <a:lnTo>
                  <a:pt x="23288" y="18749"/>
                </a:lnTo>
                <a:lnTo>
                  <a:pt x="23288" y="18749"/>
                </a:lnTo>
                <a:lnTo>
                  <a:pt x="23287" y="18749"/>
                </a:lnTo>
                <a:lnTo>
                  <a:pt x="23287" y="18749"/>
                </a:lnTo>
                <a:lnTo>
                  <a:pt x="23287" y="18749"/>
                </a:lnTo>
                <a:lnTo>
                  <a:pt x="23286" y="18749"/>
                </a:lnTo>
                <a:lnTo>
                  <a:pt x="23286" y="18749"/>
                </a:lnTo>
                <a:lnTo>
                  <a:pt x="23285" y="18749"/>
                </a:lnTo>
                <a:lnTo>
                  <a:pt x="23285" y="18749"/>
                </a:lnTo>
                <a:lnTo>
                  <a:pt x="23285" y="18749"/>
                </a:lnTo>
                <a:lnTo>
                  <a:pt x="23284" y="18749"/>
                </a:lnTo>
                <a:lnTo>
                  <a:pt x="23284" y="18749"/>
                </a:lnTo>
                <a:lnTo>
                  <a:pt x="23284" y="18749"/>
                </a:lnTo>
                <a:lnTo>
                  <a:pt x="23283" y="18749"/>
                </a:lnTo>
                <a:lnTo>
                  <a:pt x="23283" y="18749"/>
                </a:lnTo>
                <a:lnTo>
                  <a:pt x="23283" y="18749"/>
                </a:lnTo>
                <a:lnTo>
                  <a:pt x="23283" y="18749"/>
                </a:lnTo>
                <a:lnTo>
                  <a:pt x="23282" y="18749"/>
                </a:lnTo>
                <a:lnTo>
                  <a:pt x="23282" y="18749"/>
                </a:lnTo>
                <a:lnTo>
                  <a:pt x="23282" y="18749"/>
                </a:lnTo>
                <a:lnTo>
                  <a:pt x="23282" y="18749"/>
                </a:lnTo>
                <a:lnTo>
                  <a:pt x="23281" y="18749"/>
                </a:lnTo>
                <a:lnTo>
                  <a:pt x="23281" y="18749"/>
                </a:lnTo>
                <a:lnTo>
                  <a:pt x="23281" y="18749"/>
                </a:lnTo>
                <a:lnTo>
                  <a:pt x="23281" y="18749"/>
                </a:lnTo>
                <a:cubicBezTo>
                  <a:pt x="23281" y="18749"/>
                  <a:pt x="23281" y="18749"/>
                  <a:pt x="23281" y="18718"/>
                </a:cubicBezTo>
                <a:cubicBezTo>
                  <a:pt x="23188" y="18656"/>
                  <a:pt x="23094" y="18718"/>
                  <a:pt x="23031" y="18687"/>
                </a:cubicBezTo>
                <a:cubicBezTo>
                  <a:pt x="23063" y="18718"/>
                  <a:pt x="23094" y="18749"/>
                  <a:pt x="23156" y="18749"/>
                </a:cubicBezTo>
                <a:cubicBezTo>
                  <a:pt x="23281" y="18812"/>
                  <a:pt x="23375" y="18906"/>
                  <a:pt x="23500" y="18937"/>
                </a:cubicBezTo>
                <a:cubicBezTo>
                  <a:pt x="23531" y="19031"/>
                  <a:pt x="23625" y="19031"/>
                  <a:pt x="23688" y="19062"/>
                </a:cubicBezTo>
                <a:cubicBezTo>
                  <a:pt x="23656" y="18999"/>
                  <a:pt x="23594" y="18937"/>
                  <a:pt x="23563" y="18874"/>
                </a:cubicBezTo>
                <a:cubicBezTo>
                  <a:pt x="23625" y="18906"/>
                  <a:pt x="23656" y="18937"/>
                  <a:pt x="23688" y="18968"/>
                </a:cubicBezTo>
                <a:cubicBezTo>
                  <a:pt x="23719" y="18999"/>
                  <a:pt x="23719" y="19031"/>
                  <a:pt x="23750" y="18999"/>
                </a:cubicBezTo>
                <a:cubicBezTo>
                  <a:pt x="23750" y="19062"/>
                  <a:pt x="23781" y="19062"/>
                  <a:pt x="23813" y="19062"/>
                </a:cubicBezTo>
                <a:close/>
                <a:moveTo>
                  <a:pt x="23750" y="18999"/>
                </a:moveTo>
                <a:cubicBezTo>
                  <a:pt x="23750" y="18999"/>
                  <a:pt x="23750" y="18968"/>
                  <a:pt x="23750" y="18937"/>
                </a:cubicBezTo>
                <a:cubicBezTo>
                  <a:pt x="23781" y="18968"/>
                  <a:pt x="23813" y="18968"/>
                  <a:pt x="23813" y="18999"/>
                </a:cubicBezTo>
                <a:cubicBezTo>
                  <a:pt x="23813" y="18999"/>
                  <a:pt x="23781" y="18999"/>
                  <a:pt x="23750" y="18999"/>
                </a:cubicBezTo>
                <a:close/>
                <a:moveTo>
                  <a:pt x="24031" y="19187"/>
                </a:moveTo>
                <a:cubicBezTo>
                  <a:pt x="24063" y="19187"/>
                  <a:pt x="24094" y="19187"/>
                  <a:pt x="24094" y="19187"/>
                </a:cubicBezTo>
                <a:cubicBezTo>
                  <a:pt x="24094" y="19187"/>
                  <a:pt x="24094" y="19187"/>
                  <a:pt x="24094" y="19187"/>
                </a:cubicBezTo>
                <a:cubicBezTo>
                  <a:pt x="24094" y="19187"/>
                  <a:pt x="24094" y="19156"/>
                  <a:pt x="24094" y="19156"/>
                </a:cubicBezTo>
                <a:cubicBezTo>
                  <a:pt x="24094" y="19156"/>
                  <a:pt x="24094" y="19156"/>
                  <a:pt x="24094" y="19156"/>
                </a:cubicBezTo>
                <a:cubicBezTo>
                  <a:pt x="24125" y="19156"/>
                  <a:pt x="24125" y="19187"/>
                  <a:pt x="24125" y="19187"/>
                </a:cubicBezTo>
                <a:cubicBezTo>
                  <a:pt x="24125" y="19187"/>
                  <a:pt x="24125" y="19187"/>
                  <a:pt x="24094" y="19187"/>
                </a:cubicBezTo>
                <a:lnTo>
                  <a:pt x="24094" y="19187"/>
                </a:lnTo>
                <a:cubicBezTo>
                  <a:pt x="24094" y="19187"/>
                  <a:pt x="24094" y="19187"/>
                  <a:pt x="24094" y="19187"/>
                </a:cubicBezTo>
                <a:cubicBezTo>
                  <a:pt x="24094" y="19249"/>
                  <a:pt x="24156" y="19249"/>
                  <a:pt x="24156" y="19281"/>
                </a:cubicBezTo>
                <a:cubicBezTo>
                  <a:pt x="24188" y="19312"/>
                  <a:pt x="24250" y="19312"/>
                  <a:pt x="24250" y="19374"/>
                </a:cubicBezTo>
                <a:cubicBezTo>
                  <a:pt x="24156" y="19312"/>
                  <a:pt x="24094" y="19281"/>
                  <a:pt x="24031" y="19187"/>
                </a:cubicBezTo>
                <a:lnTo>
                  <a:pt x="24031" y="19187"/>
                </a:lnTo>
                <a:cubicBezTo>
                  <a:pt x="24031" y="19187"/>
                  <a:pt x="24031" y="19187"/>
                  <a:pt x="24031" y="19187"/>
                </a:cubicBezTo>
                <a:cubicBezTo>
                  <a:pt x="24031" y="19187"/>
                  <a:pt x="24031" y="19187"/>
                  <a:pt x="24031" y="19187"/>
                </a:cubicBezTo>
                <a:cubicBezTo>
                  <a:pt x="24031" y="19187"/>
                  <a:pt x="24031" y="19187"/>
                  <a:pt x="24031" y="19187"/>
                </a:cubicBezTo>
                <a:close/>
                <a:moveTo>
                  <a:pt x="24313" y="19437"/>
                </a:moveTo>
                <a:cubicBezTo>
                  <a:pt x="24281" y="19437"/>
                  <a:pt x="24281" y="19406"/>
                  <a:pt x="24250" y="19374"/>
                </a:cubicBezTo>
                <a:cubicBezTo>
                  <a:pt x="24281" y="19374"/>
                  <a:pt x="24313" y="19406"/>
                  <a:pt x="24313" y="19437"/>
                </a:cubicBezTo>
                <a:cubicBezTo>
                  <a:pt x="24375" y="19437"/>
                  <a:pt x="24375" y="19468"/>
                  <a:pt x="24406" y="19499"/>
                </a:cubicBezTo>
                <a:cubicBezTo>
                  <a:pt x="24375" y="19499"/>
                  <a:pt x="24344" y="19468"/>
                  <a:pt x="24313" y="19437"/>
                </a:cubicBezTo>
                <a:close/>
                <a:moveTo>
                  <a:pt x="24656" y="19718"/>
                </a:moveTo>
                <a:cubicBezTo>
                  <a:pt x="24625" y="19718"/>
                  <a:pt x="24594" y="19687"/>
                  <a:pt x="24594" y="19687"/>
                </a:cubicBezTo>
                <a:cubicBezTo>
                  <a:pt x="24563" y="19656"/>
                  <a:pt x="24563" y="19656"/>
                  <a:pt x="24563" y="19624"/>
                </a:cubicBezTo>
                <a:cubicBezTo>
                  <a:pt x="24594" y="19624"/>
                  <a:pt x="24594" y="19624"/>
                  <a:pt x="24594" y="19687"/>
                </a:cubicBezTo>
                <a:cubicBezTo>
                  <a:pt x="24625" y="19687"/>
                  <a:pt x="24656" y="19687"/>
                  <a:pt x="24656" y="19718"/>
                </a:cubicBezTo>
                <a:cubicBezTo>
                  <a:pt x="24688" y="19718"/>
                  <a:pt x="24688" y="19718"/>
                  <a:pt x="24719" y="19749"/>
                </a:cubicBezTo>
                <a:cubicBezTo>
                  <a:pt x="24688" y="19749"/>
                  <a:pt x="24656" y="19718"/>
                  <a:pt x="24656" y="19718"/>
                </a:cubicBezTo>
                <a:close/>
                <a:moveTo>
                  <a:pt x="24781" y="19812"/>
                </a:moveTo>
                <a:cubicBezTo>
                  <a:pt x="24750" y="19812"/>
                  <a:pt x="24750" y="19812"/>
                  <a:pt x="24750" y="19781"/>
                </a:cubicBezTo>
                <a:cubicBezTo>
                  <a:pt x="24750" y="19781"/>
                  <a:pt x="24750" y="19781"/>
                  <a:pt x="24719" y="19781"/>
                </a:cubicBezTo>
                <a:cubicBezTo>
                  <a:pt x="24750" y="19781"/>
                  <a:pt x="24750" y="19781"/>
                  <a:pt x="24750" y="19781"/>
                </a:cubicBezTo>
                <a:cubicBezTo>
                  <a:pt x="24750" y="19781"/>
                  <a:pt x="24781" y="19812"/>
                  <a:pt x="24781" y="19812"/>
                </a:cubicBezTo>
                <a:cubicBezTo>
                  <a:pt x="24781" y="19812"/>
                  <a:pt x="24781" y="19812"/>
                  <a:pt x="24781" y="19812"/>
                </a:cubicBezTo>
                <a:close/>
                <a:moveTo>
                  <a:pt x="24844" y="19874"/>
                </a:moveTo>
                <a:cubicBezTo>
                  <a:pt x="24844" y="19874"/>
                  <a:pt x="24813" y="19843"/>
                  <a:pt x="24813" y="19843"/>
                </a:cubicBezTo>
                <a:cubicBezTo>
                  <a:pt x="24844" y="19812"/>
                  <a:pt x="24844" y="19843"/>
                  <a:pt x="24844" y="19874"/>
                </a:cubicBezTo>
                <a:cubicBezTo>
                  <a:pt x="24875" y="19874"/>
                  <a:pt x="24906" y="19874"/>
                  <a:pt x="24906" y="19906"/>
                </a:cubicBezTo>
                <a:cubicBezTo>
                  <a:pt x="24875" y="19906"/>
                  <a:pt x="24844" y="19906"/>
                  <a:pt x="24844" y="19874"/>
                </a:cubicBezTo>
                <a:close/>
                <a:moveTo>
                  <a:pt x="24938" y="19937"/>
                </a:moveTo>
                <a:cubicBezTo>
                  <a:pt x="24906" y="19937"/>
                  <a:pt x="24906" y="19937"/>
                  <a:pt x="24906" y="19906"/>
                </a:cubicBezTo>
                <a:cubicBezTo>
                  <a:pt x="24906" y="19906"/>
                  <a:pt x="24938" y="19937"/>
                  <a:pt x="24938" y="19937"/>
                </a:cubicBezTo>
                <a:cubicBezTo>
                  <a:pt x="24938" y="19937"/>
                  <a:pt x="24969" y="19937"/>
                  <a:pt x="24969" y="19968"/>
                </a:cubicBezTo>
                <a:cubicBezTo>
                  <a:pt x="24938" y="19968"/>
                  <a:pt x="24938" y="19968"/>
                  <a:pt x="24938" y="19937"/>
                </a:cubicBezTo>
                <a:close/>
                <a:moveTo>
                  <a:pt x="24969" y="19968"/>
                </a:moveTo>
                <a:cubicBezTo>
                  <a:pt x="25000" y="19968"/>
                  <a:pt x="25031" y="19999"/>
                  <a:pt x="25031" y="20031"/>
                </a:cubicBezTo>
                <a:cubicBezTo>
                  <a:pt x="25000" y="20031"/>
                  <a:pt x="24969" y="19999"/>
                  <a:pt x="24969" y="19968"/>
                </a:cubicBezTo>
                <a:close/>
                <a:moveTo>
                  <a:pt x="25031" y="20031"/>
                </a:moveTo>
                <a:cubicBezTo>
                  <a:pt x="25094" y="20031"/>
                  <a:pt x="25094" y="20093"/>
                  <a:pt x="25125" y="20093"/>
                </a:cubicBezTo>
                <a:cubicBezTo>
                  <a:pt x="25094" y="20093"/>
                  <a:pt x="25063" y="20062"/>
                  <a:pt x="25031" y="20031"/>
                </a:cubicBezTo>
                <a:close/>
                <a:moveTo>
                  <a:pt x="25156" y="20156"/>
                </a:moveTo>
                <a:cubicBezTo>
                  <a:pt x="25188" y="20124"/>
                  <a:pt x="25188" y="20156"/>
                  <a:pt x="25156" y="20156"/>
                </a:cubicBezTo>
                <a:cubicBezTo>
                  <a:pt x="25156" y="20156"/>
                  <a:pt x="25156" y="20156"/>
                  <a:pt x="25156" y="20156"/>
                </a:cubicBezTo>
                <a:close/>
                <a:moveTo>
                  <a:pt x="25313" y="19999"/>
                </a:moveTo>
                <a:cubicBezTo>
                  <a:pt x="25156" y="20062"/>
                  <a:pt x="25094" y="19968"/>
                  <a:pt x="25000" y="19843"/>
                </a:cubicBezTo>
                <a:cubicBezTo>
                  <a:pt x="24938" y="19812"/>
                  <a:pt x="24938" y="19718"/>
                  <a:pt x="24813" y="19718"/>
                </a:cubicBezTo>
                <a:cubicBezTo>
                  <a:pt x="24813" y="19749"/>
                  <a:pt x="24781" y="19718"/>
                  <a:pt x="24781" y="19687"/>
                </a:cubicBezTo>
                <a:cubicBezTo>
                  <a:pt x="24750" y="19624"/>
                  <a:pt x="24656" y="19593"/>
                  <a:pt x="24594" y="19531"/>
                </a:cubicBezTo>
                <a:cubicBezTo>
                  <a:pt x="24563" y="19531"/>
                  <a:pt x="24500" y="19468"/>
                  <a:pt x="24469" y="19437"/>
                </a:cubicBezTo>
                <a:cubicBezTo>
                  <a:pt x="24438" y="19374"/>
                  <a:pt x="24500" y="19374"/>
                  <a:pt x="24531" y="19374"/>
                </a:cubicBezTo>
                <a:cubicBezTo>
                  <a:pt x="24531" y="19374"/>
                  <a:pt x="24563" y="19374"/>
                  <a:pt x="24563" y="19343"/>
                </a:cubicBezTo>
                <a:cubicBezTo>
                  <a:pt x="24563" y="19312"/>
                  <a:pt x="24531" y="19312"/>
                  <a:pt x="24500" y="19312"/>
                </a:cubicBezTo>
                <a:cubicBezTo>
                  <a:pt x="24375" y="19406"/>
                  <a:pt x="24281" y="19312"/>
                  <a:pt x="24188" y="19218"/>
                </a:cubicBezTo>
                <a:cubicBezTo>
                  <a:pt x="24156" y="19218"/>
                  <a:pt x="24156" y="19218"/>
                  <a:pt x="24125" y="19187"/>
                </a:cubicBezTo>
                <a:cubicBezTo>
                  <a:pt x="24188" y="19218"/>
                  <a:pt x="24281" y="19218"/>
                  <a:pt x="24344" y="19249"/>
                </a:cubicBezTo>
                <a:cubicBezTo>
                  <a:pt x="24375" y="19249"/>
                  <a:pt x="24406" y="19249"/>
                  <a:pt x="24406" y="19218"/>
                </a:cubicBezTo>
                <a:cubicBezTo>
                  <a:pt x="24406" y="19156"/>
                  <a:pt x="24500" y="19156"/>
                  <a:pt x="24531" y="19156"/>
                </a:cubicBezTo>
                <a:cubicBezTo>
                  <a:pt x="24563" y="19156"/>
                  <a:pt x="24594" y="19124"/>
                  <a:pt x="24594" y="19093"/>
                </a:cubicBezTo>
                <a:cubicBezTo>
                  <a:pt x="24656" y="19124"/>
                  <a:pt x="24688" y="19156"/>
                  <a:pt x="24719" y="19156"/>
                </a:cubicBezTo>
                <a:cubicBezTo>
                  <a:pt x="24656" y="19249"/>
                  <a:pt x="24594" y="19281"/>
                  <a:pt x="24500" y="19218"/>
                </a:cubicBezTo>
                <a:cubicBezTo>
                  <a:pt x="24531" y="19281"/>
                  <a:pt x="24594" y="19312"/>
                  <a:pt x="24625" y="19312"/>
                </a:cubicBezTo>
                <a:cubicBezTo>
                  <a:pt x="24719" y="19281"/>
                  <a:pt x="24750" y="19343"/>
                  <a:pt x="24781" y="19406"/>
                </a:cubicBezTo>
                <a:cubicBezTo>
                  <a:pt x="24781" y="19437"/>
                  <a:pt x="24813" y="19499"/>
                  <a:pt x="24844" y="19437"/>
                </a:cubicBezTo>
                <a:cubicBezTo>
                  <a:pt x="24875" y="19374"/>
                  <a:pt x="24906" y="19312"/>
                  <a:pt x="24844" y="19281"/>
                </a:cubicBezTo>
                <a:cubicBezTo>
                  <a:pt x="24813" y="19281"/>
                  <a:pt x="24781" y="19249"/>
                  <a:pt x="24813" y="19218"/>
                </a:cubicBezTo>
                <a:cubicBezTo>
                  <a:pt x="24844" y="19187"/>
                  <a:pt x="24875" y="19187"/>
                  <a:pt x="24875" y="19218"/>
                </a:cubicBezTo>
                <a:cubicBezTo>
                  <a:pt x="24906" y="19249"/>
                  <a:pt x="24969" y="19249"/>
                  <a:pt x="25000" y="19281"/>
                </a:cubicBezTo>
                <a:cubicBezTo>
                  <a:pt x="24938" y="19249"/>
                  <a:pt x="25000" y="19187"/>
                  <a:pt x="24938" y="19187"/>
                </a:cubicBezTo>
                <a:cubicBezTo>
                  <a:pt x="24938" y="19187"/>
                  <a:pt x="24906" y="19218"/>
                  <a:pt x="24906" y="19187"/>
                </a:cubicBezTo>
                <a:cubicBezTo>
                  <a:pt x="24906" y="19156"/>
                  <a:pt x="24906" y="19156"/>
                  <a:pt x="24938" y="19156"/>
                </a:cubicBezTo>
                <a:cubicBezTo>
                  <a:pt x="24938" y="19156"/>
                  <a:pt x="24938" y="19124"/>
                  <a:pt x="24938" y="19124"/>
                </a:cubicBezTo>
                <a:cubicBezTo>
                  <a:pt x="24875" y="19124"/>
                  <a:pt x="24875" y="19031"/>
                  <a:pt x="24781" y="19062"/>
                </a:cubicBezTo>
                <a:cubicBezTo>
                  <a:pt x="24781" y="19062"/>
                  <a:pt x="24750" y="19031"/>
                  <a:pt x="24781" y="18999"/>
                </a:cubicBezTo>
                <a:cubicBezTo>
                  <a:pt x="24781" y="18999"/>
                  <a:pt x="24813" y="18999"/>
                  <a:pt x="24813" y="18999"/>
                </a:cubicBezTo>
                <a:cubicBezTo>
                  <a:pt x="24844" y="18999"/>
                  <a:pt x="24875" y="18999"/>
                  <a:pt x="24906" y="18968"/>
                </a:cubicBezTo>
                <a:cubicBezTo>
                  <a:pt x="25000" y="18937"/>
                  <a:pt x="25000" y="18937"/>
                  <a:pt x="25063" y="19062"/>
                </a:cubicBezTo>
                <a:cubicBezTo>
                  <a:pt x="25031" y="19031"/>
                  <a:pt x="25000" y="18999"/>
                  <a:pt x="24969" y="19031"/>
                </a:cubicBezTo>
                <a:cubicBezTo>
                  <a:pt x="24969" y="19062"/>
                  <a:pt x="25000" y="19093"/>
                  <a:pt x="25031" y="19093"/>
                </a:cubicBezTo>
                <a:cubicBezTo>
                  <a:pt x="25094" y="19156"/>
                  <a:pt x="25094" y="19062"/>
                  <a:pt x="25156" y="19031"/>
                </a:cubicBezTo>
                <a:cubicBezTo>
                  <a:pt x="25156" y="19031"/>
                  <a:pt x="25188" y="18999"/>
                  <a:pt x="25219" y="18999"/>
                </a:cubicBezTo>
                <a:cubicBezTo>
                  <a:pt x="25281" y="18999"/>
                  <a:pt x="25313" y="18968"/>
                  <a:pt x="25375" y="18968"/>
                </a:cubicBezTo>
                <a:cubicBezTo>
                  <a:pt x="25375" y="18968"/>
                  <a:pt x="25375" y="18968"/>
                  <a:pt x="25375" y="18968"/>
                </a:cubicBezTo>
                <a:cubicBezTo>
                  <a:pt x="25406" y="18999"/>
                  <a:pt x="25375" y="19031"/>
                  <a:pt x="25438" y="19031"/>
                </a:cubicBezTo>
                <a:cubicBezTo>
                  <a:pt x="25500" y="18999"/>
                  <a:pt x="25563" y="19031"/>
                  <a:pt x="25531" y="19124"/>
                </a:cubicBezTo>
                <a:cubicBezTo>
                  <a:pt x="25500" y="19124"/>
                  <a:pt x="25469" y="19124"/>
                  <a:pt x="25500" y="19156"/>
                </a:cubicBezTo>
                <a:cubicBezTo>
                  <a:pt x="25500" y="19218"/>
                  <a:pt x="25438" y="19312"/>
                  <a:pt x="25438" y="19374"/>
                </a:cubicBezTo>
                <a:cubicBezTo>
                  <a:pt x="25469" y="19437"/>
                  <a:pt x="25406" y="19437"/>
                  <a:pt x="25406" y="19437"/>
                </a:cubicBezTo>
                <a:cubicBezTo>
                  <a:pt x="25281" y="19406"/>
                  <a:pt x="25219" y="19343"/>
                  <a:pt x="25219" y="19218"/>
                </a:cubicBezTo>
                <a:cubicBezTo>
                  <a:pt x="25219" y="19187"/>
                  <a:pt x="25188" y="19187"/>
                  <a:pt x="25188" y="19187"/>
                </a:cubicBezTo>
                <a:cubicBezTo>
                  <a:pt x="25156" y="19156"/>
                  <a:pt x="25156" y="19218"/>
                  <a:pt x="25156" y="19218"/>
                </a:cubicBezTo>
                <a:cubicBezTo>
                  <a:pt x="25094" y="19249"/>
                  <a:pt x="25063" y="19281"/>
                  <a:pt x="25125" y="19343"/>
                </a:cubicBezTo>
                <a:cubicBezTo>
                  <a:pt x="25125" y="19343"/>
                  <a:pt x="25125" y="19343"/>
                  <a:pt x="25125" y="19343"/>
                </a:cubicBezTo>
                <a:cubicBezTo>
                  <a:pt x="25125" y="19374"/>
                  <a:pt x="25094" y="19374"/>
                  <a:pt x="25094" y="19374"/>
                </a:cubicBezTo>
                <a:cubicBezTo>
                  <a:pt x="25031" y="19343"/>
                  <a:pt x="25000" y="19312"/>
                  <a:pt x="24969" y="19374"/>
                </a:cubicBezTo>
                <a:cubicBezTo>
                  <a:pt x="25031" y="19374"/>
                  <a:pt x="25094" y="19406"/>
                  <a:pt x="25156" y="19499"/>
                </a:cubicBezTo>
                <a:cubicBezTo>
                  <a:pt x="25063" y="19468"/>
                  <a:pt x="25031" y="19437"/>
                  <a:pt x="24906" y="19437"/>
                </a:cubicBezTo>
                <a:cubicBezTo>
                  <a:pt x="25031" y="19531"/>
                  <a:pt x="25188" y="19499"/>
                  <a:pt x="25250" y="19624"/>
                </a:cubicBezTo>
                <a:cubicBezTo>
                  <a:pt x="25313" y="19749"/>
                  <a:pt x="25375" y="19874"/>
                  <a:pt x="25313" y="19999"/>
                </a:cubicBezTo>
                <a:close/>
                <a:moveTo>
                  <a:pt x="25281" y="19437"/>
                </a:moveTo>
                <a:cubicBezTo>
                  <a:pt x="25344" y="19406"/>
                  <a:pt x="25375" y="19437"/>
                  <a:pt x="25406" y="19499"/>
                </a:cubicBezTo>
                <a:cubicBezTo>
                  <a:pt x="25438" y="19499"/>
                  <a:pt x="25406" y="19531"/>
                  <a:pt x="25406" y="19531"/>
                </a:cubicBezTo>
                <a:cubicBezTo>
                  <a:pt x="25375" y="19531"/>
                  <a:pt x="25344" y="19531"/>
                  <a:pt x="25344" y="19531"/>
                </a:cubicBezTo>
                <a:cubicBezTo>
                  <a:pt x="25344" y="19531"/>
                  <a:pt x="25344" y="19531"/>
                  <a:pt x="25344" y="19531"/>
                </a:cubicBezTo>
                <a:cubicBezTo>
                  <a:pt x="25313" y="19499"/>
                  <a:pt x="25281" y="19468"/>
                  <a:pt x="25281" y="19437"/>
                </a:cubicBezTo>
                <a:close/>
                <a:moveTo>
                  <a:pt x="25344" y="19687"/>
                </a:moveTo>
                <a:cubicBezTo>
                  <a:pt x="25375" y="19656"/>
                  <a:pt x="25406" y="19687"/>
                  <a:pt x="25406" y="19687"/>
                </a:cubicBezTo>
                <a:cubicBezTo>
                  <a:pt x="25531" y="19718"/>
                  <a:pt x="25500" y="19843"/>
                  <a:pt x="25531" y="19937"/>
                </a:cubicBezTo>
                <a:cubicBezTo>
                  <a:pt x="25563" y="19874"/>
                  <a:pt x="25531" y="19843"/>
                  <a:pt x="25594" y="19812"/>
                </a:cubicBezTo>
                <a:cubicBezTo>
                  <a:pt x="25656" y="19781"/>
                  <a:pt x="25625" y="19718"/>
                  <a:pt x="25563" y="19687"/>
                </a:cubicBezTo>
                <a:cubicBezTo>
                  <a:pt x="25563" y="19656"/>
                  <a:pt x="25531" y="19656"/>
                  <a:pt x="25500" y="19624"/>
                </a:cubicBezTo>
                <a:cubicBezTo>
                  <a:pt x="25500" y="19624"/>
                  <a:pt x="25500" y="19624"/>
                  <a:pt x="25500" y="19624"/>
                </a:cubicBezTo>
                <a:cubicBezTo>
                  <a:pt x="25594" y="19593"/>
                  <a:pt x="25625" y="19624"/>
                  <a:pt x="25656" y="19687"/>
                </a:cubicBezTo>
                <a:cubicBezTo>
                  <a:pt x="25625" y="19718"/>
                  <a:pt x="25656" y="19749"/>
                  <a:pt x="25656" y="19781"/>
                </a:cubicBezTo>
                <a:cubicBezTo>
                  <a:pt x="25656" y="19874"/>
                  <a:pt x="25719" y="19937"/>
                  <a:pt x="25688" y="20031"/>
                </a:cubicBezTo>
                <a:cubicBezTo>
                  <a:pt x="25719" y="19999"/>
                  <a:pt x="25719" y="19968"/>
                  <a:pt x="25719" y="19937"/>
                </a:cubicBezTo>
                <a:cubicBezTo>
                  <a:pt x="25719" y="19937"/>
                  <a:pt x="25719" y="19906"/>
                  <a:pt x="25719" y="19906"/>
                </a:cubicBezTo>
                <a:cubicBezTo>
                  <a:pt x="25719" y="19874"/>
                  <a:pt x="25844" y="19843"/>
                  <a:pt x="25719" y="19781"/>
                </a:cubicBezTo>
                <a:cubicBezTo>
                  <a:pt x="25750" y="19749"/>
                  <a:pt x="25781" y="19749"/>
                  <a:pt x="25813" y="19718"/>
                </a:cubicBezTo>
                <a:cubicBezTo>
                  <a:pt x="25844" y="19718"/>
                  <a:pt x="25906" y="19781"/>
                  <a:pt x="25875" y="19687"/>
                </a:cubicBezTo>
                <a:cubicBezTo>
                  <a:pt x="25875" y="19687"/>
                  <a:pt x="25938" y="19687"/>
                  <a:pt x="25938" y="19656"/>
                </a:cubicBezTo>
                <a:cubicBezTo>
                  <a:pt x="25906" y="19656"/>
                  <a:pt x="25906" y="19624"/>
                  <a:pt x="25875" y="19624"/>
                </a:cubicBezTo>
                <a:cubicBezTo>
                  <a:pt x="25750" y="19593"/>
                  <a:pt x="25750" y="19499"/>
                  <a:pt x="25750" y="19437"/>
                </a:cubicBezTo>
                <a:cubicBezTo>
                  <a:pt x="25750" y="19406"/>
                  <a:pt x="25750" y="19406"/>
                  <a:pt x="25750" y="19406"/>
                </a:cubicBezTo>
                <a:cubicBezTo>
                  <a:pt x="25719" y="19406"/>
                  <a:pt x="25719" y="19406"/>
                  <a:pt x="25719" y="19437"/>
                </a:cubicBezTo>
                <a:cubicBezTo>
                  <a:pt x="25688" y="19468"/>
                  <a:pt x="25656" y="19468"/>
                  <a:pt x="25656" y="19437"/>
                </a:cubicBezTo>
                <a:cubicBezTo>
                  <a:pt x="25625" y="19406"/>
                  <a:pt x="25656" y="19406"/>
                  <a:pt x="25688" y="19406"/>
                </a:cubicBezTo>
                <a:cubicBezTo>
                  <a:pt x="25719" y="19312"/>
                  <a:pt x="25688" y="19218"/>
                  <a:pt x="25688" y="19124"/>
                </a:cubicBezTo>
                <a:cubicBezTo>
                  <a:pt x="25688" y="19093"/>
                  <a:pt x="25688" y="19062"/>
                  <a:pt x="25719" y="19031"/>
                </a:cubicBezTo>
                <a:cubicBezTo>
                  <a:pt x="25906" y="19156"/>
                  <a:pt x="26094" y="19281"/>
                  <a:pt x="26250" y="19468"/>
                </a:cubicBezTo>
                <a:cubicBezTo>
                  <a:pt x="26281" y="19499"/>
                  <a:pt x="26344" y="19499"/>
                  <a:pt x="26375" y="19531"/>
                </a:cubicBezTo>
                <a:cubicBezTo>
                  <a:pt x="26438" y="19562"/>
                  <a:pt x="26500" y="19656"/>
                  <a:pt x="26594" y="19687"/>
                </a:cubicBezTo>
                <a:cubicBezTo>
                  <a:pt x="26594" y="19749"/>
                  <a:pt x="26625" y="19749"/>
                  <a:pt x="26656" y="19749"/>
                </a:cubicBezTo>
                <a:cubicBezTo>
                  <a:pt x="26688" y="19749"/>
                  <a:pt x="26656" y="19843"/>
                  <a:pt x="26719" y="19812"/>
                </a:cubicBezTo>
                <a:cubicBezTo>
                  <a:pt x="26719" y="19781"/>
                  <a:pt x="26719" y="19749"/>
                  <a:pt x="26750" y="19687"/>
                </a:cubicBezTo>
                <a:cubicBezTo>
                  <a:pt x="26719" y="19749"/>
                  <a:pt x="26719" y="19781"/>
                  <a:pt x="26719" y="19812"/>
                </a:cubicBezTo>
                <a:cubicBezTo>
                  <a:pt x="26750" y="19843"/>
                  <a:pt x="26719" y="19874"/>
                  <a:pt x="26750" y="19874"/>
                </a:cubicBezTo>
                <a:cubicBezTo>
                  <a:pt x="26781" y="19937"/>
                  <a:pt x="26719" y="19937"/>
                  <a:pt x="26688" y="19968"/>
                </a:cubicBezTo>
                <a:cubicBezTo>
                  <a:pt x="26594" y="19999"/>
                  <a:pt x="26469" y="19937"/>
                  <a:pt x="26375" y="19968"/>
                </a:cubicBezTo>
                <a:cubicBezTo>
                  <a:pt x="26375" y="19968"/>
                  <a:pt x="26406" y="19999"/>
                  <a:pt x="26438" y="19999"/>
                </a:cubicBezTo>
                <a:cubicBezTo>
                  <a:pt x="26438" y="20031"/>
                  <a:pt x="26500" y="20031"/>
                  <a:pt x="26469" y="20062"/>
                </a:cubicBezTo>
                <a:cubicBezTo>
                  <a:pt x="26469" y="20093"/>
                  <a:pt x="26438" y="20093"/>
                  <a:pt x="26406" y="20062"/>
                </a:cubicBezTo>
                <a:cubicBezTo>
                  <a:pt x="26344" y="19999"/>
                  <a:pt x="26250" y="20031"/>
                  <a:pt x="26156" y="19968"/>
                </a:cubicBezTo>
                <a:cubicBezTo>
                  <a:pt x="26188" y="20031"/>
                  <a:pt x="26250" y="20031"/>
                  <a:pt x="26281" y="20062"/>
                </a:cubicBezTo>
                <a:cubicBezTo>
                  <a:pt x="26250" y="20187"/>
                  <a:pt x="26125" y="20187"/>
                  <a:pt x="26031" y="20281"/>
                </a:cubicBezTo>
                <a:cubicBezTo>
                  <a:pt x="26094" y="20249"/>
                  <a:pt x="26125" y="20281"/>
                  <a:pt x="26156" y="20249"/>
                </a:cubicBezTo>
                <a:cubicBezTo>
                  <a:pt x="26250" y="20187"/>
                  <a:pt x="26313" y="20124"/>
                  <a:pt x="26438" y="20218"/>
                </a:cubicBezTo>
                <a:cubicBezTo>
                  <a:pt x="26438" y="20187"/>
                  <a:pt x="26375" y="20156"/>
                  <a:pt x="26406" y="20156"/>
                </a:cubicBezTo>
                <a:cubicBezTo>
                  <a:pt x="26438" y="20124"/>
                  <a:pt x="26469" y="20156"/>
                  <a:pt x="26500" y="20156"/>
                </a:cubicBezTo>
                <a:cubicBezTo>
                  <a:pt x="26500" y="20156"/>
                  <a:pt x="26500" y="20156"/>
                  <a:pt x="26500" y="20156"/>
                </a:cubicBezTo>
                <a:cubicBezTo>
                  <a:pt x="26500" y="20156"/>
                  <a:pt x="26500" y="20156"/>
                  <a:pt x="26500" y="20156"/>
                </a:cubicBezTo>
                <a:cubicBezTo>
                  <a:pt x="26594" y="20218"/>
                  <a:pt x="26469" y="20218"/>
                  <a:pt x="26469" y="20249"/>
                </a:cubicBezTo>
                <a:cubicBezTo>
                  <a:pt x="26438" y="20249"/>
                  <a:pt x="26438" y="20281"/>
                  <a:pt x="26438" y="20281"/>
                </a:cubicBezTo>
                <a:cubicBezTo>
                  <a:pt x="26438" y="20281"/>
                  <a:pt x="26438" y="20281"/>
                  <a:pt x="26438" y="20281"/>
                </a:cubicBezTo>
                <a:cubicBezTo>
                  <a:pt x="26438" y="20281"/>
                  <a:pt x="26469" y="20281"/>
                  <a:pt x="26469" y="20249"/>
                </a:cubicBezTo>
                <a:cubicBezTo>
                  <a:pt x="26500" y="20312"/>
                  <a:pt x="26563" y="20312"/>
                  <a:pt x="26594" y="20312"/>
                </a:cubicBezTo>
                <a:cubicBezTo>
                  <a:pt x="26688" y="20218"/>
                  <a:pt x="26781" y="20218"/>
                  <a:pt x="26875" y="20124"/>
                </a:cubicBezTo>
                <a:cubicBezTo>
                  <a:pt x="26969" y="20093"/>
                  <a:pt x="27031" y="20031"/>
                  <a:pt x="27125" y="20124"/>
                </a:cubicBezTo>
                <a:cubicBezTo>
                  <a:pt x="27219" y="20187"/>
                  <a:pt x="27344" y="20281"/>
                  <a:pt x="27438" y="20374"/>
                </a:cubicBezTo>
                <a:cubicBezTo>
                  <a:pt x="27563" y="20468"/>
                  <a:pt x="27656" y="20562"/>
                  <a:pt x="27781" y="20593"/>
                </a:cubicBezTo>
                <a:cubicBezTo>
                  <a:pt x="27813" y="20656"/>
                  <a:pt x="27844" y="20687"/>
                  <a:pt x="27875" y="20718"/>
                </a:cubicBezTo>
                <a:cubicBezTo>
                  <a:pt x="27938" y="20812"/>
                  <a:pt x="28031" y="20843"/>
                  <a:pt x="28125" y="20874"/>
                </a:cubicBezTo>
                <a:cubicBezTo>
                  <a:pt x="28125" y="20937"/>
                  <a:pt x="28188" y="20937"/>
                  <a:pt x="28188" y="20968"/>
                </a:cubicBezTo>
                <a:cubicBezTo>
                  <a:pt x="28156" y="21062"/>
                  <a:pt x="28219" y="20999"/>
                  <a:pt x="28250" y="21031"/>
                </a:cubicBezTo>
                <a:cubicBezTo>
                  <a:pt x="28250" y="21062"/>
                  <a:pt x="28250" y="21062"/>
                  <a:pt x="28250" y="21093"/>
                </a:cubicBezTo>
                <a:cubicBezTo>
                  <a:pt x="28250" y="21093"/>
                  <a:pt x="28219" y="21093"/>
                  <a:pt x="28188" y="21093"/>
                </a:cubicBezTo>
                <a:cubicBezTo>
                  <a:pt x="28156" y="21062"/>
                  <a:pt x="28125" y="21062"/>
                  <a:pt x="28094" y="21093"/>
                </a:cubicBezTo>
                <a:cubicBezTo>
                  <a:pt x="28063" y="21124"/>
                  <a:pt x="28031" y="21093"/>
                  <a:pt x="28031" y="21093"/>
                </a:cubicBezTo>
                <a:cubicBezTo>
                  <a:pt x="28031" y="21062"/>
                  <a:pt x="28063" y="20999"/>
                  <a:pt x="28031" y="21031"/>
                </a:cubicBezTo>
                <a:cubicBezTo>
                  <a:pt x="27969" y="21062"/>
                  <a:pt x="27875" y="20968"/>
                  <a:pt x="27813" y="21031"/>
                </a:cubicBezTo>
                <a:cubicBezTo>
                  <a:pt x="27844" y="20999"/>
                  <a:pt x="27781" y="20968"/>
                  <a:pt x="27844" y="20937"/>
                </a:cubicBezTo>
                <a:cubicBezTo>
                  <a:pt x="27875" y="20937"/>
                  <a:pt x="27844" y="20937"/>
                  <a:pt x="27844" y="20906"/>
                </a:cubicBezTo>
                <a:cubicBezTo>
                  <a:pt x="27813" y="20906"/>
                  <a:pt x="27781" y="20874"/>
                  <a:pt x="27750" y="20874"/>
                </a:cubicBezTo>
                <a:cubicBezTo>
                  <a:pt x="27719" y="20843"/>
                  <a:pt x="27688" y="20781"/>
                  <a:pt x="27688" y="20874"/>
                </a:cubicBezTo>
                <a:cubicBezTo>
                  <a:pt x="27688" y="20874"/>
                  <a:pt x="27656" y="20874"/>
                  <a:pt x="27656" y="20874"/>
                </a:cubicBezTo>
                <a:cubicBezTo>
                  <a:pt x="27563" y="20812"/>
                  <a:pt x="27438" y="20874"/>
                  <a:pt x="27313" y="20812"/>
                </a:cubicBezTo>
                <a:cubicBezTo>
                  <a:pt x="27281" y="20781"/>
                  <a:pt x="27250" y="20749"/>
                  <a:pt x="27188" y="20718"/>
                </a:cubicBezTo>
                <a:cubicBezTo>
                  <a:pt x="27188" y="20718"/>
                  <a:pt x="27219" y="20749"/>
                  <a:pt x="27188" y="20781"/>
                </a:cubicBezTo>
                <a:cubicBezTo>
                  <a:pt x="27156" y="20781"/>
                  <a:pt x="27125" y="20749"/>
                  <a:pt x="27125" y="20718"/>
                </a:cubicBezTo>
                <a:cubicBezTo>
                  <a:pt x="27125" y="20562"/>
                  <a:pt x="27063" y="20624"/>
                  <a:pt x="27000" y="20656"/>
                </a:cubicBezTo>
                <a:cubicBezTo>
                  <a:pt x="27000" y="20656"/>
                  <a:pt x="27063" y="20718"/>
                  <a:pt x="27031" y="20718"/>
                </a:cubicBezTo>
                <a:cubicBezTo>
                  <a:pt x="27000" y="20749"/>
                  <a:pt x="26938" y="20749"/>
                  <a:pt x="26906" y="20749"/>
                </a:cubicBezTo>
                <a:cubicBezTo>
                  <a:pt x="26844" y="20718"/>
                  <a:pt x="26781" y="20718"/>
                  <a:pt x="26719" y="20687"/>
                </a:cubicBezTo>
                <a:cubicBezTo>
                  <a:pt x="26688" y="20656"/>
                  <a:pt x="26594" y="20718"/>
                  <a:pt x="26531" y="20687"/>
                </a:cubicBezTo>
                <a:cubicBezTo>
                  <a:pt x="26344" y="20624"/>
                  <a:pt x="26125" y="20624"/>
                  <a:pt x="25938" y="20593"/>
                </a:cubicBezTo>
                <a:cubicBezTo>
                  <a:pt x="25906" y="20562"/>
                  <a:pt x="25844" y="20562"/>
                  <a:pt x="25813" y="20562"/>
                </a:cubicBezTo>
                <a:cubicBezTo>
                  <a:pt x="25719" y="20562"/>
                  <a:pt x="25688" y="20499"/>
                  <a:pt x="25625" y="20406"/>
                </a:cubicBezTo>
                <a:cubicBezTo>
                  <a:pt x="25656" y="20343"/>
                  <a:pt x="25594" y="20281"/>
                  <a:pt x="25688" y="20218"/>
                </a:cubicBezTo>
                <a:cubicBezTo>
                  <a:pt x="25750" y="20218"/>
                  <a:pt x="25750" y="20218"/>
                  <a:pt x="25750" y="20249"/>
                </a:cubicBezTo>
                <a:cubicBezTo>
                  <a:pt x="25750" y="20312"/>
                  <a:pt x="25750" y="20343"/>
                  <a:pt x="25844" y="20312"/>
                </a:cubicBezTo>
                <a:cubicBezTo>
                  <a:pt x="25844" y="20312"/>
                  <a:pt x="25875" y="20343"/>
                  <a:pt x="25875" y="20343"/>
                </a:cubicBezTo>
                <a:cubicBezTo>
                  <a:pt x="25875" y="20374"/>
                  <a:pt x="25844" y="20374"/>
                  <a:pt x="25844" y="20374"/>
                </a:cubicBezTo>
                <a:cubicBezTo>
                  <a:pt x="25719" y="20437"/>
                  <a:pt x="25719" y="20437"/>
                  <a:pt x="25719" y="20281"/>
                </a:cubicBezTo>
                <a:lnTo>
                  <a:pt x="25719" y="20281"/>
                </a:lnTo>
                <a:cubicBezTo>
                  <a:pt x="25625" y="20281"/>
                  <a:pt x="25688" y="20374"/>
                  <a:pt x="25625" y="20406"/>
                </a:cubicBezTo>
                <a:cubicBezTo>
                  <a:pt x="25594" y="20406"/>
                  <a:pt x="25563" y="20406"/>
                  <a:pt x="25563" y="20343"/>
                </a:cubicBezTo>
                <a:cubicBezTo>
                  <a:pt x="25594" y="20343"/>
                  <a:pt x="25594" y="20312"/>
                  <a:pt x="25563" y="20281"/>
                </a:cubicBezTo>
                <a:cubicBezTo>
                  <a:pt x="25563" y="20218"/>
                  <a:pt x="25531" y="20187"/>
                  <a:pt x="25469" y="20249"/>
                </a:cubicBezTo>
                <a:cubicBezTo>
                  <a:pt x="25438" y="20249"/>
                  <a:pt x="25406" y="20218"/>
                  <a:pt x="25406" y="20187"/>
                </a:cubicBezTo>
                <a:cubicBezTo>
                  <a:pt x="25406" y="20218"/>
                  <a:pt x="25438" y="20249"/>
                  <a:pt x="25469" y="20249"/>
                </a:cubicBezTo>
                <a:cubicBezTo>
                  <a:pt x="25500" y="20062"/>
                  <a:pt x="25438" y="19906"/>
                  <a:pt x="25375" y="19718"/>
                </a:cubicBezTo>
                <a:cubicBezTo>
                  <a:pt x="25344" y="19718"/>
                  <a:pt x="25313" y="19687"/>
                  <a:pt x="25344" y="19687"/>
                </a:cubicBezTo>
                <a:close/>
                <a:moveTo>
                  <a:pt x="25656" y="19656"/>
                </a:moveTo>
                <a:cubicBezTo>
                  <a:pt x="25656" y="19624"/>
                  <a:pt x="25688" y="19624"/>
                  <a:pt x="25750" y="19624"/>
                </a:cubicBezTo>
                <a:cubicBezTo>
                  <a:pt x="25750" y="19656"/>
                  <a:pt x="25781" y="19687"/>
                  <a:pt x="25781" y="19687"/>
                </a:cubicBezTo>
                <a:cubicBezTo>
                  <a:pt x="25750" y="19718"/>
                  <a:pt x="25719" y="19718"/>
                  <a:pt x="25688" y="19687"/>
                </a:cubicBezTo>
                <a:cubicBezTo>
                  <a:pt x="25688" y="19687"/>
                  <a:pt x="25688" y="19656"/>
                  <a:pt x="25656" y="19656"/>
                </a:cubicBezTo>
                <a:close/>
                <a:moveTo>
                  <a:pt x="24156" y="20093"/>
                </a:moveTo>
                <a:cubicBezTo>
                  <a:pt x="24156" y="20093"/>
                  <a:pt x="24156" y="20093"/>
                  <a:pt x="24156" y="20093"/>
                </a:cubicBezTo>
                <a:cubicBezTo>
                  <a:pt x="24156" y="20093"/>
                  <a:pt x="24156" y="20093"/>
                  <a:pt x="24156" y="20093"/>
                </a:cubicBezTo>
                <a:cubicBezTo>
                  <a:pt x="24156" y="20124"/>
                  <a:pt x="24156" y="20124"/>
                  <a:pt x="24188" y="20124"/>
                </a:cubicBezTo>
                <a:cubicBezTo>
                  <a:pt x="24219" y="20156"/>
                  <a:pt x="24281" y="20156"/>
                  <a:pt x="24313" y="20187"/>
                </a:cubicBezTo>
                <a:cubicBezTo>
                  <a:pt x="24313" y="20218"/>
                  <a:pt x="24281" y="20218"/>
                  <a:pt x="24250" y="20218"/>
                </a:cubicBezTo>
                <a:cubicBezTo>
                  <a:pt x="24219" y="20218"/>
                  <a:pt x="24188" y="20187"/>
                  <a:pt x="24156" y="20156"/>
                </a:cubicBezTo>
                <a:cubicBezTo>
                  <a:pt x="24156" y="20156"/>
                  <a:pt x="24156" y="20156"/>
                  <a:pt x="24156" y="20156"/>
                </a:cubicBezTo>
                <a:cubicBezTo>
                  <a:pt x="24125" y="20156"/>
                  <a:pt x="24125" y="20124"/>
                  <a:pt x="24156" y="20093"/>
                </a:cubicBezTo>
                <a:close/>
                <a:moveTo>
                  <a:pt x="23250" y="20406"/>
                </a:moveTo>
                <a:cubicBezTo>
                  <a:pt x="23250" y="20406"/>
                  <a:pt x="23281" y="20406"/>
                  <a:pt x="23281" y="20406"/>
                </a:cubicBezTo>
                <a:cubicBezTo>
                  <a:pt x="23313" y="20437"/>
                  <a:pt x="23375" y="20468"/>
                  <a:pt x="23313" y="20499"/>
                </a:cubicBezTo>
                <a:cubicBezTo>
                  <a:pt x="23281" y="20531"/>
                  <a:pt x="23281" y="20499"/>
                  <a:pt x="23250" y="20468"/>
                </a:cubicBezTo>
                <a:cubicBezTo>
                  <a:pt x="23219" y="20437"/>
                  <a:pt x="23156" y="20437"/>
                  <a:pt x="23156" y="20374"/>
                </a:cubicBezTo>
                <a:cubicBezTo>
                  <a:pt x="23188" y="20374"/>
                  <a:pt x="23219" y="20374"/>
                  <a:pt x="23250" y="20406"/>
                </a:cubicBezTo>
                <a:close/>
                <a:moveTo>
                  <a:pt x="22688" y="19187"/>
                </a:moveTo>
                <a:cubicBezTo>
                  <a:pt x="22656" y="19218"/>
                  <a:pt x="22688" y="19281"/>
                  <a:pt x="22625" y="19312"/>
                </a:cubicBezTo>
                <a:cubicBezTo>
                  <a:pt x="22625" y="19312"/>
                  <a:pt x="22594" y="19281"/>
                  <a:pt x="22594" y="19281"/>
                </a:cubicBezTo>
                <a:cubicBezTo>
                  <a:pt x="22594" y="19218"/>
                  <a:pt x="22625" y="19218"/>
                  <a:pt x="22688" y="19187"/>
                </a:cubicBezTo>
                <a:close/>
                <a:moveTo>
                  <a:pt x="22438" y="19906"/>
                </a:moveTo>
                <a:cubicBezTo>
                  <a:pt x="22438" y="19874"/>
                  <a:pt x="22469" y="19906"/>
                  <a:pt x="22500" y="19874"/>
                </a:cubicBezTo>
                <a:cubicBezTo>
                  <a:pt x="22531" y="19906"/>
                  <a:pt x="22563" y="19906"/>
                  <a:pt x="22531" y="19906"/>
                </a:cubicBezTo>
                <a:cubicBezTo>
                  <a:pt x="22500" y="19906"/>
                  <a:pt x="22469" y="19906"/>
                  <a:pt x="22438" y="19906"/>
                </a:cubicBezTo>
                <a:close/>
                <a:moveTo>
                  <a:pt x="22719" y="20406"/>
                </a:moveTo>
                <a:cubicBezTo>
                  <a:pt x="22688" y="20437"/>
                  <a:pt x="22656" y="20406"/>
                  <a:pt x="22656" y="20406"/>
                </a:cubicBezTo>
                <a:cubicBezTo>
                  <a:pt x="22594" y="20343"/>
                  <a:pt x="22531" y="20281"/>
                  <a:pt x="22469" y="20218"/>
                </a:cubicBezTo>
                <a:cubicBezTo>
                  <a:pt x="22531" y="20218"/>
                  <a:pt x="22531" y="20218"/>
                  <a:pt x="22500" y="20187"/>
                </a:cubicBezTo>
                <a:cubicBezTo>
                  <a:pt x="22500" y="20187"/>
                  <a:pt x="22531" y="20156"/>
                  <a:pt x="22563" y="20156"/>
                </a:cubicBezTo>
                <a:cubicBezTo>
                  <a:pt x="22563" y="20156"/>
                  <a:pt x="22563" y="20156"/>
                  <a:pt x="22563" y="20156"/>
                </a:cubicBezTo>
                <a:cubicBezTo>
                  <a:pt x="22594" y="20156"/>
                  <a:pt x="22625" y="20156"/>
                  <a:pt x="22625" y="20218"/>
                </a:cubicBezTo>
                <a:cubicBezTo>
                  <a:pt x="22594" y="20218"/>
                  <a:pt x="22563" y="20249"/>
                  <a:pt x="22594" y="20281"/>
                </a:cubicBezTo>
                <a:cubicBezTo>
                  <a:pt x="22594" y="20281"/>
                  <a:pt x="22625" y="20281"/>
                  <a:pt x="22625" y="20249"/>
                </a:cubicBezTo>
                <a:cubicBezTo>
                  <a:pt x="22656" y="20249"/>
                  <a:pt x="22688" y="20218"/>
                  <a:pt x="22719" y="20281"/>
                </a:cubicBezTo>
                <a:cubicBezTo>
                  <a:pt x="22750" y="20312"/>
                  <a:pt x="22719" y="20374"/>
                  <a:pt x="22719" y="20406"/>
                </a:cubicBezTo>
                <a:close/>
                <a:moveTo>
                  <a:pt x="22750" y="19312"/>
                </a:moveTo>
                <a:cubicBezTo>
                  <a:pt x="22750" y="19312"/>
                  <a:pt x="22719" y="19312"/>
                  <a:pt x="22750" y="19281"/>
                </a:cubicBezTo>
                <a:cubicBezTo>
                  <a:pt x="22781" y="19281"/>
                  <a:pt x="22813" y="19281"/>
                  <a:pt x="22813" y="19281"/>
                </a:cubicBezTo>
                <a:cubicBezTo>
                  <a:pt x="22844" y="19343"/>
                  <a:pt x="22938" y="19343"/>
                  <a:pt x="22906" y="19406"/>
                </a:cubicBezTo>
                <a:cubicBezTo>
                  <a:pt x="22875" y="19406"/>
                  <a:pt x="22813" y="19374"/>
                  <a:pt x="22781" y="19374"/>
                </a:cubicBezTo>
                <a:cubicBezTo>
                  <a:pt x="22750" y="19343"/>
                  <a:pt x="22750" y="19374"/>
                  <a:pt x="22750" y="19312"/>
                </a:cubicBezTo>
                <a:close/>
                <a:moveTo>
                  <a:pt x="22906" y="19687"/>
                </a:moveTo>
                <a:cubicBezTo>
                  <a:pt x="22844" y="19593"/>
                  <a:pt x="22750" y="19562"/>
                  <a:pt x="22750" y="19468"/>
                </a:cubicBezTo>
                <a:cubicBezTo>
                  <a:pt x="22875" y="19468"/>
                  <a:pt x="22938" y="19531"/>
                  <a:pt x="22906" y="19687"/>
                </a:cubicBezTo>
                <a:close/>
                <a:moveTo>
                  <a:pt x="23063" y="19499"/>
                </a:moveTo>
                <a:cubicBezTo>
                  <a:pt x="23063" y="19468"/>
                  <a:pt x="23094" y="19468"/>
                  <a:pt x="23094" y="19468"/>
                </a:cubicBezTo>
                <a:cubicBezTo>
                  <a:pt x="23156" y="19468"/>
                  <a:pt x="23125" y="19531"/>
                  <a:pt x="23156" y="19562"/>
                </a:cubicBezTo>
                <a:cubicBezTo>
                  <a:pt x="23094" y="19531"/>
                  <a:pt x="23063" y="19531"/>
                  <a:pt x="23063" y="19499"/>
                </a:cubicBezTo>
                <a:close/>
                <a:moveTo>
                  <a:pt x="23281" y="20749"/>
                </a:moveTo>
                <a:cubicBezTo>
                  <a:pt x="23188" y="20749"/>
                  <a:pt x="23156" y="20781"/>
                  <a:pt x="23094" y="20718"/>
                </a:cubicBezTo>
                <a:cubicBezTo>
                  <a:pt x="23094" y="20687"/>
                  <a:pt x="23125" y="20687"/>
                  <a:pt x="23125" y="20687"/>
                </a:cubicBezTo>
                <a:cubicBezTo>
                  <a:pt x="23125" y="20656"/>
                  <a:pt x="23125" y="20624"/>
                  <a:pt x="23156" y="20624"/>
                </a:cubicBezTo>
                <a:lnTo>
                  <a:pt x="23156" y="20624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8"/>
                </a:lnTo>
                <a:lnTo>
                  <a:pt x="23156" y="20628"/>
                </a:lnTo>
                <a:lnTo>
                  <a:pt x="23156" y="20628"/>
                </a:lnTo>
                <a:lnTo>
                  <a:pt x="23156" y="20629"/>
                </a:lnTo>
                <a:lnTo>
                  <a:pt x="23156" y="20629"/>
                </a:lnTo>
                <a:lnTo>
                  <a:pt x="23156" y="20629"/>
                </a:lnTo>
                <a:lnTo>
                  <a:pt x="23156" y="20630"/>
                </a:lnTo>
                <a:lnTo>
                  <a:pt x="23156" y="20630"/>
                </a:lnTo>
                <a:lnTo>
                  <a:pt x="23156" y="20630"/>
                </a:lnTo>
                <a:lnTo>
                  <a:pt x="23156" y="20631"/>
                </a:lnTo>
                <a:lnTo>
                  <a:pt x="23156" y="20631"/>
                </a:lnTo>
                <a:lnTo>
                  <a:pt x="23156" y="20631"/>
                </a:lnTo>
                <a:lnTo>
                  <a:pt x="23156" y="20631"/>
                </a:lnTo>
                <a:lnTo>
                  <a:pt x="23156" y="20632"/>
                </a:lnTo>
                <a:lnTo>
                  <a:pt x="23156" y="20632"/>
                </a:lnTo>
                <a:lnTo>
                  <a:pt x="23156" y="20632"/>
                </a:lnTo>
                <a:lnTo>
                  <a:pt x="23156" y="20632"/>
                </a:lnTo>
                <a:lnTo>
                  <a:pt x="23156" y="20633"/>
                </a:lnTo>
                <a:lnTo>
                  <a:pt x="23156" y="20633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5"/>
                </a:lnTo>
                <a:lnTo>
                  <a:pt x="23156" y="20635"/>
                </a:lnTo>
                <a:lnTo>
                  <a:pt x="23156" y="20635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5"/>
                </a:lnTo>
                <a:lnTo>
                  <a:pt x="23156" y="20645"/>
                </a:lnTo>
                <a:lnTo>
                  <a:pt x="23156" y="20645"/>
                </a:lnTo>
                <a:lnTo>
                  <a:pt x="23156" y="20645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7"/>
                </a:lnTo>
                <a:lnTo>
                  <a:pt x="23156" y="20647"/>
                </a:lnTo>
                <a:lnTo>
                  <a:pt x="23156" y="20647"/>
                </a:lnTo>
                <a:lnTo>
                  <a:pt x="23156" y="20647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cubicBezTo>
                  <a:pt x="23156" y="20656"/>
                  <a:pt x="23156" y="20656"/>
                  <a:pt x="23156" y="20656"/>
                </a:cubicBez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7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5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5"/>
                </a:lnTo>
                <a:lnTo>
                  <a:pt x="23156" y="20635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3"/>
                </a:lnTo>
                <a:lnTo>
                  <a:pt x="23156" y="20632"/>
                </a:lnTo>
                <a:lnTo>
                  <a:pt x="23156" y="20631"/>
                </a:lnTo>
                <a:lnTo>
                  <a:pt x="23156" y="20630"/>
                </a:lnTo>
                <a:lnTo>
                  <a:pt x="23156" y="20629"/>
                </a:lnTo>
                <a:lnTo>
                  <a:pt x="23156" y="20627"/>
                </a:lnTo>
                <a:lnTo>
                  <a:pt x="23156" y="20626"/>
                </a:lnTo>
                <a:lnTo>
                  <a:pt x="23156" y="20624"/>
                </a:lnTo>
                <a:cubicBezTo>
                  <a:pt x="23156" y="20562"/>
                  <a:pt x="23094" y="20531"/>
                  <a:pt x="23094" y="20468"/>
                </a:cubicBezTo>
                <a:cubicBezTo>
                  <a:pt x="23219" y="20499"/>
                  <a:pt x="23250" y="20624"/>
                  <a:pt x="23344" y="20656"/>
                </a:cubicBezTo>
                <a:cubicBezTo>
                  <a:pt x="23313" y="20687"/>
                  <a:pt x="23406" y="20749"/>
                  <a:pt x="23281" y="20749"/>
                </a:cubicBezTo>
                <a:close/>
                <a:moveTo>
                  <a:pt x="23500" y="20093"/>
                </a:moveTo>
                <a:cubicBezTo>
                  <a:pt x="23500" y="20093"/>
                  <a:pt x="23469" y="20093"/>
                  <a:pt x="23469" y="20124"/>
                </a:cubicBezTo>
                <a:cubicBezTo>
                  <a:pt x="23469" y="20187"/>
                  <a:pt x="23469" y="20218"/>
                  <a:pt x="23500" y="20249"/>
                </a:cubicBezTo>
                <a:cubicBezTo>
                  <a:pt x="23469" y="20218"/>
                  <a:pt x="23469" y="20187"/>
                  <a:pt x="23469" y="20124"/>
                </a:cubicBezTo>
                <a:cubicBezTo>
                  <a:pt x="23438" y="20093"/>
                  <a:pt x="23438" y="20031"/>
                  <a:pt x="23406" y="19999"/>
                </a:cubicBezTo>
                <a:cubicBezTo>
                  <a:pt x="23438" y="19999"/>
                  <a:pt x="23438" y="19999"/>
                  <a:pt x="23438" y="19999"/>
                </a:cubicBezTo>
                <a:cubicBezTo>
                  <a:pt x="23406" y="19874"/>
                  <a:pt x="23469" y="19906"/>
                  <a:pt x="23531" y="19874"/>
                </a:cubicBezTo>
                <a:cubicBezTo>
                  <a:pt x="23563" y="19874"/>
                  <a:pt x="23594" y="19874"/>
                  <a:pt x="23625" y="19843"/>
                </a:cubicBezTo>
                <a:cubicBezTo>
                  <a:pt x="23656" y="19812"/>
                  <a:pt x="23688" y="19812"/>
                  <a:pt x="23719" y="19812"/>
                </a:cubicBezTo>
                <a:cubicBezTo>
                  <a:pt x="23750" y="19812"/>
                  <a:pt x="23750" y="19843"/>
                  <a:pt x="23750" y="19843"/>
                </a:cubicBezTo>
                <a:cubicBezTo>
                  <a:pt x="23750" y="19843"/>
                  <a:pt x="23750" y="19843"/>
                  <a:pt x="23781" y="19843"/>
                </a:cubicBezTo>
                <a:cubicBezTo>
                  <a:pt x="23875" y="19906"/>
                  <a:pt x="23969" y="19968"/>
                  <a:pt x="24063" y="20031"/>
                </a:cubicBezTo>
                <a:cubicBezTo>
                  <a:pt x="24063" y="20062"/>
                  <a:pt x="24063" y="20062"/>
                  <a:pt x="24063" y="20062"/>
                </a:cubicBezTo>
                <a:cubicBezTo>
                  <a:pt x="24094" y="20156"/>
                  <a:pt x="24063" y="20156"/>
                  <a:pt x="24000" y="20156"/>
                </a:cubicBezTo>
                <a:cubicBezTo>
                  <a:pt x="23875" y="20156"/>
                  <a:pt x="23781" y="20062"/>
                  <a:pt x="23656" y="20093"/>
                </a:cubicBezTo>
                <a:cubicBezTo>
                  <a:pt x="23656" y="20093"/>
                  <a:pt x="23656" y="20062"/>
                  <a:pt x="23656" y="20062"/>
                </a:cubicBezTo>
                <a:cubicBezTo>
                  <a:pt x="23594" y="19874"/>
                  <a:pt x="23563" y="20093"/>
                  <a:pt x="23500" y="20093"/>
                </a:cubicBezTo>
                <a:close/>
                <a:moveTo>
                  <a:pt x="24000" y="20343"/>
                </a:moveTo>
                <a:cubicBezTo>
                  <a:pt x="23938" y="20374"/>
                  <a:pt x="23906" y="20406"/>
                  <a:pt x="23875" y="20312"/>
                </a:cubicBezTo>
                <a:cubicBezTo>
                  <a:pt x="23844" y="20312"/>
                  <a:pt x="23844" y="20343"/>
                  <a:pt x="23813" y="20312"/>
                </a:cubicBezTo>
                <a:cubicBezTo>
                  <a:pt x="23813" y="20281"/>
                  <a:pt x="23813" y="20281"/>
                  <a:pt x="23844" y="20281"/>
                </a:cubicBezTo>
                <a:cubicBezTo>
                  <a:pt x="23875" y="20281"/>
                  <a:pt x="23875" y="20281"/>
                  <a:pt x="23875" y="20312"/>
                </a:cubicBezTo>
                <a:cubicBezTo>
                  <a:pt x="23938" y="20312"/>
                  <a:pt x="23969" y="20312"/>
                  <a:pt x="24000" y="20343"/>
                </a:cubicBezTo>
                <a:close/>
                <a:moveTo>
                  <a:pt x="23656" y="20812"/>
                </a:moveTo>
                <a:cubicBezTo>
                  <a:pt x="23656" y="20812"/>
                  <a:pt x="23625" y="20812"/>
                  <a:pt x="23656" y="20781"/>
                </a:cubicBezTo>
                <a:cubicBezTo>
                  <a:pt x="23656" y="20781"/>
                  <a:pt x="23656" y="20781"/>
                  <a:pt x="23688" y="20781"/>
                </a:cubicBezTo>
                <a:cubicBezTo>
                  <a:pt x="23719" y="20812"/>
                  <a:pt x="23750" y="20812"/>
                  <a:pt x="23781" y="20874"/>
                </a:cubicBezTo>
                <a:cubicBezTo>
                  <a:pt x="23719" y="20906"/>
                  <a:pt x="23688" y="20812"/>
                  <a:pt x="23656" y="20812"/>
                </a:cubicBezTo>
                <a:close/>
                <a:moveTo>
                  <a:pt x="23875" y="22812"/>
                </a:moveTo>
                <a:cubicBezTo>
                  <a:pt x="23813" y="22781"/>
                  <a:pt x="23781" y="22749"/>
                  <a:pt x="23750" y="22687"/>
                </a:cubicBezTo>
                <a:cubicBezTo>
                  <a:pt x="23813" y="22687"/>
                  <a:pt x="23844" y="22749"/>
                  <a:pt x="23906" y="22812"/>
                </a:cubicBezTo>
                <a:cubicBezTo>
                  <a:pt x="23906" y="22812"/>
                  <a:pt x="23938" y="22812"/>
                  <a:pt x="23938" y="22843"/>
                </a:cubicBezTo>
                <a:cubicBezTo>
                  <a:pt x="23906" y="22843"/>
                  <a:pt x="23875" y="22843"/>
                  <a:pt x="23875" y="22812"/>
                </a:cubicBezTo>
                <a:close/>
                <a:moveTo>
                  <a:pt x="24094" y="22624"/>
                </a:moveTo>
                <a:cubicBezTo>
                  <a:pt x="24063" y="22593"/>
                  <a:pt x="24031" y="22562"/>
                  <a:pt x="24031" y="22562"/>
                </a:cubicBezTo>
                <a:cubicBezTo>
                  <a:pt x="24031" y="22562"/>
                  <a:pt x="24063" y="22562"/>
                  <a:pt x="24063" y="22531"/>
                </a:cubicBezTo>
                <a:cubicBezTo>
                  <a:pt x="24063" y="22499"/>
                  <a:pt x="24063" y="22499"/>
                  <a:pt x="24063" y="22468"/>
                </a:cubicBezTo>
                <a:cubicBezTo>
                  <a:pt x="24063" y="22499"/>
                  <a:pt x="24063" y="22499"/>
                  <a:pt x="24063" y="22531"/>
                </a:cubicBezTo>
                <a:cubicBezTo>
                  <a:pt x="24125" y="22562"/>
                  <a:pt x="24156" y="22562"/>
                  <a:pt x="24188" y="22593"/>
                </a:cubicBezTo>
                <a:cubicBezTo>
                  <a:pt x="24156" y="22624"/>
                  <a:pt x="24125" y="22593"/>
                  <a:pt x="24094" y="22624"/>
                </a:cubicBezTo>
                <a:close/>
                <a:moveTo>
                  <a:pt x="24219" y="21749"/>
                </a:moveTo>
                <a:cubicBezTo>
                  <a:pt x="24219" y="21749"/>
                  <a:pt x="24219" y="21749"/>
                  <a:pt x="24219" y="21749"/>
                </a:cubicBezTo>
                <a:cubicBezTo>
                  <a:pt x="24219" y="21749"/>
                  <a:pt x="24219" y="21781"/>
                  <a:pt x="24219" y="21781"/>
                </a:cubicBezTo>
                <a:cubicBezTo>
                  <a:pt x="24219" y="21781"/>
                  <a:pt x="24219" y="21749"/>
                  <a:pt x="24219" y="21749"/>
                </a:cubicBezTo>
                <a:close/>
                <a:moveTo>
                  <a:pt x="24563" y="20999"/>
                </a:moveTo>
                <a:cubicBezTo>
                  <a:pt x="24531" y="20937"/>
                  <a:pt x="24594" y="20937"/>
                  <a:pt x="24625" y="20906"/>
                </a:cubicBezTo>
                <a:cubicBezTo>
                  <a:pt x="24656" y="20874"/>
                  <a:pt x="24719" y="20906"/>
                  <a:pt x="24750" y="20843"/>
                </a:cubicBezTo>
                <a:cubicBezTo>
                  <a:pt x="24781" y="20843"/>
                  <a:pt x="24781" y="20843"/>
                  <a:pt x="24781" y="20812"/>
                </a:cubicBezTo>
                <a:cubicBezTo>
                  <a:pt x="24781" y="20812"/>
                  <a:pt x="24781" y="20812"/>
                  <a:pt x="24781" y="20812"/>
                </a:cubicBezTo>
                <a:cubicBezTo>
                  <a:pt x="24719" y="20812"/>
                  <a:pt x="24688" y="20812"/>
                  <a:pt x="24625" y="20812"/>
                </a:cubicBezTo>
                <a:cubicBezTo>
                  <a:pt x="24656" y="20812"/>
                  <a:pt x="24656" y="20812"/>
                  <a:pt x="24688" y="20812"/>
                </a:cubicBezTo>
                <a:cubicBezTo>
                  <a:pt x="24688" y="20843"/>
                  <a:pt x="24656" y="20874"/>
                  <a:pt x="24656" y="20874"/>
                </a:cubicBezTo>
                <a:cubicBezTo>
                  <a:pt x="24531" y="20874"/>
                  <a:pt x="24469" y="20937"/>
                  <a:pt x="24375" y="20999"/>
                </a:cubicBezTo>
                <a:cubicBezTo>
                  <a:pt x="24344" y="20999"/>
                  <a:pt x="24313" y="20999"/>
                  <a:pt x="24313" y="20968"/>
                </a:cubicBezTo>
                <a:cubicBezTo>
                  <a:pt x="24281" y="20906"/>
                  <a:pt x="24219" y="20906"/>
                  <a:pt x="24219" y="20874"/>
                </a:cubicBezTo>
                <a:cubicBezTo>
                  <a:pt x="24156" y="20812"/>
                  <a:pt x="24063" y="20781"/>
                  <a:pt x="24000" y="20687"/>
                </a:cubicBezTo>
                <a:cubicBezTo>
                  <a:pt x="23969" y="20656"/>
                  <a:pt x="23906" y="20593"/>
                  <a:pt x="23844" y="20562"/>
                </a:cubicBezTo>
                <a:cubicBezTo>
                  <a:pt x="23813" y="20531"/>
                  <a:pt x="23781" y="20499"/>
                  <a:pt x="23781" y="20468"/>
                </a:cubicBezTo>
                <a:cubicBezTo>
                  <a:pt x="23781" y="20406"/>
                  <a:pt x="23750" y="20406"/>
                  <a:pt x="23719" y="20406"/>
                </a:cubicBezTo>
                <a:cubicBezTo>
                  <a:pt x="23688" y="20406"/>
                  <a:pt x="23656" y="20374"/>
                  <a:pt x="23656" y="20343"/>
                </a:cubicBezTo>
                <a:cubicBezTo>
                  <a:pt x="23656" y="20312"/>
                  <a:pt x="23688" y="20343"/>
                  <a:pt x="23719" y="20343"/>
                </a:cubicBezTo>
                <a:cubicBezTo>
                  <a:pt x="23688" y="20312"/>
                  <a:pt x="23625" y="20343"/>
                  <a:pt x="23625" y="20281"/>
                </a:cubicBezTo>
                <a:cubicBezTo>
                  <a:pt x="23688" y="20281"/>
                  <a:pt x="23750" y="20249"/>
                  <a:pt x="23750" y="20312"/>
                </a:cubicBezTo>
                <a:cubicBezTo>
                  <a:pt x="23781" y="20374"/>
                  <a:pt x="23844" y="20406"/>
                  <a:pt x="23938" y="20406"/>
                </a:cubicBezTo>
                <a:cubicBezTo>
                  <a:pt x="24000" y="20406"/>
                  <a:pt x="24094" y="20406"/>
                  <a:pt x="24188" y="20468"/>
                </a:cubicBezTo>
                <a:cubicBezTo>
                  <a:pt x="24188" y="20562"/>
                  <a:pt x="24250" y="20624"/>
                  <a:pt x="24281" y="20718"/>
                </a:cubicBezTo>
                <a:cubicBezTo>
                  <a:pt x="24281" y="20781"/>
                  <a:pt x="24438" y="20781"/>
                  <a:pt x="24500" y="20749"/>
                </a:cubicBezTo>
                <a:cubicBezTo>
                  <a:pt x="24469" y="20781"/>
                  <a:pt x="24469" y="20781"/>
                  <a:pt x="24469" y="20812"/>
                </a:cubicBezTo>
                <a:cubicBezTo>
                  <a:pt x="24469" y="20843"/>
                  <a:pt x="24469" y="20843"/>
                  <a:pt x="24500" y="20843"/>
                </a:cubicBezTo>
                <a:cubicBezTo>
                  <a:pt x="24531" y="20843"/>
                  <a:pt x="24563" y="20843"/>
                  <a:pt x="24563" y="20812"/>
                </a:cubicBezTo>
                <a:cubicBezTo>
                  <a:pt x="24531" y="20749"/>
                  <a:pt x="24531" y="20749"/>
                  <a:pt x="24625" y="20749"/>
                </a:cubicBezTo>
                <a:cubicBezTo>
                  <a:pt x="24625" y="20749"/>
                  <a:pt x="24625" y="20749"/>
                  <a:pt x="24656" y="20749"/>
                </a:cubicBezTo>
                <a:cubicBezTo>
                  <a:pt x="24656" y="20749"/>
                  <a:pt x="24688" y="20749"/>
                  <a:pt x="24688" y="20718"/>
                </a:cubicBezTo>
                <a:cubicBezTo>
                  <a:pt x="24719" y="20718"/>
                  <a:pt x="24719" y="20718"/>
                  <a:pt x="24719" y="20718"/>
                </a:cubicBezTo>
                <a:cubicBezTo>
                  <a:pt x="24750" y="20749"/>
                  <a:pt x="24781" y="20781"/>
                  <a:pt x="24781" y="20812"/>
                </a:cubicBezTo>
                <a:cubicBezTo>
                  <a:pt x="24781" y="20812"/>
                  <a:pt x="24781" y="20812"/>
                  <a:pt x="24781" y="20812"/>
                </a:cubicBezTo>
                <a:cubicBezTo>
                  <a:pt x="24813" y="20812"/>
                  <a:pt x="24813" y="20843"/>
                  <a:pt x="24844" y="20812"/>
                </a:cubicBezTo>
                <a:cubicBezTo>
                  <a:pt x="24875" y="20781"/>
                  <a:pt x="24938" y="20812"/>
                  <a:pt x="24938" y="20749"/>
                </a:cubicBezTo>
                <a:cubicBezTo>
                  <a:pt x="25000" y="20781"/>
                  <a:pt x="25031" y="20718"/>
                  <a:pt x="25063" y="20749"/>
                </a:cubicBezTo>
                <a:cubicBezTo>
                  <a:pt x="25063" y="20749"/>
                  <a:pt x="25094" y="20781"/>
                  <a:pt x="25094" y="20781"/>
                </a:cubicBezTo>
                <a:cubicBezTo>
                  <a:pt x="25031" y="20812"/>
                  <a:pt x="25063" y="20843"/>
                  <a:pt x="25125" y="20874"/>
                </a:cubicBezTo>
                <a:cubicBezTo>
                  <a:pt x="25000" y="20874"/>
                  <a:pt x="24938" y="20968"/>
                  <a:pt x="24844" y="20968"/>
                </a:cubicBezTo>
                <a:cubicBezTo>
                  <a:pt x="24781" y="20968"/>
                  <a:pt x="24719" y="21031"/>
                  <a:pt x="24688" y="21062"/>
                </a:cubicBezTo>
                <a:cubicBezTo>
                  <a:pt x="24594" y="21093"/>
                  <a:pt x="24594" y="21062"/>
                  <a:pt x="24563" y="20999"/>
                </a:cubicBezTo>
                <a:close/>
                <a:moveTo>
                  <a:pt x="24656" y="21249"/>
                </a:moveTo>
                <a:cubicBezTo>
                  <a:pt x="24625" y="21249"/>
                  <a:pt x="24594" y="21218"/>
                  <a:pt x="24625" y="21187"/>
                </a:cubicBezTo>
                <a:cubicBezTo>
                  <a:pt x="24688" y="21124"/>
                  <a:pt x="24719" y="21031"/>
                  <a:pt x="24844" y="21093"/>
                </a:cubicBezTo>
                <a:cubicBezTo>
                  <a:pt x="24844" y="21093"/>
                  <a:pt x="24844" y="21093"/>
                  <a:pt x="24844" y="21093"/>
                </a:cubicBezTo>
                <a:cubicBezTo>
                  <a:pt x="24938" y="20968"/>
                  <a:pt x="25094" y="20999"/>
                  <a:pt x="25188" y="20906"/>
                </a:cubicBezTo>
                <a:cubicBezTo>
                  <a:pt x="25219" y="20874"/>
                  <a:pt x="25281" y="20937"/>
                  <a:pt x="25313" y="20906"/>
                </a:cubicBezTo>
                <a:cubicBezTo>
                  <a:pt x="25313" y="20968"/>
                  <a:pt x="25344" y="20937"/>
                  <a:pt x="25375" y="20937"/>
                </a:cubicBezTo>
                <a:cubicBezTo>
                  <a:pt x="25406" y="20937"/>
                  <a:pt x="25469" y="20937"/>
                  <a:pt x="25469" y="20968"/>
                </a:cubicBezTo>
                <a:cubicBezTo>
                  <a:pt x="25469" y="21031"/>
                  <a:pt x="25406" y="20999"/>
                  <a:pt x="25406" y="20999"/>
                </a:cubicBezTo>
                <a:cubicBezTo>
                  <a:pt x="25344" y="20999"/>
                  <a:pt x="25344" y="21031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13" y="21062"/>
                  <a:pt x="25281" y="21062"/>
                  <a:pt x="25281" y="21093"/>
                </a:cubicBezTo>
                <a:cubicBezTo>
                  <a:pt x="25281" y="21093"/>
                  <a:pt x="25281" y="21093"/>
                  <a:pt x="25281" y="21093"/>
                </a:cubicBezTo>
                <a:cubicBezTo>
                  <a:pt x="25156" y="21093"/>
                  <a:pt x="25063" y="21156"/>
                  <a:pt x="24969" y="21187"/>
                </a:cubicBezTo>
                <a:cubicBezTo>
                  <a:pt x="24875" y="21249"/>
                  <a:pt x="24781" y="21249"/>
                  <a:pt x="24656" y="21249"/>
                </a:cubicBezTo>
                <a:close/>
                <a:moveTo>
                  <a:pt x="25313" y="20906"/>
                </a:moveTo>
                <a:cubicBezTo>
                  <a:pt x="25313" y="20906"/>
                  <a:pt x="25313" y="20906"/>
                  <a:pt x="25344" y="20874"/>
                </a:cubicBezTo>
                <a:cubicBezTo>
                  <a:pt x="25344" y="20906"/>
                  <a:pt x="25344" y="20906"/>
                  <a:pt x="25344" y="20906"/>
                </a:cubicBezTo>
                <a:cubicBezTo>
                  <a:pt x="25344" y="20906"/>
                  <a:pt x="25313" y="20906"/>
                  <a:pt x="25313" y="20906"/>
                </a:cubicBezTo>
                <a:close/>
                <a:moveTo>
                  <a:pt x="25406" y="21062"/>
                </a:moveTo>
                <a:cubicBezTo>
                  <a:pt x="25375" y="21062"/>
                  <a:pt x="25344" y="21062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44" y="21062"/>
                  <a:pt x="25375" y="21062"/>
                  <a:pt x="25406" y="21062"/>
                </a:cubicBezTo>
                <a:cubicBezTo>
                  <a:pt x="25406" y="21062"/>
                  <a:pt x="25438" y="21062"/>
                  <a:pt x="25438" y="21062"/>
                </a:cubicBezTo>
                <a:cubicBezTo>
                  <a:pt x="25469" y="21062"/>
                  <a:pt x="25531" y="20999"/>
                  <a:pt x="25563" y="21062"/>
                </a:cubicBezTo>
                <a:cubicBezTo>
                  <a:pt x="25563" y="21093"/>
                  <a:pt x="25563" y="21124"/>
                  <a:pt x="25531" y="21156"/>
                </a:cubicBezTo>
                <a:cubicBezTo>
                  <a:pt x="25469" y="21218"/>
                  <a:pt x="25438" y="21156"/>
                  <a:pt x="25406" y="21124"/>
                </a:cubicBezTo>
                <a:cubicBezTo>
                  <a:pt x="25406" y="21124"/>
                  <a:pt x="25406" y="21124"/>
                  <a:pt x="25406" y="21124"/>
                </a:cubicBezTo>
                <a:cubicBezTo>
                  <a:pt x="25406" y="21093"/>
                  <a:pt x="25406" y="21093"/>
                  <a:pt x="25406" y="21062"/>
                </a:cubicBezTo>
                <a:close/>
                <a:moveTo>
                  <a:pt x="25406" y="21124"/>
                </a:moveTo>
                <a:cubicBezTo>
                  <a:pt x="25344" y="21187"/>
                  <a:pt x="25281" y="21187"/>
                  <a:pt x="25219" y="21187"/>
                </a:cubicBezTo>
                <a:cubicBezTo>
                  <a:pt x="25219" y="21124"/>
                  <a:pt x="25250" y="21124"/>
                  <a:pt x="25281" y="21124"/>
                </a:cubicBezTo>
                <a:cubicBezTo>
                  <a:pt x="25313" y="21124"/>
                  <a:pt x="25344" y="21124"/>
                  <a:pt x="25406" y="21124"/>
                </a:cubicBezTo>
                <a:close/>
                <a:moveTo>
                  <a:pt x="24906" y="22499"/>
                </a:moveTo>
                <a:cubicBezTo>
                  <a:pt x="25000" y="22531"/>
                  <a:pt x="25063" y="22562"/>
                  <a:pt x="25125" y="22624"/>
                </a:cubicBezTo>
                <a:cubicBezTo>
                  <a:pt x="25031" y="22624"/>
                  <a:pt x="24969" y="22562"/>
                  <a:pt x="24906" y="22499"/>
                </a:cubicBezTo>
                <a:close/>
                <a:moveTo>
                  <a:pt x="25031" y="21624"/>
                </a:moveTo>
                <a:cubicBezTo>
                  <a:pt x="25000" y="21593"/>
                  <a:pt x="24938" y="21531"/>
                  <a:pt x="24875" y="21499"/>
                </a:cubicBezTo>
                <a:cubicBezTo>
                  <a:pt x="24844" y="21468"/>
                  <a:pt x="24844" y="21468"/>
                  <a:pt x="24844" y="21437"/>
                </a:cubicBezTo>
                <a:cubicBezTo>
                  <a:pt x="24875" y="21406"/>
                  <a:pt x="24875" y="21406"/>
                  <a:pt x="24906" y="21374"/>
                </a:cubicBezTo>
                <a:cubicBezTo>
                  <a:pt x="25125" y="21374"/>
                  <a:pt x="25313" y="21343"/>
                  <a:pt x="25531" y="21312"/>
                </a:cubicBezTo>
                <a:cubicBezTo>
                  <a:pt x="25563" y="21312"/>
                  <a:pt x="25594" y="21312"/>
                  <a:pt x="25594" y="21374"/>
                </a:cubicBezTo>
                <a:cubicBezTo>
                  <a:pt x="25625" y="21406"/>
                  <a:pt x="25625" y="21437"/>
                  <a:pt x="25563" y="21468"/>
                </a:cubicBezTo>
                <a:cubicBezTo>
                  <a:pt x="25563" y="21468"/>
                  <a:pt x="25531" y="21468"/>
                  <a:pt x="25531" y="21499"/>
                </a:cubicBezTo>
                <a:cubicBezTo>
                  <a:pt x="25531" y="21531"/>
                  <a:pt x="25594" y="21499"/>
                  <a:pt x="25625" y="21562"/>
                </a:cubicBezTo>
                <a:cubicBezTo>
                  <a:pt x="25531" y="21531"/>
                  <a:pt x="25531" y="21562"/>
                  <a:pt x="25531" y="21593"/>
                </a:cubicBezTo>
                <a:cubicBezTo>
                  <a:pt x="25531" y="21749"/>
                  <a:pt x="25531" y="21749"/>
                  <a:pt x="25406" y="21687"/>
                </a:cubicBezTo>
                <a:cubicBezTo>
                  <a:pt x="25375" y="21687"/>
                  <a:pt x="25375" y="21718"/>
                  <a:pt x="25344" y="21749"/>
                </a:cubicBezTo>
                <a:cubicBezTo>
                  <a:pt x="25219" y="21781"/>
                  <a:pt x="25125" y="21687"/>
                  <a:pt x="25031" y="21624"/>
                </a:cubicBezTo>
                <a:close/>
                <a:moveTo>
                  <a:pt x="25375" y="22937"/>
                </a:moveTo>
                <a:cubicBezTo>
                  <a:pt x="25344" y="22906"/>
                  <a:pt x="25313" y="22906"/>
                  <a:pt x="25313" y="22843"/>
                </a:cubicBezTo>
                <a:cubicBezTo>
                  <a:pt x="25313" y="22843"/>
                  <a:pt x="25313" y="22812"/>
                  <a:pt x="25344" y="22843"/>
                </a:cubicBezTo>
                <a:cubicBezTo>
                  <a:pt x="25375" y="22843"/>
                  <a:pt x="25406" y="22843"/>
                  <a:pt x="25438" y="22906"/>
                </a:cubicBezTo>
                <a:cubicBezTo>
                  <a:pt x="25438" y="22906"/>
                  <a:pt x="25406" y="22937"/>
                  <a:pt x="25375" y="22937"/>
                </a:cubicBezTo>
                <a:close/>
                <a:moveTo>
                  <a:pt x="25625" y="21937"/>
                </a:moveTo>
                <a:cubicBezTo>
                  <a:pt x="25625" y="21937"/>
                  <a:pt x="25625" y="21937"/>
                  <a:pt x="25625" y="21937"/>
                </a:cubicBezTo>
                <a:cubicBezTo>
                  <a:pt x="25625" y="21937"/>
                  <a:pt x="25625" y="21937"/>
                  <a:pt x="25625" y="21937"/>
                </a:cubicBezTo>
                <a:cubicBezTo>
                  <a:pt x="25531" y="21906"/>
                  <a:pt x="25531" y="21906"/>
                  <a:pt x="25531" y="22031"/>
                </a:cubicBezTo>
                <a:cubicBezTo>
                  <a:pt x="25469" y="22031"/>
                  <a:pt x="25438" y="21999"/>
                  <a:pt x="25438" y="21968"/>
                </a:cubicBezTo>
                <a:cubicBezTo>
                  <a:pt x="25406" y="21937"/>
                  <a:pt x="25375" y="21906"/>
                  <a:pt x="25344" y="21906"/>
                </a:cubicBezTo>
                <a:cubicBezTo>
                  <a:pt x="25406" y="21812"/>
                  <a:pt x="25594" y="21843"/>
                  <a:pt x="25625" y="21906"/>
                </a:cubicBezTo>
                <a:cubicBezTo>
                  <a:pt x="25625" y="21906"/>
                  <a:pt x="25625" y="21937"/>
                  <a:pt x="25625" y="21937"/>
                </a:cubicBezTo>
                <a:close/>
                <a:moveTo>
                  <a:pt x="25844" y="21531"/>
                </a:moveTo>
                <a:cubicBezTo>
                  <a:pt x="25875" y="21562"/>
                  <a:pt x="25844" y="21593"/>
                  <a:pt x="25875" y="21624"/>
                </a:cubicBezTo>
                <a:cubicBezTo>
                  <a:pt x="25875" y="21656"/>
                  <a:pt x="25875" y="21656"/>
                  <a:pt x="25844" y="21656"/>
                </a:cubicBezTo>
                <a:cubicBezTo>
                  <a:pt x="25813" y="21656"/>
                  <a:pt x="25813" y="21624"/>
                  <a:pt x="25813" y="21593"/>
                </a:cubicBezTo>
                <a:cubicBezTo>
                  <a:pt x="25813" y="21593"/>
                  <a:pt x="25813" y="21562"/>
                  <a:pt x="25844" y="21531"/>
                </a:cubicBezTo>
                <a:close/>
                <a:moveTo>
                  <a:pt x="25844" y="22031"/>
                </a:moveTo>
                <a:cubicBezTo>
                  <a:pt x="25781" y="22031"/>
                  <a:pt x="25844" y="21999"/>
                  <a:pt x="25813" y="21968"/>
                </a:cubicBezTo>
                <a:cubicBezTo>
                  <a:pt x="25813" y="21937"/>
                  <a:pt x="25844" y="21906"/>
                  <a:pt x="25875" y="21906"/>
                </a:cubicBezTo>
                <a:cubicBezTo>
                  <a:pt x="25875" y="21937"/>
                  <a:pt x="25844" y="21937"/>
                  <a:pt x="25844" y="21968"/>
                </a:cubicBezTo>
                <a:cubicBezTo>
                  <a:pt x="25844" y="21999"/>
                  <a:pt x="25906" y="22031"/>
                  <a:pt x="25844" y="22031"/>
                </a:cubicBezTo>
                <a:close/>
                <a:moveTo>
                  <a:pt x="25875" y="20999"/>
                </a:moveTo>
                <a:cubicBezTo>
                  <a:pt x="25750" y="20968"/>
                  <a:pt x="25656" y="20874"/>
                  <a:pt x="25531" y="20812"/>
                </a:cubicBezTo>
                <a:cubicBezTo>
                  <a:pt x="25406" y="20718"/>
                  <a:pt x="25250" y="20624"/>
                  <a:pt x="25125" y="20499"/>
                </a:cubicBezTo>
                <a:cubicBezTo>
                  <a:pt x="25094" y="20499"/>
                  <a:pt x="25094" y="20499"/>
                  <a:pt x="25094" y="20468"/>
                </a:cubicBezTo>
                <a:cubicBezTo>
                  <a:pt x="25219" y="20499"/>
                  <a:pt x="25313" y="20593"/>
                  <a:pt x="25438" y="20656"/>
                </a:cubicBezTo>
                <a:cubicBezTo>
                  <a:pt x="25469" y="20687"/>
                  <a:pt x="25469" y="20718"/>
                  <a:pt x="25500" y="20687"/>
                </a:cubicBezTo>
                <a:cubicBezTo>
                  <a:pt x="25500" y="20718"/>
                  <a:pt x="25531" y="20749"/>
                  <a:pt x="25531" y="20749"/>
                </a:cubicBezTo>
                <a:cubicBezTo>
                  <a:pt x="25625" y="20812"/>
                  <a:pt x="25719" y="20874"/>
                  <a:pt x="25813" y="20937"/>
                </a:cubicBezTo>
                <a:cubicBezTo>
                  <a:pt x="25813" y="20906"/>
                  <a:pt x="25813" y="20906"/>
                  <a:pt x="25844" y="20906"/>
                </a:cubicBezTo>
                <a:cubicBezTo>
                  <a:pt x="25813" y="20812"/>
                  <a:pt x="25750" y="20781"/>
                  <a:pt x="25719" y="20718"/>
                </a:cubicBezTo>
                <a:cubicBezTo>
                  <a:pt x="25813" y="20781"/>
                  <a:pt x="25906" y="20843"/>
                  <a:pt x="26000" y="20937"/>
                </a:cubicBezTo>
                <a:cubicBezTo>
                  <a:pt x="26000" y="20937"/>
                  <a:pt x="26000" y="20937"/>
                  <a:pt x="26000" y="20937"/>
                </a:cubicBezTo>
                <a:cubicBezTo>
                  <a:pt x="26031" y="20937"/>
                  <a:pt x="26031" y="20937"/>
                  <a:pt x="26063" y="20937"/>
                </a:cubicBezTo>
                <a:cubicBezTo>
                  <a:pt x="26063" y="20906"/>
                  <a:pt x="26063" y="20906"/>
                  <a:pt x="26031" y="20874"/>
                </a:cubicBezTo>
                <a:cubicBezTo>
                  <a:pt x="25969" y="20843"/>
                  <a:pt x="25938" y="20812"/>
                  <a:pt x="25906" y="20749"/>
                </a:cubicBezTo>
                <a:cubicBezTo>
                  <a:pt x="25969" y="20749"/>
                  <a:pt x="26000" y="20812"/>
                  <a:pt x="26031" y="20843"/>
                </a:cubicBezTo>
                <a:cubicBezTo>
                  <a:pt x="26125" y="20937"/>
                  <a:pt x="26219" y="20999"/>
                  <a:pt x="26281" y="21062"/>
                </a:cubicBezTo>
                <a:cubicBezTo>
                  <a:pt x="26219" y="21062"/>
                  <a:pt x="26188" y="20999"/>
                  <a:pt x="26156" y="20968"/>
                </a:cubicBezTo>
                <a:cubicBezTo>
                  <a:pt x="26125" y="20968"/>
                  <a:pt x="26094" y="20937"/>
                  <a:pt x="26063" y="20937"/>
                </a:cubicBezTo>
                <a:cubicBezTo>
                  <a:pt x="26063" y="20968"/>
                  <a:pt x="26063" y="20968"/>
                  <a:pt x="26063" y="20999"/>
                </a:cubicBezTo>
                <a:cubicBezTo>
                  <a:pt x="26063" y="20999"/>
                  <a:pt x="26063" y="20999"/>
                  <a:pt x="26063" y="20999"/>
                </a:cubicBezTo>
                <a:cubicBezTo>
                  <a:pt x="26125" y="20999"/>
                  <a:pt x="26156" y="21062"/>
                  <a:pt x="26188" y="21093"/>
                </a:cubicBezTo>
                <a:cubicBezTo>
                  <a:pt x="26188" y="21093"/>
                  <a:pt x="26188" y="21093"/>
                  <a:pt x="26188" y="21093"/>
                </a:cubicBezTo>
                <a:cubicBezTo>
                  <a:pt x="26219" y="21124"/>
                  <a:pt x="26281" y="21156"/>
                  <a:pt x="26313" y="21187"/>
                </a:cubicBezTo>
                <a:cubicBezTo>
                  <a:pt x="26313" y="21187"/>
                  <a:pt x="26313" y="21187"/>
                  <a:pt x="26313" y="21187"/>
                </a:cubicBezTo>
                <a:cubicBezTo>
                  <a:pt x="26344" y="21187"/>
                  <a:pt x="26344" y="21218"/>
                  <a:pt x="26375" y="21249"/>
                </a:cubicBezTo>
                <a:cubicBezTo>
                  <a:pt x="26344" y="21249"/>
                  <a:pt x="26281" y="21218"/>
                  <a:pt x="26313" y="21187"/>
                </a:cubicBezTo>
                <a:lnTo>
                  <a:pt x="26313" y="21187"/>
                </a:lnTo>
                <a:cubicBezTo>
                  <a:pt x="26313" y="21187"/>
                  <a:pt x="26313" y="21187"/>
                  <a:pt x="26313" y="21187"/>
                </a:cubicBezTo>
                <a:cubicBezTo>
                  <a:pt x="26219" y="21187"/>
                  <a:pt x="26219" y="21124"/>
                  <a:pt x="26188" y="21093"/>
                </a:cubicBezTo>
                <a:lnTo>
                  <a:pt x="26188" y="21093"/>
                </a:lnTo>
                <a:cubicBezTo>
                  <a:pt x="26188" y="21093"/>
                  <a:pt x="26188" y="21093"/>
                  <a:pt x="26188" y="21093"/>
                </a:cubicBezTo>
                <a:cubicBezTo>
                  <a:pt x="26125" y="21093"/>
                  <a:pt x="26094" y="21031"/>
                  <a:pt x="26063" y="20999"/>
                </a:cubicBezTo>
                <a:lnTo>
                  <a:pt x="26063" y="20999"/>
                </a:lnTo>
                <a:cubicBezTo>
                  <a:pt x="26063" y="20999"/>
                  <a:pt x="26063" y="20999"/>
                  <a:pt x="26063" y="20999"/>
                </a:cubicBezTo>
                <a:cubicBezTo>
                  <a:pt x="26031" y="20999"/>
                  <a:pt x="26000" y="20968"/>
                  <a:pt x="26000" y="20937"/>
                </a:cubicBezTo>
                <a:lnTo>
                  <a:pt x="26000" y="20937"/>
                </a:lnTo>
                <a:cubicBezTo>
                  <a:pt x="26000" y="20937"/>
                  <a:pt x="26000" y="20937"/>
                  <a:pt x="26000" y="20937"/>
                </a:cubicBezTo>
                <a:cubicBezTo>
                  <a:pt x="25969" y="20968"/>
                  <a:pt x="25969" y="20968"/>
                  <a:pt x="25938" y="20999"/>
                </a:cubicBezTo>
                <a:cubicBezTo>
                  <a:pt x="25906" y="20968"/>
                  <a:pt x="25875" y="20906"/>
                  <a:pt x="25844" y="20906"/>
                </a:cubicBezTo>
                <a:cubicBezTo>
                  <a:pt x="25813" y="20906"/>
                  <a:pt x="25813" y="20906"/>
                  <a:pt x="25813" y="20937"/>
                </a:cubicBezTo>
                <a:cubicBezTo>
                  <a:pt x="25844" y="20968"/>
                  <a:pt x="25875" y="20968"/>
                  <a:pt x="25875" y="20999"/>
                </a:cubicBezTo>
                <a:cubicBezTo>
                  <a:pt x="25906" y="20999"/>
                  <a:pt x="25906" y="20999"/>
                  <a:pt x="25938" y="20999"/>
                </a:cubicBezTo>
                <a:cubicBezTo>
                  <a:pt x="25969" y="21062"/>
                  <a:pt x="26031" y="21062"/>
                  <a:pt x="26063" y="21093"/>
                </a:cubicBezTo>
                <a:cubicBezTo>
                  <a:pt x="26188" y="21187"/>
                  <a:pt x="26313" y="21312"/>
                  <a:pt x="26438" y="21374"/>
                </a:cubicBezTo>
                <a:cubicBezTo>
                  <a:pt x="26438" y="21374"/>
                  <a:pt x="26469" y="21406"/>
                  <a:pt x="26469" y="21374"/>
                </a:cubicBezTo>
                <a:cubicBezTo>
                  <a:pt x="26469" y="21437"/>
                  <a:pt x="26531" y="21437"/>
                  <a:pt x="26531" y="21437"/>
                </a:cubicBezTo>
                <a:cubicBezTo>
                  <a:pt x="26594" y="21531"/>
                  <a:pt x="26656" y="21562"/>
                  <a:pt x="26719" y="21593"/>
                </a:cubicBezTo>
                <a:cubicBezTo>
                  <a:pt x="26750" y="21624"/>
                  <a:pt x="26781" y="21624"/>
                  <a:pt x="26781" y="21656"/>
                </a:cubicBezTo>
                <a:cubicBezTo>
                  <a:pt x="26781" y="21656"/>
                  <a:pt x="26781" y="21656"/>
                  <a:pt x="26781" y="21656"/>
                </a:cubicBezTo>
                <a:cubicBezTo>
                  <a:pt x="26813" y="21656"/>
                  <a:pt x="26844" y="21687"/>
                  <a:pt x="26844" y="21718"/>
                </a:cubicBezTo>
                <a:cubicBezTo>
                  <a:pt x="26938" y="21718"/>
                  <a:pt x="27000" y="21812"/>
                  <a:pt x="27094" y="21874"/>
                </a:cubicBezTo>
                <a:cubicBezTo>
                  <a:pt x="27219" y="21968"/>
                  <a:pt x="27344" y="22093"/>
                  <a:pt x="27500" y="22187"/>
                </a:cubicBezTo>
                <a:cubicBezTo>
                  <a:pt x="27531" y="22218"/>
                  <a:pt x="27531" y="22249"/>
                  <a:pt x="27563" y="22218"/>
                </a:cubicBezTo>
                <a:cubicBezTo>
                  <a:pt x="27594" y="22187"/>
                  <a:pt x="27563" y="22156"/>
                  <a:pt x="27531" y="22156"/>
                </a:cubicBezTo>
                <a:cubicBezTo>
                  <a:pt x="27438" y="22062"/>
                  <a:pt x="27344" y="21999"/>
                  <a:pt x="27281" y="21906"/>
                </a:cubicBezTo>
                <a:cubicBezTo>
                  <a:pt x="27406" y="21999"/>
                  <a:pt x="27531" y="22093"/>
                  <a:pt x="27625" y="22218"/>
                </a:cubicBezTo>
                <a:cubicBezTo>
                  <a:pt x="27625" y="22218"/>
                  <a:pt x="27594" y="22187"/>
                  <a:pt x="27563" y="22218"/>
                </a:cubicBezTo>
                <a:cubicBezTo>
                  <a:pt x="27563" y="22281"/>
                  <a:pt x="27656" y="22281"/>
                  <a:pt x="27656" y="22343"/>
                </a:cubicBezTo>
                <a:cubicBezTo>
                  <a:pt x="27688" y="22374"/>
                  <a:pt x="27781" y="22374"/>
                  <a:pt x="27750" y="22468"/>
                </a:cubicBezTo>
                <a:cubicBezTo>
                  <a:pt x="27750" y="22468"/>
                  <a:pt x="27781" y="22499"/>
                  <a:pt x="27813" y="22531"/>
                </a:cubicBezTo>
                <a:cubicBezTo>
                  <a:pt x="27781" y="22499"/>
                  <a:pt x="27750" y="22468"/>
                  <a:pt x="27750" y="22468"/>
                </a:cubicBezTo>
                <a:cubicBezTo>
                  <a:pt x="27469" y="22218"/>
                  <a:pt x="27156" y="21999"/>
                  <a:pt x="26875" y="21781"/>
                </a:cubicBezTo>
                <a:cubicBezTo>
                  <a:pt x="26875" y="21781"/>
                  <a:pt x="26844" y="21749"/>
                  <a:pt x="26844" y="21718"/>
                </a:cubicBezTo>
                <a:cubicBezTo>
                  <a:pt x="26844" y="21718"/>
                  <a:pt x="26844" y="21718"/>
                  <a:pt x="26844" y="21718"/>
                </a:cubicBezTo>
                <a:cubicBezTo>
                  <a:pt x="26844" y="21718"/>
                  <a:pt x="26844" y="21718"/>
                  <a:pt x="26844" y="21718"/>
                </a:cubicBezTo>
                <a:cubicBezTo>
                  <a:pt x="26844" y="21718"/>
                  <a:pt x="26844" y="21718"/>
                  <a:pt x="26844" y="21718"/>
                </a:cubicBezTo>
                <a:cubicBezTo>
                  <a:pt x="26813" y="21718"/>
                  <a:pt x="26781" y="21718"/>
                  <a:pt x="26781" y="21656"/>
                </a:cubicBezTo>
                <a:lnTo>
                  <a:pt x="26781" y="21656"/>
                </a:lnTo>
                <a:cubicBezTo>
                  <a:pt x="26781" y="21656"/>
                  <a:pt x="26781" y="21656"/>
                  <a:pt x="26781" y="21656"/>
                </a:cubicBezTo>
                <a:cubicBezTo>
                  <a:pt x="26688" y="21656"/>
                  <a:pt x="26625" y="21593"/>
                  <a:pt x="26563" y="21531"/>
                </a:cubicBezTo>
                <a:cubicBezTo>
                  <a:pt x="26344" y="21374"/>
                  <a:pt x="26125" y="21218"/>
                  <a:pt x="25875" y="21062"/>
                </a:cubicBezTo>
                <a:cubicBezTo>
                  <a:pt x="25875" y="21031"/>
                  <a:pt x="25875" y="21031"/>
                  <a:pt x="25875" y="20999"/>
                </a:cubicBezTo>
                <a:close/>
                <a:moveTo>
                  <a:pt x="25906" y="21999"/>
                </a:moveTo>
                <a:cubicBezTo>
                  <a:pt x="25938" y="21968"/>
                  <a:pt x="25938" y="21906"/>
                  <a:pt x="25938" y="21874"/>
                </a:cubicBezTo>
                <a:cubicBezTo>
                  <a:pt x="26031" y="21906"/>
                  <a:pt x="25969" y="21968"/>
                  <a:pt x="26000" y="22031"/>
                </a:cubicBezTo>
                <a:cubicBezTo>
                  <a:pt x="26000" y="22031"/>
                  <a:pt x="26000" y="22031"/>
                  <a:pt x="26000" y="22031"/>
                </a:cubicBezTo>
                <a:cubicBezTo>
                  <a:pt x="26031" y="22093"/>
                  <a:pt x="25969" y="22156"/>
                  <a:pt x="25969" y="22218"/>
                </a:cubicBezTo>
                <a:cubicBezTo>
                  <a:pt x="25875" y="22156"/>
                  <a:pt x="25906" y="22062"/>
                  <a:pt x="25906" y="21999"/>
                </a:cubicBezTo>
                <a:close/>
                <a:moveTo>
                  <a:pt x="25969" y="22281"/>
                </a:moveTo>
                <a:cubicBezTo>
                  <a:pt x="25969" y="22281"/>
                  <a:pt x="25969" y="22249"/>
                  <a:pt x="25969" y="22249"/>
                </a:cubicBezTo>
                <a:cubicBezTo>
                  <a:pt x="25969" y="22249"/>
                  <a:pt x="25969" y="22249"/>
                  <a:pt x="25969" y="22249"/>
                </a:cubicBezTo>
                <a:cubicBezTo>
                  <a:pt x="26000" y="22218"/>
                  <a:pt x="26031" y="22312"/>
                  <a:pt x="26031" y="22249"/>
                </a:cubicBezTo>
                <a:cubicBezTo>
                  <a:pt x="26031" y="22218"/>
                  <a:pt x="26031" y="22187"/>
                  <a:pt x="26063" y="22156"/>
                </a:cubicBezTo>
                <a:cubicBezTo>
                  <a:pt x="26063" y="22156"/>
                  <a:pt x="26063" y="22156"/>
                  <a:pt x="26063" y="22156"/>
                </a:cubicBezTo>
                <a:cubicBezTo>
                  <a:pt x="26094" y="22187"/>
                  <a:pt x="26063" y="22281"/>
                  <a:pt x="26125" y="22312"/>
                </a:cubicBezTo>
                <a:cubicBezTo>
                  <a:pt x="26125" y="22312"/>
                  <a:pt x="26125" y="22343"/>
                  <a:pt x="26094" y="22343"/>
                </a:cubicBezTo>
                <a:cubicBezTo>
                  <a:pt x="26031" y="22312"/>
                  <a:pt x="26000" y="22343"/>
                  <a:pt x="25969" y="22281"/>
                </a:cubicBezTo>
                <a:close/>
                <a:moveTo>
                  <a:pt x="26281" y="24031"/>
                </a:moveTo>
                <a:cubicBezTo>
                  <a:pt x="26281" y="24031"/>
                  <a:pt x="26281" y="24031"/>
                  <a:pt x="26281" y="24031"/>
                </a:cubicBezTo>
                <a:cubicBezTo>
                  <a:pt x="26281" y="24031"/>
                  <a:pt x="26281" y="23999"/>
                  <a:pt x="26313" y="23999"/>
                </a:cubicBezTo>
                <a:cubicBezTo>
                  <a:pt x="26281" y="23999"/>
                  <a:pt x="26281" y="24031"/>
                  <a:pt x="26281" y="24031"/>
                </a:cubicBezTo>
                <a:close/>
                <a:moveTo>
                  <a:pt x="26219" y="23468"/>
                </a:moveTo>
                <a:cubicBezTo>
                  <a:pt x="26188" y="23437"/>
                  <a:pt x="26156" y="23468"/>
                  <a:pt x="26125" y="23437"/>
                </a:cubicBezTo>
                <a:cubicBezTo>
                  <a:pt x="26125" y="23437"/>
                  <a:pt x="26125" y="23437"/>
                  <a:pt x="26125" y="23437"/>
                </a:cubicBezTo>
                <a:cubicBezTo>
                  <a:pt x="26156" y="23437"/>
                  <a:pt x="26188" y="23406"/>
                  <a:pt x="26156" y="23374"/>
                </a:cubicBezTo>
                <a:cubicBezTo>
                  <a:pt x="26125" y="23343"/>
                  <a:pt x="26094" y="23312"/>
                  <a:pt x="26094" y="23281"/>
                </a:cubicBezTo>
                <a:cubicBezTo>
                  <a:pt x="26063" y="23281"/>
                  <a:pt x="26063" y="23312"/>
                  <a:pt x="26031" y="23312"/>
                </a:cubicBezTo>
                <a:cubicBezTo>
                  <a:pt x="26063" y="23312"/>
                  <a:pt x="26063" y="23281"/>
                  <a:pt x="26094" y="23281"/>
                </a:cubicBezTo>
                <a:cubicBezTo>
                  <a:pt x="26094" y="23281"/>
                  <a:pt x="26094" y="23249"/>
                  <a:pt x="26094" y="23249"/>
                </a:cubicBezTo>
                <a:cubicBezTo>
                  <a:pt x="26188" y="23312"/>
                  <a:pt x="26250" y="23437"/>
                  <a:pt x="26344" y="23499"/>
                </a:cubicBezTo>
                <a:cubicBezTo>
                  <a:pt x="26281" y="23531"/>
                  <a:pt x="26250" y="23499"/>
                  <a:pt x="26219" y="23468"/>
                </a:cubicBezTo>
                <a:close/>
                <a:moveTo>
                  <a:pt x="26469" y="24218"/>
                </a:moveTo>
                <a:cubicBezTo>
                  <a:pt x="26469" y="24218"/>
                  <a:pt x="26469" y="24218"/>
                  <a:pt x="26469" y="24218"/>
                </a:cubicBezTo>
                <a:cubicBezTo>
                  <a:pt x="26500" y="24218"/>
                  <a:pt x="26500" y="24218"/>
                  <a:pt x="26531" y="24187"/>
                </a:cubicBezTo>
                <a:cubicBezTo>
                  <a:pt x="26500" y="24218"/>
                  <a:pt x="26500" y="24218"/>
                  <a:pt x="26469" y="24218"/>
                </a:cubicBezTo>
                <a:close/>
                <a:moveTo>
                  <a:pt x="26844" y="23218"/>
                </a:moveTo>
                <a:cubicBezTo>
                  <a:pt x="26813" y="23218"/>
                  <a:pt x="26813" y="23218"/>
                  <a:pt x="26813" y="23218"/>
                </a:cubicBezTo>
                <a:cubicBezTo>
                  <a:pt x="26844" y="23218"/>
                  <a:pt x="26844" y="23218"/>
                  <a:pt x="26844" y="23218"/>
                </a:cubicBezTo>
                <a:cubicBezTo>
                  <a:pt x="26844" y="23218"/>
                  <a:pt x="26844" y="23218"/>
                  <a:pt x="26844" y="23218"/>
                </a:cubicBezTo>
                <a:close/>
                <a:moveTo>
                  <a:pt x="27250" y="24624"/>
                </a:moveTo>
                <a:cubicBezTo>
                  <a:pt x="27125" y="24624"/>
                  <a:pt x="27094" y="24562"/>
                  <a:pt x="27031" y="24499"/>
                </a:cubicBezTo>
                <a:cubicBezTo>
                  <a:pt x="27094" y="24531"/>
                  <a:pt x="27156" y="24562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lose/>
                <a:moveTo>
                  <a:pt x="27281" y="23593"/>
                </a:moveTo>
                <a:cubicBezTo>
                  <a:pt x="27219" y="23562"/>
                  <a:pt x="27188" y="23468"/>
                  <a:pt x="27094" y="23468"/>
                </a:cubicBezTo>
                <a:cubicBezTo>
                  <a:pt x="27094" y="23343"/>
                  <a:pt x="26938" y="23343"/>
                  <a:pt x="26938" y="23249"/>
                </a:cubicBezTo>
                <a:cubicBezTo>
                  <a:pt x="26906" y="23187"/>
                  <a:pt x="26875" y="23218"/>
                  <a:pt x="26844" y="23218"/>
                </a:cubicBezTo>
                <a:cubicBezTo>
                  <a:pt x="26813" y="23156"/>
                  <a:pt x="26781" y="23124"/>
                  <a:pt x="26688" y="23124"/>
                </a:cubicBezTo>
                <a:cubicBezTo>
                  <a:pt x="26656" y="23124"/>
                  <a:pt x="26625" y="23062"/>
                  <a:pt x="26625" y="23031"/>
                </a:cubicBezTo>
                <a:cubicBezTo>
                  <a:pt x="26625" y="22999"/>
                  <a:pt x="26594" y="22968"/>
                  <a:pt x="26563" y="22968"/>
                </a:cubicBezTo>
                <a:cubicBezTo>
                  <a:pt x="26500" y="22968"/>
                  <a:pt x="26500" y="22937"/>
                  <a:pt x="26500" y="22906"/>
                </a:cubicBezTo>
                <a:cubicBezTo>
                  <a:pt x="26469" y="22843"/>
                  <a:pt x="26406" y="22812"/>
                  <a:pt x="26344" y="22812"/>
                </a:cubicBezTo>
                <a:cubicBezTo>
                  <a:pt x="26313" y="22812"/>
                  <a:pt x="26281" y="22781"/>
                  <a:pt x="26313" y="22749"/>
                </a:cubicBezTo>
                <a:cubicBezTo>
                  <a:pt x="26313" y="22718"/>
                  <a:pt x="26344" y="22749"/>
                  <a:pt x="26375" y="22749"/>
                </a:cubicBezTo>
                <a:cubicBezTo>
                  <a:pt x="26406" y="22749"/>
                  <a:pt x="26438" y="22781"/>
                  <a:pt x="26406" y="22718"/>
                </a:cubicBezTo>
                <a:cubicBezTo>
                  <a:pt x="26406" y="22687"/>
                  <a:pt x="26469" y="22687"/>
                  <a:pt x="26469" y="22687"/>
                </a:cubicBezTo>
                <a:cubicBezTo>
                  <a:pt x="26531" y="22687"/>
                  <a:pt x="26594" y="22718"/>
                  <a:pt x="26656" y="22718"/>
                </a:cubicBezTo>
                <a:cubicBezTo>
                  <a:pt x="26688" y="22718"/>
                  <a:pt x="26688" y="22749"/>
                  <a:pt x="26688" y="22749"/>
                </a:cubicBezTo>
                <a:cubicBezTo>
                  <a:pt x="26688" y="22749"/>
                  <a:pt x="26688" y="22781"/>
                  <a:pt x="26656" y="22781"/>
                </a:cubicBezTo>
                <a:cubicBezTo>
                  <a:pt x="26625" y="22781"/>
                  <a:pt x="26594" y="22781"/>
                  <a:pt x="26563" y="22781"/>
                </a:cubicBezTo>
                <a:cubicBezTo>
                  <a:pt x="26563" y="22781"/>
                  <a:pt x="26531" y="22781"/>
                  <a:pt x="26531" y="22812"/>
                </a:cubicBezTo>
                <a:cubicBezTo>
                  <a:pt x="26531" y="22843"/>
                  <a:pt x="26563" y="22812"/>
                  <a:pt x="26563" y="22812"/>
                </a:cubicBezTo>
                <a:cubicBezTo>
                  <a:pt x="26625" y="22843"/>
                  <a:pt x="26594" y="22843"/>
                  <a:pt x="26594" y="22874"/>
                </a:cubicBezTo>
                <a:cubicBezTo>
                  <a:pt x="26594" y="22906"/>
                  <a:pt x="26563" y="22906"/>
                  <a:pt x="26563" y="22906"/>
                </a:cubicBezTo>
                <a:lnTo>
                  <a:pt x="26563" y="22906"/>
                </a:lnTo>
                <a:cubicBezTo>
                  <a:pt x="26563" y="22906"/>
                  <a:pt x="26531" y="22906"/>
                  <a:pt x="26531" y="22906"/>
                </a:cubicBezTo>
                <a:cubicBezTo>
                  <a:pt x="26563" y="22874"/>
                  <a:pt x="26563" y="22874"/>
                  <a:pt x="26594" y="22874"/>
                </a:cubicBezTo>
                <a:cubicBezTo>
                  <a:pt x="26688" y="22843"/>
                  <a:pt x="26781" y="22874"/>
                  <a:pt x="26875" y="22812"/>
                </a:cubicBezTo>
                <a:cubicBezTo>
                  <a:pt x="26906" y="22781"/>
                  <a:pt x="26906" y="22812"/>
                  <a:pt x="26938" y="22812"/>
                </a:cubicBezTo>
                <a:cubicBezTo>
                  <a:pt x="27000" y="22812"/>
                  <a:pt x="27031" y="22843"/>
                  <a:pt x="27094" y="22843"/>
                </a:cubicBezTo>
                <a:cubicBezTo>
                  <a:pt x="27125" y="22843"/>
                  <a:pt x="27156" y="22874"/>
                  <a:pt x="27188" y="22874"/>
                </a:cubicBezTo>
                <a:cubicBezTo>
                  <a:pt x="27219" y="22906"/>
                  <a:pt x="27250" y="22906"/>
                  <a:pt x="27250" y="22874"/>
                </a:cubicBezTo>
                <a:cubicBezTo>
                  <a:pt x="27250" y="22843"/>
                  <a:pt x="27188" y="22812"/>
                  <a:pt x="27250" y="22812"/>
                </a:cubicBezTo>
                <a:cubicBezTo>
                  <a:pt x="27281" y="22812"/>
                  <a:pt x="27250" y="22843"/>
                  <a:pt x="27250" y="22874"/>
                </a:cubicBezTo>
                <a:cubicBezTo>
                  <a:pt x="27250" y="22968"/>
                  <a:pt x="27250" y="23062"/>
                  <a:pt x="27313" y="23124"/>
                </a:cubicBezTo>
                <a:cubicBezTo>
                  <a:pt x="27313" y="23156"/>
                  <a:pt x="27344" y="23187"/>
                  <a:pt x="27313" y="23218"/>
                </a:cubicBezTo>
                <a:cubicBezTo>
                  <a:pt x="27281" y="23249"/>
                  <a:pt x="27313" y="23249"/>
                  <a:pt x="27344" y="23249"/>
                </a:cubicBezTo>
                <a:cubicBezTo>
                  <a:pt x="27344" y="23281"/>
                  <a:pt x="27375" y="23312"/>
                  <a:pt x="27344" y="23343"/>
                </a:cubicBezTo>
                <a:cubicBezTo>
                  <a:pt x="27344" y="23343"/>
                  <a:pt x="27344" y="23343"/>
                  <a:pt x="27344" y="23343"/>
                </a:cubicBezTo>
                <a:cubicBezTo>
                  <a:pt x="27313" y="23343"/>
                  <a:pt x="27313" y="23343"/>
                  <a:pt x="27281" y="23343"/>
                </a:cubicBezTo>
                <a:cubicBezTo>
                  <a:pt x="27281" y="23343"/>
                  <a:pt x="27281" y="23343"/>
                  <a:pt x="27281" y="23343"/>
                </a:cubicBezTo>
                <a:cubicBezTo>
                  <a:pt x="27313" y="23343"/>
                  <a:pt x="27313" y="23374"/>
                  <a:pt x="27313" y="23374"/>
                </a:cubicBezTo>
                <a:cubicBezTo>
                  <a:pt x="27344" y="23406"/>
                  <a:pt x="27375" y="23374"/>
                  <a:pt x="27375" y="23374"/>
                </a:cubicBezTo>
                <a:cubicBezTo>
                  <a:pt x="27406" y="23374"/>
                  <a:pt x="27406" y="23312"/>
                  <a:pt x="27438" y="23312"/>
                </a:cubicBezTo>
                <a:cubicBezTo>
                  <a:pt x="27406" y="23312"/>
                  <a:pt x="27406" y="23374"/>
                  <a:pt x="27375" y="23374"/>
                </a:cubicBezTo>
                <a:cubicBezTo>
                  <a:pt x="27375" y="23374"/>
                  <a:pt x="27375" y="23374"/>
                  <a:pt x="27375" y="23374"/>
                </a:cubicBezTo>
                <a:cubicBezTo>
                  <a:pt x="27375" y="23406"/>
                  <a:pt x="27406" y="23437"/>
                  <a:pt x="27406" y="23437"/>
                </a:cubicBezTo>
                <a:cubicBezTo>
                  <a:pt x="27438" y="23437"/>
                  <a:pt x="27438" y="23437"/>
                  <a:pt x="27438" y="23437"/>
                </a:cubicBezTo>
                <a:cubicBezTo>
                  <a:pt x="27375" y="23437"/>
                  <a:pt x="27344" y="23406"/>
                  <a:pt x="27313" y="23406"/>
                </a:cubicBezTo>
                <a:cubicBezTo>
                  <a:pt x="27313" y="23437"/>
                  <a:pt x="27281" y="23406"/>
                  <a:pt x="27281" y="23437"/>
                </a:cubicBezTo>
                <a:cubicBezTo>
                  <a:pt x="27250" y="23499"/>
                  <a:pt x="27281" y="23499"/>
                  <a:pt x="27313" y="23499"/>
                </a:cubicBezTo>
                <a:cubicBezTo>
                  <a:pt x="27375" y="23499"/>
                  <a:pt x="27406" y="23499"/>
                  <a:pt x="27438" y="23499"/>
                </a:cubicBezTo>
                <a:cubicBezTo>
                  <a:pt x="27438" y="23499"/>
                  <a:pt x="27438" y="23499"/>
                  <a:pt x="27438" y="23499"/>
                </a:cubicBezTo>
                <a:cubicBezTo>
                  <a:pt x="27438" y="23593"/>
                  <a:pt x="27344" y="23562"/>
                  <a:pt x="27281" y="23593"/>
                </a:cubicBezTo>
                <a:close/>
                <a:moveTo>
                  <a:pt x="28125" y="24343"/>
                </a:moveTo>
                <a:cubicBezTo>
                  <a:pt x="27969" y="24374"/>
                  <a:pt x="27969" y="24187"/>
                  <a:pt x="27875" y="24187"/>
                </a:cubicBezTo>
                <a:cubicBezTo>
                  <a:pt x="27844" y="24187"/>
                  <a:pt x="27781" y="24124"/>
                  <a:pt x="27781" y="24062"/>
                </a:cubicBezTo>
                <a:cubicBezTo>
                  <a:pt x="27781" y="24031"/>
                  <a:pt x="27750" y="24031"/>
                  <a:pt x="27719" y="24031"/>
                </a:cubicBezTo>
                <a:cubicBezTo>
                  <a:pt x="27656" y="24031"/>
                  <a:pt x="27625" y="23999"/>
                  <a:pt x="27625" y="23937"/>
                </a:cubicBezTo>
                <a:cubicBezTo>
                  <a:pt x="27594" y="23874"/>
                  <a:pt x="27563" y="23843"/>
                  <a:pt x="27500" y="23843"/>
                </a:cubicBezTo>
                <a:cubicBezTo>
                  <a:pt x="27563" y="23781"/>
                  <a:pt x="27625" y="23749"/>
                  <a:pt x="27531" y="23656"/>
                </a:cubicBezTo>
                <a:cubicBezTo>
                  <a:pt x="27594" y="23656"/>
                  <a:pt x="27656" y="23687"/>
                  <a:pt x="27656" y="23718"/>
                </a:cubicBezTo>
                <a:cubicBezTo>
                  <a:pt x="27688" y="23749"/>
                  <a:pt x="27719" y="23749"/>
                  <a:pt x="27750" y="23749"/>
                </a:cubicBezTo>
                <a:cubicBezTo>
                  <a:pt x="27750" y="23749"/>
                  <a:pt x="27750" y="23749"/>
                  <a:pt x="27750" y="23749"/>
                </a:cubicBezTo>
                <a:cubicBezTo>
                  <a:pt x="27750" y="23749"/>
                  <a:pt x="27750" y="23749"/>
                  <a:pt x="27750" y="23749"/>
                </a:cubicBezTo>
                <a:cubicBezTo>
                  <a:pt x="27750" y="23749"/>
                  <a:pt x="27750" y="23749"/>
                  <a:pt x="27750" y="23749"/>
                </a:cubicBezTo>
                <a:cubicBezTo>
                  <a:pt x="27719" y="23781"/>
                  <a:pt x="27688" y="23812"/>
                  <a:pt x="27625" y="23843"/>
                </a:cubicBezTo>
                <a:cubicBezTo>
                  <a:pt x="27688" y="23843"/>
                  <a:pt x="27688" y="23843"/>
                  <a:pt x="27719" y="23843"/>
                </a:cubicBezTo>
                <a:cubicBezTo>
                  <a:pt x="27844" y="23781"/>
                  <a:pt x="27969" y="23781"/>
                  <a:pt x="28094" y="23843"/>
                </a:cubicBezTo>
                <a:cubicBezTo>
                  <a:pt x="28250" y="23906"/>
                  <a:pt x="28406" y="23968"/>
                  <a:pt x="28594" y="23968"/>
                </a:cubicBezTo>
                <a:cubicBezTo>
                  <a:pt x="28563" y="23968"/>
                  <a:pt x="28531" y="23968"/>
                  <a:pt x="28500" y="23906"/>
                </a:cubicBezTo>
                <a:cubicBezTo>
                  <a:pt x="28594" y="23906"/>
                  <a:pt x="28656" y="23906"/>
                  <a:pt x="28719" y="23906"/>
                </a:cubicBezTo>
                <a:cubicBezTo>
                  <a:pt x="28750" y="23937"/>
                  <a:pt x="28781" y="23968"/>
                  <a:pt x="28875" y="23968"/>
                </a:cubicBezTo>
                <a:cubicBezTo>
                  <a:pt x="28813" y="23999"/>
                  <a:pt x="28750" y="23968"/>
                  <a:pt x="28719" y="24031"/>
                </a:cubicBezTo>
                <a:cubicBezTo>
                  <a:pt x="28750" y="24093"/>
                  <a:pt x="28813" y="24062"/>
                  <a:pt x="28844" y="24093"/>
                </a:cubicBezTo>
                <a:cubicBezTo>
                  <a:pt x="28844" y="24093"/>
                  <a:pt x="28844" y="24124"/>
                  <a:pt x="28844" y="24124"/>
                </a:cubicBezTo>
                <a:cubicBezTo>
                  <a:pt x="28844" y="24124"/>
                  <a:pt x="28844" y="24156"/>
                  <a:pt x="28813" y="24156"/>
                </a:cubicBezTo>
                <a:cubicBezTo>
                  <a:pt x="28813" y="24156"/>
                  <a:pt x="28813" y="24156"/>
                  <a:pt x="28813" y="24156"/>
                </a:cubicBezTo>
                <a:cubicBezTo>
                  <a:pt x="28781" y="24218"/>
                  <a:pt x="28750" y="24281"/>
                  <a:pt x="28656" y="24281"/>
                </a:cubicBezTo>
                <a:cubicBezTo>
                  <a:pt x="28563" y="24281"/>
                  <a:pt x="28469" y="24281"/>
                  <a:pt x="28406" y="24343"/>
                </a:cubicBezTo>
                <a:cubicBezTo>
                  <a:pt x="28375" y="24312"/>
                  <a:pt x="28375" y="24281"/>
                  <a:pt x="28344" y="24249"/>
                </a:cubicBezTo>
                <a:cubicBezTo>
                  <a:pt x="28313" y="24187"/>
                  <a:pt x="28281" y="24187"/>
                  <a:pt x="28250" y="24218"/>
                </a:cubicBezTo>
                <a:cubicBezTo>
                  <a:pt x="28219" y="24249"/>
                  <a:pt x="28219" y="24281"/>
                  <a:pt x="28250" y="24312"/>
                </a:cubicBezTo>
                <a:cubicBezTo>
                  <a:pt x="28344" y="24343"/>
                  <a:pt x="28281" y="24374"/>
                  <a:pt x="28250" y="24374"/>
                </a:cubicBezTo>
                <a:cubicBezTo>
                  <a:pt x="28188" y="24374"/>
                  <a:pt x="28125" y="24437"/>
                  <a:pt x="28125" y="24343"/>
                </a:cubicBezTo>
                <a:close/>
                <a:moveTo>
                  <a:pt x="28781" y="24499"/>
                </a:moveTo>
                <a:cubicBezTo>
                  <a:pt x="28813" y="24531"/>
                  <a:pt x="28781" y="24562"/>
                  <a:pt x="28750" y="24562"/>
                </a:cubicBezTo>
                <a:cubicBezTo>
                  <a:pt x="28719" y="24562"/>
                  <a:pt x="28688" y="24593"/>
                  <a:pt x="28656" y="24562"/>
                </a:cubicBezTo>
                <a:cubicBezTo>
                  <a:pt x="28656" y="24531"/>
                  <a:pt x="28688" y="24499"/>
                  <a:pt x="28688" y="24499"/>
                </a:cubicBezTo>
                <a:cubicBezTo>
                  <a:pt x="28781" y="24374"/>
                  <a:pt x="28781" y="24374"/>
                  <a:pt x="28844" y="24437"/>
                </a:cubicBezTo>
                <a:cubicBezTo>
                  <a:pt x="28844" y="24437"/>
                  <a:pt x="28844" y="24468"/>
                  <a:pt x="28844" y="24468"/>
                </a:cubicBezTo>
                <a:cubicBezTo>
                  <a:pt x="28844" y="24468"/>
                  <a:pt x="28844" y="24468"/>
                  <a:pt x="28844" y="24468"/>
                </a:cubicBezTo>
                <a:cubicBezTo>
                  <a:pt x="28813" y="24468"/>
                  <a:pt x="28750" y="24437"/>
                  <a:pt x="28781" y="24499"/>
                </a:cubicBezTo>
                <a:close/>
                <a:moveTo>
                  <a:pt x="28344" y="24624"/>
                </a:moveTo>
                <a:cubicBezTo>
                  <a:pt x="28344" y="24624"/>
                  <a:pt x="28344" y="24562"/>
                  <a:pt x="28281" y="24531"/>
                </a:cubicBezTo>
                <a:cubicBezTo>
                  <a:pt x="28344" y="24468"/>
                  <a:pt x="28438" y="24562"/>
                  <a:pt x="28469" y="24468"/>
                </a:cubicBezTo>
                <a:cubicBezTo>
                  <a:pt x="28531" y="24593"/>
                  <a:pt x="28406" y="24562"/>
                  <a:pt x="28344" y="24624"/>
                </a:cubicBezTo>
                <a:close/>
                <a:moveTo>
                  <a:pt x="28625" y="24718"/>
                </a:moveTo>
                <a:cubicBezTo>
                  <a:pt x="28750" y="24718"/>
                  <a:pt x="28813" y="24843"/>
                  <a:pt x="28906" y="24937"/>
                </a:cubicBezTo>
                <a:cubicBezTo>
                  <a:pt x="28813" y="24874"/>
                  <a:pt x="28688" y="24812"/>
                  <a:pt x="28625" y="24718"/>
                </a:cubicBezTo>
                <a:close/>
                <a:moveTo>
                  <a:pt x="28875" y="23812"/>
                </a:moveTo>
                <a:cubicBezTo>
                  <a:pt x="28875" y="23781"/>
                  <a:pt x="28938" y="23781"/>
                  <a:pt x="28969" y="23781"/>
                </a:cubicBezTo>
                <a:cubicBezTo>
                  <a:pt x="28969" y="23812"/>
                  <a:pt x="28969" y="23812"/>
                  <a:pt x="28969" y="23843"/>
                </a:cubicBezTo>
                <a:cubicBezTo>
                  <a:pt x="29031" y="23843"/>
                  <a:pt x="29094" y="23874"/>
                  <a:pt x="29125" y="23906"/>
                </a:cubicBezTo>
                <a:cubicBezTo>
                  <a:pt x="29094" y="23874"/>
                  <a:pt x="29031" y="23843"/>
                  <a:pt x="28969" y="23843"/>
                </a:cubicBezTo>
                <a:cubicBezTo>
                  <a:pt x="28938" y="23843"/>
                  <a:pt x="28875" y="23843"/>
                  <a:pt x="28875" y="23812"/>
                </a:cubicBezTo>
                <a:close/>
                <a:moveTo>
                  <a:pt x="29000" y="24781"/>
                </a:moveTo>
                <a:cubicBezTo>
                  <a:pt x="28938" y="24781"/>
                  <a:pt x="28938" y="24749"/>
                  <a:pt x="28938" y="24718"/>
                </a:cubicBezTo>
                <a:cubicBezTo>
                  <a:pt x="28938" y="24687"/>
                  <a:pt x="28938" y="24656"/>
                  <a:pt x="28969" y="24656"/>
                </a:cubicBezTo>
                <a:cubicBezTo>
                  <a:pt x="29000" y="24687"/>
                  <a:pt x="29031" y="24718"/>
                  <a:pt x="29031" y="24749"/>
                </a:cubicBezTo>
                <a:cubicBezTo>
                  <a:pt x="29031" y="24781"/>
                  <a:pt x="29031" y="24812"/>
                  <a:pt x="29000" y="24781"/>
                </a:cubicBezTo>
                <a:close/>
                <a:moveTo>
                  <a:pt x="29188" y="24656"/>
                </a:moveTo>
                <a:cubicBezTo>
                  <a:pt x="29188" y="24687"/>
                  <a:pt x="29188" y="24718"/>
                  <a:pt x="29125" y="24749"/>
                </a:cubicBezTo>
                <a:cubicBezTo>
                  <a:pt x="29094" y="24718"/>
                  <a:pt x="29063" y="24718"/>
                  <a:pt x="29063" y="24687"/>
                </a:cubicBezTo>
                <a:cubicBezTo>
                  <a:pt x="29125" y="24687"/>
                  <a:pt x="29094" y="24593"/>
                  <a:pt x="29156" y="24593"/>
                </a:cubicBezTo>
                <a:cubicBezTo>
                  <a:pt x="29188" y="24624"/>
                  <a:pt x="29219" y="24624"/>
                  <a:pt x="29188" y="24656"/>
                </a:cubicBezTo>
                <a:close/>
                <a:moveTo>
                  <a:pt x="29281" y="24437"/>
                </a:moveTo>
                <a:cubicBezTo>
                  <a:pt x="29219" y="24437"/>
                  <a:pt x="29250" y="24499"/>
                  <a:pt x="29188" y="24531"/>
                </a:cubicBezTo>
                <a:cubicBezTo>
                  <a:pt x="29281" y="24437"/>
                  <a:pt x="29250" y="24406"/>
                  <a:pt x="29156" y="24406"/>
                </a:cubicBezTo>
                <a:cubicBezTo>
                  <a:pt x="29125" y="24374"/>
                  <a:pt x="29125" y="24374"/>
                  <a:pt x="29156" y="24281"/>
                </a:cubicBezTo>
                <a:cubicBezTo>
                  <a:pt x="29188" y="24312"/>
                  <a:pt x="29219" y="24312"/>
                  <a:pt x="29219" y="24312"/>
                </a:cubicBezTo>
                <a:cubicBezTo>
                  <a:pt x="29281" y="24312"/>
                  <a:pt x="29313" y="24406"/>
                  <a:pt x="29281" y="24437"/>
                </a:cubicBezTo>
                <a:close/>
                <a:moveTo>
                  <a:pt x="29313" y="23187"/>
                </a:moveTo>
                <a:cubicBezTo>
                  <a:pt x="29281" y="23312"/>
                  <a:pt x="29156" y="23281"/>
                  <a:pt x="29094" y="23312"/>
                </a:cubicBezTo>
                <a:cubicBezTo>
                  <a:pt x="29094" y="23281"/>
                  <a:pt x="29063" y="23281"/>
                  <a:pt x="29063" y="23281"/>
                </a:cubicBezTo>
                <a:cubicBezTo>
                  <a:pt x="29063" y="23281"/>
                  <a:pt x="29094" y="23281"/>
                  <a:pt x="29094" y="23312"/>
                </a:cubicBezTo>
                <a:cubicBezTo>
                  <a:pt x="29094" y="23281"/>
                  <a:pt x="29125" y="23249"/>
                  <a:pt x="29094" y="23218"/>
                </a:cubicBezTo>
                <a:cubicBezTo>
                  <a:pt x="29063" y="23187"/>
                  <a:pt x="29063" y="23156"/>
                  <a:pt x="29031" y="23124"/>
                </a:cubicBezTo>
                <a:cubicBezTo>
                  <a:pt x="29156" y="23124"/>
                  <a:pt x="29250" y="23093"/>
                  <a:pt x="29313" y="23031"/>
                </a:cubicBezTo>
                <a:cubicBezTo>
                  <a:pt x="29219" y="23062"/>
                  <a:pt x="29125" y="23093"/>
                  <a:pt x="29031" y="23124"/>
                </a:cubicBezTo>
                <a:cubicBezTo>
                  <a:pt x="29063" y="23062"/>
                  <a:pt x="28875" y="23031"/>
                  <a:pt x="29031" y="22937"/>
                </a:cubicBezTo>
                <a:cubicBezTo>
                  <a:pt x="28969" y="22937"/>
                  <a:pt x="28938" y="22937"/>
                  <a:pt x="28938" y="22874"/>
                </a:cubicBezTo>
                <a:cubicBezTo>
                  <a:pt x="28938" y="22843"/>
                  <a:pt x="28938" y="22812"/>
                  <a:pt x="28938" y="22749"/>
                </a:cubicBezTo>
                <a:cubicBezTo>
                  <a:pt x="29125" y="22749"/>
                  <a:pt x="29250" y="22781"/>
                  <a:pt x="29375" y="22906"/>
                </a:cubicBezTo>
                <a:cubicBezTo>
                  <a:pt x="29406" y="22968"/>
                  <a:pt x="29375" y="23031"/>
                  <a:pt x="29438" y="23093"/>
                </a:cubicBezTo>
                <a:cubicBezTo>
                  <a:pt x="29469" y="23124"/>
                  <a:pt x="29469" y="23156"/>
                  <a:pt x="29438" y="23187"/>
                </a:cubicBezTo>
                <a:cubicBezTo>
                  <a:pt x="29406" y="23218"/>
                  <a:pt x="29375" y="23218"/>
                  <a:pt x="29344" y="23187"/>
                </a:cubicBezTo>
                <a:cubicBezTo>
                  <a:pt x="29344" y="23187"/>
                  <a:pt x="29313" y="23156"/>
                  <a:pt x="29313" y="23187"/>
                </a:cubicBezTo>
                <a:close/>
                <a:moveTo>
                  <a:pt x="29438" y="23656"/>
                </a:moveTo>
                <a:cubicBezTo>
                  <a:pt x="29406" y="23687"/>
                  <a:pt x="29406" y="23718"/>
                  <a:pt x="29375" y="23718"/>
                </a:cubicBezTo>
                <a:cubicBezTo>
                  <a:pt x="29375" y="23749"/>
                  <a:pt x="29344" y="23781"/>
                  <a:pt x="29313" y="23812"/>
                </a:cubicBezTo>
                <a:cubicBezTo>
                  <a:pt x="29313" y="23749"/>
                  <a:pt x="29375" y="23624"/>
                  <a:pt x="29406" y="23593"/>
                </a:cubicBezTo>
                <a:cubicBezTo>
                  <a:pt x="29438" y="23593"/>
                  <a:pt x="29438" y="23593"/>
                  <a:pt x="29438" y="23624"/>
                </a:cubicBezTo>
                <a:cubicBezTo>
                  <a:pt x="29438" y="23624"/>
                  <a:pt x="29438" y="23656"/>
                  <a:pt x="29438" y="23656"/>
                </a:cubicBezTo>
                <a:close/>
                <a:moveTo>
                  <a:pt x="29344" y="23406"/>
                </a:moveTo>
                <a:cubicBezTo>
                  <a:pt x="29344" y="23374"/>
                  <a:pt x="29344" y="23374"/>
                  <a:pt x="29344" y="23374"/>
                </a:cubicBezTo>
                <a:cubicBezTo>
                  <a:pt x="29438" y="23374"/>
                  <a:pt x="29500" y="23343"/>
                  <a:pt x="29563" y="23406"/>
                </a:cubicBezTo>
                <a:cubicBezTo>
                  <a:pt x="29563" y="23406"/>
                  <a:pt x="29563" y="23406"/>
                  <a:pt x="29563" y="23437"/>
                </a:cubicBezTo>
                <a:cubicBezTo>
                  <a:pt x="29563" y="23437"/>
                  <a:pt x="29531" y="23437"/>
                  <a:pt x="29531" y="23437"/>
                </a:cubicBezTo>
                <a:cubicBezTo>
                  <a:pt x="29500" y="23437"/>
                  <a:pt x="29469" y="23437"/>
                  <a:pt x="29438" y="23437"/>
                </a:cubicBezTo>
                <a:cubicBezTo>
                  <a:pt x="29406" y="23406"/>
                  <a:pt x="29375" y="23437"/>
                  <a:pt x="29344" y="23406"/>
                </a:cubicBezTo>
                <a:close/>
                <a:moveTo>
                  <a:pt x="29969" y="24968"/>
                </a:moveTo>
                <a:cubicBezTo>
                  <a:pt x="29969" y="24999"/>
                  <a:pt x="29938" y="24999"/>
                  <a:pt x="29906" y="24999"/>
                </a:cubicBezTo>
                <a:cubicBezTo>
                  <a:pt x="29875" y="24968"/>
                  <a:pt x="29906" y="24937"/>
                  <a:pt x="29906" y="24906"/>
                </a:cubicBezTo>
                <a:cubicBezTo>
                  <a:pt x="29875" y="24906"/>
                  <a:pt x="29906" y="24874"/>
                  <a:pt x="29906" y="24874"/>
                </a:cubicBezTo>
                <a:cubicBezTo>
                  <a:pt x="29906" y="24874"/>
                  <a:pt x="29938" y="24874"/>
                  <a:pt x="29938" y="24843"/>
                </a:cubicBezTo>
                <a:cubicBezTo>
                  <a:pt x="29969" y="24874"/>
                  <a:pt x="29969" y="24874"/>
                  <a:pt x="29969" y="24906"/>
                </a:cubicBezTo>
                <a:cubicBezTo>
                  <a:pt x="30000" y="24937"/>
                  <a:pt x="29969" y="24968"/>
                  <a:pt x="29969" y="24968"/>
                </a:cubicBezTo>
                <a:close/>
                <a:moveTo>
                  <a:pt x="3969" y="15687"/>
                </a:moveTo>
                <a:cubicBezTo>
                  <a:pt x="3969" y="15687"/>
                  <a:pt x="3969" y="15656"/>
                  <a:pt x="4000" y="15656"/>
                </a:cubicBezTo>
                <a:cubicBezTo>
                  <a:pt x="4000" y="15656"/>
                  <a:pt x="3969" y="15656"/>
                  <a:pt x="3969" y="15656"/>
                </a:cubicBezTo>
                <a:cubicBezTo>
                  <a:pt x="3969" y="15656"/>
                  <a:pt x="3969" y="15656"/>
                  <a:pt x="3969" y="15656"/>
                </a:cubicBezTo>
                <a:cubicBezTo>
                  <a:pt x="3938" y="15687"/>
                  <a:pt x="3969" y="15687"/>
                  <a:pt x="3969" y="15687"/>
                </a:cubicBezTo>
                <a:close/>
                <a:moveTo>
                  <a:pt x="2250" y="16281"/>
                </a:moveTo>
                <a:cubicBezTo>
                  <a:pt x="2188" y="16249"/>
                  <a:pt x="2125" y="16249"/>
                  <a:pt x="2063" y="16249"/>
                </a:cubicBezTo>
                <a:cubicBezTo>
                  <a:pt x="2125" y="16312"/>
                  <a:pt x="2156" y="16312"/>
                  <a:pt x="2250" y="16281"/>
                </a:cubicBezTo>
                <a:close/>
                <a:moveTo>
                  <a:pt x="2156" y="16749"/>
                </a:moveTo>
                <a:cubicBezTo>
                  <a:pt x="2156" y="16749"/>
                  <a:pt x="2156" y="16749"/>
                  <a:pt x="2156" y="16749"/>
                </a:cubicBezTo>
                <a:cubicBezTo>
                  <a:pt x="2094" y="16781"/>
                  <a:pt x="2000" y="16718"/>
                  <a:pt x="1969" y="16843"/>
                </a:cubicBezTo>
                <a:cubicBezTo>
                  <a:pt x="2031" y="16812"/>
                  <a:pt x="2094" y="16812"/>
                  <a:pt x="2125" y="16781"/>
                </a:cubicBezTo>
                <a:cubicBezTo>
                  <a:pt x="2156" y="16781"/>
                  <a:pt x="2156" y="16781"/>
                  <a:pt x="2156" y="16749"/>
                </a:cubicBezTo>
                <a:close/>
                <a:moveTo>
                  <a:pt x="1969" y="16843"/>
                </a:moveTo>
                <a:cubicBezTo>
                  <a:pt x="1938" y="16874"/>
                  <a:pt x="1875" y="16874"/>
                  <a:pt x="1813" y="16843"/>
                </a:cubicBezTo>
                <a:cubicBezTo>
                  <a:pt x="1844" y="16812"/>
                  <a:pt x="1875" y="16812"/>
                  <a:pt x="1875" y="16781"/>
                </a:cubicBezTo>
                <a:cubicBezTo>
                  <a:pt x="1844" y="16749"/>
                  <a:pt x="1813" y="16781"/>
                  <a:pt x="1813" y="16781"/>
                </a:cubicBezTo>
                <a:cubicBezTo>
                  <a:pt x="1750" y="16812"/>
                  <a:pt x="1719" y="16843"/>
                  <a:pt x="1688" y="16812"/>
                </a:cubicBezTo>
                <a:cubicBezTo>
                  <a:pt x="1656" y="16781"/>
                  <a:pt x="1688" y="16749"/>
                  <a:pt x="1688" y="16718"/>
                </a:cubicBezTo>
                <a:cubicBezTo>
                  <a:pt x="1688" y="16656"/>
                  <a:pt x="1750" y="16656"/>
                  <a:pt x="1813" y="16656"/>
                </a:cubicBezTo>
                <a:cubicBezTo>
                  <a:pt x="1813" y="16656"/>
                  <a:pt x="1813" y="16656"/>
                  <a:pt x="1813" y="16624"/>
                </a:cubicBezTo>
                <a:lnTo>
                  <a:pt x="1813" y="16624"/>
                </a:lnTo>
                <a:cubicBezTo>
                  <a:pt x="1781" y="16593"/>
                  <a:pt x="1688" y="16593"/>
                  <a:pt x="1719" y="16562"/>
                </a:cubicBezTo>
                <a:cubicBezTo>
                  <a:pt x="1719" y="16499"/>
                  <a:pt x="1781" y="16593"/>
                  <a:pt x="1813" y="16562"/>
                </a:cubicBezTo>
                <a:cubicBezTo>
                  <a:pt x="1844" y="16562"/>
                  <a:pt x="1906" y="16562"/>
                  <a:pt x="1938" y="16531"/>
                </a:cubicBezTo>
                <a:cubicBezTo>
                  <a:pt x="2000" y="16468"/>
                  <a:pt x="2094" y="16468"/>
                  <a:pt x="2156" y="16437"/>
                </a:cubicBezTo>
                <a:cubicBezTo>
                  <a:pt x="2125" y="16499"/>
                  <a:pt x="2094" y="16531"/>
                  <a:pt x="2031" y="16499"/>
                </a:cubicBezTo>
                <a:cubicBezTo>
                  <a:pt x="2000" y="16499"/>
                  <a:pt x="2000" y="16562"/>
                  <a:pt x="1969" y="16593"/>
                </a:cubicBezTo>
                <a:cubicBezTo>
                  <a:pt x="2031" y="16593"/>
                  <a:pt x="2094" y="16593"/>
                  <a:pt x="2125" y="16624"/>
                </a:cubicBezTo>
                <a:cubicBezTo>
                  <a:pt x="2156" y="16624"/>
                  <a:pt x="2219" y="16656"/>
                  <a:pt x="2250" y="16593"/>
                </a:cubicBezTo>
                <a:cubicBezTo>
                  <a:pt x="2281" y="16499"/>
                  <a:pt x="2344" y="16562"/>
                  <a:pt x="2406" y="16593"/>
                </a:cubicBezTo>
                <a:cubicBezTo>
                  <a:pt x="2375" y="16593"/>
                  <a:pt x="2313" y="16562"/>
                  <a:pt x="2281" y="16624"/>
                </a:cubicBezTo>
                <a:cubicBezTo>
                  <a:pt x="2250" y="16624"/>
                  <a:pt x="2219" y="16687"/>
                  <a:pt x="2188" y="16718"/>
                </a:cubicBezTo>
                <a:cubicBezTo>
                  <a:pt x="2219" y="16718"/>
                  <a:pt x="2250" y="16718"/>
                  <a:pt x="2281" y="16718"/>
                </a:cubicBezTo>
                <a:cubicBezTo>
                  <a:pt x="2281" y="16718"/>
                  <a:pt x="2281" y="16718"/>
                  <a:pt x="2281" y="16718"/>
                </a:cubicBezTo>
                <a:cubicBezTo>
                  <a:pt x="2250" y="16718"/>
                  <a:pt x="2250" y="16718"/>
                  <a:pt x="2250" y="16749"/>
                </a:cubicBezTo>
                <a:cubicBezTo>
                  <a:pt x="2250" y="16749"/>
                  <a:pt x="2250" y="16781"/>
                  <a:pt x="2250" y="16781"/>
                </a:cubicBezTo>
                <a:cubicBezTo>
                  <a:pt x="2281" y="16781"/>
                  <a:pt x="2281" y="16749"/>
                  <a:pt x="2281" y="16718"/>
                </a:cubicBezTo>
                <a:cubicBezTo>
                  <a:pt x="2344" y="16749"/>
                  <a:pt x="2344" y="16718"/>
                  <a:pt x="2375" y="16687"/>
                </a:cubicBezTo>
                <a:cubicBezTo>
                  <a:pt x="2375" y="16687"/>
                  <a:pt x="2375" y="16687"/>
                  <a:pt x="2406" y="16687"/>
                </a:cubicBezTo>
                <a:cubicBezTo>
                  <a:pt x="2406" y="16656"/>
                  <a:pt x="2406" y="16656"/>
                  <a:pt x="2406" y="16624"/>
                </a:cubicBezTo>
                <a:cubicBezTo>
                  <a:pt x="2406" y="16656"/>
                  <a:pt x="2406" y="16656"/>
                  <a:pt x="2406" y="16687"/>
                </a:cubicBezTo>
                <a:cubicBezTo>
                  <a:pt x="2406" y="16718"/>
                  <a:pt x="2406" y="16718"/>
                  <a:pt x="2375" y="16749"/>
                </a:cubicBezTo>
                <a:cubicBezTo>
                  <a:pt x="2344" y="16781"/>
                  <a:pt x="2281" y="16781"/>
                  <a:pt x="2313" y="16843"/>
                </a:cubicBezTo>
                <a:cubicBezTo>
                  <a:pt x="2313" y="16874"/>
                  <a:pt x="2281" y="16874"/>
                  <a:pt x="2250" y="16906"/>
                </a:cubicBezTo>
                <a:cubicBezTo>
                  <a:pt x="2188" y="16906"/>
                  <a:pt x="2219" y="16874"/>
                  <a:pt x="2219" y="16843"/>
                </a:cubicBezTo>
                <a:cubicBezTo>
                  <a:pt x="2188" y="16812"/>
                  <a:pt x="2188" y="16843"/>
                  <a:pt x="2156" y="16874"/>
                </a:cubicBezTo>
                <a:cubicBezTo>
                  <a:pt x="2125" y="16937"/>
                  <a:pt x="2063" y="16874"/>
                  <a:pt x="2031" y="16874"/>
                </a:cubicBezTo>
                <a:cubicBezTo>
                  <a:pt x="2000" y="16906"/>
                  <a:pt x="1969" y="16874"/>
                  <a:pt x="1969" y="16843"/>
                </a:cubicBezTo>
                <a:close/>
                <a:moveTo>
                  <a:pt x="3531" y="15624"/>
                </a:moveTo>
                <a:cubicBezTo>
                  <a:pt x="3531" y="15624"/>
                  <a:pt x="3500" y="15624"/>
                  <a:pt x="3500" y="15624"/>
                </a:cubicBezTo>
                <a:cubicBezTo>
                  <a:pt x="3438" y="15656"/>
                  <a:pt x="3469" y="15718"/>
                  <a:pt x="3469" y="15749"/>
                </a:cubicBezTo>
                <a:cubicBezTo>
                  <a:pt x="3469" y="15718"/>
                  <a:pt x="3500" y="15687"/>
                  <a:pt x="3531" y="15656"/>
                </a:cubicBezTo>
                <a:cubicBezTo>
                  <a:pt x="3563" y="15656"/>
                  <a:pt x="3563" y="15624"/>
                  <a:pt x="3531" y="15624"/>
                </a:cubicBezTo>
                <a:close/>
                <a:moveTo>
                  <a:pt x="3469" y="15749"/>
                </a:moveTo>
                <a:cubicBezTo>
                  <a:pt x="3469" y="15781"/>
                  <a:pt x="3469" y="15781"/>
                  <a:pt x="3469" y="15781"/>
                </a:cubicBezTo>
                <a:cubicBezTo>
                  <a:pt x="3469" y="15812"/>
                  <a:pt x="3531" y="15781"/>
                  <a:pt x="3531" y="15812"/>
                </a:cubicBezTo>
                <a:cubicBezTo>
                  <a:pt x="3500" y="15843"/>
                  <a:pt x="3500" y="15874"/>
                  <a:pt x="3438" y="15874"/>
                </a:cubicBezTo>
                <a:cubicBezTo>
                  <a:pt x="3406" y="15874"/>
                  <a:pt x="3375" y="15906"/>
                  <a:pt x="3344" y="15937"/>
                </a:cubicBezTo>
                <a:lnTo>
                  <a:pt x="3344" y="15937"/>
                </a:lnTo>
                <a:cubicBezTo>
                  <a:pt x="3281" y="15999"/>
                  <a:pt x="3219" y="15999"/>
                  <a:pt x="3156" y="15968"/>
                </a:cubicBezTo>
                <a:cubicBezTo>
                  <a:pt x="3250" y="15968"/>
                  <a:pt x="3313" y="15906"/>
                  <a:pt x="3375" y="15812"/>
                </a:cubicBezTo>
                <a:cubicBezTo>
                  <a:pt x="3375" y="15812"/>
                  <a:pt x="3438" y="15781"/>
                  <a:pt x="3469" y="15749"/>
                </a:cubicBezTo>
                <a:close/>
                <a:moveTo>
                  <a:pt x="2719" y="15562"/>
                </a:moveTo>
                <a:cubicBezTo>
                  <a:pt x="2719" y="15562"/>
                  <a:pt x="2719" y="15593"/>
                  <a:pt x="2719" y="15593"/>
                </a:cubicBezTo>
                <a:cubicBezTo>
                  <a:pt x="2719" y="15656"/>
                  <a:pt x="2750" y="15687"/>
                  <a:pt x="2781" y="15718"/>
                </a:cubicBezTo>
                <a:cubicBezTo>
                  <a:pt x="2813" y="15656"/>
                  <a:pt x="2750" y="15624"/>
                  <a:pt x="2750" y="15593"/>
                </a:cubicBezTo>
                <a:cubicBezTo>
                  <a:pt x="2719" y="15562"/>
                  <a:pt x="2688" y="15531"/>
                  <a:pt x="2656" y="15531"/>
                </a:cubicBezTo>
                <a:cubicBezTo>
                  <a:pt x="2625" y="15593"/>
                  <a:pt x="2719" y="15531"/>
                  <a:pt x="2719" y="15562"/>
                </a:cubicBezTo>
                <a:close/>
                <a:moveTo>
                  <a:pt x="2656" y="16031"/>
                </a:moveTo>
                <a:cubicBezTo>
                  <a:pt x="2719" y="16062"/>
                  <a:pt x="2750" y="16062"/>
                  <a:pt x="2781" y="16031"/>
                </a:cubicBezTo>
                <a:cubicBezTo>
                  <a:pt x="2781" y="15999"/>
                  <a:pt x="2750" y="15937"/>
                  <a:pt x="2750" y="15906"/>
                </a:cubicBezTo>
                <a:cubicBezTo>
                  <a:pt x="2719" y="15843"/>
                  <a:pt x="2688" y="15874"/>
                  <a:pt x="2625" y="15874"/>
                </a:cubicBezTo>
                <a:cubicBezTo>
                  <a:pt x="2781" y="15906"/>
                  <a:pt x="2656" y="15999"/>
                  <a:pt x="2656" y="16031"/>
                </a:cubicBezTo>
                <a:close/>
                <a:moveTo>
                  <a:pt x="3469" y="15749"/>
                </a:moveTo>
                <a:cubicBezTo>
                  <a:pt x="3469" y="15749"/>
                  <a:pt x="3469" y="15749"/>
                  <a:pt x="3469" y="15749"/>
                </a:cubicBezTo>
                <a:cubicBezTo>
                  <a:pt x="3469" y="15749"/>
                  <a:pt x="3469" y="15749"/>
                  <a:pt x="3469" y="15749"/>
                </a:cubicBezTo>
                <a:close/>
                <a:moveTo>
                  <a:pt x="1344" y="17437"/>
                </a:moveTo>
                <a:cubicBezTo>
                  <a:pt x="1313" y="17437"/>
                  <a:pt x="1281" y="17437"/>
                  <a:pt x="1313" y="17468"/>
                </a:cubicBezTo>
                <a:cubicBezTo>
                  <a:pt x="1313" y="17468"/>
                  <a:pt x="1313" y="17531"/>
                  <a:pt x="1344" y="17531"/>
                </a:cubicBezTo>
                <a:cubicBezTo>
                  <a:pt x="1375" y="17531"/>
                  <a:pt x="1375" y="17499"/>
                  <a:pt x="1375" y="17468"/>
                </a:cubicBezTo>
                <a:cubicBezTo>
                  <a:pt x="1375" y="17437"/>
                  <a:pt x="1375" y="17437"/>
                  <a:pt x="1344" y="17437"/>
                </a:cubicBezTo>
                <a:close/>
                <a:moveTo>
                  <a:pt x="4219" y="16781"/>
                </a:moveTo>
                <a:cubicBezTo>
                  <a:pt x="4219" y="16781"/>
                  <a:pt x="4156" y="16781"/>
                  <a:pt x="4156" y="16812"/>
                </a:cubicBezTo>
                <a:cubicBezTo>
                  <a:pt x="4156" y="16843"/>
                  <a:pt x="4063" y="16843"/>
                  <a:pt x="4125" y="16874"/>
                </a:cubicBezTo>
                <a:cubicBezTo>
                  <a:pt x="4156" y="16906"/>
                  <a:pt x="4219" y="16937"/>
                  <a:pt x="4281" y="16874"/>
                </a:cubicBezTo>
                <a:cubicBezTo>
                  <a:pt x="4281" y="16874"/>
                  <a:pt x="4313" y="16874"/>
                  <a:pt x="4313" y="16812"/>
                </a:cubicBezTo>
                <a:cubicBezTo>
                  <a:pt x="4281" y="16812"/>
                  <a:pt x="4250" y="16843"/>
                  <a:pt x="4219" y="16781"/>
                </a:cubicBezTo>
                <a:close/>
                <a:moveTo>
                  <a:pt x="3438" y="18749"/>
                </a:moveTo>
                <a:cubicBezTo>
                  <a:pt x="3438" y="18718"/>
                  <a:pt x="3406" y="18749"/>
                  <a:pt x="3406" y="18781"/>
                </a:cubicBezTo>
                <a:cubicBezTo>
                  <a:pt x="3375" y="18781"/>
                  <a:pt x="3375" y="18812"/>
                  <a:pt x="3375" y="18812"/>
                </a:cubicBezTo>
                <a:cubicBezTo>
                  <a:pt x="3438" y="18843"/>
                  <a:pt x="3469" y="18874"/>
                  <a:pt x="3469" y="18906"/>
                </a:cubicBezTo>
                <a:cubicBezTo>
                  <a:pt x="3469" y="18906"/>
                  <a:pt x="3500" y="18937"/>
                  <a:pt x="3500" y="18906"/>
                </a:cubicBezTo>
                <a:cubicBezTo>
                  <a:pt x="3531" y="18843"/>
                  <a:pt x="3594" y="18874"/>
                  <a:pt x="3625" y="18843"/>
                </a:cubicBezTo>
                <a:cubicBezTo>
                  <a:pt x="3563" y="18812"/>
                  <a:pt x="3469" y="18874"/>
                  <a:pt x="3438" y="18749"/>
                </a:cubicBezTo>
                <a:close/>
                <a:moveTo>
                  <a:pt x="12750" y="12281"/>
                </a:moveTo>
                <a:cubicBezTo>
                  <a:pt x="12750" y="12281"/>
                  <a:pt x="12750" y="12249"/>
                  <a:pt x="12750" y="12218"/>
                </a:cubicBezTo>
                <a:cubicBezTo>
                  <a:pt x="12750" y="12218"/>
                  <a:pt x="12750" y="12218"/>
                  <a:pt x="12750" y="12218"/>
                </a:cubicBezTo>
                <a:cubicBezTo>
                  <a:pt x="12781" y="12218"/>
                  <a:pt x="12781" y="12187"/>
                  <a:pt x="12781" y="12187"/>
                </a:cubicBezTo>
                <a:cubicBezTo>
                  <a:pt x="12781" y="12187"/>
                  <a:pt x="12750" y="12187"/>
                  <a:pt x="12750" y="12187"/>
                </a:cubicBezTo>
                <a:cubicBezTo>
                  <a:pt x="12750" y="12187"/>
                  <a:pt x="12750" y="12218"/>
                  <a:pt x="12750" y="12218"/>
                </a:cubicBezTo>
                <a:cubicBezTo>
                  <a:pt x="12719" y="12218"/>
                  <a:pt x="12719" y="12218"/>
                  <a:pt x="12719" y="12249"/>
                </a:cubicBezTo>
                <a:cubicBezTo>
                  <a:pt x="12719" y="12249"/>
                  <a:pt x="12719" y="12281"/>
                  <a:pt x="12750" y="12281"/>
                </a:cubicBezTo>
                <a:close/>
                <a:moveTo>
                  <a:pt x="14313" y="16031"/>
                </a:moveTo>
                <a:cubicBezTo>
                  <a:pt x="14313" y="16031"/>
                  <a:pt x="14313" y="15999"/>
                  <a:pt x="14313" y="16031"/>
                </a:cubicBezTo>
                <a:close/>
                <a:moveTo>
                  <a:pt x="12969" y="15968"/>
                </a:moveTo>
                <a:cubicBezTo>
                  <a:pt x="12969" y="15968"/>
                  <a:pt x="12938" y="15999"/>
                  <a:pt x="12969" y="15999"/>
                </a:cubicBezTo>
                <a:cubicBezTo>
                  <a:pt x="12969" y="16031"/>
                  <a:pt x="12969" y="16031"/>
                  <a:pt x="12969" y="16031"/>
                </a:cubicBezTo>
                <a:cubicBezTo>
                  <a:pt x="13000" y="16062"/>
                  <a:pt x="13031" y="16062"/>
                  <a:pt x="13063" y="16093"/>
                </a:cubicBezTo>
                <a:cubicBezTo>
                  <a:pt x="13031" y="16062"/>
                  <a:pt x="13000" y="16062"/>
                  <a:pt x="12969" y="16031"/>
                </a:cubicBezTo>
                <a:cubicBezTo>
                  <a:pt x="12938" y="16093"/>
                  <a:pt x="12938" y="16124"/>
                  <a:pt x="12969" y="16156"/>
                </a:cubicBezTo>
                <a:cubicBezTo>
                  <a:pt x="13000" y="16281"/>
                  <a:pt x="13094" y="16249"/>
                  <a:pt x="13156" y="16218"/>
                </a:cubicBezTo>
                <a:cubicBezTo>
                  <a:pt x="13188" y="16187"/>
                  <a:pt x="13188" y="16249"/>
                  <a:pt x="13250" y="16218"/>
                </a:cubicBezTo>
                <a:cubicBezTo>
                  <a:pt x="13188" y="16156"/>
                  <a:pt x="13156" y="16093"/>
                  <a:pt x="13094" y="15999"/>
                </a:cubicBezTo>
                <a:cubicBezTo>
                  <a:pt x="13063" y="15968"/>
                  <a:pt x="13031" y="15937"/>
                  <a:pt x="12969" y="15968"/>
                </a:cubicBezTo>
                <a:close/>
                <a:moveTo>
                  <a:pt x="13156" y="16218"/>
                </a:moveTo>
                <a:cubicBezTo>
                  <a:pt x="13125" y="16187"/>
                  <a:pt x="13125" y="16187"/>
                  <a:pt x="13125" y="16156"/>
                </a:cubicBezTo>
                <a:cubicBezTo>
                  <a:pt x="13125" y="16156"/>
                  <a:pt x="13125" y="16156"/>
                  <a:pt x="13125" y="16156"/>
                </a:cubicBezTo>
                <a:cubicBezTo>
                  <a:pt x="13125" y="16156"/>
                  <a:pt x="13125" y="16156"/>
                  <a:pt x="13125" y="16156"/>
                </a:cubicBezTo>
                <a:cubicBezTo>
                  <a:pt x="13125" y="16156"/>
                  <a:pt x="13156" y="16187"/>
                  <a:pt x="13156" y="16218"/>
                </a:cubicBezTo>
                <a:close/>
                <a:moveTo>
                  <a:pt x="9719" y="16874"/>
                </a:moveTo>
                <a:cubicBezTo>
                  <a:pt x="9719" y="16874"/>
                  <a:pt x="9719" y="16874"/>
                  <a:pt x="9719" y="16874"/>
                </a:cubicBezTo>
                <a:cubicBezTo>
                  <a:pt x="9719" y="16874"/>
                  <a:pt x="9719" y="16874"/>
                  <a:pt x="9719" y="16874"/>
                </a:cubicBezTo>
                <a:lnTo>
                  <a:pt x="9719" y="16874"/>
                </a:lnTo>
                <a:cubicBezTo>
                  <a:pt x="9719" y="16874"/>
                  <a:pt x="9719" y="16874"/>
                  <a:pt x="9719" y="16874"/>
                </a:cubicBezTo>
                <a:close/>
                <a:moveTo>
                  <a:pt x="26969" y="21468"/>
                </a:moveTo>
                <a:cubicBezTo>
                  <a:pt x="27063" y="21468"/>
                  <a:pt x="27094" y="21562"/>
                  <a:pt x="27219" y="21531"/>
                </a:cubicBezTo>
                <a:cubicBezTo>
                  <a:pt x="27125" y="21499"/>
                  <a:pt x="27063" y="21468"/>
                  <a:pt x="27000" y="21437"/>
                </a:cubicBezTo>
                <a:cubicBezTo>
                  <a:pt x="27000" y="21437"/>
                  <a:pt x="26969" y="21437"/>
                  <a:pt x="26969" y="21468"/>
                </a:cubicBezTo>
                <a:close/>
                <a:moveTo>
                  <a:pt x="26000" y="20937"/>
                </a:moveTo>
                <a:cubicBezTo>
                  <a:pt x="26000" y="20937"/>
                  <a:pt x="26000" y="20937"/>
                  <a:pt x="26000" y="20937"/>
                </a:cubicBezTo>
                <a:cubicBezTo>
                  <a:pt x="26000" y="20937"/>
                  <a:pt x="26000" y="20937"/>
                  <a:pt x="26000" y="20937"/>
                </a:cubicBezTo>
                <a:close/>
                <a:moveTo>
                  <a:pt x="28781" y="21999"/>
                </a:moveTo>
                <a:cubicBezTo>
                  <a:pt x="28781" y="21937"/>
                  <a:pt x="28781" y="21906"/>
                  <a:pt x="28781" y="21874"/>
                </a:cubicBezTo>
                <a:cubicBezTo>
                  <a:pt x="28688" y="21937"/>
                  <a:pt x="28688" y="21937"/>
                  <a:pt x="28781" y="21999"/>
                </a:cubicBezTo>
                <a:close/>
                <a:moveTo>
                  <a:pt x="23281" y="18749"/>
                </a:moveTo>
                <a:cubicBezTo>
                  <a:pt x="23281" y="18749"/>
                  <a:pt x="23313" y="18749"/>
                  <a:pt x="23313" y="18749"/>
                </a:cubicBezTo>
                <a:moveTo>
                  <a:pt x="23281" y="18749"/>
                </a:moveTo>
                <a:close/>
                <a:moveTo>
                  <a:pt x="28281" y="22468"/>
                </a:moveTo>
                <a:cubicBezTo>
                  <a:pt x="28281" y="22468"/>
                  <a:pt x="28250" y="22468"/>
                  <a:pt x="28250" y="22468"/>
                </a:cubicBezTo>
                <a:cubicBezTo>
                  <a:pt x="28281" y="22499"/>
                  <a:pt x="28281" y="22499"/>
                  <a:pt x="28281" y="22499"/>
                </a:cubicBezTo>
                <a:cubicBezTo>
                  <a:pt x="28313" y="22499"/>
                  <a:pt x="28313" y="22499"/>
                  <a:pt x="28313" y="22499"/>
                </a:cubicBezTo>
                <a:cubicBezTo>
                  <a:pt x="28313" y="22468"/>
                  <a:pt x="28313" y="22468"/>
                  <a:pt x="28281" y="22468"/>
                </a:cubicBezTo>
                <a:close/>
                <a:moveTo>
                  <a:pt x="28156" y="22156"/>
                </a:moveTo>
                <a:cubicBezTo>
                  <a:pt x="28156" y="22156"/>
                  <a:pt x="28156" y="22156"/>
                  <a:pt x="28156" y="22156"/>
                </a:cubicBezTo>
                <a:cubicBezTo>
                  <a:pt x="28156" y="22156"/>
                  <a:pt x="28156" y="22156"/>
                  <a:pt x="28156" y="22156"/>
                </a:cubicBezTo>
                <a:lnTo>
                  <a:pt x="28156" y="22156"/>
                </a:lnTo>
                <a:cubicBezTo>
                  <a:pt x="28156" y="22156"/>
                  <a:pt x="28156" y="22156"/>
                  <a:pt x="28156" y="22156"/>
                </a:cubicBezTo>
                <a:close/>
                <a:moveTo>
                  <a:pt x="25156" y="19156"/>
                </a:moveTo>
                <a:cubicBezTo>
                  <a:pt x="25156" y="19156"/>
                  <a:pt x="25156" y="19124"/>
                  <a:pt x="25156" y="19124"/>
                </a:cubicBezTo>
                <a:cubicBezTo>
                  <a:pt x="25156" y="19124"/>
                  <a:pt x="25125" y="19124"/>
                  <a:pt x="25125" y="19124"/>
                </a:cubicBezTo>
                <a:cubicBezTo>
                  <a:pt x="25125" y="19124"/>
                  <a:pt x="25125" y="19156"/>
                  <a:pt x="25125" y="19156"/>
                </a:cubicBezTo>
                <a:cubicBezTo>
                  <a:pt x="25156" y="19156"/>
                  <a:pt x="25156" y="19156"/>
                  <a:pt x="25156" y="19156"/>
                </a:cubicBezTo>
                <a:close/>
                <a:moveTo>
                  <a:pt x="25063" y="19249"/>
                </a:moveTo>
                <a:cubicBezTo>
                  <a:pt x="25031" y="19249"/>
                  <a:pt x="25031" y="19249"/>
                  <a:pt x="25031" y="19249"/>
                </a:cubicBezTo>
                <a:cubicBezTo>
                  <a:pt x="25031" y="19249"/>
                  <a:pt x="25031" y="19249"/>
                  <a:pt x="25031" y="19249"/>
                </a:cubicBezTo>
                <a:cubicBezTo>
                  <a:pt x="25031" y="19249"/>
                  <a:pt x="25031" y="19281"/>
                  <a:pt x="25031" y="19281"/>
                </a:cubicBezTo>
                <a:cubicBezTo>
                  <a:pt x="25031" y="19281"/>
                  <a:pt x="25031" y="19281"/>
                  <a:pt x="25063" y="19249"/>
                </a:cubicBezTo>
                <a:close/>
                <a:moveTo>
                  <a:pt x="24906" y="19562"/>
                </a:moveTo>
                <a:cubicBezTo>
                  <a:pt x="24906" y="19531"/>
                  <a:pt x="24844" y="19531"/>
                  <a:pt x="24844" y="19499"/>
                </a:cubicBezTo>
                <a:cubicBezTo>
                  <a:pt x="24844" y="19531"/>
                  <a:pt x="24813" y="19531"/>
                  <a:pt x="24813" y="19531"/>
                </a:cubicBezTo>
                <a:cubicBezTo>
                  <a:pt x="24781" y="19562"/>
                  <a:pt x="24844" y="19593"/>
                  <a:pt x="24844" y="19656"/>
                </a:cubicBezTo>
                <a:cubicBezTo>
                  <a:pt x="24844" y="19687"/>
                  <a:pt x="24875" y="19687"/>
                  <a:pt x="24875" y="19687"/>
                </a:cubicBezTo>
                <a:cubicBezTo>
                  <a:pt x="24906" y="19687"/>
                  <a:pt x="24906" y="19687"/>
                  <a:pt x="24906" y="19687"/>
                </a:cubicBezTo>
                <a:cubicBezTo>
                  <a:pt x="24938" y="19624"/>
                  <a:pt x="24875" y="19593"/>
                  <a:pt x="24906" y="19562"/>
                </a:cubicBezTo>
                <a:close/>
                <a:moveTo>
                  <a:pt x="26906" y="20468"/>
                </a:moveTo>
                <a:cubicBezTo>
                  <a:pt x="26906" y="20499"/>
                  <a:pt x="26938" y="20499"/>
                  <a:pt x="26969" y="20531"/>
                </a:cubicBezTo>
                <a:cubicBezTo>
                  <a:pt x="26938" y="20499"/>
                  <a:pt x="26938" y="20468"/>
                  <a:pt x="26906" y="20468"/>
                </a:cubicBezTo>
                <a:cubicBezTo>
                  <a:pt x="26906" y="20437"/>
                  <a:pt x="26875" y="20437"/>
                  <a:pt x="26844" y="20406"/>
                </a:cubicBezTo>
                <a:cubicBezTo>
                  <a:pt x="26844" y="20437"/>
                  <a:pt x="26875" y="20468"/>
                  <a:pt x="26906" y="20468"/>
                </a:cubicBezTo>
                <a:close/>
                <a:moveTo>
                  <a:pt x="25938" y="19874"/>
                </a:moveTo>
                <a:cubicBezTo>
                  <a:pt x="25906" y="19843"/>
                  <a:pt x="25875" y="19781"/>
                  <a:pt x="25813" y="19812"/>
                </a:cubicBezTo>
                <a:cubicBezTo>
                  <a:pt x="25813" y="19812"/>
                  <a:pt x="25813" y="19812"/>
                  <a:pt x="25813" y="19843"/>
                </a:cubicBezTo>
                <a:cubicBezTo>
                  <a:pt x="25844" y="19874"/>
                  <a:pt x="25906" y="19874"/>
                  <a:pt x="25938" y="19874"/>
                </a:cubicBezTo>
                <a:close/>
                <a:moveTo>
                  <a:pt x="26000" y="19843"/>
                </a:moveTo>
                <a:cubicBezTo>
                  <a:pt x="26000" y="19937"/>
                  <a:pt x="26063" y="19906"/>
                  <a:pt x="26125" y="19968"/>
                </a:cubicBezTo>
                <a:cubicBezTo>
                  <a:pt x="26125" y="19874"/>
                  <a:pt x="26063" y="19874"/>
                  <a:pt x="26000" y="19843"/>
                </a:cubicBezTo>
                <a:close/>
                <a:moveTo>
                  <a:pt x="25625" y="19906"/>
                </a:moveTo>
                <a:cubicBezTo>
                  <a:pt x="25594" y="19968"/>
                  <a:pt x="25594" y="20031"/>
                  <a:pt x="25656" y="20093"/>
                </a:cubicBezTo>
                <a:cubicBezTo>
                  <a:pt x="25688" y="20031"/>
                  <a:pt x="25625" y="19968"/>
                  <a:pt x="25625" y="19906"/>
                </a:cubicBezTo>
                <a:close/>
                <a:moveTo>
                  <a:pt x="25969" y="19781"/>
                </a:moveTo>
                <a:cubicBezTo>
                  <a:pt x="26031" y="19781"/>
                  <a:pt x="26031" y="19812"/>
                  <a:pt x="26063" y="19812"/>
                </a:cubicBezTo>
                <a:cubicBezTo>
                  <a:pt x="26125" y="19843"/>
                  <a:pt x="26156" y="19812"/>
                  <a:pt x="26156" y="19781"/>
                </a:cubicBezTo>
                <a:cubicBezTo>
                  <a:pt x="26094" y="19781"/>
                  <a:pt x="26031" y="19781"/>
                  <a:pt x="26000" y="19749"/>
                </a:cubicBezTo>
                <a:cubicBezTo>
                  <a:pt x="25969" y="19718"/>
                  <a:pt x="25938" y="19749"/>
                  <a:pt x="25938" y="19781"/>
                </a:cubicBezTo>
                <a:cubicBezTo>
                  <a:pt x="25938" y="19812"/>
                  <a:pt x="25969" y="19812"/>
                  <a:pt x="25969" y="19781"/>
                </a:cubicBezTo>
                <a:close/>
                <a:moveTo>
                  <a:pt x="26250" y="19968"/>
                </a:moveTo>
                <a:cubicBezTo>
                  <a:pt x="26281" y="19968"/>
                  <a:pt x="26313" y="19937"/>
                  <a:pt x="26313" y="19906"/>
                </a:cubicBezTo>
                <a:cubicBezTo>
                  <a:pt x="26313" y="19874"/>
                  <a:pt x="26250" y="19874"/>
                  <a:pt x="26219" y="19843"/>
                </a:cubicBezTo>
                <a:cubicBezTo>
                  <a:pt x="26188" y="19843"/>
                  <a:pt x="26156" y="19843"/>
                  <a:pt x="26156" y="19874"/>
                </a:cubicBezTo>
                <a:cubicBezTo>
                  <a:pt x="26156" y="19937"/>
                  <a:pt x="26219" y="19937"/>
                  <a:pt x="26250" y="19968"/>
                </a:cubicBezTo>
                <a:close/>
                <a:moveTo>
                  <a:pt x="26313" y="20406"/>
                </a:moveTo>
                <a:cubicBezTo>
                  <a:pt x="26344" y="20406"/>
                  <a:pt x="26375" y="20374"/>
                  <a:pt x="26438" y="20343"/>
                </a:cubicBezTo>
                <a:cubicBezTo>
                  <a:pt x="26406" y="20312"/>
                  <a:pt x="26406" y="20312"/>
                  <a:pt x="26406" y="20312"/>
                </a:cubicBezTo>
                <a:cubicBezTo>
                  <a:pt x="26344" y="20281"/>
                  <a:pt x="26344" y="20281"/>
                  <a:pt x="26313" y="20343"/>
                </a:cubicBezTo>
                <a:cubicBezTo>
                  <a:pt x="26313" y="20343"/>
                  <a:pt x="26281" y="20343"/>
                  <a:pt x="26281" y="20343"/>
                </a:cubicBezTo>
                <a:cubicBezTo>
                  <a:pt x="26250" y="20312"/>
                  <a:pt x="26250" y="20343"/>
                  <a:pt x="26250" y="20374"/>
                </a:cubicBezTo>
                <a:cubicBezTo>
                  <a:pt x="26250" y="20437"/>
                  <a:pt x="26281" y="20437"/>
                  <a:pt x="26313" y="20406"/>
                </a:cubicBezTo>
                <a:close/>
                <a:moveTo>
                  <a:pt x="25969" y="20437"/>
                </a:moveTo>
                <a:cubicBezTo>
                  <a:pt x="25969" y="20437"/>
                  <a:pt x="25969" y="20437"/>
                  <a:pt x="25969" y="20468"/>
                </a:cubicBezTo>
                <a:cubicBezTo>
                  <a:pt x="26000" y="20499"/>
                  <a:pt x="25938" y="20499"/>
                  <a:pt x="25969" y="20531"/>
                </a:cubicBezTo>
                <a:cubicBezTo>
                  <a:pt x="25969" y="20531"/>
                  <a:pt x="25969" y="20531"/>
                  <a:pt x="26000" y="20531"/>
                </a:cubicBezTo>
                <a:cubicBezTo>
                  <a:pt x="26063" y="20499"/>
                  <a:pt x="26094" y="20499"/>
                  <a:pt x="26156" y="20468"/>
                </a:cubicBezTo>
                <a:cubicBezTo>
                  <a:pt x="26188" y="20468"/>
                  <a:pt x="26219" y="20468"/>
                  <a:pt x="26188" y="20437"/>
                </a:cubicBezTo>
                <a:cubicBezTo>
                  <a:pt x="26188" y="20406"/>
                  <a:pt x="26156" y="20406"/>
                  <a:pt x="26156" y="20406"/>
                </a:cubicBezTo>
                <a:cubicBezTo>
                  <a:pt x="26094" y="20406"/>
                  <a:pt x="26063" y="20468"/>
                  <a:pt x="25969" y="20437"/>
                </a:cubicBezTo>
                <a:close/>
                <a:moveTo>
                  <a:pt x="25625" y="20406"/>
                </a:moveTo>
                <a:cubicBezTo>
                  <a:pt x="25625" y="20406"/>
                  <a:pt x="25625" y="20406"/>
                  <a:pt x="25625" y="20406"/>
                </a:cubicBezTo>
                <a:cubicBezTo>
                  <a:pt x="25625" y="20406"/>
                  <a:pt x="25625" y="20406"/>
                  <a:pt x="25625" y="20406"/>
                </a:cubicBezTo>
                <a:lnTo>
                  <a:pt x="25625" y="20406"/>
                </a:lnTo>
                <a:cubicBezTo>
                  <a:pt x="25625" y="20406"/>
                  <a:pt x="25625" y="20406"/>
                  <a:pt x="25625" y="20406"/>
                </a:cubicBezTo>
                <a:cubicBezTo>
                  <a:pt x="25625" y="20406"/>
                  <a:pt x="25625" y="20406"/>
                  <a:pt x="25625" y="20406"/>
                </a:cubicBezTo>
                <a:close/>
                <a:moveTo>
                  <a:pt x="21397" y="16897"/>
                </a:moveTo>
                <a:cubicBezTo>
                  <a:pt x="21384" y="16944"/>
                  <a:pt x="21415" y="16964"/>
                  <a:pt x="21469" y="16937"/>
                </a:cubicBezTo>
                <a:cubicBezTo>
                  <a:pt x="21438" y="17031"/>
                  <a:pt x="21531" y="17031"/>
                  <a:pt x="21563" y="17062"/>
                </a:cubicBezTo>
                <a:cubicBezTo>
                  <a:pt x="21625" y="17156"/>
                  <a:pt x="21750" y="17218"/>
                  <a:pt x="21813" y="17312"/>
                </a:cubicBezTo>
                <a:cubicBezTo>
                  <a:pt x="21813" y="17312"/>
                  <a:pt x="21781" y="17312"/>
                  <a:pt x="21781" y="17312"/>
                </a:cubicBezTo>
                <a:cubicBezTo>
                  <a:pt x="21750" y="17249"/>
                  <a:pt x="21688" y="17218"/>
                  <a:pt x="21625" y="17187"/>
                </a:cubicBezTo>
                <a:lnTo>
                  <a:pt x="21625" y="17187"/>
                </a:lnTo>
                <a:cubicBezTo>
                  <a:pt x="21625" y="17187"/>
                  <a:pt x="21625" y="17187"/>
                  <a:pt x="21625" y="17187"/>
                </a:cubicBezTo>
                <a:cubicBezTo>
                  <a:pt x="21594" y="17124"/>
                  <a:pt x="21531" y="17093"/>
                  <a:pt x="21469" y="17062"/>
                </a:cubicBezTo>
                <a:cubicBezTo>
                  <a:pt x="21469" y="17031"/>
                  <a:pt x="21438" y="16999"/>
                  <a:pt x="21406" y="16999"/>
                </a:cubicBezTo>
                <a:cubicBezTo>
                  <a:pt x="21406" y="16999"/>
                  <a:pt x="21406" y="16999"/>
                  <a:pt x="21406" y="16999"/>
                </a:cubicBezTo>
                <a:cubicBezTo>
                  <a:pt x="21344" y="16906"/>
                  <a:pt x="21281" y="16874"/>
                  <a:pt x="21188" y="16812"/>
                </a:cubicBezTo>
                <a:cubicBezTo>
                  <a:pt x="21188" y="16812"/>
                  <a:pt x="21188" y="16812"/>
                  <a:pt x="21188" y="16812"/>
                </a:cubicBezTo>
                <a:cubicBezTo>
                  <a:pt x="21188" y="16812"/>
                  <a:pt x="21156" y="16812"/>
                  <a:pt x="21156" y="16812"/>
                </a:cubicBezTo>
                <a:cubicBezTo>
                  <a:pt x="21156" y="16812"/>
                  <a:pt x="21156" y="16812"/>
                  <a:pt x="21188" y="16843"/>
                </a:cubicBezTo>
                <a:cubicBezTo>
                  <a:pt x="21188" y="16874"/>
                  <a:pt x="21219" y="16874"/>
                  <a:pt x="21219" y="16874"/>
                </a:cubicBezTo>
                <a:cubicBezTo>
                  <a:pt x="21250" y="16906"/>
                  <a:pt x="21281" y="16906"/>
                  <a:pt x="21250" y="16937"/>
                </a:cubicBezTo>
                <a:cubicBezTo>
                  <a:pt x="21250" y="16937"/>
                  <a:pt x="21219" y="16937"/>
                  <a:pt x="21219" y="16906"/>
                </a:cubicBezTo>
                <a:cubicBezTo>
                  <a:pt x="21219" y="16906"/>
                  <a:pt x="21219" y="16906"/>
                  <a:pt x="21219" y="16874"/>
                </a:cubicBezTo>
                <a:cubicBezTo>
                  <a:pt x="21219" y="16874"/>
                  <a:pt x="21219" y="16906"/>
                  <a:pt x="21219" y="16906"/>
                </a:cubicBezTo>
                <a:cubicBezTo>
                  <a:pt x="21156" y="16906"/>
                  <a:pt x="21125" y="16843"/>
                  <a:pt x="21094" y="16812"/>
                </a:cubicBezTo>
                <a:cubicBezTo>
                  <a:pt x="21063" y="16781"/>
                  <a:pt x="21031" y="16781"/>
                  <a:pt x="21031" y="16749"/>
                </a:cubicBezTo>
                <a:cubicBezTo>
                  <a:pt x="21031" y="16781"/>
                  <a:pt x="21063" y="16781"/>
                  <a:pt x="21094" y="16812"/>
                </a:cubicBezTo>
                <a:cubicBezTo>
                  <a:pt x="21125" y="16812"/>
                  <a:pt x="21125" y="16812"/>
                  <a:pt x="21156" y="16781"/>
                </a:cubicBezTo>
                <a:cubicBezTo>
                  <a:pt x="21125" y="16749"/>
                  <a:pt x="21094" y="16687"/>
                  <a:pt x="21031" y="16687"/>
                </a:cubicBezTo>
                <a:cubicBezTo>
                  <a:pt x="20969" y="16687"/>
                  <a:pt x="21000" y="16624"/>
                  <a:pt x="20969" y="16624"/>
                </a:cubicBezTo>
                <a:cubicBezTo>
                  <a:pt x="20969" y="16624"/>
                  <a:pt x="20969" y="16624"/>
                  <a:pt x="20969" y="16624"/>
                </a:cubicBezTo>
                <a:cubicBezTo>
                  <a:pt x="20938" y="16593"/>
                  <a:pt x="20906" y="16562"/>
                  <a:pt x="20875" y="16531"/>
                </a:cubicBezTo>
                <a:cubicBezTo>
                  <a:pt x="20906" y="16499"/>
                  <a:pt x="20938" y="16531"/>
                  <a:pt x="20938" y="16562"/>
                </a:cubicBezTo>
                <a:cubicBezTo>
                  <a:pt x="20969" y="16562"/>
                  <a:pt x="21000" y="16624"/>
                  <a:pt x="21031" y="16593"/>
                </a:cubicBezTo>
                <a:cubicBezTo>
                  <a:pt x="21031" y="16593"/>
                  <a:pt x="21031" y="16593"/>
                  <a:pt x="21031" y="16624"/>
                </a:cubicBezTo>
                <a:cubicBezTo>
                  <a:pt x="21125" y="16718"/>
                  <a:pt x="21250" y="16812"/>
                  <a:pt x="21375" y="16906"/>
                </a:cubicBezTo>
                <a:cubicBezTo>
                  <a:pt x="21375" y="16906"/>
                  <a:pt x="21388" y="16906"/>
                  <a:pt x="21397" y="16897"/>
                </a:cubicBezTo>
                <a:close/>
                <a:moveTo>
                  <a:pt x="21469" y="16937"/>
                </a:moveTo>
                <a:cubicBezTo>
                  <a:pt x="21469" y="16906"/>
                  <a:pt x="21438" y="16874"/>
                  <a:pt x="21406" y="16874"/>
                </a:cubicBezTo>
                <a:cubicBezTo>
                  <a:pt x="21375" y="16812"/>
                  <a:pt x="21313" y="16812"/>
                  <a:pt x="21281" y="16749"/>
                </a:cubicBezTo>
                <a:cubicBezTo>
                  <a:pt x="21250" y="16749"/>
                  <a:pt x="21250" y="16718"/>
                  <a:pt x="21219" y="16718"/>
                </a:cubicBezTo>
                <a:cubicBezTo>
                  <a:pt x="21250" y="16718"/>
                  <a:pt x="21281" y="16718"/>
                  <a:pt x="21281" y="16749"/>
                </a:cubicBezTo>
                <a:cubicBezTo>
                  <a:pt x="21344" y="16718"/>
                  <a:pt x="21344" y="16687"/>
                  <a:pt x="21375" y="16656"/>
                </a:cubicBezTo>
                <a:cubicBezTo>
                  <a:pt x="21406" y="16656"/>
                  <a:pt x="21438" y="16687"/>
                  <a:pt x="21469" y="16718"/>
                </a:cubicBezTo>
                <a:cubicBezTo>
                  <a:pt x="21469" y="16718"/>
                  <a:pt x="21469" y="16718"/>
                  <a:pt x="21469" y="16718"/>
                </a:cubicBezTo>
                <a:cubicBezTo>
                  <a:pt x="21375" y="16749"/>
                  <a:pt x="21344" y="16812"/>
                  <a:pt x="21438" y="16843"/>
                </a:cubicBezTo>
                <a:cubicBezTo>
                  <a:pt x="21500" y="16874"/>
                  <a:pt x="21531" y="16937"/>
                  <a:pt x="21594" y="16999"/>
                </a:cubicBezTo>
                <a:cubicBezTo>
                  <a:pt x="21594" y="16999"/>
                  <a:pt x="21625" y="16999"/>
                  <a:pt x="21656" y="16999"/>
                </a:cubicBezTo>
                <a:cubicBezTo>
                  <a:pt x="21656" y="17031"/>
                  <a:pt x="21656" y="17031"/>
                  <a:pt x="21656" y="17062"/>
                </a:cubicBezTo>
                <a:cubicBezTo>
                  <a:pt x="21656" y="17062"/>
                  <a:pt x="21625" y="17062"/>
                  <a:pt x="21625" y="17062"/>
                </a:cubicBezTo>
                <a:cubicBezTo>
                  <a:pt x="21563" y="17031"/>
                  <a:pt x="21531" y="16937"/>
                  <a:pt x="21469" y="16937"/>
                </a:cubicBezTo>
                <a:close/>
                <a:moveTo>
                  <a:pt x="21094" y="16593"/>
                </a:moveTo>
                <a:cubicBezTo>
                  <a:pt x="21094" y="16593"/>
                  <a:pt x="21063" y="16593"/>
                  <a:pt x="21031" y="16593"/>
                </a:cubicBezTo>
                <a:cubicBezTo>
                  <a:pt x="21063" y="16531"/>
                  <a:pt x="20969" y="16531"/>
                  <a:pt x="20969" y="16499"/>
                </a:cubicBezTo>
                <a:cubicBezTo>
                  <a:pt x="21031" y="16531"/>
                  <a:pt x="21094" y="16499"/>
                  <a:pt x="21094" y="16593"/>
                </a:cubicBezTo>
                <a:cubicBezTo>
                  <a:pt x="21156" y="16624"/>
                  <a:pt x="21219" y="16624"/>
                  <a:pt x="21219" y="16718"/>
                </a:cubicBezTo>
                <a:cubicBezTo>
                  <a:pt x="21188" y="16656"/>
                  <a:pt x="21125" y="16656"/>
                  <a:pt x="21094" y="16593"/>
                </a:cubicBezTo>
                <a:close/>
                <a:moveTo>
                  <a:pt x="19188" y="14374"/>
                </a:moveTo>
                <a:cubicBezTo>
                  <a:pt x="19219" y="14374"/>
                  <a:pt x="19250" y="14374"/>
                  <a:pt x="19250" y="14343"/>
                </a:cubicBezTo>
                <a:cubicBezTo>
                  <a:pt x="19250" y="14312"/>
                  <a:pt x="19219" y="14312"/>
                  <a:pt x="19219" y="14312"/>
                </a:cubicBezTo>
                <a:cubicBezTo>
                  <a:pt x="19188" y="14312"/>
                  <a:pt x="19156" y="14312"/>
                  <a:pt x="19156" y="14343"/>
                </a:cubicBezTo>
                <a:cubicBezTo>
                  <a:pt x="19156" y="14374"/>
                  <a:pt x="19188" y="14374"/>
                  <a:pt x="19188" y="14374"/>
                </a:cubicBezTo>
                <a:close/>
                <a:moveTo>
                  <a:pt x="18219" y="14874"/>
                </a:moveTo>
                <a:cubicBezTo>
                  <a:pt x="18188" y="14874"/>
                  <a:pt x="18156" y="14906"/>
                  <a:pt x="18156" y="14937"/>
                </a:cubicBezTo>
                <a:cubicBezTo>
                  <a:pt x="18188" y="14999"/>
                  <a:pt x="18219" y="15062"/>
                  <a:pt x="18281" y="15062"/>
                </a:cubicBezTo>
                <a:cubicBezTo>
                  <a:pt x="18313" y="15062"/>
                  <a:pt x="18313" y="15031"/>
                  <a:pt x="18313" y="14999"/>
                </a:cubicBezTo>
                <a:cubicBezTo>
                  <a:pt x="18313" y="14968"/>
                  <a:pt x="18281" y="14906"/>
                  <a:pt x="18219" y="14874"/>
                </a:cubicBezTo>
                <a:close/>
                <a:moveTo>
                  <a:pt x="8250" y="11937"/>
                </a:moveTo>
                <a:cubicBezTo>
                  <a:pt x="8219" y="11937"/>
                  <a:pt x="8188" y="11968"/>
                  <a:pt x="8219" y="11999"/>
                </a:cubicBezTo>
                <a:cubicBezTo>
                  <a:pt x="8219" y="12031"/>
                  <a:pt x="8250" y="12093"/>
                  <a:pt x="8313" y="12093"/>
                </a:cubicBezTo>
                <a:cubicBezTo>
                  <a:pt x="8344" y="12093"/>
                  <a:pt x="8344" y="12062"/>
                  <a:pt x="8344" y="12031"/>
                </a:cubicBezTo>
                <a:cubicBezTo>
                  <a:pt x="8344" y="11999"/>
                  <a:pt x="8313" y="11937"/>
                  <a:pt x="8250" y="11937"/>
                </a:cubicBezTo>
                <a:close/>
                <a:moveTo>
                  <a:pt x="15969" y="9531"/>
                </a:moveTo>
                <a:cubicBezTo>
                  <a:pt x="16000" y="9531"/>
                  <a:pt x="16000" y="9531"/>
                  <a:pt x="16000" y="9500"/>
                </a:cubicBezTo>
                <a:cubicBezTo>
                  <a:pt x="16000" y="9468"/>
                  <a:pt x="15969" y="9437"/>
                  <a:pt x="15938" y="9437"/>
                </a:cubicBezTo>
                <a:cubicBezTo>
                  <a:pt x="15906" y="9437"/>
                  <a:pt x="15906" y="9437"/>
                  <a:pt x="15906" y="9468"/>
                </a:cubicBezTo>
                <a:cubicBezTo>
                  <a:pt x="15906" y="9500"/>
                  <a:pt x="15938" y="9531"/>
                  <a:pt x="15969" y="9531"/>
                </a:cubicBezTo>
                <a:close/>
                <a:moveTo>
                  <a:pt x="14625" y="7312"/>
                </a:moveTo>
                <a:cubicBezTo>
                  <a:pt x="14594" y="7312"/>
                  <a:pt x="14594" y="7312"/>
                  <a:pt x="14594" y="7312"/>
                </a:cubicBezTo>
                <a:cubicBezTo>
                  <a:pt x="14594" y="7343"/>
                  <a:pt x="14625" y="7343"/>
                  <a:pt x="14625" y="7343"/>
                </a:cubicBezTo>
                <a:cubicBezTo>
                  <a:pt x="14656" y="7343"/>
                  <a:pt x="14656" y="7375"/>
                  <a:pt x="14656" y="7375"/>
                </a:cubicBezTo>
                <a:cubicBezTo>
                  <a:pt x="14625" y="7406"/>
                  <a:pt x="14563" y="7375"/>
                  <a:pt x="14531" y="7375"/>
                </a:cubicBezTo>
                <a:cubicBezTo>
                  <a:pt x="14531" y="7375"/>
                  <a:pt x="14500" y="7375"/>
                  <a:pt x="14500" y="7343"/>
                </a:cubicBezTo>
                <a:cubicBezTo>
                  <a:pt x="14500" y="7375"/>
                  <a:pt x="14531" y="7375"/>
                  <a:pt x="14531" y="7375"/>
                </a:cubicBezTo>
                <a:cubicBezTo>
                  <a:pt x="14531" y="7343"/>
                  <a:pt x="14531" y="7343"/>
                  <a:pt x="14531" y="7343"/>
                </a:cubicBezTo>
                <a:lnTo>
                  <a:pt x="14531" y="7343"/>
                </a:lnTo>
                <a:cubicBezTo>
                  <a:pt x="14563" y="7343"/>
                  <a:pt x="14563" y="7312"/>
                  <a:pt x="14531" y="7312"/>
                </a:cubicBezTo>
                <a:cubicBezTo>
                  <a:pt x="14531" y="7250"/>
                  <a:pt x="14500" y="7218"/>
                  <a:pt x="14531" y="7156"/>
                </a:cubicBezTo>
                <a:cubicBezTo>
                  <a:pt x="14531" y="7156"/>
                  <a:pt x="14531" y="7156"/>
                  <a:pt x="14531" y="7156"/>
                </a:cubicBezTo>
                <a:cubicBezTo>
                  <a:pt x="14531" y="7125"/>
                  <a:pt x="14531" y="7125"/>
                  <a:pt x="14531" y="7125"/>
                </a:cubicBezTo>
                <a:cubicBezTo>
                  <a:pt x="14531" y="7125"/>
                  <a:pt x="14531" y="7093"/>
                  <a:pt x="14531" y="7093"/>
                </a:cubicBezTo>
                <a:cubicBezTo>
                  <a:pt x="14531" y="7093"/>
                  <a:pt x="14563" y="7062"/>
                  <a:pt x="14563" y="7062"/>
                </a:cubicBezTo>
                <a:cubicBezTo>
                  <a:pt x="14563" y="7062"/>
                  <a:pt x="14531" y="7062"/>
                  <a:pt x="14531" y="7062"/>
                </a:cubicBezTo>
                <a:cubicBezTo>
                  <a:pt x="14531" y="7062"/>
                  <a:pt x="14531" y="7062"/>
                  <a:pt x="14531" y="7062"/>
                </a:cubicBezTo>
                <a:cubicBezTo>
                  <a:pt x="14531" y="7062"/>
                  <a:pt x="14531" y="7062"/>
                  <a:pt x="14531" y="7062"/>
                </a:cubicBezTo>
                <a:cubicBezTo>
                  <a:pt x="14531" y="7062"/>
                  <a:pt x="14531" y="7062"/>
                  <a:pt x="14531" y="7062"/>
                </a:cubicBezTo>
                <a:cubicBezTo>
                  <a:pt x="14531" y="7031"/>
                  <a:pt x="14531" y="7000"/>
                  <a:pt x="14531" y="7000"/>
                </a:cubicBezTo>
                <a:cubicBezTo>
                  <a:pt x="14625" y="6968"/>
                  <a:pt x="14656" y="7062"/>
                  <a:pt x="14656" y="7125"/>
                </a:cubicBezTo>
                <a:cubicBezTo>
                  <a:pt x="14625" y="7187"/>
                  <a:pt x="14688" y="7218"/>
                  <a:pt x="14719" y="7250"/>
                </a:cubicBezTo>
                <a:cubicBezTo>
                  <a:pt x="14750" y="7281"/>
                  <a:pt x="14781" y="7281"/>
                  <a:pt x="14750" y="7343"/>
                </a:cubicBezTo>
                <a:cubicBezTo>
                  <a:pt x="14750" y="7375"/>
                  <a:pt x="14719" y="7312"/>
                  <a:pt x="14688" y="7312"/>
                </a:cubicBezTo>
                <a:cubicBezTo>
                  <a:pt x="14688" y="7312"/>
                  <a:pt x="14656" y="7312"/>
                  <a:pt x="14656" y="7312"/>
                </a:cubicBezTo>
                <a:cubicBezTo>
                  <a:pt x="14656" y="7312"/>
                  <a:pt x="14625" y="7312"/>
                  <a:pt x="14625" y="7312"/>
                </a:cubicBezTo>
                <a:close/>
                <a:moveTo>
                  <a:pt x="15656" y="6718"/>
                </a:moveTo>
                <a:cubicBezTo>
                  <a:pt x="15625" y="6750"/>
                  <a:pt x="15594" y="6750"/>
                  <a:pt x="15594" y="6812"/>
                </a:cubicBezTo>
                <a:cubicBezTo>
                  <a:pt x="15656" y="6781"/>
                  <a:pt x="15656" y="6750"/>
                  <a:pt x="15656" y="6718"/>
                </a:cubicBezTo>
                <a:close/>
                <a:moveTo>
                  <a:pt x="15594" y="6812"/>
                </a:moveTo>
                <a:cubicBezTo>
                  <a:pt x="15531" y="6843"/>
                  <a:pt x="15531" y="6750"/>
                  <a:pt x="15469" y="6781"/>
                </a:cubicBezTo>
                <a:cubicBezTo>
                  <a:pt x="15500" y="6843"/>
                  <a:pt x="15500" y="6906"/>
                  <a:pt x="15438" y="6937"/>
                </a:cubicBezTo>
                <a:cubicBezTo>
                  <a:pt x="15375" y="6968"/>
                  <a:pt x="15344" y="6906"/>
                  <a:pt x="15281" y="6875"/>
                </a:cubicBezTo>
                <a:cubicBezTo>
                  <a:pt x="15281" y="6937"/>
                  <a:pt x="15281" y="6968"/>
                  <a:pt x="15281" y="7031"/>
                </a:cubicBezTo>
                <a:cubicBezTo>
                  <a:pt x="15281" y="7031"/>
                  <a:pt x="15250" y="7062"/>
                  <a:pt x="15250" y="7062"/>
                </a:cubicBezTo>
                <a:cubicBezTo>
                  <a:pt x="15219" y="7062"/>
                  <a:pt x="15219" y="7031"/>
                  <a:pt x="15219" y="7031"/>
                </a:cubicBezTo>
                <a:cubicBezTo>
                  <a:pt x="15250" y="6937"/>
                  <a:pt x="15188" y="6875"/>
                  <a:pt x="15188" y="6812"/>
                </a:cubicBezTo>
                <a:cubicBezTo>
                  <a:pt x="15156" y="6781"/>
                  <a:pt x="15125" y="6750"/>
                  <a:pt x="15188" y="6718"/>
                </a:cubicBezTo>
                <a:lnTo>
                  <a:pt x="15188" y="6718"/>
                </a:lnTo>
                <a:cubicBezTo>
                  <a:pt x="15219" y="6687"/>
                  <a:pt x="15281" y="6656"/>
                  <a:pt x="15344" y="6687"/>
                </a:cubicBezTo>
                <a:cubicBezTo>
                  <a:pt x="15375" y="6718"/>
                  <a:pt x="15375" y="6750"/>
                  <a:pt x="15406" y="6750"/>
                </a:cubicBezTo>
                <a:cubicBezTo>
                  <a:pt x="15469" y="6718"/>
                  <a:pt x="15406" y="6656"/>
                  <a:pt x="15469" y="6625"/>
                </a:cubicBezTo>
                <a:cubicBezTo>
                  <a:pt x="15500" y="6593"/>
                  <a:pt x="15563" y="6625"/>
                  <a:pt x="15594" y="6562"/>
                </a:cubicBezTo>
                <a:cubicBezTo>
                  <a:pt x="15656" y="6562"/>
                  <a:pt x="15656" y="6593"/>
                  <a:pt x="15688" y="6625"/>
                </a:cubicBezTo>
                <a:cubicBezTo>
                  <a:pt x="15813" y="6687"/>
                  <a:pt x="15813" y="6812"/>
                  <a:pt x="15844" y="6906"/>
                </a:cubicBezTo>
                <a:cubicBezTo>
                  <a:pt x="15875" y="6968"/>
                  <a:pt x="15875" y="7031"/>
                  <a:pt x="15875" y="7093"/>
                </a:cubicBezTo>
                <a:cubicBezTo>
                  <a:pt x="15844" y="7125"/>
                  <a:pt x="15813" y="7031"/>
                  <a:pt x="15750" y="7062"/>
                </a:cubicBezTo>
                <a:cubicBezTo>
                  <a:pt x="15813" y="7093"/>
                  <a:pt x="15844" y="7125"/>
                  <a:pt x="15844" y="7156"/>
                </a:cubicBezTo>
                <a:cubicBezTo>
                  <a:pt x="15781" y="7218"/>
                  <a:pt x="15719" y="7250"/>
                  <a:pt x="15656" y="7250"/>
                </a:cubicBezTo>
                <a:cubicBezTo>
                  <a:pt x="15594" y="7281"/>
                  <a:pt x="15531" y="7281"/>
                  <a:pt x="15438" y="7281"/>
                </a:cubicBezTo>
                <a:cubicBezTo>
                  <a:pt x="15406" y="7281"/>
                  <a:pt x="15406" y="7312"/>
                  <a:pt x="15406" y="7343"/>
                </a:cubicBezTo>
                <a:cubicBezTo>
                  <a:pt x="15313" y="7343"/>
                  <a:pt x="15344" y="7281"/>
                  <a:pt x="15344" y="7250"/>
                </a:cubicBezTo>
                <a:cubicBezTo>
                  <a:pt x="15344" y="7250"/>
                  <a:pt x="15375" y="7218"/>
                  <a:pt x="15375" y="7218"/>
                </a:cubicBezTo>
                <a:cubicBezTo>
                  <a:pt x="15375" y="7218"/>
                  <a:pt x="15375" y="7218"/>
                  <a:pt x="15375" y="7218"/>
                </a:cubicBezTo>
                <a:cubicBezTo>
                  <a:pt x="15406" y="7187"/>
                  <a:pt x="15406" y="7156"/>
                  <a:pt x="15406" y="7125"/>
                </a:cubicBezTo>
                <a:cubicBezTo>
                  <a:pt x="15406" y="7156"/>
                  <a:pt x="15375" y="7187"/>
                  <a:pt x="15344" y="7156"/>
                </a:cubicBezTo>
                <a:cubicBezTo>
                  <a:pt x="15344" y="7125"/>
                  <a:pt x="15344" y="7062"/>
                  <a:pt x="15406" y="7062"/>
                </a:cubicBezTo>
                <a:cubicBezTo>
                  <a:pt x="15406" y="7031"/>
                  <a:pt x="15406" y="7000"/>
                  <a:pt x="15438" y="7031"/>
                </a:cubicBezTo>
                <a:cubicBezTo>
                  <a:pt x="15438" y="7031"/>
                  <a:pt x="15438" y="7062"/>
                  <a:pt x="15438" y="7062"/>
                </a:cubicBezTo>
                <a:cubicBezTo>
                  <a:pt x="15406" y="7093"/>
                  <a:pt x="15406" y="7125"/>
                  <a:pt x="15406" y="7125"/>
                </a:cubicBezTo>
                <a:cubicBezTo>
                  <a:pt x="15500" y="7031"/>
                  <a:pt x="15563" y="6937"/>
                  <a:pt x="15594" y="6812"/>
                </a:cubicBezTo>
                <a:close/>
                <a:moveTo>
                  <a:pt x="18406" y="12343"/>
                </a:moveTo>
                <a:cubicBezTo>
                  <a:pt x="18375" y="12343"/>
                  <a:pt x="18375" y="12343"/>
                  <a:pt x="18375" y="12343"/>
                </a:cubicBezTo>
                <a:cubicBezTo>
                  <a:pt x="18375" y="12374"/>
                  <a:pt x="18375" y="12374"/>
                  <a:pt x="18406" y="12374"/>
                </a:cubicBezTo>
                <a:cubicBezTo>
                  <a:pt x="18406" y="12374"/>
                  <a:pt x="18406" y="12374"/>
                  <a:pt x="18406" y="12374"/>
                </a:cubicBezTo>
                <a:cubicBezTo>
                  <a:pt x="18406" y="12343"/>
                  <a:pt x="18406" y="12343"/>
                  <a:pt x="18406" y="12343"/>
                </a:cubicBezTo>
                <a:close/>
                <a:moveTo>
                  <a:pt x="4031" y="14437"/>
                </a:moveTo>
                <a:cubicBezTo>
                  <a:pt x="4031" y="14468"/>
                  <a:pt x="4031" y="14468"/>
                  <a:pt x="4031" y="14468"/>
                </a:cubicBezTo>
                <a:cubicBezTo>
                  <a:pt x="4031" y="14468"/>
                  <a:pt x="4031" y="14468"/>
                  <a:pt x="4031" y="14437"/>
                </a:cubicBezTo>
                <a:cubicBezTo>
                  <a:pt x="4063" y="14406"/>
                  <a:pt x="4125" y="14374"/>
                  <a:pt x="4156" y="14343"/>
                </a:cubicBezTo>
                <a:cubicBezTo>
                  <a:pt x="4375" y="14249"/>
                  <a:pt x="4563" y="14156"/>
                  <a:pt x="4750" y="14062"/>
                </a:cubicBezTo>
                <a:cubicBezTo>
                  <a:pt x="4781" y="14031"/>
                  <a:pt x="4781" y="14031"/>
                  <a:pt x="4781" y="14031"/>
                </a:cubicBezTo>
                <a:cubicBezTo>
                  <a:pt x="4781" y="13999"/>
                  <a:pt x="4813" y="14031"/>
                  <a:pt x="4813" y="13999"/>
                </a:cubicBezTo>
                <a:cubicBezTo>
                  <a:pt x="5000" y="14062"/>
                  <a:pt x="5188" y="14093"/>
                  <a:pt x="5375" y="14124"/>
                </a:cubicBezTo>
                <a:cubicBezTo>
                  <a:pt x="5344" y="14187"/>
                  <a:pt x="5281" y="14218"/>
                  <a:pt x="5250" y="14218"/>
                </a:cubicBezTo>
                <a:cubicBezTo>
                  <a:pt x="5219" y="14218"/>
                  <a:pt x="5219" y="14218"/>
                  <a:pt x="5188" y="14218"/>
                </a:cubicBezTo>
                <a:cubicBezTo>
                  <a:pt x="5219" y="14218"/>
                  <a:pt x="5219" y="14218"/>
                  <a:pt x="5250" y="14218"/>
                </a:cubicBezTo>
                <a:cubicBezTo>
                  <a:pt x="5125" y="14156"/>
                  <a:pt x="4969" y="14156"/>
                  <a:pt x="4844" y="14124"/>
                </a:cubicBezTo>
                <a:cubicBezTo>
                  <a:pt x="4813" y="14093"/>
                  <a:pt x="4781" y="14124"/>
                  <a:pt x="4781" y="14124"/>
                </a:cubicBezTo>
                <a:cubicBezTo>
                  <a:pt x="4781" y="14156"/>
                  <a:pt x="4813" y="14156"/>
                  <a:pt x="4813" y="14156"/>
                </a:cubicBezTo>
                <a:cubicBezTo>
                  <a:pt x="4875" y="14156"/>
                  <a:pt x="4938" y="14187"/>
                  <a:pt x="5000" y="14218"/>
                </a:cubicBezTo>
                <a:cubicBezTo>
                  <a:pt x="5063" y="14218"/>
                  <a:pt x="5031" y="14249"/>
                  <a:pt x="5000" y="14281"/>
                </a:cubicBezTo>
                <a:cubicBezTo>
                  <a:pt x="5000" y="14249"/>
                  <a:pt x="4969" y="14249"/>
                  <a:pt x="4938" y="14249"/>
                </a:cubicBezTo>
                <a:cubicBezTo>
                  <a:pt x="4906" y="14218"/>
                  <a:pt x="4844" y="14218"/>
                  <a:pt x="4813" y="14249"/>
                </a:cubicBezTo>
                <a:cubicBezTo>
                  <a:pt x="4750" y="14312"/>
                  <a:pt x="4813" y="14343"/>
                  <a:pt x="4844" y="14374"/>
                </a:cubicBezTo>
                <a:cubicBezTo>
                  <a:pt x="4906" y="14437"/>
                  <a:pt x="5000" y="14468"/>
                  <a:pt x="4938" y="14562"/>
                </a:cubicBezTo>
                <a:cubicBezTo>
                  <a:pt x="4938" y="14562"/>
                  <a:pt x="4938" y="14562"/>
                  <a:pt x="4938" y="14562"/>
                </a:cubicBezTo>
                <a:cubicBezTo>
                  <a:pt x="4906" y="14499"/>
                  <a:pt x="4844" y="14437"/>
                  <a:pt x="4781" y="14374"/>
                </a:cubicBezTo>
                <a:cubicBezTo>
                  <a:pt x="4719" y="14249"/>
                  <a:pt x="4625" y="14249"/>
                  <a:pt x="4500" y="14281"/>
                </a:cubicBezTo>
                <a:cubicBezTo>
                  <a:pt x="4406" y="14312"/>
                  <a:pt x="4344" y="14374"/>
                  <a:pt x="4250" y="14406"/>
                </a:cubicBezTo>
                <a:cubicBezTo>
                  <a:pt x="3938" y="14562"/>
                  <a:pt x="3625" y="14718"/>
                  <a:pt x="3344" y="14906"/>
                </a:cubicBezTo>
                <a:cubicBezTo>
                  <a:pt x="3281" y="14906"/>
                  <a:pt x="3250" y="14937"/>
                  <a:pt x="3188" y="14968"/>
                </a:cubicBezTo>
                <a:cubicBezTo>
                  <a:pt x="3313" y="14999"/>
                  <a:pt x="3438" y="15031"/>
                  <a:pt x="3531" y="14937"/>
                </a:cubicBezTo>
                <a:cubicBezTo>
                  <a:pt x="3656" y="14843"/>
                  <a:pt x="3844" y="14812"/>
                  <a:pt x="4000" y="14718"/>
                </a:cubicBezTo>
                <a:cubicBezTo>
                  <a:pt x="4063" y="14656"/>
                  <a:pt x="4125" y="14687"/>
                  <a:pt x="4188" y="14593"/>
                </a:cubicBezTo>
                <a:cubicBezTo>
                  <a:pt x="4219" y="14562"/>
                  <a:pt x="4281" y="14499"/>
                  <a:pt x="4313" y="14562"/>
                </a:cubicBezTo>
                <a:cubicBezTo>
                  <a:pt x="4375" y="14593"/>
                  <a:pt x="4344" y="14656"/>
                  <a:pt x="4281" y="14718"/>
                </a:cubicBezTo>
                <a:cubicBezTo>
                  <a:pt x="4281" y="14718"/>
                  <a:pt x="4281" y="14718"/>
                  <a:pt x="4281" y="14749"/>
                </a:cubicBezTo>
                <a:cubicBezTo>
                  <a:pt x="4281" y="14749"/>
                  <a:pt x="4281" y="14749"/>
                  <a:pt x="4250" y="14781"/>
                </a:cubicBezTo>
                <a:cubicBezTo>
                  <a:pt x="4188" y="14812"/>
                  <a:pt x="4156" y="14874"/>
                  <a:pt x="4094" y="14937"/>
                </a:cubicBezTo>
                <a:cubicBezTo>
                  <a:pt x="4156" y="14937"/>
                  <a:pt x="4188" y="14874"/>
                  <a:pt x="4250" y="14906"/>
                </a:cubicBezTo>
                <a:cubicBezTo>
                  <a:pt x="4281" y="14874"/>
                  <a:pt x="4281" y="14843"/>
                  <a:pt x="4281" y="14843"/>
                </a:cubicBezTo>
                <a:cubicBezTo>
                  <a:pt x="4281" y="14843"/>
                  <a:pt x="4281" y="14843"/>
                  <a:pt x="4281" y="14843"/>
                </a:cubicBezTo>
                <a:cubicBezTo>
                  <a:pt x="4281" y="14843"/>
                  <a:pt x="4281" y="14874"/>
                  <a:pt x="4250" y="14906"/>
                </a:cubicBezTo>
                <a:cubicBezTo>
                  <a:pt x="4313" y="14937"/>
                  <a:pt x="4281" y="14999"/>
                  <a:pt x="4281" y="15031"/>
                </a:cubicBezTo>
                <a:cubicBezTo>
                  <a:pt x="4375" y="14999"/>
                  <a:pt x="4344" y="14937"/>
                  <a:pt x="4344" y="14906"/>
                </a:cubicBezTo>
                <a:cubicBezTo>
                  <a:pt x="4344" y="14843"/>
                  <a:pt x="4344" y="14812"/>
                  <a:pt x="4375" y="14781"/>
                </a:cubicBezTo>
                <a:cubicBezTo>
                  <a:pt x="4375" y="14749"/>
                  <a:pt x="4469" y="14718"/>
                  <a:pt x="4375" y="14687"/>
                </a:cubicBezTo>
                <a:cubicBezTo>
                  <a:pt x="4375" y="14687"/>
                  <a:pt x="4375" y="14656"/>
                  <a:pt x="4375" y="14656"/>
                </a:cubicBezTo>
                <a:cubicBezTo>
                  <a:pt x="4406" y="14656"/>
                  <a:pt x="4406" y="14656"/>
                  <a:pt x="4406" y="14656"/>
                </a:cubicBezTo>
                <a:cubicBezTo>
                  <a:pt x="4500" y="14687"/>
                  <a:pt x="4500" y="14718"/>
                  <a:pt x="4438" y="14812"/>
                </a:cubicBezTo>
                <a:cubicBezTo>
                  <a:pt x="4406" y="14843"/>
                  <a:pt x="4344" y="14874"/>
                  <a:pt x="4406" y="14906"/>
                </a:cubicBezTo>
                <a:cubicBezTo>
                  <a:pt x="4469" y="14937"/>
                  <a:pt x="4438" y="14968"/>
                  <a:pt x="4438" y="14999"/>
                </a:cubicBezTo>
                <a:cubicBezTo>
                  <a:pt x="4438" y="15031"/>
                  <a:pt x="4406" y="15062"/>
                  <a:pt x="4344" y="15062"/>
                </a:cubicBezTo>
                <a:cubicBezTo>
                  <a:pt x="4313" y="15062"/>
                  <a:pt x="4250" y="15062"/>
                  <a:pt x="4250" y="15124"/>
                </a:cubicBezTo>
                <a:cubicBezTo>
                  <a:pt x="4250" y="15124"/>
                  <a:pt x="4219" y="15124"/>
                  <a:pt x="4188" y="15124"/>
                </a:cubicBezTo>
                <a:cubicBezTo>
                  <a:pt x="4188" y="15124"/>
                  <a:pt x="4156" y="15124"/>
                  <a:pt x="4156" y="15156"/>
                </a:cubicBezTo>
                <a:cubicBezTo>
                  <a:pt x="4156" y="15187"/>
                  <a:pt x="4188" y="15187"/>
                  <a:pt x="4219" y="15187"/>
                </a:cubicBezTo>
                <a:cubicBezTo>
                  <a:pt x="4250" y="15218"/>
                  <a:pt x="4219" y="15281"/>
                  <a:pt x="4219" y="15312"/>
                </a:cubicBezTo>
                <a:cubicBezTo>
                  <a:pt x="4219" y="15312"/>
                  <a:pt x="4188" y="15312"/>
                  <a:pt x="4188" y="15343"/>
                </a:cubicBezTo>
                <a:cubicBezTo>
                  <a:pt x="4188" y="15343"/>
                  <a:pt x="4219" y="15343"/>
                  <a:pt x="4219" y="15343"/>
                </a:cubicBezTo>
                <a:cubicBezTo>
                  <a:pt x="4219" y="15374"/>
                  <a:pt x="4219" y="15406"/>
                  <a:pt x="4188" y="15406"/>
                </a:cubicBezTo>
                <a:cubicBezTo>
                  <a:pt x="4156" y="15437"/>
                  <a:pt x="4156" y="15437"/>
                  <a:pt x="4219" y="15468"/>
                </a:cubicBezTo>
                <a:cubicBezTo>
                  <a:pt x="4219" y="15499"/>
                  <a:pt x="4188" y="15531"/>
                  <a:pt x="4156" y="15531"/>
                </a:cubicBezTo>
                <a:cubicBezTo>
                  <a:pt x="4125" y="15468"/>
                  <a:pt x="4125" y="15499"/>
                  <a:pt x="4094" y="15531"/>
                </a:cubicBezTo>
                <a:cubicBezTo>
                  <a:pt x="4063" y="15562"/>
                  <a:pt x="4031" y="15624"/>
                  <a:pt x="3969" y="15562"/>
                </a:cubicBezTo>
                <a:cubicBezTo>
                  <a:pt x="4000" y="15531"/>
                  <a:pt x="4031" y="15531"/>
                  <a:pt x="4031" y="15499"/>
                </a:cubicBezTo>
                <a:lnTo>
                  <a:pt x="4031" y="15499"/>
                </a:lnTo>
                <a:cubicBezTo>
                  <a:pt x="3969" y="15499"/>
                  <a:pt x="3969" y="15531"/>
                  <a:pt x="3969" y="15562"/>
                </a:cubicBezTo>
                <a:cubicBezTo>
                  <a:pt x="3906" y="15562"/>
                  <a:pt x="3813" y="15562"/>
                  <a:pt x="3750" y="15531"/>
                </a:cubicBezTo>
                <a:cubicBezTo>
                  <a:pt x="3719" y="15499"/>
                  <a:pt x="3688" y="15468"/>
                  <a:pt x="3656" y="15499"/>
                </a:cubicBezTo>
                <a:cubicBezTo>
                  <a:pt x="3563" y="15531"/>
                  <a:pt x="3563" y="15468"/>
                  <a:pt x="3563" y="15406"/>
                </a:cubicBezTo>
                <a:cubicBezTo>
                  <a:pt x="3563" y="15343"/>
                  <a:pt x="3594" y="15343"/>
                  <a:pt x="3625" y="15281"/>
                </a:cubicBezTo>
                <a:cubicBezTo>
                  <a:pt x="3594" y="15281"/>
                  <a:pt x="3563" y="15281"/>
                  <a:pt x="3563" y="15312"/>
                </a:cubicBezTo>
                <a:cubicBezTo>
                  <a:pt x="3531" y="15343"/>
                  <a:pt x="3500" y="15374"/>
                  <a:pt x="3469" y="15406"/>
                </a:cubicBezTo>
                <a:cubicBezTo>
                  <a:pt x="3438" y="15406"/>
                  <a:pt x="3500" y="15468"/>
                  <a:pt x="3438" y="15468"/>
                </a:cubicBezTo>
                <a:cubicBezTo>
                  <a:pt x="3406" y="15468"/>
                  <a:pt x="3406" y="15406"/>
                  <a:pt x="3375" y="15406"/>
                </a:cubicBezTo>
                <a:cubicBezTo>
                  <a:pt x="3375" y="15406"/>
                  <a:pt x="3344" y="15437"/>
                  <a:pt x="3313" y="15437"/>
                </a:cubicBezTo>
                <a:cubicBezTo>
                  <a:pt x="3281" y="15437"/>
                  <a:pt x="3250" y="15468"/>
                  <a:pt x="3250" y="15437"/>
                </a:cubicBezTo>
                <a:cubicBezTo>
                  <a:pt x="3219" y="15406"/>
                  <a:pt x="3250" y="15374"/>
                  <a:pt x="3250" y="15343"/>
                </a:cubicBezTo>
                <a:cubicBezTo>
                  <a:pt x="3344" y="15249"/>
                  <a:pt x="3281" y="15249"/>
                  <a:pt x="3219" y="15249"/>
                </a:cubicBezTo>
                <a:cubicBezTo>
                  <a:pt x="3156" y="15249"/>
                  <a:pt x="3094" y="15249"/>
                  <a:pt x="3094" y="15218"/>
                </a:cubicBezTo>
                <a:cubicBezTo>
                  <a:pt x="3063" y="15156"/>
                  <a:pt x="3156" y="15156"/>
                  <a:pt x="3156" y="15124"/>
                </a:cubicBezTo>
                <a:cubicBezTo>
                  <a:pt x="3188" y="15124"/>
                  <a:pt x="3188" y="15124"/>
                  <a:pt x="3188" y="15124"/>
                </a:cubicBezTo>
                <a:cubicBezTo>
                  <a:pt x="3063" y="15093"/>
                  <a:pt x="3000" y="15062"/>
                  <a:pt x="2875" y="15124"/>
                </a:cubicBezTo>
                <a:cubicBezTo>
                  <a:pt x="2406" y="15374"/>
                  <a:pt x="1906" y="15624"/>
                  <a:pt x="1438" y="15874"/>
                </a:cubicBezTo>
                <a:cubicBezTo>
                  <a:pt x="1375" y="15906"/>
                  <a:pt x="1313" y="15906"/>
                  <a:pt x="1250" y="15999"/>
                </a:cubicBezTo>
                <a:cubicBezTo>
                  <a:pt x="1406" y="15968"/>
                  <a:pt x="1531" y="15999"/>
                  <a:pt x="1656" y="15937"/>
                </a:cubicBezTo>
                <a:cubicBezTo>
                  <a:pt x="1906" y="15812"/>
                  <a:pt x="2156" y="15687"/>
                  <a:pt x="2406" y="15562"/>
                </a:cubicBezTo>
                <a:cubicBezTo>
                  <a:pt x="2438" y="15531"/>
                  <a:pt x="2438" y="15499"/>
                  <a:pt x="2469" y="15531"/>
                </a:cubicBezTo>
                <a:cubicBezTo>
                  <a:pt x="2500" y="15562"/>
                  <a:pt x="2500" y="15593"/>
                  <a:pt x="2500" y="15624"/>
                </a:cubicBezTo>
                <a:cubicBezTo>
                  <a:pt x="2469" y="15718"/>
                  <a:pt x="2469" y="15843"/>
                  <a:pt x="2469" y="15968"/>
                </a:cubicBezTo>
                <a:cubicBezTo>
                  <a:pt x="2500" y="16062"/>
                  <a:pt x="2438" y="16093"/>
                  <a:pt x="2344" y="16093"/>
                </a:cubicBezTo>
                <a:cubicBezTo>
                  <a:pt x="2281" y="16124"/>
                  <a:pt x="2281" y="16062"/>
                  <a:pt x="2250" y="16031"/>
                </a:cubicBezTo>
                <a:cubicBezTo>
                  <a:pt x="2156" y="16031"/>
                  <a:pt x="2250" y="16124"/>
                  <a:pt x="2188" y="16124"/>
                </a:cubicBezTo>
                <a:cubicBezTo>
                  <a:pt x="2125" y="16124"/>
                  <a:pt x="2063" y="16156"/>
                  <a:pt x="2000" y="16093"/>
                </a:cubicBezTo>
                <a:cubicBezTo>
                  <a:pt x="1969" y="16062"/>
                  <a:pt x="1938" y="16062"/>
                  <a:pt x="1938" y="16093"/>
                </a:cubicBezTo>
                <a:cubicBezTo>
                  <a:pt x="1906" y="16218"/>
                  <a:pt x="1844" y="16156"/>
                  <a:pt x="1781" y="16156"/>
                </a:cubicBezTo>
                <a:cubicBezTo>
                  <a:pt x="1750" y="16156"/>
                  <a:pt x="1750" y="16124"/>
                  <a:pt x="1719" y="16124"/>
                </a:cubicBezTo>
                <a:cubicBezTo>
                  <a:pt x="1563" y="16218"/>
                  <a:pt x="1406" y="16218"/>
                  <a:pt x="1250" y="16156"/>
                </a:cubicBezTo>
                <a:cubicBezTo>
                  <a:pt x="1156" y="16156"/>
                  <a:pt x="1063" y="16156"/>
                  <a:pt x="1000" y="16124"/>
                </a:cubicBezTo>
                <a:cubicBezTo>
                  <a:pt x="969" y="16124"/>
                  <a:pt x="938" y="16124"/>
                  <a:pt x="906" y="16156"/>
                </a:cubicBezTo>
                <a:cubicBezTo>
                  <a:pt x="906" y="16187"/>
                  <a:pt x="969" y="16187"/>
                  <a:pt x="969" y="16187"/>
                </a:cubicBezTo>
                <a:cubicBezTo>
                  <a:pt x="1125" y="16218"/>
                  <a:pt x="1281" y="16249"/>
                  <a:pt x="1438" y="16281"/>
                </a:cubicBezTo>
                <a:cubicBezTo>
                  <a:pt x="1406" y="16312"/>
                  <a:pt x="1375" y="16343"/>
                  <a:pt x="1344" y="16343"/>
                </a:cubicBezTo>
                <a:cubicBezTo>
                  <a:pt x="1250" y="16374"/>
                  <a:pt x="1375" y="16406"/>
                  <a:pt x="1344" y="16406"/>
                </a:cubicBezTo>
                <a:cubicBezTo>
                  <a:pt x="1281" y="16437"/>
                  <a:pt x="1219" y="16374"/>
                  <a:pt x="1156" y="16406"/>
                </a:cubicBezTo>
                <a:cubicBezTo>
                  <a:pt x="1125" y="16406"/>
                  <a:pt x="1125" y="16406"/>
                  <a:pt x="1094" y="16406"/>
                </a:cubicBezTo>
                <a:cubicBezTo>
                  <a:pt x="938" y="16343"/>
                  <a:pt x="781" y="16343"/>
                  <a:pt x="625" y="16312"/>
                </a:cubicBezTo>
                <a:cubicBezTo>
                  <a:pt x="625" y="16312"/>
                  <a:pt x="594" y="16312"/>
                  <a:pt x="563" y="16343"/>
                </a:cubicBezTo>
                <a:cubicBezTo>
                  <a:pt x="563" y="16343"/>
                  <a:pt x="594" y="16374"/>
                  <a:pt x="625" y="16374"/>
                </a:cubicBezTo>
                <a:cubicBezTo>
                  <a:pt x="719" y="16374"/>
                  <a:pt x="813" y="16406"/>
                  <a:pt x="906" y="16406"/>
                </a:cubicBezTo>
                <a:cubicBezTo>
                  <a:pt x="906" y="16406"/>
                  <a:pt x="906" y="16406"/>
                  <a:pt x="938" y="16406"/>
                </a:cubicBezTo>
                <a:cubicBezTo>
                  <a:pt x="938" y="16406"/>
                  <a:pt x="938" y="16406"/>
                  <a:pt x="938" y="16437"/>
                </a:cubicBezTo>
                <a:cubicBezTo>
                  <a:pt x="938" y="16437"/>
                  <a:pt x="938" y="16437"/>
                  <a:pt x="938" y="16437"/>
                </a:cubicBezTo>
                <a:cubicBezTo>
                  <a:pt x="906" y="16437"/>
                  <a:pt x="906" y="16437"/>
                  <a:pt x="906" y="16468"/>
                </a:cubicBezTo>
                <a:cubicBezTo>
                  <a:pt x="875" y="16499"/>
                  <a:pt x="875" y="16531"/>
                  <a:pt x="906" y="16531"/>
                </a:cubicBezTo>
                <a:cubicBezTo>
                  <a:pt x="1000" y="16656"/>
                  <a:pt x="1031" y="16781"/>
                  <a:pt x="1125" y="16906"/>
                </a:cubicBezTo>
                <a:cubicBezTo>
                  <a:pt x="1125" y="16906"/>
                  <a:pt x="1156" y="16937"/>
                  <a:pt x="1094" y="16937"/>
                </a:cubicBezTo>
                <a:cubicBezTo>
                  <a:pt x="1063" y="16874"/>
                  <a:pt x="1000" y="16781"/>
                  <a:pt x="969" y="16718"/>
                </a:cubicBezTo>
                <a:cubicBezTo>
                  <a:pt x="906" y="16624"/>
                  <a:pt x="875" y="16562"/>
                  <a:pt x="781" y="16656"/>
                </a:cubicBezTo>
                <a:cubicBezTo>
                  <a:pt x="781" y="16593"/>
                  <a:pt x="844" y="16593"/>
                  <a:pt x="844" y="16531"/>
                </a:cubicBezTo>
                <a:cubicBezTo>
                  <a:pt x="719" y="16562"/>
                  <a:pt x="625" y="16562"/>
                  <a:pt x="500" y="16593"/>
                </a:cubicBezTo>
                <a:cubicBezTo>
                  <a:pt x="563" y="16656"/>
                  <a:pt x="563" y="16749"/>
                  <a:pt x="656" y="16812"/>
                </a:cubicBezTo>
                <a:cubicBezTo>
                  <a:pt x="656" y="16906"/>
                  <a:pt x="750" y="16968"/>
                  <a:pt x="781" y="17062"/>
                </a:cubicBezTo>
                <a:cubicBezTo>
                  <a:pt x="781" y="17124"/>
                  <a:pt x="844" y="17031"/>
                  <a:pt x="875" y="17062"/>
                </a:cubicBezTo>
                <a:cubicBezTo>
                  <a:pt x="875" y="17062"/>
                  <a:pt x="906" y="17062"/>
                  <a:pt x="938" y="17093"/>
                </a:cubicBezTo>
                <a:cubicBezTo>
                  <a:pt x="969" y="17093"/>
                  <a:pt x="1000" y="17187"/>
                  <a:pt x="969" y="17218"/>
                </a:cubicBezTo>
                <a:cubicBezTo>
                  <a:pt x="938" y="17281"/>
                  <a:pt x="938" y="17187"/>
                  <a:pt x="906" y="17187"/>
                </a:cubicBezTo>
                <a:cubicBezTo>
                  <a:pt x="875" y="17187"/>
                  <a:pt x="875" y="17187"/>
                  <a:pt x="875" y="17187"/>
                </a:cubicBezTo>
                <a:cubicBezTo>
                  <a:pt x="875" y="17249"/>
                  <a:pt x="906" y="17312"/>
                  <a:pt x="969" y="17343"/>
                </a:cubicBezTo>
                <a:cubicBezTo>
                  <a:pt x="1000" y="17374"/>
                  <a:pt x="1000" y="17249"/>
                  <a:pt x="1063" y="17281"/>
                </a:cubicBezTo>
                <a:cubicBezTo>
                  <a:pt x="1094" y="17343"/>
                  <a:pt x="1094" y="17343"/>
                  <a:pt x="1063" y="17343"/>
                </a:cubicBezTo>
                <a:cubicBezTo>
                  <a:pt x="1000" y="17343"/>
                  <a:pt x="1000" y="17374"/>
                  <a:pt x="969" y="17406"/>
                </a:cubicBezTo>
                <a:cubicBezTo>
                  <a:pt x="969" y="17437"/>
                  <a:pt x="1000" y="17437"/>
                  <a:pt x="1000" y="17437"/>
                </a:cubicBezTo>
                <a:cubicBezTo>
                  <a:pt x="1031" y="17468"/>
                  <a:pt x="1063" y="17468"/>
                  <a:pt x="1094" y="17437"/>
                </a:cubicBezTo>
                <a:cubicBezTo>
                  <a:pt x="1094" y="17406"/>
                  <a:pt x="1125" y="17406"/>
                  <a:pt x="1156" y="17406"/>
                </a:cubicBezTo>
                <a:cubicBezTo>
                  <a:pt x="1156" y="17437"/>
                  <a:pt x="1125" y="17437"/>
                  <a:pt x="1156" y="17468"/>
                </a:cubicBezTo>
                <a:cubicBezTo>
                  <a:pt x="1156" y="17468"/>
                  <a:pt x="1156" y="17468"/>
                  <a:pt x="1156" y="17468"/>
                </a:cubicBezTo>
                <a:cubicBezTo>
                  <a:pt x="1125" y="17499"/>
                  <a:pt x="1063" y="17499"/>
                  <a:pt x="1063" y="17562"/>
                </a:cubicBezTo>
                <a:cubicBezTo>
                  <a:pt x="1031" y="17562"/>
                  <a:pt x="1031" y="17562"/>
                  <a:pt x="1031" y="17562"/>
                </a:cubicBezTo>
                <a:cubicBezTo>
                  <a:pt x="969" y="17437"/>
                  <a:pt x="906" y="17343"/>
                  <a:pt x="844" y="17249"/>
                </a:cubicBezTo>
                <a:cubicBezTo>
                  <a:pt x="813" y="17249"/>
                  <a:pt x="813" y="17249"/>
                  <a:pt x="781" y="17218"/>
                </a:cubicBezTo>
                <a:cubicBezTo>
                  <a:pt x="813" y="17249"/>
                  <a:pt x="813" y="17249"/>
                  <a:pt x="844" y="17249"/>
                </a:cubicBezTo>
                <a:cubicBezTo>
                  <a:pt x="844" y="17218"/>
                  <a:pt x="813" y="17187"/>
                  <a:pt x="844" y="17156"/>
                </a:cubicBezTo>
                <a:cubicBezTo>
                  <a:pt x="844" y="17156"/>
                  <a:pt x="844" y="17124"/>
                  <a:pt x="844" y="17124"/>
                </a:cubicBezTo>
                <a:cubicBezTo>
                  <a:pt x="813" y="17093"/>
                  <a:pt x="813" y="17124"/>
                  <a:pt x="813" y="17124"/>
                </a:cubicBezTo>
                <a:cubicBezTo>
                  <a:pt x="750" y="17156"/>
                  <a:pt x="750" y="17187"/>
                  <a:pt x="781" y="17218"/>
                </a:cubicBezTo>
                <a:cubicBezTo>
                  <a:pt x="750" y="17281"/>
                  <a:pt x="781" y="17343"/>
                  <a:pt x="781" y="17374"/>
                </a:cubicBezTo>
                <a:cubicBezTo>
                  <a:pt x="719" y="17406"/>
                  <a:pt x="688" y="17437"/>
                  <a:pt x="656" y="17468"/>
                </a:cubicBezTo>
                <a:cubicBezTo>
                  <a:pt x="656" y="17499"/>
                  <a:pt x="656" y="17499"/>
                  <a:pt x="656" y="17499"/>
                </a:cubicBezTo>
                <a:cubicBezTo>
                  <a:pt x="656" y="17499"/>
                  <a:pt x="656" y="17499"/>
                  <a:pt x="656" y="17499"/>
                </a:cubicBezTo>
                <a:cubicBezTo>
                  <a:pt x="656" y="17499"/>
                  <a:pt x="656" y="17499"/>
                  <a:pt x="656" y="17499"/>
                </a:cubicBezTo>
                <a:cubicBezTo>
                  <a:pt x="625" y="17499"/>
                  <a:pt x="594" y="17499"/>
                  <a:pt x="594" y="17499"/>
                </a:cubicBezTo>
                <a:cubicBezTo>
                  <a:pt x="563" y="17468"/>
                  <a:pt x="594" y="17437"/>
                  <a:pt x="594" y="17437"/>
                </a:cubicBezTo>
                <a:cubicBezTo>
                  <a:pt x="625" y="17406"/>
                  <a:pt x="656" y="17406"/>
                  <a:pt x="625" y="17374"/>
                </a:cubicBezTo>
                <a:cubicBezTo>
                  <a:pt x="594" y="17374"/>
                  <a:pt x="563" y="17374"/>
                  <a:pt x="531" y="17406"/>
                </a:cubicBezTo>
                <a:cubicBezTo>
                  <a:pt x="500" y="17437"/>
                  <a:pt x="469" y="17499"/>
                  <a:pt x="500" y="17562"/>
                </a:cubicBezTo>
                <a:cubicBezTo>
                  <a:pt x="469" y="17562"/>
                  <a:pt x="438" y="17593"/>
                  <a:pt x="438" y="17593"/>
                </a:cubicBezTo>
                <a:cubicBezTo>
                  <a:pt x="406" y="17624"/>
                  <a:pt x="344" y="17656"/>
                  <a:pt x="344" y="17593"/>
                </a:cubicBezTo>
                <a:cubicBezTo>
                  <a:pt x="344" y="17562"/>
                  <a:pt x="344" y="17531"/>
                  <a:pt x="313" y="17562"/>
                </a:cubicBezTo>
                <a:cubicBezTo>
                  <a:pt x="219" y="17562"/>
                  <a:pt x="250" y="17499"/>
                  <a:pt x="250" y="17437"/>
                </a:cubicBezTo>
                <a:cubicBezTo>
                  <a:pt x="250" y="17437"/>
                  <a:pt x="250" y="17437"/>
                  <a:pt x="250" y="17437"/>
                </a:cubicBezTo>
                <a:cubicBezTo>
                  <a:pt x="250" y="17437"/>
                  <a:pt x="250" y="17437"/>
                  <a:pt x="250" y="17437"/>
                </a:cubicBezTo>
                <a:cubicBezTo>
                  <a:pt x="250" y="17406"/>
                  <a:pt x="250" y="17406"/>
                  <a:pt x="281" y="17406"/>
                </a:cubicBezTo>
                <a:cubicBezTo>
                  <a:pt x="250" y="17406"/>
                  <a:pt x="250" y="17406"/>
                  <a:pt x="250" y="17406"/>
                </a:cubicBezTo>
                <a:cubicBezTo>
                  <a:pt x="250" y="17406"/>
                  <a:pt x="250" y="17406"/>
                  <a:pt x="281" y="17406"/>
                </a:cubicBezTo>
                <a:cubicBezTo>
                  <a:pt x="313" y="17406"/>
                  <a:pt x="344" y="17406"/>
                  <a:pt x="313" y="17343"/>
                </a:cubicBezTo>
                <a:cubicBezTo>
                  <a:pt x="313" y="17312"/>
                  <a:pt x="281" y="17343"/>
                  <a:pt x="250" y="17281"/>
                </a:cubicBezTo>
                <a:cubicBezTo>
                  <a:pt x="281" y="17281"/>
                  <a:pt x="313" y="17281"/>
                  <a:pt x="313" y="17281"/>
                </a:cubicBezTo>
                <a:cubicBezTo>
                  <a:pt x="281" y="17156"/>
                  <a:pt x="219" y="17093"/>
                  <a:pt x="219" y="16999"/>
                </a:cubicBezTo>
                <a:cubicBezTo>
                  <a:pt x="219" y="16999"/>
                  <a:pt x="250" y="17031"/>
                  <a:pt x="250" y="16999"/>
                </a:cubicBezTo>
                <a:cubicBezTo>
                  <a:pt x="313" y="16906"/>
                  <a:pt x="375" y="17031"/>
                  <a:pt x="406" y="17031"/>
                </a:cubicBezTo>
                <a:cubicBezTo>
                  <a:pt x="406" y="17031"/>
                  <a:pt x="406" y="17031"/>
                  <a:pt x="406" y="17031"/>
                </a:cubicBezTo>
                <a:cubicBezTo>
                  <a:pt x="438" y="17062"/>
                  <a:pt x="438" y="17062"/>
                  <a:pt x="469" y="17093"/>
                </a:cubicBezTo>
                <a:cubicBezTo>
                  <a:pt x="438" y="17124"/>
                  <a:pt x="469" y="17156"/>
                  <a:pt x="500" y="17124"/>
                </a:cubicBezTo>
                <a:cubicBezTo>
                  <a:pt x="563" y="17156"/>
                  <a:pt x="531" y="17218"/>
                  <a:pt x="594" y="17249"/>
                </a:cubicBezTo>
                <a:cubicBezTo>
                  <a:pt x="625" y="17218"/>
                  <a:pt x="594" y="17124"/>
                  <a:pt x="656" y="17124"/>
                </a:cubicBezTo>
                <a:cubicBezTo>
                  <a:pt x="719" y="17124"/>
                  <a:pt x="719" y="17062"/>
                  <a:pt x="719" y="17031"/>
                </a:cubicBezTo>
                <a:cubicBezTo>
                  <a:pt x="625" y="16874"/>
                  <a:pt x="531" y="16749"/>
                  <a:pt x="469" y="16593"/>
                </a:cubicBezTo>
                <a:cubicBezTo>
                  <a:pt x="406" y="16531"/>
                  <a:pt x="313" y="16531"/>
                  <a:pt x="219" y="16531"/>
                </a:cubicBezTo>
                <a:cubicBezTo>
                  <a:pt x="188" y="16531"/>
                  <a:pt x="156" y="16562"/>
                  <a:pt x="125" y="16562"/>
                </a:cubicBezTo>
                <a:cubicBezTo>
                  <a:pt x="63" y="16531"/>
                  <a:pt x="94" y="16499"/>
                  <a:pt x="125" y="16468"/>
                </a:cubicBezTo>
                <a:cubicBezTo>
                  <a:pt x="438" y="16249"/>
                  <a:pt x="813" y="16093"/>
                  <a:pt x="1156" y="15906"/>
                </a:cubicBezTo>
                <a:cubicBezTo>
                  <a:pt x="1344" y="15843"/>
                  <a:pt x="1500" y="15749"/>
                  <a:pt x="1656" y="15656"/>
                </a:cubicBezTo>
                <a:cubicBezTo>
                  <a:pt x="1969" y="15468"/>
                  <a:pt x="2281" y="15343"/>
                  <a:pt x="2594" y="15156"/>
                </a:cubicBezTo>
                <a:cubicBezTo>
                  <a:pt x="3031" y="14937"/>
                  <a:pt x="3469" y="14718"/>
                  <a:pt x="3875" y="14499"/>
                </a:cubicBezTo>
                <a:cubicBezTo>
                  <a:pt x="3938" y="14468"/>
                  <a:pt x="3969" y="14468"/>
                  <a:pt x="4031" y="14437"/>
                </a:cubicBezTo>
                <a:close/>
                <a:moveTo>
                  <a:pt x="3844" y="14843"/>
                </a:moveTo>
                <a:cubicBezTo>
                  <a:pt x="3813" y="14874"/>
                  <a:pt x="3750" y="14937"/>
                  <a:pt x="3719" y="14999"/>
                </a:cubicBezTo>
                <a:cubicBezTo>
                  <a:pt x="3781" y="14968"/>
                  <a:pt x="3813" y="14906"/>
                  <a:pt x="3844" y="14843"/>
                </a:cubicBezTo>
                <a:close/>
                <a:moveTo>
                  <a:pt x="406" y="17218"/>
                </a:moveTo>
                <a:cubicBezTo>
                  <a:pt x="469" y="17249"/>
                  <a:pt x="500" y="17312"/>
                  <a:pt x="469" y="17374"/>
                </a:cubicBezTo>
                <a:cubicBezTo>
                  <a:pt x="531" y="17343"/>
                  <a:pt x="563" y="17312"/>
                  <a:pt x="531" y="17281"/>
                </a:cubicBezTo>
                <a:cubicBezTo>
                  <a:pt x="531" y="17249"/>
                  <a:pt x="500" y="17187"/>
                  <a:pt x="406" y="17218"/>
                </a:cubicBezTo>
                <a:close/>
                <a:moveTo>
                  <a:pt x="3531" y="15249"/>
                </a:moveTo>
                <a:cubicBezTo>
                  <a:pt x="3594" y="15249"/>
                  <a:pt x="3625" y="15218"/>
                  <a:pt x="3625" y="15156"/>
                </a:cubicBezTo>
                <a:cubicBezTo>
                  <a:pt x="3625" y="15124"/>
                  <a:pt x="3625" y="15124"/>
                  <a:pt x="3594" y="15124"/>
                </a:cubicBezTo>
                <a:cubicBezTo>
                  <a:pt x="3563" y="15124"/>
                  <a:pt x="3500" y="15156"/>
                  <a:pt x="3500" y="15218"/>
                </a:cubicBezTo>
                <a:cubicBezTo>
                  <a:pt x="3500" y="15218"/>
                  <a:pt x="3531" y="15249"/>
                  <a:pt x="3531" y="15249"/>
                </a:cubicBezTo>
                <a:close/>
                <a:moveTo>
                  <a:pt x="3719" y="15093"/>
                </a:moveTo>
                <a:cubicBezTo>
                  <a:pt x="3719" y="15124"/>
                  <a:pt x="3656" y="15124"/>
                  <a:pt x="3688" y="15156"/>
                </a:cubicBezTo>
                <a:cubicBezTo>
                  <a:pt x="3719" y="15187"/>
                  <a:pt x="3750" y="15156"/>
                  <a:pt x="3750" y="15124"/>
                </a:cubicBezTo>
                <a:cubicBezTo>
                  <a:pt x="3813" y="15093"/>
                  <a:pt x="3875" y="15093"/>
                  <a:pt x="3938" y="15124"/>
                </a:cubicBezTo>
                <a:cubicBezTo>
                  <a:pt x="4000" y="15218"/>
                  <a:pt x="4094" y="15156"/>
                  <a:pt x="4094" y="15062"/>
                </a:cubicBezTo>
                <a:cubicBezTo>
                  <a:pt x="4031" y="15187"/>
                  <a:pt x="4031" y="15031"/>
                  <a:pt x="3969" y="15062"/>
                </a:cubicBezTo>
                <a:cubicBezTo>
                  <a:pt x="3875" y="15124"/>
                  <a:pt x="3813" y="15031"/>
                  <a:pt x="3719" y="15031"/>
                </a:cubicBezTo>
                <a:cubicBezTo>
                  <a:pt x="3719" y="15062"/>
                  <a:pt x="3688" y="14999"/>
                  <a:pt x="3656" y="15031"/>
                </a:cubicBezTo>
                <a:cubicBezTo>
                  <a:pt x="3656" y="15062"/>
                  <a:pt x="3656" y="15062"/>
                  <a:pt x="3656" y="15062"/>
                </a:cubicBezTo>
                <a:cubicBezTo>
                  <a:pt x="3656" y="15093"/>
                  <a:pt x="3688" y="15062"/>
                  <a:pt x="3719" y="15093"/>
                </a:cubicBezTo>
                <a:close/>
                <a:moveTo>
                  <a:pt x="3969" y="15249"/>
                </a:moveTo>
                <a:cubicBezTo>
                  <a:pt x="3844" y="15218"/>
                  <a:pt x="3813" y="15343"/>
                  <a:pt x="3719" y="15374"/>
                </a:cubicBezTo>
                <a:cubicBezTo>
                  <a:pt x="3688" y="15406"/>
                  <a:pt x="3688" y="15406"/>
                  <a:pt x="3719" y="15437"/>
                </a:cubicBezTo>
                <a:cubicBezTo>
                  <a:pt x="3719" y="15437"/>
                  <a:pt x="3750" y="15437"/>
                  <a:pt x="3750" y="15406"/>
                </a:cubicBezTo>
                <a:cubicBezTo>
                  <a:pt x="3781" y="15406"/>
                  <a:pt x="3781" y="15374"/>
                  <a:pt x="3813" y="15406"/>
                </a:cubicBezTo>
                <a:cubicBezTo>
                  <a:pt x="3875" y="15468"/>
                  <a:pt x="3875" y="15374"/>
                  <a:pt x="3906" y="15374"/>
                </a:cubicBezTo>
                <a:cubicBezTo>
                  <a:pt x="3906" y="15281"/>
                  <a:pt x="4000" y="15312"/>
                  <a:pt x="4063" y="15312"/>
                </a:cubicBezTo>
                <a:cubicBezTo>
                  <a:pt x="4000" y="15312"/>
                  <a:pt x="4031" y="15249"/>
                  <a:pt x="3969" y="15249"/>
                </a:cubicBezTo>
                <a:close/>
                <a:moveTo>
                  <a:pt x="4031" y="20562"/>
                </a:moveTo>
                <a:lnTo>
                  <a:pt x="4031" y="20562"/>
                </a:lnTo>
                <a:lnTo>
                  <a:pt x="4031" y="20562"/>
                </a:lnTo>
                <a:close/>
                <a:moveTo>
                  <a:pt x="7250" y="16906"/>
                </a:moveTo>
                <a:cubicBezTo>
                  <a:pt x="7250" y="16874"/>
                  <a:pt x="7250" y="16874"/>
                  <a:pt x="7250" y="16874"/>
                </a:cubicBezTo>
                <a:cubicBezTo>
                  <a:pt x="7219" y="16874"/>
                  <a:pt x="7250" y="16843"/>
                  <a:pt x="7250" y="16843"/>
                </a:cubicBezTo>
                <a:cubicBezTo>
                  <a:pt x="7250" y="16812"/>
                  <a:pt x="7281" y="16843"/>
                  <a:pt x="7281" y="16843"/>
                </a:cubicBezTo>
                <a:cubicBezTo>
                  <a:pt x="7344" y="16906"/>
                  <a:pt x="7375" y="16968"/>
                  <a:pt x="7438" y="17031"/>
                </a:cubicBezTo>
                <a:cubicBezTo>
                  <a:pt x="7344" y="17031"/>
                  <a:pt x="7344" y="16968"/>
                  <a:pt x="7313" y="16937"/>
                </a:cubicBezTo>
                <a:lnTo>
                  <a:pt x="7313" y="16937"/>
                </a:lnTo>
                <a:cubicBezTo>
                  <a:pt x="7281" y="16906"/>
                  <a:pt x="7281" y="16874"/>
                  <a:pt x="7250" y="16906"/>
                </a:cubicBezTo>
                <a:cubicBezTo>
                  <a:pt x="7250" y="16906"/>
                  <a:pt x="7250" y="16937"/>
                  <a:pt x="7219" y="16937"/>
                </a:cubicBezTo>
                <a:cubicBezTo>
                  <a:pt x="7219" y="16937"/>
                  <a:pt x="7219" y="16906"/>
                  <a:pt x="7219" y="16906"/>
                </a:cubicBezTo>
                <a:cubicBezTo>
                  <a:pt x="7219" y="16906"/>
                  <a:pt x="7219" y="16874"/>
                  <a:pt x="7250" y="16874"/>
                </a:cubicBezTo>
                <a:cubicBezTo>
                  <a:pt x="7250" y="16874"/>
                  <a:pt x="7250" y="16906"/>
                  <a:pt x="7250" y="16906"/>
                </a:cubicBezTo>
                <a:cubicBezTo>
                  <a:pt x="7250" y="16906"/>
                  <a:pt x="7250" y="16906"/>
                  <a:pt x="7250" y="16906"/>
                </a:cubicBezTo>
                <a:close/>
                <a:moveTo>
                  <a:pt x="16813" y="22218"/>
                </a:moveTo>
                <a:cubicBezTo>
                  <a:pt x="16781" y="22218"/>
                  <a:pt x="16781" y="22249"/>
                  <a:pt x="16781" y="22249"/>
                </a:cubicBezTo>
                <a:cubicBezTo>
                  <a:pt x="16813" y="22281"/>
                  <a:pt x="16813" y="22281"/>
                  <a:pt x="16813" y="22281"/>
                </a:cubicBezTo>
                <a:cubicBezTo>
                  <a:pt x="16844" y="22281"/>
                  <a:pt x="16844" y="22281"/>
                  <a:pt x="16844" y="22249"/>
                </a:cubicBezTo>
                <a:cubicBezTo>
                  <a:pt x="16844" y="22249"/>
                  <a:pt x="16844" y="22218"/>
                  <a:pt x="16813" y="22218"/>
                </a:cubicBezTo>
                <a:close/>
                <a:moveTo>
                  <a:pt x="13625" y="21249"/>
                </a:moveTo>
                <a:cubicBezTo>
                  <a:pt x="13625" y="21249"/>
                  <a:pt x="13625" y="21249"/>
                  <a:pt x="13625" y="21249"/>
                </a:cubicBezTo>
                <a:cubicBezTo>
                  <a:pt x="13625" y="21249"/>
                  <a:pt x="13625" y="21249"/>
                  <a:pt x="13594" y="21249"/>
                </a:cubicBezTo>
                <a:cubicBezTo>
                  <a:pt x="13625" y="21249"/>
                  <a:pt x="13625" y="21281"/>
                  <a:pt x="13625" y="21281"/>
                </a:cubicBezTo>
                <a:cubicBezTo>
                  <a:pt x="13625" y="21281"/>
                  <a:pt x="13656" y="21281"/>
                  <a:pt x="13625" y="21249"/>
                </a:cubicBezTo>
                <a:close/>
                <a:moveTo>
                  <a:pt x="19125" y="21562"/>
                </a:moveTo>
                <a:cubicBezTo>
                  <a:pt x="19094" y="21562"/>
                  <a:pt x="19094" y="21562"/>
                  <a:pt x="19094" y="21593"/>
                </a:cubicBezTo>
                <a:cubicBezTo>
                  <a:pt x="19094" y="21593"/>
                  <a:pt x="19094" y="21593"/>
                  <a:pt x="19094" y="21593"/>
                </a:cubicBezTo>
                <a:cubicBezTo>
                  <a:pt x="19125" y="21593"/>
                  <a:pt x="19125" y="21593"/>
                  <a:pt x="19125" y="21562"/>
                </a:cubicBezTo>
                <a:cubicBezTo>
                  <a:pt x="19125" y="21562"/>
                  <a:pt x="19125" y="21562"/>
                  <a:pt x="19125" y="21562"/>
                </a:cubicBezTo>
                <a:close/>
                <a:moveTo>
                  <a:pt x="19094" y="21718"/>
                </a:moveTo>
                <a:cubicBezTo>
                  <a:pt x="19094" y="21718"/>
                  <a:pt x="19094" y="21718"/>
                  <a:pt x="19094" y="21718"/>
                </a:cubicBezTo>
                <a:cubicBezTo>
                  <a:pt x="19094" y="21718"/>
                  <a:pt x="19094" y="21718"/>
                  <a:pt x="19094" y="21718"/>
                </a:cubicBezTo>
                <a:lnTo>
                  <a:pt x="19094" y="21718"/>
                </a:lnTo>
                <a:cubicBezTo>
                  <a:pt x="19094" y="21718"/>
                  <a:pt x="19094" y="21718"/>
                  <a:pt x="19094" y="21718"/>
                </a:cubicBezTo>
                <a:cubicBezTo>
                  <a:pt x="19094" y="21718"/>
                  <a:pt x="19094" y="21718"/>
                  <a:pt x="19094" y="21718"/>
                </a:cubicBezTo>
                <a:close/>
                <a:moveTo>
                  <a:pt x="13469" y="17968"/>
                </a:moveTo>
                <a:cubicBezTo>
                  <a:pt x="13469" y="17968"/>
                  <a:pt x="13469" y="17968"/>
                  <a:pt x="13500" y="17968"/>
                </a:cubicBezTo>
                <a:cubicBezTo>
                  <a:pt x="13500" y="17968"/>
                  <a:pt x="13500" y="17968"/>
                  <a:pt x="13500" y="17968"/>
                </a:cubicBezTo>
                <a:cubicBezTo>
                  <a:pt x="13500" y="17937"/>
                  <a:pt x="13500" y="17937"/>
                  <a:pt x="13500" y="17937"/>
                </a:cubicBezTo>
                <a:cubicBezTo>
                  <a:pt x="13500" y="17937"/>
                  <a:pt x="13469" y="17937"/>
                  <a:pt x="13469" y="17968"/>
                </a:cubicBezTo>
                <a:close/>
                <a:moveTo>
                  <a:pt x="6469" y="22781"/>
                </a:moveTo>
                <a:cubicBezTo>
                  <a:pt x="6469" y="22874"/>
                  <a:pt x="6531" y="22906"/>
                  <a:pt x="6563" y="22968"/>
                </a:cubicBezTo>
                <a:cubicBezTo>
                  <a:pt x="6531" y="22906"/>
                  <a:pt x="6594" y="22812"/>
                  <a:pt x="6469" y="22781"/>
                </a:cubicBezTo>
                <a:close/>
                <a:moveTo>
                  <a:pt x="14250" y="24624"/>
                </a:moveTo>
                <a:cubicBezTo>
                  <a:pt x="14219" y="24624"/>
                  <a:pt x="14250" y="24624"/>
                  <a:pt x="14250" y="24624"/>
                </a:cubicBezTo>
                <a:cubicBezTo>
                  <a:pt x="14250" y="24624"/>
                  <a:pt x="14250" y="24624"/>
                  <a:pt x="14250" y="24624"/>
                </a:cubicBezTo>
                <a:cubicBezTo>
                  <a:pt x="14250" y="24593"/>
                  <a:pt x="14250" y="24593"/>
                  <a:pt x="14250" y="24593"/>
                </a:cubicBezTo>
                <a:cubicBezTo>
                  <a:pt x="14250" y="24593"/>
                  <a:pt x="14250" y="24593"/>
                  <a:pt x="14250" y="24624"/>
                </a:cubicBezTo>
                <a:close/>
                <a:moveTo>
                  <a:pt x="14469" y="24406"/>
                </a:moveTo>
                <a:cubicBezTo>
                  <a:pt x="14438" y="24437"/>
                  <a:pt x="14438" y="24468"/>
                  <a:pt x="14469" y="24468"/>
                </a:cubicBezTo>
                <a:cubicBezTo>
                  <a:pt x="14469" y="24499"/>
                  <a:pt x="14500" y="24531"/>
                  <a:pt x="14500" y="24562"/>
                </a:cubicBezTo>
                <a:cubicBezTo>
                  <a:pt x="14500" y="24593"/>
                  <a:pt x="14438" y="24593"/>
                  <a:pt x="14469" y="24624"/>
                </a:cubicBezTo>
                <a:cubicBezTo>
                  <a:pt x="14500" y="24624"/>
                  <a:pt x="14500" y="24624"/>
                  <a:pt x="14531" y="24624"/>
                </a:cubicBezTo>
                <a:cubicBezTo>
                  <a:pt x="14531" y="24624"/>
                  <a:pt x="14531" y="24593"/>
                  <a:pt x="14531" y="24593"/>
                </a:cubicBezTo>
                <a:cubicBezTo>
                  <a:pt x="14531" y="24531"/>
                  <a:pt x="14531" y="24499"/>
                  <a:pt x="14500" y="24437"/>
                </a:cubicBezTo>
                <a:cubicBezTo>
                  <a:pt x="14500" y="24406"/>
                  <a:pt x="14469" y="24406"/>
                  <a:pt x="14469" y="24406"/>
                </a:cubicBezTo>
                <a:close/>
                <a:moveTo>
                  <a:pt x="11938" y="22562"/>
                </a:moveTo>
                <a:cubicBezTo>
                  <a:pt x="11938" y="22624"/>
                  <a:pt x="11938" y="22656"/>
                  <a:pt x="11969" y="22656"/>
                </a:cubicBezTo>
                <a:cubicBezTo>
                  <a:pt x="12000" y="22624"/>
                  <a:pt x="12000" y="22593"/>
                  <a:pt x="11938" y="22562"/>
                </a:cubicBezTo>
                <a:close/>
                <a:moveTo>
                  <a:pt x="3688" y="26249"/>
                </a:moveTo>
                <a:cubicBezTo>
                  <a:pt x="3625" y="26249"/>
                  <a:pt x="3594" y="26249"/>
                  <a:pt x="3563" y="26343"/>
                </a:cubicBezTo>
                <a:cubicBezTo>
                  <a:pt x="3563" y="26406"/>
                  <a:pt x="3656" y="26374"/>
                  <a:pt x="3688" y="26374"/>
                </a:cubicBezTo>
                <a:cubicBezTo>
                  <a:pt x="3719" y="26374"/>
                  <a:pt x="3781" y="26406"/>
                  <a:pt x="3781" y="26343"/>
                </a:cubicBezTo>
                <a:cubicBezTo>
                  <a:pt x="3781" y="26281"/>
                  <a:pt x="3750" y="26249"/>
                  <a:pt x="3688" y="26249"/>
                </a:cubicBezTo>
                <a:close/>
                <a:moveTo>
                  <a:pt x="25531" y="21406"/>
                </a:moveTo>
                <a:cubicBezTo>
                  <a:pt x="25563" y="21406"/>
                  <a:pt x="25563" y="21406"/>
                  <a:pt x="25563" y="21374"/>
                </a:cubicBezTo>
                <a:cubicBezTo>
                  <a:pt x="25563" y="21374"/>
                  <a:pt x="25563" y="21374"/>
                  <a:pt x="25563" y="21343"/>
                </a:cubicBezTo>
                <a:cubicBezTo>
                  <a:pt x="25531" y="21343"/>
                  <a:pt x="25531" y="21374"/>
                  <a:pt x="25531" y="21374"/>
                </a:cubicBezTo>
                <a:cubicBezTo>
                  <a:pt x="25531" y="21374"/>
                  <a:pt x="25531" y="21406"/>
                  <a:pt x="25531" y="21406"/>
                </a:cubicBezTo>
                <a:close/>
                <a:moveTo>
                  <a:pt x="26594" y="22874"/>
                </a:moveTo>
                <a:cubicBezTo>
                  <a:pt x="26594" y="22874"/>
                  <a:pt x="26594" y="22874"/>
                  <a:pt x="26594" y="22874"/>
                </a:cubicBezTo>
                <a:cubicBezTo>
                  <a:pt x="26594" y="22874"/>
                  <a:pt x="26594" y="22874"/>
                  <a:pt x="26594" y="22874"/>
                </a:cubicBezTo>
                <a:lnTo>
                  <a:pt x="26594" y="22874"/>
                </a:lnTo>
                <a:cubicBezTo>
                  <a:pt x="26594" y="22874"/>
                  <a:pt x="26594" y="22874"/>
                  <a:pt x="26594" y="22874"/>
                </a:cubicBezTo>
                <a:cubicBezTo>
                  <a:pt x="26594" y="22874"/>
                  <a:pt x="26594" y="22874"/>
                  <a:pt x="26594" y="22874"/>
                </a:cubicBezTo>
                <a:close/>
                <a:moveTo>
                  <a:pt x="27000" y="23249"/>
                </a:moveTo>
                <a:cubicBezTo>
                  <a:pt x="27031" y="23281"/>
                  <a:pt x="27063" y="23312"/>
                  <a:pt x="27156" y="23281"/>
                </a:cubicBezTo>
                <a:cubicBezTo>
                  <a:pt x="27094" y="23218"/>
                  <a:pt x="27031" y="23249"/>
                  <a:pt x="27000" y="23249"/>
                </a:cubicBezTo>
                <a:close/>
                <a:moveTo>
                  <a:pt x="15281" y="24937"/>
                </a:moveTo>
                <a:cubicBezTo>
                  <a:pt x="15188" y="24968"/>
                  <a:pt x="15188" y="25093"/>
                  <a:pt x="15094" y="25124"/>
                </a:cubicBezTo>
                <a:cubicBezTo>
                  <a:pt x="15094" y="25124"/>
                  <a:pt x="15094" y="25156"/>
                  <a:pt x="15094" y="25156"/>
                </a:cubicBezTo>
                <a:cubicBezTo>
                  <a:pt x="15125" y="25187"/>
                  <a:pt x="15125" y="25187"/>
                  <a:pt x="15156" y="25156"/>
                </a:cubicBezTo>
                <a:cubicBezTo>
                  <a:pt x="15188" y="25124"/>
                  <a:pt x="15188" y="25093"/>
                  <a:pt x="15219" y="25062"/>
                </a:cubicBezTo>
                <a:cubicBezTo>
                  <a:pt x="15250" y="25031"/>
                  <a:pt x="15313" y="24999"/>
                  <a:pt x="15281" y="24937"/>
                </a:cubicBezTo>
                <a:close/>
                <a:moveTo>
                  <a:pt x="3781" y="23812"/>
                </a:moveTo>
                <a:cubicBezTo>
                  <a:pt x="3781" y="23812"/>
                  <a:pt x="3781" y="23812"/>
                  <a:pt x="3781" y="23812"/>
                </a:cubicBezTo>
                <a:cubicBezTo>
                  <a:pt x="3781" y="23812"/>
                  <a:pt x="3781" y="23812"/>
                  <a:pt x="3781" y="23812"/>
                </a:cubicBezTo>
                <a:lnTo>
                  <a:pt x="3781" y="23812"/>
                </a:lnTo>
                <a:cubicBezTo>
                  <a:pt x="3781" y="23812"/>
                  <a:pt x="3781" y="23812"/>
                  <a:pt x="3781" y="23812"/>
                </a:cubicBezTo>
                <a:cubicBezTo>
                  <a:pt x="3781" y="23812"/>
                  <a:pt x="3781" y="23812"/>
                  <a:pt x="3781" y="23812"/>
                </a:cubicBezTo>
                <a:close/>
                <a:moveTo>
                  <a:pt x="28469" y="24249"/>
                </a:moveTo>
                <a:cubicBezTo>
                  <a:pt x="28438" y="24187"/>
                  <a:pt x="28438" y="24156"/>
                  <a:pt x="28469" y="24124"/>
                </a:cubicBezTo>
                <a:cubicBezTo>
                  <a:pt x="28469" y="24062"/>
                  <a:pt x="28438" y="24031"/>
                  <a:pt x="28406" y="23999"/>
                </a:cubicBezTo>
                <a:cubicBezTo>
                  <a:pt x="28375" y="23999"/>
                  <a:pt x="28344" y="23999"/>
                  <a:pt x="28313" y="24031"/>
                </a:cubicBezTo>
                <a:cubicBezTo>
                  <a:pt x="28281" y="24062"/>
                  <a:pt x="28313" y="24093"/>
                  <a:pt x="28344" y="24124"/>
                </a:cubicBezTo>
                <a:cubicBezTo>
                  <a:pt x="28375" y="24156"/>
                  <a:pt x="28406" y="24187"/>
                  <a:pt x="28469" y="24249"/>
                </a:cubicBezTo>
                <a:close/>
                <a:moveTo>
                  <a:pt x="17219" y="23281"/>
                </a:moveTo>
                <a:cubicBezTo>
                  <a:pt x="17219" y="23249"/>
                  <a:pt x="17219" y="23249"/>
                  <a:pt x="17219" y="23187"/>
                </a:cubicBezTo>
                <a:cubicBezTo>
                  <a:pt x="17219" y="23249"/>
                  <a:pt x="17188" y="23249"/>
                  <a:pt x="17219" y="23281"/>
                </a:cubicBezTo>
                <a:cubicBezTo>
                  <a:pt x="17219" y="23312"/>
                  <a:pt x="17219" y="23343"/>
                  <a:pt x="17188" y="23374"/>
                </a:cubicBezTo>
                <a:cubicBezTo>
                  <a:pt x="17156" y="23374"/>
                  <a:pt x="17156" y="23437"/>
                  <a:pt x="17156" y="23437"/>
                </a:cubicBezTo>
                <a:cubicBezTo>
                  <a:pt x="17156" y="23468"/>
                  <a:pt x="17188" y="23468"/>
                  <a:pt x="17188" y="23468"/>
                </a:cubicBezTo>
                <a:cubicBezTo>
                  <a:pt x="17219" y="23437"/>
                  <a:pt x="17250" y="23437"/>
                  <a:pt x="17281" y="23437"/>
                </a:cubicBezTo>
                <a:cubicBezTo>
                  <a:pt x="17219" y="23406"/>
                  <a:pt x="17344" y="23312"/>
                  <a:pt x="17219" y="23281"/>
                </a:cubicBezTo>
                <a:close/>
                <a:moveTo>
                  <a:pt x="17250" y="25124"/>
                </a:moveTo>
                <a:cubicBezTo>
                  <a:pt x="17313" y="25124"/>
                  <a:pt x="17313" y="25156"/>
                  <a:pt x="17344" y="25124"/>
                </a:cubicBezTo>
                <a:cubicBezTo>
                  <a:pt x="17344" y="25124"/>
                  <a:pt x="17344" y="25093"/>
                  <a:pt x="17344" y="25093"/>
                </a:cubicBezTo>
                <a:cubicBezTo>
                  <a:pt x="17313" y="25062"/>
                  <a:pt x="17281" y="25093"/>
                  <a:pt x="17250" y="25124"/>
                </a:cubicBezTo>
                <a:close/>
                <a:moveTo>
                  <a:pt x="17219" y="23093"/>
                </a:moveTo>
                <a:cubicBezTo>
                  <a:pt x="17156" y="23124"/>
                  <a:pt x="17063" y="23124"/>
                  <a:pt x="17031" y="23187"/>
                </a:cubicBezTo>
                <a:cubicBezTo>
                  <a:pt x="17000" y="23187"/>
                  <a:pt x="17031" y="23218"/>
                  <a:pt x="17063" y="23218"/>
                </a:cubicBezTo>
                <a:cubicBezTo>
                  <a:pt x="17094" y="23156"/>
                  <a:pt x="17188" y="23156"/>
                  <a:pt x="17219" y="23124"/>
                </a:cubicBezTo>
                <a:cubicBezTo>
                  <a:pt x="17250" y="23093"/>
                  <a:pt x="17219" y="23062"/>
                  <a:pt x="17219" y="23093"/>
                </a:cubicBezTo>
                <a:close/>
                <a:moveTo>
                  <a:pt x="21969" y="18531"/>
                </a:moveTo>
                <a:cubicBezTo>
                  <a:pt x="21969" y="18531"/>
                  <a:pt x="21969" y="18531"/>
                  <a:pt x="21969" y="18531"/>
                </a:cubicBezTo>
                <a:cubicBezTo>
                  <a:pt x="21969" y="18531"/>
                  <a:pt x="21969" y="18531"/>
                  <a:pt x="21969" y="18531"/>
                </a:cubicBezTo>
                <a:cubicBezTo>
                  <a:pt x="21969" y="18531"/>
                  <a:pt x="21969" y="18531"/>
                  <a:pt x="21969" y="18531"/>
                </a:cubicBezTo>
                <a:close/>
                <a:moveTo>
                  <a:pt x="12438" y="16093"/>
                </a:moveTo>
                <a:cubicBezTo>
                  <a:pt x="12438" y="16093"/>
                  <a:pt x="12438" y="16093"/>
                  <a:pt x="12438" y="16093"/>
                </a:cubicBezTo>
                <a:cubicBezTo>
                  <a:pt x="12438" y="16093"/>
                  <a:pt x="12438" y="16093"/>
                  <a:pt x="12438" y="16093"/>
                </a:cubicBezTo>
                <a:close/>
                <a:moveTo>
                  <a:pt x="29375" y="22812"/>
                </a:moveTo>
                <a:cubicBezTo>
                  <a:pt x="29375" y="22812"/>
                  <a:pt x="29375" y="22812"/>
                  <a:pt x="29375" y="22812"/>
                </a:cubicBezTo>
                <a:lnTo>
                  <a:pt x="29375" y="22812"/>
                </a:lnTo>
                <a:lnTo>
                  <a:pt x="29375" y="22812"/>
                </a:lnTo>
                <a:cubicBezTo>
                  <a:pt x="29375" y="22812"/>
                  <a:pt x="29375" y="22812"/>
                  <a:pt x="29375" y="22812"/>
                </a:cubicBezTo>
                <a:cubicBezTo>
                  <a:pt x="29375" y="22812"/>
                  <a:pt x="29375" y="22812"/>
                  <a:pt x="29375" y="22812"/>
                </a:cubicBezTo>
                <a:close/>
                <a:moveTo>
                  <a:pt x="26063" y="20999"/>
                </a:moveTo>
                <a:cubicBezTo>
                  <a:pt x="26063" y="20999"/>
                  <a:pt x="26063" y="20999"/>
                  <a:pt x="26063" y="20999"/>
                </a:cubicBezTo>
                <a:cubicBezTo>
                  <a:pt x="26063" y="20999"/>
                  <a:pt x="26063" y="20999"/>
                  <a:pt x="26063" y="20999"/>
                </a:cubicBezTo>
                <a:close/>
                <a:moveTo>
                  <a:pt x="26188" y="21093"/>
                </a:moveTo>
                <a:cubicBezTo>
                  <a:pt x="26188" y="21093"/>
                  <a:pt x="26188" y="21093"/>
                  <a:pt x="26188" y="21093"/>
                </a:cubicBezTo>
                <a:cubicBezTo>
                  <a:pt x="26188" y="21093"/>
                  <a:pt x="26188" y="21093"/>
                  <a:pt x="26188" y="21093"/>
                </a:cubicBezTo>
                <a:close/>
                <a:moveTo>
                  <a:pt x="28844" y="21374"/>
                </a:moveTo>
                <a:cubicBezTo>
                  <a:pt x="28844" y="21374"/>
                  <a:pt x="28844" y="21374"/>
                  <a:pt x="28844" y="21374"/>
                </a:cubicBezTo>
                <a:cubicBezTo>
                  <a:pt x="28844" y="21374"/>
                  <a:pt x="28844" y="21374"/>
                  <a:pt x="28844" y="21374"/>
                </a:cubicBezTo>
                <a:close/>
                <a:moveTo>
                  <a:pt x="2531" y="20062"/>
                </a:moveTo>
                <a:cubicBezTo>
                  <a:pt x="2531" y="20062"/>
                  <a:pt x="2531" y="20062"/>
                  <a:pt x="2531" y="20062"/>
                </a:cubicBezTo>
                <a:moveTo>
                  <a:pt x="2750" y="19312"/>
                </a:moveTo>
                <a:cubicBezTo>
                  <a:pt x="2813" y="19281"/>
                  <a:pt x="2875" y="19312"/>
                  <a:pt x="2938" y="19281"/>
                </a:cubicBezTo>
                <a:cubicBezTo>
                  <a:pt x="2875" y="19281"/>
                  <a:pt x="2813" y="19281"/>
                  <a:pt x="2750" y="19312"/>
                </a:cubicBezTo>
                <a:close/>
                <a:moveTo>
                  <a:pt x="1438" y="20156"/>
                </a:moveTo>
                <a:cubicBezTo>
                  <a:pt x="1406" y="20124"/>
                  <a:pt x="1406" y="20062"/>
                  <a:pt x="1375" y="20031"/>
                </a:cubicBezTo>
                <a:cubicBezTo>
                  <a:pt x="1344" y="20124"/>
                  <a:pt x="1344" y="20124"/>
                  <a:pt x="1438" y="20156"/>
                </a:cubicBezTo>
                <a:close/>
                <a:moveTo>
                  <a:pt x="2500" y="19187"/>
                </a:moveTo>
                <a:cubicBezTo>
                  <a:pt x="2469" y="19187"/>
                  <a:pt x="2469" y="19218"/>
                  <a:pt x="2469" y="19218"/>
                </a:cubicBezTo>
                <a:cubicBezTo>
                  <a:pt x="2469" y="19281"/>
                  <a:pt x="2531" y="19281"/>
                  <a:pt x="2563" y="19343"/>
                </a:cubicBezTo>
                <a:cubicBezTo>
                  <a:pt x="2563" y="19343"/>
                  <a:pt x="2594" y="19343"/>
                  <a:pt x="2594" y="19312"/>
                </a:cubicBezTo>
                <a:cubicBezTo>
                  <a:pt x="2594" y="19249"/>
                  <a:pt x="2500" y="19249"/>
                  <a:pt x="2500" y="19187"/>
                </a:cubicBezTo>
                <a:close/>
                <a:moveTo>
                  <a:pt x="1125" y="19937"/>
                </a:moveTo>
                <a:cubicBezTo>
                  <a:pt x="1125" y="19937"/>
                  <a:pt x="1125" y="19937"/>
                  <a:pt x="1125" y="19937"/>
                </a:cubicBezTo>
                <a:cubicBezTo>
                  <a:pt x="1094" y="19874"/>
                  <a:pt x="1063" y="19812"/>
                  <a:pt x="1063" y="19781"/>
                </a:cubicBezTo>
                <a:cubicBezTo>
                  <a:pt x="1063" y="19749"/>
                  <a:pt x="1031" y="19718"/>
                  <a:pt x="1000" y="19749"/>
                </a:cubicBezTo>
                <a:cubicBezTo>
                  <a:pt x="969" y="19749"/>
                  <a:pt x="1000" y="19781"/>
                  <a:pt x="1000" y="19781"/>
                </a:cubicBezTo>
                <a:cubicBezTo>
                  <a:pt x="1063" y="19843"/>
                  <a:pt x="1063" y="19906"/>
                  <a:pt x="1125" y="19937"/>
                </a:cubicBezTo>
                <a:cubicBezTo>
                  <a:pt x="1125" y="20031"/>
                  <a:pt x="1156" y="20093"/>
                  <a:pt x="1250" y="20156"/>
                </a:cubicBezTo>
                <a:cubicBezTo>
                  <a:pt x="1219" y="20093"/>
                  <a:pt x="1219" y="19968"/>
                  <a:pt x="1125" y="19937"/>
                </a:cubicBezTo>
                <a:close/>
                <a:moveTo>
                  <a:pt x="1969" y="19562"/>
                </a:moveTo>
                <a:cubicBezTo>
                  <a:pt x="2031" y="19656"/>
                  <a:pt x="2063" y="19718"/>
                  <a:pt x="2094" y="19781"/>
                </a:cubicBezTo>
                <a:cubicBezTo>
                  <a:pt x="2094" y="19687"/>
                  <a:pt x="2063" y="19624"/>
                  <a:pt x="1969" y="19562"/>
                </a:cubicBezTo>
                <a:close/>
                <a:moveTo>
                  <a:pt x="21406" y="17062"/>
                </a:moveTo>
                <a:cubicBezTo>
                  <a:pt x="21375" y="17031"/>
                  <a:pt x="21313" y="17031"/>
                  <a:pt x="21313" y="16968"/>
                </a:cubicBezTo>
                <a:cubicBezTo>
                  <a:pt x="21344" y="16968"/>
                  <a:pt x="21344" y="17031"/>
                  <a:pt x="21406" y="17031"/>
                </a:cubicBezTo>
                <a:cubicBezTo>
                  <a:pt x="21406" y="17031"/>
                  <a:pt x="21406" y="17062"/>
                  <a:pt x="21406" y="17062"/>
                </a:cubicBezTo>
                <a:close/>
                <a:moveTo>
                  <a:pt x="20969" y="16499"/>
                </a:moveTo>
                <a:cubicBezTo>
                  <a:pt x="20875" y="16437"/>
                  <a:pt x="20813" y="16343"/>
                  <a:pt x="20719" y="16281"/>
                </a:cubicBezTo>
                <a:cubicBezTo>
                  <a:pt x="20750" y="16249"/>
                  <a:pt x="20813" y="16281"/>
                  <a:pt x="20813" y="16218"/>
                </a:cubicBezTo>
                <a:cubicBezTo>
                  <a:pt x="20813" y="16218"/>
                  <a:pt x="20813" y="16218"/>
                  <a:pt x="20813" y="16218"/>
                </a:cubicBezTo>
                <a:cubicBezTo>
                  <a:pt x="20844" y="16187"/>
                  <a:pt x="20875" y="16156"/>
                  <a:pt x="20875" y="16124"/>
                </a:cubicBezTo>
                <a:cubicBezTo>
                  <a:pt x="20938" y="16124"/>
                  <a:pt x="21000" y="16062"/>
                  <a:pt x="20969" y="16156"/>
                </a:cubicBezTo>
                <a:cubicBezTo>
                  <a:pt x="20938" y="16187"/>
                  <a:pt x="20906" y="16249"/>
                  <a:pt x="20875" y="16281"/>
                </a:cubicBezTo>
                <a:cubicBezTo>
                  <a:pt x="20938" y="16312"/>
                  <a:pt x="20969" y="16312"/>
                  <a:pt x="21000" y="16343"/>
                </a:cubicBezTo>
                <a:cubicBezTo>
                  <a:pt x="21031" y="16374"/>
                  <a:pt x="21125" y="16406"/>
                  <a:pt x="21125" y="16468"/>
                </a:cubicBezTo>
                <a:cubicBezTo>
                  <a:pt x="21188" y="16437"/>
                  <a:pt x="21219" y="16499"/>
                  <a:pt x="21250" y="16531"/>
                </a:cubicBezTo>
                <a:cubicBezTo>
                  <a:pt x="21250" y="16531"/>
                  <a:pt x="21250" y="16531"/>
                  <a:pt x="21250" y="16531"/>
                </a:cubicBezTo>
                <a:cubicBezTo>
                  <a:pt x="21250" y="16531"/>
                  <a:pt x="21250" y="16531"/>
                  <a:pt x="21250" y="16531"/>
                </a:cubicBezTo>
                <a:cubicBezTo>
                  <a:pt x="21250" y="16531"/>
                  <a:pt x="21219" y="16531"/>
                  <a:pt x="21219" y="16531"/>
                </a:cubicBezTo>
                <a:cubicBezTo>
                  <a:pt x="21219" y="16531"/>
                  <a:pt x="21219" y="16562"/>
                  <a:pt x="21250" y="16562"/>
                </a:cubicBezTo>
                <a:cubicBezTo>
                  <a:pt x="21219" y="16562"/>
                  <a:pt x="21219" y="16531"/>
                  <a:pt x="21219" y="16531"/>
                </a:cubicBezTo>
                <a:cubicBezTo>
                  <a:pt x="21188" y="16531"/>
                  <a:pt x="21156" y="16499"/>
                  <a:pt x="21125" y="16468"/>
                </a:cubicBezTo>
                <a:cubicBezTo>
                  <a:pt x="21125" y="16468"/>
                  <a:pt x="21125" y="16468"/>
                  <a:pt x="21125" y="16468"/>
                </a:cubicBezTo>
                <a:cubicBezTo>
                  <a:pt x="21125" y="16468"/>
                  <a:pt x="21125" y="16468"/>
                  <a:pt x="21125" y="16468"/>
                </a:cubicBezTo>
                <a:cubicBezTo>
                  <a:pt x="21125" y="16468"/>
                  <a:pt x="21125" y="16468"/>
                  <a:pt x="21125" y="16468"/>
                </a:cubicBezTo>
                <a:cubicBezTo>
                  <a:pt x="21063" y="16437"/>
                  <a:pt x="21031" y="16406"/>
                  <a:pt x="20969" y="16374"/>
                </a:cubicBezTo>
                <a:cubicBezTo>
                  <a:pt x="20938" y="16343"/>
                  <a:pt x="20906" y="16312"/>
                  <a:pt x="20875" y="16343"/>
                </a:cubicBezTo>
                <a:cubicBezTo>
                  <a:pt x="20844" y="16406"/>
                  <a:pt x="20906" y="16406"/>
                  <a:pt x="20906" y="16437"/>
                </a:cubicBezTo>
                <a:cubicBezTo>
                  <a:pt x="20938" y="16437"/>
                  <a:pt x="21000" y="16437"/>
                  <a:pt x="20969" y="16499"/>
                </a:cubicBezTo>
                <a:close/>
                <a:moveTo>
                  <a:pt x="12063" y="8093"/>
                </a:moveTo>
                <a:cubicBezTo>
                  <a:pt x="12094" y="8093"/>
                  <a:pt x="12094" y="8093"/>
                  <a:pt x="12094" y="8125"/>
                </a:cubicBezTo>
                <a:cubicBezTo>
                  <a:pt x="12063" y="8125"/>
                  <a:pt x="12063" y="8125"/>
                  <a:pt x="12063" y="8093"/>
                </a:cubicBezTo>
                <a:close/>
                <a:moveTo>
                  <a:pt x="10125" y="10406"/>
                </a:moveTo>
                <a:cubicBezTo>
                  <a:pt x="10188" y="10406"/>
                  <a:pt x="10156" y="10468"/>
                  <a:pt x="10156" y="10499"/>
                </a:cubicBezTo>
                <a:cubicBezTo>
                  <a:pt x="10156" y="10531"/>
                  <a:pt x="10125" y="10531"/>
                  <a:pt x="10094" y="10531"/>
                </a:cubicBezTo>
                <a:cubicBezTo>
                  <a:pt x="10063" y="10499"/>
                  <a:pt x="10094" y="10468"/>
                  <a:pt x="10125" y="10406"/>
                </a:cubicBezTo>
                <a:close/>
                <a:moveTo>
                  <a:pt x="4250" y="14781"/>
                </a:moveTo>
                <a:cubicBezTo>
                  <a:pt x="4313" y="14781"/>
                  <a:pt x="4281" y="14812"/>
                  <a:pt x="4281" y="14843"/>
                </a:cubicBezTo>
                <a:cubicBezTo>
                  <a:pt x="4250" y="14812"/>
                  <a:pt x="4250" y="14812"/>
                  <a:pt x="4250" y="14781"/>
                </a:cubicBezTo>
                <a:close/>
                <a:moveTo>
                  <a:pt x="2563" y="20468"/>
                </a:moveTo>
                <a:cubicBezTo>
                  <a:pt x="2500" y="20437"/>
                  <a:pt x="2469" y="20281"/>
                  <a:pt x="2500" y="20249"/>
                </a:cubicBezTo>
                <a:cubicBezTo>
                  <a:pt x="2531" y="20218"/>
                  <a:pt x="2531" y="20187"/>
                  <a:pt x="2563" y="20187"/>
                </a:cubicBezTo>
                <a:cubicBezTo>
                  <a:pt x="2594" y="20218"/>
                  <a:pt x="2563" y="20249"/>
                  <a:pt x="2531" y="20281"/>
                </a:cubicBezTo>
                <a:cubicBezTo>
                  <a:pt x="2625" y="20218"/>
                  <a:pt x="2625" y="20312"/>
                  <a:pt x="2656" y="20343"/>
                </a:cubicBezTo>
                <a:cubicBezTo>
                  <a:pt x="2688" y="20406"/>
                  <a:pt x="2594" y="20406"/>
                  <a:pt x="2594" y="20437"/>
                </a:cubicBezTo>
                <a:cubicBezTo>
                  <a:pt x="2594" y="20468"/>
                  <a:pt x="2563" y="20468"/>
                  <a:pt x="2563" y="20468"/>
                </a:cubicBezTo>
                <a:close/>
                <a:moveTo>
                  <a:pt x="2625" y="20593"/>
                </a:moveTo>
                <a:cubicBezTo>
                  <a:pt x="2594" y="20593"/>
                  <a:pt x="2594" y="20562"/>
                  <a:pt x="2594" y="20531"/>
                </a:cubicBezTo>
                <a:cubicBezTo>
                  <a:pt x="2594" y="20499"/>
                  <a:pt x="2594" y="20468"/>
                  <a:pt x="2625" y="20468"/>
                </a:cubicBezTo>
                <a:cubicBezTo>
                  <a:pt x="2656" y="20468"/>
                  <a:pt x="2656" y="20531"/>
                  <a:pt x="2688" y="20531"/>
                </a:cubicBezTo>
                <a:cubicBezTo>
                  <a:pt x="2688" y="20593"/>
                  <a:pt x="2656" y="20593"/>
                  <a:pt x="2625" y="20593"/>
                </a:cubicBezTo>
                <a:close/>
                <a:moveTo>
                  <a:pt x="2750" y="20499"/>
                </a:moveTo>
                <a:cubicBezTo>
                  <a:pt x="2750" y="20499"/>
                  <a:pt x="2719" y="20531"/>
                  <a:pt x="2719" y="20531"/>
                </a:cubicBezTo>
                <a:cubicBezTo>
                  <a:pt x="2688" y="20499"/>
                  <a:pt x="2656" y="20437"/>
                  <a:pt x="2688" y="20406"/>
                </a:cubicBezTo>
                <a:cubicBezTo>
                  <a:pt x="2750" y="20437"/>
                  <a:pt x="2781" y="20437"/>
                  <a:pt x="2750" y="20499"/>
                </a:cubicBezTo>
                <a:close/>
                <a:moveTo>
                  <a:pt x="2844" y="20374"/>
                </a:moveTo>
                <a:cubicBezTo>
                  <a:pt x="2781" y="20406"/>
                  <a:pt x="2750" y="20374"/>
                  <a:pt x="2719" y="20343"/>
                </a:cubicBezTo>
                <a:cubicBezTo>
                  <a:pt x="2656" y="20281"/>
                  <a:pt x="2656" y="20187"/>
                  <a:pt x="2594" y="20124"/>
                </a:cubicBezTo>
                <a:cubicBezTo>
                  <a:pt x="2656" y="20156"/>
                  <a:pt x="2688" y="20156"/>
                  <a:pt x="2688" y="20218"/>
                </a:cubicBezTo>
                <a:cubicBezTo>
                  <a:pt x="2719" y="20312"/>
                  <a:pt x="2781" y="20249"/>
                  <a:pt x="2781" y="20218"/>
                </a:cubicBezTo>
                <a:cubicBezTo>
                  <a:pt x="2844" y="20187"/>
                  <a:pt x="2844" y="20187"/>
                  <a:pt x="2875" y="20249"/>
                </a:cubicBezTo>
                <a:cubicBezTo>
                  <a:pt x="2906" y="20312"/>
                  <a:pt x="2875" y="20343"/>
                  <a:pt x="2844" y="20374"/>
                </a:cubicBezTo>
                <a:close/>
                <a:moveTo>
                  <a:pt x="12938" y="14718"/>
                </a:moveTo>
                <a:cubicBezTo>
                  <a:pt x="12938" y="14718"/>
                  <a:pt x="12938" y="14718"/>
                  <a:pt x="12938" y="14718"/>
                </a:cubicBezTo>
                <a:cubicBezTo>
                  <a:pt x="12938" y="14718"/>
                  <a:pt x="12938" y="14718"/>
                  <a:pt x="12938" y="14718"/>
                </a:cubicBezTo>
                <a:cubicBezTo>
                  <a:pt x="12938" y="14718"/>
                  <a:pt x="12938" y="14718"/>
                  <a:pt x="12938" y="14718"/>
                </a:cubicBezTo>
                <a:close/>
                <a:moveTo>
                  <a:pt x="22000" y="16718"/>
                </a:moveTo>
                <a:cubicBezTo>
                  <a:pt x="22031" y="16718"/>
                  <a:pt x="22094" y="16718"/>
                  <a:pt x="22125" y="16781"/>
                </a:cubicBezTo>
                <a:cubicBezTo>
                  <a:pt x="22063" y="16781"/>
                  <a:pt x="22000" y="16749"/>
                  <a:pt x="22000" y="16718"/>
                </a:cubicBezTo>
                <a:close/>
                <a:moveTo>
                  <a:pt x="22281" y="16218"/>
                </a:moveTo>
                <a:cubicBezTo>
                  <a:pt x="22281" y="16218"/>
                  <a:pt x="22281" y="16218"/>
                  <a:pt x="22281" y="16218"/>
                </a:cubicBezTo>
                <a:cubicBezTo>
                  <a:pt x="22281" y="16218"/>
                  <a:pt x="22281" y="16218"/>
                  <a:pt x="22281" y="16218"/>
                </a:cubicBezTo>
                <a:cubicBezTo>
                  <a:pt x="22281" y="16218"/>
                  <a:pt x="22281" y="16218"/>
                  <a:pt x="22281" y="16218"/>
                </a:cubicBezTo>
                <a:close/>
                <a:moveTo>
                  <a:pt x="22000" y="16406"/>
                </a:moveTo>
                <a:cubicBezTo>
                  <a:pt x="22000" y="16468"/>
                  <a:pt x="22094" y="16468"/>
                  <a:pt x="22125" y="16531"/>
                </a:cubicBezTo>
                <a:cubicBezTo>
                  <a:pt x="22156" y="16531"/>
                  <a:pt x="22156" y="16531"/>
                  <a:pt x="22188" y="16531"/>
                </a:cubicBezTo>
                <a:cubicBezTo>
                  <a:pt x="22281" y="16593"/>
                  <a:pt x="22281" y="16593"/>
                  <a:pt x="22313" y="16499"/>
                </a:cubicBezTo>
                <a:cubicBezTo>
                  <a:pt x="22375" y="16468"/>
                  <a:pt x="22406" y="16468"/>
                  <a:pt x="22406" y="16499"/>
                </a:cubicBezTo>
                <a:cubicBezTo>
                  <a:pt x="22375" y="16531"/>
                  <a:pt x="22375" y="16562"/>
                  <a:pt x="22344" y="16624"/>
                </a:cubicBezTo>
                <a:cubicBezTo>
                  <a:pt x="22313" y="16687"/>
                  <a:pt x="22406" y="16656"/>
                  <a:pt x="22406" y="16718"/>
                </a:cubicBezTo>
                <a:cubicBezTo>
                  <a:pt x="22375" y="16718"/>
                  <a:pt x="22313" y="16656"/>
                  <a:pt x="22281" y="16718"/>
                </a:cubicBezTo>
                <a:cubicBezTo>
                  <a:pt x="22281" y="16718"/>
                  <a:pt x="22281" y="16718"/>
                  <a:pt x="22281" y="16718"/>
                </a:cubicBezTo>
                <a:cubicBezTo>
                  <a:pt x="22250" y="16749"/>
                  <a:pt x="22250" y="16812"/>
                  <a:pt x="22188" y="16812"/>
                </a:cubicBezTo>
                <a:cubicBezTo>
                  <a:pt x="22188" y="16812"/>
                  <a:pt x="22188" y="16812"/>
                  <a:pt x="22188" y="16812"/>
                </a:cubicBezTo>
                <a:cubicBezTo>
                  <a:pt x="22188" y="16812"/>
                  <a:pt x="22188" y="16812"/>
                  <a:pt x="22188" y="16812"/>
                </a:cubicBezTo>
                <a:cubicBezTo>
                  <a:pt x="22156" y="16749"/>
                  <a:pt x="22219" y="16718"/>
                  <a:pt x="22219" y="16656"/>
                </a:cubicBezTo>
                <a:cubicBezTo>
                  <a:pt x="22188" y="16656"/>
                  <a:pt x="22188" y="16656"/>
                  <a:pt x="22156" y="16624"/>
                </a:cubicBezTo>
                <a:cubicBezTo>
                  <a:pt x="22188" y="16656"/>
                  <a:pt x="22188" y="16656"/>
                  <a:pt x="22219" y="16656"/>
                </a:cubicBezTo>
                <a:cubicBezTo>
                  <a:pt x="22219" y="16593"/>
                  <a:pt x="22156" y="16593"/>
                  <a:pt x="22125" y="16531"/>
                </a:cubicBezTo>
                <a:cubicBezTo>
                  <a:pt x="22063" y="16499"/>
                  <a:pt x="22031" y="16499"/>
                  <a:pt x="21969" y="16468"/>
                </a:cubicBezTo>
                <a:cubicBezTo>
                  <a:pt x="21938" y="16406"/>
                  <a:pt x="21875" y="16374"/>
                  <a:pt x="21813" y="16343"/>
                </a:cubicBezTo>
                <a:cubicBezTo>
                  <a:pt x="21906" y="16343"/>
                  <a:pt x="21938" y="16374"/>
                  <a:pt x="22000" y="16406"/>
                </a:cubicBezTo>
                <a:close/>
                <a:moveTo>
                  <a:pt x="21438" y="16343"/>
                </a:moveTo>
                <a:cubicBezTo>
                  <a:pt x="21469" y="16343"/>
                  <a:pt x="21531" y="16468"/>
                  <a:pt x="21594" y="16343"/>
                </a:cubicBezTo>
                <a:cubicBezTo>
                  <a:pt x="21625" y="16343"/>
                  <a:pt x="21625" y="16281"/>
                  <a:pt x="21688" y="16281"/>
                </a:cubicBezTo>
                <a:cubicBezTo>
                  <a:pt x="21719" y="16312"/>
                  <a:pt x="21688" y="16312"/>
                  <a:pt x="21688" y="16343"/>
                </a:cubicBezTo>
                <a:cubicBezTo>
                  <a:pt x="21688" y="16374"/>
                  <a:pt x="21656" y="16406"/>
                  <a:pt x="21656" y="16437"/>
                </a:cubicBezTo>
                <a:cubicBezTo>
                  <a:pt x="21625" y="16437"/>
                  <a:pt x="21625" y="16468"/>
                  <a:pt x="21656" y="16499"/>
                </a:cubicBezTo>
                <a:cubicBezTo>
                  <a:pt x="21750" y="16531"/>
                  <a:pt x="21844" y="16624"/>
                  <a:pt x="21938" y="16656"/>
                </a:cubicBezTo>
                <a:cubicBezTo>
                  <a:pt x="21938" y="16656"/>
                  <a:pt x="21938" y="16656"/>
                  <a:pt x="21938" y="16656"/>
                </a:cubicBezTo>
                <a:cubicBezTo>
                  <a:pt x="21938" y="16687"/>
                  <a:pt x="21969" y="16687"/>
                  <a:pt x="22000" y="16687"/>
                </a:cubicBezTo>
                <a:cubicBezTo>
                  <a:pt x="21969" y="16687"/>
                  <a:pt x="22000" y="16687"/>
                  <a:pt x="22000" y="16718"/>
                </a:cubicBezTo>
                <a:cubicBezTo>
                  <a:pt x="21938" y="16718"/>
                  <a:pt x="21906" y="16656"/>
                  <a:pt x="21844" y="16656"/>
                </a:cubicBezTo>
                <a:cubicBezTo>
                  <a:pt x="21813" y="16624"/>
                  <a:pt x="21781" y="16624"/>
                  <a:pt x="21781" y="16593"/>
                </a:cubicBezTo>
                <a:cubicBezTo>
                  <a:pt x="21719" y="16562"/>
                  <a:pt x="21656" y="16499"/>
                  <a:pt x="21594" y="16499"/>
                </a:cubicBezTo>
                <a:cubicBezTo>
                  <a:pt x="21563" y="16499"/>
                  <a:pt x="21531" y="16593"/>
                  <a:pt x="21469" y="16656"/>
                </a:cubicBezTo>
                <a:cubicBezTo>
                  <a:pt x="21469" y="16624"/>
                  <a:pt x="21469" y="16593"/>
                  <a:pt x="21438" y="16593"/>
                </a:cubicBezTo>
                <a:cubicBezTo>
                  <a:pt x="21438" y="16562"/>
                  <a:pt x="21438" y="16562"/>
                  <a:pt x="21438" y="16562"/>
                </a:cubicBezTo>
                <a:cubicBezTo>
                  <a:pt x="21469" y="16562"/>
                  <a:pt x="21469" y="16531"/>
                  <a:pt x="21469" y="16531"/>
                </a:cubicBezTo>
                <a:cubicBezTo>
                  <a:pt x="21531" y="16468"/>
                  <a:pt x="21531" y="16437"/>
                  <a:pt x="21438" y="16406"/>
                </a:cubicBezTo>
                <a:cubicBezTo>
                  <a:pt x="21438" y="16374"/>
                  <a:pt x="21406" y="16374"/>
                  <a:pt x="21406" y="16374"/>
                </a:cubicBezTo>
                <a:cubicBezTo>
                  <a:pt x="21406" y="16343"/>
                  <a:pt x="21406" y="16343"/>
                  <a:pt x="21438" y="16343"/>
                </a:cubicBezTo>
                <a:close/>
                <a:moveTo>
                  <a:pt x="20313" y="16062"/>
                </a:moveTo>
                <a:cubicBezTo>
                  <a:pt x="20375" y="16062"/>
                  <a:pt x="20375" y="16062"/>
                  <a:pt x="20375" y="16093"/>
                </a:cubicBezTo>
                <a:cubicBezTo>
                  <a:pt x="20344" y="16093"/>
                  <a:pt x="20344" y="16062"/>
                  <a:pt x="20313" y="16062"/>
                </a:cubicBezTo>
                <a:close/>
                <a:moveTo>
                  <a:pt x="20500" y="16093"/>
                </a:moveTo>
                <a:cubicBezTo>
                  <a:pt x="20438" y="16062"/>
                  <a:pt x="20406" y="15999"/>
                  <a:pt x="20344" y="15968"/>
                </a:cubicBezTo>
                <a:cubicBezTo>
                  <a:pt x="20406" y="15999"/>
                  <a:pt x="20531" y="15937"/>
                  <a:pt x="20500" y="16093"/>
                </a:cubicBezTo>
                <a:close/>
                <a:moveTo>
                  <a:pt x="20375" y="15468"/>
                </a:moveTo>
                <a:cubicBezTo>
                  <a:pt x="20406" y="15499"/>
                  <a:pt x="20406" y="15499"/>
                  <a:pt x="20406" y="15499"/>
                </a:cubicBezTo>
                <a:cubicBezTo>
                  <a:pt x="20406" y="15499"/>
                  <a:pt x="20406" y="15499"/>
                  <a:pt x="20406" y="15499"/>
                </a:cubicBezTo>
                <a:cubicBezTo>
                  <a:pt x="20406" y="15499"/>
                  <a:pt x="20406" y="15499"/>
                  <a:pt x="20375" y="15468"/>
                </a:cubicBezTo>
                <a:close/>
                <a:moveTo>
                  <a:pt x="20375" y="16093"/>
                </a:moveTo>
                <a:cubicBezTo>
                  <a:pt x="20469" y="16124"/>
                  <a:pt x="20531" y="16218"/>
                  <a:pt x="20625" y="16281"/>
                </a:cubicBezTo>
                <a:cubicBezTo>
                  <a:pt x="20531" y="16249"/>
                  <a:pt x="20438" y="16156"/>
                  <a:pt x="20375" y="16093"/>
                </a:cubicBezTo>
                <a:close/>
                <a:moveTo>
                  <a:pt x="20844" y="16468"/>
                </a:moveTo>
                <a:cubicBezTo>
                  <a:pt x="20844" y="16468"/>
                  <a:pt x="20844" y="16468"/>
                  <a:pt x="20844" y="16468"/>
                </a:cubicBezTo>
                <a:cubicBezTo>
                  <a:pt x="20844" y="16468"/>
                  <a:pt x="20844" y="16468"/>
                  <a:pt x="20844" y="16468"/>
                </a:cubicBezTo>
                <a:close/>
                <a:moveTo>
                  <a:pt x="20781" y="16468"/>
                </a:moveTo>
                <a:cubicBezTo>
                  <a:pt x="20750" y="16437"/>
                  <a:pt x="20719" y="16406"/>
                  <a:pt x="20688" y="16374"/>
                </a:cubicBezTo>
                <a:cubicBezTo>
                  <a:pt x="20750" y="16374"/>
                  <a:pt x="20781" y="16406"/>
                  <a:pt x="20781" y="16468"/>
                </a:cubicBezTo>
                <a:close/>
                <a:moveTo>
                  <a:pt x="20375" y="14437"/>
                </a:moveTo>
                <a:cubicBezTo>
                  <a:pt x="20469" y="14468"/>
                  <a:pt x="20594" y="14468"/>
                  <a:pt x="20688" y="14562"/>
                </a:cubicBezTo>
                <a:cubicBezTo>
                  <a:pt x="20688" y="14531"/>
                  <a:pt x="20688" y="14531"/>
                  <a:pt x="20688" y="14499"/>
                </a:cubicBezTo>
                <a:cubicBezTo>
                  <a:pt x="20688" y="14531"/>
                  <a:pt x="20688" y="14531"/>
                  <a:pt x="20688" y="14562"/>
                </a:cubicBezTo>
                <a:cubicBezTo>
                  <a:pt x="20688" y="14593"/>
                  <a:pt x="20750" y="14593"/>
                  <a:pt x="20719" y="14624"/>
                </a:cubicBezTo>
                <a:cubicBezTo>
                  <a:pt x="20688" y="14656"/>
                  <a:pt x="20656" y="14624"/>
                  <a:pt x="20625" y="14624"/>
                </a:cubicBezTo>
                <a:cubicBezTo>
                  <a:pt x="20563" y="14593"/>
                  <a:pt x="20531" y="14593"/>
                  <a:pt x="20469" y="14562"/>
                </a:cubicBezTo>
                <a:cubicBezTo>
                  <a:pt x="20406" y="14562"/>
                  <a:pt x="20344" y="14531"/>
                  <a:pt x="20344" y="14468"/>
                </a:cubicBezTo>
                <a:cubicBezTo>
                  <a:pt x="20344" y="14437"/>
                  <a:pt x="20344" y="14437"/>
                  <a:pt x="20375" y="14437"/>
                </a:cubicBezTo>
                <a:close/>
                <a:moveTo>
                  <a:pt x="20156" y="14374"/>
                </a:moveTo>
                <a:cubicBezTo>
                  <a:pt x="20219" y="14406"/>
                  <a:pt x="20281" y="14406"/>
                  <a:pt x="20313" y="14499"/>
                </a:cubicBezTo>
                <a:cubicBezTo>
                  <a:pt x="20313" y="14499"/>
                  <a:pt x="20313" y="14499"/>
                  <a:pt x="20344" y="14499"/>
                </a:cubicBezTo>
                <a:cubicBezTo>
                  <a:pt x="20313" y="14499"/>
                  <a:pt x="20313" y="14499"/>
                  <a:pt x="20313" y="14499"/>
                </a:cubicBezTo>
                <a:cubicBezTo>
                  <a:pt x="20219" y="14531"/>
                  <a:pt x="20125" y="14468"/>
                  <a:pt x="20125" y="14374"/>
                </a:cubicBezTo>
                <a:cubicBezTo>
                  <a:pt x="20156" y="14374"/>
                  <a:pt x="20156" y="14374"/>
                  <a:pt x="20156" y="14374"/>
                </a:cubicBezTo>
                <a:close/>
                <a:moveTo>
                  <a:pt x="20000" y="14343"/>
                </a:moveTo>
                <a:cubicBezTo>
                  <a:pt x="20031" y="14343"/>
                  <a:pt x="20063" y="14343"/>
                  <a:pt x="20094" y="14343"/>
                </a:cubicBezTo>
                <a:cubicBezTo>
                  <a:pt x="20094" y="14374"/>
                  <a:pt x="20125" y="14437"/>
                  <a:pt x="20063" y="14437"/>
                </a:cubicBezTo>
                <a:cubicBezTo>
                  <a:pt x="19969" y="14437"/>
                  <a:pt x="20031" y="14374"/>
                  <a:pt x="20000" y="14343"/>
                </a:cubicBezTo>
                <a:cubicBezTo>
                  <a:pt x="20000" y="14312"/>
                  <a:pt x="20000" y="14249"/>
                  <a:pt x="20000" y="14218"/>
                </a:cubicBezTo>
                <a:cubicBezTo>
                  <a:pt x="20000" y="14249"/>
                  <a:pt x="20000" y="14312"/>
                  <a:pt x="20000" y="14343"/>
                </a:cubicBezTo>
                <a:close/>
                <a:moveTo>
                  <a:pt x="19656" y="14249"/>
                </a:moveTo>
                <a:cubicBezTo>
                  <a:pt x="19656" y="14249"/>
                  <a:pt x="19656" y="14249"/>
                  <a:pt x="19656" y="14249"/>
                </a:cubicBezTo>
                <a:cubicBezTo>
                  <a:pt x="19656" y="14249"/>
                  <a:pt x="19656" y="14249"/>
                  <a:pt x="19656" y="14249"/>
                </a:cubicBezTo>
                <a:cubicBezTo>
                  <a:pt x="19656" y="14249"/>
                  <a:pt x="19656" y="14249"/>
                  <a:pt x="19656" y="14249"/>
                </a:cubicBezTo>
                <a:close/>
                <a:moveTo>
                  <a:pt x="19063" y="14187"/>
                </a:moveTo>
                <a:cubicBezTo>
                  <a:pt x="19063" y="14187"/>
                  <a:pt x="19063" y="14187"/>
                  <a:pt x="19063" y="14187"/>
                </a:cubicBezTo>
                <a:cubicBezTo>
                  <a:pt x="19125" y="14156"/>
                  <a:pt x="19188" y="14156"/>
                  <a:pt x="19250" y="14218"/>
                </a:cubicBezTo>
                <a:cubicBezTo>
                  <a:pt x="19250" y="14218"/>
                  <a:pt x="19281" y="14187"/>
                  <a:pt x="19281" y="14187"/>
                </a:cubicBezTo>
                <a:cubicBezTo>
                  <a:pt x="19281" y="14187"/>
                  <a:pt x="19250" y="14218"/>
                  <a:pt x="19250" y="14218"/>
                </a:cubicBezTo>
                <a:cubicBezTo>
                  <a:pt x="19250" y="14218"/>
                  <a:pt x="19250" y="14218"/>
                  <a:pt x="19250" y="14249"/>
                </a:cubicBezTo>
                <a:cubicBezTo>
                  <a:pt x="19344" y="14343"/>
                  <a:pt x="19344" y="14343"/>
                  <a:pt x="19250" y="14437"/>
                </a:cubicBezTo>
                <a:cubicBezTo>
                  <a:pt x="19250" y="14437"/>
                  <a:pt x="19281" y="14437"/>
                  <a:pt x="19281" y="14468"/>
                </a:cubicBezTo>
                <a:cubicBezTo>
                  <a:pt x="19281" y="14437"/>
                  <a:pt x="19250" y="14437"/>
                  <a:pt x="19250" y="14437"/>
                </a:cubicBezTo>
                <a:cubicBezTo>
                  <a:pt x="19156" y="14499"/>
                  <a:pt x="19125" y="14437"/>
                  <a:pt x="19094" y="14406"/>
                </a:cubicBezTo>
                <a:cubicBezTo>
                  <a:pt x="19094" y="14406"/>
                  <a:pt x="19094" y="14406"/>
                  <a:pt x="19094" y="14406"/>
                </a:cubicBezTo>
                <a:cubicBezTo>
                  <a:pt x="19063" y="14343"/>
                  <a:pt x="19125" y="14312"/>
                  <a:pt x="19156" y="14281"/>
                </a:cubicBezTo>
                <a:cubicBezTo>
                  <a:pt x="19156" y="14281"/>
                  <a:pt x="19188" y="14249"/>
                  <a:pt x="19156" y="14249"/>
                </a:cubicBezTo>
                <a:cubicBezTo>
                  <a:pt x="19156" y="14218"/>
                  <a:pt x="19125" y="14218"/>
                  <a:pt x="19094" y="14249"/>
                </a:cubicBezTo>
                <a:cubicBezTo>
                  <a:pt x="19094" y="14249"/>
                  <a:pt x="19094" y="14312"/>
                  <a:pt x="19063" y="14281"/>
                </a:cubicBezTo>
                <a:cubicBezTo>
                  <a:pt x="19000" y="14249"/>
                  <a:pt x="19063" y="14218"/>
                  <a:pt x="19063" y="14187"/>
                </a:cubicBezTo>
                <a:close/>
                <a:moveTo>
                  <a:pt x="18563" y="14562"/>
                </a:moveTo>
                <a:cubicBezTo>
                  <a:pt x="18594" y="14531"/>
                  <a:pt x="18625" y="14562"/>
                  <a:pt x="18625" y="14593"/>
                </a:cubicBezTo>
                <a:cubicBezTo>
                  <a:pt x="18656" y="14624"/>
                  <a:pt x="18688" y="14656"/>
                  <a:pt x="18719" y="14687"/>
                </a:cubicBezTo>
                <a:cubicBezTo>
                  <a:pt x="18750" y="14718"/>
                  <a:pt x="18750" y="14749"/>
                  <a:pt x="18781" y="14718"/>
                </a:cubicBezTo>
                <a:cubicBezTo>
                  <a:pt x="18813" y="14718"/>
                  <a:pt x="18844" y="14687"/>
                  <a:pt x="18813" y="14656"/>
                </a:cubicBezTo>
                <a:cubicBezTo>
                  <a:pt x="18781" y="14593"/>
                  <a:pt x="18750" y="14562"/>
                  <a:pt x="18750" y="14531"/>
                </a:cubicBezTo>
                <a:cubicBezTo>
                  <a:pt x="18719" y="14499"/>
                  <a:pt x="18688" y="14499"/>
                  <a:pt x="18719" y="14468"/>
                </a:cubicBezTo>
                <a:cubicBezTo>
                  <a:pt x="18781" y="14406"/>
                  <a:pt x="18688" y="14406"/>
                  <a:pt x="18688" y="14374"/>
                </a:cubicBezTo>
                <a:cubicBezTo>
                  <a:pt x="18750" y="14343"/>
                  <a:pt x="18781" y="14406"/>
                  <a:pt x="18844" y="14406"/>
                </a:cubicBezTo>
                <a:cubicBezTo>
                  <a:pt x="18875" y="14406"/>
                  <a:pt x="18906" y="14437"/>
                  <a:pt x="18906" y="14406"/>
                </a:cubicBezTo>
                <a:cubicBezTo>
                  <a:pt x="18938" y="14374"/>
                  <a:pt x="18906" y="14343"/>
                  <a:pt x="18875" y="14343"/>
                </a:cubicBezTo>
                <a:cubicBezTo>
                  <a:pt x="18875" y="14343"/>
                  <a:pt x="18875" y="14343"/>
                  <a:pt x="18875" y="14343"/>
                </a:cubicBezTo>
                <a:cubicBezTo>
                  <a:pt x="18906" y="14281"/>
                  <a:pt x="18938" y="14281"/>
                  <a:pt x="18969" y="14312"/>
                </a:cubicBezTo>
                <a:cubicBezTo>
                  <a:pt x="19000" y="14343"/>
                  <a:pt x="19000" y="14343"/>
                  <a:pt x="19000" y="14374"/>
                </a:cubicBezTo>
                <a:cubicBezTo>
                  <a:pt x="19000" y="14374"/>
                  <a:pt x="19031" y="14374"/>
                  <a:pt x="19031" y="14374"/>
                </a:cubicBezTo>
                <a:cubicBezTo>
                  <a:pt x="19031" y="14374"/>
                  <a:pt x="19000" y="14374"/>
                  <a:pt x="19000" y="14374"/>
                </a:cubicBezTo>
                <a:cubicBezTo>
                  <a:pt x="18969" y="14468"/>
                  <a:pt x="19031" y="14468"/>
                  <a:pt x="19094" y="14499"/>
                </a:cubicBezTo>
                <a:cubicBezTo>
                  <a:pt x="19094" y="14499"/>
                  <a:pt x="19125" y="14499"/>
                  <a:pt x="19125" y="14531"/>
                </a:cubicBezTo>
                <a:cubicBezTo>
                  <a:pt x="19125" y="14562"/>
                  <a:pt x="19094" y="14562"/>
                  <a:pt x="19094" y="14562"/>
                </a:cubicBezTo>
                <a:cubicBezTo>
                  <a:pt x="19000" y="14499"/>
                  <a:pt x="19000" y="14562"/>
                  <a:pt x="19000" y="14624"/>
                </a:cubicBezTo>
                <a:cubicBezTo>
                  <a:pt x="19000" y="14624"/>
                  <a:pt x="18969" y="14656"/>
                  <a:pt x="18969" y="14656"/>
                </a:cubicBezTo>
                <a:cubicBezTo>
                  <a:pt x="18938" y="14624"/>
                  <a:pt x="18938" y="14593"/>
                  <a:pt x="18938" y="14562"/>
                </a:cubicBezTo>
                <a:cubicBezTo>
                  <a:pt x="18938" y="14468"/>
                  <a:pt x="18875" y="14468"/>
                  <a:pt x="18781" y="14437"/>
                </a:cubicBezTo>
                <a:cubicBezTo>
                  <a:pt x="18750" y="14437"/>
                  <a:pt x="18750" y="14468"/>
                  <a:pt x="18781" y="14499"/>
                </a:cubicBezTo>
                <a:cubicBezTo>
                  <a:pt x="18813" y="14562"/>
                  <a:pt x="18844" y="14593"/>
                  <a:pt x="18875" y="14656"/>
                </a:cubicBezTo>
                <a:cubicBezTo>
                  <a:pt x="18906" y="14656"/>
                  <a:pt x="18938" y="14687"/>
                  <a:pt x="18906" y="14718"/>
                </a:cubicBezTo>
                <a:cubicBezTo>
                  <a:pt x="18844" y="14718"/>
                  <a:pt x="18813" y="14812"/>
                  <a:pt x="18750" y="14812"/>
                </a:cubicBezTo>
                <a:cubicBezTo>
                  <a:pt x="18719" y="14781"/>
                  <a:pt x="18688" y="14781"/>
                  <a:pt x="18656" y="14781"/>
                </a:cubicBezTo>
                <a:cubicBezTo>
                  <a:pt x="18656" y="14781"/>
                  <a:pt x="18656" y="14812"/>
                  <a:pt x="18656" y="14812"/>
                </a:cubicBezTo>
                <a:cubicBezTo>
                  <a:pt x="18656" y="14812"/>
                  <a:pt x="18656" y="14781"/>
                  <a:pt x="18656" y="14781"/>
                </a:cubicBezTo>
                <a:cubicBezTo>
                  <a:pt x="18656" y="14781"/>
                  <a:pt x="18656" y="14749"/>
                  <a:pt x="18656" y="14749"/>
                </a:cubicBezTo>
                <a:cubicBezTo>
                  <a:pt x="18656" y="14749"/>
                  <a:pt x="18656" y="14749"/>
                  <a:pt x="18656" y="14749"/>
                </a:cubicBezTo>
                <a:cubicBezTo>
                  <a:pt x="18656" y="14749"/>
                  <a:pt x="18656" y="14749"/>
                  <a:pt x="18656" y="14749"/>
                </a:cubicBezTo>
                <a:cubicBezTo>
                  <a:pt x="18656" y="14749"/>
                  <a:pt x="18656" y="14718"/>
                  <a:pt x="18656" y="14718"/>
                </a:cubicBezTo>
                <a:cubicBezTo>
                  <a:pt x="18625" y="14687"/>
                  <a:pt x="18594" y="14656"/>
                  <a:pt x="18594" y="14624"/>
                </a:cubicBezTo>
                <a:cubicBezTo>
                  <a:pt x="18594" y="14593"/>
                  <a:pt x="18531" y="14593"/>
                  <a:pt x="18563" y="14562"/>
                </a:cubicBezTo>
                <a:close/>
                <a:moveTo>
                  <a:pt x="18406" y="14531"/>
                </a:moveTo>
                <a:cubicBezTo>
                  <a:pt x="18438" y="14531"/>
                  <a:pt x="18469" y="14531"/>
                  <a:pt x="18469" y="14562"/>
                </a:cubicBezTo>
                <a:cubicBezTo>
                  <a:pt x="18469" y="14562"/>
                  <a:pt x="18438" y="14593"/>
                  <a:pt x="18438" y="14593"/>
                </a:cubicBezTo>
                <a:cubicBezTo>
                  <a:pt x="18406" y="14624"/>
                  <a:pt x="18375" y="14656"/>
                  <a:pt x="18406" y="14687"/>
                </a:cubicBezTo>
                <a:cubicBezTo>
                  <a:pt x="18438" y="14718"/>
                  <a:pt x="18469" y="14749"/>
                  <a:pt x="18500" y="14718"/>
                </a:cubicBezTo>
                <a:cubicBezTo>
                  <a:pt x="18531" y="14687"/>
                  <a:pt x="18531" y="14656"/>
                  <a:pt x="18563" y="14687"/>
                </a:cubicBezTo>
                <a:cubicBezTo>
                  <a:pt x="18594" y="14718"/>
                  <a:pt x="18563" y="14749"/>
                  <a:pt x="18531" y="14749"/>
                </a:cubicBezTo>
                <a:cubicBezTo>
                  <a:pt x="18469" y="14812"/>
                  <a:pt x="18531" y="14843"/>
                  <a:pt x="18531" y="14874"/>
                </a:cubicBezTo>
                <a:cubicBezTo>
                  <a:pt x="18563" y="14874"/>
                  <a:pt x="18594" y="14906"/>
                  <a:pt x="18563" y="14937"/>
                </a:cubicBezTo>
                <a:cubicBezTo>
                  <a:pt x="18531" y="14968"/>
                  <a:pt x="18500" y="14906"/>
                  <a:pt x="18500" y="14906"/>
                </a:cubicBezTo>
                <a:cubicBezTo>
                  <a:pt x="18438" y="14812"/>
                  <a:pt x="18375" y="14749"/>
                  <a:pt x="18313" y="14656"/>
                </a:cubicBezTo>
                <a:cubicBezTo>
                  <a:pt x="18281" y="14624"/>
                  <a:pt x="18281" y="14593"/>
                  <a:pt x="18313" y="14593"/>
                </a:cubicBezTo>
                <a:cubicBezTo>
                  <a:pt x="18344" y="14562"/>
                  <a:pt x="18375" y="14562"/>
                  <a:pt x="18406" y="14531"/>
                </a:cubicBezTo>
                <a:close/>
                <a:moveTo>
                  <a:pt x="18406" y="15031"/>
                </a:moveTo>
                <a:cubicBezTo>
                  <a:pt x="18406" y="15031"/>
                  <a:pt x="18406" y="15062"/>
                  <a:pt x="18406" y="15062"/>
                </a:cubicBezTo>
                <a:cubicBezTo>
                  <a:pt x="18406" y="15062"/>
                  <a:pt x="18406" y="15062"/>
                  <a:pt x="18406" y="15062"/>
                </a:cubicBezTo>
                <a:cubicBezTo>
                  <a:pt x="18406" y="15062"/>
                  <a:pt x="18406" y="15062"/>
                  <a:pt x="18406" y="15062"/>
                </a:cubicBezTo>
                <a:cubicBezTo>
                  <a:pt x="18375" y="15062"/>
                  <a:pt x="18375" y="15093"/>
                  <a:pt x="18375" y="15093"/>
                </a:cubicBezTo>
                <a:cubicBezTo>
                  <a:pt x="18375" y="15093"/>
                  <a:pt x="18375" y="15093"/>
                  <a:pt x="18375" y="15093"/>
                </a:cubicBezTo>
                <a:cubicBezTo>
                  <a:pt x="18313" y="15093"/>
                  <a:pt x="18281" y="15124"/>
                  <a:pt x="18344" y="15187"/>
                </a:cubicBezTo>
                <a:cubicBezTo>
                  <a:pt x="18344" y="15218"/>
                  <a:pt x="18375" y="15218"/>
                  <a:pt x="18344" y="15249"/>
                </a:cubicBezTo>
                <a:cubicBezTo>
                  <a:pt x="18313" y="15281"/>
                  <a:pt x="18281" y="15249"/>
                  <a:pt x="18281" y="15218"/>
                </a:cubicBezTo>
                <a:cubicBezTo>
                  <a:pt x="18219" y="15156"/>
                  <a:pt x="18156" y="15062"/>
                  <a:pt x="18094" y="14999"/>
                </a:cubicBezTo>
                <a:cubicBezTo>
                  <a:pt x="18063" y="14937"/>
                  <a:pt x="18031" y="14906"/>
                  <a:pt x="18125" y="14874"/>
                </a:cubicBezTo>
                <a:cubicBezTo>
                  <a:pt x="18125" y="14874"/>
                  <a:pt x="18156" y="14843"/>
                  <a:pt x="18156" y="14843"/>
                </a:cubicBezTo>
                <a:cubicBezTo>
                  <a:pt x="18125" y="14843"/>
                  <a:pt x="18125" y="14843"/>
                  <a:pt x="18125" y="14812"/>
                </a:cubicBezTo>
                <a:cubicBezTo>
                  <a:pt x="18125" y="14843"/>
                  <a:pt x="18125" y="14843"/>
                  <a:pt x="18156" y="14843"/>
                </a:cubicBezTo>
                <a:cubicBezTo>
                  <a:pt x="18281" y="14781"/>
                  <a:pt x="18313" y="14874"/>
                  <a:pt x="18375" y="14937"/>
                </a:cubicBezTo>
                <a:cubicBezTo>
                  <a:pt x="18375" y="14968"/>
                  <a:pt x="18375" y="14999"/>
                  <a:pt x="18406" y="15031"/>
                </a:cubicBezTo>
                <a:cubicBezTo>
                  <a:pt x="18406" y="15031"/>
                  <a:pt x="18406" y="15031"/>
                  <a:pt x="18438" y="15031"/>
                </a:cubicBezTo>
                <a:cubicBezTo>
                  <a:pt x="18406" y="15031"/>
                  <a:pt x="18406" y="15031"/>
                  <a:pt x="18406" y="15031"/>
                </a:cubicBezTo>
                <a:close/>
                <a:moveTo>
                  <a:pt x="18125" y="13843"/>
                </a:moveTo>
                <a:cubicBezTo>
                  <a:pt x="18125" y="13874"/>
                  <a:pt x="18156" y="13874"/>
                  <a:pt x="18188" y="13874"/>
                </a:cubicBezTo>
                <a:cubicBezTo>
                  <a:pt x="18219" y="13874"/>
                  <a:pt x="18281" y="13874"/>
                  <a:pt x="18313" y="13937"/>
                </a:cubicBezTo>
                <a:cubicBezTo>
                  <a:pt x="18219" y="13937"/>
                  <a:pt x="18094" y="13906"/>
                  <a:pt x="18000" y="13874"/>
                </a:cubicBezTo>
                <a:cubicBezTo>
                  <a:pt x="18031" y="13812"/>
                  <a:pt x="18094" y="13843"/>
                  <a:pt x="18125" y="13843"/>
                </a:cubicBezTo>
                <a:close/>
                <a:moveTo>
                  <a:pt x="18000" y="14968"/>
                </a:moveTo>
                <a:cubicBezTo>
                  <a:pt x="18000" y="14968"/>
                  <a:pt x="18031" y="14968"/>
                  <a:pt x="18031" y="14968"/>
                </a:cubicBezTo>
                <a:cubicBezTo>
                  <a:pt x="18063" y="15031"/>
                  <a:pt x="18125" y="15093"/>
                  <a:pt x="18188" y="15156"/>
                </a:cubicBezTo>
                <a:cubicBezTo>
                  <a:pt x="18188" y="15187"/>
                  <a:pt x="18188" y="15187"/>
                  <a:pt x="18188" y="15218"/>
                </a:cubicBezTo>
                <a:cubicBezTo>
                  <a:pt x="18156" y="15249"/>
                  <a:pt x="18125" y="15218"/>
                  <a:pt x="18125" y="15187"/>
                </a:cubicBezTo>
                <a:cubicBezTo>
                  <a:pt x="18094" y="15156"/>
                  <a:pt x="18031" y="15093"/>
                  <a:pt x="18000" y="15031"/>
                </a:cubicBezTo>
                <a:cubicBezTo>
                  <a:pt x="17969" y="14999"/>
                  <a:pt x="17969" y="14968"/>
                  <a:pt x="18000" y="14968"/>
                </a:cubicBezTo>
                <a:close/>
                <a:moveTo>
                  <a:pt x="17813" y="14999"/>
                </a:moveTo>
                <a:cubicBezTo>
                  <a:pt x="17813" y="14937"/>
                  <a:pt x="17844" y="14968"/>
                  <a:pt x="17875" y="14999"/>
                </a:cubicBezTo>
                <a:cubicBezTo>
                  <a:pt x="17938" y="15062"/>
                  <a:pt x="18000" y="15156"/>
                  <a:pt x="18063" y="15249"/>
                </a:cubicBezTo>
                <a:cubicBezTo>
                  <a:pt x="18063" y="15249"/>
                  <a:pt x="18094" y="15281"/>
                  <a:pt x="18063" y="15312"/>
                </a:cubicBezTo>
                <a:cubicBezTo>
                  <a:pt x="18031" y="15312"/>
                  <a:pt x="18031" y="15281"/>
                  <a:pt x="18000" y="15281"/>
                </a:cubicBezTo>
                <a:cubicBezTo>
                  <a:pt x="17938" y="15187"/>
                  <a:pt x="17906" y="15124"/>
                  <a:pt x="17844" y="15062"/>
                </a:cubicBezTo>
                <a:cubicBezTo>
                  <a:pt x="17844" y="15031"/>
                  <a:pt x="17781" y="15031"/>
                  <a:pt x="17813" y="14999"/>
                </a:cubicBezTo>
                <a:close/>
                <a:moveTo>
                  <a:pt x="17844" y="15156"/>
                </a:moveTo>
                <a:cubicBezTo>
                  <a:pt x="17875" y="15218"/>
                  <a:pt x="17938" y="15281"/>
                  <a:pt x="18000" y="15343"/>
                </a:cubicBezTo>
                <a:cubicBezTo>
                  <a:pt x="18156" y="15374"/>
                  <a:pt x="18344" y="15406"/>
                  <a:pt x="18500" y="15468"/>
                </a:cubicBezTo>
                <a:cubicBezTo>
                  <a:pt x="18344" y="15406"/>
                  <a:pt x="18156" y="15374"/>
                  <a:pt x="18000" y="15343"/>
                </a:cubicBezTo>
                <a:cubicBezTo>
                  <a:pt x="18000" y="15343"/>
                  <a:pt x="17969" y="15343"/>
                  <a:pt x="17969" y="15374"/>
                </a:cubicBezTo>
                <a:cubicBezTo>
                  <a:pt x="17969" y="15374"/>
                  <a:pt x="17938" y="15374"/>
                  <a:pt x="17938" y="15374"/>
                </a:cubicBezTo>
                <a:cubicBezTo>
                  <a:pt x="17906" y="15343"/>
                  <a:pt x="17906" y="15312"/>
                  <a:pt x="17875" y="15312"/>
                </a:cubicBezTo>
                <a:cubicBezTo>
                  <a:pt x="17844" y="15249"/>
                  <a:pt x="17813" y="15218"/>
                  <a:pt x="17781" y="15187"/>
                </a:cubicBezTo>
                <a:cubicBezTo>
                  <a:pt x="17781" y="15156"/>
                  <a:pt x="17781" y="15156"/>
                  <a:pt x="17781" y="15156"/>
                </a:cubicBezTo>
                <a:cubicBezTo>
                  <a:pt x="17813" y="15124"/>
                  <a:pt x="17813" y="15124"/>
                  <a:pt x="17844" y="15156"/>
                </a:cubicBezTo>
                <a:close/>
                <a:moveTo>
                  <a:pt x="17219" y="13593"/>
                </a:moveTo>
                <a:cubicBezTo>
                  <a:pt x="17406" y="13656"/>
                  <a:pt x="17594" y="13718"/>
                  <a:pt x="17781" y="13749"/>
                </a:cubicBezTo>
                <a:cubicBezTo>
                  <a:pt x="17781" y="13749"/>
                  <a:pt x="17781" y="13749"/>
                  <a:pt x="17781" y="13749"/>
                </a:cubicBezTo>
                <a:cubicBezTo>
                  <a:pt x="17813" y="13781"/>
                  <a:pt x="17813" y="13812"/>
                  <a:pt x="17781" y="13812"/>
                </a:cubicBezTo>
                <a:cubicBezTo>
                  <a:pt x="17719" y="13812"/>
                  <a:pt x="17688" y="13781"/>
                  <a:pt x="17656" y="13781"/>
                </a:cubicBezTo>
                <a:cubicBezTo>
                  <a:pt x="17531" y="13749"/>
                  <a:pt x="17406" y="13718"/>
                  <a:pt x="17250" y="13687"/>
                </a:cubicBezTo>
                <a:cubicBezTo>
                  <a:pt x="17250" y="13656"/>
                  <a:pt x="17188" y="13656"/>
                  <a:pt x="17188" y="13624"/>
                </a:cubicBezTo>
                <a:cubicBezTo>
                  <a:pt x="17188" y="13593"/>
                  <a:pt x="17219" y="13624"/>
                  <a:pt x="17219" y="13593"/>
                </a:cubicBezTo>
                <a:close/>
                <a:moveTo>
                  <a:pt x="16813" y="13531"/>
                </a:moveTo>
                <a:cubicBezTo>
                  <a:pt x="16813" y="13531"/>
                  <a:pt x="16844" y="13531"/>
                  <a:pt x="16844" y="13531"/>
                </a:cubicBezTo>
                <a:cubicBezTo>
                  <a:pt x="16844" y="13531"/>
                  <a:pt x="16813" y="13531"/>
                  <a:pt x="16813" y="13531"/>
                </a:cubicBezTo>
                <a:cubicBezTo>
                  <a:pt x="16750" y="13531"/>
                  <a:pt x="16688" y="13531"/>
                  <a:pt x="16625" y="13468"/>
                </a:cubicBezTo>
                <a:cubicBezTo>
                  <a:pt x="16719" y="13437"/>
                  <a:pt x="16750" y="13468"/>
                  <a:pt x="16813" y="13531"/>
                </a:cubicBezTo>
                <a:close/>
                <a:moveTo>
                  <a:pt x="15469" y="14531"/>
                </a:moveTo>
                <a:cubicBezTo>
                  <a:pt x="15469" y="14531"/>
                  <a:pt x="15500" y="14531"/>
                  <a:pt x="15500" y="14531"/>
                </a:cubicBezTo>
                <a:cubicBezTo>
                  <a:pt x="15500" y="14531"/>
                  <a:pt x="15469" y="14531"/>
                  <a:pt x="15469" y="14531"/>
                </a:cubicBezTo>
                <a:close/>
                <a:moveTo>
                  <a:pt x="16344" y="14749"/>
                </a:moveTo>
                <a:cubicBezTo>
                  <a:pt x="16344" y="14749"/>
                  <a:pt x="16344" y="14749"/>
                  <a:pt x="16344" y="14749"/>
                </a:cubicBezTo>
                <a:cubicBezTo>
                  <a:pt x="16344" y="14749"/>
                  <a:pt x="16313" y="14749"/>
                  <a:pt x="16313" y="14749"/>
                </a:cubicBezTo>
                <a:cubicBezTo>
                  <a:pt x="16313" y="14749"/>
                  <a:pt x="16344" y="14749"/>
                  <a:pt x="16344" y="14749"/>
                </a:cubicBezTo>
                <a:cubicBezTo>
                  <a:pt x="16344" y="14749"/>
                  <a:pt x="16344" y="14749"/>
                  <a:pt x="16344" y="14749"/>
                </a:cubicBezTo>
                <a:close/>
                <a:moveTo>
                  <a:pt x="16281" y="13343"/>
                </a:moveTo>
                <a:cubicBezTo>
                  <a:pt x="16313" y="13374"/>
                  <a:pt x="16344" y="13374"/>
                  <a:pt x="16344" y="13406"/>
                </a:cubicBezTo>
                <a:cubicBezTo>
                  <a:pt x="16250" y="13374"/>
                  <a:pt x="16188" y="13374"/>
                  <a:pt x="16125" y="13343"/>
                </a:cubicBezTo>
                <a:cubicBezTo>
                  <a:pt x="16094" y="13343"/>
                  <a:pt x="16063" y="13343"/>
                  <a:pt x="16063" y="13281"/>
                </a:cubicBezTo>
                <a:cubicBezTo>
                  <a:pt x="16125" y="13312"/>
                  <a:pt x="16219" y="13312"/>
                  <a:pt x="16281" y="13343"/>
                </a:cubicBezTo>
                <a:close/>
                <a:moveTo>
                  <a:pt x="16000" y="13281"/>
                </a:moveTo>
                <a:cubicBezTo>
                  <a:pt x="16000" y="13281"/>
                  <a:pt x="16031" y="13249"/>
                  <a:pt x="16031" y="13281"/>
                </a:cubicBezTo>
                <a:cubicBezTo>
                  <a:pt x="16031" y="13249"/>
                  <a:pt x="16000" y="13281"/>
                  <a:pt x="16000" y="13281"/>
                </a:cubicBezTo>
                <a:cubicBezTo>
                  <a:pt x="16000" y="13312"/>
                  <a:pt x="16000" y="13312"/>
                  <a:pt x="15969" y="13312"/>
                </a:cubicBezTo>
                <a:cubicBezTo>
                  <a:pt x="15844" y="13281"/>
                  <a:pt x="15688" y="13249"/>
                  <a:pt x="15563" y="13187"/>
                </a:cubicBezTo>
                <a:cubicBezTo>
                  <a:pt x="15500" y="13187"/>
                  <a:pt x="15500" y="13156"/>
                  <a:pt x="15531" y="13124"/>
                </a:cubicBezTo>
                <a:cubicBezTo>
                  <a:pt x="15688" y="13187"/>
                  <a:pt x="15844" y="13218"/>
                  <a:pt x="16000" y="13281"/>
                </a:cubicBezTo>
                <a:close/>
                <a:moveTo>
                  <a:pt x="15469" y="12312"/>
                </a:moveTo>
                <a:cubicBezTo>
                  <a:pt x="15469" y="12312"/>
                  <a:pt x="15500" y="12312"/>
                  <a:pt x="15500" y="12312"/>
                </a:cubicBezTo>
                <a:cubicBezTo>
                  <a:pt x="15500" y="12312"/>
                  <a:pt x="15500" y="12312"/>
                  <a:pt x="15500" y="12312"/>
                </a:cubicBezTo>
                <a:cubicBezTo>
                  <a:pt x="15500" y="12374"/>
                  <a:pt x="15500" y="12437"/>
                  <a:pt x="15500" y="12499"/>
                </a:cubicBezTo>
                <a:cubicBezTo>
                  <a:pt x="15500" y="12437"/>
                  <a:pt x="15500" y="12374"/>
                  <a:pt x="15500" y="12312"/>
                </a:cubicBezTo>
                <a:cubicBezTo>
                  <a:pt x="15500" y="12437"/>
                  <a:pt x="15500" y="12562"/>
                  <a:pt x="15500" y="12687"/>
                </a:cubicBezTo>
                <a:cubicBezTo>
                  <a:pt x="15500" y="12687"/>
                  <a:pt x="15500" y="12687"/>
                  <a:pt x="15500" y="12718"/>
                </a:cubicBezTo>
                <a:cubicBezTo>
                  <a:pt x="15500" y="12718"/>
                  <a:pt x="15500" y="12718"/>
                  <a:pt x="15500" y="12718"/>
                </a:cubicBezTo>
                <a:cubicBezTo>
                  <a:pt x="15500" y="12812"/>
                  <a:pt x="15500" y="12906"/>
                  <a:pt x="15500" y="12968"/>
                </a:cubicBezTo>
                <a:cubicBezTo>
                  <a:pt x="15500" y="13031"/>
                  <a:pt x="15500" y="13062"/>
                  <a:pt x="15469" y="13093"/>
                </a:cubicBezTo>
                <a:cubicBezTo>
                  <a:pt x="15469" y="12874"/>
                  <a:pt x="15469" y="12624"/>
                  <a:pt x="15469" y="12406"/>
                </a:cubicBezTo>
                <a:cubicBezTo>
                  <a:pt x="15469" y="12374"/>
                  <a:pt x="15438" y="12343"/>
                  <a:pt x="15469" y="12312"/>
                </a:cubicBezTo>
                <a:close/>
                <a:moveTo>
                  <a:pt x="16469" y="10000"/>
                </a:moveTo>
                <a:cubicBezTo>
                  <a:pt x="16469" y="10000"/>
                  <a:pt x="16469" y="10000"/>
                  <a:pt x="16469" y="10000"/>
                </a:cubicBezTo>
                <a:cubicBezTo>
                  <a:pt x="16469" y="10000"/>
                  <a:pt x="16469" y="10000"/>
                  <a:pt x="16469" y="10000"/>
                </a:cubicBezTo>
                <a:cubicBezTo>
                  <a:pt x="16500" y="10000"/>
                  <a:pt x="16500" y="10000"/>
                  <a:pt x="16500" y="10000"/>
                </a:cubicBezTo>
                <a:cubicBezTo>
                  <a:pt x="16500" y="10000"/>
                  <a:pt x="16500" y="10000"/>
                  <a:pt x="16469" y="10000"/>
                </a:cubicBezTo>
                <a:close/>
                <a:moveTo>
                  <a:pt x="16750" y="10343"/>
                </a:moveTo>
                <a:cubicBezTo>
                  <a:pt x="16719" y="10343"/>
                  <a:pt x="16719" y="10375"/>
                  <a:pt x="16719" y="10375"/>
                </a:cubicBezTo>
                <a:cubicBezTo>
                  <a:pt x="16719" y="10375"/>
                  <a:pt x="16719" y="10343"/>
                  <a:pt x="16750" y="10343"/>
                </a:cubicBezTo>
                <a:cubicBezTo>
                  <a:pt x="16719" y="10343"/>
                  <a:pt x="16688" y="10343"/>
                  <a:pt x="16688" y="10375"/>
                </a:cubicBezTo>
                <a:cubicBezTo>
                  <a:pt x="16656" y="10375"/>
                  <a:pt x="16594" y="10375"/>
                  <a:pt x="16594" y="10343"/>
                </a:cubicBezTo>
                <a:cubicBezTo>
                  <a:pt x="16594" y="10312"/>
                  <a:pt x="16625" y="10281"/>
                  <a:pt x="16594" y="10250"/>
                </a:cubicBezTo>
                <a:cubicBezTo>
                  <a:pt x="16594" y="10250"/>
                  <a:pt x="16625" y="10218"/>
                  <a:pt x="16656" y="10250"/>
                </a:cubicBezTo>
                <a:cubicBezTo>
                  <a:pt x="16656" y="10250"/>
                  <a:pt x="16688" y="10281"/>
                  <a:pt x="16688" y="10281"/>
                </a:cubicBezTo>
                <a:cubicBezTo>
                  <a:pt x="16688" y="10281"/>
                  <a:pt x="16688" y="10281"/>
                  <a:pt x="16688" y="10281"/>
                </a:cubicBezTo>
                <a:cubicBezTo>
                  <a:pt x="16719" y="10281"/>
                  <a:pt x="16719" y="10250"/>
                  <a:pt x="16719" y="10250"/>
                </a:cubicBezTo>
                <a:cubicBezTo>
                  <a:pt x="16719" y="10250"/>
                  <a:pt x="16719" y="10250"/>
                  <a:pt x="16719" y="10250"/>
                </a:cubicBezTo>
                <a:cubicBezTo>
                  <a:pt x="16719" y="10250"/>
                  <a:pt x="16719" y="10250"/>
                  <a:pt x="16719" y="10250"/>
                </a:cubicBezTo>
                <a:cubicBezTo>
                  <a:pt x="16781" y="10281"/>
                  <a:pt x="16750" y="10312"/>
                  <a:pt x="16750" y="10343"/>
                </a:cubicBezTo>
                <a:close/>
                <a:moveTo>
                  <a:pt x="16938" y="10718"/>
                </a:moveTo>
                <a:cubicBezTo>
                  <a:pt x="16906" y="10718"/>
                  <a:pt x="16906" y="10718"/>
                  <a:pt x="16906" y="10656"/>
                </a:cubicBezTo>
                <a:cubicBezTo>
                  <a:pt x="16906" y="10656"/>
                  <a:pt x="16875" y="10656"/>
                  <a:pt x="16875" y="10656"/>
                </a:cubicBezTo>
                <a:cubicBezTo>
                  <a:pt x="16875" y="10624"/>
                  <a:pt x="16875" y="10593"/>
                  <a:pt x="16875" y="10562"/>
                </a:cubicBezTo>
                <a:cubicBezTo>
                  <a:pt x="16875" y="10562"/>
                  <a:pt x="16844" y="10562"/>
                  <a:pt x="16844" y="10562"/>
                </a:cubicBezTo>
                <a:cubicBezTo>
                  <a:pt x="16844" y="10562"/>
                  <a:pt x="16875" y="10562"/>
                  <a:pt x="16875" y="10562"/>
                </a:cubicBezTo>
                <a:cubicBezTo>
                  <a:pt x="16875" y="10562"/>
                  <a:pt x="16906" y="10562"/>
                  <a:pt x="16938" y="10562"/>
                </a:cubicBezTo>
                <a:cubicBezTo>
                  <a:pt x="16938" y="10593"/>
                  <a:pt x="16938" y="10624"/>
                  <a:pt x="16906" y="10656"/>
                </a:cubicBezTo>
                <a:cubicBezTo>
                  <a:pt x="16906" y="10718"/>
                  <a:pt x="16906" y="10718"/>
                  <a:pt x="16938" y="10718"/>
                </a:cubicBezTo>
                <a:close/>
                <a:moveTo>
                  <a:pt x="16906" y="10312"/>
                </a:moveTo>
                <a:cubicBezTo>
                  <a:pt x="16938" y="10250"/>
                  <a:pt x="17000" y="10312"/>
                  <a:pt x="17031" y="10343"/>
                </a:cubicBezTo>
                <a:cubicBezTo>
                  <a:pt x="17063" y="10375"/>
                  <a:pt x="17094" y="10343"/>
                  <a:pt x="17094" y="10343"/>
                </a:cubicBezTo>
                <a:cubicBezTo>
                  <a:pt x="17094" y="10437"/>
                  <a:pt x="17031" y="10437"/>
                  <a:pt x="17000" y="10406"/>
                </a:cubicBezTo>
                <a:cubicBezTo>
                  <a:pt x="16969" y="10375"/>
                  <a:pt x="16875" y="10375"/>
                  <a:pt x="16906" y="10312"/>
                </a:cubicBezTo>
                <a:close/>
                <a:moveTo>
                  <a:pt x="17031" y="11093"/>
                </a:moveTo>
                <a:cubicBezTo>
                  <a:pt x="16969" y="11093"/>
                  <a:pt x="16938" y="11062"/>
                  <a:pt x="17000" y="10999"/>
                </a:cubicBezTo>
                <a:cubicBezTo>
                  <a:pt x="17000" y="10999"/>
                  <a:pt x="17000" y="10968"/>
                  <a:pt x="17031" y="10968"/>
                </a:cubicBezTo>
                <a:cubicBezTo>
                  <a:pt x="17063" y="10937"/>
                  <a:pt x="17063" y="10906"/>
                  <a:pt x="17094" y="10937"/>
                </a:cubicBezTo>
                <a:cubicBezTo>
                  <a:pt x="17188" y="10999"/>
                  <a:pt x="17063" y="11031"/>
                  <a:pt x="17094" y="11062"/>
                </a:cubicBezTo>
                <a:cubicBezTo>
                  <a:pt x="17094" y="11062"/>
                  <a:pt x="17094" y="11093"/>
                  <a:pt x="17094" y="11093"/>
                </a:cubicBezTo>
                <a:cubicBezTo>
                  <a:pt x="17094" y="11093"/>
                  <a:pt x="17094" y="11062"/>
                  <a:pt x="17094" y="11062"/>
                </a:cubicBezTo>
                <a:cubicBezTo>
                  <a:pt x="17063" y="11062"/>
                  <a:pt x="17063" y="11062"/>
                  <a:pt x="17031" y="11093"/>
                </a:cubicBezTo>
                <a:close/>
                <a:moveTo>
                  <a:pt x="18938" y="12656"/>
                </a:moveTo>
                <a:cubicBezTo>
                  <a:pt x="19000" y="12656"/>
                  <a:pt x="19094" y="12624"/>
                  <a:pt x="19188" y="12718"/>
                </a:cubicBezTo>
                <a:cubicBezTo>
                  <a:pt x="19281" y="12874"/>
                  <a:pt x="19406" y="13031"/>
                  <a:pt x="19500" y="13156"/>
                </a:cubicBezTo>
                <a:cubicBezTo>
                  <a:pt x="19531" y="13218"/>
                  <a:pt x="19563" y="13249"/>
                  <a:pt x="19563" y="13312"/>
                </a:cubicBezTo>
                <a:cubicBezTo>
                  <a:pt x="19500" y="13343"/>
                  <a:pt x="19469" y="13312"/>
                  <a:pt x="19406" y="13281"/>
                </a:cubicBezTo>
                <a:cubicBezTo>
                  <a:pt x="19313" y="13249"/>
                  <a:pt x="19219" y="13218"/>
                  <a:pt x="19125" y="13218"/>
                </a:cubicBezTo>
                <a:cubicBezTo>
                  <a:pt x="19094" y="13187"/>
                  <a:pt x="19031" y="13187"/>
                  <a:pt x="19000" y="13124"/>
                </a:cubicBezTo>
                <a:cubicBezTo>
                  <a:pt x="18969" y="13093"/>
                  <a:pt x="18938" y="13031"/>
                  <a:pt x="18844" y="13093"/>
                </a:cubicBezTo>
                <a:cubicBezTo>
                  <a:pt x="18813" y="13124"/>
                  <a:pt x="18750" y="13093"/>
                  <a:pt x="18781" y="13031"/>
                </a:cubicBezTo>
                <a:cubicBezTo>
                  <a:pt x="18781" y="12999"/>
                  <a:pt x="18781" y="12937"/>
                  <a:pt x="18813" y="12937"/>
                </a:cubicBezTo>
                <a:cubicBezTo>
                  <a:pt x="18875" y="12874"/>
                  <a:pt x="18875" y="12812"/>
                  <a:pt x="18875" y="12781"/>
                </a:cubicBezTo>
                <a:cubicBezTo>
                  <a:pt x="18844" y="12718"/>
                  <a:pt x="18875" y="12656"/>
                  <a:pt x="18938" y="12656"/>
                </a:cubicBezTo>
                <a:close/>
                <a:moveTo>
                  <a:pt x="18688" y="12718"/>
                </a:moveTo>
                <a:cubicBezTo>
                  <a:pt x="18719" y="12687"/>
                  <a:pt x="18750" y="12656"/>
                  <a:pt x="18813" y="12656"/>
                </a:cubicBezTo>
                <a:cubicBezTo>
                  <a:pt x="18750" y="12687"/>
                  <a:pt x="18719" y="12718"/>
                  <a:pt x="18688" y="12718"/>
                </a:cubicBezTo>
                <a:close/>
                <a:moveTo>
                  <a:pt x="17250" y="10843"/>
                </a:moveTo>
                <a:cubicBezTo>
                  <a:pt x="17313" y="10843"/>
                  <a:pt x="17344" y="10843"/>
                  <a:pt x="17375" y="10906"/>
                </a:cubicBezTo>
                <a:cubicBezTo>
                  <a:pt x="17313" y="10906"/>
                  <a:pt x="17281" y="10906"/>
                  <a:pt x="17250" y="10843"/>
                </a:cubicBezTo>
                <a:close/>
                <a:moveTo>
                  <a:pt x="17969" y="12781"/>
                </a:moveTo>
                <a:cubicBezTo>
                  <a:pt x="18000" y="12749"/>
                  <a:pt x="18000" y="12749"/>
                  <a:pt x="18000" y="12718"/>
                </a:cubicBezTo>
                <a:cubicBezTo>
                  <a:pt x="18125" y="12749"/>
                  <a:pt x="18250" y="12843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18"/>
                  <a:pt x="18438" y="12718"/>
                  <a:pt x="18438" y="12687"/>
                </a:cubicBezTo>
                <a:cubicBezTo>
                  <a:pt x="18406" y="12656"/>
                  <a:pt x="18375" y="12624"/>
                  <a:pt x="18344" y="12593"/>
                </a:cubicBezTo>
                <a:cubicBezTo>
                  <a:pt x="18344" y="12593"/>
                  <a:pt x="18313" y="12593"/>
                  <a:pt x="18313" y="12593"/>
                </a:cubicBezTo>
                <a:cubicBezTo>
                  <a:pt x="18281" y="12656"/>
                  <a:pt x="18250" y="12656"/>
                  <a:pt x="18219" y="12624"/>
                </a:cubicBezTo>
                <a:cubicBezTo>
                  <a:pt x="18156" y="12593"/>
                  <a:pt x="18125" y="12593"/>
                  <a:pt x="18094" y="12593"/>
                </a:cubicBezTo>
                <a:cubicBezTo>
                  <a:pt x="18063" y="12562"/>
                  <a:pt x="18094" y="12531"/>
                  <a:pt x="18125" y="12531"/>
                </a:cubicBezTo>
                <a:cubicBezTo>
                  <a:pt x="18094" y="12468"/>
                  <a:pt x="18063" y="12468"/>
                  <a:pt x="18000" y="12437"/>
                </a:cubicBezTo>
                <a:cubicBezTo>
                  <a:pt x="18063" y="12468"/>
                  <a:pt x="18094" y="12468"/>
                  <a:pt x="18125" y="12531"/>
                </a:cubicBezTo>
                <a:cubicBezTo>
                  <a:pt x="18156" y="12531"/>
                  <a:pt x="18250" y="12562"/>
                  <a:pt x="18156" y="12437"/>
                </a:cubicBezTo>
                <a:cubicBezTo>
                  <a:pt x="18156" y="12437"/>
                  <a:pt x="18156" y="12437"/>
                  <a:pt x="18156" y="12406"/>
                </a:cubicBezTo>
                <a:cubicBezTo>
                  <a:pt x="18188" y="12406"/>
                  <a:pt x="18219" y="12374"/>
                  <a:pt x="18250" y="12406"/>
                </a:cubicBezTo>
                <a:cubicBezTo>
                  <a:pt x="18344" y="12437"/>
                  <a:pt x="18344" y="12374"/>
                  <a:pt x="18344" y="12312"/>
                </a:cubicBezTo>
                <a:cubicBezTo>
                  <a:pt x="18344" y="12312"/>
                  <a:pt x="18344" y="12312"/>
                  <a:pt x="18344" y="12312"/>
                </a:cubicBezTo>
                <a:cubicBezTo>
                  <a:pt x="18375" y="12281"/>
                  <a:pt x="18438" y="12281"/>
                  <a:pt x="18438" y="12187"/>
                </a:cubicBezTo>
                <a:cubicBezTo>
                  <a:pt x="18406" y="12093"/>
                  <a:pt x="18250" y="12031"/>
                  <a:pt x="18156" y="12062"/>
                </a:cubicBezTo>
                <a:cubicBezTo>
                  <a:pt x="18094" y="12062"/>
                  <a:pt x="18188" y="12124"/>
                  <a:pt x="18156" y="12124"/>
                </a:cubicBezTo>
                <a:cubicBezTo>
                  <a:pt x="18125" y="12124"/>
                  <a:pt x="18094" y="12124"/>
                  <a:pt x="18063" y="12093"/>
                </a:cubicBezTo>
                <a:cubicBezTo>
                  <a:pt x="18063" y="12093"/>
                  <a:pt x="18031" y="12062"/>
                  <a:pt x="18063" y="12062"/>
                </a:cubicBezTo>
                <a:cubicBezTo>
                  <a:pt x="18063" y="12031"/>
                  <a:pt x="18125" y="12062"/>
                  <a:pt x="18094" y="11999"/>
                </a:cubicBezTo>
                <a:cubicBezTo>
                  <a:pt x="18063" y="11968"/>
                  <a:pt x="18031" y="12031"/>
                  <a:pt x="18000" y="11968"/>
                </a:cubicBezTo>
                <a:cubicBezTo>
                  <a:pt x="18000" y="11937"/>
                  <a:pt x="17938" y="11906"/>
                  <a:pt x="18000" y="11843"/>
                </a:cubicBezTo>
                <a:cubicBezTo>
                  <a:pt x="18063" y="11781"/>
                  <a:pt x="18094" y="11749"/>
                  <a:pt x="18031" y="11656"/>
                </a:cubicBezTo>
                <a:cubicBezTo>
                  <a:pt x="18000" y="11624"/>
                  <a:pt x="18000" y="11562"/>
                  <a:pt x="18063" y="11499"/>
                </a:cubicBezTo>
                <a:cubicBezTo>
                  <a:pt x="18031" y="11499"/>
                  <a:pt x="18031" y="11531"/>
                  <a:pt x="18000" y="11531"/>
                </a:cubicBezTo>
                <a:cubicBezTo>
                  <a:pt x="18000" y="11562"/>
                  <a:pt x="18000" y="11593"/>
                  <a:pt x="17938" y="11593"/>
                </a:cubicBezTo>
                <a:cubicBezTo>
                  <a:pt x="17906" y="11593"/>
                  <a:pt x="17875" y="11531"/>
                  <a:pt x="17875" y="11499"/>
                </a:cubicBezTo>
                <a:cubicBezTo>
                  <a:pt x="17875" y="11499"/>
                  <a:pt x="17875" y="11468"/>
                  <a:pt x="17875" y="11468"/>
                </a:cubicBezTo>
                <a:cubicBezTo>
                  <a:pt x="17844" y="11437"/>
                  <a:pt x="17844" y="11437"/>
                  <a:pt x="17813" y="11437"/>
                </a:cubicBezTo>
                <a:cubicBezTo>
                  <a:pt x="17781" y="11437"/>
                  <a:pt x="17781" y="11468"/>
                  <a:pt x="17781" y="11468"/>
                </a:cubicBezTo>
                <a:cubicBezTo>
                  <a:pt x="17813" y="11531"/>
                  <a:pt x="17781" y="11531"/>
                  <a:pt x="17750" y="11531"/>
                </a:cubicBezTo>
                <a:cubicBezTo>
                  <a:pt x="17719" y="11499"/>
                  <a:pt x="17656" y="11499"/>
                  <a:pt x="17594" y="11468"/>
                </a:cubicBezTo>
                <a:cubicBezTo>
                  <a:pt x="17594" y="11468"/>
                  <a:pt x="17563" y="11437"/>
                  <a:pt x="17594" y="11406"/>
                </a:cubicBezTo>
                <a:cubicBezTo>
                  <a:pt x="17594" y="11374"/>
                  <a:pt x="17594" y="11374"/>
                  <a:pt x="17625" y="11374"/>
                </a:cubicBezTo>
                <a:cubicBezTo>
                  <a:pt x="17750" y="11374"/>
                  <a:pt x="17813" y="11312"/>
                  <a:pt x="17750" y="11187"/>
                </a:cubicBezTo>
                <a:cubicBezTo>
                  <a:pt x="17719" y="11124"/>
                  <a:pt x="17688" y="11062"/>
                  <a:pt x="17719" y="10968"/>
                </a:cubicBezTo>
                <a:cubicBezTo>
                  <a:pt x="17688" y="10968"/>
                  <a:pt x="17688" y="10906"/>
                  <a:pt x="17656" y="10937"/>
                </a:cubicBezTo>
                <a:cubicBezTo>
                  <a:pt x="17625" y="10937"/>
                  <a:pt x="17594" y="10937"/>
                  <a:pt x="17594" y="10999"/>
                </a:cubicBezTo>
                <a:cubicBezTo>
                  <a:pt x="17594" y="10999"/>
                  <a:pt x="17594" y="10999"/>
                  <a:pt x="17594" y="10999"/>
                </a:cubicBezTo>
                <a:cubicBezTo>
                  <a:pt x="17625" y="11062"/>
                  <a:pt x="17656" y="11124"/>
                  <a:pt x="17625" y="11124"/>
                </a:cubicBezTo>
                <a:cubicBezTo>
                  <a:pt x="17594" y="11156"/>
                  <a:pt x="17500" y="11156"/>
                  <a:pt x="17469" y="11124"/>
                </a:cubicBezTo>
                <a:cubicBezTo>
                  <a:pt x="17375" y="11093"/>
                  <a:pt x="17438" y="11031"/>
                  <a:pt x="17469" y="10999"/>
                </a:cubicBezTo>
                <a:cubicBezTo>
                  <a:pt x="17469" y="10968"/>
                  <a:pt x="17531" y="10937"/>
                  <a:pt x="17500" y="10874"/>
                </a:cubicBezTo>
                <a:cubicBezTo>
                  <a:pt x="17469" y="10843"/>
                  <a:pt x="17500" y="10812"/>
                  <a:pt x="17438" y="10781"/>
                </a:cubicBezTo>
                <a:cubicBezTo>
                  <a:pt x="17406" y="10749"/>
                  <a:pt x="17344" y="10749"/>
                  <a:pt x="17281" y="10749"/>
                </a:cubicBezTo>
                <a:cubicBezTo>
                  <a:pt x="17250" y="10749"/>
                  <a:pt x="17219" y="10781"/>
                  <a:pt x="17219" y="10749"/>
                </a:cubicBezTo>
                <a:cubicBezTo>
                  <a:pt x="17219" y="10718"/>
                  <a:pt x="17219" y="10687"/>
                  <a:pt x="17250" y="10656"/>
                </a:cubicBezTo>
                <a:cubicBezTo>
                  <a:pt x="17281" y="10624"/>
                  <a:pt x="17313" y="10593"/>
                  <a:pt x="17313" y="10562"/>
                </a:cubicBezTo>
                <a:cubicBezTo>
                  <a:pt x="17344" y="10531"/>
                  <a:pt x="17375" y="10468"/>
                  <a:pt x="17406" y="10437"/>
                </a:cubicBezTo>
                <a:cubicBezTo>
                  <a:pt x="17438" y="10406"/>
                  <a:pt x="17469" y="10375"/>
                  <a:pt x="17500" y="10375"/>
                </a:cubicBezTo>
                <a:cubicBezTo>
                  <a:pt x="17500" y="10375"/>
                  <a:pt x="17500" y="10375"/>
                  <a:pt x="17500" y="10375"/>
                </a:cubicBezTo>
                <a:cubicBezTo>
                  <a:pt x="17625" y="10562"/>
                  <a:pt x="17688" y="10749"/>
                  <a:pt x="17844" y="10906"/>
                </a:cubicBezTo>
                <a:cubicBezTo>
                  <a:pt x="17906" y="10937"/>
                  <a:pt x="17906" y="11031"/>
                  <a:pt x="17938" y="11062"/>
                </a:cubicBezTo>
                <a:cubicBezTo>
                  <a:pt x="17969" y="11093"/>
                  <a:pt x="17938" y="11124"/>
                  <a:pt x="17906" y="11124"/>
                </a:cubicBezTo>
                <a:cubicBezTo>
                  <a:pt x="17875" y="11156"/>
                  <a:pt x="17844" y="11156"/>
                  <a:pt x="17813" y="11187"/>
                </a:cubicBezTo>
                <a:cubicBezTo>
                  <a:pt x="17875" y="11218"/>
                  <a:pt x="18000" y="11249"/>
                  <a:pt x="17906" y="11374"/>
                </a:cubicBezTo>
                <a:cubicBezTo>
                  <a:pt x="17969" y="11343"/>
                  <a:pt x="18000" y="11312"/>
                  <a:pt x="18031" y="11406"/>
                </a:cubicBezTo>
                <a:cubicBezTo>
                  <a:pt x="18031" y="11406"/>
                  <a:pt x="18094" y="11437"/>
                  <a:pt x="18125" y="11406"/>
                </a:cubicBezTo>
                <a:cubicBezTo>
                  <a:pt x="18188" y="11406"/>
                  <a:pt x="18219" y="11437"/>
                  <a:pt x="18250" y="11499"/>
                </a:cubicBezTo>
                <a:cubicBezTo>
                  <a:pt x="18344" y="11624"/>
                  <a:pt x="18469" y="11749"/>
                  <a:pt x="18531" y="11906"/>
                </a:cubicBezTo>
                <a:cubicBezTo>
                  <a:pt x="18531" y="11999"/>
                  <a:pt x="18625" y="11968"/>
                  <a:pt x="18656" y="12062"/>
                </a:cubicBezTo>
                <a:cubicBezTo>
                  <a:pt x="18688" y="12124"/>
                  <a:pt x="18750" y="12187"/>
                  <a:pt x="18813" y="12249"/>
                </a:cubicBezTo>
                <a:cubicBezTo>
                  <a:pt x="18813" y="12281"/>
                  <a:pt x="18844" y="12281"/>
                  <a:pt x="18813" y="12343"/>
                </a:cubicBezTo>
                <a:cubicBezTo>
                  <a:pt x="18781" y="12374"/>
                  <a:pt x="18750" y="12406"/>
                  <a:pt x="18688" y="12374"/>
                </a:cubicBezTo>
                <a:cubicBezTo>
                  <a:pt x="18656" y="12374"/>
                  <a:pt x="18625" y="12374"/>
                  <a:pt x="18625" y="12343"/>
                </a:cubicBezTo>
                <a:cubicBezTo>
                  <a:pt x="18625" y="12312"/>
                  <a:pt x="18625" y="12281"/>
                  <a:pt x="18625" y="12249"/>
                </a:cubicBezTo>
                <a:cubicBezTo>
                  <a:pt x="18625" y="12187"/>
                  <a:pt x="18594" y="12156"/>
                  <a:pt x="18531" y="12187"/>
                </a:cubicBezTo>
                <a:cubicBezTo>
                  <a:pt x="18500" y="12187"/>
                  <a:pt x="18500" y="12218"/>
                  <a:pt x="18500" y="12249"/>
                </a:cubicBezTo>
                <a:cubicBezTo>
                  <a:pt x="18500" y="12281"/>
                  <a:pt x="18531" y="12312"/>
                  <a:pt x="18531" y="12312"/>
                </a:cubicBezTo>
                <a:cubicBezTo>
                  <a:pt x="18500" y="12406"/>
                  <a:pt x="18563" y="12437"/>
                  <a:pt x="18594" y="12499"/>
                </a:cubicBezTo>
                <a:cubicBezTo>
                  <a:pt x="18625" y="12531"/>
                  <a:pt x="18656" y="12593"/>
                  <a:pt x="18750" y="12531"/>
                </a:cubicBezTo>
                <a:cubicBezTo>
                  <a:pt x="18750" y="12531"/>
                  <a:pt x="18781" y="12531"/>
                  <a:pt x="18813" y="12499"/>
                </a:cubicBezTo>
                <a:cubicBezTo>
                  <a:pt x="18781" y="12562"/>
                  <a:pt x="18781" y="12624"/>
                  <a:pt x="18688" y="12593"/>
                </a:cubicBezTo>
                <a:cubicBezTo>
                  <a:pt x="18656" y="12593"/>
                  <a:pt x="18594" y="12624"/>
                  <a:pt x="18594" y="12656"/>
                </a:cubicBezTo>
                <a:cubicBezTo>
                  <a:pt x="18563" y="12749"/>
                  <a:pt x="18625" y="12718"/>
                  <a:pt x="18688" y="12718"/>
                </a:cubicBezTo>
                <a:cubicBezTo>
                  <a:pt x="18688" y="12718"/>
                  <a:pt x="18688" y="12749"/>
                  <a:pt x="18688" y="12749"/>
                </a:cubicBezTo>
                <a:cubicBezTo>
                  <a:pt x="18688" y="12781"/>
                  <a:pt x="18719" y="12781"/>
                  <a:pt x="18688" y="12812"/>
                </a:cubicBezTo>
                <a:cubicBezTo>
                  <a:pt x="18656" y="12812"/>
                  <a:pt x="18656" y="12812"/>
                  <a:pt x="18625" y="12812"/>
                </a:cubicBezTo>
                <a:cubicBezTo>
                  <a:pt x="18594" y="12812"/>
                  <a:pt x="18563" y="12781"/>
                  <a:pt x="18563" y="12781"/>
                </a:cubicBezTo>
                <a:cubicBezTo>
                  <a:pt x="18500" y="12718"/>
                  <a:pt x="18469" y="12718"/>
                  <a:pt x="18406" y="12749"/>
                </a:cubicBezTo>
                <a:lnTo>
                  <a:pt x="18406" y="12749"/>
                </a:lnTo>
                <a:cubicBezTo>
                  <a:pt x="18406" y="12749"/>
                  <a:pt x="18406" y="12749"/>
                  <a:pt x="18406" y="12749"/>
                </a:cubicBezTo>
                <a:cubicBezTo>
                  <a:pt x="18375" y="12812"/>
                  <a:pt x="18375" y="12843"/>
                  <a:pt x="18375" y="12906"/>
                </a:cubicBezTo>
                <a:cubicBezTo>
                  <a:pt x="18281" y="12812"/>
                  <a:pt x="18250" y="12906"/>
                  <a:pt x="18156" y="12906"/>
                </a:cubicBezTo>
                <a:cubicBezTo>
                  <a:pt x="18063" y="12906"/>
                  <a:pt x="17969" y="12843"/>
                  <a:pt x="17969" y="12781"/>
                </a:cubicBezTo>
                <a:close/>
                <a:moveTo>
                  <a:pt x="18813" y="12437"/>
                </a:moveTo>
                <a:cubicBezTo>
                  <a:pt x="18813" y="12468"/>
                  <a:pt x="18750" y="12406"/>
                  <a:pt x="18750" y="12468"/>
                </a:cubicBezTo>
                <a:cubicBezTo>
                  <a:pt x="18719" y="12468"/>
                  <a:pt x="18719" y="12499"/>
                  <a:pt x="18688" y="12468"/>
                </a:cubicBezTo>
                <a:cubicBezTo>
                  <a:pt x="18688" y="12468"/>
                  <a:pt x="18688" y="12468"/>
                  <a:pt x="18688" y="12437"/>
                </a:cubicBezTo>
                <a:cubicBezTo>
                  <a:pt x="18688" y="12437"/>
                  <a:pt x="18719" y="12406"/>
                  <a:pt x="18719" y="12406"/>
                </a:cubicBezTo>
                <a:cubicBezTo>
                  <a:pt x="18750" y="12406"/>
                  <a:pt x="18781" y="12406"/>
                  <a:pt x="18813" y="12437"/>
                </a:cubicBezTo>
                <a:close/>
                <a:moveTo>
                  <a:pt x="17281" y="12531"/>
                </a:moveTo>
                <a:cubicBezTo>
                  <a:pt x="17281" y="12531"/>
                  <a:pt x="17281" y="12531"/>
                  <a:pt x="17281" y="12531"/>
                </a:cubicBezTo>
                <a:cubicBezTo>
                  <a:pt x="17281" y="12531"/>
                  <a:pt x="17281" y="12531"/>
                  <a:pt x="17281" y="12531"/>
                </a:cubicBezTo>
                <a:cubicBezTo>
                  <a:pt x="17281" y="12531"/>
                  <a:pt x="17281" y="12531"/>
                  <a:pt x="17281" y="12531"/>
                </a:cubicBezTo>
                <a:close/>
                <a:moveTo>
                  <a:pt x="16781" y="12499"/>
                </a:moveTo>
                <a:cubicBezTo>
                  <a:pt x="16719" y="12499"/>
                  <a:pt x="16656" y="12499"/>
                  <a:pt x="16625" y="12437"/>
                </a:cubicBezTo>
                <a:cubicBezTo>
                  <a:pt x="16625" y="12437"/>
                  <a:pt x="16594" y="12406"/>
                  <a:pt x="16594" y="12406"/>
                </a:cubicBezTo>
                <a:cubicBezTo>
                  <a:pt x="16594" y="12374"/>
                  <a:pt x="16625" y="12343"/>
                  <a:pt x="16625" y="12374"/>
                </a:cubicBezTo>
                <a:cubicBezTo>
                  <a:pt x="16719" y="12437"/>
                  <a:pt x="16750" y="12343"/>
                  <a:pt x="16813" y="12343"/>
                </a:cubicBezTo>
                <a:cubicBezTo>
                  <a:pt x="16750" y="12374"/>
                  <a:pt x="16844" y="12468"/>
                  <a:pt x="16781" y="12499"/>
                </a:cubicBezTo>
                <a:close/>
                <a:moveTo>
                  <a:pt x="16625" y="11531"/>
                </a:moveTo>
                <a:cubicBezTo>
                  <a:pt x="16656" y="11499"/>
                  <a:pt x="16656" y="11531"/>
                  <a:pt x="16656" y="11562"/>
                </a:cubicBezTo>
                <a:cubicBezTo>
                  <a:pt x="16688" y="11624"/>
                  <a:pt x="16750" y="11656"/>
                  <a:pt x="16750" y="11749"/>
                </a:cubicBezTo>
                <a:cubicBezTo>
                  <a:pt x="16750" y="11749"/>
                  <a:pt x="16781" y="11749"/>
                  <a:pt x="16750" y="11781"/>
                </a:cubicBezTo>
                <a:cubicBezTo>
                  <a:pt x="16750" y="11781"/>
                  <a:pt x="16750" y="11749"/>
                  <a:pt x="16719" y="11749"/>
                </a:cubicBezTo>
                <a:cubicBezTo>
                  <a:pt x="16625" y="11781"/>
                  <a:pt x="16594" y="11687"/>
                  <a:pt x="16563" y="11624"/>
                </a:cubicBezTo>
                <a:cubicBezTo>
                  <a:pt x="16531" y="11593"/>
                  <a:pt x="16594" y="11531"/>
                  <a:pt x="16625" y="11531"/>
                </a:cubicBezTo>
                <a:close/>
                <a:moveTo>
                  <a:pt x="16750" y="11812"/>
                </a:moveTo>
                <a:cubicBezTo>
                  <a:pt x="16719" y="11874"/>
                  <a:pt x="16656" y="11874"/>
                  <a:pt x="16625" y="11874"/>
                </a:cubicBezTo>
                <a:cubicBezTo>
                  <a:pt x="16594" y="11874"/>
                  <a:pt x="16594" y="11843"/>
                  <a:pt x="16594" y="11843"/>
                </a:cubicBezTo>
                <a:cubicBezTo>
                  <a:pt x="16625" y="11781"/>
                  <a:pt x="16688" y="11843"/>
                  <a:pt x="16750" y="11812"/>
                </a:cubicBezTo>
                <a:close/>
                <a:moveTo>
                  <a:pt x="16594" y="11937"/>
                </a:moveTo>
                <a:cubicBezTo>
                  <a:pt x="16625" y="11937"/>
                  <a:pt x="16688" y="11906"/>
                  <a:pt x="16781" y="11937"/>
                </a:cubicBezTo>
                <a:cubicBezTo>
                  <a:pt x="16719" y="11999"/>
                  <a:pt x="16656" y="12031"/>
                  <a:pt x="16625" y="12093"/>
                </a:cubicBezTo>
                <a:cubicBezTo>
                  <a:pt x="16625" y="12124"/>
                  <a:pt x="16594" y="12124"/>
                  <a:pt x="16563" y="12124"/>
                </a:cubicBezTo>
                <a:cubicBezTo>
                  <a:pt x="16500" y="12093"/>
                  <a:pt x="16500" y="12093"/>
                  <a:pt x="16500" y="12031"/>
                </a:cubicBezTo>
                <a:cubicBezTo>
                  <a:pt x="16500" y="11968"/>
                  <a:pt x="16500" y="11937"/>
                  <a:pt x="16594" y="11937"/>
                </a:cubicBezTo>
                <a:close/>
                <a:moveTo>
                  <a:pt x="16313" y="12156"/>
                </a:moveTo>
                <a:cubicBezTo>
                  <a:pt x="16313" y="12156"/>
                  <a:pt x="16313" y="12156"/>
                  <a:pt x="16313" y="12156"/>
                </a:cubicBezTo>
                <a:cubicBezTo>
                  <a:pt x="16313" y="12156"/>
                  <a:pt x="16313" y="12156"/>
                  <a:pt x="16313" y="12156"/>
                </a:cubicBezTo>
                <a:cubicBezTo>
                  <a:pt x="16313" y="12156"/>
                  <a:pt x="16313" y="12156"/>
                  <a:pt x="16313" y="12156"/>
                </a:cubicBezTo>
                <a:cubicBezTo>
                  <a:pt x="16313" y="12156"/>
                  <a:pt x="16313" y="12156"/>
                  <a:pt x="16313" y="12156"/>
                </a:cubicBezTo>
                <a:close/>
                <a:moveTo>
                  <a:pt x="16906" y="9687"/>
                </a:moveTo>
                <a:cubicBezTo>
                  <a:pt x="16906" y="9687"/>
                  <a:pt x="16906" y="9687"/>
                  <a:pt x="16906" y="9687"/>
                </a:cubicBezTo>
                <a:cubicBezTo>
                  <a:pt x="16906" y="9687"/>
                  <a:pt x="16906" y="9687"/>
                  <a:pt x="16906" y="9687"/>
                </a:cubicBezTo>
                <a:cubicBezTo>
                  <a:pt x="16875" y="9687"/>
                  <a:pt x="16844" y="9687"/>
                  <a:pt x="16844" y="9656"/>
                </a:cubicBezTo>
                <a:cubicBezTo>
                  <a:pt x="16875" y="9656"/>
                  <a:pt x="16875" y="9656"/>
                  <a:pt x="16906" y="9687"/>
                </a:cubicBezTo>
                <a:close/>
                <a:moveTo>
                  <a:pt x="15188" y="5281"/>
                </a:moveTo>
                <a:cubicBezTo>
                  <a:pt x="15188" y="5281"/>
                  <a:pt x="15188" y="5281"/>
                  <a:pt x="15188" y="5281"/>
                </a:cubicBezTo>
                <a:cubicBezTo>
                  <a:pt x="15188" y="5281"/>
                  <a:pt x="15188" y="5281"/>
                  <a:pt x="15188" y="5312"/>
                </a:cubicBezTo>
                <a:cubicBezTo>
                  <a:pt x="15188" y="5312"/>
                  <a:pt x="15188" y="5281"/>
                  <a:pt x="15188" y="5281"/>
                </a:cubicBezTo>
                <a:cubicBezTo>
                  <a:pt x="15188" y="5281"/>
                  <a:pt x="15188" y="5281"/>
                  <a:pt x="15188" y="5281"/>
                </a:cubicBezTo>
                <a:close/>
                <a:moveTo>
                  <a:pt x="14875" y="531"/>
                </a:moveTo>
                <a:cubicBezTo>
                  <a:pt x="14875" y="562"/>
                  <a:pt x="14875" y="562"/>
                  <a:pt x="14875" y="562"/>
                </a:cubicBezTo>
                <a:cubicBezTo>
                  <a:pt x="14875" y="593"/>
                  <a:pt x="14844" y="562"/>
                  <a:pt x="14844" y="562"/>
                </a:cubicBezTo>
                <a:cubicBezTo>
                  <a:pt x="14813" y="562"/>
                  <a:pt x="14813" y="562"/>
                  <a:pt x="14781" y="562"/>
                </a:cubicBezTo>
                <a:cubicBezTo>
                  <a:pt x="14750" y="562"/>
                  <a:pt x="14719" y="531"/>
                  <a:pt x="14719" y="531"/>
                </a:cubicBezTo>
                <a:cubicBezTo>
                  <a:pt x="14750" y="437"/>
                  <a:pt x="14813" y="562"/>
                  <a:pt x="14875" y="531"/>
                </a:cubicBezTo>
                <a:close/>
                <a:moveTo>
                  <a:pt x="13594" y="1375"/>
                </a:moveTo>
                <a:cubicBezTo>
                  <a:pt x="13594" y="1375"/>
                  <a:pt x="13594" y="1406"/>
                  <a:pt x="13594" y="1406"/>
                </a:cubicBezTo>
                <a:cubicBezTo>
                  <a:pt x="13563" y="1375"/>
                  <a:pt x="13563" y="1375"/>
                  <a:pt x="13563" y="1375"/>
                </a:cubicBezTo>
                <a:cubicBezTo>
                  <a:pt x="13563" y="1375"/>
                  <a:pt x="13563" y="1343"/>
                  <a:pt x="13594" y="1343"/>
                </a:cubicBezTo>
                <a:cubicBezTo>
                  <a:pt x="13594" y="1343"/>
                  <a:pt x="13594" y="1375"/>
                  <a:pt x="13594" y="1375"/>
                </a:cubicBezTo>
                <a:close/>
                <a:moveTo>
                  <a:pt x="11219" y="9812"/>
                </a:moveTo>
                <a:cubicBezTo>
                  <a:pt x="11219" y="9812"/>
                  <a:pt x="11219" y="9812"/>
                  <a:pt x="11219" y="9812"/>
                </a:cubicBezTo>
                <a:cubicBezTo>
                  <a:pt x="11219" y="9812"/>
                  <a:pt x="11250" y="9812"/>
                  <a:pt x="11250" y="9812"/>
                </a:cubicBezTo>
                <a:cubicBezTo>
                  <a:pt x="11250" y="9812"/>
                  <a:pt x="11219" y="9812"/>
                  <a:pt x="11219" y="9812"/>
                </a:cubicBezTo>
                <a:close/>
                <a:moveTo>
                  <a:pt x="12750" y="8625"/>
                </a:moveTo>
                <a:cubicBezTo>
                  <a:pt x="12750" y="8625"/>
                  <a:pt x="12750" y="8625"/>
                  <a:pt x="12750" y="8625"/>
                </a:cubicBezTo>
                <a:cubicBezTo>
                  <a:pt x="12750" y="8625"/>
                  <a:pt x="12750" y="8625"/>
                  <a:pt x="12750" y="8625"/>
                </a:cubicBezTo>
                <a:cubicBezTo>
                  <a:pt x="12750" y="8625"/>
                  <a:pt x="12750" y="8625"/>
                  <a:pt x="12750" y="8625"/>
                </a:cubicBezTo>
                <a:cubicBezTo>
                  <a:pt x="12750" y="8625"/>
                  <a:pt x="12750" y="8625"/>
                  <a:pt x="12750" y="8625"/>
                </a:cubicBezTo>
                <a:close/>
                <a:moveTo>
                  <a:pt x="12500" y="8656"/>
                </a:moveTo>
                <a:cubicBezTo>
                  <a:pt x="12500" y="8687"/>
                  <a:pt x="12469" y="8718"/>
                  <a:pt x="12469" y="8718"/>
                </a:cubicBezTo>
                <a:cubicBezTo>
                  <a:pt x="12469" y="8750"/>
                  <a:pt x="12438" y="8750"/>
                  <a:pt x="12438" y="8781"/>
                </a:cubicBezTo>
                <a:cubicBezTo>
                  <a:pt x="12469" y="8781"/>
                  <a:pt x="12531" y="8781"/>
                  <a:pt x="12563" y="8781"/>
                </a:cubicBezTo>
                <a:cubicBezTo>
                  <a:pt x="12594" y="8812"/>
                  <a:pt x="12625" y="8843"/>
                  <a:pt x="12625" y="8875"/>
                </a:cubicBezTo>
                <a:cubicBezTo>
                  <a:pt x="12625" y="8875"/>
                  <a:pt x="12563" y="8906"/>
                  <a:pt x="12563" y="8906"/>
                </a:cubicBezTo>
                <a:cubicBezTo>
                  <a:pt x="12500" y="8875"/>
                  <a:pt x="12438" y="8843"/>
                  <a:pt x="12406" y="8812"/>
                </a:cubicBezTo>
                <a:cubicBezTo>
                  <a:pt x="12375" y="8781"/>
                  <a:pt x="12406" y="8781"/>
                  <a:pt x="12438" y="8781"/>
                </a:cubicBezTo>
                <a:cubicBezTo>
                  <a:pt x="12438" y="8781"/>
                  <a:pt x="12438" y="8781"/>
                  <a:pt x="12438" y="8781"/>
                </a:cubicBezTo>
                <a:cubicBezTo>
                  <a:pt x="12438" y="8781"/>
                  <a:pt x="12438" y="8781"/>
                  <a:pt x="12438" y="8781"/>
                </a:cubicBezTo>
                <a:cubicBezTo>
                  <a:pt x="12438" y="8750"/>
                  <a:pt x="12469" y="8750"/>
                  <a:pt x="12469" y="8718"/>
                </a:cubicBezTo>
                <a:cubicBezTo>
                  <a:pt x="12438" y="8718"/>
                  <a:pt x="12438" y="8718"/>
                  <a:pt x="12438" y="8718"/>
                </a:cubicBezTo>
                <a:cubicBezTo>
                  <a:pt x="12438" y="8718"/>
                  <a:pt x="12438" y="8718"/>
                  <a:pt x="12438" y="8718"/>
                </a:cubicBezTo>
                <a:cubicBezTo>
                  <a:pt x="12438" y="8718"/>
                  <a:pt x="12438" y="8718"/>
                  <a:pt x="12469" y="8718"/>
                </a:cubicBezTo>
                <a:cubicBezTo>
                  <a:pt x="12469" y="8718"/>
                  <a:pt x="12500" y="8687"/>
                  <a:pt x="12500" y="8656"/>
                </a:cubicBezTo>
                <a:close/>
                <a:moveTo>
                  <a:pt x="12344" y="9187"/>
                </a:moveTo>
                <a:cubicBezTo>
                  <a:pt x="12344" y="9218"/>
                  <a:pt x="12375" y="9218"/>
                  <a:pt x="12375" y="9218"/>
                </a:cubicBezTo>
                <a:cubicBezTo>
                  <a:pt x="12375" y="9218"/>
                  <a:pt x="12375" y="9218"/>
                  <a:pt x="12375" y="9218"/>
                </a:cubicBezTo>
                <a:cubicBezTo>
                  <a:pt x="12406" y="9218"/>
                  <a:pt x="12406" y="9250"/>
                  <a:pt x="12406" y="9281"/>
                </a:cubicBezTo>
                <a:cubicBezTo>
                  <a:pt x="12406" y="9281"/>
                  <a:pt x="12406" y="9281"/>
                  <a:pt x="12406" y="9281"/>
                </a:cubicBezTo>
                <a:cubicBezTo>
                  <a:pt x="12406" y="9281"/>
                  <a:pt x="12375" y="9281"/>
                  <a:pt x="12375" y="9281"/>
                </a:cubicBezTo>
                <a:cubicBezTo>
                  <a:pt x="12375" y="9312"/>
                  <a:pt x="12375" y="9312"/>
                  <a:pt x="12375" y="9312"/>
                </a:cubicBezTo>
                <a:cubicBezTo>
                  <a:pt x="12344" y="9312"/>
                  <a:pt x="12375" y="9250"/>
                  <a:pt x="12313" y="9281"/>
                </a:cubicBezTo>
                <a:cubicBezTo>
                  <a:pt x="12281" y="9281"/>
                  <a:pt x="12281" y="9250"/>
                  <a:pt x="12281" y="9218"/>
                </a:cubicBezTo>
                <a:cubicBezTo>
                  <a:pt x="12281" y="9187"/>
                  <a:pt x="12313" y="9187"/>
                  <a:pt x="12344" y="9187"/>
                </a:cubicBezTo>
                <a:close/>
                <a:moveTo>
                  <a:pt x="12188" y="8593"/>
                </a:moveTo>
                <a:cubicBezTo>
                  <a:pt x="12188" y="8593"/>
                  <a:pt x="12188" y="8593"/>
                  <a:pt x="12188" y="8593"/>
                </a:cubicBezTo>
                <a:cubicBezTo>
                  <a:pt x="12094" y="8531"/>
                  <a:pt x="12031" y="8468"/>
                  <a:pt x="11938" y="8406"/>
                </a:cubicBezTo>
                <a:cubicBezTo>
                  <a:pt x="12031" y="8468"/>
                  <a:pt x="12094" y="8531"/>
                  <a:pt x="12188" y="8593"/>
                </a:cubicBezTo>
                <a:close/>
                <a:moveTo>
                  <a:pt x="11969" y="9906"/>
                </a:moveTo>
                <a:cubicBezTo>
                  <a:pt x="11969" y="9906"/>
                  <a:pt x="11969" y="9937"/>
                  <a:pt x="11969" y="9937"/>
                </a:cubicBezTo>
                <a:cubicBezTo>
                  <a:pt x="11969" y="9937"/>
                  <a:pt x="11969" y="9906"/>
                  <a:pt x="11969" y="9906"/>
                </a:cubicBezTo>
                <a:cubicBezTo>
                  <a:pt x="11969" y="9906"/>
                  <a:pt x="11969" y="9906"/>
                  <a:pt x="11969" y="9906"/>
                </a:cubicBezTo>
                <a:close/>
                <a:moveTo>
                  <a:pt x="11906" y="9968"/>
                </a:moveTo>
                <a:cubicBezTo>
                  <a:pt x="11906" y="9968"/>
                  <a:pt x="11906" y="9937"/>
                  <a:pt x="11906" y="9937"/>
                </a:cubicBezTo>
                <a:cubicBezTo>
                  <a:pt x="11906" y="9937"/>
                  <a:pt x="11906" y="9937"/>
                  <a:pt x="11906" y="9937"/>
                </a:cubicBezTo>
                <a:cubicBezTo>
                  <a:pt x="11906" y="9937"/>
                  <a:pt x="11906" y="9968"/>
                  <a:pt x="11906" y="9968"/>
                </a:cubicBezTo>
                <a:close/>
                <a:moveTo>
                  <a:pt x="11906" y="9937"/>
                </a:moveTo>
                <a:cubicBezTo>
                  <a:pt x="11906" y="9937"/>
                  <a:pt x="11906" y="9937"/>
                  <a:pt x="11906" y="9937"/>
                </a:cubicBezTo>
                <a:cubicBezTo>
                  <a:pt x="11906" y="9937"/>
                  <a:pt x="11906" y="9937"/>
                  <a:pt x="11906" y="9906"/>
                </a:cubicBezTo>
                <a:cubicBezTo>
                  <a:pt x="11906" y="9937"/>
                  <a:pt x="11906" y="9937"/>
                  <a:pt x="11906" y="9937"/>
                </a:cubicBezTo>
                <a:close/>
                <a:moveTo>
                  <a:pt x="11563" y="8843"/>
                </a:moveTo>
                <a:cubicBezTo>
                  <a:pt x="11563" y="8812"/>
                  <a:pt x="11625" y="8812"/>
                  <a:pt x="11656" y="8812"/>
                </a:cubicBezTo>
                <a:cubicBezTo>
                  <a:pt x="11594" y="8812"/>
                  <a:pt x="11656" y="8968"/>
                  <a:pt x="11563" y="8906"/>
                </a:cubicBezTo>
                <a:cubicBezTo>
                  <a:pt x="11531" y="8906"/>
                  <a:pt x="11531" y="8875"/>
                  <a:pt x="11563" y="8843"/>
                </a:cubicBezTo>
                <a:close/>
                <a:moveTo>
                  <a:pt x="11438" y="10562"/>
                </a:moveTo>
                <a:cubicBezTo>
                  <a:pt x="11531" y="10562"/>
                  <a:pt x="11563" y="10531"/>
                  <a:pt x="11594" y="10468"/>
                </a:cubicBezTo>
                <a:cubicBezTo>
                  <a:pt x="11594" y="10531"/>
                  <a:pt x="11594" y="10593"/>
                  <a:pt x="11688" y="10593"/>
                </a:cubicBezTo>
                <a:cubicBezTo>
                  <a:pt x="11719" y="10593"/>
                  <a:pt x="11719" y="10656"/>
                  <a:pt x="11781" y="10656"/>
                </a:cubicBezTo>
                <a:cubicBezTo>
                  <a:pt x="11625" y="10749"/>
                  <a:pt x="11469" y="10687"/>
                  <a:pt x="11438" y="10562"/>
                </a:cubicBezTo>
                <a:close/>
                <a:moveTo>
                  <a:pt x="11844" y="10343"/>
                </a:moveTo>
                <a:cubicBezTo>
                  <a:pt x="11844" y="10343"/>
                  <a:pt x="11844" y="10343"/>
                  <a:pt x="11844" y="10343"/>
                </a:cubicBezTo>
                <a:cubicBezTo>
                  <a:pt x="11844" y="10343"/>
                  <a:pt x="11844" y="10343"/>
                  <a:pt x="11813" y="10312"/>
                </a:cubicBezTo>
                <a:cubicBezTo>
                  <a:pt x="11844" y="10343"/>
                  <a:pt x="11844" y="10343"/>
                  <a:pt x="11844" y="10343"/>
                </a:cubicBezTo>
                <a:cubicBezTo>
                  <a:pt x="11844" y="10343"/>
                  <a:pt x="11844" y="10343"/>
                  <a:pt x="11875" y="10343"/>
                </a:cubicBezTo>
                <a:cubicBezTo>
                  <a:pt x="11844" y="10343"/>
                  <a:pt x="11844" y="10343"/>
                  <a:pt x="11844" y="10343"/>
                </a:cubicBezTo>
                <a:close/>
                <a:moveTo>
                  <a:pt x="11906" y="10281"/>
                </a:moveTo>
                <a:cubicBezTo>
                  <a:pt x="11906" y="10281"/>
                  <a:pt x="11906" y="10312"/>
                  <a:pt x="11906" y="10312"/>
                </a:cubicBezTo>
                <a:cubicBezTo>
                  <a:pt x="11906" y="10312"/>
                  <a:pt x="11906" y="10281"/>
                  <a:pt x="11906" y="10281"/>
                </a:cubicBezTo>
                <a:cubicBezTo>
                  <a:pt x="11906" y="10156"/>
                  <a:pt x="11844" y="10156"/>
                  <a:pt x="11781" y="10187"/>
                </a:cubicBezTo>
                <a:cubicBezTo>
                  <a:pt x="11781" y="10125"/>
                  <a:pt x="11781" y="10093"/>
                  <a:pt x="11813" y="10062"/>
                </a:cubicBezTo>
                <a:cubicBezTo>
                  <a:pt x="11844" y="10062"/>
                  <a:pt x="11844" y="10062"/>
                  <a:pt x="11875" y="10062"/>
                </a:cubicBezTo>
                <a:cubicBezTo>
                  <a:pt x="11875" y="10125"/>
                  <a:pt x="11906" y="10125"/>
                  <a:pt x="11969" y="10093"/>
                </a:cubicBezTo>
                <a:cubicBezTo>
                  <a:pt x="11969" y="10125"/>
                  <a:pt x="11969" y="10125"/>
                  <a:pt x="11969" y="10125"/>
                </a:cubicBezTo>
                <a:cubicBezTo>
                  <a:pt x="11969" y="10187"/>
                  <a:pt x="11938" y="10218"/>
                  <a:pt x="11906" y="10281"/>
                </a:cubicBezTo>
                <a:close/>
                <a:moveTo>
                  <a:pt x="12000" y="9875"/>
                </a:moveTo>
                <a:cubicBezTo>
                  <a:pt x="12031" y="9875"/>
                  <a:pt x="12031" y="9843"/>
                  <a:pt x="12031" y="9843"/>
                </a:cubicBezTo>
                <a:cubicBezTo>
                  <a:pt x="12031" y="9843"/>
                  <a:pt x="12031" y="9843"/>
                  <a:pt x="12031" y="9843"/>
                </a:cubicBezTo>
                <a:cubicBezTo>
                  <a:pt x="12031" y="9843"/>
                  <a:pt x="12031" y="9875"/>
                  <a:pt x="12000" y="9875"/>
                </a:cubicBezTo>
                <a:close/>
                <a:moveTo>
                  <a:pt x="12031" y="9843"/>
                </a:moveTo>
                <a:cubicBezTo>
                  <a:pt x="12031" y="9843"/>
                  <a:pt x="12031" y="9843"/>
                  <a:pt x="12031" y="9843"/>
                </a:cubicBezTo>
                <a:cubicBezTo>
                  <a:pt x="12031" y="9843"/>
                  <a:pt x="12031" y="9843"/>
                  <a:pt x="12031" y="9843"/>
                </a:cubicBezTo>
                <a:cubicBezTo>
                  <a:pt x="12031" y="9843"/>
                  <a:pt x="12031" y="9843"/>
                  <a:pt x="12031" y="9843"/>
                </a:cubicBezTo>
                <a:close/>
                <a:moveTo>
                  <a:pt x="12281" y="9687"/>
                </a:moveTo>
                <a:cubicBezTo>
                  <a:pt x="12281" y="9687"/>
                  <a:pt x="12250" y="9687"/>
                  <a:pt x="12250" y="9718"/>
                </a:cubicBezTo>
                <a:cubicBezTo>
                  <a:pt x="12250" y="9718"/>
                  <a:pt x="12250" y="9718"/>
                  <a:pt x="12250" y="9718"/>
                </a:cubicBezTo>
                <a:cubicBezTo>
                  <a:pt x="12188" y="9718"/>
                  <a:pt x="12094" y="9718"/>
                  <a:pt x="12000" y="9656"/>
                </a:cubicBezTo>
                <a:cubicBezTo>
                  <a:pt x="11969" y="9625"/>
                  <a:pt x="12000" y="9625"/>
                  <a:pt x="12031" y="9593"/>
                </a:cubicBezTo>
                <a:cubicBezTo>
                  <a:pt x="12063" y="9593"/>
                  <a:pt x="12063" y="9593"/>
                  <a:pt x="12094" y="9562"/>
                </a:cubicBezTo>
                <a:cubicBezTo>
                  <a:pt x="12125" y="9625"/>
                  <a:pt x="12219" y="9625"/>
                  <a:pt x="12281" y="9687"/>
                </a:cubicBezTo>
                <a:cubicBezTo>
                  <a:pt x="12375" y="9687"/>
                  <a:pt x="12469" y="9687"/>
                  <a:pt x="12563" y="9687"/>
                </a:cubicBezTo>
                <a:cubicBezTo>
                  <a:pt x="12469" y="9687"/>
                  <a:pt x="12375" y="9687"/>
                  <a:pt x="12281" y="9687"/>
                </a:cubicBezTo>
                <a:close/>
                <a:moveTo>
                  <a:pt x="14906" y="7281"/>
                </a:moveTo>
                <a:cubicBezTo>
                  <a:pt x="14938" y="7281"/>
                  <a:pt x="14844" y="7281"/>
                  <a:pt x="14844" y="7312"/>
                </a:cubicBezTo>
                <a:cubicBezTo>
                  <a:pt x="14875" y="7250"/>
                  <a:pt x="14875" y="7218"/>
                  <a:pt x="14875" y="7156"/>
                </a:cubicBezTo>
                <a:cubicBezTo>
                  <a:pt x="14875" y="7156"/>
                  <a:pt x="14906" y="7156"/>
                  <a:pt x="14938" y="7156"/>
                </a:cubicBezTo>
                <a:cubicBezTo>
                  <a:pt x="14938" y="7187"/>
                  <a:pt x="14875" y="7218"/>
                  <a:pt x="14906" y="7281"/>
                </a:cubicBezTo>
                <a:close/>
                <a:moveTo>
                  <a:pt x="14875" y="7156"/>
                </a:moveTo>
                <a:cubicBezTo>
                  <a:pt x="14875" y="7156"/>
                  <a:pt x="14875" y="7156"/>
                  <a:pt x="14875" y="7156"/>
                </a:cubicBezTo>
                <a:cubicBezTo>
                  <a:pt x="14844" y="7156"/>
                  <a:pt x="14844" y="7187"/>
                  <a:pt x="14813" y="7218"/>
                </a:cubicBezTo>
                <a:cubicBezTo>
                  <a:pt x="14781" y="7156"/>
                  <a:pt x="14813" y="7093"/>
                  <a:pt x="14719" y="7093"/>
                </a:cubicBezTo>
                <a:cubicBezTo>
                  <a:pt x="14688" y="7093"/>
                  <a:pt x="14750" y="7031"/>
                  <a:pt x="14750" y="7000"/>
                </a:cubicBezTo>
                <a:cubicBezTo>
                  <a:pt x="14750" y="6968"/>
                  <a:pt x="14781" y="7000"/>
                  <a:pt x="14781" y="7000"/>
                </a:cubicBezTo>
                <a:cubicBezTo>
                  <a:pt x="14875" y="7031"/>
                  <a:pt x="14906" y="7062"/>
                  <a:pt x="14875" y="7156"/>
                </a:cubicBezTo>
                <a:close/>
                <a:moveTo>
                  <a:pt x="14813" y="9156"/>
                </a:moveTo>
                <a:cubicBezTo>
                  <a:pt x="14813" y="9156"/>
                  <a:pt x="14813" y="9156"/>
                  <a:pt x="14813" y="9156"/>
                </a:cubicBezTo>
                <a:cubicBezTo>
                  <a:pt x="14813" y="9156"/>
                  <a:pt x="14813" y="9156"/>
                  <a:pt x="14813" y="9156"/>
                </a:cubicBezTo>
                <a:cubicBezTo>
                  <a:pt x="14813" y="9156"/>
                  <a:pt x="14813" y="9156"/>
                  <a:pt x="14813" y="9156"/>
                </a:cubicBezTo>
                <a:close/>
                <a:moveTo>
                  <a:pt x="14938" y="11937"/>
                </a:moveTo>
                <a:cubicBezTo>
                  <a:pt x="14938" y="11937"/>
                  <a:pt x="14938" y="11937"/>
                  <a:pt x="14938" y="11937"/>
                </a:cubicBezTo>
                <a:cubicBezTo>
                  <a:pt x="14938" y="11937"/>
                  <a:pt x="14938" y="11937"/>
                  <a:pt x="14938" y="11937"/>
                </a:cubicBezTo>
                <a:cubicBezTo>
                  <a:pt x="14906" y="11749"/>
                  <a:pt x="14969" y="11656"/>
                  <a:pt x="15094" y="11687"/>
                </a:cubicBezTo>
                <a:cubicBezTo>
                  <a:pt x="15125" y="11687"/>
                  <a:pt x="15156" y="11687"/>
                  <a:pt x="15156" y="11718"/>
                </a:cubicBezTo>
                <a:cubicBezTo>
                  <a:pt x="15156" y="11749"/>
                  <a:pt x="15125" y="11781"/>
                  <a:pt x="15094" y="11781"/>
                </a:cubicBezTo>
                <a:cubicBezTo>
                  <a:pt x="15031" y="11749"/>
                  <a:pt x="15000" y="11812"/>
                  <a:pt x="15000" y="11874"/>
                </a:cubicBezTo>
                <a:cubicBezTo>
                  <a:pt x="15000" y="11937"/>
                  <a:pt x="14969" y="11937"/>
                  <a:pt x="14938" y="11937"/>
                </a:cubicBezTo>
                <a:close/>
                <a:moveTo>
                  <a:pt x="15000" y="14218"/>
                </a:moveTo>
                <a:cubicBezTo>
                  <a:pt x="15000" y="14218"/>
                  <a:pt x="15000" y="14218"/>
                  <a:pt x="15000" y="14218"/>
                </a:cubicBezTo>
                <a:cubicBezTo>
                  <a:pt x="15031" y="14218"/>
                  <a:pt x="15031" y="14218"/>
                  <a:pt x="15063" y="14218"/>
                </a:cubicBezTo>
                <a:cubicBezTo>
                  <a:pt x="15031" y="14218"/>
                  <a:pt x="15031" y="14218"/>
                  <a:pt x="15000" y="14218"/>
                </a:cubicBezTo>
                <a:close/>
                <a:moveTo>
                  <a:pt x="15250" y="13062"/>
                </a:moveTo>
                <a:cubicBezTo>
                  <a:pt x="15156" y="13093"/>
                  <a:pt x="15094" y="13093"/>
                  <a:pt x="15000" y="13031"/>
                </a:cubicBezTo>
                <a:cubicBezTo>
                  <a:pt x="15094" y="12999"/>
                  <a:pt x="15156" y="13062"/>
                  <a:pt x="15250" y="13062"/>
                </a:cubicBezTo>
                <a:cubicBezTo>
                  <a:pt x="15250" y="13062"/>
                  <a:pt x="15281" y="13031"/>
                  <a:pt x="15281" y="13031"/>
                </a:cubicBezTo>
                <a:cubicBezTo>
                  <a:pt x="15281" y="13031"/>
                  <a:pt x="15250" y="13062"/>
                  <a:pt x="15250" y="13062"/>
                </a:cubicBezTo>
                <a:close/>
                <a:moveTo>
                  <a:pt x="15281" y="12187"/>
                </a:moveTo>
                <a:cubicBezTo>
                  <a:pt x="15188" y="12156"/>
                  <a:pt x="15063" y="12156"/>
                  <a:pt x="15000" y="12093"/>
                </a:cubicBezTo>
                <a:cubicBezTo>
                  <a:pt x="15063" y="12062"/>
                  <a:pt x="15156" y="12062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1999"/>
                  <a:pt x="15219" y="11999"/>
                  <a:pt x="15219" y="11968"/>
                </a:cubicBezTo>
                <a:cubicBezTo>
                  <a:pt x="15219" y="11937"/>
                  <a:pt x="15219" y="11906"/>
                  <a:pt x="15250" y="11906"/>
                </a:cubicBezTo>
                <a:cubicBezTo>
                  <a:pt x="15313" y="11906"/>
                  <a:pt x="15313" y="11937"/>
                  <a:pt x="15313" y="11968"/>
                </a:cubicBezTo>
                <a:cubicBezTo>
                  <a:pt x="15313" y="11999"/>
                  <a:pt x="15313" y="12062"/>
                  <a:pt x="15313" y="12093"/>
                </a:cubicBezTo>
                <a:cubicBezTo>
                  <a:pt x="15281" y="12093"/>
                  <a:pt x="15281" y="12156"/>
                  <a:pt x="15281" y="12187"/>
                </a:cubicBezTo>
                <a:close/>
                <a:moveTo>
                  <a:pt x="15281" y="12999"/>
                </a:moveTo>
                <a:cubicBezTo>
                  <a:pt x="15281" y="12749"/>
                  <a:pt x="15281" y="12499"/>
                  <a:pt x="15281" y="12281"/>
                </a:cubicBezTo>
                <a:cubicBezTo>
                  <a:pt x="15281" y="12249"/>
                  <a:pt x="15313" y="12249"/>
                  <a:pt x="15313" y="12249"/>
                </a:cubicBezTo>
                <a:cubicBezTo>
                  <a:pt x="15313" y="12249"/>
                  <a:pt x="15313" y="12249"/>
                  <a:pt x="15313" y="12281"/>
                </a:cubicBezTo>
                <a:cubicBezTo>
                  <a:pt x="15313" y="12468"/>
                  <a:pt x="15313" y="12687"/>
                  <a:pt x="15313" y="12874"/>
                </a:cubicBezTo>
                <a:cubicBezTo>
                  <a:pt x="15313" y="12937"/>
                  <a:pt x="15313" y="12968"/>
                  <a:pt x="15281" y="12999"/>
                </a:cubicBezTo>
                <a:close/>
                <a:moveTo>
                  <a:pt x="15813" y="9593"/>
                </a:moveTo>
                <a:cubicBezTo>
                  <a:pt x="15781" y="9593"/>
                  <a:pt x="15781" y="9593"/>
                  <a:pt x="15781" y="9593"/>
                </a:cubicBezTo>
                <a:cubicBezTo>
                  <a:pt x="15781" y="9593"/>
                  <a:pt x="15781" y="9593"/>
                  <a:pt x="15813" y="9593"/>
                </a:cubicBezTo>
                <a:cubicBezTo>
                  <a:pt x="15813" y="9593"/>
                  <a:pt x="15813" y="9593"/>
                  <a:pt x="15844" y="9593"/>
                </a:cubicBezTo>
                <a:cubicBezTo>
                  <a:pt x="15813" y="9593"/>
                  <a:pt x="15813" y="9593"/>
                  <a:pt x="15813" y="9593"/>
                </a:cubicBezTo>
                <a:close/>
                <a:moveTo>
                  <a:pt x="15813" y="9343"/>
                </a:moveTo>
                <a:cubicBezTo>
                  <a:pt x="15813" y="9343"/>
                  <a:pt x="15813" y="9343"/>
                  <a:pt x="15813" y="9343"/>
                </a:cubicBezTo>
                <a:cubicBezTo>
                  <a:pt x="15813" y="9343"/>
                  <a:pt x="15813" y="9343"/>
                  <a:pt x="15813" y="9343"/>
                </a:cubicBezTo>
                <a:cubicBezTo>
                  <a:pt x="15813" y="9343"/>
                  <a:pt x="15844" y="9343"/>
                  <a:pt x="15844" y="9343"/>
                </a:cubicBezTo>
                <a:cubicBezTo>
                  <a:pt x="15813" y="9343"/>
                  <a:pt x="15813" y="9343"/>
                  <a:pt x="15813" y="9343"/>
                </a:cubicBezTo>
                <a:close/>
                <a:moveTo>
                  <a:pt x="16188" y="9500"/>
                </a:moveTo>
                <a:cubicBezTo>
                  <a:pt x="16156" y="9500"/>
                  <a:pt x="16125" y="9500"/>
                  <a:pt x="16125" y="9500"/>
                </a:cubicBezTo>
                <a:cubicBezTo>
                  <a:pt x="16125" y="9468"/>
                  <a:pt x="16156" y="9468"/>
                  <a:pt x="16188" y="9500"/>
                </a:cubicBezTo>
                <a:close/>
                <a:moveTo>
                  <a:pt x="15969" y="9375"/>
                </a:moveTo>
                <a:cubicBezTo>
                  <a:pt x="15969" y="9375"/>
                  <a:pt x="16000" y="9375"/>
                  <a:pt x="16031" y="9375"/>
                </a:cubicBezTo>
                <a:cubicBezTo>
                  <a:pt x="16031" y="9375"/>
                  <a:pt x="16063" y="9375"/>
                  <a:pt x="16063" y="9375"/>
                </a:cubicBezTo>
                <a:cubicBezTo>
                  <a:pt x="16063" y="9375"/>
                  <a:pt x="16031" y="9375"/>
                  <a:pt x="16031" y="9375"/>
                </a:cubicBezTo>
                <a:cubicBezTo>
                  <a:pt x="16000" y="9375"/>
                  <a:pt x="15969" y="9406"/>
                  <a:pt x="15969" y="9437"/>
                </a:cubicBezTo>
                <a:cubicBezTo>
                  <a:pt x="16000" y="9468"/>
                  <a:pt x="16063" y="9531"/>
                  <a:pt x="16125" y="9500"/>
                </a:cubicBezTo>
                <a:cubicBezTo>
                  <a:pt x="16125" y="9531"/>
                  <a:pt x="16094" y="9562"/>
                  <a:pt x="16125" y="9562"/>
                </a:cubicBezTo>
                <a:cubicBezTo>
                  <a:pt x="16063" y="9531"/>
                  <a:pt x="16031" y="9562"/>
                  <a:pt x="15969" y="9562"/>
                </a:cubicBezTo>
                <a:cubicBezTo>
                  <a:pt x="15938" y="9593"/>
                  <a:pt x="15906" y="9593"/>
                  <a:pt x="15875" y="9562"/>
                </a:cubicBezTo>
                <a:cubicBezTo>
                  <a:pt x="15844" y="9531"/>
                  <a:pt x="15844" y="9468"/>
                  <a:pt x="15844" y="9437"/>
                </a:cubicBezTo>
                <a:cubicBezTo>
                  <a:pt x="15844" y="9406"/>
                  <a:pt x="15844" y="9406"/>
                  <a:pt x="15875" y="9406"/>
                </a:cubicBezTo>
                <a:cubicBezTo>
                  <a:pt x="15906" y="9406"/>
                  <a:pt x="15938" y="9406"/>
                  <a:pt x="15969" y="9375"/>
                </a:cubicBezTo>
                <a:cubicBezTo>
                  <a:pt x="15969" y="9375"/>
                  <a:pt x="15969" y="9343"/>
                  <a:pt x="15969" y="9343"/>
                </a:cubicBezTo>
                <a:cubicBezTo>
                  <a:pt x="15938" y="9343"/>
                  <a:pt x="15906" y="9343"/>
                  <a:pt x="15906" y="9312"/>
                </a:cubicBezTo>
                <a:cubicBezTo>
                  <a:pt x="15906" y="9343"/>
                  <a:pt x="15938" y="9312"/>
                  <a:pt x="15969" y="9343"/>
                </a:cubicBezTo>
                <a:cubicBezTo>
                  <a:pt x="15969" y="9343"/>
                  <a:pt x="15969" y="9375"/>
                  <a:pt x="15969" y="9375"/>
                </a:cubicBezTo>
                <a:close/>
                <a:moveTo>
                  <a:pt x="15781" y="9218"/>
                </a:moveTo>
                <a:cubicBezTo>
                  <a:pt x="15781" y="9218"/>
                  <a:pt x="15781" y="9218"/>
                  <a:pt x="15813" y="9218"/>
                </a:cubicBezTo>
                <a:cubicBezTo>
                  <a:pt x="15813" y="9218"/>
                  <a:pt x="15844" y="9218"/>
                  <a:pt x="15844" y="9187"/>
                </a:cubicBezTo>
                <a:cubicBezTo>
                  <a:pt x="15844" y="9218"/>
                  <a:pt x="15813" y="9218"/>
                  <a:pt x="15813" y="9218"/>
                </a:cubicBezTo>
                <a:cubicBezTo>
                  <a:pt x="15813" y="9250"/>
                  <a:pt x="15813" y="9250"/>
                  <a:pt x="15813" y="9250"/>
                </a:cubicBezTo>
                <a:cubicBezTo>
                  <a:pt x="15813" y="9281"/>
                  <a:pt x="15781" y="9281"/>
                  <a:pt x="15781" y="9250"/>
                </a:cubicBezTo>
                <a:cubicBezTo>
                  <a:pt x="15750" y="9250"/>
                  <a:pt x="15750" y="9218"/>
                  <a:pt x="15781" y="9218"/>
                </a:cubicBezTo>
                <a:close/>
                <a:moveTo>
                  <a:pt x="15750" y="9531"/>
                </a:moveTo>
                <a:cubicBezTo>
                  <a:pt x="15781" y="9562"/>
                  <a:pt x="15750" y="9562"/>
                  <a:pt x="15750" y="9562"/>
                </a:cubicBezTo>
                <a:cubicBezTo>
                  <a:pt x="15719" y="9562"/>
                  <a:pt x="15688" y="9562"/>
                  <a:pt x="15656" y="9562"/>
                </a:cubicBezTo>
                <a:cubicBezTo>
                  <a:pt x="15688" y="9468"/>
                  <a:pt x="15719" y="9531"/>
                  <a:pt x="15750" y="9531"/>
                </a:cubicBezTo>
                <a:close/>
                <a:moveTo>
                  <a:pt x="15750" y="9437"/>
                </a:moveTo>
                <a:cubicBezTo>
                  <a:pt x="15750" y="9468"/>
                  <a:pt x="15719" y="9468"/>
                  <a:pt x="15719" y="9468"/>
                </a:cubicBezTo>
                <a:cubicBezTo>
                  <a:pt x="15719" y="9468"/>
                  <a:pt x="15719" y="9437"/>
                  <a:pt x="15719" y="9437"/>
                </a:cubicBezTo>
                <a:cubicBezTo>
                  <a:pt x="15719" y="9437"/>
                  <a:pt x="15719" y="9406"/>
                  <a:pt x="15750" y="9437"/>
                </a:cubicBezTo>
                <a:close/>
                <a:moveTo>
                  <a:pt x="15719" y="9093"/>
                </a:moveTo>
                <a:cubicBezTo>
                  <a:pt x="15719" y="9093"/>
                  <a:pt x="15719" y="9125"/>
                  <a:pt x="15719" y="9125"/>
                </a:cubicBezTo>
                <a:cubicBezTo>
                  <a:pt x="15719" y="9125"/>
                  <a:pt x="15688" y="9125"/>
                  <a:pt x="15688" y="9125"/>
                </a:cubicBezTo>
                <a:cubicBezTo>
                  <a:pt x="15688" y="9093"/>
                  <a:pt x="15688" y="9093"/>
                  <a:pt x="15719" y="9093"/>
                </a:cubicBezTo>
                <a:close/>
                <a:moveTo>
                  <a:pt x="15688" y="9406"/>
                </a:moveTo>
                <a:cubicBezTo>
                  <a:pt x="15688" y="9406"/>
                  <a:pt x="15688" y="9406"/>
                  <a:pt x="15688" y="9406"/>
                </a:cubicBezTo>
                <a:cubicBezTo>
                  <a:pt x="15625" y="9375"/>
                  <a:pt x="15563" y="9437"/>
                  <a:pt x="15531" y="9468"/>
                </a:cubicBezTo>
                <a:cubicBezTo>
                  <a:pt x="15531" y="9468"/>
                  <a:pt x="15531" y="9500"/>
                  <a:pt x="15500" y="9500"/>
                </a:cubicBezTo>
                <a:cubicBezTo>
                  <a:pt x="15438" y="9500"/>
                  <a:pt x="15406" y="9437"/>
                  <a:pt x="15344" y="9437"/>
                </a:cubicBezTo>
                <a:cubicBezTo>
                  <a:pt x="15313" y="9406"/>
                  <a:pt x="15313" y="9406"/>
                  <a:pt x="15344" y="9406"/>
                </a:cubicBezTo>
                <a:cubicBezTo>
                  <a:pt x="15344" y="9406"/>
                  <a:pt x="15344" y="9406"/>
                  <a:pt x="15344" y="9406"/>
                </a:cubicBezTo>
                <a:cubicBezTo>
                  <a:pt x="15375" y="9437"/>
                  <a:pt x="15406" y="9437"/>
                  <a:pt x="15438" y="9437"/>
                </a:cubicBezTo>
                <a:cubicBezTo>
                  <a:pt x="15500" y="9468"/>
                  <a:pt x="15500" y="9437"/>
                  <a:pt x="15500" y="9375"/>
                </a:cubicBezTo>
                <a:cubicBezTo>
                  <a:pt x="15531" y="9375"/>
                  <a:pt x="15563" y="9406"/>
                  <a:pt x="15594" y="9375"/>
                </a:cubicBezTo>
                <a:cubicBezTo>
                  <a:pt x="15594" y="9375"/>
                  <a:pt x="15594" y="9343"/>
                  <a:pt x="15594" y="9343"/>
                </a:cubicBezTo>
                <a:cubicBezTo>
                  <a:pt x="15594" y="9343"/>
                  <a:pt x="15625" y="9343"/>
                  <a:pt x="15656" y="9343"/>
                </a:cubicBezTo>
                <a:cubicBezTo>
                  <a:pt x="15688" y="9375"/>
                  <a:pt x="15688" y="9406"/>
                  <a:pt x="15688" y="9406"/>
                </a:cubicBezTo>
                <a:close/>
                <a:moveTo>
                  <a:pt x="15500" y="9375"/>
                </a:moveTo>
                <a:cubicBezTo>
                  <a:pt x="15438" y="9375"/>
                  <a:pt x="15438" y="9343"/>
                  <a:pt x="15438" y="9312"/>
                </a:cubicBezTo>
                <a:cubicBezTo>
                  <a:pt x="15438" y="9343"/>
                  <a:pt x="15469" y="9343"/>
                  <a:pt x="15469" y="9343"/>
                </a:cubicBezTo>
                <a:cubicBezTo>
                  <a:pt x="15469" y="9312"/>
                  <a:pt x="15500" y="9312"/>
                  <a:pt x="15531" y="9312"/>
                </a:cubicBezTo>
                <a:cubicBezTo>
                  <a:pt x="15500" y="9312"/>
                  <a:pt x="15469" y="9312"/>
                  <a:pt x="15469" y="9343"/>
                </a:cubicBezTo>
                <a:cubicBezTo>
                  <a:pt x="15469" y="9343"/>
                  <a:pt x="15500" y="9375"/>
                  <a:pt x="15500" y="9375"/>
                </a:cubicBezTo>
                <a:close/>
                <a:moveTo>
                  <a:pt x="15438" y="8812"/>
                </a:moveTo>
                <a:cubicBezTo>
                  <a:pt x="15438" y="8812"/>
                  <a:pt x="15438" y="8781"/>
                  <a:pt x="15469" y="8781"/>
                </a:cubicBezTo>
                <a:cubicBezTo>
                  <a:pt x="15438" y="8750"/>
                  <a:pt x="15438" y="8750"/>
                  <a:pt x="15406" y="8750"/>
                </a:cubicBezTo>
                <a:cubicBezTo>
                  <a:pt x="15438" y="8750"/>
                  <a:pt x="15438" y="8750"/>
                  <a:pt x="15469" y="8781"/>
                </a:cubicBezTo>
                <a:cubicBezTo>
                  <a:pt x="15531" y="8812"/>
                  <a:pt x="15594" y="8812"/>
                  <a:pt x="15656" y="8843"/>
                </a:cubicBezTo>
                <a:cubicBezTo>
                  <a:pt x="15656" y="8843"/>
                  <a:pt x="15656" y="8843"/>
                  <a:pt x="15656" y="8843"/>
                </a:cubicBezTo>
                <a:cubicBezTo>
                  <a:pt x="15594" y="8906"/>
                  <a:pt x="15594" y="8937"/>
                  <a:pt x="15656" y="8968"/>
                </a:cubicBezTo>
                <a:cubicBezTo>
                  <a:pt x="15656" y="9000"/>
                  <a:pt x="15656" y="9000"/>
                  <a:pt x="15688" y="9031"/>
                </a:cubicBezTo>
                <a:cubicBezTo>
                  <a:pt x="15656" y="9062"/>
                  <a:pt x="15719" y="9125"/>
                  <a:pt x="15625" y="9125"/>
                </a:cubicBezTo>
                <a:cubicBezTo>
                  <a:pt x="15594" y="9062"/>
                  <a:pt x="15563" y="9000"/>
                  <a:pt x="15531" y="8906"/>
                </a:cubicBezTo>
                <a:cubicBezTo>
                  <a:pt x="15500" y="8875"/>
                  <a:pt x="15469" y="8843"/>
                  <a:pt x="15438" y="8812"/>
                </a:cubicBezTo>
                <a:cubicBezTo>
                  <a:pt x="15406" y="8812"/>
                  <a:pt x="15375" y="8843"/>
                  <a:pt x="15344" y="8843"/>
                </a:cubicBezTo>
                <a:cubicBezTo>
                  <a:pt x="15375" y="8843"/>
                  <a:pt x="15406" y="8812"/>
                  <a:pt x="15438" y="8812"/>
                </a:cubicBezTo>
                <a:close/>
                <a:moveTo>
                  <a:pt x="15375" y="9343"/>
                </a:moveTo>
                <a:cubicBezTo>
                  <a:pt x="15375" y="9343"/>
                  <a:pt x="15375" y="9343"/>
                  <a:pt x="15375" y="9343"/>
                </a:cubicBezTo>
                <a:cubicBezTo>
                  <a:pt x="15375" y="9343"/>
                  <a:pt x="15375" y="9343"/>
                  <a:pt x="15375" y="9343"/>
                </a:cubicBezTo>
                <a:cubicBezTo>
                  <a:pt x="15375" y="9343"/>
                  <a:pt x="15344" y="9343"/>
                  <a:pt x="15344" y="9312"/>
                </a:cubicBezTo>
                <a:cubicBezTo>
                  <a:pt x="15344" y="9312"/>
                  <a:pt x="15344" y="9281"/>
                  <a:pt x="15344" y="9281"/>
                </a:cubicBezTo>
                <a:cubicBezTo>
                  <a:pt x="15313" y="9281"/>
                  <a:pt x="15313" y="9281"/>
                  <a:pt x="15281" y="9281"/>
                </a:cubicBezTo>
                <a:cubicBezTo>
                  <a:pt x="15313" y="9281"/>
                  <a:pt x="15313" y="9281"/>
                  <a:pt x="15344" y="9281"/>
                </a:cubicBezTo>
                <a:cubicBezTo>
                  <a:pt x="15375" y="9281"/>
                  <a:pt x="15406" y="9281"/>
                  <a:pt x="15375" y="9343"/>
                </a:cubicBezTo>
                <a:close/>
                <a:moveTo>
                  <a:pt x="15313" y="7093"/>
                </a:moveTo>
                <a:cubicBezTo>
                  <a:pt x="15281" y="7093"/>
                  <a:pt x="15281" y="7093"/>
                  <a:pt x="15281" y="7062"/>
                </a:cubicBezTo>
                <a:cubicBezTo>
                  <a:pt x="15281" y="7031"/>
                  <a:pt x="15281" y="7031"/>
                  <a:pt x="15313" y="7031"/>
                </a:cubicBezTo>
                <a:cubicBezTo>
                  <a:pt x="15344" y="7031"/>
                  <a:pt x="15344" y="7031"/>
                  <a:pt x="15344" y="7062"/>
                </a:cubicBezTo>
                <a:cubicBezTo>
                  <a:pt x="15344" y="7062"/>
                  <a:pt x="15344" y="7093"/>
                  <a:pt x="15313" y="7093"/>
                </a:cubicBezTo>
                <a:close/>
                <a:moveTo>
                  <a:pt x="15094" y="7156"/>
                </a:moveTo>
                <a:cubicBezTo>
                  <a:pt x="15125" y="7156"/>
                  <a:pt x="15125" y="7125"/>
                  <a:pt x="15156" y="7125"/>
                </a:cubicBezTo>
                <a:cubicBezTo>
                  <a:pt x="15156" y="7156"/>
                  <a:pt x="15188" y="7156"/>
                  <a:pt x="15156" y="7187"/>
                </a:cubicBezTo>
                <a:cubicBezTo>
                  <a:pt x="15125" y="7218"/>
                  <a:pt x="15219" y="7281"/>
                  <a:pt x="15156" y="7343"/>
                </a:cubicBezTo>
                <a:cubicBezTo>
                  <a:pt x="15125" y="7343"/>
                  <a:pt x="15125" y="7343"/>
                  <a:pt x="15094" y="7343"/>
                </a:cubicBezTo>
                <a:cubicBezTo>
                  <a:pt x="15125" y="7281"/>
                  <a:pt x="15094" y="7218"/>
                  <a:pt x="15094" y="7156"/>
                </a:cubicBezTo>
                <a:close/>
                <a:moveTo>
                  <a:pt x="15406" y="6281"/>
                </a:moveTo>
                <a:cubicBezTo>
                  <a:pt x="15375" y="6312"/>
                  <a:pt x="15375" y="6281"/>
                  <a:pt x="15375" y="6281"/>
                </a:cubicBezTo>
                <a:cubicBezTo>
                  <a:pt x="15375" y="6250"/>
                  <a:pt x="15375" y="6250"/>
                  <a:pt x="15375" y="6250"/>
                </a:cubicBezTo>
                <a:cubicBezTo>
                  <a:pt x="15406" y="6218"/>
                  <a:pt x="15406" y="6250"/>
                  <a:pt x="15406" y="6281"/>
                </a:cubicBezTo>
                <a:cubicBezTo>
                  <a:pt x="15406" y="6281"/>
                  <a:pt x="15406" y="6281"/>
                  <a:pt x="15406" y="6281"/>
                </a:cubicBezTo>
                <a:close/>
                <a:moveTo>
                  <a:pt x="15125" y="6000"/>
                </a:moveTo>
                <a:cubicBezTo>
                  <a:pt x="15219" y="6031"/>
                  <a:pt x="15219" y="6000"/>
                  <a:pt x="15250" y="5937"/>
                </a:cubicBezTo>
                <a:cubicBezTo>
                  <a:pt x="15250" y="5937"/>
                  <a:pt x="15281" y="5937"/>
                  <a:pt x="15281" y="5937"/>
                </a:cubicBezTo>
                <a:cubicBezTo>
                  <a:pt x="15344" y="5937"/>
                  <a:pt x="15406" y="5875"/>
                  <a:pt x="15469" y="5937"/>
                </a:cubicBezTo>
                <a:cubicBezTo>
                  <a:pt x="15469" y="6000"/>
                  <a:pt x="15438" y="6031"/>
                  <a:pt x="15438" y="6093"/>
                </a:cubicBezTo>
                <a:cubicBezTo>
                  <a:pt x="15438" y="6125"/>
                  <a:pt x="15406" y="6156"/>
                  <a:pt x="15375" y="6125"/>
                </a:cubicBezTo>
                <a:cubicBezTo>
                  <a:pt x="15344" y="6125"/>
                  <a:pt x="15344" y="6125"/>
                  <a:pt x="15313" y="6125"/>
                </a:cubicBezTo>
                <a:cubicBezTo>
                  <a:pt x="15313" y="6156"/>
                  <a:pt x="15313" y="6156"/>
                  <a:pt x="15344" y="6187"/>
                </a:cubicBezTo>
                <a:cubicBezTo>
                  <a:pt x="15375" y="6250"/>
                  <a:pt x="15375" y="6250"/>
                  <a:pt x="15281" y="6250"/>
                </a:cubicBezTo>
                <a:cubicBezTo>
                  <a:pt x="15219" y="6218"/>
                  <a:pt x="15125" y="6250"/>
                  <a:pt x="15063" y="6156"/>
                </a:cubicBezTo>
                <a:cubicBezTo>
                  <a:pt x="15000" y="6093"/>
                  <a:pt x="15063" y="6000"/>
                  <a:pt x="15125" y="6000"/>
                </a:cubicBezTo>
                <a:close/>
                <a:moveTo>
                  <a:pt x="15031" y="6593"/>
                </a:moveTo>
                <a:cubicBezTo>
                  <a:pt x="15031" y="6625"/>
                  <a:pt x="15063" y="6625"/>
                  <a:pt x="15063" y="6656"/>
                </a:cubicBezTo>
                <a:cubicBezTo>
                  <a:pt x="15031" y="6656"/>
                  <a:pt x="15000" y="6656"/>
                  <a:pt x="15000" y="6656"/>
                </a:cubicBezTo>
                <a:cubicBezTo>
                  <a:pt x="14969" y="6656"/>
                  <a:pt x="14969" y="6687"/>
                  <a:pt x="14938" y="6687"/>
                </a:cubicBezTo>
                <a:cubicBezTo>
                  <a:pt x="14969" y="6687"/>
                  <a:pt x="14969" y="6656"/>
                  <a:pt x="15000" y="6656"/>
                </a:cubicBezTo>
                <a:cubicBezTo>
                  <a:pt x="15000" y="6625"/>
                  <a:pt x="14969" y="6593"/>
                  <a:pt x="15000" y="6562"/>
                </a:cubicBezTo>
                <a:cubicBezTo>
                  <a:pt x="15000" y="6562"/>
                  <a:pt x="15031" y="6562"/>
                  <a:pt x="15031" y="6562"/>
                </a:cubicBezTo>
                <a:cubicBezTo>
                  <a:pt x="15031" y="6593"/>
                  <a:pt x="15031" y="6593"/>
                  <a:pt x="15031" y="6593"/>
                </a:cubicBezTo>
                <a:close/>
                <a:moveTo>
                  <a:pt x="15000" y="6406"/>
                </a:moveTo>
                <a:cubicBezTo>
                  <a:pt x="15000" y="6406"/>
                  <a:pt x="15000" y="6406"/>
                  <a:pt x="15000" y="6406"/>
                </a:cubicBezTo>
                <a:cubicBezTo>
                  <a:pt x="15000" y="6437"/>
                  <a:pt x="15000" y="6437"/>
                  <a:pt x="15000" y="6437"/>
                </a:cubicBezTo>
                <a:cubicBezTo>
                  <a:pt x="15000" y="6437"/>
                  <a:pt x="15000" y="6437"/>
                  <a:pt x="15000" y="6468"/>
                </a:cubicBezTo>
                <a:cubicBezTo>
                  <a:pt x="15000" y="6437"/>
                  <a:pt x="15000" y="6437"/>
                  <a:pt x="15000" y="6437"/>
                </a:cubicBezTo>
                <a:cubicBezTo>
                  <a:pt x="15000" y="6468"/>
                  <a:pt x="15000" y="6500"/>
                  <a:pt x="15000" y="6531"/>
                </a:cubicBezTo>
                <a:cubicBezTo>
                  <a:pt x="14938" y="6531"/>
                  <a:pt x="14938" y="6500"/>
                  <a:pt x="14938" y="6468"/>
                </a:cubicBezTo>
                <a:cubicBezTo>
                  <a:pt x="14938" y="6437"/>
                  <a:pt x="14938" y="6406"/>
                  <a:pt x="15000" y="6406"/>
                </a:cubicBezTo>
                <a:close/>
                <a:moveTo>
                  <a:pt x="14844" y="3562"/>
                </a:moveTo>
                <a:cubicBezTo>
                  <a:pt x="14844" y="3593"/>
                  <a:pt x="14813" y="3625"/>
                  <a:pt x="14844" y="3625"/>
                </a:cubicBezTo>
                <a:cubicBezTo>
                  <a:pt x="14875" y="3625"/>
                  <a:pt x="14875" y="3531"/>
                  <a:pt x="14938" y="3593"/>
                </a:cubicBezTo>
                <a:cubicBezTo>
                  <a:pt x="14938" y="3625"/>
                  <a:pt x="15000" y="3593"/>
                  <a:pt x="15000" y="3656"/>
                </a:cubicBezTo>
                <a:cubicBezTo>
                  <a:pt x="14969" y="3718"/>
                  <a:pt x="14938" y="3781"/>
                  <a:pt x="14875" y="3812"/>
                </a:cubicBezTo>
                <a:cubicBezTo>
                  <a:pt x="14813" y="3843"/>
                  <a:pt x="14813" y="3781"/>
                  <a:pt x="14813" y="3750"/>
                </a:cubicBezTo>
                <a:cubicBezTo>
                  <a:pt x="14813" y="3750"/>
                  <a:pt x="14844" y="3718"/>
                  <a:pt x="14781" y="3687"/>
                </a:cubicBezTo>
                <a:cubicBezTo>
                  <a:pt x="14750" y="3687"/>
                  <a:pt x="14750" y="3687"/>
                  <a:pt x="14750" y="3656"/>
                </a:cubicBezTo>
                <a:cubicBezTo>
                  <a:pt x="14750" y="3593"/>
                  <a:pt x="14719" y="3500"/>
                  <a:pt x="14844" y="3562"/>
                </a:cubicBezTo>
                <a:close/>
                <a:moveTo>
                  <a:pt x="14688" y="5250"/>
                </a:moveTo>
                <a:cubicBezTo>
                  <a:pt x="14719" y="5218"/>
                  <a:pt x="14750" y="5218"/>
                  <a:pt x="14750" y="5187"/>
                </a:cubicBezTo>
                <a:cubicBezTo>
                  <a:pt x="14750" y="5156"/>
                  <a:pt x="14750" y="5156"/>
                  <a:pt x="14781" y="5156"/>
                </a:cubicBezTo>
                <a:cubicBezTo>
                  <a:pt x="14813" y="5156"/>
                  <a:pt x="14813" y="5187"/>
                  <a:pt x="14813" y="5187"/>
                </a:cubicBezTo>
                <a:cubicBezTo>
                  <a:pt x="14813" y="5218"/>
                  <a:pt x="14813" y="5250"/>
                  <a:pt x="14813" y="5281"/>
                </a:cubicBezTo>
                <a:cubicBezTo>
                  <a:pt x="14813" y="5312"/>
                  <a:pt x="14813" y="5343"/>
                  <a:pt x="14781" y="5375"/>
                </a:cubicBezTo>
                <a:cubicBezTo>
                  <a:pt x="14781" y="5375"/>
                  <a:pt x="14750" y="5406"/>
                  <a:pt x="14750" y="5375"/>
                </a:cubicBezTo>
                <a:cubicBezTo>
                  <a:pt x="14719" y="5343"/>
                  <a:pt x="14656" y="5312"/>
                  <a:pt x="14688" y="5250"/>
                </a:cubicBezTo>
                <a:close/>
                <a:moveTo>
                  <a:pt x="14813" y="6000"/>
                </a:moveTo>
                <a:cubicBezTo>
                  <a:pt x="14750" y="6000"/>
                  <a:pt x="14781" y="5968"/>
                  <a:pt x="14781" y="5937"/>
                </a:cubicBezTo>
                <a:cubicBezTo>
                  <a:pt x="14813" y="5937"/>
                  <a:pt x="14813" y="5968"/>
                  <a:pt x="14813" y="6000"/>
                </a:cubicBezTo>
                <a:close/>
                <a:moveTo>
                  <a:pt x="14688" y="3625"/>
                </a:moveTo>
                <a:cubicBezTo>
                  <a:pt x="14688" y="3625"/>
                  <a:pt x="14688" y="3625"/>
                  <a:pt x="14688" y="3625"/>
                </a:cubicBezTo>
                <a:cubicBezTo>
                  <a:pt x="14688" y="3625"/>
                  <a:pt x="14688" y="3656"/>
                  <a:pt x="14688" y="3656"/>
                </a:cubicBezTo>
                <a:cubicBezTo>
                  <a:pt x="14688" y="3656"/>
                  <a:pt x="14688" y="3625"/>
                  <a:pt x="14688" y="3625"/>
                </a:cubicBezTo>
                <a:close/>
                <a:moveTo>
                  <a:pt x="14844" y="2562"/>
                </a:moveTo>
                <a:cubicBezTo>
                  <a:pt x="14875" y="2593"/>
                  <a:pt x="14813" y="2625"/>
                  <a:pt x="14781" y="2625"/>
                </a:cubicBezTo>
                <a:cubicBezTo>
                  <a:pt x="14719" y="2625"/>
                  <a:pt x="14688" y="2593"/>
                  <a:pt x="14688" y="2562"/>
                </a:cubicBezTo>
                <a:cubicBezTo>
                  <a:pt x="14688" y="2500"/>
                  <a:pt x="14719" y="2468"/>
                  <a:pt x="14750" y="2468"/>
                </a:cubicBezTo>
                <a:cubicBezTo>
                  <a:pt x="14813" y="2468"/>
                  <a:pt x="14844" y="2531"/>
                  <a:pt x="14844" y="2562"/>
                </a:cubicBezTo>
                <a:close/>
                <a:moveTo>
                  <a:pt x="14656" y="2281"/>
                </a:moveTo>
                <a:cubicBezTo>
                  <a:pt x="14656" y="2281"/>
                  <a:pt x="14656" y="2250"/>
                  <a:pt x="14656" y="2250"/>
                </a:cubicBezTo>
                <a:cubicBezTo>
                  <a:pt x="14688" y="2250"/>
                  <a:pt x="14688" y="2156"/>
                  <a:pt x="14750" y="2187"/>
                </a:cubicBezTo>
                <a:cubicBezTo>
                  <a:pt x="14750" y="2218"/>
                  <a:pt x="14781" y="2218"/>
                  <a:pt x="14781" y="2250"/>
                </a:cubicBezTo>
                <a:cubicBezTo>
                  <a:pt x="14781" y="2281"/>
                  <a:pt x="14750" y="2343"/>
                  <a:pt x="14688" y="2343"/>
                </a:cubicBezTo>
                <a:cubicBezTo>
                  <a:pt x="14688" y="2343"/>
                  <a:pt x="14688" y="2312"/>
                  <a:pt x="14688" y="2312"/>
                </a:cubicBezTo>
                <a:cubicBezTo>
                  <a:pt x="14688" y="2312"/>
                  <a:pt x="14688" y="2312"/>
                  <a:pt x="14688" y="2312"/>
                </a:cubicBezTo>
                <a:cubicBezTo>
                  <a:pt x="14656" y="2312"/>
                  <a:pt x="14656" y="2312"/>
                  <a:pt x="14656" y="2312"/>
                </a:cubicBezTo>
                <a:cubicBezTo>
                  <a:pt x="14656" y="2312"/>
                  <a:pt x="14656" y="2312"/>
                  <a:pt x="14656" y="2281"/>
                </a:cubicBezTo>
                <a:cubicBezTo>
                  <a:pt x="14625" y="2281"/>
                  <a:pt x="14594" y="2281"/>
                  <a:pt x="14594" y="2281"/>
                </a:cubicBezTo>
                <a:cubicBezTo>
                  <a:pt x="14594" y="2281"/>
                  <a:pt x="14625" y="2281"/>
                  <a:pt x="14656" y="2281"/>
                </a:cubicBezTo>
                <a:close/>
                <a:moveTo>
                  <a:pt x="14563" y="5218"/>
                </a:moveTo>
                <a:cubicBezTo>
                  <a:pt x="14594" y="5156"/>
                  <a:pt x="14625" y="5156"/>
                  <a:pt x="14625" y="5093"/>
                </a:cubicBezTo>
                <a:cubicBezTo>
                  <a:pt x="14625" y="5062"/>
                  <a:pt x="14625" y="5031"/>
                  <a:pt x="14656" y="5062"/>
                </a:cubicBezTo>
                <a:cubicBezTo>
                  <a:pt x="14656" y="5062"/>
                  <a:pt x="14656" y="5093"/>
                  <a:pt x="14656" y="5093"/>
                </a:cubicBezTo>
                <a:cubicBezTo>
                  <a:pt x="14656" y="5156"/>
                  <a:pt x="14750" y="5218"/>
                  <a:pt x="14625" y="5218"/>
                </a:cubicBezTo>
                <a:cubicBezTo>
                  <a:pt x="14656" y="5281"/>
                  <a:pt x="14594" y="5375"/>
                  <a:pt x="14625" y="5437"/>
                </a:cubicBezTo>
                <a:cubicBezTo>
                  <a:pt x="14656" y="5437"/>
                  <a:pt x="14656" y="5468"/>
                  <a:pt x="14656" y="5468"/>
                </a:cubicBezTo>
                <a:cubicBezTo>
                  <a:pt x="14656" y="5500"/>
                  <a:pt x="14656" y="5500"/>
                  <a:pt x="14688" y="5531"/>
                </a:cubicBezTo>
                <a:cubicBezTo>
                  <a:pt x="14656" y="5500"/>
                  <a:pt x="14656" y="5500"/>
                  <a:pt x="14656" y="5468"/>
                </a:cubicBezTo>
                <a:cubicBezTo>
                  <a:pt x="14594" y="5562"/>
                  <a:pt x="14656" y="5593"/>
                  <a:pt x="14688" y="5656"/>
                </a:cubicBezTo>
                <a:cubicBezTo>
                  <a:pt x="14719" y="5750"/>
                  <a:pt x="14688" y="5875"/>
                  <a:pt x="14781" y="5937"/>
                </a:cubicBezTo>
                <a:cubicBezTo>
                  <a:pt x="14781" y="5937"/>
                  <a:pt x="14781" y="5937"/>
                  <a:pt x="14781" y="5937"/>
                </a:cubicBezTo>
                <a:cubicBezTo>
                  <a:pt x="14750" y="6000"/>
                  <a:pt x="14719" y="6062"/>
                  <a:pt x="14781" y="6093"/>
                </a:cubicBezTo>
                <a:cubicBezTo>
                  <a:pt x="14813" y="6125"/>
                  <a:pt x="14781" y="6125"/>
                  <a:pt x="14750" y="6125"/>
                </a:cubicBezTo>
                <a:cubicBezTo>
                  <a:pt x="14750" y="6156"/>
                  <a:pt x="14750" y="6156"/>
                  <a:pt x="14781" y="6156"/>
                </a:cubicBezTo>
                <a:cubicBezTo>
                  <a:pt x="14781" y="6156"/>
                  <a:pt x="14813" y="6156"/>
                  <a:pt x="14813" y="6187"/>
                </a:cubicBezTo>
                <a:cubicBezTo>
                  <a:pt x="14813" y="6156"/>
                  <a:pt x="14781" y="6156"/>
                  <a:pt x="14781" y="6156"/>
                </a:cubicBezTo>
                <a:cubicBezTo>
                  <a:pt x="14813" y="6281"/>
                  <a:pt x="14813" y="6375"/>
                  <a:pt x="14875" y="6500"/>
                </a:cubicBezTo>
                <a:cubicBezTo>
                  <a:pt x="14875" y="6562"/>
                  <a:pt x="14844" y="6625"/>
                  <a:pt x="14906" y="6687"/>
                </a:cubicBezTo>
                <a:cubicBezTo>
                  <a:pt x="14906" y="6687"/>
                  <a:pt x="14906" y="6687"/>
                  <a:pt x="14938" y="6687"/>
                </a:cubicBezTo>
                <a:cubicBezTo>
                  <a:pt x="14938" y="6750"/>
                  <a:pt x="14938" y="6812"/>
                  <a:pt x="15000" y="6812"/>
                </a:cubicBezTo>
                <a:cubicBezTo>
                  <a:pt x="15031" y="6812"/>
                  <a:pt x="15000" y="6843"/>
                  <a:pt x="15000" y="6843"/>
                </a:cubicBezTo>
                <a:cubicBezTo>
                  <a:pt x="15000" y="6875"/>
                  <a:pt x="15000" y="6875"/>
                  <a:pt x="15000" y="6875"/>
                </a:cubicBezTo>
                <a:cubicBezTo>
                  <a:pt x="15000" y="6875"/>
                  <a:pt x="15000" y="6875"/>
                  <a:pt x="15000" y="6843"/>
                </a:cubicBezTo>
                <a:cubicBezTo>
                  <a:pt x="14938" y="6843"/>
                  <a:pt x="14938" y="6843"/>
                  <a:pt x="14938" y="6906"/>
                </a:cubicBezTo>
                <a:cubicBezTo>
                  <a:pt x="14969" y="7031"/>
                  <a:pt x="15063" y="7156"/>
                  <a:pt x="15063" y="7281"/>
                </a:cubicBezTo>
                <a:cubicBezTo>
                  <a:pt x="15063" y="7312"/>
                  <a:pt x="15094" y="7312"/>
                  <a:pt x="15094" y="7343"/>
                </a:cubicBezTo>
                <a:cubicBezTo>
                  <a:pt x="15125" y="7343"/>
                  <a:pt x="15125" y="7375"/>
                  <a:pt x="15094" y="7406"/>
                </a:cubicBezTo>
                <a:cubicBezTo>
                  <a:pt x="15094" y="7437"/>
                  <a:pt x="15094" y="7468"/>
                  <a:pt x="15156" y="7437"/>
                </a:cubicBezTo>
                <a:cubicBezTo>
                  <a:pt x="15094" y="7531"/>
                  <a:pt x="15094" y="7531"/>
                  <a:pt x="15156" y="7593"/>
                </a:cubicBezTo>
                <a:cubicBezTo>
                  <a:pt x="15063" y="7625"/>
                  <a:pt x="15063" y="7562"/>
                  <a:pt x="15031" y="7500"/>
                </a:cubicBezTo>
                <a:cubicBezTo>
                  <a:pt x="14969" y="7375"/>
                  <a:pt x="15000" y="7250"/>
                  <a:pt x="14938" y="7156"/>
                </a:cubicBezTo>
                <a:cubicBezTo>
                  <a:pt x="14938" y="7156"/>
                  <a:pt x="14938" y="7156"/>
                  <a:pt x="14938" y="7156"/>
                </a:cubicBezTo>
                <a:cubicBezTo>
                  <a:pt x="14938" y="7031"/>
                  <a:pt x="14875" y="6937"/>
                  <a:pt x="14875" y="6812"/>
                </a:cubicBezTo>
                <a:cubicBezTo>
                  <a:pt x="14875" y="6812"/>
                  <a:pt x="14875" y="6812"/>
                  <a:pt x="14875" y="6812"/>
                </a:cubicBezTo>
                <a:cubicBezTo>
                  <a:pt x="14750" y="6812"/>
                  <a:pt x="14813" y="6687"/>
                  <a:pt x="14750" y="6656"/>
                </a:cubicBezTo>
                <a:cubicBezTo>
                  <a:pt x="14750" y="6656"/>
                  <a:pt x="14750" y="6625"/>
                  <a:pt x="14750" y="6625"/>
                </a:cubicBezTo>
                <a:cubicBezTo>
                  <a:pt x="14844" y="6593"/>
                  <a:pt x="14781" y="6531"/>
                  <a:pt x="14781" y="6500"/>
                </a:cubicBezTo>
                <a:cubicBezTo>
                  <a:pt x="14750" y="6437"/>
                  <a:pt x="14750" y="6375"/>
                  <a:pt x="14750" y="6312"/>
                </a:cubicBezTo>
                <a:cubicBezTo>
                  <a:pt x="14750" y="6281"/>
                  <a:pt x="14750" y="6218"/>
                  <a:pt x="14688" y="6187"/>
                </a:cubicBezTo>
                <a:cubicBezTo>
                  <a:pt x="14688" y="6218"/>
                  <a:pt x="14688" y="6250"/>
                  <a:pt x="14688" y="6250"/>
                </a:cubicBezTo>
                <a:cubicBezTo>
                  <a:pt x="14688" y="6250"/>
                  <a:pt x="14688" y="6218"/>
                  <a:pt x="14688" y="6187"/>
                </a:cubicBezTo>
                <a:cubicBezTo>
                  <a:pt x="14688" y="6156"/>
                  <a:pt x="14688" y="6125"/>
                  <a:pt x="14688" y="6093"/>
                </a:cubicBezTo>
                <a:cubicBezTo>
                  <a:pt x="14656" y="6093"/>
                  <a:pt x="14625" y="6062"/>
                  <a:pt x="14625" y="6062"/>
                </a:cubicBezTo>
                <a:cubicBezTo>
                  <a:pt x="14625" y="6031"/>
                  <a:pt x="14625" y="6031"/>
                  <a:pt x="14625" y="6031"/>
                </a:cubicBezTo>
                <a:cubicBezTo>
                  <a:pt x="14656" y="6031"/>
                  <a:pt x="14656" y="6000"/>
                  <a:pt x="14656" y="6000"/>
                </a:cubicBezTo>
                <a:cubicBezTo>
                  <a:pt x="14656" y="5968"/>
                  <a:pt x="14656" y="5968"/>
                  <a:pt x="14625" y="5968"/>
                </a:cubicBezTo>
                <a:cubicBezTo>
                  <a:pt x="14625" y="5968"/>
                  <a:pt x="14625" y="6000"/>
                  <a:pt x="14625" y="6000"/>
                </a:cubicBezTo>
                <a:cubicBezTo>
                  <a:pt x="14594" y="6000"/>
                  <a:pt x="14563" y="6000"/>
                  <a:pt x="14563" y="5968"/>
                </a:cubicBezTo>
                <a:cubicBezTo>
                  <a:pt x="14531" y="5968"/>
                  <a:pt x="14469" y="5937"/>
                  <a:pt x="14438" y="5937"/>
                </a:cubicBezTo>
                <a:cubicBezTo>
                  <a:pt x="14438" y="5937"/>
                  <a:pt x="14438" y="5937"/>
                  <a:pt x="14438" y="5937"/>
                </a:cubicBezTo>
                <a:cubicBezTo>
                  <a:pt x="14406" y="5937"/>
                  <a:pt x="14375" y="5937"/>
                  <a:pt x="14375" y="5937"/>
                </a:cubicBezTo>
                <a:cubicBezTo>
                  <a:pt x="14375" y="5968"/>
                  <a:pt x="14406" y="5968"/>
                  <a:pt x="14406" y="6000"/>
                </a:cubicBezTo>
                <a:cubicBezTo>
                  <a:pt x="14406" y="5968"/>
                  <a:pt x="14375" y="5968"/>
                  <a:pt x="14375" y="5937"/>
                </a:cubicBezTo>
                <a:cubicBezTo>
                  <a:pt x="14344" y="5937"/>
                  <a:pt x="14344" y="5875"/>
                  <a:pt x="14313" y="5875"/>
                </a:cubicBezTo>
                <a:cubicBezTo>
                  <a:pt x="14281" y="5812"/>
                  <a:pt x="14313" y="5750"/>
                  <a:pt x="14344" y="5718"/>
                </a:cubicBezTo>
                <a:cubicBezTo>
                  <a:pt x="14344" y="5687"/>
                  <a:pt x="14406" y="5656"/>
                  <a:pt x="14438" y="5718"/>
                </a:cubicBezTo>
                <a:cubicBezTo>
                  <a:pt x="14438" y="5781"/>
                  <a:pt x="14438" y="5875"/>
                  <a:pt x="14438" y="5937"/>
                </a:cubicBezTo>
                <a:cubicBezTo>
                  <a:pt x="14469" y="5937"/>
                  <a:pt x="14531" y="5968"/>
                  <a:pt x="14563" y="5968"/>
                </a:cubicBezTo>
                <a:cubicBezTo>
                  <a:pt x="14563" y="5968"/>
                  <a:pt x="14563" y="5937"/>
                  <a:pt x="14563" y="5937"/>
                </a:cubicBezTo>
                <a:cubicBezTo>
                  <a:pt x="14563" y="5937"/>
                  <a:pt x="14563" y="5937"/>
                  <a:pt x="14563" y="5937"/>
                </a:cubicBezTo>
                <a:cubicBezTo>
                  <a:pt x="14656" y="5875"/>
                  <a:pt x="14656" y="5781"/>
                  <a:pt x="14594" y="5656"/>
                </a:cubicBezTo>
                <a:cubicBezTo>
                  <a:pt x="14594" y="5625"/>
                  <a:pt x="14563" y="5562"/>
                  <a:pt x="14563" y="5531"/>
                </a:cubicBezTo>
                <a:cubicBezTo>
                  <a:pt x="14563" y="5500"/>
                  <a:pt x="14563" y="5500"/>
                  <a:pt x="14563" y="5500"/>
                </a:cubicBezTo>
                <a:cubicBezTo>
                  <a:pt x="14469" y="5437"/>
                  <a:pt x="14531" y="5343"/>
                  <a:pt x="14500" y="5281"/>
                </a:cubicBezTo>
                <a:cubicBezTo>
                  <a:pt x="14438" y="5187"/>
                  <a:pt x="14531" y="5062"/>
                  <a:pt x="14469" y="4968"/>
                </a:cubicBezTo>
                <a:cubicBezTo>
                  <a:pt x="14469" y="4937"/>
                  <a:pt x="14469" y="4906"/>
                  <a:pt x="14438" y="4906"/>
                </a:cubicBezTo>
                <a:cubicBezTo>
                  <a:pt x="14375" y="4875"/>
                  <a:pt x="14406" y="4843"/>
                  <a:pt x="14406" y="4812"/>
                </a:cubicBezTo>
                <a:cubicBezTo>
                  <a:pt x="14406" y="4781"/>
                  <a:pt x="14438" y="4750"/>
                  <a:pt x="14469" y="4781"/>
                </a:cubicBezTo>
                <a:cubicBezTo>
                  <a:pt x="14500" y="4812"/>
                  <a:pt x="14531" y="4812"/>
                  <a:pt x="14500" y="4875"/>
                </a:cubicBezTo>
                <a:cubicBezTo>
                  <a:pt x="14500" y="4875"/>
                  <a:pt x="14500" y="4875"/>
                  <a:pt x="14500" y="4906"/>
                </a:cubicBezTo>
                <a:cubicBezTo>
                  <a:pt x="14531" y="5000"/>
                  <a:pt x="14563" y="5093"/>
                  <a:pt x="14563" y="5218"/>
                </a:cubicBezTo>
                <a:close/>
                <a:moveTo>
                  <a:pt x="14281" y="7093"/>
                </a:moveTo>
                <a:cubicBezTo>
                  <a:pt x="14313" y="7093"/>
                  <a:pt x="14313" y="7125"/>
                  <a:pt x="14313" y="7125"/>
                </a:cubicBezTo>
                <a:cubicBezTo>
                  <a:pt x="14313" y="7125"/>
                  <a:pt x="14344" y="7125"/>
                  <a:pt x="14344" y="7125"/>
                </a:cubicBezTo>
                <a:cubicBezTo>
                  <a:pt x="14313" y="7062"/>
                  <a:pt x="14406" y="7062"/>
                  <a:pt x="14406" y="7000"/>
                </a:cubicBezTo>
                <a:cubicBezTo>
                  <a:pt x="14469" y="7000"/>
                  <a:pt x="14469" y="7031"/>
                  <a:pt x="14469" y="7093"/>
                </a:cubicBezTo>
                <a:cubicBezTo>
                  <a:pt x="14469" y="7156"/>
                  <a:pt x="14469" y="7250"/>
                  <a:pt x="14469" y="7312"/>
                </a:cubicBezTo>
                <a:cubicBezTo>
                  <a:pt x="14469" y="7343"/>
                  <a:pt x="14406" y="7312"/>
                  <a:pt x="14375" y="7375"/>
                </a:cubicBezTo>
                <a:cubicBezTo>
                  <a:pt x="14344" y="7281"/>
                  <a:pt x="14281" y="7218"/>
                  <a:pt x="14313" y="7125"/>
                </a:cubicBezTo>
                <a:cubicBezTo>
                  <a:pt x="14313" y="7125"/>
                  <a:pt x="14313" y="7093"/>
                  <a:pt x="14281" y="7093"/>
                </a:cubicBezTo>
                <a:close/>
                <a:moveTo>
                  <a:pt x="14438" y="6781"/>
                </a:moveTo>
                <a:cubicBezTo>
                  <a:pt x="14406" y="6687"/>
                  <a:pt x="14375" y="6593"/>
                  <a:pt x="14344" y="6500"/>
                </a:cubicBezTo>
                <a:cubicBezTo>
                  <a:pt x="14313" y="6468"/>
                  <a:pt x="14313" y="6437"/>
                  <a:pt x="14375" y="6437"/>
                </a:cubicBezTo>
                <a:cubicBezTo>
                  <a:pt x="14406" y="6531"/>
                  <a:pt x="14469" y="6625"/>
                  <a:pt x="14469" y="6718"/>
                </a:cubicBezTo>
                <a:cubicBezTo>
                  <a:pt x="14469" y="6750"/>
                  <a:pt x="14438" y="6750"/>
                  <a:pt x="14438" y="6781"/>
                </a:cubicBezTo>
                <a:close/>
                <a:moveTo>
                  <a:pt x="14500" y="8906"/>
                </a:moveTo>
                <a:cubicBezTo>
                  <a:pt x="14438" y="8906"/>
                  <a:pt x="14375" y="8906"/>
                  <a:pt x="14313" y="8968"/>
                </a:cubicBezTo>
                <a:cubicBezTo>
                  <a:pt x="14313" y="8968"/>
                  <a:pt x="14313" y="8968"/>
                  <a:pt x="14313" y="8968"/>
                </a:cubicBezTo>
                <a:cubicBezTo>
                  <a:pt x="14375" y="8906"/>
                  <a:pt x="14438" y="8906"/>
                  <a:pt x="14500" y="8906"/>
                </a:cubicBezTo>
                <a:close/>
                <a:moveTo>
                  <a:pt x="14250" y="4468"/>
                </a:moveTo>
                <a:cubicBezTo>
                  <a:pt x="14250" y="4500"/>
                  <a:pt x="14250" y="4531"/>
                  <a:pt x="14250" y="4531"/>
                </a:cubicBezTo>
                <a:cubicBezTo>
                  <a:pt x="14250" y="4531"/>
                  <a:pt x="14250" y="4500"/>
                  <a:pt x="14250" y="4468"/>
                </a:cubicBezTo>
                <a:cubicBezTo>
                  <a:pt x="14281" y="4406"/>
                  <a:pt x="14281" y="4375"/>
                  <a:pt x="14281" y="4312"/>
                </a:cubicBezTo>
                <a:cubicBezTo>
                  <a:pt x="14281" y="4281"/>
                  <a:pt x="14281" y="4250"/>
                  <a:pt x="14219" y="4250"/>
                </a:cubicBezTo>
                <a:cubicBezTo>
                  <a:pt x="14313" y="4187"/>
                  <a:pt x="14344" y="4156"/>
                  <a:pt x="14313" y="4062"/>
                </a:cubicBezTo>
                <a:cubicBezTo>
                  <a:pt x="14313" y="4125"/>
                  <a:pt x="14281" y="4125"/>
                  <a:pt x="14250" y="4125"/>
                </a:cubicBezTo>
                <a:cubicBezTo>
                  <a:pt x="14281" y="4125"/>
                  <a:pt x="14313" y="4125"/>
                  <a:pt x="14313" y="4062"/>
                </a:cubicBezTo>
                <a:cubicBezTo>
                  <a:pt x="14313" y="3968"/>
                  <a:pt x="14344" y="3875"/>
                  <a:pt x="14281" y="3781"/>
                </a:cubicBezTo>
                <a:cubicBezTo>
                  <a:pt x="14313" y="3687"/>
                  <a:pt x="14344" y="3593"/>
                  <a:pt x="14313" y="3531"/>
                </a:cubicBezTo>
                <a:cubicBezTo>
                  <a:pt x="14281" y="3531"/>
                  <a:pt x="14250" y="3531"/>
                  <a:pt x="14250" y="3531"/>
                </a:cubicBezTo>
                <a:cubicBezTo>
                  <a:pt x="14250" y="3531"/>
                  <a:pt x="14281" y="3531"/>
                  <a:pt x="14313" y="3531"/>
                </a:cubicBezTo>
                <a:cubicBezTo>
                  <a:pt x="14313" y="3468"/>
                  <a:pt x="14313" y="3437"/>
                  <a:pt x="14313" y="3375"/>
                </a:cubicBezTo>
                <a:cubicBezTo>
                  <a:pt x="14344" y="3406"/>
                  <a:pt x="14375" y="3437"/>
                  <a:pt x="14375" y="3468"/>
                </a:cubicBezTo>
                <a:cubicBezTo>
                  <a:pt x="14375" y="3531"/>
                  <a:pt x="14375" y="3625"/>
                  <a:pt x="14375" y="3718"/>
                </a:cubicBezTo>
                <a:cubicBezTo>
                  <a:pt x="14406" y="3750"/>
                  <a:pt x="14406" y="3781"/>
                  <a:pt x="14438" y="3812"/>
                </a:cubicBezTo>
                <a:cubicBezTo>
                  <a:pt x="14406" y="3812"/>
                  <a:pt x="14375" y="3843"/>
                  <a:pt x="14375" y="3843"/>
                </a:cubicBezTo>
                <a:cubicBezTo>
                  <a:pt x="14406" y="3968"/>
                  <a:pt x="14344" y="4093"/>
                  <a:pt x="14438" y="4218"/>
                </a:cubicBezTo>
                <a:cubicBezTo>
                  <a:pt x="14438" y="4281"/>
                  <a:pt x="14438" y="4312"/>
                  <a:pt x="14438" y="4343"/>
                </a:cubicBezTo>
                <a:cubicBezTo>
                  <a:pt x="14438" y="4437"/>
                  <a:pt x="14469" y="4531"/>
                  <a:pt x="14469" y="4656"/>
                </a:cubicBezTo>
                <a:cubicBezTo>
                  <a:pt x="14469" y="4656"/>
                  <a:pt x="14469" y="4687"/>
                  <a:pt x="14438" y="4718"/>
                </a:cubicBezTo>
                <a:cubicBezTo>
                  <a:pt x="14406" y="4687"/>
                  <a:pt x="14406" y="4593"/>
                  <a:pt x="14375" y="4562"/>
                </a:cubicBezTo>
                <a:cubicBezTo>
                  <a:pt x="14375" y="4562"/>
                  <a:pt x="14375" y="4562"/>
                  <a:pt x="14375" y="4562"/>
                </a:cubicBezTo>
                <a:cubicBezTo>
                  <a:pt x="14375" y="4562"/>
                  <a:pt x="14375" y="4562"/>
                  <a:pt x="14375" y="4562"/>
                </a:cubicBezTo>
                <a:cubicBezTo>
                  <a:pt x="14375" y="4468"/>
                  <a:pt x="14375" y="4406"/>
                  <a:pt x="14375" y="4343"/>
                </a:cubicBezTo>
                <a:cubicBezTo>
                  <a:pt x="14375" y="4343"/>
                  <a:pt x="14344" y="4343"/>
                  <a:pt x="14344" y="4343"/>
                </a:cubicBezTo>
                <a:cubicBezTo>
                  <a:pt x="14313" y="4437"/>
                  <a:pt x="14344" y="4562"/>
                  <a:pt x="14313" y="4656"/>
                </a:cubicBezTo>
                <a:cubicBezTo>
                  <a:pt x="14281" y="4656"/>
                  <a:pt x="14250" y="4625"/>
                  <a:pt x="14250" y="4562"/>
                </a:cubicBezTo>
                <a:cubicBezTo>
                  <a:pt x="14250" y="4531"/>
                  <a:pt x="14250" y="4500"/>
                  <a:pt x="14250" y="4468"/>
                </a:cubicBezTo>
                <a:close/>
                <a:moveTo>
                  <a:pt x="14438" y="3812"/>
                </a:moveTo>
                <a:cubicBezTo>
                  <a:pt x="14438" y="3812"/>
                  <a:pt x="14438" y="3812"/>
                  <a:pt x="14438" y="3812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12"/>
                </a:cubicBezTo>
                <a:close/>
                <a:moveTo>
                  <a:pt x="14500" y="2781"/>
                </a:moveTo>
                <a:cubicBezTo>
                  <a:pt x="14500" y="2781"/>
                  <a:pt x="14500" y="2781"/>
                  <a:pt x="14469" y="2781"/>
                </a:cubicBezTo>
                <a:cubicBezTo>
                  <a:pt x="14500" y="2781"/>
                  <a:pt x="14500" y="2781"/>
                  <a:pt x="14500" y="2781"/>
                </a:cubicBezTo>
                <a:cubicBezTo>
                  <a:pt x="14531" y="2843"/>
                  <a:pt x="14531" y="2906"/>
                  <a:pt x="14438" y="2906"/>
                </a:cubicBezTo>
                <a:cubicBezTo>
                  <a:pt x="14469" y="2875"/>
                  <a:pt x="14438" y="2812"/>
                  <a:pt x="14500" y="2781"/>
                </a:cubicBezTo>
                <a:close/>
                <a:moveTo>
                  <a:pt x="14375" y="5156"/>
                </a:moveTo>
                <a:cubicBezTo>
                  <a:pt x="14406" y="5156"/>
                  <a:pt x="14406" y="5187"/>
                  <a:pt x="14438" y="5218"/>
                </a:cubicBezTo>
                <a:cubicBezTo>
                  <a:pt x="14438" y="5281"/>
                  <a:pt x="14438" y="5343"/>
                  <a:pt x="14438" y="5406"/>
                </a:cubicBezTo>
                <a:cubicBezTo>
                  <a:pt x="14344" y="5343"/>
                  <a:pt x="14344" y="5281"/>
                  <a:pt x="14344" y="5218"/>
                </a:cubicBezTo>
                <a:cubicBezTo>
                  <a:pt x="14344" y="5187"/>
                  <a:pt x="14313" y="5156"/>
                  <a:pt x="14375" y="5156"/>
                </a:cubicBezTo>
                <a:close/>
                <a:moveTo>
                  <a:pt x="14563" y="5750"/>
                </a:moveTo>
                <a:cubicBezTo>
                  <a:pt x="14531" y="5750"/>
                  <a:pt x="14500" y="5718"/>
                  <a:pt x="14500" y="5687"/>
                </a:cubicBezTo>
                <a:cubicBezTo>
                  <a:pt x="14500" y="5656"/>
                  <a:pt x="14500" y="5656"/>
                  <a:pt x="14531" y="5656"/>
                </a:cubicBezTo>
                <a:cubicBezTo>
                  <a:pt x="14594" y="5625"/>
                  <a:pt x="14563" y="5687"/>
                  <a:pt x="14563" y="5687"/>
                </a:cubicBezTo>
                <a:cubicBezTo>
                  <a:pt x="14594" y="5718"/>
                  <a:pt x="14594" y="5750"/>
                  <a:pt x="14563" y="5750"/>
                </a:cubicBezTo>
                <a:close/>
                <a:moveTo>
                  <a:pt x="14563" y="5937"/>
                </a:moveTo>
                <a:cubicBezTo>
                  <a:pt x="14563" y="5937"/>
                  <a:pt x="14563" y="5937"/>
                  <a:pt x="14563" y="5937"/>
                </a:cubicBezTo>
                <a:cubicBezTo>
                  <a:pt x="14563" y="5937"/>
                  <a:pt x="14563" y="5906"/>
                  <a:pt x="14563" y="5906"/>
                </a:cubicBezTo>
                <a:cubicBezTo>
                  <a:pt x="14563" y="5937"/>
                  <a:pt x="14563" y="5937"/>
                  <a:pt x="14563" y="5937"/>
                </a:cubicBezTo>
                <a:close/>
                <a:moveTo>
                  <a:pt x="14219" y="2187"/>
                </a:moveTo>
                <a:cubicBezTo>
                  <a:pt x="14219" y="2187"/>
                  <a:pt x="14250" y="2187"/>
                  <a:pt x="14250" y="2187"/>
                </a:cubicBezTo>
                <a:cubicBezTo>
                  <a:pt x="14250" y="2187"/>
                  <a:pt x="14219" y="2187"/>
                  <a:pt x="14219" y="2187"/>
                </a:cubicBezTo>
                <a:close/>
                <a:moveTo>
                  <a:pt x="14313" y="2625"/>
                </a:moveTo>
                <a:cubicBezTo>
                  <a:pt x="14313" y="2593"/>
                  <a:pt x="14313" y="2562"/>
                  <a:pt x="14313" y="2500"/>
                </a:cubicBezTo>
                <a:cubicBezTo>
                  <a:pt x="14250" y="2500"/>
                  <a:pt x="14219" y="2437"/>
                  <a:pt x="14188" y="2406"/>
                </a:cubicBezTo>
                <a:cubicBezTo>
                  <a:pt x="14219" y="2437"/>
                  <a:pt x="14250" y="2500"/>
                  <a:pt x="14313" y="2500"/>
                </a:cubicBezTo>
                <a:cubicBezTo>
                  <a:pt x="14313" y="2437"/>
                  <a:pt x="14344" y="2375"/>
                  <a:pt x="14281" y="2312"/>
                </a:cubicBezTo>
                <a:cubicBezTo>
                  <a:pt x="14344" y="2250"/>
                  <a:pt x="14313" y="2187"/>
                  <a:pt x="14313" y="2125"/>
                </a:cubicBezTo>
                <a:cubicBezTo>
                  <a:pt x="14313" y="2156"/>
                  <a:pt x="14313" y="2187"/>
                  <a:pt x="14281" y="2187"/>
                </a:cubicBezTo>
                <a:cubicBezTo>
                  <a:pt x="14313" y="2187"/>
                  <a:pt x="14313" y="2156"/>
                  <a:pt x="14313" y="2125"/>
                </a:cubicBezTo>
                <a:cubicBezTo>
                  <a:pt x="14313" y="2093"/>
                  <a:pt x="14344" y="2062"/>
                  <a:pt x="14281" y="2031"/>
                </a:cubicBezTo>
                <a:cubicBezTo>
                  <a:pt x="14344" y="1906"/>
                  <a:pt x="14313" y="1750"/>
                  <a:pt x="14313" y="1625"/>
                </a:cubicBezTo>
                <a:cubicBezTo>
                  <a:pt x="14344" y="1437"/>
                  <a:pt x="14313" y="1281"/>
                  <a:pt x="14313" y="1093"/>
                </a:cubicBezTo>
                <a:cubicBezTo>
                  <a:pt x="14313" y="1093"/>
                  <a:pt x="14313" y="1062"/>
                  <a:pt x="14344" y="1062"/>
                </a:cubicBezTo>
                <a:cubicBezTo>
                  <a:pt x="14344" y="1062"/>
                  <a:pt x="14406" y="1218"/>
                  <a:pt x="14375" y="1218"/>
                </a:cubicBezTo>
                <a:cubicBezTo>
                  <a:pt x="14344" y="1250"/>
                  <a:pt x="14375" y="1281"/>
                  <a:pt x="14375" y="1312"/>
                </a:cubicBezTo>
                <a:cubicBezTo>
                  <a:pt x="14438" y="1343"/>
                  <a:pt x="14500" y="1343"/>
                  <a:pt x="14563" y="1343"/>
                </a:cubicBezTo>
                <a:cubicBezTo>
                  <a:pt x="14500" y="1343"/>
                  <a:pt x="14438" y="1343"/>
                  <a:pt x="14375" y="1312"/>
                </a:cubicBezTo>
                <a:cubicBezTo>
                  <a:pt x="14406" y="1375"/>
                  <a:pt x="14344" y="1468"/>
                  <a:pt x="14375" y="1531"/>
                </a:cubicBezTo>
                <a:cubicBezTo>
                  <a:pt x="14375" y="1531"/>
                  <a:pt x="14375" y="1531"/>
                  <a:pt x="14375" y="1531"/>
                </a:cubicBezTo>
                <a:cubicBezTo>
                  <a:pt x="14375" y="1562"/>
                  <a:pt x="14375" y="1593"/>
                  <a:pt x="14375" y="1625"/>
                </a:cubicBezTo>
                <a:cubicBezTo>
                  <a:pt x="14406" y="1625"/>
                  <a:pt x="14438" y="1625"/>
                  <a:pt x="14438" y="1656"/>
                </a:cubicBezTo>
                <a:cubicBezTo>
                  <a:pt x="14438" y="1625"/>
                  <a:pt x="14406" y="1625"/>
                  <a:pt x="14375" y="1625"/>
                </a:cubicBezTo>
                <a:cubicBezTo>
                  <a:pt x="14375" y="1625"/>
                  <a:pt x="14375" y="1625"/>
                  <a:pt x="14375" y="1625"/>
                </a:cubicBezTo>
                <a:cubicBezTo>
                  <a:pt x="14375" y="1656"/>
                  <a:pt x="14375" y="1656"/>
                  <a:pt x="14375" y="1687"/>
                </a:cubicBezTo>
                <a:cubicBezTo>
                  <a:pt x="14375" y="1718"/>
                  <a:pt x="14375" y="1750"/>
                  <a:pt x="14375" y="1781"/>
                </a:cubicBezTo>
                <a:cubicBezTo>
                  <a:pt x="14375" y="1781"/>
                  <a:pt x="14375" y="1812"/>
                  <a:pt x="14375" y="1843"/>
                </a:cubicBezTo>
                <a:cubicBezTo>
                  <a:pt x="14406" y="1843"/>
                  <a:pt x="14406" y="1875"/>
                  <a:pt x="14438" y="1875"/>
                </a:cubicBezTo>
                <a:cubicBezTo>
                  <a:pt x="14406" y="1875"/>
                  <a:pt x="14406" y="1843"/>
                  <a:pt x="14375" y="1843"/>
                </a:cubicBezTo>
                <a:cubicBezTo>
                  <a:pt x="14375" y="1906"/>
                  <a:pt x="14375" y="1968"/>
                  <a:pt x="14375" y="2000"/>
                </a:cubicBezTo>
                <a:cubicBezTo>
                  <a:pt x="14375" y="2031"/>
                  <a:pt x="14375" y="2062"/>
                  <a:pt x="14375" y="2093"/>
                </a:cubicBezTo>
                <a:cubicBezTo>
                  <a:pt x="14438" y="2125"/>
                  <a:pt x="14469" y="2156"/>
                  <a:pt x="14469" y="2187"/>
                </a:cubicBezTo>
                <a:cubicBezTo>
                  <a:pt x="14469" y="2156"/>
                  <a:pt x="14438" y="2125"/>
                  <a:pt x="14375" y="2093"/>
                </a:cubicBezTo>
                <a:cubicBezTo>
                  <a:pt x="14375" y="2156"/>
                  <a:pt x="14375" y="2218"/>
                  <a:pt x="14375" y="2281"/>
                </a:cubicBezTo>
                <a:cubicBezTo>
                  <a:pt x="14375" y="2312"/>
                  <a:pt x="14375" y="2343"/>
                  <a:pt x="14375" y="2375"/>
                </a:cubicBezTo>
                <a:cubicBezTo>
                  <a:pt x="14406" y="2375"/>
                  <a:pt x="14438" y="2406"/>
                  <a:pt x="14438" y="2437"/>
                </a:cubicBezTo>
                <a:cubicBezTo>
                  <a:pt x="14438" y="2406"/>
                  <a:pt x="14406" y="2375"/>
                  <a:pt x="14375" y="2375"/>
                </a:cubicBezTo>
                <a:cubicBezTo>
                  <a:pt x="14375" y="2437"/>
                  <a:pt x="14375" y="2468"/>
                  <a:pt x="14375" y="2531"/>
                </a:cubicBezTo>
                <a:cubicBezTo>
                  <a:pt x="14375" y="2593"/>
                  <a:pt x="14375" y="2625"/>
                  <a:pt x="14406" y="2656"/>
                </a:cubicBezTo>
                <a:cubicBezTo>
                  <a:pt x="14438" y="2687"/>
                  <a:pt x="14438" y="2718"/>
                  <a:pt x="14469" y="2750"/>
                </a:cubicBezTo>
                <a:cubicBezTo>
                  <a:pt x="14438" y="2718"/>
                  <a:pt x="14438" y="2687"/>
                  <a:pt x="14406" y="2656"/>
                </a:cubicBezTo>
                <a:cubicBezTo>
                  <a:pt x="14344" y="2750"/>
                  <a:pt x="14406" y="2843"/>
                  <a:pt x="14375" y="2906"/>
                </a:cubicBezTo>
                <a:cubicBezTo>
                  <a:pt x="14375" y="2937"/>
                  <a:pt x="14406" y="2968"/>
                  <a:pt x="14375" y="2968"/>
                </a:cubicBezTo>
                <a:cubicBezTo>
                  <a:pt x="14344" y="2968"/>
                  <a:pt x="14313" y="2937"/>
                  <a:pt x="14313" y="2937"/>
                </a:cubicBezTo>
                <a:cubicBezTo>
                  <a:pt x="14313" y="2906"/>
                  <a:pt x="14313" y="2875"/>
                  <a:pt x="14313" y="2843"/>
                </a:cubicBezTo>
                <a:cubicBezTo>
                  <a:pt x="14250" y="2843"/>
                  <a:pt x="14219" y="2781"/>
                  <a:pt x="14188" y="2750"/>
                </a:cubicBezTo>
                <a:cubicBezTo>
                  <a:pt x="14219" y="2781"/>
                  <a:pt x="14250" y="2843"/>
                  <a:pt x="14313" y="2843"/>
                </a:cubicBezTo>
                <a:cubicBezTo>
                  <a:pt x="14313" y="2781"/>
                  <a:pt x="14313" y="2718"/>
                  <a:pt x="14313" y="2625"/>
                </a:cubicBezTo>
                <a:close/>
                <a:moveTo>
                  <a:pt x="14438" y="1437"/>
                </a:moveTo>
                <a:cubicBezTo>
                  <a:pt x="14438" y="1437"/>
                  <a:pt x="14438" y="1437"/>
                  <a:pt x="14438" y="1437"/>
                </a:cubicBezTo>
                <a:cubicBezTo>
                  <a:pt x="14438" y="1437"/>
                  <a:pt x="14438" y="1437"/>
                  <a:pt x="14438" y="1406"/>
                </a:cubicBezTo>
                <a:cubicBezTo>
                  <a:pt x="14438" y="1437"/>
                  <a:pt x="14438" y="1437"/>
                  <a:pt x="14438" y="1437"/>
                </a:cubicBezTo>
                <a:cubicBezTo>
                  <a:pt x="14438" y="1437"/>
                  <a:pt x="14438" y="1437"/>
                  <a:pt x="14438" y="1437"/>
                </a:cubicBezTo>
                <a:close/>
                <a:moveTo>
                  <a:pt x="14094" y="2812"/>
                </a:moveTo>
                <a:cubicBezTo>
                  <a:pt x="14094" y="2812"/>
                  <a:pt x="14094" y="2812"/>
                  <a:pt x="14094" y="2812"/>
                </a:cubicBezTo>
                <a:cubicBezTo>
                  <a:pt x="14094" y="2812"/>
                  <a:pt x="14094" y="2812"/>
                  <a:pt x="14094" y="2843"/>
                </a:cubicBezTo>
                <a:cubicBezTo>
                  <a:pt x="14094" y="2812"/>
                  <a:pt x="14094" y="2812"/>
                  <a:pt x="14094" y="2812"/>
                </a:cubicBezTo>
                <a:cubicBezTo>
                  <a:pt x="14063" y="2812"/>
                  <a:pt x="14063" y="2812"/>
                  <a:pt x="14031" y="2812"/>
                </a:cubicBezTo>
                <a:cubicBezTo>
                  <a:pt x="14063" y="2812"/>
                  <a:pt x="14063" y="2812"/>
                  <a:pt x="14094" y="2812"/>
                </a:cubicBezTo>
                <a:close/>
                <a:moveTo>
                  <a:pt x="14031" y="1468"/>
                </a:moveTo>
                <a:cubicBezTo>
                  <a:pt x="14031" y="1468"/>
                  <a:pt x="14031" y="1468"/>
                  <a:pt x="14031" y="1468"/>
                </a:cubicBezTo>
                <a:cubicBezTo>
                  <a:pt x="14031" y="1468"/>
                  <a:pt x="14031" y="1468"/>
                  <a:pt x="14031" y="1468"/>
                </a:cubicBezTo>
                <a:cubicBezTo>
                  <a:pt x="14031" y="1468"/>
                  <a:pt x="14031" y="1468"/>
                  <a:pt x="14031" y="1468"/>
                </a:cubicBezTo>
                <a:close/>
                <a:moveTo>
                  <a:pt x="14031" y="2812"/>
                </a:moveTo>
                <a:cubicBezTo>
                  <a:pt x="14031" y="2812"/>
                  <a:pt x="14031" y="2812"/>
                  <a:pt x="14000" y="2812"/>
                </a:cubicBezTo>
                <a:cubicBezTo>
                  <a:pt x="14031" y="2812"/>
                  <a:pt x="14031" y="2812"/>
                  <a:pt x="14031" y="2812"/>
                </a:cubicBezTo>
                <a:close/>
                <a:moveTo>
                  <a:pt x="13938" y="5781"/>
                </a:moveTo>
                <a:cubicBezTo>
                  <a:pt x="13906" y="5781"/>
                  <a:pt x="13906" y="5781"/>
                  <a:pt x="13875" y="5781"/>
                </a:cubicBezTo>
                <a:cubicBezTo>
                  <a:pt x="13906" y="5781"/>
                  <a:pt x="13906" y="5781"/>
                  <a:pt x="13938" y="5781"/>
                </a:cubicBezTo>
                <a:close/>
                <a:moveTo>
                  <a:pt x="13344" y="4187"/>
                </a:moveTo>
                <a:cubicBezTo>
                  <a:pt x="13281" y="4218"/>
                  <a:pt x="13250" y="4187"/>
                  <a:pt x="13281" y="4125"/>
                </a:cubicBezTo>
                <a:cubicBezTo>
                  <a:pt x="13313" y="3937"/>
                  <a:pt x="13344" y="3750"/>
                  <a:pt x="13406" y="3562"/>
                </a:cubicBezTo>
                <a:cubicBezTo>
                  <a:pt x="13438" y="3406"/>
                  <a:pt x="13438" y="3250"/>
                  <a:pt x="13469" y="3093"/>
                </a:cubicBezTo>
                <a:cubicBezTo>
                  <a:pt x="13500" y="3062"/>
                  <a:pt x="13500" y="3031"/>
                  <a:pt x="13531" y="3000"/>
                </a:cubicBezTo>
                <a:cubicBezTo>
                  <a:pt x="13563" y="3000"/>
                  <a:pt x="13563" y="3031"/>
                  <a:pt x="13563" y="3031"/>
                </a:cubicBezTo>
                <a:cubicBezTo>
                  <a:pt x="13563" y="3062"/>
                  <a:pt x="13563" y="3093"/>
                  <a:pt x="13563" y="3156"/>
                </a:cubicBezTo>
                <a:cubicBezTo>
                  <a:pt x="13563" y="3156"/>
                  <a:pt x="13563" y="3187"/>
                  <a:pt x="13563" y="3218"/>
                </a:cubicBezTo>
                <a:cubicBezTo>
                  <a:pt x="13625" y="3250"/>
                  <a:pt x="13656" y="3281"/>
                  <a:pt x="13656" y="3343"/>
                </a:cubicBezTo>
                <a:cubicBezTo>
                  <a:pt x="13688" y="3343"/>
                  <a:pt x="13750" y="3343"/>
                  <a:pt x="13781" y="3343"/>
                </a:cubicBezTo>
                <a:cubicBezTo>
                  <a:pt x="13750" y="3343"/>
                  <a:pt x="13688" y="3343"/>
                  <a:pt x="13656" y="3343"/>
                </a:cubicBezTo>
                <a:cubicBezTo>
                  <a:pt x="13563" y="3343"/>
                  <a:pt x="13563" y="3281"/>
                  <a:pt x="13563" y="3218"/>
                </a:cubicBezTo>
                <a:cubicBezTo>
                  <a:pt x="13563" y="3187"/>
                  <a:pt x="13563" y="3156"/>
                  <a:pt x="13563" y="3156"/>
                </a:cubicBezTo>
                <a:cubicBezTo>
                  <a:pt x="13531" y="3187"/>
                  <a:pt x="13500" y="3250"/>
                  <a:pt x="13563" y="3312"/>
                </a:cubicBezTo>
                <a:cubicBezTo>
                  <a:pt x="13594" y="3375"/>
                  <a:pt x="13500" y="3375"/>
                  <a:pt x="13531" y="3437"/>
                </a:cubicBezTo>
                <a:cubicBezTo>
                  <a:pt x="13531" y="3437"/>
                  <a:pt x="13531" y="3437"/>
                  <a:pt x="13531" y="3437"/>
                </a:cubicBezTo>
                <a:cubicBezTo>
                  <a:pt x="13500" y="3437"/>
                  <a:pt x="13500" y="3437"/>
                  <a:pt x="13500" y="3437"/>
                </a:cubicBezTo>
                <a:cubicBezTo>
                  <a:pt x="13500" y="3437"/>
                  <a:pt x="13500" y="3468"/>
                  <a:pt x="13500" y="3468"/>
                </a:cubicBezTo>
                <a:cubicBezTo>
                  <a:pt x="13469" y="3468"/>
                  <a:pt x="13469" y="3500"/>
                  <a:pt x="13500" y="3500"/>
                </a:cubicBezTo>
                <a:cubicBezTo>
                  <a:pt x="13500" y="3562"/>
                  <a:pt x="13469" y="3625"/>
                  <a:pt x="13469" y="3656"/>
                </a:cubicBezTo>
                <a:cubicBezTo>
                  <a:pt x="13438" y="3718"/>
                  <a:pt x="13406" y="3750"/>
                  <a:pt x="13469" y="3781"/>
                </a:cubicBezTo>
                <a:cubicBezTo>
                  <a:pt x="13469" y="3812"/>
                  <a:pt x="13500" y="3812"/>
                  <a:pt x="13469" y="3812"/>
                </a:cubicBezTo>
                <a:cubicBezTo>
                  <a:pt x="13406" y="3843"/>
                  <a:pt x="13406" y="3843"/>
                  <a:pt x="13406" y="3875"/>
                </a:cubicBezTo>
                <a:cubicBezTo>
                  <a:pt x="13469" y="3906"/>
                  <a:pt x="13469" y="3937"/>
                  <a:pt x="13500" y="3968"/>
                </a:cubicBezTo>
                <a:cubicBezTo>
                  <a:pt x="13469" y="3937"/>
                  <a:pt x="13469" y="3906"/>
                  <a:pt x="13406" y="3875"/>
                </a:cubicBezTo>
                <a:cubicBezTo>
                  <a:pt x="13406" y="3968"/>
                  <a:pt x="13344" y="4093"/>
                  <a:pt x="13344" y="4187"/>
                </a:cubicBezTo>
                <a:close/>
                <a:moveTo>
                  <a:pt x="13500" y="4843"/>
                </a:moveTo>
                <a:cubicBezTo>
                  <a:pt x="13500" y="4875"/>
                  <a:pt x="13500" y="4906"/>
                  <a:pt x="13500" y="4906"/>
                </a:cubicBezTo>
                <a:cubicBezTo>
                  <a:pt x="13563" y="4937"/>
                  <a:pt x="13594" y="4937"/>
                  <a:pt x="13625" y="4968"/>
                </a:cubicBezTo>
                <a:cubicBezTo>
                  <a:pt x="13594" y="4937"/>
                  <a:pt x="13563" y="4937"/>
                  <a:pt x="13500" y="4906"/>
                </a:cubicBezTo>
                <a:cubicBezTo>
                  <a:pt x="13500" y="4906"/>
                  <a:pt x="13469" y="4906"/>
                  <a:pt x="13469" y="4906"/>
                </a:cubicBezTo>
                <a:cubicBezTo>
                  <a:pt x="13406" y="5031"/>
                  <a:pt x="13375" y="4937"/>
                  <a:pt x="13313" y="4906"/>
                </a:cubicBezTo>
                <a:cubicBezTo>
                  <a:pt x="13375" y="4843"/>
                  <a:pt x="13438" y="4843"/>
                  <a:pt x="13500" y="4843"/>
                </a:cubicBezTo>
                <a:close/>
                <a:moveTo>
                  <a:pt x="13500" y="5812"/>
                </a:moveTo>
                <a:cubicBezTo>
                  <a:pt x="13563" y="5812"/>
                  <a:pt x="13594" y="5812"/>
                  <a:pt x="13625" y="5781"/>
                </a:cubicBezTo>
                <a:cubicBezTo>
                  <a:pt x="13594" y="5812"/>
                  <a:pt x="13563" y="5812"/>
                  <a:pt x="13500" y="5812"/>
                </a:cubicBezTo>
                <a:cubicBezTo>
                  <a:pt x="13500" y="5812"/>
                  <a:pt x="13500" y="5812"/>
                  <a:pt x="13500" y="5812"/>
                </a:cubicBezTo>
                <a:close/>
                <a:moveTo>
                  <a:pt x="13500" y="5625"/>
                </a:moveTo>
                <a:cubicBezTo>
                  <a:pt x="13531" y="5656"/>
                  <a:pt x="13531" y="5656"/>
                  <a:pt x="13531" y="5687"/>
                </a:cubicBezTo>
                <a:cubicBezTo>
                  <a:pt x="13531" y="5656"/>
                  <a:pt x="13531" y="5656"/>
                  <a:pt x="13500" y="5625"/>
                </a:cubicBezTo>
                <a:close/>
                <a:moveTo>
                  <a:pt x="13406" y="5281"/>
                </a:moveTo>
                <a:cubicBezTo>
                  <a:pt x="13375" y="5250"/>
                  <a:pt x="13344" y="5218"/>
                  <a:pt x="13375" y="5156"/>
                </a:cubicBezTo>
                <a:cubicBezTo>
                  <a:pt x="13375" y="5156"/>
                  <a:pt x="13406" y="5156"/>
                  <a:pt x="13406" y="5156"/>
                </a:cubicBezTo>
                <a:cubicBezTo>
                  <a:pt x="13438" y="5187"/>
                  <a:pt x="13406" y="5250"/>
                  <a:pt x="13406" y="5281"/>
                </a:cubicBezTo>
                <a:close/>
                <a:moveTo>
                  <a:pt x="13313" y="5062"/>
                </a:moveTo>
                <a:cubicBezTo>
                  <a:pt x="13344" y="5031"/>
                  <a:pt x="13219" y="5000"/>
                  <a:pt x="13281" y="4937"/>
                </a:cubicBezTo>
                <a:cubicBezTo>
                  <a:pt x="13313" y="4968"/>
                  <a:pt x="13344" y="5000"/>
                  <a:pt x="13375" y="5062"/>
                </a:cubicBezTo>
                <a:cubicBezTo>
                  <a:pt x="13375" y="5062"/>
                  <a:pt x="13406" y="5062"/>
                  <a:pt x="13375" y="5093"/>
                </a:cubicBezTo>
                <a:cubicBezTo>
                  <a:pt x="13375" y="5125"/>
                  <a:pt x="13344" y="5125"/>
                  <a:pt x="13313" y="5125"/>
                </a:cubicBezTo>
                <a:cubicBezTo>
                  <a:pt x="13313" y="5125"/>
                  <a:pt x="13281" y="5093"/>
                  <a:pt x="13313" y="5062"/>
                </a:cubicBezTo>
                <a:close/>
                <a:moveTo>
                  <a:pt x="13281" y="5593"/>
                </a:moveTo>
                <a:cubicBezTo>
                  <a:pt x="13281" y="5562"/>
                  <a:pt x="13250" y="5531"/>
                  <a:pt x="13250" y="5500"/>
                </a:cubicBezTo>
                <a:cubicBezTo>
                  <a:pt x="13250" y="5500"/>
                  <a:pt x="13344" y="5531"/>
                  <a:pt x="13281" y="5468"/>
                </a:cubicBezTo>
                <a:cubicBezTo>
                  <a:pt x="13219" y="5375"/>
                  <a:pt x="13313" y="5375"/>
                  <a:pt x="13344" y="5312"/>
                </a:cubicBezTo>
                <a:cubicBezTo>
                  <a:pt x="13375" y="5343"/>
                  <a:pt x="13344" y="5375"/>
                  <a:pt x="13375" y="5375"/>
                </a:cubicBezTo>
                <a:cubicBezTo>
                  <a:pt x="13406" y="5375"/>
                  <a:pt x="13406" y="5406"/>
                  <a:pt x="13406" y="5437"/>
                </a:cubicBezTo>
                <a:cubicBezTo>
                  <a:pt x="13375" y="5468"/>
                  <a:pt x="13375" y="5562"/>
                  <a:pt x="13344" y="5625"/>
                </a:cubicBezTo>
                <a:cubicBezTo>
                  <a:pt x="13313" y="5656"/>
                  <a:pt x="13313" y="5656"/>
                  <a:pt x="13313" y="5687"/>
                </a:cubicBezTo>
                <a:cubicBezTo>
                  <a:pt x="13344" y="5718"/>
                  <a:pt x="13250" y="5750"/>
                  <a:pt x="13250" y="5781"/>
                </a:cubicBezTo>
                <a:cubicBezTo>
                  <a:pt x="13250" y="5781"/>
                  <a:pt x="13219" y="5781"/>
                  <a:pt x="13219" y="5781"/>
                </a:cubicBezTo>
                <a:cubicBezTo>
                  <a:pt x="13219" y="5656"/>
                  <a:pt x="13125" y="5593"/>
                  <a:pt x="13094" y="5500"/>
                </a:cubicBezTo>
                <a:cubicBezTo>
                  <a:pt x="13219" y="5437"/>
                  <a:pt x="13188" y="5656"/>
                  <a:pt x="13281" y="5593"/>
                </a:cubicBezTo>
                <a:close/>
                <a:moveTo>
                  <a:pt x="13344" y="6843"/>
                </a:moveTo>
                <a:cubicBezTo>
                  <a:pt x="13344" y="6875"/>
                  <a:pt x="13344" y="6875"/>
                  <a:pt x="13344" y="6875"/>
                </a:cubicBezTo>
                <a:cubicBezTo>
                  <a:pt x="13344" y="6875"/>
                  <a:pt x="13344" y="6875"/>
                  <a:pt x="13344" y="6843"/>
                </a:cubicBezTo>
                <a:cubicBezTo>
                  <a:pt x="13344" y="6843"/>
                  <a:pt x="13344" y="6843"/>
                  <a:pt x="13344" y="6843"/>
                </a:cubicBezTo>
                <a:close/>
                <a:moveTo>
                  <a:pt x="13094" y="6187"/>
                </a:moveTo>
                <a:cubicBezTo>
                  <a:pt x="13125" y="6187"/>
                  <a:pt x="13125" y="6156"/>
                  <a:pt x="13125" y="6156"/>
                </a:cubicBezTo>
                <a:cubicBezTo>
                  <a:pt x="13094" y="6156"/>
                  <a:pt x="13094" y="6156"/>
                  <a:pt x="13063" y="6125"/>
                </a:cubicBezTo>
                <a:cubicBezTo>
                  <a:pt x="13094" y="6156"/>
                  <a:pt x="13094" y="6156"/>
                  <a:pt x="13125" y="6156"/>
                </a:cubicBezTo>
                <a:cubicBezTo>
                  <a:pt x="13156" y="6156"/>
                  <a:pt x="13156" y="6156"/>
                  <a:pt x="13188" y="6156"/>
                </a:cubicBezTo>
                <a:cubicBezTo>
                  <a:pt x="13188" y="6156"/>
                  <a:pt x="13188" y="6187"/>
                  <a:pt x="13188" y="6187"/>
                </a:cubicBezTo>
                <a:cubicBezTo>
                  <a:pt x="13188" y="6218"/>
                  <a:pt x="13156" y="6281"/>
                  <a:pt x="13156" y="6281"/>
                </a:cubicBezTo>
                <a:cubicBezTo>
                  <a:pt x="13125" y="6312"/>
                  <a:pt x="13094" y="6343"/>
                  <a:pt x="13063" y="6312"/>
                </a:cubicBezTo>
                <a:cubicBezTo>
                  <a:pt x="13031" y="6312"/>
                  <a:pt x="13031" y="6281"/>
                  <a:pt x="13031" y="6250"/>
                </a:cubicBezTo>
                <a:cubicBezTo>
                  <a:pt x="13000" y="6187"/>
                  <a:pt x="13063" y="6187"/>
                  <a:pt x="13094" y="6187"/>
                </a:cubicBezTo>
                <a:close/>
                <a:moveTo>
                  <a:pt x="13250" y="6875"/>
                </a:moveTo>
                <a:cubicBezTo>
                  <a:pt x="13156" y="6875"/>
                  <a:pt x="13094" y="6812"/>
                  <a:pt x="13000" y="6812"/>
                </a:cubicBezTo>
                <a:cubicBezTo>
                  <a:pt x="13000" y="6812"/>
                  <a:pt x="13000" y="6781"/>
                  <a:pt x="13000" y="6781"/>
                </a:cubicBezTo>
                <a:cubicBezTo>
                  <a:pt x="13000" y="6750"/>
                  <a:pt x="13031" y="6750"/>
                  <a:pt x="13031" y="6750"/>
                </a:cubicBezTo>
                <a:cubicBezTo>
                  <a:pt x="13094" y="6781"/>
                  <a:pt x="13156" y="6718"/>
                  <a:pt x="13219" y="6781"/>
                </a:cubicBezTo>
                <a:cubicBezTo>
                  <a:pt x="13219" y="6812"/>
                  <a:pt x="13219" y="6843"/>
                  <a:pt x="13250" y="6875"/>
                </a:cubicBezTo>
                <a:cubicBezTo>
                  <a:pt x="13281" y="6875"/>
                  <a:pt x="13281" y="6875"/>
                  <a:pt x="13281" y="6875"/>
                </a:cubicBezTo>
                <a:cubicBezTo>
                  <a:pt x="13281" y="6875"/>
                  <a:pt x="13281" y="6875"/>
                  <a:pt x="13250" y="6875"/>
                </a:cubicBezTo>
                <a:close/>
                <a:moveTo>
                  <a:pt x="13719" y="8093"/>
                </a:moveTo>
                <a:cubicBezTo>
                  <a:pt x="13594" y="8062"/>
                  <a:pt x="13438" y="8000"/>
                  <a:pt x="13281" y="7937"/>
                </a:cubicBezTo>
                <a:cubicBezTo>
                  <a:pt x="13438" y="8000"/>
                  <a:pt x="13594" y="8062"/>
                  <a:pt x="13719" y="8093"/>
                </a:cubicBezTo>
                <a:cubicBezTo>
                  <a:pt x="13781" y="8125"/>
                  <a:pt x="13813" y="8125"/>
                  <a:pt x="13875" y="8156"/>
                </a:cubicBezTo>
                <a:cubicBezTo>
                  <a:pt x="13813" y="8125"/>
                  <a:pt x="13781" y="8125"/>
                  <a:pt x="13719" y="8093"/>
                </a:cubicBezTo>
                <a:close/>
                <a:moveTo>
                  <a:pt x="14094" y="6437"/>
                </a:moveTo>
                <a:cubicBezTo>
                  <a:pt x="14094" y="6437"/>
                  <a:pt x="14094" y="6468"/>
                  <a:pt x="14094" y="6500"/>
                </a:cubicBezTo>
                <a:cubicBezTo>
                  <a:pt x="14031" y="6468"/>
                  <a:pt x="14031" y="6500"/>
                  <a:pt x="14031" y="6531"/>
                </a:cubicBezTo>
                <a:cubicBezTo>
                  <a:pt x="14000" y="6656"/>
                  <a:pt x="14000" y="6781"/>
                  <a:pt x="13969" y="6906"/>
                </a:cubicBezTo>
                <a:cubicBezTo>
                  <a:pt x="13969" y="6968"/>
                  <a:pt x="13969" y="7000"/>
                  <a:pt x="14031" y="7000"/>
                </a:cubicBezTo>
                <a:cubicBezTo>
                  <a:pt x="14031" y="7031"/>
                  <a:pt x="14063" y="7031"/>
                  <a:pt x="14063" y="7062"/>
                </a:cubicBezTo>
                <a:cubicBezTo>
                  <a:pt x="14063" y="7062"/>
                  <a:pt x="14063" y="7062"/>
                  <a:pt x="14031" y="7093"/>
                </a:cubicBezTo>
                <a:cubicBezTo>
                  <a:pt x="14063" y="7093"/>
                  <a:pt x="14063" y="7093"/>
                  <a:pt x="14063" y="7093"/>
                </a:cubicBezTo>
                <a:cubicBezTo>
                  <a:pt x="14063" y="7093"/>
                  <a:pt x="14063" y="7093"/>
                  <a:pt x="14031" y="7093"/>
                </a:cubicBezTo>
                <a:cubicBezTo>
                  <a:pt x="14000" y="7062"/>
                  <a:pt x="13969" y="7062"/>
                  <a:pt x="13969" y="7093"/>
                </a:cubicBezTo>
                <a:cubicBezTo>
                  <a:pt x="13938" y="7156"/>
                  <a:pt x="13938" y="7156"/>
                  <a:pt x="13906" y="7125"/>
                </a:cubicBezTo>
                <a:cubicBezTo>
                  <a:pt x="13875" y="7125"/>
                  <a:pt x="13875" y="7093"/>
                  <a:pt x="13875" y="7062"/>
                </a:cubicBezTo>
                <a:cubicBezTo>
                  <a:pt x="13906" y="7031"/>
                  <a:pt x="13906" y="7000"/>
                  <a:pt x="13906" y="6968"/>
                </a:cubicBezTo>
                <a:cubicBezTo>
                  <a:pt x="13906" y="6968"/>
                  <a:pt x="13906" y="6968"/>
                  <a:pt x="13906" y="6968"/>
                </a:cubicBezTo>
                <a:cubicBezTo>
                  <a:pt x="13906" y="6812"/>
                  <a:pt x="13938" y="6656"/>
                  <a:pt x="13969" y="6500"/>
                </a:cubicBezTo>
                <a:cubicBezTo>
                  <a:pt x="13969" y="6468"/>
                  <a:pt x="13969" y="6437"/>
                  <a:pt x="13906" y="6437"/>
                </a:cubicBezTo>
                <a:cubicBezTo>
                  <a:pt x="13906" y="6406"/>
                  <a:pt x="13906" y="6375"/>
                  <a:pt x="13906" y="6406"/>
                </a:cubicBezTo>
                <a:cubicBezTo>
                  <a:pt x="14000" y="6406"/>
                  <a:pt x="13969" y="6343"/>
                  <a:pt x="13969" y="6312"/>
                </a:cubicBezTo>
                <a:cubicBezTo>
                  <a:pt x="14000" y="6312"/>
                  <a:pt x="14000" y="6281"/>
                  <a:pt x="14000" y="6250"/>
                </a:cubicBezTo>
                <a:cubicBezTo>
                  <a:pt x="14031" y="6218"/>
                  <a:pt x="14031" y="6187"/>
                  <a:pt x="14000" y="6156"/>
                </a:cubicBezTo>
                <a:cubicBezTo>
                  <a:pt x="14031" y="6062"/>
                  <a:pt x="14031" y="6000"/>
                  <a:pt x="14063" y="5906"/>
                </a:cubicBezTo>
                <a:cubicBezTo>
                  <a:pt x="14063" y="5875"/>
                  <a:pt x="14063" y="5812"/>
                  <a:pt x="14000" y="5812"/>
                </a:cubicBezTo>
                <a:cubicBezTo>
                  <a:pt x="14000" y="5812"/>
                  <a:pt x="14000" y="5812"/>
                  <a:pt x="14000" y="5812"/>
                </a:cubicBezTo>
                <a:cubicBezTo>
                  <a:pt x="14000" y="5812"/>
                  <a:pt x="14000" y="5781"/>
                  <a:pt x="13969" y="5781"/>
                </a:cubicBezTo>
                <a:cubicBezTo>
                  <a:pt x="13969" y="5781"/>
                  <a:pt x="13938" y="5781"/>
                  <a:pt x="13938" y="5781"/>
                </a:cubicBezTo>
                <a:cubicBezTo>
                  <a:pt x="13938" y="5781"/>
                  <a:pt x="13969" y="5781"/>
                  <a:pt x="13969" y="5781"/>
                </a:cubicBezTo>
                <a:cubicBezTo>
                  <a:pt x="13969" y="5781"/>
                  <a:pt x="13969" y="5781"/>
                  <a:pt x="13969" y="5781"/>
                </a:cubicBezTo>
                <a:cubicBezTo>
                  <a:pt x="14031" y="5781"/>
                  <a:pt x="14094" y="5781"/>
                  <a:pt x="14094" y="5687"/>
                </a:cubicBezTo>
                <a:cubicBezTo>
                  <a:pt x="14094" y="5687"/>
                  <a:pt x="14094" y="5687"/>
                  <a:pt x="14094" y="5687"/>
                </a:cubicBezTo>
                <a:cubicBezTo>
                  <a:pt x="14094" y="5562"/>
                  <a:pt x="14156" y="5406"/>
                  <a:pt x="14156" y="5281"/>
                </a:cubicBezTo>
                <a:cubicBezTo>
                  <a:pt x="14156" y="5187"/>
                  <a:pt x="14219" y="5125"/>
                  <a:pt x="14188" y="5031"/>
                </a:cubicBezTo>
                <a:cubicBezTo>
                  <a:pt x="14188" y="5031"/>
                  <a:pt x="14188" y="5031"/>
                  <a:pt x="14188" y="5031"/>
                </a:cubicBezTo>
                <a:cubicBezTo>
                  <a:pt x="14188" y="5031"/>
                  <a:pt x="14188" y="5031"/>
                  <a:pt x="14188" y="5031"/>
                </a:cubicBezTo>
                <a:cubicBezTo>
                  <a:pt x="14188" y="4937"/>
                  <a:pt x="14219" y="4875"/>
                  <a:pt x="14219" y="4781"/>
                </a:cubicBezTo>
                <a:cubicBezTo>
                  <a:pt x="14219" y="4750"/>
                  <a:pt x="14250" y="4750"/>
                  <a:pt x="14188" y="4718"/>
                </a:cubicBezTo>
                <a:cubicBezTo>
                  <a:pt x="14250" y="4656"/>
                  <a:pt x="14281" y="4687"/>
                  <a:pt x="14313" y="4750"/>
                </a:cubicBezTo>
                <a:cubicBezTo>
                  <a:pt x="14313" y="4781"/>
                  <a:pt x="14375" y="4812"/>
                  <a:pt x="14313" y="4843"/>
                </a:cubicBezTo>
                <a:cubicBezTo>
                  <a:pt x="14344" y="4906"/>
                  <a:pt x="14344" y="4937"/>
                  <a:pt x="14313" y="4968"/>
                </a:cubicBezTo>
                <a:cubicBezTo>
                  <a:pt x="14344" y="4937"/>
                  <a:pt x="14344" y="4906"/>
                  <a:pt x="14313" y="4843"/>
                </a:cubicBezTo>
                <a:cubicBezTo>
                  <a:pt x="14313" y="4843"/>
                  <a:pt x="14313" y="4812"/>
                  <a:pt x="14281" y="4843"/>
                </a:cubicBezTo>
                <a:cubicBezTo>
                  <a:pt x="14281" y="4906"/>
                  <a:pt x="14250" y="4968"/>
                  <a:pt x="14281" y="5031"/>
                </a:cubicBezTo>
                <a:cubicBezTo>
                  <a:pt x="14313" y="5062"/>
                  <a:pt x="14344" y="5093"/>
                  <a:pt x="14281" y="5156"/>
                </a:cubicBezTo>
                <a:cubicBezTo>
                  <a:pt x="14250" y="5187"/>
                  <a:pt x="14250" y="5218"/>
                  <a:pt x="14281" y="5281"/>
                </a:cubicBezTo>
                <a:cubicBezTo>
                  <a:pt x="14281" y="5281"/>
                  <a:pt x="14281" y="5312"/>
                  <a:pt x="14250" y="5343"/>
                </a:cubicBezTo>
                <a:cubicBezTo>
                  <a:pt x="14281" y="5343"/>
                  <a:pt x="14281" y="5375"/>
                  <a:pt x="14281" y="5375"/>
                </a:cubicBezTo>
                <a:cubicBezTo>
                  <a:pt x="14281" y="5375"/>
                  <a:pt x="14281" y="5343"/>
                  <a:pt x="14250" y="5343"/>
                </a:cubicBezTo>
                <a:cubicBezTo>
                  <a:pt x="14219" y="5343"/>
                  <a:pt x="14219" y="5343"/>
                  <a:pt x="14219" y="5375"/>
                </a:cubicBezTo>
                <a:cubicBezTo>
                  <a:pt x="14188" y="5468"/>
                  <a:pt x="14188" y="5531"/>
                  <a:pt x="14188" y="5625"/>
                </a:cubicBezTo>
                <a:cubicBezTo>
                  <a:pt x="14188" y="5625"/>
                  <a:pt x="14156" y="5656"/>
                  <a:pt x="14188" y="5687"/>
                </a:cubicBezTo>
                <a:cubicBezTo>
                  <a:pt x="14219" y="5718"/>
                  <a:pt x="14250" y="5781"/>
                  <a:pt x="14188" y="5812"/>
                </a:cubicBezTo>
                <a:cubicBezTo>
                  <a:pt x="14156" y="5843"/>
                  <a:pt x="14219" y="5875"/>
                  <a:pt x="14188" y="5875"/>
                </a:cubicBezTo>
                <a:cubicBezTo>
                  <a:pt x="14188" y="5906"/>
                  <a:pt x="14188" y="5937"/>
                  <a:pt x="14188" y="5937"/>
                </a:cubicBezTo>
                <a:cubicBezTo>
                  <a:pt x="14188" y="5937"/>
                  <a:pt x="14188" y="5906"/>
                  <a:pt x="14188" y="5875"/>
                </a:cubicBezTo>
                <a:cubicBezTo>
                  <a:pt x="14156" y="5875"/>
                  <a:pt x="14125" y="5875"/>
                  <a:pt x="14125" y="5906"/>
                </a:cubicBezTo>
                <a:cubicBezTo>
                  <a:pt x="14125" y="6031"/>
                  <a:pt x="14063" y="6187"/>
                  <a:pt x="14094" y="6312"/>
                </a:cubicBezTo>
                <a:cubicBezTo>
                  <a:pt x="14125" y="6343"/>
                  <a:pt x="14219" y="6375"/>
                  <a:pt x="14094" y="6437"/>
                </a:cubicBezTo>
                <a:close/>
                <a:moveTo>
                  <a:pt x="14188" y="8843"/>
                </a:moveTo>
                <a:cubicBezTo>
                  <a:pt x="14188" y="8843"/>
                  <a:pt x="14188" y="8843"/>
                  <a:pt x="14188" y="8843"/>
                </a:cubicBezTo>
                <a:cubicBezTo>
                  <a:pt x="14188" y="8843"/>
                  <a:pt x="14188" y="8843"/>
                  <a:pt x="14188" y="8843"/>
                </a:cubicBezTo>
                <a:cubicBezTo>
                  <a:pt x="14219" y="8843"/>
                  <a:pt x="14219" y="8843"/>
                  <a:pt x="14219" y="8843"/>
                </a:cubicBezTo>
                <a:cubicBezTo>
                  <a:pt x="14219" y="8843"/>
                  <a:pt x="14219" y="8843"/>
                  <a:pt x="14188" y="8843"/>
                </a:cubicBezTo>
                <a:close/>
                <a:moveTo>
                  <a:pt x="14375" y="9093"/>
                </a:moveTo>
                <a:cubicBezTo>
                  <a:pt x="14313" y="9093"/>
                  <a:pt x="14250" y="9062"/>
                  <a:pt x="14219" y="9031"/>
                </a:cubicBezTo>
                <a:cubicBezTo>
                  <a:pt x="14219" y="9031"/>
                  <a:pt x="14219" y="9031"/>
                  <a:pt x="14219" y="9031"/>
                </a:cubicBezTo>
                <a:cubicBezTo>
                  <a:pt x="14219" y="9031"/>
                  <a:pt x="14219" y="9031"/>
                  <a:pt x="14250" y="9031"/>
                </a:cubicBezTo>
                <a:cubicBezTo>
                  <a:pt x="14250" y="9031"/>
                  <a:pt x="14250" y="9031"/>
                  <a:pt x="14250" y="9031"/>
                </a:cubicBezTo>
                <a:cubicBezTo>
                  <a:pt x="14281" y="9000"/>
                  <a:pt x="14313" y="9062"/>
                  <a:pt x="14375" y="9031"/>
                </a:cubicBezTo>
                <a:cubicBezTo>
                  <a:pt x="14375" y="9000"/>
                  <a:pt x="14344" y="9000"/>
                  <a:pt x="14344" y="8968"/>
                </a:cubicBezTo>
                <a:cubicBezTo>
                  <a:pt x="14406" y="9000"/>
                  <a:pt x="14469" y="9000"/>
                  <a:pt x="14531" y="8968"/>
                </a:cubicBezTo>
                <a:cubicBezTo>
                  <a:pt x="14563" y="8968"/>
                  <a:pt x="14594" y="8937"/>
                  <a:pt x="14625" y="8968"/>
                </a:cubicBezTo>
                <a:cubicBezTo>
                  <a:pt x="14656" y="8968"/>
                  <a:pt x="14656" y="9000"/>
                  <a:pt x="14625" y="9000"/>
                </a:cubicBezTo>
                <a:cubicBezTo>
                  <a:pt x="14594" y="9000"/>
                  <a:pt x="14563" y="9000"/>
                  <a:pt x="14563" y="9031"/>
                </a:cubicBezTo>
                <a:cubicBezTo>
                  <a:pt x="14563" y="9031"/>
                  <a:pt x="14563" y="9031"/>
                  <a:pt x="14563" y="9031"/>
                </a:cubicBezTo>
                <a:cubicBezTo>
                  <a:pt x="14500" y="9000"/>
                  <a:pt x="14438" y="9031"/>
                  <a:pt x="14375" y="9093"/>
                </a:cubicBezTo>
                <a:cubicBezTo>
                  <a:pt x="14438" y="9062"/>
                  <a:pt x="14500" y="9125"/>
                  <a:pt x="14531" y="9125"/>
                </a:cubicBezTo>
                <a:cubicBezTo>
                  <a:pt x="14531" y="9125"/>
                  <a:pt x="14531" y="9125"/>
                  <a:pt x="14531" y="9125"/>
                </a:cubicBezTo>
                <a:cubicBezTo>
                  <a:pt x="14563" y="9156"/>
                  <a:pt x="14531" y="9156"/>
                  <a:pt x="14531" y="9156"/>
                </a:cubicBezTo>
                <a:cubicBezTo>
                  <a:pt x="14500" y="9125"/>
                  <a:pt x="14406" y="9156"/>
                  <a:pt x="14375" y="9093"/>
                </a:cubicBezTo>
                <a:close/>
                <a:moveTo>
                  <a:pt x="13781" y="11781"/>
                </a:moveTo>
                <a:cubicBezTo>
                  <a:pt x="13813" y="11812"/>
                  <a:pt x="13813" y="11843"/>
                  <a:pt x="13813" y="11874"/>
                </a:cubicBezTo>
                <a:cubicBezTo>
                  <a:pt x="13781" y="12093"/>
                  <a:pt x="13781" y="12312"/>
                  <a:pt x="13781" y="12562"/>
                </a:cubicBezTo>
                <a:cubicBezTo>
                  <a:pt x="13781" y="12624"/>
                  <a:pt x="13781" y="12656"/>
                  <a:pt x="13844" y="12656"/>
                </a:cubicBezTo>
                <a:cubicBezTo>
                  <a:pt x="14094" y="12718"/>
                  <a:pt x="14344" y="12812"/>
                  <a:pt x="14594" y="12874"/>
                </a:cubicBezTo>
                <a:cubicBezTo>
                  <a:pt x="14625" y="12874"/>
                  <a:pt x="14656" y="12874"/>
                  <a:pt x="14688" y="12906"/>
                </a:cubicBezTo>
                <a:cubicBezTo>
                  <a:pt x="14688" y="12937"/>
                  <a:pt x="14719" y="12937"/>
                  <a:pt x="14750" y="12937"/>
                </a:cubicBezTo>
                <a:cubicBezTo>
                  <a:pt x="14719" y="12937"/>
                  <a:pt x="14688" y="12937"/>
                  <a:pt x="14688" y="12906"/>
                </a:cubicBezTo>
                <a:cubicBezTo>
                  <a:pt x="14563" y="12999"/>
                  <a:pt x="14563" y="12999"/>
                  <a:pt x="14781" y="13093"/>
                </a:cubicBezTo>
                <a:cubicBezTo>
                  <a:pt x="14656" y="13093"/>
                  <a:pt x="14594" y="13062"/>
                  <a:pt x="14563" y="12968"/>
                </a:cubicBezTo>
                <a:cubicBezTo>
                  <a:pt x="14563" y="12906"/>
                  <a:pt x="14531" y="12906"/>
                  <a:pt x="14500" y="12906"/>
                </a:cubicBezTo>
                <a:cubicBezTo>
                  <a:pt x="14313" y="12843"/>
                  <a:pt x="14125" y="12781"/>
                  <a:pt x="13938" y="12749"/>
                </a:cubicBezTo>
                <a:cubicBezTo>
                  <a:pt x="13906" y="12718"/>
                  <a:pt x="13906" y="12718"/>
                  <a:pt x="13875" y="12718"/>
                </a:cubicBezTo>
                <a:cubicBezTo>
                  <a:pt x="13813" y="12718"/>
                  <a:pt x="13750" y="12687"/>
                  <a:pt x="13719" y="12624"/>
                </a:cubicBezTo>
                <a:cubicBezTo>
                  <a:pt x="13750" y="12343"/>
                  <a:pt x="13750" y="12062"/>
                  <a:pt x="13781" y="11781"/>
                </a:cubicBezTo>
                <a:close/>
                <a:moveTo>
                  <a:pt x="13375" y="13968"/>
                </a:moveTo>
                <a:cubicBezTo>
                  <a:pt x="13375" y="13968"/>
                  <a:pt x="13375" y="13968"/>
                  <a:pt x="13375" y="13968"/>
                </a:cubicBezTo>
                <a:cubicBezTo>
                  <a:pt x="13375" y="13968"/>
                  <a:pt x="13375" y="13968"/>
                  <a:pt x="13375" y="13968"/>
                </a:cubicBezTo>
                <a:cubicBezTo>
                  <a:pt x="13375" y="13968"/>
                  <a:pt x="13375" y="13968"/>
                  <a:pt x="13375" y="13968"/>
                </a:cubicBezTo>
                <a:close/>
                <a:moveTo>
                  <a:pt x="13438" y="12562"/>
                </a:moveTo>
                <a:cubicBezTo>
                  <a:pt x="13469" y="12562"/>
                  <a:pt x="13500" y="12562"/>
                  <a:pt x="13531" y="12562"/>
                </a:cubicBezTo>
                <a:cubicBezTo>
                  <a:pt x="13500" y="12624"/>
                  <a:pt x="13438" y="12624"/>
                  <a:pt x="13344" y="12562"/>
                </a:cubicBezTo>
                <a:cubicBezTo>
                  <a:pt x="13375" y="12499"/>
                  <a:pt x="13406" y="12531"/>
                  <a:pt x="13438" y="12562"/>
                </a:cubicBezTo>
                <a:close/>
                <a:moveTo>
                  <a:pt x="12719" y="12718"/>
                </a:moveTo>
                <a:cubicBezTo>
                  <a:pt x="12750" y="12718"/>
                  <a:pt x="12750" y="12718"/>
                  <a:pt x="12781" y="12718"/>
                </a:cubicBezTo>
                <a:cubicBezTo>
                  <a:pt x="12750" y="12718"/>
                  <a:pt x="12750" y="12718"/>
                  <a:pt x="12719" y="12718"/>
                </a:cubicBezTo>
                <a:close/>
                <a:moveTo>
                  <a:pt x="12563" y="12249"/>
                </a:moveTo>
                <a:cubicBezTo>
                  <a:pt x="12563" y="12249"/>
                  <a:pt x="12563" y="12218"/>
                  <a:pt x="12563" y="12218"/>
                </a:cubicBezTo>
                <a:cubicBezTo>
                  <a:pt x="12563" y="12187"/>
                  <a:pt x="12563" y="12124"/>
                  <a:pt x="12563" y="12093"/>
                </a:cubicBezTo>
                <a:cubicBezTo>
                  <a:pt x="12563" y="12124"/>
                  <a:pt x="12563" y="12187"/>
                  <a:pt x="12563" y="12218"/>
                </a:cubicBezTo>
                <a:cubicBezTo>
                  <a:pt x="12594" y="12187"/>
                  <a:pt x="12594" y="12124"/>
                  <a:pt x="12594" y="12093"/>
                </a:cubicBezTo>
                <a:cubicBezTo>
                  <a:pt x="12594" y="12093"/>
                  <a:pt x="12625" y="12093"/>
                  <a:pt x="12625" y="12093"/>
                </a:cubicBezTo>
                <a:cubicBezTo>
                  <a:pt x="12625" y="12093"/>
                  <a:pt x="12625" y="12093"/>
                  <a:pt x="12625" y="12093"/>
                </a:cubicBezTo>
                <a:cubicBezTo>
                  <a:pt x="12625" y="12093"/>
                  <a:pt x="12625" y="12093"/>
                  <a:pt x="12625" y="12093"/>
                </a:cubicBezTo>
                <a:cubicBezTo>
                  <a:pt x="12625" y="12093"/>
                  <a:pt x="12625" y="12093"/>
                  <a:pt x="12656" y="12093"/>
                </a:cubicBezTo>
                <a:cubicBezTo>
                  <a:pt x="12656" y="12093"/>
                  <a:pt x="12656" y="12093"/>
                  <a:pt x="12656" y="12093"/>
                </a:cubicBezTo>
                <a:cubicBezTo>
                  <a:pt x="12656" y="12093"/>
                  <a:pt x="12656" y="12093"/>
                  <a:pt x="12656" y="12093"/>
                </a:cubicBezTo>
                <a:cubicBezTo>
                  <a:pt x="12656" y="12124"/>
                  <a:pt x="12688" y="12093"/>
                  <a:pt x="12688" y="12093"/>
                </a:cubicBezTo>
                <a:cubicBezTo>
                  <a:pt x="12719" y="12124"/>
                  <a:pt x="12719" y="12124"/>
                  <a:pt x="12719" y="12124"/>
                </a:cubicBezTo>
                <a:cubicBezTo>
                  <a:pt x="12750" y="12156"/>
                  <a:pt x="12813" y="12124"/>
                  <a:pt x="12844" y="12156"/>
                </a:cubicBezTo>
                <a:cubicBezTo>
                  <a:pt x="12875" y="12156"/>
                  <a:pt x="12906" y="12156"/>
                  <a:pt x="12906" y="12218"/>
                </a:cubicBezTo>
                <a:cubicBezTo>
                  <a:pt x="12844" y="12281"/>
                  <a:pt x="12813" y="12312"/>
                  <a:pt x="12688" y="12312"/>
                </a:cubicBezTo>
                <a:cubicBezTo>
                  <a:pt x="12594" y="12312"/>
                  <a:pt x="12594" y="12312"/>
                  <a:pt x="12563" y="12249"/>
                </a:cubicBezTo>
                <a:cubicBezTo>
                  <a:pt x="12563" y="12218"/>
                  <a:pt x="12531" y="12218"/>
                  <a:pt x="12531" y="12187"/>
                </a:cubicBezTo>
                <a:cubicBezTo>
                  <a:pt x="12531" y="12218"/>
                  <a:pt x="12563" y="12218"/>
                  <a:pt x="12563" y="12249"/>
                </a:cubicBezTo>
                <a:close/>
                <a:moveTo>
                  <a:pt x="12500" y="12093"/>
                </a:moveTo>
                <a:cubicBezTo>
                  <a:pt x="12500" y="12062"/>
                  <a:pt x="12500" y="12062"/>
                  <a:pt x="12531" y="12062"/>
                </a:cubicBezTo>
                <a:cubicBezTo>
                  <a:pt x="12531" y="12062"/>
                  <a:pt x="12531" y="12093"/>
                  <a:pt x="12531" y="12093"/>
                </a:cubicBezTo>
                <a:cubicBezTo>
                  <a:pt x="12500" y="12156"/>
                  <a:pt x="12500" y="12218"/>
                  <a:pt x="12500" y="12281"/>
                </a:cubicBezTo>
                <a:cubicBezTo>
                  <a:pt x="12469" y="12249"/>
                  <a:pt x="12469" y="12218"/>
                  <a:pt x="12438" y="12187"/>
                </a:cubicBezTo>
                <a:cubicBezTo>
                  <a:pt x="12469" y="12156"/>
                  <a:pt x="12469" y="12124"/>
                  <a:pt x="12500" y="12093"/>
                </a:cubicBezTo>
                <a:close/>
                <a:moveTo>
                  <a:pt x="12438" y="14031"/>
                </a:moveTo>
                <a:cubicBezTo>
                  <a:pt x="12344" y="14062"/>
                  <a:pt x="12281" y="14093"/>
                  <a:pt x="12219" y="14093"/>
                </a:cubicBezTo>
                <a:cubicBezTo>
                  <a:pt x="12188" y="14093"/>
                  <a:pt x="12125" y="14156"/>
                  <a:pt x="12094" y="14062"/>
                </a:cubicBezTo>
                <a:cubicBezTo>
                  <a:pt x="12188" y="14062"/>
                  <a:pt x="12281" y="13999"/>
                  <a:pt x="12438" y="14031"/>
                </a:cubicBezTo>
                <a:close/>
                <a:moveTo>
                  <a:pt x="8219" y="11281"/>
                </a:moveTo>
                <a:cubicBezTo>
                  <a:pt x="8188" y="11218"/>
                  <a:pt x="8250" y="11187"/>
                  <a:pt x="8250" y="11156"/>
                </a:cubicBezTo>
                <a:cubicBezTo>
                  <a:pt x="8250" y="11156"/>
                  <a:pt x="8250" y="11156"/>
                  <a:pt x="8281" y="11156"/>
                </a:cubicBezTo>
                <a:cubicBezTo>
                  <a:pt x="8281" y="11187"/>
                  <a:pt x="8250" y="11249"/>
                  <a:pt x="8219" y="11281"/>
                </a:cubicBezTo>
                <a:close/>
                <a:moveTo>
                  <a:pt x="8719" y="11437"/>
                </a:moveTo>
                <a:cubicBezTo>
                  <a:pt x="8688" y="11374"/>
                  <a:pt x="8750" y="11343"/>
                  <a:pt x="8750" y="11281"/>
                </a:cubicBezTo>
                <a:cubicBezTo>
                  <a:pt x="8750" y="11343"/>
                  <a:pt x="8750" y="11374"/>
                  <a:pt x="8719" y="11437"/>
                </a:cubicBezTo>
                <a:close/>
                <a:moveTo>
                  <a:pt x="9406" y="11437"/>
                </a:moveTo>
                <a:cubicBezTo>
                  <a:pt x="9313" y="11437"/>
                  <a:pt x="9250" y="11468"/>
                  <a:pt x="9250" y="11531"/>
                </a:cubicBezTo>
                <a:cubicBezTo>
                  <a:pt x="9250" y="11562"/>
                  <a:pt x="9219" y="11562"/>
                  <a:pt x="9219" y="11562"/>
                </a:cubicBezTo>
                <a:cubicBezTo>
                  <a:pt x="9125" y="11499"/>
                  <a:pt x="9094" y="11406"/>
                  <a:pt x="9156" y="11312"/>
                </a:cubicBezTo>
                <a:cubicBezTo>
                  <a:pt x="9188" y="11281"/>
                  <a:pt x="9219" y="11281"/>
                  <a:pt x="9188" y="11249"/>
                </a:cubicBezTo>
                <a:cubicBezTo>
                  <a:pt x="9156" y="11249"/>
                  <a:pt x="9156" y="11249"/>
                  <a:pt x="9125" y="11281"/>
                </a:cubicBezTo>
                <a:cubicBezTo>
                  <a:pt x="9125" y="11281"/>
                  <a:pt x="9125" y="11343"/>
                  <a:pt x="9094" y="11312"/>
                </a:cubicBezTo>
                <a:cubicBezTo>
                  <a:pt x="9031" y="11312"/>
                  <a:pt x="9063" y="11281"/>
                  <a:pt x="9063" y="11249"/>
                </a:cubicBezTo>
                <a:cubicBezTo>
                  <a:pt x="9156" y="11156"/>
                  <a:pt x="9188" y="11156"/>
                  <a:pt x="9250" y="11249"/>
                </a:cubicBezTo>
                <a:cubicBezTo>
                  <a:pt x="9281" y="11281"/>
                  <a:pt x="9344" y="11312"/>
                  <a:pt x="9375" y="11343"/>
                </a:cubicBezTo>
                <a:cubicBezTo>
                  <a:pt x="9344" y="11374"/>
                  <a:pt x="9375" y="11374"/>
                  <a:pt x="9406" y="11406"/>
                </a:cubicBezTo>
                <a:cubicBezTo>
                  <a:pt x="9406" y="11406"/>
                  <a:pt x="9406" y="11437"/>
                  <a:pt x="9406" y="11437"/>
                </a:cubicBezTo>
                <a:close/>
                <a:moveTo>
                  <a:pt x="9438" y="11374"/>
                </a:moveTo>
                <a:cubicBezTo>
                  <a:pt x="9438" y="11406"/>
                  <a:pt x="9438" y="11406"/>
                  <a:pt x="9406" y="11406"/>
                </a:cubicBezTo>
                <a:cubicBezTo>
                  <a:pt x="9438" y="11406"/>
                  <a:pt x="9438" y="11406"/>
                  <a:pt x="9438" y="11374"/>
                </a:cubicBezTo>
                <a:cubicBezTo>
                  <a:pt x="9438" y="11374"/>
                  <a:pt x="9438" y="11374"/>
                  <a:pt x="9438" y="11374"/>
                </a:cubicBezTo>
                <a:close/>
                <a:moveTo>
                  <a:pt x="10531" y="11718"/>
                </a:moveTo>
                <a:cubicBezTo>
                  <a:pt x="10531" y="11781"/>
                  <a:pt x="10531" y="11781"/>
                  <a:pt x="10469" y="11749"/>
                </a:cubicBezTo>
                <a:cubicBezTo>
                  <a:pt x="10438" y="11624"/>
                  <a:pt x="10531" y="11718"/>
                  <a:pt x="10563" y="11687"/>
                </a:cubicBezTo>
                <a:cubicBezTo>
                  <a:pt x="10563" y="11687"/>
                  <a:pt x="10563" y="11687"/>
                  <a:pt x="10563" y="11687"/>
                </a:cubicBezTo>
                <a:cubicBezTo>
                  <a:pt x="10563" y="11687"/>
                  <a:pt x="10531" y="11718"/>
                  <a:pt x="10531" y="11718"/>
                </a:cubicBezTo>
                <a:close/>
                <a:moveTo>
                  <a:pt x="11219" y="11937"/>
                </a:moveTo>
                <a:cubicBezTo>
                  <a:pt x="11188" y="11937"/>
                  <a:pt x="11188" y="11937"/>
                  <a:pt x="11188" y="11937"/>
                </a:cubicBezTo>
                <a:cubicBezTo>
                  <a:pt x="11188" y="11937"/>
                  <a:pt x="11188" y="11937"/>
                  <a:pt x="11219" y="11937"/>
                </a:cubicBezTo>
                <a:cubicBezTo>
                  <a:pt x="11219" y="11937"/>
                  <a:pt x="11219" y="11937"/>
                  <a:pt x="11219" y="11937"/>
                </a:cubicBezTo>
                <a:close/>
                <a:moveTo>
                  <a:pt x="11938" y="14124"/>
                </a:moveTo>
                <a:cubicBezTo>
                  <a:pt x="11969" y="14156"/>
                  <a:pt x="12000" y="14124"/>
                  <a:pt x="12031" y="14156"/>
                </a:cubicBezTo>
                <a:cubicBezTo>
                  <a:pt x="12031" y="14156"/>
                  <a:pt x="12063" y="14156"/>
                  <a:pt x="12063" y="14156"/>
                </a:cubicBezTo>
                <a:cubicBezTo>
                  <a:pt x="12063" y="14156"/>
                  <a:pt x="12031" y="14156"/>
                  <a:pt x="12031" y="14156"/>
                </a:cubicBezTo>
                <a:cubicBezTo>
                  <a:pt x="11906" y="14218"/>
                  <a:pt x="11781" y="14249"/>
                  <a:pt x="11656" y="14281"/>
                </a:cubicBezTo>
                <a:cubicBezTo>
                  <a:pt x="11625" y="14281"/>
                  <a:pt x="11625" y="14249"/>
                  <a:pt x="11625" y="14218"/>
                </a:cubicBezTo>
                <a:cubicBezTo>
                  <a:pt x="11625" y="14218"/>
                  <a:pt x="11625" y="14218"/>
                  <a:pt x="11594" y="14218"/>
                </a:cubicBezTo>
                <a:cubicBezTo>
                  <a:pt x="11625" y="14218"/>
                  <a:pt x="11625" y="14218"/>
                  <a:pt x="11625" y="14218"/>
                </a:cubicBezTo>
                <a:cubicBezTo>
                  <a:pt x="11719" y="14187"/>
                  <a:pt x="11813" y="14156"/>
                  <a:pt x="11938" y="14124"/>
                </a:cubicBezTo>
                <a:close/>
                <a:moveTo>
                  <a:pt x="11563" y="13999"/>
                </a:moveTo>
                <a:cubicBezTo>
                  <a:pt x="11594" y="13999"/>
                  <a:pt x="11625" y="13906"/>
                  <a:pt x="11688" y="13937"/>
                </a:cubicBezTo>
                <a:cubicBezTo>
                  <a:pt x="11656" y="13968"/>
                  <a:pt x="11594" y="13999"/>
                  <a:pt x="11594" y="14031"/>
                </a:cubicBezTo>
                <a:cubicBezTo>
                  <a:pt x="11563" y="14031"/>
                  <a:pt x="11531" y="13999"/>
                  <a:pt x="11563" y="13999"/>
                </a:cubicBezTo>
                <a:close/>
                <a:moveTo>
                  <a:pt x="8344" y="11624"/>
                </a:moveTo>
                <a:cubicBezTo>
                  <a:pt x="8375" y="11593"/>
                  <a:pt x="8438" y="11562"/>
                  <a:pt x="8469" y="11531"/>
                </a:cubicBezTo>
                <a:cubicBezTo>
                  <a:pt x="8500" y="11531"/>
                  <a:pt x="8500" y="11562"/>
                  <a:pt x="8500" y="11562"/>
                </a:cubicBezTo>
                <a:cubicBezTo>
                  <a:pt x="8500" y="11593"/>
                  <a:pt x="8500" y="11593"/>
                  <a:pt x="8469" y="11624"/>
                </a:cubicBezTo>
                <a:cubicBezTo>
                  <a:pt x="8438" y="11656"/>
                  <a:pt x="8406" y="11656"/>
                  <a:pt x="8438" y="11718"/>
                </a:cubicBezTo>
                <a:cubicBezTo>
                  <a:pt x="8469" y="11749"/>
                  <a:pt x="8500" y="11749"/>
                  <a:pt x="8531" y="11718"/>
                </a:cubicBezTo>
                <a:cubicBezTo>
                  <a:pt x="8563" y="11718"/>
                  <a:pt x="8563" y="11687"/>
                  <a:pt x="8563" y="11687"/>
                </a:cubicBezTo>
                <a:cubicBezTo>
                  <a:pt x="8563" y="11687"/>
                  <a:pt x="8563" y="11687"/>
                  <a:pt x="8563" y="11687"/>
                </a:cubicBezTo>
                <a:cubicBezTo>
                  <a:pt x="8594" y="11687"/>
                  <a:pt x="8625" y="11718"/>
                  <a:pt x="8594" y="11749"/>
                </a:cubicBezTo>
                <a:cubicBezTo>
                  <a:pt x="8500" y="11812"/>
                  <a:pt x="8563" y="11874"/>
                  <a:pt x="8625" y="11906"/>
                </a:cubicBezTo>
                <a:cubicBezTo>
                  <a:pt x="8625" y="11906"/>
                  <a:pt x="8625" y="11906"/>
                  <a:pt x="8625" y="11874"/>
                </a:cubicBezTo>
                <a:cubicBezTo>
                  <a:pt x="8625" y="11906"/>
                  <a:pt x="8625" y="11906"/>
                  <a:pt x="8625" y="11906"/>
                </a:cubicBezTo>
                <a:cubicBezTo>
                  <a:pt x="8625" y="11937"/>
                  <a:pt x="8625" y="11968"/>
                  <a:pt x="8594" y="11968"/>
                </a:cubicBezTo>
                <a:cubicBezTo>
                  <a:pt x="8563" y="11968"/>
                  <a:pt x="8531" y="11937"/>
                  <a:pt x="8531" y="11937"/>
                </a:cubicBezTo>
                <a:cubicBezTo>
                  <a:pt x="8500" y="11937"/>
                  <a:pt x="8469" y="11968"/>
                  <a:pt x="8469" y="11999"/>
                </a:cubicBezTo>
                <a:cubicBezTo>
                  <a:pt x="8469" y="11968"/>
                  <a:pt x="8500" y="11937"/>
                  <a:pt x="8531" y="11937"/>
                </a:cubicBezTo>
                <a:cubicBezTo>
                  <a:pt x="8500" y="11843"/>
                  <a:pt x="8406" y="11781"/>
                  <a:pt x="8375" y="11718"/>
                </a:cubicBezTo>
                <a:cubicBezTo>
                  <a:pt x="8344" y="11687"/>
                  <a:pt x="8313" y="11656"/>
                  <a:pt x="8344" y="11624"/>
                </a:cubicBezTo>
                <a:close/>
                <a:moveTo>
                  <a:pt x="7844" y="12031"/>
                </a:moveTo>
                <a:cubicBezTo>
                  <a:pt x="7875" y="12031"/>
                  <a:pt x="7906" y="12062"/>
                  <a:pt x="7938" y="12093"/>
                </a:cubicBezTo>
                <a:cubicBezTo>
                  <a:pt x="7969" y="12156"/>
                  <a:pt x="8031" y="12218"/>
                  <a:pt x="8094" y="12281"/>
                </a:cubicBezTo>
                <a:cubicBezTo>
                  <a:pt x="8094" y="12312"/>
                  <a:pt x="8125" y="12343"/>
                  <a:pt x="8094" y="12374"/>
                </a:cubicBezTo>
                <a:cubicBezTo>
                  <a:pt x="8063" y="12406"/>
                  <a:pt x="8063" y="12343"/>
                  <a:pt x="8031" y="12343"/>
                </a:cubicBezTo>
                <a:cubicBezTo>
                  <a:pt x="7969" y="12281"/>
                  <a:pt x="7906" y="12187"/>
                  <a:pt x="7875" y="12124"/>
                </a:cubicBezTo>
                <a:cubicBezTo>
                  <a:pt x="7844" y="12093"/>
                  <a:pt x="7844" y="12062"/>
                  <a:pt x="7844" y="12031"/>
                </a:cubicBezTo>
                <a:close/>
                <a:moveTo>
                  <a:pt x="7250" y="12281"/>
                </a:moveTo>
                <a:cubicBezTo>
                  <a:pt x="7219" y="12374"/>
                  <a:pt x="7156" y="12437"/>
                  <a:pt x="7125" y="12531"/>
                </a:cubicBezTo>
                <a:cubicBezTo>
                  <a:pt x="7094" y="12562"/>
                  <a:pt x="7094" y="12562"/>
                  <a:pt x="7063" y="12562"/>
                </a:cubicBezTo>
                <a:cubicBezTo>
                  <a:pt x="7063" y="12499"/>
                  <a:pt x="7094" y="12468"/>
                  <a:pt x="7125" y="12437"/>
                </a:cubicBezTo>
                <a:cubicBezTo>
                  <a:pt x="7250" y="12218"/>
                  <a:pt x="7281" y="11968"/>
                  <a:pt x="7344" y="11718"/>
                </a:cubicBezTo>
                <a:cubicBezTo>
                  <a:pt x="7344" y="11687"/>
                  <a:pt x="7344" y="11687"/>
                  <a:pt x="7375" y="11656"/>
                </a:cubicBezTo>
                <a:cubicBezTo>
                  <a:pt x="7375" y="11656"/>
                  <a:pt x="7375" y="11656"/>
                  <a:pt x="7375" y="11656"/>
                </a:cubicBezTo>
                <a:cubicBezTo>
                  <a:pt x="7375" y="11656"/>
                  <a:pt x="7375" y="11656"/>
                  <a:pt x="7375" y="11656"/>
                </a:cubicBezTo>
                <a:cubicBezTo>
                  <a:pt x="7375" y="11687"/>
                  <a:pt x="7406" y="11687"/>
                  <a:pt x="7438" y="11656"/>
                </a:cubicBezTo>
                <a:cubicBezTo>
                  <a:pt x="7438" y="11656"/>
                  <a:pt x="7438" y="11687"/>
                  <a:pt x="7438" y="11687"/>
                </a:cubicBezTo>
                <a:cubicBezTo>
                  <a:pt x="7438" y="11687"/>
                  <a:pt x="7438" y="11687"/>
                  <a:pt x="7438" y="11687"/>
                </a:cubicBezTo>
                <a:cubicBezTo>
                  <a:pt x="7375" y="11874"/>
                  <a:pt x="7313" y="12062"/>
                  <a:pt x="7250" y="12281"/>
                </a:cubicBezTo>
                <a:close/>
                <a:moveTo>
                  <a:pt x="7813" y="12624"/>
                </a:moveTo>
                <a:cubicBezTo>
                  <a:pt x="7750" y="12656"/>
                  <a:pt x="7750" y="12593"/>
                  <a:pt x="7750" y="12593"/>
                </a:cubicBezTo>
                <a:cubicBezTo>
                  <a:pt x="7656" y="12499"/>
                  <a:pt x="7563" y="12437"/>
                  <a:pt x="7531" y="12312"/>
                </a:cubicBezTo>
                <a:cubicBezTo>
                  <a:pt x="7531" y="12312"/>
                  <a:pt x="7531" y="12312"/>
                  <a:pt x="7563" y="12281"/>
                </a:cubicBezTo>
                <a:cubicBezTo>
                  <a:pt x="7594" y="12281"/>
                  <a:pt x="7594" y="12249"/>
                  <a:pt x="7625" y="12218"/>
                </a:cubicBezTo>
                <a:cubicBezTo>
                  <a:pt x="7656" y="12218"/>
                  <a:pt x="7688" y="12187"/>
                  <a:pt x="7719" y="12218"/>
                </a:cubicBezTo>
                <a:cubicBezTo>
                  <a:pt x="7719" y="12249"/>
                  <a:pt x="7719" y="12249"/>
                  <a:pt x="7688" y="12281"/>
                </a:cubicBezTo>
                <a:cubicBezTo>
                  <a:pt x="7656" y="12312"/>
                  <a:pt x="7625" y="12312"/>
                  <a:pt x="7656" y="12374"/>
                </a:cubicBezTo>
                <a:cubicBezTo>
                  <a:pt x="7688" y="12406"/>
                  <a:pt x="7719" y="12406"/>
                  <a:pt x="7750" y="12374"/>
                </a:cubicBezTo>
                <a:cubicBezTo>
                  <a:pt x="7750" y="12343"/>
                  <a:pt x="7781" y="12343"/>
                  <a:pt x="7813" y="12374"/>
                </a:cubicBezTo>
                <a:cubicBezTo>
                  <a:pt x="7813" y="12374"/>
                  <a:pt x="7813" y="12406"/>
                  <a:pt x="7781" y="12406"/>
                </a:cubicBezTo>
                <a:cubicBezTo>
                  <a:pt x="7750" y="12468"/>
                  <a:pt x="7750" y="12499"/>
                  <a:pt x="7781" y="12531"/>
                </a:cubicBezTo>
                <a:cubicBezTo>
                  <a:pt x="7813" y="12562"/>
                  <a:pt x="7813" y="12593"/>
                  <a:pt x="7813" y="12624"/>
                </a:cubicBezTo>
                <a:close/>
                <a:moveTo>
                  <a:pt x="8031" y="12406"/>
                </a:moveTo>
                <a:cubicBezTo>
                  <a:pt x="8031" y="12406"/>
                  <a:pt x="8031" y="12437"/>
                  <a:pt x="8031" y="12437"/>
                </a:cubicBezTo>
                <a:cubicBezTo>
                  <a:pt x="8000" y="12437"/>
                  <a:pt x="8000" y="12468"/>
                  <a:pt x="7969" y="12437"/>
                </a:cubicBezTo>
                <a:cubicBezTo>
                  <a:pt x="7906" y="12374"/>
                  <a:pt x="7844" y="12312"/>
                  <a:pt x="7813" y="12249"/>
                </a:cubicBezTo>
                <a:cubicBezTo>
                  <a:pt x="7781" y="12249"/>
                  <a:pt x="7781" y="12218"/>
                  <a:pt x="7813" y="12218"/>
                </a:cubicBezTo>
                <a:cubicBezTo>
                  <a:pt x="7844" y="12187"/>
                  <a:pt x="7844" y="12218"/>
                  <a:pt x="7875" y="12218"/>
                </a:cubicBezTo>
                <a:cubicBezTo>
                  <a:pt x="7938" y="12281"/>
                  <a:pt x="7969" y="12343"/>
                  <a:pt x="8031" y="12406"/>
                </a:cubicBezTo>
                <a:cubicBezTo>
                  <a:pt x="8063" y="12406"/>
                  <a:pt x="8094" y="12406"/>
                  <a:pt x="8125" y="12406"/>
                </a:cubicBezTo>
                <a:cubicBezTo>
                  <a:pt x="8094" y="12406"/>
                  <a:pt x="8063" y="12406"/>
                  <a:pt x="8031" y="12406"/>
                </a:cubicBezTo>
                <a:close/>
                <a:moveTo>
                  <a:pt x="8188" y="12281"/>
                </a:moveTo>
                <a:cubicBezTo>
                  <a:pt x="8156" y="12312"/>
                  <a:pt x="8125" y="12218"/>
                  <a:pt x="8094" y="12187"/>
                </a:cubicBezTo>
                <a:cubicBezTo>
                  <a:pt x="8063" y="12156"/>
                  <a:pt x="8031" y="12093"/>
                  <a:pt x="8000" y="12062"/>
                </a:cubicBezTo>
                <a:cubicBezTo>
                  <a:pt x="7969" y="12062"/>
                  <a:pt x="7969" y="12093"/>
                  <a:pt x="7938" y="12093"/>
                </a:cubicBezTo>
                <a:cubicBezTo>
                  <a:pt x="7969" y="12093"/>
                  <a:pt x="7969" y="12062"/>
                  <a:pt x="8000" y="12062"/>
                </a:cubicBezTo>
                <a:cubicBezTo>
                  <a:pt x="8000" y="12062"/>
                  <a:pt x="8000" y="12062"/>
                  <a:pt x="8000" y="12062"/>
                </a:cubicBezTo>
                <a:cubicBezTo>
                  <a:pt x="7969" y="12062"/>
                  <a:pt x="7969" y="12062"/>
                  <a:pt x="7969" y="12031"/>
                </a:cubicBezTo>
                <a:cubicBezTo>
                  <a:pt x="7969" y="12062"/>
                  <a:pt x="7969" y="12062"/>
                  <a:pt x="8000" y="12062"/>
                </a:cubicBezTo>
                <a:cubicBezTo>
                  <a:pt x="8000" y="12031"/>
                  <a:pt x="8031" y="12031"/>
                  <a:pt x="8031" y="11999"/>
                </a:cubicBezTo>
                <a:cubicBezTo>
                  <a:pt x="8063" y="12062"/>
                  <a:pt x="8125" y="12093"/>
                  <a:pt x="8156" y="12124"/>
                </a:cubicBezTo>
                <a:cubicBezTo>
                  <a:pt x="8156" y="12187"/>
                  <a:pt x="8250" y="12218"/>
                  <a:pt x="8188" y="12281"/>
                </a:cubicBezTo>
                <a:close/>
                <a:moveTo>
                  <a:pt x="8188" y="12093"/>
                </a:moveTo>
                <a:cubicBezTo>
                  <a:pt x="8125" y="12062"/>
                  <a:pt x="8125" y="12031"/>
                  <a:pt x="8063" y="11968"/>
                </a:cubicBezTo>
                <a:cubicBezTo>
                  <a:pt x="8125" y="11937"/>
                  <a:pt x="8156" y="11937"/>
                  <a:pt x="8188" y="11874"/>
                </a:cubicBezTo>
                <a:cubicBezTo>
                  <a:pt x="8219" y="11843"/>
                  <a:pt x="8281" y="11843"/>
                  <a:pt x="8313" y="11874"/>
                </a:cubicBezTo>
                <a:cubicBezTo>
                  <a:pt x="8438" y="11937"/>
                  <a:pt x="8438" y="12062"/>
                  <a:pt x="8375" y="12156"/>
                </a:cubicBezTo>
                <a:cubicBezTo>
                  <a:pt x="8313" y="12187"/>
                  <a:pt x="8375" y="12218"/>
                  <a:pt x="8406" y="12249"/>
                </a:cubicBezTo>
                <a:cubicBezTo>
                  <a:pt x="8406" y="12218"/>
                  <a:pt x="8438" y="12187"/>
                  <a:pt x="8438" y="12187"/>
                </a:cubicBezTo>
                <a:cubicBezTo>
                  <a:pt x="8438" y="12187"/>
                  <a:pt x="8406" y="12218"/>
                  <a:pt x="8406" y="12249"/>
                </a:cubicBezTo>
                <a:cubicBezTo>
                  <a:pt x="8375" y="12281"/>
                  <a:pt x="8375" y="12312"/>
                  <a:pt x="8375" y="12343"/>
                </a:cubicBezTo>
                <a:cubicBezTo>
                  <a:pt x="8375" y="12312"/>
                  <a:pt x="8344" y="12312"/>
                  <a:pt x="8344" y="12312"/>
                </a:cubicBezTo>
                <a:cubicBezTo>
                  <a:pt x="8281" y="12218"/>
                  <a:pt x="8250" y="12156"/>
                  <a:pt x="8188" y="12093"/>
                </a:cubicBezTo>
                <a:close/>
                <a:moveTo>
                  <a:pt x="8375" y="12468"/>
                </a:moveTo>
                <a:cubicBezTo>
                  <a:pt x="8344" y="12468"/>
                  <a:pt x="8344" y="12468"/>
                  <a:pt x="8344" y="12468"/>
                </a:cubicBezTo>
                <a:cubicBezTo>
                  <a:pt x="8344" y="12468"/>
                  <a:pt x="8344" y="12468"/>
                  <a:pt x="8375" y="12468"/>
                </a:cubicBezTo>
                <a:cubicBezTo>
                  <a:pt x="8406" y="12562"/>
                  <a:pt x="8469" y="12593"/>
                  <a:pt x="8563" y="12593"/>
                </a:cubicBezTo>
                <a:cubicBezTo>
                  <a:pt x="8469" y="12593"/>
                  <a:pt x="8406" y="12562"/>
                  <a:pt x="8375" y="12468"/>
                </a:cubicBezTo>
                <a:close/>
                <a:moveTo>
                  <a:pt x="10250" y="13749"/>
                </a:moveTo>
                <a:cubicBezTo>
                  <a:pt x="10281" y="13718"/>
                  <a:pt x="10313" y="13749"/>
                  <a:pt x="10375" y="13718"/>
                </a:cubicBezTo>
                <a:cubicBezTo>
                  <a:pt x="10344" y="13749"/>
                  <a:pt x="10281" y="13749"/>
                  <a:pt x="10250" y="13749"/>
                </a:cubicBezTo>
                <a:close/>
                <a:moveTo>
                  <a:pt x="9844" y="13874"/>
                </a:moveTo>
                <a:cubicBezTo>
                  <a:pt x="9875" y="13812"/>
                  <a:pt x="9906" y="13874"/>
                  <a:pt x="9938" y="13843"/>
                </a:cubicBezTo>
                <a:cubicBezTo>
                  <a:pt x="9938" y="13781"/>
                  <a:pt x="9938" y="13781"/>
                  <a:pt x="9969" y="13749"/>
                </a:cubicBezTo>
                <a:cubicBezTo>
                  <a:pt x="9938" y="13781"/>
                  <a:pt x="9938" y="13781"/>
                  <a:pt x="9938" y="13843"/>
                </a:cubicBezTo>
                <a:cubicBezTo>
                  <a:pt x="9938" y="13843"/>
                  <a:pt x="9969" y="13843"/>
                  <a:pt x="9969" y="13843"/>
                </a:cubicBezTo>
                <a:cubicBezTo>
                  <a:pt x="9969" y="13843"/>
                  <a:pt x="9969" y="13843"/>
                  <a:pt x="9969" y="13843"/>
                </a:cubicBezTo>
                <a:cubicBezTo>
                  <a:pt x="10000" y="13843"/>
                  <a:pt x="10000" y="13843"/>
                  <a:pt x="10031" y="13843"/>
                </a:cubicBezTo>
                <a:cubicBezTo>
                  <a:pt x="10031" y="13843"/>
                  <a:pt x="10063" y="13843"/>
                  <a:pt x="10063" y="13843"/>
                </a:cubicBezTo>
                <a:cubicBezTo>
                  <a:pt x="10094" y="13812"/>
                  <a:pt x="10094" y="13812"/>
                  <a:pt x="10125" y="13812"/>
                </a:cubicBezTo>
                <a:cubicBezTo>
                  <a:pt x="10094" y="13812"/>
                  <a:pt x="10094" y="13812"/>
                  <a:pt x="10063" y="13843"/>
                </a:cubicBezTo>
                <a:cubicBezTo>
                  <a:pt x="10094" y="13843"/>
                  <a:pt x="10125" y="13843"/>
                  <a:pt x="10156" y="13843"/>
                </a:cubicBezTo>
                <a:cubicBezTo>
                  <a:pt x="10063" y="13874"/>
                  <a:pt x="9938" y="13874"/>
                  <a:pt x="9844" y="13874"/>
                </a:cubicBezTo>
                <a:close/>
                <a:moveTo>
                  <a:pt x="10438" y="14468"/>
                </a:moveTo>
                <a:cubicBezTo>
                  <a:pt x="10438" y="14468"/>
                  <a:pt x="10438" y="14468"/>
                  <a:pt x="10438" y="14468"/>
                </a:cubicBezTo>
                <a:cubicBezTo>
                  <a:pt x="10438" y="14312"/>
                  <a:pt x="10438" y="14187"/>
                  <a:pt x="10438" y="14062"/>
                </a:cubicBezTo>
                <a:cubicBezTo>
                  <a:pt x="10438" y="14062"/>
                  <a:pt x="10438" y="14062"/>
                  <a:pt x="10438" y="14062"/>
                </a:cubicBezTo>
                <a:cubicBezTo>
                  <a:pt x="10438" y="14187"/>
                  <a:pt x="10438" y="14312"/>
                  <a:pt x="10438" y="14468"/>
                </a:cubicBezTo>
                <a:close/>
                <a:moveTo>
                  <a:pt x="10531" y="14468"/>
                </a:moveTo>
                <a:cubicBezTo>
                  <a:pt x="10531" y="14468"/>
                  <a:pt x="10531" y="14468"/>
                  <a:pt x="10531" y="14468"/>
                </a:cubicBezTo>
                <a:cubicBezTo>
                  <a:pt x="10531" y="14343"/>
                  <a:pt x="10531" y="14187"/>
                  <a:pt x="10531" y="14062"/>
                </a:cubicBezTo>
                <a:cubicBezTo>
                  <a:pt x="10531" y="14062"/>
                  <a:pt x="10531" y="14062"/>
                  <a:pt x="10531" y="14062"/>
                </a:cubicBezTo>
                <a:cubicBezTo>
                  <a:pt x="10531" y="14187"/>
                  <a:pt x="10531" y="14343"/>
                  <a:pt x="10531" y="14468"/>
                </a:cubicBezTo>
                <a:close/>
                <a:moveTo>
                  <a:pt x="10656" y="13968"/>
                </a:moveTo>
                <a:cubicBezTo>
                  <a:pt x="10625" y="13968"/>
                  <a:pt x="10625" y="13968"/>
                  <a:pt x="10594" y="13968"/>
                </a:cubicBezTo>
                <a:cubicBezTo>
                  <a:pt x="10594" y="13968"/>
                  <a:pt x="10594" y="13999"/>
                  <a:pt x="10563" y="13999"/>
                </a:cubicBezTo>
                <a:cubicBezTo>
                  <a:pt x="10563" y="13999"/>
                  <a:pt x="10563" y="13999"/>
                  <a:pt x="10563" y="13999"/>
                </a:cubicBezTo>
                <a:cubicBezTo>
                  <a:pt x="10563" y="13968"/>
                  <a:pt x="10563" y="13937"/>
                  <a:pt x="10594" y="13906"/>
                </a:cubicBezTo>
                <a:cubicBezTo>
                  <a:pt x="10719" y="13874"/>
                  <a:pt x="10844" y="13874"/>
                  <a:pt x="10938" y="13843"/>
                </a:cubicBezTo>
                <a:cubicBezTo>
                  <a:pt x="10969" y="13843"/>
                  <a:pt x="11000" y="13843"/>
                  <a:pt x="11000" y="13874"/>
                </a:cubicBezTo>
                <a:cubicBezTo>
                  <a:pt x="10875" y="13906"/>
                  <a:pt x="10781" y="13937"/>
                  <a:pt x="10656" y="13968"/>
                </a:cubicBezTo>
                <a:close/>
                <a:moveTo>
                  <a:pt x="10844" y="13593"/>
                </a:moveTo>
                <a:cubicBezTo>
                  <a:pt x="10844" y="13593"/>
                  <a:pt x="10813" y="13593"/>
                  <a:pt x="10813" y="13593"/>
                </a:cubicBezTo>
                <a:cubicBezTo>
                  <a:pt x="10813" y="13593"/>
                  <a:pt x="10844" y="13593"/>
                  <a:pt x="10844" y="13593"/>
                </a:cubicBezTo>
                <a:cubicBezTo>
                  <a:pt x="10969" y="13624"/>
                  <a:pt x="11063" y="13624"/>
                  <a:pt x="11188" y="13656"/>
                </a:cubicBezTo>
                <a:cubicBezTo>
                  <a:pt x="11063" y="13624"/>
                  <a:pt x="10969" y="13624"/>
                  <a:pt x="10844" y="13593"/>
                </a:cubicBezTo>
                <a:close/>
                <a:moveTo>
                  <a:pt x="9000" y="15312"/>
                </a:moveTo>
                <a:cubicBezTo>
                  <a:pt x="9000" y="15281"/>
                  <a:pt x="9000" y="15281"/>
                  <a:pt x="9000" y="15281"/>
                </a:cubicBezTo>
                <a:cubicBezTo>
                  <a:pt x="9000" y="15281"/>
                  <a:pt x="9000" y="15281"/>
                  <a:pt x="9000" y="15281"/>
                </a:cubicBezTo>
                <a:cubicBezTo>
                  <a:pt x="9000" y="15281"/>
                  <a:pt x="9000" y="15281"/>
                  <a:pt x="9000" y="15312"/>
                </a:cubicBezTo>
                <a:close/>
                <a:moveTo>
                  <a:pt x="9000" y="15281"/>
                </a:moveTo>
                <a:cubicBezTo>
                  <a:pt x="9000" y="15281"/>
                  <a:pt x="9000" y="15281"/>
                  <a:pt x="9000" y="15281"/>
                </a:cubicBezTo>
                <a:cubicBezTo>
                  <a:pt x="9000" y="15281"/>
                  <a:pt x="9000" y="15281"/>
                  <a:pt x="9031" y="15281"/>
                </a:cubicBezTo>
                <a:cubicBezTo>
                  <a:pt x="9000" y="15281"/>
                  <a:pt x="9000" y="15281"/>
                  <a:pt x="9000" y="15281"/>
                </a:cubicBezTo>
                <a:close/>
                <a:moveTo>
                  <a:pt x="8656" y="15312"/>
                </a:moveTo>
                <a:cubicBezTo>
                  <a:pt x="8656" y="15312"/>
                  <a:pt x="8656" y="15312"/>
                  <a:pt x="8656" y="15312"/>
                </a:cubicBezTo>
                <a:cubicBezTo>
                  <a:pt x="8656" y="15312"/>
                  <a:pt x="8656" y="15312"/>
                  <a:pt x="8656" y="15312"/>
                </a:cubicBezTo>
                <a:cubicBezTo>
                  <a:pt x="8656" y="15312"/>
                  <a:pt x="8656" y="15312"/>
                  <a:pt x="8656" y="15312"/>
                </a:cubicBezTo>
                <a:close/>
                <a:moveTo>
                  <a:pt x="781" y="16687"/>
                </a:moveTo>
                <a:cubicBezTo>
                  <a:pt x="781" y="16656"/>
                  <a:pt x="781" y="16656"/>
                  <a:pt x="781" y="16656"/>
                </a:cubicBezTo>
                <a:cubicBezTo>
                  <a:pt x="781" y="16656"/>
                  <a:pt x="781" y="16656"/>
                  <a:pt x="781" y="16656"/>
                </a:cubicBezTo>
                <a:cubicBezTo>
                  <a:pt x="781" y="16656"/>
                  <a:pt x="781" y="16656"/>
                  <a:pt x="781" y="16687"/>
                </a:cubicBezTo>
                <a:close/>
                <a:moveTo>
                  <a:pt x="344" y="17968"/>
                </a:moveTo>
                <a:cubicBezTo>
                  <a:pt x="375" y="17968"/>
                  <a:pt x="406" y="17999"/>
                  <a:pt x="406" y="17968"/>
                </a:cubicBezTo>
                <a:cubicBezTo>
                  <a:pt x="375" y="17937"/>
                  <a:pt x="406" y="17906"/>
                  <a:pt x="406" y="17874"/>
                </a:cubicBezTo>
                <a:cubicBezTo>
                  <a:pt x="375" y="17812"/>
                  <a:pt x="469" y="17781"/>
                  <a:pt x="469" y="17749"/>
                </a:cubicBezTo>
                <a:cubicBezTo>
                  <a:pt x="531" y="17718"/>
                  <a:pt x="531" y="17749"/>
                  <a:pt x="531" y="17781"/>
                </a:cubicBezTo>
                <a:cubicBezTo>
                  <a:pt x="531" y="17812"/>
                  <a:pt x="531" y="17812"/>
                  <a:pt x="531" y="17812"/>
                </a:cubicBezTo>
                <a:cubicBezTo>
                  <a:pt x="500" y="17906"/>
                  <a:pt x="531" y="17999"/>
                  <a:pt x="469" y="18062"/>
                </a:cubicBezTo>
                <a:cubicBezTo>
                  <a:pt x="469" y="18093"/>
                  <a:pt x="469" y="18093"/>
                  <a:pt x="438" y="18124"/>
                </a:cubicBezTo>
                <a:cubicBezTo>
                  <a:pt x="469" y="18093"/>
                  <a:pt x="469" y="18093"/>
                  <a:pt x="469" y="18062"/>
                </a:cubicBezTo>
                <a:cubicBezTo>
                  <a:pt x="438" y="18031"/>
                  <a:pt x="406" y="18093"/>
                  <a:pt x="375" y="18062"/>
                </a:cubicBezTo>
                <a:cubicBezTo>
                  <a:pt x="375" y="18062"/>
                  <a:pt x="375" y="18031"/>
                  <a:pt x="375" y="18031"/>
                </a:cubicBezTo>
                <a:cubicBezTo>
                  <a:pt x="281" y="18031"/>
                  <a:pt x="344" y="17999"/>
                  <a:pt x="344" y="17968"/>
                </a:cubicBezTo>
                <a:close/>
                <a:moveTo>
                  <a:pt x="469" y="17749"/>
                </a:moveTo>
                <a:cubicBezTo>
                  <a:pt x="438" y="17718"/>
                  <a:pt x="406" y="17749"/>
                  <a:pt x="375" y="17781"/>
                </a:cubicBezTo>
                <a:cubicBezTo>
                  <a:pt x="344" y="17812"/>
                  <a:pt x="344" y="17781"/>
                  <a:pt x="344" y="17749"/>
                </a:cubicBezTo>
                <a:cubicBezTo>
                  <a:pt x="375" y="17718"/>
                  <a:pt x="344" y="17687"/>
                  <a:pt x="406" y="17687"/>
                </a:cubicBezTo>
                <a:cubicBezTo>
                  <a:pt x="438" y="17656"/>
                  <a:pt x="438" y="17593"/>
                  <a:pt x="500" y="17656"/>
                </a:cubicBezTo>
                <a:cubicBezTo>
                  <a:pt x="531" y="17687"/>
                  <a:pt x="469" y="17718"/>
                  <a:pt x="469" y="17749"/>
                </a:cubicBezTo>
                <a:close/>
                <a:moveTo>
                  <a:pt x="438" y="18374"/>
                </a:moveTo>
                <a:cubicBezTo>
                  <a:pt x="438" y="18281"/>
                  <a:pt x="531" y="18312"/>
                  <a:pt x="563" y="18249"/>
                </a:cubicBezTo>
                <a:cubicBezTo>
                  <a:pt x="500" y="18249"/>
                  <a:pt x="438" y="18218"/>
                  <a:pt x="406" y="18281"/>
                </a:cubicBezTo>
                <a:cubicBezTo>
                  <a:pt x="406" y="18281"/>
                  <a:pt x="375" y="18281"/>
                  <a:pt x="344" y="18281"/>
                </a:cubicBezTo>
                <a:cubicBezTo>
                  <a:pt x="344" y="18249"/>
                  <a:pt x="344" y="18218"/>
                  <a:pt x="375" y="18218"/>
                </a:cubicBezTo>
                <a:cubicBezTo>
                  <a:pt x="438" y="18218"/>
                  <a:pt x="438" y="18187"/>
                  <a:pt x="438" y="18156"/>
                </a:cubicBezTo>
                <a:cubicBezTo>
                  <a:pt x="469" y="18156"/>
                  <a:pt x="469" y="18156"/>
                  <a:pt x="500" y="18156"/>
                </a:cubicBezTo>
                <a:cubicBezTo>
                  <a:pt x="531" y="18187"/>
                  <a:pt x="531" y="18218"/>
                  <a:pt x="563" y="18249"/>
                </a:cubicBezTo>
                <a:cubicBezTo>
                  <a:pt x="594" y="18406"/>
                  <a:pt x="469" y="18312"/>
                  <a:pt x="438" y="18374"/>
                </a:cubicBezTo>
                <a:close/>
                <a:moveTo>
                  <a:pt x="344" y="19968"/>
                </a:moveTo>
                <a:cubicBezTo>
                  <a:pt x="344" y="19999"/>
                  <a:pt x="125" y="20156"/>
                  <a:pt x="31" y="20156"/>
                </a:cubicBezTo>
                <a:cubicBezTo>
                  <a:pt x="156" y="20062"/>
                  <a:pt x="219" y="19999"/>
                  <a:pt x="313" y="19968"/>
                </a:cubicBezTo>
                <a:cubicBezTo>
                  <a:pt x="313" y="19937"/>
                  <a:pt x="344" y="19937"/>
                  <a:pt x="344" y="19968"/>
                </a:cubicBezTo>
                <a:cubicBezTo>
                  <a:pt x="344" y="19968"/>
                  <a:pt x="344" y="19968"/>
                  <a:pt x="344" y="19968"/>
                </a:cubicBezTo>
                <a:close/>
                <a:moveTo>
                  <a:pt x="1000" y="19499"/>
                </a:moveTo>
                <a:cubicBezTo>
                  <a:pt x="969" y="19468"/>
                  <a:pt x="875" y="19562"/>
                  <a:pt x="906" y="19437"/>
                </a:cubicBezTo>
                <a:cubicBezTo>
                  <a:pt x="938" y="19374"/>
                  <a:pt x="1000" y="19406"/>
                  <a:pt x="1031" y="19437"/>
                </a:cubicBezTo>
                <a:cubicBezTo>
                  <a:pt x="1031" y="19499"/>
                  <a:pt x="1000" y="19531"/>
                  <a:pt x="1000" y="19499"/>
                </a:cubicBezTo>
                <a:close/>
                <a:moveTo>
                  <a:pt x="1094" y="19437"/>
                </a:moveTo>
                <a:cubicBezTo>
                  <a:pt x="1063" y="19468"/>
                  <a:pt x="1063" y="19406"/>
                  <a:pt x="1031" y="19406"/>
                </a:cubicBezTo>
                <a:cubicBezTo>
                  <a:pt x="1031" y="19374"/>
                  <a:pt x="1000" y="19374"/>
                  <a:pt x="1031" y="19343"/>
                </a:cubicBezTo>
                <a:cubicBezTo>
                  <a:pt x="1125" y="19312"/>
                  <a:pt x="1188" y="19281"/>
                  <a:pt x="1250" y="19312"/>
                </a:cubicBezTo>
                <a:cubicBezTo>
                  <a:pt x="1219" y="19374"/>
                  <a:pt x="1156" y="19406"/>
                  <a:pt x="1094" y="19437"/>
                </a:cubicBezTo>
                <a:close/>
                <a:moveTo>
                  <a:pt x="1156" y="18437"/>
                </a:moveTo>
                <a:cubicBezTo>
                  <a:pt x="1156" y="18437"/>
                  <a:pt x="1156" y="18437"/>
                  <a:pt x="1125" y="18468"/>
                </a:cubicBezTo>
                <a:cubicBezTo>
                  <a:pt x="1156" y="18468"/>
                  <a:pt x="1156" y="18468"/>
                  <a:pt x="1188" y="18437"/>
                </a:cubicBezTo>
                <a:cubicBezTo>
                  <a:pt x="1188" y="18437"/>
                  <a:pt x="1188" y="18437"/>
                  <a:pt x="1188" y="18437"/>
                </a:cubicBezTo>
                <a:cubicBezTo>
                  <a:pt x="1188" y="18437"/>
                  <a:pt x="1219" y="18437"/>
                  <a:pt x="1250" y="18437"/>
                </a:cubicBezTo>
                <a:cubicBezTo>
                  <a:pt x="1250" y="18437"/>
                  <a:pt x="1281" y="18437"/>
                  <a:pt x="1281" y="18437"/>
                </a:cubicBezTo>
                <a:cubicBezTo>
                  <a:pt x="1281" y="18437"/>
                  <a:pt x="1281" y="18437"/>
                  <a:pt x="1281" y="18437"/>
                </a:cubicBezTo>
                <a:cubicBezTo>
                  <a:pt x="1313" y="18406"/>
                  <a:pt x="1344" y="18406"/>
                  <a:pt x="1375" y="18406"/>
                </a:cubicBezTo>
                <a:cubicBezTo>
                  <a:pt x="1438" y="18406"/>
                  <a:pt x="1500" y="18437"/>
                  <a:pt x="1531" y="18343"/>
                </a:cubicBezTo>
                <a:cubicBezTo>
                  <a:pt x="1531" y="18312"/>
                  <a:pt x="1594" y="18343"/>
                  <a:pt x="1656" y="18343"/>
                </a:cubicBezTo>
                <a:cubicBezTo>
                  <a:pt x="1594" y="18406"/>
                  <a:pt x="1531" y="18406"/>
                  <a:pt x="1500" y="18499"/>
                </a:cubicBezTo>
                <a:cubicBezTo>
                  <a:pt x="1500" y="18531"/>
                  <a:pt x="1500" y="18531"/>
                  <a:pt x="1531" y="18531"/>
                </a:cubicBezTo>
                <a:cubicBezTo>
                  <a:pt x="1500" y="18531"/>
                  <a:pt x="1500" y="18531"/>
                  <a:pt x="1500" y="18499"/>
                </a:cubicBezTo>
                <a:cubicBezTo>
                  <a:pt x="1500" y="18499"/>
                  <a:pt x="1469" y="18499"/>
                  <a:pt x="1469" y="18499"/>
                </a:cubicBezTo>
                <a:cubicBezTo>
                  <a:pt x="1469" y="18531"/>
                  <a:pt x="1469" y="18562"/>
                  <a:pt x="1438" y="18593"/>
                </a:cubicBezTo>
                <a:cubicBezTo>
                  <a:pt x="1469" y="18562"/>
                  <a:pt x="1469" y="18531"/>
                  <a:pt x="1469" y="18499"/>
                </a:cubicBezTo>
                <a:cubicBezTo>
                  <a:pt x="1469" y="18499"/>
                  <a:pt x="1469" y="18499"/>
                  <a:pt x="1438" y="18499"/>
                </a:cubicBezTo>
                <a:cubicBezTo>
                  <a:pt x="1375" y="18374"/>
                  <a:pt x="1313" y="18468"/>
                  <a:pt x="1250" y="18468"/>
                </a:cubicBezTo>
                <a:cubicBezTo>
                  <a:pt x="1188" y="18468"/>
                  <a:pt x="1125" y="18499"/>
                  <a:pt x="1094" y="18499"/>
                </a:cubicBezTo>
                <a:cubicBezTo>
                  <a:pt x="1094" y="18468"/>
                  <a:pt x="1125" y="18468"/>
                  <a:pt x="1125" y="18468"/>
                </a:cubicBezTo>
                <a:cubicBezTo>
                  <a:pt x="1156" y="18437"/>
                  <a:pt x="1156" y="18437"/>
                  <a:pt x="1156" y="18437"/>
                </a:cubicBezTo>
                <a:close/>
                <a:moveTo>
                  <a:pt x="2594" y="16156"/>
                </a:moveTo>
                <a:cubicBezTo>
                  <a:pt x="2594" y="16156"/>
                  <a:pt x="2594" y="16124"/>
                  <a:pt x="2594" y="16124"/>
                </a:cubicBezTo>
                <a:cubicBezTo>
                  <a:pt x="2594" y="16124"/>
                  <a:pt x="2594" y="16156"/>
                  <a:pt x="2594" y="16156"/>
                </a:cubicBezTo>
                <a:cubicBezTo>
                  <a:pt x="2625" y="16156"/>
                  <a:pt x="2625" y="16156"/>
                  <a:pt x="2656" y="16156"/>
                </a:cubicBezTo>
                <a:cubicBezTo>
                  <a:pt x="2656" y="16156"/>
                  <a:pt x="2719" y="16156"/>
                  <a:pt x="2719" y="16187"/>
                </a:cubicBezTo>
                <a:cubicBezTo>
                  <a:pt x="2688" y="16249"/>
                  <a:pt x="2656" y="16249"/>
                  <a:pt x="2625" y="16218"/>
                </a:cubicBezTo>
                <a:cubicBezTo>
                  <a:pt x="2594" y="16218"/>
                  <a:pt x="2563" y="16187"/>
                  <a:pt x="2594" y="16156"/>
                </a:cubicBezTo>
                <a:close/>
                <a:moveTo>
                  <a:pt x="2656" y="18187"/>
                </a:moveTo>
                <a:cubicBezTo>
                  <a:pt x="2656" y="18218"/>
                  <a:pt x="2719" y="18187"/>
                  <a:pt x="2688" y="18218"/>
                </a:cubicBezTo>
                <a:cubicBezTo>
                  <a:pt x="2719" y="18249"/>
                  <a:pt x="2750" y="18249"/>
                  <a:pt x="2781" y="18281"/>
                </a:cubicBezTo>
                <a:cubicBezTo>
                  <a:pt x="2781" y="18281"/>
                  <a:pt x="2781" y="18281"/>
                  <a:pt x="2781" y="18281"/>
                </a:cubicBezTo>
                <a:cubicBezTo>
                  <a:pt x="2750" y="18249"/>
                  <a:pt x="2719" y="18249"/>
                  <a:pt x="2688" y="18218"/>
                </a:cubicBezTo>
                <a:cubicBezTo>
                  <a:pt x="2688" y="18218"/>
                  <a:pt x="2656" y="18218"/>
                  <a:pt x="2656" y="18218"/>
                </a:cubicBezTo>
                <a:cubicBezTo>
                  <a:pt x="2656" y="18218"/>
                  <a:pt x="2656" y="18218"/>
                  <a:pt x="2656" y="18187"/>
                </a:cubicBezTo>
                <a:cubicBezTo>
                  <a:pt x="2656" y="18187"/>
                  <a:pt x="2656" y="18187"/>
                  <a:pt x="2656" y="18187"/>
                </a:cubicBezTo>
                <a:close/>
                <a:moveTo>
                  <a:pt x="2656" y="17093"/>
                </a:moveTo>
                <a:cubicBezTo>
                  <a:pt x="2656" y="17093"/>
                  <a:pt x="2656" y="17093"/>
                  <a:pt x="2656" y="17093"/>
                </a:cubicBezTo>
                <a:cubicBezTo>
                  <a:pt x="2656" y="17093"/>
                  <a:pt x="2656" y="17093"/>
                  <a:pt x="2656" y="17093"/>
                </a:cubicBezTo>
                <a:cubicBezTo>
                  <a:pt x="2656" y="17093"/>
                  <a:pt x="2656" y="17093"/>
                  <a:pt x="2656" y="17093"/>
                </a:cubicBezTo>
                <a:close/>
                <a:moveTo>
                  <a:pt x="3188" y="16281"/>
                </a:moveTo>
                <a:cubicBezTo>
                  <a:pt x="3188" y="16281"/>
                  <a:pt x="3156" y="16281"/>
                  <a:pt x="3156" y="16281"/>
                </a:cubicBezTo>
                <a:cubicBezTo>
                  <a:pt x="3125" y="16281"/>
                  <a:pt x="3063" y="16281"/>
                  <a:pt x="3063" y="16343"/>
                </a:cubicBezTo>
                <a:cubicBezTo>
                  <a:pt x="3063" y="16343"/>
                  <a:pt x="3031" y="16343"/>
                  <a:pt x="3031" y="16343"/>
                </a:cubicBezTo>
                <a:cubicBezTo>
                  <a:pt x="3000" y="16312"/>
                  <a:pt x="3031" y="16312"/>
                  <a:pt x="3031" y="16281"/>
                </a:cubicBezTo>
                <a:cubicBezTo>
                  <a:pt x="3031" y="16281"/>
                  <a:pt x="3000" y="16281"/>
                  <a:pt x="3000" y="16281"/>
                </a:cubicBezTo>
                <a:cubicBezTo>
                  <a:pt x="3000" y="16281"/>
                  <a:pt x="3031" y="16281"/>
                  <a:pt x="3031" y="16281"/>
                </a:cubicBezTo>
                <a:cubicBezTo>
                  <a:pt x="3125" y="16249"/>
                  <a:pt x="3125" y="16156"/>
                  <a:pt x="3188" y="16124"/>
                </a:cubicBezTo>
                <a:cubicBezTo>
                  <a:pt x="3219" y="16124"/>
                  <a:pt x="3188" y="16156"/>
                  <a:pt x="3219" y="16156"/>
                </a:cubicBezTo>
                <a:cubicBezTo>
                  <a:pt x="3219" y="16187"/>
                  <a:pt x="3125" y="16187"/>
                  <a:pt x="3188" y="16281"/>
                </a:cubicBezTo>
                <a:close/>
                <a:moveTo>
                  <a:pt x="3031" y="18062"/>
                </a:moveTo>
                <a:cubicBezTo>
                  <a:pt x="3031" y="18031"/>
                  <a:pt x="3063" y="17999"/>
                  <a:pt x="3094" y="17999"/>
                </a:cubicBezTo>
                <a:cubicBezTo>
                  <a:pt x="3094" y="18031"/>
                  <a:pt x="3063" y="18062"/>
                  <a:pt x="3031" y="18093"/>
                </a:cubicBezTo>
                <a:cubicBezTo>
                  <a:pt x="3125" y="18124"/>
                  <a:pt x="3188" y="18093"/>
                  <a:pt x="3250" y="18093"/>
                </a:cubicBezTo>
                <a:cubicBezTo>
                  <a:pt x="3250" y="18093"/>
                  <a:pt x="3250" y="18124"/>
                  <a:pt x="3281" y="18124"/>
                </a:cubicBezTo>
                <a:cubicBezTo>
                  <a:pt x="3281" y="18124"/>
                  <a:pt x="3281" y="18124"/>
                  <a:pt x="3281" y="18124"/>
                </a:cubicBezTo>
                <a:cubicBezTo>
                  <a:pt x="3281" y="18124"/>
                  <a:pt x="3281" y="18156"/>
                  <a:pt x="3281" y="18156"/>
                </a:cubicBezTo>
                <a:cubicBezTo>
                  <a:pt x="3281" y="18156"/>
                  <a:pt x="3281" y="18156"/>
                  <a:pt x="3281" y="18156"/>
                </a:cubicBezTo>
                <a:cubicBezTo>
                  <a:pt x="3281" y="18156"/>
                  <a:pt x="3281" y="18156"/>
                  <a:pt x="3281" y="18156"/>
                </a:cubicBezTo>
                <a:cubicBezTo>
                  <a:pt x="3313" y="18156"/>
                  <a:pt x="3344" y="18187"/>
                  <a:pt x="3375" y="18218"/>
                </a:cubicBezTo>
                <a:cubicBezTo>
                  <a:pt x="3344" y="18187"/>
                  <a:pt x="3313" y="18156"/>
                  <a:pt x="3281" y="18156"/>
                </a:cubicBezTo>
                <a:cubicBezTo>
                  <a:pt x="3281" y="18156"/>
                  <a:pt x="3250" y="18187"/>
                  <a:pt x="3219" y="18156"/>
                </a:cubicBezTo>
                <a:cubicBezTo>
                  <a:pt x="3188" y="18093"/>
                  <a:pt x="3125" y="18124"/>
                  <a:pt x="3094" y="18156"/>
                </a:cubicBezTo>
                <a:cubicBezTo>
                  <a:pt x="3063" y="18187"/>
                  <a:pt x="3063" y="18218"/>
                  <a:pt x="3000" y="18218"/>
                </a:cubicBezTo>
                <a:cubicBezTo>
                  <a:pt x="3031" y="18187"/>
                  <a:pt x="3063" y="18218"/>
                  <a:pt x="3063" y="18187"/>
                </a:cubicBezTo>
                <a:cubicBezTo>
                  <a:pt x="3031" y="18156"/>
                  <a:pt x="3031" y="18156"/>
                  <a:pt x="3000" y="18156"/>
                </a:cubicBezTo>
                <a:cubicBezTo>
                  <a:pt x="2969" y="18156"/>
                  <a:pt x="2969" y="18156"/>
                  <a:pt x="2938" y="18156"/>
                </a:cubicBezTo>
                <a:cubicBezTo>
                  <a:pt x="2938" y="18156"/>
                  <a:pt x="2938" y="18156"/>
                  <a:pt x="2938" y="18187"/>
                </a:cubicBezTo>
                <a:cubicBezTo>
                  <a:pt x="2906" y="18187"/>
                  <a:pt x="2906" y="18187"/>
                  <a:pt x="2906" y="18187"/>
                </a:cubicBezTo>
                <a:cubicBezTo>
                  <a:pt x="2906" y="18187"/>
                  <a:pt x="2906" y="18187"/>
                  <a:pt x="2906" y="18187"/>
                </a:cubicBezTo>
                <a:cubicBezTo>
                  <a:pt x="2906" y="18187"/>
                  <a:pt x="2906" y="18218"/>
                  <a:pt x="2906" y="18218"/>
                </a:cubicBezTo>
                <a:cubicBezTo>
                  <a:pt x="2844" y="18156"/>
                  <a:pt x="2781" y="18187"/>
                  <a:pt x="2750" y="18156"/>
                </a:cubicBezTo>
                <a:cubicBezTo>
                  <a:pt x="2781" y="18156"/>
                  <a:pt x="2813" y="18156"/>
                  <a:pt x="2875" y="18156"/>
                </a:cubicBezTo>
                <a:cubicBezTo>
                  <a:pt x="2906" y="18156"/>
                  <a:pt x="3000" y="18156"/>
                  <a:pt x="3031" y="18062"/>
                </a:cubicBezTo>
                <a:close/>
                <a:moveTo>
                  <a:pt x="3250" y="16156"/>
                </a:moveTo>
                <a:cubicBezTo>
                  <a:pt x="3250" y="16124"/>
                  <a:pt x="3250" y="16093"/>
                  <a:pt x="3313" y="16093"/>
                </a:cubicBezTo>
                <a:cubicBezTo>
                  <a:pt x="3344" y="16124"/>
                  <a:pt x="3344" y="16124"/>
                  <a:pt x="3344" y="16156"/>
                </a:cubicBezTo>
                <a:cubicBezTo>
                  <a:pt x="3313" y="16156"/>
                  <a:pt x="3281" y="16218"/>
                  <a:pt x="3250" y="16156"/>
                </a:cubicBezTo>
                <a:close/>
                <a:moveTo>
                  <a:pt x="3188" y="18468"/>
                </a:moveTo>
                <a:cubicBezTo>
                  <a:pt x="3188" y="18468"/>
                  <a:pt x="3188" y="18468"/>
                  <a:pt x="3156" y="18499"/>
                </a:cubicBezTo>
                <a:cubicBezTo>
                  <a:pt x="3188" y="18468"/>
                  <a:pt x="3188" y="18468"/>
                  <a:pt x="3188" y="18468"/>
                </a:cubicBezTo>
                <a:cubicBezTo>
                  <a:pt x="3188" y="18468"/>
                  <a:pt x="3188" y="18468"/>
                  <a:pt x="3188" y="18468"/>
                </a:cubicBezTo>
                <a:close/>
                <a:moveTo>
                  <a:pt x="3063" y="18468"/>
                </a:moveTo>
                <a:cubicBezTo>
                  <a:pt x="3063" y="18468"/>
                  <a:pt x="3063" y="18468"/>
                  <a:pt x="3063" y="18468"/>
                </a:cubicBezTo>
                <a:cubicBezTo>
                  <a:pt x="3063" y="18468"/>
                  <a:pt x="3063" y="18468"/>
                  <a:pt x="3063" y="18468"/>
                </a:cubicBezTo>
                <a:cubicBezTo>
                  <a:pt x="3063" y="18468"/>
                  <a:pt x="3063" y="18468"/>
                  <a:pt x="3063" y="18468"/>
                </a:cubicBezTo>
                <a:close/>
                <a:moveTo>
                  <a:pt x="2781" y="16468"/>
                </a:moveTo>
                <a:cubicBezTo>
                  <a:pt x="2750" y="16437"/>
                  <a:pt x="2719" y="16406"/>
                  <a:pt x="2781" y="16374"/>
                </a:cubicBezTo>
                <a:cubicBezTo>
                  <a:pt x="2813" y="16343"/>
                  <a:pt x="2875" y="16312"/>
                  <a:pt x="2906" y="16374"/>
                </a:cubicBezTo>
                <a:cubicBezTo>
                  <a:pt x="2875" y="16437"/>
                  <a:pt x="2844" y="16468"/>
                  <a:pt x="2781" y="16468"/>
                </a:cubicBezTo>
                <a:close/>
                <a:moveTo>
                  <a:pt x="2625" y="17124"/>
                </a:moveTo>
                <a:cubicBezTo>
                  <a:pt x="2625" y="17093"/>
                  <a:pt x="2656" y="17093"/>
                  <a:pt x="2656" y="17093"/>
                </a:cubicBezTo>
                <a:cubicBezTo>
                  <a:pt x="2656" y="17093"/>
                  <a:pt x="2656" y="17093"/>
                  <a:pt x="2656" y="17093"/>
                </a:cubicBezTo>
                <a:cubicBezTo>
                  <a:pt x="2656" y="17093"/>
                  <a:pt x="2625" y="17093"/>
                  <a:pt x="2625" y="17124"/>
                </a:cubicBezTo>
                <a:close/>
                <a:moveTo>
                  <a:pt x="2594" y="18187"/>
                </a:moveTo>
                <a:cubicBezTo>
                  <a:pt x="2625" y="18187"/>
                  <a:pt x="2625" y="18187"/>
                  <a:pt x="2625" y="18187"/>
                </a:cubicBezTo>
                <a:cubicBezTo>
                  <a:pt x="2625" y="18187"/>
                  <a:pt x="2625" y="18187"/>
                  <a:pt x="2625" y="18187"/>
                </a:cubicBezTo>
                <a:cubicBezTo>
                  <a:pt x="2625" y="18218"/>
                  <a:pt x="2625" y="18218"/>
                  <a:pt x="2625" y="18218"/>
                </a:cubicBezTo>
                <a:cubicBezTo>
                  <a:pt x="2594" y="18218"/>
                  <a:pt x="2594" y="18281"/>
                  <a:pt x="2563" y="18281"/>
                </a:cubicBezTo>
                <a:cubicBezTo>
                  <a:pt x="2531" y="18281"/>
                  <a:pt x="2531" y="18343"/>
                  <a:pt x="2500" y="18312"/>
                </a:cubicBezTo>
                <a:cubicBezTo>
                  <a:pt x="2469" y="18281"/>
                  <a:pt x="2531" y="18281"/>
                  <a:pt x="2531" y="18249"/>
                </a:cubicBezTo>
                <a:cubicBezTo>
                  <a:pt x="2531" y="18249"/>
                  <a:pt x="2531" y="18218"/>
                  <a:pt x="2531" y="18218"/>
                </a:cubicBezTo>
                <a:cubicBezTo>
                  <a:pt x="2531" y="18218"/>
                  <a:pt x="2531" y="18218"/>
                  <a:pt x="2531" y="18218"/>
                </a:cubicBezTo>
                <a:cubicBezTo>
                  <a:pt x="2531" y="18218"/>
                  <a:pt x="2531" y="18218"/>
                  <a:pt x="2531" y="18218"/>
                </a:cubicBezTo>
                <a:cubicBezTo>
                  <a:pt x="2563" y="18187"/>
                  <a:pt x="2594" y="18187"/>
                  <a:pt x="2594" y="18187"/>
                </a:cubicBezTo>
                <a:close/>
                <a:moveTo>
                  <a:pt x="2469" y="18656"/>
                </a:moveTo>
                <a:cubicBezTo>
                  <a:pt x="2469" y="18656"/>
                  <a:pt x="2469" y="18656"/>
                  <a:pt x="2469" y="18656"/>
                </a:cubicBezTo>
                <a:cubicBezTo>
                  <a:pt x="2469" y="18656"/>
                  <a:pt x="2469" y="18624"/>
                  <a:pt x="2469" y="18624"/>
                </a:cubicBezTo>
                <a:cubicBezTo>
                  <a:pt x="2469" y="18624"/>
                  <a:pt x="2469" y="18656"/>
                  <a:pt x="2469" y="18656"/>
                </a:cubicBezTo>
                <a:cubicBezTo>
                  <a:pt x="2469" y="18656"/>
                  <a:pt x="2469" y="18656"/>
                  <a:pt x="2469" y="18656"/>
                </a:cubicBezTo>
                <a:close/>
                <a:moveTo>
                  <a:pt x="2406" y="16624"/>
                </a:moveTo>
                <a:cubicBezTo>
                  <a:pt x="2406" y="16624"/>
                  <a:pt x="2406" y="16593"/>
                  <a:pt x="2406" y="16593"/>
                </a:cubicBezTo>
                <a:cubicBezTo>
                  <a:pt x="2438" y="16593"/>
                  <a:pt x="2438" y="16593"/>
                  <a:pt x="2469" y="16593"/>
                </a:cubicBezTo>
                <a:cubicBezTo>
                  <a:pt x="2438" y="16593"/>
                  <a:pt x="2438" y="16624"/>
                  <a:pt x="2406" y="16624"/>
                </a:cubicBezTo>
                <a:close/>
                <a:moveTo>
                  <a:pt x="2406" y="18249"/>
                </a:moveTo>
                <a:cubicBezTo>
                  <a:pt x="2406" y="18281"/>
                  <a:pt x="2375" y="18281"/>
                  <a:pt x="2375" y="18281"/>
                </a:cubicBezTo>
                <a:cubicBezTo>
                  <a:pt x="2344" y="18312"/>
                  <a:pt x="2344" y="18312"/>
                  <a:pt x="2313" y="18343"/>
                </a:cubicBezTo>
                <a:cubicBezTo>
                  <a:pt x="2344" y="18312"/>
                  <a:pt x="2344" y="18312"/>
                  <a:pt x="2375" y="18281"/>
                </a:cubicBezTo>
                <a:cubicBezTo>
                  <a:pt x="2313" y="18281"/>
                  <a:pt x="2250" y="18249"/>
                  <a:pt x="2219" y="18343"/>
                </a:cubicBezTo>
                <a:cubicBezTo>
                  <a:pt x="2219" y="18343"/>
                  <a:pt x="2219" y="18343"/>
                  <a:pt x="2219" y="18374"/>
                </a:cubicBezTo>
                <a:cubicBezTo>
                  <a:pt x="2219" y="18343"/>
                  <a:pt x="2219" y="18343"/>
                  <a:pt x="2219" y="18343"/>
                </a:cubicBezTo>
                <a:cubicBezTo>
                  <a:pt x="2125" y="18374"/>
                  <a:pt x="2000" y="18281"/>
                  <a:pt x="1906" y="18281"/>
                </a:cubicBezTo>
                <a:cubicBezTo>
                  <a:pt x="1906" y="18281"/>
                  <a:pt x="1938" y="18249"/>
                  <a:pt x="1969" y="18249"/>
                </a:cubicBezTo>
                <a:cubicBezTo>
                  <a:pt x="2000" y="18249"/>
                  <a:pt x="2031" y="18187"/>
                  <a:pt x="2063" y="18187"/>
                </a:cubicBezTo>
                <a:cubicBezTo>
                  <a:pt x="2031" y="18187"/>
                  <a:pt x="2000" y="18249"/>
                  <a:pt x="1969" y="18249"/>
                </a:cubicBezTo>
                <a:cubicBezTo>
                  <a:pt x="2125" y="18312"/>
                  <a:pt x="2156" y="18281"/>
                  <a:pt x="2156" y="18124"/>
                </a:cubicBezTo>
                <a:cubicBezTo>
                  <a:pt x="2188" y="18124"/>
                  <a:pt x="2188" y="18124"/>
                  <a:pt x="2188" y="18124"/>
                </a:cubicBezTo>
                <a:cubicBezTo>
                  <a:pt x="2219" y="18093"/>
                  <a:pt x="2219" y="18062"/>
                  <a:pt x="2250" y="18062"/>
                </a:cubicBezTo>
                <a:cubicBezTo>
                  <a:pt x="2219" y="18062"/>
                  <a:pt x="2219" y="18093"/>
                  <a:pt x="2188" y="18124"/>
                </a:cubicBezTo>
                <a:cubicBezTo>
                  <a:pt x="2188" y="18124"/>
                  <a:pt x="2188" y="18156"/>
                  <a:pt x="2188" y="18156"/>
                </a:cubicBezTo>
                <a:cubicBezTo>
                  <a:pt x="2188" y="18156"/>
                  <a:pt x="2219" y="18187"/>
                  <a:pt x="2219" y="18187"/>
                </a:cubicBezTo>
                <a:cubicBezTo>
                  <a:pt x="2219" y="18187"/>
                  <a:pt x="2188" y="18156"/>
                  <a:pt x="2188" y="18156"/>
                </a:cubicBezTo>
                <a:cubicBezTo>
                  <a:pt x="2188" y="18187"/>
                  <a:pt x="2188" y="18187"/>
                  <a:pt x="2188" y="18218"/>
                </a:cubicBezTo>
                <a:cubicBezTo>
                  <a:pt x="2188" y="18281"/>
                  <a:pt x="2219" y="18281"/>
                  <a:pt x="2250" y="18249"/>
                </a:cubicBezTo>
                <a:cubicBezTo>
                  <a:pt x="2281" y="18218"/>
                  <a:pt x="2344" y="18218"/>
                  <a:pt x="2406" y="18249"/>
                </a:cubicBezTo>
                <a:cubicBezTo>
                  <a:pt x="2406" y="18218"/>
                  <a:pt x="2406" y="18218"/>
                  <a:pt x="2438" y="18218"/>
                </a:cubicBezTo>
                <a:cubicBezTo>
                  <a:pt x="2406" y="18218"/>
                  <a:pt x="2406" y="18218"/>
                  <a:pt x="2406" y="18249"/>
                </a:cubicBezTo>
                <a:cubicBezTo>
                  <a:pt x="2406" y="18249"/>
                  <a:pt x="2406" y="18249"/>
                  <a:pt x="2406" y="18249"/>
                </a:cubicBezTo>
                <a:close/>
                <a:moveTo>
                  <a:pt x="2281" y="18624"/>
                </a:moveTo>
                <a:cubicBezTo>
                  <a:pt x="2281" y="18624"/>
                  <a:pt x="2281" y="18624"/>
                  <a:pt x="2281" y="18624"/>
                </a:cubicBezTo>
                <a:cubicBezTo>
                  <a:pt x="2281" y="18624"/>
                  <a:pt x="2281" y="18624"/>
                  <a:pt x="2281" y="18624"/>
                </a:cubicBezTo>
                <a:cubicBezTo>
                  <a:pt x="2281" y="18624"/>
                  <a:pt x="2281" y="18624"/>
                  <a:pt x="2281" y="18624"/>
                </a:cubicBezTo>
                <a:close/>
                <a:moveTo>
                  <a:pt x="2281" y="18562"/>
                </a:moveTo>
                <a:cubicBezTo>
                  <a:pt x="2250" y="18562"/>
                  <a:pt x="2250" y="18562"/>
                  <a:pt x="2219" y="18562"/>
                </a:cubicBezTo>
                <a:cubicBezTo>
                  <a:pt x="2250" y="18562"/>
                  <a:pt x="2250" y="18562"/>
                  <a:pt x="2281" y="18562"/>
                </a:cubicBezTo>
                <a:close/>
                <a:moveTo>
                  <a:pt x="1688" y="17843"/>
                </a:moveTo>
                <a:cubicBezTo>
                  <a:pt x="1625" y="17843"/>
                  <a:pt x="1625" y="17781"/>
                  <a:pt x="1594" y="17749"/>
                </a:cubicBezTo>
                <a:cubicBezTo>
                  <a:pt x="1531" y="17687"/>
                  <a:pt x="1531" y="17656"/>
                  <a:pt x="1469" y="17749"/>
                </a:cubicBezTo>
                <a:cubicBezTo>
                  <a:pt x="1375" y="17781"/>
                  <a:pt x="1375" y="17718"/>
                  <a:pt x="1344" y="17687"/>
                </a:cubicBezTo>
                <a:cubicBezTo>
                  <a:pt x="1344" y="17656"/>
                  <a:pt x="1344" y="17624"/>
                  <a:pt x="1375" y="17624"/>
                </a:cubicBezTo>
                <a:cubicBezTo>
                  <a:pt x="1406" y="17624"/>
                  <a:pt x="1438" y="17531"/>
                  <a:pt x="1500" y="17593"/>
                </a:cubicBezTo>
                <a:cubicBezTo>
                  <a:pt x="1531" y="17624"/>
                  <a:pt x="1594" y="17624"/>
                  <a:pt x="1625" y="17687"/>
                </a:cubicBezTo>
                <a:cubicBezTo>
                  <a:pt x="1625" y="17687"/>
                  <a:pt x="1625" y="17687"/>
                  <a:pt x="1625" y="17687"/>
                </a:cubicBezTo>
                <a:cubicBezTo>
                  <a:pt x="1625" y="17749"/>
                  <a:pt x="1688" y="17749"/>
                  <a:pt x="1688" y="17843"/>
                </a:cubicBezTo>
                <a:close/>
                <a:moveTo>
                  <a:pt x="1688" y="17906"/>
                </a:moveTo>
                <a:cubicBezTo>
                  <a:pt x="1688" y="17843"/>
                  <a:pt x="1719" y="17843"/>
                  <a:pt x="1750" y="17906"/>
                </a:cubicBezTo>
                <a:cubicBezTo>
                  <a:pt x="1781" y="17968"/>
                  <a:pt x="1813" y="18031"/>
                  <a:pt x="1875" y="18093"/>
                </a:cubicBezTo>
                <a:cubicBezTo>
                  <a:pt x="1875" y="18093"/>
                  <a:pt x="1875" y="18124"/>
                  <a:pt x="1875" y="18124"/>
                </a:cubicBezTo>
                <a:cubicBezTo>
                  <a:pt x="1813" y="18124"/>
                  <a:pt x="1813" y="18062"/>
                  <a:pt x="1750" y="18031"/>
                </a:cubicBezTo>
                <a:cubicBezTo>
                  <a:pt x="1750" y="18093"/>
                  <a:pt x="1719" y="18124"/>
                  <a:pt x="1656" y="18124"/>
                </a:cubicBezTo>
                <a:cubicBezTo>
                  <a:pt x="1719" y="18124"/>
                  <a:pt x="1750" y="18093"/>
                  <a:pt x="1750" y="18031"/>
                </a:cubicBezTo>
                <a:cubicBezTo>
                  <a:pt x="1750" y="17999"/>
                  <a:pt x="1719" y="17937"/>
                  <a:pt x="1688" y="17906"/>
                </a:cubicBezTo>
                <a:close/>
                <a:moveTo>
                  <a:pt x="1813" y="16968"/>
                </a:moveTo>
                <a:cubicBezTo>
                  <a:pt x="1813" y="16968"/>
                  <a:pt x="1813" y="16968"/>
                  <a:pt x="1813" y="16968"/>
                </a:cubicBezTo>
                <a:cubicBezTo>
                  <a:pt x="1813" y="16968"/>
                  <a:pt x="1813" y="16968"/>
                  <a:pt x="1813" y="16968"/>
                </a:cubicBezTo>
                <a:cubicBezTo>
                  <a:pt x="1813" y="16968"/>
                  <a:pt x="1813" y="16968"/>
                  <a:pt x="1813" y="16968"/>
                </a:cubicBezTo>
                <a:cubicBezTo>
                  <a:pt x="1813" y="16968"/>
                  <a:pt x="1813" y="16968"/>
                  <a:pt x="1813" y="16968"/>
                </a:cubicBezTo>
                <a:cubicBezTo>
                  <a:pt x="1781" y="16937"/>
                  <a:pt x="1781" y="16937"/>
                  <a:pt x="1750" y="16937"/>
                </a:cubicBezTo>
                <a:cubicBezTo>
                  <a:pt x="1750" y="16937"/>
                  <a:pt x="1719" y="16906"/>
                  <a:pt x="1719" y="16906"/>
                </a:cubicBezTo>
                <a:cubicBezTo>
                  <a:pt x="1719" y="16874"/>
                  <a:pt x="1750" y="16874"/>
                  <a:pt x="1750" y="16906"/>
                </a:cubicBezTo>
                <a:cubicBezTo>
                  <a:pt x="1844" y="16937"/>
                  <a:pt x="1969" y="16906"/>
                  <a:pt x="2063" y="16937"/>
                </a:cubicBezTo>
                <a:cubicBezTo>
                  <a:pt x="2094" y="16937"/>
                  <a:pt x="2125" y="16937"/>
                  <a:pt x="2063" y="16999"/>
                </a:cubicBezTo>
                <a:cubicBezTo>
                  <a:pt x="1969" y="17093"/>
                  <a:pt x="1938" y="17093"/>
                  <a:pt x="1813" y="16968"/>
                </a:cubicBezTo>
                <a:close/>
                <a:moveTo>
                  <a:pt x="2156" y="17187"/>
                </a:moveTo>
                <a:cubicBezTo>
                  <a:pt x="2125" y="17187"/>
                  <a:pt x="2125" y="17156"/>
                  <a:pt x="2125" y="17156"/>
                </a:cubicBezTo>
                <a:cubicBezTo>
                  <a:pt x="2188" y="17156"/>
                  <a:pt x="2219" y="17031"/>
                  <a:pt x="2313" y="17093"/>
                </a:cubicBezTo>
                <a:cubicBezTo>
                  <a:pt x="2250" y="17156"/>
                  <a:pt x="2188" y="17156"/>
                  <a:pt x="2156" y="17187"/>
                </a:cubicBezTo>
                <a:close/>
                <a:moveTo>
                  <a:pt x="2375" y="16937"/>
                </a:moveTo>
                <a:cubicBezTo>
                  <a:pt x="2344" y="16937"/>
                  <a:pt x="2344" y="16937"/>
                  <a:pt x="2344" y="16906"/>
                </a:cubicBezTo>
                <a:cubicBezTo>
                  <a:pt x="2344" y="16874"/>
                  <a:pt x="2375" y="16843"/>
                  <a:pt x="2438" y="16843"/>
                </a:cubicBezTo>
                <a:cubicBezTo>
                  <a:pt x="2406" y="16843"/>
                  <a:pt x="2406" y="16874"/>
                  <a:pt x="2406" y="16874"/>
                </a:cubicBezTo>
                <a:cubicBezTo>
                  <a:pt x="2375" y="16874"/>
                  <a:pt x="2406" y="16937"/>
                  <a:pt x="2375" y="16937"/>
                </a:cubicBezTo>
                <a:close/>
                <a:moveTo>
                  <a:pt x="2406" y="17249"/>
                </a:moveTo>
                <a:cubicBezTo>
                  <a:pt x="2406" y="17281"/>
                  <a:pt x="2375" y="17281"/>
                  <a:pt x="2375" y="17312"/>
                </a:cubicBezTo>
                <a:cubicBezTo>
                  <a:pt x="2375" y="17281"/>
                  <a:pt x="2406" y="17281"/>
                  <a:pt x="2406" y="17249"/>
                </a:cubicBezTo>
                <a:close/>
                <a:moveTo>
                  <a:pt x="1688" y="16968"/>
                </a:moveTo>
                <a:cubicBezTo>
                  <a:pt x="1688" y="16968"/>
                  <a:pt x="1688" y="16968"/>
                  <a:pt x="1688" y="16999"/>
                </a:cubicBezTo>
                <a:cubicBezTo>
                  <a:pt x="1688" y="16999"/>
                  <a:pt x="1688" y="16999"/>
                  <a:pt x="1688" y="16999"/>
                </a:cubicBezTo>
                <a:cubicBezTo>
                  <a:pt x="1656" y="17031"/>
                  <a:pt x="1625" y="17093"/>
                  <a:pt x="1563" y="17062"/>
                </a:cubicBezTo>
                <a:cubicBezTo>
                  <a:pt x="1531" y="17062"/>
                  <a:pt x="1531" y="16999"/>
                  <a:pt x="1531" y="16937"/>
                </a:cubicBezTo>
                <a:cubicBezTo>
                  <a:pt x="1563" y="16937"/>
                  <a:pt x="1625" y="16937"/>
                  <a:pt x="1688" y="16968"/>
                </a:cubicBezTo>
                <a:close/>
                <a:moveTo>
                  <a:pt x="1625" y="17281"/>
                </a:moveTo>
                <a:cubicBezTo>
                  <a:pt x="1688" y="17249"/>
                  <a:pt x="1719" y="17281"/>
                  <a:pt x="1781" y="17249"/>
                </a:cubicBezTo>
                <a:cubicBezTo>
                  <a:pt x="1781" y="17249"/>
                  <a:pt x="1813" y="17249"/>
                  <a:pt x="1813" y="17249"/>
                </a:cubicBezTo>
                <a:cubicBezTo>
                  <a:pt x="1813" y="17281"/>
                  <a:pt x="1781" y="17281"/>
                  <a:pt x="1781" y="17312"/>
                </a:cubicBezTo>
                <a:cubicBezTo>
                  <a:pt x="1750" y="17312"/>
                  <a:pt x="1688" y="17343"/>
                  <a:pt x="1656" y="17374"/>
                </a:cubicBezTo>
                <a:cubicBezTo>
                  <a:pt x="1688" y="17406"/>
                  <a:pt x="1719" y="17343"/>
                  <a:pt x="1750" y="17374"/>
                </a:cubicBezTo>
                <a:cubicBezTo>
                  <a:pt x="1750" y="17406"/>
                  <a:pt x="1719" y="17406"/>
                  <a:pt x="1719" y="17437"/>
                </a:cubicBezTo>
                <a:cubicBezTo>
                  <a:pt x="1688" y="17437"/>
                  <a:pt x="1688" y="17437"/>
                  <a:pt x="1688" y="17468"/>
                </a:cubicBezTo>
                <a:cubicBezTo>
                  <a:pt x="1688" y="17468"/>
                  <a:pt x="1688" y="17468"/>
                  <a:pt x="1688" y="17499"/>
                </a:cubicBezTo>
                <a:cubicBezTo>
                  <a:pt x="1688" y="17468"/>
                  <a:pt x="1688" y="17468"/>
                  <a:pt x="1688" y="17468"/>
                </a:cubicBezTo>
                <a:cubicBezTo>
                  <a:pt x="1688" y="17468"/>
                  <a:pt x="1656" y="17499"/>
                  <a:pt x="1656" y="17499"/>
                </a:cubicBezTo>
                <a:cubicBezTo>
                  <a:pt x="1625" y="17499"/>
                  <a:pt x="1594" y="17531"/>
                  <a:pt x="1563" y="17562"/>
                </a:cubicBezTo>
                <a:cubicBezTo>
                  <a:pt x="1563" y="17562"/>
                  <a:pt x="1531" y="17593"/>
                  <a:pt x="1531" y="17562"/>
                </a:cubicBezTo>
                <a:cubicBezTo>
                  <a:pt x="1469" y="17499"/>
                  <a:pt x="1406" y="17531"/>
                  <a:pt x="1344" y="17562"/>
                </a:cubicBezTo>
                <a:cubicBezTo>
                  <a:pt x="1344" y="17593"/>
                  <a:pt x="1313" y="17593"/>
                  <a:pt x="1313" y="17562"/>
                </a:cubicBezTo>
                <a:cubicBezTo>
                  <a:pt x="1313" y="17468"/>
                  <a:pt x="1219" y="17468"/>
                  <a:pt x="1188" y="17374"/>
                </a:cubicBezTo>
                <a:cubicBezTo>
                  <a:pt x="1250" y="17343"/>
                  <a:pt x="1313" y="17343"/>
                  <a:pt x="1375" y="17312"/>
                </a:cubicBezTo>
                <a:cubicBezTo>
                  <a:pt x="1469" y="17312"/>
                  <a:pt x="1531" y="17281"/>
                  <a:pt x="1625" y="17281"/>
                </a:cubicBezTo>
                <a:close/>
                <a:moveTo>
                  <a:pt x="1313" y="17687"/>
                </a:moveTo>
                <a:cubicBezTo>
                  <a:pt x="1344" y="17718"/>
                  <a:pt x="1313" y="17749"/>
                  <a:pt x="1281" y="17781"/>
                </a:cubicBezTo>
                <a:cubicBezTo>
                  <a:pt x="1313" y="17781"/>
                  <a:pt x="1313" y="17781"/>
                  <a:pt x="1344" y="17812"/>
                </a:cubicBezTo>
                <a:cubicBezTo>
                  <a:pt x="1313" y="17781"/>
                  <a:pt x="1313" y="17781"/>
                  <a:pt x="1281" y="17781"/>
                </a:cubicBezTo>
                <a:cubicBezTo>
                  <a:pt x="1281" y="17781"/>
                  <a:pt x="1219" y="17781"/>
                  <a:pt x="1281" y="17843"/>
                </a:cubicBezTo>
                <a:cubicBezTo>
                  <a:pt x="1313" y="17968"/>
                  <a:pt x="1313" y="17968"/>
                  <a:pt x="1313" y="17968"/>
                </a:cubicBezTo>
                <a:cubicBezTo>
                  <a:pt x="1344" y="17999"/>
                  <a:pt x="1375" y="18062"/>
                  <a:pt x="1406" y="18093"/>
                </a:cubicBezTo>
                <a:cubicBezTo>
                  <a:pt x="1406" y="18093"/>
                  <a:pt x="1406" y="18093"/>
                  <a:pt x="1406" y="18093"/>
                </a:cubicBezTo>
                <a:cubicBezTo>
                  <a:pt x="1406" y="18124"/>
                  <a:pt x="1406" y="18156"/>
                  <a:pt x="1438" y="18156"/>
                </a:cubicBezTo>
                <a:cubicBezTo>
                  <a:pt x="1438" y="18156"/>
                  <a:pt x="1438" y="18124"/>
                  <a:pt x="1438" y="18124"/>
                </a:cubicBezTo>
                <a:cubicBezTo>
                  <a:pt x="1438" y="18124"/>
                  <a:pt x="1438" y="18156"/>
                  <a:pt x="1438" y="18156"/>
                </a:cubicBezTo>
                <a:cubicBezTo>
                  <a:pt x="1469" y="18249"/>
                  <a:pt x="1500" y="18187"/>
                  <a:pt x="1531" y="18156"/>
                </a:cubicBezTo>
                <a:cubicBezTo>
                  <a:pt x="1531" y="18187"/>
                  <a:pt x="1531" y="18218"/>
                  <a:pt x="1531" y="18249"/>
                </a:cubicBezTo>
                <a:cubicBezTo>
                  <a:pt x="1531" y="18218"/>
                  <a:pt x="1563" y="18218"/>
                  <a:pt x="1594" y="18218"/>
                </a:cubicBezTo>
                <a:cubicBezTo>
                  <a:pt x="1563" y="18218"/>
                  <a:pt x="1531" y="18218"/>
                  <a:pt x="1531" y="18249"/>
                </a:cubicBezTo>
                <a:cubicBezTo>
                  <a:pt x="1406" y="18249"/>
                  <a:pt x="1375" y="18156"/>
                  <a:pt x="1344" y="18093"/>
                </a:cubicBezTo>
                <a:cubicBezTo>
                  <a:pt x="1313" y="18062"/>
                  <a:pt x="1281" y="17999"/>
                  <a:pt x="1250" y="17937"/>
                </a:cubicBezTo>
                <a:cubicBezTo>
                  <a:pt x="1250" y="17937"/>
                  <a:pt x="1250" y="17937"/>
                  <a:pt x="1250" y="17937"/>
                </a:cubicBezTo>
                <a:cubicBezTo>
                  <a:pt x="1188" y="17906"/>
                  <a:pt x="1219" y="17781"/>
                  <a:pt x="1125" y="17781"/>
                </a:cubicBezTo>
                <a:cubicBezTo>
                  <a:pt x="1125" y="17749"/>
                  <a:pt x="1156" y="17687"/>
                  <a:pt x="1188" y="17718"/>
                </a:cubicBezTo>
                <a:cubicBezTo>
                  <a:pt x="1250" y="17749"/>
                  <a:pt x="1281" y="17718"/>
                  <a:pt x="1313" y="17687"/>
                </a:cubicBezTo>
                <a:close/>
                <a:moveTo>
                  <a:pt x="1500" y="19187"/>
                </a:moveTo>
                <a:cubicBezTo>
                  <a:pt x="1469" y="19187"/>
                  <a:pt x="1438" y="19218"/>
                  <a:pt x="1406" y="19218"/>
                </a:cubicBezTo>
                <a:cubicBezTo>
                  <a:pt x="1375" y="19249"/>
                  <a:pt x="1344" y="19281"/>
                  <a:pt x="1313" y="19218"/>
                </a:cubicBezTo>
                <a:cubicBezTo>
                  <a:pt x="1375" y="19156"/>
                  <a:pt x="1438" y="19156"/>
                  <a:pt x="1531" y="19124"/>
                </a:cubicBezTo>
                <a:cubicBezTo>
                  <a:pt x="1531" y="19156"/>
                  <a:pt x="1500" y="19156"/>
                  <a:pt x="1500" y="19187"/>
                </a:cubicBezTo>
                <a:close/>
                <a:moveTo>
                  <a:pt x="1688" y="18656"/>
                </a:moveTo>
                <a:cubicBezTo>
                  <a:pt x="1625" y="18624"/>
                  <a:pt x="1594" y="18656"/>
                  <a:pt x="1563" y="18656"/>
                </a:cubicBezTo>
                <a:cubicBezTo>
                  <a:pt x="1563" y="18656"/>
                  <a:pt x="1531" y="18656"/>
                  <a:pt x="1531" y="18687"/>
                </a:cubicBezTo>
                <a:cubicBezTo>
                  <a:pt x="1531" y="18687"/>
                  <a:pt x="1531" y="18687"/>
                  <a:pt x="1531" y="18687"/>
                </a:cubicBezTo>
                <a:cubicBezTo>
                  <a:pt x="1500" y="18718"/>
                  <a:pt x="1500" y="18749"/>
                  <a:pt x="1500" y="18749"/>
                </a:cubicBezTo>
                <a:cubicBezTo>
                  <a:pt x="1500" y="18749"/>
                  <a:pt x="1500" y="18749"/>
                  <a:pt x="1500" y="18749"/>
                </a:cubicBezTo>
                <a:cubicBezTo>
                  <a:pt x="1500" y="18781"/>
                  <a:pt x="1500" y="18812"/>
                  <a:pt x="1500" y="18874"/>
                </a:cubicBezTo>
                <a:cubicBezTo>
                  <a:pt x="1500" y="18874"/>
                  <a:pt x="1500" y="18906"/>
                  <a:pt x="1500" y="18906"/>
                </a:cubicBezTo>
                <a:cubicBezTo>
                  <a:pt x="1531" y="18906"/>
                  <a:pt x="1563" y="18874"/>
                  <a:pt x="1594" y="18874"/>
                </a:cubicBezTo>
                <a:cubicBezTo>
                  <a:pt x="1563" y="18874"/>
                  <a:pt x="1531" y="18906"/>
                  <a:pt x="1500" y="18906"/>
                </a:cubicBezTo>
                <a:cubicBezTo>
                  <a:pt x="1500" y="18906"/>
                  <a:pt x="1500" y="18906"/>
                  <a:pt x="1469" y="18906"/>
                </a:cubicBezTo>
                <a:cubicBezTo>
                  <a:pt x="1469" y="18906"/>
                  <a:pt x="1469" y="18874"/>
                  <a:pt x="1469" y="18874"/>
                </a:cubicBezTo>
                <a:cubicBezTo>
                  <a:pt x="1469" y="18874"/>
                  <a:pt x="1469" y="18874"/>
                  <a:pt x="1469" y="18874"/>
                </a:cubicBezTo>
                <a:cubicBezTo>
                  <a:pt x="1469" y="18812"/>
                  <a:pt x="1438" y="18781"/>
                  <a:pt x="1469" y="18749"/>
                </a:cubicBezTo>
                <a:cubicBezTo>
                  <a:pt x="1500" y="18749"/>
                  <a:pt x="1500" y="18718"/>
                  <a:pt x="1500" y="18687"/>
                </a:cubicBezTo>
                <a:cubicBezTo>
                  <a:pt x="1469" y="18656"/>
                  <a:pt x="1438" y="18687"/>
                  <a:pt x="1406" y="18687"/>
                </a:cubicBezTo>
                <a:cubicBezTo>
                  <a:pt x="1406" y="18687"/>
                  <a:pt x="1375" y="18718"/>
                  <a:pt x="1375" y="18718"/>
                </a:cubicBezTo>
                <a:cubicBezTo>
                  <a:pt x="1344" y="18687"/>
                  <a:pt x="1344" y="18687"/>
                  <a:pt x="1313" y="18687"/>
                </a:cubicBezTo>
                <a:cubicBezTo>
                  <a:pt x="1313" y="18687"/>
                  <a:pt x="1313" y="18687"/>
                  <a:pt x="1313" y="18687"/>
                </a:cubicBezTo>
                <a:cubicBezTo>
                  <a:pt x="1344" y="18687"/>
                  <a:pt x="1375" y="18687"/>
                  <a:pt x="1406" y="18656"/>
                </a:cubicBezTo>
                <a:cubicBezTo>
                  <a:pt x="1406" y="18656"/>
                  <a:pt x="1406" y="18656"/>
                  <a:pt x="1406" y="18656"/>
                </a:cubicBezTo>
                <a:cubicBezTo>
                  <a:pt x="1406" y="18656"/>
                  <a:pt x="1406" y="18656"/>
                  <a:pt x="1438" y="18656"/>
                </a:cubicBezTo>
                <a:cubicBezTo>
                  <a:pt x="1500" y="18624"/>
                  <a:pt x="1594" y="18593"/>
                  <a:pt x="1688" y="18624"/>
                </a:cubicBezTo>
                <a:cubicBezTo>
                  <a:pt x="1688" y="18624"/>
                  <a:pt x="1688" y="18624"/>
                  <a:pt x="1688" y="18624"/>
                </a:cubicBezTo>
                <a:cubicBezTo>
                  <a:pt x="1688" y="18624"/>
                  <a:pt x="1688" y="18624"/>
                  <a:pt x="1688" y="18624"/>
                </a:cubicBezTo>
                <a:cubicBezTo>
                  <a:pt x="1688" y="18624"/>
                  <a:pt x="1688" y="18624"/>
                  <a:pt x="1688" y="18656"/>
                </a:cubicBezTo>
                <a:close/>
                <a:moveTo>
                  <a:pt x="1719" y="18687"/>
                </a:moveTo>
                <a:cubicBezTo>
                  <a:pt x="1688" y="18656"/>
                  <a:pt x="1688" y="18656"/>
                  <a:pt x="1688" y="18656"/>
                </a:cubicBezTo>
                <a:cubicBezTo>
                  <a:pt x="1688" y="18656"/>
                  <a:pt x="1688" y="18656"/>
                  <a:pt x="1688" y="18656"/>
                </a:cubicBezTo>
                <a:cubicBezTo>
                  <a:pt x="1688" y="18656"/>
                  <a:pt x="1719" y="18656"/>
                  <a:pt x="1688" y="18656"/>
                </a:cubicBezTo>
                <a:cubicBezTo>
                  <a:pt x="1750" y="18656"/>
                  <a:pt x="1781" y="18656"/>
                  <a:pt x="1813" y="18656"/>
                </a:cubicBezTo>
                <a:cubicBezTo>
                  <a:pt x="1781" y="18687"/>
                  <a:pt x="1750" y="18749"/>
                  <a:pt x="1719" y="18687"/>
                </a:cubicBezTo>
                <a:close/>
                <a:moveTo>
                  <a:pt x="1969" y="18562"/>
                </a:moveTo>
                <a:cubicBezTo>
                  <a:pt x="1938" y="18593"/>
                  <a:pt x="1875" y="18624"/>
                  <a:pt x="1813" y="18593"/>
                </a:cubicBezTo>
                <a:cubicBezTo>
                  <a:pt x="1719" y="18562"/>
                  <a:pt x="1625" y="18593"/>
                  <a:pt x="1531" y="18531"/>
                </a:cubicBezTo>
                <a:cubicBezTo>
                  <a:pt x="1531" y="18531"/>
                  <a:pt x="1531" y="18499"/>
                  <a:pt x="1563" y="18499"/>
                </a:cubicBezTo>
                <a:cubicBezTo>
                  <a:pt x="1625" y="18437"/>
                  <a:pt x="1719" y="18406"/>
                  <a:pt x="1781" y="18406"/>
                </a:cubicBezTo>
                <a:cubicBezTo>
                  <a:pt x="1906" y="18374"/>
                  <a:pt x="2031" y="18374"/>
                  <a:pt x="2156" y="18437"/>
                </a:cubicBezTo>
                <a:cubicBezTo>
                  <a:pt x="2156" y="18437"/>
                  <a:pt x="2156" y="18437"/>
                  <a:pt x="2156" y="18437"/>
                </a:cubicBezTo>
                <a:cubicBezTo>
                  <a:pt x="2156" y="18437"/>
                  <a:pt x="2156" y="18437"/>
                  <a:pt x="2156" y="18437"/>
                </a:cubicBezTo>
                <a:cubicBezTo>
                  <a:pt x="2156" y="18437"/>
                  <a:pt x="2156" y="18437"/>
                  <a:pt x="2156" y="18437"/>
                </a:cubicBezTo>
                <a:cubicBezTo>
                  <a:pt x="2094" y="18468"/>
                  <a:pt x="2031" y="18499"/>
                  <a:pt x="1969" y="18562"/>
                </a:cubicBezTo>
                <a:close/>
                <a:moveTo>
                  <a:pt x="2375" y="19499"/>
                </a:moveTo>
                <a:cubicBezTo>
                  <a:pt x="2313" y="19499"/>
                  <a:pt x="2313" y="19593"/>
                  <a:pt x="2250" y="19562"/>
                </a:cubicBezTo>
                <a:cubicBezTo>
                  <a:pt x="2219" y="19531"/>
                  <a:pt x="2188" y="19499"/>
                  <a:pt x="2219" y="19468"/>
                </a:cubicBezTo>
                <a:cubicBezTo>
                  <a:pt x="2281" y="19437"/>
                  <a:pt x="2313" y="19499"/>
                  <a:pt x="2375" y="19499"/>
                </a:cubicBezTo>
                <a:close/>
                <a:moveTo>
                  <a:pt x="2281" y="19312"/>
                </a:moveTo>
                <a:cubicBezTo>
                  <a:pt x="2281" y="19312"/>
                  <a:pt x="2313" y="19312"/>
                  <a:pt x="2313" y="19312"/>
                </a:cubicBezTo>
                <a:cubicBezTo>
                  <a:pt x="2313" y="19374"/>
                  <a:pt x="2250" y="19406"/>
                  <a:pt x="2188" y="19406"/>
                </a:cubicBezTo>
                <a:cubicBezTo>
                  <a:pt x="2156" y="19406"/>
                  <a:pt x="2125" y="19374"/>
                  <a:pt x="2125" y="19374"/>
                </a:cubicBezTo>
                <a:cubicBezTo>
                  <a:pt x="2094" y="19343"/>
                  <a:pt x="2094" y="19312"/>
                  <a:pt x="2125" y="19312"/>
                </a:cubicBezTo>
                <a:cubicBezTo>
                  <a:pt x="2156" y="19281"/>
                  <a:pt x="2188" y="19281"/>
                  <a:pt x="2219" y="19281"/>
                </a:cubicBezTo>
                <a:cubicBezTo>
                  <a:pt x="2219" y="19312"/>
                  <a:pt x="2250" y="19312"/>
                  <a:pt x="2281" y="19312"/>
                </a:cubicBezTo>
                <a:close/>
                <a:moveTo>
                  <a:pt x="3594" y="19124"/>
                </a:moveTo>
                <a:cubicBezTo>
                  <a:pt x="3594" y="19124"/>
                  <a:pt x="3594" y="19124"/>
                  <a:pt x="3594" y="19124"/>
                </a:cubicBezTo>
                <a:cubicBezTo>
                  <a:pt x="3406" y="19093"/>
                  <a:pt x="3250" y="19093"/>
                  <a:pt x="3063" y="19062"/>
                </a:cubicBezTo>
                <a:cubicBezTo>
                  <a:pt x="2844" y="18999"/>
                  <a:pt x="2625" y="19031"/>
                  <a:pt x="2406" y="18937"/>
                </a:cubicBezTo>
                <a:cubicBezTo>
                  <a:pt x="2344" y="18937"/>
                  <a:pt x="2281" y="18937"/>
                  <a:pt x="2250" y="18937"/>
                </a:cubicBezTo>
                <a:cubicBezTo>
                  <a:pt x="2219" y="18937"/>
                  <a:pt x="2219" y="18874"/>
                  <a:pt x="2125" y="18874"/>
                </a:cubicBezTo>
                <a:cubicBezTo>
                  <a:pt x="2188" y="18843"/>
                  <a:pt x="2250" y="18874"/>
                  <a:pt x="2281" y="18874"/>
                </a:cubicBezTo>
                <a:cubicBezTo>
                  <a:pt x="2281" y="18812"/>
                  <a:pt x="2219" y="18781"/>
                  <a:pt x="2219" y="18718"/>
                </a:cubicBezTo>
                <a:cubicBezTo>
                  <a:pt x="2250" y="18718"/>
                  <a:pt x="2250" y="18718"/>
                  <a:pt x="2281" y="18749"/>
                </a:cubicBezTo>
                <a:cubicBezTo>
                  <a:pt x="2313" y="18843"/>
                  <a:pt x="2375" y="18843"/>
                  <a:pt x="2438" y="18812"/>
                </a:cubicBezTo>
                <a:cubicBezTo>
                  <a:pt x="2531" y="18749"/>
                  <a:pt x="2625" y="18843"/>
                  <a:pt x="2719" y="18812"/>
                </a:cubicBezTo>
                <a:cubicBezTo>
                  <a:pt x="2719" y="18812"/>
                  <a:pt x="2719" y="18812"/>
                  <a:pt x="2719" y="18812"/>
                </a:cubicBezTo>
                <a:cubicBezTo>
                  <a:pt x="2750" y="18812"/>
                  <a:pt x="2813" y="18812"/>
                  <a:pt x="2781" y="18781"/>
                </a:cubicBezTo>
                <a:cubicBezTo>
                  <a:pt x="2813" y="18749"/>
                  <a:pt x="2875" y="18749"/>
                  <a:pt x="2906" y="18749"/>
                </a:cubicBezTo>
                <a:cubicBezTo>
                  <a:pt x="2938" y="18781"/>
                  <a:pt x="2938" y="18749"/>
                  <a:pt x="2906" y="18718"/>
                </a:cubicBezTo>
                <a:cubicBezTo>
                  <a:pt x="3000" y="18687"/>
                  <a:pt x="3063" y="18687"/>
                  <a:pt x="3156" y="18749"/>
                </a:cubicBezTo>
                <a:cubicBezTo>
                  <a:pt x="3125" y="18781"/>
                  <a:pt x="3094" y="18749"/>
                  <a:pt x="3063" y="18781"/>
                </a:cubicBezTo>
                <a:cubicBezTo>
                  <a:pt x="3094" y="18781"/>
                  <a:pt x="3094" y="18781"/>
                  <a:pt x="3125" y="18781"/>
                </a:cubicBezTo>
                <a:cubicBezTo>
                  <a:pt x="3188" y="18812"/>
                  <a:pt x="3250" y="18812"/>
                  <a:pt x="3219" y="18687"/>
                </a:cubicBezTo>
                <a:cubicBezTo>
                  <a:pt x="3188" y="18656"/>
                  <a:pt x="3219" y="18656"/>
                  <a:pt x="3250" y="18656"/>
                </a:cubicBezTo>
                <a:cubicBezTo>
                  <a:pt x="3281" y="18624"/>
                  <a:pt x="3313" y="18656"/>
                  <a:pt x="3313" y="18593"/>
                </a:cubicBezTo>
                <a:cubicBezTo>
                  <a:pt x="3375" y="18656"/>
                  <a:pt x="3469" y="18624"/>
                  <a:pt x="3563" y="18656"/>
                </a:cubicBezTo>
                <a:cubicBezTo>
                  <a:pt x="3656" y="18718"/>
                  <a:pt x="3719" y="18749"/>
                  <a:pt x="3688" y="18843"/>
                </a:cubicBezTo>
                <a:cubicBezTo>
                  <a:pt x="3688" y="18906"/>
                  <a:pt x="3750" y="18874"/>
                  <a:pt x="3719" y="18906"/>
                </a:cubicBezTo>
                <a:cubicBezTo>
                  <a:pt x="3688" y="18937"/>
                  <a:pt x="3719" y="18937"/>
                  <a:pt x="3719" y="18968"/>
                </a:cubicBezTo>
                <a:cubicBezTo>
                  <a:pt x="3781" y="19124"/>
                  <a:pt x="3750" y="19156"/>
                  <a:pt x="3594" y="19124"/>
                </a:cubicBezTo>
                <a:close/>
                <a:moveTo>
                  <a:pt x="3719" y="18031"/>
                </a:moveTo>
                <a:cubicBezTo>
                  <a:pt x="3688" y="18031"/>
                  <a:pt x="3656" y="18031"/>
                  <a:pt x="3625" y="18062"/>
                </a:cubicBezTo>
                <a:cubicBezTo>
                  <a:pt x="3594" y="18093"/>
                  <a:pt x="3594" y="18093"/>
                  <a:pt x="3594" y="18093"/>
                </a:cubicBezTo>
                <a:cubicBezTo>
                  <a:pt x="3594" y="18093"/>
                  <a:pt x="3594" y="18093"/>
                  <a:pt x="3625" y="18062"/>
                </a:cubicBezTo>
                <a:cubicBezTo>
                  <a:pt x="3594" y="18062"/>
                  <a:pt x="3563" y="18062"/>
                  <a:pt x="3500" y="18062"/>
                </a:cubicBezTo>
                <a:cubicBezTo>
                  <a:pt x="3500" y="18062"/>
                  <a:pt x="3500" y="18062"/>
                  <a:pt x="3469" y="18062"/>
                </a:cubicBezTo>
                <a:cubicBezTo>
                  <a:pt x="3469" y="18062"/>
                  <a:pt x="3438" y="18062"/>
                  <a:pt x="3438" y="18093"/>
                </a:cubicBezTo>
                <a:cubicBezTo>
                  <a:pt x="3375" y="18093"/>
                  <a:pt x="3313" y="18093"/>
                  <a:pt x="3281" y="18093"/>
                </a:cubicBezTo>
                <a:cubicBezTo>
                  <a:pt x="3281" y="18093"/>
                  <a:pt x="3250" y="18093"/>
                  <a:pt x="3250" y="18093"/>
                </a:cubicBezTo>
                <a:cubicBezTo>
                  <a:pt x="3313" y="17999"/>
                  <a:pt x="3406" y="18062"/>
                  <a:pt x="3469" y="18031"/>
                </a:cubicBezTo>
                <a:cubicBezTo>
                  <a:pt x="3531" y="18031"/>
                  <a:pt x="3594" y="18031"/>
                  <a:pt x="3656" y="18031"/>
                </a:cubicBezTo>
                <a:cubicBezTo>
                  <a:pt x="3656" y="17999"/>
                  <a:pt x="3656" y="17999"/>
                  <a:pt x="3656" y="17999"/>
                </a:cubicBezTo>
                <a:cubicBezTo>
                  <a:pt x="3656" y="17999"/>
                  <a:pt x="3656" y="17999"/>
                  <a:pt x="3656" y="18031"/>
                </a:cubicBezTo>
                <a:cubicBezTo>
                  <a:pt x="3656" y="17999"/>
                  <a:pt x="3688" y="17999"/>
                  <a:pt x="3688" y="17999"/>
                </a:cubicBezTo>
                <a:cubicBezTo>
                  <a:pt x="3719" y="17999"/>
                  <a:pt x="3719" y="17999"/>
                  <a:pt x="3750" y="17999"/>
                </a:cubicBezTo>
                <a:cubicBezTo>
                  <a:pt x="3781" y="18062"/>
                  <a:pt x="3719" y="18031"/>
                  <a:pt x="3719" y="18031"/>
                </a:cubicBezTo>
                <a:cubicBezTo>
                  <a:pt x="3719" y="18062"/>
                  <a:pt x="3750" y="18062"/>
                  <a:pt x="3781" y="18093"/>
                </a:cubicBezTo>
                <a:cubicBezTo>
                  <a:pt x="3750" y="18062"/>
                  <a:pt x="3719" y="18062"/>
                  <a:pt x="3719" y="18031"/>
                </a:cubicBezTo>
                <a:close/>
                <a:moveTo>
                  <a:pt x="3594" y="16062"/>
                </a:moveTo>
                <a:cubicBezTo>
                  <a:pt x="3625" y="16093"/>
                  <a:pt x="3656" y="16031"/>
                  <a:pt x="3719" y="16062"/>
                </a:cubicBezTo>
                <a:cubicBezTo>
                  <a:pt x="3688" y="16093"/>
                  <a:pt x="3625" y="16093"/>
                  <a:pt x="3594" y="16156"/>
                </a:cubicBezTo>
                <a:cubicBezTo>
                  <a:pt x="3563" y="16187"/>
                  <a:pt x="3531" y="16187"/>
                  <a:pt x="3500" y="16218"/>
                </a:cubicBezTo>
                <a:cubicBezTo>
                  <a:pt x="3531" y="16187"/>
                  <a:pt x="3563" y="16187"/>
                  <a:pt x="3594" y="16156"/>
                </a:cubicBezTo>
                <a:cubicBezTo>
                  <a:pt x="3500" y="16124"/>
                  <a:pt x="3625" y="16093"/>
                  <a:pt x="3594" y="16062"/>
                </a:cubicBezTo>
                <a:close/>
                <a:moveTo>
                  <a:pt x="3625" y="17281"/>
                </a:moveTo>
                <a:cubicBezTo>
                  <a:pt x="3656" y="17249"/>
                  <a:pt x="3688" y="17187"/>
                  <a:pt x="3781" y="17187"/>
                </a:cubicBezTo>
                <a:cubicBezTo>
                  <a:pt x="3750" y="17218"/>
                  <a:pt x="3719" y="17249"/>
                  <a:pt x="3688" y="17281"/>
                </a:cubicBezTo>
                <a:cubicBezTo>
                  <a:pt x="3656" y="17312"/>
                  <a:pt x="3656" y="17343"/>
                  <a:pt x="3625" y="17281"/>
                </a:cubicBezTo>
                <a:close/>
                <a:moveTo>
                  <a:pt x="3594" y="17374"/>
                </a:moveTo>
                <a:cubicBezTo>
                  <a:pt x="3594" y="17374"/>
                  <a:pt x="3625" y="17374"/>
                  <a:pt x="3625" y="17406"/>
                </a:cubicBezTo>
                <a:cubicBezTo>
                  <a:pt x="3594" y="17406"/>
                  <a:pt x="3594" y="17406"/>
                  <a:pt x="3594" y="17406"/>
                </a:cubicBezTo>
                <a:cubicBezTo>
                  <a:pt x="3563" y="17406"/>
                  <a:pt x="3563" y="17406"/>
                  <a:pt x="3563" y="17406"/>
                </a:cubicBezTo>
                <a:cubicBezTo>
                  <a:pt x="3563" y="17374"/>
                  <a:pt x="3563" y="17374"/>
                  <a:pt x="3594" y="17374"/>
                </a:cubicBezTo>
                <a:close/>
                <a:moveTo>
                  <a:pt x="3500" y="16968"/>
                </a:moveTo>
                <a:cubicBezTo>
                  <a:pt x="3500" y="16968"/>
                  <a:pt x="3500" y="16968"/>
                  <a:pt x="3500" y="16968"/>
                </a:cubicBezTo>
                <a:cubicBezTo>
                  <a:pt x="3500" y="16968"/>
                  <a:pt x="3500" y="16968"/>
                  <a:pt x="3500" y="16968"/>
                </a:cubicBezTo>
                <a:cubicBezTo>
                  <a:pt x="3500" y="16968"/>
                  <a:pt x="3500" y="16968"/>
                  <a:pt x="3500" y="16968"/>
                </a:cubicBezTo>
                <a:close/>
                <a:moveTo>
                  <a:pt x="3500" y="17406"/>
                </a:moveTo>
                <a:cubicBezTo>
                  <a:pt x="3500" y="17437"/>
                  <a:pt x="3563" y="17406"/>
                  <a:pt x="3563" y="17468"/>
                </a:cubicBezTo>
                <a:cubicBezTo>
                  <a:pt x="3531" y="17468"/>
                  <a:pt x="3531" y="17499"/>
                  <a:pt x="3500" y="17499"/>
                </a:cubicBezTo>
                <a:cubicBezTo>
                  <a:pt x="3500" y="17499"/>
                  <a:pt x="3500" y="17499"/>
                  <a:pt x="3500" y="17499"/>
                </a:cubicBezTo>
                <a:cubicBezTo>
                  <a:pt x="3500" y="17468"/>
                  <a:pt x="3500" y="17468"/>
                  <a:pt x="3500" y="17437"/>
                </a:cubicBezTo>
                <a:cubicBezTo>
                  <a:pt x="3500" y="17437"/>
                  <a:pt x="3500" y="17437"/>
                  <a:pt x="3500" y="17406"/>
                </a:cubicBezTo>
                <a:close/>
                <a:moveTo>
                  <a:pt x="3813" y="16781"/>
                </a:moveTo>
                <a:cubicBezTo>
                  <a:pt x="3813" y="16781"/>
                  <a:pt x="3813" y="16781"/>
                  <a:pt x="3813" y="16781"/>
                </a:cubicBezTo>
                <a:cubicBezTo>
                  <a:pt x="3813" y="16781"/>
                  <a:pt x="3813" y="16781"/>
                  <a:pt x="3813" y="16781"/>
                </a:cubicBezTo>
                <a:cubicBezTo>
                  <a:pt x="3813" y="16781"/>
                  <a:pt x="3813" y="16781"/>
                  <a:pt x="3813" y="16781"/>
                </a:cubicBezTo>
                <a:cubicBezTo>
                  <a:pt x="3813" y="16781"/>
                  <a:pt x="3813" y="16781"/>
                  <a:pt x="3813" y="16781"/>
                </a:cubicBezTo>
                <a:cubicBezTo>
                  <a:pt x="3813" y="16749"/>
                  <a:pt x="3813" y="16749"/>
                  <a:pt x="3844" y="16749"/>
                </a:cubicBezTo>
                <a:cubicBezTo>
                  <a:pt x="3813" y="16749"/>
                  <a:pt x="3813" y="16749"/>
                  <a:pt x="3813" y="16781"/>
                </a:cubicBezTo>
                <a:close/>
                <a:moveTo>
                  <a:pt x="3781" y="18218"/>
                </a:moveTo>
                <a:cubicBezTo>
                  <a:pt x="3813" y="18187"/>
                  <a:pt x="3875" y="18218"/>
                  <a:pt x="3906" y="18218"/>
                </a:cubicBezTo>
                <a:cubicBezTo>
                  <a:pt x="3875" y="18249"/>
                  <a:pt x="3844" y="18249"/>
                  <a:pt x="3781" y="18218"/>
                </a:cubicBezTo>
                <a:close/>
                <a:moveTo>
                  <a:pt x="3875" y="17437"/>
                </a:moveTo>
                <a:cubicBezTo>
                  <a:pt x="3844" y="17406"/>
                  <a:pt x="3875" y="17374"/>
                  <a:pt x="3906" y="17374"/>
                </a:cubicBezTo>
                <a:cubicBezTo>
                  <a:pt x="3938" y="17312"/>
                  <a:pt x="3969" y="17249"/>
                  <a:pt x="4031" y="17249"/>
                </a:cubicBezTo>
                <a:cubicBezTo>
                  <a:pt x="4000" y="17312"/>
                  <a:pt x="3969" y="17374"/>
                  <a:pt x="3938" y="17374"/>
                </a:cubicBezTo>
                <a:cubicBezTo>
                  <a:pt x="3906" y="17406"/>
                  <a:pt x="3875" y="17437"/>
                  <a:pt x="3875" y="17437"/>
                </a:cubicBezTo>
                <a:close/>
                <a:moveTo>
                  <a:pt x="4094" y="18218"/>
                </a:moveTo>
                <a:cubicBezTo>
                  <a:pt x="4094" y="18218"/>
                  <a:pt x="4094" y="18218"/>
                  <a:pt x="4094" y="18218"/>
                </a:cubicBezTo>
                <a:cubicBezTo>
                  <a:pt x="4063" y="18218"/>
                  <a:pt x="4031" y="18218"/>
                  <a:pt x="4031" y="18218"/>
                </a:cubicBezTo>
                <a:cubicBezTo>
                  <a:pt x="4000" y="18218"/>
                  <a:pt x="3969" y="18218"/>
                  <a:pt x="3969" y="18187"/>
                </a:cubicBezTo>
                <a:cubicBezTo>
                  <a:pt x="3969" y="18187"/>
                  <a:pt x="3969" y="18187"/>
                  <a:pt x="4000" y="18187"/>
                </a:cubicBezTo>
                <a:cubicBezTo>
                  <a:pt x="4031" y="18187"/>
                  <a:pt x="4031" y="18187"/>
                  <a:pt x="4063" y="18187"/>
                </a:cubicBezTo>
                <a:cubicBezTo>
                  <a:pt x="4063" y="18187"/>
                  <a:pt x="4094" y="18187"/>
                  <a:pt x="4094" y="18187"/>
                </a:cubicBezTo>
                <a:cubicBezTo>
                  <a:pt x="4094" y="18187"/>
                  <a:pt x="4094" y="18218"/>
                  <a:pt x="4094" y="18218"/>
                </a:cubicBezTo>
                <a:close/>
                <a:moveTo>
                  <a:pt x="4156" y="17437"/>
                </a:moveTo>
                <a:cubicBezTo>
                  <a:pt x="4156" y="17437"/>
                  <a:pt x="4156" y="17437"/>
                  <a:pt x="4156" y="17468"/>
                </a:cubicBezTo>
                <a:cubicBezTo>
                  <a:pt x="4125" y="17468"/>
                  <a:pt x="4125" y="17531"/>
                  <a:pt x="4063" y="17531"/>
                </a:cubicBezTo>
                <a:cubicBezTo>
                  <a:pt x="4063" y="17531"/>
                  <a:pt x="4063" y="17531"/>
                  <a:pt x="4063" y="17531"/>
                </a:cubicBezTo>
                <a:cubicBezTo>
                  <a:pt x="4094" y="17468"/>
                  <a:pt x="4094" y="17437"/>
                  <a:pt x="4156" y="17437"/>
                </a:cubicBezTo>
                <a:cubicBezTo>
                  <a:pt x="4156" y="17374"/>
                  <a:pt x="4188" y="17374"/>
                  <a:pt x="4219" y="17343"/>
                </a:cubicBezTo>
                <a:cubicBezTo>
                  <a:pt x="4219" y="17406"/>
                  <a:pt x="4219" y="17437"/>
                  <a:pt x="4156" y="17437"/>
                </a:cubicBezTo>
                <a:close/>
                <a:moveTo>
                  <a:pt x="4156" y="17187"/>
                </a:moveTo>
                <a:cubicBezTo>
                  <a:pt x="4156" y="17187"/>
                  <a:pt x="4125" y="17187"/>
                  <a:pt x="4125" y="17187"/>
                </a:cubicBezTo>
                <a:cubicBezTo>
                  <a:pt x="4094" y="17187"/>
                  <a:pt x="4094" y="17187"/>
                  <a:pt x="4063" y="17187"/>
                </a:cubicBezTo>
                <a:cubicBezTo>
                  <a:pt x="4063" y="17187"/>
                  <a:pt x="4063" y="17156"/>
                  <a:pt x="4094" y="17156"/>
                </a:cubicBezTo>
                <a:cubicBezTo>
                  <a:pt x="4125" y="17062"/>
                  <a:pt x="4125" y="17062"/>
                  <a:pt x="4188" y="17093"/>
                </a:cubicBezTo>
                <a:cubicBezTo>
                  <a:pt x="4156" y="17124"/>
                  <a:pt x="4125" y="17156"/>
                  <a:pt x="4125" y="17187"/>
                </a:cubicBezTo>
                <a:cubicBezTo>
                  <a:pt x="4125" y="17187"/>
                  <a:pt x="4156" y="17187"/>
                  <a:pt x="4156" y="17187"/>
                </a:cubicBezTo>
                <a:close/>
                <a:moveTo>
                  <a:pt x="4656" y="16968"/>
                </a:moveTo>
                <a:cubicBezTo>
                  <a:pt x="4656" y="16968"/>
                  <a:pt x="4625" y="16968"/>
                  <a:pt x="4625" y="16968"/>
                </a:cubicBezTo>
                <a:cubicBezTo>
                  <a:pt x="4625" y="16968"/>
                  <a:pt x="4625" y="16968"/>
                  <a:pt x="4625" y="16968"/>
                </a:cubicBezTo>
                <a:cubicBezTo>
                  <a:pt x="4594" y="16968"/>
                  <a:pt x="4531" y="16968"/>
                  <a:pt x="4594" y="16906"/>
                </a:cubicBezTo>
                <a:cubicBezTo>
                  <a:pt x="4594" y="16906"/>
                  <a:pt x="4594" y="16906"/>
                  <a:pt x="4594" y="16906"/>
                </a:cubicBezTo>
                <a:cubicBezTo>
                  <a:pt x="4656" y="16843"/>
                  <a:pt x="4625" y="16968"/>
                  <a:pt x="4656" y="16937"/>
                </a:cubicBezTo>
                <a:cubicBezTo>
                  <a:pt x="4656" y="16968"/>
                  <a:pt x="4656" y="16968"/>
                  <a:pt x="4656" y="16968"/>
                </a:cubicBezTo>
                <a:cubicBezTo>
                  <a:pt x="4688" y="16999"/>
                  <a:pt x="4719" y="17031"/>
                  <a:pt x="4719" y="17031"/>
                </a:cubicBezTo>
                <a:cubicBezTo>
                  <a:pt x="4719" y="17031"/>
                  <a:pt x="4688" y="16999"/>
                  <a:pt x="4656" y="16968"/>
                </a:cubicBezTo>
                <a:close/>
                <a:moveTo>
                  <a:pt x="4656" y="15874"/>
                </a:moveTo>
                <a:cubicBezTo>
                  <a:pt x="4625" y="15874"/>
                  <a:pt x="4625" y="15843"/>
                  <a:pt x="4625" y="15843"/>
                </a:cubicBezTo>
                <a:cubicBezTo>
                  <a:pt x="4688" y="15843"/>
                  <a:pt x="4750" y="15812"/>
                  <a:pt x="4844" y="15843"/>
                </a:cubicBezTo>
                <a:cubicBezTo>
                  <a:pt x="4781" y="15843"/>
                  <a:pt x="4719" y="15874"/>
                  <a:pt x="4656" y="15874"/>
                </a:cubicBezTo>
                <a:close/>
                <a:moveTo>
                  <a:pt x="4813" y="15937"/>
                </a:moveTo>
                <a:cubicBezTo>
                  <a:pt x="4813" y="15937"/>
                  <a:pt x="4813" y="15937"/>
                  <a:pt x="4813" y="15937"/>
                </a:cubicBezTo>
                <a:cubicBezTo>
                  <a:pt x="4813" y="15937"/>
                  <a:pt x="4813" y="15937"/>
                  <a:pt x="4813" y="15937"/>
                </a:cubicBezTo>
                <a:cubicBezTo>
                  <a:pt x="4813" y="15937"/>
                  <a:pt x="4813" y="15937"/>
                  <a:pt x="4813" y="15937"/>
                </a:cubicBezTo>
                <a:close/>
                <a:moveTo>
                  <a:pt x="4656" y="16437"/>
                </a:moveTo>
                <a:cubicBezTo>
                  <a:pt x="4656" y="16406"/>
                  <a:pt x="4656" y="16406"/>
                  <a:pt x="4656" y="16406"/>
                </a:cubicBezTo>
                <a:cubicBezTo>
                  <a:pt x="4688" y="16406"/>
                  <a:pt x="4688" y="16406"/>
                  <a:pt x="4719" y="16374"/>
                </a:cubicBezTo>
                <a:cubicBezTo>
                  <a:pt x="4688" y="16406"/>
                  <a:pt x="4688" y="16406"/>
                  <a:pt x="4656" y="16406"/>
                </a:cubicBezTo>
                <a:cubicBezTo>
                  <a:pt x="4656" y="16406"/>
                  <a:pt x="4656" y="16406"/>
                  <a:pt x="4656" y="16437"/>
                </a:cubicBezTo>
                <a:close/>
                <a:moveTo>
                  <a:pt x="5094" y="19124"/>
                </a:moveTo>
                <a:cubicBezTo>
                  <a:pt x="5063" y="19124"/>
                  <a:pt x="5063" y="19124"/>
                  <a:pt x="5031" y="19124"/>
                </a:cubicBezTo>
                <a:cubicBezTo>
                  <a:pt x="4969" y="19124"/>
                  <a:pt x="4906" y="19156"/>
                  <a:pt x="4844" y="19124"/>
                </a:cubicBezTo>
                <a:cubicBezTo>
                  <a:pt x="4844" y="19093"/>
                  <a:pt x="4844" y="19093"/>
                  <a:pt x="4813" y="19093"/>
                </a:cubicBezTo>
                <a:cubicBezTo>
                  <a:pt x="4813" y="19093"/>
                  <a:pt x="4813" y="19093"/>
                  <a:pt x="4781" y="19093"/>
                </a:cubicBezTo>
                <a:cubicBezTo>
                  <a:pt x="4781" y="19093"/>
                  <a:pt x="4781" y="19093"/>
                  <a:pt x="4781" y="19062"/>
                </a:cubicBezTo>
                <a:cubicBezTo>
                  <a:pt x="4875" y="19062"/>
                  <a:pt x="4969" y="19093"/>
                  <a:pt x="5094" y="19124"/>
                </a:cubicBezTo>
                <a:cubicBezTo>
                  <a:pt x="5125" y="19124"/>
                  <a:pt x="5156" y="19124"/>
                  <a:pt x="5219" y="19124"/>
                </a:cubicBezTo>
                <a:cubicBezTo>
                  <a:pt x="5156" y="19124"/>
                  <a:pt x="5125" y="19124"/>
                  <a:pt x="5094" y="19124"/>
                </a:cubicBezTo>
                <a:close/>
                <a:moveTo>
                  <a:pt x="5063" y="15781"/>
                </a:moveTo>
                <a:cubicBezTo>
                  <a:pt x="5063" y="15781"/>
                  <a:pt x="5063" y="15781"/>
                  <a:pt x="5063" y="15781"/>
                </a:cubicBezTo>
                <a:cubicBezTo>
                  <a:pt x="5094" y="15781"/>
                  <a:pt x="5094" y="15781"/>
                  <a:pt x="5094" y="15781"/>
                </a:cubicBezTo>
                <a:cubicBezTo>
                  <a:pt x="5094" y="15812"/>
                  <a:pt x="5094" y="15812"/>
                  <a:pt x="5094" y="15843"/>
                </a:cubicBezTo>
                <a:cubicBezTo>
                  <a:pt x="5094" y="15843"/>
                  <a:pt x="5094" y="15843"/>
                  <a:pt x="5094" y="15843"/>
                </a:cubicBezTo>
                <a:cubicBezTo>
                  <a:pt x="5031" y="15812"/>
                  <a:pt x="4969" y="15812"/>
                  <a:pt x="4906" y="15812"/>
                </a:cubicBezTo>
                <a:cubicBezTo>
                  <a:pt x="4969" y="15812"/>
                  <a:pt x="5031" y="15812"/>
                  <a:pt x="5063" y="15781"/>
                </a:cubicBezTo>
                <a:close/>
                <a:moveTo>
                  <a:pt x="5375" y="15062"/>
                </a:moveTo>
                <a:cubicBezTo>
                  <a:pt x="5375" y="15062"/>
                  <a:pt x="5375" y="15031"/>
                  <a:pt x="5344" y="15031"/>
                </a:cubicBezTo>
                <a:cubicBezTo>
                  <a:pt x="5344" y="14999"/>
                  <a:pt x="5344" y="14968"/>
                  <a:pt x="5344" y="14968"/>
                </a:cubicBezTo>
                <a:cubicBezTo>
                  <a:pt x="5375" y="14968"/>
                  <a:pt x="5375" y="14968"/>
                  <a:pt x="5375" y="14968"/>
                </a:cubicBezTo>
                <a:cubicBezTo>
                  <a:pt x="5375" y="14968"/>
                  <a:pt x="5375" y="14968"/>
                  <a:pt x="5375" y="14968"/>
                </a:cubicBezTo>
                <a:cubicBezTo>
                  <a:pt x="5406" y="14968"/>
                  <a:pt x="5406" y="14968"/>
                  <a:pt x="5406" y="14968"/>
                </a:cubicBezTo>
                <a:cubicBezTo>
                  <a:pt x="5469" y="14999"/>
                  <a:pt x="5406" y="15062"/>
                  <a:pt x="5469" y="15093"/>
                </a:cubicBezTo>
                <a:cubicBezTo>
                  <a:pt x="5500" y="15156"/>
                  <a:pt x="5531" y="15249"/>
                  <a:pt x="5625" y="15187"/>
                </a:cubicBezTo>
                <a:cubicBezTo>
                  <a:pt x="5563" y="15312"/>
                  <a:pt x="5688" y="15312"/>
                  <a:pt x="5719" y="15374"/>
                </a:cubicBezTo>
                <a:cubicBezTo>
                  <a:pt x="5719" y="15312"/>
                  <a:pt x="5813" y="15218"/>
                  <a:pt x="5906" y="15218"/>
                </a:cubicBezTo>
                <a:cubicBezTo>
                  <a:pt x="5938" y="15218"/>
                  <a:pt x="5969" y="15187"/>
                  <a:pt x="5969" y="15156"/>
                </a:cubicBezTo>
                <a:cubicBezTo>
                  <a:pt x="5969" y="15031"/>
                  <a:pt x="6094" y="15093"/>
                  <a:pt x="6125" y="15062"/>
                </a:cubicBezTo>
                <a:cubicBezTo>
                  <a:pt x="6125" y="15031"/>
                  <a:pt x="6156" y="15062"/>
                  <a:pt x="6156" y="15062"/>
                </a:cubicBezTo>
                <a:cubicBezTo>
                  <a:pt x="6156" y="15093"/>
                  <a:pt x="6156" y="15124"/>
                  <a:pt x="6125" y="15124"/>
                </a:cubicBezTo>
                <a:cubicBezTo>
                  <a:pt x="6063" y="15187"/>
                  <a:pt x="6031" y="15218"/>
                  <a:pt x="5969" y="15281"/>
                </a:cubicBezTo>
                <a:cubicBezTo>
                  <a:pt x="5969" y="15281"/>
                  <a:pt x="5969" y="15281"/>
                  <a:pt x="5938" y="15281"/>
                </a:cubicBezTo>
                <a:cubicBezTo>
                  <a:pt x="5969" y="15281"/>
                  <a:pt x="5969" y="15281"/>
                  <a:pt x="5969" y="15281"/>
                </a:cubicBezTo>
                <a:cubicBezTo>
                  <a:pt x="5938" y="15249"/>
                  <a:pt x="5906" y="15249"/>
                  <a:pt x="5938" y="15312"/>
                </a:cubicBezTo>
                <a:cubicBezTo>
                  <a:pt x="5938" y="15312"/>
                  <a:pt x="5938" y="15312"/>
                  <a:pt x="5906" y="15312"/>
                </a:cubicBezTo>
                <a:cubicBezTo>
                  <a:pt x="5781" y="15281"/>
                  <a:pt x="5781" y="15281"/>
                  <a:pt x="5781" y="15437"/>
                </a:cubicBezTo>
                <a:cubicBezTo>
                  <a:pt x="5781" y="15437"/>
                  <a:pt x="5781" y="15437"/>
                  <a:pt x="5781" y="15437"/>
                </a:cubicBezTo>
                <a:cubicBezTo>
                  <a:pt x="5719" y="15437"/>
                  <a:pt x="5688" y="15406"/>
                  <a:pt x="5656" y="15374"/>
                </a:cubicBezTo>
                <a:cubicBezTo>
                  <a:pt x="5563" y="15281"/>
                  <a:pt x="5500" y="15156"/>
                  <a:pt x="5375" y="15062"/>
                </a:cubicBezTo>
                <a:close/>
                <a:moveTo>
                  <a:pt x="5500" y="14906"/>
                </a:moveTo>
                <a:cubicBezTo>
                  <a:pt x="5500" y="14906"/>
                  <a:pt x="5469" y="14906"/>
                  <a:pt x="5469" y="14937"/>
                </a:cubicBezTo>
                <a:cubicBezTo>
                  <a:pt x="5469" y="14906"/>
                  <a:pt x="5469" y="14906"/>
                  <a:pt x="5469" y="14906"/>
                </a:cubicBezTo>
                <a:cubicBezTo>
                  <a:pt x="5469" y="14906"/>
                  <a:pt x="5469" y="14874"/>
                  <a:pt x="5500" y="14906"/>
                </a:cubicBezTo>
                <a:close/>
                <a:moveTo>
                  <a:pt x="5500" y="14843"/>
                </a:moveTo>
                <a:cubicBezTo>
                  <a:pt x="5531" y="14812"/>
                  <a:pt x="5531" y="14843"/>
                  <a:pt x="5563" y="14874"/>
                </a:cubicBezTo>
                <a:cubicBezTo>
                  <a:pt x="5563" y="14906"/>
                  <a:pt x="5625" y="14906"/>
                  <a:pt x="5625" y="14937"/>
                </a:cubicBezTo>
                <a:cubicBezTo>
                  <a:pt x="5563" y="14968"/>
                  <a:pt x="5563" y="14874"/>
                  <a:pt x="5500" y="14906"/>
                </a:cubicBezTo>
                <a:cubicBezTo>
                  <a:pt x="5500" y="14874"/>
                  <a:pt x="5469" y="14843"/>
                  <a:pt x="5500" y="14843"/>
                </a:cubicBezTo>
                <a:close/>
                <a:moveTo>
                  <a:pt x="6156" y="14999"/>
                </a:moveTo>
                <a:cubicBezTo>
                  <a:pt x="6094" y="14999"/>
                  <a:pt x="6063" y="15031"/>
                  <a:pt x="6000" y="15031"/>
                </a:cubicBezTo>
                <a:cubicBezTo>
                  <a:pt x="6031" y="14968"/>
                  <a:pt x="6063" y="14937"/>
                  <a:pt x="6125" y="14906"/>
                </a:cubicBezTo>
                <a:cubicBezTo>
                  <a:pt x="6156" y="14906"/>
                  <a:pt x="6156" y="14968"/>
                  <a:pt x="6156" y="14999"/>
                </a:cubicBezTo>
                <a:close/>
                <a:moveTo>
                  <a:pt x="6281" y="15718"/>
                </a:moveTo>
                <a:cubicBezTo>
                  <a:pt x="6281" y="15718"/>
                  <a:pt x="6250" y="15718"/>
                  <a:pt x="6250" y="15718"/>
                </a:cubicBezTo>
                <a:cubicBezTo>
                  <a:pt x="6219" y="15718"/>
                  <a:pt x="6219" y="15718"/>
                  <a:pt x="6219" y="15718"/>
                </a:cubicBezTo>
                <a:cubicBezTo>
                  <a:pt x="6219" y="15718"/>
                  <a:pt x="6219" y="15718"/>
                  <a:pt x="6219" y="15718"/>
                </a:cubicBezTo>
                <a:cubicBezTo>
                  <a:pt x="6188" y="15656"/>
                  <a:pt x="6281" y="15656"/>
                  <a:pt x="6281" y="15624"/>
                </a:cubicBezTo>
                <a:cubicBezTo>
                  <a:pt x="6281" y="15624"/>
                  <a:pt x="6313" y="15624"/>
                  <a:pt x="6313" y="15624"/>
                </a:cubicBezTo>
                <a:cubicBezTo>
                  <a:pt x="6313" y="15687"/>
                  <a:pt x="6375" y="15624"/>
                  <a:pt x="6375" y="15687"/>
                </a:cubicBezTo>
                <a:cubicBezTo>
                  <a:pt x="6375" y="15718"/>
                  <a:pt x="6375" y="15718"/>
                  <a:pt x="6406" y="15718"/>
                </a:cubicBezTo>
                <a:cubicBezTo>
                  <a:pt x="6375" y="15718"/>
                  <a:pt x="6375" y="15718"/>
                  <a:pt x="6375" y="15687"/>
                </a:cubicBezTo>
                <a:cubicBezTo>
                  <a:pt x="6344" y="15687"/>
                  <a:pt x="6281" y="15656"/>
                  <a:pt x="6281" y="15718"/>
                </a:cubicBezTo>
                <a:close/>
                <a:moveTo>
                  <a:pt x="6031" y="15687"/>
                </a:moveTo>
                <a:cubicBezTo>
                  <a:pt x="5969" y="15656"/>
                  <a:pt x="5938" y="15656"/>
                  <a:pt x="5875" y="15624"/>
                </a:cubicBezTo>
                <a:cubicBezTo>
                  <a:pt x="5906" y="15562"/>
                  <a:pt x="5969" y="15562"/>
                  <a:pt x="6031" y="15531"/>
                </a:cubicBezTo>
                <a:cubicBezTo>
                  <a:pt x="6094" y="15562"/>
                  <a:pt x="6156" y="15593"/>
                  <a:pt x="6219" y="15593"/>
                </a:cubicBezTo>
                <a:cubicBezTo>
                  <a:pt x="6188" y="15656"/>
                  <a:pt x="6125" y="15718"/>
                  <a:pt x="6031" y="15687"/>
                </a:cubicBezTo>
                <a:close/>
                <a:moveTo>
                  <a:pt x="6094" y="15843"/>
                </a:moveTo>
                <a:cubicBezTo>
                  <a:pt x="6094" y="15843"/>
                  <a:pt x="6094" y="15843"/>
                  <a:pt x="6094" y="15843"/>
                </a:cubicBezTo>
                <a:cubicBezTo>
                  <a:pt x="6094" y="15843"/>
                  <a:pt x="6094" y="15843"/>
                  <a:pt x="6094" y="15843"/>
                </a:cubicBezTo>
                <a:cubicBezTo>
                  <a:pt x="6094" y="15843"/>
                  <a:pt x="6094" y="15843"/>
                  <a:pt x="6094" y="15843"/>
                </a:cubicBezTo>
                <a:close/>
                <a:moveTo>
                  <a:pt x="6125" y="15312"/>
                </a:moveTo>
                <a:cubicBezTo>
                  <a:pt x="6156" y="15312"/>
                  <a:pt x="6156" y="15312"/>
                  <a:pt x="6156" y="15281"/>
                </a:cubicBezTo>
                <a:cubicBezTo>
                  <a:pt x="6156" y="15312"/>
                  <a:pt x="6156" y="15312"/>
                  <a:pt x="6125" y="15312"/>
                </a:cubicBezTo>
                <a:cubicBezTo>
                  <a:pt x="6125" y="15312"/>
                  <a:pt x="6125" y="15312"/>
                  <a:pt x="6125" y="15312"/>
                </a:cubicBezTo>
                <a:close/>
                <a:moveTo>
                  <a:pt x="5531" y="15562"/>
                </a:moveTo>
                <a:cubicBezTo>
                  <a:pt x="5531" y="15562"/>
                  <a:pt x="5531" y="15562"/>
                  <a:pt x="5531" y="15562"/>
                </a:cubicBezTo>
                <a:cubicBezTo>
                  <a:pt x="5531" y="15562"/>
                  <a:pt x="5531" y="15562"/>
                  <a:pt x="5500" y="15562"/>
                </a:cubicBezTo>
                <a:cubicBezTo>
                  <a:pt x="5531" y="15562"/>
                  <a:pt x="5531" y="15562"/>
                  <a:pt x="5531" y="15562"/>
                </a:cubicBezTo>
                <a:close/>
                <a:moveTo>
                  <a:pt x="5563" y="16468"/>
                </a:moveTo>
                <a:cubicBezTo>
                  <a:pt x="5563" y="16468"/>
                  <a:pt x="5594" y="16468"/>
                  <a:pt x="5594" y="16499"/>
                </a:cubicBezTo>
                <a:cubicBezTo>
                  <a:pt x="5594" y="16531"/>
                  <a:pt x="5594" y="16531"/>
                  <a:pt x="5563" y="16531"/>
                </a:cubicBezTo>
                <a:cubicBezTo>
                  <a:pt x="5531" y="16562"/>
                  <a:pt x="5500" y="16593"/>
                  <a:pt x="5438" y="16593"/>
                </a:cubicBezTo>
                <a:cubicBezTo>
                  <a:pt x="5438" y="16562"/>
                  <a:pt x="5438" y="16562"/>
                  <a:pt x="5438" y="16531"/>
                </a:cubicBezTo>
                <a:cubicBezTo>
                  <a:pt x="5469" y="16531"/>
                  <a:pt x="5500" y="16437"/>
                  <a:pt x="5563" y="16468"/>
                </a:cubicBezTo>
                <a:close/>
                <a:moveTo>
                  <a:pt x="5594" y="16656"/>
                </a:moveTo>
                <a:cubicBezTo>
                  <a:pt x="5594" y="16624"/>
                  <a:pt x="5594" y="16624"/>
                  <a:pt x="5594" y="16624"/>
                </a:cubicBezTo>
                <a:cubicBezTo>
                  <a:pt x="5625" y="16593"/>
                  <a:pt x="5688" y="16531"/>
                  <a:pt x="5750" y="16562"/>
                </a:cubicBezTo>
                <a:cubicBezTo>
                  <a:pt x="5750" y="16593"/>
                  <a:pt x="5750" y="16593"/>
                  <a:pt x="5750" y="16624"/>
                </a:cubicBezTo>
                <a:cubicBezTo>
                  <a:pt x="5688" y="16656"/>
                  <a:pt x="5656" y="16656"/>
                  <a:pt x="5594" y="16656"/>
                </a:cubicBezTo>
                <a:close/>
                <a:moveTo>
                  <a:pt x="5594" y="16031"/>
                </a:moveTo>
                <a:cubicBezTo>
                  <a:pt x="5594" y="16062"/>
                  <a:pt x="5625" y="16062"/>
                  <a:pt x="5625" y="16062"/>
                </a:cubicBezTo>
                <a:cubicBezTo>
                  <a:pt x="5625" y="16062"/>
                  <a:pt x="5594" y="16062"/>
                  <a:pt x="5594" y="16031"/>
                </a:cubicBezTo>
                <a:close/>
                <a:moveTo>
                  <a:pt x="5281" y="17843"/>
                </a:moveTo>
                <a:cubicBezTo>
                  <a:pt x="5250" y="17874"/>
                  <a:pt x="5250" y="17906"/>
                  <a:pt x="5250" y="17906"/>
                </a:cubicBezTo>
                <a:cubicBezTo>
                  <a:pt x="5250" y="17906"/>
                  <a:pt x="5250" y="17874"/>
                  <a:pt x="5281" y="17843"/>
                </a:cubicBezTo>
                <a:cubicBezTo>
                  <a:pt x="5281" y="17843"/>
                  <a:pt x="5281" y="17843"/>
                  <a:pt x="5281" y="17812"/>
                </a:cubicBezTo>
                <a:cubicBezTo>
                  <a:pt x="5344" y="17843"/>
                  <a:pt x="5375" y="17781"/>
                  <a:pt x="5438" y="17781"/>
                </a:cubicBezTo>
                <a:cubicBezTo>
                  <a:pt x="5438" y="17781"/>
                  <a:pt x="5438" y="17781"/>
                  <a:pt x="5438" y="17812"/>
                </a:cubicBezTo>
                <a:cubicBezTo>
                  <a:pt x="5438" y="17781"/>
                  <a:pt x="5469" y="17781"/>
                  <a:pt x="5469" y="17749"/>
                </a:cubicBezTo>
                <a:cubicBezTo>
                  <a:pt x="5469" y="17781"/>
                  <a:pt x="5438" y="17781"/>
                  <a:pt x="5438" y="17812"/>
                </a:cubicBezTo>
                <a:cubicBezTo>
                  <a:pt x="5375" y="17874"/>
                  <a:pt x="5469" y="17843"/>
                  <a:pt x="5500" y="17874"/>
                </a:cubicBezTo>
                <a:cubicBezTo>
                  <a:pt x="5406" y="17843"/>
                  <a:pt x="5344" y="17937"/>
                  <a:pt x="5281" y="17843"/>
                </a:cubicBezTo>
                <a:close/>
                <a:moveTo>
                  <a:pt x="5219" y="17812"/>
                </a:moveTo>
                <a:cubicBezTo>
                  <a:pt x="5219" y="17812"/>
                  <a:pt x="5250" y="17812"/>
                  <a:pt x="5281" y="17812"/>
                </a:cubicBezTo>
                <a:cubicBezTo>
                  <a:pt x="5281" y="17812"/>
                  <a:pt x="5281" y="17812"/>
                  <a:pt x="5281" y="17812"/>
                </a:cubicBezTo>
                <a:cubicBezTo>
                  <a:pt x="5250" y="17812"/>
                  <a:pt x="5219" y="17812"/>
                  <a:pt x="5219" y="17812"/>
                </a:cubicBezTo>
                <a:close/>
                <a:moveTo>
                  <a:pt x="5500" y="17281"/>
                </a:moveTo>
                <a:cubicBezTo>
                  <a:pt x="5500" y="17249"/>
                  <a:pt x="5531" y="17249"/>
                  <a:pt x="5531" y="17249"/>
                </a:cubicBezTo>
                <a:cubicBezTo>
                  <a:pt x="5531" y="17249"/>
                  <a:pt x="5500" y="17249"/>
                  <a:pt x="5500" y="17281"/>
                </a:cubicBezTo>
                <a:cubicBezTo>
                  <a:pt x="5500" y="17281"/>
                  <a:pt x="5500" y="17281"/>
                  <a:pt x="5500" y="17281"/>
                </a:cubicBezTo>
                <a:cubicBezTo>
                  <a:pt x="5469" y="17281"/>
                  <a:pt x="5469" y="17281"/>
                  <a:pt x="5469" y="17281"/>
                </a:cubicBezTo>
                <a:cubicBezTo>
                  <a:pt x="5438" y="17312"/>
                  <a:pt x="5406" y="17343"/>
                  <a:pt x="5375" y="17281"/>
                </a:cubicBezTo>
                <a:cubicBezTo>
                  <a:pt x="5344" y="17249"/>
                  <a:pt x="5406" y="17218"/>
                  <a:pt x="5438" y="17187"/>
                </a:cubicBezTo>
                <a:cubicBezTo>
                  <a:pt x="5500" y="17187"/>
                  <a:pt x="5469" y="17249"/>
                  <a:pt x="5500" y="17281"/>
                </a:cubicBezTo>
                <a:close/>
                <a:moveTo>
                  <a:pt x="5469" y="17749"/>
                </a:moveTo>
                <a:cubicBezTo>
                  <a:pt x="5500" y="17749"/>
                  <a:pt x="5531" y="17718"/>
                  <a:pt x="5563" y="17718"/>
                </a:cubicBezTo>
                <a:cubicBezTo>
                  <a:pt x="5531" y="17718"/>
                  <a:pt x="5500" y="17749"/>
                  <a:pt x="5469" y="17749"/>
                </a:cubicBezTo>
                <a:close/>
                <a:moveTo>
                  <a:pt x="5469" y="16968"/>
                </a:moveTo>
                <a:cubicBezTo>
                  <a:pt x="5438" y="16968"/>
                  <a:pt x="5438" y="16999"/>
                  <a:pt x="5438" y="16999"/>
                </a:cubicBezTo>
                <a:cubicBezTo>
                  <a:pt x="5406" y="16999"/>
                  <a:pt x="5406" y="16999"/>
                  <a:pt x="5375" y="16999"/>
                </a:cubicBezTo>
                <a:cubicBezTo>
                  <a:pt x="5375" y="16999"/>
                  <a:pt x="5344" y="16999"/>
                  <a:pt x="5344" y="16968"/>
                </a:cubicBezTo>
                <a:cubicBezTo>
                  <a:pt x="5344" y="16937"/>
                  <a:pt x="5375" y="16968"/>
                  <a:pt x="5406" y="16968"/>
                </a:cubicBezTo>
                <a:cubicBezTo>
                  <a:pt x="5406" y="16937"/>
                  <a:pt x="5438" y="16968"/>
                  <a:pt x="5469" y="16968"/>
                </a:cubicBezTo>
                <a:close/>
                <a:moveTo>
                  <a:pt x="5375" y="17718"/>
                </a:moveTo>
                <a:cubicBezTo>
                  <a:pt x="5406" y="17718"/>
                  <a:pt x="5406" y="17718"/>
                  <a:pt x="5438" y="17718"/>
                </a:cubicBezTo>
                <a:cubicBezTo>
                  <a:pt x="5438" y="17718"/>
                  <a:pt x="5438" y="17718"/>
                  <a:pt x="5438" y="17749"/>
                </a:cubicBezTo>
                <a:cubicBezTo>
                  <a:pt x="5375" y="17749"/>
                  <a:pt x="5344" y="17718"/>
                  <a:pt x="5313" y="17749"/>
                </a:cubicBezTo>
                <a:cubicBezTo>
                  <a:pt x="5281" y="17749"/>
                  <a:pt x="5281" y="17781"/>
                  <a:pt x="5281" y="17781"/>
                </a:cubicBezTo>
                <a:cubicBezTo>
                  <a:pt x="5219" y="17781"/>
                  <a:pt x="5188" y="17749"/>
                  <a:pt x="5188" y="17749"/>
                </a:cubicBezTo>
                <a:cubicBezTo>
                  <a:pt x="5156" y="17749"/>
                  <a:pt x="5125" y="17749"/>
                  <a:pt x="5125" y="17749"/>
                </a:cubicBezTo>
                <a:cubicBezTo>
                  <a:pt x="5125" y="17749"/>
                  <a:pt x="5156" y="17749"/>
                  <a:pt x="5188" y="17749"/>
                </a:cubicBezTo>
                <a:cubicBezTo>
                  <a:pt x="5188" y="17749"/>
                  <a:pt x="5219" y="17749"/>
                  <a:pt x="5250" y="17718"/>
                </a:cubicBezTo>
                <a:cubicBezTo>
                  <a:pt x="5250" y="17718"/>
                  <a:pt x="5250" y="17718"/>
                  <a:pt x="5250" y="17718"/>
                </a:cubicBezTo>
                <a:cubicBezTo>
                  <a:pt x="5250" y="17749"/>
                  <a:pt x="5281" y="17749"/>
                  <a:pt x="5281" y="17749"/>
                </a:cubicBezTo>
                <a:cubicBezTo>
                  <a:pt x="5313" y="17718"/>
                  <a:pt x="5344" y="17718"/>
                  <a:pt x="5375" y="17718"/>
                </a:cubicBezTo>
                <a:cubicBezTo>
                  <a:pt x="5344" y="17687"/>
                  <a:pt x="5313" y="17687"/>
                  <a:pt x="5281" y="17687"/>
                </a:cubicBezTo>
                <a:cubicBezTo>
                  <a:pt x="5313" y="17687"/>
                  <a:pt x="5344" y="17687"/>
                  <a:pt x="5375" y="17718"/>
                </a:cubicBezTo>
                <a:close/>
                <a:moveTo>
                  <a:pt x="4938" y="17968"/>
                </a:moveTo>
                <a:cubicBezTo>
                  <a:pt x="4938" y="17968"/>
                  <a:pt x="4906" y="17937"/>
                  <a:pt x="4906" y="17906"/>
                </a:cubicBezTo>
                <a:cubicBezTo>
                  <a:pt x="4938" y="17906"/>
                  <a:pt x="4938" y="17874"/>
                  <a:pt x="4969" y="17874"/>
                </a:cubicBezTo>
                <a:cubicBezTo>
                  <a:pt x="4969" y="17843"/>
                  <a:pt x="5000" y="17843"/>
                  <a:pt x="5000" y="17843"/>
                </a:cubicBezTo>
                <a:cubicBezTo>
                  <a:pt x="4969" y="17874"/>
                  <a:pt x="5000" y="17968"/>
                  <a:pt x="4938" y="17968"/>
                </a:cubicBezTo>
                <a:close/>
                <a:moveTo>
                  <a:pt x="5000" y="18937"/>
                </a:moveTo>
                <a:cubicBezTo>
                  <a:pt x="5063" y="18937"/>
                  <a:pt x="5031" y="18874"/>
                  <a:pt x="5063" y="18812"/>
                </a:cubicBezTo>
                <a:cubicBezTo>
                  <a:pt x="5094" y="18812"/>
                  <a:pt x="5125" y="18812"/>
                  <a:pt x="5156" y="18812"/>
                </a:cubicBezTo>
                <a:cubicBezTo>
                  <a:pt x="5156" y="18843"/>
                  <a:pt x="5125" y="18843"/>
                  <a:pt x="5125" y="18874"/>
                </a:cubicBezTo>
                <a:cubicBezTo>
                  <a:pt x="5094" y="18906"/>
                  <a:pt x="5094" y="18937"/>
                  <a:pt x="5063" y="18968"/>
                </a:cubicBezTo>
                <a:cubicBezTo>
                  <a:pt x="5063" y="18968"/>
                  <a:pt x="5031" y="18968"/>
                  <a:pt x="5031" y="18968"/>
                </a:cubicBezTo>
                <a:cubicBezTo>
                  <a:pt x="5031" y="18968"/>
                  <a:pt x="4969" y="18968"/>
                  <a:pt x="5000" y="18937"/>
                </a:cubicBezTo>
                <a:close/>
                <a:moveTo>
                  <a:pt x="5125" y="17312"/>
                </a:moveTo>
                <a:cubicBezTo>
                  <a:pt x="5125" y="17312"/>
                  <a:pt x="5125" y="17312"/>
                  <a:pt x="5094" y="17312"/>
                </a:cubicBezTo>
                <a:cubicBezTo>
                  <a:pt x="5094" y="17281"/>
                  <a:pt x="5094" y="17281"/>
                  <a:pt x="5094" y="17281"/>
                </a:cubicBezTo>
                <a:cubicBezTo>
                  <a:pt x="5156" y="17218"/>
                  <a:pt x="5188" y="17156"/>
                  <a:pt x="5281" y="17156"/>
                </a:cubicBezTo>
                <a:cubicBezTo>
                  <a:pt x="5250" y="17218"/>
                  <a:pt x="5188" y="17281"/>
                  <a:pt x="5125" y="17312"/>
                </a:cubicBezTo>
                <a:close/>
                <a:moveTo>
                  <a:pt x="5063" y="17062"/>
                </a:moveTo>
                <a:cubicBezTo>
                  <a:pt x="5125" y="17062"/>
                  <a:pt x="5156" y="16999"/>
                  <a:pt x="5219" y="16968"/>
                </a:cubicBezTo>
                <a:cubicBezTo>
                  <a:pt x="5219" y="16999"/>
                  <a:pt x="5250" y="17031"/>
                  <a:pt x="5250" y="17062"/>
                </a:cubicBezTo>
                <a:cubicBezTo>
                  <a:pt x="5188" y="17062"/>
                  <a:pt x="5125" y="17124"/>
                  <a:pt x="5063" y="17062"/>
                </a:cubicBezTo>
                <a:close/>
                <a:moveTo>
                  <a:pt x="5719" y="17906"/>
                </a:moveTo>
                <a:cubicBezTo>
                  <a:pt x="5688" y="17906"/>
                  <a:pt x="5656" y="17906"/>
                  <a:pt x="5625" y="17906"/>
                </a:cubicBezTo>
                <a:cubicBezTo>
                  <a:pt x="5563" y="17906"/>
                  <a:pt x="5500" y="17937"/>
                  <a:pt x="5438" y="17937"/>
                </a:cubicBezTo>
                <a:cubicBezTo>
                  <a:pt x="5469" y="17906"/>
                  <a:pt x="5500" y="17937"/>
                  <a:pt x="5531" y="17906"/>
                </a:cubicBezTo>
                <a:cubicBezTo>
                  <a:pt x="5531" y="17906"/>
                  <a:pt x="5563" y="17906"/>
                  <a:pt x="5563" y="17874"/>
                </a:cubicBezTo>
                <a:cubicBezTo>
                  <a:pt x="5594" y="17874"/>
                  <a:pt x="5625" y="17937"/>
                  <a:pt x="5656" y="17874"/>
                </a:cubicBezTo>
                <a:cubicBezTo>
                  <a:pt x="5656" y="17874"/>
                  <a:pt x="5656" y="17874"/>
                  <a:pt x="5656" y="17874"/>
                </a:cubicBezTo>
                <a:cubicBezTo>
                  <a:pt x="5688" y="17874"/>
                  <a:pt x="5719" y="17906"/>
                  <a:pt x="5719" y="17906"/>
                </a:cubicBezTo>
                <a:cubicBezTo>
                  <a:pt x="5719" y="17906"/>
                  <a:pt x="5719" y="17906"/>
                  <a:pt x="5719" y="17906"/>
                </a:cubicBezTo>
                <a:close/>
                <a:moveTo>
                  <a:pt x="5656" y="17156"/>
                </a:moveTo>
                <a:cubicBezTo>
                  <a:pt x="5625" y="17187"/>
                  <a:pt x="5594" y="17156"/>
                  <a:pt x="5563" y="17156"/>
                </a:cubicBezTo>
                <a:cubicBezTo>
                  <a:pt x="5625" y="17124"/>
                  <a:pt x="5656" y="17124"/>
                  <a:pt x="5656" y="17062"/>
                </a:cubicBezTo>
                <a:cubicBezTo>
                  <a:pt x="5656" y="17093"/>
                  <a:pt x="5656" y="17093"/>
                  <a:pt x="5656" y="17093"/>
                </a:cubicBezTo>
                <a:cubicBezTo>
                  <a:pt x="5656" y="17062"/>
                  <a:pt x="5656" y="17062"/>
                  <a:pt x="5656" y="17062"/>
                </a:cubicBezTo>
                <a:cubicBezTo>
                  <a:pt x="5656" y="17062"/>
                  <a:pt x="5656" y="17062"/>
                  <a:pt x="5656" y="17062"/>
                </a:cubicBezTo>
                <a:cubicBezTo>
                  <a:pt x="5656" y="17062"/>
                  <a:pt x="5656" y="17062"/>
                  <a:pt x="5656" y="17062"/>
                </a:cubicBezTo>
                <a:cubicBezTo>
                  <a:pt x="5688" y="17062"/>
                  <a:pt x="5688" y="17093"/>
                  <a:pt x="5719" y="17093"/>
                </a:cubicBezTo>
                <a:cubicBezTo>
                  <a:pt x="5719" y="17124"/>
                  <a:pt x="5656" y="17124"/>
                  <a:pt x="5656" y="17156"/>
                </a:cubicBezTo>
                <a:cubicBezTo>
                  <a:pt x="5688" y="17187"/>
                  <a:pt x="5719" y="17187"/>
                  <a:pt x="5781" y="17187"/>
                </a:cubicBezTo>
                <a:cubicBezTo>
                  <a:pt x="5719" y="17187"/>
                  <a:pt x="5688" y="17187"/>
                  <a:pt x="5656" y="17156"/>
                </a:cubicBezTo>
                <a:close/>
                <a:moveTo>
                  <a:pt x="5750" y="15593"/>
                </a:moveTo>
                <a:cubicBezTo>
                  <a:pt x="5719" y="15562"/>
                  <a:pt x="5688" y="15562"/>
                  <a:pt x="5656" y="15593"/>
                </a:cubicBezTo>
                <a:cubicBezTo>
                  <a:pt x="5688" y="15593"/>
                  <a:pt x="5688" y="15624"/>
                  <a:pt x="5719" y="15624"/>
                </a:cubicBezTo>
                <a:cubicBezTo>
                  <a:pt x="5688" y="15624"/>
                  <a:pt x="5688" y="15593"/>
                  <a:pt x="5656" y="15593"/>
                </a:cubicBezTo>
                <a:cubicBezTo>
                  <a:pt x="5625" y="15593"/>
                  <a:pt x="5625" y="15593"/>
                  <a:pt x="5625" y="15593"/>
                </a:cubicBezTo>
                <a:cubicBezTo>
                  <a:pt x="5594" y="15593"/>
                  <a:pt x="5594" y="15593"/>
                  <a:pt x="5594" y="15593"/>
                </a:cubicBezTo>
                <a:cubicBezTo>
                  <a:pt x="5594" y="15593"/>
                  <a:pt x="5594" y="15593"/>
                  <a:pt x="5625" y="15593"/>
                </a:cubicBezTo>
                <a:cubicBezTo>
                  <a:pt x="5594" y="15593"/>
                  <a:pt x="5563" y="15593"/>
                  <a:pt x="5563" y="15593"/>
                </a:cubicBezTo>
                <a:cubicBezTo>
                  <a:pt x="5563" y="15562"/>
                  <a:pt x="5531" y="15562"/>
                  <a:pt x="5531" y="15562"/>
                </a:cubicBezTo>
                <a:cubicBezTo>
                  <a:pt x="5594" y="15562"/>
                  <a:pt x="5656" y="15562"/>
                  <a:pt x="5688" y="15562"/>
                </a:cubicBezTo>
                <a:cubicBezTo>
                  <a:pt x="5750" y="15562"/>
                  <a:pt x="5781" y="15531"/>
                  <a:pt x="5813" y="15499"/>
                </a:cubicBezTo>
                <a:cubicBezTo>
                  <a:pt x="5813" y="15499"/>
                  <a:pt x="5813" y="15499"/>
                  <a:pt x="5813" y="15499"/>
                </a:cubicBezTo>
                <a:cubicBezTo>
                  <a:pt x="5844" y="15499"/>
                  <a:pt x="5844" y="15499"/>
                  <a:pt x="5875" y="15499"/>
                </a:cubicBezTo>
                <a:cubicBezTo>
                  <a:pt x="5875" y="15593"/>
                  <a:pt x="5813" y="15624"/>
                  <a:pt x="5750" y="15593"/>
                </a:cubicBezTo>
                <a:close/>
                <a:moveTo>
                  <a:pt x="6188" y="17624"/>
                </a:moveTo>
                <a:cubicBezTo>
                  <a:pt x="6094" y="17624"/>
                  <a:pt x="6000" y="17624"/>
                  <a:pt x="5906" y="17687"/>
                </a:cubicBezTo>
                <a:cubicBezTo>
                  <a:pt x="5906" y="17624"/>
                  <a:pt x="5844" y="17656"/>
                  <a:pt x="5844" y="17624"/>
                </a:cubicBezTo>
                <a:cubicBezTo>
                  <a:pt x="6000" y="17624"/>
                  <a:pt x="6125" y="17531"/>
                  <a:pt x="6281" y="17562"/>
                </a:cubicBezTo>
                <a:cubicBezTo>
                  <a:pt x="6281" y="17562"/>
                  <a:pt x="6313" y="17562"/>
                  <a:pt x="6313" y="17562"/>
                </a:cubicBezTo>
                <a:cubicBezTo>
                  <a:pt x="6281" y="17593"/>
                  <a:pt x="6219" y="17562"/>
                  <a:pt x="6188" y="17624"/>
                </a:cubicBezTo>
                <a:close/>
                <a:moveTo>
                  <a:pt x="6375" y="17531"/>
                </a:moveTo>
                <a:cubicBezTo>
                  <a:pt x="6406" y="17531"/>
                  <a:pt x="6406" y="17531"/>
                  <a:pt x="6406" y="17531"/>
                </a:cubicBezTo>
                <a:cubicBezTo>
                  <a:pt x="6438" y="17531"/>
                  <a:pt x="6438" y="17531"/>
                  <a:pt x="6438" y="17531"/>
                </a:cubicBezTo>
                <a:cubicBezTo>
                  <a:pt x="6438" y="17562"/>
                  <a:pt x="6406" y="17562"/>
                  <a:pt x="6375" y="17531"/>
                </a:cubicBezTo>
                <a:close/>
                <a:moveTo>
                  <a:pt x="6625" y="17499"/>
                </a:moveTo>
                <a:cubicBezTo>
                  <a:pt x="6594" y="17499"/>
                  <a:pt x="6531" y="17499"/>
                  <a:pt x="6469" y="17499"/>
                </a:cubicBezTo>
                <a:cubicBezTo>
                  <a:pt x="6500" y="17468"/>
                  <a:pt x="6563" y="17499"/>
                  <a:pt x="6625" y="17499"/>
                </a:cubicBezTo>
                <a:cubicBezTo>
                  <a:pt x="6625" y="17499"/>
                  <a:pt x="6625" y="17499"/>
                  <a:pt x="6656" y="17499"/>
                </a:cubicBezTo>
                <a:cubicBezTo>
                  <a:pt x="6656" y="17499"/>
                  <a:pt x="6656" y="17499"/>
                  <a:pt x="6625" y="17499"/>
                </a:cubicBezTo>
                <a:close/>
                <a:moveTo>
                  <a:pt x="6844" y="16437"/>
                </a:moveTo>
                <a:cubicBezTo>
                  <a:pt x="6844" y="16437"/>
                  <a:pt x="6844" y="16406"/>
                  <a:pt x="6844" y="16406"/>
                </a:cubicBezTo>
                <a:cubicBezTo>
                  <a:pt x="6875" y="16406"/>
                  <a:pt x="6906" y="16406"/>
                  <a:pt x="6906" y="16406"/>
                </a:cubicBezTo>
                <a:cubicBezTo>
                  <a:pt x="6938" y="16468"/>
                  <a:pt x="6969" y="16499"/>
                  <a:pt x="7000" y="16531"/>
                </a:cubicBezTo>
                <a:cubicBezTo>
                  <a:pt x="6938" y="16531"/>
                  <a:pt x="6906" y="16437"/>
                  <a:pt x="6844" y="16437"/>
                </a:cubicBezTo>
                <a:close/>
                <a:moveTo>
                  <a:pt x="7000" y="16562"/>
                </a:moveTo>
                <a:cubicBezTo>
                  <a:pt x="7000" y="16562"/>
                  <a:pt x="7000" y="16562"/>
                  <a:pt x="7000" y="16531"/>
                </a:cubicBezTo>
                <a:cubicBezTo>
                  <a:pt x="7000" y="16531"/>
                  <a:pt x="7000" y="16531"/>
                  <a:pt x="7000" y="16531"/>
                </a:cubicBezTo>
                <a:cubicBezTo>
                  <a:pt x="7000" y="16562"/>
                  <a:pt x="7031" y="16562"/>
                  <a:pt x="7031" y="16562"/>
                </a:cubicBezTo>
                <a:cubicBezTo>
                  <a:pt x="7031" y="16593"/>
                  <a:pt x="7000" y="16593"/>
                  <a:pt x="7000" y="16562"/>
                </a:cubicBezTo>
                <a:close/>
                <a:moveTo>
                  <a:pt x="7250" y="16906"/>
                </a:moveTo>
                <a:cubicBezTo>
                  <a:pt x="7250" y="16906"/>
                  <a:pt x="7250" y="16906"/>
                  <a:pt x="7250" y="16906"/>
                </a:cubicBezTo>
                <a:cubicBezTo>
                  <a:pt x="7250" y="16906"/>
                  <a:pt x="7250" y="16906"/>
                  <a:pt x="7250" y="16906"/>
                </a:cubicBezTo>
                <a:close/>
                <a:moveTo>
                  <a:pt x="7313" y="14624"/>
                </a:moveTo>
                <a:cubicBezTo>
                  <a:pt x="7344" y="14624"/>
                  <a:pt x="7375" y="14656"/>
                  <a:pt x="7406" y="14687"/>
                </a:cubicBezTo>
                <a:cubicBezTo>
                  <a:pt x="7469" y="14718"/>
                  <a:pt x="7500" y="14687"/>
                  <a:pt x="7563" y="14624"/>
                </a:cubicBezTo>
                <a:cubicBezTo>
                  <a:pt x="7531" y="14593"/>
                  <a:pt x="7500" y="14593"/>
                  <a:pt x="7469" y="14593"/>
                </a:cubicBezTo>
                <a:cubicBezTo>
                  <a:pt x="7500" y="14593"/>
                  <a:pt x="7531" y="14593"/>
                  <a:pt x="7563" y="14624"/>
                </a:cubicBezTo>
                <a:cubicBezTo>
                  <a:pt x="7563" y="14624"/>
                  <a:pt x="7625" y="14593"/>
                  <a:pt x="7625" y="14624"/>
                </a:cubicBezTo>
                <a:cubicBezTo>
                  <a:pt x="7625" y="14656"/>
                  <a:pt x="7625" y="14687"/>
                  <a:pt x="7563" y="14718"/>
                </a:cubicBezTo>
                <a:cubicBezTo>
                  <a:pt x="7531" y="14718"/>
                  <a:pt x="7500" y="14749"/>
                  <a:pt x="7469" y="14781"/>
                </a:cubicBezTo>
                <a:cubicBezTo>
                  <a:pt x="7438" y="14781"/>
                  <a:pt x="7406" y="14718"/>
                  <a:pt x="7375" y="14718"/>
                </a:cubicBezTo>
                <a:cubicBezTo>
                  <a:pt x="7375" y="14718"/>
                  <a:pt x="7375" y="14718"/>
                  <a:pt x="7375" y="14718"/>
                </a:cubicBezTo>
                <a:cubicBezTo>
                  <a:pt x="7344" y="14718"/>
                  <a:pt x="7313" y="14718"/>
                  <a:pt x="7313" y="14687"/>
                </a:cubicBezTo>
                <a:cubicBezTo>
                  <a:pt x="7313" y="14687"/>
                  <a:pt x="7313" y="14656"/>
                  <a:pt x="7313" y="14624"/>
                </a:cubicBezTo>
                <a:close/>
                <a:moveTo>
                  <a:pt x="7188" y="15093"/>
                </a:moveTo>
                <a:cubicBezTo>
                  <a:pt x="7188" y="15093"/>
                  <a:pt x="7219" y="15093"/>
                  <a:pt x="7219" y="15093"/>
                </a:cubicBezTo>
                <a:cubicBezTo>
                  <a:pt x="7219" y="15093"/>
                  <a:pt x="7188" y="15093"/>
                  <a:pt x="7188" y="15093"/>
                </a:cubicBezTo>
                <a:close/>
                <a:moveTo>
                  <a:pt x="6719" y="15437"/>
                </a:moveTo>
                <a:cubicBezTo>
                  <a:pt x="6781" y="15468"/>
                  <a:pt x="6813" y="15406"/>
                  <a:pt x="6875" y="15374"/>
                </a:cubicBezTo>
                <a:cubicBezTo>
                  <a:pt x="6875" y="15374"/>
                  <a:pt x="6875" y="15374"/>
                  <a:pt x="6875" y="15343"/>
                </a:cubicBezTo>
                <a:cubicBezTo>
                  <a:pt x="6875" y="15374"/>
                  <a:pt x="6875" y="15374"/>
                  <a:pt x="6875" y="15374"/>
                </a:cubicBezTo>
                <a:cubicBezTo>
                  <a:pt x="6875" y="15374"/>
                  <a:pt x="6875" y="15374"/>
                  <a:pt x="6906" y="15374"/>
                </a:cubicBezTo>
                <a:cubicBezTo>
                  <a:pt x="6875" y="15406"/>
                  <a:pt x="6844" y="15406"/>
                  <a:pt x="6844" y="15437"/>
                </a:cubicBezTo>
                <a:cubicBezTo>
                  <a:pt x="6875" y="15437"/>
                  <a:pt x="6906" y="15437"/>
                  <a:pt x="6906" y="15437"/>
                </a:cubicBezTo>
                <a:cubicBezTo>
                  <a:pt x="7063" y="15406"/>
                  <a:pt x="7188" y="15437"/>
                  <a:pt x="7313" y="15374"/>
                </a:cubicBezTo>
                <a:cubicBezTo>
                  <a:pt x="7344" y="15374"/>
                  <a:pt x="7344" y="15374"/>
                  <a:pt x="7375" y="15406"/>
                </a:cubicBezTo>
                <a:cubicBezTo>
                  <a:pt x="7344" y="15406"/>
                  <a:pt x="7313" y="15406"/>
                  <a:pt x="7313" y="15437"/>
                </a:cubicBezTo>
                <a:cubicBezTo>
                  <a:pt x="7281" y="15437"/>
                  <a:pt x="7219" y="15406"/>
                  <a:pt x="7188" y="15437"/>
                </a:cubicBezTo>
                <a:cubicBezTo>
                  <a:pt x="7063" y="15406"/>
                  <a:pt x="6969" y="15437"/>
                  <a:pt x="6875" y="15468"/>
                </a:cubicBezTo>
                <a:cubicBezTo>
                  <a:pt x="6875" y="15468"/>
                  <a:pt x="6875" y="15468"/>
                  <a:pt x="6875" y="15468"/>
                </a:cubicBezTo>
                <a:cubicBezTo>
                  <a:pt x="6875" y="15468"/>
                  <a:pt x="6875" y="15468"/>
                  <a:pt x="6875" y="15468"/>
                </a:cubicBezTo>
                <a:cubicBezTo>
                  <a:pt x="6844" y="15468"/>
                  <a:pt x="6844" y="15468"/>
                  <a:pt x="6844" y="15499"/>
                </a:cubicBezTo>
                <a:cubicBezTo>
                  <a:pt x="6844" y="15499"/>
                  <a:pt x="6813" y="15499"/>
                  <a:pt x="6813" y="15499"/>
                </a:cubicBezTo>
                <a:cubicBezTo>
                  <a:pt x="6781" y="15437"/>
                  <a:pt x="6781" y="15437"/>
                  <a:pt x="6688" y="15499"/>
                </a:cubicBezTo>
                <a:cubicBezTo>
                  <a:pt x="6688" y="15499"/>
                  <a:pt x="6688" y="15468"/>
                  <a:pt x="6719" y="15437"/>
                </a:cubicBezTo>
                <a:close/>
                <a:moveTo>
                  <a:pt x="6500" y="15968"/>
                </a:moveTo>
                <a:cubicBezTo>
                  <a:pt x="6500" y="15968"/>
                  <a:pt x="6500" y="15968"/>
                  <a:pt x="6531" y="15968"/>
                </a:cubicBezTo>
                <a:cubicBezTo>
                  <a:pt x="6531" y="15999"/>
                  <a:pt x="6563" y="16031"/>
                  <a:pt x="6594" y="16062"/>
                </a:cubicBezTo>
                <a:cubicBezTo>
                  <a:pt x="6594" y="16062"/>
                  <a:pt x="6594" y="16062"/>
                  <a:pt x="6594" y="16062"/>
                </a:cubicBezTo>
                <a:cubicBezTo>
                  <a:pt x="6625" y="16062"/>
                  <a:pt x="6625" y="16093"/>
                  <a:pt x="6625" y="16093"/>
                </a:cubicBezTo>
                <a:cubicBezTo>
                  <a:pt x="6656" y="16124"/>
                  <a:pt x="6656" y="16156"/>
                  <a:pt x="6656" y="16156"/>
                </a:cubicBezTo>
                <a:cubicBezTo>
                  <a:pt x="6656" y="16156"/>
                  <a:pt x="6656" y="16156"/>
                  <a:pt x="6625" y="16156"/>
                </a:cubicBezTo>
                <a:cubicBezTo>
                  <a:pt x="6656" y="16187"/>
                  <a:pt x="6656" y="16187"/>
                  <a:pt x="6656" y="16218"/>
                </a:cubicBezTo>
                <a:cubicBezTo>
                  <a:pt x="6656" y="16187"/>
                  <a:pt x="6656" y="16187"/>
                  <a:pt x="6625" y="16156"/>
                </a:cubicBezTo>
                <a:cubicBezTo>
                  <a:pt x="6563" y="16124"/>
                  <a:pt x="6531" y="16062"/>
                  <a:pt x="6500" y="15968"/>
                </a:cubicBezTo>
                <a:cubicBezTo>
                  <a:pt x="6500" y="15968"/>
                  <a:pt x="6469" y="15968"/>
                  <a:pt x="6469" y="15968"/>
                </a:cubicBezTo>
                <a:cubicBezTo>
                  <a:pt x="6469" y="15968"/>
                  <a:pt x="6500" y="15968"/>
                  <a:pt x="6500" y="15968"/>
                </a:cubicBezTo>
                <a:close/>
                <a:moveTo>
                  <a:pt x="6469" y="16156"/>
                </a:moveTo>
                <a:cubicBezTo>
                  <a:pt x="6469" y="16187"/>
                  <a:pt x="6406" y="16218"/>
                  <a:pt x="6469" y="16249"/>
                </a:cubicBezTo>
                <a:cubicBezTo>
                  <a:pt x="6500" y="16312"/>
                  <a:pt x="6531" y="16374"/>
                  <a:pt x="6594" y="16406"/>
                </a:cubicBezTo>
                <a:cubicBezTo>
                  <a:pt x="6594" y="16437"/>
                  <a:pt x="6625" y="16437"/>
                  <a:pt x="6594" y="16468"/>
                </a:cubicBezTo>
                <a:cubicBezTo>
                  <a:pt x="6563" y="16499"/>
                  <a:pt x="6531" y="16531"/>
                  <a:pt x="6563" y="16562"/>
                </a:cubicBezTo>
                <a:cubicBezTo>
                  <a:pt x="6531" y="16531"/>
                  <a:pt x="6563" y="16499"/>
                  <a:pt x="6594" y="16468"/>
                </a:cubicBezTo>
                <a:cubicBezTo>
                  <a:pt x="6438" y="16312"/>
                  <a:pt x="6281" y="16124"/>
                  <a:pt x="6156" y="15968"/>
                </a:cubicBezTo>
                <a:cubicBezTo>
                  <a:pt x="6156" y="15906"/>
                  <a:pt x="6094" y="15906"/>
                  <a:pt x="6094" y="15874"/>
                </a:cubicBezTo>
                <a:cubicBezTo>
                  <a:pt x="6094" y="15874"/>
                  <a:pt x="6125" y="15874"/>
                  <a:pt x="6125" y="15874"/>
                </a:cubicBezTo>
                <a:cubicBezTo>
                  <a:pt x="6156" y="15874"/>
                  <a:pt x="6156" y="15843"/>
                  <a:pt x="6156" y="15812"/>
                </a:cubicBezTo>
                <a:cubicBezTo>
                  <a:pt x="6156" y="15843"/>
                  <a:pt x="6156" y="15874"/>
                  <a:pt x="6125" y="15874"/>
                </a:cubicBezTo>
                <a:cubicBezTo>
                  <a:pt x="6188" y="15937"/>
                  <a:pt x="6250" y="15999"/>
                  <a:pt x="6313" y="16093"/>
                </a:cubicBezTo>
                <a:cubicBezTo>
                  <a:pt x="6313" y="16093"/>
                  <a:pt x="6313" y="16093"/>
                  <a:pt x="6344" y="16093"/>
                </a:cubicBezTo>
                <a:cubicBezTo>
                  <a:pt x="6313" y="16093"/>
                  <a:pt x="6313" y="16093"/>
                  <a:pt x="6313" y="16093"/>
                </a:cubicBezTo>
                <a:cubicBezTo>
                  <a:pt x="6313" y="16093"/>
                  <a:pt x="6313" y="16093"/>
                  <a:pt x="6344" y="16093"/>
                </a:cubicBezTo>
                <a:cubicBezTo>
                  <a:pt x="6344" y="16124"/>
                  <a:pt x="6344" y="16124"/>
                  <a:pt x="6344" y="16124"/>
                </a:cubicBezTo>
                <a:cubicBezTo>
                  <a:pt x="6344" y="16124"/>
                  <a:pt x="6344" y="16093"/>
                  <a:pt x="6344" y="16093"/>
                </a:cubicBezTo>
                <a:cubicBezTo>
                  <a:pt x="6344" y="16093"/>
                  <a:pt x="6344" y="16124"/>
                  <a:pt x="6344" y="16124"/>
                </a:cubicBezTo>
                <a:cubicBezTo>
                  <a:pt x="6406" y="16218"/>
                  <a:pt x="6406" y="16218"/>
                  <a:pt x="6469" y="16156"/>
                </a:cubicBezTo>
                <a:close/>
                <a:moveTo>
                  <a:pt x="6344" y="15562"/>
                </a:moveTo>
                <a:cubicBezTo>
                  <a:pt x="6344" y="15562"/>
                  <a:pt x="6313" y="15593"/>
                  <a:pt x="6313" y="15593"/>
                </a:cubicBezTo>
                <a:cubicBezTo>
                  <a:pt x="6313" y="15593"/>
                  <a:pt x="6344" y="15562"/>
                  <a:pt x="6344" y="15562"/>
                </a:cubicBezTo>
                <a:cubicBezTo>
                  <a:pt x="6344" y="15531"/>
                  <a:pt x="6375" y="15499"/>
                  <a:pt x="6313" y="15531"/>
                </a:cubicBezTo>
                <a:cubicBezTo>
                  <a:pt x="6281" y="15531"/>
                  <a:pt x="6250" y="15531"/>
                  <a:pt x="6219" y="15531"/>
                </a:cubicBezTo>
                <a:cubicBezTo>
                  <a:pt x="6219" y="15531"/>
                  <a:pt x="6188" y="15531"/>
                  <a:pt x="6188" y="15531"/>
                </a:cubicBezTo>
                <a:cubicBezTo>
                  <a:pt x="6219" y="15499"/>
                  <a:pt x="6219" y="15437"/>
                  <a:pt x="6219" y="15406"/>
                </a:cubicBezTo>
                <a:cubicBezTo>
                  <a:pt x="6219" y="15406"/>
                  <a:pt x="6219" y="15406"/>
                  <a:pt x="6219" y="15406"/>
                </a:cubicBezTo>
                <a:cubicBezTo>
                  <a:pt x="6219" y="15406"/>
                  <a:pt x="6219" y="15406"/>
                  <a:pt x="6219" y="15406"/>
                </a:cubicBezTo>
                <a:cubicBezTo>
                  <a:pt x="6250" y="15468"/>
                  <a:pt x="6250" y="15531"/>
                  <a:pt x="6313" y="15468"/>
                </a:cubicBezTo>
                <a:cubicBezTo>
                  <a:pt x="6344" y="15468"/>
                  <a:pt x="6375" y="15499"/>
                  <a:pt x="6406" y="15499"/>
                </a:cubicBezTo>
                <a:cubicBezTo>
                  <a:pt x="6375" y="15531"/>
                  <a:pt x="6375" y="15531"/>
                  <a:pt x="6344" y="15562"/>
                </a:cubicBezTo>
                <a:close/>
                <a:moveTo>
                  <a:pt x="6281" y="14874"/>
                </a:moveTo>
                <a:cubicBezTo>
                  <a:pt x="6219" y="14937"/>
                  <a:pt x="6219" y="14843"/>
                  <a:pt x="6188" y="14843"/>
                </a:cubicBezTo>
                <a:cubicBezTo>
                  <a:pt x="6219" y="14812"/>
                  <a:pt x="6219" y="14781"/>
                  <a:pt x="6281" y="14781"/>
                </a:cubicBezTo>
                <a:cubicBezTo>
                  <a:pt x="6313" y="14812"/>
                  <a:pt x="6281" y="14874"/>
                  <a:pt x="6281" y="14874"/>
                </a:cubicBezTo>
                <a:close/>
                <a:moveTo>
                  <a:pt x="6344" y="14531"/>
                </a:moveTo>
                <a:cubicBezTo>
                  <a:pt x="6375" y="14593"/>
                  <a:pt x="6313" y="14593"/>
                  <a:pt x="6344" y="14656"/>
                </a:cubicBezTo>
                <a:cubicBezTo>
                  <a:pt x="6344" y="14656"/>
                  <a:pt x="6313" y="14687"/>
                  <a:pt x="6281" y="14687"/>
                </a:cubicBezTo>
                <a:cubicBezTo>
                  <a:pt x="6281" y="14687"/>
                  <a:pt x="6250" y="14687"/>
                  <a:pt x="6250" y="14656"/>
                </a:cubicBezTo>
                <a:cubicBezTo>
                  <a:pt x="6250" y="14624"/>
                  <a:pt x="6250" y="14624"/>
                  <a:pt x="6281" y="14624"/>
                </a:cubicBezTo>
                <a:cubicBezTo>
                  <a:pt x="6313" y="14593"/>
                  <a:pt x="6313" y="14562"/>
                  <a:pt x="6344" y="14531"/>
                </a:cubicBezTo>
                <a:close/>
                <a:moveTo>
                  <a:pt x="6250" y="14531"/>
                </a:moveTo>
                <a:cubicBezTo>
                  <a:pt x="6250" y="14531"/>
                  <a:pt x="6281" y="14531"/>
                  <a:pt x="6281" y="14531"/>
                </a:cubicBezTo>
                <a:cubicBezTo>
                  <a:pt x="6281" y="14562"/>
                  <a:pt x="6281" y="14562"/>
                  <a:pt x="6250" y="14562"/>
                </a:cubicBezTo>
                <a:cubicBezTo>
                  <a:pt x="6219" y="14562"/>
                  <a:pt x="6219" y="14593"/>
                  <a:pt x="6188" y="14624"/>
                </a:cubicBezTo>
                <a:cubicBezTo>
                  <a:pt x="6188" y="14624"/>
                  <a:pt x="6188" y="14624"/>
                  <a:pt x="6188" y="14624"/>
                </a:cubicBezTo>
                <a:cubicBezTo>
                  <a:pt x="6156" y="14624"/>
                  <a:pt x="6094" y="14624"/>
                  <a:pt x="6063" y="14593"/>
                </a:cubicBezTo>
                <a:cubicBezTo>
                  <a:pt x="6094" y="14531"/>
                  <a:pt x="6188" y="14562"/>
                  <a:pt x="6250" y="14531"/>
                </a:cubicBezTo>
                <a:close/>
                <a:moveTo>
                  <a:pt x="6063" y="14718"/>
                </a:moveTo>
                <a:cubicBezTo>
                  <a:pt x="6094" y="14718"/>
                  <a:pt x="6125" y="14718"/>
                  <a:pt x="6156" y="14718"/>
                </a:cubicBezTo>
                <a:cubicBezTo>
                  <a:pt x="6094" y="14749"/>
                  <a:pt x="6094" y="14812"/>
                  <a:pt x="6031" y="14812"/>
                </a:cubicBezTo>
                <a:cubicBezTo>
                  <a:pt x="6000" y="14781"/>
                  <a:pt x="6000" y="14749"/>
                  <a:pt x="6031" y="14718"/>
                </a:cubicBezTo>
                <a:cubicBezTo>
                  <a:pt x="6031" y="14718"/>
                  <a:pt x="6031" y="14718"/>
                  <a:pt x="6031" y="14718"/>
                </a:cubicBezTo>
                <a:cubicBezTo>
                  <a:pt x="6031" y="14718"/>
                  <a:pt x="6063" y="14718"/>
                  <a:pt x="6063" y="14718"/>
                </a:cubicBezTo>
                <a:close/>
                <a:moveTo>
                  <a:pt x="6000" y="14406"/>
                </a:moveTo>
                <a:cubicBezTo>
                  <a:pt x="6000" y="14406"/>
                  <a:pt x="6000" y="14406"/>
                  <a:pt x="6000" y="14406"/>
                </a:cubicBezTo>
                <a:cubicBezTo>
                  <a:pt x="6000" y="14437"/>
                  <a:pt x="6063" y="14437"/>
                  <a:pt x="6031" y="14468"/>
                </a:cubicBezTo>
                <a:cubicBezTo>
                  <a:pt x="6000" y="14499"/>
                  <a:pt x="6000" y="14499"/>
                  <a:pt x="5969" y="14499"/>
                </a:cubicBezTo>
                <a:cubicBezTo>
                  <a:pt x="5906" y="14468"/>
                  <a:pt x="5938" y="14437"/>
                  <a:pt x="5938" y="14406"/>
                </a:cubicBezTo>
                <a:cubicBezTo>
                  <a:pt x="5938" y="14406"/>
                  <a:pt x="5969" y="14374"/>
                  <a:pt x="6000" y="14406"/>
                </a:cubicBezTo>
                <a:close/>
                <a:moveTo>
                  <a:pt x="5906" y="14843"/>
                </a:moveTo>
                <a:cubicBezTo>
                  <a:pt x="5938" y="14906"/>
                  <a:pt x="6000" y="14812"/>
                  <a:pt x="6031" y="14843"/>
                </a:cubicBezTo>
                <a:cubicBezTo>
                  <a:pt x="6031" y="14906"/>
                  <a:pt x="6031" y="14968"/>
                  <a:pt x="5969" y="14968"/>
                </a:cubicBezTo>
                <a:cubicBezTo>
                  <a:pt x="5906" y="14968"/>
                  <a:pt x="5875" y="14937"/>
                  <a:pt x="5875" y="14906"/>
                </a:cubicBezTo>
                <a:cubicBezTo>
                  <a:pt x="5844" y="14843"/>
                  <a:pt x="5875" y="14843"/>
                  <a:pt x="5906" y="14843"/>
                </a:cubicBezTo>
                <a:close/>
                <a:moveTo>
                  <a:pt x="5813" y="15187"/>
                </a:moveTo>
                <a:cubicBezTo>
                  <a:pt x="5750" y="15187"/>
                  <a:pt x="5750" y="15093"/>
                  <a:pt x="5688" y="15062"/>
                </a:cubicBezTo>
                <a:cubicBezTo>
                  <a:pt x="5688" y="15062"/>
                  <a:pt x="5688" y="15031"/>
                  <a:pt x="5688" y="14999"/>
                </a:cubicBezTo>
                <a:cubicBezTo>
                  <a:pt x="5688" y="14999"/>
                  <a:pt x="5656" y="14999"/>
                  <a:pt x="5656" y="14999"/>
                </a:cubicBezTo>
                <a:cubicBezTo>
                  <a:pt x="5656" y="14999"/>
                  <a:pt x="5688" y="14999"/>
                  <a:pt x="5688" y="14999"/>
                </a:cubicBezTo>
                <a:cubicBezTo>
                  <a:pt x="5750" y="15062"/>
                  <a:pt x="5781" y="15124"/>
                  <a:pt x="5813" y="15187"/>
                </a:cubicBezTo>
                <a:close/>
                <a:moveTo>
                  <a:pt x="5688" y="15062"/>
                </a:moveTo>
                <a:cubicBezTo>
                  <a:pt x="5656" y="15093"/>
                  <a:pt x="5656" y="15093"/>
                  <a:pt x="5656" y="15124"/>
                </a:cubicBezTo>
                <a:cubicBezTo>
                  <a:pt x="5656" y="15093"/>
                  <a:pt x="5656" y="15093"/>
                  <a:pt x="5688" y="15062"/>
                </a:cubicBezTo>
                <a:close/>
                <a:moveTo>
                  <a:pt x="5531" y="14156"/>
                </a:moveTo>
                <a:cubicBezTo>
                  <a:pt x="5563" y="14156"/>
                  <a:pt x="5594" y="14187"/>
                  <a:pt x="5625" y="14187"/>
                </a:cubicBezTo>
                <a:cubicBezTo>
                  <a:pt x="5625" y="14187"/>
                  <a:pt x="5656" y="14187"/>
                  <a:pt x="5656" y="14218"/>
                </a:cubicBezTo>
                <a:cubicBezTo>
                  <a:pt x="5656" y="14249"/>
                  <a:pt x="5656" y="14281"/>
                  <a:pt x="5625" y="14281"/>
                </a:cubicBezTo>
                <a:cubicBezTo>
                  <a:pt x="5594" y="14312"/>
                  <a:pt x="5469" y="14281"/>
                  <a:pt x="5469" y="14218"/>
                </a:cubicBezTo>
                <a:cubicBezTo>
                  <a:pt x="5438" y="14187"/>
                  <a:pt x="5469" y="14156"/>
                  <a:pt x="5531" y="14156"/>
                </a:cubicBezTo>
                <a:close/>
                <a:moveTo>
                  <a:pt x="5500" y="14812"/>
                </a:moveTo>
                <a:cubicBezTo>
                  <a:pt x="5406" y="14812"/>
                  <a:pt x="5406" y="14656"/>
                  <a:pt x="5313" y="14718"/>
                </a:cubicBezTo>
                <a:cubicBezTo>
                  <a:pt x="5375" y="14624"/>
                  <a:pt x="5375" y="14656"/>
                  <a:pt x="5500" y="14812"/>
                </a:cubicBezTo>
                <a:close/>
                <a:moveTo>
                  <a:pt x="5219" y="14781"/>
                </a:moveTo>
                <a:cubicBezTo>
                  <a:pt x="5219" y="14781"/>
                  <a:pt x="5219" y="14781"/>
                  <a:pt x="5188" y="14812"/>
                </a:cubicBezTo>
                <a:cubicBezTo>
                  <a:pt x="5250" y="14812"/>
                  <a:pt x="5281" y="14812"/>
                  <a:pt x="5281" y="14843"/>
                </a:cubicBezTo>
                <a:cubicBezTo>
                  <a:pt x="5281" y="14812"/>
                  <a:pt x="5250" y="14812"/>
                  <a:pt x="5188" y="14812"/>
                </a:cubicBezTo>
                <a:cubicBezTo>
                  <a:pt x="5219" y="14781"/>
                  <a:pt x="5219" y="14781"/>
                  <a:pt x="5219" y="14781"/>
                </a:cubicBezTo>
                <a:close/>
                <a:moveTo>
                  <a:pt x="5344" y="16218"/>
                </a:moveTo>
                <a:cubicBezTo>
                  <a:pt x="5344" y="16218"/>
                  <a:pt x="5344" y="16218"/>
                  <a:pt x="5344" y="16218"/>
                </a:cubicBezTo>
                <a:cubicBezTo>
                  <a:pt x="5375" y="16218"/>
                  <a:pt x="5438" y="16187"/>
                  <a:pt x="5500" y="16156"/>
                </a:cubicBezTo>
                <a:cubicBezTo>
                  <a:pt x="5438" y="16187"/>
                  <a:pt x="5375" y="16218"/>
                  <a:pt x="5344" y="16218"/>
                </a:cubicBezTo>
                <a:cubicBezTo>
                  <a:pt x="5344" y="16249"/>
                  <a:pt x="5313" y="16281"/>
                  <a:pt x="5281" y="16281"/>
                </a:cubicBezTo>
                <a:cubicBezTo>
                  <a:pt x="5250" y="16249"/>
                  <a:pt x="5250" y="16218"/>
                  <a:pt x="5219" y="16249"/>
                </a:cubicBezTo>
                <a:cubicBezTo>
                  <a:pt x="5156" y="16312"/>
                  <a:pt x="5188" y="16249"/>
                  <a:pt x="5188" y="16218"/>
                </a:cubicBezTo>
                <a:cubicBezTo>
                  <a:pt x="5219" y="16218"/>
                  <a:pt x="5281" y="16218"/>
                  <a:pt x="5344" y="16218"/>
                </a:cubicBezTo>
                <a:close/>
                <a:moveTo>
                  <a:pt x="5188" y="16031"/>
                </a:moveTo>
                <a:cubicBezTo>
                  <a:pt x="5156" y="16031"/>
                  <a:pt x="5125" y="16062"/>
                  <a:pt x="5094" y="16062"/>
                </a:cubicBezTo>
                <a:cubicBezTo>
                  <a:pt x="5125" y="16062"/>
                  <a:pt x="5156" y="16031"/>
                  <a:pt x="5188" y="16031"/>
                </a:cubicBezTo>
                <a:close/>
                <a:moveTo>
                  <a:pt x="5063" y="15062"/>
                </a:moveTo>
                <a:cubicBezTo>
                  <a:pt x="5031" y="14968"/>
                  <a:pt x="5094" y="14968"/>
                  <a:pt x="5156" y="14968"/>
                </a:cubicBezTo>
                <a:cubicBezTo>
                  <a:pt x="5156" y="15031"/>
                  <a:pt x="5156" y="15093"/>
                  <a:pt x="5125" y="15124"/>
                </a:cubicBezTo>
                <a:cubicBezTo>
                  <a:pt x="5125" y="15124"/>
                  <a:pt x="5125" y="15124"/>
                  <a:pt x="5125" y="15124"/>
                </a:cubicBezTo>
                <a:cubicBezTo>
                  <a:pt x="5094" y="15187"/>
                  <a:pt x="5063" y="15249"/>
                  <a:pt x="4969" y="15218"/>
                </a:cubicBezTo>
                <a:cubicBezTo>
                  <a:pt x="4938" y="15218"/>
                  <a:pt x="4906" y="15187"/>
                  <a:pt x="4906" y="15156"/>
                </a:cubicBezTo>
                <a:cubicBezTo>
                  <a:pt x="4938" y="15124"/>
                  <a:pt x="4938" y="15124"/>
                  <a:pt x="4969" y="15124"/>
                </a:cubicBezTo>
                <a:cubicBezTo>
                  <a:pt x="5031" y="15124"/>
                  <a:pt x="5063" y="15093"/>
                  <a:pt x="5063" y="15062"/>
                </a:cubicBezTo>
                <a:close/>
                <a:moveTo>
                  <a:pt x="5000" y="14531"/>
                </a:moveTo>
                <a:cubicBezTo>
                  <a:pt x="5000" y="14531"/>
                  <a:pt x="5000" y="14531"/>
                  <a:pt x="5000" y="14531"/>
                </a:cubicBezTo>
                <a:cubicBezTo>
                  <a:pt x="5000" y="14562"/>
                  <a:pt x="5000" y="14531"/>
                  <a:pt x="5000" y="14531"/>
                </a:cubicBezTo>
                <a:cubicBezTo>
                  <a:pt x="5000" y="14531"/>
                  <a:pt x="5000" y="14531"/>
                  <a:pt x="5000" y="14531"/>
                </a:cubicBezTo>
                <a:close/>
                <a:moveTo>
                  <a:pt x="4750" y="14874"/>
                </a:moveTo>
                <a:cubicBezTo>
                  <a:pt x="4750" y="14749"/>
                  <a:pt x="4813" y="14687"/>
                  <a:pt x="4938" y="14718"/>
                </a:cubicBezTo>
                <a:cubicBezTo>
                  <a:pt x="4969" y="14749"/>
                  <a:pt x="5000" y="14749"/>
                  <a:pt x="5000" y="14781"/>
                </a:cubicBezTo>
                <a:cubicBezTo>
                  <a:pt x="5000" y="14812"/>
                  <a:pt x="4969" y="14812"/>
                  <a:pt x="4938" y="14812"/>
                </a:cubicBezTo>
                <a:cubicBezTo>
                  <a:pt x="4906" y="14812"/>
                  <a:pt x="4844" y="14812"/>
                  <a:pt x="4844" y="14874"/>
                </a:cubicBezTo>
                <a:cubicBezTo>
                  <a:pt x="4844" y="14906"/>
                  <a:pt x="4875" y="14968"/>
                  <a:pt x="4813" y="14968"/>
                </a:cubicBezTo>
                <a:cubicBezTo>
                  <a:pt x="4750" y="14968"/>
                  <a:pt x="4750" y="14906"/>
                  <a:pt x="4750" y="14874"/>
                </a:cubicBezTo>
                <a:close/>
                <a:moveTo>
                  <a:pt x="4906" y="15624"/>
                </a:moveTo>
                <a:cubicBezTo>
                  <a:pt x="4938" y="15624"/>
                  <a:pt x="4969" y="15593"/>
                  <a:pt x="4969" y="15656"/>
                </a:cubicBezTo>
                <a:cubicBezTo>
                  <a:pt x="4969" y="15687"/>
                  <a:pt x="4938" y="15656"/>
                  <a:pt x="4906" y="15656"/>
                </a:cubicBezTo>
                <a:cubicBezTo>
                  <a:pt x="4844" y="15687"/>
                  <a:pt x="4781" y="15624"/>
                  <a:pt x="4719" y="15718"/>
                </a:cubicBezTo>
                <a:cubicBezTo>
                  <a:pt x="4813" y="15718"/>
                  <a:pt x="4875" y="15749"/>
                  <a:pt x="4938" y="15749"/>
                </a:cubicBezTo>
                <a:cubicBezTo>
                  <a:pt x="4875" y="15781"/>
                  <a:pt x="4813" y="15718"/>
                  <a:pt x="4719" y="15718"/>
                </a:cubicBezTo>
                <a:cubicBezTo>
                  <a:pt x="4719" y="15718"/>
                  <a:pt x="4719" y="15718"/>
                  <a:pt x="4719" y="15718"/>
                </a:cubicBezTo>
                <a:cubicBezTo>
                  <a:pt x="4719" y="15718"/>
                  <a:pt x="4719" y="15718"/>
                  <a:pt x="4719" y="15718"/>
                </a:cubicBezTo>
                <a:cubicBezTo>
                  <a:pt x="4719" y="15718"/>
                  <a:pt x="4719" y="15718"/>
                  <a:pt x="4719" y="15718"/>
                </a:cubicBezTo>
                <a:cubicBezTo>
                  <a:pt x="4719" y="15718"/>
                  <a:pt x="4688" y="15718"/>
                  <a:pt x="4656" y="15718"/>
                </a:cubicBezTo>
                <a:cubicBezTo>
                  <a:pt x="4656" y="15718"/>
                  <a:pt x="4656" y="15718"/>
                  <a:pt x="4656" y="15718"/>
                </a:cubicBezTo>
                <a:cubicBezTo>
                  <a:pt x="4625" y="15718"/>
                  <a:pt x="4594" y="15718"/>
                  <a:pt x="4531" y="15718"/>
                </a:cubicBezTo>
                <a:cubicBezTo>
                  <a:pt x="4500" y="15656"/>
                  <a:pt x="4406" y="15718"/>
                  <a:pt x="4344" y="15687"/>
                </a:cubicBezTo>
                <a:cubicBezTo>
                  <a:pt x="4531" y="15687"/>
                  <a:pt x="4719" y="15624"/>
                  <a:pt x="4906" y="15624"/>
                </a:cubicBezTo>
                <a:close/>
                <a:moveTo>
                  <a:pt x="4469" y="16781"/>
                </a:moveTo>
                <a:cubicBezTo>
                  <a:pt x="4469" y="16781"/>
                  <a:pt x="4500" y="16781"/>
                  <a:pt x="4500" y="16781"/>
                </a:cubicBezTo>
                <a:cubicBezTo>
                  <a:pt x="4500" y="16781"/>
                  <a:pt x="4469" y="16781"/>
                  <a:pt x="4469" y="16781"/>
                </a:cubicBezTo>
                <a:cubicBezTo>
                  <a:pt x="4469" y="16812"/>
                  <a:pt x="4469" y="16812"/>
                  <a:pt x="4469" y="16843"/>
                </a:cubicBezTo>
                <a:cubicBezTo>
                  <a:pt x="4438" y="16843"/>
                  <a:pt x="4438" y="16874"/>
                  <a:pt x="4406" y="16874"/>
                </a:cubicBezTo>
                <a:cubicBezTo>
                  <a:pt x="4406" y="16906"/>
                  <a:pt x="4438" y="16937"/>
                  <a:pt x="4438" y="16937"/>
                </a:cubicBezTo>
                <a:cubicBezTo>
                  <a:pt x="4438" y="16937"/>
                  <a:pt x="4406" y="16906"/>
                  <a:pt x="4406" y="16874"/>
                </a:cubicBezTo>
                <a:cubicBezTo>
                  <a:pt x="4375" y="16874"/>
                  <a:pt x="4344" y="16906"/>
                  <a:pt x="4344" y="16937"/>
                </a:cubicBezTo>
                <a:cubicBezTo>
                  <a:pt x="4281" y="16937"/>
                  <a:pt x="4281" y="16999"/>
                  <a:pt x="4219" y="16999"/>
                </a:cubicBezTo>
                <a:cubicBezTo>
                  <a:pt x="4156" y="17031"/>
                  <a:pt x="4125" y="17031"/>
                  <a:pt x="4063" y="16968"/>
                </a:cubicBezTo>
                <a:cubicBezTo>
                  <a:pt x="4031" y="16999"/>
                  <a:pt x="4000" y="17031"/>
                  <a:pt x="3969" y="17031"/>
                </a:cubicBezTo>
                <a:cubicBezTo>
                  <a:pt x="4000" y="17031"/>
                  <a:pt x="4031" y="16999"/>
                  <a:pt x="4063" y="16968"/>
                </a:cubicBezTo>
                <a:cubicBezTo>
                  <a:pt x="4031" y="16937"/>
                  <a:pt x="4000" y="16937"/>
                  <a:pt x="3938" y="16937"/>
                </a:cubicBezTo>
                <a:cubicBezTo>
                  <a:pt x="3938" y="16906"/>
                  <a:pt x="3906" y="16937"/>
                  <a:pt x="3906" y="16874"/>
                </a:cubicBezTo>
                <a:cubicBezTo>
                  <a:pt x="3906" y="16874"/>
                  <a:pt x="3906" y="16843"/>
                  <a:pt x="3906" y="16843"/>
                </a:cubicBezTo>
                <a:cubicBezTo>
                  <a:pt x="3906" y="16843"/>
                  <a:pt x="3906" y="16874"/>
                  <a:pt x="3906" y="16874"/>
                </a:cubicBezTo>
                <a:cubicBezTo>
                  <a:pt x="4000" y="16874"/>
                  <a:pt x="4031" y="16812"/>
                  <a:pt x="4094" y="16781"/>
                </a:cubicBezTo>
                <a:cubicBezTo>
                  <a:pt x="4156" y="16749"/>
                  <a:pt x="4219" y="16687"/>
                  <a:pt x="4313" y="16687"/>
                </a:cubicBezTo>
                <a:cubicBezTo>
                  <a:pt x="4313" y="16687"/>
                  <a:pt x="4313" y="16687"/>
                  <a:pt x="4313" y="16687"/>
                </a:cubicBezTo>
                <a:cubicBezTo>
                  <a:pt x="4313" y="16718"/>
                  <a:pt x="4313" y="16718"/>
                  <a:pt x="4313" y="16718"/>
                </a:cubicBezTo>
                <a:cubicBezTo>
                  <a:pt x="4344" y="16749"/>
                  <a:pt x="4406" y="16781"/>
                  <a:pt x="4469" y="16781"/>
                </a:cubicBezTo>
                <a:close/>
                <a:moveTo>
                  <a:pt x="4219" y="15874"/>
                </a:moveTo>
                <a:cubicBezTo>
                  <a:pt x="4219" y="15874"/>
                  <a:pt x="4219" y="15874"/>
                  <a:pt x="4219" y="15874"/>
                </a:cubicBezTo>
                <a:cubicBezTo>
                  <a:pt x="4250" y="15874"/>
                  <a:pt x="4250" y="15874"/>
                  <a:pt x="4281" y="15874"/>
                </a:cubicBezTo>
                <a:cubicBezTo>
                  <a:pt x="4250" y="15874"/>
                  <a:pt x="4250" y="15874"/>
                  <a:pt x="4219" y="15874"/>
                </a:cubicBezTo>
                <a:cubicBezTo>
                  <a:pt x="4219" y="15874"/>
                  <a:pt x="4250" y="15906"/>
                  <a:pt x="4250" y="15906"/>
                </a:cubicBezTo>
                <a:cubicBezTo>
                  <a:pt x="4250" y="15906"/>
                  <a:pt x="4250" y="15906"/>
                  <a:pt x="4250" y="15906"/>
                </a:cubicBezTo>
                <a:cubicBezTo>
                  <a:pt x="4188" y="15937"/>
                  <a:pt x="4125" y="15906"/>
                  <a:pt x="4031" y="15937"/>
                </a:cubicBezTo>
                <a:cubicBezTo>
                  <a:pt x="4094" y="15874"/>
                  <a:pt x="4156" y="15937"/>
                  <a:pt x="4219" y="15874"/>
                </a:cubicBezTo>
                <a:close/>
                <a:moveTo>
                  <a:pt x="4125" y="15656"/>
                </a:moveTo>
                <a:cubicBezTo>
                  <a:pt x="4156" y="15656"/>
                  <a:pt x="4188" y="15687"/>
                  <a:pt x="4156" y="15718"/>
                </a:cubicBezTo>
                <a:cubicBezTo>
                  <a:pt x="4063" y="15781"/>
                  <a:pt x="4000" y="15843"/>
                  <a:pt x="3906" y="15906"/>
                </a:cubicBezTo>
                <a:cubicBezTo>
                  <a:pt x="3906" y="15906"/>
                  <a:pt x="3875" y="15874"/>
                  <a:pt x="3875" y="15874"/>
                </a:cubicBezTo>
                <a:cubicBezTo>
                  <a:pt x="3875" y="15874"/>
                  <a:pt x="3875" y="15874"/>
                  <a:pt x="3875" y="15874"/>
                </a:cubicBezTo>
                <a:cubicBezTo>
                  <a:pt x="3844" y="15843"/>
                  <a:pt x="3781" y="15874"/>
                  <a:pt x="3750" y="15874"/>
                </a:cubicBezTo>
                <a:cubicBezTo>
                  <a:pt x="3719" y="15874"/>
                  <a:pt x="3688" y="15843"/>
                  <a:pt x="3719" y="15812"/>
                </a:cubicBezTo>
                <a:cubicBezTo>
                  <a:pt x="3750" y="15781"/>
                  <a:pt x="3813" y="15749"/>
                  <a:pt x="3844" y="15749"/>
                </a:cubicBezTo>
                <a:cubicBezTo>
                  <a:pt x="3875" y="15749"/>
                  <a:pt x="3906" y="15718"/>
                  <a:pt x="3938" y="15687"/>
                </a:cubicBezTo>
                <a:cubicBezTo>
                  <a:pt x="3906" y="15687"/>
                  <a:pt x="3875" y="15687"/>
                  <a:pt x="3844" y="15687"/>
                </a:cubicBezTo>
                <a:cubicBezTo>
                  <a:pt x="3844" y="15687"/>
                  <a:pt x="3813" y="15687"/>
                  <a:pt x="3813" y="15687"/>
                </a:cubicBezTo>
                <a:cubicBezTo>
                  <a:pt x="3813" y="15687"/>
                  <a:pt x="3813" y="15687"/>
                  <a:pt x="3813" y="15687"/>
                </a:cubicBezTo>
                <a:cubicBezTo>
                  <a:pt x="3875" y="15593"/>
                  <a:pt x="4063" y="15593"/>
                  <a:pt x="4125" y="15656"/>
                </a:cubicBezTo>
                <a:close/>
                <a:moveTo>
                  <a:pt x="2563" y="15781"/>
                </a:moveTo>
                <a:cubicBezTo>
                  <a:pt x="2531" y="15749"/>
                  <a:pt x="2531" y="15749"/>
                  <a:pt x="2531" y="15718"/>
                </a:cubicBezTo>
                <a:cubicBezTo>
                  <a:pt x="2500" y="15593"/>
                  <a:pt x="2563" y="15468"/>
                  <a:pt x="2688" y="15406"/>
                </a:cubicBezTo>
                <a:cubicBezTo>
                  <a:pt x="2750" y="15374"/>
                  <a:pt x="2781" y="15343"/>
                  <a:pt x="2781" y="15437"/>
                </a:cubicBezTo>
                <a:cubicBezTo>
                  <a:pt x="2781" y="15499"/>
                  <a:pt x="2813" y="15499"/>
                  <a:pt x="2844" y="15468"/>
                </a:cubicBezTo>
                <a:cubicBezTo>
                  <a:pt x="2906" y="15437"/>
                  <a:pt x="2938" y="15374"/>
                  <a:pt x="3000" y="15406"/>
                </a:cubicBezTo>
                <a:cubicBezTo>
                  <a:pt x="3063" y="15437"/>
                  <a:pt x="3000" y="15499"/>
                  <a:pt x="3000" y="15562"/>
                </a:cubicBezTo>
                <a:cubicBezTo>
                  <a:pt x="3031" y="15656"/>
                  <a:pt x="3000" y="15718"/>
                  <a:pt x="3000" y="15812"/>
                </a:cubicBezTo>
                <a:cubicBezTo>
                  <a:pt x="3000" y="15874"/>
                  <a:pt x="2938" y="15937"/>
                  <a:pt x="2906" y="15999"/>
                </a:cubicBezTo>
                <a:cubicBezTo>
                  <a:pt x="3031" y="16031"/>
                  <a:pt x="3063" y="15999"/>
                  <a:pt x="3125" y="15874"/>
                </a:cubicBezTo>
                <a:cubicBezTo>
                  <a:pt x="3156" y="15874"/>
                  <a:pt x="3156" y="15874"/>
                  <a:pt x="3156" y="15843"/>
                </a:cubicBezTo>
                <a:cubicBezTo>
                  <a:pt x="3156" y="15843"/>
                  <a:pt x="3125" y="15843"/>
                  <a:pt x="3125" y="15843"/>
                </a:cubicBezTo>
                <a:cubicBezTo>
                  <a:pt x="3125" y="15843"/>
                  <a:pt x="3125" y="15843"/>
                  <a:pt x="3094" y="15843"/>
                </a:cubicBezTo>
                <a:cubicBezTo>
                  <a:pt x="3094" y="15874"/>
                  <a:pt x="3063" y="15906"/>
                  <a:pt x="3031" y="15874"/>
                </a:cubicBezTo>
                <a:cubicBezTo>
                  <a:pt x="3000" y="15843"/>
                  <a:pt x="3063" y="15843"/>
                  <a:pt x="3063" y="15812"/>
                </a:cubicBezTo>
                <a:cubicBezTo>
                  <a:pt x="3063" y="15812"/>
                  <a:pt x="3063" y="15812"/>
                  <a:pt x="3063" y="15812"/>
                </a:cubicBezTo>
                <a:cubicBezTo>
                  <a:pt x="3094" y="15812"/>
                  <a:pt x="3125" y="15812"/>
                  <a:pt x="3125" y="15812"/>
                </a:cubicBezTo>
                <a:cubicBezTo>
                  <a:pt x="3156" y="15781"/>
                  <a:pt x="3219" y="15843"/>
                  <a:pt x="3188" y="15781"/>
                </a:cubicBezTo>
                <a:cubicBezTo>
                  <a:pt x="3188" y="15749"/>
                  <a:pt x="3219" y="15718"/>
                  <a:pt x="3156" y="15687"/>
                </a:cubicBezTo>
                <a:cubicBezTo>
                  <a:pt x="3125" y="15687"/>
                  <a:pt x="3125" y="15749"/>
                  <a:pt x="3094" y="15749"/>
                </a:cubicBezTo>
                <a:cubicBezTo>
                  <a:pt x="3094" y="15749"/>
                  <a:pt x="3063" y="15781"/>
                  <a:pt x="3063" y="15812"/>
                </a:cubicBezTo>
                <a:cubicBezTo>
                  <a:pt x="3031" y="15781"/>
                  <a:pt x="3031" y="15749"/>
                  <a:pt x="3031" y="15749"/>
                </a:cubicBezTo>
                <a:cubicBezTo>
                  <a:pt x="3031" y="15687"/>
                  <a:pt x="3031" y="15656"/>
                  <a:pt x="3031" y="15593"/>
                </a:cubicBezTo>
                <a:cubicBezTo>
                  <a:pt x="3063" y="15406"/>
                  <a:pt x="3063" y="15406"/>
                  <a:pt x="3219" y="15468"/>
                </a:cubicBezTo>
                <a:cubicBezTo>
                  <a:pt x="3313" y="15468"/>
                  <a:pt x="3313" y="15468"/>
                  <a:pt x="3281" y="15562"/>
                </a:cubicBezTo>
                <a:cubicBezTo>
                  <a:pt x="3375" y="15468"/>
                  <a:pt x="3469" y="15499"/>
                  <a:pt x="3563" y="15562"/>
                </a:cubicBezTo>
                <a:cubicBezTo>
                  <a:pt x="3656" y="15593"/>
                  <a:pt x="3750" y="15531"/>
                  <a:pt x="3844" y="15624"/>
                </a:cubicBezTo>
                <a:cubicBezTo>
                  <a:pt x="3813" y="15624"/>
                  <a:pt x="3781" y="15656"/>
                  <a:pt x="3750" y="15687"/>
                </a:cubicBezTo>
                <a:cubicBezTo>
                  <a:pt x="3719" y="15687"/>
                  <a:pt x="3719" y="15687"/>
                  <a:pt x="3719" y="15687"/>
                </a:cubicBezTo>
                <a:cubicBezTo>
                  <a:pt x="3688" y="15781"/>
                  <a:pt x="3688" y="15781"/>
                  <a:pt x="3594" y="15812"/>
                </a:cubicBezTo>
                <a:cubicBezTo>
                  <a:pt x="3563" y="15843"/>
                  <a:pt x="3531" y="15906"/>
                  <a:pt x="3500" y="15937"/>
                </a:cubicBezTo>
                <a:cubicBezTo>
                  <a:pt x="3594" y="15937"/>
                  <a:pt x="3656" y="15968"/>
                  <a:pt x="3719" y="15968"/>
                </a:cubicBezTo>
                <a:cubicBezTo>
                  <a:pt x="3656" y="15968"/>
                  <a:pt x="3625" y="15968"/>
                  <a:pt x="3563" y="15999"/>
                </a:cubicBezTo>
                <a:cubicBezTo>
                  <a:pt x="3500" y="15968"/>
                  <a:pt x="3438" y="15999"/>
                  <a:pt x="3375" y="15999"/>
                </a:cubicBezTo>
                <a:cubicBezTo>
                  <a:pt x="3156" y="16031"/>
                  <a:pt x="2969" y="16031"/>
                  <a:pt x="2781" y="16062"/>
                </a:cubicBezTo>
                <a:cubicBezTo>
                  <a:pt x="2719" y="16062"/>
                  <a:pt x="2656" y="16093"/>
                  <a:pt x="2594" y="16093"/>
                </a:cubicBezTo>
                <a:cubicBezTo>
                  <a:pt x="2594" y="16093"/>
                  <a:pt x="2594" y="16093"/>
                  <a:pt x="2594" y="16093"/>
                </a:cubicBezTo>
                <a:cubicBezTo>
                  <a:pt x="2531" y="16062"/>
                  <a:pt x="2531" y="16062"/>
                  <a:pt x="2563" y="16031"/>
                </a:cubicBezTo>
                <a:cubicBezTo>
                  <a:pt x="2500" y="15999"/>
                  <a:pt x="2625" y="15906"/>
                  <a:pt x="2531" y="15874"/>
                </a:cubicBezTo>
                <a:cubicBezTo>
                  <a:pt x="2531" y="15874"/>
                  <a:pt x="2531" y="15843"/>
                  <a:pt x="2531" y="15843"/>
                </a:cubicBezTo>
                <a:cubicBezTo>
                  <a:pt x="2594" y="15812"/>
                  <a:pt x="2594" y="15812"/>
                  <a:pt x="2563" y="15781"/>
                </a:cubicBezTo>
                <a:close/>
                <a:moveTo>
                  <a:pt x="2531" y="16218"/>
                </a:moveTo>
                <a:cubicBezTo>
                  <a:pt x="2531" y="16218"/>
                  <a:pt x="2531" y="16218"/>
                  <a:pt x="2531" y="16218"/>
                </a:cubicBezTo>
                <a:cubicBezTo>
                  <a:pt x="2531" y="16218"/>
                  <a:pt x="2531" y="16187"/>
                  <a:pt x="2531" y="16187"/>
                </a:cubicBezTo>
                <a:cubicBezTo>
                  <a:pt x="2531" y="16187"/>
                  <a:pt x="2531" y="16218"/>
                  <a:pt x="2531" y="16218"/>
                </a:cubicBezTo>
                <a:close/>
                <a:moveTo>
                  <a:pt x="2594" y="16562"/>
                </a:moveTo>
                <a:cubicBezTo>
                  <a:pt x="2656" y="16531"/>
                  <a:pt x="2656" y="16593"/>
                  <a:pt x="2688" y="16593"/>
                </a:cubicBezTo>
                <a:cubicBezTo>
                  <a:pt x="2625" y="16593"/>
                  <a:pt x="2563" y="16656"/>
                  <a:pt x="2500" y="16593"/>
                </a:cubicBezTo>
                <a:cubicBezTo>
                  <a:pt x="2500" y="16593"/>
                  <a:pt x="2500" y="16593"/>
                  <a:pt x="2500" y="16593"/>
                </a:cubicBezTo>
                <a:cubicBezTo>
                  <a:pt x="2531" y="16593"/>
                  <a:pt x="2563" y="16593"/>
                  <a:pt x="2594" y="16562"/>
                </a:cubicBezTo>
                <a:close/>
                <a:moveTo>
                  <a:pt x="1813" y="16218"/>
                </a:moveTo>
                <a:cubicBezTo>
                  <a:pt x="1813" y="16218"/>
                  <a:pt x="1813" y="16218"/>
                  <a:pt x="1813" y="16218"/>
                </a:cubicBezTo>
                <a:cubicBezTo>
                  <a:pt x="1875" y="16249"/>
                  <a:pt x="1938" y="16249"/>
                  <a:pt x="2000" y="16218"/>
                </a:cubicBezTo>
                <a:cubicBezTo>
                  <a:pt x="2125" y="16187"/>
                  <a:pt x="2281" y="16156"/>
                  <a:pt x="2406" y="16187"/>
                </a:cubicBezTo>
                <a:cubicBezTo>
                  <a:pt x="2500" y="16218"/>
                  <a:pt x="2469" y="16249"/>
                  <a:pt x="2438" y="16281"/>
                </a:cubicBezTo>
                <a:cubicBezTo>
                  <a:pt x="2406" y="16312"/>
                  <a:pt x="2438" y="16312"/>
                  <a:pt x="2469" y="16343"/>
                </a:cubicBezTo>
                <a:cubicBezTo>
                  <a:pt x="2344" y="16374"/>
                  <a:pt x="2188" y="16374"/>
                  <a:pt x="2063" y="16343"/>
                </a:cubicBezTo>
                <a:cubicBezTo>
                  <a:pt x="2000" y="16312"/>
                  <a:pt x="1969" y="16312"/>
                  <a:pt x="1906" y="16312"/>
                </a:cubicBezTo>
                <a:cubicBezTo>
                  <a:pt x="1875" y="16281"/>
                  <a:pt x="1813" y="16281"/>
                  <a:pt x="1750" y="16281"/>
                </a:cubicBezTo>
                <a:cubicBezTo>
                  <a:pt x="1781" y="16249"/>
                  <a:pt x="1781" y="16249"/>
                  <a:pt x="1813" y="16218"/>
                </a:cubicBezTo>
                <a:close/>
                <a:moveTo>
                  <a:pt x="1500" y="16437"/>
                </a:moveTo>
                <a:cubicBezTo>
                  <a:pt x="1531" y="16437"/>
                  <a:pt x="1563" y="16406"/>
                  <a:pt x="1563" y="16406"/>
                </a:cubicBezTo>
                <a:cubicBezTo>
                  <a:pt x="1594" y="16312"/>
                  <a:pt x="1625" y="16312"/>
                  <a:pt x="1719" y="16312"/>
                </a:cubicBezTo>
                <a:cubicBezTo>
                  <a:pt x="1781" y="16343"/>
                  <a:pt x="1844" y="16374"/>
                  <a:pt x="1906" y="16343"/>
                </a:cubicBezTo>
                <a:cubicBezTo>
                  <a:pt x="1938" y="16343"/>
                  <a:pt x="1969" y="16343"/>
                  <a:pt x="1969" y="16406"/>
                </a:cubicBezTo>
                <a:cubicBezTo>
                  <a:pt x="1938" y="16406"/>
                  <a:pt x="1875" y="16406"/>
                  <a:pt x="1813" y="16374"/>
                </a:cubicBezTo>
                <a:cubicBezTo>
                  <a:pt x="1844" y="16468"/>
                  <a:pt x="1906" y="16437"/>
                  <a:pt x="1938" y="16437"/>
                </a:cubicBezTo>
                <a:cubicBezTo>
                  <a:pt x="1844" y="16468"/>
                  <a:pt x="1781" y="16499"/>
                  <a:pt x="1688" y="16499"/>
                </a:cubicBezTo>
                <a:cubicBezTo>
                  <a:pt x="1625" y="16468"/>
                  <a:pt x="1563" y="16468"/>
                  <a:pt x="1500" y="16468"/>
                </a:cubicBezTo>
                <a:cubicBezTo>
                  <a:pt x="1469" y="16468"/>
                  <a:pt x="1438" y="16468"/>
                  <a:pt x="1406" y="16468"/>
                </a:cubicBezTo>
                <a:cubicBezTo>
                  <a:pt x="1438" y="16437"/>
                  <a:pt x="1469" y="16374"/>
                  <a:pt x="1500" y="16437"/>
                </a:cubicBezTo>
                <a:close/>
                <a:moveTo>
                  <a:pt x="1313" y="16656"/>
                </a:moveTo>
                <a:cubicBezTo>
                  <a:pt x="1281" y="16718"/>
                  <a:pt x="1250" y="16718"/>
                  <a:pt x="1188" y="16687"/>
                </a:cubicBezTo>
                <a:cubicBezTo>
                  <a:pt x="1219" y="16624"/>
                  <a:pt x="1250" y="16656"/>
                  <a:pt x="1313" y="16656"/>
                </a:cubicBezTo>
                <a:close/>
                <a:moveTo>
                  <a:pt x="1156" y="16968"/>
                </a:moveTo>
                <a:cubicBezTo>
                  <a:pt x="1156" y="16999"/>
                  <a:pt x="1156" y="16999"/>
                  <a:pt x="1125" y="16999"/>
                </a:cubicBezTo>
                <a:cubicBezTo>
                  <a:pt x="1125" y="16999"/>
                  <a:pt x="1125" y="16968"/>
                  <a:pt x="1125" y="16968"/>
                </a:cubicBezTo>
                <a:cubicBezTo>
                  <a:pt x="1125" y="16968"/>
                  <a:pt x="1156" y="16968"/>
                  <a:pt x="1156" y="16968"/>
                </a:cubicBezTo>
                <a:close/>
                <a:moveTo>
                  <a:pt x="1094" y="17187"/>
                </a:moveTo>
                <a:cubicBezTo>
                  <a:pt x="1031" y="17187"/>
                  <a:pt x="1031" y="17124"/>
                  <a:pt x="1000" y="17093"/>
                </a:cubicBezTo>
                <a:cubicBezTo>
                  <a:pt x="1000" y="17031"/>
                  <a:pt x="1063" y="17031"/>
                  <a:pt x="1094" y="17031"/>
                </a:cubicBezTo>
                <a:cubicBezTo>
                  <a:pt x="1125" y="17031"/>
                  <a:pt x="1156" y="17062"/>
                  <a:pt x="1156" y="17124"/>
                </a:cubicBezTo>
                <a:cubicBezTo>
                  <a:pt x="1156" y="17156"/>
                  <a:pt x="1156" y="17187"/>
                  <a:pt x="1094" y="17187"/>
                </a:cubicBezTo>
                <a:close/>
                <a:moveTo>
                  <a:pt x="1156" y="17218"/>
                </a:moveTo>
                <a:cubicBezTo>
                  <a:pt x="1125" y="17187"/>
                  <a:pt x="1188" y="17187"/>
                  <a:pt x="1188" y="17187"/>
                </a:cubicBezTo>
                <a:cubicBezTo>
                  <a:pt x="1219" y="17156"/>
                  <a:pt x="1219" y="17156"/>
                  <a:pt x="1219" y="17124"/>
                </a:cubicBezTo>
                <a:cubicBezTo>
                  <a:pt x="1125" y="17124"/>
                  <a:pt x="1219" y="17031"/>
                  <a:pt x="1188" y="16999"/>
                </a:cubicBezTo>
                <a:cubicBezTo>
                  <a:pt x="1188" y="16968"/>
                  <a:pt x="1156" y="16937"/>
                  <a:pt x="1125" y="16906"/>
                </a:cubicBezTo>
                <a:cubicBezTo>
                  <a:pt x="1125" y="16906"/>
                  <a:pt x="1125" y="16906"/>
                  <a:pt x="1125" y="16906"/>
                </a:cubicBezTo>
                <a:cubicBezTo>
                  <a:pt x="1156" y="16937"/>
                  <a:pt x="1188" y="16968"/>
                  <a:pt x="1188" y="16999"/>
                </a:cubicBezTo>
                <a:cubicBezTo>
                  <a:pt x="1250" y="16999"/>
                  <a:pt x="1313" y="16968"/>
                  <a:pt x="1375" y="16968"/>
                </a:cubicBezTo>
                <a:cubicBezTo>
                  <a:pt x="1438" y="16937"/>
                  <a:pt x="1469" y="16937"/>
                  <a:pt x="1438" y="16999"/>
                </a:cubicBezTo>
                <a:cubicBezTo>
                  <a:pt x="1469" y="16999"/>
                  <a:pt x="1469" y="16999"/>
                  <a:pt x="1469" y="16999"/>
                </a:cubicBezTo>
                <a:cubicBezTo>
                  <a:pt x="1469" y="16999"/>
                  <a:pt x="1438" y="16999"/>
                  <a:pt x="1438" y="16999"/>
                </a:cubicBezTo>
                <a:cubicBezTo>
                  <a:pt x="1375" y="17062"/>
                  <a:pt x="1313" y="17093"/>
                  <a:pt x="1250" y="17124"/>
                </a:cubicBezTo>
                <a:cubicBezTo>
                  <a:pt x="1344" y="17124"/>
                  <a:pt x="1406" y="17062"/>
                  <a:pt x="1469" y="17031"/>
                </a:cubicBezTo>
                <a:cubicBezTo>
                  <a:pt x="1469" y="17031"/>
                  <a:pt x="1469" y="17062"/>
                  <a:pt x="1500" y="17062"/>
                </a:cubicBezTo>
                <a:cubicBezTo>
                  <a:pt x="1469" y="17093"/>
                  <a:pt x="1531" y="17124"/>
                  <a:pt x="1469" y="17124"/>
                </a:cubicBezTo>
                <a:cubicBezTo>
                  <a:pt x="1406" y="17124"/>
                  <a:pt x="1406" y="17156"/>
                  <a:pt x="1344" y="17218"/>
                </a:cubicBezTo>
                <a:cubicBezTo>
                  <a:pt x="1438" y="17218"/>
                  <a:pt x="1500" y="17156"/>
                  <a:pt x="1531" y="17156"/>
                </a:cubicBezTo>
                <a:cubicBezTo>
                  <a:pt x="1594" y="17218"/>
                  <a:pt x="1563" y="17249"/>
                  <a:pt x="1500" y="17249"/>
                </a:cubicBezTo>
                <a:cubicBezTo>
                  <a:pt x="1438" y="17249"/>
                  <a:pt x="1406" y="17281"/>
                  <a:pt x="1375" y="17281"/>
                </a:cubicBezTo>
                <a:cubicBezTo>
                  <a:pt x="1313" y="17281"/>
                  <a:pt x="1281" y="17218"/>
                  <a:pt x="1219" y="17249"/>
                </a:cubicBezTo>
                <a:cubicBezTo>
                  <a:pt x="1188" y="17249"/>
                  <a:pt x="1156" y="17249"/>
                  <a:pt x="1156" y="17218"/>
                </a:cubicBezTo>
                <a:close/>
                <a:moveTo>
                  <a:pt x="969" y="17624"/>
                </a:moveTo>
                <a:cubicBezTo>
                  <a:pt x="969" y="17624"/>
                  <a:pt x="969" y="17624"/>
                  <a:pt x="969" y="17624"/>
                </a:cubicBezTo>
                <a:cubicBezTo>
                  <a:pt x="1000" y="17624"/>
                  <a:pt x="1000" y="17624"/>
                  <a:pt x="1000" y="17624"/>
                </a:cubicBezTo>
                <a:cubicBezTo>
                  <a:pt x="1000" y="17656"/>
                  <a:pt x="1000" y="17656"/>
                  <a:pt x="969" y="17624"/>
                </a:cubicBezTo>
                <a:cubicBezTo>
                  <a:pt x="969" y="17624"/>
                  <a:pt x="969" y="17656"/>
                  <a:pt x="969" y="17656"/>
                </a:cubicBezTo>
                <a:cubicBezTo>
                  <a:pt x="969" y="17656"/>
                  <a:pt x="969" y="17624"/>
                  <a:pt x="969" y="17624"/>
                </a:cubicBezTo>
                <a:close/>
                <a:moveTo>
                  <a:pt x="1000" y="17624"/>
                </a:moveTo>
                <a:cubicBezTo>
                  <a:pt x="1031" y="17593"/>
                  <a:pt x="1031" y="17593"/>
                  <a:pt x="1063" y="17593"/>
                </a:cubicBezTo>
                <a:cubicBezTo>
                  <a:pt x="1031" y="17624"/>
                  <a:pt x="1031" y="17624"/>
                  <a:pt x="1000" y="17624"/>
                </a:cubicBezTo>
                <a:close/>
                <a:moveTo>
                  <a:pt x="1063" y="17593"/>
                </a:moveTo>
                <a:cubicBezTo>
                  <a:pt x="1063" y="17593"/>
                  <a:pt x="1063" y="17562"/>
                  <a:pt x="1063" y="17562"/>
                </a:cubicBezTo>
                <a:cubicBezTo>
                  <a:pt x="1063" y="17562"/>
                  <a:pt x="1094" y="17593"/>
                  <a:pt x="1125" y="17593"/>
                </a:cubicBezTo>
                <a:cubicBezTo>
                  <a:pt x="1125" y="17593"/>
                  <a:pt x="1156" y="17624"/>
                  <a:pt x="1188" y="17593"/>
                </a:cubicBezTo>
                <a:cubicBezTo>
                  <a:pt x="1188" y="17562"/>
                  <a:pt x="1219" y="17531"/>
                  <a:pt x="1188" y="17531"/>
                </a:cubicBezTo>
                <a:cubicBezTo>
                  <a:pt x="1156" y="17499"/>
                  <a:pt x="1156" y="17499"/>
                  <a:pt x="1156" y="17468"/>
                </a:cubicBezTo>
                <a:cubicBezTo>
                  <a:pt x="1156" y="17468"/>
                  <a:pt x="1156" y="17468"/>
                  <a:pt x="1156" y="17468"/>
                </a:cubicBezTo>
                <a:cubicBezTo>
                  <a:pt x="1219" y="17531"/>
                  <a:pt x="1281" y="17562"/>
                  <a:pt x="1219" y="17624"/>
                </a:cubicBezTo>
                <a:cubicBezTo>
                  <a:pt x="1188" y="17718"/>
                  <a:pt x="1125" y="17687"/>
                  <a:pt x="1063" y="17593"/>
                </a:cubicBezTo>
                <a:close/>
                <a:moveTo>
                  <a:pt x="969" y="17687"/>
                </a:moveTo>
                <a:cubicBezTo>
                  <a:pt x="1000" y="17656"/>
                  <a:pt x="1031" y="17687"/>
                  <a:pt x="1063" y="17718"/>
                </a:cubicBezTo>
                <a:cubicBezTo>
                  <a:pt x="1063" y="17749"/>
                  <a:pt x="1031" y="17749"/>
                  <a:pt x="1031" y="17781"/>
                </a:cubicBezTo>
                <a:cubicBezTo>
                  <a:pt x="1063" y="17812"/>
                  <a:pt x="1094" y="17749"/>
                  <a:pt x="1125" y="17781"/>
                </a:cubicBezTo>
                <a:cubicBezTo>
                  <a:pt x="1125" y="17812"/>
                  <a:pt x="1125" y="17843"/>
                  <a:pt x="1125" y="17906"/>
                </a:cubicBezTo>
                <a:cubicBezTo>
                  <a:pt x="1188" y="17874"/>
                  <a:pt x="1188" y="17874"/>
                  <a:pt x="1188" y="17937"/>
                </a:cubicBezTo>
                <a:cubicBezTo>
                  <a:pt x="1156" y="17968"/>
                  <a:pt x="1156" y="17999"/>
                  <a:pt x="1125" y="18031"/>
                </a:cubicBezTo>
                <a:cubicBezTo>
                  <a:pt x="1125" y="18031"/>
                  <a:pt x="1125" y="18062"/>
                  <a:pt x="1125" y="18062"/>
                </a:cubicBezTo>
                <a:cubicBezTo>
                  <a:pt x="1125" y="18062"/>
                  <a:pt x="1125" y="18031"/>
                  <a:pt x="1125" y="18031"/>
                </a:cubicBezTo>
                <a:cubicBezTo>
                  <a:pt x="1063" y="17968"/>
                  <a:pt x="1063" y="17874"/>
                  <a:pt x="969" y="17843"/>
                </a:cubicBezTo>
                <a:cubicBezTo>
                  <a:pt x="875" y="17781"/>
                  <a:pt x="938" y="17749"/>
                  <a:pt x="969" y="17687"/>
                </a:cubicBezTo>
                <a:close/>
                <a:moveTo>
                  <a:pt x="906" y="18749"/>
                </a:moveTo>
                <a:cubicBezTo>
                  <a:pt x="969" y="18749"/>
                  <a:pt x="1000" y="18749"/>
                  <a:pt x="1063" y="18718"/>
                </a:cubicBezTo>
                <a:cubicBezTo>
                  <a:pt x="1094" y="18718"/>
                  <a:pt x="1094" y="18718"/>
                  <a:pt x="1125" y="18718"/>
                </a:cubicBezTo>
                <a:cubicBezTo>
                  <a:pt x="1094" y="18718"/>
                  <a:pt x="1094" y="18718"/>
                  <a:pt x="1063" y="18718"/>
                </a:cubicBezTo>
                <a:cubicBezTo>
                  <a:pt x="1063" y="18749"/>
                  <a:pt x="1063" y="18749"/>
                  <a:pt x="1063" y="18749"/>
                </a:cubicBezTo>
                <a:cubicBezTo>
                  <a:pt x="1063" y="18781"/>
                  <a:pt x="1063" y="18781"/>
                  <a:pt x="1063" y="18781"/>
                </a:cubicBezTo>
                <a:cubicBezTo>
                  <a:pt x="1031" y="18781"/>
                  <a:pt x="1031" y="18781"/>
                  <a:pt x="1000" y="18781"/>
                </a:cubicBezTo>
                <a:cubicBezTo>
                  <a:pt x="1000" y="18781"/>
                  <a:pt x="969" y="18781"/>
                  <a:pt x="969" y="18781"/>
                </a:cubicBezTo>
                <a:cubicBezTo>
                  <a:pt x="938" y="18781"/>
                  <a:pt x="906" y="18781"/>
                  <a:pt x="875" y="18781"/>
                </a:cubicBezTo>
                <a:cubicBezTo>
                  <a:pt x="844" y="18749"/>
                  <a:pt x="906" y="18749"/>
                  <a:pt x="906" y="18749"/>
                </a:cubicBezTo>
                <a:close/>
                <a:moveTo>
                  <a:pt x="813" y="17531"/>
                </a:moveTo>
                <a:cubicBezTo>
                  <a:pt x="781" y="17562"/>
                  <a:pt x="781" y="17562"/>
                  <a:pt x="781" y="17562"/>
                </a:cubicBezTo>
                <a:cubicBezTo>
                  <a:pt x="781" y="17562"/>
                  <a:pt x="781" y="17562"/>
                  <a:pt x="781" y="17562"/>
                </a:cubicBezTo>
                <a:cubicBezTo>
                  <a:pt x="781" y="17562"/>
                  <a:pt x="781" y="17562"/>
                  <a:pt x="813" y="17531"/>
                </a:cubicBezTo>
                <a:close/>
                <a:moveTo>
                  <a:pt x="781" y="17812"/>
                </a:moveTo>
                <a:cubicBezTo>
                  <a:pt x="781" y="17812"/>
                  <a:pt x="781" y="17812"/>
                  <a:pt x="781" y="17812"/>
                </a:cubicBezTo>
                <a:cubicBezTo>
                  <a:pt x="813" y="17812"/>
                  <a:pt x="781" y="17843"/>
                  <a:pt x="781" y="17843"/>
                </a:cubicBezTo>
                <a:cubicBezTo>
                  <a:pt x="781" y="17812"/>
                  <a:pt x="781" y="17812"/>
                  <a:pt x="781" y="17812"/>
                </a:cubicBezTo>
                <a:close/>
                <a:moveTo>
                  <a:pt x="781" y="17843"/>
                </a:moveTo>
                <a:cubicBezTo>
                  <a:pt x="781" y="17937"/>
                  <a:pt x="688" y="17937"/>
                  <a:pt x="625" y="17999"/>
                </a:cubicBezTo>
                <a:cubicBezTo>
                  <a:pt x="625" y="17937"/>
                  <a:pt x="656" y="17937"/>
                  <a:pt x="656" y="17906"/>
                </a:cubicBezTo>
                <a:cubicBezTo>
                  <a:pt x="719" y="17906"/>
                  <a:pt x="719" y="17843"/>
                  <a:pt x="781" y="17843"/>
                </a:cubicBezTo>
                <a:close/>
                <a:moveTo>
                  <a:pt x="688" y="17624"/>
                </a:moveTo>
                <a:cubicBezTo>
                  <a:pt x="719" y="17624"/>
                  <a:pt x="719" y="17656"/>
                  <a:pt x="750" y="17656"/>
                </a:cubicBezTo>
                <a:cubicBezTo>
                  <a:pt x="813" y="17687"/>
                  <a:pt x="781" y="17749"/>
                  <a:pt x="750" y="17781"/>
                </a:cubicBezTo>
                <a:cubicBezTo>
                  <a:pt x="719" y="17781"/>
                  <a:pt x="688" y="17812"/>
                  <a:pt x="688" y="17843"/>
                </a:cubicBezTo>
                <a:cubicBezTo>
                  <a:pt x="656" y="17843"/>
                  <a:pt x="656" y="17874"/>
                  <a:pt x="625" y="17843"/>
                </a:cubicBezTo>
                <a:cubicBezTo>
                  <a:pt x="625" y="17843"/>
                  <a:pt x="625" y="17812"/>
                  <a:pt x="656" y="17781"/>
                </a:cubicBezTo>
                <a:cubicBezTo>
                  <a:pt x="625" y="17749"/>
                  <a:pt x="563" y="17656"/>
                  <a:pt x="688" y="17624"/>
                </a:cubicBezTo>
                <a:close/>
                <a:moveTo>
                  <a:pt x="656" y="18343"/>
                </a:moveTo>
                <a:cubicBezTo>
                  <a:pt x="656" y="18281"/>
                  <a:pt x="688" y="18218"/>
                  <a:pt x="625" y="18156"/>
                </a:cubicBezTo>
                <a:cubicBezTo>
                  <a:pt x="656" y="18156"/>
                  <a:pt x="656" y="18156"/>
                  <a:pt x="656" y="18156"/>
                </a:cubicBezTo>
                <a:cubicBezTo>
                  <a:pt x="656" y="18187"/>
                  <a:pt x="656" y="18187"/>
                  <a:pt x="656" y="18187"/>
                </a:cubicBezTo>
                <a:cubicBezTo>
                  <a:pt x="688" y="18218"/>
                  <a:pt x="719" y="18187"/>
                  <a:pt x="719" y="18156"/>
                </a:cubicBezTo>
                <a:cubicBezTo>
                  <a:pt x="719" y="18124"/>
                  <a:pt x="750" y="18124"/>
                  <a:pt x="750" y="18093"/>
                </a:cubicBezTo>
                <a:cubicBezTo>
                  <a:pt x="719" y="18062"/>
                  <a:pt x="719" y="18093"/>
                  <a:pt x="688" y="18093"/>
                </a:cubicBezTo>
                <a:cubicBezTo>
                  <a:pt x="656" y="18156"/>
                  <a:pt x="656" y="18124"/>
                  <a:pt x="625" y="18093"/>
                </a:cubicBezTo>
                <a:cubicBezTo>
                  <a:pt x="594" y="18062"/>
                  <a:pt x="625" y="18062"/>
                  <a:pt x="625" y="18031"/>
                </a:cubicBezTo>
                <a:cubicBezTo>
                  <a:pt x="688" y="17999"/>
                  <a:pt x="719" y="17968"/>
                  <a:pt x="781" y="17968"/>
                </a:cubicBezTo>
                <a:cubicBezTo>
                  <a:pt x="844" y="17937"/>
                  <a:pt x="844" y="17968"/>
                  <a:pt x="844" y="17999"/>
                </a:cubicBezTo>
                <a:cubicBezTo>
                  <a:pt x="844" y="18031"/>
                  <a:pt x="844" y="18093"/>
                  <a:pt x="813" y="18124"/>
                </a:cubicBezTo>
                <a:cubicBezTo>
                  <a:pt x="813" y="18124"/>
                  <a:pt x="813" y="18124"/>
                  <a:pt x="813" y="18124"/>
                </a:cubicBezTo>
                <a:cubicBezTo>
                  <a:pt x="813" y="18124"/>
                  <a:pt x="813" y="18124"/>
                  <a:pt x="813" y="18124"/>
                </a:cubicBezTo>
                <a:cubicBezTo>
                  <a:pt x="813" y="18156"/>
                  <a:pt x="813" y="18156"/>
                  <a:pt x="813" y="18156"/>
                </a:cubicBezTo>
                <a:cubicBezTo>
                  <a:pt x="813" y="18156"/>
                  <a:pt x="813" y="18156"/>
                  <a:pt x="813" y="18124"/>
                </a:cubicBezTo>
                <a:cubicBezTo>
                  <a:pt x="750" y="18218"/>
                  <a:pt x="719" y="18281"/>
                  <a:pt x="656" y="18343"/>
                </a:cubicBezTo>
                <a:close/>
                <a:moveTo>
                  <a:pt x="813" y="19562"/>
                </a:moveTo>
                <a:cubicBezTo>
                  <a:pt x="813" y="19499"/>
                  <a:pt x="844" y="19499"/>
                  <a:pt x="844" y="19499"/>
                </a:cubicBezTo>
                <a:cubicBezTo>
                  <a:pt x="844" y="19531"/>
                  <a:pt x="844" y="19562"/>
                  <a:pt x="813" y="19562"/>
                </a:cubicBezTo>
                <a:cubicBezTo>
                  <a:pt x="813" y="19562"/>
                  <a:pt x="813" y="19562"/>
                  <a:pt x="813" y="19562"/>
                </a:cubicBezTo>
                <a:close/>
                <a:moveTo>
                  <a:pt x="813" y="19562"/>
                </a:moveTo>
                <a:cubicBezTo>
                  <a:pt x="813" y="19593"/>
                  <a:pt x="875" y="19562"/>
                  <a:pt x="875" y="19593"/>
                </a:cubicBezTo>
                <a:cubicBezTo>
                  <a:pt x="781" y="19687"/>
                  <a:pt x="656" y="19749"/>
                  <a:pt x="563" y="19843"/>
                </a:cubicBezTo>
                <a:cubicBezTo>
                  <a:pt x="531" y="19874"/>
                  <a:pt x="469" y="19874"/>
                  <a:pt x="438" y="19906"/>
                </a:cubicBezTo>
                <a:cubicBezTo>
                  <a:pt x="469" y="19874"/>
                  <a:pt x="531" y="19874"/>
                  <a:pt x="563" y="19843"/>
                </a:cubicBezTo>
                <a:cubicBezTo>
                  <a:pt x="438" y="19812"/>
                  <a:pt x="563" y="19781"/>
                  <a:pt x="563" y="19749"/>
                </a:cubicBezTo>
                <a:cubicBezTo>
                  <a:pt x="563" y="19718"/>
                  <a:pt x="531" y="19718"/>
                  <a:pt x="500" y="19718"/>
                </a:cubicBezTo>
                <a:cubicBezTo>
                  <a:pt x="500" y="19718"/>
                  <a:pt x="500" y="19687"/>
                  <a:pt x="500" y="19687"/>
                </a:cubicBezTo>
                <a:cubicBezTo>
                  <a:pt x="500" y="19687"/>
                  <a:pt x="500" y="19718"/>
                  <a:pt x="500" y="19718"/>
                </a:cubicBezTo>
                <a:cubicBezTo>
                  <a:pt x="531" y="19718"/>
                  <a:pt x="563" y="19718"/>
                  <a:pt x="563" y="19749"/>
                </a:cubicBezTo>
                <a:cubicBezTo>
                  <a:pt x="594" y="19718"/>
                  <a:pt x="594" y="19687"/>
                  <a:pt x="625" y="19687"/>
                </a:cubicBezTo>
                <a:cubicBezTo>
                  <a:pt x="688" y="19624"/>
                  <a:pt x="750" y="19593"/>
                  <a:pt x="813" y="19562"/>
                </a:cubicBezTo>
                <a:lnTo>
                  <a:pt x="813" y="19562"/>
                </a:lnTo>
                <a:cubicBezTo>
                  <a:pt x="813" y="19562"/>
                  <a:pt x="813" y="19562"/>
                  <a:pt x="813" y="19562"/>
                </a:cubicBezTo>
                <a:cubicBezTo>
                  <a:pt x="813" y="19562"/>
                  <a:pt x="813" y="19562"/>
                  <a:pt x="813" y="19562"/>
                </a:cubicBezTo>
                <a:cubicBezTo>
                  <a:pt x="813" y="19562"/>
                  <a:pt x="813" y="19562"/>
                  <a:pt x="813" y="19562"/>
                </a:cubicBezTo>
                <a:close/>
                <a:moveTo>
                  <a:pt x="438" y="18812"/>
                </a:moveTo>
                <a:cubicBezTo>
                  <a:pt x="469" y="18812"/>
                  <a:pt x="500" y="18812"/>
                  <a:pt x="500" y="18812"/>
                </a:cubicBezTo>
                <a:cubicBezTo>
                  <a:pt x="531" y="18812"/>
                  <a:pt x="563" y="18812"/>
                  <a:pt x="594" y="18812"/>
                </a:cubicBezTo>
                <a:cubicBezTo>
                  <a:pt x="594" y="18843"/>
                  <a:pt x="625" y="18812"/>
                  <a:pt x="594" y="18843"/>
                </a:cubicBezTo>
                <a:cubicBezTo>
                  <a:pt x="594" y="18843"/>
                  <a:pt x="563" y="18843"/>
                  <a:pt x="531" y="18874"/>
                </a:cubicBezTo>
                <a:cubicBezTo>
                  <a:pt x="500" y="18843"/>
                  <a:pt x="469" y="18843"/>
                  <a:pt x="438" y="18812"/>
                </a:cubicBezTo>
                <a:close/>
                <a:moveTo>
                  <a:pt x="406" y="19343"/>
                </a:moveTo>
                <a:cubicBezTo>
                  <a:pt x="438" y="19343"/>
                  <a:pt x="500" y="19343"/>
                  <a:pt x="531" y="19343"/>
                </a:cubicBezTo>
                <a:cubicBezTo>
                  <a:pt x="500" y="19343"/>
                  <a:pt x="438" y="19343"/>
                  <a:pt x="406" y="19343"/>
                </a:cubicBezTo>
                <a:close/>
                <a:moveTo>
                  <a:pt x="2313" y="19687"/>
                </a:moveTo>
                <a:cubicBezTo>
                  <a:pt x="2313" y="19687"/>
                  <a:pt x="2313" y="19687"/>
                  <a:pt x="2313" y="19687"/>
                </a:cubicBezTo>
                <a:close/>
                <a:moveTo>
                  <a:pt x="3563" y="19843"/>
                </a:moveTo>
                <a:cubicBezTo>
                  <a:pt x="3563" y="19843"/>
                  <a:pt x="3563" y="19843"/>
                  <a:pt x="3563" y="19843"/>
                </a:cubicBezTo>
                <a:close/>
                <a:moveTo>
                  <a:pt x="24031" y="23562"/>
                </a:moveTo>
                <a:cubicBezTo>
                  <a:pt x="24031" y="23562"/>
                  <a:pt x="24031" y="23562"/>
                  <a:pt x="24031" y="23562"/>
                </a:cubicBezTo>
                <a:close/>
                <a:moveTo>
                  <a:pt x="12625" y="22874"/>
                </a:moveTo>
                <a:cubicBezTo>
                  <a:pt x="12625" y="22874"/>
                  <a:pt x="12625" y="22874"/>
                  <a:pt x="12625" y="22874"/>
                </a:cubicBezTo>
                <a:cubicBezTo>
                  <a:pt x="12625" y="22874"/>
                  <a:pt x="12625" y="22874"/>
                  <a:pt x="12625" y="22874"/>
                </a:cubicBezTo>
                <a:lnTo>
                  <a:pt x="12625" y="22874"/>
                </a:lnTo>
                <a:cubicBezTo>
                  <a:pt x="12625" y="22874"/>
                  <a:pt x="12625" y="22874"/>
                  <a:pt x="12625" y="22874"/>
                </a:cubicBezTo>
                <a:close/>
                <a:moveTo>
                  <a:pt x="17469" y="23656"/>
                </a:moveTo>
                <a:cubicBezTo>
                  <a:pt x="17469" y="23656"/>
                  <a:pt x="17469" y="23656"/>
                  <a:pt x="17469" y="23656"/>
                </a:cubicBezTo>
                <a:cubicBezTo>
                  <a:pt x="17469" y="23656"/>
                  <a:pt x="17469" y="23656"/>
                  <a:pt x="17469" y="23656"/>
                </a:cubicBezTo>
                <a:lnTo>
                  <a:pt x="17469" y="23656"/>
                </a:lnTo>
                <a:cubicBezTo>
                  <a:pt x="17469" y="23656"/>
                  <a:pt x="17469" y="23656"/>
                  <a:pt x="17469" y="23656"/>
                </a:cubicBezTo>
                <a:cubicBezTo>
                  <a:pt x="17469" y="23656"/>
                  <a:pt x="17469" y="23656"/>
                  <a:pt x="17469" y="23656"/>
                </a:cubicBezTo>
                <a:close/>
                <a:moveTo>
                  <a:pt x="15531" y="5781"/>
                </a:moveTo>
                <a:lnTo>
                  <a:pt x="15531" y="5781"/>
                </a:lnTo>
                <a:lnTo>
                  <a:pt x="15531" y="5781"/>
                </a:lnTo>
                <a:close/>
                <a:moveTo>
                  <a:pt x="12719" y="5468"/>
                </a:moveTo>
                <a:cubicBezTo>
                  <a:pt x="12719" y="5468"/>
                  <a:pt x="12719" y="5437"/>
                  <a:pt x="12719" y="5437"/>
                </a:cubicBezTo>
                <a:cubicBezTo>
                  <a:pt x="12719" y="5437"/>
                  <a:pt x="12719" y="5468"/>
                  <a:pt x="12719" y="5468"/>
                </a:cubicBezTo>
                <a:cubicBezTo>
                  <a:pt x="12719" y="5468"/>
                  <a:pt x="12719" y="5468"/>
                  <a:pt x="12719" y="5468"/>
                </a:cubicBezTo>
                <a:cubicBezTo>
                  <a:pt x="12594" y="5531"/>
                  <a:pt x="12625" y="5656"/>
                  <a:pt x="12625" y="5750"/>
                </a:cubicBezTo>
                <a:cubicBezTo>
                  <a:pt x="12563" y="5843"/>
                  <a:pt x="12531" y="5968"/>
                  <a:pt x="12500" y="6062"/>
                </a:cubicBezTo>
                <a:cubicBezTo>
                  <a:pt x="12531" y="6000"/>
                  <a:pt x="12656" y="6031"/>
                  <a:pt x="12625" y="5937"/>
                </a:cubicBezTo>
                <a:lnTo>
                  <a:pt x="12625" y="5937"/>
                </a:lnTo>
                <a:cubicBezTo>
                  <a:pt x="12594" y="5875"/>
                  <a:pt x="12656" y="5812"/>
                  <a:pt x="12625" y="5750"/>
                </a:cubicBezTo>
                <a:cubicBezTo>
                  <a:pt x="12656" y="5750"/>
                  <a:pt x="12688" y="5718"/>
                  <a:pt x="12688" y="5687"/>
                </a:cubicBezTo>
                <a:lnTo>
                  <a:pt x="12688" y="5687"/>
                </a:lnTo>
                <a:cubicBezTo>
                  <a:pt x="12688" y="5593"/>
                  <a:pt x="12719" y="5531"/>
                  <a:pt x="12719" y="5468"/>
                </a:cubicBezTo>
                <a:close/>
                <a:moveTo>
                  <a:pt x="15344" y="5625"/>
                </a:moveTo>
                <a:cubicBezTo>
                  <a:pt x="15344" y="5625"/>
                  <a:pt x="15344" y="5625"/>
                  <a:pt x="15344" y="5625"/>
                </a:cubicBezTo>
                <a:cubicBezTo>
                  <a:pt x="15281" y="5656"/>
                  <a:pt x="15375" y="5750"/>
                  <a:pt x="15313" y="5781"/>
                </a:cubicBezTo>
                <a:cubicBezTo>
                  <a:pt x="15375" y="5750"/>
                  <a:pt x="15344" y="5687"/>
                  <a:pt x="15344" y="5625"/>
                </a:cubicBezTo>
                <a:cubicBezTo>
                  <a:pt x="15344" y="5625"/>
                  <a:pt x="15375" y="5625"/>
                  <a:pt x="15344" y="5625"/>
                </a:cubicBezTo>
                <a:close/>
                <a:moveTo>
                  <a:pt x="9094" y="11593"/>
                </a:moveTo>
                <a:lnTo>
                  <a:pt x="9094" y="11593"/>
                </a:lnTo>
                <a:lnTo>
                  <a:pt x="9094" y="11562"/>
                </a:lnTo>
                <a:lnTo>
                  <a:pt x="9094" y="11593"/>
                </a:lnTo>
                <a:close/>
                <a:moveTo>
                  <a:pt x="23563" y="17593"/>
                </a:moveTo>
                <a:cubicBezTo>
                  <a:pt x="23594" y="17593"/>
                  <a:pt x="23625" y="17624"/>
                  <a:pt x="23656" y="17593"/>
                </a:cubicBezTo>
                <a:cubicBezTo>
                  <a:pt x="23688" y="17593"/>
                  <a:pt x="23719" y="17562"/>
                  <a:pt x="23688" y="17562"/>
                </a:cubicBezTo>
                <a:cubicBezTo>
                  <a:pt x="23688" y="17531"/>
                  <a:pt x="23656" y="17499"/>
                  <a:pt x="23594" y="17499"/>
                </a:cubicBezTo>
                <a:cubicBezTo>
                  <a:pt x="23594" y="17468"/>
                  <a:pt x="23594" y="17499"/>
                  <a:pt x="23594" y="17531"/>
                </a:cubicBezTo>
                <a:cubicBezTo>
                  <a:pt x="23594" y="17562"/>
                  <a:pt x="23531" y="17562"/>
                  <a:pt x="23500" y="17562"/>
                </a:cubicBezTo>
                <a:cubicBezTo>
                  <a:pt x="23500" y="17562"/>
                  <a:pt x="23469" y="17562"/>
                  <a:pt x="23469" y="17562"/>
                </a:cubicBezTo>
                <a:cubicBezTo>
                  <a:pt x="23469" y="17562"/>
                  <a:pt x="23469" y="17593"/>
                  <a:pt x="23500" y="17562"/>
                </a:cubicBezTo>
                <a:cubicBezTo>
                  <a:pt x="23531" y="17562"/>
                  <a:pt x="23563" y="17593"/>
                  <a:pt x="23563" y="17593"/>
                </a:cubicBezTo>
                <a:close/>
                <a:moveTo>
                  <a:pt x="10750" y="9750"/>
                </a:moveTo>
                <a:cubicBezTo>
                  <a:pt x="10750" y="9750"/>
                  <a:pt x="10750" y="9750"/>
                  <a:pt x="10750" y="9750"/>
                </a:cubicBezTo>
                <a:cubicBezTo>
                  <a:pt x="10750" y="9750"/>
                  <a:pt x="10750" y="9750"/>
                  <a:pt x="10750" y="9750"/>
                </a:cubicBezTo>
                <a:lnTo>
                  <a:pt x="10750" y="9750"/>
                </a:lnTo>
                <a:cubicBezTo>
                  <a:pt x="10750" y="9750"/>
                  <a:pt x="10750" y="9750"/>
                  <a:pt x="10750" y="9750"/>
                </a:cubicBezTo>
                <a:cubicBezTo>
                  <a:pt x="10750" y="9750"/>
                  <a:pt x="10750" y="9750"/>
                  <a:pt x="10750" y="9750"/>
                </a:cubicBezTo>
                <a:close/>
                <a:moveTo>
                  <a:pt x="9250" y="14812"/>
                </a:moveTo>
                <a:cubicBezTo>
                  <a:pt x="9250" y="14812"/>
                  <a:pt x="9250" y="14812"/>
                  <a:pt x="9250" y="14812"/>
                </a:cubicBezTo>
                <a:cubicBezTo>
                  <a:pt x="9438" y="14843"/>
                  <a:pt x="9594" y="14906"/>
                  <a:pt x="9781" y="14906"/>
                </a:cubicBezTo>
                <a:cubicBezTo>
                  <a:pt x="9781" y="14906"/>
                  <a:pt x="9813" y="14937"/>
                  <a:pt x="9813" y="14937"/>
                </a:cubicBezTo>
                <a:cubicBezTo>
                  <a:pt x="9844" y="14937"/>
                  <a:pt x="9844" y="14937"/>
                  <a:pt x="9844" y="14937"/>
                </a:cubicBezTo>
                <a:cubicBezTo>
                  <a:pt x="9938" y="14937"/>
                  <a:pt x="10000" y="14968"/>
                  <a:pt x="10094" y="14999"/>
                </a:cubicBezTo>
                <a:cubicBezTo>
                  <a:pt x="10031" y="14937"/>
                  <a:pt x="9938" y="14906"/>
                  <a:pt x="9906" y="14843"/>
                </a:cubicBezTo>
                <a:cubicBezTo>
                  <a:pt x="9875" y="14812"/>
                  <a:pt x="9844" y="14812"/>
                  <a:pt x="9813" y="14843"/>
                </a:cubicBezTo>
                <a:cubicBezTo>
                  <a:pt x="9750" y="14812"/>
                  <a:pt x="9719" y="14874"/>
                  <a:pt x="9688" y="14874"/>
                </a:cubicBezTo>
                <a:cubicBezTo>
                  <a:pt x="9656" y="14874"/>
                  <a:pt x="9594" y="14874"/>
                  <a:pt x="9563" y="14843"/>
                </a:cubicBezTo>
                <a:cubicBezTo>
                  <a:pt x="9594" y="14843"/>
                  <a:pt x="9625" y="14812"/>
                  <a:pt x="9656" y="14812"/>
                </a:cubicBezTo>
                <a:cubicBezTo>
                  <a:pt x="9656" y="14812"/>
                  <a:pt x="9656" y="14812"/>
                  <a:pt x="9656" y="14781"/>
                </a:cubicBezTo>
                <a:cubicBezTo>
                  <a:pt x="9719" y="14781"/>
                  <a:pt x="9750" y="14781"/>
                  <a:pt x="9781" y="14781"/>
                </a:cubicBezTo>
                <a:cubicBezTo>
                  <a:pt x="9625" y="14562"/>
                  <a:pt x="9531" y="14562"/>
                  <a:pt x="9313" y="14687"/>
                </a:cubicBezTo>
                <a:cubicBezTo>
                  <a:pt x="9344" y="14749"/>
                  <a:pt x="9438" y="14749"/>
                  <a:pt x="9500" y="14812"/>
                </a:cubicBezTo>
                <a:cubicBezTo>
                  <a:pt x="9406" y="14843"/>
                  <a:pt x="9375" y="14749"/>
                  <a:pt x="9313" y="14781"/>
                </a:cubicBezTo>
                <a:cubicBezTo>
                  <a:pt x="9281" y="14718"/>
                  <a:pt x="9250" y="14656"/>
                  <a:pt x="9219" y="14687"/>
                </a:cubicBezTo>
                <a:cubicBezTo>
                  <a:pt x="9125" y="14749"/>
                  <a:pt x="9031" y="14718"/>
                  <a:pt x="8969" y="14781"/>
                </a:cubicBezTo>
                <a:cubicBezTo>
                  <a:pt x="9031" y="14781"/>
                  <a:pt x="9125" y="14781"/>
                  <a:pt x="9188" y="14781"/>
                </a:cubicBezTo>
                <a:cubicBezTo>
                  <a:pt x="9188" y="14812"/>
                  <a:pt x="9219" y="14812"/>
                  <a:pt x="9250" y="14812"/>
                </a:cubicBezTo>
                <a:close/>
                <a:moveTo>
                  <a:pt x="21656" y="17968"/>
                </a:moveTo>
                <a:lnTo>
                  <a:pt x="21656" y="17967"/>
                </a:lnTo>
                <a:lnTo>
                  <a:pt x="21656" y="17965"/>
                </a:lnTo>
                <a:lnTo>
                  <a:pt x="21656" y="17964"/>
                </a:lnTo>
                <a:lnTo>
                  <a:pt x="21656" y="17963"/>
                </a:lnTo>
                <a:lnTo>
                  <a:pt x="21656" y="17961"/>
                </a:lnTo>
                <a:lnTo>
                  <a:pt x="21656" y="17960"/>
                </a:lnTo>
                <a:lnTo>
                  <a:pt x="21656" y="17959"/>
                </a:lnTo>
                <a:lnTo>
                  <a:pt x="21656" y="17958"/>
                </a:lnTo>
                <a:lnTo>
                  <a:pt x="21656" y="17906"/>
                </a:lnTo>
                <a:cubicBezTo>
                  <a:pt x="21625" y="17937"/>
                  <a:pt x="21656" y="17937"/>
                  <a:pt x="21656" y="17968"/>
                </a:cubicBezTo>
                <a:cubicBezTo>
                  <a:pt x="21656" y="17968"/>
                  <a:pt x="21688" y="17968"/>
                  <a:pt x="21688" y="17968"/>
                </a:cubicBezTo>
                <a:lnTo>
                  <a:pt x="21688" y="17968"/>
                </a:lnTo>
                <a:cubicBezTo>
                  <a:pt x="21688" y="17968"/>
                  <a:pt x="21688" y="17968"/>
                  <a:pt x="21656" y="17968"/>
                </a:cubicBezTo>
                <a:close/>
                <a:moveTo>
                  <a:pt x="21656" y="17906"/>
                </a:moveTo>
                <a:cubicBezTo>
                  <a:pt x="21688" y="17874"/>
                  <a:pt x="21688" y="17874"/>
                  <a:pt x="21719" y="17906"/>
                </a:cubicBezTo>
                <a:lnTo>
                  <a:pt x="21719" y="17906"/>
                </a:lnTo>
                <a:cubicBezTo>
                  <a:pt x="21719" y="17906"/>
                  <a:pt x="21688" y="17906"/>
                  <a:pt x="21656" y="17906"/>
                </a:cubicBezTo>
                <a:close/>
                <a:moveTo>
                  <a:pt x="23969" y="18124"/>
                </a:moveTo>
                <a:cubicBezTo>
                  <a:pt x="23969" y="18124"/>
                  <a:pt x="23969" y="18124"/>
                  <a:pt x="23969" y="18093"/>
                </a:cubicBezTo>
                <a:cubicBezTo>
                  <a:pt x="23938" y="18093"/>
                  <a:pt x="23938" y="18093"/>
                  <a:pt x="23938" y="18093"/>
                </a:cubicBezTo>
                <a:cubicBezTo>
                  <a:pt x="23938" y="18093"/>
                  <a:pt x="23938" y="18124"/>
                  <a:pt x="23938" y="18124"/>
                </a:cubicBezTo>
                <a:cubicBezTo>
                  <a:pt x="23938" y="18124"/>
                  <a:pt x="23938" y="18124"/>
                  <a:pt x="23969" y="18124"/>
                </a:cubicBezTo>
                <a:close/>
                <a:moveTo>
                  <a:pt x="16250" y="7937"/>
                </a:moveTo>
                <a:cubicBezTo>
                  <a:pt x="16250" y="7937"/>
                  <a:pt x="16250" y="7937"/>
                  <a:pt x="16219" y="7937"/>
                </a:cubicBezTo>
                <a:cubicBezTo>
                  <a:pt x="16219" y="7937"/>
                  <a:pt x="16219" y="7937"/>
                  <a:pt x="16219" y="7937"/>
                </a:cubicBezTo>
                <a:cubicBezTo>
                  <a:pt x="16219" y="7937"/>
                  <a:pt x="16219" y="7968"/>
                  <a:pt x="16219" y="7968"/>
                </a:cubicBezTo>
                <a:cubicBezTo>
                  <a:pt x="16219" y="7968"/>
                  <a:pt x="16250" y="7968"/>
                  <a:pt x="16250" y="7937"/>
                </a:cubicBezTo>
                <a:close/>
                <a:moveTo>
                  <a:pt x="16469" y="15968"/>
                </a:moveTo>
                <a:cubicBezTo>
                  <a:pt x="16469" y="15968"/>
                  <a:pt x="16500" y="15968"/>
                  <a:pt x="16469" y="15968"/>
                </a:cubicBezTo>
                <a:cubicBezTo>
                  <a:pt x="16469" y="15968"/>
                  <a:pt x="16469" y="15937"/>
                  <a:pt x="16438" y="15968"/>
                </a:cubicBezTo>
                <a:cubicBezTo>
                  <a:pt x="16469" y="15906"/>
                  <a:pt x="16375" y="15906"/>
                  <a:pt x="16375" y="15874"/>
                </a:cubicBezTo>
                <a:cubicBezTo>
                  <a:pt x="16469" y="15906"/>
                  <a:pt x="16531" y="15937"/>
                  <a:pt x="16625" y="15999"/>
                </a:cubicBezTo>
                <a:cubicBezTo>
                  <a:pt x="16594" y="15874"/>
                  <a:pt x="16531" y="15749"/>
                  <a:pt x="16469" y="15656"/>
                </a:cubicBezTo>
                <a:lnTo>
                  <a:pt x="16469" y="15656"/>
                </a:lnTo>
                <a:cubicBezTo>
                  <a:pt x="16438" y="15562"/>
                  <a:pt x="16406" y="15531"/>
                  <a:pt x="16344" y="15593"/>
                </a:cubicBezTo>
                <a:cubicBezTo>
                  <a:pt x="16313" y="15656"/>
                  <a:pt x="16250" y="15656"/>
                  <a:pt x="16188" y="15687"/>
                </a:cubicBezTo>
                <a:cubicBezTo>
                  <a:pt x="16219" y="15749"/>
                  <a:pt x="16281" y="15749"/>
                  <a:pt x="16313" y="15781"/>
                </a:cubicBezTo>
                <a:cubicBezTo>
                  <a:pt x="16313" y="15812"/>
                  <a:pt x="16406" y="15781"/>
                  <a:pt x="16375" y="15874"/>
                </a:cubicBezTo>
                <a:cubicBezTo>
                  <a:pt x="16344" y="15874"/>
                  <a:pt x="16344" y="15843"/>
                  <a:pt x="16313" y="15843"/>
                </a:cubicBezTo>
                <a:cubicBezTo>
                  <a:pt x="16250" y="15812"/>
                  <a:pt x="16219" y="15718"/>
                  <a:pt x="16125" y="15749"/>
                </a:cubicBezTo>
                <a:lnTo>
                  <a:pt x="16125" y="15749"/>
                </a:lnTo>
                <a:cubicBezTo>
                  <a:pt x="16063" y="15781"/>
                  <a:pt x="16000" y="15781"/>
                  <a:pt x="15938" y="15874"/>
                </a:cubicBezTo>
                <a:cubicBezTo>
                  <a:pt x="16000" y="15843"/>
                  <a:pt x="16063" y="15906"/>
                  <a:pt x="16125" y="15874"/>
                </a:cubicBezTo>
                <a:cubicBezTo>
                  <a:pt x="16125" y="15874"/>
                  <a:pt x="16125" y="15874"/>
                  <a:pt x="16125" y="15874"/>
                </a:cubicBezTo>
                <a:cubicBezTo>
                  <a:pt x="16125" y="15874"/>
                  <a:pt x="16125" y="15874"/>
                  <a:pt x="16125" y="15874"/>
                </a:cubicBezTo>
                <a:cubicBezTo>
                  <a:pt x="16188" y="15906"/>
                  <a:pt x="16219" y="15937"/>
                  <a:pt x="16250" y="15906"/>
                </a:cubicBezTo>
                <a:cubicBezTo>
                  <a:pt x="16313" y="15937"/>
                  <a:pt x="16375" y="15937"/>
                  <a:pt x="16438" y="15968"/>
                </a:cubicBezTo>
                <a:cubicBezTo>
                  <a:pt x="16438" y="15999"/>
                  <a:pt x="16469" y="15968"/>
                  <a:pt x="16469" y="15968"/>
                </a:cubicBezTo>
                <a:close/>
                <a:moveTo>
                  <a:pt x="21656" y="17906"/>
                </a:moveTo>
                <a:cubicBezTo>
                  <a:pt x="21656" y="17906"/>
                  <a:pt x="21656" y="17906"/>
                  <a:pt x="21656" y="17906"/>
                </a:cubicBezTo>
                <a:cubicBezTo>
                  <a:pt x="21656" y="17906"/>
                  <a:pt x="21656" y="17906"/>
                  <a:pt x="21656" y="17906"/>
                </a:cubicBezTo>
                <a:close/>
                <a:moveTo>
                  <a:pt x="22188" y="17124"/>
                </a:moveTo>
                <a:cubicBezTo>
                  <a:pt x="22250" y="17124"/>
                  <a:pt x="22250" y="17093"/>
                  <a:pt x="22188" y="17062"/>
                </a:cubicBezTo>
                <a:cubicBezTo>
                  <a:pt x="22156" y="16999"/>
                  <a:pt x="22219" y="16937"/>
                  <a:pt x="22188" y="16874"/>
                </a:cubicBezTo>
                <a:cubicBezTo>
                  <a:pt x="22156" y="16968"/>
                  <a:pt x="22094" y="16999"/>
                  <a:pt x="22094" y="17062"/>
                </a:cubicBezTo>
                <a:cubicBezTo>
                  <a:pt x="22125" y="17062"/>
                  <a:pt x="22156" y="17093"/>
                  <a:pt x="22156" y="17093"/>
                </a:cubicBezTo>
                <a:cubicBezTo>
                  <a:pt x="22188" y="17093"/>
                  <a:pt x="22188" y="17124"/>
                  <a:pt x="22188" y="17124"/>
                </a:cubicBezTo>
                <a:cubicBezTo>
                  <a:pt x="22156" y="17124"/>
                  <a:pt x="22125" y="17124"/>
                  <a:pt x="22094" y="17062"/>
                </a:cubicBezTo>
                <a:cubicBezTo>
                  <a:pt x="22063" y="17093"/>
                  <a:pt x="22031" y="17156"/>
                  <a:pt x="22000" y="17218"/>
                </a:cubicBezTo>
                <a:lnTo>
                  <a:pt x="22000" y="17218"/>
                </a:lnTo>
                <a:cubicBezTo>
                  <a:pt x="22031" y="17218"/>
                  <a:pt x="22063" y="17249"/>
                  <a:pt x="22125" y="17218"/>
                </a:cubicBezTo>
                <a:cubicBezTo>
                  <a:pt x="22156" y="17218"/>
                  <a:pt x="22219" y="17281"/>
                  <a:pt x="22250" y="17249"/>
                </a:cubicBezTo>
                <a:cubicBezTo>
                  <a:pt x="22281" y="17218"/>
                  <a:pt x="22188" y="17187"/>
                  <a:pt x="22188" y="17124"/>
                </a:cubicBezTo>
                <a:close/>
                <a:moveTo>
                  <a:pt x="22375" y="17468"/>
                </a:moveTo>
                <a:cubicBezTo>
                  <a:pt x="22406" y="17531"/>
                  <a:pt x="22438" y="17562"/>
                  <a:pt x="22500" y="17593"/>
                </a:cubicBezTo>
                <a:cubicBezTo>
                  <a:pt x="22500" y="17624"/>
                  <a:pt x="22531" y="17624"/>
                  <a:pt x="22531" y="17593"/>
                </a:cubicBezTo>
                <a:cubicBezTo>
                  <a:pt x="22563" y="17593"/>
                  <a:pt x="22563" y="17562"/>
                  <a:pt x="22531" y="17531"/>
                </a:cubicBezTo>
                <a:cubicBezTo>
                  <a:pt x="22500" y="17499"/>
                  <a:pt x="22469" y="17468"/>
                  <a:pt x="22406" y="17468"/>
                </a:cubicBezTo>
                <a:cubicBezTo>
                  <a:pt x="22406" y="17437"/>
                  <a:pt x="22438" y="17406"/>
                  <a:pt x="22406" y="17374"/>
                </a:cubicBezTo>
                <a:cubicBezTo>
                  <a:pt x="22313" y="17374"/>
                  <a:pt x="22219" y="17312"/>
                  <a:pt x="22125" y="17374"/>
                </a:cubicBezTo>
                <a:cubicBezTo>
                  <a:pt x="22156" y="17406"/>
                  <a:pt x="22156" y="17437"/>
                  <a:pt x="22250" y="17406"/>
                </a:cubicBezTo>
                <a:cubicBezTo>
                  <a:pt x="22281" y="17374"/>
                  <a:pt x="22344" y="17343"/>
                  <a:pt x="22375" y="17437"/>
                </a:cubicBezTo>
                <a:cubicBezTo>
                  <a:pt x="22344" y="17437"/>
                  <a:pt x="22344" y="17437"/>
                  <a:pt x="22313" y="17437"/>
                </a:cubicBezTo>
                <a:cubicBezTo>
                  <a:pt x="22313" y="17468"/>
                  <a:pt x="22344" y="17468"/>
                  <a:pt x="22375" y="17468"/>
                </a:cubicBezTo>
                <a:close/>
                <a:moveTo>
                  <a:pt x="9906" y="10468"/>
                </a:moveTo>
                <a:cubicBezTo>
                  <a:pt x="9844" y="10468"/>
                  <a:pt x="9813" y="10468"/>
                  <a:pt x="9781" y="10468"/>
                </a:cubicBezTo>
                <a:cubicBezTo>
                  <a:pt x="9813" y="10499"/>
                  <a:pt x="9844" y="10499"/>
                  <a:pt x="9906" y="10468"/>
                </a:cubicBezTo>
                <a:close/>
                <a:moveTo>
                  <a:pt x="22813" y="17312"/>
                </a:moveTo>
                <a:cubicBezTo>
                  <a:pt x="22844" y="17312"/>
                  <a:pt x="22844" y="17312"/>
                  <a:pt x="22875" y="17312"/>
                </a:cubicBezTo>
                <a:cubicBezTo>
                  <a:pt x="22875" y="17343"/>
                  <a:pt x="22906" y="17374"/>
                  <a:pt x="22906" y="17374"/>
                </a:cubicBezTo>
                <a:cubicBezTo>
                  <a:pt x="22844" y="17406"/>
                  <a:pt x="22813" y="17374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close/>
                <a:moveTo>
                  <a:pt x="22844" y="17249"/>
                </a:moveTo>
                <a:cubicBezTo>
                  <a:pt x="22844" y="17249"/>
                  <a:pt x="22844" y="17249"/>
                  <a:pt x="22844" y="17249"/>
                </a:cubicBezTo>
                <a:cubicBezTo>
                  <a:pt x="22844" y="17249"/>
                  <a:pt x="22844" y="17249"/>
                  <a:pt x="22844" y="17249"/>
                </a:cubicBezTo>
                <a:lnTo>
                  <a:pt x="22844" y="17249"/>
                </a:lnTo>
                <a:cubicBezTo>
                  <a:pt x="22844" y="17249"/>
                  <a:pt x="22844" y="17249"/>
                  <a:pt x="22844" y="17249"/>
                </a:cubicBezTo>
                <a:cubicBezTo>
                  <a:pt x="22844" y="17249"/>
                  <a:pt x="22844" y="17249"/>
                  <a:pt x="22844" y="17249"/>
                </a:cubicBezTo>
                <a:close/>
                <a:moveTo>
                  <a:pt x="5375" y="13687"/>
                </a:moveTo>
                <a:cubicBezTo>
                  <a:pt x="5344" y="13687"/>
                  <a:pt x="5313" y="13718"/>
                  <a:pt x="5313" y="13749"/>
                </a:cubicBezTo>
                <a:cubicBezTo>
                  <a:pt x="5344" y="13749"/>
                  <a:pt x="5375" y="13718"/>
                  <a:pt x="5375" y="13687"/>
                </a:cubicBezTo>
                <a:close/>
                <a:moveTo>
                  <a:pt x="8094" y="13749"/>
                </a:moveTo>
                <a:cubicBezTo>
                  <a:pt x="8125" y="13718"/>
                  <a:pt x="8156" y="13656"/>
                  <a:pt x="8125" y="13624"/>
                </a:cubicBezTo>
                <a:cubicBezTo>
                  <a:pt x="8125" y="13624"/>
                  <a:pt x="8156" y="13624"/>
                  <a:pt x="8156" y="13593"/>
                </a:cubicBezTo>
                <a:cubicBezTo>
                  <a:pt x="8188" y="13406"/>
                  <a:pt x="8250" y="13218"/>
                  <a:pt x="8281" y="13031"/>
                </a:cubicBezTo>
                <a:cubicBezTo>
                  <a:pt x="8313" y="12999"/>
                  <a:pt x="8313" y="12968"/>
                  <a:pt x="8281" y="12968"/>
                </a:cubicBezTo>
                <a:lnTo>
                  <a:pt x="8281" y="12968"/>
                </a:lnTo>
                <a:cubicBezTo>
                  <a:pt x="8250" y="12968"/>
                  <a:pt x="8250" y="12999"/>
                  <a:pt x="8250" y="12999"/>
                </a:cubicBezTo>
                <a:cubicBezTo>
                  <a:pt x="8188" y="13218"/>
                  <a:pt x="8156" y="13406"/>
                  <a:pt x="8125" y="13624"/>
                </a:cubicBezTo>
                <a:cubicBezTo>
                  <a:pt x="8094" y="13656"/>
                  <a:pt x="8094" y="13687"/>
                  <a:pt x="8094" y="13749"/>
                </a:cubicBezTo>
                <a:close/>
                <a:moveTo>
                  <a:pt x="6219" y="13281"/>
                </a:moveTo>
                <a:cubicBezTo>
                  <a:pt x="6156" y="13249"/>
                  <a:pt x="6156" y="13281"/>
                  <a:pt x="6125" y="13312"/>
                </a:cubicBezTo>
                <a:cubicBezTo>
                  <a:pt x="6188" y="13312"/>
                  <a:pt x="6188" y="13312"/>
                  <a:pt x="6219" y="13281"/>
                </a:cubicBezTo>
                <a:close/>
                <a:moveTo>
                  <a:pt x="6344" y="13218"/>
                </a:moveTo>
                <a:cubicBezTo>
                  <a:pt x="6281" y="13187"/>
                  <a:pt x="6281" y="13218"/>
                  <a:pt x="6250" y="13249"/>
                </a:cubicBezTo>
                <a:cubicBezTo>
                  <a:pt x="6281" y="13249"/>
                  <a:pt x="6313" y="13249"/>
                  <a:pt x="6344" y="13218"/>
                </a:cubicBezTo>
                <a:close/>
                <a:moveTo>
                  <a:pt x="5250" y="13749"/>
                </a:moveTo>
                <a:cubicBezTo>
                  <a:pt x="5219" y="13749"/>
                  <a:pt x="5188" y="13781"/>
                  <a:pt x="5188" y="13812"/>
                </a:cubicBezTo>
                <a:cubicBezTo>
                  <a:pt x="5219" y="13812"/>
                  <a:pt x="5250" y="13781"/>
                  <a:pt x="5250" y="13749"/>
                </a:cubicBezTo>
                <a:close/>
                <a:moveTo>
                  <a:pt x="11969" y="7843"/>
                </a:moveTo>
                <a:cubicBezTo>
                  <a:pt x="11969" y="7843"/>
                  <a:pt x="11969" y="7843"/>
                  <a:pt x="11969" y="7843"/>
                </a:cubicBezTo>
                <a:cubicBezTo>
                  <a:pt x="11938" y="7843"/>
                  <a:pt x="11938" y="7843"/>
                  <a:pt x="11938" y="7875"/>
                </a:cubicBezTo>
                <a:cubicBezTo>
                  <a:pt x="11906" y="7875"/>
                  <a:pt x="11938" y="7875"/>
                  <a:pt x="11938" y="7875"/>
                </a:cubicBezTo>
                <a:cubicBezTo>
                  <a:pt x="11969" y="7875"/>
                  <a:pt x="11969" y="7875"/>
                  <a:pt x="11969" y="7843"/>
                </a:cubicBezTo>
                <a:close/>
                <a:moveTo>
                  <a:pt x="6781" y="12906"/>
                </a:moveTo>
                <a:cubicBezTo>
                  <a:pt x="6781" y="12906"/>
                  <a:pt x="6781" y="12906"/>
                  <a:pt x="6781" y="12906"/>
                </a:cubicBezTo>
                <a:cubicBezTo>
                  <a:pt x="6781" y="12906"/>
                  <a:pt x="6781" y="12906"/>
                  <a:pt x="6781" y="12906"/>
                </a:cubicBezTo>
                <a:lnTo>
                  <a:pt x="6781" y="12906"/>
                </a:lnTo>
                <a:cubicBezTo>
                  <a:pt x="6781" y="12906"/>
                  <a:pt x="6781" y="12906"/>
                  <a:pt x="6781" y="12906"/>
                </a:cubicBezTo>
                <a:cubicBezTo>
                  <a:pt x="6781" y="12906"/>
                  <a:pt x="6781" y="12906"/>
                  <a:pt x="6781" y="12906"/>
                </a:cubicBezTo>
                <a:close/>
                <a:moveTo>
                  <a:pt x="6094" y="13312"/>
                </a:moveTo>
                <a:cubicBezTo>
                  <a:pt x="6063" y="13312"/>
                  <a:pt x="6031" y="13343"/>
                  <a:pt x="6000" y="13374"/>
                </a:cubicBezTo>
                <a:cubicBezTo>
                  <a:pt x="6063" y="13374"/>
                  <a:pt x="6063" y="13343"/>
                  <a:pt x="6094" y="13312"/>
                </a:cubicBezTo>
                <a:close/>
                <a:moveTo>
                  <a:pt x="23406" y="17406"/>
                </a:moveTo>
                <a:cubicBezTo>
                  <a:pt x="23406" y="17437"/>
                  <a:pt x="23406" y="17437"/>
                  <a:pt x="23438" y="17437"/>
                </a:cubicBezTo>
                <a:cubicBezTo>
                  <a:pt x="23438" y="17437"/>
                  <a:pt x="23469" y="17437"/>
                  <a:pt x="23469" y="17406"/>
                </a:cubicBezTo>
                <a:cubicBezTo>
                  <a:pt x="23438" y="17406"/>
                  <a:pt x="23438" y="17374"/>
                  <a:pt x="23438" y="17374"/>
                </a:cubicBezTo>
                <a:cubicBezTo>
                  <a:pt x="23406" y="17374"/>
                  <a:pt x="23406" y="17406"/>
                  <a:pt x="23406" y="17406"/>
                </a:cubicBezTo>
                <a:close/>
                <a:moveTo>
                  <a:pt x="9313" y="14218"/>
                </a:moveTo>
                <a:cubicBezTo>
                  <a:pt x="9313" y="14218"/>
                  <a:pt x="9313" y="14218"/>
                  <a:pt x="9313" y="14218"/>
                </a:cubicBezTo>
                <a:cubicBezTo>
                  <a:pt x="9281" y="14187"/>
                  <a:pt x="9219" y="14218"/>
                  <a:pt x="9219" y="14156"/>
                </a:cubicBezTo>
                <a:cubicBezTo>
                  <a:pt x="9219" y="14124"/>
                  <a:pt x="9219" y="14124"/>
                  <a:pt x="9219" y="14124"/>
                </a:cubicBezTo>
                <a:cubicBezTo>
                  <a:pt x="9250" y="14093"/>
                  <a:pt x="9250" y="14062"/>
                  <a:pt x="9250" y="14031"/>
                </a:cubicBezTo>
                <a:cubicBezTo>
                  <a:pt x="9250" y="13999"/>
                  <a:pt x="9250" y="13937"/>
                  <a:pt x="9250" y="13874"/>
                </a:cubicBezTo>
                <a:cubicBezTo>
                  <a:pt x="9250" y="13874"/>
                  <a:pt x="9250" y="13874"/>
                  <a:pt x="9250" y="13874"/>
                </a:cubicBezTo>
                <a:cubicBezTo>
                  <a:pt x="9281" y="13843"/>
                  <a:pt x="9281" y="13812"/>
                  <a:pt x="9250" y="13781"/>
                </a:cubicBezTo>
                <a:cubicBezTo>
                  <a:pt x="9250" y="13749"/>
                  <a:pt x="9250" y="13749"/>
                  <a:pt x="9219" y="13749"/>
                </a:cubicBezTo>
                <a:cubicBezTo>
                  <a:pt x="9094" y="13812"/>
                  <a:pt x="8938" y="13812"/>
                  <a:pt x="8813" y="13874"/>
                </a:cubicBezTo>
                <a:cubicBezTo>
                  <a:pt x="8906" y="13968"/>
                  <a:pt x="9031" y="14062"/>
                  <a:pt x="9125" y="14156"/>
                </a:cubicBezTo>
                <a:cubicBezTo>
                  <a:pt x="9125" y="14187"/>
                  <a:pt x="9156" y="14187"/>
                  <a:pt x="9188" y="14187"/>
                </a:cubicBezTo>
                <a:cubicBezTo>
                  <a:pt x="9188" y="14187"/>
                  <a:pt x="9188" y="14187"/>
                  <a:pt x="9188" y="14187"/>
                </a:cubicBezTo>
                <a:cubicBezTo>
                  <a:pt x="9219" y="14249"/>
                  <a:pt x="9250" y="14218"/>
                  <a:pt x="9313" y="14249"/>
                </a:cubicBezTo>
                <a:cubicBezTo>
                  <a:pt x="9344" y="14249"/>
                  <a:pt x="9375" y="14281"/>
                  <a:pt x="9438" y="14218"/>
                </a:cubicBezTo>
                <a:cubicBezTo>
                  <a:pt x="9500" y="14218"/>
                  <a:pt x="9563" y="14187"/>
                  <a:pt x="9625" y="14187"/>
                </a:cubicBezTo>
                <a:cubicBezTo>
                  <a:pt x="9656" y="14156"/>
                  <a:pt x="9688" y="14187"/>
                  <a:pt x="9719" y="14124"/>
                </a:cubicBezTo>
                <a:cubicBezTo>
                  <a:pt x="9719" y="14124"/>
                  <a:pt x="9750" y="14124"/>
                  <a:pt x="9750" y="14124"/>
                </a:cubicBezTo>
                <a:cubicBezTo>
                  <a:pt x="9813" y="14093"/>
                  <a:pt x="9813" y="14093"/>
                  <a:pt x="9750" y="14062"/>
                </a:cubicBezTo>
                <a:cubicBezTo>
                  <a:pt x="9688" y="13999"/>
                  <a:pt x="9594" y="13906"/>
                  <a:pt x="9500" y="13843"/>
                </a:cubicBezTo>
                <a:cubicBezTo>
                  <a:pt x="9469" y="13843"/>
                  <a:pt x="9469" y="13781"/>
                  <a:pt x="9438" y="13812"/>
                </a:cubicBezTo>
                <a:cubicBezTo>
                  <a:pt x="9406" y="13812"/>
                  <a:pt x="9438" y="13874"/>
                  <a:pt x="9406" y="13906"/>
                </a:cubicBezTo>
                <a:cubicBezTo>
                  <a:pt x="9375" y="13937"/>
                  <a:pt x="9406" y="13968"/>
                  <a:pt x="9406" y="13999"/>
                </a:cubicBezTo>
                <a:cubicBezTo>
                  <a:pt x="9406" y="14031"/>
                  <a:pt x="9406" y="14031"/>
                  <a:pt x="9406" y="14031"/>
                </a:cubicBezTo>
                <a:cubicBezTo>
                  <a:pt x="9375" y="14031"/>
                  <a:pt x="9375" y="14031"/>
                  <a:pt x="9406" y="14062"/>
                </a:cubicBezTo>
                <a:cubicBezTo>
                  <a:pt x="9375" y="14093"/>
                  <a:pt x="9375" y="14124"/>
                  <a:pt x="9375" y="14156"/>
                </a:cubicBezTo>
                <a:cubicBezTo>
                  <a:pt x="9344" y="14156"/>
                  <a:pt x="9375" y="14249"/>
                  <a:pt x="9313" y="14218"/>
                </a:cubicBezTo>
                <a:close/>
                <a:moveTo>
                  <a:pt x="12094" y="8125"/>
                </a:moveTo>
                <a:cubicBezTo>
                  <a:pt x="12094" y="8125"/>
                  <a:pt x="12094" y="8125"/>
                  <a:pt x="12094" y="8125"/>
                </a:cubicBezTo>
                <a:cubicBezTo>
                  <a:pt x="12094" y="8125"/>
                  <a:pt x="12094" y="8125"/>
                  <a:pt x="12094" y="8125"/>
                </a:cubicBezTo>
                <a:lnTo>
                  <a:pt x="12094" y="8125"/>
                </a:lnTo>
                <a:cubicBezTo>
                  <a:pt x="12094" y="8125"/>
                  <a:pt x="12094" y="8125"/>
                  <a:pt x="12094" y="8125"/>
                </a:cubicBezTo>
                <a:close/>
                <a:moveTo>
                  <a:pt x="17094" y="9968"/>
                </a:moveTo>
                <a:cubicBezTo>
                  <a:pt x="17125" y="10000"/>
                  <a:pt x="17156" y="10000"/>
                  <a:pt x="17219" y="10031"/>
                </a:cubicBezTo>
                <a:cubicBezTo>
                  <a:pt x="17188" y="10000"/>
                  <a:pt x="17156" y="9875"/>
                  <a:pt x="17094" y="9968"/>
                </a:cubicBezTo>
                <a:close/>
                <a:moveTo>
                  <a:pt x="14938" y="4500"/>
                </a:moveTo>
                <a:cubicBezTo>
                  <a:pt x="14906" y="4531"/>
                  <a:pt x="14938" y="4562"/>
                  <a:pt x="14938" y="4593"/>
                </a:cubicBezTo>
                <a:cubicBezTo>
                  <a:pt x="14969" y="4562"/>
                  <a:pt x="15000" y="4531"/>
                  <a:pt x="14969" y="4500"/>
                </a:cubicBezTo>
                <a:cubicBezTo>
                  <a:pt x="14969" y="4500"/>
                  <a:pt x="14938" y="4500"/>
                  <a:pt x="14938" y="4500"/>
                </a:cubicBezTo>
                <a:close/>
                <a:moveTo>
                  <a:pt x="8531" y="17468"/>
                </a:moveTo>
                <a:cubicBezTo>
                  <a:pt x="8531" y="17468"/>
                  <a:pt x="8531" y="17499"/>
                  <a:pt x="8563" y="17531"/>
                </a:cubicBezTo>
                <a:cubicBezTo>
                  <a:pt x="8563" y="17531"/>
                  <a:pt x="8594" y="17531"/>
                  <a:pt x="8594" y="17499"/>
                </a:cubicBezTo>
                <a:cubicBezTo>
                  <a:pt x="8625" y="17468"/>
                  <a:pt x="8563" y="17468"/>
                  <a:pt x="8563" y="17437"/>
                </a:cubicBezTo>
                <a:cubicBezTo>
                  <a:pt x="8625" y="17406"/>
                  <a:pt x="8688" y="17468"/>
                  <a:pt x="8750" y="17437"/>
                </a:cubicBezTo>
                <a:lnTo>
                  <a:pt x="8750" y="17437"/>
                </a:lnTo>
                <a:cubicBezTo>
                  <a:pt x="8750" y="17437"/>
                  <a:pt x="8781" y="17468"/>
                  <a:pt x="8781" y="17468"/>
                </a:cubicBezTo>
                <a:cubicBezTo>
                  <a:pt x="8844" y="17468"/>
                  <a:pt x="8906" y="17468"/>
                  <a:pt x="8938" y="17406"/>
                </a:cubicBezTo>
                <a:cubicBezTo>
                  <a:pt x="8938" y="17374"/>
                  <a:pt x="8875" y="17312"/>
                  <a:pt x="8844" y="17312"/>
                </a:cubicBezTo>
                <a:cubicBezTo>
                  <a:pt x="8844" y="17312"/>
                  <a:pt x="8844" y="17312"/>
                  <a:pt x="8813" y="17312"/>
                </a:cubicBezTo>
                <a:cubicBezTo>
                  <a:pt x="8750" y="17249"/>
                  <a:pt x="8719" y="17281"/>
                  <a:pt x="8688" y="17343"/>
                </a:cubicBezTo>
                <a:cubicBezTo>
                  <a:pt x="8656" y="17343"/>
                  <a:pt x="8563" y="17343"/>
                  <a:pt x="8563" y="17437"/>
                </a:cubicBezTo>
                <a:cubicBezTo>
                  <a:pt x="8563" y="17437"/>
                  <a:pt x="8531" y="17406"/>
                  <a:pt x="8531" y="17468"/>
                </a:cubicBezTo>
                <a:close/>
                <a:moveTo>
                  <a:pt x="12563" y="8312"/>
                </a:moveTo>
                <a:cubicBezTo>
                  <a:pt x="12563" y="8281"/>
                  <a:pt x="12531" y="8250"/>
                  <a:pt x="12500" y="8250"/>
                </a:cubicBezTo>
                <a:cubicBezTo>
                  <a:pt x="12469" y="8250"/>
                  <a:pt x="12438" y="8250"/>
                  <a:pt x="12438" y="8312"/>
                </a:cubicBezTo>
                <a:cubicBezTo>
                  <a:pt x="12438" y="8343"/>
                  <a:pt x="12469" y="8375"/>
                  <a:pt x="12531" y="8375"/>
                </a:cubicBezTo>
                <a:cubicBezTo>
                  <a:pt x="12406" y="8375"/>
                  <a:pt x="12344" y="8343"/>
                  <a:pt x="12250" y="8312"/>
                </a:cubicBezTo>
                <a:lnTo>
                  <a:pt x="12250" y="8312"/>
                </a:lnTo>
                <a:cubicBezTo>
                  <a:pt x="12313" y="8250"/>
                  <a:pt x="12375" y="8281"/>
                  <a:pt x="12438" y="8312"/>
                </a:cubicBezTo>
                <a:cubicBezTo>
                  <a:pt x="12469" y="8312"/>
                  <a:pt x="12500" y="8343"/>
                  <a:pt x="12531" y="8343"/>
                </a:cubicBezTo>
                <a:cubicBezTo>
                  <a:pt x="12531" y="8343"/>
                  <a:pt x="12594" y="8343"/>
                  <a:pt x="12563" y="8312"/>
                </a:cubicBezTo>
                <a:close/>
                <a:moveTo>
                  <a:pt x="11969" y="8187"/>
                </a:moveTo>
                <a:cubicBezTo>
                  <a:pt x="11969" y="8156"/>
                  <a:pt x="11938" y="8125"/>
                  <a:pt x="11875" y="8093"/>
                </a:cubicBezTo>
                <a:cubicBezTo>
                  <a:pt x="11875" y="8093"/>
                  <a:pt x="11844" y="8125"/>
                  <a:pt x="11844" y="8156"/>
                </a:cubicBezTo>
                <a:cubicBezTo>
                  <a:pt x="11875" y="8187"/>
                  <a:pt x="11906" y="8187"/>
                  <a:pt x="11969" y="8187"/>
                </a:cubicBezTo>
                <a:close/>
                <a:moveTo>
                  <a:pt x="24406" y="17999"/>
                </a:moveTo>
                <a:cubicBezTo>
                  <a:pt x="24375" y="17937"/>
                  <a:pt x="24344" y="17999"/>
                  <a:pt x="24281" y="17999"/>
                </a:cubicBezTo>
                <a:cubicBezTo>
                  <a:pt x="24313" y="18031"/>
                  <a:pt x="24344" y="18062"/>
                  <a:pt x="24406" y="18031"/>
                </a:cubicBezTo>
                <a:cubicBezTo>
                  <a:pt x="24406" y="18031"/>
                  <a:pt x="24406" y="17999"/>
                  <a:pt x="24406" y="17999"/>
                </a:cubicBezTo>
                <a:close/>
                <a:moveTo>
                  <a:pt x="13156" y="4968"/>
                </a:moveTo>
                <a:cubicBezTo>
                  <a:pt x="13156" y="4968"/>
                  <a:pt x="13156" y="4968"/>
                  <a:pt x="13156" y="4968"/>
                </a:cubicBezTo>
                <a:cubicBezTo>
                  <a:pt x="13156" y="4968"/>
                  <a:pt x="13156" y="4968"/>
                  <a:pt x="13156" y="4968"/>
                </a:cubicBezTo>
                <a:close/>
                <a:moveTo>
                  <a:pt x="24063" y="17843"/>
                </a:moveTo>
                <a:cubicBezTo>
                  <a:pt x="24031" y="17781"/>
                  <a:pt x="24000" y="17749"/>
                  <a:pt x="23906" y="17749"/>
                </a:cubicBezTo>
                <a:cubicBezTo>
                  <a:pt x="23906" y="17781"/>
                  <a:pt x="23938" y="17781"/>
                  <a:pt x="23938" y="17812"/>
                </a:cubicBezTo>
                <a:cubicBezTo>
                  <a:pt x="24000" y="17781"/>
                  <a:pt x="24000" y="17843"/>
                  <a:pt x="24063" y="17843"/>
                </a:cubicBezTo>
                <a:close/>
                <a:moveTo>
                  <a:pt x="23938" y="17812"/>
                </a:moveTo>
                <a:cubicBezTo>
                  <a:pt x="23906" y="17812"/>
                  <a:pt x="23875" y="17781"/>
                  <a:pt x="23844" y="17749"/>
                </a:cubicBezTo>
                <a:lnTo>
                  <a:pt x="23844" y="17749"/>
                </a:lnTo>
                <a:cubicBezTo>
                  <a:pt x="23813" y="17718"/>
                  <a:pt x="23813" y="17781"/>
                  <a:pt x="23813" y="17812"/>
                </a:cubicBezTo>
                <a:cubicBezTo>
                  <a:pt x="23813" y="17812"/>
                  <a:pt x="23844" y="17812"/>
                  <a:pt x="23844" y="17812"/>
                </a:cubicBezTo>
                <a:cubicBezTo>
                  <a:pt x="23844" y="17843"/>
                  <a:pt x="23906" y="17874"/>
                  <a:pt x="23875" y="17906"/>
                </a:cubicBezTo>
                <a:cubicBezTo>
                  <a:pt x="23813" y="17906"/>
                  <a:pt x="23750" y="17812"/>
                  <a:pt x="23750" y="17968"/>
                </a:cubicBezTo>
                <a:cubicBezTo>
                  <a:pt x="23656" y="18062"/>
                  <a:pt x="23656" y="18062"/>
                  <a:pt x="23625" y="17968"/>
                </a:cubicBezTo>
                <a:lnTo>
                  <a:pt x="23625" y="17968"/>
                </a:lnTo>
                <a:cubicBezTo>
                  <a:pt x="23656" y="17937"/>
                  <a:pt x="23594" y="17906"/>
                  <a:pt x="23594" y="17906"/>
                </a:cubicBezTo>
                <a:cubicBezTo>
                  <a:pt x="23594" y="17843"/>
                  <a:pt x="23594" y="17843"/>
                  <a:pt x="23625" y="17874"/>
                </a:cubicBezTo>
                <a:cubicBezTo>
                  <a:pt x="23656" y="17906"/>
                  <a:pt x="23656" y="17874"/>
                  <a:pt x="23688" y="17843"/>
                </a:cubicBezTo>
                <a:cubicBezTo>
                  <a:pt x="23688" y="17843"/>
                  <a:pt x="23688" y="17812"/>
                  <a:pt x="23688" y="17812"/>
                </a:cubicBezTo>
                <a:cubicBezTo>
                  <a:pt x="23594" y="17718"/>
                  <a:pt x="23531" y="17718"/>
                  <a:pt x="23500" y="17812"/>
                </a:cubicBezTo>
                <a:cubicBezTo>
                  <a:pt x="23469" y="17843"/>
                  <a:pt x="23438" y="17749"/>
                  <a:pt x="23406" y="17812"/>
                </a:cubicBezTo>
                <a:cubicBezTo>
                  <a:pt x="23375" y="17874"/>
                  <a:pt x="23406" y="17874"/>
                  <a:pt x="23438" y="17906"/>
                </a:cubicBezTo>
                <a:cubicBezTo>
                  <a:pt x="23469" y="17906"/>
                  <a:pt x="23500" y="17937"/>
                  <a:pt x="23531" y="17937"/>
                </a:cubicBezTo>
                <a:cubicBezTo>
                  <a:pt x="23563" y="17937"/>
                  <a:pt x="23531" y="17968"/>
                  <a:pt x="23531" y="17968"/>
                </a:cubicBezTo>
                <a:cubicBezTo>
                  <a:pt x="23531" y="17968"/>
                  <a:pt x="23563" y="17968"/>
                  <a:pt x="23594" y="17999"/>
                </a:cubicBezTo>
                <a:cubicBezTo>
                  <a:pt x="23656" y="18093"/>
                  <a:pt x="23781" y="18093"/>
                  <a:pt x="23906" y="18093"/>
                </a:cubicBezTo>
                <a:cubicBezTo>
                  <a:pt x="23875" y="18062"/>
                  <a:pt x="23844" y="18062"/>
                  <a:pt x="23813" y="18062"/>
                </a:cubicBezTo>
                <a:cubicBezTo>
                  <a:pt x="23750" y="18031"/>
                  <a:pt x="23750" y="18031"/>
                  <a:pt x="23750" y="17968"/>
                </a:cubicBezTo>
                <a:cubicBezTo>
                  <a:pt x="23844" y="17968"/>
                  <a:pt x="23906" y="18062"/>
                  <a:pt x="23969" y="17999"/>
                </a:cubicBezTo>
                <a:cubicBezTo>
                  <a:pt x="23938" y="17968"/>
                  <a:pt x="23875" y="17968"/>
                  <a:pt x="23875" y="17906"/>
                </a:cubicBezTo>
                <a:cubicBezTo>
                  <a:pt x="23906" y="17906"/>
                  <a:pt x="23938" y="17937"/>
                  <a:pt x="23969" y="17937"/>
                </a:cubicBezTo>
                <a:cubicBezTo>
                  <a:pt x="24000" y="17937"/>
                  <a:pt x="24000" y="17999"/>
                  <a:pt x="24031" y="17937"/>
                </a:cubicBezTo>
                <a:cubicBezTo>
                  <a:pt x="24063" y="17937"/>
                  <a:pt x="24031" y="17906"/>
                  <a:pt x="24000" y="17874"/>
                </a:cubicBezTo>
                <a:cubicBezTo>
                  <a:pt x="24000" y="17843"/>
                  <a:pt x="23938" y="17843"/>
                  <a:pt x="23938" y="17812"/>
                </a:cubicBezTo>
                <a:close/>
                <a:moveTo>
                  <a:pt x="22094" y="17499"/>
                </a:moveTo>
                <a:cubicBezTo>
                  <a:pt x="22125" y="17531"/>
                  <a:pt x="22125" y="17499"/>
                  <a:pt x="22125" y="17499"/>
                </a:cubicBezTo>
                <a:cubicBezTo>
                  <a:pt x="22125" y="17437"/>
                  <a:pt x="22094" y="17437"/>
                  <a:pt x="22031" y="17406"/>
                </a:cubicBezTo>
                <a:cubicBezTo>
                  <a:pt x="22031" y="17406"/>
                  <a:pt x="22000" y="17437"/>
                  <a:pt x="22031" y="17437"/>
                </a:cubicBezTo>
                <a:cubicBezTo>
                  <a:pt x="22031" y="17499"/>
                  <a:pt x="22063" y="17499"/>
                  <a:pt x="22094" y="17499"/>
                </a:cubicBezTo>
                <a:close/>
                <a:moveTo>
                  <a:pt x="12063" y="8093"/>
                </a:moveTo>
                <a:cubicBezTo>
                  <a:pt x="12063" y="8093"/>
                  <a:pt x="12063" y="8093"/>
                  <a:pt x="12063" y="8093"/>
                </a:cubicBezTo>
                <a:cubicBezTo>
                  <a:pt x="12063" y="8093"/>
                  <a:pt x="12063" y="8093"/>
                  <a:pt x="12063" y="8093"/>
                </a:cubicBezTo>
                <a:lnTo>
                  <a:pt x="12063" y="8093"/>
                </a:lnTo>
                <a:cubicBezTo>
                  <a:pt x="12063" y="8093"/>
                  <a:pt x="12063" y="8093"/>
                  <a:pt x="12063" y="8093"/>
                </a:cubicBezTo>
                <a:cubicBezTo>
                  <a:pt x="12063" y="8093"/>
                  <a:pt x="12063" y="8093"/>
                  <a:pt x="12063" y="8093"/>
                </a:cubicBezTo>
                <a:close/>
                <a:moveTo>
                  <a:pt x="24500" y="18249"/>
                </a:moveTo>
                <a:cubicBezTo>
                  <a:pt x="24531" y="18249"/>
                  <a:pt x="24531" y="18249"/>
                  <a:pt x="24531" y="18218"/>
                </a:cubicBezTo>
                <a:cubicBezTo>
                  <a:pt x="24531" y="18187"/>
                  <a:pt x="24500" y="18187"/>
                  <a:pt x="24469" y="18156"/>
                </a:cubicBezTo>
                <a:cubicBezTo>
                  <a:pt x="24438" y="18156"/>
                  <a:pt x="24438" y="18187"/>
                  <a:pt x="24438" y="18218"/>
                </a:cubicBezTo>
                <a:cubicBezTo>
                  <a:pt x="24438" y="18249"/>
                  <a:pt x="24469" y="18249"/>
                  <a:pt x="24500" y="18249"/>
                </a:cubicBezTo>
                <a:close/>
                <a:moveTo>
                  <a:pt x="7969" y="17593"/>
                </a:moveTo>
                <a:cubicBezTo>
                  <a:pt x="7906" y="17562"/>
                  <a:pt x="7875" y="17624"/>
                  <a:pt x="7844" y="17656"/>
                </a:cubicBezTo>
                <a:cubicBezTo>
                  <a:pt x="7844" y="17687"/>
                  <a:pt x="7875" y="17687"/>
                  <a:pt x="7875" y="17656"/>
                </a:cubicBezTo>
                <a:cubicBezTo>
                  <a:pt x="7875" y="17687"/>
                  <a:pt x="7906" y="17687"/>
                  <a:pt x="7906" y="17687"/>
                </a:cubicBezTo>
                <a:cubicBezTo>
                  <a:pt x="7906" y="17718"/>
                  <a:pt x="7906" y="17718"/>
                  <a:pt x="7906" y="17749"/>
                </a:cubicBezTo>
                <a:cubicBezTo>
                  <a:pt x="7844" y="17718"/>
                  <a:pt x="7750" y="17687"/>
                  <a:pt x="7719" y="17781"/>
                </a:cubicBezTo>
                <a:cubicBezTo>
                  <a:pt x="7719" y="17812"/>
                  <a:pt x="7688" y="17812"/>
                  <a:pt x="7656" y="17843"/>
                </a:cubicBezTo>
                <a:cubicBezTo>
                  <a:pt x="7594" y="17906"/>
                  <a:pt x="7531" y="17968"/>
                  <a:pt x="7469" y="18031"/>
                </a:cubicBezTo>
                <a:cubicBezTo>
                  <a:pt x="7438" y="18062"/>
                  <a:pt x="7406" y="18062"/>
                  <a:pt x="7438" y="18093"/>
                </a:cubicBezTo>
                <a:cubicBezTo>
                  <a:pt x="7469" y="18156"/>
                  <a:pt x="7500" y="18124"/>
                  <a:pt x="7531" y="18124"/>
                </a:cubicBezTo>
                <a:cubicBezTo>
                  <a:pt x="7563" y="18093"/>
                  <a:pt x="7594" y="18062"/>
                  <a:pt x="7625" y="18093"/>
                </a:cubicBezTo>
                <a:cubicBezTo>
                  <a:pt x="7688" y="18093"/>
                  <a:pt x="7719" y="18062"/>
                  <a:pt x="7719" y="18031"/>
                </a:cubicBezTo>
                <a:cubicBezTo>
                  <a:pt x="7750" y="17968"/>
                  <a:pt x="7750" y="17937"/>
                  <a:pt x="7750" y="17874"/>
                </a:cubicBezTo>
                <a:cubicBezTo>
                  <a:pt x="7750" y="17874"/>
                  <a:pt x="7750" y="17874"/>
                  <a:pt x="7750" y="17874"/>
                </a:cubicBezTo>
                <a:cubicBezTo>
                  <a:pt x="7781" y="17843"/>
                  <a:pt x="7781" y="17812"/>
                  <a:pt x="7813" y="17812"/>
                </a:cubicBezTo>
                <a:cubicBezTo>
                  <a:pt x="7844" y="17812"/>
                  <a:pt x="7906" y="17812"/>
                  <a:pt x="7906" y="17749"/>
                </a:cubicBezTo>
                <a:cubicBezTo>
                  <a:pt x="7969" y="17749"/>
                  <a:pt x="8031" y="17812"/>
                  <a:pt x="8094" y="17812"/>
                </a:cubicBezTo>
                <a:cubicBezTo>
                  <a:pt x="8125" y="17843"/>
                  <a:pt x="8156" y="17843"/>
                  <a:pt x="8156" y="17812"/>
                </a:cubicBezTo>
                <a:cubicBezTo>
                  <a:pt x="8188" y="17781"/>
                  <a:pt x="8156" y="17781"/>
                  <a:pt x="8156" y="17749"/>
                </a:cubicBezTo>
                <a:cubicBezTo>
                  <a:pt x="8125" y="17749"/>
                  <a:pt x="8125" y="17749"/>
                  <a:pt x="8125" y="17718"/>
                </a:cubicBezTo>
                <a:cubicBezTo>
                  <a:pt x="8156" y="17687"/>
                  <a:pt x="8125" y="17656"/>
                  <a:pt x="8125" y="17624"/>
                </a:cubicBezTo>
                <a:cubicBezTo>
                  <a:pt x="8125" y="17624"/>
                  <a:pt x="8125" y="17593"/>
                  <a:pt x="8125" y="17593"/>
                </a:cubicBezTo>
                <a:cubicBezTo>
                  <a:pt x="8156" y="17593"/>
                  <a:pt x="8156" y="17562"/>
                  <a:pt x="8156" y="17531"/>
                </a:cubicBezTo>
                <a:cubicBezTo>
                  <a:pt x="8188" y="17531"/>
                  <a:pt x="8188" y="17531"/>
                  <a:pt x="8156" y="17468"/>
                </a:cubicBezTo>
                <a:cubicBezTo>
                  <a:pt x="8156" y="17437"/>
                  <a:pt x="8125" y="17374"/>
                  <a:pt x="8063" y="17437"/>
                </a:cubicBezTo>
                <a:cubicBezTo>
                  <a:pt x="8031" y="17437"/>
                  <a:pt x="8031" y="17468"/>
                  <a:pt x="8031" y="17499"/>
                </a:cubicBezTo>
                <a:cubicBezTo>
                  <a:pt x="8000" y="17499"/>
                  <a:pt x="7969" y="17531"/>
                  <a:pt x="7969" y="17562"/>
                </a:cubicBezTo>
                <a:cubicBezTo>
                  <a:pt x="7969" y="17562"/>
                  <a:pt x="7969" y="17562"/>
                  <a:pt x="7969" y="17562"/>
                </a:cubicBezTo>
                <a:lnTo>
                  <a:pt x="7969" y="17593"/>
                </a:lnTo>
                <a:close/>
                <a:moveTo>
                  <a:pt x="14969" y="4031"/>
                </a:moveTo>
                <a:cubicBezTo>
                  <a:pt x="14969" y="4062"/>
                  <a:pt x="14938" y="4093"/>
                  <a:pt x="14938" y="4125"/>
                </a:cubicBezTo>
                <a:cubicBezTo>
                  <a:pt x="15000" y="4125"/>
                  <a:pt x="14969" y="4062"/>
                  <a:pt x="15031" y="4062"/>
                </a:cubicBezTo>
                <a:cubicBezTo>
                  <a:pt x="15031" y="4062"/>
                  <a:pt x="15063" y="4125"/>
                  <a:pt x="15063" y="4062"/>
                </a:cubicBezTo>
                <a:cubicBezTo>
                  <a:pt x="15063" y="4000"/>
                  <a:pt x="15031" y="4000"/>
                  <a:pt x="15031" y="4000"/>
                </a:cubicBezTo>
                <a:cubicBezTo>
                  <a:pt x="14969" y="3968"/>
                  <a:pt x="15000" y="4000"/>
                  <a:pt x="14969" y="4031"/>
                </a:cubicBezTo>
                <a:close/>
                <a:moveTo>
                  <a:pt x="5625" y="13562"/>
                </a:moveTo>
                <a:cubicBezTo>
                  <a:pt x="5531" y="13593"/>
                  <a:pt x="5469" y="13624"/>
                  <a:pt x="5406" y="13687"/>
                </a:cubicBezTo>
                <a:cubicBezTo>
                  <a:pt x="5500" y="13656"/>
                  <a:pt x="5563" y="13624"/>
                  <a:pt x="5625" y="13593"/>
                </a:cubicBezTo>
                <a:cubicBezTo>
                  <a:pt x="5625" y="13562"/>
                  <a:pt x="5625" y="13562"/>
                  <a:pt x="5625" y="13562"/>
                </a:cubicBezTo>
                <a:close/>
                <a:moveTo>
                  <a:pt x="17094" y="9781"/>
                </a:moveTo>
                <a:cubicBezTo>
                  <a:pt x="17094" y="9781"/>
                  <a:pt x="17063" y="9750"/>
                  <a:pt x="17063" y="9781"/>
                </a:cubicBezTo>
                <a:cubicBezTo>
                  <a:pt x="17031" y="9812"/>
                  <a:pt x="17063" y="9843"/>
                  <a:pt x="17063" y="9843"/>
                </a:cubicBezTo>
                <a:cubicBezTo>
                  <a:pt x="17125" y="9906"/>
                  <a:pt x="17188" y="9843"/>
                  <a:pt x="17219" y="9812"/>
                </a:cubicBezTo>
                <a:cubicBezTo>
                  <a:pt x="17188" y="9812"/>
                  <a:pt x="17156" y="9781"/>
                  <a:pt x="17094" y="9781"/>
                </a:cubicBezTo>
                <a:close/>
                <a:moveTo>
                  <a:pt x="12219" y="8281"/>
                </a:moveTo>
                <a:cubicBezTo>
                  <a:pt x="12219" y="8281"/>
                  <a:pt x="12188" y="8250"/>
                  <a:pt x="12188" y="8218"/>
                </a:cubicBezTo>
                <a:cubicBezTo>
                  <a:pt x="12125" y="8125"/>
                  <a:pt x="12063" y="8218"/>
                  <a:pt x="11969" y="8218"/>
                </a:cubicBezTo>
                <a:cubicBezTo>
                  <a:pt x="12063" y="8250"/>
                  <a:pt x="12094" y="8250"/>
                  <a:pt x="12156" y="8281"/>
                </a:cubicBezTo>
                <a:cubicBezTo>
                  <a:pt x="12156" y="8281"/>
                  <a:pt x="12188" y="8312"/>
                  <a:pt x="12219" y="8281"/>
                </a:cubicBezTo>
                <a:close/>
                <a:moveTo>
                  <a:pt x="16469" y="9687"/>
                </a:moveTo>
                <a:cubicBezTo>
                  <a:pt x="16469" y="9687"/>
                  <a:pt x="16469" y="9687"/>
                  <a:pt x="16469" y="9687"/>
                </a:cubicBezTo>
                <a:cubicBezTo>
                  <a:pt x="16469" y="9687"/>
                  <a:pt x="16469" y="9687"/>
                  <a:pt x="16469" y="9687"/>
                </a:cubicBezTo>
                <a:close/>
                <a:moveTo>
                  <a:pt x="13188" y="8562"/>
                </a:moveTo>
                <a:cubicBezTo>
                  <a:pt x="13188" y="8562"/>
                  <a:pt x="13188" y="8562"/>
                  <a:pt x="13188" y="8562"/>
                </a:cubicBezTo>
                <a:cubicBezTo>
                  <a:pt x="13188" y="8562"/>
                  <a:pt x="13188" y="8562"/>
                  <a:pt x="13188" y="8562"/>
                </a:cubicBezTo>
                <a:lnTo>
                  <a:pt x="13188" y="8562"/>
                </a:lnTo>
                <a:cubicBezTo>
                  <a:pt x="13188" y="8562"/>
                  <a:pt x="13188" y="8562"/>
                  <a:pt x="13188" y="8562"/>
                </a:cubicBezTo>
                <a:close/>
                <a:moveTo>
                  <a:pt x="22563" y="17781"/>
                </a:moveTo>
                <a:cubicBezTo>
                  <a:pt x="22531" y="17812"/>
                  <a:pt x="22563" y="17812"/>
                  <a:pt x="22594" y="17812"/>
                </a:cubicBezTo>
                <a:cubicBezTo>
                  <a:pt x="22656" y="17812"/>
                  <a:pt x="22719" y="17874"/>
                  <a:pt x="22781" y="17843"/>
                </a:cubicBezTo>
                <a:cubicBezTo>
                  <a:pt x="22906" y="17906"/>
                  <a:pt x="23031" y="17906"/>
                  <a:pt x="23188" y="17937"/>
                </a:cubicBezTo>
                <a:cubicBezTo>
                  <a:pt x="23094" y="17874"/>
                  <a:pt x="23031" y="17812"/>
                  <a:pt x="23000" y="17843"/>
                </a:cubicBezTo>
                <a:lnTo>
                  <a:pt x="23000" y="17843"/>
                </a:lnTo>
                <a:cubicBezTo>
                  <a:pt x="22938" y="17874"/>
                  <a:pt x="22875" y="17843"/>
                  <a:pt x="22781" y="17843"/>
                </a:cubicBezTo>
                <a:cubicBezTo>
                  <a:pt x="22750" y="17812"/>
                  <a:pt x="22688" y="17781"/>
                  <a:pt x="22625" y="17749"/>
                </a:cubicBezTo>
                <a:cubicBezTo>
                  <a:pt x="22594" y="17718"/>
                  <a:pt x="22594" y="17749"/>
                  <a:pt x="22563" y="17781"/>
                </a:cubicBezTo>
                <a:close/>
                <a:moveTo>
                  <a:pt x="30031" y="22656"/>
                </a:moveTo>
                <a:cubicBezTo>
                  <a:pt x="30000" y="22656"/>
                  <a:pt x="30000" y="22624"/>
                  <a:pt x="29969" y="22656"/>
                </a:cubicBezTo>
                <a:cubicBezTo>
                  <a:pt x="29969" y="22656"/>
                  <a:pt x="29969" y="22687"/>
                  <a:pt x="29969" y="22687"/>
                </a:cubicBezTo>
                <a:cubicBezTo>
                  <a:pt x="30031" y="22718"/>
                  <a:pt x="30063" y="22781"/>
                  <a:pt x="30125" y="22687"/>
                </a:cubicBezTo>
                <a:cubicBezTo>
                  <a:pt x="30125" y="22687"/>
                  <a:pt x="30125" y="22687"/>
                  <a:pt x="30125" y="22687"/>
                </a:cubicBezTo>
                <a:cubicBezTo>
                  <a:pt x="30094" y="22624"/>
                  <a:pt x="30094" y="22624"/>
                  <a:pt x="30063" y="22687"/>
                </a:cubicBezTo>
                <a:cubicBezTo>
                  <a:pt x="30031" y="22687"/>
                  <a:pt x="30031" y="22656"/>
                  <a:pt x="30031" y="22656"/>
                </a:cubicBezTo>
                <a:close/>
                <a:moveTo>
                  <a:pt x="12438" y="8312"/>
                </a:move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lnTo>
                  <a:pt x="12438" y="8312"/>
                </a:ln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close/>
                <a:moveTo>
                  <a:pt x="23344" y="17937"/>
                </a:moveTo>
                <a:cubicBezTo>
                  <a:pt x="23344" y="17968"/>
                  <a:pt x="23344" y="17968"/>
                  <a:pt x="23375" y="17999"/>
                </a:cubicBezTo>
                <a:cubicBezTo>
                  <a:pt x="23438" y="17999"/>
                  <a:pt x="23469" y="18031"/>
                  <a:pt x="23531" y="18031"/>
                </a:cubicBezTo>
                <a:cubicBezTo>
                  <a:pt x="23531" y="17999"/>
                  <a:pt x="23500" y="17999"/>
                  <a:pt x="23531" y="17968"/>
                </a:cubicBezTo>
                <a:cubicBezTo>
                  <a:pt x="23469" y="17999"/>
                  <a:pt x="23438" y="17937"/>
                  <a:pt x="23406" y="17906"/>
                </a:cubicBezTo>
                <a:cubicBezTo>
                  <a:pt x="23375" y="17906"/>
                  <a:pt x="23344" y="17906"/>
                  <a:pt x="23344" y="17937"/>
                </a:cubicBezTo>
                <a:close/>
                <a:moveTo>
                  <a:pt x="30063" y="23906"/>
                </a:moveTo>
                <a:cubicBezTo>
                  <a:pt x="30063" y="23937"/>
                  <a:pt x="30125" y="23937"/>
                  <a:pt x="30125" y="23937"/>
                </a:cubicBezTo>
                <a:cubicBezTo>
                  <a:pt x="30188" y="23937"/>
                  <a:pt x="30219" y="23937"/>
                  <a:pt x="30219" y="23906"/>
                </a:cubicBezTo>
                <a:cubicBezTo>
                  <a:pt x="30219" y="23874"/>
                  <a:pt x="30219" y="23874"/>
                  <a:pt x="30188" y="23874"/>
                </a:cubicBezTo>
                <a:cubicBezTo>
                  <a:pt x="30156" y="23874"/>
                  <a:pt x="30094" y="23843"/>
                  <a:pt x="30063" y="23906"/>
                </a:cubicBezTo>
                <a:close/>
                <a:moveTo>
                  <a:pt x="14875" y="2843"/>
                </a:moveTo>
                <a:cubicBezTo>
                  <a:pt x="14875" y="2843"/>
                  <a:pt x="14875" y="2843"/>
                  <a:pt x="14875" y="2843"/>
                </a:cubicBezTo>
                <a:cubicBezTo>
                  <a:pt x="14875" y="2843"/>
                  <a:pt x="14875" y="2843"/>
                  <a:pt x="14875" y="2843"/>
                </a:cubicBezTo>
                <a:close/>
                <a:moveTo>
                  <a:pt x="24156" y="18093"/>
                </a:moveTo>
                <a:cubicBezTo>
                  <a:pt x="24094" y="18062"/>
                  <a:pt x="24094" y="18093"/>
                  <a:pt x="24063" y="18156"/>
                </a:cubicBezTo>
                <a:cubicBezTo>
                  <a:pt x="24094" y="18156"/>
                  <a:pt x="24156" y="18156"/>
                  <a:pt x="24188" y="18187"/>
                </a:cubicBezTo>
                <a:cubicBezTo>
                  <a:pt x="24219" y="18187"/>
                  <a:pt x="24250" y="18187"/>
                  <a:pt x="24281" y="18124"/>
                </a:cubicBezTo>
                <a:cubicBezTo>
                  <a:pt x="24313" y="18156"/>
                  <a:pt x="24344" y="18187"/>
                  <a:pt x="24375" y="18156"/>
                </a:cubicBezTo>
                <a:cubicBezTo>
                  <a:pt x="24375" y="18124"/>
                  <a:pt x="24375" y="18093"/>
                  <a:pt x="24344" y="18093"/>
                </a:cubicBezTo>
                <a:cubicBezTo>
                  <a:pt x="24281" y="18031"/>
                  <a:pt x="24219" y="17999"/>
                  <a:pt x="24188" y="17968"/>
                </a:cubicBezTo>
                <a:cubicBezTo>
                  <a:pt x="24156" y="17968"/>
                  <a:pt x="24156" y="17968"/>
                  <a:pt x="24125" y="17968"/>
                </a:cubicBezTo>
                <a:cubicBezTo>
                  <a:pt x="24125" y="17968"/>
                  <a:pt x="24125" y="17999"/>
                  <a:pt x="24125" y="18031"/>
                </a:cubicBezTo>
                <a:cubicBezTo>
                  <a:pt x="24125" y="18031"/>
                  <a:pt x="24156" y="18062"/>
                  <a:pt x="24188" y="18062"/>
                </a:cubicBezTo>
                <a:cubicBezTo>
                  <a:pt x="24188" y="18062"/>
                  <a:pt x="24188" y="18093"/>
                  <a:pt x="24156" y="18093"/>
                </a:cubicBezTo>
                <a:close/>
                <a:moveTo>
                  <a:pt x="13875" y="531"/>
                </a:moveTo>
                <a:cubicBezTo>
                  <a:pt x="13906" y="562"/>
                  <a:pt x="13906" y="625"/>
                  <a:pt x="13938" y="625"/>
                </a:cubicBezTo>
                <a:cubicBezTo>
                  <a:pt x="13969" y="593"/>
                  <a:pt x="13969" y="562"/>
                  <a:pt x="13969" y="531"/>
                </a:cubicBezTo>
                <a:cubicBezTo>
                  <a:pt x="13969" y="500"/>
                  <a:pt x="13969" y="500"/>
                  <a:pt x="13969" y="500"/>
                </a:cubicBezTo>
                <a:cubicBezTo>
                  <a:pt x="14000" y="437"/>
                  <a:pt x="14000" y="375"/>
                  <a:pt x="14031" y="312"/>
                </a:cubicBezTo>
                <a:cubicBezTo>
                  <a:pt x="14031" y="281"/>
                  <a:pt x="14063" y="250"/>
                  <a:pt x="14031" y="250"/>
                </a:cubicBezTo>
                <a:cubicBezTo>
                  <a:pt x="14031" y="218"/>
                  <a:pt x="14000" y="250"/>
                  <a:pt x="13969" y="250"/>
                </a:cubicBezTo>
                <a:cubicBezTo>
                  <a:pt x="13938" y="250"/>
                  <a:pt x="13875" y="281"/>
                  <a:pt x="13813" y="312"/>
                </a:cubicBezTo>
                <a:cubicBezTo>
                  <a:pt x="13781" y="312"/>
                  <a:pt x="13750" y="343"/>
                  <a:pt x="13719" y="281"/>
                </a:cubicBezTo>
                <a:cubicBezTo>
                  <a:pt x="13719" y="343"/>
                  <a:pt x="13750" y="343"/>
                  <a:pt x="13781" y="375"/>
                </a:cubicBezTo>
                <a:cubicBezTo>
                  <a:pt x="13781" y="437"/>
                  <a:pt x="13844" y="500"/>
                  <a:pt x="13875" y="531"/>
                </a:cubicBezTo>
                <a:close/>
                <a:moveTo>
                  <a:pt x="24656" y="19968"/>
                </a:moveTo>
                <a:cubicBezTo>
                  <a:pt x="24656" y="19968"/>
                  <a:pt x="24656" y="19968"/>
                  <a:pt x="24656" y="19968"/>
                </a:cubicBezTo>
                <a:cubicBezTo>
                  <a:pt x="24656" y="19968"/>
                  <a:pt x="24656" y="19968"/>
                  <a:pt x="24656" y="19968"/>
                </a:cubicBezTo>
                <a:close/>
                <a:moveTo>
                  <a:pt x="21469" y="17999"/>
                </a:moveTo>
                <a:cubicBezTo>
                  <a:pt x="21469" y="17937"/>
                  <a:pt x="21438" y="17937"/>
                  <a:pt x="21406" y="17968"/>
                </a:cubicBezTo>
                <a:cubicBezTo>
                  <a:pt x="21375" y="17999"/>
                  <a:pt x="21313" y="17999"/>
                  <a:pt x="21344" y="18031"/>
                </a:cubicBezTo>
                <a:cubicBezTo>
                  <a:pt x="21344" y="18093"/>
                  <a:pt x="21406" y="18062"/>
                  <a:pt x="21438" y="18062"/>
                </a:cubicBezTo>
                <a:cubicBezTo>
                  <a:pt x="21438" y="18031"/>
                  <a:pt x="21469" y="18062"/>
                  <a:pt x="21469" y="18062"/>
                </a:cubicBezTo>
                <a:cubicBezTo>
                  <a:pt x="21500" y="18062"/>
                  <a:pt x="21531" y="18031"/>
                  <a:pt x="21531" y="18031"/>
                </a:cubicBezTo>
                <a:cubicBezTo>
                  <a:pt x="21531" y="17999"/>
                  <a:pt x="21531" y="17968"/>
                  <a:pt x="21531" y="17968"/>
                </a:cubicBezTo>
                <a:cubicBezTo>
                  <a:pt x="21469" y="17937"/>
                  <a:pt x="21500" y="17968"/>
                  <a:pt x="21500" y="17999"/>
                </a:cubicBezTo>
                <a:cubicBezTo>
                  <a:pt x="21500" y="17999"/>
                  <a:pt x="21469" y="17999"/>
                  <a:pt x="21469" y="17999"/>
                </a:cubicBezTo>
                <a:close/>
                <a:moveTo>
                  <a:pt x="5656" y="13562"/>
                </a:moveTo>
                <a:cubicBezTo>
                  <a:pt x="5781" y="13531"/>
                  <a:pt x="5875" y="13468"/>
                  <a:pt x="5969" y="13406"/>
                </a:cubicBezTo>
                <a:cubicBezTo>
                  <a:pt x="5844" y="13437"/>
                  <a:pt x="5750" y="13468"/>
                  <a:pt x="5656" y="13562"/>
                </a:cubicBezTo>
                <a:close/>
                <a:moveTo>
                  <a:pt x="10063" y="16187"/>
                </a:moveTo>
                <a:cubicBezTo>
                  <a:pt x="10031" y="16187"/>
                  <a:pt x="10000" y="16187"/>
                  <a:pt x="9969" y="16218"/>
                </a:cubicBezTo>
                <a:cubicBezTo>
                  <a:pt x="9938" y="16218"/>
                  <a:pt x="9938" y="16218"/>
                  <a:pt x="9938" y="16249"/>
                </a:cubicBezTo>
                <a:cubicBezTo>
                  <a:pt x="9969" y="16281"/>
                  <a:pt x="10000" y="16312"/>
                  <a:pt x="10031" y="16343"/>
                </a:cubicBezTo>
                <a:cubicBezTo>
                  <a:pt x="10094" y="16343"/>
                  <a:pt x="10063" y="16281"/>
                  <a:pt x="10094" y="16249"/>
                </a:cubicBezTo>
                <a:cubicBezTo>
                  <a:pt x="10094" y="16281"/>
                  <a:pt x="10094" y="16281"/>
                  <a:pt x="10094" y="16281"/>
                </a:cubicBezTo>
                <a:cubicBezTo>
                  <a:pt x="10094" y="16281"/>
                  <a:pt x="10094" y="16281"/>
                  <a:pt x="10094" y="16249"/>
                </a:cubicBezTo>
                <a:cubicBezTo>
                  <a:pt x="10094" y="16218"/>
                  <a:pt x="10094" y="16187"/>
                  <a:pt x="10063" y="16187"/>
                </a:cubicBezTo>
                <a:close/>
                <a:moveTo>
                  <a:pt x="6969" y="13906"/>
                </a:moveTo>
                <a:cubicBezTo>
                  <a:pt x="7000" y="13937"/>
                  <a:pt x="7063" y="13937"/>
                  <a:pt x="7094" y="13906"/>
                </a:cubicBezTo>
                <a:cubicBezTo>
                  <a:pt x="7094" y="13906"/>
                  <a:pt x="7125" y="13874"/>
                  <a:pt x="7125" y="13874"/>
                </a:cubicBezTo>
                <a:cubicBezTo>
                  <a:pt x="7125" y="13843"/>
                  <a:pt x="7094" y="13843"/>
                  <a:pt x="7094" y="13843"/>
                </a:cubicBezTo>
                <a:cubicBezTo>
                  <a:pt x="7031" y="13843"/>
                  <a:pt x="6938" y="13812"/>
                  <a:pt x="6875" y="13812"/>
                </a:cubicBezTo>
                <a:cubicBezTo>
                  <a:pt x="6875" y="13812"/>
                  <a:pt x="6875" y="13812"/>
                  <a:pt x="6875" y="13812"/>
                </a:cubicBezTo>
                <a:cubicBezTo>
                  <a:pt x="6875" y="13781"/>
                  <a:pt x="6844" y="13781"/>
                  <a:pt x="6813" y="13812"/>
                </a:cubicBezTo>
                <a:cubicBezTo>
                  <a:pt x="6813" y="13812"/>
                  <a:pt x="6844" y="13812"/>
                  <a:pt x="6875" y="13812"/>
                </a:cubicBezTo>
                <a:cubicBezTo>
                  <a:pt x="6906" y="13843"/>
                  <a:pt x="6938" y="13874"/>
                  <a:pt x="6969" y="13906"/>
                </a:cubicBezTo>
                <a:close/>
                <a:moveTo>
                  <a:pt x="8281" y="17656"/>
                </a:moveTo>
                <a:cubicBezTo>
                  <a:pt x="8281" y="17656"/>
                  <a:pt x="8250" y="17656"/>
                  <a:pt x="8281" y="17687"/>
                </a:cubicBezTo>
                <a:cubicBezTo>
                  <a:pt x="8281" y="17718"/>
                  <a:pt x="8281" y="17749"/>
                  <a:pt x="8313" y="17749"/>
                </a:cubicBezTo>
                <a:cubicBezTo>
                  <a:pt x="8375" y="17718"/>
                  <a:pt x="8438" y="17687"/>
                  <a:pt x="8469" y="17624"/>
                </a:cubicBezTo>
                <a:cubicBezTo>
                  <a:pt x="8469" y="17624"/>
                  <a:pt x="8469" y="17624"/>
                  <a:pt x="8469" y="17624"/>
                </a:cubicBezTo>
                <a:cubicBezTo>
                  <a:pt x="8469" y="17624"/>
                  <a:pt x="8469" y="17624"/>
                  <a:pt x="8469" y="17593"/>
                </a:cubicBezTo>
                <a:cubicBezTo>
                  <a:pt x="8469" y="17593"/>
                  <a:pt x="8469" y="17593"/>
                  <a:pt x="8469" y="17593"/>
                </a:cubicBezTo>
                <a:cubicBezTo>
                  <a:pt x="8438" y="17562"/>
                  <a:pt x="8438" y="17562"/>
                  <a:pt x="8406" y="17562"/>
                </a:cubicBezTo>
                <a:cubicBezTo>
                  <a:pt x="8375" y="17562"/>
                  <a:pt x="8406" y="17437"/>
                  <a:pt x="8344" y="17468"/>
                </a:cubicBezTo>
                <a:cubicBezTo>
                  <a:pt x="8313" y="17531"/>
                  <a:pt x="8375" y="17562"/>
                  <a:pt x="8406" y="17593"/>
                </a:cubicBezTo>
                <a:cubicBezTo>
                  <a:pt x="8406" y="17593"/>
                  <a:pt x="8406" y="17624"/>
                  <a:pt x="8406" y="17624"/>
                </a:cubicBezTo>
                <a:cubicBezTo>
                  <a:pt x="8406" y="17624"/>
                  <a:pt x="8375" y="17656"/>
                  <a:pt x="8375" y="17624"/>
                </a:cubicBezTo>
                <a:cubicBezTo>
                  <a:pt x="8313" y="17562"/>
                  <a:pt x="8313" y="17593"/>
                  <a:pt x="8281" y="17656"/>
                </a:cubicBezTo>
                <a:cubicBezTo>
                  <a:pt x="8313" y="17656"/>
                  <a:pt x="8313" y="17656"/>
                  <a:pt x="8313" y="17656"/>
                </a:cubicBezTo>
                <a:cubicBezTo>
                  <a:pt x="8313" y="17656"/>
                  <a:pt x="8313" y="17656"/>
                  <a:pt x="8313" y="17656"/>
                </a:cubicBezTo>
                <a:cubicBezTo>
                  <a:pt x="8313" y="17656"/>
                  <a:pt x="8313" y="17656"/>
                  <a:pt x="8281" y="17656"/>
                </a:cubicBezTo>
                <a:close/>
                <a:moveTo>
                  <a:pt x="12313" y="14843"/>
                </a:moveTo>
                <a:cubicBezTo>
                  <a:pt x="12438" y="14874"/>
                  <a:pt x="12500" y="14999"/>
                  <a:pt x="12625" y="15062"/>
                </a:cubicBezTo>
                <a:cubicBezTo>
                  <a:pt x="12625" y="14968"/>
                  <a:pt x="12594" y="14906"/>
                  <a:pt x="12594" y="14812"/>
                </a:cubicBezTo>
                <a:cubicBezTo>
                  <a:pt x="12531" y="14562"/>
                  <a:pt x="12594" y="14593"/>
                  <a:pt x="12313" y="14687"/>
                </a:cubicBezTo>
                <a:cubicBezTo>
                  <a:pt x="12281" y="14718"/>
                  <a:pt x="12219" y="14687"/>
                  <a:pt x="12219" y="14749"/>
                </a:cubicBezTo>
                <a:cubicBezTo>
                  <a:pt x="12188" y="14781"/>
                  <a:pt x="12281" y="14812"/>
                  <a:pt x="12313" y="14843"/>
                </a:cubicBezTo>
                <a:cubicBezTo>
                  <a:pt x="12313" y="14843"/>
                  <a:pt x="12313" y="14843"/>
                  <a:pt x="12313" y="14843"/>
                </a:cubicBezTo>
                <a:close/>
                <a:moveTo>
                  <a:pt x="7344" y="18156"/>
                </a:moveTo>
                <a:cubicBezTo>
                  <a:pt x="7281" y="18187"/>
                  <a:pt x="7250" y="18249"/>
                  <a:pt x="7188" y="18281"/>
                </a:cubicBezTo>
                <a:cubicBezTo>
                  <a:pt x="7188" y="18312"/>
                  <a:pt x="7188" y="18343"/>
                  <a:pt x="7219" y="18343"/>
                </a:cubicBezTo>
                <a:cubicBezTo>
                  <a:pt x="7250" y="18343"/>
                  <a:pt x="7375" y="18249"/>
                  <a:pt x="7375" y="18218"/>
                </a:cubicBezTo>
                <a:cubicBezTo>
                  <a:pt x="7375" y="18187"/>
                  <a:pt x="7375" y="18156"/>
                  <a:pt x="7344" y="18156"/>
                </a:cubicBezTo>
                <a:close/>
                <a:moveTo>
                  <a:pt x="7125" y="13031"/>
                </a:moveTo>
                <a:cubicBezTo>
                  <a:pt x="7156" y="13031"/>
                  <a:pt x="7188" y="13062"/>
                  <a:pt x="7188" y="13062"/>
                </a:cubicBezTo>
                <a:cubicBezTo>
                  <a:pt x="7250" y="12999"/>
                  <a:pt x="7313" y="13031"/>
                  <a:pt x="7375" y="12999"/>
                </a:cubicBezTo>
                <a:cubicBezTo>
                  <a:pt x="7438" y="12999"/>
                  <a:pt x="7500" y="13031"/>
                  <a:pt x="7563" y="12968"/>
                </a:cubicBezTo>
                <a:cubicBezTo>
                  <a:pt x="7313" y="12749"/>
                  <a:pt x="7344" y="12781"/>
                  <a:pt x="7188" y="12906"/>
                </a:cubicBezTo>
                <a:cubicBezTo>
                  <a:pt x="7094" y="12874"/>
                  <a:pt x="7063" y="12937"/>
                  <a:pt x="7063" y="12999"/>
                </a:cubicBezTo>
                <a:cubicBezTo>
                  <a:pt x="7063" y="13031"/>
                  <a:pt x="7031" y="13062"/>
                  <a:pt x="7063" y="13062"/>
                </a:cubicBezTo>
                <a:cubicBezTo>
                  <a:pt x="7094" y="13093"/>
                  <a:pt x="7125" y="13062"/>
                  <a:pt x="7125" y="13031"/>
                </a:cubicBezTo>
                <a:close/>
                <a:moveTo>
                  <a:pt x="8250" y="13999"/>
                </a:moveTo>
                <a:cubicBezTo>
                  <a:pt x="8281" y="13999"/>
                  <a:pt x="8313" y="13999"/>
                  <a:pt x="8344" y="14031"/>
                </a:cubicBezTo>
                <a:cubicBezTo>
                  <a:pt x="8344" y="14062"/>
                  <a:pt x="8375" y="14031"/>
                  <a:pt x="8406" y="14031"/>
                </a:cubicBezTo>
                <a:cubicBezTo>
                  <a:pt x="8625" y="14093"/>
                  <a:pt x="8875" y="14124"/>
                  <a:pt x="9094" y="14187"/>
                </a:cubicBezTo>
                <a:cubicBezTo>
                  <a:pt x="9063" y="14156"/>
                  <a:pt x="9031" y="14156"/>
                  <a:pt x="9000" y="14124"/>
                </a:cubicBezTo>
                <a:cubicBezTo>
                  <a:pt x="8906" y="14062"/>
                  <a:pt x="8844" y="13999"/>
                  <a:pt x="8750" y="13906"/>
                </a:cubicBezTo>
                <a:cubicBezTo>
                  <a:pt x="8719" y="13906"/>
                  <a:pt x="8719" y="13874"/>
                  <a:pt x="8688" y="13906"/>
                </a:cubicBezTo>
                <a:cubicBezTo>
                  <a:pt x="8531" y="13937"/>
                  <a:pt x="8406" y="13999"/>
                  <a:pt x="8250" y="13999"/>
                </a:cubicBezTo>
                <a:cubicBezTo>
                  <a:pt x="8250" y="13937"/>
                  <a:pt x="8188" y="13968"/>
                  <a:pt x="8156" y="13937"/>
                </a:cubicBezTo>
                <a:cubicBezTo>
                  <a:pt x="8188" y="13937"/>
                  <a:pt x="8219" y="13937"/>
                  <a:pt x="8281" y="13937"/>
                </a:cubicBezTo>
                <a:cubicBezTo>
                  <a:pt x="8406" y="13906"/>
                  <a:pt x="8531" y="13843"/>
                  <a:pt x="8656" y="13843"/>
                </a:cubicBezTo>
                <a:lnTo>
                  <a:pt x="8656" y="13843"/>
                </a:lnTo>
                <a:cubicBezTo>
                  <a:pt x="8656" y="13812"/>
                  <a:pt x="8594" y="13812"/>
                  <a:pt x="8563" y="13781"/>
                </a:cubicBezTo>
                <a:cubicBezTo>
                  <a:pt x="8500" y="13718"/>
                  <a:pt x="8406" y="13624"/>
                  <a:pt x="8313" y="13562"/>
                </a:cubicBezTo>
                <a:cubicBezTo>
                  <a:pt x="8281" y="13562"/>
                  <a:pt x="8250" y="13499"/>
                  <a:pt x="8219" y="13562"/>
                </a:cubicBezTo>
                <a:cubicBezTo>
                  <a:pt x="8219" y="13624"/>
                  <a:pt x="8156" y="13656"/>
                  <a:pt x="8188" y="13749"/>
                </a:cubicBezTo>
                <a:cubicBezTo>
                  <a:pt x="8188" y="13749"/>
                  <a:pt x="8188" y="13749"/>
                  <a:pt x="8188" y="13749"/>
                </a:cubicBezTo>
                <a:cubicBezTo>
                  <a:pt x="8156" y="13781"/>
                  <a:pt x="8156" y="13812"/>
                  <a:pt x="8156" y="13812"/>
                </a:cubicBezTo>
                <a:cubicBezTo>
                  <a:pt x="8156" y="13843"/>
                  <a:pt x="8156" y="13874"/>
                  <a:pt x="8156" y="13906"/>
                </a:cubicBezTo>
                <a:cubicBezTo>
                  <a:pt x="8031" y="13937"/>
                  <a:pt x="8125" y="13843"/>
                  <a:pt x="8094" y="13812"/>
                </a:cubicBezTo>
                <a:cubicBezTo>
                  <a:pt x="8031" y="13843"/>
                  <a:pt x="8063" y="13937"/>
                  <a:pt x="7969" y="13906"/>
                </a:cubicBezTo>
                <a:cubicBezTo>
                  <a:pt x="8000" y="13781"/>
                  <a:pt x="8031" y="13656"/>
                  <a:pt x="8063" y="13562"/>
                </a:cubicBezTo>
                <a:cubicBezTo>
                  <a:pt x="8063" y="13531"/>
                  <a:pt x="8094" y="13468"/>
                  <a:pt x="8031" y="13499"/>
                </a:cubicBezTo>
                <a:cubicBezTo>
                  <a:pt x="7906" y="13499"/>
                  <a:pt x="7781" y="13531"/>
                  <a:pt x="7656" y="13562"/>
                </a:cubicBezTo>
                <a:cubicBezTo>
                  <a:pt x="7625" y="13562"/>
                  <a:pt x="7594" y="13593"/>
                  <a:pt x="7594" y="13624"/>
                </a:cubicBezTo>
                <a:cubicBezTo>
                  <a:pt x="7594" y="13656"/>
                  <a:pt x="7625" y="13656"/>
                  <a:pt x="7625" y="13656"/>
                </a:cubicBezTo>
                <a:cubicBezTo>
                  <a:pt x="7688" y="13718"/>
                  <a:pt x="7781" y="13749"/>
                  <a:pt x="7813" y="13843"/>
                </a:cubicBezTo>
                <a:cubicBezTo>
                  <a:pt x="7750" y="13843"/>
                  <a:pt x="7719" y="13843"/>
                  <a:pt x="7688" y="13812"/>
                </a:cubicBezTo>
                <a:cubicBezTo>
                  <a:pt x="7625" y="13749"/>
                  <a:pt x="7563" y="13687"/>
                  <a:pt x="7469" y="13624"/>
                </a:cubicBezTo>
                <a:cubicBezTo>
                  <a:pt x="7469" y="13624"/>
                  <a:pt x="7469" y="13593"/>
                  <a:pt x="7438" y="13593"/>
                </a:cubicBezTo>
                <a:cubicBezTo>
                  <a:pt x="7313" y="13656"/>
                  <a:pt x="7156" y="13656"/>
                  <a:pt x="7031" y="13687"/>
                </a:cubicBezTo>
                <a:cubicBezTo>
                  <a:pt x="7000" y="13687"/>
                  <a:pt x="6938" y="13687"/>
                  <a:pt x="6906" y="13687"/>
                </a:cubicBezTo>
                <a:cubicBezTo>
                  <a:pt x="6938" y="13656"/>
                  <a:pt x="6938" y="13656"/>
                  <a:pt x="6969" y="13624"/>
                </a:cubicBezTo>
                <a:cubicBezTo>
                  <a:pt x="6969" y="13624"/>
                  <a:pt x="7000" y="13624"/>
                  <a:pt x="7000" y="13624"/>
                </a:cubicBezTo>
                <a:cubicBezTo>
                  <a:pt x="7063" y="13624"/>
                  <a:pt x="7094" y="13624"/>
                  <a:pt x="7125" y="13593"/>
                </a:cubicBezTo>
                <a:cubicBezTo>
                  <a:pt x="7125" y="13593"/>
                  <a:pt x="7125" y="13593"/>
                  <a:pt x="7125" y="13593"/>
                </a:cubicBezTo>
                <a:cubicBezTo>
                  <a:pt x="7156" y="13593"/>
                  <a:pt x="7156" y="13593"/>
                  <a:pt x="7156" y="13562"/>
                </a:cubicBezTo>
                <a:cubicBezTo>
                  <a:pt x="7156" y="13562"/>
                  <a:pt x="7156" y="13562"/>
                  <a:pt x="7125" y="13562"/>
                </a:cubicBezTo>
                <a:cubicBezTo>
                  <a:pt x="7125" y="13562"/>
                  <a:pt x="7125" y="13562"/>
                  <a:pt x="7125" y="13562"/>
                </a:cubicBezTo>
                <a:cubicBezTo>
                  <a:pt x="7156" y="13562"/>
                  <a:pt x="7156" y="13531"/>
                  <a:pt x="7156" y="13531"/>
                </a:cubicBezTo>
                <a:cubicBezTo>
                  <a:pt x="7156" y="13562"/>
                  <a:pt x="7156" y="13562"/>
                  <a:pt x="7156" y="13562"/>
                </a:cubicBezTo>
                <a:cubicBezTo>
                  <a:pt x="7156" y="13562"/>
                  <a:pt x="7188" y="13562"/>
                  <a:pt x="7188" y="13562"/>
                </a:cubicBezTo>
                <a:cubicBezTo>
                  <a:pt x="7219" y="13593"/>
                  <a:pt x="7250" y="13562"/>
                  <a:pt x="7281" y="13562"/>
                </a:cubicBezTo>
                <a:cubicBezTo>
                  <a:pt x="7281" y="13562"/>
                  <a:pt x="7281" y="13562"/>
                  <a:pt x="7281" y="13562"/>
                </a:cubicBezTo>
                <a:cubicBezTo>
                  <a:pt x="7313" y="13562"/>
                  <a:pt x="7344" y="13562"/>
                  <a:pt x="7406" y="13562"/>
                </a:cubicBezTo>
                <a:cubicBezTo>
                  <a:pt x="7375" y="13531"/>
                  <a:pt x="7344" y="13499"/>
                  <a:pt x="7313" y="13468"/>
                </a:cubicBezTo>
                <a:cubicBezTo>
                  <a:pt x="7219" y="13406"/>
                  <a:pt x="7156" y="13343"/>
                  <a:pt x="7063" y="13281"/>
                </a:cubicBezTo>
                <a:cubicBezTo>
                  <a:pt x="7031" y="13249"/>
                  <a:pt x="6969" y="13187"/>
                  <a:pt x="6969" y="13312"/>
                </a:cubicBezTo>
                <a:cubicBezTo>
                  <a:pt x="6969" y="13343"/>
                  <a:pt x="6938" y="13374"/>
                  <a:pt x="6938" y="13406"/>
                </a:cubicBezTo>
                <a:cubicBezTo>
                  <a:pt x="6906" y="13437"/>
                  <a:pt x="6875" y="13468"/>
                  <a:pt x="6875" y="13499"/>
                </a:cubicBezTo>
                <a:cubicBezTo>
                  <a:pt x="6875" y="13562"/>
                  <a:pt x="6844" y="13562"/>
                  <a:pt x="6844" y="13624"/>
                </a:cubicBezTo>
                <a:cubicBezTo>
                  <a:pt x="6781" y="13624"/>
                  <a:pt x="6781" y="13624"/>
                  <a:pt x="6781" y="13562"/>
                </a:cubicBezTo>
                <a:cubicBezTo>
                  <a:pt x="6844" y="13406"/>
                  <a:pt x="6906" y="13249"/>
                  <a:pt x="6969" y="13062"/>
                </a:cubicBezTo>
                <a:cubicBezTo>
                  <a:pt x="7000" y="13031"/>
                  <a:pt x="7000" y="13031"/>
                  <a:pt x="7000" y="12968"/>
                </a:cubicBezTo>
                <a:cubicBezTo>
                  <a:pt x="6969" y="12999"/>
                  <a:pt x="6969" y="13031"/>
                  <a:pt x="6938" y="13031"/>
                </a:cubicBezTo>
                <a:cubicBezTo>
                  <a:pt x="6875" y="13218"/>
                  <a:pt x="6813" y="13374"/>
                  <a:pt x="6750" y="13562"/>
                </a:cubicBezTo>
                <a:cubicBezTo>
                  <a:pt x="6750" y="13593"/>
                  <a:pt x="6750" y="13624"/>
                  <a:pt x="6719" y="13624"/>
                </a:cubicBezTo>
                <a:cubicBezTo>
                  <a:pt x="6688" y="13624"/>
                  <a:pt x="6688" y="13593"/>
                  <a:pt x="6688" y="13562"/>
                </a:cubicBezTo>
                <a:cubicBezTo>
                  <a:pt x="6750" y="13374"/>
                  <a:pt x="6813" y="13218"/>
                  <a:pt x="6875" y="13031"/>
                </a:cubicBezTo>
                <a:cubicBezTo>
                  <a:pt x="6750" y="13093"/>
                  <a:pt x="6594" y="13187"/>
                  <a:pt x="6469" y="13249"/>
                </a:cubicBezTo>
                <a:cubicBezTo>
                  <a:pt x="6469" y="13249"/>
                  <a:pt x="6469" y="13249"/>
                  <a:pt x="6469" y="13249"/>
                </a:cubicBezTo>
                <a:cubicBezTo>
                  <a:pt x="6406" y="13249"/>
                  <a:pt x="6344" y="13249"/>
                  <a:pt x="6313" y="13312"/>
                </a:cubicBezTo>
                <a:cubicBezTo>
                  <a:pt x="6313" y="13374"/>
                  <a:pt x="6375" y="13374"/>
                  <a:pt x="6406" y="13406"/>
                </a:cubicBezTo>
                <a:lnTo>
                  <a:pt x="6406" y="13406"/>
                </a:lnTo>
                <a:cubicBezTo>
                  <a:pt x="6406" y="13437"/>
                  <a:pt x="6438" y="13437"/>
                  <a:pt x="6438" y="13437"/>
                </a:cubicBezTo>
                <a:cubicBezTo>
                  <a:pt x="6469" y="13437"/>
                  <a:pt x="6438" y="13406"/>
                  <a:pt x="6469" y="13374"/>
                </a:cubicBezTo>
                <a:cubicBezTo>
                  <a:pt x="6531" y="13374"/>
                  <a:pt x="6563" y="13281"/>
                  <a:pt x="6625" y="13343"/>
                </a:cubicBezTo>
                <a:cubicBezTo>
                  <a:pt x="6594" y="13374"/>
                  <a:pt x="6594" y="13406"/>
                  <a:pt x="6563" y="13437"/>
                </a:cubicBezTo>
                <a:cubicBezTo>
                  <a:pt x="6531" y="13437"/>
                  <a:pt x="6500" y="13468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94" y="13531"/>
                  <a:pt x="6563" y="13624"/>
                  <a:pt x="6656" y="13624"/>
                </a:cubicBezTo>
                <a:cubicBezTo>
                  <a:pt x="6719" y="13687"/>
                  <a:pt x="6813" y="13687"/>
                  <a:pt x="6906" y="13687"/>
                </a:cubicBezTo>
                <a:cubicBezTo>
                  <a:pt x="6969" y="13718"/>
                  <a:pt x="7031" y="13749"/>
                  <a:pt x="7094" y="13749"/>
                </a:cubicBezTo>
                <a:cubicBezTo>
                  <a:pt x="7313" y="13781"/>
                  <a:pt x="7500" y="13843"/>
                  <a:pt x="7719" y="13874"/>
                </a:cubicBezTo>
                <a:lnTo>
                  <a:pt x="7719" y="13874"/>
                </a:lnTo>
                <a:cubicBezTo>
                  <a:pt x="7750" y="13874"/>
                  <a:pt x="7781" y="13906"/>
                  <a:pt x="7813" y="13843"/>
                </a:cubicBezTo>
                <a:cubicBezTo>
                  <a:pt x="7844" y="13812"/>
                  <a:pt x="7875" y="13843"/>
                  <a:pt x="7906" y="13843"/>
                </a:cubicBezTo>
                <a:cubicBezTo>
                  <a:pt x="7938" y="13874"/>
                  <a:pt x="7906" y="13906"/>
                  <a:pt x="7875" y="13906"/>
                </a:cubicBezTo>
                <a:cubicBezTo>
                  <a:pt x="7906" y="13906"/>
                  <a:pt x="7938" y="13906"/>
                  <a:pt x="7969" y="13937"/>
                </a:cubicBezTo>
                <a:cubicBezTo>
                  <a:pt x="8063" y="13999"/>
                  <a:pt x="8156" y="13968"/>
                  <a:pt x="8250" y="13999"/>
                </a:cubicBezTo>
                <a:close/>
                <a:moveTo>
                  <a:pt x="22781" y="17843"/>
                </a:moveTo>
                <a:cubicBezTo>
                  <a:pt x="22781" y="17843"/>
                  <a:pt x="22781" y="17843"/>
                  <a:pt x="22781" y="17843"/>
                </a:cubicBezTo>
                <a:cubicBezTo>
                  <a:pt x="22781" y="17843"/>
                  <a:pt x="22781" y="17843"/>
                  <a:pt x="22781" y="17843"/>
                </a:cubicBezTo>
                <a:close/>
                <a:moveTo>
                  <a:pt x="24500" y="18124"/>
                </a:moveTo>
                <a:cubicBezTo>
                  <a:pt x="24594" y="18124"/>
                  <a:pt x="24656" y="18156"/>
                  <a:pt x="24688" y="18281"/>
                </a:cubicBezTo>
                <a:cubicBezTo>
                  <a:pt x="24719" y="18249"/>
                  <a:pt x="24750" y="18218"/>
                  <a:pt x="24719" y="18187"/>
                </a:cubicBezTo>
                <a:cubicBezTo>
                  <a:pt x="24656" y="18156"/>
                  <a:pt x="24594" y="18093"/>
                  <a:pt x="24531" y="18031"/>
                </a:cubicBezTo>
                <a:cubicBezTo>
                  <a:pt x="24500" y="18031"/>
                  <a:pt x="24500" y="18062"/>
                  <a:pt x="24469" y="18093"/>
                </a:cubicBezTo>
                <a:cubicBezTo>
                  <a:pt x="24469" y="18093"/>
                  <a:pt x="24469" y="18124"/>
                  <a:pt x="24500" y="18124"/>
                </a:cubicBezTo>
                <a:close/>
                <a:moveTo>
                  <a:pt x="24375" y="17843"/>
                </a:moveTo>
                <a:cubicBezTo>
                  <a:pt x="24313" y="17843"/>
                  <a:pt x="24219" y="17812"/>
                  <a:pt x="24125" y="17781"/>
                </a:cubicBezTo>
                <a:cubicBezTo>
                  <a:pt x="24156" y="17843"/>
                  <a:pt x="24125" y="17937"/>
                  <a:pt x="24219" y="17937"/>
                </a:cubicBezTo>
                <a:cubicBezTo>
                  <a:pt x="24250" y="17781"/>
                  <a:pt x="24313" y="17874"/>
                  <a:pt x="24375" y="17906"/>
                </a:cubicBezTo>
                <a:cubicBezTo>
                  <a:pt x="24375" y="17906"/>
                  <a:pt x="24406" y="17937"/>
                  <a:pt x="24438" y="17906"/>
                </a:cubicBezTo>
                <a:cubicBezTo>
                  <a:pt x="24438" y="17874"/>
                  <a:pt x="24406" y="17874"/>
                  <a:pt x="24375" y="17843"/>
                </a:cubicBezTo>
                <a:close/>
                <a:moveTo>
                  <a:pt x="12719" y="5468"/>
                </a:moveTo>
                <a:cubicBezTo>
                  <a:pt x="12719" y="5468"/>
                  <a:pt x="12719" y="5468"/>
                  <a:pt x="12719" y="5468"/>
                </a:cubicBezTo>
                <a:close/>
                <a:moveTo>
                  <a:pt x="23938" y="17812"/>
                </a:moveTo>
                <a:cubicBezTo>
                  <a:pt x="23938" y="17812"/>
                  <a:pt x="23938" y="17812"/>
                  <a:pt x="23938" y="17812"/>
                </a:cubicBezTo>
                <a:cubicBezTo>
                  <a:pt x="23938" y="17812"/>
                  <a:pt x="23938" y="17812"/>
                  <a:pt x="23938" y="17812"/>
                </a:cubicBezTo>
                <a:close/>
                <a:moveTo>
                  <a:pt x="22188" y="17749"/>
                </a:move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lose/>
                <a:moveTo>
                  <a:pt x="7125" y="14343"/>
                </a:moveTo>
                <a:cubicBezTo>
                  <a:pt x="7219" y="14343"/>
                  <a:pt x="7313" y="14406"/>
                  <a:pt x="7438" y="14406"/>
                </a:cubicBezTo>
                <a:cubicBezTo>
                  <a:pt x="7313" y="14249"/>
                  <a:pt x="7281" y="14249"/>
                  <a:pt x="7125" y="14312"/>
                </a:cubicBezTo>
                <a:cubicBezTo>
                  <a:pt x="7063" y="14281"/>
                  <a:pt x="6969" y="14312"/>
                  <a:pt x="6906" y="14249"/>
                </a:cubicBezTo>
                <a:cubicBezTo>
                  <a:pt x="7000" y="14249"/>
                  <a:pt x="7094" y="14187"/>
                  <a:pt x="7188" y="14187"/>
                </a:cubicBezTo>
                <a:cubicBezTo>
                  <a:pt x="7125" y="14124"/>
                  <a:pt x="7063" y="14093"/>
                  <a:pt x="7031" y="14031"/>
                </a:cubicBezTo>
                <a:cubicBezTo>
                  <a:pt x="7000" y="14031"/>
                  <a:pt x="6969" y="13999"/>
                  <a:pt x="6938" y="14031"/>
                </a:cubicBezTo>
                <a:cubicBezTo>
                  <a:pt x="6844" y="14062"/>
                  <a:pt x="6781" y="14093"/>
                  <a:pt x="6688" y="14093"/>
                </a:cubicBezTo>
                <a:cubicBezTo>
                  <a:pt x="6750" y="14156"/>
                  <a:pt x="6781" y="14187"/>
                  <a:pt x="6844" y="14218"/>
                </a:cubicBezTo>
                <a:cubicBezTo>
                  <a:pt x="6813" y="14312"/>
                  <a:pt x="6781" y="14218"/>
                  <a:pt x="6750" y="14218"/>
                </a:cubicBezTo>
                <a:cubicBezTo>
                  <a:pt x="6719" y="14187"/>
                  <a:pt x="6656" y="14218"/>
                  <a:pt x="6656" y="14187"/>
                </a:cubicBezTo>
                <a:lnTo>
                  <a:pt x="6656" y="14187"/>
                </a:lnTo>
                <a:cubicBezTo>
                  <a:pt x="6625" y="14093"/>
                  <a:pt x="6563" y="14093"/>
                  <a:pt x="6500" y="14124"/>
                </a:cubicBezTo>
                <a:cubicBezTo>
                  <a:pt x="6438" y="14156"/>
                  <a:pt x="6406" y="14156"/>
                  <a:pt x="6344" y="14187"/>
                </a:cubicBezTo>
                <a:cubicBezTo>
                  <a:pt x="6500" y="14218"/>
                  <a:pt x="6625" y="14218"/>
                  <a:pt x="6750" y="14249"/>
                </a:cubicBezTo>
                <a:cubicBezTo>
                  <a:pt x="6875" y="14312"/>
                  <a:pt x="7000" y="14343"/>
                  <a:pt x="7125" y="14343"/>
                </a:cubicBezTo>
                <a:close/>
                <a:moveTo>
                  <a:pt x="23375" y="16906"/>
                </a:moveTo>
                <a:cubicBezTo>
                  <a:pt x="23375" y="16906"/>
                  <a:pt x="23375" y="16906"/>
                  <a:pt x="23375" y="16906"/>
                </a:cubicBezTo>
                <a:cubicBezTo>
                  <a:pt x="23313" y="16812"/>
                  <a:pt x="23219" y="16718"/>
                  <a:pt x="23156" y="16624"/>
                </a:cubicBezTo>
                <a:cubicBezTo>
                  <a:pt x="23156" y="16624"/>
                  <a:pt x="23156" y="16624"/>
                  <a:pt x="23125" y="16624"/>
                </a:cubicBezTo>
                <a:cubicBezTo>
                  <a:pt x="23156" y="16781"/>
                  <a:pt x="23313" y="16812"/>
                  <a:pt x="23375" y="16906"/>
                </a:cubicBezTo>
                <a:close/>
                <a:moveTo>
                  <a:pt x="22625" y="17624"/>
                </a:moveTo>
                <a:cubicBezTo>
                  <a:pt x="22625" y="17656"/>
                  <a:pt x="22625" y="17687"/>
                  <a:pt x="22625" y="17718"/>
                </a:cubicBezTo>
                <a:cubicBezTo>
                  <a:pt x="22719" y="17749"/>
                  <a:pt x="22781" y="17749"/>
                  <a:pt x="22875" y="17749"/>
                </a:cubicBezTo>
                <a:cubicBezTo>
                  <a:pt x="22813" y="17687"/>
                  <a:pt x="22750" y="17656"/>
                  <a:pt x="22688" y="17624"/>
                </a:cubicBezTo>
                <a:cubicBezTo>
                  <a:pt x="22656" y="17593"/>
                  <a:pt x="22625" y="17593"/>
                  <a:pt x="22625" y="17624"/>
                </a:cubicBezTo>
                <a:close/>
                <a:moveTo>
                  <a:pt x="6656" y="13406"/>
                </a:moveTo>
                <a:cubicBezTo>
                  <a:pt x="6656" y="13531"/>
                  <a:pt x="6656" y="13531"/>
                  <a:pt x="6531" y="13499"/>
                </a:cubicBezTo>
                <a:cubicBezTo>
                  <a:pt x="6563" y="13437"/>
                  <a:pt x="6625" y="13468"/>
                  <a:pt x="6656" y="13406"/>
                </a:cubicBezTo>
                <a:close/>
                <a:moveTo>
                  <a:pt x="23063" y="17718"/>
                </a:moveTo>
                <a:cubicBezTo>
                  <a:pt x="23063" y="17718"/>
                  <a:pt x="23031" y="17687"/>
                  <a:pt x="23000" y="17718"/>
                </a:cubicBezTo>
                <a:cubicBezTo>
                  <a:pt x="23000" y="17749"/>
                  <a:pt x="23000" y="17781"/>
                  <a:pt x="23031" y="17812"/>
                </a:cubicBezTo>
                <a:cubicBezTo>
                  <a:pt x="23094" y="17843"/>
                  <a:pt x="23188" y="17874"/>
                  <a:pt x="23281" y="17874"/>
                </a:cubicBezTo>
                <a:cubicBezTo>
                  <a:pt x="23219" y="17812"/>
                  <a:pt x="23125" y="17781"/>
                  <a:pt x="23063" y="17718"/>
                </a:cubicBezTo>
                <a:close/>
                <a:moveTo>
                  <a:pt x="24219" y="17749"/>
                </a:moveTo>
                <a:cubicBezTo>
                  <a:pt x="24281" y="17749"/>
                  <a:pt x="24344" y="17812"/>
                  <a:pt x="24469" y="17781"/>
                </a:cubicBezTo>
                <a:cubicBezTo>
                  <a:pt x="24375" y="17718"/>
                  <a:pt x="24313" y="17687"/>
                  <a:pt x="24250" y="17624"/>
                </a:cubicBezTo>
                <a:cubicBezTo>
                  <a:pt x="24219" y="17624"/>
                  <a:pt x="24219" y="17656"/>
                  <a:pt x="24219" y="17656"/>
                </a:cubicBezTo>
                <a:cubicBezTo>
                  <a:pt x="24219" y="17687"/>
                  <a:pt x="24156" y="17718"/>
                  <a:pt x="24219" y="17749"/>
                </a:cubicBezTo>
                <a:close/>
                <a:moveTo>
                  <a:pt x="6625" y="13718"/>
                </a:moveTo>
                <a:cubicBezTo>
                  <a:pt x="6500" y="13656"/>
                  <a:pt x="6375" y="13718"/>
                  <a:pt x="6250" y="13656"/>
                </a:cubicBezTo>
                <a:cubicBezTo>
                  <a:pt x="6219" y="13656"/>
                  <a:pt x="6219" y="13656"/>
                  <a:pt x="6219" y="13687"/>
                </a:cubicBezTo>
                <a:cubicBezTo>
                  <a:pt x="6250" y="13749"/>
                  <a:pt x="6313" y="13781"/>
                  <a:pt x="6344" y="13749"/>
                </a:cubicBezTo>
                <a:cubicBezTo>
                  <a:pt x="6438" y="13718"/>
                  <a:pt x="6531" y="13749"/>
                  <a:pt x="6625" y="13749"/>
                </a:cubicBezTo>
                <a:cubicBezTo>
                  <a:pt x="6656" y="13749"/>
                  <a:pt x="6656" y="13749"/>
                  <a:pt x="6656" y="13749"/>
                </a:cubicBezTo>
                <a:cubicBezTo>
                  <a:pt x="6625" y="13812"/>
                  <a:pt x="6563" y="13812"/>
                  <a:pt x="6531" y="13843"/>
                </a:cubicBezTo>
                <a:lnTo>
                  <a:pt x="6531" y="13843"/>
                </a:lnTo>
                <a:cubicBezTo>
                  <a:pt x="6469" y="13781"/>
                  <a:pt x="6438" y="13843"/>
                  <a:pt x="6406" y="13843"/>
                </a:cubicBezTo>
                <a:cubicBezTo>
                  <a:pt x="6438" y="13906"/>
                  <a:pt x="6500" y="13937"/>
                  <a:pt x="6531" y="13968"/>
                </a:cubicBezTo>
                <a:cubicBezTo>
                  <a:pt x="6594" y="14062"/>
                  <a:pt x="6656" y="14031"/>
                  <a:pt x="6688" y="13999"/>
                </a:cubicBezTo>
                <a:cubicBezTo>
                  <a:pt x="6781" y="13999"/>
                  <a:pt x="6813" y="13906"/>
                  <a:pt x="6906" y="13968"/>
                </a:cubicBezTo>
                <a:cubicBezTo>
                  <a:pt x="6875" y="13874"/>
                  <a:pt x="6781" y="13874"/>
                  <a:pt x="6781" y="13812"/>
                </a:cubicBezTo>
                <a:cubicBezTo>
                  <a:pt x="6750" y="13749"/>
                  <a:pt x="6688" y="13749"/>
                  <a:pt x="6656" y="13749"/>
                </a:cubicBezTo>
                <a:cubicBezTo>
                  <a:pt x="6656" y="13749"/>
                  <a:pt x="6656" y="13749"/>
                  <a:pt x="6625" y="13749"/>
                </a:cubicBezTo>
                <a:cubicBezTo>
                  <a:pt x="6625" y="13749"/>
                  <a:pt x="6625" y="13718"/>
                  <a:pt x="6625" y="13718"/>
                </a:cubicBezTo>
                <a:close/>
                <a:moveTo>
                  <a:pt x="15188" y="4593"/>
                </a:moveTo>
                <a:cubicBezTo>
                  <a:pt x="15156" y="4593"/>
                  <a:pt x="15156" y="4625"/>
                  <a:pt x="15156" y="4656"/>
                </a:cubicBezTo>
                <a:cubicBezTo>
                  <a:pt x="15125" y="4687"/>
                  <a:pt x="15156" y="4750"/>
                  <a:pt x="15188" y="4750"/>
                </a:cubicBezTo>
                <a:cubicBezTo>
                  <a:pt x="15281" y="4781"/>
                  <a:pt x="15281" y="4875"/>
                  <a:pt x="15313" y="4937"/>
                </a:cubicBezTo>
                <a:cubicBezTo>
                  <a:pt x="15281" y="4843"/>
                  <a:pt x="15313" y="4718"/>
                  <a:pt x="15219" y="4656"/>
                </a:cubicBezTo>
                <a:cubicBezTo>
                  <a:pt x="15219" y="4656"/>
                  <a:pt x="15219" y="4593"/>
                  <a:pt x="15188" y="4593"/>
                </a:cubicBezTo>
                <a:close/>
                <a:moveTo>
                  <a:pt x="12438" y="6468"/>
                </a:moveTo>
                <a:cubicBezTo>
                  <a:pt x="12438" y="6468"/>
                  <a:pt x="12438" y="6468"/>
                  <a:pt x="12438" y="6468"/>
                </a:cubicBezTo>
                <a:cubicBezTo>
                  <a:pt x="12438" y="6468"/>
                  <a:pt x="12438" y="6468"/>
                  <a:pt x="12438" y="6468"/>
                </a:cubicBezTo>
                <a:lnTo>
                  <a:pt x="12438" y="6468"/>
                </a:lnTo>
                <a:cubicBezTo>
                  <a:pt x="12438" y="6468"/>
                  <a:pt x="12438" y="6468"/>
                  <a:pt x="12438" y="6468"/>
                </a:cubicBezTo>
                <a:cubicBezTo>
                  <a:pt x="12438" y="6468"/>
                  <a:pt x="12438" y="6468"/>
                  <a:pt x="12438" y="6468"/>
                </a:cubicBezTo>
                <a:close/>
                <a:moveTo>
                  <a:pt x="12625" y="5750"/>
                </a:moveTo>
                <a:cubicBezTo>
                  <a:pt x="12625" y="5750"/>
                  <a:pt x="12594" y="5750"/>
                  <a:pt x="12594" y="5750"/>
                </a:cubicBezTo>
                <a:cubicBezTo>
                  <a:pt x="12594" y="5750"/>
                  <a:pt x="12625" y="5750"/>
                  <a:pt x="12625" y="5750"/>
                </a:cubicBezTo>
                <a:close/>
                <a:moveTo>
                  <a:pt x="12594" y="5750"/>
                </a:moveTo>
                <a:close/>
                <a:moveTo>
                  <a:pt x="23531" y="17968"/>
                </a:moveTo>
                <a:cubicBezTo>
                  <a:pt x="23531" y="17968"/>
                  <a:pt x="23531" y="17968"/>
                  <a:pt x="23531" y="17968"/>
                </a:cubicBezTo>
                <a:close/>
                <a:moveTo>
                  <a:pt x="8438" y="14656"/>
                </a:moveTo>
                <a:cubicBezTo>
                  <a:pt x="8563" y="14656"/>
                  <a:pt x="8656" y="14687"/>
                  <a:pt x="8781" y="14718"/>
                </a:cubicBezTo>
                <a:cubicBezTo>
                  <a:pt x="8625" y="14531"/>
                  <a:pt x="8500" y="14499"/>
                  <a:pt x="8438" y="14656"/>
                </a:cubicBezTo>
                <a:close/>
                <a:moveTo>
                  <a:pt x="8188" y="17374"/>
                </a:moveTo>
                <a:cubicBezTo>
                  <a:pt x="8188" y="17406"/>
                  <a:pt x="8219" y="17468"/>
                  <a:pt x="8250" y="17468"/>
                </a:cubicBezTo>
                <a:cubicBezTo>
                  <a:pt x="8313" y="17468"/>
                  <a:pt x="8375" y="17437"/>
                  <a:pt x="8406" y="17406"/>
                </a:cubicBezTo>
                <a:cubicBezTo>
                  <a:pt x="8406" y="17374"/>
                  <a:pt x="8281" y="17281"/>
                  <a:pt x="8250" y="17281"/>
                </a:cubicBezTo>
                <a:cubicBezTo>
                  <a:pt x="8219" y="17281"/>
                  <a:pt x="8156" y="17312"/>
                  <a:pt x="8188" y="17374"/>
                </a:cubicBezTo>
                <a:close/>
                <a:moveTo>
                  <a:pt x="30000" y="23781"/>
                </a:moveTo>
                <a:cubicBezTo>
                  <a:pt x="30000" y="23781"/>
                  <a:pt x="30000" y="23781"/>
                  <a:pt x="30000" y="23749"/>
                </a:cubicBezTo>
                <a:cubicBezTo>
                  <a:pt x="29969" y="23718"/>
                  <a:pt x="29875" y="23718"/>
                  <a:pt x="29906" y="23624"/>
                </a:cubicBezTo>
                <a:cubicBezTo>
                  <a:pt x="29906" y="23624"/>
                  <a:pt x="29875" y="23593"/>
                  <a:pt x="29875" y="23593"/>
                </a:cubicBezTo>
                <a:cubicBezTo>
                  <a:pt x="29938" y="23593"/>
                  <a:pt x="30031" y="23562"/>
                  <a:pt x="30031" y="23687"/>
                </a:cubicBezTo>
                <a:cubicBezTo>
                  <a:pt x="30031" y="23687"/>
                  <a:pt x="30063" y="23718"/>
                  <a:pt x="30094" y="23718"/>
                </a:cubicBezTo>
                <a:cubicBezTo>
                  <a:pt x="30125" y="23718"/>
                  <a:pt x="30125" y="23718"/>
                  <a:pt x="30125" y="23687"/>
                </a:cubicBezTo>
                <a:cubicBezTo>
                  <a:pt x="30125" y="23624"/>
                  <a:pt x="30156" y="23656"/>
                  <a:pt x="30188" y="23656"/>
                </a:cubicBezTo>
                <a:cubicBezTo>
                  <a:pt x="30219" y="23656"/>
                  <a:pt x="30250" y="23687"/>
                  <a:pt x="30219" y="23718"/>
                </a:cubicBezTo>
                <a:lnTo>
                  <a:pt x="30219" y="23718"/>
                </a:lnTo>
                <a:cubicBezTo>
                  <a:pt x="30188" y="23718"/>
                  <a:pt x="30219" y="23749"/>
                  <a:pt x="30219" y="23781"/>
                </a:cubicBezTo>
                <a:cubicBezTo>
                  <a:pt x="30156" y="23749"/>
                  <a:pt x="30094" y="23749"/>
                  <a:pt x="30000" y="23749"/>
                </a:cubicBezTo>
                <a:cubicBezTo>
                  <a:pt x="30000" y="23781"/>
                  <a:pt x="30000" y="23781"/>
                  <a:pt x="30000" y="23781"/>
                </a:cubicBezTo>
                <a:cubicBezTo>
                  <a:pt x="29969" y="23781"/>
                  <a:pt x="29875" y="23781"/>
                  <a:pt x="29875" y="23718"/>
                </a:cubicBezTo>
                <a:lnTo>
                  <a:pt x="29875" y="23718"/>
                </a:lnTo>
                <a:cubicBezTo>
                  <a:pt x="29875" y="23593"/>
                  <a:pt x="29781" y="23593"/>
                  <a:pt x="29719" y="23624"/>
                </a:cubicBezTo>
                <a:cubicBezTo>
                  <a:pt x="29688" y="23687"/>
                  <a:pt x="29813" y="23656"/>
                  <a:pt x="29813" y="23749"/>
                </a:cubicBezTo>
                <a:cubicBezTo>
                  <a:pt x="29781" y="23812"/>
                  <a:pt x="29875" y="23781"/>
                  <a:pt x="29906" y="23843"/>
                </a:cubicBezTo>
                <a:cubicBezTo>
                  <a:pt x="29969" y="23781"/>
                  <a:pt x="30031" y="23874"/>
                  <a:pt x="30094" y="23843"/>
                </a:cubicBezTo>
                <a:cubicBezTo>
                  <a:pt x="30063" y="23812"/>
                  <a:pt x="30000" y="23812"/>
                  <a:pt x="30000" y="23781"/>
                </a:cubicBezTo>
                <a:close/>
                <a:moveTo>
                  <a:pt x="23000" y="17531"/>
                </a:moveTo>
                <a:cubicBezTo>
                  <a:pt x="22938" y="17531"/>
                  <a:pt x="22844" y="17468"/>
                  <a:pt x="22750" y="17499"/>
                </a:cubicBezTo>
                <a:cubicBezTo>
                  <a:pt x="22750" y="17562"/>
                  <a:pt x="22750" y="17656"/>
                  <a:pt x="22844" y="17687"/>
                </a:cubicBezTo>
                <a:cubicBezTo>
                  <a:pt x="22875" y="17687"/>
                  <a:pt x="22875" y="17718"/>
                  <a:pt x="22906" y="17718"/>
                </a:cubicBezTo>
                <a:cubicBezTo>
                  <a:pt x="22938" y="17687"/>
                  <a:pt x="22938" y="17656"/>
                  <a:pt x="22906" y="17656"/>
                </a:cubicBezTo>
                <a:cubicBezTo>
                  <a:pt x="22906" y="17624"/>
                  <a:pt x="22875" y="17624"/>
                  <a:pt x="22875" y="17593"/>
                </a:cubicBezTo>
                <a:cubicBezTo>
                  <a:pt x="22938" y="17593"/>
                  <a:pt x="23000" y="17593"/>
                  <a:pt x="23000" y="17531"/>
                </a:cubicBezTo>
                <a:close/>
                <a:moveTo>
                  <a:pt x="9313" y="14343"/>
                </a:moveTo>
                <a:cubicBezTo>
                  <a:pt x="9281" y="14343"/>
                  <a:pt x="9281" y="14343"/>
                  <a:pt x="9281" y="14343"/>
                </a:cubicBezTo>
                <a:cubicBezTo>
                  <a:pt x="9281" y="14343"/>
                  <a:pt x="9281" y="14312"/>
                  <a:pt x="9281" y="14312"/>
                </a:cubicBezTo>
                <a:cubicBezTo>
                  <a:pt x="9063" y="14281"/>
                  <a:pt x="8875" y="14218"/>
                  <a:pt x="8656" y="14218"/>
                </a:cubicBezTo>
                <a:cubicBezTo>
                  <a:pt x="8656" y="14187"/>
                  <a:pt x="8656" y="14187"/>
                  <a:pt x="8656" y="14218"/>
                </a:cubicBezTo>
                <a:cubicBezTo>
                  <a:pt x="8625" y="14187"/>
                  <a:pt x="8594" y="14187"/>
                  <a:pt x="8594" y="14187"/>
                </a:cubicBezTo>
                <a:cubicBezTo>
                  <a:pt x="8438" y="14124"/>
                  <a:pt x="8281" y="14124"/>
                  <a:pt x="8156" y="14062"/>
                </a:cubicBezTo>
                <a:cubicBezTo>
                  <a:pt x="8125" y="14062"/>
                  <a:pt x="8094" y="14062"/>
                  <a:pt x="8094" y="14093"/>
                </a:cubicBezTo>
                <a:cubicBezTo>
                  <a:pt x="8094" y="14093"/>
                  <a:pt x="8094" y="14124"/>
                  <a:pt x="8094" y="14124"/>
                </a:cubicBezTo>
                <a:cubicBezTo>
                  <a:pt x="8094" y="14093"/>
                  <a:pt x="8094" y="14093"/>
                  <a:pt x="8094" y="14093"/>
                </a:cubicBezTo>
                <a:cubicBezTo>
                  <a:pt x="8156" y="14093"/>
                  <a:pt x="8219" y="14156"/>
                  <a:pt x="8250" y="14187"/>
                </a:cubicBezTo>
                <a:cubicBezTo>
                  <a:pt x="8313" y="14218"/>
                  <a:pt x="8344" y="14218"/>
                  <a:pt x="8406" y="14218"/>
                </a:cubicBezTo>
                <a:cubicBezTo>
                  <a:pt x="8469" y="14187"/>
                  <a:pt x="8531" y="14187"/>
                  <a:pt x="8594" y="14218"/>
                </a:cubicBezTo>
                <a:cubicBezTo>
                  <a:pt x="8563" y="14249"/>
                  <a:pt x="8563" y="14249"/>
                  <a:pt x="8531" y="14249"/>
                </a:cubicBezTo>
                <a:cubicBezTo>
                  <a:pt x="8531" y="14249"/>
                  <a:pt x="8531" y="14249"/>
                  <a:pt x="8500" y="14249"/>
                </a:cubicBezTo>
                <a:cubicBezTo>
                  <a:pt x="8500" y="14249"/>
                  <a:pt x="8500" y="14249"/>
                  <a:pt x="8469" y="14281"/>
                </a:cubicBezTo>
                <a:cubicBezTo>
                  <a:pt x="8438" y="14281"/>
                  <a:pt x="8406" y="14281"/>
                  <a:pt x="8375" y="14281"/>
                </a:cubicBezTo>
                <a:cubicBezTo>
                  <a:pt x="8406" y="14312"/>
                  <a:pt x="8406" y="14343"/>
                  <a:pt x="8469" y="14343"/>
                </a:cubicBezTo>
                <a:cubicBezTo>
                  <a:pt x="8531" y="14374"/>
                  <a:pt x="8531" y="14531"/>
                  <a:pt x="8688" y="14437"/>
                </a:cubicBezTo>
                <a:cubicBezTo>
                  <a:pt x="8688" y="14406"/>
                  <a:pt x="8750" y="14406"/>
                  <a:pt x="8781" y="14374"/>
                </a:cubicBezTo>
                <a:cubicBezTo>
                  <a:pt x="8781" y="14374"/>
                  <a:pt x="8781" y="14374"/>
                  <a:pt x="8781" y="14374"/>
                </a:cubicBezTo>
                <a:cubicBezTo>
                  <a:pt x="8781" y="14406"/>
                  <a:pt x="8813" y="14406"/>
                  <a:pt x="8844" y="14406"/>
                </a:cubicBezTo>
                <a:cubicBezTo>
                  <a:pt x="8844" y="14406"/>
                  <a:pt x="8844" y="14406"/>
                  <a:pt x="8844" y="14374"/>
                </a:cubicBezTo>
                <a:cubicBezTo>
                  <a:pt x="8844" y="14343"/>
                  <a:pt x="8813" y="14343"/>
                  <a:pt x="8813" y="14343"/>
                </a:cubicBezTo>
                <a:cubicBezTo>
                  <a:pt x="8781" y="14312"/>
                  <a:pt x="8750" y="14312"/>
                  <a:pt x="8750" y="14281"/>
                </a:cubicBezTo>
                <a:cubicBezTo>
                  <a:pt x="8719" y="14281"/>
                  <a:pt x="8719" y="14281"/>
                  <a:pt x="8719" y="14281"/>
                </a:cubicBezTo>
                <a:cubicBezTo>
                  <a:pt x="8719" y="14281"/>
                  <a:pt x="8719" y="14281"/>
                  <a:pt x="8750" y="14281"/>
                </a:cubicBezTo>
                <a:cubicBezTo>
                  <a:pt x="8813" y="14218"/>
                  <a:pt x="8844" y="14312"/>
                  <a:pt x="8875" y="14312"/>
                </a:cubicBezTo>
                <a:cubicBezTo>
                  <a:pt x="8906" y="14374"/>
                  <a:pt x="8938" y="14374"/>
                  <a:pt x="9000" y="14343"/>
                </a:cubicBezTo>
                <a:cubicBezTo>
                  <a:pt x="9094" y="14343"/>
                  <a:pt x="9156" y="14343"/>
                  <a:pt x="9250" y="14343"/>
                </a:cubicBezTo>
                <a:cubicBezTo>
                  <a:pt x="9219" y="14406"/>
                  <a:pt x="9156" y="14374"/>
                  <a:pt x="9125" y="14406"/>
                </a:cubicBezTo>
                <a:cubicBezTo>
                  <a:pt x="9219" y="14562"/>
                  <a:pt x="9313" y="14624"/>
                  <a:pt x="9469" y="14499"/>
                </a:cubicBezTo>
                <a:cubicBezTo>
                  <a:pt x="9438" y="14468"/>
                  <a:pt x="9406" y="14437"/>
                  <a:pt x="9344" y="14406"/>
                </a:cubicBezTo>
                <a:cubicBezTo>
                  <a:pt x="9344" y="14374"/>
                  <a:pt x="9375" y="14374"/>
                  <a:pt x="9406" y="14374"/>
                </a:cubicBezTo>
                <a:cubicBezTo>
                  <a:pt x="9438" y="14406"/>
                  <a:pt x="9500" y="14437"/>
                  <a:pt x="9531" y="14499"/>
                </a:cubicBezTo>
                <a:cubicBezTo>
                  <a:pt x="9563" y="14499"/>
                  <a:pt x="9594" y="14531"/>
                  <a:pt x="9594" y="14499"/>
                </a:cubicBezTo>
                <a:cubicBezTo>
                  <a:pt x="9688" y="14437"/>
                  <a:pt x="9750" y="14468"/>
                  <a:pt x="9844" y="14468"/>
                </a:cubicBezTo>
                <a:cubicBezTo>
                  <a:pt x="9844" y="14468"/>
                  <a:pt x="9844" y="14468"/>
                  <a:pt x="9844" y="14499"/>
                </a:cubicBezTo>
                <a:cubicBezTo>
                  <a:pt x="9844" y="14499"/>
                  <a:pt x="9813" y="14499"/>
                  <a:pt x="9813" y="14499"/>
                </a:cubicBezTo>
                <a:cubicBezTo>
                  <a:pt x="9750" y="14531"/>
                  <a:pt x="9688" y="14562"/>
                  <a:pt x="9719" y="14593"/>
                </a:cubicBezTo>
                <a:cubicBezTo>
                  <a:pt x="9750" y="14656"/>
                  <a:pt x="9813" y="14718"/>
                  <a:pt x="9875" y="14718"/>
                </a:cubicBezTo>
                <a:cubicBezTo>
                  <a:pt x="9938" y="14718"/>
                  <a:pt x="10031" y="14687"/>
                  <a:pt x="10094" y="14656"/>
                </a:cubicBezTo>
                <a:cubicBezTo>
                  <a:pt x="10063" y="14593"/>
                  <a:pt x="10000" y="14593"/>
                  <a:pt x="9969" y="14531"/>
                </a:cubicBezTo>
                <a:cubicBezTo>
                  <a:pt x="10000" y="14531"/>
                  <a:pt x="10031" y="14531"/>
                  <a:pt x="10031" y="14531"/>
                </a:cubicBezTo>
                <a:cubicBezTo>
                  <a:pt x="10094" y="14562"/>
                  <a:pt x="10125" y="14624"/>
                  <a:pt x="10188" y="14624"/>
                </a:cubicBezTo>
                <a:cubicBezTo>
                  <a:pt x="10219" y="14656"/>
                  <a:pt x="10250" y="14656"/>
                  <a:pt x="10281" y="14718"/>
                </a:cubicBezTo>
                <a:cubicBezTo>
                  <a:pt x="10313" y="14781"/>
                  <a:pt x="10375" y="14718"/>
                  <a:pt x="10375" y="14687"/>
                </a:cubicBezTo>
                <a:cubicBezTo>
                  <a:pt x="10406" y="14656"/>
                  <a:pt x="10438" y="14624"/>
                  <a:pt x="10469" y="14593"/>
                </a:cubicBezTo>
                <a:cubicBezTo>
                  <a:pt x="10250" y="14562"/>
                  <a:pt x="10063" y="14499"/>
                  <a:pt x="9844" y="14468"/>
                </a:cubicBezTo>
                <a:cubicBezTo>
                  <a:pt x="9844" y="14468"/>
                  <a:pt x="9844" y="14468"/>
                  <a:pt x="9844" y="14468"/>
                </a:cubicBezTo>
                <a:cubicBezTo>
                  <a:pt x="9656" y="14406"/>
                  <a:pt x="9500" y="14374"/>
                  <a:pt x="9313" y="14343"/>
                </a:cubicBezTo>
                <a:close/>
                <a:moveTo>
                  <a:pt x="20188" y="16531"/>
                </a:moveTo>
                <a:cubicBezTo>
                  <a:pt x="20188" y="16531"/>
                  <a:pt x="20188" y="16531"/>
                  <a:pt x="20188" y="16531"/>
                </a:cubicBezTo>
                <a:cubicBezTo>
                  <a:pt x="20188" y="16531"/>
                  <a:pt x="20188" y="16531"/>
                  <a:pt x="20188" y="16531"/>
                </a:cubicBezTo>
                <a:lnTo>
                  <a:pt x="20188" y="16531"/>
                </a:lnTo>
                <a:cubicBezTo>
                  <a:pt x="20188" y="16531"/>
                  <a:pt x="20188" y="16531"/>
                  <a:pt x="20188" y="16531"/>
                </a:cubicBezTo>
                <a:cubicBezTo>
                  <a:pt x="20188" y="16531"/>
                  <a:pt x="20188" y="16531"/>
                  <a:pt x="20188" y="16531"/>
                </a:cubicBezTo>
                <a:close/>
                <a:moveTo>
                  <a:pt x="17813" y="16062"/>
                </a:moveTo>
                <a:cubicBezTo>
                  <a:pt x="17719" y="15999"/>
                  <a:pt x="17594" y="15906"/>
                  <a:pt x="17469" y="15812"/>
                </a:cubicBezTo>
                <a:cubicBezTo>
                  <a:pt x="17469" y="15906"/>
                  <a:pt x="17531" y="15937"/>
                  <a:pt x="17531" y="15999"/>
                </a:cubicBezTo>
                <a:cubicBezTo>
                  <a:pt x="17531" y="16031"/>
                  <a:pt x="17563" y="16031"/>
                  <a:pt x="17594" y="16062"/>
                </a:cubicBezTo>
                <a:cubicBezTo>
                  <a:pt x="17594" y="16124"/>
                  <a:pt x="17656" y="16156"/>
                  <a:pt x="17656" y="16218"/>
                </a:cubicBezTo>
                <a:cubicBezTo>
                  <a:pt x="17656" y="16249"/>
                  <a:pt x="17688" y="16249"/>
                  <a:pt x="17719" y="16218"/>
                </a:cubicBezTo>
                <a:cubicBezTo>
                  <a:pt x="17781" y="16218"/>
                  <a:pt x="17813" y="16187"/>
                  <a:pt x="17844" y="16124"/>
                </a:cubicBezTo>
                <a:cubicBezTo>
                  <a:pt x="17844" y="16124"/>
                  <a:pt x="17875" y="16124"/>
                  <a:pt x="17844" y="16124"/>
                </a:cubicBezTo>
                <a:cubicBezTo>
                  <a:pt x="17844" y="16093"/>
                  <a:pt x="17844" y="16093"/>
                  <a:pt x="17844" y="16093"/>
                </a:cubicBezTo>
                <a:cubicBezTo>
                  <a:pt x="17844" y="16093"/>
                  <a:pt x="17844" y="16093"/>
                  <a:pt x="17844" y="16093"/>
                </a:cubicBezTo>
                <a:cubicBezTo>
                  <a:pt x="17844" y="16093"/>
                  <a:pt x="17844" y="16062"/>
                  <a:pt x="17813" y="16062"/>
                </a:cubicBezTo>
                <a:close/>
                <a:moveTo>
                  <a:pt x="17719" y="16093"/>
                </a:moveTo>
                <a:cubicBezTo>
                  <a:pt x="17719" y="16093"/>
                  <a:pt x="17719" y="16093"/>
                  <a:pt x="17719" y="16093"/>
                </a:cubicBezTo>
                <a:cubicBezTo>
                  <a:pt x="17719" y="16093"/>
                  <a:pt x="17719" y="16093"/>
                  <a:pt x="17750" y="16093"/>
                </a:cubicBezTo>
                <a:cubicBezTo>
                  <a:pt x="17719" y="16093"/>
                  <a:pt x="17719" y="16093"/>
                  <a:pt x="17719" y="16093"/>
                </a:cubicBezTo>
                <a:close/>
                <a:moveTo>
                  <a:pt x="7406" y="13937"/>
                </a:moveTo>
                <a:cubicBezTo>
                  <a:pt x="7406" y="13937"/>
                  <a:pt x="7375" y="13937"/>
                  <a:pt x="7375" y="13906"/>
                </a:cubicBezTo>
                <a:cubicBezTo>
                  <a:pt x="7313" y="13874"/>
                  <a:pt x="7219" y="13874"/>
                  <a:pt x="7156" y="13874"/>
                </a:cubicBezTo>
                <a:cubicBezTo>
                  <a:pt x="7188" y="13906"/>
                  <a:pt x="7250" y="13874"/>
                  <a:pt x="7281" y="13937"/>
                </a:cubicBezTo>
                <a:cubicBezTo>
                  <a:pt x="7219" y="13968"/>
                  <a:pt x="7156" y="13999"/>
                  <a:pt x="7094" y="13999"/>
                </a:cubicBezTo>
                <a:cubicBezTo>
                  <a:pt x="7250" y="14187"/>
                  <a:pt x="7250" y="14187"/>
                  <a:pt x="7563" y="14093"/>
                </a:cubicBezTo>
                <a:cubicBezTo>
                  <a:pt x="7531" y="14031"/>
                  <a:pt x="7469" y="13999"/>
                  <a:pt x="7438" y="13968"/>
                </a:cubicBezTo>
                <a:cubicBezTo>
                  <a:pt x="7500" y="13937"/>
                  <a:pt x="7531" y="13999"/>
                  <a:pt x="7563" y="14031"/>
                </a:cubicBezTo>
                <a:cubicBezTo>
                  <a:pt x="7625" y="14062"/>
                  <a:pt x="7656" y="14124"/>
                  <a:pt x="7719" y="14093"/>
                </a:cubicBezTo>
                <a:cubicBezTo>
                  <a:pt x="7781" y="14031"/>
                  <a:pt x="7875" y="14062"/>
                  <a:pt x="7938" y="14062"/>
                </a:cubicBezTo>
                <a:cubicBezTo>
                  <a:pt x="7906" y="13999"/>
                  <a:pt x="7844" y="13999"/>
                  <a:pt x="7813" y="13999"/>
                </a:cubicBezTo>
                <a:cubicBezTo>
                  <a:pt x="7656" y="13999"/>
                  <a:pt x="7531" y="13906"/>
                  <a:pt x="7406" y="13937"/>
                </a:cubicBezTo>
                <a:close/>
                <a:moveTo>
                  <a:pt x="7938" y="14062"/>
                </a:moveTo>
                <a:cubicBezTo>
                  <a:pt x="7969" y="14124"/>
                  <a:pt x="7906" y="14093"/>
                  <a:pt x="7844" y="14093"/>
                </a:cubicBezTo>
                <a:cubicBezTo>
                  <a:pt x="7813" y="14124"/>
                  <a:pt x="7781" y="14124"/>
                  <a:pt x="7750" y="14156"/>
                </a:cubicBezTo>
                <a:cubicBezTo>
                  <a:pt x="7750" y="14187"/>
                  <a:pt x="7813" y="14187"/>
                  <a:pt x="7813" y="14218"/>
                </a:cubicBezTo>
                <a:cubicBezTo>
                  <a:pt x="7844" y="14249"/>
                  <a:pt x="7875" y="14281"/>
                  <a:pt x="7906" y="14281"/>
                </a:cubicBezTo>
                <a:cubicBezTo>
                  <a:pt x="7938" y="14312"/>
                  <a:pt x="7969" y="14343"/>
                  <a:pt x="7969" y="14312"/>
                </a:cubicBezTo>
                <a:cubicBezTo>
                  <a:pt x="8000" y="14249"/>
                  <a:pt x="8031" y="14281"/>
                  <a:pt x="8094" y="14281"/>
                </a:cubicBezTo>
                <a:cubicBezTo>
                  <a:pt x="8125" y="14249"/>
                  <a:pt x="8156" y="14249"/>
                  <a:pt x="8219" y="14249"/>
                </a:cubicBezTo>
                <a:cubicBezTo>
                  <a:pt x="8188" y="14187"/>
                  <a:pt x="8094" y="14187"/>
                  <a:pt x="8094" y="14093"/>
                </a:cubicBezTo>
                <a:cubicBezTo>
                  <a:pt x="8063" y="14062"/>
                  <a:pt x="8000" y="14031"/>
                  <a:pt x="7938" y="14062"/>
                </a:cubicBezTo>
                <a:close/>
                <a:moveTo>
                  <a:pt x="19063" y="16562"/>
                </a:moveTo>
                <a:cubicBezTo>
                  <a:pt x="19063" y="16531"/>
                  <a:pt x="19063" y="16499"/>
                  <a:pt x="19031" y="16499"/>
                </a:cubicBezTo>
                <a:cubicBezTo>
                  <a:pt x="19000" y="16468"/>
                  <a:pt x="18906" y="16468"/>
                  <a:pt x="18906" y="16406"/>
                </a:cubicBezTo>
                <a:cubicBezTo>
                  <a:pt x="18813" y="16312"/>
                  <a:pt x="18781" y="16406"/>
                  <a:pt x="18750" y="16437"/>
                </a:cubicBezTo>
                <a:cubicBezTo>
                  <a:pt x="18719" y="16437"/>
                  <a:pt x="18719" y="16468"/>
                  <a:pt x="18688" y="16468"/>
                </a:cubicBezTo>
                <a:cubicBezTo>
                  <a:pt x="18781" y="16531"/>
                  <a:pt x="18906" y="16499"/>
                  <a:pt x="19000" y="16562"/>
                </a:cubicBezTo>
                <a:cubicBezTo>
                  <a:pt x="19031" y="16562"/>
                  <a:pt x="19063" y="16593"/>
                  <a:pt x="19063" y="16562"/>
                </a:cubicBezTo>
                <a:close/>
                <a:moveTo>
                  <a:pt x="20531" y="16781"/>
                </a:moveTo>
                <a:cubicBezTo>
                  <a:pt x="20500" y="16749"/>
                  <a:pt x="20500" y="16749"/>
                  <a:pt x="20469" y="16781"/>
                </a:cubicBezTo>
                <a:cubicBezTo>
                  <a:pt x="20438" y="16812"/>
                  <a:pt x="20406" y="16843"/>
                  <a:pt x="20375" y="16874"/>
                </a:cubicBezTo>
                <a:cubicBezTo>
                  <a:pt x="20375" y="16874"/>
                  <a:pt x="20375" y="16874"/>
                  <a:pt x="20406" y="16874"/>
                </a:cubicBezTo>
                <a:cubicBezTo>
                  <a:pt x="20500" y="16906"/>
                  <a:pt x="20594" y="16906"/>
                  <a:pt x="20688" y="16968"/>
                </a:cubicBezTo>
                <a:cubicBezTo>
                  <a:pt x="20688" y="16937"/>
                  <a:pt x="20719" y="16968"/>
                  <a:pt x="20719" y="16937"/>
                </a:cubicBezTo>
                <a:cubicBezTo>
                  <a:pt x="20750" y="16906"/>
                  <a:pt x="20719" y="16906"/>
                  <a:pt x="20719" y="16906"/>
                </a:cubicBezTo>
                <a:cubicBezTo>
                  <a:pt x="20656" y="16843"/>
                  <a:pt x="20594" y="16812"/>
                  <a:pt x="20531" y="16781"/>
                </a:cubicBezTo>
                <a:close/>
                <a:moveTo>
                  <a:pt x="24719" y="18124"/>
                </a:moveTo>
                <a:cubicBezTo>
                  <a:pt x="24750" y="18124"/>
                  <a:pt x="24781" y="18093"/>
                  <a:pt x="24750" y="18062"/>
                </a:cubicBezTo>
                <a:cubicBezTo>
                  <a:pt x="24719" y="17999"/>
                  <a:pt x="24656" y="17906"/>
                  <a:pt x="24563" y="17906"/>
                </a:cubicBezTo>
                <a:cubicBezTo>
                  <a:pt x="24563" y="17874"/>
                  <a:pt x="24531" y="17874"/>
                  <a:pt x="24531" y="17906"/>
                </a:cubicBezTo>
                <a:cubicBezTo>
                  <a:pt x="24500" y="17937"/>
                  <a:pt x="24500" y="17968"/>
                  <a:pt x="24500" y="17999"/>
                </a:cubicBezTo>
                <a:cubicBezTo>
                  <a:pt x="24594" y="18031"/>
                  <a:pt x="24656" y="18093"/>
                  <a:pt x="24719" y="18124"/>
                </a:cubicBezTo>
                <a:close/>
                <a:moveTo>
                  <a:pt x="16625" y="15749"/>
                </a:moveTo>
                <a:cubicBezTo>
                  <a:pt x="16625" y="15749"/>
                  <a:pt x="16625" y="15781"/>
                  <a:pt x="16656" y="15781"/>
                </a:cubicBezTo>
                <a:cubicBezTo>
                  <a:pt x="16656" y="15781"/>
                  <a:pt x="16656" y="15781"/>
                  <a:pt x="16656" y="15812"/>
                </a:cubicBezTo>
                <a:cubicBezTo>
                  <a:pt x="16656" y="15843"/>
                  <a:pt x="16656" y="15843"/>
                  <a:pt x="16688" y="15874"/>
                </a:cubicBezTo>
                <a:cubicBezTo>
                  <a:pt x="16688" y="15906"/>
                  <a:pt x="16719" y="15968"/>
                  <a:pt x="16750" y="15999"/>
                </a:cubicBezTo>
                <a:cubicBezTo>
                  <a:pt x="16750" y="16062"/>
                  <a:pt x="16781" y="16031"/>
                  <a:pt x="16813" y="15999"/>
                </a:cubicBezTo>
                <a:cubicBezTo>
                  <a:pt x="16875" y="15999"/>
                  <a:pt x="16906" y="15968"/>
                  <a:pt x="16938" y="15937"/>
                </a:cubicBezTo>
                <a:cubicBezTo>
                  <a:pt x="16969" y="15906"/>
                  <a:pt x="17000" y="15906"/>
                  <a:pt x="16969" y="15874"/>
                </a:cubicBezTo>
                <a:cubicBezTo>
                  <a:pt x="16969" y="15843"/>
                  <a:pt x="16938" y="15874"/>
                  <a:pt x="16938" y="15843"/>
                </a:cubicBezTo>
                <a:cubicBezTo>
                  <a:pt x="16906" y="15812"/>
                  <a:pt x="16813" y="15812"/>
                  <a:pt x="16813" y="15749"/>
                </a:cubicBezTo>
                <a:cubicBezTo>
                  <a:pt x="16719" y="15749"/>
                  <a:pt x="16656" y="15624"/>
                  <a:pt x="16563" y="15624"/>
                </a:cubicBezTo>
                <a:cubicBezTo>
                  <a:pt x="16594" y="15656"/>
                  <a:pt x="16594" y="15687"/>
                  <a:pt x="16625" y="15749"/>
                </a:cubicBezTo>
                <a:close/>
                <a:moveTo>
                  <a:pt x="16813" y="15749"/>
                </a:moveTo>
                <a:cubicBezTo>
                  <a:pt x="16844" y="15718"/>
                  <a:pt x="16875" y="15749"/>
                  <a:pt x="16906" y="15781"/>
                </a:cubicBezTo>
                <a:cubicBezTo>
                  <a:pt x="16969" y="15812"/>
                  <a:pt x="17000" y="15874"/>
                  <a:pt x="17063" y="15843"/>
                </a:cubicBezTo>
                <a:cubicBezTo>
                  <a:pt x="17125" y="15812"/>
                  <a:pt x="17219" y="15749"/>
                  <a:pt x="17281" y="15687"/>
                </a:cubicBezTo>
                <a:cubicBezTo>
                  <a:pt x="17125" y="15593"/>
                  <a:pt x="16969" y="15468"/>
                  <a:pt x="16813" y="15374"/>
                </a:cubicBezTo>
                <a:cubicBezTo>
                  <a:pt x="16781" y="15343"/>
                  <a:pt x="16781" y="15343"/>
                  <a:pt x="16750" y="15343"/>
                </a:cubicBezTo>
                <a:lnTo>
                  <a:pt x="16750" y="15343"/>
                </a:lnTo>
                <a:cubicBezTo>
                  <a:pt x="16688" y="15406"/>
                  <a:pt x="16594" y="15437"/>
                  <a:pt x="16500" y="15499"/>
                </a:cubicBezTo>
                <a:cubicBezTo>
                  <a:pt x="16563" y="15531"/>
                  <a:pt x="16625" y="15562"/>
                  <a:pt x="16656" y="15593"/>
                </a:cubicBezTo>
                <a:cubicBezTo>
                  <a:pt x="16688" y="15656"/>
                  <a:pt x="16781" y="15656"/>
                  <a:pt x="16813" y="15749"/>
                </a:cubicBezTo>
                <a:close/>
                <a:moveTo>
                  <a:pt x="11656" y="14406"/>
                </a:moveTo>
                <a:cubicBezTo>
                  <a:pt x="11625" y="14374"/>
                  <a:pt x="11625" y="14406"/>
                  <a:pt x="11625" y="14437"/>
                </a:cubicBezTo>
                <a:cubicBezTo>
                  <a:pt x="11625" y="14437"/>
                  <a:pt x="11625" y="14437"/>
                  <a:pt x="11625" y="14468"/>
                </a:cubicBezTo>
                <a:cubicBezTo>
                  <a:pt x="11656" y="14468"/>
                  <a:pt x="11656" y="14499"/>
                  <a:pt x="11656" y="14531"/>
                </a:cubicBezTo>
                <a:cubicBezTo>
                  <a:pt x="11656" y="14531"/>
                  <a:pt x="11656" y="14562"/>
                  <a:pt x="11656" y="14562"/>
                </a:cubicBezTo>
                <a:cubicBezTo>
                  <a:pt x="11656" y="14562"/>
                  <a:pt x="11656" y="14562"/>
                  <a:pt x="11656" y="14562"/>
                </a:cubicBezTo>
                <a:cubicBezTo>
                  <a:pt x="11656" y="14593"/>
                  <a:pt x="11656" y="14593"/>
                  <a:pt x="11656" y="14624"/>
                </a:cubicBezTo>
                <a:cubicBezTo>
                  <a:pt x="11656" y="14624"/>
                  <a:pt x="11656" y="14656"/>
                  <a:pt x="11656" y="14656"/>
                </a:cubicBezTo>
                <a:cubicBezTo>
                  <a:pt x="11656" y="14656"/>
                  <a:pt x="11656" y="14687"/>
                  <a:pt x="11656" y="14687"/>
                </a:cubicBezTo>
                <a:cubicBezTo>
                  <a:pt x="11656" y="14749"/>
                  <a:pt x="11625" y="14812"/>
                  <a:pt x="11688" y="14843"/>
                </a:cubicBezTo>
                <a:cubicBezTo>
                  <a:pt x="11719" y="14843"/>
                  <a:pt x="11781" y="14812"/>
                  <a:pt x="11813" y="14781"/>
                </a:cubicBezTo>
                <a:cubicBezTo>
                  <a:pt x="11813" y="14781"/>
                  <a:pt x="11844" y="14781"/>
                  <a:pt x="11875" y="14781"/>
                </a:cubicBezTo>
                <a:cubicBezTo>
                  <a:pt x="11906" y="14749"/>
                  <a:pt x="11969" y="14749"/>
                  <a:pt x="12000" y="14718"/>
                </a:cubicBezTo>
                <a:cubicBezTo>
                  <a:pt x="12031" y="14718"/>
                  <a:pt x="12063" y="14687"/>
                  <a:pt x="12000" y="14656"/>
                </a:cubicBezTo>
                <a:cubicBezTo>
                  <a:pt x="11906" y="14562"/>
                  <a:pt x="11781" y="14499"/>
                  <a:pt x="11656" y="14406"/>
                </a:cubicBezTo>
                <a:close/>
                <a:moveTo>
                  <a:pt x="10219" y="14843"/>
                </a:moveTo>
                <a:cubicBezTo>
                  <a:pt x="10250" y="14812"/>
                  <a:pt x="10281" y="14812"/>
                  <a:pt x="10250" y="14781"/>
                </a:cubicBezTo>
                <a:cubicBezTo>
                  <a:pt x="10250" y="14749"/>
                  <a:pt x="10219" y="14718"/>
                  <a:pt x="10188" y="14718"/>
                </a:cubicBezTo>
                <a:cubicBezTo>
                  <a:pt x="10125" y="14749"/>
                  <a:pt x="10063" y="14781"/>
                  <a:pt x="9969" y="14781"/>
                </a:cubicBezTo>
                <a:cubicBezTo>
                  <a:pt x="9969" y="14781"/>
                  <a:pt x="9969" y="14812"/>
                  <a:pt x="10000" y="14843"/>
                </a:cubicBezTo>
                <a:cubicBezTo>
                  <a:pt x="10094" y="14937"/>
                  <a:pt x="10125" y="14937"/>
                  <a:pt x="10219" y="14843"/>
                </a:cubicBezTo>
                <a:close/>
                <a:moveTo>
                  <a:pt x="19594" y="16624"/>
                </a:moveTo>
                <a:cubicBezTo>
                  <a:pt x="19563" y="16687"/>
                  <a:pt x="19563" y="16687"/>
                  <a:pt x="19594" y="16687"/>
                </a:cubicBezTo>
                <a:cubicBezTo>
                  <a:pt x="19719" y="16687"/>
                  <a:pt x="19813" y="16749"/>
                  <a:pt x="19969" y="16781"/>
                </a:cubicBezTo>
                <a:cubicBezTo>
                  <a:pt x="19906" y="16687"/>
                  <a:pt x="19813" y="16656"/>
                  <a:pt x="19750" y="16624"/>
                </a:cubicBezTo>
                <a:cubicBezTo>
                  <a:pt x="19688" y="16562"/>
                  <a:pt x="19625" y="16562"/>
                  <a:pt x="19594" y="16624"/>
                </a:cubicBezTo>
                <a:close/>
                <a:moveTo>
                  <a:pt x="7969" y="14406"/>
                </a:moveTo>
                <a:cubicBezTo>
                  <a:pt x="7969" y="14406"/>
                  <a:pt x="7938" y="14374"/>
                  <a:pt x="7906" y="14406"/>
                </a:cubicBezTo>
                <a:cubicBezTo>
                  <a:pt x="7813" y="14437"/>
                  <a:pt x="7719" y="14437"/>
                  <a:pt x="7625" y="14468"/>
                </a:cubicBezTo>
                <a:cubicBezTo>
                  <a:pt x="7781" y="14531"/>
                  <a:pt x="7969" y="14531"/>
                  <a:pt x="8125" y="14562"/>
                </a:cubicBezTo>
                <a:cubicBezTo>
                  <a:pt x="8063" y="14531"/>
                  <a:pt x="8031" y="14468"/>
                  <a:pt x="7969" y="14406"/>
                </a:cubicBezTo>
                <a:close/>
                <a:moveTo>
                  <a:pt x="6156" y="13999"/>
                </a:moveTo>
                <a:cubicBezTo>
                  <a:pt x="6188" y="14031"/>
                  <a:pt x="6250" y="14062"/>
                  <a:pt x="6281" y="13999"/>
                </a:cubicBezTo>
                <a:cubicBezTo>
                  <a:pt x="6281" y="13999"/>
                  <a:pt x="6313" y="13999"/>
                  <a:pt x="6313" y="13999"/>
                </a:cubicBezTo>
                <a:cubicBezTo>
                  <a:pt x="6344" y="14062"/>
                  <a:pt x="6375" y="14124"/>
                  <a:pt x="6438" y="14031"/>
                </a:cubicBezTo>
                <a:cubicBezTo>
                  <a:pt x="6469" y="14062"/>
                  <a:pt x="6469" y="14062"/>
                  <a:pt x="6500" y="14062"/>
                </a:cubicBezTo>
                <a:cubicBezTo>
                  <a:pt x="6375" y="13843"/>
                  <a:pt x="6219" y="13812"/>
                  <a:pt x="6031" y="13937"/>
                </a:cubicBezTo>
                <a:cubicBezTo>
                  <a:pt x="6063" y="13968"/>
                  <a:pt x="6063" y="14062"/>
                  <a:pt x="6156" y="13999"/>
                </a:cubicBezTo>
                <a:close/>
                <a:moveTo>
                  <a:pt x="6000" y="13468"/>
                </a:moveTo>
                <a:cubicBezTo>
                  <a:pt x="6156" y="13499"/>
                  <a:pt x="6250" y="13531"/>
                  <a:pt x="6344" y="13562"/>
                </a:cubicBezTo>
                <a:cubicBezTo>
                  <a:pt x="6375" y="13562"/>
                  <a:pt x="6406" y="13562"/>
                  <a:pt x="6406" y="13531"/>
                </a:cubicBezTo>
                <a:cubicBezTo>
                  <a:pt x="6406" y="13499"/>
                  <a:pt x="6375" y="13531"/>
                  <a:pt x="6375" y="13531"/>
                </a:cubicBezTo>
                <a:cubicBezTo>
                  <a:pt x="6344" y="13531"/>
                  <a:pt x="6313" y="13499"/>
                  <a:pt x="6313" y="13499"/>
                </a:cubicBezTo>
                <a:cubicBezTo>
                  <a:pt x="6281" y="13374"/>
                  <a:pt x="6250" y="13343"/>
                  <a:pt x="6125" y="13406"/>
                </a:cubicBezTo>
                <a:cubicBezTo>
                  <a:pt x="6094" y="13437"/>
                  <a:pt x="6063" y="13437"/>
                  <a:pt x="6000" y="13468"/>
                </a:cubicBezTo>
                <a:close/>
                <a:moveTo>
                  <a:pt x="17938" y="16187"/>
                </a:moveTo>
                <a:cubicBezTo>
                  <a:pt x="17875" y="16218"/>
                  <a:pt x="17844" y="16249"/>
                  <a:pt x="17813" y="16281"/>
                </a:cubicBezTo>
                <a:cubicBezTo>
                  <a:pt x="17969" y="16312"/>
                  <a:pt x="18125" y="16374"/>
                  <a:pt x="18281" y="16406"/>
                </a:cubicBezTo>
                <a:cubicBezTo>
                  <a:pt x="18281" y="16406"/>
                  <a:pt x="18281" y="16406"/>
                  <a:pt x="18313" y="16374"/>
                </a:cubicBezTo>
                <a:cubicBezTo>
                  <a:pt x="18188" y="16312"/>
                  <a:pt x="18094" y="16249"/>
                  <a:pt x="18000" y="16156"/>
                </a:cubicBezTo>
                <a:cubicBezTo>
                  <a:pt x="17969" y="16156"/>
                  <a:pt x="17938" y="16156"/>
                  <a:pt x="17938" y="16187"/>
                </a:cubicBezTo>
                <a:close/>
                <a:moveTo>
                  <a:pt x="22625" y="17968"/>
                </a:moveTo>
                <a:cubicBezTo>
                  <a:pt x="22625" y="17968"/>
                  <a:pt x="22625" y="17968"/>
                  <a:pt x="22625" y="17968"/>
                </a:cubicBezTo>
                <a:cubicBezTo>
                  <a:pt x="22625" y="17968"/>
                  <a:pt x="22625" y="17968"/>
                  <a:pt x="22625" y="17968"/>
                </a:cubicBezTo>
                <a:close/>
                <a:moveTo>
                  <a:pt x="23438" y="17749"/>
                </a:moveTo>
                <a:cubicBezTo>
                  <a:pt x="23438" y="17656"/>
                  <a:pt x="23500" y="17656"/>
                  <a:pt x="23531" y="17687"/>
                </a:cubicBezTo>
                <a:cubicBezTo>
                  <a:pt x="23594" y="17718"/>
                  <a:pt x="23688" y="17749"/>
                  <a:pt x="23781" y="17718"/>
                </a:cubicBezTo>
                <a:cubicBezTo>
                  <a:pt x="23563" y="17656"/>
                  <a:pt x="23156" y="17562"/>
                  <a:pt x="23063" y="17593"/>
                </a:cubicBezTo>
                <a:cubicBezTo>
                  <a:pt x="23094" y="17593"/>
                  <a:pt x="23125" y="17593"/>
                  <a:pt x="23125" y="17624"/>
                </a:cubicBezTo>
                <a:cubicBezTo>
                  <a:pt x="23188" y="17687"/>
                  <a:pt x="23250" y="17687"/>
                  <a:pt x="23344" y="17656"/>
                </a:cubicBezTo>
                <a:cubicBezTo>
                  <a:pt x="23406" y="17624"/>
                  <a:pt x="23438" y="17656"/>
                  <a:pt x="23438" y="17749"/>
                </a:cubicBezTo>
                <a:close/>
                <a:moveTo>
                  <a:pt x="16906" y="16062"/>
                </a:moveTo>
                <a:cubicBezTo>
                  <a:pt x="16969" y="16093"/>
                  <a:pt x="17313" y="16187"/>
                  <a:pt x="17406" y="16187"/>
                </a:cubicBezTo>
                <a:cubicBezTo>
                  <a:pt x="17344" y="16124"/>
                  <a:pt x="17281" y="16093"/>
                  <a:pt x="17250" y="16062"/>
                </a:cubicBezTo>
                <a:cubicBezTo>
                  <a:pt x="17063" y="15937"/>
                  <a:pt x="17063" y="15937"/>
                  <a:pt x="16906" y="16062"/>
                </a:cubicBezTo>
                <a:close/>
                <a:moveTo>
                  <a:pt x="22656" y="17374"/>
                </a:moveTo>
                <a:cubicBezTo>
                  <a:pt x="22688" y="17374"/>
                  <a:pt x="22688" y="17281"/>
                  <a:pt x="22719" y="17249"/>
                </a:cubicBezTo>
                <a:cubicBezTo>
                  <a:pt x="22750" y="17218"/>
                  <a:pt x="22750" y="17187"/>
                  <a:pt x="22688" y="17156"/>
                </a:cubicBezTo>
                <a:cubicBezTo>
                  <a:pt x="22656" y="17156"/>
                  <a:pt x="22594" y="17124"/>
                  <a:pt x="22531" y="17093"/>
                </a:cubicBezTo>
                <a:cubicBezTo>
                  <a:pt x="22500" y="17093"/>
                  <a:pt x="22500" y="17062"/>
                  <a:pt x="22469" y="17093"/>
                </a:cubicBezTo>
                <a:cubicBezTo>
                  <a:pt x="22438" y="17093"/>
                  <a:pt x="22406" y="17124"/>
                  <a:pt x="22438" y="17187"/>
                </a:cubicBezTo>
                <a:cubicBezTo>
                  <a:pt x="22469" y="17218"/>
                  <a:pt x="22500" y="17281"/>
                  <a:pt x="22531" y="17343"/>
                </a:cubicBezTo>
                <a:cubicBezTo>
                  <a:pt x="22563" y="17343"/>
                  <a:pt x="22594" y="17374"/>
                  <a:pt x="22656" y="17374"/>
                </a:cubicBezTo>
                <a:close/>
                <a:moveTo>
                  <a:pt x="22563" y="17187"/>
                </a:moveTo>
                <a:cubicBezTo>
                  <a:pt x="22594" y="17187"/>
                  <a:pt x="22625" y="17187"/>
                  <a:pt x="22656" y="17218"/>
                </a:cubicBezTo>
                <a:cubicBezTo>
                  <a:pt x="22656" y="17249"/>
                  <a:pt x="22625" y="17281"/>
                  <a:pt x="22625" y="17281"/>
                </a:cubicBezTo>
                <a:cubicBezTo>
                  <a:pt x="22594" y="17249"/>
                  <a:pt x="22563" y="17249"/>
                  <a:pt x="22563" y="17218"/>
                </a:cubicBezTo>
                <a:cubicBezTo>
                  <a:pt x="22563" y="17187"/>
                  <a:pt x="22563" y="17187"/>
                  <a:pt x="22563" y="17187"/>
                </a:cubicBezTo>
                <a:close/>
                <a:moveTo>
                  <a:pt x="24844" y="18312"/>
                </a:moveTo>
                <a:cubicBezTo>
                  <a:pt x="24875" y="18343"/>
                  <a:pt x="24938" y="18374"/>
                  <a:pt x="24969" y="18312"/>
                </a:cubicBezTo>
                <a:cubicBezTo>
                  <a:pt x="25000" y="18281"/>
                  <a:pt x="25000" y="18281"/>
                  <a:pt x="25031" y="18312"/>
                </a:cubicBezTo>
                <a:cubicBezTo>
                  <a:pt x="25094" y="18343"/>
                  <a:pt x="25125" y="18406"/>
                  <a:pt x="25250" y="18406"/>
                </a:cubicBezTo>
                <a:cubicBezTo>
                  <a:pt x="25125" y="18312"/>
                  <a:pt x="25031" y="18249"/>
                  <a:pt x="24938" y="18156"/>
                </a:cubicBezTo>
                <a:cubicBezTo>
                  <a:pt x="24906" y="18156"/>
                  <a:pt x="24906" y="18093"/>
                  <a:pt x="24844" y="18124"/>
                </a:cubicBezTo>
                <a:cubicBezTo>
                  <a:pt x="24844" y="18124"/>
                  <a:pt x="24844" y="18187"/>
                  <a:pt x="24844" y="18187"/>
                </a:cubicBezTo>
                <a:cubicBezTo>
                  <a:pt x="24844" y="18218"/>
                  <a:pt x="24844" y="18249"/>
                  <a:pt x="24813" y="18281"/>
                </a:cubicBezTo>
                <a:cubicBezTo>
                  <a:pt x="24781" y="18312"/>
                  <a:pt x="24813" y="18312"/>
                  <a:pt x="24844" y="18312"/>
                </a:cubicBezTo>
                <a:close/>
                <a:moveTo>
                  <a:pt x="24906" y="18249"/>
                </a:moveTo>
                <a:cubicBezTo>
                  <a:pt x="24906" y="18249"/>
                  <a:pt x="24906" y="18249"/>
                  <a:pt x="24938" y="18249"/>
                </a:cubicBezTo>
                <a:cubicBezTo>
                  <a:pt x="24938" y="18281"/>
                  <a:pt x="24906" y="18281"/>
                  <a:pt x="24906" y="18281"/>
                </a:cubicBezTo>
                <a:cubicBezTo>
                  <a:pt x="24906" y="18281"/>
                  <a:pt x="24875" y="18281"/>
                  <a:pt x="24875" y="18249"/>
                </a:cubicBezTo>
                <a:cubicBezTo>
                  <a:pt x="24875" y="18249"/>
                  <a:pt x="24875" y="18249"/>
                  <a:pt x="24906" y="18249"/>
                </a:cubicBezTo>
                <a:close/>
                <a:moveTo>
                  <a:pt x="7813" y="17562"/>
                </a:moveTo>
                <a:cubicBezTo>
                  <a:pt x="7844" y="17562"/>
                  <a:pt x="7844" y="17531"/>
                  <a:pt x="7844" y="17499"/>
                </a:cubicBezTo>
                <a:cubicBezTo>
                  <a:pt x="7844" y="17499"/>
                  <a:pt x="7844" y="17499"/>
                  <a:pt x="7844" y="17499"/>
                </a:cubicBezTo>
                <a:cubicBezTo>
                  <a:pt x="7813" y="17499"/>
                  <a:pt x="7781" y="17499"/>
                  <a:pt x="7781" y="17531"/>
                </a:cubicBezTo>
                <a:cubicBezTo>
                  <a:pt x="7688" y="17593"/>
                  <a:pt x="7625" y="17687"/>
                  <a:pt x="7531" y="17749"/>
                </a:cubicBezTo>
                <a:cubicBezTo>
                  <a:pt x="7406" y="17874"/>
                  <a:pt x="7281" y="17999"/>
                  <a:pt x="7156" y="18124"/>
                </a:cubicBezTo>
                <a:cubicBezTo>
                  <a:pt x="7125" y="18124"/>
                  <a:pt x="7031" y="18124"/>
                  <a:pt x="7094" y="18187"/>
                </a:cubicBezTo>
                <a:cubicBezTo>
                  <a:pt x="7125" y="18218"/>
                  <a:pt x="7156" y="18187"/>
                  <a:pt x="7188" y="18156"/>
                </a:cubicBezTo>
                <a:cubicBezTo>
                  <a:pt x="7313" y="18062"/>
                  <a:pt x="7438" y="17937"/>
                  <a:pt x="7531" y="17843"/>
                </a:cubicBezTo>
                <a:cubicBezTo>
                  <a:pt x="7625" y="17749"/>
                  <a:pt x="7719" y="17687"/>
                  <a:pt x="7813" y="17562"/>
                </a:cubicBezTo>
                <a:close/>
                <a:moveTo>
                  <a:pt x="15469" y="15656"/>
                </a:moveTo>
                <a:cubicBezTo>
                  <a:pt x="15406" y="15624"/>
                  <a:pt x="15344" y="15624"/>
                  <a:pt x="15344" y="15562"/>
                </a:cubicBezTo>
                <a:cubicBezTo>
                  <a:pt x="15406" y="15562"/>
                  <a:pt x="15406" y="15562"/>
                  <a:pt x="15438" y="15593"/>
                </a:cubicBezTo>
                <a:cubicBezTo>
                  <a:pt x="15531" y="15656"/>
                  <a:pt x="15594" y="15718"/>
                  <a:pt x="15688" y="15781"/>
                </a:cubicBezTo>
                <a:lnTo>
                  <a:pt x="15688" y="15781"/>
                </a:lnTo>
                <a:cubicBezTo>
                  <a:pt x="15656" y="15624"/>
                  <a:pt x="15594" y="15499"/>
                  <a:pt x="15531" y="15374"/>
                </a:cubicBezTo>
                <a:cubicBezTo>
                  <a:pt x="15531" y="15343"/>
                  <a:pt x="15500" y="15343"/>
                  <a:pt x="15500" y="15343"/>
                </a:cubicBezTo>
                <a:cubicBezTo>
                  <a:pt x="15406" y="15374"/>
                  <a:pt x="15344" y="15406"/>
                  <a:pt x="15281" y="15468"/>
                </a:cubicBezTo>
                <a:cubicBezTo>
                  <a:pt x="15250" y="15499"/>
                  <a:pt x="15344" y="15499"/>
                  <a:pt x="15344" y="15562"/>
                </a:cubicBezTo>
                <a:cubicBezTo>
                  <a:pt x="15313" y="15593"/>
                  <a:pt x="15281" y="15531"/>
                  <a:pt x="15250" y="15531"/>
                </a:cubicBezTo>
                <a:cubicBezTo>
                  <a:pt x="15219" y="15499"/>
                  <a:pt x="15188" y="15468"/>
                  <a:pt x="15188" y="15499"/>
                </a:cubicBezTo>
                <a:cubicBezTo>
                  <a:pt x="15125" y="15562"/>
                  <a:pt x="15063" y="15562"/>
                  <a:pt x="15000" y="15624"/>
                </a:cubicBezTo>
                <a:cubicBezTo>
                  <a:pt x="15188" y="15656"/>
                  <a:pt x="15344" y="15687"/>
                  <a:pt x="15531" y="15749"/>
                </a:cubicBezTo>
                <a:cubicBezTo>
                  <a:pt x="15500" y="15687"/>
                  <a:pt x="15469" y="15687"/>
                  <a:pt x="15469" y="15656"/>
                </a:cubicBezTo>
                <a:close/>
                <a:moveTo>
                  <a:pt x="8406" y="17124"/>
                </a:moveTo>
                <a:cubicBezTo>
                  <a:pt x="8406" y="17156"/>
                  <a:pt x="8375" y="17124"/>
                  <a:pt x="8375" y="17156"/>
                </a:cubicBezTo>
                <a:cubicBezTo>
                  <a:pt x="8375" y="17218"/>
                  <a:pt x="8406" y="17249"/>
                  <a:pt x="8469" y="17281"/>
                </a:cubicBezTo>
                <a:cubicBezTo>
                  <a:pt x="8500" y="17281"/>
                  <a:pt x="8500" y="17281"/>
                  <a:pt x="8531" y="17249"/>
                </a:cubicBezTo>
                <a:cubicBezTo>
                  <a:pt x="8594" y="17249"/>
                  <a:pt x="8656" y="17249"/>
                  <a:pt x="8781" y="17249"/>
                </a:cubicBezTo>
                <a:cubicBezTo>
                  <a:pt x="8719" y="17218"/>
                  <a:pt x="8719" y="17218"/>
                  <a:pt x="8688" y="17187"/>
                </a:cubicBezTo>
                <a:cubicBezTo>
                  <a:pt x="8688" y="17187"/>
                  <a:pt x="8688" y="17156"/>
                  <a:pt x="8688" y="17156"/>
                </a:cubicBezTo>
                <a:cubicBezTo>
                  <a:pt x="8719" y="17156"/>
                  <a:pt x="8719" y="17156"/>
                  <a:pt x="8750" y="17156"/>
                </a:cubicBezTo>
                <a:cubicBezTo>
                  <a:pt x="8750" y="17156"/>
                  <a:pt x="8781" y="17218"/>
                  <a:pt x="8813" y="17187"/>
                </a:cubicBezTo>
                <a:cubicBezTo>
                  <a:pt x="8781" y="17156"/>
                  <a:pt x="8750" y="17124"/>
                  <a:pt x="8750" y="17124"/>
                </a:cubicBezTo>
                <a:cubicBezTo>
                  <a:pt x="8719" y="17062"/>
                  <a:pt x="8656" y="17031"/>
                  <a:pt x="8625" y="16999"/>
                </a:cubicBezTo>
                <a:cubicBezTo>
                  <a:pt x="8625" y="16968"/>
                  <a:pt x="8594" y="16937"/>
                  <a:pt x="8563" y="16968"/>
                </a:cubicBezTo>
                <a:cubicBezTo>
                  <a:pt x="8531" y="16999"/>
                  <a:pt x="8469" y="17031"/>
                  <a:pt x="8531" y="17093"/>
                </a:cubicBezTo>
                <a:cubicBezTo>
                  <a:pt x="8500" y="17124"/>
                  <a:pt x="8438" y="17062"/>
                  <a:pt x="8406" y="17124"/>
                </a:cubicBezTo>
                <a:close/>
                <a:moveTo>
                  <a:pt x="14563" y="15499"/>
                </a:moveTo>
                <a:lnTo>
                  <a:pt x="14563" y="15499"/>
                </a:ln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2" y="15499"/>
                </a:lnTo>
                <a:lnTo>
                  <a:pt x="14563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1" y="15499"/>
                </a:lnTo>
                <a:lnTo>
                  <a:pt x="14562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0" y="15499"/>
                </a:lnTo>
                <a:lnTo>
                  <a:pt x="14561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59" y="15499"/>
                </a:lnTo>
                <a:lnTo>
                  <a:pt x="14560" y="15499"/>
                </a:lnTo>
                <a:close/>
                <a:moveTo>
                  <a:pt x="14559" y="15499"/>
                </a:moveTo>
                <a:lnTo>
                  <a:pt x="14559" y="15499"/>
                </a:lnTo>
                <a:close/>
                <a:moveTo>
                  <a:pt x="14559" y="15499"/>
                </a:moveTo>
                <a:lnTo>
                  <a:pt x="14559" y="15499"/>
                </a:lnTo>
                <a:close/>
                <a:moveTo>
                  <a:pt x="14559" y="15499"/>
                </a:moveTo>
                <a:lnTo>
                  <a:pt x="14558" y="15499"/>
                </a:lnTo>
                <a:lnTo>
                  <a:pt x="14559" y="15499"/>
                </a:lnTo>
                <a:close/>
                <a:moveTo>
                  <a:pt x="14558" y="15499"/>
                </a:moveTo>
                <a:lnTo>
                  <a:pt x="14558" y="15499"/>
                </a:lnTo>
                <a:close/>
                <a:moveTo>
                  <a:pt x="14558" y="15499"/>
                </a:moveTo>
                <a:lnTo>
                  <a:pt x="14558" y="15499"/>
                </a:lnTo>
                <a:close/>
                <a:moveTo>
                  <a:pt x="14558" y="15499"/>
                </a:moveTo>
                <a:lnTo>
                  <a:pt x="14557" y="15499"/>
                </a:lnTo>
                <a:lnTo>
                  <a:pt x="14558" y="15499"/>
                </a:lnTo>
                <a:close/>
                <a:moveTo>
                  <a:pt x="14557" y="15499"/>
                </a:moveTo>
                <a:lnTo>
                  <a:pt x="14557" y="15499"/>
                </a:lnTo>
                <a:close/>
                <a:moveTo>
                  <a:pt x="14557" y="15499"/>
                </a:moveTo>
                <a:lnTo>
                  <a:pt x="14557" y="15499"/>
                </a:lnTo>
                <a:close/>
                <a:moveTo>
                  <a:pt x="14557" y="15499"/>
                </a:moveTo>
                <a:lnTo>
                  <a:pt x="14557" y="15499"/>
                </a:lnTo>
                <a:close/>
                <a:moveTo>
                  <a:pt x="14557" y="15499"/>
                </a:moveTo>
                <a:lnTo>
                  <a:pt x="14556" y="15499"/>
                </a:lnTo>
                <a:lnTo>
                  <a:pt x="14557" y="15499"/>
                </a:lnTo>
                <a:close/>
                <a:moveTo>
                  <a:pt x="14556" y="15499"/>
                </a:moveTo>
                <a:lnTo>
                  <a:pt x="14556" y="15499"/>
                </a:lnTo>
                <a:close/>
                <a:moveTo>
                  <a:pt x="14556" y="15499"/>
                </a:moveTo>
                <a:lnTo>
                  <a:pt x="14556" y="15499"/>
                </a:lnTo>
                <a:close/>
                <a:moveTo>
                  <a:pt x="14556" y="15499"/>
                </a:moveTo>
                <a:lnTo>
                  <a:pt x="14555" y="15499"/>
                </a:lnTo>
                <a:lnTo>
                  <a:pt x="14556" y="15499"/>
                </a:lnTo>
                <a:close/>
                <a:moveTo>
                  <a:pt x="14555" y="15499"/>
                </a:moveTo>
                <a:lnTo>
                  <a:pt x="14555" y="15499"/>
                </a:lnTo>
                <a:close/>
                <a:moveTo>
                  <a:pt x="14555" y="15499"/>
                </a:moveTo>
                <a:lnTo>
                  <a:pt x="14554" y="15499"/>
                </a:lnTo>
                <a:lnTo>
                  <a:pt x="14555" y="15499"/>
                </a:lnTo>
                <a:close/>
                <a:moveTo>
                  <a:pt x="14554" y="15499"/>
                </a:moveTo>
                <a:lnTo>
                  <a:pt x="14554" y="15499"/>
                </a:lnTo>
                <a:close/>
                <a:moveTo>
                  <a:pt x="14554" y="15499"/>
                </a:moveTo>
                <a:lnTo>
                  <a:pt x="14553" y="15499"/>
                </a:lnTo>
                <a:lnTo>
                  <a:pt x="14554" y="15499"/>
                </a:lnTo>
                <a:close/>
                <a:moveTo>
                  <a:pt x="14553" y="15499"/>
                </a:moveTo>
                <a:lnTo>
                  <a:pt x="14553" y="15499"/>
                </a:lnTo>
                <a:close/>
                <a:moveTo>
                  <a:pt x="14553" y="15499"/>
                </a:moveTo>
                <a:lnTo>
                  <a:pt x="14552" y="15499"/>
                </a:lnTo>
                <a:lnTo>
                  <a:pt x="14553" y="15499"/>
                </a:lnTo>
                <a:close/>
                <a:moveTo>
                  <a:pt x="14552" y="15499"/>
                </a:moveTo>
                <a:lnTo>
                  <a:pt x="14552" y="15499"/>
                </a:lnTo>
                <a:close/>
                <a:moveTo>
                  <a:pt x="14552" y="15499"/>
                </a:moveTo>
                <a:lnTo>
                  <a:pt x="14552" y="15499"/>
                </a:lnTo>
                <a:close/>
                <a:moveTo>
                  <a:pt x="14552" y="15499"/>
                </a:moveTo>
                <a:lnTo>
                  <a:pt x="14551" y="15499"/>
                </a:lnTo>
                <a:lnTo>
                  <a:pt x="14552" y="15499"/>
                </a:lnTo>
                <a:close/>
                <a:moveTo>
                  <a:pt x="14551" y="15499"/>
                </a:moveTo>
                <a:lnTo>
                  <a:pt x="14551" y="15499"/>
                </a:lnTo>
                <a:close/>
                <a:moveTo>
                  <a:pt x="14551" y="15499"/>
                </a:moveTo>
                <a:lnTo>
                  <a:pt x="14550" y="15499"/>
                </a:lnTo>
                <a:lnTo>
                  <a:pt x="14551" y="15499"/>
                </a:lnTo>
                <a:close/>
                <a:moveTo>
                  <a:pt x="14550" y="15499"/>
                </a:moveTo>
                <a:lnTo>
                  <a:pt x="14550" y="15499"/>
                </a:lnTo>
                <a:close/>
                <a:moveTo>
                  <a:pt x="14550" y="15499"/>
                </a:moveTo>
                <a:lnTo>
                  <a:pt x="14549" y="15499"/>
                </a:lnTo>
                <a:lnTo>
                  <a:pt x="14550" y="15499"/>
                </a:lnTo>
                <a:close/>
                <a:moveTo>
                  <a:pt x="14549" y="15499"/>
                </a:moveTo>
                <a:lnTo>
                  <a:pt x="14549" y="15499"/>
                </a:lnTo>
                <a:close/>
                <a:moveTo>
                  <a:pt x="14549" y="15499"/>
                </a:moveTo>
                <a:lnTo>
                  <a:pt x="14549" y="15499"/>
                </a:lnTo>
                <a:close/>
                <a:moveTo>
                  <a:pt x="14549" y="15499"/>
                </a:moveTo>
                <a:lnTo>
                  <a:pt x="14548" y="15499"/>
                </a:lnTo>
                <a:lnTo>
                  <a:pt x="14549" y="15499"/>
                </a:lnTo>
                <a:close/>
                <a:moveTo>
                  <a:pt x="14548" y="15499"/>
                </a:moveTo>
                <a:lnTo>
                  <a:pt x="14548" y="15499"/>
                </a:lnTo>
                <a:close/>
                <a:moveTo>
                  <a:pt x="14548" y="15499"/>
                </a:moveTo>
                <a:lnTo>
                  <a:pt x="14547" y="15499"/>
                </a:lnTo>
                <a:lnTo>
                  <a:pt x="14548" y="15499"/>
                </a:lnTo>
                <a:close/>
                <a:moveTo>
                  <a:pt x="14547" y="15499"/>
                </a:moveTo>
                <a:lnTo>
                  <a:pt x="14547" y="15499"/>
                </a:lnTo>
                <a:close/>
                <a:moveTo>
                  <a:pt x="14547" y="15499"/>
                </a:moveTo>
                <a:lnTo>
                  <a:pt x="14547" y="15499"/>
                </a:lnTo>
                <a:close/>
                <a:moveTo>
                  <a:pt x="14547" y="15499"/>
                </a:moveTo>
                <a:lnTo>
                  <a:pt x="14546" y="15499"/>
                </a:lnTo>
                <a:lnTo>
                  <a:pt x="14547" y="15499"/>
                </a:lnTo>
                <a:close/>
                <a:moveTo>
                  <a:pt x="14546" y="15499"/>
                </a:moveTo>
                <a:lnTo>
                  <a:pt x="14546" y="15499"/>
                </a:lnTo>
                <a:close/>
                <a:moveTo>
                  <a:pt x="14546" y="15499"/>
                </a:moveTo>
                <a:lnTo>
                  <a:pt x="14545" y="15499"/>
                </a:lnTo>
                <a:lnTo>
                  <a:pt x="14546" y="15499"/>
                </a:lnTo>
                <a:close/>
                <a:moveTo>
                  <a:pt x="14545" y="15499"/>
                </a:moveTo>
                <a:lnTo>
                  <a:pt x="14545" y="15499"/>
                </a:lnTo>
                <a:close/>
                <a:moveTo>
                  <a:pt x="14545" y="15499"/>
                </a:moveTo>
                <a:lnTo>
                  <a:pt x="14544" y="15499"/>
                </a:lnTo>
                <a:lnTo>
                  <a:pt x="14545" y="15499"/>
                </a:lnTo>
                <a:close/>
                <a:moveTo>
                  <a:pt x="14544" y="15499"/>
                </a:moveTo>
                <a:lnTo>
                  <a:pt x="14544" y="15499"/>
                </a:lnTo>
                <a:close/>
                <a:moveTo>
                  <a:pt x="14544" y="15499"/>
                </a:moveTo>
                <a:lnTo>
                  <a:pt x="14544" y="15499"/>
                </a:lnTo>
                <a:close/>
                <a:moveTo>
                  <a:pt x="14544" y="15499"/>
                </a:moveTo>
                <a:lnTo>
                  <a:pt x="14543" y="15499"/>
                </a:lnTo>
                <a:lnTo>
                  <a:pt x="14544" y="15499"/>
                </a:lnTo>
                <a:close/>
                <a:moveTo>
                  <a:pt x="14543" y="15499"/>
                </a:moveTo>
                <a:lnTo>
                  <a:pt x="14543" y="15499"/>
                </a:lnTo>
                <a:close/>
                <a:moveTo>
                  <a:pt x="14543" y="15499"/>
                </a:moveTo>
                <a:lnTo>
                  <a:pt x="14542" y="15499"/>
                </a:lnTo>
                <a:lnTo>
                  <a:pt x="14543" y="15499"/>
                </a:lnTo>
                <a:close/>
                <a:moveTo>
                  <a:pt x="14542" y="15499"/>
                </a:moveTo>
                <a:lnTo>
                  <a:pt x="14542" y="15499"/>
                </a:lnTo>
                <a:close/>
                <a:moveTo>
                  <a:pt x="14542" y="15499"/>
                </a:moveTo>
                <a:lnTo>
                  <a:pt x="14542" y="15499"/>
                </a:lnTo>
                <a:close/>
                <a:moveTo>
                  <a:pt x="14542" y="15499"/>
                </a:moveTo>
                <a:lnTo>
                  <a:pt x="14541" y="15499"/>
                </a:lnTo>
                <a:lnTo>
                  <a:pt x="14542" y="15499"/>
                </a:lnTo>
                <a:close/>
                <a:moveTo>
                  <a:pt x="14541" y="15499"/>
                </a:moveTo>
                <a:lnTo>
                  <a:pt x="14541" y="15499"/>
                </a:lnTo>
                <a:close/>
                <a:moveTo>
                  <a:pt x="14541" y="15499"/>
                </a:moveTo>
                <a:lnTo>
                  <a:pt x="14541" y="15499"/>
                </a:lnTo>
                <a:close/>
                <a:moveTo>
                  <a:pt x="14541" y="15499"/>
                </a:moveTo>
                <a:lnTo>
                  <a:pt x="14541" y="15499"/>
                </a:lnTo>
                <a:close/>
                <a:moveTo>
                  <a:pt x="14541" y="15499"/>
                </a:moveTo>
                <a:lnTo>
                  <a:pt x="14540" y="15499"/>
                </a:lnTo>
                <a:lnTo>
                  <a:pt x="14541" y="15499"/>
                </a:lnTo>
                <a:close/>
                <a:moveTo>
                  <a:pt x="14540" y="15499"/>
                </a:moveTo>
                <a:lnTo>
                  <a:pt x="14540" y="15499"/>
                </a:lnTo>
                <a:close/>
                <a:moveTo>
                  <a:pt x="14540" y="15499"/>
                </a:moveTo>
                <a:lnTo>
                  <a:pt x="14540" y="15499"/>
                </a:lnTo>
                <a:close/>
                <a:moveTo>
                  <a:pt x="14540" y="15499"/>
                </a:moveTo>
                <a:lnTo>
                  <a:pt x="14540" y="15499"/>
                </a:lnTo>
                <a:close/>
                <a:moveTo>
                  <a:pt x="14540" y="15499"/>
                </a:moveTo>
                <a:lnTo>
                  <a:pt x="14539" y="15499"/>
                </a:lnTo>
                <a:lnTo>
                  <a:pt x="14540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1" y="15499"/>
                </a:lnTo>
                <a:cubicBezTo>
                  <a:pt x="14469" y="15437"/>
                  <a:pt x="14375" y="15374"/>
                  <a:pt x="14281" y="15312"/>
                </a:cubicBezTo>
                <a:cubicBezTo>
                  <a:pt x="14281" y="15312"/>
                  <a:pt x="14250" y="15281"/>
                  <a:pt x="14250" y="15249"/>
                </a:cubicBezTo>
                <a:cubicBezTo>
                  <a:pt x="14250" y="15249"/>
                  <a:pt x="14281" y="15249"/>
                  <a:pt x="14281" y="15249"/>
                </a:cubicBezTo>
                <a:cubicBezTo>
                  <a:pt x="14344" y="15249"/>
                  <a:pt x="14375" y="15343"/>
                  <a:pt x="14438" y="15343"/>
                </a:cubicBezTo>
                <a:cubicBezTo>
                  <a:pt x="14500" y="15437"/>
                  <a:pt x="14625" y="15468"/>
                  <a:pt x="14719" y="15562"/>
                </a:cubicBezTo>
                <a:cubicBezTo>
                  <a:pt x="14688" y="15406"/>
                  <a:pt x="14625" y="15281"/>
                  <a:pt x="14563" y="15124"/>
                </a:cubicBezTo>
                <a:cubicBezTo>
                  <a:pt x="14563" y="15124"/>
                  <a:pt x="14563" y="15093"/>
                  <a:pt x="14531" y="15124"/>
                </a:cubicBezTo>
                <a:lnTo>
                  <a:pt x="14531" y="15124"/>
                </a:lnTo>
                <a:cubicBezTo>
                  <a:pt x="14438" y="15156"/>
                  <a:pt x="14344" y="15187"/>
                  <a:pt x="14281" y="15249"/>
                </a:cubicBezTo>
                <a:cubicBezTo>
                  <a:pt x="14250" y="15249"/>
                  <a:pt x="14250" y="15249"/>
                  <a:pt x="14250" y="15249"/>
                </a:cubicBezTo>
                <a:cubicBezTo>
                  <a:pt x="14156" y="15249"/>
                  <a:pt x="14094" y="15343"/>
                  <a:pt x="14000" y="15374"/>
                </a:cubicBezTo>
                <a:cubicBezTo>
                  <a:pt x="14156" y="15406"/>
                  <a:pt x="14313" y="15468"/>
                  <a:pt x="14500" y="15499"/>
                </a:cubicBezTo>
                <a:lnTo>
                  <a:pt x="14500" y="15499"/>
                </a:lnTo>
                <a:cubicBezTo>
                  <a:pt x="14500" y="15499"/>
                  <a:pt x="14531" y="15499"/>
                  <a:pt x="14531" y="15499"/>
                </a:cubicBezTo>
                <a:lnTo>
                  <a:pt x="14539" y="15499"/>
                </a:lnTo>
                <a:close/>
                <a:moveTo>
                  <a:pt x="19344" y="16531"/>
                </a:moveTo>
                <a:cubicBezTo>
                  <a:pt x="19438" y="16656"/>
                  <a:pt x="19438" y="16656"/>
                  <a:pt x="19531" y="16562"/>
                </a:cubicBezTo>
                <a:cubicBezTo>
                  <a:pt x="19563" y="16531"/>
                  <a:pt x="19563" y="16531"/>
                  <a:pt x="19594" y="16499"/>
                </a:cubicBezTo>
                <a:cubicBezTo>
                  <a:pt x="19469" y="16406"/>
                  <a:pt x="19313" y="16312"/>
                  <a:pt x="19156" y="16249"/>
                </a:cubicBezTo>
                <a:cubicBezTo>
                  <a:pt x="19219" y="16343"/>
                  <a:pt x="19281" y="16437"/>
                  <a:pt x="19344" y="16531"/>
                </a:cubicBezTo>
                <a:close/>
                <a:moveTo>
                  <a:pt x="18719" y="16281"/>
                </a:moveTo>
                <a:cubicBezTo>
                  <a:pt x="18594" y="16187"/>
                  <a:pt x="18469" y="16124"/>
                  <a:pt x="18344" y="16031"/>
                </a:cubicBezTo>
                <a:cubicBezTo>
                  <a:pt x="18406" y="16187"/>
                  <a:pt x="18500" y="16312"/>
                  <a:pt x="18563" y="16468"/>
                </a:cubicBezTo>
                <a:cubicBezTo>
                  <a:pt x="18625" y="16406"/>
                  <a:pt x="18656" y="16374"/>
                  <a:pt x="18719" y="16343"/>
                </a:cubicBezTo>
                <a:cubicBezTo>
                  <a:pt x="18750" y="16312"/>
                  <a:pt x="18750" y="16312"/>
                  <a:pt x="18719" y="16281"/>
                </a:cubicBezTo>
                <a:close/>
                <a:moveTo>
                  <a:pt x="20125" y="16812"/>
                </a:moveTo>
                <a:cubicBezTo>
                  <a:pt x="20125" y="16812"/>
                  <a:pt x="20125" y="16781"/>
                  <a:pt x="20125" y="16781"/>
                </a:cubicBezTo>
                <a:cubicBezTo>
                  <a:pt x="20094" y="16749"/>
                  <a:pt x="20063" y="16687"/>
                  <a:pt x="20031" y="16624"/>
                </a:cubicBezTo>
                <a:cubicBezTo>
                  <a:pt x="20000" y="16593"/>
                  <a:pt x="19969" y="16531"/>
                  <a:pt x="19938" y="16499"/>
                </a:cubicBezTo>
                <a:cubicBezTo>
                  <a:pt x="19844" y="16343"/>
                  <a:pt x="19844" y="16343"/>
                  <a:pt x="19719" y="16499"/>
                </a:cubicBezTo>
                <a:cubicBezTo>
                  <a:pt x="19719" y="16499"/>
                  <a:pt x="19688" y="16531"/>
                  <a:pt x="19719" y="16531"/>
                </a:cubicBezTo>
                <a:cubicBezTo>
                  <a:pt x="19844" y="16624"/>
                  <a:pt x="20000" y="16718"/>
                  <a:pt x="20125" y="16812"/>
                </a:cubicBezTo>
                <a:close/>
                <a:moveTo>
                  <a:pt x="13156" y="15031"/>
                </a:moveTo>
                <a:cubicBezTo>
                  <a:pt x="13094" y="15062"/>
                  <a:pt x="13031" y="15093"/>
                  <a:pt x="12906" y="15124"/>
                </a:cubicBezTo>
                <a:cubicBezTo>
                  <a:pt x="13125" y="15187"/>
                  <a:pt x="13313" y="15218"/>
                  <a:pt x="13469" y="15249"/>
                </a:cubicBezTo>
                <a:cubicBezTo>
                  <a:pt x="13469" y="15249"/>
                  <a:pt x="13500" y="15249"/>
                  <a:pt x="13500" y="15249"/>
                </a:cubicBezTo>
                <a:cubicBezTo>
                  <a:pt x="13406" y="15156"/>
                  <a:pt x="13313" y="15093"/>
                  <a:pt x="13219" y="15031"/>
                </a:cubicBezTo>
                <a:cubicBezTo>
                  <a:pt x="13188" y="14999"/>
                  <a:pt x="13188" y="14999"/>
                  <a:pt x="13156" y="15031"/>
                </a:cubicBezTo>
                <a:close/>
                <a:moveTo>
                  <a:pt x="12094" y="14781"/>
                </a:moveTo>
                <a:cubicBezTo>
                  <a:pt x="12031" y="14812"/>
                  <a:pt x="11938" y="14812"/>
                  <a:pt x="11844" y="14874"/>
                </a:cubicBezTo>
                <a:cubicBezTo>
                  <a:pt x="12063" y="14906"/>
                  <a:pt x="12250" y="14968"/>
                  <a:pt x="12438" y="14999"/>
                </a:cubicBezTo>
                <a:cubicBezTo>
                  <a:pt x="12344" y="14937"/>
                  <a:pt x="12250" y="14874"/>
                  <a:pt x="12188" y="14781"/>
                </a:cubicBezTo>
                <a:cubicBezTo>
                  <a:pt x="12156" y="14781"/>
                  <a:pt x="12125" y="14749"/>
                  <a:pt x="12094" y="14781"/>
                </a:cubicBezTo>
                <a:close/>
                <a:moveTo>
                  <a:pt x="7625" y="14406"/>
                </a:moveTo>
                <a:cubicBezTo>
                  <a:pt x="7688" y="14343"/>
                  <a:pt x="7781" y="14343"/>
                  <a:pt x="7844" y="14343"/>
                </a:cubicBezTo>
                <a:cubicBezTo>
                  <a:pt x="7719" y="14156"/>
                  <a:pt x="7563" y="14156"/>
                  <a:pt x="7375" y="14249"/>
                </a:cubicBezTo>
                <a:cubicBezTo>
                  <a:pt x="7438" y="14281"/>
                  <a:pt x="7500" y="14343"/>
                  <a:pt x="7563" y="14406"/>
                </a:cubicBezTo>
                <a:cubicBezTo>
                  <a:pt x="7563" y="14406"/>
                  <a:pt x="7594" y="14406"/>
                  <a:pt x="7625" y="14406"/>
                </a:cubicBezTo>
                <a:close/>
                <a:moveTo>
                  <a:pt x="12688" y="8468"/>
                </a:moveTo>
                <a:cubicBezTo>
                  <a:pt x="12688" y="8468"/>
                  <a:pt x="12688" y="8468"/>
                  <a:pt x="12688" y="8468"/>
                </a:cubicBezTo>
                <a:close/>
                <a:moveTo>
                  <a:pt x="18875" y="16312"/>
                </a:moveTo>
                <a:cubicBezTo>
                  <a:pt x="18906" y="16343"/>
                  <a:pt x="18938" y="16374"/>
                  <a:pt x="18969" y="16406"/>
                </a:cubicBezTo>
                <a:cubicBezTo>
                  <a:pt x="19063" y="16468"/>
                  <a:pt x="19156" y="16531"/>
                  <a:pt x="19281" y="16593"/>
                </a:cubicBezTo>
                <a:cubicBezTo>
                  <a:pt x="19281" y="16593"/>
                  <a:pt x="19281" y="16593"/>
                  <a:pt x="19281" y="16593"/>
                </a:cubicBezTo>
                <a:cubicBezTo>
                  <a:pt x="19281" y="16593"/>
                  <a:pt x="19281" y="16624"/>
                  <a:pt x="19313" y="16593"/>
                </a:cubicBezTo>
                <a:cubicBezTo>
                  <a:pt x="19313" y="16593"/>
                  <a:pt x="19281" y="16593"/>
                  <a:pt x="19281" y="16593"/>
                </a:cubicBezTo>
                <a:cubicBezTo>
                  <a:pt x="19219" y="16437"/>
                  <a:pt x="19125" y="16312"/>
                  <a:pt x="19031" y="16156"/>
                </a:cubicBezTo>
                <a:cubicBezTo>
                  <a:pt x="18969" y="16218"/>
                  <a:pt x="18906" y="16281"/>
                  <a:pt x="18875" y="16312"/>
                </a:cubicBezTo>
                <a:close/>
                <a:moveTo>
                  <a:pt x="13594" y="14937"/>
                </a:moveTo>
                <a:cubicBezTo>
                  <a:pt x="13594" y="14874"/>
                  <a:pt x="13531" y="14874"/>
                  <a:pt x="13469" y="14906"/>
                </a:cubicBezTo>
                <a:cubicBezTo>
                  <a:pt x="13469" y="14906"/>
                  <a:pt x="13438" y="14906"/>
                  <a:pt x="13406" y="14937"/>
                </a:cubicBezTo>
                <a:cubicBezTo>
                  <a:pt x="13406" y="14937"/>
                  <a:pt x="13406" y="14937"/>
                  <a:pt x="13406" y="14937"/>
                </a:cubicBezTo>
                <a:cubicBezTo>
                  <a:pt x="13344" y="14937"/>
                  <a:pt x="13281" y="14937"/>
                  <a:pt x="13250" y="14999"/>
                </a:cubicBezTo>
                <a:cubicBezTo>
                  <a:pt x="13281" y="15031"/>
                  <a:pt x="13313" y="15062"/>
                  <a:pt x="13344" y="15062"/>
                </a:cubicBezTo>
                <a:cubicBezTo>
                  <a:pt x="13469" y="15156"/>
                  <a:pt x="13563" y="15218"/>
                  <a:pt x="13688" y="15312"/>
                </a:cubicBezTo>
                <a:cubicBezTo>
                  <a:pt x="13656" y="15187"/>
                  <a:pt x="13625" y="15062"/>
                  <a:pt x="13594" y="14937"/>
                </a:cubicBezTo>
                <a:close/>
                <a:moveTo>
                  <a:pt x="8844" y="14687"/>
                </a:moveTo>
                <a:cubicBezTo>
                  <a:pt x="8875" y="14749"/>
                  <a:pt x="8906" y="14749"/>
                  <a:pt x="8938" y="14718"/>
                </a:cubicBezTo>
                <a:cubicBezTo>
                  <a:pt x="9000" y="14687"/>
                  <a:pt x="9063" y="14656"/>
                  <a:pt x="9156" y="14624"/>
                </a:cubicBezTo>
                <a:cubicBezTo>
                  <a:pt x="9125" y="14593"/>
                  <a:pt x="9063" y="14562"/>
                  <a:pt x="9031" y="14531"/>
                </a:cubicBezTo>
                <a:cubicBezTo>
                  <a:pt x="8969" y="14437"/>
                  <a:pt x="8875" y="14468"/>
                  <a:pt x="8781" y="14499"/>
                </a:cubicBezTo>
                <a:cubicBezTo>
                  <a:pt x="8781" y="14499"/>
                  <a:pt x="8750" y="14531"/>
                  <a:pt x="8719" y="14562"/>
                </a:cubicBezTo>
                <a:cubicBezTo>
                  <a:pt x="8719" y="14562"/>
                  <a:pt x="8719" y="14531"/>
                  <a:pt x="8719" y="14531"/>
                </a:cubicBezTo>
                <a:cubicBezTo>
                  <a:pt x="8719" y="14531"/>
                  <a:pt x="8719" y="14531"/>
                  <a:pt x="8719" y="14531"/>
                </a:cubicBezTo>
                <a:cubicBezTo>
                  <a:pt x="8688" y="14531"/>
                  <a:pt x="8688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81" y="14593"/>
                  <a:pt x="8844" y="14624"/>
                  <a:pt x="8844" y="14687"/>
                </a:cubicBezTo>
                <a:close/>
                <a:moveTo>
                  <a:pt x="18969" y="16781"/>
                </a:moveTo>
                <a:cubicBezTo>
                  <a:pt x="19000" y="16874"/>
                  <a:pt x="19063" y="16843"/>
                  <a:pt x="19094" y="16843"/>
                </a:cubicBezTo>
                <a:cubicBezTo>
                  <a:pt x="19219" y="16906"/>
                  <a:pt x="19313" y="16968"/>
                  <a:pt x="19469" y="16968"/>
                </a:cubicBezTo>
                <a:cubicBezTo>
                  <a:pt x="19375" y="16843"/>
                  <a:pt x="19250" y="16749"/>
                  <a:pt x="19094" y="16718"/>
                </a:cubicBezTo>
                <a:cubicBezTo>
                  <a:pt x="19063" y="16656"/>
                  <a:pt x="19000" y="16656"/>
                  <a:pt x="18906" y="16687"/>
                </a:cubicBezTo>
                <a:cubicBezTo>
                  <a:pt x="18906" y="16687"/>
                  <a:pt x="18906" y="16687"/>
                  <a:pt x="18906" y="16687"/>
                </a:cubicBezTo>
                <a:cubicBezTo>
                  <a:pt x="18875" y="16687"/>
                  <a:pt x="18844" y="16718"/>
                  <a:pt x="18781" y="16718"/>
                </a:cubicBezTo>
                <a:cubicBezTo>
                  <a:pt x="18313" y="16531"/>
                  <a:pt x="17813" y="16374"/>
                  <a:pt x="17344" y="16249"/>
                </a:cubicBezTo>
                <a:cubicBezTo>
                  <a:pt x="17063" y="16187"/>
                  <a:pt x="16781" y="16124"/>
                  <a:pt x="16500" y="16062"/>
                </a:cubicBezTo>
                <a:cubicBezTo>
                  <a:pt x="16219" y="15999"/>
                  <a:pt x="15938" y="15937"/>
                  <a:pt x="15656" y="15874"/>
                </a:cubicBezTo>
                <a:cubicBezTo>
                  <a:pt x="15563" y="15874"/>
                  <a:pt x="15469" y="15843"/>
                  <a:pt x="15344" y="15874"/>
                </a:cubicBezTo>
                <a:cubicBezTo>
                  <a:pt x="15594" y="15937"/>
                  <a:pt x="15813" y="15968"/>
                  <a:pt x="16031" y="15999"/>
                </a:cubicBezTo>
                <a:cubicBezTo>
                  <a:pt x="16531" y="16093"/>
                  <a:pt x="17000" y="16218"/>
                  <a:pt x="17500" y="16343"/>
                </a:cubicBezTo>
                <a:cubicBezTo>
                  <a:pt x="17875" y="16437"/>
                  <a:pt x="18250" y="16593"/>
                  <a:pt x="18625" y="16687"/>
                </a:cubicBezTo>
                <a:cubicBezTo>
                  <a:pt x="18688" y="16718"/>
                  <a:pt x="18781" y="16781"/>
                  <a:pt x="18875" y="16781"/>
                </a:cubicBezTo>
                <a:cubicBezTo>
                  <a:pt x="18906" y="16749"/>
                  <a:pt x="18938" y="16812"/>
                  <a:pt x="18969" y="16781"/>
                </a:cubicBezTo>
                <a:cubicBezTo>
                  <a:pt x="19000" y="16781"/>
                  <a:pt x="19000" y="16781"/>
                  <a:pt x="19000" y="16781"/>
                </a:cubicBezTo>
                <a:cubicBezTo>
                  <a:pt x="19000" y="16781"/>
                  <a:pt x="18969" y="16781"/>
                  <a:pt x="18969" y="16781"/>
                </a:cubicBezTo>
                <a:close/>
                <a:moveTo>
                  <a:pt x="18156" y="15999"/>
                </a:moveTo>
                <a:cubicBezTo>
                  <a:pt x="18125" y="16031"/>
                  <a:pt x="18063" y="16062"/>
                  <a:pt x="18031" y="16093"/>
                </a:cubicBezTo>
                <a:cubicBezTo>
                  <a:pt x="18000" y="16124"/>
                  <a:pt x="18000" y="16124"/>
                  <a:pt x="18031" y="16156"/>
                </a:cubicBezTo>
                <a:cubicBezTo>
                  <a:pt x="18156" y="16249"/>
                  <a:pt x="18281" y="16281"/>
                  <a:pt x="18375" y="16406"/>
                </a:cubicBezTo>
                <a:cubicBezTo>
                  <a:pt x="18406" y="16406"/>
                  <a:pt x="18406" y="16406"/>
                  <a:pt x="18438" y="16406"/>
                </a:cubicBezTo>
                <a:cubicBezTo>
                  <a:pt x="18438" y="16406"/>
                  <a:pt x="18438" y="16374"/>
                  <a:pt x="18438" y="16374"/>
                </a:cubicBezTo>
                <a:cubicBezTo>
                  <a:pt x="18344" y="16249"/>
                  <a:pt x="18281" y="16124"/>
                  <a:pt x="18219" y="15999"/>
                </a:cubicBezTo>
                <a:cubicBezTo>
                  <a:pt x="18188" y="15968"/>
                  <a:pt x="18188" y="15968"/>
                  <a:pt x="18156" y="15999"/>
                </a:cubicBezTo>
                <a:close/>
                <a:moveTo>
                  <a:pt x="8281" y="14562"/>
                </a:moveTo>
                <a:cubicBezTo>
                  <a:pt x="8344" y="14531"/>
                  <a:pt x="8438" y="14499"/>
                  <a:pt x="8500" y="14499"/>
                </a:cubicBezTo>
                <a:cubicBezTo>
                  <a:pt x="8375" y="14312"/>
                  <a:pt x="8219" y="14281"/>
                  <a:pt x="8031" y="14406"/>
                </a:cubicBezTo>
                <a:cubicBezTo>
                  <a:pt x="8094" y="14468"/>
                  <a:pt x="8156" y="14499"/>
                  <a:pt x="8250" y="14562"/>
                </a:cubicBezTo>
                <a:cubicBezTo>
                  <a:pt x="8250" y="14562"/>
                  <a:pt x="8250" y="14562"/>
                  <a:pt x="8281" y="14562"/>
                </a:cubicBezTo>
                <a:close/>
                <a:moveTo>
                  <a:pt x="17313" y="15781"/>
                </a:moveTo>
                <a:cubicBezTo>
                  <a:pt x="17250" y="15781"/>
                  <a:pt x="17188" y="15874"/>
                  <a:pt x="17125" y="15906"/>
                </a:cubicBezTo>
                <a:cubicBezTo>
                  <a:pt x="17125" y="15906"/>
                  <a:pt x="17125" y="15906"/>
                  <a:pt x="17125" y="15906"/>
                </a:cubicBezTo>
                <a:cubicBezTo>
                  <a:pt x="17250" y="15999"/>
                  <a:pt x="17375" y="16093"/>
                  <a:pt x="17531" y="16218"/>
                </a:cubicBezTo>
                <a:cubicBezTo>
                  <a:pt x="17531" y="16218"/>
                  <a:pt x="17531" y="16218"/>
                  <a:pt x="17531" y="16218"/>
                </a:cubicBezTo>
                <a:cubicBezTo>
                  <a:pt x="17531" y="16218"/>
                  <a:pt x="17531" y="16218"/>
                  <a:pt x="17563" y="16218"/>
                </a:cubicBezTo>
                <a:cubicBezTo>
                  <a:pt x="17563" y="16218"/>
                  <a:pt x="17531" y="16218"/>
                  <a:pt x="17531" y="16218"/>
                </a:cubicBezTo>
                <a:cubicBezTo>
                  <a:pt x="17531" y="16218"/>
                  <a:pt x="17531" y="16218"/>
                  <a:pt x="17531" y="16218"/>
                </a:cubicBezTo>
                <a:cubicBezTo>
                  <a:pt x="17531" y="16093"/>
                  <a:pt x="17469" y="16031"/>
                  <a:pt x="17438" y="15968"/>
                </a:cubicBezTo>
                <a:cubicBezTo>
                  <a:pt x="17406" y="15906"/>
                  <a:pt x="17375" y="15781"/>
                  <a:pt x="17313" y="15781"/>
                </a:cubicBezTo>
                <a:close/>
                <a:moveTo>
                  <a:pt x="6000" y="13593"/>
                </a:moveTo>
                <a:cubicBezTo>
                  <a:pt x="5906" y="13531"/>
                  <a:pt x="5781" y="13593"/>
                  <a:pt x="5688" y="13656"/>
                </a:cubicBezTo>
                <a:cubicBezTo>
                  <a:pt x="5719" y="13687"/>
                  <a:pt x="5750" y="13718"/>
                  <a:pt x="5781" y="13749"/>
                </a:cubicBezTo>
                <a:cubicBezTo>
                  <a:pt x="5844" y="13781"/>
                  <a:pt x="5875" y="13874"/>
                  <a:pt x="5938" y="13843"/>
                </a:cubicBezTo>
                <a:cubicBezTo>
                  <a:pt x="6000" y="13812"/>
                  <a:pt x="6031" y="13749"/>
                  <a:pt x="6063" y="13687"/>
                </a:cubicBezTo>
                <a:cubicBezTo>
                  <a:pt x="6063" y="13624"/>
                  <a:pt x="6063" y="13624"/>
                  <a:pt x="6000" y="13593"/>
                </a:cubicBezTo>
                <a:close/>
                <a:moveTo>
                  <a:pt x="15781" y="15781"/>
                </a:moveTo>
                <a:cubicBezTo>
                  <a:pt x="15813" y="15812"/>
                  <a:pt x="15844" y="15812"/>
                  <a:pt x="15875" y="15781"/>
                </a:cubicBezTo>
                <a:cubicBezTo>
                  <a:pt x="15938" y="15718"/>
                  <a:pt x="16000" y="15718"/>
                  <a:pt x="16063" y="15656"/>
                </a:cubicBezTo>
                <a:cubicBezTo>
                  <a:pt x="15938" y="15562"/>
                  <a:pt x="15813" y="15468"/>
                  <a:pt x="15656" y="15374"/>
                </a:cubicBezTo>
                <a:cubicBezTo>
                  <a:pt x="15688" y="15531"/>
                  <a:pt x="15750" y="15656"/>
                  <a:pt x="15781" y="15781"/>
                </a:cubicBezTo>
                <a:close/>
                <a:moveTo>
                  <a:pt x="22781" y="16937"/>
                </a:moveTo>
                <a:cubicBezTo>
                  <a:pt x="22781" y="16937"/>
                  <a:pt x="22781" y="16937"/>
                  <a:pt x="22781" y="16937"/>
                </a:cubicBezTo>
                <a:cubicBezTo>
                  <a:pt x="22781" y="16937"/>
                  <a:pt x="22781" y="16937"/>
                  <a:pt x="22781" y="16937"/>
                </a:cubicBezTo>
                <a:close/>
                <a:moveTo>
                  <a:pt x="14250" y="15249"/>
                </a:moveTo>
                <a:cubicBezTo>
                  <a:pt x="14250" y="15249"/>
                  <a:pt x="14250" y="15249"/>
                  <a:pt x="14250" y="15249"/>
                </a:cubicBezTo>
                <a:close/>
                <a:moveTo>
                  <a:pt x="14438" y="15343"/>
                </a:moveTo>
                <a:cubicBezTo>
                  <a:pt x="14438" y="15343"/>
                  <a:pt x="14438" y="15343"/>
                  <a:pt x="14469" y="15312"/>
                </a:cubicBezTo>
                <a:cubicBezTo>
                  <a:pt x="14469" y="15343"/>
                  <a:pt x="14438" y="15343"/>
                  <a:pt x="14438" y="15343"/>
                </a:cubicBezTo>
                <a:close/>
                <a:moveTo>
                  <a:pt x="12750" y="14999"/>
                </a:moveTo>
                <a:cubicBezTo>
                  <a:pt x="12750" y="15093"/>
                  <a:pt x="12813" y="15124"/>
                  <a:pt x="12875" y="15062"/>
                </a:cubicBezTo>
                <a:cubicBezTo>
                  <a:pt x="12906" y="15031"/>
                  <a:pt x="13000" y="15062"/>
                  <a:pt x="12938" y="14968"/>
                </a:cubicBezTo>
                <a:cubicBezTo>
                  <a:pt x="12969" y="14968"/>
                  <a:pt x="12969" y="14968"/>
                  <a:pt x="12969" y="14968"/>
                </a:cubicBezTo>
                <a:cubicBezTo>
                  <a:pt x="13031" y="15031"/>
                  <a:pt x="13063" y="14968"/>
                  <a:pt x="13125" y="14968"/>
                </a:cubicBezTo>
                <a:cubicBezTo>
                  <a:pt x="12969" y="14843"/>
                  <a:pt x="12844" y="14749"/>
                  <a:pt x="12688" y="14624"/>
                </a:cubicBezTo>
                <a:cubicBezTo>
                  <a:pt x="12719" y="14781"/>
                  <a:pt x="12719" y="14874"/>
                  <a:pt x="12750" y="14999"/>
                </a:cubicBezTo>
                <a:close/>
                <a:moveTo>
                  <a:pt x="9500" y="13624"/>
                </a:moveTo>
                <a:cubicBezTo>
                  <a:pt x="9594" y="13593"/>
                  <a:pt x="9719" y="13562"/>
                  <a:pt x="9813" y="13562"/>
                </a:cubicBezTo>
                <a:cubicBezTo>
                  <a:pt x="9844" y="13562"/>
                  <a:pt x="9844" y="13562"/>
                  <a:pt x="9844" y="13531"/>
                </a:cubicBezTo>
                <a:cubicBezTo>
                  <a:pt x="9844" y="13531"/>
                  <a:pt x="9844" y="13499"/>
                  <a:pt x="9813" y="13499"/>
                </a:cubicBezTo>
                <a:cubicBezTo>
                  <a:pt x="9719" y="13437"/>
                  <a:pt x="9625" y="13343"/>
                  <a:pt x="9531" y="13281"/>
                </a:cubicBezTo>
                <a:cubicBezTo>
                  <a:pt x="9500" y="13249"/>
                  <a:pt x="9469" y="13249"/>
                  <a:pt x="9469" y="13312"/>
                </a:cubicBezTo>
                <a:cubicBezTo>
                  <a:pt x="9469" y="13406"/>
                  <a:pt x="9438" y="13499"/>
                  <a:pt x="9438" y="13593"/>
                </a:cubicBezTo>
                <a:cubicBezTo>
                  <a:pt x="9438" y="13624"/>
                  <a:pt x="9438" y="13656"/>
                  <a:pt x="9500" y="13624"/>
                </a:cubicBezTo>
                <a:close/>
                <a:moveTo>
                  <a:pt x="9281" y="13218"/>
                </a:moveTo>
                <a:cubicBezTo>
                  <a:pt x="9250" y="13218"/>
                  <a:pt x="9250" y="13218"/>
                  <a:pt x="9219" y="13218"/>
                </a:cubicBezTo>
                <a:cubicBezTo>
                  <a:pt x="9125" y="13249"/>
                  <a:pt x="9031" y="13281"/>
                  <a:pt x="8969" y="13312"/>
                </a:cubicBezTo>
                <a:cubicBezTo>
                  <a:pt x="8938" y="13312"/>
                  <a:pt x="8906" y="13312"/>
                  <a:pt x="8906" y="13343"/>
                </a:cubicBezTo>
                <a:cubicBezTo>
                  <a:pt x="8906" y="13343"/>
                  <a:pt x="8906" y="13343"/>
                  <a:pt x="8938" y="13374"/>
                </a:cubicBezTo>
                <a:cubicBezTo>
                  <a:pt x="9031" y="13406"/>
                  <a:pt x="9125" y="13499"/>
                  <a:pt x="9250" y="13562"/>
                </a:cubicBezTo>
                <a:cubicBezTo>
                  <a:pt x="9281" y="13593"/>
                  <a:pt x="9313" y="13624"/>
                  <a:pt x="9313" y="13562"/>
                </a:cubicBezTo>
                <a:cubicBezTo>
                  <a:pt x="9281" y="13468"/>
                  <a:pt x="9344" y="13374"/>
                  <a:pt x="9344" y="13249"/>
                </a:cubicBezTo>
                <a:cubicBezTo>
                  <a:pt x="9344" y="13187"/>
                  <a:pt x="9344" y="13187"/>
                  <a:pt x="9281" y="13218"/>
                </a:cubicBezTo>
                <a:close/>
                <a:moveTo>
                  <a:pt x="13813" y="15281"/>
                </a:moveTo>
                <a:cubicBezTo>
                  <a:pt x="13813" y="15343"/>
                  <a:pt x="13844" y="15343"/>
                  <a:pt x="13906" y="15312"/>
                </a:cubicBezTo>
                <a:cubicBezTo>
                  <a:pt x="13969" y="15281"/>
                  <a:pt x="14063" y="15249"/>
                  <a:pt x="14125" y="15187"/>
                </a:cubicBezTo>
                <a:cubicBezTo>
                  <a:pt x="14000" y="15093"/>
                  <a:pt x="13875" y="14999"/>
                  <a:pt x="13719" y="14874"/>
                </a:cubicBezTo>
                <a:cubicBezTo>
                  <a:pt x="13750" y="15031"/>
                  <a:pt x="13781" y="15156"/>
                  <a:pt x="13813" y="15281"/>
                </a:cubicBezTo>
                <a:close/>
                <a:moveTo>
                  <a:pt x="23469" y="17562"/>
                </a:moveTo>
                <a:cubicBezTo>
                  <a:pt x="23469" y="17562"/>
                  <a:pt x="23469" y="17562"/>
                  <a:pt x="23469" y="17562"/>
                </a:cubicBezTo>
                <a:cubicBezTo>
                  <a:pt x="23469" y="17562"/>
                  <a:pt x="23469" y="17562"/>
                  <a:pt x="23469" y="17562"/>
                </a:cubicBezTo>
                <a:close/>
                <a:moveTo>
                  <a:pt x="8344" y="13031"/>
                </a:moveTo>
                <a:cubicBezTo>
                  <a:pt x="8313" y="13093"/>
                  <a:pt x="8313" y="13156"/>
                  <a:pt x="8281" y="13218"/>
                </a:cubicBezTo>
                <a:cubicBezTo>
                  <a:pt x="8250" y="13374"/>
                  <a:pt x="8250" y="13343"/>
                  <a:pt x="8375" y="13343"/>
                </a:cubicBezTo>
                <a:cubicBezTo>
                  <a:pt x="8375" y="13343"/>
                  <a:pt x="8406" y="13343"/>
                  <a:pt x="8406" y="13343"/>
                </a:cubicBezTo>
                <a:cubicBezTo>
                  <a:pt x="8500" y="13312"/>
                  <a:pt x="8625" y="13312"/>
                  <a:pt x="8750" y="13281"/>
                </a:cubicBezTo>
                <a:cubicBezTo>
                  <a:pt x="8625" y="13187"/>
                  <a:pt x="8500" y="13093"/>
                  <a:pt x="8406" y="12999"/>
                </a:cubicBezTo>
                <a:cubicBezTo>
                  <a:pt x="8344" y="12968"/>
                  <a:pt x="8344" y="12968"/>
                  <a:pt x="8344" y="13031"/>
                </a:cubicBezTo>
                <a:close/>
                <a:moveTo>
                  <a:pt x="8156" y="12937"/>
                </a:moveTo>
                <a:cubicBezTo>
                  <a:pt x="8000" y="12968"/>
                  <a:pt x="7875" y="12999"/>
                  <a:pt x="7719" y="13031"/>
                </a:cubicBezTo>
                <a:cubicBezTo>
                  <a:pt x="7750" y="13031"/>
                  <a:pt x="7750" y="13031"/>
                  <a:pt x="7750" y="13062"/>
                </a:cubicBezTo>
                <a:cubicBezTo>
                  <a:pt x="7844" y="13156"/>
                  <a:pt x="7969" y="13187"/>
                  <a:pt x="8063" y="13249"/>
                </a:cubicBezTo>
                <a:cubicBezTo>
                  <a:pt x="8125" y="13312"/>
                  <a:pt x="8125" y="13249"/>
                  <a:pt x="8156" y="13218"/>
                </a:cubicBezTo>
                <a:cubicBezTo>
                  <a:pt x="8156" y="13124"/>
                  <a:pt x="8188" y="13062"/>
                  <a:pt x="8188" y="12999"/>
                </a:cubicBezTo>
                <a:cubicBezTo>
                  <a:pt x="8219" y="12937"/>
                  <a:pt x="8219" y="12937"/>
                  <a:pt x="8156" y="12937"/>
                </a:cubicBezTo>
                <a:close/>
                <a:moveTo>
                  <a:pt x="7063" y="18281"/>
                </a:moveTo>
                <a:cubicBezTo>
                  <a:pt x="7031" y="18249"/>
                  <a:pt x="7000" y="18249"/>
                  <a:pt x="7000" y="18281"/>
                </a:cubicBezTo>
                <a:cubicBezTo>
                  <a:pt x="6781" y="18468"/>
                  <a:pt x="6563" y="18687"/>
                  <a:pt x="6344" y="18874"/>
                </a:cubicBezTo>
                <a:cubicBezTo>
                  <a:pt x="6313" y="18906"/>
                  <a:pt x="6313" y="18937"/>
                  <a:pt x="6344" y="18968"/>
                </a:cubicBezTo>
                <a:cubicBezTo>
                  <a:pt x="6375" y="18999"/>
                  <a:pt x="6375" y="18968"/>
                  <a:pt x="6406" y="18968"/>
                </a:cubicBezTo>
                <a:cubicBezTo>
                  <a:pt x="6563" y="18843"/>
                  <a:pt x="6719" y="18718"/>
                  <a:pt x="6875" y="18624"/>
                </a:cubicBezTo>
                <a:cubicBezTo>
                  <a:pt x="6969" y="18562"/>
                  <a:pt x="7031" y="18499"/>
                  <a:pt x="7125" y="18437"/>
                </a:cubicBezTo>
                <a:cubicBezTo>
                  <a:pt x="7125" y="18437"/>
                  <a:pt x="7156" y="18406"/>
                  <a:pt x="7125" y="18406"/>
                </a:cubicBezTo>
                <a:cubicBezTo>
                  <a:pt x="7094" y="18374"/>
                  <a:pt x="7094" y="18374"/>
                  <a:pt x="7063" y="18406"/>
                </a:cubicBezTo>
                <a:cubicBezTo>
                  <a:pt x="7000" y="18499"/>
                  <a:pt x="6875" y="18531"/>
                  <a:pt x="6781" y="18624"/>
                </a:cubicBezTo>
                <a:cubicBezTo>
                  <a:pt x="6750" y="18656"/>
                  <a:pt x="6719" y="18687"/>
                  <a:pt x="6625" y="18687"/>
                </a:cubicBezTo>
                <a:cubicBezTo>
                  <a:pt x="6781" y="18562"/>
                  <a:pt x="6938" y="18437"/>
                  <a:pt x="7063" y="18281"/>
                </a:cubicBezTo>
                <a:close/>
                <a:moveTo>
                  <a:pt x="20125" y="17156"/>
                </a:moveTo>
                <a:cubicBezTo>
                  <a:pt x="20125" y="17124"/>
                  <a:pt x="20125" y="17093"/>
                  <a:pt x="20094" y="17093"/>
                </a:cubicBezTo>
                <a:cubicBezTo>
                  <a:pt x="19969" y="16937"/>
                  <a:pt x="19844" y="16843"/>
                  <a:pt x="19656" y="16812"/>
                </a:cubicBezTo>
                <a:cubicBezTo>
                  <a:pt x="19563" y="16812"/>
                  <a:pt x="19500" y="16843"/>
                  <a:pt x="19531" y="16937"/>
                </a:cubicBezTo>
                <a:cubicBezTo>
                  <a:pt x="19531" y="16968"/>
                  <a:pt x="19500" y="16968"/>
                  <a:pt x="19469" y="16999"/>
                </a:cubicBezTo>
                <a:cubicBezTo>
                  <a:pt x="19719" y="17093"/>
                  <a:pt x="19938" y="17187"/>
                  <a:pt x="20188" y="17281"/>
                </a:cubicBezTo>
                <a:cubicBezTo>
                  <a:pt x="20125" y="17249"/>
                  <a:pt x="20125" y="17218"/>
                  <a:pt x="20125" y="17156"/>
                </a:cubicBezTo>
                <a:close/>
                <a:moveTo>
                  <a:pt x="18625" y="15843"/>
                </a:moveTo>
                <a:cubicBezTo>
                  <a:pt x="18438" y="15749"/>
                  <a:pt x="18469" y="15749"/>
                  <a:pt x="18313" y="15874"/>
                </a:cubicBezTo>
                <a:cubicBezTo>
                  <a:pt x="18250" y="15937"/>
                  <a:pt x="18250" y="15937"/>
                  <a:pt x="18313" y="15968"/>
                </a:cubicBezTo>
                <a:cubicBezTo>
                  <a:pt x="18406" y="16031"/>
                  <a:pt x="18500" y="16093"/>
                  <a:pt x="18625" y="16156"/>
                </a:cubicBezTo>
                <a:cubicBezTo>
                  <a:pt x="18656" y="16187"/>
                  <a:pt x="18719" y="16281"/>
                  <a:pt x="18781" y="16281"/>
                </a:cubicBezTo>
                <a:cubicBezTo>
                  <a:pt x="18844" y="16249"/>
                  <a:pt x="18906" y="16187"/>
                  <a:pt x="18938" y="16124"/>
                </a:cubicBezTo>
                <a:cubicBezTo>
                  <a:pt x="18969" y="16124"/>
                  <a:pt x="18969" y="16124"/>
                  <a:pt x="19000" y="16124"/>
                </a:cubicBezTo>
                <a:cubicBezTo>
                  <a:pt x="18969" y="16093"/>
                  <a:pt x="18969" y="16062"/>
                  <a:pt x="18938" y="16062"/>
                </a:cubicBezTo>
                <a:cubicBezTo>
                  <a:pt x="18844" y="16031"/>
                  <a:pt x="18719" y="15937"/>
                  <a:pt x="18625" y="15843"/>
                </a:cubicBezTo>
                <a:close/>
                <a:moveTo>
                  <a:pt x="15250" y="15374"/>
                </a:moveTo>
                <a:cubicBezTo>
                  <a:pt x="15313" y="15343"/>
                  <a:pt x="15375" y="15312"/>
                  <a:pt x="15406" y="15281"/>
                </a:cubicBezTo>
                <a:cubicBezTo>
                  <a:pt x="15469" y="15249"/>
                  <a:pt x="15500" y="15249"/>
                  <a:pt x="15406" y="15187"/>
                </a:cubicBezTo>
                <a:cubicBezTo>
                  <a:pt x="15281" y="15093"/>
                  <a:pt x="15156" y="14999"/>
                  <a:pt x="15031" y="14906"/>
                </a:cubicBezTo>
                <a:cubicBezTo>
                  <a:pt x="15000" y="14906"/>
                  <a:pt x="14969" y="14874"/>
                  <a:pt x="14938" y="14906"/>
                </a:cubicBezTo>
                <a:cubicBezTo>
                  <a:pt x="14906" y="14937"/>
                  <a:pt x="14844" y="14968"/>
                  <a:pt x="14813" y="14968"/>
                </a:cubicBezTo>
                <a:cubicBezTo>
                  <a:pt x="14750" y="14999"/>
                  <a:pt x="14719" y="14999"/>
                  <a:pt x="14688" y="15031"/>
                </a:cubicBezTo>
                <a:cubicBezTo>
                  <a:pt x="14656" y="15093"/>
                  <a:pt x="14750" y="15062"/>
                  <a:pt x="14750" y="15124"/>
                </a:cubicBezTo>
                <a:cubicBezTo>
                  <a:pt x="14813" y="15124"/>
                  <a:pt x="14844" y="15218"/>
                  <a:pt x="14938" y="15218"/>
                </a:cubicBezTo>
                <a:cubicBezTo>
                  <a:pt x="14938" y="15218"/>
                  <a:pt x="14938" y="15218"/>
                  <a:pt x="14938" y="15218"/>
                </a:cubicBezTo>
                <a:cubicBezTo>
                  <a:pt x="14938" y="15218"/>
                  <a:pt x="14938" y="15218"/>
                  <a:pt x="14938" y="15218"/>
                </a:cubicBezTo>
                <a:cubicBezTo>
                  <a:pt x="14938" y="15218"/>
                  <a:pt x="14938" y="15249"/>
                  <a:pt x="14938" y="15249"/>
                </a:cubicBezTo>
                <a:cubicBezTo>
                  <a:pt x="14844" y="15249"/>
                  <a:pt x="14781" y="15187"/>
                  <a:pt x="14750" y="15124"/>
                </a:cubicBezTo>
                <a:cubicBezTo>
                  <a:pt x="14750" y="15124"/>
                  <a:pt x="14750" y="15124"/>
                  <a:pt x="14750" y="15124"/>
                </a:cubicBezTo>
                <a:cubicBezTo>
                  <a:pt x="14719" y="15156"/>
                  <a:pt x="14688" y="15124"/>
                  <a:pt x="14719" y="15187"/>
                </a:cubicBezTo>
                <a:cubicBezTo>
                  <a:pt x="14719" y="15218"/>
                  <a:pt x="14719" y="15249"/>
                  <a:pt x="14750" y="15281"/>
                </a:cubicBezTo>
                <a:cubicBezTo>
                  <a:pt x="14781" y="15281"/>
                  <a:pt x="14781" y="15281"/>
                  <a:pt x="14813" y="15312"/>
                </a:cubicBezTo>
                <a:cubicBezTo>
                  <a:pt x="14781" y="15281"/>
                  <a:pt x="14781" y="15281"/>
                  <a:pt x="14750" y="15281"/>
                </a:cubicBezTo>
                <a:cubicBezTo>
                  <a:pt x="14750" y="15312"/>
                  <a:pt x="14750" y="15374"/>
                  <a:pt x="14781" y="15406"/>
                </a:cubicBezTo>
                <a:cubicBezTo>
                  <a:pt x="14781" y="15437"/>
                  <a:pt x="14813" y="15468"/>
                  <a:pt x="14813" y="15499"/>
                </a:cubicBezTo>
                <a:cubicBezTo>
                  <a:pt x="14844" y="15593"/>
                  <a:pt x="14875" y="15593"/>
                  <a:pt x="14938" y="15531"/>
                </a:cubicBezTo>
                <a:cubicBezTo>
                  <a:pt x="15000" y="15531"/>
                  <a:pt x="15031" y="15499"/>
                  <a:pt x="15063" y="15468"/>
                </a:cubicBezTo>
                <a:cubicBezTo>
                  <a:pt x="15063" y="15468"/>
                  <a:pt x="15063" y="15468"/>
                  <a:pt x="15063" y="15468"/>
                </a:cubicBezTo>
                <a:cubicBezTo>
                  <a:pt x="15156" y="15468"/>
                  <a:pt x="15094" y="15406"/>
                  <a:pt x="15094" y="15374"/>
                </a:cubicBezTo>
                <a:cubicBezTo>
                  <a:pt x="15156" y="15374"/>
                  <a:pt x="15188" y="15406"/>
                  <a:pt x="15250" y="15374"/>
                </a:cubicBezTo>
                <a:close/>
                <a:moveTo>
                  <a:pt x="14938" y="15249"/>
                </a:moveTo>
                <a:cubicBezTo>
                  <a:pt x="15000" y="15281"/>
                  <a:pt x="15063" y="15281"/>
                  <a:pt x="15094" y="15374"/>
                </a:cubicBezTo>
                <a:cubicBezTo>
                  <a:pt x="15094" y="15374"/>
                  <a:pt x="15063" y="15374"/>
                  <a:pt x="15063" y="15374"/>
                </a:cubicBezTo>
                <a:cubicBezTo>
                  <a:pt x="15063" y="15406"/>
                  <a:pt x="15063" y="15406"/>
                  <a:pt x="15063" y="15437"/>
                </a:cubicBezTo>
                <a:cubicBezTo>
                  <a:pt x="15063" y="15406"/>
                  <a:pt x="15063" y="15406"/>
                  <a:pt x="15063" y="15374"/>
                </a:cubicBezTo>
                <a:cubicBezTo>
                  <a:pt x="15031" y="15343"/>
                  <a:pt x="14938" y="15343"/>
                  <a:pt x="14938" y="15249"/>
                </a:cubicBezTo>
                <a:close/>
                <a:moveTo>
                  <a:pt x="8719" y="13343"/>
                </a:moveTo>
                <a:cubicBezTo>
                  <a:pt x="8594" y="13374"/>
                  <a:pt x="8438" y="13406"/>
                  <a:pt x="8281" y="13437"/>
                </a:cubicBezTo>
                <a:cubicBezTo>
                  <a:pt x="8406" y="13499"/>
                  <a:pt x="8469" y="13624"/>
                  <a:pt x="8563" y="13687"/>
                </a:cubicBezTo>
                <a:cubicBezTo>
                  <a:pt x="8656" y="13749"/>
                  <a:pt x="8688" y="13874"/>
                  <a:pt x="8813" y="13781"/>
                </a:cubicBezTo>
                <a:cubicBezTo>
                  <a:pt x="8813" y="13781"/>
                  <a:pt x="8844" y="13781"/>
                  <a:pt x="8844" y="13781"/>
                </a:cubicBezTo>
                <a:cubicBezTo>
                  <a:pt x="8969" y="13749"/>
                  <a:pt x="9063" y="13749"/>
                  <a:pt x="9156" y="13718"/>
                </a:cubicBezTo>
                <a:cubicBezTo>
                  <a:pt x="9188" y="13687"/>
                  <a:pt x="9219" y="13687"/>
                  <a:pt x="9281" y="13687"/>
                </a:cubicBezTo>
                <a:cubicBezTo>
                  <a:pt x="9125" y="13562"/>
                  <a:pt x="9000" y="13468"/>
                  <a:pt x="8875" y="13374"/>
                </a:cubicBezTo>
                <a:cubicBezTo>
                  <a:pt x="8813" y="13343"/>
                  <a:pt x="8781" y="13343"/>
                  <a:pt x="8719" y="13343"/>
                </a:cubicBezTo>
                <a:close/>
                <a:moveTo>
                  <a:pt x="16281" y="15374"/>
                </a:moveTo>
                <a:cubicBezTo>
                  <a:pt x="16281" y="15374"/>
                  <a:pt x="16281" y="15374"/>
                  <a:pt x="16281" y="15374"/>
                </a:cubicBezTo>
                <a:cubicBezTo>
                  <a:pt x="16281" y="15374"/>
                  <a:pt x="16281" y="15374"/>
                  <a:pt x="16281" y="15374"/>
                </a:cubicBezTo>
                <a:close/>
                <a:moveTo>
                  <a:pt x="14500" y="14968"/>
                </a:moveTo>
                <a:cubicBezTo>
                  <a:pt x="14344" y="14874"/>
                  <a:pt x="14219" y="14781"/>
                  <a:pt x="14063" y="14656"/>
                </a:cubicBezTo>
                <a:cubicBezTo>
                  <a:pt x="14063" y="14656"/>
                  <a:pt x="14031" y="14656"/>
                  <a:pt x="14031" y="14656"/>
                </a:cubicBezTo>
                <a:cubicBezTo>
                  <a:pt x="13938" y="14718"/>
                  <a:pt x="13813" y="14749"/>
                  <a:pt x="13688" y="14812"/>
                </a:cubicBezTo>
                <a:cubicBezTo>
                  <a:pt x="13844" y="14937"/>
                  <a:pt x="14000" y="15031"/>
                  <a:pt x="14156" y="15156"/>
                </a:cubicBezTo>
                <a:cubicBezTo>
                  <a:pt x="14156" y="15156"/>
                  <a:pt x="14156" y="15187"/>
                  <a:pt x="14219" y="15156"/>
                </a:cubicBezTo>
                <a:cubicBezTo>
                  <a:pt x="14281" y="15124"/>
                  <a:pt x="14375" y="15093"/>
                  <a:pt x="14469" y="15062"/>
                </a:cubicBezTo>
                <a:cubicBezTo>
                  <a:pt x="14531" y="15031"/>
                  <a:pt x="14531" y="14999"/>
                  <a:pt x="14500" y="14968"/>
                </a:cubicBezTo>
                <a:close/>
                <a:moveTo>
                  <a:pt x="10344" y="16343"/>
                </a:moveTo>
                <a:cubicBezTo>
                  <a:pt x="10344" y="16343"/>
                  <a:pt x="10344" y="16343"/>
                  <a:pt x="10344" y="16343"/>
                </a:cubicBezTo>
                <a:cubicBezTo>
                  <a:pt x="10344" y="16343"/>
                  <a:pt x="10344" y="16343"/>
                  <a:pt x="10344" y="16343"/>
                </a:cubicBezTo>
                <a:close/>
                <a:moveTo>
                  <a:pt x="12094" y="14156"/>
                </a:moveTo>
                <a:cubicBezTo>
                  <a:pt x="12094" y="14156"/>
                  <a:pt x="12094" y="14156"/>
                  <a:pt x="12094" y="14156"/>
                </a:cubicBezTo>
                <a:cubicBezTo>
                  <a:pt x="12094" y="14156"/>
                  <a:pt x="12094" y="14156"/>
                  <a:pt x="12094" y="14156"/>
                </a:cubicBezTo>
                <a:close/>
                <a:moveTo>
                  <a:pt x="22906" y="18343"/>
                </a:moveTo>
                <a:cubicBezTo>
                  <a:pt x="22906" y="18343"/>
                  <a:pt x="22906" y="18343"/>
                  <a:pt x="22906" y="18343"/>
                </a:cubicBezTo>
                <a:cubicBezTo>
                  <a:pt x="22906" y="18343"/>
                  <a:pt x="22906" y="18343"/>
                  <a:pt x="22906" y="18343"/>
                </a:cubicBezTo>
                <a:close/>
                <a:moveTo>
                  <a:pt x="7469" y="13531"/>
                </a:moveTo>
                <a:cubicBezTo>
                  <a:pt x="7469" y="13531"/>
                  <a:pt x="7500" y="13562"/>
                  <a:pt x="7500" y="13531"/>
                </a:cubicBezTo>
                <a:cubicBezTo>
                  <a:pt x="7531" y="13468"/>
                  <a:pt x="7625" y="13531"/>
                  <a:pt x="7656" y="13468"/>
                </a:cubicBezTo>
                <a:cubicBezTo>
                  <a:pt x="7719" y="13499"/>
                  <a:pt x="7750" y="13437"/>
                  <a:pt x="7781" y="13437"/>
                </a:cubicBezTo>
                <a:cubicBezTo>
                  <a:pt x="7875" y="13437"/>
                  <a:pt x="8000" y="13437"/>
                  <a:pt x="8094" y="13406"/>
                </a:cubicBezTo>
                <a:cubicBezTo>
                  <a:pt x="7938" y="13281"/>
                  <a:pt x="7813" y="13187"/>
                  <a:pt x="7656" y="13062"/>
                </a:cubicBezTo>
                <a:cubicBezTo>
                  <a:pt x="7656" y="13031"/>
                  <a:pt x="7625" y="13031"/>
                  <a:pt x="7594" y="13031"/>
                </a:cubicBezTo>
                <a:cubicBezTo>
                  <a:pt x="7406" y="13093"/>
                  <a:pt x="7219" y="13124"/>
                  <a:pt x="7031" y="13156"/>
                </a:cubicBezTo>
                <a:cubicBezTo>
                  <a:pt x="7188" y="13281"/>
                  <a:pt x="7313" y="13406"/>
                  <a:pt x="7469" y="13531"/>
                </a:cubicBezTo>
                <a:close/>
                <a:moveTo>
                  <a:pt x="10688" y="15937"/>
                </a:moveTo>
                <a:cubicBezTo>
                  <a:pt x="10844" y="15937"/>
                  <a:pt x="10969" y="15906"/>
                  <a:pt x="11125" y="15874"/>
                </a:cubicBezTo>
                <a:cubicBezTo>
                  <a:pt x="11219" y="15843"/>
                  <a:pt x="11344" y="15874"/>
                  <a:pt x="11438" y="15812"/>
                </a:cubicBezTo>
                <a:cubicBezTo>
                  <a:pt x="11438" y="15812"/>
                  <a:pt x="11438" y="15812"/>
                  <a:pt x="11469" y="15812"/>
                </a:cubicBezTo>
                <a:cubicBezTo>
                  <a:pt x="11469" y="15812"/>
                  <a:pt x="11469" y="15812"/>
                  <a:pt x="11469" y="15812"/>
                </a:cubicBezTo>
                <a:cubicBezTo>
                  <a:pt x="11781" y="15812"/>
                  <a:pt x="12094" y="15749"/>
                  <a:pt x="12406" y="15749"/>
                </a:cubicBezTo>
                <a:cubicBezTo>
                  <a:pt x="12906" y="15718"/>
                  <a:pt x="13406" y="15749"/>
                  <a:pt x="13906" y="15749"/>
                </a:cubicBezTo>
                <a:cubicBezTo>
                  <a:pt x="13938" y="15749"/>
                  <a:pt x="13969" y="15781"/>
                  <a:pt x="14031" y="15749"/>
                </a:cubicBezTo>
                <a:cubicBezTo>
                  <a:pt x="14125" y="15749"/>
                  <a:pt x="14219" y="15749"/>
                  <a:pt x="14344" y="15781"/>
                </a:cubicBezTo>
                <a:cubicBezTo>
                  <a:pt x="14625" y="15812"/>
                  <a:pt x="14875" y="15843"/>
                  <a:pt x="15156" y="15874"/>
                </a:cubicBezTo>
                <a:cubicBezTo>
                  <a:pt x="15156" y="15843"/>
                  <a:pt x="15156" y="15843"/>
                  <a:pt x="15156" y="15843"/>
                </a:cubicBezTo>
                <a:cubicBezTo>
                  <a:pt x="15094" y="15812"/>
                  <a:pt x="15031" y="15812"/>
                  <a:pt x="14969" y="15781"/>
                </a:cubicBezTo>
                <a:cubicBezTo>
                  <a:pt x="14844" y="15781"/>
                  <a:pt x="14719" y="15781"/>
                  <a:pt x="14594" y="15749"/>
                </a:cubicBezTo>
                <a:cubicBezTo>
                  <a:pt x="14594" y="15749"/>
                  <a:pt x="14594" y="15749"/>
                  <a:pt x="14594" y="15749"/>
                </a:cubicBezTo>
                <a:cubicBezTo>
                  <a:pt x="14594" y="15718"/>
                  <a:pt x="14594" y="15718"/>
                  <a:pt x="14563" y="15718"/>
                </a:cubicBezTo>
                <a:cubicBezTo>
                  <a:pt x="14500" y="15624"/>
                  <a:pt x="14406" y="15593"/>
                  <a:pt x="14313" y="15562"/>
                </a:cubicBezTo>
                <a:cubicBezTo>
                  <a:pt x="14188" y="15562"/>
                  <a:pt x="14094" y="15531"/>
                  <a:pt x="14031" y="15624"/>
                </a:cubicBezTo>
                <a:cubicBezTo>
                  <a:pt x="14031" y="15656"/>
                  <a:pt x="14031" y="15687"/>
                  <a:pt x="14031" y="15718"/>
                </a:cubicBezTo>
                <a:cubicBezTo>
                  <a:pt x="14031" y="15718"/>
                  <a:pt x="14000" y="15718"/>
                  <a:pt x="14000" y="15718"/>
                </a:cubicBezTo>
                <a:cubicBezTo>
                  <a:pt x="13938" y="15718"/>
                  <a:pt x="13906" y="15687"/>
                  <a:pt x="13875" y="15624"/>
                </a:cubicBezTo>
                <a:cubicBezTo>
                  <a:pt x="13875" y="15593"/>
                  <a:pt x="13813" y="15562"/>
                  <a:pt x="13781" y="15531"/>
                </a:cubicBezTo>
                <a:cubicBezTo>
                  <a:pt x="13656" y="15437"/>
                  <a:pt x="13531" y="15374"/>
                  <a:pt x="13344" y="15374"/>
                </a:cubicBezTo>
                <a:cubicBezTo>
                  <a:pt x="13281" y="15374"/>
                  <a:pt x="13219" y="15406"/>
                  <a:pt x="13219" y="15468"/>
                </a:cubicBezTo>
                <a:cubicBezTo>
                  <a:pt x="13188" y="15531"/>
                  <a:pt x="13219" y="15593"/>
                  <a:pt x="13281" y="15656"/>
                </a:cubicBezTo>
                <a:cubicBezTo>
                  <a:pt x="13281" y="15656"/>
                  <a:pt x="13313" y="15656"/>
                  <a:pt x="13313" y="15687"/>
                </a:cubicBezTo>
                <a:cubicBezTo>
                  <a:pt x="13219" y="15718"/>
                  <a:pt x="13188" y="15656"/>
                  <a:pt x="13156" y="15593"/>
                </a:cubicBezTo>
                <a:cubicBezTo>
                  <a:pt x="13094" y="15531"/>
                  <a:pt x="13063" y="15468"/>
                  <a:pt x="13000" y="15437"/>
                </a:cubicBezTo>
                <a:cubicBezTo>
                  <a:pt x="13000" y="15406"/>
                  <a:pt x="13000" y="15406"/>
                  <a:pt x="13000" y="15406"/>
                </a:cubicBezTo>
                <a:cubicBezTo>
                  <a:pt x="12844" y="15218"/>
                  <a:pt x="12594" y="15124"/>
                  <a:pt x="12375" y="15187"/>
                </a:cubicBezTo>
                <a:cubicBezTo>
                  <a:pt x="12313" y="15218"/>
                  <a:pt x="12313" y="15281"/>
                  <a:pt x="12313" y="15312"/>
                </a:cubicBezTo>
                <a:cubicBezTo>
                  <a:pt x="12344" y="15374"/>
                  <a:pt x="12375" y="15468"/>
                  <a:pt x="12438" y="15531"/>
                </a:cubicBezTo>
                <a:cubicBezTo>
                  <a:pt x="12438" y="15562"/>
                  <a:pt x="12500" y="15593"/>
                  <a:pt x="12531" y="15624"/>
                </a:cubicBezTo>
                <a:cubicBezTo>
                  <a:pt x="12500" y="15656"/>
                  <a:pt x="12563" y="15687"/>
                  <a:pt x="12531" y="15687"/>
                </a:cubicBezTo>
                <a:cubicBezTo>
                  <a:pt x="12500" y="15718"/>
                  <a:pt x="12469" y="15687"/>
                  <a:pt x="12469" y="15656"/>
                </a:cubicBezTo>
                <a:cubicBezTo>
                  <a:pt x="12438" y="15656"/>
                  <a:pt x="12438" y="15624"/>
                  <a:pt x="12406" y="15624"/>
                </a:cubicBezTo>
                <a:cubicBezTo>
                  <a:pt x="12281" y="15437"/>
                  <a:pt x="12188" y="15281"/>
                  <a:pt x="12031" y="15124"/>
                </a:cubicBezTo>
                <a:cubicBezTo>
                  <a:pt x="12031" y="15124"/>
                  <a:pt x="12000" y="15124"/>
                  <a:pt x="11969" y="15093"/>
                </a:cubicBezTo>
                <a:cubicBezTo>
                  <a:pt x="11813" y="14968"/>
                  <a:pt x="11656" y="14937"/>
                  <a:pt x="11469" y="14968"/>
                </a:cubicBezTo>
                <a:cubicBezTo>
                  <a:pt x="11375" y="14968"/>
                  <a:pt x="11344" y="15031"/>
                  <a:pt x="11344" y="15124"/>
                </a:cubicBezTo>
                <a:cubicBezTo>
                  <a:pt x="11344" y="15218"/>
                  <a:pt x="11438" y="15281"/>
                  <a:pt x="11500" y="15343"/>
                </a:cubicBezTo>
                <a:cubicBezTo>
                  <a:pt x="11594" y="15468"/>
                  <a:pt x="11688" y="15624"/>
                  <a:pt x="11844" y="15718"/>
                </a:cubicBezTo>
                <a:cubicBezTo>
                  <a:pt x="11781" y="15749"/>
                  <a:pt x="11750" y="15749"/>
                  <a:pt x="11688" y="15718"/>
                </a:cubicBezTo>
                <a:cubicBezTo>
                  <a:pt x="11656" y="15656"/>
                  <a:pt x="11594" y="15562"/>
                  <a:pt x="11531" y="15499"/>
                </a:cubicBezTo>
                <a:cubicBezTo>
                  <a:pt x="11438" y="15406"/>
                  <a:pt x="11344" y="15281"/>
                  <a:pt x="11250" y="15156"/>
                </a:cubicBezTo>
                <a:cubicBezTo>
                  <a:pt x="11188" y="15124"/>
                  <a:pt x="11094" y="15062"/>
                  <a:pt x="11031" y="15031"/>
                </a:cubicBezTo>
                <a:cubicBezTo>
                  <a:pt x="10906" y="14999"/>
                  <a:pt x="10750" y="14968"/>
                  <a:pt x="10625" y="14999"/>
                </a:cubicBezTo>
                <a:cubicBezTo>
                  <a:pt x="10563" y="15031"/>
                  <a:pt x="10500" y="15093"/>
                  <a:pt x="10531" y="15156"/>
                </a:cubicBezTo>
                <a:cubicBezTo>
                  <a:pt x="10563" y="15218"/>
                  <a:pt x="10563" y="15281"/>
                  <a:pt x="10625" y="15343"/>
                </a:cubicBezTo>
                <a:cubicBezTo>
                  <a:pt x="10688" y="15374"/>
                  <a:pt x="10719" y="15468"/>
                  <a:pt x="10813" y="15499"/>
                </a:cubicBezTo>
                <a:cubicBezTo>
                  <a:pt x="10844" y="15499"/>
                  <a:pt x="10844" y="15624"/>
                  <a:pt x="10938" y="15624"/>
                </a:cubicBezTo>
                <a:cubicBezTo>
                  <a:pt x="10938" y="15624"/>
                  <a:pt x="10969" y="15656"/>
                  <a:pt x="10938" y="15656"/>
                </a:cubicBezTo>
                <a:cubicBezTo>
                  <a:pt x="10938" y="15718"/>
                  <a:pt x="10969" y="15718"/>
                  <a:pt x="11000" y="15749"/>
                </a:cubicBezTo>
                <a:cubicBezTo>
                  <a:pt x="11000" y="15749"/>
                  <a:pt x="11000" y="15749"/>
                  <a:pt x="11000" y="15749"/>
                </a:cubicBezTo>
                <a:cubicBezTo>
                  <a:pt x="11000" y="15781"/>
                  <a:pt x="11094" y="15812"/>
                  <a:pt x="11031" y="15843"/>
                </a:cubicBezTo>
                <a:cubicBezTo>
                  <a:pt x="11000" y="15874"/>
                  <a:pt x="10938" y="15812"/>
                  <a:pt x="10906" y="15781"/>
                </a:cubicBezTo>
                <a:cubicBezTo>
                  <a:pt x="10844" y="15687"/>
                  <a:pt x="10781" y="15624"/>
                  <a:pt x="10688" y="15562"/>
                </a:cubicBezTo>
                <a:cubicBezTo>
                  <a:pt x="10625" y="15531"/>
                  <a:pt x="10563" y="15499"/>
                  <a:pt x="10500" y="15468"/>
                </a:cubicBezTo>
                <a:cubicBezTo>
                  <a:pt x="10375" y="15437"/>
                  <a:pt x="10250" y="15437"/>
                  <a:pt x="10125" y="15499"/>
                </a:cubicBezTo>
                <a:cubicBezTo>
                  <a:pt x="10031" y="15531"/>
                  <a:pt x="10063" y="15624"/>
                  <a:pt x="10031" y="15687"/>
                </a:cubicBezTo>
                <a:cubicBezTo>
                  <a:pt x="10031" y="15718"/>
                  <a:pt x="10094" y="15781"/>
                  <a:pt x="10156" y="15781"/>
                </a:cubicBezTo>
                <a:cubicBezTo>
                  <a:pt x="10156" y="15781"/>
                  <a:pt x="10156" y="15781"/>
                  <a:pt x="10156" y="15781"/>
                </a:cubicBezTo>
                <a:cubicBezTo>
                  <a:pt x="10188" y="15874"/>
                  <a:pt x="10219" y="15906"/>
                  <a:pt x="10281" y="15906"/>
                </a:cubicBezTo>
                <a:cubicBezTo>
                  <a:pt x="10313" y="15906"/>
                  <a:pt x="10344" y="15906"/>
                  <a:pt x="10313" y="15937"/>
                </a:cubicBezTo>
                <a:cubicBezTo>
                  <a:pt x="10281" y="16031"/>
                  <a:pt x="10344" y="15999"/>
                  <a:pt x="10375" y="15999"/>
                </a:cubicBezTo>
                <a:cubicBezTo>
                  <a:pt x="10406" y="15999"/>
                  <a:pt x="10438" y="15999"/>
                  <a:pt x="10469" y="15968"/>
                </a:cubicBezTo>
                <a:cubicBezTo>
                  <a:pt x="10500" y="15968"/>
                  <a:pt x="10531" y="15999"/>
                  <a:pt x="10500" y="15968"/>
                </a:cubicBezTo>
                <a:cubicBezTo>
                  <a:pt x="10500" y="15937"/>
                  <a:pt x="10500" y="15937"/>
                  <a:pt x="10469" y="15937"/>
                </a:cubicBezTo>
                <a:cubicBezTo>
                  <a:pt x="10563" y="15999"/>
                  <a:pt x="10625" y="15937"/>
                  <a:pt x="10688" y="15937"/>
                </a:cubicBezTo>
                <a:close/>
                <a:moveTo>
                  <a:pt x="12469" y="15499"/>
                </a:moveTo>
                <a:cubicBezTo>
                  <a:pt x="12469" y="15531"/>
                  <a:pt x="12469" y="15531"/>
                  <a:pt x="12438" y="15531"/>
                </a:cubicBezTo>
                <a:cubicBezTo>
                  <a:pt x="12438" y="15499"/>
                  <a:pt x="12469" y="15499"/>
                  <a:pt x="12469" y="15499"/>
                </a:cubicBezTo>
                <a:cubicBezTo>
                  <a:pt x="12469" y="15499"/>
                  <a:pt x="12469" y="15499"/>
                  <a:pt x="12469" y="15499"/>
                </a:cubicBezTo>
                <a:close/>
                <a:moveTo>
                  <a:pt x="4813" y="13999"/>
                </a:moveTo>
                <a:cubicBezTo>
                  <a:pt x="4813" y="13999"/>
                  <a:pt x="4813" y="13999"/>
                  <a:pt x="4813" y="13999"/>
                </a:cubicBezTo>
                <a:cubicBezTo>
                  <a:pt x="4813" y="13999"/>
                  <a:pt x="4813" y="13999"/>
                  <a:pt x="4813" y="13999"/>
                </a:cubicBezTo>
                <a:close/>
                <a:moveTo>
                  <a:pt x="10125" y="10406"/>
                </a:moveTo>
                <a:cubicBezTo>
                  <a:pt x="10125" y="10406"/>
                  <a:pt x="10125" y="10406"/>
                  <a:pt x="10125" y="10406"/>
                </a:cubicBezTo>
                <a:cubicBezTo>
                  <a:pt x="10125" y="10406"/>
                  <a:pt x="10125" y="10406"/>
                  <a:pt x="10125" y="10406"/>
                </a:cubicBezTo>
                <a:lnTo>
                  <a:pt x="10125" y="10406"/>
                </a:lnTo>
                <a:cubicBezTo>
                  <a:pt x="10125" y="10406"/>
                  <a:pt x="10125" y="10406"/>
                  <a:pt x="10125" y="10406"/>
                </a:cubicBezTo>
                <a:close/>
                <a:moveTo>
                  <a:pt x="28750" y="22156"/>
                </a:moveTo>
                <a:cubicBezTo>
                  <a:pt x="28750" y="22156"/>
                  <a:pt x="28750" y="22156"/>
                  <a:pt x="28750" y="22156"/>
                </a:cubicBezTo>
                <a:close/>
                <a:moveTo>
                  <a:pt x="26313" y="21187"/>
                </a:moveTo>
                <a:cubicBezTo>
                  <a:pt x="26313" y="21187"/>
                  <a:pt x="26313" y="21187"/>
                  <a:pt x="26313" y="21187"/>
                </a:cubicBezTo>
                <a:cubicBezTo>
                  <a:pt x="26313" y="21187"/>
                  <a:pt x="26313" y="21187"/>
                  <a:pt x="26313" y="21187"/>
                </a:cubicBezTo>
                <a:close/>
                <a:moveTo>
                  <a:pt x="24094" y="19187"/>
                </a:moveTo>
                <a:cubicBezTo>
                  <a:pt x="24094" y="19187"/>
                  <a:pt x="24094" y="19187"/>
                  <a:pt x="24094" y="19187"/>
                </a:cubicBezTo>
                <a:cubicBezTo>
                  <a:pt x="24094" y="19187"/>
                  <a:pt x="24094" y="19187"/>
                  <a:pt x="24094" y="19187"/>
                </a:cubicBezTo>
                <a:cubicBezTo>
                  <a:pt x="24094" y="19187"/>
                  <a:pt x="24094" y="19187"/>
                  <a:pt x="24094" y="19187"/>
                </a:cubicBezTo>
                <a:lnTo>
                  <a:pt x="24094" y="19187"/>
                </a:lnTo>
                <a:lnTo>
                  <a:pt x="24094" y="19187"/>
                </a:lnTo>
                <a:close/>
                <a:moveTo>
                  <a:pt x="29719" y="23468"/>
                </a:moveTo>
                <a:cubicBezTo>
                  <a:pt x="29719" y="23468"/>
                  <a:pt x="29719" y="23468"/>
                  <a:pt x="29719" y="23468"/>
                </a:cubicBezTo>
                <a:close/>
                <a:moveTo>
                  <a:pt x="23969" y="19124"/>
                </a:moveTo>
                <a:cubicBezTo>
                  <a:pt x="23969" y="19124"/>
                  <a:pt x="23969" y="19124"/>
                  <a:pt x="23969" y="19124"/>
                </a:cubicBezTo>
                <a:cubicBezTo>
                  <a:pt x="23969" y="19124"/>
                  <a:pt x="23969" y="19124"/>
                  <a:pt x="23969" y="19124"/>
                </a:cubicBezTo>
                <a:close/>
                <a:moveTo>
                  <a:pt x="26781" y="21656"/>
                </a:moveTo>
                <a:cubicBezTo>
                  <a:pt x="26781" y="21656"/>
                  <a:pt x="26781" y="21656"/>
                  <a:pt x="26781" y="21656"/>
                </a:cubicBezTo>
                <a:cubicBezTo>
                  <a:pt x="26781" y="21656"/>
                  <a:pt x="26781" y="21656"/>
                  <a:pt x="26781" y="21656"/>
                </a:cubicBezTo>
                <a:lnTo>
                  <a:pt x="26781" y="21656"/>
                </a:lnTo>
                <a:cubicBezTo>
                  <a:pt x="26781" y="21656"/>
                  <a:pt x="26781" y="21656"/>
                  <a:pt x="26781" y="21656"/>
                </a:cubicBezTo>
                <a:close/>
                <a:moveTo>
                  <a:pt x="18406" y="12749"/>
                </a:move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lose/>
                <a:moveTo>
                  <a:pt x="4031" y="14437"/>
                </a:moveTo>
                <a:cubicBezTo>
                  <a:pt x="4031" y="14437"/>
                  <a:pt x="4031" y="14437"/>
                  <a:pt x="4031" y="14437"/>
                </a:cubicBezTo>
                <a:close/>
                <a:moveTo>
                  <a:pt x="4813" y="23437"/>
                </a:move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lnTo>
                  <a:pt x="4813" y="23437"/>
                </a:ln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259B8D5-A349-5C4F-9CA2-8D4546B94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6799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F25FEFD8-3E6D-214A-9B49-E5C7C06395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6882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63492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23">
            <a:extLst>
              <a:ext uri="{FF2B5EF4-FFF2-40B4-BE49-F238E27FC236}">
                <a16:creationId xmlns:a16="http://schemas.microsoft.com/office/drawing/2014/main" id="{53A9BBAD-01B8-CE4F-84DF-1CE07592C88C}"/>
              </a:ext>
            </a:extLst>
          </p:cNvPr>
          <p:cNvSpPr>
            <a:spLocks noGrp="1" noEditPoints="1"/>
          </p:cNvSpPr>
          <p:nvPr>
            <p:ph type="pic" sz="quarter" idx="23" hasCustomPrompt="1"/>
          </p:nvPr>
        </p:nvSpPr>
        <p:spPr bwMode="auto">
          <a:xfrm>
            <a:off x="5483615" y="369014"/>
            <a:ext cx="6443877" cy="6488986"/>
          </a:xfrm>
          <a:custGeom>
            <a:avLst/>
            <a:gdLst>
              <a:gd name="T0" fmla="*/ 1373 w 1626"/>
              <a:gd name="T1" fmla="*/ 1259 h 1549"/>
              <a:gd name="T2" fmla="*/ 1331 w 1626"/>
              <a:gd name="T3" fmla="*/ 1218 h 1549"/>
              <a:gd name="T4" fmla="*/ 1210 w 1626"/>
              <a:gd name="T5" fmla="*/ 1316 h 1549"/>
              <a:gd name="T6" fmla="*/ 1155 w 1626"/>
              <a:gd name="T7" fmla="*/ 1392 h 1549"/>
              <a:gd name="T8" fmla="*/ 1178 w 1626"/>
              <a:gd name="T9" fmla="*/ 1197 h 1549"/>
              <a:gd name="T10" fmla="*/ 1081 w 1626"/>
              <a:gd name="T11" fmla="*/ 1319 h 1549"/>
              <a:gd name="T12" fmla="*/ 1025 w 1626"/>
              <a:gd name="T13" fmla="*/ 1250 h 1549"/>
              <a:gd name="T14" fmla="*/ 992 w 1626"/>
              <a:gd name="T15" fmla="*/ 939 h 1549"/>
              <a:gd name="T16" fmla="*/ 902 w 1626"/>
              <a:gd name="T17" fmla="*/ 1305 h 1549"/>
              <a:gd name="T18" fmla="*/ 867 w 1626"/>
              <a:gd name="T19" fmla="*/ 1411 h 1549"/>
              <a:gd name="T20" fmla="*/ 825 w 1626"/>
              <a:gd name="T21" fmla="*/ 1074 h 1549"/>
              <a:gd name="T22" fmla="*/ 803 w 1626"/>
              <a:gd name="T23" fmla="*/ 1205 h 1549"/>
              <a:gd name="T24" fmla="*/ 786 w 1626"/>
              <a:gd name="T25" fmla="*/ 659 h 1549"/>
              <a:gd name="T26" fmla="*/ 855 w 1626"/>
              <a:gd name="T27" fmla="*/ 1111 h 1549"/>
              <a:gd name="T28" fmla="*/ 759 w 1626"/>
              <a:gd name="T29" fmla="*/ 1048 h 1549"/>
              <a:gd name="T30" fmla="*/ 668 w 1626"/>
              <a:gd name="T31" fmla="*/ 568 h 1549"/>
              <a:gd name="T32" fmla="*/ 619 w 1626"/>
              <a:gd name="T33" fmla="*/ 1072 h 1549"/>
              <a:gd name="T34" fmla="*/ 573 w 1626"/>
              <a:gd name="T35" fmla="*/ 980 h 1549"/>
              <a:gd name="T36" fmla="*/ 621 w 1626"/>
              <a:gd name="T37" fmla="*/ 1223 h 1549"/>
              <a:gd name="T38" fmla="*/ 621 w 1626"/>
              <a:gd name="T39" fmla="*/ 897 h 1549"/>
              <a:gd name="T40" fmla="*/ 549 w 1626"/>
              <a:gd name="T41" fmla="*/ 925 h 1549"/>
              <a:gd name="T42" fmla="*/ 513 w 1626"/>
              <a:gd name="T43" fmla="*/ 1155 h 1549"/>
              <a:gd name="T44" fmla="*/ 482 w 1626"/>
              <a:gd name="T45" fmla="*/ 1009 h 1549"/>
              <a:gd name="T46" fmla="*/ 424 w 1626"/>
              <a:gd name="T47" fmla="*/ 1158 h 1549"/>
              <a:gd name="T48" fmla="*/ 380 w 1626"/>
              <a:gd name="T49" fmla="*/ 1046 h 1549"/>
              <a:gd name="T50" fmla="*/ 338 w 1626"/>
              <a:gd name="T51" fmla="*/ 701 h 1549"/>
              <a:gd name="T52" fmla="*/ 313 w 1626"/>
              <a:gd name="T53" fmla="*/ 1186 h 1549"/>
              <a:gd name="T54" fmla="*/ 296 w 1626"/>
              <a:gd name="T55" fmla="*/ 1219 h 1549"/>
              <a:gd name="T56" fmla="*/ 355 w 1626"/>
              <a:gd name="T57" fmla="*/ 801 h 1549"/>
              <a:gd name="T58" fmla="*/ 403 w 1626"/>
              <a:gd name="T59" fmla="*/ 1062 h 1549"/>
              <a:gd name="T60" fmla="*/ 415 w 1626"/>
              <a:gd name="T61" fmla="*/ 864 h 1549"/>
              <a:gd name="T62" fmla="*/ 411 w 1626"/>
              <a:gd name="T63" fmla="*/ 984 h 1549"/>
              <a:gd name="T64" fmla="*/ 489 w 1626"/>
              <a:gd name="T65" fmla="*/ 914 h 1549"/>
              <a:gd name="T66" fmla="*/ 463 w 1626"/>
              <a:gd name="T67" fmla="*/ 913 h 1549"/>
              <a:gd name="T68" fmla="*/ 459 w 1626"/>
              <a:gd name="T69" fmla="*/ 811 h 1549"/>
              <a:gd name="T70" fmla="*/ 483 w 1626"/>
              <a:gd name="T71" fmla="*/ 836 h 1549"/>
              <a:gd name="T72" fmla="*/ 611 w 1626"/>
              <a:gd name="T73" fmla="*/ 625 h 1549"/>
              <a:gd name="T74" fmla="*/ 640 w 1626"/>
              <a:gd name="T75" fmla="*/ 846 h 1549"/>
              <a:gd name="T76" fmla="*/ 661 w 1626"/>
              <a:gd name="T77" fmla="*/ 578 h 1549"/>
              <a:gd name="T78" fmla="*/ 713 w 1626"/>
              <a:gd name="T79" fmla="*/ 550 h 1549"/>
              <a:gd name="T80" fmla="*/ 194 w 1626"/>
              <a:gd name="T81" fmla="*/ 1497 h 1549"/>
              <a:gd name="T82" fmla="*/ 115 w 1626"/>
              <a:gd name="T83" fmla="*/ 287 h 1549"/>
              <a:gd name="T84" fmla="*/ 66 w 1626"/>
              <a:gd name="T85" fmla="*/ 419 h 1549"/>
              <a:gd name="T86" fmla="*/ 1583 w 1626"/>
              <a:gd name="T87" fmla="*/ 1336 h 1549"/>
              <a:gd name="T88" fmla="*/ 1510 w 1626"/>
              <a:gd name="T89" fmla="*/ 867 h 1549"/>
              <a:gd name="T90" fmla="*/ 1393 w 1626"/>
              <a:gd name="T91" fmla="*/ 924 h 1549"/>
              <a:gd name="T92" fmla="*/ 1297 w 1626"/>
              <a:gd name="T93" fmla="*/ 1047 h 1549"/>
              <a:gd name="T94" fmla="*/ 1081 w 1626"/>
              <a:gd name="T95" fmla="*/ 937 h 1549"/>
              <a:gd name="T96" fmla="*/ 985 w 1626"/>
              <a:gd name="T97" fmla="*/ 722 h 1549"/>
              <a:gd name="T98" fmla="*/ 939 w 1626"/>
              <a:gd name="T99" fmla="*/ 611 h 1549"/>
              <a:gd name="T100" fmla="*/ 813 w 1626"/>
              <a:gd name="T101" fmla="*/ 473 h 1549"/>
              <a:gd name="T102" fmla="*/ 714 w 1626"/>
              <a:gd name="T103" fmla="*/ 503 h 1549"/>
              <a:gd name="T104" fmla="*/ 516 w 1626"/>
              <a:gd name="T105" fmla="*/ 566 h 1549"/>
              <a:gd name="T106" fmla="*/ 433 w 1626"/>
              <a:gd name="T107" fmla="*/ 780 h 1549"/>
              <a:gd name="T108" fmla="*/ 270 w 1626"/>
              <a:gd name="T109" fmla="*/ 299 h 1549"/>
              <a:gd name="T110" fmla="*/ 343 w 1626"/>
              <a:gd name="T111" fmla="*/ 92 h 1549"/>
              <a:gd name="T112" fmla="*/ 251 w 1626"/>
              <a:gd name="T113" fmla="*/ 29 h 1549"/>
              <a:gd name="T114" fmla="*/ 142 w 1626"/>
              <a:gd name="T115" fmla="*/ 9 h 1549"/>
              <a:gd name="T116" fmla="*/ 26 w 1626"/>
              <a:gd name="T117" fmla="*/ 110 h 1549"/>
              <a:gd name="T118" fmla="*/ 64 w 1626"/>
              <a:gd name="T119" fmla="*/ 390 h 1549"/>
              <a:gd name="T120" fmla="*/ 207 w 1626"/>
              <a:gd name="T121" fmla="*/ 784 h 1549"/>
              <a:gd name="T122" fmla="*/ 198 w 1626"/>
              <a:gd name="T123" fmla="*/ 1061 h 1549"/>
              <a:gd name="T124" fmla="*/ 246 w 1626"/>
              <a:gd name="T125" fmla="*/ 1267 h 1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26" h="1549">
                <a:moveTo>
                  <a:pt x="1547" y="1498"/>
                </a:moveTo>
                <a:lnTo>
                  <a:pt x="1547" y="1498"/>
                </a:lnTo>
                <a:lnTo>
                  <a:pt x="1549" y="1497"/>
                </a:lnTo>
                <a:lnTo>
                  <a:pt x="1549" y="1496"/>
                </a:lnTo>
                <a:lnTo>
                  <a:pt x="1549" y="1494"/>
                </a:lnTo>
                <a:lnTo>
                  <a:pt x="1549" y="1496"/>
                </a:lnTo>
                <a:lnTo>
                  <a:pt x="1549" y="1497"/>
                </a:lnTo>
                <a:lnTo>
                  <a:pt x="1547" y="1498"/>
                </a:lnTo>
                <a:lnTo>
                  <a:pt x="1547" y="1498"/>
                </a:lnTo>
                <a:close/>
                <a:moveTo>
                  <a:pt x="1474" y="952"/>
                </a:moveTo>
                <a:lnTo>
                  <a:pt x="1474" y="952"/>
                </a:lnTo>
                <a:lnTo>
                  <a:pt x="1474" y="952"/>
                </a:lnTo>
                <a:lnTo>
                  <a:pt x="1474" y="952"/>
                </a:lnTo>
                <a:lnTo>
                  <a:pt x="1474" y="952"/>
                </a:lnTo>
                <a:lnTo>
                  <a:pt x="1474" y="952"/>
                </a:lnTo>
                <a:close/>
                <a:moveTo>
                  <a:pt x="1473" y="952"/>
                </a:moveTo>
                <a:lnTo>
                  <a:pt x="1473" y="951"/>
                </a:lnTo>
                <a:lnTo>
                  <a:pt x="1473" y="951"/>
                </a:lnTo>
                <a:lnTo>
                  <a:pt x="1473" y="951"/>
                </a:lnTo>
                <a:lnTo>
                  <a:pt x="1473" y="951"/>
                </a:lnTo>
                <a:lnTo>
                  <a:pt x="1473" y="952"/>
                </a:lnTo>
                <a:close/>
                <a:moveTo>
                  <a:pt x="1421" y="946"/>
                </a:moveTo>
                <a:lnTo>
                  <a:pt x="1418" y="948"/>
                </a:lnTo>
                <a:lnTo>
                  <a:pt x="1415" y="949"/>
                </a:lnTo>
                <a:lnTo>
                  <a:pt x="1418" y="948"/>
                </a:lnTo>
                <a:lnTo>
                  <a:pt x="1421" y="946"/>
                </a:lnTo>
                <a:lnTo>
                  <a:pt x="1421" y="946"/>
                </a:lnTo>
                <a:close/>
                <a:moveTo>
                  <a:pt x="1407" y="1118"/>
                </a:moveTo>
                <a:lnTo>
                  <a:pt x="1409" y="1117"/>
                </a:lnTo>
                <a:lnTo>
                  <a:pt x="1411" y="1116"/>
                </a:lnTo>
                <a:lnTo>
                  <a:pt x="1409" y="1117"/>
                </a:lnTo>
                <a:lnTo>
                  <a:pt x="1407" y="1118"/>
                </a:lnTo>
                <a:close/>
                <a:moveTo>
                  <a:pt x="1398" y="1148"/>
                </a:moveTo>
                <a:lnTo>
                  <a:pt x="1398" y="1149"/>
                </a:lnTo>
                <a:lnTo>
                  <a:pt x="1398" y="1148"/>
                </a:lnTo>
                <a:close/>
                <a:moveTo>
                  <a:pt x="1381" y="980"/>
                </a:moveTo>
                <a:lnTo>
                  <a:pt x="1381" y="983"/>
                </a:lnTo>
                <a:lnTo>
                  <a:pt x="1380" y="984"/>
                </a:lnTo>
                <a:lnTo>
                  <a:pt x="1381" y="983"/>
                </a:lnTo>
                <a:lnTo>
                  <a:pt x="1381" y="980"/>
                </a:lnTo>
                <a:lnTo>
                  <a:pt x="1384" y="980"/>
                </a:lnTo>
                <a:lnTo>
                  <a:pt x="1385" y="980"/>
                </a:lnTo>
                <a:lnTo>
                  <a:pt x="1384" y="980"/>
                </a:lnTo>
                <a:lnTo>
                  <a:pt x="1381" y="980"/>
                </a:lnTo>
                <a:close/>
                <a:moveTo>
                  <a:pt x="1378" y="1259"/>
                </a:moveTo>
                <a:lnTo>
                  <a:pt x="1376" y="1259"/>
                </a:lnTo>
                <a:lnTo>
                  <a:pt x="1374" y="1260"/>
                </a:lnTo>
                <a:lnTo>
                  <a:pt x="1373" y="1261"/>
                </a:lnTo>
                <a:lnTo>
                  <a:pt x="1373" y="1261"/>
                </a:lnTo>
                <a:lnTo>
                  <a:pt x="1370" y="1260"/>
                </a:lnTo>
                <a:lnTo>
                  <a:pt x="1369" y="1260"/>
                </a:lnTo>
                <a:lnTo>
                  <a:pt x="1371" y="1260"/>
                </a:lnTo>
                <a:lnTo>
                  <a:pt x="1373" y="1259"/>
                </a:lnTo>
                <a:lnTo>
                  <a:pt x="1374" y="1257"/>
                </a:lnTo>
                <a:lnTo>
                  <a:pt x="1377" y="1256"/>
                </a:lnTo>
                <a:lnTo>
                  <a:pt x="1380" y="1254"/>
                </a:lnTo>
                <a:lnTo>
                  <a:pt x="1383" y="1254"/>
                </a:lnTo>
                <a:lnTo>
                  <a:pt x="1381" y="1254"/>
                </a:lnTo>
                <a:lnTo>
                  <a:pt x="1379" y="1256"/>
                </a:lnTo>
                <a:lnTo>
                  <a:pt x="1378" y="1257"/>
                </a:lnTo>
                <a:lnTo>
                  <a:pt x="1378" y="1259"/>
                </a:lnTo>
                <a:close/>
                <a:moveTo>
                  <a:pt x="1362" y="1118"/>
                </a:moveTo>
                <a:lnTo>
                  <a:pt x="1362" y="1118"/>
                </a:lnTo>
                <a:lnTo>
                  <a:pt x="1360" y="1118"/>
                </a:lnTo>
                <a:lnTo>
                  <a:pt x="1362" y="1118"/>
                </a:lnTo>
                <a:lnTo>
                  <a:pt x="1362" y="1118"/>
                </a:lnTo>
                <a:lnTo>
                  <a:pt x="1362" y="1118"/>
                </a:lnTo>
                <a:close/>
                <a:moveTo>
                  <a:pt x="1359" y="1119"/>
                </a:moveTo>
                <a:lnTo>
                  <a:pt x="1360" y="1118"/>
                </a:lnTo>
                <a:lnTo>
                  <a:pt x="1360" y="1118"/>
                </a:lnTo>
                <a:lnTo>
                  <a:pt x="1360" y="1118"/>
                </a:lnTo>
                <a:lnTo>
                  <a:pt x="1359" y="1119"/>
                </a:lnTo>
                <a:lnTo>
                  <a:pt x="1360" y="1119"/>
                </a:lnTo>
                <a:lnTo>
                  <a:pt x="1360" y="1119"/>
                </a:lnTo>
                <a:lnTo>
                  <a:pt x="1360" y="1119"/>
                </a:lnTo>
                <a:lnTo>
                  <a:pt x="1359" y="1119"/>
                </a:lnTo>
                <a:close/>
                <a:moveTo>
                  <a:pt x="1353" y="1044"/>
                </a:moveTo>
                <a:lnTo>
                  <a:pt x="1357" y="1044"/>
                </a:lnTo>
                <a:lnTo>
                  <a:pt x="1360" y="1044"/>
                </a:lnTo>
                <a:lnTo>
                  <a:pt x="1360" y="1044"/>
                </a:lnTo>
                <a:lnTo>
                  <a:pt x="1357" y="1044"/>
                </a:lnTo>
                <a:lnTo>
                  <a:pt x="1353" y="1044"/>
                </a:lnTo>
                <a:close/>
                <a:moveTo>
                  <a:pt x="1345" y="1030"/>
                </a:moveTo>
                <a:lnTo>
                  <a:pt x="1343" y="1030"/>
                </a:lnTo>
                <a:lnTo>
                  <a:pt x="1340" y="1030"/>
                </a:lnTo>
                <a:lnTo>
                  <a:pt x="1333" y="1026"/>
                </a:lnTo>
                <a:lnTo>
                  <a:pt x="1325" y="1023"/>
                </a:lnTo>
                <a:lnTo>
                  <a:pt x="1324" y="1019"/>
                </a:lnTo>
                <a:lnTo>
                  <a:pt x="1324" y="1013"/>
                </a:lnTo>
                <a:lnTo>
                  <a:pt x="1324" y="1019"/>
                </a:lnTo>
                <a:lnTo>
                  <a:pt x="1325" y="1023"/>
                </a:lnTo>
                <a:lnTo>
                  <a:pt x="1333" y="1026"/>
                </a:lnTo>
                <a:lnTo>
                  <a:pt x="1340" y="1030"/>
                </a:lnTo>
                <a:lnTo>
                  <a:pt x="1343" y="1030"/>
                </a:lnTo>
                <a:lnTo>
                  <a:pt x="1345" y="1030"/>
                </a:lnTo>
                <a:lnTo>
                  <a:pt x="1344" y="1027"/>
                </a:lnTo>
                <a:lnTo>
                  <a:pt x="1344" y="1025"/>
                </a:lnTo>
                <a:lnTo>
                  <a:pt x="1344" y="1027"/>
                </a:lnTo>
                <a:lnTo>
                  <a:pt x="1345" y="1030"/>
                </a:lnTo>
                <a:lnTo>
                  <a:pt x="1346" y="1032"/>
                </a:lnTo>
                <a:lnTo>
                  <a:pt x="1349" y="1034"/>
                </a:lnTo>
                <a:lnTo>
                  <a:pt x="1346" y="1032"/>
                </a:lnTo>
                <a:lnTo>
                  <a:pt x="1345" y="1030"/>
                </a:lnTo>
                <a:close/>
                <a:moveTo>
                  <a:pt x="1328" y="1222"/>
                </a:moveTo>
                <a:lnTo>
                  <a:pt x="1330" y="1219"/>
                </a:lnTo>
                <a:lnTo>
                  <a:pt x="1331" y="1218"/>
                </a:lnTo>
                <a:lnTo>
                  <a:pt x="1335" y="1218"/>
                </a:lnTo>
                <a:lnTo>
                  <a:pt x="1338" y="1217"/>
                </a:lnTo>
                <a:lnTo>
                  <a:pt x="1338" y="1217"/>
                </a:lnTo>
                <a:lnTo>
                  <a:pt x="1335" y="1218"/>
                </a:lnTo>
                <a:lnTo>
                  <a:pt x="1331" y="1218"/>
                </a:lnTo>
                <a:lnTo>
                  <a:pt x="1330" y="1219"/>
                </a:lnTo>
                <a:lnTo>
                  <a:pt x="1328" y="1222"/>
                </a:lnTo>
                <a:close/>
                <a:moveTo>
                  <a:pt x="1321" y="1246"/>
                </a:moveTo>
                <a:lnTo>
                  <a:pt x="1317" y="1246"/>
                </a:lnTo>
                <a:lnTo>
                  <a:pt x="1314" y="1246"/>
                </a:lnTo>
                <a:lnTo>
                  <a:pt x="1317" y="1246"/>
                </a:lnTo>
                <a:lnTo>
                  <a:pt x="1321" y="1246"/>
                </a:lnTo>
                <a:close/>
                <a:moveTo>
                  <a:pt x="1282" y="1138"/>
                </a:moveTo>
                <a:lnTo>
                  <a:pt x="1284" y="1137"/>
                </a:lnTo>
                <a:lnTo>
                  <a:pt x="1286" y="1135"/>
                </a:lnTo>
                <a:lnTo>
                  <a:pt x="1284" y="1137"/>
                </a:lnTo>
                <a:lnTo>
                  <a:pt x="1282" y="1138"/>
                </a:lnTo>
                <a:close/>
                <a:moveTo>
                  <a:pt x="1252" y="1328"/>
                </a:moveTo>
                <a:lnTo>
                  <a:pt x="1253" y="1327"/>
                </a:lnTo>
                <a:lnTo>
                  <a:pt x="1252" y="1326"/>
                </a:lnTo>
                <a:lnTo>
                  <a:pt x="1249" y="1322"/>
                </a:lnTo>
                <a:lnTo>
                  <a:pt x="1248" y="1320"/>
                </a:lnTo>
                <a:lnTo>
                  <a:pt x="1249" y="1322"/>
                </a:lnTo>
                <a:lnTo>
                  <a:pt x="1252" y="1326"/>
                </a:lnTo>
                <a:lnTo>
                  <a:pt x="1253" y="1327"/>
                </a:lnTo>
                <a:lnTo>
                  <a:pt x="1252" y="1328"/>
                </a:lnTo>
                <a:close/>
                <a:moveTo>
                  <a:pt x="1224" y="1085"/>
                </a:moveTo>
                <a:lnTo>
                  <a:pt x="1235" y="1095"/>
                </a:lnTo>
                <a:lnTo>
                  <a:pt x="1247" y="1103"/>
                </a:lnTo>
                <a:lnTo>
                  <a:pt x="1248" y="1105"/>
                </a:lnTo>
                <a:lnTo>
                  <a:pt x="1250" y="1107"/>
                </a:lnTo>
                <a:lnTo>
                  <a:pt x="1248" y="1105"/>
                </a:lnTo>
                <a:lnTo>
                  <a:pt x="1247" y="1103"/>
                </a:lnTo>
                <a:lnTo>
                  <a:pt x="1235" y="1095"/>
                </a:lnTo>
                <a:lnTo>
                  <a:pt x="1224" y="1085"/>
                </a:lnTo>
                <a:close/>
                <a:moveTo>
                  <a:pt x="1239" y="1228"/>
                </a:moveTo>
                <a:lnTo>
                  <a:pt x="1238" y="1226"/>
                </a:lnTo>
                <a:lnTo>
                  <a:pt x="1238" y="1225"/>
                </a:lnTo>
                <a:lnTo>
                  <a:pt x="1238" y="1226"/>
                </a:lnTo>
                <a:lnTo>
                  <a:pt x="1239" y="1228"/>
                </a:lnTo>
                <a:lnTo>
                  <a:pt x="1239" y="1228"/>
                </a:lnTo>
                <a:close/>
                <a:moveTo>
                  <a:pt x="1235" y="1410"/>
                </a:moveTo>
                <a:lnTo>
                  <a:pt x="1232" y="1408"/>
                </a:lnTo>
                <a:lnTo>
                  <a:pt x="1228" y="1408"/>
                </a:lnTo>
                <a:lnTo>
                  <a:pt x="1232" y="1408"/>
                </a:lnTo>
                <a:lnTo>
                  <a:pt x="1235" y="1410"/>
                </a:lnTo>
                <a:lnTo>
                  <a:pt x="1235" y="1411"/>
                </a:lnTo>
                <a:lnTo>
                  <a:pt x="1236" y="1412"/>
                </a:lnTo>
                <a:lnTo>
                  <a:pt x="1235" y="1411"/>
                </a:lnTo>
                <a:lnTo>
                  <a:pt x="1235" y="1410"/>
                </a:lnTo>
                <a:close/>
                <a:moveTo>
                  <a:pt x="1208" y="1312"/>
                </a:moveTo>
                <a:lnTo>
                  <a:pt x="1210" y="1314"/>
                </a:lnTo>
                <a:lnTo>
                  <a:pt x="1210" y="1316"/>
                </a:lnTo>
                <a:lnTo>
                  <a:pt x="1210" y="1314"/>
                </a:lnTo>
                <a:lnTo>
                  <a:pt x="1208" y="1312"/>
                </a:lnTo>
                <a:lnTo>
                  <a:pt x="1210" y="1310"/>
                </a:lnTo>
                <a:lnTo>
                  <a:pt x="1211" y="1310"/>
                </a:lnTo>
                <a:lnTo>
                  <a:pt x="1210" y="1310"/>
                </a:lnTo>
                <a:lnTo>
                  <a:pt x="1208" y="1312"/>
                </a:lnTo>
                <a:close/>
                <a:moveTo>
                  <a:pt x="1213" y="1084"/>
                </a:moveTo>
                <a:lnTo>
                  <a:pt x="1213" y="1086"/>
                </a:lnTo>
                <a:lnTo>
                  <a:pt x="1212" y="1089"/>
                </a:lnTo>
                <a:lnTo>
                  <a:pt x="1213" y="1086"/>
                </a:lnTo>
                <a:lnTo>
                  <a:pt x="1213" y="1084"/>
                </a:lnTo>
                <a:close/>
                <a:moveTo>
                  <a:pt x="1193" y="1347"/>
                </a:moveTo>
                <a:lnTo>
                  <a:pt x="1190" y="1342"/>
                </a:lnTo>
                <a:lnTo>
                  <a:pt x="1187" y="1338"/>
                </a:lnTo>
                <a:lnTo>
                  <a:pt x="1190" y="1342"/>
                </a:lnTo>
                <a:lnTo>
                  <a:pt x="1193" y="1347"/>
                </a:lnTo>
                <a:close/>
                <a:moveTo>
                  <a:pt x="1178" y="1344"/>
                </a:moveTo>
                <a:lnTo>
                  <a:pt x="1176" y="1342"/>
                </a:lnTo>
                <a:lnTo>
                  <a:pt x="1174" y="1341"/>
                </a:lnTo>
                <a:lnTo>
                  <a:pt x="1176" y="1342"/>
                </a:lnTo>
                <a:lnTo>
                  <a:pt x="1178" y="1344"/>
                </a:lnTo>
                <a:lnTo>
                  <a:pt x="1181" y="1348"/>
                </a:lnTo>
                <a:lnTo>
                  <a:pt x="1186" y="1352"/>
                </a:lnTo>
                <a:lnTo>
                  <a:pt x="1181" y="1348"/>
                </a:lnTo>
                <a:lnTo>
                  <a:pt x="1178" y="1344"/>
                </a:lnTo>
                <a:close/>
                <a:moveTo>
                  <a:pt x="1176" y="1518"/>
                </a:moveTo>
                <a:lnTo>
                  <a:pt x="1176" y="1518"/>
                </a:lnTo>
                <a:lnTo>
                  <a:pt x="1176" y="1518"/>
                </a:lnTo>
                <a:lnTo>
                  <a:pt x="1176" y="1518"/>
                </a:lnTo>
                <a:lnTo>
                  <a:pt x="1176" y="1518"/>
                </a:lnTo>
                <a:close/>
                <a:moveTo>
                  <a:pt x="1174" y="1349"/>
                </a:moveTo>
                <a:lnTo>
                  <a:pt x="1171" y="1348"/>
                </a:lnTo>
                <a:lnTo>
                  <a:pt x="1169" y="1347"/>
                </a:lnTo>
                <a:lnTo>
                  <a:pt x="1171" y="1348"/>
                </a:lnTo>
                <a:lnTo>
                  <a:pt x="1174" y="1349"/>
                </a:lnTo>
                <a:lnTo>
                  <a:pt x="1174" y="1349"/>
                </a:lnTo>
                <a:close/>
                <a:moveTo>
                  <a:pt x="1172" y="1500"/>
                </a:moveTo>
                <a:lnTo>
                  <a:pt x="1169" y="1498"/>
                </a:lnTo>
                <a:lnTo>
                  <a:pt x="1166" y="1497"/>
                </a:lnTo>
                <a:lnTo>
                  <a:pt x="1169" y="1498"/>
                </a:lnTo>
                <a:lnTo>
                  <a:pt x="1172" y="1500"/>
                </a:lnTo>
                <a:lnTo>
                  <a:pt x="1172" y="1502"/>
                </a:lnTo>
                <a:lnTo>
                  <a:pt x="1172" y="1504"/>
                </a:lnTo>
                <a:lnTo>
                  <a:pt x="1172" y="1502"/>
                </a:lnTo>
                <a:lnTo>
                  <a:pt x="1172" y="1500"/>
                </a:lnTo>
                <a:close/>
                <a:moveTo>
                  <a:pt x="1159" y="978"/>
                </a:moveTo>
                <a:lnTo>
                  <a:pt x="1155" y="971"/>
                </a:lnTo>
                <a:lnTo>
                  <a:pt x="1148" y="967"/>
                </a:lnTo>
                <a:lnTo>
                  <a:pt x="1155" y="971"/>
                </a:lnTo>
                <a:lnTo>
                  <a:pt x="1159" y="978"/>
                </a:lnTo>
                <a:lnTo>
                  <a:pt x="1159" y="978"/>
                </a:lnTo>
                <a:close/>
                <a:moveTo>
                  <a:pt x="1155" y="1393"/>
                </a:moveTo>
                <a:lnTo>
                  <a:pt x="1155" y="1392"/>
                </a:lnTo>
                <a:lnTo>
                  <a:pt x="1156" y="1390"/>
                </a:lnTo>
                <a:lnTo>
                  <a:pt x="1144" y="1373"/>
                </a:lnTo>
                <a:lnTo>
                  <a:pt x="1132" y="1358"/>
                </a:lnTo>
                <a:lnTo>
                  <a:pt x="1144" y="1373"/>
                </a:lnTo>
                <a:lnTo>
                  <a:pt x="1156" y="1390"/>
                </a:lnTo>
                <a:lnTo>
                  <a:pt x="1155" y="1392"/>
                </a:lnTo>
                <a:lnTo>
                  <a:pt x="1155" y="1393"/>
                </a:lnTo>
                <a:close/>
                <a:moveTo>
                  <a:pt x="1128" y="1412"/>
                </a:moveTo>
                <a:lnTo>
                  <a:pt x="1124" y="1411"/>
                </a:lnTo>
                <a:lnTo>
                  <a:pt x="1121" y="1410"/>
                </a:lnTo>
                <a:lnTo>
                  <a:pt x="1124" y="1411"/>
                </a:lnTo>
                <a:lnTo>
                  <a:pt x="1128" y="1412"/>
                </a:lnTo>
                <a:close/>
                <a:moveTo>
                  <a:pt x="1126" y="1370"/>
                </a:moveTo>
                <a:lnTo>
                  <a:pt x="1124" y="1369"/>
                </a:lnTo>
                <a:lnTo>
                  <a:pt x="1123" y="1369"/>
                </a:lnTo>
                <a:lnTo>
                  <a:pt x="1124" y="1369"/>
                </a:lnTo>
                <a:lnTo>
                  <a:pt x="1126" y="1370"/>
                </a:lnTo>
                <a:close/>
                <a:moveTo>
                  <a:pt x="1128" y="1177"/>
                </a:moveTo>
                <a:lnTo>
                  <a:pt x="1132" y="1176"/>
                </a:lnTo>
                <a:lnTo>
                  <a:pt x="1137" y="1177"/>
                </a:lnTo>
                <a:lnTo>
                  <a:pt x="1142" y="1180"/>
                </a:lnTo>
                <a:lnTo>
                  <a:pt x="1144" y="1183"/>
                </a:lnTo>
                <a:lnTo>
                  <a:pt x="1142" y="1180"/>
                </a:lnTo>
                <a:lnTo>
                  <a:pt x="1137" y="1177"/>
                </a:lnTo>
                <a:lnTo>
                  <a:pt x="1132" y="1176"/>
                </a:lnTo>
                <a:lnTo>
                  <a:pt x="1128" y="1177"/>
                </a:lnTo>
                <a:lnTo>
                  <a:pt x="1119" y="1161"/>
                </a:lnTo>
                <a:lnTo>
                  <a:pt x="1111" y="1144"/>
                </a:lnTo>
                <a:lnTo>
                  <a:pt x="1119" y="1161"/>
                </a:lnTo>
                <a:lnTo>
                  <a:pt x="1128" y="1177"/>
                </a:lnTo>
                <a:close/>
                <a:moveTo>
                  <a:pt x="1144" y="1223"/>
                </a:moveTo>
                <a:lnTo>
                  <a:pt x="1143" y="1223"/>
                </a:lnTo>
                <a:lnTo>
                  <a:pt x="1142" y="1223"/>
                </a:lnTo>
                <a:lnTo>
                  <a:pt x="1143" y="1223"/>
                </a:lnTo>
                <a:lnTo>
                  <a:pt x="1144" y="1223"/>
                </a:lnTo>
                <a:close/>
                <a:moveTo>
                  <a:pt x="1145" y="1218"/>
                </a:moveTo>
                <a:lnTo>
                  <a:pt x="1144" y="1217"/>
                </a:lnTo>
                <a:lnTo>
                  <a:pt x="1142" y="1216"/>
                </a:lnTo>
                <a:lnTo>
                  <a:pt x="1142" y="1212"/>
                </a:lnTo>
                <a:lnTo>
                  <a:pt x="1141" y="1208"/>
                </a:lnTo>
                <a:lnTo>
                  <a:pt x="1142" y="1212"/>
                </a:lnTo>
                <a:lnTo>
                  <a:pt x="1142" y="1216"/>
                </a:lnTo>
                <a:lnTo>
                  <a:pt x="1144" y="1217"/>
                </a:lnTo>
                <a:lnTo>
                  <a:pt x="1145" y="1218"/>
                </a:lnTo>
                <a:close/>
                <a:moveTo>
                  <a:pt x="1176" y="1308"/>
                </a:moveTo>
                <a:lnTo>
                  <a:pt x="1172" y="1306"/>
                </a:lnTo>
                <a:lnTo>
                  <a:pt x="1169" y="1303"/>
                </a:lnTo>
                <a:lnTo>
                  <a:pt x="1172" y="1306"/>
                </a:lnTo>
                <a:lnTo>
                  <a:pt x="1176" y="1308"/>
                </a:lnTo>
                <a:close/>
                <a:moveTo>
                  <a:pt x="1177" y="1194"/>
                </a:moveTo>
                <a:lnTo>
                  <a:pt x="1178" y="1197"/>
                </a:lnTo>
                <a:lnTo>
                  <a:pt x="1179" y="1201"/>
                </a:lnTo>
                <a:lnTo>
                  <a:pt x="1178" y="1197"/>
                </a:lnTo>
                <a:lnTo>
                  <a:pt x="1177" y="1194"/>
                </a:lnTo>
                <a:lnTo>
                  <a:pt x="1177" y="1193"/>
                </a:lnTo>
                <a:lnTo>
                  <a:pt x="1176" y="1193"/>
                </a:lnTo>
                <a:lnTo>
                  <a:pt x="1177" y="1193"/>
                </a:lnTo>
                <a:lnTo>
                  <a:pt x="1177" y="1194"/>
                </a:lnTo>
                <a:close/>
                <a:moveTo>
                  <a:pt x="1181" y="1330"/>
                </a:moveTo>
                <a:lnTo>
                  <a:pt x="1181" y="1324"/>
                </a:lnTo>
                <a:lnTo>
                  <a:pt x="1179" y="1317"/>
                </a:lnTo>
                <a:lnTo>
                  <a:pt x="1181" y="1324"/>
                </a:lnTo>
                <a:lnTo>
                  <a:pt x="1181" y="1330"/>
                </a:lnTo>
                <a:close/>
                <a:moveTo>
                  <a:pt x="1177" y="1188"/>
                </a:moveTo>
                <a:lnTo>
                  <a:pt x="1181" y="1180"/>
                </a:lnTo>
                <a:lnTo>
                  <a:pt x="1184" y="1172"/>
                </a:lnTo>
                <a:lnTo>
                  <a:pt x="1181" y="1180"/>
                </a:lnTo>
                <a:lnTo>
                  <a:pt x="1177" y="1188"/>
                </a:lnTo>
                <a:lnTo>
                  <a:pt x="1177" y="1188"/>
                </a:lnTo>
                <a:close/>
                <a:moveTo>
                  <a:pt x="1192" y="1314"/>
                </a:moveTo>
                <a:lnTo>
                  <a:pt x="1190" y="1307"/>
                </a:lnTo>
                <a:lnTo>
                  <a:pt x="1187" y="1300"/>
                </a:lnTo>
                <a:lnTo>
                  <a:pt x="1190" y="1307"/>
                </a:lnTo>
                <a:lnTo>
                  <a:pt x="1192" y="1314"/>
                </a:lnTo>
                <a:close/>
                <a:moveTo>
                  <a:pt x="1088" y="981"/>
                </a:moveTo>
                <a:lnTo>
                  <a:pt x="1088" y="981"/>
                </a:lnTo>
                <a:lnTo>
                  <a:pt x="1087" y="981"/>
                </a:lnTo>
                <a:lnTo>
                  <a:pt x="1088" y="981"/>
                </a:lnTo>
                <a:lnTo>
                  <a:pt x="1088" y="981"/>
                </a:lnTo>
                <a:lnTo>
                  <a:pt x="1088" y="981"/>
                </a:lnTo>
                <a:lnTo>
                  <a:pt x="1088" y="981"/>
                </a:lnTo>
                <a:close/>
                <a:moveTo>
                  <a:pt x="1082" y="1310"/>
                </a:moveTo>
                <a:lnTo>
                  <a:pt x="1083" y="1309"/>
                </a:lnTo>
                <a:lnTo>
                  <a:pt x="1083" y="1308"/>
                </a:lnTo>
                <a:lnTo>
                  <a:pt x="1083" y="1309"/>
                </a:lnTo>
                <a:lnTo>
                  <a:pt x="1082" y="1310"/>
                </a:lnTo>
                <a:lnTo>
                  <a:pt x="1083" y="1312"/>
                </a:lnTo>
                <a:lnTo>
                  <a:pt x="1084" y="1313"/>
                </a:lnTo>
                <a:lnTo>
                  <a:pt x="1083" y="1312"/>
                </a:lnTo>
                <a:lnTo>
                  <a:pt x="1082" y="1310"/>
                </a:lnTo>
                <a:lnTo>
                  <a:pt x="1082" y="1310"/>
                </a:lnTo>
                <a:close/>
                <a:moveTo>
                  <a:pt x="1080" y="1298"/>
                </a:moveTo>
                <a:lnTo>
                  <a:pt x="1080" y="1298"/>
                </a:lnTo>
                <a:lnTo>
                  <a:pt x="1080" y="1298"/>
                </a:lnTo>
                <a:lnTo>
                  <a:pt x="1080" y="1298"/>
                </a:lnTo>
                <a:lnTo>
                  <a:pt x="1080" y="1298"/>
                </a:lnTo>
                <a:lnTo>
                  <a:pt x="1081" y="1299"/>
                </a:lnTo>
                <a:lnTo>
                  <a:pt x="1082" y="1300"/>
                </a:lnTo>
                <a:lnTo>
                  <a:pt x="1081" y="1299"/>
                </a:lnTo>
                <a:lnTo>
                  <a:pt x="1080" y="1298"/>
                </a:lnTo>
                <a:close/>
                <a:moveTo>
                  <a:pt x="1081" y="1319"/>
                </a:moveTo>
                <a:lnTo>
                  <a:pt x="1080" y="1319"/>
                </a:lnTo>
                <a:lnTo>
                  <a:pt x="1080" y="1319"/>
                </a:lnTo>
                <a:lnTo>
                  <a:pt x="1080" y="1319"/>
                </a:lnTo>
                <a:lnTo>
                  <a:pt x="1081" y="1319"/>
                </a:lnTo>
                <a:lnTo>
                  <a:pt x="1081" y="1319"/>
                </a:lnTo>
                <a:close/>
                <a:moveTo>
                  <a:pt x="1082" y="1100"/>
                </a:moveTo>
                <a:lnTo>
                  <a:pt x="1081" y="1100"/>
                </a:lnTo>
                <a:lnTo>
                  <a:pt x="1080" y="1099"/>
                </a:lnTo>
                <a:lnTo>
                  <a:pt x="1081" y="1100"/>
                </a:lnTo>
                <a:lnTo>
                  <a:pt x="1082" y="1100"/>
                </a:lnTo>
                <a:lnTo>
                  <a:pt x="1082" y="1100"/>
                </a:lnTo>
                <a:close/>
                <a:moveTo>
                  <a:pt x="1061" y="1275"/>
                </a:moveTo>
                <a:lnTo>
                  <a:pt x="1061" y="1275"/>
                </a:lnTo>
                <a:lnTo>
                  <a:pt x="1061" y="1275"/>
                </a:lnTo>
                <a:lnTo>
                  <a:pt x="1060" y="1274"/>
                </a:lnTo>
                <a:lnTo>
                  <a:pt x="1061" y="1275"/>
                </a:lnTo>
                <a:lnTo>
                  <a:pt x="1061" y="1275"/>
                </a:lnTo>
                <a:lnTo>
                  <a:pt x="1061" y="1275"/>
                </a:lnTo>
                <a:lnTo>
                  <a:pt x="1061" y="1275"/>
                </a:lnTo>
                <a:lnTo>
                  <a:pt x="1062" y="1281"/>
                </a:lnTo>
                <a:lnTo>
                  <a:pt x="1065" y="1285"/>
                </a:lnTo>
                <a:lnTo>
                  <a:pt x="1062" y="1281"/>
                </a:lnTo>
                <a:lnTo>
                  <a:pt x="1061" y="1275"/>
                </a:lnTo>
                <a:close/>
                <a:moveTo>
                  <a:pt x="1061" y="943"/>
                </a:moveTo>
                <a:lnTo>
                  <a:pt x="1062" y="945"/>
                </a:lnTo>
                <a:lnTo>
                  <a:pt x="1065" y="946"/>
                </a:lnTo>
                <a:lnTo>
                  <a:pt x="1062" y="945"/>
                </a:lnTo>
                <a:lnTo>
                  <a:pt x="1061" y="943"/>
                </a:lnTo>
                <a:lnTo>
                  <a:pt x="1061" y="943"/>
                </a:lnTo>
                <a:close/>
                <a:moveTo>
                  <a:pt x="1066" y="937"/>
                </a:moveTo>
                <a:lnTo>
                  <a:pt x="1066" y="937"/>
                </a:lnTo>
                <a:lnTo>
                  <a:pt x="1065" y="937"/>
                </a:lnTo>
                <a:lnTo>
                  <a:pt x="1066" y="937"/>
                </a:lnTo>
                <a:lnTo>
                  <a:pt x="1066" y="937"/>
                </a:lnTo>
                <a:close/>
                <a:moveTo>
                  <a:pt x="1054" y="1335"/>
                </a:moveTo>
                <a:lnTo>
                  <a:pt x="1049" y="1336"/>
                </a:lnTo>
                <a:lnTo>
                  <a:pt x="1043" y="1336"/>
                </a:lnTo>
                <a:lnTo>
                  <a:pt x="1049" y="1336"/>
                </a:lnTo>
                <a:lnTo>
                  <a:pt x="1054" y="1335"/>
                </a:lnTo>
                <a:lnTo>
                  <a:pt x="1055" y="1333"/>
                </a:lnTo>
                <a:lnTo>
                  <a:pt x="1057" y="1331"/>
                </a:lnTo>
                <a:lnTo>
                  <a:pt x="1055" y="1333"/>
                </a:lnTo>
                <a:lnTo>
                  <a:pt x="1054" y="1335"/>
                </a:lnTo>
                <a:close/>
                <a:moveTo>
                  <a:pt x="1052" y="1270"/>
                </a:moveTo>
                <a:lnTo>
                  <a:pt x="1052" y="1270"/>
                </a:lnTo>
                <a:lnTo>
                  <a:pt x="1049" y="1270"/>
                </a:lnTo>
                <a:lnTo>
                  <a:pt x="1048" y="1270"/>
                </a:lnTo>
                <a:lnTo>
                  <a:pt x="1049" y="1270"/>
                </a:lnTo>
                <a:lnTo>
                  <a:pt x="1052" y="1270"/>
                </a:lnTo>
                <a:lnTo>
                  <a:pt x="1052" y="1270"/>
                </a:lnTo>
                <a:close/>
                <a:moveTo>
                  <a:pt x="1055" y="952"/>
                </a:moveTo>
                <a:lnTo>
                  <a:pt x="1055" y="952"/>
                </a:lnTo>
                <a:lnTo>
                  <a:pt x="1049" y="952"/>
                </a:lnTo>
                <a:lnTo>
                  <a:pt x="1045" y="951"/>
                </a:lnTo>
                <a:lnTo>
                  <a:pt x="1049" y="952"/>
                </a:lnTo>
                <a:lnTo>
                  <a:pt x="1055" y="952"/>
                </a:lnTo>
                <a:close/>
                <a:moveTo>
                  <a:pt x="1026" y="1250"/>
                </a:moveTo>
                <a:lnTo>
                  <a:pt x="1025" y="1250"/>
                </a:lnTo>
                <a:lnTo>
                  <a:pt x="1024" y="1249"/>
                </a:lnTo>
                <a:lnTo>
                  <a:pt x="1025" y="1250"/>
                </a:lnTo>
                <a:lnTo>
                  <a:pt x="1026" y="1250"/>
                </a:lnTo>
                <a:lnTo>
                  <a:pt x="1032" y="1256"/>
                </a:lnTo>
                <a:lnTo>
                  <a:pt x="1039" y="1259"/>
                </a:lnTo>
                <a:lnTo>
                  <a:pt x="1032" y="1256"/>
                </a:lnTo>
                <a:lnTo>
                  <a:pt x="1026" y="1250"/>
                </a:lnTo>
                <a:close/>
                <a:moveTo>
                  <a:pt x="1021" y="1246"/>
                </a:moveTo>
                <a:lnTo>
                  <a:pt x="1020" y="1246"/>
                </a:lnTo>
                <a:lnTo>
                  <a:pt x="1018" y="1246"/>
                </a:lnTo>
                <a:lnTo>
                  <a:pt x="1020" y="1246"/>
                </a:lnTo>
                <a:lnTo>
                  <a:pt x="1021" y="1246"/>
                </a:lnTo>
                <a:lnTo>
                  <a:pt x="1021" y="1246"/>
                </a:lnTo>
                <a:close/>
                <a:moveTo>
                  <a:pt x="1017" y="963"/>
                </a:moveTo>
                <a:lnTo>
                  <a:pt x="1011" y="957"/>
                </a:lnTo>
                <a:lnTo>
                  <a:pt x="1006" y="952"/>
                </a:lnTo>
                <a:lnTo>
                  <a:pt x="1011" y="957"/>
                </a:lnTo>
                <a:lnTo>
                  <a:pt x="1017" y="963"/>
                </a:lnTo>
                <a:lnTo>
                  <a:pt x="1017" y="963"/>
                </a:lnTo>
                <a:lnTo>
                  <a:pt x="1019" y="963"/>
                </a:lnTo>
                <a:lnTo>
                  <a:pt x="1020" y="965"/>
                </a:lnTo>
                <a:lnTo>
                  <a:pt x="1019" y="963"/>
                </a:lnTo>
                <a:lnTo>
                  <a:pt x="1017" y="963"/>
                </a:lnTo>
                <a:lnTo>
                  <a:pt x="1017" y="963"/>
                </a:lnTo>
                <a:lnTo>
                  <a:pt x="1017" y="963"/>
                </a:lnTo>
                <a:close/>
                <a:moveTo>
                  <a:pt x="1007" y="1163"/>
                </a:moveTo>
                <a:lnTo>
                  <a:pt x="1007" y="1162"/>
                </a:lnTo>
                <a:lnTo>
                  <a:pt x="1008" y="1162"/>
                </a:lnTo>
                <a:lnTo>
                  <a:pt x="1007" y="1162"/>
                </a:lnTo>
                <a:lnTo>
                  <a:pt x="1007" y="1163"/>
                </a:lnTo>
                <a:lnTo>
                  <a:pt x="1007" y="1163"/>
                </a:lnTo>
                <a:close/>
                <a:moveTo>
                  <a:pt x="997" y="1288"/>
                </a:moveTo>
                <a:lnTo>
                  <a:pt x="990" y="1285"/>
                </a:lnTo>
                <a:lnTo>
                  <a:pt x="980" y="1284"/>
                </a:lnTo>
                <a:lnTo>
                  <a:pt x="990" y="1285"/>
                </a:lnTo>
                <a:lnTo>
                  <a:pt x="997" y="1288"/>
                </a:lnTo>
                <a:lnTo>
                  <a:pt x="999" y="1291"/>
                </a:lnTo>
                <a:lnTo>
                  <a:pt x="1000" y="1293"/>
                </a:lnTo>
                <a:lnTo>
                  <a:pt x="999" y="1291"/>
                </a:lnTo>
                <a:lnTo>
                  <a:pt x="997" y="1288"/>
                </a:lnTo>
                <a:close/>
                <a:moveTo>
                  <a:pt x="966" y="1232"/>
                </a:moveTo>
                <a:lnTo>
                  <a:pt x="967" y="1232"/>
                </a:lnTo>
                <a:lnTo>
                  <a:pt x="969" y="1232"/>
                </a:lnTo>
                <a:lnTo>
                  <a:pt x="980" y="1243"/>
                </a:lnTo>
                <a:lnTo>
                  <a:pt x="991" y="1254"/>
                </a:lnTo>
                <a:lnTo>
                  <a:pt x="980" y="1243"/>
                </a:lnTo>
                <a:lnTo>
                  <a:pt x="969" y="1232"/>
                </a:lnTo>
                <a:lnTo>
                  <a:pt x="967" y="1232"/>
                </a:lnTo>
                <a:lnTo>
                  <a:pt x="966" y="1232"/>
                </a:lnTo>
                <a:close/>
                <a:moveTo>
                  <a:pt x="992" y="939"/>
                </a:moveTo>
                <a:lnTo>
                  <a:pt x="992" y="939"/>
                </a:lnTo>
                <a:lnTo>
                  <a:pt x="992" y="939"/>
                </a:lnTo>
                <a:lnTo>
                  <a:pt x="992" y="939"/>
                </a:lnTo>
                <a:lnTo>
                  <a:pt x="992" y="939"/>
                </a:lnTo>
                <a:close/>
                <a:moveTo>
                  <a:pt x="1024" y="967"/>
                </a:moveTo>
                <a:lnTo>
                  <a:pt x="1027" y="967"/>
                </a:lnTo>
                <a:lnTo>
                  <a:pt x="1029" y="970"/>
                </a:lnTo>
                <a:lnTo>
                  <a:pt x="1027" y="967"/>
                </a:lnTo>
                <a:lnTo>
                  <a:pt x="1024" y="967"/>
                </a:lnTo>
                <a:lnTo>
                  <a:pt x="1021" y="966"/>
                </a:lnTo>
                <a:lnTo>
                  <a:pt x="1020" y="965"/>
                </a:lnTo>
                <a:lnTo>
                  <a:pt x="1021" y="966"/>
                </a:lnTo>
                <a:lnTo>
                  <a:pt x="1024" y="967"/>
                </a:lnTo>
                <a:close/>
                <a:moveTo>
                  <a:pt x="1029" y="971"/>
                </a:moveTo>
                <a:lnTo>
                  <a:pt x="1032" y="971"/>
                </a:lnTo>
                <a:lnTo>
                  <a:pt x="1033" y="972"/>
                </a:lnTo>
                <a:lnTo>
                  <a:pt x="1032" y="971"/>
                </a:lnTo>
                <a:lnTo>
                  <a:pt x="1029" y="971"/>
                </a:lnTo>
                <a:lnTo>
                  <a:pt x="1029" y="971"/>
                </a:lnTo>
                <a:lnTo>
                  <a:pt x="1029" y="971"/>
                </a:lnTo>
                <a:lnTo>
                  <a:pt x="1029" y="971"/>
                </a:lnTo>
                <a:close/>
                <a:moveTo>
                  <a:pt x="953" y="934"/>
                </a:moveTo>
                <a:lnTo>
                  <a:pt x="958" y="932"/>
                </a:lnTo>
                <a:lnTo>
                  <a:pt x="962" y="932"/>
                </a:lnTo>
                <a:lnTo>
                  <a:pt x="958" y="932"/>
                </a:lnTo>
                <a:lnTo>
                  <a:pt x="953" y="934"/>
                </a:lnTo>
                <a:close/>
                <a:moveTo>
                  <a:pt x="958" y="1299"/>
                </a:moveTo>
                <a:lnTo>
                  <a:pt x="958" y="1300"/>
                </a:lnTo>
                <a:lnTo>
                  <a:pt x="958" y="1301"/>
                </a:lnTo>
                <a:lnTo>
                  <a:pt x="958" y="1300"/>
                </a:lnTo>
                <a:lnTo>
                  <a:pt x="958" y="1299"/>
                </a:lnTo>
                <a:close/>
                <a:moveTo>
                  <a:pt x="957" y="1245"/>
                </a:moveTo>
                <a:lnTo>
                  <a:pt x="956" y="1245"/>
                </a:lnTo>
                <a:lnTo>
                  <a:pt x="956" y="1245"/>
                </a:lnTo>
                <a:lnTo>
                  <a:pt x="956" y="1245"/>
                </a:lnTo>
                <a:lnTo>
                  <a:pt x="957" y="1245"/>
                </a:lnTo>
                <a:lnTo>
                  <a:pt x="958" y="1244"/>
                </a:lnTo>
                <a:lnTo>
                  <a:pt x="957" y="1240"/>
                </a:lnTo>
                <a:lnTo>
                  <a:pt x="958" y="1244"/>
                </a:lnTo>
                <a:lnTo>
                  <a:pt x="957" y="1245"/>
                </a:lnTo>
                <a:close/>
                <a:moveTo>
                  <a:pt x="952" y="1323"/>
                </a:moveTo>
                <a:lnTo>
                  <a:pt x="955" y="1313"/>
                </a:lnTo>
                <a:lnTo>
                  <a:pt x="957" y="1302"/>
                </a:lnTo>
                <a:lnTo>
                  <a:pt x="955" y="1313"/>
                </a:lnTo>
                <a:lnTo>
                  <a:pt x="952" y="1323"/>
                </a:lnTo>
                <a:close/>
                <a:moveTo>
                  <a:pt x="917" y="1137"/>
                </a:moveTo>
                <a:lnTo>
                  <a:pt x="928" y="1153"/>
                </a:lnTo>
                <a:lnTo>
                  <a:pt x="938" y="1170"/>
                </a:lnTo>
                <a:lnTo>
                  <a:pt x="928" y="1153"/>
                </a:lnTo>
                <a:lnTo>
                  <a:pt x="917" y="1137"/>
                </a:lnTo>
                <a:close/>
                <a:moveTo>
                  <a:pt x="902" y="1305"/>
                </a:moveTo>
                <a:lnTo>
                  <a:pt x="901" y="1306"/>
                </a:lnTo>
                <a:lnTo>
                  <a:pt x="901" y="1307"/>
                </a:lnTo>
                <a:lnTo>
                  <a:pt x="901" y="1306"/>
                </a:lnTo>
                <a:lnTo>
                  <a:pt x="902" y="1305"/>
                </a:lnTo>
                <a:lnTo>
                  <a:pt x="902" y="1305"/>
                </a:lnTo>
                <a:lnTo>
                  <a:pt x="903" y="1305"/>
                </a:lnTo>
                <a:lnTo>
                  <a:pt x="902" y="1305"/>
                </a:lnTo>
                <a:lnTo>
                  <a:pt x="902" y="1305"/>
                </a:lnTo>
                <a:close/>
                <a:moveTo>
                  <a:pt x="898" y="908"/>
                </a:moveTo>
                <a:lnTo>
                  <a:pt x="897" y="908"/>
                </a:lnTo>
                <a:lnTo>
                  <a:pt x="896" y="908"/>
                </a:lnTo>
                <a:lnTo>
                  <a:pt x="898" y="907"/>
                </a:lnTo>
                <a:lnTo>
                  <a:pt x="900" y="906"/>
                </a:lnTo>
                <a:lnTo>
                  <a:pt x="898" y="907"/>
                </a:lnTo>
                <a:lnTo>
                  <a:pt x="896" y="908"/>
                </a:lnTo>
                <a:lnTo>
                  <a:pt x="897" y="908"/>
                </a:lnTo>
                <a:lnTo>
                  <a:pt x="898" y="908"/>
                </a:lnTo>
                <a:close/>
                <a:moveTo>
                  <a:pt x="896" y="1168"/>
                </a:moveTo>
                <a:lnTo>
                  <a:pt x="897" y="1170"/>
                </a:lnTo>
                <a:lnTo>
                  <a:pt x="897" y="1173"/>
                </a:lnTo>
                <a:lnTo>
                  <a:pt x="897" y="1170"/>
                </a:lnTo>
                <a:lnTo>
                  <a:pt x="896" y="1168"/>
                </a:lnTo>
                <a:close/>
                <a:moveTo>
                  <a:pt x="888" y="1516"/>
                </a:moveTo>
                <a:lnTo>
                  <a:pt x="889" y="1515"/>
                </a:lnTo>
                <a:lnTo>
                  <a:pt x="889" y="1515"/>
                </a:lnTo>
                <a:lnTo>
                  <a:pt x="889" y="1515"/>
                </a:lnTo>
                <a:lnTo>
                  <a:pt x="888" y="1516"/>
                </a:lnTo>
                <a:close/>
                <a:moveTo>
                  <a:pt x="884" y="553"/>
                </a:moveTo>
                <a:lnTo>
                  <a:pt x="884" y="553"/>
                </a:lnTo>
                <a:lnTo>
                  <a:pt x="884" y="553"/>
                </a:lnTo>
                <a:lnTo>
                  <a:pt x="886" y="553"/>
                </a:lnTo>
                <a:lnTo>
                  <a:pt x="884" y="553"/>
                </a:lnTo>
                <a:lnTo>
                  <a:pt x="884" y="553"/>
                </a:lnTo>
                <a:close/>
                <a:moveTo>
                  <a:pt x="876" y="539"/>
                </a:moveTo>
                <a:lnTo>
                  <a:pt x="875" y="539"/>
                </a:lnTo>
                <a:lnTo>
                  <a:pt x="875" y="538"/>
                </a:lnTo>
                <a:lnTo>
                  <a:pt x="875" y="539"/>
                </a:lnTo>
                <a:lnTo>
                  <a:pt x="876" y="539"/>
                </a:lnTo>
                <a:close/>
                <a:moveTo>
                  <a:pt x="866" y="1415"/>
                </a:moveTo>
                <a:lnTo>
                  <a:pt x="867" y="1411"/>
                </a:lnTo>
                <a:lnTo>
                  <a:pt x="866" y="1406"/>
                </a:lnTo>
                <a:lnTo>
                  <a:pt x="865" y="1405"/>
                </a:lnTo>
                <a:lnTo>
                  <a:pt x="863" y="1404"/>
                </a:lnTo>
                <a:lnTo>
                  <a:pt x="863" y="1403"/>
                </a:lnTo>
                <a:lnTo>
                  <a:pt x="862" y="1403"/>
                </a:lnTo>
                <a:lnTo>
                  <a:pt x="862" y="1401"/>
                </a:lnTo>
                <a:lnTo>
                  <a:pt x="862" y="1400"/>
                </a:lnTo>
                <a:lnTo>
                  <a:pt x="855" y="1399"/>
                </a:lnTo>
                <a:lnTo>
                  <a:pt x="849" y="1399"/>
                </a:lnTo>
                <a:lnTo>
                  <a:pt x="855" y="1399"/>
                </a:lnTo>
                <a:lnTo>
                  <a:pt x="862" y="1400"/>
                </a:lnTo>
                <a:lnTo>
                  <a:pt x="862" y="1401"/>
                </a:lnTo>
                <a:lnTo>
                  <a:pt x="862" y="1403"/>
                </a:lnTo>
                <a:lnTo>
                  <a:pt x="863" y="1403"/>
                </a:lnTo>
                <a:lnTo>
                  <a:pt x="863" y="1404"/>
                </a:lnTo>
                <a:lnTo>
                  <a:pt x="865" y="1405"/>
                </a:lnTo>
                <a:lnTo>
                  <a:pt x="866" y="1406"/>
                </a:lnTo>
                <a:lnTo>
                  <a:pt x="867" y="1411"/>
                </a:lnTo>
                <a:lnTo>
                  <a:pt x="866" y="1415"/>
                </a:lnTo>
                <a:close/>
                <a:moveTo>
                  <a:pt x="862" y="1425"/>
                </a:moveTo>
                <a:lnTo>
                  <a:pt x="862" y="1424"/>
                </a:lnTo>
                <a:lnTo>
                  <a:pt x="862" y="1422"/>
                </a:lnTo>
                <a:lnTo>
                  <a:pt x="862" y="1424"/>
                </a:lnTo>
                <a:lnTo>
                  <a:pt x="862" y="1425"/>
                </a:lnTo>
                <a:lnTo>
                  <a:pt x="863" y="1426"/>
                </a:lnTo>
                <a:lnTo>
                  <a:pt x="863" y="1427"/>
                </a:lnTo>
                <a:lnTo>
                  <a:pt x="863" y="1426"/>
                </a:lnTo>
                <a:lnTo>
                  <a:pt x="862" y="1425"/>
                </a:lnTo>
                <a:close/>
                <a:moveTo>
                  <a:pt x="847" y="1229"/>
                </a:moveTo>
                <a:lnTo>
                  <a:pt x="848" y="1224"/>
                </a:lnTo>
                <a:lnTo>
                  <a:pt x="848" y="1219"/>
                </a:lnTo>
                <a:lnTo>
                  <a:pt x="848" y="1224"/>
                </a:lnTo>
                <a:lnTo>
                  <a:pt x="847" y="1229"/>
                </a:lnTo>
                <a:close/>
                <a:moveTo>
                  <a:pt x="834" y="582"/>
                </a:moveTo>
                <a:lnTo>
                  <a:pt x="838" y="585"/>
                </a:lnTo>
                <a:lnTo>
                  <a:pt x="840" y="586"/>
                </a:lnTo>
                <a:lnTo>
                  <a:pt x="842" y="586"/>
                </a:lnTo>
                <a:lnTo>
                  <a:pt x="845" y="586"/>
                </a:lnTo>
                <a:lnTo>
                  <a:pt x="842" y="586"/>
                </a:lnTo>
                <a:lnTo>
                  <a:pt x="840" y="586"/>
                </a:lnTo>
                <a:lnTo>
                  <a:pt x="838" y="585"/>
                </a:lnTo>
                <a:lnTo>
                  <a:pt x="834" y="582"/>
                </a:lnTo>
                <a:close/>
                <a:moveTo>
                  <a:pt x="834" y="1139"/>
                </a:moveTo>
                <a:lnTo>
                  <a:pt x="829" y="1149"/>
                </a:lnTo>
                <a:lnTo>
                  <a:pt x="826" y="1161"/>
                </a:lnTo>
                <a:lnTo>
                  <a:pt x="829" y="1149"/>
                </a:lnTo>
                <a:lnTo>
                  <a:pt x="834" y="1139"/>
                </a:lnTo>
                <a:lnTo>
                  <a:pt x="834" y="1138"/>
                </a:lnTo>
                <a:lnTo>
                  <a:pt x="834" y="1137"/>
                </a:lnTo>
                <a:lnTo>
                  <a:pt x="833" y="1135"/>
                </a:lnTo>
                <a:lnTo>
                  <a:pt x="833" y="1135"/>
                </a:lnTo>
                <a:lnTo>
                  <a:pt x="833" y="1135"/>
                </a:lnTo>
                <a:lnTo>
                  <a:pt x="834" y="1137"/>
                </a:lnTo>
                <a:lnTo>
                  <a:pt x="834" y="1138"/>
                </a:lnTo>
                <a:lnTo>
                  <a:pt x="834" y="1139"/>
                </a:lnTo>
                <a:lnTo>
                  <a:pt x="834" y="1139"/>
                </a:lnTo>
                <a:close/>
                <a:moveTo>
                  <a:pt x="825" y="1100"/>
                </a:moveTo>
                <a:lnTo>
                  <a:pt x="825" y="1100"/>
                </a:lnTo>
                <a:lnTo>
                  <a:pt x="825" y="1100"/>
                </a:lnTo>
                <a:lnTo>
                  <a:pt x="828" y="1100"/>
                </a:lnTo>
                <a:lnTo>
                  <a:pt x="831" y="1099"/>
                </a:lnTo>
                <a:lnTo>
                  <a:pt x="828" y="1100"/>
                </a:lnTo>
                <a:lnTo>
                  <a:pt x="825" y="1100"/>
                </a:lnTo>
                <a:lnTo>
                  <a:pt x="825" y="1100"/>
                </a:lnTo>
                <a:close/>
                <a:moveTo>
                  <a:pt x="828" y="1083"/>
                </a:moveTo>
                <a:lnTo>
                  <a:pt x="829" y="1085"/>
                </a:lnTo>
                <a:lnTo>
                  <a:pt x="831" y="1085"/>
                </a:lnTo>
                <a:lnTo>
                  <a:pt x="829" y="1084"/>
                </a:lnTo>
                <a:lnTo>
                  <a:pt x="828" y="1083"/>
                </a:lnTo>
                <a:lnTo>
                  <a:pt x="827" y="1078"/>
                </a:lnTo>
                <a:lnTo>
                  <a:pt x="825" y="1074"/>
                </a:lnTo>
                <a:lnTo>
                  <a:pt x="827" y="1078"/>
                </a:lnTo>
                <a:lnTo>
                  <a:pt x="828" y="1083"/>
                </a:lnTo>
                <a:close/>
                <a:moveTo>
                  <a:pt x="824" y="1100"/>
                </a:moveTo>
                <a:lnTo>
                  <a:pt x="824" y="1103"/>
                </a:lnTo>
                <a:lnTo>
                  <a:pt x="824" y="1104"/>
                </a:lnTo>
                <a:lnTo>
                  <a:pt x="821" y="1112"/>
                </a:lnTo>
                <a:lnTo>
                  <a:pt x="817" y="1118"/>
                </a:lnTo>
                <a:lnTo>
                  <a:pt x="821" y="1112"/>
                </a:lnTo>
                <a:lnTo>
                  <a:pt x="824" y="1104"/>
                </a:lnTo>
                <a:lnTo>
                  <a:pt x="824" y="1104"/>
                </a:lnTo>
                <a:lnTo>
                  <a:pt x="824" y="1103"/>
                </a:lnTo>
                <a:lnTo>
                  <a:pt x="824" y="1100"/>
                </a:lnTo>
                <a:lnTo>
                  <a:pt x="824" y="1100"/>
                </a:lnTo>
                <a:lnTo>
                  <a:pt x="824" y="1100"/>
                </a:lnTo>
                <a:close/>
                <a:moveTo>
                  <a:pt x="814" y="1067"/>
                </a:moveTo>
                <a:lnTo>
                  <a:pt x="814" y="1065"/>
                </a:lnTo>
                <a:lnTo>
                  <a:pt x="814" y="1064"/>
                </a:lnTo>
                <a:lnTo>
                  <a:pt x="814" y="1065"/>
                </a:lnTo>
                <a:lnTo>
                  <a:pt x="814" y="1067"/>
                </a:lnTo>
                <a:lnTo>
                  <a:pt x="815" y="1068"/>
                </a:lnTo>
                <a:lnTo>
                  <a:pt x="817" y="1068"/>
                </a:lnTo>
                <a:lnTo>
                  <a:pt x="815" y="1068"/>
                </a:lnTo>
                <a:lnTo>
                  <a:pt x="814" y="1067"/>
                </a:lnTo>
                <a:close/>
                <a:moveTo>
                  <a:pt x="812" y="953"/>
                </a:moveTo>
                <a:lnTo>
                  <a:pt x="812" y="955"/>
                </a:lnTo>
                <a:lnTo>
                  <a:pt x="811" y="956"/>
                </a:lnTo>
                <a:lnTo>
                  <a:pt x="812" y="955"/>
                </a:lnTo>
                <a:lnTo>
                  <a:pt x="812" y="953"/>
                </a:lnTo>
                <a:lnTo>
                  <a:pt x="812" y="953"/>
                </a:lnTo>
                <a:close/>
                <a:moveTo>
                  <a:pt x="807" y="978"/>
                </a:moveTo>
                <a:lnTo>
                  <a:pt x="808" y="979"/>
                </a:lnTo>
                <a:lnTo>
                  <a:pt x="810" y="981"/>
                </a:lnTo>
                <a:lnTo>
                  <a:pt x="808" y="979"/>
                </a:lnTo>
                <a:lnTo>
                  <a:pt x="807" y="978"/>
                </a:lnTo>
                <a:close/>
                <a:moveTo>
                  <a:pt x="798" y="659"/>
                </a:moveTo>
                <a:lnTo>
                  <a:pt x="798" y="660"/>
                </a:lnTo>
                <a:lnTo>
                  <a:pt x="797" y="662"/>
                </a:lnTo>
                <a:lnTo>
                  <a:pt x="798" y="660"/>
                </a:lnTo>
                <a:lnTo>
                  <a:pt x="798" y="659"/>
                </a:lnTo>
                <a:lnTo>
                  <a:pt x="801" y="659"/>
                </a:lnTo>
                <a:lnTo>
                  <a:pt x="806" y="659"/>
                </a:lnTo>
                <a:lnTo>
                  <a:pt x="801" y="659"/>
                </a:lnTo>
                <a:lnTo>
                  <a:pt x="798" y="659"/>
                </a:lnTo>
                <a:close/>
                <a:moveTo>
                  <a:pt x="803" y="1205"/>
                </a:moveTo>
                <a:lnTo>
                  <a:pt x="801" y="1207"/>
                </a:lnTo>
                <a:lnTo>
                  <a:pt x="801" y="1208"/>
                </a:lnTo>
                <a:lnTo>
                  <a:pt x="801" y="1208"/>
                </a:lnTo>
                <a:lnTo>
                  <a:pt x="801" y="1207"/>
                </a:lnTo>
                <a:lnTo>
                  <a:pt x="803" y="1205"/>
                </a:lnTo>
                <a:lnTo>
                  <a:pt x="803" y="1204"/>
                </a:lnTo>
                <a:lnTo>
                  <a:pt x="804" y="1203"/>
                </a:lnTo>
                <a:lnTo>
                  <a:pt x="803" y="1204"/>
                </a:lnTo>
                <a:lnTo>
                  <a:pt x="803" y="1205"/>
                </a:lnTo>
                <a:close/>
                <a:moveTo>
                  <a:pt x="797" y="1175"/>
                </a:moveTo>
                <a:lnTo>
                  <a:pt x="796" y="1176"/>
                </a:lnTo>
                <a:lnTo>
                  <a:pt x="794" y="1177"/>
                </a:lnTo>
                <a:lnTo>
                  <a:pt x="796" y="1176"/>
                </a:lnTo>
                <a:lnTo>
                  <a:pt x="797" y="1175"/>
                </a:lnTo>
                <a:lnTo>
                  <a:pt x="799" y="1170"/>
                </a:lnTo>
                <a:lnTo>
                  <a:pt x="799" y="1165"/>
                </a:lnTo>
                <a:lnTo>
                  <a:pt x="799" y="1170"/>
                </a:lnTo>
                <a:lnTo>
                  <a:pt x="797" y="1175"/>
                </a:lnTo>
                <a:close/>
                <a:moveTo>
                  <a:pt x="790" y="1173"/>
                </a:moveTo>
                <a:lnTo>
                  <a:pt x="787" y="1181"/>
                </a:lnTo>
                <a:lnTo>
                  <a:pt x="784" y="1189"/>
                </a:lnTo>
                <a:lnTo>
                  <a:pt x="787" y="1181"/>
                </a:lnTo>
                <a:lnTo>
                  <a:pt x="790" y="1173"/>
                </a:lnTo>
                <a:lnTo>
                  <a:pt x="793" y="1170"/>
                </a:lnTo>
                <a:lnTo>
                  <a:pt x="794" y="1168"/>
                </a:lnTo>
                <a:lnTo>
                  <a:pt x="793" y="1170"/>
                </a:lnTo>
                <a:lnTo>
                  <a:pt x="790" y="1173"/>
                </a:lnTo>
                <a:close/>
                <a:moveTo>
                  <a:pt x="780" y="985"/>
                </a:moveTo>
                <a:lnTo>
                  <a:pt x="777" y="985"/>
                </a:lnTo>
                <a:lnTo>
                  <a:pt x="776" y="986"/>
                </a:lnTo>
                <a:lnTo>
                  <a:pt x="777" y="985"/>
                </a:lnTo>
                <a:lnTo>
                  <a:pt x="780" y="985"/>
                </a:lnTo>
                <a:lnTo>
                  <a:pt x="782" y="984"/>
                </a:lnTo>
                <a:lnTo>
                  <a:pt x="783" y="984"/>
                </a:lnTo>
                <a:lnTo>
                  <a:pt x="782" y="984"/>
                </a:lnTo>
                <a:lnTo>
                  <a:pt x="780" y="985"/>
                </a:lnTo>
                <a:lnTo>
                  <a:pt x="782" y="985"/>
                </a:lnTo>
                <a:lnTo>
                  <a:pt x="784" y="985"/>
                </a:lnTo>
                <a:lnTo>
                  <a:pt x="785" y="985"/>
                </a:lnTo>
                <a:lnTo>
                  <a:pt x="786" y="985"/>
                </a:lnTo>
                <a:lnTo>
                  <a:pt x="787" y="983"/>
                </a:lnTo>
                <a:lnTo>
                  <a:pt x="790" y="983"/>
                </a:lnTo>
                <a:lnTo>
                  <a:pt x="791" y="981"/>
                </a:lnTo>
                <a:lnTo>
                  <a:pt x="793" y="983"/>
                </a:lnTo>
                <a:lnTo>
                  <a:pt x="791" y="981"/>
                </a:lnTo>
                <a:lnTo>
                  <a:pt x="790" y="983"/>
                </a:lnTo>
                <a:lnTo>
                  <a:pt x="787" y="983"/>
                </a:lnTo>
                <a:lnTo>
                  <a:pt x="786" y="985"/>
                </a:lnTo>
                <a:lnTo>
                  <a:pt x="785" y="985"/>
                </a:lnTo>
                <a:lnTo>
                  <a:pt x="784" y="985"/>
                </a:lnTo>
                <a:lnTo>
                  <a:pt x="782" y="985"/>
                </a:lnTo>
                <a:lnTo>
                  <a:pt x="780" y="985"/>
                </a:lnTo>
                <a:close/>
                <a:moveTo>
                  <a:pt x="770" y="994"/>
                </a:moveTo>
                <a:lnTo>
                  <a:pt x="770" y="994"/>
                </a:lnTo>
                <a:lnTo>
                  <a:pt x="770" y="994"/>
                </a:lnTo>
                <a:lnTo>
                  <a:pt x="770" y="994"/>
                </a:lnTo>
                <a:lnTo>
                  <a:pt x="770" y="994"/>
                </a:lnTo>
                <a:close/>
                <a:moveTo>
                  <a:pt x="786" y="659"/>
                </a:moveTo>
                <a:lnTo>
                  <a:pt x="785" y="659"/>
                </a:lnTo>
                <a:lnTo>
                  <a:pt x="784" y="659"/>
                </a:lnTo>
                <a:lnTo>
                  <a:pt x="785" y="659"/>
                </a:lnTo>
                <a:lnTo>
                  <a:pt x="786" y="659"/>
                </a:lnTo>
                <a:close/>
                <a:moveTo>
                  <a:pt x="790" y="1173"/>
                </a:moveTo>
                <a:lnTo>
                  <a:pt x="790" y="1173"/>
                </a:lnTo>
                <a:lnTo>
                  <a:pt x="790" y="1173"/>
                </a:lnTo>
                <a:lnTo>
                  <a:pt x="790" y="1173"/>
                </a:lnTo>
                <a:lnTo>
                  <a:pt x="790" y="1173"/>
                </a:lnTo>
                <a:lnTo>
                  <a:pt x="790" y="1173"/>
                </a:lnTo>
                <a:close/>
                <a:moveTo>
                  <a:pt x="791" y="1169"/>
                </a:moveTo>
                <a:lnTo>
                  <a:pt x="791" y="1167"/>
                </a:lnTo>
                <a:lnTo>
                  <a:pt x="790" y="1165"/>
                </a:lnTo>
                <a:lnTo>
                  <a:pt x="792" y="1158"/>
                </a:lnTo>
                <a:lnTo>
                  <a:pt x="796" y="1152"/>
                </a:lnTo>
                <a:lnTo>
                  <a:pt x="792" y="1158"/>
                </a:lnTo>
                <a:lnTo>
                  <a:pt x="790" y="1165"/>
                </a:lnTo>
                <a:lnTo>
                  <a:pt x="791" y="1167"/>
                </a:lnTo>
                <a:lnTo>
                  <a:pt x="791" y="1169"/>
                </a:lnTo>
                <a:close/>
                <a:moveTo>
                  <a:pt x="811" y="894"/>
                </a:moveTo>
                <a:lnTo>
                  <a:pt x="820" y="896"/>
                </a:lnTo>
                <a:lnTo>
                  <a:pt x="828" y="897"/>
                </a:lnTo>
                <a:lnTo>
                  <a:pt x="820" y="896"/>
                </a:lnTo>
                <a:lnTo>
                  <a:pt x="811" y="894"/>
                </a:lnTo>
                <a:close/>
                <a:moveTo>
                  <a:pt x="848" y="1207"/>
                </a:moveTo>
                <a:lnTo>
                  <a:pt x="848" y="1209"/>
                </a:lnTo>
                <a:lnTo>
                  <a:pt x="848" y="1210"/>
                </a:lnTo>
                <a:lnTo>
                  <a:pt x="849" y="1212"/>
                </a:lnTo>
                <a:lnTo>
                  <a:pt x="851" y="1215"/>
                </a:lnTo>
                <a:lnTo>
                  <a:pt x="849" y="1212"/>
                </a:lnTo>
                <a:lnTo>
                  <a:pt x="848" y="1210"/>
                </a:lnTo>
                <a:lnTo>
                  <a:pt x="848" y="1209"/>
                </a:lnTo>
                <a:lnTo>
                  <a:pt x="848" y="1207"/>
                </a:lnTo>
                <a:close/>
                <a:moveTo>
                  <a:pt x="853" y="1221"/>
                </a:moveTo>
                <a:lnTo>
                  <a:pt x="853" y="1223"/>
                </a:lnTo>
                <a:lnTo>
                  <a:pt x="853" y="1224"/>
                </a:lnTo>
                <a:lnTo>
                  <a:pt x="853" y="1223"/>
                </a:lnTo>
                <a:lnTo>
                  <a:pt x="853" y="1221"/>
                </a:lnTo>
                <a:lnTo>
                  <a:pt x="853" y="1219"/>
                </a:lnTo>
                <a:lnTo>
                  <a:pt x="852" y="1219"/>
                </a:lnTo>
                <a:lnTo>
                  <a:pt x="853" y="1219"/>
                </a:lnTo>
                <a:lnTo>
                  <a:pt x="853" y="1221"/>
                </a:lnTo>
                <a:close/>
                <a:moveTo>
                  <a:pt x="858" y="1112"/>
                </a:moveTo>
                <a:lnTo>
                  <a:pt x="858" y="1112"/>
                </a:lnTo>
                <a:lnTo>
                  <a:pt x="858" y="1112"/>
                </a:lnTo>
                <a:lnTo>
                  <a:pt x="856" y="1114"/>
                </a:lnTo>
                <a:lnTo>
                  <a:pt x="856" y="1117"/>
                </a:lnTo>
                <a:lnTo>
                  <a:pt x="856" y="1114"/>
                </a:lnTo>
                <a:lnTo>
                  <a:pt x="858" y="1112"/>
                </a:lnTo>
                <a:lnTo>
                  <a:pt x="858" y="1112"/>
                </a:lnTo>
                <a:lnTo>
                  <a:pt x="855" y="1111"/>
                </a:lnTo>
                <a:lnTo>
                  <a:pt x="854" y="1110"/>
                </a:lnTo>
                <a:lnTo>
                  <a:pt x="853" y="1109"/>
                </a:lnTo>
                <a:lnTo>
                  <a:pt x="853" y="1107"/>
                </a:lnTo>
                <a:lnTo>
                  <a:pt x="853" y="1109"/>
                </a:lnTo>
                <a:lnTo>
                  <a:pt x="854" y="1110"/>
                </a:lnTo>
                <a:lnTo>
                  <a:pt x="855" y="1111"/>
                </a:lnTo>
                <a:lnTo>
                  <a:pt x="858" y="1112"/>
                </a:lnTo>
                <a:close/>
                <a:moveTo>
                  <a:pt x="853" y="1131"/>
                </a:moveTo>
                <a:lnTo>
                  <a:pt x="855" y="1125"/>
                </a:lnTo>
                <a:lnTo>
                  <a:pt x="856" y="1119"/>
                </a:lnTo>
                <a:lnTo>
                  <a:pt x="855" y="1125"/>
                </a:lnTo>
                <a:lnTo>
                  <a:pt x="853" y="1131"/>
                </a:lnTo>
                <a:lnTo>
                  <a:pt x="853" y="1131"/>
                </a:lnTo>
                <a:close/>
                <a:moveTo>
                  <a:pt x="855" y="1293"/>
                </a:moveTo>
                <a:lnTo>
                  <a:pt x="854" y="1291"/>
                </a:lnTo>
                <a:lnTo>
                  <a:pt x="854" y="1288"/>
                </a:lnTo>
                <a:lnTo>
                  <a:pt x="854" y="1291"/>
                </a:lnTo>
                <a:lnTo>
                  <a:pt x="855" y="1293"/>
                </a:lnTo>
                <a:lnTo>
                  <a:pt x="858" y="1295"/>
                </a:lnTo>
                <a:lnTo>
                  <a:pt x="859" y="1299"/>
                </a:lnTo>
                <a:lnTo>
                  <a:pt x="859" y="1301"/>
                </a:lnTo>
                <a:lnTo>
                  <a:pt x="859" y="1305"/>
                </a:lnTo>
                <a:lnTo>
                  <a:pt x="859" y="1301"/>
                </a:lnTo>
                <a:lnTo>
                  <a:pt x="859" y="1299"/>
                </a:lnTo>
                <a:lnTo>
                  <a:pt x="858" y="1295"/>
                </a:lnTo>
                <a:lnTo>
                  <a:pt x="855" y="1293"/>
                </a:lnTo>
                <a:close/>
                <a:moveTo>
                  <a:pt x="862" y="1154"/>
                </a:moveTo>
                <a:lnTo>
                  <a:pt x="862" y="1158"/>
                </a:lnTo>
                <a:lnTo>
                  <a:pt x="862" y="1160"/>
                </a:lnTo>
                <a:lnTo>
                  <a:pt x="862" y="1158"/>
                </a:lnTo>
                <a:lnTo>
                  <a:pt x="862" y="1154"/>
                </a:lnTo>
                <a:close/>
                <a:moveTo>
                  <a:pt x="862" y="977"/>
                </a:moveTo>
                <a:lnTo>
                  <a:pt x="865" y="978"/>
                </a:lnTo>
                <a:lnTo>
                  <a:pt x="866" y="979"/>
                </a:lnTo>
                <a:lnTo>
                  <a:pt x="865" y="978"/>
                </a:lnTo>
                <a:lnTo>
                  <a:pt x="862" y="977"/>
                </a:lnTo>
                <a:lnTo>
                  <a:pt x="861" y="976"/>
                </a:lnTo>
                <a:lnTo>
                  <a:pt x="859" y="976"/>
                </a:lnTo>
                <a:lnTo>
                  <a:pt x="861" y="976"/>
                </a:lnTo>
                <a:lnTo>
                  <a:pt x="862" y="977"/>
                </a:lnTo>
                <a:close/>
                <a:moveTo>
                  <a:pt x="765" y="943"/>
                </a:moveTo>
                <a:lnTo>
                  <a:pt x="765" y="942"/>
                </a:lnTo>
                <a:lnTo>
                  <a:pt x="766" y="941"/>
                </a:lnTo>
                <a:lnTo>
                  <a:pt x="765" y="942"/>
                </a:lnTo>
                <a:lnTo>
                  <a:pt x="765" y="943"/>
                </a:lnTo>
                <a:close/>
                <a:moveTo>
                  <a:pt x="762" y="945"/>
                </a:moveTo>
                <a:lnTo>
                  <a:pt x="763" y="944"/>
                </a:lnTo>
                <a:lnTo>
                  <a:pt x="765" y="943"/>
                </a:lnTo>
                <a:lnTo>
                  <a:pt x="763" y="944"/>
                </a:lnTo>
                <a:lnTo>
                  <a:pt x="762" y="945"/>
                </a:lnTo>
                <a:close/>
                <a:moveTo>
                  <a:pt x="759" y="1048"/>
                </a:moveTo>
                <a:lnTo>
                  <a:pt x="749" y="1048"/>
                </a:lnTo>
                <a:lnTo>
                  <a:pt x="737" y="1049"/>
                </a:lnTo>
                <a:lnTo>
                  <a:pt x="749" y="1048"/>
                </a:lnTo>
                <a:lnTo>
                  <a:pt x="759" y="1048"/>
                </a:lnTo>
                <a:lnTo>
                  <a:pt x="760" y="1046"/>
                </a:lnTo>
                <a:lnTo>
                  <a:pt x="763" y="1044"/>
                </a:lnTo>
                <a:lnTo>
                  <a:pt x="760" y="1046"/>
                </a:lnTo>
                <a:lnTo>
                  <a:pt x="759" y="1048"/>
                </a:lnTo>
                <a:close/>
                <a:moveTo>
                  <a:pt x="753" y="1100"/>
                </a:moveTo>
                <a:lnTo>
                  <a:pt x="745" y="1095"/>
                </a:lnTo>
                <a:lnTo>
                  <a:pt x="739" y="1089"/>
                </a:lnTo>
                <a:lnTo>
                  <a:pt x="745" y="1095"/>
                </a:lnTo>
                <a:lnTo>
                  <a:pt x="753" y="1100"/>
                </a:lnTo>
                <a:lnTo>
                  <a:pt x="753" y="1100"/>
                </a:lnTo>
                <a:close/>
                <a:moveTo>
                  <a:pt x="738" y="1054"/>
                </a:moveTo>
                <a:lnTo>
                  <a:pt x="738" y="1054"/>
                </a:lnTo>
                <a:lnTo>
                  <a:pt x="738" y="1054"/>
                </a:lnTo>
                <a:lnTo>
                  <a:pt x="741" y="1054"/>
                </a:lnTo>
                <a:lnTo>
                  <a:pt x="742" y="1054"/>
                </a:lnTo>
                <a:lnTo>
                  <a:pt x="741" y="1054"/>
                </a:lnTo>
                <a:lnTo>
                  <a:pt x="738" y="1054"/>
                </a:lnTo>
                <a:lnTo>
                  <a:pt x="738" y="1054"/>
                </a:lnTo>
                <a:lnTo>
                  <a:pt x="738" y="1054"/>
                </a:lnTo>
                <a:close/>
                <a:moveTo>
                  <a:pt x="721" y="620"/>
                </a:moveTo>
                <a:lnTo>
                  <a:pt x="727" y="620"/>
                </a:lnTo>
                <a:lnTo>
                  <a:pt x="732" y="621"/>
                </a:lnTo>
                <a:lnTo>
                  <a:pt x="727" y="620"/>
                </a:lnTo>
                <a:lnTo>
                  <a:pt x="721" y="620"/>
                </a:lnTo>
                <a:close/>
                <a:moveTo>
                  <a:pt x="703" y="1197"/>
                </a:moveTo>
                <a:lnTo>
                  <a:pt x="714" y="1190"/>
                </a:lnTo>
                <a:lnTo>
                  <a:pt x="725" y="1183"/>
                </a:lnTo>
                <a:lnTo>
                  <a:pt x="714" y="1190"/>
                </a:lnTo>
                <a:lnTo>
                  <a:pt x="703" y="1197"/>
                </a:lnTo>
                <a:close/>
                <a:moveTo>
                  <a:pt x="698" y="924"/>
                </a:moveTo>
                <a:lnTo>
                  <a:pt x="693" y="923"/>
                </a:lnTo>
                <a:lnTo>
                  <a:pt x="687" y="923"/>
                </a:lnTo>
                <a:lnTo>
                  <a:pt x="687" y="922"/>
                </a:lnTo>
                <a:lnTo>
                  <a:pt x="688" y="921"/>
                </a:lnTo>
                <a:lnTo>
                  <a:pt x="687" y="922"/>
                </a:lnTo>
                <a:lnTo>
                  <a:pt x="687" y="923"/>
                </a:lnTo>
                <a:lnTo>
                  <a:pt x="693" y="923"/>
                </a:lnTo>
                <a:lnTo>
                  <a:pt x="698" y="924"/>
                </a:lnTo>
                <a:lnTo>
                  <a:pt x="702" y="923"/>
                </a:lnTo>
                <a:lnTo>
                  <a:pt x="707" y="923"/>
                </a:lnTo>
                <a:lnTo>
                  <a:pt x="702" y="923"/>
                </a:lnTo>
                <a:lnTo>
                  <a:pt x="698" y="924"/>
                </a:lnTo>
                <a:close/>
                <a:moveTo>
                  <a:pt x="687" y="558"/>
                </a:moveTo>
                <a:lnTo>
                  <a:pt x="687" y="558"/>
                </a:lnTo>
                <a:lnTo>
                  <a:pt x="687" y="558"/>
                </a:lnTo>
                <a:lnTo>
                  <a:pt x="687" y="560"/>
                </a:lnTo>
                <a:lnTo>
                  <a:pt x="688" y="561"/>
                </a:lnTo>
                <a:lnTo>
                  <a:pt x="687" y="560"/>
                </a:lnTo>
                <a:lnTo>
                  <a:pt x="687" y="558"/>
                </a:lnTo>
                <a:lnTo>
                  <a:pt x="687" y="558"/>
                </a:lnTo>
                <a:close/>
                <a:moveTo>
                  <a:pt x="684" y="923"/>
                </a:moveTo>
                <a:lnTo>
                  <a:pt x="683" y="921"/>
                </a:lnTo>
                <a:lnTo>
                  <a:pt x="683" y="920"/>
                </a:lnTo>
                <a:lnTo>
                  <a:pt x="683" y="921"/>
                </a:lnTo>
                <a:lnTo>
                  <a:pt x="684" y="923"/>
                </a:lnTo>
                <a:lnTo>
                  <a:pt x="684" y="923"/>
                </a:lnTo>
                <a:close/>
                <a:moveTo>
                  <a:pt x="668" y="568"/>
                </a:moveTo>
                <a:lnTo>
                  <a:pt x="666" y="572"/>
                </a:lnTo>
                <a:lnTo>
                  <a:pt x="663" y="574"/>
                </a:lnTo>
                <a:lnTo>
                  <a:pt x="662" y="575"/>
                </a:lnTo>
                <a:lnTo>
                  <a:pt x="661" y="576"/>
                </a:lnTo>
                <a:lnTo>
                  <a:pt x="662" y="575"/>
                </a:lnTo>
                <a:lnTo>
                  <a:pt x="663" y="574"/>
                </a:lnTo>
                <a:lnTo>
                  <a:pt x="666" y="572"/>
                </a:lnTo>
                <a:lnTo>
                  <a:pt x="668" y="568"/>
                </a:lnTo>
                <a:lnTo>
                  <a:pt x="675" y="565"/>
                </a:lnTo>
                <a:lnTo>
                  <a:pt x="682" y="560"/>
                </a:lnTo>
                <a:lnTo>
                  <a:pt x="675" y="565"/>
                </a:lnTo>
                <a:lnTo>
                  <a:pt x="668" y="568"/>
                </a:lnTo>
                <a:close/>
                <a:moveTo>
                  <a:pt x="669" y="1006"/>
                </a:moveTo>
                <a:lnTo>
                  <a:pt x="669" y="1006"/>
                </a:lnTo>
                <a:lnTo>
                  <a:pt x="669" y="1006"/>
                </a:lnTo>
                <a:lnTo>
                  <a:pt x="669" y="1006"/>
                </a:lnTo>
                <a:close/>
                <a:moveTo>
                  <a:pt x="645" y="957"/>
                </a:moveTo>
                <a:lnTo>
                  <a:pt x="638" y="962"/>
                </a:lnTo>
                <a:lnTo>
                  <a:pt x="631" y="966"/>
                </a:lnTo>
                <a:lnTo>
                  <a:pt x="638" y="962"/>
                </a:lnTo>
                <a:lnTo>
                  <a:pt x="645" y="957"/>
                </a:lnTo>
                <a:lnTo>
                  <a:pt x="655" y="951"/>
                </a:lnTo>
                <a:lnTo>
                  <a:pt x="665" y="946"/>
                </a:lnTo>
                <a:lnTo>
                  <a:pt x="655" y="951"/>
                </a:lnTo>
                <a:lnTo>
                  <a:pt x="645" y="957"/>
                </a:lnTo>
                <a:close/>
                <a:moveTo>
                  <a:pt x="641" y="1196"/>
                </a:moveTo>
                <a:lnTo>
                  <a:pt x="642" y="1196"/>
                </a:lnTo>
                <a:lnTo>
                  <a:pt x="642" y="1196"/>
                </a:lnTo>
                <a:lnTo>
                  <a:pt x="642" y="1196"/>
                </a:lnTo>
                <a:lnTo>
                  <a:pt x="642" y="1196"/>
                </a:lnTo>
                <a:lnTo>
                  <a:pt x="641" y="1196"/>
                </a:lnTo>
                <a:close/>
                <a:moveTo>
                  <a:pt x="635" y="1221"/>
                </a:moveTo>
                <a:lnTo>
                  <a:pt x="633" y="1222"/>
                </a:lnTo>
                <a:lnTo>
                  <a:pt x="631" y="1222"/>
                </a:lnTo>
                <a:lnTo>
                  <a:pt x="633" y="1222"/>
                </a:lnTo>
                <a:lnTo>
                  <a:pt x="635" y="1221"/>
                </a:lnTo>
                <a:lnTo>
                  <a:pt x="642" y="1216"/>
                </a:lnTo>
                <a:lnTo>
                  <a:pt x="651" y="1212"/>
                </a:lnTo>
                <a:lnTo>
                  <a:pt x="642" y="1216"/>
                </a:lnTo>
                <a:lnTo>
                  <a:pt x="635" y="1221"/>
                </a:lnTo>
                <a:close/>
                <a:moveTo>
                  <a:pt x="622" y="1242"/>
                </a:moveTo>
                <a:lnTo>
                  <a:pt x="620" y="1243"/>
                </a:lnTo>
                <a:lnTo>
                  <a:pt x="619" y="1243"/>
                </a:lnTo>
                <a:lnTo>
                  <a:pt x="620" y="1243"/>
                </a:lnTo>
                <a:lnTo>
                  <a:pt x="622" y="1242"/>
                </a:lnTo>
                <a:lnTo>
                  <a:pt x="622" y="1239"/>
                </a:lnTo>
                <a:lnTo>
                  <a:pt x="621" y="1238"/>
                </a:lnTo>
                <a:lnTo>
                  <a:pt x="622" y="1239"/>
                </a:lnTo>
                <a:lnTo>
                  <a:pt x="622" y="1242"/>
                </a:lnTo>
                <a:lnTo>
                  <a:pt x="622" y="1242"/>
                </a:lnTo>
                <a:close/>
                <a:moveTo>
                  <a:pt x="617" y="1076"/>
                </a:moveTo>
                <a:lnTo>
                  <a:pt x="619" y="1075"/>
                </a:lnTo>
                <a:lnTo>
                  <a:pt x="619" y="1072"/>
                </a:lnTo>
                <a:lnTo>
                  <a:pt x="619" y="1072"/>
                </a:lnTo>
                <a:lnTo>
                  <a:pt x="619" y="1072"/>
                </a:lnTo>
                <a:lnTo>
                  <a:pt x="619" y="1075"/>
                </a:lnTo>
                <a:lnTo>
                  <a:pt x="617" y="1076"/>
                </a:lnTo>
                <a:close/>
                <a:moveTo>
                  <a:pt x="613" y="1081"/>
                </a:moveTo>
                <a:lnTo>
                  <a:pt x="614" y="1079"/>
                </a:lnTo>
                <a:lnTo>
                  <a:pt x="614" y="1078"/>
                </a:lnTo>
                <a:lnTo>
                  <a:pt x="614" y="1079"/>
                </a:lnTo>
                <a:lnTo>
                  <a:pt x="613" y="1081"/>
                </a:lnTo>
                <a:close/>
                <a:moveTo>
                  <a:pt x="611" y="1231"/>
                </a:moveTo>
                <a:lnTo>
                  <a:pt x="611" y="1231"/>
                </a:lnTo>
                <a:lnTo>
                  <a:pt x="610" y="1231"/>
                </a:lnTo>
                <a:lnTo>
                  <a:pt x="611" y="1231"/>
                </a:lnTo>
                <a:lnTo>
                  <a:pt x="611" y="1231"/>
                </a:lnTo>
                <a:lnTo>
                  <a:pt x="612" y="1229"/>
                </a:lnTo>
                <a:lnTo>
                  <a:pt x="612" y="1228"/>
                </a:lnTo>
                <a:lnTo>
                  <a:pt x="612" y="1229"/>
                </a:lnTo>
                <a:lnTo>
                  <a:pt x="611" y="1231"/>
                </a:lnTo>
                <a:close/>
                <a:moveTo>
                  <a:pt x="610" y="1250"/>
                </a:moveTo>
                <a:lnTo>
                  <a:pt x="603" y="1258"/>
                </a:lnTo>
                <a:lnTo>
                  <a:pt x="594" y="1264"/>
                </a:lnTo>
                <a:lnTo>
                  <a:pt x="603" y="1258"/>
                </a:lnTo>
                <a:lnTo>
                  <a:pt x="610" y="1250"/>
                </a:lnTo>
                <a:lnTo>
                  <a:pt x="611" y="1250"/>
                </a:lnTo>
                <a:lnTo>
                  <a:pt x="611" y="1250"/>
                </a:lnTo>
                <a:lnTo>
                  <a:pt x="611" y="1250"/>
                </a:lnTo>
                <a:lnTo>
                  <a:pt x="610" y="1250"/>
                </a:lnTo>
                <a:close/>
                <a:moveTo>
                  <a:pt x="591" y="1436"/>
                </a:moveTo>
                <a:lnTo>
                  <a:pt x="591" y="1435"/>
                </a:lnTo>
                <a:lnTo>
                  <a:pt x="592" y="1434"/>
                </a:lnTo>
                <a:lnTo>
                  <a:pt x="591" y="1435"/>
                </a:lnTo>
                <a:lnTo>
                  <a:pt x="591" y="1436"/>
                </a:lnTo>
                <a:lnTo>
                  <a:pt x="591" y="1436"/>
                </a:lnTo>
                <a:close/>
                <a:moveTo>
                  <a:pt x="587" y="1271"/>
                </a:moveTo>
                <a:lnTo>
                  <a:pt x="587" y="1272"/>
                </a:lnTo>
                <a:lnTo>
                  <a:pt x="586" y="1273"/>
                </a:lnTo>
                <a:lnTo>
                  <a:pt x="587" y="1272"/>
                </a:lnTo>
                <a:lnTo>
                  <a:pt x="587" y="1271"/>
                </a:lnTo>
                <a:lnTo>
                  <a:pt x="587" y="1271"/>
                </a:lnTo>
                <a:lnTo>
                  <a:pt x="587" y="1271"/>
                </a:lnTo>
                <a:close/>
                <a:moveTo>
                  <a:pt x="573" y="1247"/>
                </a:moveTo>
                <a:lnTo>
                  <a:pt x="576" y="1245"/>
                </a:lnTo>
                <a:lnTo>
                  <a:pt x="579" y="1245"/>
                </a:lnTo>
                <a:lnTo>
                  <a:pt x="585" y="1240"/>
                </a:lnTo>
                <a:lnTo>
                  <a:pt x="592" y="1236"/>
                </a:lnTo>
                <a:lnTo>
                  <a:pt x="585" y="1240"/>
                </a:lnTo>
                <a:lnTo>
                  <a:pt x="579" y="1245"/>
                </a:lnTo>
                <a:lnTo>
                  <a:pt x="576" y="1245"/>
                </a:lnTo>
                <a:lnTo>
                  <a:pt x="573" y="1247"/>
                </a:lnTo>
                <a:close/>
                <a:moveTo>
                  <a:pt x="575" y="980"/>
                </a:moveTo>
                <a:lnTo>
                  <a:pt x="573" y="980"/>
                </a:lnTo>
                <a:lnTo>
                  <a:pt x="571" y="981"/>
                </a:lnTo>
                <a:lnTo>
                  <a:pt x="573" y="980"/>
                </a:lnTo>
                <a:lnTo>
                  <a:pt x="575" y="980"/>
                </a:lnTo>
                <a:close/>
                <a:moveTo>
                  <a:pt x="570" y="949"/>
                </a:moveTo>
                <a:lnTo>
                  <a:pt x="572" y="949"/>
                </a:lnTo>
                <a:lnTo>
                  <a:pt x="575" y="948"/>
                </a:lnTo>
                <a:lnTo>
                  <a:pt x="572" y="949"/>
                </a:lnTo>
                <a:lnTo>
                  <a:pt x="570" y="949"/>
                </a:lnTo>
                <a:close/>
                <a:moveTo>
                  <a:pt x="587" y="1023"/>
                </a:moveTo>
                <a:lnTo>
                  <a:pt x="587" y="1025"/>
                </a:lnTo>
                <a:lnTo>
                  <a:pt x="583" y="1032"/>
                </a:lnTo>
                <a:lnTo>
                  <a:pt x="578" y="1039"/>
                </a:lnTo>
                <a:lnTo>
                  <a:pt x="583" y="1032"/>
                </a:lnTo>
                <a:lnTo>
                  <a:pt x="587" y="1025"/>
                </a:lnTo>
                <a:lnTo>
                  <a:pt x="587" y="1025"/>
                </a:lnTo>
                <a:lnTo>
                  <a:pt x="587" y="1023"/>
                </a:lnTo>
                <a:close/>
                <a:moveTo>
                  <a:pt x="597" y="1015"/>
                </a:moveTo>
                <a:lnTo>
                  <a:pt x="597" y="1016"/>
                </a:lnTo>
                <a:lnTo>
                  <a:pt x="597" y="1016"/>
                </a:lnTo>
                <a:lnTo>
                  <a:pt x="596" y="1018"/>
                </a:lnTo>
                <a:lnTo>
                  <a:pt x="597" y="1016"/>
                </a:lnTo>
                <a:lnTo>
                  <a:pt x="597" y="1016"/>
                </a:lnTo>
                <a:lnTo>
                  <a:pt x="597" y="1015"/>
                </a:lnTo>
                <a:close/>
                <a:moveTo>
                  <a:pt x="605" y="1086"/>
                </a:moveTo>
                <a:lnTo>
                  <a:pt x="604" y="1086"/>
                </a:lnTo>
                <a:lnTo>
                  <a:pt x="604" y="1086"/>
                </a:lnTo>
                <a:lnTo>
                  <a:pt x="603" y="1088"/>
                </a:lnTo>
                <a:lnTo>
                  <a:pt x="601" y="1088"/>
                </a:lnTo>
                <a:lnTo>
                  <a:pt x="603" y="1088"/>
                </a:lnTo>
                <a:lnTo>
                  <a:pt x="604" y="1086"/>
                </a:lnTo>
                <a:lnTo>
                  <a:pt x="604" y="1086"/>
                </a:lnTo>
                <a:lnTo>
                  <a:pt x="605" y="1086"/>
                </a:lnTo>
                <a:close/>
                <a:moveTo>
                  <a:pt x="603" y="1042"/>
                </a:moveTo>
                <a:lnTo>
                  <a:pt x="603" y="1043"/>
                </a:lnTo>
                <a:lnTo>
                  <a:pt x="601" y="1044"/>
                </a:lnTo>
                <a:lnTo>
                  <a:pt x="603" y="1043"/>
                </a:lnTo>
                <a:lnTo>
                  <a:pt x="603" y="1042"/>
                </a:lnTo>
                <a:lnTo>
                  <a:pt x="604" y="1041"/>
                </a:lnTo>
                <a:lnTo>
                  <a:pt x="605" y="1040"/>
                </a:lnTo>
                <a:lnTo>
                  <a:pt x="604" y="1041"/>
                </a:lnTo>
                <a:lnTo>
                  <a:pt x="603" y="1042"/>
                </a:lnTo>
                <a:close/>
                <a:moveTo>
                  <a:pt x="610" y="1082"/>
                </a:moveTo>
                <a:lnTo>
                  <a:pt x="610" y="1082"/>
                </a:lnTo>
                <a:lnTo>
                  <a:pt x="610" y="1082"/>
                </a:lnTo>
                <a:close/>
                <a:moveTo>
                  <a:pt x="621" y="971"/>
                </a:moveTo>
                <a:lnTo>
                  <a:pt x="613" y="977"/>
                </a:lnTo>
                <a:lnTo>
                  <a:pt x="606" y="983"/>
                </a:lnTo>
                <a:lnTo>
                  <a:pt x="613" y="977"/>
                </a:lnTo>
                <a:lnTo>
                  <a:pt x="621" y="971"/>
                </a:lnTo>
                <a:lnTo>
                  <a:pt x="622" y="966"/>
                </a:lnTo>
                <a:lnTo>
                  <a:pt x="625" y="964"/>
                </a:lnTo>
                <a:lnTo>
                  <a:pt x="622" y="966"/>
                </a:lnTo>
                <a:lnTo>
                  <a:pt x="621" y="971"/>
                </a:lnTo>
                <a:close/>
                <a:moveTo>
                  <a:pt x="621" y="1223"/>
                </a:moveTo>
                <a:lnTo>
                  <a:pt x="621" y="1223"/>
                </a:lnTo>
                <a:lnTo>
                  <a:pt x="621" y="1224"/>
                </a:lnTo>
                <a:lnTo>
                  <a:pt x="621" y="1226"/>
                </a:lnTo>
                <a:lnTo>
                  <a:pt x="621" y="1224"/>
                </a:lnTo>
                <a:lnTo>
                  <a:pt x="621" y="1223"/>
                </a:lnTo>
                <a:lnTo>
                  <a:pt x="621" y="1223"/>
                </a:lnTo>
                <a:lnTo>
                  <a:pt x="621" y="1221"/>
                </a:lnTo>
                <a:lnTo>
                  <a:pt x="621" y="1218"/>
                </a:lnTo>
                <a:lnTo>
                  <a:pt x="621" y="1216"/>
                </a:lnTo>
                <a:lnTo>
                  <a:pt x="622" y="1215"/>
                </a:lnTo>
                <a:lnTo>
                  <a:pt x="621" y="1216"/>
                </a:lnTo>
                <a:lnTo>
                  <a:pt x="621" y="1218"/>
                </a:lnTo>
                <a:lnTo>
                  <a:pt x="621" y="1221"/>
                </a:lnTo>
                <a:lnTo>
                  <a:pt x="621" y="1223"/>
                </a:lnTo>
                <a:close/>
                <a:moveTo>
                  <a:pt x="651" y="936"/>
                </a:moveTo>
                <a:lnTo>
                  <a:pt x="646" y="936"/>
                </a:lnTo>
                <a:lnTo>
                  <a:pt x="640" y="938"/>
                </a:lnTo>
                <a:lnTo>
                  <a:pt x="637" y="939"/>
                </a:lnTo>
                <a:lnTo>
                  <a:pt x="632" y="941"/>
                </a:lnTo>
                <a:lnTo>
                  <a:pt x="637" y="939"/>
                </a:lnTo>
                <a:lnTo>
                  <a:pt x="640" y="938"/>
                </a:lnTo>
                <a:lnTo>
                  <a:pt x="646" y="936"/>
                </a:lnTo>
                <a:lnTo>
                  <a:pt x="651" y="936"/>
                </a:lnTo>
                <a:close/>
                <a:moveTo>
                  <a:pt x="572" y="917"/>
                </a:moveTo>
                <a:lnTo>
                  <a:pt x="570" y="916"/>
                </a:lnTo>
                <a:lnTo>
                  <a:pt x="568" y="915"/>
                </a:lnTo>
                <a:lnTo>
                  <a:pt x="564" y="915"/>
                </a:lnTo>
                <a:lnTo>
                  <a:pt x="562" y="915"/>
                </a:lnTo>
                <a:lnTo>
                  <a:pt x="555" y="916"/>
                </a:lnTo>
                <a:lnTo>
                  <a:pt x="548" y="916"/>
                </a:lnTo>
                <a:lnTo>
                  <a:pt x="539" y="915"/>
                </a:lnTo>
                <a:lnTo>
                  <a:pt x="532" y="913"/>
                </a:lnTo>
                <a:lnTo>
                  <a:pt x="531" y="911"/>
                </a:lnTo>
                <a:lnTo>
                  <a:pt x="530" y="909"/>
                </a:lnTo>
                <a:lnTo>
                  <a:pt x="528" y="909"/>
                </a:lnTo>
                <a:lnTo>
                  <a:pt x="527" y="908"/>
                </a:lnTo>
                <a:lnTo>
                  <a:pt x="528" y="904"/>
                </a:lnTo>
                <a:lnTo>
                  <a:pt x="530" y="903"/>
                </a:lnTo>
                <a:lnTo>
                  <a:pt x="534" y="902"/>
                </a:lnTo>
                <a:lnTo>
                  <a:pt x="536" y="901"/>
                </a:lnTo>
                <a:lnTo>
                  <a:pt x="550" y="894"/>
                </a:lnTo>
                <a:lnTo>
                  <a:pt x="565" y="887"/>
                </a:lnTo>
                <a:lnTo>
                  <a:pt x="579" y="880"/>
                </a:lnTo>
                <a:lnTo>
                  <a:pt x="593" y="872"/>
                </a:lnTo>
                <a:lnTo>
                  <a:pt x="596" y="872"/>
                </a:lnTo>
                <a:lnTo>
                  <a:pt x="597" y="872"/>
                </a:lnTo>
                <a:lnTo>
                  <a:pt x="598" y="873"/>
                </a:lnTo>
                <a:lnTo>
                  <a:pt x="599" y="875"/>
                </a:lnTo>
                <a:lnTo>
                  <a:pt x="601" y="880"/>
                </a:lnTo>
                <a:lnTo>
                  <a:pt x="603" y="885"/>
                </a:lnTo>
                <a:lnTo>
                  <a:pt x="606" y="888"/>
                </a:lnTo>
                <a:lnTo>
                  <a:pt x="610" y="890"/>
                </a:lnTo>
                <a:lnTo>
                  <a:pt x="615" y="895"/>
                </a:lnTo>
                <a:lnTo>
                  <a:pt x="621" y="897"/>
                </a:lnTo>
                <a:lnTo>
                  <a:pt x="627" y="899"/>
                </a:lnTo>
                <a:lnTo>
                  <a:pt x="634" y="897"/>
                </a:lnTo>
                <a:lnTo>
                  <a:pt x="641" y="895"/>
                </a:lnTo>
                <a:lnTo>
                  <a:pt x="648" y="894"/>
                </a:lnTo>
                <a:lnTo>
                  <a:pt x="648" y="896"/>
                </a:lnTo>
                <a:lnTo>
                  <a:pt x="648" y="899"/>
                </a:lnTo>
                <a:lnTo>
                  <a:pt x="647" y="902"/>
                </a:lnTo>
                <a:lnTo>
                  <a:pt x="647" y="906"/>
                </a:lnTo>
                <a:lnTo>
                  <a:pt x="651" y="911"/>
                </a:lnTo>
                <a:lnTo>
                  <a:pt x="652" y="918"/>
                </a:lnTo>
                <a:lnTo>
                  <a:pt x="653" y="922"/>
                </a:lnTo>
                <a:lnTo>
                  <a:pt x="653" y="925"/>
                </a:lnTo>
                <a:lnTo>
                  <a:pt x="652" y="929"/>
                </a:lnTo>
                <a:lnTo>
                  <a:pt x="649" y="932"/>
                </a:lnTo>
                <a:lnTo>
                  <a:pt x="640" y="934"/>
                </a:lnTo>
                <a:lnTo>
                  <a:pt x="631" y="936"/>
                </a:lnTo>
                <a:lnTo>
                  <a:pt x="620" y="938"/>
                </a:lnTo>
                <a:lnTo>
                  <a:pt x="608" y="941"/>
                </a:lnTo>
                <a:lnTo>
                  <a:pt x="606" y="942"/>
                </a:lnTo>
                <a:lnTo>
                  <a:pt x="603" y="943"/>
                </a:lnTo>
                <a:lnTo>
                  <a:pt x="599" y="943"/>
                </a:lnTo>
                <a:lnTo>
                  <a:pt x="596" y="942"/>
                </a:lnTo>
                <a:lnTo>
                  <a:pt x="590" y="937"/>
                </a:lnTo>
                <a:lnTo>
                  <a:pt x="584" y="932"/>
                </a:lnTo>
                <a:lnTo>
                  <a:pt x="582" y="927"/>
                </a:lnTo>
                <a:lnTo>
                  <a:pt x="578" y="923"/>
                </a:lnTo>
                <a:lnTo>
                  <a:pt x="572" y="922"/>
                </a:lnTo>
                <a:lnTo>
                  <a:pt x="568" y="922"/>
                </a:lnTo>
                <a:lnTo>
                  <a:pt x="572" y="922"/>
                </a:lnTo>
                <a:lnTo>
                  <a:pt x="578" y="923"/>
                </a:lnTo>
                <a:lnTo>
                  <a:pt x="577" y="921"/>
                </a:lnTo>
                <a:lnTo>
                  <a:pt x="576" y="918"/>
                </a:lnTo>
                <a:lnTo>
                  <a:pt x="573" y="918"/>
                </a:lnTo>
                <a:lnTo>
                  <a:pt x="572" y="917"/>
                </a:lnTo>
                <a:close/>
                <a:moveTo>
                  <a:pt x="565" y="951"/>
                </a:moveTo>
                <a:lnTo>
                  <a:pt x="565" y="950"/>
                </a:lnTo>
                <a:lnTo>
                  <a:pt x="566" y="949"/>
                </a:lnTo>
                <a:lnTo>
                  <a:pt x="565" y="950"/>
                </a:lnTo>
                <a:lnTo>
                  <a:pt x="565" y="951"/>
                </a:lnTo>
                <a:close/>
                <a:moveTo>
                  <a:pt x="561" y="1254"/>
                </a:moveTo>
                <a:lnTo>
                  <a:pt x="563" y="1253"/>
                </a:lnTo>
                <a:lnTo>
                  <a:pt x="565" y="1252"/>
                </a:lnTo>
                <a:lnTo>
                  <a:pt x="563" y="1253"/>
                </a:lnTo>
                <a:lnTo>
                  <a:pt x="561" y="1254"/>
                </a:lnTo>
                <a:lnTo>
                  <a:pt x="561" y="1254"/>
                </a:lnTo>
                <a:close/>
                <a:moveTo>
                  <a:pt x="552" y="1355"/>
                </a:moveTo>
                <a:lnTo>
                  <a:pt x="556" y="1343"/>
                </a:lnTo>
                <a:lnTo>
                  <a:pt x="559" y="1331"/>
                </a:lnTo>
                <a:lnTo>
                  <a:pt x="559" y="1331"/>
                </a:lnTo>
                <a:lnTo>
                  <a:pt x="556" y="1343"/>
                </a:lnTo>
                <a:lnTo>
                  <a:pt x="552" y="1355"/>
                </a:lnTo>
                <a:close/>
                <a:moveTo>
                  <a:pt x="546" y="928"/>
                </a:moveTo>
                <a:lnTo>
                  <a:pt x="549" y="925"/>
                </a:lnTo>
                <a:lnTo>
                  <a:pt x="551" y="923"/>
                </a:lnTo>
                <a:lnTo>
                  <a:pt x="551" y="923"/>
                </a:lnTo>
                <a:lnTo>
                  <a:pt x="549" y="925"/>
                </a:lnTo>
                <a:lnTo>
                  <a:pt x="546" y="928"/>
                </a:lnTo>
                <a:close/>
                <a:moveTo>
                  <a:pt x="542" y="932"/>
                </a:moveTo>
                <a:lnTo>
                  <a:pt x="544" y="930"/>
                </a:lnTo>
                <a:lnTo>
                  <a:pt x="546" y="928"/>
                </a:lnTo>
                <a:lnTo>
                  <a:pt x="544" y="930"/>
                </a:lnTo>
                <a:lnTo>
                  <a:pt x="542" y="932"/>
                </a:lnTo>
                <a:close/>
                <a:moveTo>
                  <a:pt x="539" y="937"/>
                </a:moveTo>
                <a:lnTo>
                  <a:pt x="539" y="937"/>
                </a:lnTo>
                <a:lnTo>
                  <a:pt x="539" y="937"/>
                </a:lnTo>
                <a:close/>
                <a:moveTo>
                  <a:pt x="555" y="953"/>
                </a:moveTo>
                <a:lnTo>
                  <a:pt x="561" y="952"/>
                </a:lnTo>
                <a:lnTo>
                  <a:pt x="565" y="951"/>
                </a:lnTo>
                <a:lnTo>
                  <a:pt x="561" y="952"/>
                </a:lnTo>
                <a:lnTo>
                  <a:pt x="555" y="953"/>
                </a:lnTo>
                <a:lnTo>
                  <a:pt x="545" y="958"/>
                </a:lnTo>
                <a:lnTo>
                  <a:pt x="535" y="962"/>
                </a:lnTo>
                <a:lnTo>
                  <a:pt x="545" y="958"/>
                </a:lnTo>
                <a:lnTo>
                  <a:pt x="555" y="953"/>
                </a:lnTo>
                <a:close/>
                <a:moveTo>
                  <a:pt x="529" y="915"/>
                </a:moveTo>
                <a:lnTo>
                  <a:pt x="530" y="915"/>
                </a:lnTo>
                <a:lnTo>
                  <a:pt x="531" y="916"/>
                </a:lnTo>
                <a:lnTo>
                  <a:pt x="530" y="915"/>
                </a:lnTo>
                <a:lnTo>
                  <a:pt x="529" y="915"/>
                </a:lnTo>
                <a:close/>
                <a:moveTo>
                  <a:pt x="536" y="1000"/>
                </a:moveTo>
                <a:lnTo>
                  <a:pt x="528" y="1009"/>
                </a:lnTo>
                <a:lnTo>
                  <a:pt x="518" y="1018"/>
                </a:lnTo>
                <a:lnTo>
                  <a:pt x="528" y="1009"/>
                </a:lnTo>
                <a:lnTo>
                  <a:pt x="536" y="1000"/>
                </a:lnTo>
                <a:lnTo>
                  <a:pt x="537" y="1000"/>
                </a:lnTo>
                <a:lnTo>
                  <a:pt x="537" y="999"/>
                </a:lnTo>
                <a:lnTo>
                  <a:pt x="537" y="1000"/>
                </a:lnTo>
                <a:lnTo>
                  <a:pt x="536" y="1000"/>
                </a:lnTo>
                <a:close/>
                <a:moveTo>
                  <a:pt x="527" y="1493"/>
                </a:moveTo>
                <a:lnTo>
                  <a:pt x="527" y="1495"/>
                </a:lnTo>
                <a:lnTo>
                  <a:pt x="527" y="1496"/>
                </a:lnTo>
                <a:lnTo>
                  <a:pt x="527" y="1495"/>
                </a:lnTo>
                <a:lnTo>
                  <a:pt x="527" y="1493"/>
                </a:lnTo>
                <a:lnTo>
                  <a:pt x="530" y="1483"/>
                </a:lnTo>
                <a:lnTo>
                  <a:pt x="532" y="1473"/>
                </a:lnTo>
                <a:lnTo>
                  <a:pt x="530" y="1483"/>
                </a:lnTo>
                <a:lnTo>
                  <a:pt x="527" y="1493"/>
                </a:lnTo>
                <a:close/>
                <a:moveTo>
                  <a:pt x="510" y="1163"/>
                </a:moveTo>
                <a:lnTo>
                  <a:pt x="510" y="1163"/>
                </a:lnTo>
                <a:lnTo>
                  <a:pt x="510" y="1163"/>
                </a:lnTo>
                <a:lnTo>
                  <a:pt x="511" y="1159"/>
                </a:lnTo>
                <a:lnTo>
                  <a:pt x="513" y="1155"/>
                </a:lnTo>
                <a:lnTo>
                  <a:pt x="515" y="1152"/>
                </a:lnTo>
                <a:lnTo>
                  <a:pt x="518" y="1149"/>
                </a:lnTo>
                <a:lnTo>
                  <a:pt x="515" y="1152"/>
                </a:lnTo>
                <a:lnTo>
                  <a:pt x="513" y="1155"/>
                </a:lnTo>
                <a:lnTo>
                  <a:pt x="511" y="1159"/>
                </a:lnTo>
                <a:lnTo>
                  <a:pt x="510" y="1163"/>
                </a:lnTo>
                <a:close/>
                <a:moveTo>
                  <a:pt x="510" y="1518"/>
                </a:moveTo>
                <a:lnTo>
                  <a:pt x="510" y="1518"/>
                </a:lnTo>
                <a:lnTo>
                  <a:pt x="511" y="1519"/>
                </a:lnTo>
                <a:lnTo>
                  <a:pt x="510" y="1518"/>
                </a:lnTo>
                <a:lnTo>
                  <a:pt x="510" y="1518"/>
                </a:lnTo>
                <a:close/>
                <a:moveTo>
                  <a:pt x="502" y="1500"/>
                </a:moveTo>
                <a:lnTo>
                  <a:pt x="502" y="1500"/>
                </a:lnTo>
                <a:lnTo>
                  <a:pt x="506" y="1500"/>
                </a:lnTo>
                <a:lnTo>
                  <a:pt x="508" y="1500"/>
                </a:lnTo>
                <a:lnTo>
                  <a:pt x="509" y="1501"/>
                </a:lnTo>
                <a:lnTo>
                  <a:pt x="510" y="1503"/>
                </a:lnTo>
                <a:lnTo>
                  <a:pt x="511" y="1507"/>
                </a:lnTo>
                <a:lnTo>
                  <a:pt x="511" y="1511"/>
                </a:lnTo>
                <a:lnTo>
                  <a:pt x="511" y="1512"/>
                </a:lnTo>
                <a:lnTo>
                  <a:pt x="513" y="1512"/>
                </a:lnTo>
                <a:lnTo>
                  <a:pt x="511" y="1512"/>
                </a:lnTo>
                <a:lnTo>
                  <a:pt x="511" y="1511"/>
                </a:lnTo>
                <a:lnTo>
                  <a:pt x="511" y="1507"/>
                </a:lnTo>
                <a:lnTo>
                  <a:pt x="510" y="1503"/>
                </a:lnTo>
                <a:lnTo>
                  <a:pt x="509" y="1501"/>
                </a:lnTo>
                <a:lnTo>
                  <a:pt x="508" y="1500"/>
                </a:lnTo>
                <a:lnTo>
                  <a:pt x="506" y="1500"/>
                </a:lnTo>
                <a:lnTo>
                  <a:pt x="502" y="1500"/>
                </a:lnTo>
                <a:close/>
                <a:moveTo>
                  <a:pt x="497" y="1177"/>
                </a:moveTo>
                <a:lnTo>
                  <a:pt x="497" y="1177"/>
                </a:lnTo>
                <a:lnTo>
                  <a:pt x="496" y="1179"/>
                </a:lnTo>
                <a:lnTo>
                  <a:pt x="495" y="1180"/>
                </a:lnTo>
                <a:lnTo>
                  <a:pt x="495" y="1180"/>
                </a:lnTo>
                <a:lnTo>
                  <a:pt x="495" y="1180"/>
                </a:lnTo>
                <a:lnTo>
                  <a:pt x="496" y="1179"/>
                </a:lnTo>
                <a:lnTo>
                  <a:pt x="497" y="1177"/>
                </a:lnTo>
                <a:lnTo>
                  <a:pt x="497" y="1177"/>
                </a:lnTo>
                <a:lnTo>
                  <a:pt x="499" y="1174"/>
                </a:lnTo>
                <a:lnTo>
                  <a:pt x="502" y="1170"/>
                </a:lnTo>
                <a:lnTo>
                  <a:pt x="499" y="1174"/>
                </a:lnTo>
                <a:lnTo>
                  <a:pt x="497" y="1177"/>
                </a:lnTo>
                <a:close/>
                <a:moveTo>
                  <a:pt x="486" y="1193"/>
                </a:moveTo>
                <a:lnTo>
                  <a:pt x="486" y="1193"/>
                </a:lnTo>
                <a:lnTo>
                  <a:pt x="486" y="1193"/>
                </a:lnTo>
                <a:lnTo>
                  <a:pt x="486" y="1193"/>
                </a:lnTo>
                <a:lnTo>
                  <a:pt x="488" y="1188"/>
                </a:lnTo>
                <a:lnTo>
                  <a:pt x="490" y="1183"/>
                </a:lnTo>
                <a:lnTo>
                  <a:pt x="488" y="1188"/>
                </a:lnTo>
                <a:lnTo>
                  <a:pt x="486" y="1193"/>
                </a:lnTo>
                <a:close/>
                <a:moveTo>
                  <a:pt x="480" y="1015"/>
                </a:moveTo>
                <a:lnTo>
                  <a:pt x="481" y="1012"/>
                </a:lnTo>
                <a:lnTo>
                  <a:pt x="482" y="1009"/>
                </a:lnTo>
                <a:lnTo>
                  <a:pt x="484" y="1008"/>
                </a:lnTo>
                <a:lnTo>
                  <a:pt x="488" y="1007"/>
                </a:lnTo>
                <a:lnTo>
                  <a:pt x="484" y="1008"/>
                </a:lnTo>
                <a:lnTo>
                  <a:pt x="482" y="1009"/>
                </a:lnTo>
                <a:lnTo>
                  <a:pt x="481" y="1012"/>
                </a:lnTo>
                <a:lnTo>
                  <a:pt x="480" y="1015"/>
                </a:lnTo>
                <a:lnTo>
                  <a:pt x="480" y="1015"/>
                </a:lnTo>
                <a:close/>
                <a:moveTo>
                  <a:pt x="479" y="1022"/>
                </a:moveTo>
                <a:lnTo>
                  <a:pt x="477" y="1022"/>
                </a:lnTo>
                <a:lnTo>
                  <a:pt x="477" y="1023"/>
                </a:lnTo>
                <a:lnTo>
                  <a:pt x="477" y="1022"/>
                </a:lnTo>
                <a:lnTo>
                  <a:pt x="479" y="1022"/>
                </a:lnTo>
                <a:lnTo>
                  <a:pt x="479" y="1022"/>
                </a:lnTo>
                <a:close/>
                <a:moveTo>
                  <a:pt x="476" y="1489"/>
                </a:moveTo>
                <a:lnTo>
                  <a:pt x="476" y="1488"/>
                </a:lnTo>
                <a:lnTo>
                  <a:pt x="477" y="1486"/>
                </a:lnTo>
                <a:lnTo>
                  <a:pt x="476" y="1488"/>
                </a:lnTo>
                <a:lnTo>
                  <a:pt x="476" y="1489"/>
                </a:lnTo>
                <a:close/>
                <a:moveTo>
                  <a:pt x="465" y="1223"/>
                </a:moveTo>
                <a:lnTo>
                  <a:pt x="463" y="1223"/>
                </a:lnTo>
                <a:lnTo>
                  <a:pt x="463" y="1224"/>
                </a:lnTo>
                <a:lnTo>
                  <a:pt x="463" y="1223"/>
                </a:lnTo>
                <a:lnTo>
                  <a:pt x="465" y="1223"/>
                </a:lnTo>
                <a:lnTo>
                  <a:pt x="467" y="1216"/>
                </a:lnTo>
                <a:lnTo>
                  <a:pt x="469" y="1211"/>
                </a:lnTo>
                <a:lnTo>
                  <a:pt x="473" y="1205"/>
                </a:lnTo>
                <a:lnTo>
                  <a:pt x="476" y="1201"/>
                </a:lnTo>
                <a:lnTo>
                  <a:pt x="473" y="1205"/>
                </a:lnTo>
                <a:lnTo>
                  <a:pt x="469" y="1211"/>
                </a:lnTo>
                <a:lnTo>
                  <a:pt x="467" y="1216"/>
                </a:lnTo>
                <a:lnTo>
                  <a:pt x="465" y="1223"/>
                </a:lnTo>
                <a:close/>
                <a:moveTo>
                  <a:pt x="466" y="994"/>
                </a:moveTo>
                <a:lnTo>
                  <a:pt x="466" y="995"/>
                </a:lnTo>
                <a:lnTo>
                  <a:pt x="467" y="997"/>
                </a:lnTo>
                <a:lnTo>
                  <a:pt x="466" y="995"/>
                </a:lnTo>
                <a:lnTo>
                  <a:pt x="466" y="994"/>
                </a:lnTo>
                <a:lnTo>
                  <a:pt x="463" y="992"/>
                </a:lnTo>
                <a:lnTo>
                  <a:pt x="461" y="992"/>
                </a:lnTo>
                <a:lnTo>
                  <a:pt x="463" y="992"/>
                </a:lnTo>
                <a:lnTo>
                  <a:pt x="466" y="994"/>
                </a:lnTo>
                <a:close/>
                <a:moveTo>
                  <a:pt x="456" y="1006"/>
                </a:moveTo>
                <a:lnTo>
                  <a:pt x="451" y="1013"/>
                </a:lnTo>
                <a:lnTo>
                  <a:pt x="446" y="1019"/>
                </a:lnTo>
                <a:lnTo>
                  <a:pt x="452" y="1013"/>
                </a:lnTo>
                <a:lnTo>
                  <a:pt x="456" y="1006"/>
                </a:lnTo>
                <a:lnTo>
                  <a:pt x="458" y="1005"/>
                </a:lnTo>
                <a:lnTo>
                  <a:pt x="459" y="1005"/>
                </a:lnTo>
                <a:lnTo>
                  <a:pt x="458" y="1005"/>
                </a:lnTo>
                <a:lnTo>
                  <a:pt x="456" y="1006"/>
                </a:lnTo>
                <a:close/>
                <a:moveTo>
                  <a:pt x="446" y="1139"/>
                </a:moveTo>
                <a:lnTo>
                  <a:pt x="440" y="1144"/>
                </a:lnTo>
                <a:lnTo>
                  <a:pt x="437" y="1148"/>
                </a:lnTo>
                <a:lnTo>
                  <a:pt x="431" y="1153"/>
                </a:lnTo>
                <a:lnTo>
                  <a:pt x="425" y="1156"/>
                </a:lnTo>
                <a:lnTo>
                  <a:pt x="424" y="1158"/>
                </a:lnTo>
                <a:lnTo>
                  <a:pt x="423" y="1159"/>
                </a:lnTo>
                <a:lnTo>
                  <a:pt x="424" y="1158"/>
                </a:lnTo>
                <a:lnTo>
                  <a:pt x="425" y="1156"/>
                </a:lnTo>
                <a:lnTo>
                  <a:pt x="431" y="1153"/>
                </a:lnTo>
                <a:lnTo>
                  <a:pt x="437" y="1148"/>
                </a:lnTo>
                <a:lnTo>
                  <a:pt x="440" y="1144"/>
                </a:lnTo>
                <a:lnTo>
                  <a:pt x="446" y="1139"/>
                </a:lnTo>
                <a:lnTo>
                  <a:pt x="448" y="1133"/>
                </a:lnTo>
                <a:lnTo>
                  <a:pt x="453" y="1127"/>
                </a:lnTo>
                <a:lnTo>
                  <a:pt x="448" y="1133"/>
                </a:lnTo>
                <a:lnTo>
                  <a:pt x="446" y="1139"/>
                </a:lnTo>
                <a:close/>
                <a:moveTo>
                  <a:pt x="421" y="1167"/>
                </a:moveTo>
                <a:lnTo>
                  <a:pt x="423" y="1166"/>
                </a:lnTo>
                <a:lnTo>
                  <a:pt x="423" y="1163"/>
                </a:lnTo>
                <a:lnTo>
                  <a:pt x="423" y="1161"/>
                </a:lnTo>
                <a:lnTo>
                  <a:pt x="421" y="1159"/>
                </a:lnTo>
                <a:lnTo>
                  <a:pt x="421" y="1159"/>
                </a:lnTo>
                <a:lnTo>
                  <a:pt x="421" y="1159"/>
                </a:lnTo>
                <a:lnTo>
                  <a:pt x="421" y="1159"/>
                </a:lnTo>
                <a:lnTo>
                  <a:pt x="423" y="1161"/>
                </a:lnTo>
                <a:lnTo>
                  <a:pt x="423" y="1163"/>
                </a:lnTo>
                <a:lnTo>
                  <a:pt x="423" y="1166"/>
                </a:lnTo>
                <a:lnTo>
                  <a:pt x="421" y="1167"/>
                </a:lnTo>
                <a:close/>
                <a:moveTo>
                  <a:pt x="439" y="1067"/>
                </a:moveTo>
                <a:lnTo>
                  <a:pt x="426" y="1077"/>
                </a:lnTo>
                <a:lnTo>
                  <a:pt x="412" y="1086"/>
                </a:lnTo>
                <a:lnTo>
                  <a:pt x="426" y="1077"/>
                </a:lnTo>
                <a:lnTo>
                  <a:pt x="439" y="1067"/>
                </a:lnTo>
                <a:close/>
                <a:moveTo>
                  <a:pt x="396" y="1149"/>
                </a:moveTo>
                <a:lnTo>
                  <a:pt x="394" y="1149"/>
                </a:lnTo>
                <a:lnTo>
                  <a:pt x="394" y="1149"/>
                </a:lnTo>
                <a:lnTo>
                  <a:pt x="392" y="1152"/>
                </a:lnTo>
                <a:lnTo>
                  <a:pt x="389" y="1152"/>
                </a:lnTo>
                <a:lnTo>
                  <a:pt x="386" y="1152"/>
                </a:lnTo>
                <a:lnTo>
                  <a:pt x="384" y="1152"/>
                </a:lnTo>
                <a:lnTo>
                  <a:pt x="386" y="1152"/>
                </a:lnTo>
                <a:lnTo>
                  <a:pt x="389" y="1152"/>
                </a:lnTo>
                <a:lnTo>
                  <a:pt x="392" y="1152"/>
                </a:lnTo>
                <a:lnTo>
                  <a:pt x="394" y="1149"/>
                </a:lnTo>
                <a:lnTo>
                  <a:pt x="394" y="1149"/>
                </a:lnTo>
                <a:lnTo>
                  <a:pt x="396" y="1149"/>
                </a:lnTo>
                <a:lnTo>
                  <a:pt x="404" y="1144"/>
                </a:lnTo>
                <a:lnTo>
                  <a:pt x="411" y="1138"/>
                </a:lnTo>
                <a:lnTo>
                  <a:pt x="404" y="1144"/>
                </a:lnTo>
                <a:lnTo>
                  <a:pt x="396" y="1149"/>
                </a:lnTo>
                <a:close/>
                <a:moveTo>
                  <a:pt x="385" y="946"/>
                </a:moveTo>
                <a:lnTo>
                  <a:pt x="384" y="946"/>
                </a:lnTo>
                <a:lnTo>
                  <a:pt x="384" y="945"/>
                </a:lnTo>
                <a:lnTo>
                  <a:pt x="384" y="946"/>
                </a:lnTo>
                <a:lnTo>
                  <a:pt x="385" y="946"/>
                </a:lnTo>
                <a:lnTo>
                  <a:pt x="385" y="946"/>
                </a:lnTo>
                <a:close/>
                <a:moveTo>
                  <a:pt x="382" y="1047"/>
                </a:moveTo>
                <a:lnTo>
                  <a:pt x="380" y="1046"/>
                </a:lnTo>
                <a:lnTo>
                  <a:pt x="382" y="1044"/>
                </a:lnTo>
                <a:lnTo>
                  <a:pt x="380" y="1046"/>
                </a:lnTo>
                <a:lnTo>
                  <a:pt x="382" y="1047"/>
                </a:lnTo>
                <a:close/>
                <a:moveTo>
                  <a:pt x="378" y="1034"/>
                </a:moveTo>
                <a:lnTo>
                  <a:pt x="379" y="1032"/>
                </a:lnTo>
                <a:lnTo>
                  <a:pt x="379" y="1028"/>
                </a:lnTo>
                <a:lnTo>
                  <a:pt x="379" y="1028"/>
                </a:lnTo>
                <a:lnTo>
                  <a:pt x="379" y="1032"/>
                </a:lnTo>
                <a:lnTo>
                  <a:pt x="378" y="1034"/>
                </a:lnTo>
                <a:close/>
                <a:moveTo>
                  <a:pt x="365" y="1039"/>
                </a:moveTo>
                <a:lnTo>
                  <a:pt x="361" y="1041"/>
                </a:lnTo>
                <a:lnTo>
                  <a:pt x="358" y="1046"/>
                </a:lnTo>
                <a:lnTo>
                  <a:pt x="356" y="1049"/>
                </a:lnTo>
                <a:lnTo>
                  <a:pt x="354" y="1054"/>
                </a:lnTo>
                <a:lnTo>
                  <a:pt x="356" y="1049"/>
                </a:lnTo>
                <a:lnTo>
                  <a:pt x="358" y="1046"/>
                </a:lnTo>
                <a:lnTo>
                  <a:pt x="361" y="1041"/>
                </a:lnTo>
                <a:lnTo>
                  <a:pt x="365" y="1039"/>
                </a:lnTo>
                <a:lnTo>
                  <a:pt x="368" y="1033"/>
                </a:lnTo>
                <a:lnTo>
                  <a:pt x="370" y="1028"/>
                </a:lnTo>
                <a:lnTo>
                  <a:pt x="373" y="1023"/>
                </a:lnTo>
                <a:lnTo>
                  <a:pt x="378" y="1020"/>
                </a:lnTo>
                <a:lnTo>
                  <a:pt x="373" y="1023"/>
                </a:lnTo>
                <a:lnTo>
                  <a:pt x="370" y="1028"/>
                </a:lnTo>
                <a:lnTo>
                  <a:pt x="368" y="1033"/>
                </a:lnTo>
                <a:lnTo>
                  <a:pt x="365" y="1039"/>
                </a:lnTo>
                <a:close/>
                <a:moveTo>
                  <a:pt x="365" y="1111"/>
                </a:moveTo>
                <a:lnTo>
                  <a:pt x="366" y="1111"/>
                </a:lnTo>
                <a:lnTo>
                  <a:pt x="366" y="1111"/>
                </a:lnTo>
                <a:lnTo>
                  <a:pt x="365" y="1111"/>
                </a:lnTo>
                <a:lnTo>
                  <a:pt x="364" y="1112"/>
                </a:lnTo>
                <a:lnTo>
                  <a:pt x="364" y="1111"/>
                </a:lnTo>
                <a:lnTo>
                  <a:pt x="365" y="1111"/>
                </a:lnTo>
                <a:lnTo>
                  <a:pt x="366" y="1109"/>
                </a:lnTo>
                <a:lnTo>
                  <a:pt x="369" y="1106"/>
                </a:lnTo>
                <a:lnTo>
                  <a:pt x="366" y="1109"/>
                </a:lnTo>
                <a:lnTo>
                  <a:pt x="365" y="1111"/>
                </a:lnTo>
                <a:close/>
                <a:moveTo>
                  <a:pt x="366" y="1130"/>
                </a:moveTo>
                <a:lnTo>
                  <a:pt x="363" y="1131"/>
                </a:lnTo>
                <a:lnTo>
                  <a:pt x="361" y="1132"/>
                </a:lnTo>
                <a:lnTo>
                  <a:pt x="359" y="1130"/>
                </a:lnTo>
                <a:lnTo>
                  <a:pt x="359" y="1126"/>
                </a:lnTo>
                <a:lnTo>
                  <a:pt x="363" y="1127"/>
                </a:lnTo>
                <a:lnTo>
                  <a:pt x="366" y="1128"/>
                </a:lnTo>
                <a:lnTo>
                  <a:pt x="366" y="1130"/>
                </a:lnTo>
                <a:lnTo>
                  <a:pt x="366" y="1130"/>
                </a:lnTo>
                <a:close/>
                <a:moveTo>
                  <a:pt x="349" y="941"/>
                </a:moveTo>
                <a:lnTo>
                  <a:pt x="349" y="941"/>
                </a:lnTo>
                <a:lnTo>
                  <a:pt x="349" y="941"/>
                </a:lnTo>
                <a:close/>
                <a:moveTo>
                  <a:pt x="343" y="706"/>
                </a:moveTo>
                <a:lnTo>
                  <a:pt x="341" y="706"/>
                </a:lnTo>
                <a:lnTo>
                  <a:pt x="339" y="705"/>
                </a:lnTo>
                <a:lnTo>
                  <a:pt x="338" y="704"/>
                </a:lnTo>
                <a:lnTo>
                  <a:pt x="337" y="704"/>
                </a:lnTo>
                <a:lnTo>
                  <a:pt x="338" y="701"/>
                </a:lnTo>
                <a:lnTo>
                  <a:pt x="339" y="699"/>
                </a:lnTo>
                <a:lnTo>
                  <a:pt x="341" y="700"/>
                </a:lnTo>
                <a:lnTo>
                  <a:pt x="342" y="701"/>
                </a:lnTo>
                <a:lnTo>
                  <a:pt x="342" y="701"/>
                </a:lnTo>
                <a:lnTo>
                  <a:pt x="342" y="702"/>
                </a:lnTo>
                <a:lnTo>
                  <a:pt x="343" y="704"/>
                </a:lnTo>
                <a:lnTo>
                  <a:pt x="343" y="706"/>
                </a:lnTo>
                <a:lnTo>
                  <a:pt x="343" y="706"/>
                </a:lnTo>
                <a:lnTo>
                  <a:pt x="343" y="706"/>
                </a:lnTo>
                <a:lnTo>
                  <a:pt x="343" y="706"/>
                </a:lnTo>
                <a:close/>
                <a:moveTo>
                  <a:pt x="337" y="822"/>
                </a:moveTo>
                <a:lnTo>
                  <a:pt x="337" y="823"/>
                </a:lnTo>
                <a:lnTo>
                  <a:pt x="336" y="824"/>
                </a:lnTo>
                <a:lnTo>
                  <a:pt x="337" y="823"/>
                </a:lnTo>
                <a:lnTo>
                  <a:pt x="337" y="822"/>
                </a:lnTo>
                <a:close/>
                <a:moveTo>
                  <a:pt x="325" y="1018"/>
                </a:moveTo>
                <a:lnTo>
                  <a:pt x="325" y="1016"/>
                </a:lnTo>
                <a:lnTo>
                  <a:pt x="325" y="1015"/>
                </a:lnTo>
                <a:lnTo>
                  <a:pt x="324" y="1015"/>
                </a:lnTo>
                <a:lnTo>
                  <a:pt x="324" y="1014"/>
                </a:lnTo>
                <a:lnTo>
                  <a:pt x="324" y="1015"/>
                </a:lnTo>
                <a:lnTo>
                  <a:pt x="325" y="1015"/>
                </a:lnTo>
                <a:lnTo>
                  <a:pt x="325" y="1016"/>
                </a:lnTo>
                <a:lnTo>
                  <a:pt x="325" y="1018"/>
                </a:lnTo>
                <a:close/>
                <a:moveTo>
                  <a:pt x="323" y="1054"/>
                </a:moveTo>
                <a:lnTo>
                  <a:pt x="324" y="1053"/>
                </a:lnTo>
                <a:lnTo>
                  <a:pt x="325" y="1051"/>
                </a:lnTo>
                <a:lnTo>
                  <a:pt x="325" y="1047"/>
                </a:lnTo>
                <a:lnTo>
                  <a:pt x="324" y="1042"/>
                </a:lnTo>
                <a:lnTo>
                  <a:pt x="324" y="1040"/>
                </a:lnTo>
                <a:lnTo>
                  <a:pt x="323" y="1037"/>
                </a:lnTo>
                <a:lnTo>
                  <a:pt x="324" y="1040"/>
                </a:lnTo>
                <a:lnTo>
                  <a:pt x="324" y="1042"/>
                </a:lnTo>
                <a:lnTo>
                  <a:pt x="325" y="1047"/>
                </a:lnTo>
                <a:lnTo>
                  <a:pt x="325" y="1051"/>
                </a:lnTo>
                <a:lnTo>
                  <a:pt x="324" y="1053"/>
                </a:lnTo>
                <a:lnTo>
                  <a:pt x="323" y="1054"/>
                </a:lnTo>
                <a:close/>
                <a:moveTo>
                  <a:pt x="323" y="841"/>
                </a:moveTo>
                <a:lnTo>
                  <a:pt x="322" y="841"/>
                </a:lnTo>
                <a:lnTo>
                  <a:pt x="322" y="841"/>
                </a:lnTo>
                <a:lnTo>
                  <a:pt x="323" y="841"/>
                </a:lnTo>
                <a:close/>
                <a:moveTo>
                  <a:pt x="321" y="1016"/>
                </a:moveTo>
                <a:lnTo>
                  <a:pt x="320" y="1012"/>
                </a:lnTo>
                <a:lnTo>
                  <a:pt x="320" y="1008"/>
                </a:lnTo>
                <a:lnTo>
                  <a:pt x="321" y="1004"/>
                </a:lnTo>
                <a:lnTo>
                  <a:pt x="322" y="1000"/>
                </a:lnTo>
                <a:lnTo>
                  <a:pt x="321" y="1004"/>
                </a:lnTo>
                <a:lnTo>
                  <a:pt x="320" y="1008"/>
                </a:lnTo>
                <a:lnTo>
                  <a:pt x="320" y="1012"/>
                </a:lnTo>
                <a:lnTo>
                  <a:pt x="321" y="1016"/>
                </a:lnTo>
                <a:close/>
                <a:moveTo>
                  <a:pt x="314" y="1187"/>
                </a:moveTo>
                <a:lnTo>
                  <a:pt x="313" y="1187"/>
                </a:lnTo>
                <a:lnTo>
                  <a:pt x="313" y="1186"/>
                </a:lnTo>
                <a:lnTo>
                  <a:pt x="313" y="1187"/>
                </a:lnTo>
                <a:lnTo>
                  <a:pt x="314" y="1187"/>
                </a:lnTo>
                <a:lnTo>
                  <a:pt x="316" y="1189"/>
                </a:lnTo>
                <a:lnTo>
                  <a:pt x="317" y="1190"/>
                </a:lnTo>
                <a:lnTo>
                  <a:pt x="316" y="1189"/>
                </a:lnTo>
                <a:lnTo>
                  <a:pt x="314" y="1187"/>
                </a:lnTo>
                <a:close/>
                <a:moveTo>
                  <a:pt x="293" y="903"/>
                </a:moveTo>
                <a:lnTo>
                  <a:pt x="297" y="902"/>
                </a:lnTo>
                <a:lnTo>
                  <a:pt x="302" y="901"/>
                </a:lnTo>
                <a:lnTo>
                  <a:pt x="307" y="900"/>
                </a:lnTo>
                <a:lnTo>
                  <a:pt x="310" y="896"/>
                </a:lnTo>
                <a:lnTo>
                  <a:pt x="307" y="900"/>
                </a:lnTo>
                <a:lnTo>
                  <a:pt x="302" y="901"/>
                </a:lnTo>
                <a:lnTo>
                  <a:pt x="297" y="902"/>
                </a:lnTo>
                <a:lnTo>
                  <a:pt x="293" y="903"/>
                </a:lnTo>
                <a:close/>
                <a:moveTo>
                  <a:pt x="309" y="1151"/>
                </a:moveTo>
                <a:lnTo>
                  <a:pt x="308" y="1151"/>
                </a:lnTo>
                <a:lnTo>
                  <a:pt x="308" y="1151"/>
                </a:lnTo>
                <a:lnTo>
                  <a:pt x="307" y="1151"/>
                </a:lnTo>
                <a:lnTo>
                  <a:pt x="307" y="1152"/>
                </a:lnTo>
                <a:lnTo>
                  <a:pt x="307" y="1151"/>
                </a:lnTo>
                <a:lnTo>
                  <a:pt x="308" y="1151"/>
                </a:lnTo>
                <a:lnTo>
                  <a:pt x="307" y="1149"/>
                </a:lnTo>
                <a:lnTo>
                  <a:pt x="307" y="1149"/>
                </a:lnTo>
                <a:lnTo>
                  <a:pt x="307" y="1149"/>
                </a:lnTo>
                <a:lnTo>
                  <a:pt x="308" y="1151"/>
                </a:lnTo>
                <a:lnTo>
                  <a:pt x="308" y="1151"/>
                </a:lnTo>
                <a:lnTo>
                  <a:pt x="309" y="1151"/>
                </a:lnTo>
                <a:close/>
                <a:moveTo>
                  <a:pt x="308" y="1197"/>
                </a:moveTo>
                <a:lnTo>
                  <a:pt x="308" y="1198"/>
                </a:lnTo>
                <a:lnTo>
                  <a:pt x="307" y="1198"/>
                </a:lnTo>
                <a:lnTo>
                  <a:pt x="308" y="1198"/>
                </a:lnTo>
                <a:lnTo>
                  <a:pt x="308" y="1197"/>
                </a:lnTo>
                <a:close/>
                <a:moveTo>
                  <a:pt x="301" y="1208"/>
                </a:moveTo>
                <a:lnTo>
                  <a:pt x="301" y="1208"/>
                </a:lnTo>
                <a:lnTo>
                  <a:pt x="301" y="1208"/>
                </a:lnTo>
                <a:lnTo>
                  <a:pt x="301" y="1208"/>
                </a:lnTo>
                <a:lnTo>
                  <a:pt x="301" y="1208"/>
                </a:lnTo>
                <a:lnTo>
                  <a:pt x="302" y="1203"/>
                </a:lnTo>
                <a:lnTo>
                  <a:pt x="302" y="1198"/>
                </a:lnTo>
                <a:lnTo>
                  <a:pt x="302" y="1203"/>
                </a:lnTo>
                <a:lnTo>
                  <a:pt x="301" y="1208"/>
                </a:lnTo>
                <a:close/>
                <a:moveTo>
                  <a:pt x="297" y="1223"/>
                </a:moveTo>
                <a:lnTo>
                  <a:pt x="293" y="1224"/>
                </a:lnTo>
                <a:lnTo>
                  <a:pt x="288" y="1228"/>
                </a:lnTo>
                <a:lnTo>
                  <a:pt x="283" y="1230"/>
                </a:lnTo>
                <a:lnTo>
                  <a:pt x="280" y="1233"/>
                </a:lnTo>
                <a:lnTo>
                  <a:pt x="283" y="1230"/>
                </a:lnTo>
                <a:lnTo>
                  <a:pt x="288" y="1228"/>
                </a:lnTo>
                <a:lnTo>
                  <a:pt x="293" y="1224"/>
                </a:lnTo>
                <a:lnTo>
                  <a:pt x="297" y="1223"/>
                </a:lnTo>
                <a:lnTo>
                  <a:pt x="297" y="1223"/>
                </a:lnTo>
                <a:lnTo>
                  <a:pt x="296" y="1219"/>
                </a:lnTo>
                <a:lnTo>
                  <a:pt x="296" y="1216"/>
                </a:lnTo>
                <a:lnTo>
                  <a:pt x="296" y="1219"/>
                </a:lnTo>
                <a:lnTo>
                  <a:pt x="297" y="1223"/>
                </a:lnTo>
                <a:lnTo>
                  <a:pt x="297" y="1223"/>
                </a:lnTo>
                <a:close/>
                <a:moveTo>
                  <a:pt x="279" y="1215"/>
                </a:moveTo>
                <a:lnTo>
                  <a:pt x="276" y="1217"/>
                </a:lnTo>
                <a:lnTo>
                  <a:pt x="273" y="1219"/>
                </a:lnTo>
                <a:lnTo>
                  <a:pt x="272" y="1218"/>
                </a:lnTo>
                <a:lnTo>
                  <a:pt x="272" y="1217"/>
                </a:lnTo>
                <a:lnTo>
                  <a:pt x="272" y="1215"/>
                </a:lnTo>
                <a:lnTo>
                  <a:pt x="273" y="1212"/>
                </a:lnTo>
                <a:lnTo>
                  <a:pt x="275" y="1211"/>
                </a:lnTo>
                <a:lnTo>
                  <a:pt x="278" y="1210"/>
                </a:lnTo>
                <a:lnTo>
                  <a:pt x="279" y="1212"/>
                </a:lnTo>
                <a:lnTo>
                  <a:pt x="279" y="1215"/>
                </a:lnTo>
                <a:lnTo>
                  <a:pt x="279" y="1215"/>
                </a:lnTo>
                <a:lnTo>
                  <a:pt x="280" y="1215"/>
                </a:lnTo>
                <a:lnTo>
                  <a:pt x="279" y="1215"/>
                </a:lnTo>
                <a:lnTo>
                  <a:pt x="279" y="1215"/>
                </a:lnTo>
                <a:close/>
                <a:moveTo>
                  <a:pt x="283" y="899"/>
                </a:moveTo>
                <a:lnTo>
                  <a:pt x="283" y="899"/>
                </a:lnTo>
                <a:lnTo>
                  <a:pt x="283" y="899"/>
                </a:lnTo>
                <a:lnTo>
                  <a:pt x="283" y="899"/>
                </a:lnTo>
                <a:lnTo>
                  <a:pt x="283" y="899"/>
                </a:lnTo>
                <a:lnTo>
                  <a:pt x="283" y="899"/>
                </a:lnTo>
                <a:close/>
                <a:moveTo>
                  <a:pt x="292" y="963"/>
                </a:moveTo>
                <a:lnTo>
                  <a:pt x="292" y="964"/>
                </a:lnTo>
                <a:lnTo>
                  <a:pt x="292" y="966"/>
                </a:lnTo>
                <a:lnTo>
                  <a:pt x="292" y="964"/>
                </a:lnTo>
                <a:lnTo>
                  <a:pt x="292" y="963"/>
                </a:lnTo>
                <a:lnTo>
                  <a:pt x="292" y="963"/>
                </a:lnTo>
                <a:close/>
                <a:moveTo>
                  <a:pt x="304" y="729"/>
                </a:moveTo>
                <a:lnTo>
                  <a:pt x="306" y="729"/>
                </a:lnTo>
                <a:lnTo>
                  <a:pt x="306" y="729"/>
                </a:lnTo>
                <a:lnTo>
                  <a:pt x="306" y="729"/>
                </a:lnTo>
                <a:lnTo>
                  <a:pt x="306" y="731"/>
                </a:lnTo>
                <a:lnTo>
                  <a:pt x="306" y="731"/>
                </a:lnTo>
                <a:lnTo>
                  <a:pt x="304" y="729"/>
                </a:lnTo>
                <a:lnTo>
                  <a:pt x="304" y="729"/>
                </a:lnTo>
                <a:lnTo>
                  <a:pt x="304" y="729"/>
                </a:lnTo>
                <a:close/>
                <a:moveTo>
                  <a:pt x="322" y="841"/>
                </a:moveTo>
                <a:lnTo>
                  <a:pt x="322" y="838"/>
                </a:lnTo>
                <a:lnTo>
                  <a:pt x="321" y="837"/>
                </a:lnTo>
                <a:lnTo>
                  <a:pt x="322" y="838"/>
                </a:lnTo>
                <a:lnTo>
                  <a:pt x="322" y="841"/>
                </a:lnTo>
                <a:lnTo>
                  <a:pt x="322" y="841"/>
                </a:lnTo>
                <a:close/>
                <a:moveTo>
                  <a:pt x="371" y="826"/>
                </a:moveTo>
                <a:lnTo>
                  <a:pt x="368" y="826"/>
                </a:lnTo>
                <a:lnTo>
                  <a:pt x="363" y="826"/>
                </a:lnTo>
                <a:lnTo>
                  <a:pt x="368" y="826"/>
                </a:lnTo>
                <a:lnTo>
                  <a:pt x="371" y="826"/>
                </a:lnTo>
                <a:close/>
                <a:moveTo>
                  <a:pt x="355" y="799"/>
                </a:moveTo>
                <a:lnTo>
                  <a:pt x="355" y="801"/>
                </a:lnTo>
                <a:lnTo>
                  <a:pt x="356" y="802"/>
                </a:lnTo>
                <a:lnTo>
                  <a:pt x="365" y="798"/>
                </a:lnTo>
                <a:lnTo>
                  <a:pt x="373" y="795"/>
                </a:lnTo>
                <a:lnTo>
                  <a:pt x="365" y="798"/>
                </a:lnTo>
                <a:lnTo>
                  <a:pt x="356" y="802"/>
                </a:lnTo>
                <a:lnTo>
                  <a:pt x="355" y="801"/>
                </a:lnTo>
                <a:lnTo>
                  <a:pt x="355" y="799"/>
                </a:lnTo>
                <a:lnTo>
                  <a:pt x="355" y="799"/>
                </a:lnTo>
                <a:close/>
                <a:moveTo>
                  <a:pt x="363" y="789"/>
                </a:moveTo>
                <a:lnTo>
                  <a:pt x="362" y="789"/>
                </a:lnTo>
                <a:lnTo>
                  <a:pt x="359" y="789"/>
                </a:lnTo>
                <a:lnTo>
                  <a:pt x="362" y="789"/>
                </a:lnTo>
                <a:lnTo>
                  <a:pt x="363" y="789"/>
                </a:lnTo>
                <a:close/>
                <a:moveTo>
                  <a:pt x="357" y="785"/>
                </a:moveTo>
                <a:lnTo>
                  <a:pt x="358" y="788"/>
                </a:lnTo>
                <a:lnTo>
                  <a:pt x="359" y="789"/>
                </a:lnTo>
                <a:lnTo>
                  <a:pt x="358" y="788"/>
                </a:lnTo>
                <a:lnTo>
                  <a:pt x="357" y="785"/>
                </a:lnTo>
                <a:close/>
                <a:moveTo>
                  <a:pt x="396" y="1082"/>
                </a:moveTo>
                <a:lnTo>
                  <a:pt x="394" y="1079"/>
                </a:lnTo>
                <a:lnTo>
                  <a:pt x="393" y="1076"/>
                </a:lnTo>
                <a:lnTo>
                  <a:pt x="394" y="1079"/>
                </a:lnTo>
                <a:lnTo>
                  <a:pt x="396" y="1082"/>
                </a:lnTo>
                <a:close/>
                <a:moveTo>
                  <a:pt x="399" y="1100"/>
                </a:moveTo>
                <a:lnTo>
                  <a:pt x="399" y="1099"/>
                </a:lnTo>
                <a:lnTo>
                  <a:pt x="399" y="1097"/>
                </a:lnTo>
                <a:lnTo>
                  <a:pt x="399" y="1099"/>
                </a:lnTo>
                <a:lnTo>
                  <a:pt x="399" y="1100"/>
                </a:lnTo>
                <a:close/>
                <a:moveTo>
                  <a:pt x="393" y="997"/>
                </a:moveTo>
                <a:lnTo>
                  <a:pt x="393" y="997"/>
                </a:lnTo>
                <a:lnTo>
                  <a:pt x="393" y="997"/>
                </a:lnTo>
                <a:lnTo>
                  <a:pt x="393" y="997"/>
                </a:lnTo>
                <a:lnTo>
                  <a:pt x="393" y="997"/>
                </a:lnTo>
                <a:lnTo>
                  <a:pt x="397" y="994"/>
                </a:lnTo>
                <a:lnTo>
                  <a:pt x="399" y="992"/>
                </a:lnTo>
                <a:lnTo>
                  <a:pt x="397" y="994"/>
                </a:lnTo>
                <a:lnTo>
                  <a:pt x="393" y="997"/>
                </a:lnTo>
                <a:close/>
                <a:moveTo>
                  <a:pt x="390" y="987"/>
                </a:moveTo>
                <a:lnTo>
                  <a:pt x="394" y="977"/>
                </a:lnTo>
                <a:lnTo>
                  <a:pt x="400" y="966"/>
                </a:lnTo>
                <a:lnTo>
                  <a:pt x="400" y="966"/>
                </a:lnTo>
                <a:lnTo>
                  <a:pt x="394" y="977"/>
                </a:lnTo>
                <a:lnTo>
                  <a:pt x="390" y="987"/>
                </a:lnTo>
                <a:lnTo>
                  <a:pt x="387" y="988"/>
                </a:lnTo>
                <a:lnTo>
                  <a:pt x="385" y="990"/>
                </a:lnTo>
                <a:lnTo>
                  <a:pt x="387" y="988"/>
                </a:lnTo>
                <a:lnTo>
                  <a:pt x="390" y="987"/>
                </a:lnTo>
                <a:close/>
                <a:moveTo>
                  <a:pt x="397" y="817"/>
                </a:moveTo>
                <a:lnTo>
                  <a:pt x="392" y="817"/>
                </a:lnTo>
                <a:lnTo>
                  <a:pt x="386" y="818"/>
                </a:lnTo>
                <a:lnTo>
                  <a:pt x="392" y="817"/>
                </a:lnTo>
                <a:lnTo>
                  <a:pt x="397" y="817"/>
                </a:lnTo>
                <a:close/>
                <a:moveTo>
                  <a:pt x="403" y="1062"/>
                </a:moveTo>
                <a:lnTo>
                  <a:pt x="401" y="1063"/>
                </a:lnTo>
                <a:lnTo>
                  <a:pt x="399" y="1063"/>
                </a:lnTo>
                <a:lnTo>
                  <a:pt x="401" y="1063"/>
                </a:lnTo>
                <a:lnTo>
                  <a:pt x="403" y="1062"/>
                </a:lnTo>
                <a:close/>
                <a:moveTo>
                  <a:pt x="389" y="823"/>
                </a:moveTo>
                <a:lnTo>
                  <a:pt x="389" y="823"/>
                </a:lnTo>
                <a:lnTo>
                  <a:pt x="390" y="823"/>
                </a:lnTo>
                <a:lnTo>
                  <a:pt x="390" y="823"/>
                </a:lnTo>
                <a:lnTo>
                  <a:pt x="389" y="823"/>
                </a:lnTo>
                <a:lnTo>
                  <a:pt x="389" y="823"/>
                </a:lnTo>
                <a:close/>
                <a:moveTo>
                  <a:pt x="399" y="963"/>
                </a:moveTo>
                <a:lnTo>
                  <a:pt x="399" y="960"/>
                </a:lnTo>
                <a:lnTo>
                  <a:pt x="399" y="958"/>
                </a:lnTo>
                <a:lnTo>
                  <a:pt x="399" y="960"/>
                </a:lnTo>
                <a:lnTo>
                  <a:pt x="399" y="963"/>
                </a:lnTo>
                <a:lnTo>
                  <a:pt x="392" y="972"/>
                </a:lnTo>
                <a:lnTo>
                  <a:pt x="386" y="983"/>
                </a:lnTo>
                <a:lnTo>
                  <a:pt x="392" y="972"/>
                </a:lnTo>
                <a:lnTo>
                  <a:pt x="399" y="963"/>
                </a:lnTo>
                <a:close/>
                <a:moveTo>
                  <a:pt x="403" y="766"/>
                </a:moveTo>
                <a:lnTo>
                  <a:pt x="403" y="766"/>
                </a:lnTo>
                <a:lnTo>
                  <a:pt x="403" y="766"/>
                </a:lnTo>
                <a:lnTo>
                  <a:pt x="397" y="766"/>
                </a:lnTo>
                <a:lnTo>
                  <a:pt x="391" y="766"/>
                </a:lnTo>
                <a:lnTo>
                  <a:pt x="397" y="766"/>
                </a:lnTo>
                <a:lnTo>
                  <a:pt x="403" y="766"/>
                </a:lnTo>
                <a:close/>
                <a:moveTo>
                  <a:pt x="404" y="1058"/>
                </a:moveTo>
                <a:lnTo>
                  <a:pt x="403" y="1060"/>
                </a:lnTo>
                <a:lnTo>
                  <a:pt x="403" y="1062"/>
                </a:lnTo>
                <a:lnTo>
                  <a:pt x="403" y="1060"/>
                </a:lnTo>
                <a:lnTo>
                  <a:pt x="404" y="1058"/>
                </a:lnTo>
                <a:close/>
                <a:moveTo>
                  <a:pt x="412" y="818"/>
                </a:moveTo>
                <a:lnTo>
                  <a:pt x="413" y="818"/>
                </a:lnTo>
                <a:lnTo>
                  <a:pt x="413" y="818"/>
                </a:lnTo>
                <a:lnTo>
                  <a:pt x="413" y="818"/>
                </a:lnTo>
                <a:lnTo>
                  <a:pt x="412" y="818"/>
                </a:lnTo>
                <a:lnTo>
                  <a:pt x="408" y="822"/>
                </a:lnTo>
                <a:lnTo>
                  <a:pt x="405" y="822"/>
                </a:lnTo>
                <a:lnTo>
                  <a:pt x="408" y="822"/>
                </a:lnTo>
                <a:lnTo>
                  <a:pt x="412" y="818"/>
                </a:lnTo>
                <a:close/>
                <a:moveTo>
                  <a:pt x="417" y="819"/>
                </a:moveTo>
                <a:lnTo>
                  <a:pt x="420" y="817"/>
                </a:lnTo>
                <a:lnTo>
                  <a:pt x="424" y="817"/>
                </a:lnTo>
                <a:lnTo>
                  <a:pt x="420" y="817"/>
                </a:lnTo>
                <a:lnTo>
                  <a:pt x="417" y="819"/>
                </a:lnTo>
                <a:lnTo>
                  <a:pt x="417" y="819"/>
                </a:lnTo>
                <a:lnTo>
                  <a:pt x="415" y="820"/>
                </a:lnTo>
                <a:lnTo>
                  <a:pt x="417" y="819"/>
                </a:lnTo>
                <a:lnTo>
                  <a:pt x="417" y="819"/>
                </a:lnTo>
                <a:close/>
                <a:moveTo>
                  <a:pt x="408" y="868"/>
                </a:moveTo>
                <a:lnTo>
                  <a:pt x="415" y="864"/>
                </a:lnTo>
                <a:lnTo>
                  <a:pt x="423" y="858"/>
                </a:lnTo>
                <a:lnTo>
                  <a:pt x="415" y="864"/>
                </a:lnTo>
                <a:lnTo>
                  <a:pt x="408" y="868"/>
                </a:lnTo>
                <a:close/>
                <a:moveTo>
                  <a:pt x="414" y="941"/>
                </a:moveTo>
                <a:lnTo>
                  <a:pt x="415" y="939"/>
                </a:lnTo>
                <a:lnTo>
                  <a:pt x="417" y="938"/>
                </a:lnTo>
                <a:lnTo>
                  <a:pt x="415" y="939"/>
                </a:lnTo>
                <a:lnTo>
                  <a:pt x="414" y="941"/>
                </a:lnTo>
                <a:lnTo>
                  <a:pt x="414" y="941"/>
                </a:lnTo>
                <a:close/>
                <a:moveTo>
                  <a:pt x="412" y="942"/>
                </a:moveTo>
                <a:lnTo>
                  <a:pt x="411" y="945"/>
                </a:lnTo>
                <a:lnTo>
                  <a:pt x="410" y="949"/>
                </a:lnTo>
                <a:lnTo>
                  <a:pt x="411" y="945"/>
                </a:lnTo>
                <a:lnTo>
                  <a:pt x="412" y="942"/>
                </a:lnTo>
                <a:lnTo>
                  <a:pt x="413" y="938"/>
                </a:lnTo>
                <a:lnTo>
                  <a:pt x="413" y="934"/>
                </a:lnTo>
                <a:lnTo>
                  <a:pt x="413" y="938"/>
                </a:lnTo>
                <a:lnTo>
                  <a:pt x="412" y="942"/>
                </a:lnTo>
                <a:lnTo>
                  <a:pt x="412" y="942"/>
                </a:lnTo>
                <a:close/>
                <a:moveTo>
                  <a:pt x="408" y="1055"/>
                </a:moveTo>
                <a:lnTo>
                  <a:pt x="407" y="1056"/>
                </a:lnTo>
                <a:lnTo>
                  <a:pt x="407" y="1057"/>
                </a:lnTo>
                <a:lnTo>
                  <a:pt x="406" y="1057"/>
                </a:lnTo>
                <a:lnTo>
                  <a:pt x="406" y="1057"/>
                </a:lnTo>
                <a:lnTo>
                  <a:pt x="406" y="1057"/>
                </a:lnTo>
                <a:lnTo>
                  <a:pt x="407" y="1057"/>
                </a:lnTo>
                <a:lnTo>
                  <a:pt x="407" y="1056"/>
                </a:lnTo>
                <a:lnTo>
                  <a:pt x="408" y="1055"/>
                </a:lnTo>
                <a:close/>
                <a:moveTo>
                  <a:pt x="414" y="1048"/>
                </a:moveTo>
                <a:lnTo>
                  <a:pt x="412" y="1050"/>
                </a:lnTo>
                <a:lnTo>
                  <a:pt x="410" y="1054"/>
                </a:lnTo>
                <a:lnTo>
                  <a:pt x="410" y="1054"/>
                </a:lnTo>
                <a:lnTo>
                  <a:pt x="410" y="1054"/>
                </a:lnTo>
                <a:lnTo>
                  <a:pt x="410" y="1054"/>
                </a:lnTo>
                <a:lnTo>
                  <a:pt x="412" y="1050"/>
                </a:lnTo>
                <a:lnTo>
                  <a:pt x="414" y="1048"/>
                </a:lnTo>
                <a:close/>
                <a:moveTo>
                  <a:pt x="413" y="1000"/>
                </a:moveTo>
                <a:lnTo>
                  <a:pt x="414" y="999"/>
                </a:lnTo>
                <a:lnTo>
                  <a:pt x="415" y="998"/>
                </a:lnTo>
                <a:lnTo>
                  <a:pt x="414" y="999"/>
                </a:lnTo>
                <a:lnTo>
                  <a:pt x="413" y="1000"/>
                </a:lnTo>
                <a:lnTo>
                  <a:pt x="415" y="1001"/>
                </a:lnTo>
                <a:lnTo>
                  <a:pt x="414" y="1004"/>
                </a:lnTo>
                <a:lnTo>
                  <a:pt x="415" y="1001"/>
                </a:lnTo>
                <a:lnTo>
                  <a:pt x="413" y="1000"/>
                </a:lnTo>
                <a:close/>
                <a:moveTo>
                  <a:pt x="419" y="1043"/>
                </a:moveTo>
                <a:lnTo>
                  <a:pt x="418" y="1046"/>
                </a:lnTo>
                <a:lnTo>
                  <a:pt x="417" y="1048"/>
                </a:lnTo>
                <a:lnTo>
                  <a:pt x="417" y="1048"/>
                </a:lnTo>
                <a:lnTo>
                  <a:pt x="417" y="1048"/>
                </a:lnTo>
                <a:lnTo>
                  <a:pt x="418" y="1046"/>
                </a:lnTo>
                <a:lnTo>
                  <a:pt x="419" y="1043"/>
                </a:lnTo>
                <a:close/>
                <a:moveTo>
                  <a:pt x="407" y="985"/>
                </a:moveTo>
                <a:lnTo>
                  <a:pt x="407" y="985"/>
                </a:lnTo>
                <a:lnTo>
                  <a:pt x="411" y="984"/>
                </a:lnTo>
                <a:lnTo>
                  <a:pt x="414" y="981"/>
                </a:lnTo>
                <a:lnTo>
                  <a:pt x="418" y="978"/>
                </a:lnTo>
                <a:lnTo>
                  <a:pt x="420" y="974"/>
                </a:lnTo>
                <a:lnTo>
                  <a:pt x="418" y="978"/>
                </a:lnTo>
                <a:lnTo>
                  <a:pt x="414" y="981"/>
                </a:lnTo>
                <a:lnTo>
                  <a:pt x="411" y="984"/>
                </a:lnTo>
                <a:lnTo>
                  <a:pt x="407" y="985"/>
                </a:lnTo>
                <a:close/>
                <a:moveTo>
                  <a:pt x="437" y="1028"/>
                </a:moveTo>
                <a:lnTo>
                  <a:pt x="435" y="1028"/>
                </a:lnTo>
                <a:lnTo>
                  <a:pt x="437" y="1028"/>
                </a:lnTo>
                <a:lnTo>
                  <a:pt x="437" y="1027"/>
                </a:lnTo>
                <a:lnTo>
                  <a:pt x="438" y="1025"/>
                </a:lnTo>
                <a:lnTo>
                  <a:pt x="437" y="1027"/>
                </a:lnTo>
                <a:lnTo>
                  <a:pt x="437" y="1028"/>
                </a:lnTo>
                <a:close/>
                <a:moveTo>
                  <a:pt x="438" y="1062"/>
                </a:moveTo>
                <a:lnTo>
                  <a:pt x="437" y="1063"/>
                </a:lnTo>
                <a:lnTo>
                  <a:pt x="438" y="1065"/>
                </a:lnTo>
                <a:lnTo>
                  <a:pt x="437" y="1063"/>
                </a:lnTo>
                <a:lnTo>
                  <a:pt x="438" y="1062"/>
                </a:lnTo>
                <a:close/>
                <a:moveTo>
                  <a:pt x="441" y="1023"/>
                </a:moveTo>
                <a:lnTo>
                  <a:pt x="441" y="1023"/>
                </a:lnTo>
                <a:lnTo>
                  <a:pt x="441" y="1023"/>
                </a:lnTo>
                <a:lnTo>
                  <a:pt x="441" y="1023"/>
                </a:lnTo>
                <a:close/>
                <a:moveTo>
                  <a:pt x="449" y="937"/>
                </a:moveTo>
                <a:lnTo>
                  <a:pt x="449" y="937"/>
                </a:lnTo>
                <a:lnTo>
                  <a:pt x="448" y="941"/>
                </a:lnTo>
                <a:lnTo>
                  <a:pt x="446" y="943"/>
                </a:lnTo>
                <a:lnTo>
                  <a:pt x="448" y="941"/>
                </a:lnTo>
                <a:lnTo>
                  <a:pt x="449" y="937"/>
                </a:lnTo>
                <a:lnTo>
                  <a:pt x="449" y="937"/>
                </a:lnTo>
                <a:lnTo>
                  <a:pt x="449" y="937"/>
                </a:lnTo>
                <a:close/>
                <a:moveTo>
                  <a:pt x="521" y="958"/>
                </a:moveTo>
                <a:lnTo>
                  <a:pt x="523" y="958"/>
                </a:lnTo>
                <a:lnTo>
                  <a:pt x="524" y="958"/>
                </a:lnTo>
                <a:lnTo>
                  <a:pt x="524" y="958"/>
                </a:lnTo>
                <a:lnTo>
                  <a:pt x="523" y="958"/>
                </a:lnTo>
                <a:lnTo>
                  <a:pt x="521" y="958"/>
                </a:lnTo>
                <a:close/>
                <a:moveTo>
                  <a:pt x="496" y="962"/>
                </a:moveTo>
                <a:lnTo>
                  <a:pt x="495" y="962"/>
                </a:lnTo>
                <a:lnTo>
                  <a:pt x="494" y="962"/>
                </a:lnTo>
                <a:lnTo>
                  <a:pt x="492" y="962"/>
                </a:lnTo>
                <a:lnTo>
                  <a:pt x="489" y="964"/>
                </a:lnTo>
                <a:lnTo>
                  <a:pt x="492" y="962"/>
                </a:lnTo>
                <a:lnTo>
                  <a:pt x="494" y="962"/>
                </a:lnTo>
                <a:lnTo>
                  <a:pt x="499" y="953"/>
                </a:lnTo>
                <a:lnTo>
                  <a:pt x="506" y="946"/>
                </a:lnTo>
                <a:lnTo>
                  <a:pt x="499" y="953"/>
                </a:lnTo>
                <a:lnTo>
                  <a:pt x="494" y="962"/>
                </a:lnTo>
                <a:lnTo>
                  <a:pt x="495" y="962"/>
                </a:lnTo>
                <a:lnTo>
                  <a:pt x="496" y="962"/>
                </a:lnTo>
                <a:close/>
                <a:moveTo>
                  <a:pt x="488" y="915"/>
                </a:moveTo>
                <a:lnTo>
                  <a:pt x="488" y="914"/>
                </a:lnTo>
                <a:lnTo>
                  <a:pt x="489" y="914"/>
                </a:lnTo>
                <a:lnTo>
                  <a:pt x="497" y="911"/>
                </a:lnTo>
                <a:lnTo>
                  <a:pt x="506" y="909"/>
                </a:lnTo>
                <a:lnTo>
                  <a:pt x="497" y="911"/>
                </a:lnTo>
                <a:lnTo>
                  <a:pt x="489" y="914"/>
                </a:lnTo>
                <a:lnTo>
                  <a:pt x="488" y="914"/>
                </a:lnTo>
                <a:lnTo>
                  <a:pt x="488" y="915"/>
                </a:lnTo>
                <a:close/>
                <a:moveTo>
                  <a:pt x="522" y="928"/>
                </a:moveTo>
                <a:lnTo>
                  <a:pt x="513" y="934"/>
                </a:lnTo>
                <a:lnTo>
                  <a:pt x="503" y="938"/>
                </a:lnTo>
                <a:lnTo>
                  <a:pt x="495" y="944"/>
                </a:lnTo>
                <a:lnTo>
                  <a:pt x="486" y="949"/>
                </a:lnTo>
                <a:lnTo>
                  <a:pt x="495" y="944"/>
                </a:lnTo>
                <a:lnTo>
                  <a:pt x="503" y="938"/>
                </a:lnTo>
                <a:lnTo>
                  <a:pt x="513" y="934"/>
                </a:lnTo>
                <a:lnTo>
                  <a:pt x="522" y="928"/>
                </a:lnTo>
                <a:close/>
                <a:moveTo>
                  <a:pt x="476" y="987"/>
                </a:moveTo>
                <a:lnTo>
                  <a:pt x="476" y="987"/>
                </a:lnTo>
                <a:lnTo>
                  <a:pt x="487" y="983"/>
                </a:lnTo>
                <a:lnTo>
                  <a:pt x="497" y="977"/>
                </a:lnTo>
                <a:lnTo>
                  <a:pt x="487" y="983"/>
                </a:lnTo>
                <a:lnTo>
                  <a:pt x="476" y="987"/>
                </a:lnTo>
                <a:close/>
                <a:moveTo>
                  <a:pt x="480" y="993"/>
                </a:moveTo>
                <a:lnTo>
                  <a:pt x="476" y="994"/>
                </a:lnTo>
                <a:lnTo>
                  <a:pt x="474" y="995"/>
                </a:lnTo>
                <a:lnTo>
                  <a:pt x="470" y="997"/>
                </a:lnTo>
                <a:lnTo>
                  <a:pt x="467" y="997"/>
                </a:lnTo>
                <a:lnTo>
                  <a:pt x="470" y="997"/>
                </a:lnTo>
                <a:lnTo>
                  <a:pt x="474" y="995"/>
                </a:lnTo>
                <a:lnTo>
                  <a:pt x="476" y="994"/>
                </a:lnTo>
                <a:lnTo>
                  <a:pt x="480" y="993"/>
                </a:lnTo>
                <a:lnTo>
                  <a:pt x="480" y="993"/>
                </a:lnTo>
                <a:close/>
                <a:moveTo>
                  <a:pt x="465" y="951"/>
                </a:moveTo>
                <a:lnTo>
                  <a:pt x="474" y="944"/>
                </a:lnTo>
                <a:lnTo>
                  <a:pt x="482" y="936"/>
                </a:lnTo>
                <a:lnTo>
                  <a:pt x="474" y="944"/>
                </a:lnTo>
                <a:lnTo>
                  <a:pt x="465" y="951"/>
                </a:lnTo>
                <a:lnTo>
                  <a:pt x="465" y="952"/>
                </a:lnTo>
                <a:lnTo>
                  <a:pt x="463" y="952"/>
                </a:lnTo>
                <a:lnTo>
                  <a:pt x="465" y="952"/>
                </a:lnTo>
                <a:lnTo>
                  <a:pt x="465" y="951"/>
                </a:lnTo>
                <a:close/>
                <a:moveTo>
                  <a:pt x="463" y="913"/>
                </a:moveTo>
                <a:lnTo>
                  <a:pt x="467" y="911"/>
                </a:lnTo>
                <a:lnTo>
                  <a:pt x="470" y="910"/>
                </a:lnTo>
                <a:lnTo>
                  <a:pt x="473" y="908"/>
                </a:lnTo>
                <a:lnTo>
                  <a:pt x="475" y="906"/>
                </a:lnTo>
                <a:lnTo>
                  <a:pt x="476" y="904"/>
                </a:lnTo>
                <a:lnTo>
                  <a:pt x="476" y="903"/>
                </a:lnTo>
                <a:lnTo>
                  <a:pt x="476" y="904"/>
                </a:lnTo>
                <a:lnTo>
                  <a:pt x="475" y="906"/>
                </a:lnTo>
                <a:lnTo>
                  <a:pt x="473" y="908"/>
                </a:lnTo>
                <a:lnTo>
                  <a:pt x="470" y="910"/>
                </a:lnTo>
                <a:lnTo>
                  <a:pt x="467" y="911"/>
                </a:lnTo>
                <a:lnTo>
                  <a:pt x="463" y="913"/>
                </a:lnTo>
                <a:close/>
                <a:moveTo>
                  <a:pt x="460" y="917"/>
                </a:moveTo>
                <a:lnTo>
                  <a:pt x="459" y="916"/>
                </a:lnTo>
                <a:lnTo>
                  <a:pt x="459" y="915"/>
                </a:lnTo>
                <a:lnTo>
                  <a:pt x="460" y="914"/>
                </a:lnTo>
                <a:lnTo>
                  <a:pt x="462" y="914"/>
                </a:lnTo>
                <a:lnTo>
                  <a:pt x="460" y="914"/>
                </a:lnTo>
                <a:lnTo>
                  <a:pt x="459" y="915"/>
                </a:lnTo>
                <a:lnTo>
                  <a:pt x="459" y="916"/>
                </a:lnTo>
                <a:lnTo>
                  <a:pt x="460" y="917"/>
                </a:lnTo>
                <a:close/>
                <a:moveTo>
                  <a:pt x="458" y="957"/>
                </a:moveTo>
                <a:lnTo>
                  <a:pt x="455" y="959"/>
                </a:lnTo>
                <a:lnTo>
                  <a:pt x="454" y="962"/>
                </a:lnTo>
                <a:lnTo>
                  <a:pt x="452" y="960"/>
                </a:lnTo>
                <a:lnTo>
                  <a:pt x="451" y="959"/>
                </a:lnTo>
                <a:lnTo>
                  <a:pt x="452" y="960"/>
                </a:lnTo>
                <a:lnTo>
                  <a:pt x="454" y="962"/>
                </a:lnTo>
                <a:lnTo>
                  <a:pt x="455" y="959"/>
                </a:lnTo>
                <a:lnTo>
                  <a:pt x="458" y="957"/>
                </a:lnTo>
                <a:close/>
                <a:moveTo>
                  <a:pt x="453" y="934"/>
                </a:moveTo>
                <a:lnTo>
                  <a:pt x="453" y="934"/>
                </a:lnTo>
                <a:lnTo>
                  <a:pt x="452" y="936"/>
                </a:lnTo>
                <a:lnTo>
                  <a:pt x="452" y="937"/>
                </a:lnTo>
                <a:lnTo>
                  <a:pt x="452" y="936"/>
                </a:lnTo>
                <a:lnTo>
                  <a:pt x="452" y="934"/>
                </a:lnTo>
                <a:lnTo>
                  <a:pt x="453" y="934"/>
                </a:lnTo>
                <a:lnTo>
                  <a:pt x="453" y="934"/>
                </a:lnTo>
                <a:lnTo>
                  <a:pt x="460" y="929"/>
                </a:lnTo>
                <a:lnTo>
                  <a:pt x="467" y="923"/>
                </a:lnTo>
                <a:lnTo>
                  <a:pt x="460" y="929"/>
                </a:lnTo>
                <a:lnTo>
                  <a:pt x="453" y="934"/>
                </a:lnTo>
                <a:close/>
                <a:moveTo>
                  <a:pt x="507" y="1410"/>
                </a:moveTo>
                <a:lnTo>
                  <a:pt x="507" y="1410"/>
                </a:lnTo>
                <a:lnTo>
                  <a:pt x="506" y="1410"/>
                </a:lnTo>
                <a:lnTo>
                  <a:pt x="506" y="1411"/>
                </a:lnTo>
                <a:lnTo>
                  <a:pt x="506" y="1410"/>
                </a:lnTo>
                <a:lnTo>
                  <a:pt x="507" y="1410"/>
                </a:lnTo>
                <a:close/>
                <a:moveTo>
                  <a:pt x="499" y="1006"/>
                </a:moveTo>
                <a:lnTo>
                  <a:pt x="509" y="998"/>
                </a:lnTo>
                <a:lnTo>
                  <a:pt x="520" y="990"/>
                </a:lnTo>
                <a:lnTo>
                  <a:pt x="520" y="988"/>
                </a:lnTo>
                <a:lnTo>
                  <a:pt x="522" y="987"/>
                </a:lnTo>
                <a:lnTo>
                  <a:pt x="520" y="988"/>
                </a:lnTo>
                <a:lnTo>
                  <a:pt x="520" y="990"/>
                </a:lnTo>
                <a:lnTo>
                  <a:pt x="509" y="998"/>
                </a:lnTo>
                <a:lnTo>
                  <a:pt x="499" y="1006"/>
                </a:lnTo>
                <a:close/>
                <a:moveTo>
                  <a:pt x="524" y="985"/>
                </a:moveTo>
                <a:lnTo>
                  <a:pt x="524" y="984"/>
                </a:lnTo>
                <a:lnTo>
                  <a:pt x="525" y="981"/>
                </a:lnTo>
                <a:lnTo>
                  <a:pt x="524" y="984"/>
                </a:lnTo>
                <a:lnTo>
                  <a:pt x="524" y="985"/>
                </a:lnTo>
                <a:close/>
                <a:moveTo>
                  <a:pt x="465" y="819"/>
                </a:moveTo>
                <a:lnTo>
                  <a:pt x="462" y="815"/>
                </a:lnTo>
                <a:lnTo>
                  <a:pt x="459" y="811"/>
                </a:lnTo>
                <a:lnTo>
                  <a:pt x="458" y="809"/>
                </a:lnTo>
                <a:lnTo>
                  <a:pt x="456" y="808"/>
                </a:lnTo>
                <a:lnTo>
                  <a:pt x="458" y="805"/>
                </a:lnTo>
                <a:lnTo>
                  <a:pt x="461" y="803"/>
                </a:lnTo>
                <a:lnTo>
                  <a:pt x="486" y="796"/>
                </a:lnTo>
                <a:lnTo>
                  <a:pt x="511" y="788"/>
                </a:lnTo>
                <a:lnTo>
                  <a:pt x="536" y="780"/>
                </a:lnTo>
                <a:lnTo>
                  <a:pt x="561" y="770"/>
                </a:lnTo>
                <a:lnTo>
                  <a:pt x="569" y="769"/>
                </a:lnTo>
                <a:lnTo>
                  <a:pt x="576" y="766"/>
                </a:lnTo>
                <a:lnTo>
                  <a:pt x="578" y="766"/>
                </a:lnTo>
                <a:lnTo>
                  <a:pt x="580" y="766"/>
                </a:lnTo>
                <a:lnTo>
                  <a:pt x="583" y="767"/>
                </a:lnTo>
                <a:lnTo>
                  <a:pt x="584" y="769"/>
                </a:lnTo>
                <a:lnTo>
                  <a:pt x="585" y="774"/>
                </a:lnTo>
                <a:lnTo>
                  <a:pt x="589" y="778"/>
                </a:lnTo>
                <a:lnTo>
                  <a:pt x="591" y="782"/>
                </a:lnTo>
                <a:lnTo>
                  <a:pt x="592" y="785"/>
                </a:lnTo>
                <a:lnTo>
                  <a:pt x="591" y="789"/>
                </a:lnTo>
                <a:lnTo>
                  <a:pt x="589" y="792"/>
                </a:lnTo>
                <a:lnTo>
                  <a:pt x="587" y="795"/>
                </a:lnTo>
                <a:lnTo>
                  <a:pt x="586" y="798"/>
                </a:lnTo>
                <a:lnTo>
                  <a:pt x="586" y="801"/>
                </a:lnTo>
                <a:lnTo>
                  <a:pt x="587" y="803"/>
                </a:lnTo>
                <a:lnTo>
                  <a:pt x="589" y="809"/>
                </a:lnTo>
                <a:lnTo>
                  <a:pt x="587" y="813"/>
                </a:lnTo>
                <a:lnTo>
                  <a:pt x="587" y="818"/>
                </a:lnTo>
                <a:lnTo>
                  <a:pt x="585" y="823"/>
                </a:lnTo>
                <a:lnTo>
                  <a:pt x="579" y="830"/>
                </a:lnTo>
                <a:lnTo>
                  <a:pt x="571" y="836"/>
                </a:lnTo>
                <a:lnTo>
                  <a:pt x="555" y="847"/>
                </a:lnTo>
                <a:lnTo>
                  <a:pt x="539" y="859"/>
                </a:lnTo>
                <a:lnTo>
                  <a:pt x="524" y="871"/>
                </a:lnTo>
                <a:lnTo>
                  <a:pt x="509" y="882"/>
                </a:lnTo>
                <a:lnTo>
                  <a:pt x="507" y="885"/>
                </a:lnTo>
                <a:lnTo>
                  <a:pt x="503" y="886"/>
                </a:lnTo>
                <a:lnTo>
                  <a:pt x="504" y="889"/>
                </a:lnTo>
                <a:lnTo>
                  <a:pt x="506" y="894"/>
                </a:lnTo>
                <a:lnTo>
                  <a:pt x="504" y="889"/>
                </a:lnTo>
                <a:lnTo>
                  <a:pt x="503" y="886"/>
                </a:lnTo>
                <a:lnTo>
                  <a:pt x="500" y="880"/>
                </a:lnTo>
                <a:lnTo>
                  <a:pt x="499" y="874"/>
                </a:lnTo>
                <a:lnTo>
                  <a:pt x="493" y="862"/>
                </a:lnTo>
                <a:lnTo>
                  <a:pt x="486" y="852"/>
                </a:lnTo>
                <a:lnTo>
                  <a:pt x="477" y="850"/>
                </a:lnTo>
                <a:lnTo>
                  <a:pt x="469" y="846"/>
                </a:lnTo>
                <a:lnTo>
                  <a:pt x="477" y="850"/>
                </a:lnTo>
                <a:lnTo>
                  <a:pt x="486" y="852"/>
                </a:lnTo>
                <a:lnTo>
                  <a:pt x="486" y="852"/>
                </a:lnTo>
                <a:lnTo>
                  <a:pt x="486" y="851"/>
                </a:lnTo>
                <a:lnTo>
                  <a:pt x="486" y="845"/>
                </a:lnTo>
                <a:lnTo>
                  <a:pt x="486" y="840"/>
                </a:lnTo>
                <a:lnTo>
                  <a:pt x="483" y="836"/>
                </a:lnTo>
                <a:lnTo>
                  <a:pt x="482" y="832"/>
                </a:lnTo>
                <a:lnTo>
                  <a:pt x="479" y="827"/>
                </a:lnTo>
                <a:lnTo>
                  <a:pt x="475" y="825"/>
                </a:lnTo>
                <a:lnTo>
                  <a:pt x="470" y="822"/>
                </a:lnTo>
                <a:lnTo>
                  <a:pt x="465" y="819"/>
                </a:lnTo>
                <a:lnTo>
                  <a:pt x="447" y="817"/>
                </a:lnTo>
                <a:lnTo>
                  <a:pt x="431" y="817"/>
                </a:lnTo>
                <a:lnTo>
                  <a:pt x="447" y="817"/>
                </a:lnTo>
                <a:lnTo>
                  <a:pt x="465" y="819"/>
                </a:lnTo>
                <a:lnTo>
                  <a:pt x="465" y="819"/>
                </a:lnTo>
                <a:close/>
                <a:moveTo>
                  <a:pt x="576" y="688"/>
                </a:moveTo>
                <a:lnTo>
                  <a:pt x="577" y="684"/>
                </a:lnTo>
                <a:lnTo>
                  <a:pt x="578" y="679"/>
                </a:lnTo>
                <a:lnTo>
                  <a:pt x="577" y="684"/>
                </a:lnTo>
                <a:lnTo>
                  <a:pt x="576" y="688"/>
                </a:lnTo>
                <a:lnTo>
                  <a:pt x="575" y="691"/>
                </a:lnTo>
                <a:lnTo>
                  <a:pt x="575" y="694"/>
                </a:lnTo>
                <a:lnTo>
                  <a:pt x="575" y="691"/>
                </a:lnTo>
                <a:lnTo>
                  <a:pt x="576" y="688"/>
                </a:lnTo>
                <a:close/>
                <a:moveTo>
                  <a:pt x="576" y="694"/>
                </a:moveTo>
                <a:lnTo>
                  <a:pt x="576" y="698"/>
                </a:lnTo>
                <a:lnTo>
                  <a:pt x="577" y="700"/>
                </a:lnTo>
                <a:lnTo>
                  <a:pt x="576" y="698"/>
                </a:lnTo>
                <a:lnTo>
                  <a:pt x="576" y="694"/>
                </a:lnTo>
                <a:close/>
                <a:moveTo>
                  <a:pt x="579" y="695"/>
                </a:moveTo>
                <a:lnTo>
                  <a:pt x="579" y="695"/>
                </a:lnTo>
                <a:lnTo>
                  <a:pt x="578" y="697"/>
                </a:lnTo>
                <a:lnTo>
                  <a:pt x="577" y="699"/>
                </a:lnTo>
                <a:lnTo>
                  <a:pt x="577" y="701"/>
                </a:lnTo>
                <a:lnTo>
                  <a:pt x="577" y="709"/>
                </a:lnTo>
                <a:lnTo>
                  <a:pt x="576" y="719"/>
                </a:lnTo>
                <a:lnTo>
                  <a:pt x="576" y="728"/>
                </a:lnTo>
                <a:lnTo>
                  <a:pt x="575" y="736"/>
                </a:lnTo>
                <a:lnTo>
                  <a:pt x="576" y="728"/>
                </a:lnTo>
                <a:lnTo>
                  <a:pt x="576" y="719"/>
                </a:lnTo>
                <a:lnTo>
                  <a:pt x="577" y="709"/>
                </a:lnTo>
                <a:lnTo>
                  <a:pt x="577" y="701"/>
                </a:lnTo>
                <a:lnTo>
                  <a:pt x="577" y="699"/>
                </a:lnTo>
                <a:lnTo>
                  <a:pt x="578" y="697"/>
                </a:lnTo>
                <a:lnTo>
                  <a:pt x="579" y="695"/>
                </a:lnTo>
                <a:lnTo>
                  <a:pt x="579" y="695"/>
                </a:lnTo>
                <a:lnTo>
                  <a:pt x="579" y="695"/>
                </a:lnTo>
                <a:close/>
                <a:moveTo>
                  <a:pt x="597" y="631"/>
                </a:moveTo>
                <a:lnTo>
                  <a:pt x="597" y="632"/>
                </a:lnTo>
                <a:lnTo>
                  <a:pt x="598" y="632"/>
                </a:lnTo>
                <a:lnTo>
                  <a:pt x="597" y="632"/>
                </a:lnTo>
                <a:lnTo>
                  <a:pt x="597" y="631"/>
                </a:lnTo>
                <a:lnTo>
                  <a:pt x="596" y="632"/>
                </a:lnTo>
                <a:lnTo>
                  <a:pt x="594" y="634"/>
                </a:lnTo>
                <a:lnTo>
                  <a:pt x="596" y="632"/>
                </a:lnTo>
                <a:lnTo>
                  <a:pt x="597" y="631"/>
                </a:lnTo>
                <a:close/>
                <a:moveTo>
                  <a:pt x="611" y="622"/>
                </a:moveTo>
                <a:lnTo>
                  <a:pt x="611" y="625"/>
                </a:lnTo>
                <a:lnTo>
                  <a:pt x="610" y="629"/>
                </a:lnTo>
                <a:lnTo>
                  <a:pt x="611" y="625"/>
                </a:lnTo>
                <a:lnTo>
                  <a:pt x="611" y="622"/>
                </a:lnTo>
                <a:lnTo>
                  <a:pt x="611" y="622"/>
                </a:lnTo>
                <a:close/>
                <a:moveTo>
                  <a:pt x="618" y="606"/>
                </a:moveTo>
                <a:lnTo>
                  <a:pt x="618" y="604"/>
                </a:lnTo>
                <a:lnTo>
                  <a:pt x="619" y="603"/>
                </a:lnTo>
                <a:lnTo>
                  <a:pt x="618" y="604"/>
                </a:lnTo>
                <a:lnTo>
                  <a:pt x="618" y="606"/>
                </a:lnTo>
                <a:lnTo>
                  <a:pt x="614" y="610"/>
                </a:lnTo>
                <a:lnTo>
                  <a:pt x="611" y="613"/>
                </a:lnTo>
                <a:lnTo>
                  <a:pt x="614" y="610"/>
                </a:lnTo>
                <a:lnTo>
                  <a:pt x="618" y="606"/>
                </a:lnTo>
                <a:lnTo>
                  <a:pt x="618" y="606"/>
                </a:lnTo>
                <a:close/>
                <a:moveTo>
                  <a:pt x="626" y="600"/>
                </a:moveTo>
                <a:lnTo>
                  <a:pt x="627" y="601"/>
                </a:lnTo>
                <a:lnTo>
                  <a:pt x="628" y="602"/>
                </a:lnTo>
                <a:lnTo>
                  <a:pt x="627" y="601"/>
                </a:lnTo>
                <a:lnTo>
                  <a:pt x="626" y="600"/>
                </a:lnTo>
                <a:lnTo>
                  <a:pt x="625" y="600"/>
                </a:lnTo>
                <a:lnTo>
                  <a:pt x="622" y="600"/>
                </a:lnTo>
                <a:lnTo>
                  <a:pt x="625" y="600"/>
                </a:lnTo>
                <a:lnTo>
                  <a:pt x="626" y="600"/>
                </a:lnTo>
                <a:close/>
                <a:moveTo>
                  <a:pt x="627" y="583"/>
                </a:moveTo>
                <a:lnTo>
                  <a:pt x="626" y="583"/>
                </a:lnTo>
                <a:lnTo>
                  <a:pt x="626" y="585"/>
                </a:lnTo>
                <a:lnTo>
                  <a:pt x="626" y="583"/>
                </a:lnTo>
                <a:lnTo>
                  <a:pt x="627" y="583"/>
                </a:lnTo>
                <a:close/>
                <a:moveTo>
                  <a:pt x="631" y="582"/>
                </a:moveTo>
                <a:lnTo>
                  <a:pt x="629" y="579"/>
                </a:lnTo>
                <a:lnTo>
                  <a:pt x="629" y="574"/>
                </a:lnTo>
                <a:lnTo>
                  <a:pt x="629" y="579"/>
                </a:lnTo>
                <a:lnTo>
                  <a:pt x="631" y="582"/>
                </a:lnTo>
                <a:close/>
                <a:moveTo>
                  <a:pt x="631" y="566"/>
                </a:moveTo>
                <a:lnTo>
                  <a:pt x="629" y="569"/>
                </a:lnTo>
                <a:lnTo>
                  <a:pt x="629" y="574"/>
                </a:lnTo>
                <a:lnTo>
                  <a:pt x="629" y="569"/>
                </a:lnTo>
                <a:lnTo>
                  <a:pt x="631" y="566"/>
                </a:lnTo>
                <a:close/>
                <a:moveTo>
                  <a:pt x="632" y="586"/>
                </a:moveTo>
                <a:lnTo>
                  <a:pt x="634" y="587"/>
                </a:lnTo>
                <a:lnTo>
                  <a:pt x="637" y="587"/>
                </a:lnTo>
                <a:lnTo>
                  <a:pt x="634" y="587"/>
                </a:lnTo>
                <a:lnTo>
                  <a:pt x="632" y="586"/>
                </a:lnTo>
                <a:lnTo>
                  <a:pt x="632" y="585"/>
                </a:lnTo>
                <a:lnTo>
                  <a:pt x="631" y="583"/>
                </a:lnTo>
                <a:lnTo>
                  <a:pt x="632" y="585"/>
                </a:lnTo>
                <a:lnTo>
                  <a:pt x="632" y="586"/>
                </a:lnTo>
                <a:close/>
                <a:moveTo>
                  <a:pt x="640" y="846"/>
                </a:moveTo>
                <a:lnTo>
                  <a:pt x="644" y="847"/>
                </a:lnTo>
                <a:lnTo>
                  <a:pt x="646" y="847"/>
                </a:lnTo>
                <a:lnTo>
                  <a:pt x="644" y="847"/>
                </a:lnTo>
                <a:lnTo>
                  <a:pt x="640" y="846"/>
                </a:lnTo>
                <a:lnTo>
                  <a:pt x="640" y="846"/>
                </a:lnTo>
                <a:close/>
                <a:moveTo>
                  <a:pt x="646" y="671"/>
                </a:moveTo>
                <a:lnTo>
                  <a:pt x="647" y="672"/>
                </a:lnTo>
                <a:lnTo>
                  <a:pt x="647" y="672"/>
                </a:lnTo>
                <a:lnTo>
                  <a:pt x="647" y="672"/>
                </a:lnTo>
                <a:lnTo>
                  <a:pt x="646" y="671"/>
                </a:lnTo>
                <a:close/>
                <a:moveTo>
                  <a:pt x="649" y="697"/>
                </a:moveTo>
                <a:lnTo>
                  <a:pt x="648" y="699"/>
                </a:lnTo>
                <a:lnTo>
                  <a:pt x="647" y="702"/>
                </a:lnTo>
                <a:lnTo>
                  <a:pt x="648" y="699"/>
                </a:lnTo>
                <a:lnTo>
                  <a:pt x="649" y="697"/>
                </a:lnTo>
                <a:close/>
                <a:moveTo>
                  <a:pt x="647" y="672"/>
                </a:moveTo>
                <a:lnTo>
                  <a:pt x="648" y="674"/>
                </a:lnTo>
                <a:lnTo>
                  <a:pt x="648" y="678"/>
                </a:lnTo>
                <a:lnTo>
                  <a:pt x="648" y="678"/>
                </a:lnTo>
                <a:lnTo>
                  <a:pt x="648" y="677"/>
                </a:lnTo>
                <a:lnTo>
                  <a:pt x="648" y="678"/>
                </a:lnTo>
                <a:lnTo>
                  <a:pt x="648" y="674"/>
                </a:lnTo>
                <a:lnTo>
                  <a:pt x="647" y="672"/>
                </a:lnTo>
                <a:close/>
                <a:moveTo>
                  <a:pt x="651" y="581"/>
                </a:moveTo>
                <a:lnTo>
                  <a:pt x="647" y="581"/>
                </a:lnTo>
                <a:lnTo>
                  <a:pt x="645" y="582"/>
                </a:lnTo>
                <a:lnTo>
                  <a:pt x="647" y="581"/>
                </a:lnTo>
                <a:lnTo>
                  <a:pt x="651" y="581"/>
                </a:lnTo>
                <a:close/>
                <a:moveTo>
                  <a:pt x="652" y="579"/>
                </a:moveTo>
                <a:lnTo>
                  <a:pt x="652" y="579"/>
                </a:lnTo>
                <a:lnTo>
                  <a:pt x="652" y="579"/>
                </a:lnTo>
                <a:lnTo>
                  <a:pt x="652" y="580"/>
                </a:lnTo>
                <a:lnTo>
                  <a:pt x="651" y="580"/>
                </a:lnTo>
                <a:lnTo>
                  <a:pt x="652" y="580"/>
                </a:lnTo>
                <a:lnTo>
                  <a:pt x="652" y="579"/>
                </a:lnTo>
                <a:lnTo>
                  <a:pt x="652" y="579"/>
                </a:lnTo>
                <a:lnTo>
                  <a:pt x="652" y="579"/>
                </a:lnTo>
                <a:close/>
                <a:moveTo>
                  <a:pt x="652" y="578"/>
                </a:moveTo>
                <a:lnTo>
                  <a:pt x="652" y="578"/>
                </a:lnTo>
                <a:lnTo>
                  <a:pt x="652" y="578"/>
                </a:lnTo>
                <a:lnTo>
                  <a:pt x="652" y="578"/>
                </a:lnTo>
                <a:lnTo>
                  <a:pt x="652" y="578"/>
                </a:lnTo>
                <a:lnTo>
                  <a:pt x="652" y="578"/>
                </a:lnTo>
                <a:close/>
                <a:moveTo>
                  <a:pt x="652" y="564"/>
                </a:moveTo>
                <a:lnTo>
                  <a:pt x="652" y="562"/>
                </a:lnTo>
                <a:lnTo>
                  <a:pt x="651" y="561"/>
                </a:lnTo>
                <a:lnTo>
                  <a:pt x="652" y="562"/>
                </a:lnTo>
                <a:lnTo>
                  <a:pt x="652" y="564"/>
                </a:lnTo>
                <a:close/>
                <a:moveTo>
                  <a:pt x="662" y="685"/>
                </a:moveTo>
                <a:lnTo>
                  <a:pt x="661" y="688"/>
                </a:lnTo>
                <a:lnTo>
                  <a:pt x="660" y="691"/>
                </a:lnTo>
                <a:lnTo>
                  <a:pt x="660" y="691"/>
                </a:lnTo>
                <a:lnTo>
                  <a:pt x="661" y="688"/>
                </a:lnTo>
                <a:lnTo>
                  <a:pt x="662" y="685"/>
                </a:lnTo>
                <a:close/>
                <a:moveTo>
                  <a:pt x="661" y="578"/>
                </a:moveTo>
                <a:lnTo>
                  <a:pt x="661" y="578"/>
                </a:lnTo>
                <a:lnTo>
                  <a:pt x="661" y="578"/>
                </a:lnTo>
                <a:lnTo>
                  <a:pt x="661" y="578"/>
                </a:lnTo>
                <a:lnTo>
                  <a:pt x="661" y="578"/>
                </a:lnTo>
                <a:close/>
                <a:moveTo>
                  <a:pt x="660" y="557"/>
                </a:moveTo>
                <a:lnTo>
                  <a:pt x="660" y="557"/>
                </a:lnTo>
                <a:lnTo>
                  <a:pt x="661" y="557"/>
                </a:lnTo>
                <a:lnTo>
                  <a:pt x="662" y="558"/>
                </a:lnTo>
                <a:lnTo>
                  <a:pt x="661" y="557"/>
                </a:lnTo>
                <a:lnTo>
                  <a:pt x="660" y="557"/>
                </a:lnTo>
                <a:lnTo>
                  <a:pt x="660" y="557"/>
                </a:lnTo>
                <a:lnTo>
                  <a:pt x="660" y="553"/>
                </a:lnTo>
                <a:lnTo>
                  <a:pt x="660" y="551"/>
                </a:lnTo>
                <a:lnTo>
                  <a:pt x="660" y="553"/>
                </a:lnTo>
                <a:lnTo>
                  <a:pt x="660" y="557"/>
                </a:lnTo>
                <a:close/>
                <a:moveTo>
                  <a:pt x="689" y="627"/>
                </a:moveTo>
                <a:lnTo>
                  <a:pt x="689" y="628"/>
                </a:lnTo>
                <a:lnTo>
                  <a:pt x="689" y="629"/>
                </a:lnTo>
                <a:lnTo>
                  <a:pt x="689" y="629"/>
                </a:lnTo>
                <a:lnTo>
                  <a:pt x="688" y="630"/>
                </a:lnTo>
                <a:lnTo>
                  <a:pt x="687" y="630"/>
                </a:lnTo>
                <a:lnTo>
                  <a:pt x="688" y="630"/>
                </a:lnTo>
                <a:lnTo>
                  <a:pt x="689" y="629"/>
                </a:lnTo>
                <a:lnTo>
                  <a:pt x="689" y="628"/>
                </a:lnTo>
                <a:lnTo>
                  <a:pt x="689" y="627"/>
                </a:lnTo>
                <a:close/>
                <a:moveTo>
                  <a:pt x="694" y="534"/>
                </a:moveTo>
                <a:lnTo>
                  <a:pt x="693" y="534"/>
                </a:lnTo>
                <a:lnTo>
                  <a:pt x="693" y="536"/>
                </a:lnTo>
                <a:lnTo>
                  <a:pt x="693" y="534"/>
                </a:lnTo>
                <a:lnTo>
                  <a:pt x="694" y="534"/>
                </a:lnTo>
                <a:close/>
                <a:moveTo>
                  <a:pt x="701" y="586"/>
                </a:moveTo>
                <a:lnTo>
                  <a:pt x="701" y="586"/>
                </a:lnTo>
                <a:lnTo>
                  <a:pt x="700" y="586"/>
                </a:lnTo>
                <a:lnTo>
                  <a:pt x="701" y="586"/>
                </a:lnTo>
                <a:lnTo>
                  <a:pt x="701" y="586"/>
                </a:lnTo>
                <a:close/>
                <a:moveTo>
                  <a:pt x="721" y="1165"/>
                </a:moveTo>
                <a:lnTo>
                  <a:pt x="721" y="1166"/>
                </a:lnTo>
                <a:lnTo>
                  <a:pt x="721" y="1167"/>
                </a:lnTo>
                <a:lnTo>
                  <a:pt x="721" y="1166"/>
                </a:lnTo>
                <a:lnTo>
                  <a:pt x="721" y="1165"/>
                </a:lnTo>
                <a:lnTo>
                  <a:pt x="718" y="1163"/>
                </a:lnTo>
                <a:lnTo>
                  <a:pt x="716" y="1161"/>
                </a:lnTo>
                <a:lnTo>
                  <a:pt x="716" y="1160"/>
                </a:lnTo>
                <a:lnTo>
                  <a:pt x="716" y="1159"/>
                </a:lnTo>
                <a:lnTo>
                  <a:pt x="716" y="1160"/>
                </a:lnTo>
                <a:lnTo>
                  <a:pt x="716" y="1161"/>
                </a:lnTo>
                <a:lnTo>
                  <a:pt x="718" y="1163"/>
                </a:lnTo>
                <a:lnTo>
                  <a:pt x="721" y="1165"/>
                </a:lnTo>
                <a:close/>
                <a:moveTo>
                  <a:pt x="724" y="1062"/>
                </a:moveTo>
                <a:lnTo>
                  <a:pt x="720" y="1062"/>
                </a:lnTo>
                <a:lnTo>
                  <a:pt x="716" y="1063"/>
                </a:lnTo>
                <a:lnTo>
                  <a:pt x="720" y="1062"/>
                </a:lnTo>
                <a:lnTo>
                  <a:pt x="724" y="1062"/>
                </a:lnTo>
                <a:close/>
                <a:moveTo>
                  <a:pt x="720" y="548"/>
                </a:moveTo>
                <a:lnTo>
                  <a:pt x="720" y="548"/>
                </a:lnTo>
                <a:lnTo>
                  <a:pt x="713" y="550"/>
                </a:lnTo>
                <a:lnTo>
                  <a:pt x="706" y="551"/>
                </a:lnTo>
                <a:lnTo>
                  <a:pt x="713" y="550"/>
                </a:lnTo>
                <a:lnTo>
                  <a:pt x="720" y="548"/>
                </a:lnTo>
                <a:close/>
                <a:moveTo>
                  <a:pt x="759" y="994"/>
                </a:moveTo>
                <a:lnTo>
                  <a:pt x="757" y="995"/>
                </a:lnTo>
                <a:lnTo>
                  <a:pt x="756" y="998"/>
                </a:lnTo>
                <a:lnTo>
                  <a:pt x="757" y="995"/>
                </a:lnTo>
                <a:lnTo>
                  <a:pt x="759" y="994"/>
                </a:lnTo>
                <a:close/>
                <a:moveTo>
                  <a:pt x="225" y="1356"/>
                </a:moveTo>
                <a:lnTo>
                  <a:pt x="225" y="1356"/>
                </a:lnTo>
                <a:lnTo>
                  <a:pt x="230" y="1344"/>
                </a:lnTo>
                <a:lnTo>
                  <a:pt x="234" y="1334"/>
                </a:lnTo>
                <a:lnTo>
                  <a:pt x="239" y="1323"/>
                </a:lnTo>
                <a:lnTo>
                  <a:pt x="244" y="1313"/>
                </a:lnTo>
                <a:lnTo>
                  <a:pt x="239" y="1323"/>
                </a:lnTo>
                <a:lnTo>
                  <a:pt x="234" y="1334"/>
                </a:lnTo>
                <a:lnTo>
                  <a:pt x="230" y="1344"/>
                </a:lnTo>
                <a:lnTo>
                  <a:pt x="225" y="1356"/>
                </a:lnTo>
                <a:close/>
                <a:moveTo>
                  <a:pt x="225" y="1452"/>
                </a:moveTo>
                <a:lnTo>
                  <a:pt x="228" y="1445"/>
                </a:lnTo>
                <a:lnTo>
                  <a:pt x="230" y="1436"/>
                </a:lnTo>
                <a:lnTo>
                  <a:pt x="228" y="1445"/>
                </a:lnTo>
                <a:lnTo>
                  <a:pt x="225" y="1452"/>
                </a:lnTo>
                <a:close/>
                <a:moveTo>
                  <a:pt x="202" y="1465"/>
                </a:moveTo>
                <a:lnTo>
                  <a:pt x="202" y="1463"/>
                </a:lnTo>
                <a:lnTo>
                  <a:pt x="202" y="1461"/>
                </a:lnTo>
                <a:lnTo>
                  <a:pt x="202" y="1461"/>
                </a:lnTo>
                <a:lnTo>
                  <a:pt x="202" y="1463"/>
                </a:lnTo>
                <a:lnTo>
                  <a:pt x="202" y="1465"/>
                </a:lnTo>
                <a:close/>
                <a:moveTo>
                  <a:pt x="198" y="1509"/>
                </a:moveTo>
                <a:lnTo>
                  <a:pt x="198" y="1508"/>
                </a:lnTo>
                <a:lnTo>
                  <a:pt x="198" y="1505"/>
                </a:lnTo>
                <a:lnTo>
                  <a:pt x="198" y="1504"/>
                </a:lnTo>
                <a:lnTo>
                  <a:pt x="198" y="1502"/>
                </a:lnTo>
                <a:lnTo>
                  <a:pt x="198" y="1504"/>
                </a:lnTo>
                <a:lnTo>
                  <a:pt x="198" y="1505"/>
                </a:lnTo>
                <a:lnTo>
                  <a:pt x="198" y="1508"/>
                </a:lnTo>
                <a:lnTo>
                  <a:pt x="198" y="1509"/>
                </a:lnTo>
                <a:close/>
                <a:moveTo>
                  <a:pt x="197" y="1495"/>
                </a:moveTo>
                <a:lnTo>
                  <a:pt x="196" y="1496"/>
                </a:lnTo>
                <a:lnTo>
                  <a:pt x="194" y="1496"/>
                </a:lnTo>
                <a:lnTo>
                  <a:pt x="196" y="1496"/>
                </a:lnTo>
                <a:lnTo>
                  <a:pt x="197" y="1495"/>
                </a:lnTo>
                <a:lnTo>
                  <a:pt x="197" y="1491"/>
                </a:lnTo>
                <a:lnTo>
                  <a:pt x="197" y="1488"/>
                </a:lnTo>
                <a:lnTo>
                  <a:pt x="197" y="1491"/>
                </a:lnTo>
                <a:lnTo>
                  <a:pt x="197" y="1495"/>
                </a:lnTo>
                <a:close/>
                <a:moveTo>
                  <a:pt x="194" y="1500"/>
                </a:moveTo>
                <a:lnTo>
                  <a:pt x="194" y="1498"/>
                </a:lnTo>
                <a:lnTo>
                  <a:pt x="194" y="1497"/>
                </a:lnTo>
                <a:lnTo>
                  <a:pt x="194" y="1497"/>
                </a:lnTo>
                <a:lnTo>
                  <a:pt x="194" y="1496"/>
                </a:lnTo>
                <a:lnTo>
                  <a:pt x="194" y="1497"/>
                </a:lnTo>
                <a:lnTo>
                  <a:pt x="194" y="1497"/>
                </a:lnTo>
                <a:lnTo>
                  <a:pt x="194" y="1498"/>
                </a:lnTo>
                <a:lnTo>
                  <a:pt x="194" y="1500"/>
                </a:lnTo>
                <a:close/>
                <a:moveTo>
                  <a:pt x="240" y="805"/>
                </a:moveTo>
                <a:lnTo>
                  <a:pt x="240" y="806"/>
                </a:lnTo>
                <a:lnTo>
                  <a:pt x="240" y="808"/>
                </a:lnTo>
                <a:lnTo>
                  <a:pt x="240" y="806"/>
                </a:lnTo>
                <a:lnTo>
                  <a:pt x="240" y="805"/>
                </a:lnTo>
                <a:close/>
                <a:moveTo>
                  <a:pt x="237" y="773"/>
                </a:moveTo>
                <a:lnTo>
                  <a:pt x="237" y="770"/>
                </a:lnTo>
                <a:lnTo>
                  <a:pt x="237" y="769"/>
                </a:lnTo>
                <a:lnTo>
                  <a:pt x="237" y="768"/>
                </a:lnTo>
                <a:lnTo>
                  <a:pt x="238" y="768"/>
                </a:lnTo>
                <a:lnTo>
                  <a:pt x="238" y="769"/>
                </a:lnTo>
                <a:lnTo>
                  <a:pt x="239" y="771"/>
                </a:lnTo>
                <a:lnTo>
                  <a:pt x="238" y="771"/>
                </a:lnTo>
                <a:lnTo>
                  <a:pt x="237" y="773"/>
                </a:lnTo>
                <a:close/>
                <a:moveTo>
                  <a:pt x="211" y="701"/>
                </a:moveTo>
                <a:lnTo>
                  <a:pt x="211" y="700"/>
                </a:lnTo>
                <a:lnTo>
                  <a:pt x="211" y="700"/>
                </a:lnTo>
                <a:lnTo>
                  <a:pt x="211" y="700"/>
                </a:lnTo>
                <a:lnTo>
                  <a:pt x="211" y="701"/>
                </a:lnTo>
                <a:close/>
                <a:moveTo>
                  <a:pt x="199" y="560"/>
                </a:moveTo>
                <a:lnTo>
                  <a:pt x="198" y="559"/>
                </a:lnTo>
                <a:lnTo>
                  <a:pt x="198" y="559"/>
                </a:lnTo>
                <a:lnTo>
                  <a:pt x="198" y="559"/>
                </a:lnTo>
                <a:lnTo>
                  <a:pt x="199" y="560"/>
                </a:lnTo>
                <a:lnTo>
                  <a:pt x="199" y="560"/>
                </a:lnTo>
                <a:close/>
                <a:moveTo>
                  <a:pt x="187" y="403"/>
                </a:moveTo>
                <a:lnTo>
                  <a:pt x="187" y="403"/>
                </a:lnTo>
                <a:lnTo>
                  <a:pt x="186" y="401"/>
                </a:lnTo>
                <a:lnTo>
                  <a:pt x="187" y="403"/>
                </a:lnTo>
                <a:lnTo>
                  <a:pt x="187" y="403"/>
                </a:lnTo>
                <a:close/>
                <a:moveTo>
                  <a:pt x="164" y="292"/>
                </a:moveTo>
                <a:lnTo>
                  <a:pt x="164" y="292"/>
                </a:lnTo>
                <a:lnTo>
                  <a:pt x="168" y="286"/>
                </a:lnTo>
                <a:lnTo>
                  <a:pt x="168" y="281"/>
                </a:lnTo>
                <a:lnTo>
                  <a:pt x="168" y="286"/>
                </a:lnTo>
                <a:lnTo>
                  <a:pt x="164" y="292"/>
                </a:lnTo>
                <a:close/>
                <a:moveTo>
                  <a:pt x="157" y="449"/>
                </a:moveTo>
                <a:lnTo>
                  <a:pt x="156" y="449"/>
                </a:lnTo>
                <a:lnTo>
                  <a:pt x="155" y="448"/>
                </a:lnTo>
                <a:lnTo>
                  <a:pt x="156" y="449"/>
                </a:lnTo>
                <a:lnTo>
                  <a:pt x="157" y="449"/>
                </a:lnTo>
                <a:lnTo>
                  <a:pt x="157" y="453"/>
                </a:lnTo>
                <a:lnTo>
                  <a:pt x="158" y="455"/>
                </a:lnTo>
                <a:lnTo>
                  <a:pt x="157" y="453"/>
                </a:lnTo>
                <a:lnTo>
                  <a:pt x="157" y="449"/>
                </a:lnTo>
                <a:close/>
                <a:moveTo>
                  <a:pt x="115" y="287"/>
                </a:moveTo>
                <a:lnTo>
                  <a:pt x="116" y="285"/>
                </a:lnTo>
                <a:lnTo>
                  <a:pt x="118" y="282"/>
                </a:lnTo>
                <a:lnTo>
                  <a:pt x="116" y="285"/>
                </a:lnTo>
                <a:lnTo>
                  <a:pt x="115" y="287"/>
                </a:lnTo>
                <a:close/>
                <a:moveTo>
                  <a:pt x="108" y="207"/>
                </a:moveTo>
                <a:lnTo>
                  <a:pt x="99" y="215"/>
                </a:lnTo>
                <a:lnTo>
                  <a:pt x="89" y="222"/>
                </a:lnTo>
                <a:lnTo>
                  <a:pt x="99" y="215"/>
                </a:lnTo>
                <a:lnTo>
                  <a:pt x="108" y="207"/>
                </a:lnTo>
                <a:lnTo>
                  <a:pt x="109" y="207"/>
                </a:lnTo>
                <a:lnTo>
                  <a:pt x="109" y="205"/>
                </a:lnTo>
                <a:lnTo>
                  <a:pt x="109" y="207"/>
                </a:lnTo>
                <a:lnTo>
                  <a:pt x="108" y="207"/>
                </a:lnTo>
                <a:close/>
                <a:moveTo>
                  <a:pt x="81" y="373"/>
                </a:moveTo>
                <a:lnTo>
                  <a:pt x="82" y="375"/>
                </a:lnTo>
                <a:lnTo>
                  <a:pt x="82" y="375"/>
                </a:lnTo>
                <a:lnTo>
                  <a:pt x="82" y="375"/>
                </a:lnTo>
                <a:lnTo>
                  <a:pt x="81" y="373"/>
                </a:lnTo>
                <a:close/>
                <a:moveTo>
                  <a:pt x="75" y="76"/>
                </a:moveTo>
                <a:lnTo>
                  <a:pt x="73" y="79"/>
                </a:lnTo>
                <a:lnTo>
                  <a:pt x="69" y="83"/>
                </a:lnTo>
                <a:lnTo>
                  <a:pt x="67" y="83"/>
                </a:lnTo>
                <a:lnTo>
                  <a:pt x="67" y="82"/>
                </a:lnTo>
                <a:lnTo>
                  <a:pt x="66" y="79"/>
                </a:lnTo>
                <a:lnTo>
                  <a:pt x="66" y="78"/>
                </a:lnTo>
                <a:lnTo>
                  <a:pt x="67" y="76"/>
                </a:lnTo>
                <a:lnTo>
                  <a:pt x="69" y="74"/>
                </a:lnTo>
                <a:lnTo>
                  <a:pt x="72" y="74"/>
                </a:lnTo>
                <a:lnTo>
                  <a:pt x="74" y="72"/>
                </a:lnTo>
                <a:lnTo>
                  <a:pt x="75" y="72"/>
                </a:lnTo>
                <a:lnTo>
                  <a:pt x="76" y="72"/>
                </a:lnTo>
                <a:lnTo>
                  <a:pt x="76" y="74"/>
                </a:lnTo>
                <a:lnTo>
                  <a:pt x="75" y="76"/>
                </a:lnTo>
                <a:close/>
                <a:moveTo>
                  <a:pt x="54" y="92"/>
                </a:moveTo>
                <a:lnTo>
                  <a:pt x="55" y="88"/>
                </a:lnTo>
                <a:lnTo>
                  <a:pt x="58" y="85"/>
                </a:lnTo>
                <a:lnTo>
                  <a:pt x="60" y="82"/>
                </a:lnTo>
                <a:lnTo>
                  <a:pt x="64" y="79"/>
                </a:lnTo>
                <a:lnTo>
                  <a:pt x="64" y="84"/>
                </a:lnTo>
                <a:lnTo>
                  <a:pt x="62" y="88"/>
                </a:lnTo>
                <a:lnTo>
                  <a:pt x="59" y="90"/>
                </a:lnTo>
                <a:lnTo>
                  <a:pt x="54" y="92"/>
                </a:lnTo>
                <a:close/>
                <a:moveTo>
                  <a:pt x="71" y="428"/>
                </a:moveTo>
                <a:lnTo>
                  <a:pt x="68" y="428"/>
                </a:lnTo>
                <a:lnTo>
                  <a:pt x="66" y="428"/>
                </a:lnTo>
                <a:lnTo>
                  <a:pt x="68" y="428"/>
                </a:lnTo>
                <a:lnTo>
                  <a:pt x="71" y="428"/>
                </a:lnTo>
                <a:lnTo>
                  <a:pt x="72" y="432"/>
                </a:lnTo>
                <a:lnTo>
                  <a:pt x="74" y="434"/>
                </a:lnTo>
                <a:lnTo>
                  <a:pt x="72" y="432"/>
                </a:lnTo>
                <a:lnTo>
                  <a:pt x="71" y="428"/>
                </a:lnTo>
                <a:close/>
                <a:moveTo>
                  <a:pt x="66" y="419"/>
                </a:moveTo>
                <a:lnTo>
                  <a:pt x="66" y="418"/>
                </a:lnTo>
                <a:lnTo>
                  <a:pt x="66" y="417"/>
                </a:lnTo>
                <a:lnTo>
                  <a:pt x="66" y="418"/>
                </a:lnTo>
                <a:lnTo>
                  <a:pt x="66" y="419"/>
                </a:lnTo>
                <a:lnTo>
                  <a:pt x="66" y="419"/>
                </a:lnTo>
                <a:close/>
                <a:moveTo>
                  <a:pt x="282" y="125"/>
                </a:moveTo>
                <a:lnTo>
                  <a:pt x="285" y="126"/>
                </a:lnTo>
                <a:lnTo>
                  <a:pt x="287" y="128"/>
                </a:lnTo>
                <a:lnTo>
                  <a:pt x="287" y="130"/>
                </a:lnTo>
                <a:lnTo>
                  <a:pt x="287" y="132"/>
                </a:lnTo>
                <a:lnTo>
                  <a:pt x="286" y="132"/>
                </a:lnTo>
                <a:lnTo>
                  <a:pt x="285" y="133"/>
                </a:lnTo>
                <a:lnTo>
                  <a:pt x="283" y="133"/>
                </a:lnTo>
                <a:lnTo>
                  <a:pt x="281" y="132"/>
                </a:lnTo>
                <a:lnTo>
                  <a:pt x="281" y="131"/>
                </a:lnTo>
                <a:lnTo>
                  <a:pt x="281" y="130"/>
                </a:lnTo>
                <a:lnTo>
                  <a:pt x="281" y="127"/>
                </a:lnTo>
                <a:lnTo>
                  <a:pt x="282" y="125"/>
                </a:lnTo>
                <a:close/>
                <a:moveTo>
                  <a:pt x="288" y="133"/>
                </a:moveTo>
                <a:lnTo>
                  <a:pt x="290" y="135"/>
                </a:lnTo>
                <a:lnTo>
                  <a:pt x="292" y="138"/>
                </a:lnTo>
                <a:lnTo>
                  <a:pt x="293" y="141"/>
                </a:lnTo>
                <a:lnTo>
                  <a:pt x="293" y="145"/>
                </a:lnTo>
                <a:lnTo>
                  <a:pt x="293" y="141"/>
                </a:lnTo>
                <a:lnTo>
                  <a:pt x="292" y="138"/>
                </a:lnTo>
                <a:lnTo>
                  <a:pt x="290" y="135"/>
                </a:lnTo>
                <a:lnTo>
                  <a:pt x="288" y="133"/>
                </a:lnTo>
                <a:close/>
                <a:moveTo>
                  <a:pt x="331" y="97"/>
                </a:moveTo>
                <a:lnTo>
                  <a:pt x="331" y="96"/>
                </a:lnTo>
                <a:lnTo>
                  <a:pt x="332" y="96"/>
                </a:lnTo>
                <a:lnTo>
                  <a:pt x="331" y="96"/>
                </a:lnTo>
                <a:lnTo>
                  <a:pt x="331" y="97"/>
                </a:lnTo>
                <a:lnTo>
                  <a:pt x="331" y="97"/>
                </a:lnTo>
                <a:lnTo>
                  <a:pt x="331" y="97"/>
                </a:lnTo>
                <a:lnTo>
                  <a:pt x="331" y="97"/>
                </a:lnTo>
                <a:lnTo>
                  <a:pt x="331" y="97"/>
                </a:lnTo>
                <a:close/>
                <a:moveTo>
                  <a:pt x="979" y="447"/>
                </a:moveTo>
                <a:lnTo>
                  <a:pt x="978" y="447"/>
                </a:lnTo>
                <a:lnTo>
                  <a:pt x="978" y="448"/>
                </a:lnTo>
                <a:lnTo>
                  <a:pt x="978" y="447"/>
                </a:lnTo>
                <a:lnTo>
                  <a:pt x="979" y="447"/>
                </a:lnTo>
                <a:close/>
                <a:moveTo>
                  <a:pt x="1312" y="1044"/>
                </a:moveTo>
                <a:lnTo>
                  <a:pt x="1312" y="1043"/>
                </a:lnTo>
                <a:lnTo>
                  <a:pt x="1312" y="1043"/>
                </a:lnTo>
                <a:lnTo>
                  <a:pt x="1311" y="1039"/>
                </a:lnTo>
                <a:lnTo>
                  <a:pt x="1309" y="1036"/>
                </a:lnTo>
                <a:lnTo>
                  <a:pt x="1311" y="1039"/>
                </a:lnTo>
                <a:lnTo>
                  <a:pt x="1312" y="1043"/>
                </a:lnTo>
                <a:lnTo>
                  <a:pt x="1312" y="1043"/>
                </a:lnTo>
                <a:lnTo>
                  <a:pt x="1312" y="1044"/>
                </a:lnTo>
                <a:close/>
                <a:moveTo>
                  <a:pt x="1615" y="1414"/>
                </a:moveTo>
                <a:lnTo>
                  <a:pt x="1614" y="1407"/>
                </a:lnTo>
                <a:lnTo>
                  <a:pt x="1612" y="1400"/>
                </a:lnTo>
                <a:lnTo>
                  <a:pt x="1607" y="1387"/>
                </a:lnTo>
                <a:lnTo>
                  <a:pt x="1602" y="1375"/>
                </a:lnTo>
                <a:lnTo>
                  <a:pt x="1597" y="1362"/>
                </a:lnTo>
                <a:lnTo>
                  <a:pt x="1590" y="1350"/>
                </a:lnTo>
                <a:lnTo>
                  <a:pt x="1583" y="1336"/>
                </a:lnTo>
                <a:lnTo>
                  <a:pt x="1574" y="1322"/>
                </a:lnTo>
                <a:lnTo>
                  <a:pt x="1564" y="1310"/>
                </a:lnTo>
                <a:lnTo>
                  <a:pt x="1554" y="1298"/>
                </a:lnTo>
                <a:lnTo>
                  <a:pt x="1553" y="1298"/>
                </a:lnTo>
                <a:lnTo>
                  <a:pt x="1553" y="1296"/>
                </a:lnTo>
                <a:lnTo>
                  <a:pt x="1554" y="1295"/>
                </a:lnTo>
                <a:lnTo>
                  <a:pt x="1553" y="1295"/>
                </a:lnTo>
                <a:lnTo>
                  <a:pt x="1553" y="1295"/>
                </a:lnTo>
                <a:lnTo>
                  <a:pt x="1553" y="1294"/>
                </a:lnTo>
                <a:lnTo>
                  <a:pt x="1554" y="1292"/>
                </a:lnTo>
                <a:lnTo>
                  <a:pt x="1556" y="1288"/>
                </a:lnTo>
                <a:lnTo>
                  <a:pt x="1557" y="1285"/>
                </a:lnTo>
                <a:lnTo>
                  <a:pt x="1560" y="1270"/>
                </a:lnTo>
                <a:lnTo>
                  <a:pt x="1561" y="1253"/>
                </a:lnTo>
                <a:lnTo>
                  <a:pt x="1564" y="1242"/>
                </a:lnTo>
                <a:lnTo>
                  <a:pt x="1564" y="1229"/>
                </a:lnTo>
                <a:lnTo>
                  <a:pt x="1561" y="1216"/>
                </a:lnTo>
                <a:lnTo>
                  <a:pt x="1559" y="1204"/>
                </a:lnTo>
                <a:lnTo>
                  <a:pt x="1553" y="1186"/>
                </a:lnTo>
                <a:lnTo>
                  <a:pt x="1550" y="1167"/>
                </a:lnTo>
                <a:lnTo>
                  <a:pt x="1545" y="1147"/>
                </a:lnTo>
                <a:lnTo>
                  <a:pt x="1542" y="1128"/>
                </a:lnTo>
                <a:lnTo>
                  <a:pt x="1540" y="1117"/>
                </a:lnTo>
                <a:lnTo>
                  <a:pt x="1538" y="1105"/>
                </a:lnTo>
                <a:lnTo>
                  <a:pt x="1536" y="1093"/>
                </a:lnTo>
                <a:lnTo>
                  <a:pt x="1532" y="1082"/>
                </a:lnTo>
                <a:lnTo>
                  <a:pt x="1531" y="1068"/>
                </a:lnTo>
                <a:lnTo>
                  <a:pt x="1528" y="1054"/>
                </a:lnTo>
                <a:lnTo>
                  <a:pt x="1528" y="1051"/>
                </a:lnTo>
                <a:lnTo>
                  <a:pt x="1526" y="1048"/>
                </a:lnTo>
                <a:lnTo>
                  <a:pt x="1528" y="1047"/>
                </a:lnTo>
                <a:lnTo>
                  <a:pt x="1528" y="1046"/>
                </a:lnTo>
                <a:lnTo>
                  <a:pt x="1528" y="1044"/>
                </a:lnTo>
                <a:lnTo>
                  <a:pt x="1526" y="1042"/>
                </a:lnTo>
                <a:lnTo>
                  <a:pt x="1524" y="1035"/>
                </a:lnTo>
                <a:lnTo>
                  <a:pt x="1523" y="1028"/>
                </a:lnTo>
                <a:lnTo>
                  <a:pt x="1522" y="1026"/>
                </a:lnTo>
                <a:lnTo>
                  <a:pt x="1521" y="1022"/>
                </a:lnTo>
                <a:lnTo>
                  <a:pt x="1519" y="1021"/>
                </a:lnTo>
                <a:lnTo>
                  <a:pt x="1517" y="1019"/>
                </a:lnTo>
                <a:lnTo>
                  <a:pt x="1517" y="1014"/>
                </a:lnTo>
                <a:lnTo>
                  <a:pt x="1517" y="1008"/>
                </a:lnTo>
                <a:lnTo>
                  <a:pt x="1514" y="999"/>
                </a:lnTo>
                <a:lnTo>
                  <a:pt x="1512" y="988"/>
                </a:lnTo>
                <a:lnTo>
                  <a:pt x="1510" y="979"/>
                </a:lnTo>
                <a:lnTo>
                  <a:pt x="1508" y="969"/>
                </a:lnTo>
                <a:lnTo>
                  <a:pt x="1504" y="959"/>
                </a:lnTo>
                <a:lnTo>
                  <a:pt x="1502" y="949"/>
                </a:lnTo>
                <a:lnTo>
                  <a:pt x="1500" y="938"/>
                </a:lnTo>
                <a:lnTo>
                  <a:pt x="1496" y="929"/>
                </a:lnTo>
                <a:lnTo>
                  <a:pt x="1501" y="908"/>
                </a:lnTo>
                <a:lnTo>
                  <a:pt x="1505" y="888"/>
                </a:lnTo>
                <a:lnTo>
                  <a:pt x="1510" y="867"/>
                </a:lnTo>
                <a:lnTo>
                  <a:pt x="1515" y="846"/>
                </a:lnTo>
                <a:lnTo>
                  <a:pt x="1518" y="833"/>
                </a:lnTo>
                <a:lnTo>
                  <a:pt x="1522" y="819"/>
                </a:lnTo>
                <a:lnTo>
                  <a:pt x="1525" y="805"/>
                </a:lnTo>
                <a:lnTo>
                  <a:pt x="1529" y="791"/>
                </a:lnTo>
                <a:lnTo>
                  <a:pt x="1530" y="788"/>
                </a:lnTo>
                <a:lnTo>
                  <a:pt x="1529" y="785"/>
                </a:lnTo>
                <a:lnTo>
                  <a:pt x="1528" y="784"/>
                </a:lnTo>
                <a:lnTo>
                  <a:pt x="1524" y="783"/>
                </a:lnTo>
                <a:lnTo>
                  <a:pt x="1514" y="780"/>
                </a:lnTo>
                <a:lnTo>
                  <a:pt x="1503" y="776"/>
                </a:lnTo>
                <a:lnTo>
                  <a:pt x="1491" y="773"/>
                </a:lnTo>
                <a:lnTo>
                  <a:pt x="1482" y="768"/>
                </a:lnTo>
                <a:lnTo>
                  <a:pt x="1478" y="768"/>
                </a:lnTo>
                <a:lnTo>
                  <a:pt x="1476" y="767"/>
                </a:lnTo>
                <a:lnTo>
                  <a:pt x="1475" y="768"/>
                </a:lnTo>
                <a:lnTo>
                  <a:pt x="1474" y="768"/>
                </a:lnTo>
                <a:lnTo>
                  <a:pt x="1471" y="771"/>
                </a:lnTo>
                <a:lnTo>
                  <a:pt x="1469" y="775"/>
                </a:lnTo>
                <a:lnTo>
                  <a:pt x="1467" y="783"/>
                </a:lnTo>
                <a:lnTo>
                  <a:pt x="1464" y="792"/>
                </a:lnTo>
                <a:lnTo>
                  <a:pt x="1463" y="796"/>
                </a:lnTo>
                <a:lnTo>
                  <a:pt x="1461" y="799"/>
                </a:lnTo>
                <a:lnTo>
                  <a:pt x="1457" y="803"/>
                </a:lnTo>
                <a:lnTo>
                  <a:pt x="1453" y="805"/>
                </a:lnTo>
                <a:lnTo>
                  <a:pt x="1452" y="806"/>
                </a:lnTo>
                <a:lnTo>
                  <a:pt x="1450" y="808"/>
                </a:lnTo>
                <a:lnTo>
                  <a:pt x="1445" y="820"/>
                </a:lnTo>
                <a:lnTo>
                  <a:pt x="1440" y="834"/>
                </a:lnTo>
                <a:lnTo>
                  <a:pt x="1434" y="845"/>
                </a:lnTo>
                <a:lnTo>
                  <a:pt x="1429" y="855"/>
                </a:lnTo>
                <a:lnTo>
                  <a:pt x="1424" y="866"/>
                </a:lnTo>
                <a:lnTo>
                  <a:pt x="1418" y="876"/>
                </a:lnTo>
                <a:lnTo>
                  <a:pt x="1416" y="879"/>
                </a:lnTo>
                <a:lnTo>
                  <a:pt x="1415" y="879"/>
                </a:lnTo>
                <a:lnTo>
                  <a:pt x="1413" y="880"/>
                </a:lnTo>
                <a:lnTo>
                  <a:pt x="1411" y="880"/>
                </a:lnTo>
                <a:lnTo>
                  <a:pt x="1399" y="880"/>
                </a:lnTo>
                <a:lnTo>
                  <a:pt x="1388" y="880"/>
                </a:lnTo>
                <a:lnTo>
                  <a:pt x="1385" y="880"/>
                </a:lnTo>
                <a:lnTo>
                  <a:pt x="1381" y="880"/>
                </a:lnTo>
                <a:lnTo>
                  <a:pt x="1379" y="881"/>
                </a:lnTo>
                <a:lnTo>
                  <a:pt x="1377" y="883"/>
                </a:lnTo>
                <a:lnTo>
                  <a:pt x="1374" y="885"/>
                </a:lnTo>
                <a:lnTo>
                  <a:pt x="1373" y="886"/>
                </a:lnTo>
                <a:lnTo>
                  <a:pt x="1370" y="890"/>
                </a:lnTo>
                <a:lnTo>
                  <a:pt x="1369" y="895"/>
                </a:lnTo>
                <a:lnTo>
                  <a:pt x="1370" y="901"/>
                </a:lnTo>
                <a:lnTo>
                  <a:pt x="1373" y="906"/>
                </a:lnTo>
                <a:lnTo>
                  <a:pt x="1376" y="911"/>
                </a:lnTo>
                <a:lnTo>
                  <a:pt x="1380" y="915"/>
                </a:lnTo>
                <a:lnTo>
                  <a:pt x="1387" y="920"/>
                </a:lnTo>
                <a:lnTo>
                  <a:pt x="1393" y="924"/>
                </a:lnTo>
                <a:lnTo>
                  <a:pt x="1391" y="928"/>
                </a:lnTo>
                <a:lnTo>
                  <a:pt x="1390" y="932"/>
                </a:lnTo>
                <a:lnTo>
                  <a:pt x="1388" y="934"/>
                </a:lnTo>
                <a:lnTo>
                  <a:pt x="1388" y="935"/>
                </a:lnTo>
                <a:lnTo>
                  <a:pt x="1387" y="936"/>
                </a:lnTo>
                <a:lnTo>
                  <a:pt x="1385" y="936"/>
                </a:lnTo>
                <a:lnTo>
                  <a:pt x="1376" y="936"/>
                </a:lnTo>
                <a:lnTo>
                  <a:pt x="1366" y="937"/>
                </a:lnTo>
                <a:lnTo>
                  <a:pt x="1359" y="938"/>
                </a:lnTo>
                <a:lnTo>
                  <a:pt x="1355" y="941"/>
                </a:lnTo>
                <a:lnTo>
                  <a:pt x="1349" y="944"/>
                </a:lnTo>
                <a:lnTo>
                  <a:pt x="1345" y="949"/>
                </a:lnTo>
                <a:lnTo>
                  <a:pt x="1345" y="949"/>
                </a:lnTo>
                <a:lnTo>
                  <a:pt x="1344" y="950"/>
                </a:lnTo>
                <a:lnTo>
                  <a:pt x="1344" y="950"/>
                </a:lnTo>
                <a:lnTo>
                  <a:pt x="1342" y="953"/>
                </a:lnTo>
                <a:lnTo>
                  <a:pt x="1342" y="956"/>
                </a:lnTo>
                <a:lnTo>
                  <a:pt x="1342" y="959"/>
                </a:lnTo>
                <a:lnTo>
                  <a:pt x="1343" y="963"/>
                </a:lnTo>
                <a:lnTo>
                  <a:pt x="1343" y="965"/>
                </a:lnTo>
                <a:lnTo>
                  <a:pt x="1343" y="967"/>
                </a:lnTo>
                <a:lnTo>
                  <a:pt x="1343" y="969"/>
                </a:lnTo>
                <a:lnTo>
                  <a:pt x="1343" y="971"/>
                </a:lnTo>
                <a:lnTo>
                  <a:pt x="1344" y="972"/>
                </a:lnTo>
                <a:lnTo>
                  <a:pt x="1346" y="972"/>
                </a:lnTo>
                <a:lnTo>
                  <a:pt x="1344" y="972"/>
                </a:lnTo>
                <a:lnTo>
                  <a:pt x="1343" y="971"/>
                </a:lnTo>
                <a:lnTo>
                  <a:pt x="1343" y="969"/>
                </a:lnTo>
                <a:lnTo>
                  <a:pt x="1343" y="967"/>
                </a:lnTo>
                <a:lnTo>
                  <a:pt x="1336" y="974"/>
                </a:lnTo>
                <a:lnTo>
                  <a:pt x="1329" y="980"/>
                </a:lnTo>
                <a:lnTo>
                  <a:pt x="1326" y="983"/>
                </a:lnTo>
                <a:lnTo>
                  <a:pt x="1325" y="985"/>
                </a:lnTo>
                <a:lnTo>
                  <a:pt x="1324" y="986"/>
                </a:lnTo>
                <a:lnTo>
                  <a:pt x="1323" y="986"/>
                </a:lnTo>
                <a:lnTo>
                  <a:pt x="1322" y="987"/>
                </a:lnTo>
                <a:lnTo>
                  <a:pt x="1321" y="991"/>
                </a:lnTo>
                <a:lnTo>
                  <a:pt x="1321" y="1006"/>
                </a:lnTo>
                <a:lnTo>
                  <a:pt x="1321" y="1022"/>
                </a:lnTo>
                <a:lnTo>
                  <a:pt x="1318" y="1025"/>
                </a:lnTo>
                <a:lnTo>
                  <a:pt x="1317" y="1026"/>
                </a:lnTo>
                <a:lnTo>
                  <a:pt x="1315" y="1026"/>
                </a:lnTo>
                <a:lnTo>
                  <a:pt x="1311" y="1026"/>
                </a:lnTo>
                <a:lnTo>
                  <a:pt x="1309" y="1025"/>
                </a:lnTo>
                <a:lnTo>
                  <a:pt x="1305" y="1025"/>
                </a:lnTo>
                <a:lnTo>
                  <a:pt x="1303" y="1026"/>
                </a:lnTo>
                <a:lnTo>
                  <a:pt x="1301" y="1028"/>
                </a:lnTo>
                <a:lnTo>
                  <a:pt x="1298" y="1030"/>
                </a:lnTo>
                <a:lnTo>
                  <a:pt x="1297" y="1034"/>
                </a:lnTo>
                <a:lnTo>
                  <a:pt x="1296" y="1036"/>
                </a:lnTo>
                <a:lnTo>
                  <a:pt x="1295" y="1040"/>
                </a:lnTo>
                <a:lnTo>
                  <a:pt x="1296" y="1043"/>
                </a:lnTo>
                <a:lnTo>
                  <a:pt x="1297" y="1047"/>
                </a:lnTo>
                <a:lnTo>
                  <a:pt x="1298" y="1050"/>
                </a:lnTo>
                <a:lnTo>
                  <a:pt x="1301" y="1053"/>
                </a:lnTo>
                <a:lnTo>
                  <a:pt x="1310" y="1061"/>
                </a:lnTo>
                <a:lnTo>
                  <a:pt x="1321" y="1068"/>
                </a:lnTo>
                <a:lnTo>
                  <a:pt x="1321" y="1068"/>
                </a:lnTo>
                <a:lnTo>
                  <a:pt x="1321" y="1069"/>
                </a:lnTo>
                <a:lnTo>
                  <a:pt x="1323" y="1072"/>
                </a:lnTo>
                <a:lnTo>
                  <a:pt x="1323" y="1077"/>
                </a:lnTo>
                <a:lnTo>
                  <a:pt x="1323" y="1072"/>
                </a:lnTo>
                <a:lnTo>
                  <a:pt x="1321" y="1069"/>
                </a:lnTo>
                <a:lnTo>
                  <a:pt x="1317" y="1068"/>
                </a:lnTo>
                <a:lnTo>
                  <a:pt x="1315" y="1068"/>
                </a:lnTo>
                <a:lnTo>
                  <a:pt x="1312" y="1069"/>
                </a:lnTo>
                <a:lnTo>
                  <a:pt x="1310" y="1070"/>
                </a:lnTo>
                <a:lnTo>
                  <a:pt x="1308" y="1074"/>
                </a:lnTo>
                <a:lnTo>
                  <a:pt x="1307" y="1079"/>
                </a:lnTo>
                <a:lnTo>
                  <a:pt x="1307" y="1081"/>
                </a:lnTo>
                <a:lnTo>
                  <a:pt x="1305" y="1083"/>
                </a:lnTo>
                <a:lnTo>
                  <a:pt x="1303" y="1088"/>
                </a:lnTo>
                <a:lnTo>
                  <a:pt x="1301" y="1092"/>
                </a:lnTo>
                <a:lnTo>
                  <a:pt x="1294" y="1110"/>
                </a:lnTo>
                <a:lnTo>
                  <a:pt x="1286" y="1127"/>
                </a:lnTo>
                <a:lnTo>
                  <a:pt x="1277" y="1114"/>
                </a:lnTo>
                <a:lnTo>
                  <a:pt x="1269" y="1102"/>
                </a:lnTo>
                <a:lnTo>
                  <a:pt x="1261" y="1090"/>
                </a:lnTo>
                <a:lnTo>
                  <a:pt x="1253" y="1077"/>
                </a:lnTo>
                <a:lnTo>
                  <a:pt x="1241" y="1061"/>
                </a:lnTo>
                <a:lnTo>
                  <a:pt x="1228" y="1044"/>
                </a:lnTo>
                <a:lnTo>
                  <a:pt x="1214" y="1028"/>
                </a:lnTo>
                <a:lnTo>
                  <a:pt x="1200" y="1013"/>
                </a:lnTo>
                <a:lnTo>
                  <a:pt x="1187" y="998"/>
                </a:lnTo>
                <a:lnTo>
                  <a:pt x="1176" y="984"/>
                </a:lnTo>
                <a:lnTo>
                  <a:pt x="1176" y="984"/>
                </a:lnTo>
                <a:lnTo>
                  <a:pt x="1173" y="981"/>
                </a:lnTo>
                <a:lnTo>
                  <a:pt x="1170" y="979"/>
                </a:lnTo>
                <a:lnTo>
                  <a:pt x="1169" y="978"/>
                </a:lnTo>
                <a:lnTo>
                  <a:pt x="1166" y="977"/>
                </a:lnTo>
                <a:lnTo>
                  <a:pt x="1166" y="977"/>
                </a:lnTo>
                <a:lnTo>
                  <a:pt x="1166" y="977"/>
                </a:lnTo>
                <a:lnTo>
                  <a:pt x="1159" y="971"/>
                </a:lnTo>
                <a:lnTo>
                  <a:pt x="1151" y="965"/>
                </a:lnTo>
                <a:lnTo>
                  <a:pt x="1143" y="960"/>
                </a:lnTo>
                <a:lnTo>
                  <a:pt x="1133" y="957"/>
                </a:lnTo>
                <a:lnTo>
                  <a:pt x="1131" y="956"/>
                </a:lnTo>
                <a:lnTo>
                  <a:pt x="1129" y="956"/>
                </a:lnTo>
                <a:lnTo>
                  <a:pt x="1119" y="950"/>
                </a:lnTo>
                <a:lnTo>
                  <a:pt x="1108" y="946"/>
                </a:lnTo>
                <a:lnTo>
                  <a:pt x="1103" y="942"/>
                </a:lnTo>
                <a:lnTo>
                  <a:pt x="1097" y="939"/>
                </a:lnTo>
                <a:lnTo>
                  <a:pt x="1090" y="938"/>
                </a:lnTo>
                <a:lnTo>
                  <a:pt x="1084" y="937"/>
                </a:lnTo>
                <a:lnTo>
                  <a:pt x="1082" y="937"/>
                </a:lnTo>
                <a:lnTo>
                  <a:pt x="1081" y="937"/>
                </a:lnTo>
                <a:lnTo>
                  <a:pt x="1076" y="934"/>
                </a:lnTo>
                <a:lnTo>
                  <a:pt x="1070" y="934"/>
                </a:lnTo>
                <a:lnTo>
                  <a:pt x="1068" y="932"/>
                </a:lnTo>
                <a:lnTo>
                  <a:pt x="1065" y="932"/>
                </a:lnTo>
                <a:lnTo>
                  <a:pt x="1065" y="932"/>
                </a:lnTo>
                <a:lnTo>
                  <a:pt x="1063" y="930"/>
                </a:lnTo>
                <a:lnTo>
                  <a:pt x="1061" y="930"/>
                </a:lnTo>
                <a:lnTo>
                  <a:pt x="1059" y="930"/>
                </a:lnTo>
                <a:lnTo>
                  <a:pt x="1056" y="930"/>
                </a:lnTo>
                <a:lnTo>
                  <a:pt x="1055" y="930"/>
                </a:lnTo>
                <a:lnTo>
                  <a:pt x="1053" y="929"/>
                </a:lnTo>
                <a:lnTo>
                  <a:pt x="1049" y="928"/>
                </a:lnTo>
                <a:lnTo>
                  <a:pt x="1046" y="928"/>
                </a:lnTo>
                <a:lnTo>
                  <a:pt x="1043" y="928"/>
                </a:lnTo>
                <a:lnTo>
                  <a:pt x="1042" y="928"/>
                </a:lnTo>
                <a:lnTo>
                  <a:pt x="1032" y="924"/>
                </a:lnTo>
                <a:lnTo>
                  <a:pt x="1021" y="924"/>
                </a:lnTo>
                <a:lnTo>
                  <a:pt x="1019" y="923"/>
                </a:lnTo>
                <a:lnTo>
                  <a:pt x="1017" y="922"/>
                </a:lnTo>
                <a:lnTo>
                  <a:pt x="1015" y="921"/>
                </a:lnTo>
                <a:lnTo>
                  <a:pt x="1014" y="918"/>
                </a:lnTo>
                <a:lnTo>
                  <a:pt x="1017" y="914"/>
                </a:lnTo>
                <a:lnTo>
                  <a:pt x="1015" y="910"/>
                </a:lnTo>
                <a:lnTo>
                  <a:pt x="1013" y="900"/>
                </a:lnTo>
                <a:lnTo>
                  <a:pt x="1012" y="889"/>
                </a:lnTo>
                <a:lnTo>
                  <a:pt x="1012" y="879"/>
                </a:lnTo>
                <a:lnTo>
                  <a:pt x="1012" y="869"/>
                </a:lnTo>
                <a:lnTo>
                  <a:pt x="1012" y="866"/>
                </a:lnTo>
                <a:lnTo>
                  <a:pt x="1011" y="862"/>
                </a:lnTo>
                <a:lnTo>
                  <a:pt x="1005" y="850"/>
                </a:lnTo>
                <a:lnTo>
                  <a:pt x="998" y="838"/>
                </a:lnTo>
                <a:lnTo>
                  <a:pt x="991" y="827"/>
                </a:lnTo>
                <a:lnTo>
                  <a:pt x="983" y="817"/>
                </a:lnTo>
                <a:lnTo>
                  <a:pt x="983" y="815"/>
                </a:lnTo>
                <a:lnTo>
                  <a:pt x="980" y="812"/>
                </a:lnTo>
                <a:lnTo>
                  <a:pt x="980" y="810"/>
                </a:lnTo>
                <a:lnTo>
                  <a:pt x="980" y="809"/>
                </a:lnTo>
                <a:lnTo>
                  <a:pt x="983" y="805"/>
                </a:lnTo>
                <a:lnTo>
                  <a:pt x="983" y="802"/>
                </a:lnTo>
                <a:lnTo>
                  <a:pt x="983" y="785"/>
                </a:lnTo>
                <a:lnTo>
                  <a:pt x="983" y="769"/>
                </a:lnTo>
                <a:lnTo>
                  <a:pt x="987" y="764"/>
                </a:lnTo>
                <a:lnTo>
                  <a:pt x="988" y="760"/>
                </a:lnTo>
                <a:lnTo>
                  <a:pt x="988" y="756"/>
                </a:lnTo>
                <a:lnTo>
                  <a:pt x="985" y="749"/>
                </a:lnTo>
                <a:lnTo>
                  <a:pt x="984" y="746"/>
                </a:lnTo>
                <a:lnTo>
                  <a:pt x="983" y="743"/>
                </a:lnTo>
                <a:lnTo>
                  <a:pt x="983" y="740"/>
                </a:lnTo>
                <a:lnTo>
                  <a:pt x="984" y="736"/>
                </a:lnTo>
                <a:lnTo>
                  <a:pt x="985" y="733"/>
                </a:lnTo>
                <a:lnTo>
                  <a:pt x="985" y="729"/>
                </a:lnTo>
                <a:lnTo>
                  <a:pt x="985" y="726"/>
                </a:lnTo>
                <a:lnTo>
                  <a:pt x="985" y="722"/>
                </a:lnTo>
                <a:lnTo>
                  <a:pt x="983" y="711"/>
                </a:lnTo>
                <a:lnTo>
                  <a:pt x="980" y="700"/>
                </a:lnTo>
                <a:lnTo>
                  <a:pt x="977" y="690"/>
                </a:lnTo>
                <a:lnTo>
                  <a:pt x="972" y="679"/>
                </a:lnTo>
                <a:lnTo>
                  <a:pt x="971" y="674"/>
                </a:lnTo>
                <a:lnTo>
                  <a:pt x="971" y="670"/>
                </a:lnTo>
                <a:lnTo>
                  <a:pt x="970" y="667"/>
                </a:lnTo>
                <a:lnTo>
                  <a:pt x="969" y="666"/>
                </a:lnTo>
                <a:lnTo>
                  <a:pt x="966" y="665"/>
                </a:lnTo>
                <a:lnTo>
                  <a:pt x="964" y="664"/>
                </a:lnTo>
                <a:lnTo>
                  <a:pt x="962" y="664"/>
                </a:lnTo>
                <a:lnTo>
                  <a:pt x="960" y="663"/>
                </a:lnTo>
                <a:lnTo>
                  <a:pt x="959" y="662"/>
                </a:lnTo>
                <a:lnTo>
                  <a:pt x="958" y="660"/>
                </a:lnTo>
                <a:lnTo>
                  <a:pt x="959" y="657"/>
                </a:lnTo>
                <a:lnTo>
                  <a:pt x="963" y="655"/>
                </a:lnTo>
                <a:lnTo>
                  <a:pt x="972" y="650"/>
                </a:lnTo>
                <a:lnTo>
                  <a:pt x="981" y="644"/>
                </a:lnTo>
                <a:lnTo>
                  <a:pt x="996" y="636"/>
                </a:lnTo>
                <a:lnTo>
                  <a:pt x="1007" y="627"/>
                </a:lnTo>
                <a:lnTo>
                  <a:pt x="1007" y="627"/>
                </a:lnTo>
                <a:lnTo>
                  <a:pt x="1010" y="625"/>
                </a:lnTo>
                <a:lnTo>
                  <a:pt x="1012" y="624"/>
                </a:lnTo>
                <a:lnTo>
                  <a:pt x="1013" y="624"/>
                </a:lnTo>
                <a:lnTo>
                  <a:pt x="1013" y="624"/>
                </a:lnTo>
                <a:lnTo>
                  <a:pt x="1043" y="603"/>
                </a:lnTo>
                <a:lnTo>
                  <a:pt x="1074" y="583"/>
                </a:lnTo>
                <a:lnTo>
                  <a:pt x="1105" y="564"/>
                </a:lnTo>
                <a:lnTo>
                  <a:pt x="1136" y="543"/>
                </a:lnTo>
                <a:lnTo>
                  <a:pt x="1151" y="532"/>
                </a:lnTo>
                <a:lnTo>
                  <a:pt x="1166" y="522"/>
                </a:lnTo>
                <a:lnTo>
                  <a:pt x="1164" y="520"/>
                </a:lnTo>
                <a:lnTo>
                  <a:pt x="1162" y="520"/>
                </a:lnTo>
                <a:lnTo>
                  <a:pt x="1160" y="520"/>
                </a:lnTo>
                <a:lnTo>
                  <a:pt x="1158" y="522"/>
                </a:lnTo>
                <a:lnTo>
                  <a:pt x="1148" y="526"/>
                </a:lnTo>
                <a:lnTo>
                  <a:pt x="1137" y="530"/>
                </a:lnTo>
                <a:lnTo>
                  <a:pt x="1126" y="534"/>
                </a:lnTo>
                <a:lnTo>
                  <a:pt x="1116" y="538"/>
                </a:lnTo>
                <a:lnTo>
                  <a:pt x="1102" y="544"/>
                </a:lnTo>
                <a:lnTo>
                  <a:pt x="1088" y="548"/>
                </a:lnTo>
                <a:lnTo>
                  <a:pt x="1075" y="554"/>
                </a:lnTo>
                <a:lnTo>
                  <a:pt x="1061" y="559"/>
                </a:lnTo>
                <a:lnTo>
                  <a:pt x="1042" y="568"/>
                </a:lnTo>
                <a:lnTo>
                  <a:pt x="1022" y="575"/>
                </a:lnTo>
                <a:lnTo>
                  <a:pt x="1003" y="583"/>
                </a:lnTo>
                <a:lnTo>
                  <a:pt x="983" y="592"/>
                </a:lnTo>
                <a:lnTo>
                  <a:pt x="972" y="596"/>
                </a:lnTo>
                <a:lnTo>
                  <a:pt x="962" y="601"/>
                </a:lnTo>
                <a:lnTo>
                  <a:pt x="952" y="606"/>
                </a:lnTo>
                <a:lnTo>
                  <a:pt x="942" y="611"/>
                </a:lnTo>
                <a:lnTo>
                  <a:pt x="941" y="611"/>
                </a:lnTo>
                <a:lnTo>
                  <a:pt x="939" y="611"/>
                </a:lnTo>
                <a:lnTo>
                  <a:pt x="936" y="611"/>
                </a:lnTo>
                <a:lnTo>
                  <a:pt x="934" y="609"/>
                </a:lnTo>
                <a:lnTo>
                  <a:pt x="931" y="606"/>
                </a:lnTo>
                <a:lnTo>
                  <a:pt x="930" y="603"/>
                </a:lnTo>
                <a:lnTo>
                  <a:pt x="918" y="587"/>
                </a:lnTo>
                <a:lnTo>
                  <a:pt x="905" y="571"/>
                </a:lnTo>
                <a:lnTo>
                  <a:pt x="905" y="568"/>
                </a:lnTo>
                <a:lnTo>
                  <a:pt x="907" y="567"/>
                </a:lnTo>
                <a:lnTo>
                  <a:pt x="914" y="558"/>
                </a:lnTo>
                <a:lnTo>
                  <a:pt x="919" y="547"/>
                </a:lnTo>
                <a:lnTo>
                  <a:pt x="925" y="538"/>
                </a:lnTo>
                <a:lnTo>
                  <a:pt x="932" y="527"/>
                </a:lnTo>
                <a:lnTo>
                  <a:pt x="944" y="508"/>
                </a:lnTo>
                <a:lnTo>
                  <a:pt x="957" y="488"/>
                </a:lnTo>
                <a:lnTo>
                  <a:pt x="969" y="468"/>
                </a:lnTo>
                <a:lnTo>
                  <a:pt x="981" y="448"/>
                </a:lnTo>
                <a:lnTo>
                  <a:pt x="980" y="448"/>
                </a:lnTo>
                <a:lnTo>
                  <a:pt x="980" y="447"/>
                </a:lnTo>
                <a:lnTo>
                  <a:pt x="980" y="448"/>
                </a:lnTo>
                <a:lnTo>
                  <a:pt x="981" y="448"/>
                </a:lnTo>
                <a:lnTo>
                  <a:pt x="994" y="427"/>
                </a:lnTo>
                <a:lnTo>
                  <a:pt x="1006" y="407"/>
                </a:lnTo>
                <a:lnTo>
                  <a:pt x="1019" y="386"/>
                </a:lnTo>
                <a:lnTo>
                  <a:pt x="1031" y="365"/>
                </a:lnTo>
                <a:lnTo>
                  <a:pt x="1033" y="363"/>
                </a:lnTo>
                <a:lnTo>
                  <a:pt x="1035" y="361"/>
                </a:lnTo>
                <a:lnTo>
                  <a:pt x="1035" y="359"/>
                </a:lnTo>
                <a:lnTo>
                  <a:pt x="1035" y="358"/>
                </a:lnTo>
                <a:lnTo>
                  <a:pt x="1035" y="357"/>
                </a:lnTo>
                <a:lnTo>
                  <a:pt x="1034" y="356"/>
                </a:lnTo>
                <a:lnTo>
                  <a:pt x="1033" y="356"/>
                </a:lnTo>
                <a:lnTo>
                  <a:pt x="1031" y="358"/>
                </a:lnTo>
                <a:lnTo>
                  <a:pt x="1028" y="361"/>
                </a:lnTo>
                <a:lnTo>
                  <a:pt x="1026" y="363"/>
                </a:lnTo>
                <a:lnTo>
                  <a:pt x="998" y="393"/>
                </a:lnTo>
                <a:lnTo>
                  <a:pt x="970" y="425"/>
                </a:lnTo>
                <a:lnTo>
                  <a:pt x="941" y="456"/>
                </a:lnTo>
                <a:lnTo>
                  <a:pt x="912" y="487"/>
                </a:lnTo>
                <a:lnTo>
                  <a:pt x="903" y="497"/>
                </a:lnTo>
                <a:lnTo>
                  <a:pt x="894" y="508"/>
                </a:lnTo>
                <a:lnTo>
                  <a:pt x="884" y="519"/>
                </a:lnTo>
                <a:lnTo>
                  <a:pt x="875" y="530"/>
                </a:lnTo>
                <a:lnTo>
                  <a:pt x="874" y="531"/>
                </a:lnTo>
                <a:lnTo>
                  <a:pt x="872" y="533"/>
                </a:lnTo>
                <a:lnTo>
                  <a:pt x="863" y="529"/>
                </a:lnTo>
                <a:lnTo>
                  <a:pt x="855" y="523"/>
                </a:lnTo>
                <a:lnTo>
                  <a:pt x="846" y="517"/>
                </a:lnTo>
                <a:lnTo>
                  <a:pt x="835" y="511"/>
                </a:lnTo>
                <a:lnTo>
                  <a:pt x="825" y="506"/>
                </a:lnTo>
                <a:lnTo>
                  <a:pt x="813" y="504"/>
                </a:lnTo>
                <a:lnTo>
                  <a:pt x="813" y="494"/>
                </a:lnTo>
                <a:lnTo>
                  <a:pt x="813" y="483"/>
                </a:lnTo>
                <a:lnTo>
                  <a:pt x="813" y="473"/>
                </a:lnTo>
                <a:lnTo>
                  <a:pt x="814" y="462"/>
                </a:lnTo>
                <a:lnTo>
                  <a:pt x="815" y="433"/>
                </a:lnTo>
                <a:lnTo>
                  <a:pt x="817" y="404"/>
                </a:lnTo>
                <a:lnTo>
                  <a:pt x="819" y="376"/>
                </a:lnTo>
                <a:lnTo>
                  <a:pt x="819" y="347"/>
                </a:lnTo>
                <a:lnTo>
                  <a:pt x="820" y="322"/>
                </a:lnTo>
                <a:lnTo>
                  <a:pt x="821" y="299"/>
                </a:lnTo>
                <a:lnTo>
                  <a:pt x="822" y="275"/>
                </a:lnTo>
                <a:lnTo>
                  <a:pt x="824" y="252"/>
                </a:lnTo>
                <a:lnTo>
                  <a:pt x="824" y="251"/>
                </a:lnTo>
                <a:lnTo>
                  <a:pt x="824" y="250"/>
                </a:lnTo>
                <a:lnTo>
                  <a:pt x="822" y="249"/>
                </a:lnTo>
                <a:lnTo>
                  <a:pt x="821" y="247"/>
                </a:lnTo>
                <a:lnTo>
                  <a:pt x="819" y="249"/>
                </a:lnTo>
                <a:lnTo>
                  <a:pt x="819" y="251"/>
                </a:lnTo>
                <a:lnTo>
                  <a:pt x="818" y="259"/>
                </a:lnTo>
                <a:lnTo>
                  <a:pt x="815" y="266"/>
                </a:lnTo>
                <a:lnTo>
                  <a:pt x="814" y="271"/>
                </a:lnTo>
                <a:lnTo>
                  <a:pt x="814" y="274"/>
                </a:lnTo>
                <a:lnTo>
                  <a:pt x="813" y="278"/>
                </a:lnTo>
                <a:lnTo>
                  <a:pt x="813" y="281"/>
                </a:lnTo>
                <a:lnTo>
                  <a:pt x="812" y="281"/>
                </a:lnTo>
                <a:lnTo>
                  <a:pt x="812" y="281"/>
                </a:lnTo>
                <a:lnTo>
                  <a:pt x="812" y="282"/>
                </a:lnTo>
                <a:lnTo>
                  <a:pt x="811" y="285"/>
                </a:lnTo>
                <a:lnTo>
                  <a:pt x="811" y="287"/>
                </a:lnTo>
                <a:lnTo>
                  <a:pt x="811" y="289"/>
                </a:lnTo>
                <a:lnTo>
                  <a:pt x="810" y="292"/>
                </a:lnTo>
                <a:lnTo>
                  <a:pt x="805" y="312"/>
                </a:lnTo>
                <a:lnTo>
                  <a:pt x="800" y="330"/>
                </a:lnTo>
                <a:lnTo>
                  <a:pt x="797" y="350"/>
                </a:lnTo>
                <a:lnTo>
                  <a:pt x="792" y="370"/>
                </a:lnTo>
                <a:lnTo>
                  <a:pt x="786" y="399"/>
                </a:lnTo>
                <a:lnTo>
                  <a:pt x="780" y="427"/>
                </a:lnTo>
                <a:lnTo>
                  <a:pt x="774" y="456"/>
                </a:lnTo>
                <a:lnTo>
                  <a:pt x="767" y="485"/>
                </a:lnTo>
                <a:lnTo>
                  <a:pt x="766" y="490"/>
                </a:lnTo>
                <a:lnTo>
                  <a:pt x="765" y="495"/>
                </a:lnTo>
                <a:lnTo>
                  <a:pt x="763" y="496"/>
                </a:lnTo>
                <a:lnTo>
                  <a:pt x="762" y="497"/>
                </a:lnTo>
                <a:lnTo>
                  <a:pt x="758" y="498"/>
                </a:lnTo>
                <a:lnTo>
                  <a:pt x="755" y="497"/>
                </a:lnTo>
                <a:lnTo>
                  <a:pt x="753" y="498"/>
                </a:lnTo>
                <a:lnTo>
                  <a:pt x="752" y="498"/>
                </a:lnTo>
                <a:lnTo>
                  <a:pt x="751" y="498"/>
                </a:lnTo>
                <a:lnTo>
                  <a:pt x="750" y="498"/>
                </a:lnTo>
                <a:lnTo>
                  <a:pt x="748" y="498"/>
                </a:lnTo>
                <a:lnTo>
                  <a:pt x="746" y="499"/>
                </a:lnTo>
                <a:lnTo>
                  <a:pt x="744" y="498"/>
                </a:lnTo>
                <a:lnTo>
                  <a:pt x="742" y="498"/>
                </a:lnTo>
                <a:lnTo>
                  <a:pt x="732" y="499"/>
                </a:lnTo>
                <a:lnTo>
                  <a:pt x="723" y="501"/>
                </a:lnTo>
                <a:lnTo>
                  <a:pt x="714" y="503"/>
                </a:lnTo>
                <a:lnTo>
                  <a:pt x="704" y="505"/>
                </a:lnTo>
                <a:lnTo>
                  <a:pt x="702" y="505"/>
                </a:lnTo>
                <a:lnTo>
                  <a:pt x="698" y="506"/>
                </a:lnTo>
                <a:lnTo>
                  <a:pt x="696" y="505"/>
                </a:lnTo>
                <a:lnTo>
                  <a:pt x="694" y="503"/>
                </a:lnTo>
                <a:lnTo>
                  <a:pt x="689" y="495"/>
                </a:lnTo>
                <a:lnTo>
                  <a:pt x="684" y="487"/>
                </a:lnTo>
                <a:lnTo>
                  <a:pt x="674" y="471"/>
                </a:lnTo>
                <a:lnTo>
                  <a:pt x="663" y="457"/>
                </a:lnTo>
                <a:lnTo>
                  <a:pt x="653" y="442"/>
                </a:lnTo>
                <a:lnTo>
                  <a:pt x="644" y="427"/>
                </a:lnTo>
                <a:lnTo>
                  <a:pt x="642" y="426"/>
                </a:lnTo>
                <a:lnTo>
                  <a:pt x="642" y="424"/>
                </a:lnTo>
                <a:lnTo>
                  <a:pt x="620" y="393"/>
                </a:lnTo>
                <a:lnTo>
                  <a:pt x="599" y="362"/>
                </a:lnTo>
                <a:lnTo>
                  <a:pt x="578" y="330"/>
                </a:lnTo>
                <a:lnTo>
                  <a:pt x="556" y="300"/>
                </a:lnTo>
                <a:lnTo>
                  <a:pt x="556" y="299"/>
                </a:lnTo>
                <a:lnTo>
                  <a:pt x="555" y="298"/>
                </a:lnTo>
                <a:lnTo>
                  <a:pt x="552" y="296"/>
                </a:lnTo>
                <a:lnTo>
                  <a:pt x="550" y="298"/>
                </a:lnTo>
                <a:lnTo>
                  <a:pt x="557" y="312"/>
                </a:lnTo>
                <a:lnTo>
                  <a:pt x="564" y="327"/>
                </a:lnTo>
                <a:lnTo>
                  <a:pt x="571" y="341"/>
                </a:lnTo>
                <a:lnTo>
                  <a:pt x="577" y="356"/>
                </a:lnTo>
                <a:lnTo>
                  <a:pt x="589" y="382"/>
                </a:lnTo>
                <a:lnTo>
                  <a:pt x="600" y="406"/>
                </a:lnTo>
                <a:lnTo>
                  <a:pt x="612" y="432"/>
                </a:lnTo>
                <a:lnTo>
                  <a:pt x="624" y="456"/>
                </a:lnTo>
                <a:lnTo>
                  <a:pt x="631" y="473"/>
                </a:lnTo>
                <a:lnTo>
                  <a:pt x="639" y="489"/>
                </a:lnTo>
                <a:lnTo>
                  <a:pt x="646" y="505"/>
                </a:lnTo>
                <a:lnTo>
                  <a:pt x="654" y="522"/>
                </a:lnTo>
                <a:lnTo>
                  <a:pt x="655" y="525"/>
                </a:lnTo>
                <a:lnTo>
                  <a:pt x="655" y="527"/>
                </a:lnTo>
                <a:lnTo>
                  <a:pt x="654" y="531"/>
                </a:lnTo>
                <a:lnTo>
                  <a:pt x="652" y="533"/>
                </a:lnTo>
                <a:lnTo>
                  <a:pt x="637" y="545"/>
                </a:lnTo>
                <a:lnTo>
                  <a:pt x="624" y="558"/>
                </a:lnTo>
                <a:lnTo>
                  <a:pt x="611" y="573"/>
                </a:lnTo>
                <a:lnTo>
                  <a:pt x="600" y="588"/>
                </a:lnTo>
                <a:lnTo>
                  <a:pt x="599" y="590"/>
                </a:lnTo>
                <a:lnTo>
                  <a:pt x="597" y="592"/>
                </a:lnTo>
                <a:lnTo>
                  <a:pt x="596" y="592"/>
                </a:lnTo>
                <a:lnTo>
                  <a:pt x="592" y="592"/>
                </a:lnTo>
                <a:lnTo>
                  <a:pt x="584" y="588"/>
                </a:lnTo>
                <a:lnTo>
                  <a:pt x="575" y="586"/>
                </a:lnTo>
                <a:lnTo>
                  <a:pt x="566" y="582"/>
                </a:lnTo>
                <a:lnTo>
                  <a:pt x="557" y="580"/>
                </a:lnTo>
                <a:lnTo>
                  <a:pt x="546" y="576"/>
                </a:lnTo>
                <a:lnTo>
                  <a:pt x="537" y="573"/>
                </a:lnTo>
                <a:lnTo>
                  <a:pt x="527" y="569"/>
                </a:lnTo>
                <a:lnTo>
                  <a:pt x="516" y="566"/>
                </a:lnTo>
                <a:lnTo>
                  <a:pt x="509" y="564"/>
                </a:lnTo>
                <a:lnTo>
                  <a:pt x="502" y="562"/>
                </a:lnTo>
                <a:lnTo>
                  <a:pt x="493" y="558"/>
                </a:lnTo>
                <a:lnTo>
                  <a:pt x="483" y="554"/>
                </a:lnTo>
                <a:lnTo>
                  <a:pt x="473" y="552"/>
                </a:lnTo>
                <a:lnTo>
                  <a:pt x="463" y="548"/>
                </a:lnTo>
                <a:lnTo>
                  <a:pt x="449" y="544"/>
                </a:lnTo>
                <a:lnTo>
                  <a:pt x="435" y="539"/>
                </a:lnTo>
                <a:lnTo>
                  <a:pt x="420" y="534"/>
                </a:lnTo>
                <a:lnTo>
                  <a:pt x="406" y="531"/>
                </a:lnTo>
                <a:lnTo>
                  <a:pt x="400" y="529"/>
                </a:lnTo>
                <a:lnTo>
                  <a:pt x="393" y="526"/>
                </a:lnTo>
                <a:lnTo>
                  <a:pt x="386" y="525"/>
                </a:lnTo>
                <a:lnTo>
                  <a:pt x="378" y="525"/>
                </a:lnTo>
                <a:lnTo>
                  <a:pt x="392" y="533"/>
                </a:lnTo>
                <a:lnTo>
                  <a:pt x="406" y="540"/>
                </a:lnTo>
                <a:lnTo>
                  <a:pt x="419" y="547"/>
                </a:lnTo>
                <a:lnTo>
                  <a:pt x="432" y="554"/>
                </a:lnTo>
                <a:lnTo>
                  <a:pt x="451" y="566"/>
                </a:lnTo>
                <a:lnTo>
                  <a:pt x="469" y="576"/>
                </a:lnTo>
                <a:lnTo>
                  <a:pt x="489" y="587"/>
                </a:lnTo>
                <a:lnTo>
                  <a:pt x="508" y="596"/>
                </a:lnTo>
                <a:lnTo>
                  <a:pt x="525" y="606"/>
                </a:lnTo>
                <a:lnTo>
                  <a:pt x="542" y="615"/>
                </a:lnTo>
                <a:lnTo>
                  <a:pt x="559" y="624"/>
                </a:lnTo>
                <a:lnTo>
                  <a:pt x="576" y="634"/>
                </a:lnTo>
                <a:lnTo>
                  <a:pt x="578" y="635"/>
                </a:lnTo>
                <a:lnTo>
                  <a:pt x="579" y="636"/>
                </a:lnTo>
                <a:lnTo>
                  <a:pt x="579" y="638"/>
                </a:lnTo>
                <a:lnTo>
                  <a:pt x="578" y="641"/>
                </a:lnTo>
                <a:lnTo>
                  <a:pt x="576" y="655"/>
                </a:lnTo>
                <a:lnTo>
                  <a:pt x="573" y="669"/>
                </a:lnTo>
                <a:lnTo>
                  <a:pt x="572" y="684"/>
                </a:lnTo>
                <a:lnTo>
                  <a:pt x="573" y="698"/>
                </a:lnTo>
                <a:lnTo>
                  <a:pt x="572" y="709"/>
                </a:lnTo>
                <a:lnTo>
                  <a:pt x="572" y="720"/>
                </a:lnTo>
                <a:lnTo>
                  <a:pt x="557" y="727"/>
                </a:lnTo>
                <a:lnTo>
                  <a:pt x="542" y="736"/>
                </a:lnTo>
                <a:lnTo>
                  <a:pt x="523" y="746"/>
                </a:lnTo>
                <a:lnTo>
                  <a:pt x="504" y="756"/>
                </a:lnTo>
                <a:lnTo>
                  <a:pt x="487" y="767"/>
                </a:lnTo>
                <a:lnTo>
                  <a:pt x="468" y="777"/>
                </a:lnTo>
                <a:lnTo>
                  <a:pt x="461" y="781"/>
                </a:lnTo>
                <a:lnTo>
                  <a:pt x="455" y="784"/>
                </a:lnTo>
                <a:lnTo>
                  <a:pt x="449" y="788"/>
                </a:lnTo>
                <a:lnTo>
                  <a:pt x="442" y="789"/>
                </a:lnTo>
                <a:lnTo>
                  <a:pt x="441" y="785"/>
                </a:lnTo>
                <a:lnTo>
                  <a:pt x="438" y="783"/>
                </a:lnTo>
                <a:lnTo>
                  <a:pt x="438" y="782"/>
                </a:lnTo>
                <a:lnTo>
                  <a:pt x="437" y="781"/>
                </a:lnTo>
                <a:lnTo>
                  <a:pt x="435" y="780"/>
                </a:lnTo>
                <a:lnTo>
                  <a:pt x="433" y="780"/>
                </a:lnTo>
                <a:lnTo>
                  <a:pt x="433" y="780"/>
                </a:lnTo>
                <a:lnTo>
                  <a:pt x="431" y="777"/>
                </a:lnTo>
                <a:lnTo>
                  <a:pt x="428" y="775"/>
                </a:lnTo>
                <a:lnTo>
                  <a:pt x="425" y="770"/>
                </a:lnTo>
                <a:lnTo>
                  <a:pt x="421" y="768"/>
                </a:lnTo>
                <a:lnTo>
                  <a:pt x="417" y="767"/>
                </a:lnTo>
                <a:lnTo>
                  <a:pt x="412" y="766"/>
                </a:lnTo>
                <a:lnTo>
                  <a:pt x="410" y="764"/>
                </a:lnTo>
                <a:lnTo>
                  <a:pt x="408" y="762"/>
                </a:lnTo>
                <a:lnTo>
                  <a:pt x="408" y="760"/>
                </a:lnTo>
                <a:lnTo>
                  <a:pt x="408" y="759"/>
                </a:lnTo>
                <a:lnTo>
                  <a:pt x="408" y="749"/>
                </a:lnTo>
                <a:lnTo>
                  <a:pt x="406" y="740"/>
                </a:lnTo>
                <a:lnTo>
                  <a:pt x="406" y="739"/>
                </a:lnTo>
                <a:lnTo>
                  <a:pt x="406" y="738"/>
                </a:lnTo>
                <a:lnTo>
                  <a:pt x="406" y="732"/>
                </a:lnTo>
                <a:lnTo>
                  <a:pt x="404" y="727"/>
                </a:lnTo>
                <a:lnTo>
                  <a:pt x="398" y="709"/>
                </a:lnTo>
                <a:lnTo>
                  <a:pt x="392" y="693"/>
                </a:lnTo>
                <a:lnTo>
                  <a:pt x="387" y="681"/>
                </a:lnTo>
                <a:lnTo>
                  <a:pt x="382" y="670"/>
                </a:lnTo>
                <a:lnTo>
                  <a:pt x="376" y="658"/>
                </a:lnTo>
                <a:lnTo>
                  <a:pt x="371" y="646"/>
                </a:lnTo>
                <a:lnTo>
                  <a:pt x="364" y="631"/>
                </a:lnTo>
                <a:lnTo>
                  <a:pt x="356" y="616"/>
                </a:lnTo>
                <a:lnTo>
                  <a:pt x="348" y="601"/>
                </a:lnTo>
                <a:lnTo>
                  <a:pt x="339" y="587"/>
                </a:lnTo>
                <a:lnTo>
                  <a:pt x="325" y="562"/>
                </a:lnTo>
                <a:lnTo>
                  <a:pt x="314" y="538"/>
                </a:lnTo>
                <a:lnTo>
                  <a:pt x="303" y="512"/>
                </a:lnTo>
                <a:lnTo>
                  <a:pt x="293" y="487"/>
                </a:lnTo>
                <a:lnTo>
                  <a:pt x="289" y="475"/>
                </a:lnTo>
                <a:lnTo>
                  <a:pt x="285" y="462"/>
                </a:lnTo>
                <a:lnTo>
                  <a:pt x="282" y="450"/>
                </a:lnTo>
                <a:lnTo>
                  <a:pt x="279" y="438"/>
                </a:lnTo>
                <a:lnTo>
                  <a:pt x="279" y="434"/>
                </a:lnTo>
                <a:lnTo>
                  <a:pt x="278" y="431"/>
                </a:lnTo>
                <a:lnTo>
                  <a:pt x="273" y="415"/>
                </a:lnTo>
                <a:lnTo>
                  <a:pt x="269" y="401"/>
                </a:lnTo>
                <a:lnTo>
                  <a:pt x="266" y="386"/>
                </a:lnTo>
                <a:lnTo>
                  <a:pt x="263" y="371"/>
                </a:lnTo>
                <a:lnTo>
                  <a:pt x="262" y="361"/>
                </a:lnTo>
                <a:lnTo>
                  <a:pt x="260" y="350"/>
                </a:lnTo>
                <a:lnTo>
                  <a:pt x="256" y="340"/>
                </a:lnTo>
                <a:lnTo>
                  <a:pt x="251" y="330"/>
                </a:lnTo>
                <a:lnTo>
                  <a:pt x="247" y="324"/>
                </a:lnTo>
                <a:lnTo>
                  <a:pt x="246" y="319"/>
                </a:lnTo>
                <a:lnTo>
                  <a:pt x="247" y="315"/>
                </a:lnTo>
                <a:lnTo>
                  <a:pt x="249" y="314"/>
                </a:lnTo>
                <a:lnTo>
                  <a:pt x="252" y="313"/>
                </a:lnTo>
                <a:lnTo>
                  <a:pt x="255" y="310"/>
                </a:lnTo>
                <a:lnTo>
                  <a:pt x="256" y="309"/>
                </a:lnTo>
                <a:lnTo>
                  <a:pt x="258" y="308"/>
                </a:lnTo>
                <a:lnTo>
                  <a:pt x="270" y="299"/>
                </a:lnTo>
                <a:lnTo>
                  <a:pt x="281" y="288"/>
                </a:lnTo>
                <a:lnTo>
                  <a:pt x="290" y="277"/>
                </a:lnTo>
                <a:lnTo>
                  <a:pt x="297" y="265"/>
                </a:lnTo>
                <a:lnTo>
                  <a:pt x="303" y="251"/>
                </a:lnTo>
                <a:lnTo>
                  <a:pt x="307" y="238"/>
                </a:lnTo>
                <a:lnTo>
                  <a:pt x="309" y="223"/>
                </a:lnTo>
                <a:lnTo>
                  <a:pt x="310" y="208"/>
                </a:lnTo>
                <a:lnTo>
                  <a:pt x="310" y="203"/>
                </a:lnTo>
                <a:lnTo>
                  <a:pt x="313" y="200"/>
                </a:lnTo>
                <a:lnTo>
                  <a:pt x="315" y="197"/>
                </a:lnTo>
                <a:lnTo>
                  <a:pt x="317" y="196"/>
                </a:lnTo>
                <a:lnTo>
                  <a:pt x="317" y="194"/>
                </a:lnTo>
                <a:lnTo>
                  <a:pt x="317" y="193"/>
                </a:lnTo>
                <a:lnTo>
                  <a:pt x="314" y="190"/>
                </a:lnTo>
                <a:lnTo>
                  <a:pt x="311" y="188"/>
                </a:lnTo>
                <a:lnTo>
                  <a:pt x="309" y="186"/>
                </a:lnTo>
                <a:lnTo>
                  <a:pt x="308" y="183"/>
                </a:lnTo>
                <a:lnTo>
                  <a:pt x="308" y="181"/>
                </a:lnTo>
                <a:lnTo>
                  <a:pt x="308" y="179"/>
                </a:lnTo>
                <a:lnTo>
                  <a:pt x="308" y="174"/>
                </a:lnTo>
                <a:lnTo>
                  <a:pt x="308" y="170"/>
                </a:lnTo>
                <a:lnTo>
                  <a:pt x="307" y="165"/>
                </a:lnTo>
                <a:lnTo>
                  <a:pt x="308" y="160"/>
                </a:lnTo>
                <a:lnTo>
                  <a:pt x="310" y="155"/>
                </a:lnTo>
                <a:lnTo>
                  <a:pt x="314" y="152"/>
                </a:lnTo>
                <a:lnTo>
                  <a:pt x="318" y="147"/>
                </a:lnTo>
                <a:lnTo>
                  <a:pt x="320" y="144"/>
                </a:lnTo>
                <a:lnTo>
                  <a:pt x="317" y="140"/>
                </a:lnTo>
                <a:lnTo>
                  <a:pt x="311" y="138"/>
                </a:lnTo>
                <a:lnTo>
                  <a:pt x="306" y="135"/>
                </a:lnTo>
                <a:lnTo>
                  <a:pt x="301" y="132"/>
                </a:lnTo>
                <a:lnTo>
                  <a:pt x="299" y="127"/>
                </a:lnTo>
                <a:lnTo>
                  <a:pt x="296" y="123"/>
                </a:lnTo>
                <a:lnTo>
                  <a:pt x="295" y="119"/>
                </a:lnTo>
                <a:lnTo>
                  <a:pt x="296" y="118"/>
                </a:lnTo>
                <a:lnTo>
                  <a:pt x="297" y="117"/>
                </a:lnTo>
                <a:lnTo>
                  <a:pt x="300" y="116"/>
                </a:lnTo>
                <a:lnTo>
                  <a:pt x="308" y="116"/>
                </a:lnTo>
                <a:lnTo>
                  <a:pt x="315" y="117"/>
                </a:lnTo>
                <a:lnTo>
                  <a:pt x="318" y="118"/>
                </a:lnTo>
                <a:lnTo>
                  <a:pt x="322" y="118"/>
                </a:lnTo>
                <a:lnTo>
                  <a:pt x="324" y="118"/>
                </a:lnTo>
                <a:lnTo>
                  <a:pt x="327" y="117"/>
                </a:lnTo>
                <a:lnTo>
                  <a:pt x="329" y="116"/>
                </a:lnTo>
                <a:lnTo>
                  <a:pt x="330" y="113"/>
                </a:lnTo>
                <a:lnTo>
                  <a:pt x="331" y="110"/>
                </a:lnTo>
                <a:lnTo>
                  <a:pt x="332" y="106"/>
                </a:lnTo>
                <a:lnTo>
                  <a:pt x="332" y="105"/>
                </a:lnTo>
                <a:lnTo>
                  <a:pt x="334" y="104"/>
                </a:lnTo>
                <a:lnTo>
                  <a:pt x="336" y="103"/>
                </a:lnTo>
                <a:lnTo>
                  <a:pt x="338" y="102"/>
                </a:lnTo>
                <a:lnTo>
                  <a:pt x="342" y="97"/>
                </a:lnTo>
                <a:lnTo>
                  <a:pt x="343" y="92"/>
                </a:lnTo>
                <a:lnTo>
                  <a:pt x="343" y="89"/>
                </a:lnTo>
                <a:lnTo>
                  <a:pt x="343" y="86"/>
                </a:lnTo>
                <a:lnTo>
                  <a:pt x="342" y="84"/>
                </a:lnTo>
                <a:lnTo>
                  <a:pt x="339" y="82"/>
                </a:lnTo>
                <a:lnTo>
                  <a:pt x="338" y="81"/>
                </a:lnTo>
                <a:lnTo>
                  <a:pt x="336" y="79"/>
                </a:lnTo>
                <a:lnTo>
                  <a:pt x="335" y="81"/>
                </a:lnTo>
                <a:lnTo>
                  <a:pt x="334" y="82"/>
                </a:lnTo>
                <a:lnTo>
                  <a:pt x="331" y="84"/>
                </a:lnTo>
                <a:lnTo>
                  <a:pt x="329" y="86"/>
                </a:lnTo>
                <a:lnTo>
                  <a:pt x="325" y="89"/>
                </a:lnTo>
                <a:lnTo>
                  <a:pt x="322" y="91"/>
                </a:lnTo>
                <a:lnTo>
                  <a:pt x="318" y="92"/>
                </a:lnTo>
                <a:lnTo>
                  <a:pt x="314" y="92"/>
                </a:lnTo>
                <a:lnTo>
                  <a:pt x="313" y="91"/>
                </a:lnTo>
                <a:lnTo>
                  <a:pt x="311" y="92"/>
                </a:lnTo>
                <a:lnTo>
                  <a:pt x="310" y="91"/>
                </a:lnTo>
                <a:lnTo>
                  <a:pt x="309" y="90"/>
                </a:lnTo>
                <a:lnTo>
                  <a:pt x="302" y="85"/>
                </a:lnTo>
                <a:lnTo>
                  <a:pt x="294" y="82"/>
                </a:lnTo>
                <a:lnTo>
                  <a:pt x="289" y="79"/>
                </a:lnTo>
                <a:lnTo>
                  <a:pt x="285" y="81"/>
                </a:lnTo>
                <a:lnTo>
                  <a:pt x="280" y="82"/>
                </a:lnTo>
                <a:lnTo>
                  <a:pt x="276" y="84"/>
                </a:lnTo>
                <a:lnTo>
                  <a:pt x="268" y="75"/>
                </a:lnTo>
                <a:lnTo>
                  <a:pt x="259" y="68"/>
                </a:lnTo>
                <a:lnTo>
                  <a:pt x="260" y="71"/>
                </a:lnTo>
                <a:lnTo>
                  <a:pt x="261" y="74"/>
                </a:lnTo>
                <a:lnTo>
                  <a:pt x="258" y="75"/>
                </a:lnTo>
                <a:lnTo>
                  <a:pt x="255" y="75"/>
                </a:lnTo>
                <a:lnTo>
                  <a:pt x="254" y="71"/>
                </a:lnTo>
                <a:lnTo>
                  <a:pt x="254" y="68"/>
                </a:lnTo>
                <a:lnTo>
                  <a:pt x="256" y="68"/>
                </a:lnTo>
                <a:lnTo>
                  <a:pt x="259" y="68"/>
                </a:lnTo>
                <a:lnTo>
                  <a:pt x="258" y="65"/>
                </a:lnTo>
                <a:lnTo>
                  <a:pt x="256" y="64"/>
                </a:lnTo>
                <a:lnTo>
                  <a:pt x="256" y="62"/>
                </a:lnTo>
                <a:lnTo>
                  <a:pt x="258" y="60"/>
                </a:lnTo>
                <a:lnTo>
                  <a:pt x="261" y="56"/>
                </a:lnTo>
                <a:lnTo>
                  <a:pt x="262" y="55"/>
                </a:lnTo>
                <a:lnTo>
                  <a:pt x="260" y="53"/>
                </a:lnTo>
                <a:lnTo>
                  <a:pt x="255" y="51"/>
                </a:lnTo>
                <a:lnTo>
                  <a:pt x="252" y="50"/>
                </a:lnTo>
                <a:lnTo>
                  <a:pt x="248" y="48"/>
                </a:lnTo>
                <a:lnTo>
                  <a:pt x="248" y="44"/>
                </a:lnTo>
                <a:lnTo>
                  <a:pt x="249" y="42"/>
                </a:lnTo>
                <a:lnTo>
                  <a:pt x="252" y="40"/>
                </a:lnTo>
                <a:lnTo>
                  <a:pt x="253" y="39"/>
                </a:lnTo>
                <a:lnTo>
                  <a:pt x="254" y="36"/>
                </a:lnTo>
                <a:lnTo>
                  <a:pt x="254" y="34"/>
                </a:lnTo>
                <a:lnTo>
                  <a:pt x="253" y="32"/>
                </a:lnTo>
                <a:lnTo>
                  <a:pt x="252" y="30"/>
                </a:lnTo>
                <a:lnTo>
                  <a:pt x="251" y="29"/>
                </a:lnTo>
                <a:lnTo>
                  <a:pt x="248" y="30"/>
                </a:lnTo>
                <a:lnTo>
                  <a:pt x="247" y="29"/>
                </a:lnTo>
                <a:lnTo>
                  <a:pt x="246" y="28"/>
                </a:lnTo>
                <a:lnTo>
                  <a:pt x="242" y="28"/>
                </a:lnTo>
                <a:lnTo>
                  <a:pt x="239" y="28"/>
                </a:lnTo>
                <a:lnTo>
                  <a:pt x="237" y="27"/>
                </a:lnTo>
                <a:lnTo>
                  <a:pt x="234" y="26"/>
                </a:lnTo>
                <a:lnTo>
                  <a:pt x="232" y="22"/>
                </a:lnTo>
                <a:lnTo>
                  <a:pt x="230" y="16"/>
                </a:lnTo>
                <a:lnTo>
                  <a:pt x="228" y="13"/>
                </a:lnTo>
                <a:lnTo>
                  <a:pt x="226" y="11"/>
                </a:lnTo>
                <a:lnTo>
                  <a:pt x="224" y="8"/>
                </a:lnTo>
                <a:lnTo>
                  <a:pt x="221" y="6"/>
                </a:lnTo>
                <a:lnTo>
                  <a:pt x="217" y="7"/>
                </a:lnTo>
                <a:lnTo>
                  <a:pt x="213" y="9"/>
                </a:lnTo>
                <a:lnTo>
                  <a:pt x="206" y="12"/>
                </a:lnTo>
                <a:lnTo>
                  <a:pt x="199" y="16"/>
                </a:lnTo>
                <a:lnTo>
                  <a:pt x="194" y="21"/>
                </a:lnTo>
                <a:lnTo>
                  <a:pt x="189" y="28"/>
                </a:lnTo>
                <a:lnTo>
                  <a:pt x="187" y="28"/>
                </a:lnTo>
                <a:lnTo>
                  <a:pt x="185" y="28"/>
                </a:lnTo>
                <a:lnTo>
                  <a:pt x="187" y="21"/>
                </a:lnTo>
                <a:lnTo>
                  <a:pt x="191" y="14"/>
                </a:lnTo>
                <a:lnTo>
                  <a:pt x="194" y="12"/>
                </a:lnTo>
                <a:lnTo>
                  <a:pt x="197" y="9"/>
                </a:lnTo>
                <a:lnTo>
                  <a:pt x="200" y="7"/>
                </a:lnTo>
                <a:lnTo>
                  <a:pt x="205" y="6"/>
                </a:lnTo>
                <a:lnTo>
                  <a:pt x="199" y="2"/>
                </a:lnTo>
                <a:lnTo>
                  <a:pt x="192" y="0"/>
                </a:lnTo>
                <a:lnTo>
                  <a:pt x="189" y="0"/>
                </a:lnTo>
                <a:lnTo>
                  <a:pt x="186" y="1"/>
                </a:lnTo>
                <a:lnTo>
                  <a:pt x="183" y="2"/>
                </a:lnTo>
                <a:lnTo>
                  <a:pt x="179" y="6"/>
                </a:lnTo>
                <a:lnTo>
                  <a:pt x="178" y="6"/>
                </a:lnTo>
                <a:lnTo>
                  <a:pt x="176" y="6"/>
                </a:lnTo>
                <a:lnTo>
                  <a:pt x="171" y="5"/>
                </a:lnTo>
                <a:lnTo>
                  <a:pt x="166" y="5"/>
                </a:lnTo>
                <a:lnTo>
                  <a:pt x="164" y="5"/>
                </a:lnTo>
                <a:lnTo>
                  <a:pt x="163" y="6"/>
                </a:lnTo>
                <a:lnTo>
                  <a:pt x="161" y="7"/>
                </a:lnTo>
                <a:lnTo>
                  <a:pt x="158" y="9"/>
                </a:lnTo>
                <a:lnTo>
                  <a:pt x="157" y="12"/>
                </a:lnTo>
                <a:lnTo>
                  <a:pt x="155" y="12"/>
                </a:lnTo>
                <a:lnTo>
                  <a:pt x="154" y="9"/>
                </a:lnTo>
                <a:lnTo>
                  <a:pt x="152" y="7"/>
                </a:lnTo>
                <a:lnTo>
                  <a:pt x="152" y="5"/>
                </a:lnTo>
                <a:lnTo>
                  <a:pt x="152" y="4"/>
                </a:lnTo>
                <a:lnTo>
                  <a:pt x="152" y="1"/>
                </a:lnTo>
                <a:lnTo>
                  <a:pt x="151" y="0"/>
                </a:lnTo>
                <a:lnTo>
                  <a:pt x="148" y="2"/>
                </a:lnTo>
                <a:lnTo>
                  <a:pt x="145" y="5"/>
                </a:lnTo>
                <a:lnTo>
                  <a:pt x="144" y="7"/>
                </a:lnTo>
                <a:lnTo>
                  <a:pt x="142" y="9"/>
                </a:lnTo>
                <a:lnTo>
                  <a:pt x="140" y="12"/>
                </a:lnTo>
                <a:lnTo>
                  <a:pt x="137" y="12"/>
                </a:lnTo>
                <a:lnTo>
                  <a:pt x="133" y="11"/>
                </a:lnTo>
                <a:lnTo>
                  <a:pt x="129" y="12"/>
                </a:lnTo>
                <a:lnTo>
                  <a:pt x="125" y="14"/>
                </a:lnTo>
                <a:lnTo>
                  <a:pt x="122" y="18"/>
                </a:lnTo>
                <a:lnTo>
                  <a:pt x="120" y="20"/>
                </a:lnTo>
                <a:lnTo>
                  <a:pt x="116" y="22"/>
                </a:lnTo>
                <a:lnTo>
                  <a:pt x="113" y="25"/>
                </a:lnTo>
                <a:lnTo>
                  <a:pt x="108" y="25"/>
                </a:lnTo>
                <a:lnTo>
                  <a:pt x="107" y="25"/>
                </a:lnTo>
                <a:lnTo>
                  <a:pt x="106" y="26"/>
                </a:lnTo>
                <a:lnTo>
                  <a:pt x="104" y="27"/>
                </a:lnTo>
                <a:lnTo>
                  <a:pt x="103" y="28"/>
                </a:lnTo>
                <a:lnTo>
                  <a:pt x="103" y="33"/>
                </a:lnTo>
                <a:lnTo>
                  <a:pt x="102" y="35"/>
                </a:lnTo>
                <a:lnTo>
                  <a:pt x="100" y="37"/>
                </a:lnTo>
                <a:lnTo>
                  <a:pt x="96" y="40"/>
                </a:lnTo>
                <a:lnTo>
                  <a:pt x="95" y="41"/>
                </a:lnTo>
                <a:lnTo>
                  <a:pt x="94" y="42"/>
                </a:lnTo>
                <a:lnTo>
                  <a:pt x="93" y="44"/>
                </a:lnTo>
                <a:lnTo>
                  <a:pt x="93" y="47"/>
                </a:lnTo>
                <a:lnTo>
                  <a:pt x="89" y="43"/>
                </a:lnTo>
                <a:lnTo>
                  <a:pt x="85" y="42"/>
                </a:lnTo>
                <a:lnTo>
                  <a:pt x="79" y="40"/>
                </a:lnTo>
                <a:lnTo>
                  <a:pt x="75" y="40"/>
                </a:lnTo>
                <a:lnTo>
                  <a:pt x="74" y="41"/>
                </a:lnTo>
                <a:lnTo>
                  <a:pt x="73" y="43"/>
                </a:lnTo>
                <a:lnTo>
                  <a:pt x="72" y="46"/>
                </a:lnTo>
                <a:lnTo>
                  <a:pt x="72" y="48"/>
                </a:lnTo>
                <a:lnTo>
                  <a:pt x="71" y="55"/>
                </a:lnTo>
                <a:lnTo>
                  <a:pt x="68" y="60"/>
                </a:lnTo>
                <a:lnTo>
                  <a:pt x="65" y="64"/>
                </a:lnTo>
                <a:lnTo>
                  <a:pt x="59" y="67"/>
                </a:lnTo>
                <a:lnTo>
                  <a:pt x="57" y="69"/>
                </a:lnTo>
                <a:lnTo>
                  <a:pt x="55" y="71"/>
                </a:lnTo>
                <a:lnTo>
                  <a:pt x="53" y="75"/>
                </a:lnTo>
                <a:lnTo>
                  <a:pt x="49" y="76"/>
                </a:lnTo>
                <a:lnTo>
                  <a:pt x="47" y="76"/>
                </a:lnTo>
                <a:lnTo>
                  <a:pt x="44" y="74"/>
                </a:lnTo>
                <a:lnTo>
                  <a:pt x="40" y="72"/>
                </a:lnTo>
                <a:lnTo>
                  <a:pt x="38" y="72"/>
                </a:lnTo>
                <a:lnTo>
                  <a:pt x="34" y="72"/>
                </a:lnTo>
                <a:lnTo>
                  <a:pt x="32" y="74"/>
                </a:lnTo>
                <a:lnTo>
                  <a:pt x="31" y="76"/>
                </a:lnTo>
                <a:lnTo>
                  <a:pt x="31" y="77"/>
                </a:lnTo>
                <a:lnTo>
                  <a:pt x="31" y="79"/>
                </a:lnTo>
                <a:lnTo>
                  <a:pt x="32" y="82"/>
                </a:lnTo>
                <a:lnTo>
                  <a:pt x="33" y="88"/>
                </a:lnTo>
                <a:lnTo>
                  <a:pt x="33" y="93"/>
                </a:lnTo>
                <a:lnTo>
                  <a:pt x="32" y="99"/>
                </a:lnTo>
                <a:lnTo>
                  <a:pt x="30" y="105"/>
                </a:lnTo>
                <a:lnTo>
                  <a:pt x="26" y="110"/>
                </a:lnTo>
                <a:lnTo>
                  <a:pt x="24" y="114"/>
                </a:lnTo>
                <a:lnTo>
                  <a:pt x="23" y="117"/>
                </a:lnTo>
                <a:lnTo>
                  <a:pt x="20" y="118"/>
                </a:lnTo>
                <a:lnTo>
                  <a:pt x="18" y="119"/>
                </a:lnTo>
                <a:lnTo>
                  <a:pt x="14" y="119"/>
                </a:lnTo>
                <a:lnTo>
                  <a:pt x="10" y="120"/>
                </a:lnTo>
                <a:lnTo>
                  <a:pt x="9" y="123"/>
                </a:lnTo>
                <a:lnTo>
                  <a:pt x="10" y="125"/>
                </a:lnTo>
                <a:lnTo>
                  <a:pt x="12" y="127"/>
                </a:lnTo>
                <a:lnTo>
                  <a:pt x="14" y="131"/>
                </a:lnTo>
                <a:lnTo>
                  <a:pt x="14" y="134"/>
                </a:lnTo>
                <a:lnTo>
                  <a:pt x="14" y="137"/>
                </a:lnTo>
                <a:lnTo>
                  <a:pt x="12" y="140"/>
                </a:lnTo>
                <a:lnTo>
                  <a:pt x="9" y="148"/>
                </a:lnTo>
                <a:lnTo>
                  <a:pt x="5" y="156"/>
                </a:lnTo>
                <a:lnTo>
                  <a:pt x="3" y="166"/>
                </a:lnTo>
                <a:lnTo>
                  <a:pt x="2" y="174"/>
                </a:lnTo>
                <a:lnTo>
                  <a:pt x="0" y="186"/>
                </a:lnTo>
                <a:lnTo>
                  <a:pt x="0" y="196"/>
                </a:lnTo>
                <a:lnTo>
                  <a:pt x="2" y="207"/>
                </a:lnTo>
                <a:lnTo>
                  <a:pt x="3" y="217"/>
                </a:lnTo>
                <a:lnTo>
                  <a:pt x="6" y="226"/>
                </a:lnTo>
                <a:lnTo>
                  <a:pt x="10" y="237"/>
                </a:lnTo>
                <a:lnTo>
                  <a:pt x="14" y="246"/>
                </a:lnTo>
                <a:lnTo>
                  <a:pt x="20" y="256"/>
                </a:lnTo>
                <a:lnTo>
                  <a:pt x="27" y="266"/>
                </a:lnTo>
                <a:lnTo>
                  <a:pt x="35" y="277"/>
                </a:lnTo>
                <a:lnTo>
                  <a:pt x="45" y="286"/>
                </a:lnTo>
                <a:lnTo>
                  <a:pt x="55" y="294"/>
                </a:lnTo>
                <a:lnTo>
                  <a:pt x="57" y="296"/>
                </a:lnTo>
                <a:lnTo>
                  <a:pt x="57" y="299"/>
                </a:lnTo>
                <a:lnTo>
                  <a:pt x="57" y="307"/>
                </a:lnTo>
                <a:lnTo>
                  <a:pt x="58" y="316"/>
                </a:lnTo>
                <a:lnTo>
                  <a:pt x="59" y="324"/>
                </a:lnTo>
                <a:lnTo>
                  <a:pt x="60" y="333"/>
                </a:lnTo>
                <a:lnTo>
                  <a:pt x="61" y="341"/>
                </a:lnTo>
                <a:lnTo>
                  <a:pt x="61" y="350"/>
                </a:lnTo>
                <a:lnTo>
                  <a:pt x="62" y="354"/>
                </a:lnTo>
                <a:lnTo>
                  <a:pt x="65" y="358"/>
                </a:lnTo>
                <a:lnTo>
                  <a:pt x="67" y="362"/>
                </a:lnTo>
                <a:lnTo>
                  <a:pt x="71" y="365"/>
                </a:lnTo>
                <a:lnTo>
                  <a:pt x="71" y="365"/>
                </a:lnTo>
                <a:lnTo>
                  <a:pt x="72" y="366"/>
                </a:lnTo>
                <a:lnTo>
                  <a:pt x="72" y="368"/>
                </a:lnTo>
                <a:lnTo>
                  <a:pt x="73" y="369"/>
                </a:lnTo>
                <a:lnTo>
                  <a:pt x="73" y="369"/>
                </a:lnTo>
                <a:lnTo>
                  <a:pt x="74" y="370"/>
                </a:lnTo>
                <a:lnTo>
                  <a:pt x="74" y="372"/>
                </a:lnTo>
                <a:lnTo>
                  <a:pt x="74" y="375"/>
                </a:lnTo>
                <a:lnTo>
                  <a:pt x="71" y="378"/>
                </a:lnTo>
                <a:lnTo>
                  <a:pt x="67" y="382"/>
                </a:lnTo>
                <a:lnTo>
                  <a:pt x="65" y="385"/>
                </a:lnTo>
                <a:lnTo>
                  <a:pt x="64" y="390"/>
                </a:lnTo>
                <a:lnTo>
                  <a:pt x="60" y="400"/>
                </a:lnTo>
                <a:lnTo>
                  <a:pt x="60" y="410"/>
                </a:lnTo>
                <a:lnTo>
                  <a:pt x="60" y="414"/>
                </a:lnTo>
                <a:lnTo>
                  <a:pt x="61" y="419"/>
                </a:lnTo>
                <a:lnTo>
                  <a:pt x="64" y="424"/>
                </a:lnTo>
                <a:lnTo>
                  <a:pt x="66" y="428"/>
                </a:lnTo>
                <a:lnTo>
                  <a:pt x="71" y="439"/>
                </a:lnTo>
                <a:lnTo>
                  <a:pt x="75" y="448"/>
                </a:lnTo>
                <a:lnTo>
                  <a:pt x="79" y="454"/>
                </a:lnTo>
                <a:lnTo>
                  <a:pt x="81" y="461"/>
                </a:lnTo>
                <a:lnTo>
                  <a:pt x="82" y="456"/>
                </a:lnTo>
                <a:lnTo>
                  <a:pt x="85" y="454"/>
                </a:lnTo>
                <a:lnTo>
                  <a:pt x="87" y="450"/>
                </a:lnTo>
                <a:lnTo>
                  <a:pt x="89" y="448"/>
                </a:lnTo>
                <a:lnTo>
                  <a:pt x="87" y="450"/>
                </a:lnTo>
                <a:lnTo>
                  <a:pt x="85" y="454"/>
                </a:lnTo>
                <a:lnTo>
                  <a:pt x="82" y="456"/>
                </a:lnTo>
                <a:lnTo>
                  <a:pt x="81" y="461"/>
                </a:lnTo>
                <a:lnTo>
                  <a:pt x="81" y="462"/>
                </a:lnTo>
                <a:lnTo>
                  <a:pt x="81" y="464"/>
                </a:lnTo>
                <a:lnTo>
                  <a:pt x="86" y="470"/>
                </a:lnTo>
                <a:lnTo>
                  <a:pt x="92" y="475"/>
                </a:lnTo>
                <a:lnTo>
                  <a:pt x="99" y="478"/>
                </a:lnTo>
                <a:lnTo>
                  <a:pt x="106" y="480"/>
                </a:lnTo>
                <a:lnTo>
                  <a:pt x="113" y="480"/>
                </a:lnTo>
                <a:lnTo>
                  <a:pt x="120" y="478"/>
                </a:lnTo>
                <a:lnTo>
                  <a:pt x="127" y="474"/>
                </a:lnTo>
                <a:lnTo>
                  <a:pt x="131" y="469"/>
                </a:lnTo>
                <a:lnTo>
                  <a:pt x="138" y="461"/>
                </a:lnTo>
                <a:lnTo>
                  <a:pt x="144" y="453"/>
                </a:lnTo>
                <a:lnTo>
                  <a:pt x="148" y="454"/>
                </a:lnTo>
                <a:lnTo>
                  <a:pt x="151" y="456"/>
                </a:lnTo>
                <a:lnTo>
                  <a:pt x="152" y="457"/>
                </a:lnTo>
                <a:lnTo>
                  <a:pt x="154" y="459"/>
                </a:lnTo>
                <a:lnTo>
                  <a:pt x="155" y="461"/>
                </a:lnTo>
                <a:lnTo>
                  <a:pt x="155" y="464"/>
                </a:lnTo>
                <a:lnTo>
                  <a:pt x="154" y="487"/>
                </a:lnTo>
                <a:lnTo>
                  <a:pt x="154" y="509"/>
                </a:lnTo>
                <a:lnTo>
                  <a:pt x="155" y="531"/>
                </a:lnTo>
                <a:lnTo>
                  <a:pt x="156" y="553"/>
                </a:lnTo>
                <a:lnTo>
                  <a:pt x="158" y="582"/>
                </a:lnTo>
                <a:lnTo>
                  <a:pt x="161" y="611"/>
                </a:lnTo>
                <a:lnTo>
                  <a:pt x="164" y="639"/>
                </a:lnTo>
                <a:lnTo>
                  <a:pt x="169" y="667"/>
                </a:lnTo>
                <a:lnTo>
                  <a:pt x="171" y="684"/>
                </a:lnTo>
                <a:lnTo>
                  <a:pt x="176" y="700"/>
                </a:lnTo>
                <a:lnTo>
                  <a:pt x="180" y="715"/>
                </a:lnTo>
                <a:lnTo>
                  <a:pt x="186" y="731"/>
                </a:lnTo>
                <a:lnTo>
                  <a:pt x="191" y="741"/>
                </a:lnTo>
                <a:lnTo>
                  <a:pt x="196" y="752"/>
                </a:lnTo>
                <a:lnTo>
                  <a:pt x="200" y="761"/>
                </a:lnTo>
                <a:lnTo>
                  <a:pt x="205" y="771"/>
                </a:lnTo>
                <a:lnTo>
                  <a:pt x="207" y="784"/>
                </a:lnTo>
                <a:lnTo>
                  <a:pt x="210" y="796"/>
                </a:lnTo>
                <a:lnTo>
                  <a:pt x="214" y="812"/>
                </a:lnTo>
                <a:lnTo>
                  <a:pt x="221" y="829"/>
                </a:lnTo>
                <a:lnTo>
                  <a:pt x="224" y="831"/>
                </a:lnTo>
                <a:lnTo>
                  <a:pt x="225" y="832"/>
                </a:lnTo>
                <a:lnTo>
                  <a:pt x="230" y="839"/>
                </a:lnTo>
                <a:lnTo>
                  <a:pt x="235" y="846"/>
                </a:lnTo>
                <a:lnTo>
                  <a:pt x="235" y="847"/>
                </a:lnTo>
                <a:lnTo>
                  <a:pt x="237" y="847"/>
                </a:lnTo>
                <a:lnTo>
                  <a:pt x="240" y="859"/>
                </a:lnTo>
                <a:lnTo>
                  <a:pt x="245" y="869"/>
                </a:lnTo>
                <a:lnTo>
                  <a:pt x="245" y="869"/>
                </a:lnTo>
                <a:lnTo>
                  <a:pt x="245" y="871"/>
                </a:lnTo>
                <a:lnTo>
                  <a:pt x="246" y="876"/>
                </a:lnTo>
                <a:lnTo>
                  <a:pt x="248" y="883"/>
                </a:lnTo>
                <a:lnTo>
                  <a:pt x="251" y="889"/>
                </a:lnTo>
                <a:lnTo>
                  <a:pt x="254" y="895"/>
                </a:lnTo>
                <a:lnTo>
                  <a:pt x="254" y="900"/>
                </a:lnTo>
                <a:lnTo>
                  <a:pt x="252" y="904"/>
                </a:lnTo>
                <a:lnTo>
                  <a:pt x="246" y="914"/>
                </a:lnTo>
                <a:lnTo>
                  <a:pt x="240" y="924"/>
                </a:lnTo>
                <a:lnTo>
                  <a:pt x="240" y="925"/>
                </a:lnTo>
                <a:lnTo>
                  <a:pt x="239" y="927"/>
                </a:lnTo>
                <a:lnTo>
                  <a:pt x="239" y="928"/>
                </a:lnTo>
                <a:lnTo>
                  <a:pt x="238" y="929"/>
                </a:lnTo>
                <a:lnTo>
                  <a:pt x="238" y="929"/>
                </a:lnTo>
                <a:lnTo>
                  <a:pt x="238" y="929"/>
                </a:lnTo>
                <a:lnTo>
                  <a:pt x="235" y="931"/>
                </a:lnTo>
                <a:lnTo>
                  <a:pt x="235" y="934"/>
                </a:lnTo>
                <a:lnTo>
                  <a:pt x="227" y="950"/>
                </a:lnTo>
                <a:lnTo>
                  <a:pt x="220" y="967"/>
                </a:lnTo>
                <a:lnTo>
                  <a:pt x="217" y="972"/>
                </a:lnTo>
                <a:lnTo>
                  <a:pt x="216" y="979"/>
                </a:lnTo>
                <a:lnTo>
                  <a:pt x="216" y="979"/>
                </a:lnTo>
                <a:lnTo>
                  <a:pt x="216" y="980"/>
                </a:lnTo>
                <a:lnTo>
                  <a:pt x="212" y="988"/>
                </a:lnTo>
                <a:lnTo>
                  <a:pt x="210" y="997"/>
                </a:lnTo>
                <a:lnTo>
                  <a:pt x="209" y="1006"/>
                </a:lnTo>
                <a:lnTo>
                  <a:pt x="206" y="1014"/>
                </a:lnTo>
                <a:lnTo>
                  <a:pt x="205" y="1021"/>
                </a:lnTo>
                <a:lnTo>
                  <a:pt x="203" y="1027"/>
                </a:lnTo>
                <a:lnTo>
                  <a:pt x="200" y="1034"/>
                </a:lnTo>
                <a:lnTo>
                  <a:pt x="202" y="1041"/>
                </a:lnTo>
                <a:lnTo>
                  <a:pt x="200" y="1043"/>
                </a:lnTo>
                <a:lnTo>
                  <a:pt x="199" y="1046"/>
                </a:lnTo>
                <a:lnTo>
                  <a:pt x="199" y="1047"/>
                </a:lnTo>
                <a:lnTo>
                  <a:pt x="199" y="1047"/>
                </a:lnTo>
                <a:lnTo>
                  <a:pt x="199" y="1049"/>
                </a:lnTo>
                <a:lnTo>
                  <a:pt x="199" y="1051"/>
                </a:lnTo>
                <a:lnTo>
                  <a:pt x="198" y="1055"/>
                </a:lnTo>
                <a:lnTo>
                  <a:pt x="198" y="1060"/>
                </a:lnTo>
                <a:lnTo>
                  <a:pt x="198" y="1061"/>
                </a:lnTo>
                <a:lnTo>
                  <a:pt x="198" y="1061"/>
                </a:lnTo>
                <a:lnTo>
                  <a:pt x="198" y="1068"/>
                </a:lnTo>
                <a:lnTo>
                  <a:pt x="199" y="1076"/>
                </a:lnTo>
                <a:lnTo>
                  <a:pt x="200" y="1083"/>
                </a:lnTo>
                <a:lnTo>
                  <a:pt x="203" y="1090"/>
                </a:lnTo>
                <a:lnTo>
                  <a:pt x="207" y="1103"/>
                </a:lnTo>
                <a:lnTo>
                  <a:pt x="211" y="1117"/>
                </a:lnTo>
                <a:lnTo>
                  <a:pt x="209" y="1124"/>
                </a:lnTo>
                <a:lnTo>
                  <a:pt x="207" y="1131"/>
                </a:lnTo>
                <a:lnTo>
                  <a:pt x="202" y="1145"/>
                </a:lnTo>
                <a:lnTo>
                  <a:pt x="196" y="1159"/>
                </a:lnTo>
                <a:lnTo>
                  <a:pt x="193" y="1165"/>
                </a:lnTo>
                <a:lnTo>
                  <a:pt x="190" y="1170"/>
                </a:lnTo>
                <a:lnTo>
                  <a:pt x="189" y="1174"/>
                </a:lnTo>
                <a:lnTo>
                  <a:pt x="190" y="1177"/>
                </a:lnTo>
                <a:lnTo>
                  <a:pt x="194" y="1181"/>
                </a:lnTo>
                <a:lnTo>
                  <a:pt x="203" y="1184"/>
                </a:lnTo>
                <a:lnTo>
                  <a:pt x="210" y="1187"/>
                </a:lnTo>
                <a:lnTo>
                  <a:pt x="216" y="1186"/>
                </a:lnTo>
                <a:lnTo>
                  <a:pt x="219" y="1184"/>
                </a:lnTo>
                <a:lnTo>
                  <a:pt x="223" y="1184"/>
                </a:lnTo>
                <a:lnTo>
                  <a:pt x="226" y="1187"/>
                </a:lnTo>
                <a:lnTo>
                  <a:pt x="228" y="1189"/>
                </a:lnTo>
                <a:lnTo>
                  <a:pt x="231" y="1191"/>
                </a:lnTo>
                <a:lnTo>
                  <a:pt x="234" y="1193"/>
                </a:lnTo>
                <a:lnTo>
                  <a:pt x="237" y="1193"/>
                </a:lnTo>
                <a:lnTo>
                  <a:pt x="240" y="1193"/>
                </a:lnTo>
                <a:lnTo>
                  <a:pt x="241" y="1193"/>
                </a:lnTo>
                <a:lnTo>
                  <a:pt x="244" y="1193"/>
                </a:lnTo>
                <a:lnTo>
                  <a:pt x="245" y="1194"/>
                </a:lnTo>
                <a:lnTo>
                  <a:pt x="245" y="1196"/>
                </a:lnTo>
                <a:lnTo>
                  <a:pt x="246" y="1198"/>
                </a:lnTo>
                <a:lnTo>
                  <a:pt x="247" y="1201"/>
                </a:lnTo>
                <a:lnTo>
                  <a:pt x="249" y="1202"/>
                </a:lnTo>
                <a:lnTo>
                  <a:pt x="253" y="1201"/>
                </a:lnTo>
                <a:lnTo>
                  <a:pt x="253" y="1201"/>
                </a:lnTo>
                <a:lnTo>
                  <a:pt x="256" y="1202"/>
                </a:lnTo>
                <a:lnTo>
                  <a:pt x="261" y="1201"/>
                </a:lnTo>
                <a:lnTo>
                  <a:pt x="263" y="1201"/>
                </a:lnTo>
                <a:lnTo>
                  <a:pt x="266" y="1201"/>
                </a:lnTo>
                <a:lnTo>
                  <a:pt x="266" y="1202"/>
                </a:lnTo>
                <a:lnTo>
                  <a:pt x="266" y="1204"/>
                </a:lnTo>
                <a:lnTo>
                  <a:pt x="266" y="1210"/>
                </a:lnTo>
                <a:lnTo>
                  <a:pt x="266" y="1216"/>
                </a:lnTo>
                <a:lnTo>
                  <a:pt x="267" y="1221"/>
                </a:lnTo>
                <a:lnTo>
                  <a:pt x="269" y="1226"/>
                </a:lnTo>
                <a:lnTo>
                  <a:pt x="269" y="1226"/>
                </a:lnTo>
                <a:lnTo>
                  <a:pt x="263" y="1235"/>
                </a:lnTo>
                <a:lnTo>
                  <a:pt x="258" y="1243"/>
                </a:lnTo>
                <a:lnTo>
                  <a:pt x="254" y="1252"/>
                </a:lnTo>
                <a:lnTo>
                  <a:pt x="251" y="1261"/>
                </a:lnTo>
                <a:lnTo>
                  <a:pt x="251" y="1261"/>
                </a:lnTo>
                <a:lnTo>
                  <a:pt x="249" y="1263"/>
                </a:lnTo>
                <a:lnTo>
                  <a:pt x="246" y="1267"/>
                </a:lnTo>
                <a:lnTo>
                  <a:pt x="244" y="1272"/>
                </a:lnTo>
                <a:lnTo>
                  <a:pt x="241" y="1278"/>
                </a:lnTo>
                <a:lnTo>
                  <a:pt x="240" y="1284"/>
                </a:lnTo>
                <a:lnTo>
                  <a:pt x="240" y="1285"/>
                </a:lnTo>
                <a:lnTo>
                  <a:pt x="240" y="1286"/>
                </a:lnTo>
                <a:lnTo>
                  <a:pt x="238" y="1288"/>
                </a:lnTo>
                <a:lnTo>
                  <a:pt x="237" y="1291"/>
                </a:lnTo>
                <a:lnTo>
                  <a:pt x="237" y="1294"/>
                </a:lnTo>
                <a:lnTo>
                  <a:pt x="237" y="1296"/>
                </a:lnTo>
                <a:lnTo>
                  <a:pt x="223" y="1327"/>
                </a:lnTo>
                <a:lnTo>
                  <a:pt x="211" y="1358"/>
                </a:lnTo>
                <a:lnTo>
                  <a:pt x="199" y="1389"/>
                </a:lnTo>
                <a:lnTo>
                  <a:pt x="189" y="1420"/>
                </a:lnTo>
                <a:lnTo>
                  <a:pt x="180" y="1452"/>
                </a:lnTo>
                <a:lnTo>
                  <a:pt x="172" y="1484"/>
                </a:lnTo>
                <a:lnTo>
                  <a:pt x="165" y="1517"/>
                </a:lnTo>
                <a:lnTo>
                  <a:pt x="158" y="1549"/>
                </a:lnTo>
                <a:lnTo>
                  <a:pt x="514" y="1549"/>
                </a:lnTo>
                <a:lnTo>
                  <a:pt x="514" y="1547"/>
                </a:lnTo>
                <a:lnTo>
                  <a:pt x="513" y="1545"/>
                </a:lnTo>
                <a:lnTo>
                  <a:pt x="510" y="1542"/>
                </a:lnTo>
                <a:lnTo>
                  <a:pt x="510" y="1538"/>
                </a:lnTo>
                <a:lnTo>
                  <a:pt x="510" y="1535"/>
                </a:lnTo>
                <a:lnTo>
                  <a:pt x="510" y="1530"/>
                </a:lnTo>
                <a:lnTo>
                  <a:pt x="510" y="1535"/>
                </a:lnTo>
                <a:lnTo>
                  <a:pt x="510" y="1538"/>
                </a:lnTo>
                <a:lnTo>
                  <a:pt x="510" y="1542"/>
                </a:lnTo>
                <a:lnTo>
                  <a:pt x="513" y="1545"/>
                </a:lnTo>
                <a:lnTo>
                  <a:pt x="514" y="1547"/>
                </a:lnTo>
                <a:lnTo>
                  <a:pt x="514" y="1549"/>
                </a:lnTo>
                <a:lnTo>
                  <a:pt x="1621" y="1549"/>
                </a:lnTo>
                <a:lnTo>
                  <a:pt x="1621" y="1533"/>
                </a:lnTo>
                <a:lnTo>
                  <a:pt x="1623" y="1518"/>
                </a:lnTo>
                <a:lnTo>
                  <a:pt x="1625" y="1507"/>
                </a:lnTo>
                <a:lnTo>
                  <a:pt x="1626" y="1495"/>
                </a:lnTo>
                <a:lnTo>
                  <a:pt x="1626" y="1484"/>
                </a:lnTo>
                <a:lnTo>
                  <a:pt x="1626" y="1475"/>
                </a:lnTo>
                <a:lnTo>
                  <a:pt x="1626" y="1465"/>
                </a:lnTo>
                <a:lnTo>
                  <a:pt x="1625" y="1454"/>
                </a:lnTo>
                <a:lnTo>
                  <a:pt x="1621" y="1434"/>
                </a:lnTo>
                <a:lnTo>
                  <a:pt x="1615" y="1414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799" dirty="0"/>
            </a:lvl1pPr>
          </a:lstStyle>
          <a:p>
            <a:pPr lvl="0" algn="ctr"/>
            <a:r>
              <a:rPr lang="en-US" sz="4799" dirty="0"/>
              <a:t>Your photo</a:t>
            </a:r>
          </a:p>
        </p:txBody>
      </p:sp>
    </p:spTree>
    <p:extLst>
      <p:ext uri="{BB962C8B-B14F-4D97-AF65-F5344CB8AC3E}">
        <p14:creationId xmlns:p14="http://schemas.microsoft.com/office/powerpoint/2010/main" val="413022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8" presetClass="entr" presetSubtype="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17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5" grpId="0" animBg="1"/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CB5E525-48CD-954F-A794-047D8520D6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4635" y="434821"/>
            <a:ext cx="8816610" cy="4664006"/>
          </a:xfrm>
          <a:prstGeom prst="rect">
            <a:avLst/>
          </a:prstGeom>
        </p:spPr>
      </p:pic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653E485A-A60F-3445-B719-1F98471FA0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0038" y="1627694"/>
            <a:ext cx="6875869" cy="7432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ECFC896-870B-9C42-93EB-4821D3F5E9C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80039" y="3033002"/>
            <a:ext cx="6868416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200" kern="120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9BBC5C51-8DBD-C245-B449-F97CC31317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83058" y="4627222"/>
            <a:ext cx="2447953" cy="1033768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000" kern="1200" dirty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43443519-3505-AE47-8EFD-FB544CB4F74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39061" y="1753877"/>
            <a:ext cx="2735948" cy="2735987"/>
          </a:xfrm>
          <a:custGeom>
            <a:avLst/>
            <a:gdLst>
              <a:gd name="connsiteX0" fmla="*/ 2736304 w 5472608"/>
              <a:gd name="connsiteY0" fmla="*/ 0 h 5472608"/>
              <a:gd name="connsiteX1" fmla="*/ 5472608 w 5472608"/>
              <a:gd name="connsiteY1" fmla="*/ 2736304 h 5472608"/>
              <a:gd name="connsiteX2" fmla="*/ 2736304 w 5472608"/>
              <a:gd name="connsiteY2" fmla="*/ 5472608 h 5472608"/>
              <a:gd name="connsiteX3" fmla="*/ 0 w 5472608"/>
              <a:gd name="connsiteY3" fmla="*/ 2736304 h 5472608"/>
              <a:gd name="connsiteX4" fmla="*/ 2736304 w 5472608"/>
              <a:gd name="connsiteY4" fmla="*/ 0 h 5472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72608" h="5472608">
                <a:moveTo>
                  <a:pt x="2736304" y="0"/>
                </a:moveTo>
                <a:cubicBezTo>
                  <a:pt x="4247523" y="0"/>
                  <a:pt x="5472608" y="1225085"/>
                  <a:pt x="5472608" y="2736304"/>
                </a:cubicBezTo>
                <a:cubicBezTo>
                  <a:pt x="5472608" y="4247523"/>
                  <a:pt x="4247523" y="5472608"/>
                  <a:pt x="2736304" y="5472608"/>
                </a:cubicBezTo>
                <a:cubicBezTo>
                  <a:pt x="1225085" y="5472608"/>
                  <a:pt x="0" y="4247523"/>
                  <a:pt x="0" y="2736304"/>
                </a:cubicBezTo>
                <a:cubicBezTo>
                  <a:pt x="0" y="1225085"/>
                  <a:pt x="1225085" y="0"/>
                  <a:pt x="2736304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0" name="Дуга 19">
            <a:extLst>
              <a:ext uri="{FF2B5EF4-FFF2-40B4-BE49-F238E27FC236}">
                <a16:creationId xmlns:a16="http://schemas.microsoft.com/office/drawing/2014/main" id="{D44332D9-73E1-F043-B9B4-2D86F4AC9620}"/>
              </a:ext>
            </a:extLst>
          </p:cNvPr>
          <p:cNvSpPr/>
          <p:nvPr userDrawn="1"/>
        </p:nvSpPr>
        <p:spPr>
          <a:xfrm>
            <a:off x="537031" y="1651846"/>
            <a:ext cx="2940008" cy="2940050"/>
          </a:xfrm>
          <a:prstGeom prst="arc">
            <a:avLst>
              <a:gd name="adj1" fmla="val 15064426"/>
              <a:gd name="adj2" fmla="val 12764993"/>
            </a:avLst>
          </a:prstGeom>
          <a:ln w="19050">
            <a:solidFill>
              <a:schemeClr val="tx2">
                <a:lumMod val="25000"/>
                <a:lumOff val="7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</p:spTree>
    <p:extLst>
      <p:ext uri="{BB962C8B-B14F-4D97-AF65-F5344CB8AC3E}">
        <p14:creationId xmlns:p14="http://schemas.microsoft.com/office/powerpoint/2010/main" val="264276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D82FC43-2429-0F49-A6D1-6B0548F5FC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5259" b="33370"/>
          <a:stretch>
            <a:fillRect/>
          </a:stretch>
        </p:blipFill>
        <p:spPr>
          <a:xfrm>
            <a:off x="6066929" y="554075"/>
            <a:ext cx="6125072" cy="6303925"/>
          </a:xfrm>
          <a:custGeom>
            <a:avLst/>
            <a:gdLst>
              <a:gd name="connsiteX0" fmla="*/ 0 w 12251739"/>
              <a:gd name="connsiteY0" fmla="*/ 0 h 12609310"/>
              <a:gd name="connsiteX1" fmla="*/ 12251739 w 12251739"/>
              <a:gd name="connsiteY1" fmla="*/ 0 h 12609310"/>
              <a:gd name="connsiteX2" fmla="*/ 12251739 w 12251739"/>
              <a:gd name="connsiteY2" fmla="*/ 12609310 h 12609310"/>
              <a:gd name="connsiteX3" fmla="*/ 0 w 12251739"/>
              <a:gd name="connsiteY3" fmla="*/ 12609310 h 1260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1739" h="12609310">
                <a:moveTo>
                  <a:pt x="0" y="0"/>
                </a:moveTo>
                <a:lnTo>
                  <a:pt x="12251739" y="0"/>
                </a:lnTo>
                <a:lnTo>
                  <a:pt x="12251739" y="12609310"/>
                </a:lnTo>
                <a:lnTo>
                  <a:pt x="0" y="12609310"/>
                </a:lnTo>
                <a:close/>
              </a:path>
            </a:pathLst>
          </a:custGeom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id="{F60E4E51-AE30-AC4F-8970-F4E2200E0CD9}"/>
              </a:ext>
            </a:extLst>
          </p:cNvPr>
          <p:cNvSpPr/>
          <p:nvPr/>
        </p:nvSpPr>
        <p:spPr>
          <a:xfrm>
            <a:off x="1200093" y="2487653"/>
            <a:ext cx="2487225" cy="2487261"/>
          </a:xfrm>
          <a:prstGeom prst="ellipse">
            <a:avLst/>
          </a:prstGeom>
          <a:noFill/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8F12E8E4-50C8-E345-B120-C9CDF868FEA2}"/>
              </a:ext>
            </a:extLst>
          </p:cNvPr>
          <p:cNvSpPr/>
          <p:nvPr/>
        </p:nvSpPr>
        <p:spPr>
          <a:xfrm>
            <a:off x="4728382" y="2487653"/>
            <a:ext cx="2487225" cy="2487261"/>
          </a:xfrm>
          <a:prstGeom prst="ellipse">
            <a:avLst/>
          </a:prstGeom>
          <a:noFill/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14F500AC-1F1B-DB43-9A8D-38E80B4C94D5}"/>
              </a:ext>
            </a:extLst>
          </p:cNvPr>
          <p:cNvSpPr/>
          <p:nvPr/>
        </p:nvSpPr>
        <p:spPr>
          <a:xfrm>
            <a:off x="8256670" y="2487653"/>
            <a:ext cx="2487225" cy="2487261"/>
          </a:xfrm>
          <a:prstGeom prst="ellipse">
            <a:avLst/>
          </a:prstGeom>
          <a:noFill/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85710DA4-893A-834E-8931-FF40920E33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00855" y="549014"/>
            <a:ext cx="7203108" cy="68399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6" name="Номер слайда 1">
            <a:extLst>
              <a:ext uri="{FF2B5EF4-FFF2-40B4-BE49-F238E27FC236}">
                <a16:creationId xmlns:a16="http://schemas.microsoft.com/office/drawing/2014/main" id="{71C3B2AF-0911-D741-8AA3-EDC352478D29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32" name="Рисунок 31">
            <a:extLst>
              <a:ext uri="{FF2B5EF4-FFF2-40B4-BE49-F238E27FC236}">
                <a16:creationId xmlns:a16="http://schemas.microsoft.com/office/drawing/2014/main" id="{22FC2EA8-B916-C846-8F1B-64ABAE3AA0C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13149" y="2600711"/>
            <a:ext cx="2261114" cy="2261146"/>
          </a:xfrm>
          <a:custGeom>
            <a:avLst/>
            <a:gdLst>
              <a:gd name="connsiteX0" fmla="*/ 2261408 w 4522816"/>
              <a:gd name="connsiteY0" fmla="*/ 0 h 4522816"/>
              <a:gd name="connsiteX1" fmla="*/ 4522816 w 4522816"/>
              <a:gd name="connsiteY1" fmla="*/ 2261408 h 4522816"/>
              <a:gd name="connsiteX2" fmla="*/ 2261408 w 4522816"/>
              <a:gd name="connsiteY2" fmla="*/ 4522816 h 4522816"/>
              <a:gd name="connsiteX3" fmla="*/ 0 w 4522816"/>
              <a:gd name="connsiteY3" fmla="*/ 2261408 h 4522816"/>
              <a:gd name="connsiteX4" fmla="*/ 2261408 w 4522816"/>
              <a:gd name="connsiteY4" fmla="*/ 0 h 452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22816" h="4522816">
                <a:moveTo>
                  <a:pt x="2261408" y="0"/>
                </a:moveTo>
                <a:cubicBezTo>
                  <a:pt x="3510349" y="0"/>
                  <a:pt x="4522816" y="1012467"/>
                  <a:pt x="4522816" y="2261408"/>
                </a:cubicBezTo>
                <a:cubicBezTo>
                  <a:pt x="4522816" y="3510349"/>
                  <a:pt x="3510349" y="4522816"/>
                  <a:pt x="2261408" y="4522816"/>
                </a:cubicBezTo>
                <a:cubicBezTo>
                  <a:pt x="1012467" y="4522816"/>
                  <a:pt x="0" y="3510349"/>
                  <a:pt x="0" y="2261408"/>
                </a:cubicBezTo>
                <a:cubicBezTo>
                  <a:pt x="0" y="1012467"/>
                  <a:pt x="1012467" y="0"/>
                  <a:pt x="2261408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30" name="Рисунок 29">
            <a:extLst>
              <a:ext uri="{FF2B5EF4-FFF2-40B4-BE49-F238E27FC236}">
                <a16:creationId xmlns:a16="http://schemas.microsoft.com/office/drawing/2014/main" id="{6DCDABD4-B2B8-244F-B2F6-6D267097712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841437" y="2600711"/>
            <a:ext cx="2261114" cy="2261146"/>
          </a:xfrm>
          <a:custGeom>
            <a:avLst/>
            <a:gdLst>
              <a:gd name="connsiteX0" fmla="*/ 2261408 w 4522816"/>
              <a:gd name="connsiteY0" fmla="*/ 0 h 4522816"/>
              <a:gd name="connsiteX1" fmla="*/ 4522816 w 4522816"/>
              <a:gd name="connsiteY1" fmla="*/ 2261408 h 4522816"/>
              <a:gd name="connsiteX2" fmla="*/ 2261408 w 4522816"/>
              <a:gd name="connsiteY2" fmla="*/ 4522816 h 4522816"/>
              <a:gd name="connsiteX3" fmla="*/ 0 w 4522816"/>
              <a:gd name="connsiteY3" fmla="*/ 2261408 h 4522816"/>
              <a:gd name="connsiteX4" fmla="*/ 2261408 w 4522816"/>
              <a:gd name="connsiteY4" fmla="*/ 0 h 452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22816" h="4522816">
                <a:moveTo>
                  <a:pt x="2261408" y="0"/>
                </a:moveTo>
                <a:cubicBezTo>
                  <a:pt x="3510349" y="0"/>
                  <a:pt x="4522816" y="1012467"/>
                  <a:pt x="4522816" y="2261408"/>
                </a:cubicBezTo>
                <a:cubicBezTo>
                  <a:pt x="4522816" y="3510349"/>
                  <a:pt x="3510349" y="4522816"/>
                  <a:pt x="2261408" y="4522816"/>
                </a:cubicBezTo>
                <a:cubicBezTo>
                  <a:pt x="1012467" y="4522816"/>
                  <a:pt x="0" y="3510349"/>
                  <a:pt x="0" y="2261408"/>
                </a:cubicBezTo>
                <a:cubicBezTo>
                  <a:pt x="0" y="1012467"/>
                  <a:pt x="1012467" y="0"/>
                  <a:pt x="2261408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31" name="Рисунок 30">
            <a:extLst>
              <a:ext uri="{FF2B5EF4-FFF2-40B4-BE49-F238E27FC236}">
                <a16:creationId xmlns:a16="http://schemas.microsoft.com/office/drawing/2014/main" id="{5BB577AB-7495-AF4E-A4EC-1743993F9CA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369726" y="2600711"/>
            <a:ext cx="2261114" cy="2261146"/>
          </a:xfrm>
          <a:custGeom>
            <a:avLst/>
            <a:gdLst>
              <a:gd name="connsiteX0" fmla="*/ 2261408 w 4522816"/>
              <a:gd name="connsiteY0" fmla="*/ 0 h 4522816"/>
              <a:gd name="connsiteX1" fmla="*/ 4522816 w 4522816"/>
              <a:gd name="connsiteY1" fmla="*/ 2261408 h 4522816"/>
              <a:gd name="connsiteX2" fmla="*/ 2261408 w 4522816"/>
              <a:gd name="connsiteY2" fmla="*/ 4522816 h 4522816"/>
              <a:gd name="connsiteX3" fmla="*/ 0 w 4522816"/>
              <a:gd name="connsiteY3" fmla="*/ 2261408 h 4522816"/>
              <a:gd name="connsiteX4" fmla="*/ 2261408 w 4522816"/>
              <a:gd name="connsiteY4" fmla="*/ 0 h 452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22816" h="4522816">
                <a:moveTo>
                  <a:pt x="2261408" y="0"/>
                </a:moveTo>
                <a:cubicBezTo>
                  <a:pt x="3510348" y="0"/>
                  <a:pt x="4522816" y="1012467"/>
                  <a:pt x="4522816" y="2261408"/>
                </a:cubicBezTo>
                <a:cubicBezTo>
                  <a:pt x="4522816" y="3510349"/>
                  <a:pt x="3510348" y="4522816"/>
                  <a:pt x="2261408" y="4522816"/>
                </a:cubicBezTo>
                <a:cubicBezTo>
                  <a:pt x="1012468" y="4522816"/>
                  <a:pt x="0" y="3510349"/>
                  <a:pt x="0" y="2261408"/>
                </a:cubicBezTo>
                <a:cubicBezTo>
                  <a:pt x="0" y="1012467"/>
                  <a:pt x="1012468" y="0"/>
                  <a:pt x="2261408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271613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/>
        </p:bldLst>
      </p:timing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D82FC43-2429-0F49-A6D1-6B0548F5FC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5259" b="33370"/>
          <a:stretch>
            <a:fillRect/>
          </a:stretch>
        </p:blipFill>
        <p:spPr>
          <a:xfrm>
            <a:off x="6066929" y="554075"/>
            <a:ext cx="6125072" cy="6303925"/>
          </a:xfrm>
          <a:custGeom>
            <a:avLst/>
            <a:gdLst>
              <a:gd name="connsiteX0" fmla="*/ 0 w 12251739"/>
              <a:gd name="connsiteY0" fmla="*/ 0 h 12609310"/>
              <a:gd name="connsiteX1" fmla="*/ 12251739 w 12251739"/>
              <a:gd name="connsiteY1" fmla="*/ 0 h 12609310"/>
              <a:gd name="connsiteX2" fmla="*/ 12251739 w 12251739"/>
              <a:gd name="connsiteY2" fmla="*/ 12609310 h 12609310"/>
              <a:gd name="connsiteX3" fmla="*/ 0 w 12251739"/>
              <a:gd name="connsiteY3" fmla="*/ 12609310 h 1260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1739" h="12609310">
                <a:moveTo>
                  <a:pt x="0" y="0"/>
                </a:moveTo>
                <a:lnTo>
                  <a:pt x="12251739" y="0"/>
                </a:lnTo>
                <a:lnTo>
                  <a:pt x="12251739" y="12609310"/>
                </a:lnTo>
                <a:lnTo>
                  <a:pt x="0" y="12609310"/>
                </a:lnTo>
                <a:close/>
              </a:path>
            </a:pathLst>
          </a:cu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85710DA4-893A-834E-8931-FF40920E33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00856" y="549014"/>
            <a:ext cx="7275106" cy="72718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6" name="Номер слайда 1">
            <a:extLst>
              <a:ext uri="{FF2B5EF4-FFF2-40B4-BE49-F238E27FC236}">
                <a16:creationId xmlns:a16="http://schemas.microsoft.com/office/drawing/2014/main" id="{71C3B2AF-0911-D741-8AA3-EDC352478D29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90BDA67F-4371-1246-BB55-83476E1B3101}"/>
              </a:ext>
            </a:extLst>
          </p:cNvPr>
          <p:cNvSpPr/>
          <p:nvPr/>
        </p:nvSpPr>
        <p:spPr>
          <a:xfrm>
            <a:off x="912099" y="1953007"/>
            <a:ext cx="1940513" cy="1940542"/>
          </a:xfrm>
          <a:prstGeom prst="ellipse">
            <a:avLst/>
          </a:prstGeom>
          <a:noFill/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EA531C55-9FA2-1148-9D2B-959F258FAFDB}"/>
              </a:ext>
            </a:extLst>
          </p:cNvPr>
          <p:cNvSpPr/>
          <p:nvPr/>
        </p:nvSpPr>
        <p:spPr>
          <a:xfrm>
            <a:off x="3054920" y="3280133"/>
            <a:ext cx="1940513" cy="1940542"/>
          </a:xfrm>
          <a:prstGeom prst="ellipse">
            <a:avLst/>
          </a:prstGeom>
          <a:noFill/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DDB339B7-B6F2-7440-805E-8E023BDAF18D}"/>
              </a:ext>
            </a:extLst>
          </p:cNvPr>
          <p:cNvSpPr/>
          <p:nvPr/>
        </p:nvSpPr>
        <p:spPr>
          <a:xfrm>
            <a:off x="5197742" y="1953007"/>
            <a:ext cx="1940513" cy="1940542"/>
          </a:xfrm>
          <a:prstGeom prst="ellipse">
            <a:avLst/>
          </a:prstGeom>
          <a:noFill/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6BFC7CCC-2D86-034F-BF24-31811C048AF3}"/>
              </a:ext>
            </a:extLst>
          </p:cNvPr>
          <p:cNvSpPr/>
          <p:nvPr/>
        </p:nvSpPr>
        <p:spPr>
          <a:xfrm>
            <a:off x="7340563" y="3280133"/>
            <a:ext cx="1940513" cy="1940542"/>
          </a:xfrm>
          <a:prstGeom prst="ellipse">
            <a:avLst/>
          </a:prstGeom>
          <a:noFill/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id="{93A5B2F3-3057-FB4C-8433-10415CFD64A5}"/>
              </a:ext>
            </a:extLst>
          </p:cNvPr>
          <p:cNvSpPr/>
          <p:nvPr/>
        </p:nvSpPr>
        <p:spPr>
          <a:xfrm>
            <a:off x="9483385" y="1953007"/>
            <a:ext cx="1940513" cy="1940542"/>
          </a:xfrm>
          <a:prstGeom prst="ellipse">
            <a:avLst/>
          </a:prstGeom>
          <a:noFill/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51" name="Рисунок 50">
            <a:extLst>
              <a:ext uri="{FF2B5EF4-FFF2-40B4-BE49-F238E27FC236}">
                <a16:creationId xmlns:a16="http://schemas.microsoft.com/office/drawing/2014/main" id="{81D38924-3563-3341-9742-067379D7356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00303" y="2041213"/>
            <a:ext cx="1764103" cy="1764130"/>
          </a:xfrm>
          <a:custGeom>
            <a:avLst/>
            <a:gdLst>
              <a:gd name="connsiteX0" fmla="*/ 1764333 w 3528666"/>
              <a:gd name="connsiteY0" fmla="*/ 0 h 3528668"/>
              <a:gd name="connsiteX1" fmla="*/ 3528666 w 3528666"/>
              <a:gd name="connsiteY1" fmla="*/ 1764334 h 3528668"/>
              <a:gd name="connsiteX2" fmla="*/ 1764333 w 3528666"/>
              <a:gd name="connsiteY2" fmla="*/ 3528668 h 3528668"/>
              <a:gd name="connsiteX3" fmla="*/ 0 w 3528666"/>
              <a:gd name="connsiteY3" fmla="*/ 1764334 h 3528668"/>
              <a:gd name="connsiteX4" fmla="*/ 1764333 w 3528666"/>
              <a:gd name="connsiteY4" fmla="*/ 0 h 352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8666" h="3528668">
                <a:moveTo>
                  <a:pt x="1764333" y="0"/>
                </a:moveTo>
                <a:cubicBezTo>
                  <a:pt x="2738747" y="0"/>
                  <a:pt x="3528666" y="789919"/>
                  <a:pt x="3528666" y="1764334"/>
                </a:cubicBezTo>
                <a:cubicBezTo>
                  <a:pt x="3528666" y="2738749"/>
                  <a:pt x="2738747" y="3528668"/>
                  <a:pt x="1764333" y="3528668"/>
                </a:cubicBezTo>
                <a:cubicBezTo>
                  <a:pt x="789919" y="3528668"/>
                  <a:pt x="0" y="2738749"/>
                  <a:pt x="0" y="1764334"/>
                </a:cubicBezTo>
                <a:cubicBezTo>
                  <a:pt x="0" y="789919"/>
                  <a:pt x="789919" y="0"/>
                  <a:pt x="1764333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50" name="Рисунок 49">
            <a:extLst>
              <a:ext uri="{FF2B5EF4-FFF2-40B4-BE49-F238E27FC236}">
                <a16:creationId xmlns:a16="http://schemas.microsoft.com/office/drawing/2014/main" id="{CD6FDBD8-9FDA-3649-898C-A0A7F7A8A9C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143125" y="3368339"/>
            <a:ext cx="1764103" cy="1764130"/>
          </a:xfrm>
          <a:custGeom>
            <a:avLst/>
            <a:gdLst>
              <a:gd name="connsiteX0" fmla="*/ 1764333 w 3528666"/>
              <a:gd name="connsiteY0" fmla="*/ 0 h 3528668"/>
              <a:gd name="connsiteX1" fmla="*/ 3528666 w 3528666"/>
              <a:gd name="connsiteY1" fmla="*/ 1764334 h 3528668"/>
              <a:gd name="connsiteX2" fmla="*/ 1764333 w 3528666"/>
              <a:gd name="connsiteY2" fmla="*/ 3528668 h 3528668"/>
              <a:gd name="connsiteX3" fmla="*/ 0 w 3528666"/>
              <a:gd name="connsiteY3" fmla="*/ 1764334 h 3528668"/>
              <a:gd name="connsiteX4" fmla="*/ 1764333 w 3528666"/>
              <a:gd name="connsiteY4" fmla="*/ 0 h 352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8666" h="3528668">
                <a:moveTo>
                  <a:pt x="1764333" y="0"/>
                </a:moveTo>
                <a:cubicBezTo>
                  <a:pt x="2738747" y="0"/>
                  <a:pt x="3528666" y="789919"/>
                  <a:pt x="3528666" y="1764334"/>
                </a:cubicBezTo>
                <a:cubicBezTo>
                  <a:pt x="3528666" y="2738749"/>
                  <a:pt x="2738747" y="3528668"/>
                  <a:pt x="1764333" y="3528668"/>
                </a:cubicBezTo>
                <a:cubicBezTo>
                  <a:pt x="789919" y="3528668"/>
                  <a:pt x="0" y="2738749"/>
                  <a:pt x="0" y="1764334"/>
                </a:cubicBezTo>
                <a:cubicBezTo>
                  <a:pt x="0" y="789919"/>
                  <a:pt x="789919" y="0"/>
                  <a:pt x="1764333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52" name="Рисунок 51">
            <a:extLst>
              <a:ext uri="{FF2B5EF4-FFF2-40B4-BE49-F238E27FC236}">
                <a16:creationId xmlns:a16="http://schemas.microsoft.com/office/drawing/2014/main" id="{FD0FDFDC-181E-FC4B-927F-CD5CDAC7C79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285946" y="2041213"/>
            <a:ext cx="1764103" cy="1764130"/>
          </a:xfrm>
          <a:custGeom>
            <a:avLst/>
            <a:gdLst>
              <a:gd name="connsiteX0" fmla="*/ 1764333 w 3528666"/>
              <a:gd name="connsiteY0" fmla="*/ 0 h 3528668"/>
              <a:gd name="connsiteX1" fmla="*/ 3528666 w 3528666"/>
              <a:gd name="connsiteY1" fmla="*/ 1764334 h 3528668"/>
              <a:gd name="connsiteX2" fmla="*/ 1764333 w 3528666"/>
              <a:gd name="connsiteY2" fmla="*/ 3528668 h 3528668"/>
              <a:gd name="connsiteX3" fmla="*/ 0 w 3528666"/>
              <a:gd name="connsiteY3" fmla="*/ 1764334 h 3528668"/>
              <a:gd name="connsiteX4" fmla="*/ 1764333 w 3528666"/>
              <a:gd name="connsiteY4" fmla="*/ 0 h 352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8666" h="3528668">
                <a:moveTo>
                  <a:pt x="1764333" y="0"/>
                </a:moveTo>
                <a:cubicBezTo>
                  <a:pt x="2738747" y="0"/>
                  <a:pt x="3528666" y="789919"/>
                  <a:pt x="3528666" y="1764334"/>
                </a:cubicBezTo>
                <a:cubicBezTo>
                  <a:pt x="3528666" y="2738749"/>
                  <a:pt x="2738747" y="3528668"/>
                  <a:pt x="1764333" y="3528668"/>
                </a:cubicBezTo>
                <a:cubicBezTo>
                  <a:pt x="789919" y="3528668"/>
                  <a:pt x="0" y="2738749"/>
                  <a:pt x="0" y="1764334"/>
                </a:cubicBezTo>
                <a:cubicBezTo>
                  <a:pt x="0" y="789919"/>
                  <a:pt x="789919" y="0"/>
                  <a:pt x="1764333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53" name="Рисунок 52">
            <a:extLst>
              <a:ext uri="{FF2B5EF4-FFF2-40B4-BE49-F238E27FC236}">
                <a16:creationId xmlns:a16="http://schemas.microsoft.com/office/drawing/2014/main" id="{E9B1F196-BDC8-4F47-81CA-2683DE44A50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428768" y="3368339"/>
            <a:ext cx="1764103" cy="1764130"/>
          </a:xfrm>
          <a:custGeom>
            <a:avLst/>
            <a:gdLst>
              <a:gd name="connsiteX0" fmla="*/ 1764333 w 3528665"/>
              <a:gd name="connsiteY0" fmla="*/ 0 h 3528668"/>
              <a:gd name="connsiteX1" fmla="*/ 3528665 w 3528665"/>
              <a:gd name="connsiteY1" fmla="*/ 1764334 h 3528668"/>
              <a:gd name="connsiteX2" fmla="*/ 1764333 w 3528665"/>
              <a:gd name="connsiteY2" fmla="*/ 3528668 h 3528668"/>
              <a:gd name="connsiteX3" fmla="*/ 0 w 3528665"/>
              <a:gd name="connsiteY3" fmla="*/ 1764334 h 3528668"/>
              <a:gd name="connsiteX4" fmla="*/ 1764333 w 3528665"/>
              <a:gd name="connsiteY4" fmla="*/ 0 h 352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8665" h="3528668">
                <a:moveTo>
                  <a:pt x="1764333" y="0"/>
                </a:moveTo>
                <a:cubicBezTo>
                  <a:pt x="2738747" y="0"/>
                  <a:pt x="3528665" y="789919"/>
                  <a:pt x="3528665" y="1764334"/>
                </a:cubicBezTo>
                <a:cubicBezTo>
                  <a:pt x="3528665" y="2738749"/>
                  <a:pt x="2738747" y="3528668"/>
                  <a:pt x="1764333" y="3528668"/>
                </a:cubicBezTo>
                <a:cubicBezTo>
                  <a:pt x="789919" y="3528668"/>
                  <a:pt x="0" y="2738749"/>
                  <a:pt x="0" y="1764334"/>
                </a:cubicBezTo>
                <a:cubicBezTo>
                  <a:pt x="0" y="789919"/>
                  <a:pt x="789919" y="0"/>
                  <a:pt x="1764333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54" name="Рисунок 53">
            <a:extLst>
              <a:ext uri="{FF2B5EF4-FFF2-40B4-BE49-F238E27FC236}">
                <a16:creationId xmlns:a16="http://schemas.microsoft.com/office/drawing/2014/main" id="{C6D1A082-8F60-044C-BC7A-1ECB907B58F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71589" y="2041213"/>
            <a:ext cx="1764103" cy="1764130"/>
          </a:xfrm>
          <a:custGeom>
            <a:avLst/>
            <a:gdLst>
              <a:gd name="connsiteX0" fmla="*/ 1764332 w 3528666"/>
              <a:gd name="connsiteY0" fmla="*/ 0 h 3528668"/>
              <a:gd name="connsiteX1" fmla="*/ 3528666 w 3528666"/>
              <a:gd name="connsiteY1" fmla="*/ 1764334 h 3528668"/>
              <a:gd name="connsiteX2" fmla="*/ 1764332 w 3528666"/>
              <a:gd name="connsiteY2" fmla="*/ 3528668 h 3528668"/>
              <a:gd name="connsiteX3" fmla="*/ 0 w 3528666"/>
              <a:gd name="connsiteY3" fmla="*/ 1764334 h 3528668"/>
              <a:gd name="connsiteX4" fmla="*/ 1764332 w 3528666"/>
              <a:gd name="connsiteY4" fmla="*/ 0 h 352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8666" h="3528668">
                <a:moveTo>
                  <a:pt x="1764332" y="0"/>
                </a:moveTo>
                <a:cubicBezTo>
                  <a:pt x="2738748" y="0"/>
                  <a:pt x="3528666" y="789919"/>
                  <a:pt x="3528666" y="1764334"/>
                </a:cubicBezTo>
                <a:cubicBezTo>
                  <a:pt x="3528666" y="2738749"/>
                  <a:pt x="2738748" y="3528668"/>
                  <a:pt x="1764332" y="3528668"/>
                </a:cubicBezTo>
                <a:cubicBezTo>
                  <a:pt x="789920" y="3528668"/>
                  <a:pt x="0" y="2738749"/>
                  <a:pt x="0" y="1764334"/>
                </a:cubicBezTo>
                <a:cubicBezTo>
                  <a:pt x="0" y="789919"/>
                  <a:pt x="789920" y="0"/>
                  <a:pt x="1764332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50170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/>
        </p:bldLst>
      </p:timing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549014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313005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63532F8-AAD2-EB43-AF58-40FF831F2C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5128" b="33267"/>
          <a:stretch>
            <a:fillRect/>
          </a:stretch>
        </p:blipFill>
        <p:spPr>
          <a:xfrm>
            <a:off x="6064039" y="554075"/>
            <a:ext cx="6127962" cy="6303925"/>
          </a:xfrm>
          <a:custGeom>
            <a:avLst/>
            <a:gdLst>
              <a:gd name="connsiteX0" fmla="*/ 0 w 12257519"/>
              <a:gd name="connsiteY0" fmla="*/ 0 h 12609310"/>
              <a:gd name="connsiteX1" fmla="*/ 12257519 w 12257519"/>
              <a:gd name="connsiteY1" fmla="*/ 0 h 12609310"/>
              <a:gd name="connsiteX2" fmla="*/ 12257519 w 12257519"/>
              <a:gd name="connsiteY2" fmla="*/ 12609310 h 12609310"/>
              <a:gd name="connsiteX3" fmla="*/ 0 w 12257519"/>
              <a:gd name="connsiteY3" fmla="*/ 12609310 h 1260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7519" h="12609310">
                <a:moveTo>
                  <a:pt x="0" y="0"/>
                </a:moveTo>
                <a:lnTo>
                  <a:pt x="12257519" y="0"/>
                </a:lnTo>
                <a:lnTo>
                  <a:pt x="12257519" y="12609310"/>
                </a:lnTo>
                <a:lnTo>
                  <a:pt x="0" y="12609310"/>
                </a:lnTo>
                <a:close/>
              </a:path>
            </a:pathLst>
          </a:custGeom>
        </p:spPr>
      </p:pic>
      <p:sp>
        <p:nvSpPr>
          <p:cNvPr id="9" name="Рисунок 8">
            <a:extLst>
              <a:ext uri="{FF2B5EF4-FFF2-40B4-BE49-F238E27FC236}">
                <a16:creationId xmlns:a16="http://schemas.microsoft.com/office/drawing/2014/main" id="{E3FA22BA-6878-D24E-A4F9-6C45D0FE503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888927" y="1268296"/>
            <a:ext cx="2133892" cy="4560166"/>
          </a:xfrm>
          <a:custGeom>
            <a:avLst/>
            <a:gdLst>
              <a:gd name="connsiteX0" fmla="*/ 452103 w 4268340"/>
              <a:gd name="connsiteY0" fmla="*/ 0 h 9121387"/>
              <a:gd name="connsiteX1" fmla="*/ 1024218 w 4268340"/>
              <a:gd name="connsiteY1" fmla="*/ 0 h 9121387"/>
              <a:gd name="connsiteX2" fmla="*/ 1024218 w 4268340"/>
              <a:gd name="connsiteY2" fmla="*/ 107513 h 9121387"/>
              <a:gd name="connsiteX3" fmla="*/ 1209057 w 4268340"/>
              <a:gd name="connsiteY3" fmla="*/ 292352 h 9121387"/>
              <a:gd name="connsiteX4" fmla="*/ 3060664 w 4268340"/>
              <a:gd name="connsiteY4" fmla="*/ 292352 h 9121387"/>
              <a:gd name="connsiteX5" fmla="*/ 3245504 w 4268340"/>
              <a:gd name="connsiteY5" fmla="*/ 107513 h 9121387"/>
              <a:gd name="connsiteX6" fmla="*/ 3245504 w 4268340"/>
              <a:gd name="connsiteY6" fmla="*/ 0 h 9121387"/>
              <a:gd name="connsiteX7" fmla="*/ 3816238 w 4268340"/>
              <a:gd name="connsiteY7" fmla="*/ 0 h 9121387"/>
              <a:gd name="connsiteX8" fmla="*/ 4268340 w 4268340"/>
              <a:gd name="connsiteY8" fmla="*/ 452102 h 9121387"/>
              <a:gd name="connsiteX9" fmla="*/ 4268340 w 4268340"/>
              <a:gd name="connsiteY9" fmla="*/ 8669285 h 9121387"/>
              <a:gd name="connsiteX10" fmla="*/ 3816238 w 4268340"/>
              <a:gd name="connsiteY10" fmla="*/ 9121387 h 9121387"/>
              <a:gd name="connsiteX11" fmla="*/ 452103 w 4268340"/>
              <a:gd name="connsiteY11" fmla="*/ 9121387 h 9121387"/>
              <a:gd name="connsiteX12" fmla="*/ 0 w 4268340"/>
              <a:gd name="connsiteY12" fmla="*/ 8669285 h 9121387"/>
              <a:gd name="connsiteX13" fmla="*/ 0 w 4268340"/>
              <a:gd name="connsiteY13" fmla="*/ 452102 h 9121387"/>
              <a:gd name="connsiteX14" fmla="*/ 452103 w 4268340"/>
              <a:gd name="connsiteY14" fmla="*/ 0 h 91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268340" h="9121387">
                <a:moveTo>
                  <a:pt x="452103" y="0"/>
                </a:moveTo>
                <a:lnTo>
                  <a:pt x="1024218" y="0"/>
                </a:lnTo>
                <a:lnTo>
                  <a:pt x="1024218" y="107513"/>
                </a:lnTo>
                <a:cubicBezTo>
                  <a:pt x="1024218" y="209597"/>
                  <a:pt x="1106974" y="292352"/>
                  <a:pt x="1209057" y="292352"/>
                </a:cubicBezTo>
                <a:lnTo>
                  <a:pt x="3060664" y="292352"/>
                </a:lnTo>
                <a:cubicBezTo>
                  <a:pt x="3162748" y="292352"/>
                  <a:pt x="3245504" y="209597"/>
                  <a:pt x="3245504" y="107513"/>
                </a:cubicBezTo>
                <a:lnTo>
                  <a:pt x="3245504" y="0"/>
                </a:lnTo>
                <a:lnTo>
                  <a:pt x="3816238" y="0"/>
                </a:lnTo>
                <a:cubicBezTo>
                  <a:pt x="4065926" y="0"/>
                  <a:pt x="4268340" y="202414"/>
                  <a:pt x="4268340" y="452102"/>
                </a:cubicBezTo>
                <a:lnTo>
                  <a:pt x="4268340" y="8669285"/>
                </a:lnTo>
                <a:cubicBezTo>
                  <a:pt x="4268340" y="8918973"/>
                  <a:pt x="4065926" y="9121387"/>
                  <a:pt x="3816238" y="9121387"/>
                </a:cubicBezTo>
                <a:lnTo>
                  <a:pt x="452103" y="9121387"/>
                </a:lnTo>
                <a:cubicBezTo>
                  <a:pt x="202414" y="9121387"/>
                  <a:pt x="0" y="8918973"/>
                  <a:pt x="0" y="8669285"/>
                </a:cubicBezTo>
                <a:lnTo>
                  <a:pt x="0" y="452102"/>
                </a:lnTo>
                <a:cubicBezTo>
                  <a:pt x="0" y="202414"/>
                  <a:pt x="202414" y="0"/>
                  <a:pt x="452103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92958202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549014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313005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4BF7E8F-790F-FB43-8670-2A3749FC12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5259" b="33370"/>
          <a:stretch>
            <a:fillRect/>
          </a:stretch>
        </p:blipFill>
        <p:spPr>
          <a:xfrm>
            <a:off x="6066929" y="554075"/>
            <a:ext cx="6125072" cy="6303925"/>
          </a:xfrm>
          <a:custGeom>
            <a:avLst/>
            <a:gdLst>
              <a:gd name="connsiteX0" fmla="*/ 0 w 12251739"/>
              <a:gd name="connsiteY0" fmla="*/ 0 h 12609310"/>
              <a:gd name="connsiteX1" fmla="*/ 12251739 w 12251739"/>
              <a:gd name="connsiteY1" fmla="*/ 0 h 12609310"/>
              <a:gd name="connsiteX2" fmla="*/ 12251739 w 12251739"/>
              <a:gd name="connsiteY2" fmla="*/ 12609310 h 12609310"/>
              <a:gd name="connsiteX3" fmla="*/ 0 w 12251739"/>
              <a:gd name="connsiteY3" fmla="*/ 12609310 h 1260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1739" h="12609310">
                <a:moveTo>
                  <a:pt x="0" y="0"/>
                </a:moveTo>
                <a:lnTo>
                  <a:pt x="12251739" y="0"/>
                </a:lnTo>
                <a:lnTo>
                  <a:pt x="12251739" y="12609310"/>
                </a:lnTo>
                <a:lnTo>
                  <a:pt x="0" y="12609310"/>
                </a:lnTo>
                <a:close/>
              </a:path>
            </a:pathLst>
          </a:custGeom>
        </p:spPr>
      </p:pic>
      <p:sp>
        <p:nvSpPr>
          <p:cNvPr id="25" name="Рисунок 24">
            <a:extLst>
              <a:ext uri="{FF2B5EF4-FFF2-40B4-BE49-F238E27FC236}">
                <a16:creationId xmlns:a16="http://schemas.microsoft.com/office/drawing/2014/main" id="{69791461-B9A8-9748-BFDE-2F44AF054EA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07089" y="-1"/>
            <a:ext cx="2332092" cy="4147876"/>
          </a:xfrm>
          <a:custGeom>
            <a:avLst/>
            <a:gdLst>
              <a:gd name="connsiteX0" fmla="*/ 0 w 4664792"/>
              <a:gd name="connsiteY0" fmla="*/ 0 h 8296712"/>
              <a:gd name="connsiteX1" fmla="*/ 4664792 w 4664792"/>
              <a:gd name="connsiteY1" fmla="*/ 0 h 8296712"/>
              <a:gd name="connsiteX2" fmla="*/ 4664792 w 4664792"/>
              <a:gd name="connsiteY2" fmla="*/ 8296712 h 8296712"/>
              <a:gd name="connsiteX3" fmla="*/ 0 w 4664792"/>
              <a:gd name="connsiteY3" fmla="*/ 8296712 h 8296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64792" h="8296712">
                <a:moveTo>
                  <a:pt x="0" y="0"/>
                </a:moveTo>
                <a:lnTo>
                  <a:pt x="4664792" y="0"/>
                </a:lnTo>
                <a:lnTo>
                  <a:pt x="4664792" y="8296712"/>
                </a:lnTo>
                <a:lnTo>
                  <a:pt x="0" y="829671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6" name="Рисунок 25">
            <a:extLst>
              <a:ext uri="{FF2B5EF4-FFF2-40B4-BE49-F238E27FC236}">
                <a16:creationId xmlns:a16="http://schemas.microsoft.com/office/drawing/2014/main" id="{4AFD79B6-AA8C-F44F-B9E6-3BC65ED81BB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207089" y="4400995"/>
            <a:ext cx="2332092" cy="2457005"/>
          </a:xfrm>
          <a:custGeom>
            <a:avLst/>
            <a:gdLst>
              <a:gd name="connsiteX0" fmla="*/ 0 w 4664792"/>
              <a:gd name="connsiteY0" fmla="*/ 0 h 4914578"/>
              <a:gd name="connsiteX1" fmla="*/ 4664792 w 4664792"/>
              <a:gd name="connsiteY1" fmla="*/ 0 h 4914578"/>
              <a:gd name="connsiteX2" fmla="*/ 4664792 w 4664792"/>
              <a:gd name="connsiteY2" fmla="*/ 4914578 h 4914578"/>
              <a:gd name="connsiteX3" fmla="*/ 0 w 4664792"/>
              <a:gd name="connsiteY3" fmla="*/ 4914578 h 4914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64792" h="4914578">
                <a:moveTo>
                  <a:pt x="0" y="0"/>
                </a:moveTo>
                <a:lnTo>
                  <a:pt x="4664792" y="0"/>
                </a:lnTo>
                <a:lnTo>
                  <a:pt x="4664792" y="4914578"/>
                </a:lnTo>
                <a:lnTo>
                  <a:pt x="0" y="491457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30" name="Рисунок 29">
            <a:extLst>
              <a:ext uri="{FF2B5EF4-FFF2-40B4-BE49-F238E27FC236}">
                <a16:creationId xmlns:a16="http://schemas.microsoft.com/office/drawing/2014/main" id="{31B4C558-444A-4548-A087-ABB164C723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26756" y="2431141"/>
            <a:ext cx="2332092" cy="4147876"/>
          </a:xfrm>
          <a:custGeom>
            <a:avLst/>
            <a:gdLst>
              <a:gd name="connsiteX0" fmla="*/ 925457 w 4664791"/>
              <a:gd name="connsiteY0" fmla="*/ 0 h 8296712"/>
              <a:gd name="connsiteX1" fmla="*/ 4664791 w 4664791"/>
              <a:gd name="connsiteY1" fmla="*/ 0 h 8296712"/>
              <a:gd name="connsiteX2" fmla="*/ 4664791 w 4664791"/>
              <a:gd name="connsiteY2" fmla="*/ 8296712 h 8296712"/>
              <a:gd name="connsiteX3" fmla="*/ 0 w 4664791"/>
              <a:gd name="connsiteY3" fmla="*/ 8296712 h 8296712"/>
              <a:gd name="connsiteX4" fmla="*/ 0 w 4664791"/>
              <a:gd name="connsiteY4" fmla="*/ 6666087 h 8296712"/>
              <a:gd name="connsiteX5" fmla="*/ 925457 w 4664791"/>
              <a:gd name="connsiteY5" fmla="*/ 6666087 h 8296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64791" h="8296712">
                <a:moveTo>
                  <a:pt x="925457" y="0"/>
                </a:moveTo>
                <a:lnTo>
                  <a:pt x="4664791" y="0"/>
                </a:lnTo>
                <a:lnTo>
                  <a:pt x="4664791" y="8296712"/>
                </a:lnTo>
                <a:lnTo>
                  <a:pt x="0" y="8296712"/>
                </a:lnTo>
                <a:lnTo>
                  <a:pt x="0" y="6666087"/>
                </a:lnTo>
                <a:lnTo>
                  <a:pt x="925457" y="6666087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9" name="Рисунок 28">
            <a:extLst>
              <a:ext uri="{FF2B5EF4-FFF2-40B4-BE49-F238E27FC236}">
                <a16:creationId xmlns:a16="http://schemas.microsoft.com/office/drawing/2014/main" id="{E6C8A95C-0900-0A4F-9F38-AB9567927AC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626756" y="-1"/>
            <a:ext cx="2332092" cy="2178022"/>
          </a:xfrm>
          <a:custGeom>
            <a:avLst/>
            <a:gdLst>
              <a:gd name="connsiteX0" fmla="*/ 0 w 4664791"/>
              <a:gd name="connsiteY0" fmla="*/ 0 h 4356548"/>
              <a:gd name="connsiteX1" fmla="*/ 4664791 w 4664791"/>
              <a:gd name="connsiteY1" fmla="*/ 0 h 4356548"/>
              <a:gd name="connsiteX2" fmla="*/ 4664791 w 4664791"/>
              <a:gd name="connsiteY2" fmla="*/ 4356548 h 4356548"/>
              <a:gd name="connsiteX3" fmla="*/ 925457 w 4664791"/>
              <a:gd name="connsiteY3" fmla="*/ 4356548 h 4356548"/>
              <a:gd name="connsiteX4" fmla="*/ 925457 w 4664791"/>
              <a:gd name="connsiteY4" fmla="*/ 2708503 h 4356548"/>
              <a:gd name="connsiteX5" fmla="*/ 0 w 4664791"/>
              <a:gd name="connsiteY5" fmla="*/ 2708503 h 4356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64791" h="4356548">
                <a:moveTo>
                  <a:pt x="0" y="0"/>
                </a:moveTo>
                <a:lnTo>
                  <a:pt x="4664791" y="0"/>
                </a:lnTo>
                <a:lnTo>
                  <a:pt x="4664791" y="4356548"/>
                </a:lnTo>
                <a:lnTo>
                  <a:pt x="925457" y="4356548"/>
                </a:lnTo>
                <a:lnTo>
                  <a:pt x="925457" y="2708503"/>
                </a:lnTo>
                <a:lnTo>
                  <a:pt x="0" y="2708503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943B45A6-BE3F-1B49-B378-A2280675B2B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20028" y="1485008"/>
            <a:ext cx="2332092" cy="4147876"/>
          </a:xfrm>
          <a:custGeom>
            <a:avLst/>
            <a:gdLst>
              <a:gd name="connsiteX0" fmla="*/ 0 w 4664791"/>
              <a:gd name="connsiteY0" fmla="*/ 0 h 8296712"/>
              <a:gd name="connsiteX1" fmla="*/ 4664791 w 4664791"/>
              <a:gd name="connsiteY1" fmla="*/ 0 h 8296712"/>
              <a:gd name="connsiteX2" fmla="*/ 4664791 w 4664791"/>
              <a:gd name="connsiteY2" fmla="*/ 8296712 h 8296712"/>
              <a:gd name="connsiteX3" fmla="*/ 0 w 4664791"/>
              <a:gd name="connsiteY3" fmla="*/ 8296712 h 8296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64791" h="8296712">
                <a:moveTo>
                  <a:pt x="0" y="0"/>
                </a:moveTo>
                <a:lnTo>
                  <a:pt x="4664791" y="0"/>
                </a:lnTo>
                <a:lnTo>
                  <a:pt x="4664791" y="8296712"/>
                </a:lnTo>
                <a:lnTo>
                  <a:pt x="0" y="829671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38629396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549014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313005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4BF7E8F-790F-FB43-8670-2A3749FC12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5259" b="33370"/>
          <a:stretch>
            <a:fillRect/>
          </a:stretch>
        </p:blipFill>
        <p:spPr>
          <a:xfrm>
            <a:off x="6066929" y="554075"/>
            <a:ext cx="6125072" cy="6303925"/>
          </a:xfrm>
          <a:custGeom>
            <a:avLst/>
            <a:gdLst>
              <a:gd name="connsiteX0" fmla="*/ 0 w 12251739"/>
              <a:gd name="connsiteY0" fmla="*/ 0 h 12609310"/>
              <a:gd name="connsiteX1" fmla="*/ 12251739 w 12251739"/>
              <a:gd name="connsiteY1" fmla="*/ 0 h 12609310"/>
              <a:gd name="connsiteX2" fmla="*/ 12251739 w 12251739"/>
              <a:gd name="connsiteY2" fmla="*/ 12609310 h 12609310"/>
              <a:gd name="connsiteX3" fmla="*/ 0 w 12251739"/>
              <a:gd name="connsiteY3" fmla="*/ 12609310 h 1260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1739" h="12609310">
                <a:moveTo>
                  <a:pt x="0" y="0"/>
                </a:moveTo>
                <a:lnTo>
                  <a:pt x="12251739" y="0"/>
                </a:lnTo>
                <a:lnTo>
                  <a:pt x="12251739" y="12609310"/>
                </a:lnTo>
                <a:lnTo>
                  <a:pt x="0" y="12609310"/>
                </a:lnTo>
                <a:close/>
              </a:path>
            </a:pathLst>
          </a:custGeom>
        </p:spPr>
      </p:pic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34DF9F2-9325-A642-8FFD-5DEC145FD22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837682" y="2212263"/>
            <a:ext cx="2612007" cy="4645736"/>
          </a:xfrm>
          <a:custGeom>
            <a:avLst/>
            <a:gdLst>
              <a:gd name="connsiteX0" fmla="*/ 0 w 5224695"/>
              <a:gd name="connsiteY0" fmla="*/ 0 h 9292548"/>
              <a:gd name="connsiteX1" fmla="*/ 5224695 w 5224695"/>
              <a:gd name="connsiteY1" fmla="*/ 0 h 9292548"/>
              <a:gd name="connsiteX2" fmla="*/ 5224695 w 5224695"/>
              <a:gd name="connsiteY2" fmla="*/ 9292548 h 9292548"/>
              <a:gd name="connsiteX3" fmla="*/ 0 w 5224695"/>
              <a:gd name="connsiteY3" fmla="*/ 9292548 h 9292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4695" h="9292548">
                <a:moveTo>
                  <a:pt x="0" y="0"/>
                </a:moveTo>
                <a:lnTo>
                  <a:pt x="5224695" y="0"/>
                </a:lnTo>
                <a:lnTo>
                  <a:pt x="5224695" y="9292548"/>
                </a:lnTo>
                <a:lnTo>
                  <a:pt x="0" y="929254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1" name="Рисунок 20">
            <a:extLst>
              <a:ext uri="{FF2B5EF4-FFF2-40B4-BE49-F238E27FC236}">
                <a16:creationId xmlns:a16="http://schemas.microsoft.com/office/drawing/2014/main" id="{E13F041A-B014-CE4E-A6A0-3205F31AED2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03893" y="-3299"/>
            <a:ext cx="2612008" cy="4645736"/>
          </a:xfrm>
          <a:custGeom>
            <a:avLst/>
            <a:gdLst>
              <a:gd name="connsiteX0" fmla="*/ 0 w 5224696"/>
              <a:gd name="connsiteY0" fmla="*/ 0 h 9292548"/>
              <a:gd name="connsiteX1" fmla="*/ 5224696 w 5224696"/>
              <a:gd name="connsiteY1" fmla="*/ 0 h 9292548"/>
              <a:gd name="connsiteX2" fmla="*/ 5224696 w 5224696"/>
              <a:gd name="connsiteY2" fmla="*/ 9292548 h 9292548"/>
              <a:gd name="connsiteX3" fmla="*/ 0 w 5224696"/>
              <a:gd name="connsiteY3" fmla="*/ 9292548 h 9292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4696" h="9292548">
                <a:moveTo>
                  <a:pt x="0" y="0"/>
                </a:moveTo>
                <a:lnTo>
                  <a:pt x="5224696" y="0"/>
                </a:lnTo>
                <a:lnTo>
                  <a:pt x="5224696" y="9292548"/>
                </a:lnTo>
                <a:lnTo>
                  <a:pt x="0" y="929254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083606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42"/>
            <a:ext cx="6705600" cy="711081"/>
          </a:xfrm>
        </p:spPr>
        <p:txBody>
          <a:bodyPr>
            <a:noAutofit/>
          </a:bodyPr>
          <a:lstStyle>
            <a:lvl1pPr>
              <a:defRPr sz="35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4E2B0-FEF2-4C8F-90A4-46C9D72643E3}" type="datetime1">
              <a:rPr lang="en-US" smtClean="0"/>
              <a:t>11/1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lideModel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0" y="6356354"/>
            <a:ext cx="762001" cy="365125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91440" rIns="0" bIns="91440" numCol="1" anchor="ctr" anchorCtr="1" compatLnSpc="1">
            <a:prstTxWarp prst="textNoShape">
              <a:avLst/>
            </a:prstTxWarp>
          </a:bodyPr>
          <a:lstStyle>
            <a:lvl1pPr algn="r">
              <a:defRPr lang="en-US" sz="1400" kern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6E69268-9C8B-4EBF-A9EE-DC5DC2D48DC3}" type="slidenum">
              <a:rPr lang="es-UY" smtClean="0"/>
              <a:pPr/>
              <a:t>‹#›</a:t>
            </a:fld>
            <a:endParaRPr lang="es-UY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480301" y="362139"/>
            <a:ext cx="4114800" cy="533400"/>
          </a:xfrm>
        </p:spPr>
        <p:txBody>
          <a:bodyPr anchor="ctr">
            <a:noAutofit/>
          </a:bodyPr>
          <a:lstStyle>
            <a:lvl1pPr marL="0" indent="0" algn="r">
              <a:buNone/>
              <a:defRPr sz="19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Breadcrumb 1 &gt; Breadcrumb 2</a:t>
            </a:r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82206945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549014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313005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4BF7E8F-790F-FB43-8670-2A3749FC12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5259" b="33370"/>
          <a:stretch>
            <a:fillRect/>
          </a:stretch>
        </p:blipFill>
        <p:spPr>
          <a:xfrm>
            <a:off x="6066929" y="554075"/>
            <a:ext cx="6125072" cy="6303925"/>
          </a:xfrm>
          <a:custGeom>
            <a:avLst/>
            <a:gdLst>
              <a:gd name="connsiteX0" fmla="*/ 0 w 12251739"/>
              <a:gd name="connsiteY0" fmla="*/ 0 h 12609310"/>
              <a:gd name="connsiteX1" fmla="*/ 12251739 w 12251739"/>
              <a:gd name="connsiteY1" fmla="*/ 0 h 12609310"/>
              <a:gd name="connsiteX2" fmla="*/ 12251739 w 12251739"/>
              <a:gd name="connsiteY2" fmla="*/ 12609310 h 12609310"/>
              <a:gd name="connsiteX3" fmla="*/ 0 w 12251739"/>
              <a:gd name="connsiteY3" fmla="*/ 12609310 h 1260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1739" h="12609310">
                <a:moveTo>
                  <a:pt x="0" y="0"/>
                </a:moveTo>
                <a:lnTo>
                  <a:pt x="12251739" y="0"/>
                </a:lnTo>
                <a:lnTo>
                  <a:pt x="12251739" y="12609310"/>
                </a:lnTo>
                <a:lnTo>
                  <a:pt x="0" y="12609310"/>
                </a:lnTo>
                <a:close/>
              </a:path>
            </a:pathLst>
          </a:custGeom>
        </p:spPr>
      </p:pic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D342285D-1034-B140-A540-452DC6F7CB3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296939" y="-1"/>
            <a:ext cx="3320453" cy="3320501"/>
          </a:xfrm>
          <a:custGeom>
            <a:avLst/>
            <a:gdLst>
              <a:gd name="connsiteX0" fmla="*/ 0 w 6641771"/>
              <a:gd name="connsiteY0" fmla="*/ 0 h 6641770"/>
              <a:gd name="connsiteX1" fmla="*/ 6641771 w 6641771"/>
              <a:gd name="connsiteY1" fmla="*/ 0 h 6641770"/>
              <a:gd name="connsiteX2" fmla="*/ 6641771 w 6641771"/>
              <a:gd name="connsiteY2" fmla="*/ 6641770 h 6641770"/>
              <a:gd name="connsiteX3" fmla="*/ 0 w 6641771"/>
              <a:gd name="connsiteY3" fmla="*/ 6641770 h 6641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1771" h="6641770">
                <a:moveTo>
                  <a:pt x="0" y="0"/>
                </a:moveTo>
                <a:lnTo>
                  <a:pt x="6641771" y="0"/>
                </a:lnTo>
                <a:lnTo>
                  <a:pt x="6641771" y="6641770"/>
                </a:lnTo>
                <a:lnTo>
                  <a:pt x="0" y="6641770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5EA8B8D2-66D8-BD46-85E5-13F1B7D4168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871548" y="-1"/>
            <a:ext cx="3320452" cy="3320501"/>
          </a:xfrm>
          <a:custGeom>
            <a:avLst/>
            <a:gdLst>
              <a:gd name="connsiteX0" fmla="*/ 0 w 6641768"/>
              <a:gd name="connsiteY0" fmla="*/ 0 h 6641770"/>
              <a:gd name="connsiteX1" fmla="*/ 6641768 w 6641768"/>
              <a:gd name="connsiteY1" fmla="*/ 0 h 6641770"/>
              <a:gd name="connsiteX2" fmla="*/ 6641768 w 6641768"/>
              <a:gd name="connsiteY2" fmla="*/ 6641770 h 6641770"/>
              <a:gd name="connsiteX3" fmla="*/ 0 w 6641768"/>
              <a:gd name="connsiteY3" fmla="*/ 6641770 h 6641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1768" h="6641770">
                <a:moveTo>
                  <a:pt x="0" y="0"/>
                </a:moveTo>
                <a:lnTo>
                  <a:pt x="6641768" y="0"/>
                </a:lnTo>
                <a:lnTo>
                  <a:pt x="6641768" y="6641770"/>
                </a:lnTo>
                <a:lnTo>
                  <a:pt x="0" y="6641770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5" name="Рисунок 24">
            <a:extLst>
              <a:ext uri="{FF2B5EF4-FFF2-40B4-BE49-F238E27FC236}">
                <a16:creationId xmlns:a16="http://schemas.microsoft.com/office/drawing/2014/main" id="{6F6D5832-140D-B44A-B0A1-9302BA50BFB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296939" y="3537499"/>
            <a:ext cx="3320453" cy="3320501"/>
          </a:xfrm>
          <a:custGeom>
            <a:avLst/>
            <a:gdLst>
              <a:gd name="connsiteX0" fmla="*/ 0 w 6641771"/>
              <a:gd name="connsiteY0" fmla="*/ 0 h 6641770"/>
              <a:gd name="connsiteX1" fmla="*/ 6641771 w 6641771"/>
              <a:gd name="connsiteY1" fmla="*/ 0 h 6641770"/>
              <a:gd name="connsiteX2" fmla="*/ 6641771 w 6641771"/>
              <a:gd name="connsiteY2" fmla="*/ 6641770 h 6641770"/>
              <a:gd name="connsiteX3" fmla="*/ 0 w 6641771"/>
              <a:gd name="connsiteY3" fmla="*/ 6641770 h 6641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1771" h="6641770">
                <a:moveTo>
                  <a:pt x="0" y="0"/>
                </a:moveTo>
                <a:lnTo>
                  <a:pt x="6641771" y="0"/>
                </a:lnTo>
                <a:lnTo>
                  <a:pt x="6641771" y="6641770"/>
                </a:lnTo>
                <a:lnTo>
                  <a:pt x="0" y="6641770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EED3F128-537F-1D4F-80AA-4CD33972EFE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871548" y="3537499"/>
            <a:ext cx="3320452" cy="3320501"/>
          </a:xfrm>
          <a:custGeom>
            <a:avLst/>
            <a:gdLst>
              <a:gd name="connsiteX0" fmla="*/ 0 w 6641768"/>
              <a:gd name="connsiteY0" fmla="*/ 0 h 6641770"/>
              <a:gd name="connsiteX1" fmla="*/ 6641768 w 6641768"/>
              <a:gd name="connsiteY1" fmla="*/ 0 h 6641770"/>
              <a:gd name="connsiteX2" fmla="*/ 6641768 w 6641768"/>
              <a:gd name="connsiteY2" fmla="*/ 6641770 h 6641770"/>
              <a:gd name="connsiteX3" fmla="*/ 0 w 6641768"/>
              <a:gd name="connsiteY3" fmla="*/ 6641770 h 6641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1768" h="6641770">
                <a:moveTo>
                  <a:pt x="0" y="0"/>
                </a:moveTo>
                <a:lnTo>
                  <a:pt x="6641768" y="0"/>
                </a:lnTo>
                <a:lnTo>
                  <a:pt x="6641768" y="6641770"/>
                </a:lnTo>
                <a:lnTo>
                  <a:pt x="0" y="6641770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59700615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549014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313005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4BF7E8F-790F-FB43-8670-2A3749FC12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5259" b="33370"/>
          <a:stretch>
            <a:fillRect/>
          </a:stretch>
        </p:blipFill>
        <p:spPr>
          <a:xfrm>
            <a:off x="6066929" y="554075"/>
            <a:ext cx="6125072" cy="6303925"/>
          </a:xfrm>
          <a:custGeom>
            <a:avLst/>
            <a:gdLst>
              <a:gd name="connsiteX0" fmla="*/ 0 w 12251739"/>
              <a:gd name="connsiteY0" fmla="*/ 0 h 12609310"/>
              <a:gd name="connsiteX1" fmla="*/ 12251739 w 12251739"/>
              <a:gd name="connsiteY1" fmla="*/ 0 h 12609310"/>
              <a:gd name="connsiteX2" fmla="*/ 12251739 w 12251739"/>
              <a:gd name="connsiteY2" fmla="*/ 12609310 h 12609310"/>
              <a:gd name="connsiteX3" fmla="*/ 0 w 12251739"/>
              <a:gd name="connsiteY3" fmla="*/ 12609310 h 1260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1739" h="12609310">
                <a:moveTo>
                  <a:pt x="0" y="0"/>
                </a:moveTo>
                <a:lnTo>
                  <a:pt x="12251739" y="0"/>
                </a:lnTo>
                <a:lnTo>
                  <a:pt x="12251739" y="12609310"/>
                </a:lnTo>
                <a:lnTo>
                  <a:pt x="0" y="12609310"/>
                </a:lnTo>
                <a:close/>
              </a:path>
            </a:pathLst>
          </a:custGeom>
        </p:spPr>
      </p:pic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D782A054-4036-8A45-8731-C0815C8CAEF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277030" y="900495"/>
            <a:ext cx="3320453" cy="3320501"/>
          </a:xfrm>
          <a:custGeom>
            <a:avLst/>
            <a:gdLst>
              <a:gd name="connsiteX0" fmla="*/ 0 w 6641771"/>
              <a:gd name="connsiteY0" fmla="*/ 0 h 6641770"/>
              <a:gd name="connsiteX1" fmla="*/ 6641771 w 6641771"/>
              <a:gd name="connsiteY1" fmla="*/ 0 h 6641770"/>
              <a:gd name="connsiteX2" fmla="*/ 6641771 w 6641771"/>
              <a:gd name="connsiteY2" fmla="*/ 6641770 h 6641770"/>
              <a:gd name="connsiteX3" fmla="*/ 0 w 6641771"/>
              <a:gd name="connsiteY3" fmla="*/ 6641770 h 6641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1771" h="6641770">
                <a:moveTo>
                  <a:pt x="0" y="0"/>
                </a:moveTo>
                <a:lnTo>
                  <a:pt x="6641771" y="0"/>
                </a:lnTo>
                <a:lnTo>
                  <a:pt x="6641771" y="6641770"/>
                </a:lnTo>
                <a:lnTo>
                  <a:pt x="0" y="6641770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6" name="Рисунок 25">
            <a:extLst>
              <a:ext uri="{FF2B5EF4-FFF2-40B4-BE49-F238E27FC236}">
                <a16:creationId xmlns:a16="http://schemas.microsoft.com/office/drawing/2014/main" id="{40C6665D-9F72-894A-8EDC-D0979420363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259119" y="-1"/>
            <a:ext cx="3320453" cy="3320501"/>
          </a:xfrm>
          <a:custGeom>
            <a:avLst/>
            <a:gdLst>
              <a:gd name="connsiteX0" fmla="*/ 0 w 6641771"/>
              <a:gd name="connsiteY0" fmla="*/ 0 h 6641770"/>
              <a:gd name="connsiteX1" fmla="*/ 6641771 w 6641771"/>
              <a:gd name="connsiteY1" fmla="*/ 0 h 6641770"/>
              <a:gd name="connsiteX2" fmla="*/ 6641771 w 6641771"/>
              <a:gd name="connsiteY2" fmla="*/ 6641770 h 6641770"/>
              <a:gd name="connsiteX3" fmla="*/ 1145807 w 6641771"/>
              <a:gd name="connsiteY3" fmla="*/ 6641770 h 6641770"/>
              <a:gd name="connsiteX4" fmla="*/ 1145807 w 6641771"/>
              <a:gd name="connsiteY4" fmla="*/ 1416986 h 6641770"/>
              <a:gd name="connsiteX5" fmla="*/ 0 w 6641771"/>
              <a:gd name="connsiteY5" fmla="*/ 1416986 h 6641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41771" h="6641770">
                <a:moveTo>
                  <a:pt x="0" y="0"/>
                </a:moveTo>
                <a:lnTo>
                  <a:pt x="6641771" y="0"/>
                </a:lnTo>
                <a:lnTo>
                  <a:pt x="6641771" y="6641770"/>
                </a:lnTo>
                <a:lnTo>
                  <a:pt x="1145807" y="6641770"/>
                </a:lnTo>
                <a:lnTo>
                  <a:pt x="1145807" y="1416986"/>
                </a:lnTo>
                <a:lnTo>
                  <a:pt x="0" y="141698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7" name="Рисунок 26">
            <a:extLst>
              <a:ext uri="{FF2B5EF4-FFF2-40B4-BE49-F238E27FC236}">
                <a16:creationId xmlns:a16="http://schemas.microsoft.com/office/drawing/2014/main" id="{CCAB1B12-920A-E84A-976C-F69ECFB35AE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259119" y="3537499"/>
            <a:ext cx="3320453" cy="3320501"/>
          </a:xfrm>
          <a:custGeom>
            <a:avLst/>
            <a:gdLst>
              <a:gd name="connsiteX0" fmla="*/ 1145807 w 6641771"/>
              <a:gd name="connsiteY0" fmla="*/ 0 h 6641770"/>
              <a:gd name="connsiteX1" fmla="*/ 6641771 w 6641771"/>
              <a:gd name="connsiteY1" fmla="*/ 0 h 6641770"/>
              <a:gd name="connsiteX2" fmla="*/ 6641771 w 6641771"/>
              <a:gd name="connsiteY2" fmla="*/ 6641770 h 6641770"/>
              <a:gd name="connsiteX3" fmla="*/ 0 w 6641771"/>
              <a:gd name="connsiteY3" fmla="*/ 6641770 h 6641770"/>
              <a:gd name="connsiteX4" fmla="*/ 0 w 6641771"/>
              <a:gd name="connsiteY4" fmla="*/ 1751366 h 6641770"/>
              <a:gd name="connsiteX5" fmla="*/ 1145807 w 6641771"/>
              <a:gd name="connsiteY5" fmla="*/ 1751366 h 6641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41771" h="6641770">
                <a:moveTo>
                  <a:pt x="1145807" y="0"/>
                </a:moveTo>
                <a:lnTo>
                  <a:pt x="6641771" y="0"/>
                </a:lnTo>
                <a:lnTo>
                  <a:pt x="6641771" y="6641770"/>
                </a:lnTo>
                <a:lnTo>
                  <a:pt x="0" y="6641770"/>
                </a:lnTo>
                <a:lnTo>
                  <a:pt x="0" y="1751366"/>
                </a:lnTo>
                <a:lnTo>
                  <a:pt x="1145807" y="175136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71945637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549014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313005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4BF7E8F-790F-FB43-8670-2A3749FC12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5259" b="33370"/>
          <a:stretch>
            <a:fillRect/>
          </a:stretch>
        </p:blipFill>
        <p:spPr>
          <a:xfrm>
            <a:off x="6066929" y="554075"/>
            <a:ext cx="6125072" cy="6303925"/>
          </a:xfrm>
          <a:custGeom>
            <a:avLst/>
            <a:gdLst>
              <a:gd name="connsiteX0" fmla="*/ 0 w 12251739"/>
              <a:gd name="connsiteY0" fmla="*/ 0 h 12609310"/>
              <a:gd name="connsiteX1" fmla="*/ 12251739 w 12251739"/>
              <a:gd name="connsiteY1" fmla="*/ 0 h 12609310"/>
              <a:gd name="connsiteX2" fmla="*/ 12251739 w 12251739"/>
              <a:gd name="connsiteY2" fmla="*/ 12609310 h 12609310"/>
              <a:gd name="connsiteX3" fmla="*/ 0 w 12251739"/>
              <a:gd name="connsiteY3" fmla="*/ 12609310 h 1260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1739" h="12609310">
                <a:moveTo>
                  <a:pt x="0" y="0"/>
                </a:moveTo>
                <a:lnTo>
                  <a:pt x="12251739" y="0"/>
                </a:lnTo>
                <a:lnTo>
                  <a:pt x="12251739" y="12609310"/>
                </a:lnTo>
                <a:lnTo>
                  <a:pt x="0" y="12609310"/>
                </a:lnTo>
                <a:close/>
              </a:path>
            </a:pathLst>
          </a:cu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C2E5746-61CA-6E45-97A7-91F87B5946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 r="29651"/>
          <a:stretch/>
        </p:blipFill>
        <p:spPr>
          <a:xfrm>
            <a:off x="5972924" y="1020938"/>
            <a:ext cx="6219076" cy="4816125"/>
          </a:xfrm>
          <a:prstGeom prst="rect">
            <a:avLst/>
          </a:prstGeom>
        </p:spPr>
      </p:pic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0C96BAC7-FF6D-CA42-B655-0C122ACAE20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067982" y="1305010"/>
            <a:ext cx="5124019" cy="4120603"/>
          </a:xfrm>
          <a:custGeom>
            <a:avLst/>
            <a:gdLst>
              <a:gd name="connsiteX0" fmla="*/ 0 w 10249373"/>
              <a:gd name="connsiteY0" fmla="*/ 0 h 8242161"/>
              <a:gd name="connsiteX1" fmla="*/ 10249373 w 10249373"/>
              <a:gd name="connsiteY1" fmla="*/ 0 h 8242161"/>
              <a:gd name="connsiteX2" fmla="*/ 10249373 w 10249373"/>
              <a:gd name="connsiteY2" fmla="*/ 7730238 h 8242161"/>
              <a:gd name="connsiteX3" fmla="*/ 10249373 w 10249373"/>
              <a:gd name="connsiteY3" fmla="*/ 8127924 h 8242161"/>
              <a:gd name="connsiteX4" fmla="*/ 10191889 w 10249373"/>
              <a:gd name="connsiteY4" fmla="*/ 8242161 h 8242161"/>
              <a:gd name="connsiteX5" fmla="*/ 9991781 w 10249373"/>
              <a:gd name="connsiteY5" fmla="*/ 8242161 h 8242161"/>
              <a:gd name="connsiteX6" fmla="*/ 257591 w 10249373"/>
              <a:gd name="connsiteY6" fmla="*/ 8242161 h 8242161"/>
              <a:gd name="connsiteX7" fmla="*/ 57482 w 10249373"/>
              <a:gd name="connsiteY7" fmla="*/ 8242161 h 8242161"/>
              <a:gd name="connsiteX8" fmla="*/ 0 w 10249373"/>
              <a:gd name="connsiteY8" fmla="*/ 8127924 h 8242161"/>
              <a:gd name="connsiteX9" fmla="*/ 0 w 10249373"/>
              <a:gd name="connsiteY9" fmla="*/ 7730238 h 8242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249373" h="8242161">
                <a:moveTo>
                  <a:pt x="0" y="0"/>
                </a:moveTo>
                <a:lnTo>
                  <a:pt x="10249373" y="0"/>
                </a:lnTo>
                <a:lnTo>
                  <a:pt x="10249373" y="7730238"/>
                </a:lnTo>
                <a:lnTo>
                  <a:pt x="10249373" y="8127924"/>
                </a:lnTo>
                <a:cubicBezTo>
                  <a:pt x="10249373" y="8191016"/>
                  <a:pt x="10223637" y="8242161"/>
                  <a:pt x="10191889" y="8242161"/>
                </a:cubicBezTo>
                <a:lnTo>
                  <a:pt x="9991781" y="8242161"/>
                </a:lnTo>
                <a:lnTo>
                  <a:pt x="257591" y="8242161"/>
                </a:lnTo>
                <a:lnTo>
                  <a:pt x="57482" y="8242161"/>
                </a:lnTo>
                <a:cubicBezTo>
                  <a:pt x="25735" y="8242161"/>
                  <a:pt x="0" y="8191016"/>
                  <a:pt x="0" y="8127924"/>
                </a:cubicBezTo>
                <a:lnTo>
                  <a:pt x="0" y="773023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56945970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549014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313005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4BF7E8F-790F-FB43-8670-2A3749FC12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5259" b="33370"/>
          <a:stretch>
            <a:fillRect/>
          </a:stretch>
        </p:blipFill>
        <p:spPr>
          <a:xfrm>
            <a:off x="6066929" y="554075"/>
            <a:ext cx="6125072" cy="6303925"/>
          </a:xfrm>
          <a:custGeom>
            <a:avLst/>
            <a:gdLst>
              <a:gd name="connsiteX0" fmla="*/ 0 w 12251739"/>
              <a:gd name="connsiteY0" fmla="*/ 0 h 12609310"/>
              <a:gd name="connsiteX1" fmla="*/ 12251739 w 12251739"/>
              <a:gd name="connsiteY1" fmla="*/ 0 h 12609310"/>
              <a:gd name="connsiteX2" fmla="*/ 12251739 w 12251739"/>
              <a:gd name="connsiteY2" fmla="*/ 12609310 h 12609310"/>
              <a:gd name="connsiteX3" fmla="*/ 0 w 12251739"/>
              <a:gd name="connsiteY3" fmla="*/ 12609310 h 1260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1739" h="12609310">
                <a:moveTo>
                  <a:pt x="0" y="0"/>
                </a:moveTo>
                <a:lnTo>
                  <a:pt x="12251739" y="0"/>
                </a:lnTo>
                <a:lnTo>
                  <a:pt x="12251739" y="12609310"/>
                </a:lnTo>
                <a:lnTo>
                  <a:pt x="0" y="12609310"/>
                </a:lnTo>
                <a:close/>
              </a:path>
            </a:pathLst>
          </a:custGeom>
        </p:spPr>
      </p:pic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8B6360A5-3F98-1E47-9F22-1CE5A0B14CB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004049" y="1089380"/>
            <a:ext cx="3187953" cy="2332126"/>
          </a:xfrm>
          <a:custGeom>
            <a:avLst/>
            <a:gdLst>
              <a:gd name="connsiteX0" fmla="*/ 0 w 6376736"/>
              <a:gd name="connsiteY0" fmla="*/ 0 h 4664792"/>
              <a:gd name="connsiteX1" fmla="*/ 6376736 w 6376736"/>
              <a:gd name="connsiteY1" fmla="*/ 0 h 4664792"/>
              <a:gd name="connsiteX2" fmla="*/ 6376736 w 6376736"/>
              <a:gd name="connsiteY2" fmla="*/ 4664792 h 4664792"/>
              <a:gd name="connsiteX3" fmla="*/ 0 w 6376736"/>
              <a:gd name="connsiteY3" fmla="*/ 4664792 h 4664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6736" h="4664792">
                <a:moveTo>
                  <a:pt x="0" y="0"/>
                </a:moveTo>
                <a:lnTo>
                  <a:pt x="6376736" y="0"/>
                </a:lnTo>
                <a:lnTo>
                  <a:pt x="6376736" y="4664792"/>
                </a:lnTo>
                <a:lnTo>
                  <a:pt x="0" y="466479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5" name="Рисунок 24">
            <a:extLst>
              <a:ext uri="{FF2B5EF4-FFF2-40B4-BE49-F238E27FC236}">
                <a16:creationId xmlns:a16="http://schemas.microsoft.com/office/drawing/2014/main" id="{A606B61A-3E4F-7D4D-BA00-31CC7313BED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044184" y="3609000"/>
            <a:ext cx="4147816" cy="2332125"/>
          </a:xfrm>
          <a:custGeom>
            <a:avLst/>
            <a:gdLst>
              <a:gd name="connsiteX0" fmla="*/ 0 w 8296712"/>
              <a:gd name="connsiteY0" fmla="*/ 0 h 4664791"/>
              <a:gd name="connsiteX1" fmla="*/ 8296712 w 8296712"/>
              <a:gd name="connsiteY1" fmla="*/ 0 h 4664791"/>
              <a:gd name="connsiteX2" fmla="*/ 8296712 w 8296712"/>
              <a:gd name="connsiteY2" fmla="*/ 4664791 h 4664791"/>
              <a:gd name="connsiteX3" fmla="*/ 0 w 8296712"/>
              <a:gd name="connsiteY3" fmla="*/ 4664791 h 4664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96712" h="4664791">
                <a:moveTo>
                  <a:pt x="0" y="0"/>
                </a:moveTo>
                <a:lnTo>
                  <a:pt x="8296712" y="0"/>
                </a:lnTo>
                <a:lnTo>
                  <a:pt x="8296712" y="4664791"/>
                </a:lnTo>
                <a:lnTo>
                  <a:pt x="0" y="4664791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6" name="Рисунок 25">
            <a:extLst>
              <a:ext uri="{FF2B5EF4-FFF2-40B4-BE49-F238E27FC236}">
                <a16:creationId xmlns:a16="http://schemas.microsoft.com/office/drawing/2014/main" id="{5F7DFB6E-AC20-2F46-BD4C-4E8358C7A1E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04976" y="1089010"/>
            <a:ext cx="4147816" cy="2332126"/>
          </a:xfrm>
          <a:custGeom>
            <a:avLst/>
            <a:gdLst>
              <a:gd name="connsiteX0" fmla="*/ 0 w 8296712"/>
              <a:gd name="connsiteY0" fmla="*/ 0 h 4664792"/>
              <a:gd name="connsiteX1" fmla="*/ 8296712 w 8296712"/>
              <a:gd name="connsiteY1" fmla="*/ 0 h 4664792"/>
              <a:gd name="connsiteX2" fmla="*/ 8296712 w 8296712"/>
              <a:gd name="connsiteY2" fmla="*/ 4664792 h 4664792"/>
              <a:gd name="connsiteX3" fmla="*/ 0 w 8296712"/>
              <a:gd name="connsiteY3" fmla="*/ 4664792 h 4664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96712" h="4664792">
                <a:moveTo>
                  <a:pt x="0" y="0"/>
                </a:moveTo>
                <a:lnTo>
                  <a:pt x="8296712" y="0"/>
                </a:lnTo>
                <a:lnTo>
                  <a:pt x="8296712" y="4664792"/>
                </a:lnTo>
                <a:lnTo>
                  <a:pt x="0" y="466479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7624045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549014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313005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4BF7E8F-790F-FB43-8670-2A3749FC12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5259" b="33370"/>
          <a:stretch>
            <a:fillRect/>
          </a:stretch>
        </p:blipFill>
        <p:spPr>
          <a:xfrm>
            <a:off x="6066929" y="554075"/>
            <a:ext cx="6125072" cy="6303925"/>
          </a:xfrm>
          <a:custGeom>
            <a:avLst/>
            <a:gdLst>
              <a:gd name="connsiteX0" fmla="*/ 0 w 12251739"/>
              <a:gd name="connsiteY0" fmla="*/ 0 h 12609310"/>
              <a:gd name="connsiteX1" fmla="*/ 12251739 w 12251739"/>
              <a:gd name="connsiteY1" fmla="*/ 0 h 12609310"/>
              <a:gd name="connsiteX2" fmla="*/ 12251739 w 12251739"/>
              <a:gd name="connsiteY2" fmla="*/ 12609310 h 12609310"/>
              <a:gd name="connsiteX3" fmla="*/ 0 w 12251739"/>
              <a:gd name="connsiteY3" fmla="*/ 12609310 h 1260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1739" h="12609310">
                <a:moveTo>
                  <a:pt x="0" y="0"/>
                </a:moveTo>
                <a:lnTo>
                  <a:pt x="12251739" y="0"/>
                </a:lnTo>
                <a:lnTo>
                  <a:pt x="12251739" y="12609310"/>
                </a:lnTo>
                <a:lnTo>
                  <a:pt x="0" y="12609310"/>
                </a:lnTo>
                <a:close/>
              </a:path>
            </a:pathLst>
          </a:custGeom>
        </p:spPr>
      </p:pic>
      <p:sp>
        <p:nvSpPr>
          <p:cNvPr id="27" name="Рисунок 26">
            <a:extLst>
              <a:ext uri="{FF2B5EF4-FFF2-40B4-BE49-F238E27FC236}">
                <a16:creationId xmlns:a16="http://schemas.microsoft.com/office/drawing/2014/main" id="{6B356B0D-688D-3449-94F7-0E85728CE175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983101" y="3580862"/>
            <a:ext cx="3208900" cy="2332126"/>
          </a:xfrm>
          <a:custGeom>
            <a:avLst/>
            <a:gdLst>
              <a:gd name="connsiteX0" fmla="*/ 0 w 6418636"/>
              <a:gd name="connsiteY0" fmla="*/ 0 h 4664792"/>
              <a:gd name="connsiteX1" fmla="*/ 6418636 w 6418636"/>
              <a:gd name="connsiteY1" fmla="*/ 0 h 4664792"/>
              <a:gd name="connsiteX2" fmla="*/ 6418636 w 6418636"/>
              <a:gd name="connsiteY2" fmla="*/ 4664791 h 4664792"/>
              <a:gd name="connsiteX3" fmla="*/ 0 w 6418636"/>
              <a:gd name="connsiteY3" fmla="*/ 4664792 h 4664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18636" h="4664792">
                <a:moveTo>
                  <a:pt x="0" y="0"/>
                </a:moveTo>
                <a:lnTo>
                  <a:pt x="6418636" y="0"/>
                </a:lnTo>
                <a:lnTo>
                  <a:pt x="6418636" y="4664791"/>
                </a:lnTo>
                <a:lnTo>
                  <a:pt x="0" y="466479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1C3CC300-F83A-0B49-919A-8DF7F8EBF4F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612132" y="3580862"/>
            <a:ext cx="4147816" cy="2332126"/>
          </a:xfrm>
          <a:custGeom>
            <a:avLst/>
            <a:gdLst>
              <a:gd name="connsiteX0" fmla="*/ 0 w 8296712"/>
              <a:gd name="connsiteY0" fmla="*/ 0 h 4664792"/>
              <a:gd name="connsiteX1" fmla="*/ 8296712 w 8296712"/>
              <a:gd name="connsiteY1" fmla="*/ 0 h 4664792"/>
              <a:gd name="connsiteX2" fmla="*/ 8296712 w 8296712"/>
              <a:gd name="connsiteY2" fmla="*/ 4664791 h 4664792"/>
              <a:gd name="connsiteX3" fmla="*/ 0 w 8296712"/>
              <a:gd name="connsiteY3" fmla="*/ 4664792 h 4664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96712" h="4664792">
                <a:moveTo>
                  <a:pt x="0" y="0"/>
                </a:moveTo>
                <a:lnTo>
                  <a:pt x="8296712" y="0"/>
                </a:lnTo>
                <a:lnTo>
                  <a:pt x="8296712" y="4664791"/>
                </a:lnTo>
                <a:lnTo>
                  <a:pt x="0" y="466479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6" name="Рисунок 25">
            <a:extLst>
              <a:ext uri="{FF2B5EF4-FFF2-40B4-BE49-F238E27FC236}">
                <a16:creationId xmlns:a16="http://schemas.microsoft.com/office/drawing/2014/main" id="{09B2B955-DE2B-5B45-B17A-7389DA48269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012029" y="1035269"/>
            <a:ext cx="2179972" cy="2332125"/>
          </a:xfrm>
          <a:custGeom>
            <a:avLst/>
            <a:gdLst>
              <a:gd name="connsiteX0" fmla="*/ 0 w 4360512"/>
              <a:gd name="connsiteY0" fmla="*/ 0 h 4664791"/>
              <a:gd name="connsiteX1" fmla="*/ 4360512 w 4360512"/>
              <a:gd name="connsiteY1" fmla="*/ 0 h 4664791"/>
              <a:gd name="connsiteX2" fmla="*/ 4360512 w 4360512"/>
              <a:gd name="connsiteY2" fmla="*/ 4664791 h 4664791"/>
              <a:gd name="connsiteX3" fmla="*/ 0 w 4360512"/>
              <a:gd name="connsiteY3" fmla="*/ 4664791 h 4664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0512" h="4664791">
                <a:moveTo>
                  <a:pt x="0" y="0"/>
                </a:moveTo>
                <a:lnTo>
                  <a:pt x="4360512" y="0"/>
                </a:lnTo>
                <a:lnTo>
                  <a:pt x="4360512" y="4664791"/>
                </a:lnTo>
                <a:lnTo>
                  <a:pt x="0" y="4664791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25" name="Рисунок 24">
            <a:extLst>
              <a:ext uri="{FF2B5EF4-FFF2-40B4-BE49-F238E27FC236}">
                <a16:creationId xmlns:a16="http://schemas.microsoft.com/office/drawing/2014/main" id="{BF7F0D04-2C4C-9B47-AE4B-72A6E11FCCD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5641061" y="1035267"/>
            <a:ext cx="4147816" cy="2332126"/>
          </a:xfrm>
          <a:custGeom>
            <a:avLst/>
            <a:gdLst>
              <a:gd name="connsiteX0" fmla="*/ 0 w 8296712"/>
              <a:gd name="connsiteY0" fmla="*/ 0 h 4664792"/>
              <a:gd name="connsiteX1" fmla="*/ 8296712 w 8296712"/>
              <a:gd name="connsiteY1" fmla="*/ 0 h 4664792"/>
              <a:gd name="connsiteX2" fmla="*/ 8296712 w 8296712"/>
              <a:gd name="connsiteY2" fmla="*/ 4664792 h 4664792"/>
              <a:gd name="connsiteX3" fmla="*/ 0 w 8296712"/>
              <a:gd name="connsiteY3" fmla="*/ 4664792 h 4664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96712" h="4664792">
                <a:moveTo>
                  <a:pt x="0" y="0"/>
                </a:moveTo>
                <a:lnTo>
                  <a:pt x="8296712" y="0"/>
                </a:lnTo>
                <a:lnTo>
                  <a:pt x="8296712" y="4664792"/>
                </a:lnTo>
                <a:lnTo>
                  <a:pt x="0" y="466479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407814026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73162B9-3D6D-974B-A23A-C7C4EC592C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025" y="729013"/>
            <a:ext cx="4317704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4C367EE7-557D-3E4F-9301-19DA1DB8F0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025" y="2025006"/>
            <a:ext cx="4317704" cy="2791513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DE3690B5-9897-174F-B817-7A742DBC794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25477" y="3"/>
            <a:ext cx="11266523" cy="6857997"/>
          </a:xfrm>
          <a:custGeom>
            <a:avLst/>
            <a:gdLst>
              <a:gd name="connsiteX0" fmla="*/ 4939165 w 11266523"/>
              <a:gd name="connsiteY0" fmla="*/ 0 h 6857997"/>
              <a:gd name="connsiteX1" fmla="*/ 11266523 w 11266523"/>
              <a:gd name="connsiteY1" fmla="*/ 0 h 6857997"/>
              <a:gd name="connsiteX2" fmla="*/ 11266523 w 11266523"/>
              <a:gd name="connsiteY2" fmla="*/ 880041 h 6857997"/>
              <a:gd name="connsiteX3" fmla="*/ 11071601 w 11266523"/>
              <a:gd name="connsiteY3" fmla="*/ 910378 h 6857997"/>
              <a:gd name="connsiteX4" fmla="*/ 5591807 w 11266523"/>
              <a:gd name="connsiteY4" fmla="*/ 6769931 h 6857997"/>
              <a:gd name="connsiteX5" fmla="*/ 5591807 w 11266523"/>
              <a:gd name="connsiteY5" fmla="*/ 6784456 h 6857997"/>
              <a:gd name="connsiteX6" fmla="*/ 5593674 w 11266523"/>
              <a:gd name="connsiteY6" fmla="*/ 6857997 h 6857997"/>
              <a:gd name="connsiteX7" fmla="*/ 3379455 w 11266523"/>
              <a:gd name="connsiteY7" fmla="*/ 6857997 h 6857997"/>
              <a:gd name="connsiteX8" fmla="*/ 0 w 11266523"/>
              <a:gd name="connsiteY8" fmla="*/ 6857997 h 6857997"/>
              <a:gd name="connsiteX9" fmla="*/ 8794 w 11266523"/>
              <a:gd name="connsiteY9" fmla="*/ 6855022 h 6857997"/>
              <a:gd name="connsiteX10" fmla="*/ 4931031 w 11266523"/>
              <a:gd name="connsiteY10" fmla="*/ 181497 h 6857997"/>
              <a:gd name="connsiteX11" fmla="*/ 4935184 w 11266523"/>
              <a:gd name="connsiteY11" fmla="*/ 1725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266523" h="6857997">
                <a:moveTo>
                  <a:pt x="4939165" y="0"/>
                </a:moveTo>
                <a:lnTo>
                  <a:pt x="11266523" y="0"/>
                </a:lnTo>
                <a:lnTo>
                  <a:pt x="11266523" y="880041"/>
                </a:lnTo>
                <a:lnTo>
                  <a:pt x="11071601" y="910378"/>
                </a:lnTo>
                <a:cubicBezTo>
                  <a:pt x="7944288" y="1468090"/>
                  <a:pt x="5591807" y="3879586"/>
                  <a:pt x="5591807" y="6769931"/>
                </a:cubicBezTo>
                <a:lnTo>
                  <a:pt x="5591807" y="6784456"/>
                </a:lnTo>
                <a:lnTo>
                  <a:pt x="5593674" y="6857997"/>
                </a:lnTo>
                <a:lnTo>
                  <a:pt x="3379455" y="6857997"/>
                </a:lnTo>
                <a:lnTo>
                  <a:pt x="0" y="6857997"/>
                </a:lnTo>
                <a:lnTo>
                  <a:pt x="8794" y="6855022"/>
                </a:lnTo>
                <a:cubicBezTo>
                  <a:pt x="2771727" y="5843376"/>
                  <a:pt x="4775176" y="3256165"/>
                  <a:pt x="4931031" y="181497"/>
                </a:cubicBezTo>
                <a:lnTo>
                  <a:pt x="4935184" y="17251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943928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06194" y="729013"/>
            <a:ext cx="4317704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r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6194" y="2025006"/>
            <a:ext cx="4317704" cy="2791513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55EC4C3E-7D9C-BD4C-BDFD-7DF11A02F6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flipH="1">
            <a:off x="1" y="0"/>
            <a:ext cx="7676453" cy="6857998"/>
          </a:xfrm>
          <a:custGeom>
            <a:avLst/>
            <a:gdLst>
              <a:gd name="connsiteX0" fmla="*/ 7676453 w 7676453"/>
              <a:gd name="connsiteY0" fmla="*/ 0 h 6857998"/>
              <a:gd name="connsiteX1" fmla="*/ 1759851 w 7676453"/>
              <a:gd name="connsiteY1" fmla="*/ 0 h 6857998"/>
              <a:gd name="connsiteX2" fmla="*/ 1781689 w 7676453"/>
              <a:gd name="connsiteY2" fmla="*/ 217672 h 6857998"/>
              <a:gd name="connsiteX3" fmla="*/ 107958 w 7676453"/>
              <a:gd name="connsiteY3" fmla="*/ 6692056 h 6857998"/>
              <a:gd name="connsiteX4" fmla="*/ 0 w 7676453"/>
              <a:gd name="connsiteY4" fmla="*/ 6857998 h 6857998"/>
              <a:gd name="connsiteX5" fmla="*/ 7676453 w 7676453"/>
              <a:gd name="connsiteY5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6453" h="6857998">
                <a:moveTo>
                  <a:pt x="7676453" y="0"/>
                </a:moveTo>
                <a:lnTo>
                  <a:pt x="1759851" y="0"/>
                </a:lnTo>
                <a:lnTo>
                  <a:pt x="1781689" y="217672"/>
                </a:lnTo>
                <a:cubicBezTo>
                  <a:pt x="1950678" y="2461817"/>
                  <a:pt x="1338711" y="4712859"/>
                  <a:pt x="107958" y="6692056"/>
                </a:cubicBezTo>
                <a:lnTo>
                  <a:pt x="0" y="6857998"/>
                </a:lnTo>
                <a:lnTo>
                  <a:pt x="7676453" y="6857998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914150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EA2A27E-B6E7-2F49-ABD3-88AB64342A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06194" y="729013"/>
            <a:ext cx="4317704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r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id="{3ADB797B-30D7-F548-9487-F749CAE70B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6194" y="2025006"/>
            <a:ext cx="4317704" cy="2791513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7142E123-9D43-964A-9B00-01D577DDB1C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" y="1"/>
            <a:ext cx="11266523" cy="6857997"/>
          </a:xfrm>
          <a:custGeom>
            <a:avLst/>
            <a:gdLst>
              <a:gd name="connsiteX0" fmla="*/ 0 w 11266523"/>
              <a:gd name="connsiteY0" fmla="*/ 0 h 6857997"/>
              <a:gd name="connsiteX1" fmla="*/ 6327358 w 11266523"/>
              <a:gd name="connsiteY1" fmla="*/ 0 h 6857997"/>
              <a:gd name="connsiteX2" fmla="*/ 6331339 w 11266523"/>
              <a:gd name="connsiteY2" fmla="*/ 17251 h 6857997"/>
              <a:gd name="connsiteX3" fmla="*/ 6335492 w 11266523"/>
              <a:gd name="connsiteY3" fmla="*/ 181497 h 6857997"/>
              <a:gd name="connsiteX4" fmla="*/ 11257729 w 11266523"/>
              <a:gd name="connsiteY4" fmla="*/ 6855022 h 6857997"/>
              <a:gd name="connsiteX5" fmla="*/ 11266523 w 11266523"/>
              <a:gd name="connsiteY5" fmla="*/ 6857997 h 6857997"/>
              <a:gd name="connsiteX6" fmla="*/ 7887068 w 11266523"/>
              <a:gd name="connsiteY6" fmla="*/ 6857997 h 6857997"/>
              <a:gd name="connsiteX7" fmla="*/ 5672849 w 11266523"/>
              <a:gd name="connsiteY7" fmla="*/ 6857997 h 6857997"/>
              <a:gd name="connsiteX8" fmla="*/ 5674716 w 11266523"/>
              <a:gd name="connsiteY8" fmla="*/ 6784456 h 6857997"/>
              <a:gd name="connsiteX9" fmla="*/ 5674716 w 11266523"/>
              <a:gd name="connsiteY9" fmla="*/ 6769931 h 6857997"/>
              <a:gd name="connsiteX10" fmla="*/ 194922 w 11266523"/>
              <a:gd name="connsiteY10" fmla="*/ 910378 h 6857997"/>
              <a:gd name="connsiteX11" fmla="*/ 0 w 11266523"/>
              <a:gd name="connsiteY11" fmla="*/ 88004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266523" h="6857997">
                <a:moveTo>
                  <a:pt x="0" y="0"/>
                </a:moveTo>
                <a:lnTo>
                  <a:pt x="6327358" y="0"/>
                </a:lnTo>
                <a:lnTo>
                  <a:pt x="6331339" y="17251"/>
                </a:lnTo>
                <a:lnTo>
                  <a:pt x="6335492" y="181497"/>
                </a:lnTo>
                <a:cubicBezTo>
                  <a:pt x="6491347" y="3256165"/>
                  <a:pt x="8494796" y="5843376"/>
                  <a:pt x="11257729" y="6855022"/>
                </a:cubicBezTo>
                <a:lnTo>
                  <a:pt x="11266523" y="6857997"/>
                </a:lnTo>
                <a:lnTo>
                  <a:pt x="7887068" y="6857997"/>
                </a:lnTo>
                <a:lnTo>
                  <a:pt x="5672849" y="6857997"/>
                </a:lnTo>
                <a:lnTo>
                  <a:pt x="5674716" y="6784456"/>
                </a:lnTo>
                <a:lnTo>
                  <a:pt x="5674716" y="6769931"/>
                </a:lnTo>
                <a:cubicBezTo>
                  <a:pt x="5674716" y="3879586"/>
                  <a:pt x="3322235" y="1468090"/>
                  <a:pt x="194922" y="910378"/>
                </a:cubicBezTo>
                <a:lnTo>
                  <a:pt x="0" y="880041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878742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025" y="729013"/>
            <a:ext cx="4317704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025" y="2025006"/>
            <a:ext cx="4317704" cy="2791513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0E77FFE6-3FD7-3E43-B921-5AC6DBE358D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525526" y="2"/>
            <a:ext cx="7676453" cy="6857998"/>
          </a:xfrm>
          <a:custGeom>
            <a:avLst/>
            <a:gdLst>
              <a:gd name="connsiteX0" fmla="*/ 1759851 w 7676453"/>
              <a:gd name="connsiteY0" fmla="*/ 0 h 6857998"/>
              <a:gd name="connsiteX1" fmla="*/ 7676453 w 7676453"/>
              <a:gd name="connsiteY1" fmla="*/ 0 h 6857998"/>
              <a:gd name="connsiteX2" fmla="*/ 7676453 w 7676453"/>
              <a:gd name="connsiteY2" fmla="*/ 6857998 h 6857998"/>
              <a:gd name="connsiteX3" fmla="*/ 0 w 7676453"/>
              <a:gd name="connsiteY3" fmla="*/ 6857998 h 6857998"/>
              <a:gd name="connsiteX4" fmla="*/ 107958 w 7676453"/>
              <a:gd name="connsiteY4" fmla="*/ 6692056 h 6857998"/>
              <a:gd name="connsiteX5" fmla="*/ 1781689 w 7676453"/>
              <a:gd name="connsiteY5" fmla="*/ 217672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6453" h="6857998">
                <a:moveTo>
                  <a:pt x="1759851" y="0"/>
                </a:moveTo>
                <a:lnTo>
                  <a:pt x="7676453" y="0"/>
                </a:lnTo>
                <a:lnTo>
                  <a:pt x="7676453" y="6857998"/>
                </a:lnTo>
                <a:lnTo>
                  <a:pt x="0" y="6857998"/>
                </a:lnTo>
                <a:lnTo>
                  <a:pt x="107958" y="6692056"/>
                </a:lnTo>
                <a:cubicBezTo>
                  <a:pt x="1338711" y="4712859"/>
                  <a:pt x="1950678" y="2461817"/>
                  <a:pt x="1781689" y="217672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5423646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6" name="Рисунок 5">
            <a:extLst>
              <a:ext uri="{FF2B5EF4-FFF2-40B4-BE49-F238E27FC236}">
                <a16:creationId xmlns:a16="http://schemas.microsoft.com/office/drawing/2014/main" id="{01128A44-12C7-D440-B108-B297CD2AFC1A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907649" y="789113"/>
            <a:ext cx="4115464" cy="4115464"/>
          </a:xfrm>
          <a:custGeom>
            <a:avLst/>
            <a:gdLst>
              <a:gd name="connsiteX0" fmla="*/ 790128 w 4115464"/>
              <a:gd name="connsiteY0" fmla="*/ 0 h 4115464"/>
              <a:gd name="connsiteX1" fmla="*/ 3325336 w 4115464"/>
              <a:gd name="connsiteY1" fmla="*/ 0 h 4115464"/>
              <a:gd name="connsiteX2" fmla="*/ 4115464 w 4115464"/>
              <a:gd name="connsiteY2" fmla="*/ 790128 h 4115464"/>
              <a:gd name="connsiteX3" fmla="*/ 4115464 w 4115464"/>
              <a:gd name="connsiteY3" fmla="*/ 3325336 h 4115464"/>
              <a:gd name="connsiteX4" fmla="*/ 3325336 w 4115464"/>
              <a:gd name="connsiteY4" fmla="*/ 4115464 h 4115464"/>
              <a:gd name="connsiteX5" fmla="*/ 2011205 w 4115464"/>
              <a:gd name="connsiteY5" fmla="*/ 4115464 h 4115464"/>
              <a:gd name="connsiteX6" fmla="*/ 790128 w 4115464"/>
              <a:gd name="connsiteY6" fmla="*/ 4115464 h 4115464"/>
              <a:gd name="connsiteX7" fmla="*/ 1 w 4115464"/>
              <a:gd name="connsiteY7" fmla="*/ 4115464 h 4115464"/>
              <a:gd name="connsiteX8" fmla="*/ 1 w 4115464"/>
              <a:gd name="connsiteY8" fmla="*/ 3325357 h 4115464"/>
              <a:gd name="connsiteX9" fmla="*/ 0 w 4115464"/>
              <a:gd name="connsiteY9" fmla="*/ 3325336 h 4115464"/>
              <a:gd name="connsiteX10" fmla="*/ 0 w 4115464"/>
              <a:gd name="connsiteY10" fmla="*/ 790128 h 4115464"/>
              <a:gd name="connsiteX11" fmla="*/ 790128 w 4115464"/>
              <a:gd name="connsiteY11" fmla="*/ 0 h 411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15464" h="4115464">
                <a:moveTo>
                  <a:pt x="790128" y="0"/>
                </a:moveTo>
                <a:lnTo>
                  <a:pt x="3325336" y="0"/>
                </a:lnTo>
                <a:cubicBezTo>
                  <a:pt x="3761712" y="0"/>
                  <a:pt x="4115464" y="353752"/>
                  <a:pt x="4115464" y="790128"/>
                </a:cubicBezTo>
                <a:lnTo>
                  <a:pt x="4115464" y="3325336"/>
                </a:lnTo>
                <a:cubicBezTo>
                  <a:pt x="4115464" y="3761712"/>
                  <a:pt x="3761712" y="4115464"/>
                  <a:pt x="3325336" y="4115464"/>
                </a:cubicBezTo>
                <a:lnTo>
                  <a:pt x="2011205" y="4115464"/>
                </a:lnTo>
                <a:lnTo>
                  <a:pt x="790128" y="4115464"/>
                </a:lnTo>
                <a:lnTo>
                  <a:pt x="1" y="4115464"/>
                </a:lnTo>
                <a:lnTo>
                  <a:pt x="1" y="3325357"/>
                </a:lnTo>
                <a:lnTo>
                  <a:pt x="0" y="3325336"/>
                </a:lnTo>
                <a:lnTo>
                  <a:pt x="0" y="790128"/>
                </a:lnTo>
                <a:cubicBezTo>
                  <a:pt x="0" y="353752"/>
                  <a:pt x="353752" y="0"/>
                  <a:pt x="790128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87758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Left Clip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84391" y="1066800"/>
            <a:ext cx="4192092" cy="762000"/>
          </a:xfrm>
        </p:spPr>
        <p:txBody>
          <a:bodyPr>
            <a:noAutofit/>
          </a:bodyPr>
          <a:lstStyle>
            <a:lvl1pPr>
              <a:defRPr sz="3999" b="1"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684391" y="2057400"/>
            <a:ext cx="4192092" cy="381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189164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74CB89EE-DBC4-1049-A088-5E18E23F3B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922455" y="1032046"/>
            <a:ext cx="1440222" cy="1440222"/>
          </a:xfrm>
          <a:custGeom>
            <a:avLst/>
            <a:gdLst>
              <a:gd name="connsiteX0" fmla="*/ 907639 w 1815278"/>
              <a:gd name="connsiteY0" fmla="*/ 0 h 1815278"/>
              <a:gd name="connsiteX1" fmla="*/ 1815278 w 1815278"/>
              <a:gd name="connsiteY1" fmla="*/ 907639 h 1815278"/>
              <a:gd name="connsiteX2" fmla="*/ 907639 w 1815278"/>
              <a:gd name="connsiteY2" fmla="*/ 1815278 h 1815278"/>
              <a:gd name="connsiteX3" fmla="*/ 0 w 1815278"/>
              <a:gd name="connsiteY3" fmla="*/ 907639 h 1815278"/>
              <a:gd name="connsiteX4" fmla="*/ 907639 w 1815278"/>
              <a:gd name="connsiteY4" fmla="*/ 0 h 1815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5278" h="1815278">
                <a:moveTo>
                  <a:pt x="907639" y="0"/>
                </a:moveTo>
                <a:cubicBezTo>
                  <a:pt x="1408914" y="0"/>
                  <a:pt x="1815278" y="406364"/>
                  <a:pt x="1815278" y="907639"/>
                </a:cubicBezTo>
                <a:cubicBezTo>
                  <a:pt x="1815278" y="1408914"/>
                  <a:pt x="1408914" y="1815278"/>
                  <a:pt x="907639" y="1815278"/>
                </a:cubicBezTo>
                <a:cubicBezTo>
                  <a:pt x="406364" y="1815278"/>
                  <a:pt x="0" y="1408914"/>
                  <a:pt x="0" y="907639"/>
                </a:cubicBezTo>
                <a:cubicBezTo>
                  <a:pt x="0" y="406364"/>
                  <a:pt x="406364" y="0"/>
                  <a:pt x="907639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227BB56F-7959-0347-A66E-39137CEEF1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77415" y="1032047"/>
            <a:ext cx="5758070" cy="1631641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1DD9BE69-9DFC-EB4B-83BB-1798974229AB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22455" y="3641243"/>
            <a:ext cx="1440222" cy="1440222"/>
          </a:xfrm>
          <a:custGeom>
            <a:avLst/>
            <a:gdLst>
              <a:gd name="connsiteX0" fmla="*/ 907639 w 1815278"/>
              <a:gd name="connsiteY0" fmla="*/ 0 h 1815278"/>
              <a:gd name="connsiteX1" fmla="*/ 1815278 w 1815278"/>
              <a:gd name="connsiteY1" fmla="*/ 907639 h 1815278"/>
              <a:gd name="connsiteX2" fmla="*/ 907639 w 1815278"/>
              <a:gd name="connsiteY2" fmla="*/ 1815278 h 1815278"/>
              <a:gd name="connsiteX3" fmla="*/ 0 w 1815278"/>
              <a:gd name="connsiteY3" fmla="*/ 907639 h 1815278"/>
              <a:gd name="connsiteX4" fmla="*/ 907639 w 1815278"/>
              <a:gd name="connsiteY4" fmla="*/ 0 h 1815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5278" h="1815278">
                <a:moveTo>
                  <a:pt x="907639" y="0"/>
                </a:moveTo>
                <a:cubicBezTo>
                  <a:pt x="1408914" y="0"/>
                  <a:pt x="1815278" y="406364"/>
                  <a:pt x="1815278" y="907639"/>
                </a:cubicBezTo>
                <a:cubicBezTo>
                  <a:pt x="1815278" y="1408914"/>
                  <a:pt x="1408914" y="1815278"/>
                  <a:pt x="907639" y="1815278"/>
                </a:cubicBezTo>
                <a:cubicBezTo>
                  <a:pt x="406364" y="1815278"/>
                  <a:pt x="0" y="1408914"/>
                  <a:pt x="0" y="907639"/>
                </a:cubicBezTo>
                <a:cubicBezTo>
                  <a:pt x="0" y="406364"/>
                  <a:pt x="406364" y="0"/>
                  <a:pt x="907639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428C4C64-3F67-F14B-BD51-DF1B97509C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77415" y="3641243"/>
            <a:ext cx="5758070" cy="1631641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C2A8164E-0EBA-9F47-9526-E48D40D92FA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524338" y="789113"/>
            <a:ext cx="2667663" cy="4115464"/>
          </a:xfrm>
          <a:custGeom>
            <a:avLst/>
            <a:gdLst>
              <a:gd name="connsiteX0" fmla="*/ 790128 w 2667663"/>
              <a:gd name="connsiteY0" fmla="*/ 0 h 4115464"/>
              <a:gd name="connsiteX1" fmla="*/ 2667663 w 2667663"/>
              <a:gd name="connsiteY1" fmla="*/ 0 h 4115464"/>
              <a:gd name="connsiteX2" fmla="*/ 2667663 w 2667663"/>
              <a:gd name="connsiteY2" fmla="*/ 4115464 h 4115464"/>
              <a:gd name="connsiteX3" fmla="*/ 2011204 w 2667663"/>
              <a:gd name="connsiteY3" fmla="*/ 4115464 h 4115464"/>
              <a:gd name="connsiteX4" fmla="*/ 790128 w 2667663"/>
              <a:gd name="connsiteY4" fmla="*/ 4115464 h 4115464"/>
              <a:gd name="connsiteX5" fmla="*/ 1 w 2667663"/>
              <a:gd name="connsiteY5" fmla="*/ 4115464 h 4115464"/>
              <a:gd name="connsiteX6" fmla="*/ 1 w 2667663"/>
              <a:gd name="connsiteY6" fmla="*/ 3325357 h 4115464"/>
              <a:gd name="connsiteX7" fmla="*/ 0 w 2667663"/>
              <a:gd name="connsiteY7" fmla="*/ 3325336 h 4115464"/>
              <a:gd name="connsiteX8" fmla="*/ 0 w 2667663"/>
              <a:gd name="connsiteY8" fmla="*/ 790129 h 4115464"/>
              <a:gd name="connsiteX9" fmla="*/ 790128 w 2667663"/>
              <a:gd name="connsiteY9" fmla="*/ 0 h 411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67663" h="4115464">
                <a:moveTo>
                  <a:pt x="790128" y="0"/>
                </a:moveTo>
                <a:lnTo>
                  <a:pt x="2667663" y="0"/>
                </a:lnTo>
                <a:lnTo>
                  <a:pt x="2667663" y="4115464"/>
                </a:lnTo>
                <a:lnTo>
                  <a:pt x="2011204" y="4115464"/>
                </a:lnTo>
                <a:lnTo>
                  <a:pt x="790128" y="4115464"/>
                </a:lnTo>
                <a:lnTo>
                  <a:pt x="1" y="4115464"/>
                </a:lnTo>
                <a:lnTo>
                  <a:pt x="1" y="3325357"/>
                </a:lnTo>
                <a:lnTo>
                  <a:pt x="0" y="3325336"/>
                </a:lnTo>
                <a:lnTo>
                  <a:pt x="0" y="790129"/>
                </a:lnTo>
                <a:cubicBezTo>
                  <a:pt x="0" y="353753"/>
                  <a:pt x="353753" y="0"/>
                  <a:pt x="790128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3028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3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3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F24A6905-4FD7-634F-BB8D-5347D9138D3C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243339" y="811148"/>
            <a:ext cx="5225144" cy="5225144"/>
          </a:xfrm>
          <a:custGeom>
            <a:avLst/>
            <a:gdLst>
              <a:gd name="connsiteX0" fmla="*/ 2612572 w 5225144"/>
              <a:gd name="connsiteY0" fmla="*/ 0 h 5225144"/>
              <a:gd name="connsiteX1" fmla="*/ 5225144 w 5225144"/>
              <a:gd name="connsiteY1" fmla="*/ 2612572 h 5225144"/>
              <a:gd name="connsiteX2" fmla="*/ 2612572 w 5225144"/>
              <a:gd name="connsiteY2" fmla="*/ 5225144 h 5225144"/>
              <a:gd name="connsiteX3" fmla="*/ 0 w 5225144"/>
              <a:gd name="connsiteY3" fmla="*/ 2612572 h 5225144"/>
              <a:gd name="connsiteX4" fmla="*/ 2612572 w 5225144"/>
              <a:gd name="connsiteY4" fmla="*/ 0 h 522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5144" h="5225144">
                <a:moveTo>
                  <a:pt x="2612572" y="0"/>
                </a:moveTo>
                <a:cubicBezTo>
                  <a:pt x="4055456" y="0"/>
                  <a:pt x="5225144" y="1169688"/>
                  <a:pt x="5225144" y="2612572"/>
                </a:cubicBezTo>
                <a:cubicBezTo>
                  <a:pt x="5225144" y="4055456"/>
                  <a:pt x="4055456" y="5225144"/>
                  <a:pt x="2612572" y="5225144"/>
                </a:cubicBezTo>
                <a:cubicBezTo>
                  <a:pt x="1169688" y="5225144"/>
                  <a:pt x="0" y="4055456"/>
                  <a:pt x="0" y="2612572"/>
                </a:cubicBezTo>
                <a:cubicBezTo>
                  <a:pt x="0" y="1169688"/>
                  <a:pt x="1169688" y="0"/>
                  <a:pt x="2612572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777449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F24A6905-4FD7-634F-BB8D-5347D9138D3C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000416" y="1563905"/>
            <a:ext cx="3719630" cy="3719630"/>
          </a:xfrm>
          <a:custGeom>
            <a:avLst/>
            <a:gdLst>
              <a:gd name="connsiteX0" fmla="*/ 2612572 w 5225144"/>
              <a:gd name="connsiteY0" fmla="*/ 0 h 5225144"/>
              <a:gd name="connsiteX1" fmla="*/ 5225144 w 5225144"/>
              <a:gd name="connsiteY1" fmla="*/ 2612572 h 5225144"/>
              <a:gd name="connsiteX2" fmla="*/ 2612572 w 5225144"/>
              <a:gd name="connsiteY2" fmla="*/ 5225144 h 5225144"/>
              <a:gd name="connsiteX3" fmla="*/ 0 w 5225144"/>
              <a:gd name="connsiteY3" fmla="*/ 2612572 h 5225144"/>
              <a:gd name="connsiteX4" fmla="*/ 2612572 w 5225144"/>
              <a:gd name="connsiteY4" fmla="*/ 0 h 522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5144" h="5225144">
                <a:moveTo>
                  <a:pt x="2612572" y="0"/>
                </a:moveTo>
                <a:cubicBezTo>
                  <a:pt x="4055456" y="0"/>
                  <a:pt x="5225144" y="1169688"/>
                  <a:pt x="5225144" y="2612572"/>
                </a:cubicBezTo>
                <a:cubicBezTo>
                  <a:pt x="5225144" y="4055456"/>
                  <a:pt x="4055456" y="5225144"/>
                  <a:pt x="2612572" y="5225144"/>
                </a:cubicBezTo>
                <a:cubicBezTo>
                  <a:pt x="1169688" y="5225144"/>
                  <a:pt x="0" y="4055456"/>
                  <a:pt x="0" y="2612572"/>
                </a:cubicBezTo>
                <a:cubicBezTo>
                  <a:pt x="0" y="1169688"/>
                  <a:pt x="1169688" y="0"/>
                  <a:pt x="2612572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6" name="Рисунок 5">
            <a:extLst>
              <a:ext uri="{FF2B5EF4-FFF2-40B4-BE49-F238E27FC236}">
                <a16:creationId xmlns:a16="http://schemas.microsoft.com/office/drawing/2014/main" id="{602BDBFF-AE05-5A4A-8BE7-06FDA20C05EE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476690" y="1563905"/>
            <a:ext cx="3719630" cy="3719630"/>
          </a:xfrm>
          <a:custGeom>
            <a:avLst/>
            <a:gdLst>
              <a:gd name="connsiteX0" fmla="*/ 2612572 w 5225144"/>
              <a:gd name="connsiteY0" fmla="*/ 0 h 5225144"/>
              <a:gd name="connsiteX1" fmla="*/ 5225144 w 5225144"/>
              <a:gd name="connsiteY1" fmla="*/ 2612572 h 5225144"/>
              <a:gd name="connsiteX2" fmla="*/ 2612572 w 5225144"/>
              <a:gd name="connsiteY2" fmla="*/ 5225144 h 5225144"/>
              <a:gd name="connsiteX3" fmla="*/ 0 w 5225144"/>
              <a:gd name="connsiteY3" fmla="*/ 2612572 h 5225144"/>
              <a:gd name="connsiteX4" fmla="*/ 2612572 w 5225144"/>
              <a:gd name="connsiteY4" fmla="*/ 0 h 522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5144" h="5225144">
                <a:moveTo>
                  <a:pt x="2612572" y="0"/>
                </a:moveTo>
                <a:cubicBezTo>
                  <a:pt x="4055456" y="0"/>
                  <a:pt x="5225144" y="1169688"/>
                  <a:pt x="5225144" y="2612572"/>
                </a:cubicBezTo>
                <a:cubicBezTo>
                  <a:pt x="5225144" y="4055456"/>
                  <a:pt x="4055456" y="5225144"/>
                  <a:pt x="2612572" y="5225144"/>
                </a:cubicBezTo>
                <a:cubicBezTo>
                  <a:pt x="1169688" y="5225144"/>
                  <a:pt x="0" y="4055456"/>
                  <a:pt x="0" y="2612572"/>
                </a:cubicBezTo>
                <a:cubicBezTo>
                  <a:pt x="0" y="1169688"/>
                  <a:pt x="1169688" y="0"/>
                  <a:pt x="2612572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700694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06C471F0-EF48-8649-AFF3-6A1977DAEE8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023284" y="3983486"/>
            <a:ext cx="2317098" cy="2317098"/>
          </a:xfrm>
          <a:custGeom>
            <a:avLst/>
            <a:gdLst>
              <a:gd name="connsiteX0" fmla="*/ 1158549 w 2317098"/>
              <a:gd name="connsiteY0" fmla="*/ 0 h 2317098"/>
              <a:gd name="connsiteX1" fmla="*/ 2317098 w 2317098"/>
              <a:gd name="connsiteY1" fmla="*/ 1158549 h 2317098"/>
              <a:gd name="connsiteX2" fmla="*/ 1158549 w 2317098"/>
              <a:gd name="connsiteY2" fmla="*/ 2317098 h 2317098"/>
              <a:gd name="connsiteX3" fmla="*/ 0 w 2317098"/>
              <a:gd name="connsiteY3" fmla="*/ 1158549 h 2317098"/>
              <a:gd name="connsiteX4" fmla="*/ 1158549 w 2317098"/>
              <a:gd name="connsiteY4" fmla="*/ 0 h 2317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17098" h="2317098">
                <a:moveTo>
                  <a:pt x="1158549" y="0"/>
                </a:moveTo>
                <a:cubicBezTo>
                  <a:pt x="1798398" y="0"/>
                  <a:pt x="2317098" y="518700"/>
                  <a:pt x="2317098" y="1158549"/>
                </a:cubicBezTo>
                <a:cubicBezTo>
                  <a:pt x="2317098" y="1798398"/>
                  <a:pt x="1798398" y="2317098"/>
                  <a:pt x="1158549" y="2317098"/>
                </a:cubicBezTo>
                <a:cubicBezTo>
                  <a:pt x="518700" y="2317098"/>
                  <a:pt x="0" y="1798398"/>
                  <a:pt x="0" y="1158549"/>
                </a:cubicBezTo>
                <a:cubicBezTo>
                  <a:pt x="0" y="518700"/>
                  <a:pt x="518700" y="0"/>
                  <a:pt x="1158549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376840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5235E8ED-01DC-2A44-ABB1-58BF8AD4AB1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0" y="3378200"/>
            <a:ext cx="12192001" cy="34798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10623042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ctr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025006"/>
            <a:ext cx="10623042" cy="279151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005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4E3279FB-773C-3841-875C-399A9BD5EFF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57033" y="888700"/>
            <a:ext cx="1815278" cy="1815278"/>
          </a:xfrm>
          <a:custGeom>
            <a:avLst/>
            <a:gdLst>
              <a:gd name="connsiteX0" fmla="*/ 907639 w 1815278"/>
              <a:gd name="connsiteY0" fmla="*/ 0 h 1815278"/>
              <a:gd name="connsiteX1" fmla="*/ 1815278 w 1815278"/>
              <a:gd name="connsiteY1" fmla="*/ 907639 h 1815278"/>
              <a:gd name="connsiteX2" fmla="*/ 907639 w 1815278"/>
              <a:gd name="connsiteY2" fmla="*/ 1815278 h 1815278"/>
              <a:gd name="connsiteX3" fmla="*/ 0 w 1815278"/>
              <a:gd name="connsiteY3" fmla="*/ 907639 h 1815278"/>
              <a:gd name="connsiteX4" fmla="*/ 907639 w 1815278"/>
              <a:gd name="connsiteY4" fmla="*/ 0 h 1815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5278" h="1815278">
                <a:moveTo>
                  <a:pt x="907639" y="0"/>
                </a:moveTo>
                <a:cubicBezTo>
                  <a:pt x="1408914" y="0"/>
                  <a:pt x="1815278" y="406364"/>
                  <a:pt x="1815278" y="907639"/>
                </a:cubicBezTo>
                <a:cubicBezTo>
                  <a:pt x="1815278" y="1408914"/>
                  <a:pt x="1408914" y="1815278"/>
                  <a:pt x="907639" y="1815278"/>
                </a:cubicBezTo>
                <a:cubicBezTo>
                  <a:pt x="406364" y="1815278"/>
                  <a:pt x="0" y="1408914"/>
                  <a:pt x="0" y="907639"/>
                </a:cubicBezTo>
                <a:cubicBezTo>
                  <a:pt x="0" y="406364"/>
                  <a:pt x="406364" y="0"/>
                  <a:pt x="907639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04C339D0-CE93-D64D-BE7A-8383ABB1A52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538074" y="888700"/>
            <a:ext cx="1815278" cy="1815278"/>
          </a:xfrm>
          <a:custGeom>
            <a:avLst/>
            <a:gdLst>
              <a:gd name="connsiteX0" fmla="*/ 907639 w 1815278"/>
              <a:gd name="connsiteY0" fmla="*/ 0 h 1815278"/>
              <a:gd name="connsiteX1" fmla="*/ 1815278 w 1815278"/>
              <a:gd name="connsiteY1" fmla="*/ 907639 h 1815278"/>
              <a:gd name="connsiteX2" fmla="*/ 907639 w 1815278"/>
              <a:gd name="connsiteY2" fmla="*/ 1815278 h 1815278"/>
              <a:gd name="connsiteX3" fmla="*/ 0 w 1815278"/>
              <a:gd name="connsiteY3" fmla="*/ 907639 h 1815278"/>
              <a:gd name="connsiteX4" fmla="*/ 907639 w 1815278"/>
              <a:gd name="connsiteY4" fmla="*/ 0 h 1815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5278" h="1815278">
                <a:moveTo>
                  <a:pt x="907639" y="0"/>
                </a:moveTo>
                <a:cubicBezTo>
                  <a:pt x="1408914" y="0"/>
                  <a:pt x="1815278" y="406364"/>
                  <a:pt x="1815278" y="907639"/>
                </a:cubicBezTo>
                <a:cubicBezTo>
                  <a:pt x="1815278" y="1408914"/>
                  <a:pt x="1408914" y="1815278"/>
                  <a:pt x="907639" y="1815278"/>
                </a:cubicBezTo>
                <a:cubicBezTo>
                  <a:pt x="406364" y="1815278"/>
                  <a:pt x="0" y="1408914"/>
                  <a:pt x="0" y="907639"/>
                </a:cubicBezTo>
                <a:cubicBezTo>
                  <a:pt x="0" y="406364"/>
                  <a:pt x="406364" y="0"/>
                  <a:pt x="907639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853970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5235E8ED-01DC-2A44-ABB1-58BF8AD4AB1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0" y="3378200"/>
            <a:ext cx="6101543" cy="34798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10623042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ctr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025006"/>
            <a:ext cx="10623042" cy="279151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7D022E21-E7F8-3649-BAE8-FBC43CACABA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101543" y="3378200"/>
            <a:ext cx="6101543" cy="34798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368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5235E8ED-01DC-2A44-ABB1-58BF8AD4AB1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105098" y="0"/>
            <a:ext cx="6086902" cy="6858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661AD38-5DD9-B744-BBEB-37CEE576CD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025" y="729013"/>
            <a:ext cx="4317704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3F03641F-1E1A-C44A-8851-F3C073BAA3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025" y="2025006"/>
            <a:ext cx="4317704" cy="2791513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404273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8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8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5235E8ED-01DC-2A44-ABB1-58BF8AD4AB1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0" y="0"/>
            <a:ext cx="6086902" cy="6858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F1AA6AE-0B39-754C-94C6-3A3FBC1F3D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06194" y="729013"/>
            <a:ext cx="4317704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r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1B448876-81E5-0043-AB29-B0727B10AA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6194" y="2025006"/>
            <a:ext cx="4317704" cy="2791513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98424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6" name="Рисунок 4">
            <a:extLst>
              <a:ext uri="{FF2B5EF4-FFF2-40B4-BE49-F238E27FC236}">
                <a16:creationId xmlns:a16="http://schemas.microsoft.com/office/drawing/2014/main" id="{084B1C8B-6D2C-3D4B-9221-6F95663CDF7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386840" y="311728"/>
            <a:ext cx="5514320" cy="6234545"/>
          </a:xfrm>
          <a:solidFill>
            <a:schemeClr val="accent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AF69DFA1-4180-994B-AB0A-75C09016D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025" y="729013"/>
            <a:ext cx="4317704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68BE0206-B72C-B24A-8D3B-E298D9574B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025" y="2025006"/>
            <a:ext cx="4317704" cy="2791513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Рисунок 6">
            <a:extLst>
              <a:ext uri="{FF2B5EF4-FFF2-40B4-BE49-F238E27FC236}">
                <a16:creationId xmlns:a16="http://schemas.microsoft.com/office/drawing/2014/main" id="{5DF0A1A2-C7F3-634C-AA5F-B12EEC424D4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105098" y="0"/>
            <a:ext cx="6086902" cy="6858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1812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/>
          <p:bldP spid="9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/>
          <p:bldP spid="9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mo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srgbClr val="080808">
                    <a:tint val="75000"/>
                  </a:srgbClr>
                </a:solidFill>
              </a:rPr>
              <a:pPr/>
              <a:t>11/16/2025</a:t>
            </a:fld>
            <a:endParaRPr lang="en-US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srgbClr val="08080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8080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12916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1C7F707-B058-604B-BBF9-566B0CE45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06194" y="729013"/>
            <a:ext cx="4317704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r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5676B0C3-E3AD-2142-BD83-34972224FE7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6194" y="2025006"/>
            <a:ext cx="4317704" cy="2791513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Рисунок 6">
            <a:extLst>
              <a:ext uri="{FF2B5EF4-FFF2-40B4-BE49-F238E27FC236}">
                <a16:creationId xmlns:a16="http://schemas.microsoft.com/office/drawing/2014/main" id="{4A86BC19-C423-E94E-A15C-8E802BD3861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0" y="0"/>
            <a:ext cx="6086902" cy="3429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4" name="Рисунок 6">
            <a:extLst>
              <a:ext uri="{FF2B5EF4-FFF2-40B4-BE49-F238E27FC236}">
                <a16:creationId xmlns:a16="http://schemas.microsoft.com/office/drawing/2014/main" id="{4A422D6B-C38A-DB4F-9B1A-8BCE1684C28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0" y="3429000"/>
            <a:ext cx="6086902" cy="3429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6771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11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5235E8ED-01DC-2A44-ABB1-58BF8AD4AB1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0" y="0"/>
            <a:ext cx="12192001" cy="6858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10623042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ctr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025006"/>
            <a:ext cx="10623042" cy="279151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441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2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18" presetClass="entr" presetSubtype="9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strips(upLeft)">
                          <p:cBhvr>
                            <p:cTn dur="500"/>
                            <p:tgtEl>
                              <p:spTgt spid="26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18" presetClass="entr" presetSubtype="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2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18" presetClass="entr" presetSubtype="9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strips(upLeft)">
                          <p:cBhvr>
                            <p:cTn dur="500"/>
                            <p:tgtEl>
                              <p:spTgt spid="26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2000" cy="4796993"/>
          </a:xfrm>
          <a:prstGeom prst="rect">
            <a:avLst/>
          </a:pr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dirty="0"/>
            </a:lvl1pPr>
          </a:lstStyle>
          <a:p>
            <a:pPr lvl="0" algn="ctr"/>
            <a:r>
              <a:rPr lang="ru-RU" dirty="0"/>
              <a:t>  </a:t>
            </a:r>
            <a:endParaRPr lang="en-US" dirty="0"/>
          </a:p>
        </p:txBody>
      </p:sp>
      <p:sp>
        <p:nvSpPr>
          <p:cNvPr id="1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20097" y="1233010"/>
            <a:ext cx="10376521" cy="63653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4764025" y="3824999"/>
            <a:ext cx="2884137" cy="2015990"/>
          </a:xfrm>
          <a:prstGeom prst="rect">
            <a:avLst/>
          </a:prstGeom>
        </p:spPr>
        <p:txBody>
          <a:bodyPr/>
          <a:lstStyle>
            <a:lvl1pPr algn="ctr">
              <a:defRPr lang="en-US" sz="1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1096287" y="3824999"/>
            <a:ext cx="2884137" cy="2015990"/>
          </a:xfrm>
          <a:prstGeom prst="rect">
            <a:avLst/>
          </a:prstGeom>
        </p:spPr>
        <p:txBody>
          <a:bodyPr/>
          <a:lstStyle>
            <a:lvl1pPr algn="ctr">
              <a:defRPr lang="en-US" sz="1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23" hasCustomPrompt="1"/>
          </p:nvPr>
        </p:nvSpPr>
        <p:spPr>
          <a:xfrm>
            <a:off x="8431763" y="3824998"/>
            <a:ext cx="2884137" cy="2015990"/>
          </a:xfrm>
          <a:prstGeom prst="rect">
            <a:avLst/>
          </a:prstGeom>
        </p:spPr>
        <p:txBody>
          <a:bodyPr/>
          <a:lstStyle>
            <a:lvl1pPr algn="ctr">
              <a:defRPr lang="en-US" sz="1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63250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5" fill="hold">
                          <p:stCondLst>
                            <p:cond delay="indefinite"/>
                          </p:stCondLst>
                          <p:childTnLst>
                            <p:par>
                              <p:cTn id="1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7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9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1" fill="hold">
                          <p:stCondLst>
                            <p:cond delay="indefinite"/>
                          </p:stCondLst>
                          <p:childTnLst>
                            <p:par>
                              <p:cTn id="2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3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5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6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2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9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>
            <p:tmplLst>
              <p:tmpl>
                <p:tnLst>
                  <p:par>
                    <p:cTn presetID="2" presetClass="entr" presetSubtype="8" fill="hold" nodeType="click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5" fill="hold">
                          <p:stCondLst>
                            <p:cond delay="indefinite"/>
                          </p:stCondLst>
                          <p:childTnLst>
                            <p:par>
                              <p:cTn id="1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7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1" fill="hold">
                          <p:stCondLst>
                            <p:cond delay="indefinite"/>
                          </p:stCondLst>
                          <p:childTnLst>
                            <p:par>
                              <p:cTn id="2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3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2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9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>
            <p:tmplLst>
              <p:tmpl>
                <p:tnLst>
                  <p:par>
                    <p:cTn presetID="2" presetClass="entr" presetSubtype="8" fill="hold" nodeType="click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>
            <a:extLst>
              <a:ext uri="{FF2B5EF4-FFF2-40B4-BE49-F238E27FC236}">
                <a16:creationId xmlns:a16="http://schemas.microsoft.com/office/drawing/2014/main" id="{1C4EE596-0B09-2E4A-B8E4-35A6925F66C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818526" y="1749667"/>
            <a:ext cx="4498365" cy="4498430"/>
          </a:xfrm>
          <a:custGeom>
            <a:avLst/>
            <a:gdLst>
              <a:gd name="connsiteX0" fmla="*/ 3155882 w 8997901"/>
              <a:gd name="connsiteY0" fmla="*/ 1661 h 8997901"/>
              <a:gd name="connsiteX1" fmla="*/ 3527716 w 8997901"/>
              <a:gd name="connsiteY1" fmla="*/ 134608 h 8997901"/>
              <a:gd name="connsiteX2" fmla="*/ 3244097 w 8997901"/>
              <a:gd name="connsiteY2" fmla="*/ 560036 h 8997901"/>
              <a:gd name="connsiteX3" fmla="*/ 3403632 w 8997901"/>
              <a:gd name="connsiteY3" fmla="*/ 1162725 h 8997901"/>
              <a:gd name="connsiteX4" fmla="*/ 3704977 w 8997901"/>
              <a:gd name="connsiteY4" fmla="*/ 1694511 h 8997901"/>
              <a:gd name="connsiteX5" fmla="*/ 4502655 w 8997901"/>
              <a:gd name="connsiteY5" fmla="*/ 1588154 h 8997901"/>
              <a:gd name="connsiteX6" fmla="*/ 4520382 w 8997901"/>
              <a:gd name="connsiteY6" fmla="*/ 1410892 h 8997901"/>
              <a:gd name="connsiteX7" fmla="*/ 4502655 w 8997901"/>
              <a:gd name="connsiteY7" fmla="*/ 1003190 h 8997901"/>
              <a:gd name="connsiteX8" fmla="*/ 4272215 w 8997901"/>
              <a:gd name="connsiteY8" fmla="*/ 790476 h 8997901"/>
              <a:gd name="connsiteX9" fmla="*/ 4662190 w 8997901"/>
              <a:gd name="connsiteY9" fmla="*/ 595488 h 8997901"/>
              <a:gd name="connsiteX10" fmla="*/ 5016714 w 8997901"/>
              <a:gd name="connsiteY10" fmla="*/ 825928 h 8997901"/>
              <a:gd name="connsiteX11" fmla="*/ 4786274 w 8997901"/>
              <a:gd name="connsiteY11" fmla="*/ 1003190 h 8997901"/>
              <a:gd name="connsiteX12" fmla="*/ 4715369 w 8997901"/>
              <a:gd name="connsiteY12" fmla="*/ 1428618 h 8997901"/>
              <a:gd name="connsiteX13" fmla="*/ 4733096 w 8997901"/>
              <a:gd name="connsiteY13" fmla="*/ 1605880 h 8997901"/>
              <a:gd name="connsiteX14" fmla="*/ 5424416 w 8997901"/>
              <a:gd name="connsiteY14" fmla="*/ 1747689 h 8997901"/>
              <a:gd name="connsiteX15" fmla="*/ 5743487 w 8997901"/>
              <a:gd name="connsiteY15" fmla="*/ 1215904 h 8997901"/>
              <a:gd name="connsiteX16" fmla="*/ 5920749 w 8997901"/>
              <a:gd name="connsiteY16" fmla="*/ 613215 h 8997901"/>
              <a:gd name="connsiteX17" fmla="*/ 5672582 w 8997901"/>
              <a:gd name="connsiteY17" fmla="*/ 187786 h 8997901"/>
              <a:gd name="connsiteX18" fmla="*/ 6417082 w 8997901"/>
              <a:gd name="connsiteY18" fmla="*/ 170060 h 8997901"/>
              <a:gd name="connsiteX19" fmla="*/ 6895688 w 8997901"/>
              <a:gd name="connsiteY19" fmla="*/ 719571 h 8997901"/>
              <a:gd name="connsiteX20" fmla="*/ 6399356 w 8997901"/>
              <a:gd name="connsiteY20" fmla="*/ 825928 h 8997901"/>
              <a:gd name="connsiteX21" fmla="*/ 6080284 w 8997901"/>
              <a:gd name="connsiteY21" fmla="*/ 1357713 h 8997901"/>
              <a:gd name="connsiteX22" fmla="*/ 5903022 w 8997901"/>
              <a:gd name="connsiteY22" fmla="*/ 1960403 h 8997901"/>
              <a:gd name="connsiteX23" fmla="*/ 6558891 w 8997901"/>
              <a:gd name="connsiteY23" fmla="*/ 2439010 h 8997901"/>
              <a:gd name="connsiteX24" fmla="*/ 6700700 w 8997901"/>
              <a:gd name="connsiteY24" fmla="*/ 2332653 h 8997901"/>
              <a:gd name="connsiteX25" fmla="*/ 6966593 w 8997901"/>
              <a:gd name="connsiteY25" fmla="*/ 2013582 h 8997901"/>
              <a:gd name="connsiteX26" fmla="*/ 6966593 w 8997901"/>
              <a:gd name="connsiteY26" fmla="*/ 1712237 h 8997901"/>
              <a:gd name="connsiteX27" fmla="*/ 7374295 w 8997901"/>
              <a:gd name="connsiteY27" fmla="*/ 1854046 h 8997901"/>
              <a:gd name="connsiteX28" fmla="*/ 7462926 w 8997901"/>
              <a:gd name="connsiteY28" fmla="*/ 2261748 h 8997901"/>
              <a:gd name="connsiteX29" fmla="*/ 7161581 w 8997901"/>
              <a:gd name="connsiteY29" fmla="*/ 2226296 h 8997901"/>
              <a:gd name="connsiteX30" fmla="*/ 6824784 w 8997901"/>
              <a:gd name="connsiteY30" fmla="*/ 2492188 h 8997901"/>
              <a:gd name="connsiteX31" fmla="*/ 6700700 w 8997901"/>
              <a:gd name="connsiteY31" fmla="*/ 2616272 h 8997901"/>
              <a:gd name="connsiteX32" fmla="*/ 7108402 w 8997901"/>
              <a:gd name="connsiteY32" fmla="*/ 3201235 h 8997901"/>
              <a:gd name="connsiteX33" fmla="*/ 7711092 w 8997901"/>
              <a:gd name="connsiteY33" fmla="*/ 3059426 h 8997901"/>
              <a:gd name="connsiteX34" fmla="*/ 8242878 w 8997901"/>
              <a:gd name="connsiteY34" fmla="*/ 2758081 h 8997901"/>
              <a:gd name="connsiteX35" fmla="*/ 8366960 w 8997901"/>
              <a:gd name="connsiteY35" fmla="*/ 2279474 h 8997901"/>
              <a:gd name="connsiteX36" fmla="*/ 8916472 w 8997901"/>
              <a:gd name="connsiteY36" fmla="*/ 2793533 h 8997901"/>
              <a:gd name="connsiteX37" fmla="*/ 8863293 w 8997901"/>
              <a:gd name="connsiteY37" fmla="*/ 3520306 h 8997901"/>
              <a:gd name="connsiteX38" fmla="*/ 8437865 w 8997901"/>
              <a:gd name="connsiteY38" fmla="*/ 3254414 h 8997901"/>
              <a:gd name="connsiteX39" fmla="*/ 7835176 w 8997901"/>
              <a:gd name="connsiteY39" fmla="*/ 3396223 h 8997901"/>
              <a:gd name="connsiteX40" fmla="*/ 7285664 w 8997901"/>
              <a:gd name="connsiteY40" fmla="*/ 3697568 h 8997901"/>
              <a:gd name="connsiteX41" fmla="*/ 7409747 w 8997901"/>
              <a:gd name="connsiteY41" fmla="*/ 4495246 h 8997901"/>
              <a:gd name="connsiteX42" fmla="*/ 7569283 w 8997901"/>
              <a:gd name="connsiteY42" fmla="*/ 4512972 h 8997901"/>
              <a:gd name="connsiteX43" fmla="*/ 7994711 w 8997901"/>
              <a:gd name="connsiteY43" fmla="*/ 4495246 h 8997901"/>
              <a:gd name="connsiteX44" fmla="*/ 8207425 w 8997901"/>
              <a:gd name="connsiteY44" fmla="*/ 4282532 h 8997901"/>
              <a:gd name="connsiteX45" fmla="*/ 8402413 w 8997901"/>
              <a:gd name="connsiteY45" fmla="*/ 4654782 h 8997901"/>
              <a:gd name="connsiteX46" fmla="*/ 8171972 w 8997901"/>
              <a:gd name="connsiteY46" fmla="*/ 5009305 h 8997901"/>
              <a:gd name="connsiteX47" fmla="*/ 7994711 w 8997901"/>
              <a:gd name="connsiteY47" fmla="*/ 4778865 h 8997901"/>
              <a:gd name="connsiteX48" fmla="*/ 7569283 w 8997901"/>
              <a:gd name="connsiteY48" fmla="*/ 4725686 h 8997901"/>
              <a:gd name="connsiteX49" fmla="*/ 7392021 w 8997901"/>
              <a:gd name="connsiteY49" fmla="*/ 4725686 h 8997901"/>
              <a:gd name="connsiteX50" fmla="*/ 7250212 w 8997901"/>
              <a:gd name="connsiteY50" fmla="*/ 5417007 h 8997901"/>
              <a:gd name="connsiteX51" fmla="*/ 7781997 w 8997901"/>
              <a:gd name="connsiteY51" fmla="*/ 5753804 h 8997901"/>
              <a:gd name="connsiteX52" fmla="*/ 8384687 w 8997901"/>
              <a:gd name="connsiteY52" fmla="*/ 5931066 h 8997901"/>
              <a:gd name="connsiteX53" fmla="*/ 8810115 w 8997901"/>
              <a:gd name="connsiteY53" fmla="*/ 5665173 h 8997901"/>
              <a:gd name="connsiteX54" fmla="*/ 8827841 w 8997901"/>
              <a:gd name="connsiteY54" fmla="*/ 6409672 h 8997901"/>
              <a:gd name="connsiteX55" fmla="*/ 8260604 w 8997901"/>
              <a:gd name="connsiteY55" fmla="*/ 6888279 h 8997901"/>
              <a:gd name="connsiteX56" fmla="*/ 8171972 w 8997901"/>
              <a:gd name="connsiteY56" fmla="*/ 6391946 h 8997901"/>
              <a:gd name="connsiteX57" fmla="*/ 7640188 w 8997901"/>
              <a:gd name="connsiteY57" fmla="*/ 6072875 h 8997901"/>
              <a:gd name="connsiteX58" fmla="*/ 7037498 w 8997901"/>
              <a:gd name="connsiteY58" fmla="*/ 5913340 h 8997901"/>
              <a:gd name="connsiteX59" fmla="*/ 6541165 w 8997901"/>
              <a:gd name="connsiteY59" fmla="*/ 6551482 h 8997901"/>
              <a:gd name="connsiteX60" fmla="*/ 6665248 w 8997901"/>
              <a:gd name="connsiteY60" fmla="*/ 6693291 h 8997901"/>
              <a:gd name="connsiteX61" fmla="*/ 6966593 w 8997901"/>
              <a:gd name="connsiteY61" fmla="*/ 6976910 h 8997901"/>
              <a:gd name="connsiteX62" fmla="*/ 7267938 w 8997901"/>
              <a:gd name="connsiteY62" fmla="*/ 6959184 h 8997901"/>
              <a:gd name="connsiteX63" fmla="*/ 7143854 w 8997901"/>
              <a:gd name="connsiteY63" fmla="*/ 7366886 h 8997901"/>
              <a:gd name="connsiteX64" fmla="*/ 6736152 w 8997901"/>
              <a:gd name="connsiteY64" fmla="*/ 7455516 h 8997901"/>
              <a:gd name="connsiteX65" fmla="*/ 6771605 w 8997901"/>
              <a:gd name="connsiteY65" fmla="*/ 7171898 h 8997901"/>
              <a:gd name="connsiteX66" fmla="*/ 6505712 w 8997901"/>
              <a:gd name="connsiteY66" fmla="*/ 6817374 h 8997901"/>
              <a:gd name="connsiteX67" fmla="*/ 6381630 w 8997901"/>
              <a:gd name="connsiteY67" fmla="*/ 6711018 h 8997901"/>
              <a:gd name="connsiteX68" fmla="*/ 5796666 w 8997901"/>
              <a:gd name="connsiteY68" fmla="*/ 7100993 h 8997901"/>
              <a:gd name="connsiteX69" fmla="*/ 5938475 w 8997901"/>
              <a:gd name="connsiteY69" fmla="*/ 7703683 h 8997901"/>
              <a:gd name="connsiteX70" fmla="*/ 6239820 w 8997901"/>
              <a:gd name="connsiteY70" fmla="*/ 8253194 h 8997901"/>
              <a:gd name="connsiteX71" fmla="*/ 6718426 w 8997901"/>
              <a:gd name="connsiteY71" fmla="*/ 8377277 h 8997901"/>
              <a:gd name="connsiteX72" fmla="*/ 6204368 w 8997901"/>
              <a:gd name="connsiteY72" fmla="*/ 8909063 h 8997901"/>
              <a:gd name="connsiteX73" fmla="*/ 5477594 w 8997901"/>
              <a:gd name="connsiteY73" fmla="*/ 8855884 h 8997901"/>
              <a:gd name="connsiteX74" fmla="*/ 5743487 w 8997901"/>
              <a:gd name="connsiteY74" fmla="*/ 8430456 h 8997901"/>
              <a:gd name="connsiteX75" fmla="*/ 5601678 w 8997901"/>
              <a:gd name="connsiteY75" fmla="*/ 7827766 h 8997901"/>
              <a:gd name="connsiteX76" fmla="*/ 5300333 w 8997901"/>
              <a:gd name="connsiteY76" fmla="*/ 7295981 h 8997901"/>
              <a:gd name="connsiteX77" fmla="*/ 4484929 w 8997901"/>
              <a:gd name="connsiteY77" fmla="*/ 7402338 h 8997901"/>
              <a:gd name="connsiteX78" fmla="*/ 4467202 w 8997901"/>
              <a:gd name="connsiteY78" fmla="*/ 7579600 h 8997901"/>
              <a:gd name="connsiteX79" fmla="*/ 4502655 w 8997901"/>
              <a:gd name="connsiteY79" fmla="*/ 8005028 h 8997901"/>
              <a:gd name="connsiteX80" fmla="*/ 4715369 w 8997901"/>
              <a:gd name="connsiteY80" fmla="*/ 8200016 h 8997901"/>
              <a:gd name="connsiteX81" fmla="*/ 4343120 w 8997901"/>
              <a:gd name="connsiteY81" fmla="*/ 8412730 h 8997901"/>
              <a:gd name="connsiteX82" fmla="*/ 3970870 w 8997901"/>
              <a:gd name="connsiteY82" fmla="*/ 8182290 h 8997901"/>
              <a:gd name="connsiteX83" fmla="*/ 4219036 w 8997901"/>
              <a:gd name="connsiteY83" fmla="*/ 7987302 h 8997901"/>
              <a:gd name="connsiteX84" fmla="*/ 4272215 w 8997901"/>
              <a:gd name="connsiteY84" fmla="*/ 7561874 h 8997901"/>
              <a:gd name="connsiteX85" fmla="*/ 4272215 w 8997901"/>
              <a:gd name="connsiteY85" fmla="*/ 7402338 h 8997901"/>
              <a:gd name="connsiteX86" fmla="*/ 3580894 w 8997901"/>
              <a:gd name="connsiteY86" fmla="*/ 7242802 h 8997901"/>
              <a:gd name="connsiteX87" fmla="*/ 3244097 w 8997901"/>
              <a:gd name="connsiteY87" fmla="*/ 7774588 h 8997901"/>
              <a:gd name="connsiteX88" fmla="*/ 3066835 w 8997901"/>
              <a:gd name="connsiteY88" fmla="*/ 8377277 h 8997901"/>
              <a:gd name="connsiteX89" fmla="*/ 3332728 w 8997901"/>
              <a:gd name="connsiteY89" fmla="*/ 8802706 h 8997901"/>
              <a:gd name="connsiteX90" fmla="*/ 2588228 w 8997901"/>
              <a:gd name="connsiteY90" fmla="*/ 8820432 h 8997901"/>
              <a:gd name="connsiteX91" fmla="*/ 2109622 w 8997901"/>
              <a:gd name="connsiteY91" fmla="*/ 8270920 h 8997901"/>
              <a:gd name="connsiteX92" fmla="*/ 2588228 w 8997901"/>
              <a:gd name="connsiteY92" fmla="*/ 8164564 h 8997901"/>
              <a:gd name="connsiteX93" fmla="*/ 2907300 w 8997901"/>
              <a:gd name="connsiteY93" fmla="*/ 7632778 h 8997901"/>
              <a:gd name="connsiteX94" fmla="*/ 3084561 w 8997901"/>
              <a:gd name="connsiteY94" fmla="*/ 7030088 h 8997901"/>
              <a:gd name="connsiteX95" fmla="*/ 2446419 w 8997901"/>
              <a:gd name="connsiteY95" fmla="*/ 6551482 h 8997901"/>
              <a:gd name="connsiteX96" fmla="*/ 2304610 w 8997901"/>
              <a:gd name="connsiteY96" fmla="*/ 6657839 h 8997901"/>
              <a:gd name="connsiteX97" fmla="*/ 2020991 w 8997901"/>
              <a:gd name="connsiteY97" fmla="*/ 6976910 h 8997901"/>
              <a:gd name="connsiteX98" fmla="*/ 2038717 w 8997901"/>
              <a:gd name="connsiteY98" fmla="*/ 7278255 h 8997901"/>
              <a:gd name="connsiteX99" fmla="*/ 1631015 w 8997901"/>
              <a:gd name="connsiteY99" fmla="*/ 7154172 h 8997901"/>
              <a:gd name="connsiteX100" fmla="*/ 1524658 w 8997901"/>
              <a:gd name="connsiteY100" fmla="*/ 6728744 h 8997901"/>
              <a:gd name="connsiteX101" fmla="*/ 1826003 w 8997901"/>
              <a:gd name="connsiteY101" fmla="*/ 6764196 h 8997901"/>
              <a:gd name="connsiteX102" fmla="*/ 2162800 w 8997901"/>
              <a:gd name="connsiteY102" fmla="*/ 6516030 h 8997901"/>
              <a:gd name="connsiteX103" fmla="*/ 2286884 w 8997901"/>
              <a:gd name="connsiteY103" fmla="*/ 6391946 h 8997901"/>
              <a:gd name="connsiteX104" fmla="*/ 1896908 w 8997901"/>
              <a:gd name="connsiteY104" fmla="*/ 5789256 h 8997901"/>
              <a:gd name="connsiteX105" fmla="*/ 1294218 w 8997901"/>
              <a:gd name="connsiteY105" fmla="*/ 5931066 h 8997901"/>
              <a:gd name="connsiteX106" fmla="*/ 744707 w 8997901"/>
              <a:gd name="connsiteY106" fmla="*/ 6232410 h 8997901"/>
              <a:gd name="connsiteX107" fmla="*/ 620623 w 8997901"/>
              <a:gd name="connsiteY107" fmla="*/ 6711018 h 8997901"/>
              <a:gd name="connsiteX108" fmla="*/ 88838 w 8997901"/>
              <a:gd name="connsiteY108" fmla="*/ 6214684 h 8997901"/>
              <a:gd name="connsiteX109" fmla="*/ 142017 w 8997901"/>
              <a:gd name="connsiteY109" fmla="*/ 5470186 h 8997901"/>
              <a:gd name="connsiteX110" fmla="*/ 549719 w 8997901"/>
              <a:gd name="connsiteY110" fmla="*/ 5753804 h 8997901"/>
              <a:gd name="connsiteX111" fmla="*/ 1152409 w 8997901"/>
              <a:gd name="connsiteY111" fmla="*/ 5594268 h 8997901"/>
              <a:gd name="connsiteX112" fmla="*/ 1701920 w 8997901"/>
              <a:gd name="connsiteY112" fmla="*/ 5292924 h 8997901"/>
              <a:gd name="connsiteX113" fmla="*/ 1595563 w 8997901"/>
              <a:gd name="connsiteY113" fmla="*/ 4495246 h 8997901"/>
              <a:gd name="connsiteX114" fmla="*/ 1418301 w 8997901"/>
              <a:gd name="connsiteY114" fmla="*/ 4477520 h 8997901"/>
              <a:gd name="connsiteX115" fmla="*/ 992873 w 8997901"/>
              <a:gd name="connsiteY115" fmla="*/ 4495246 h 8997901"/>
              <a:gd name="connsiteX116" fmla="*/ 797885 w 8997901"/>
              <a:gd name="connsiteY116" fmla="*/ 4707960 h 8997901"/>
              <a:gd name="connsiteX117" fmla="*/ 585171 w 8997901"/>
              <a:gd name="connsiteY117" fmla="*/ 4335711 h 8997901"/>
              <a:gd name="connsiteX118" fmla="*/ 815611 w 8997901"/>
              <a:gd name="connsiteY118" fmla="*/ 3981187 h 8997901"/>
              <a:gd name="connsiteX119" fmla="*/ 1010599 w 8997901"/>
              <a:gd name="connsiteY119" fmla="*/ 4211627 h 8997901"/>
              <a:gd name="connsiteX120" fmla="*/ 1436027 w 8997901"/>
              <a:gd name="connsiteY120" fmla="*/ 4264806 h 8997901"/>
              <a:gd name="connsiteX121" fmla="*/ 1595563 w 8997901"/>
              <a:gd name="connsiteY121" fmla="*/ 4264806 h 8997901"/>
              <a:gd name="connsiteX122" fmla="*/ 1737372 w 8997901"/>
              <a:gd name="connsiteY122" fmla="*/ 3573485 h 8997901"/>
              <a:gd name="connsiteX123" fmla="*/ 1205587 w 8997901"/>
              <a:gd name="connsiteY123" fmla="*/ 3236688 h 8997901"/>
              <a:gd name="connsiteX124" fmla="*/ 620623 w 8997901"/>
              <a:gd name="connsiteY124" fmla="*/ 3059426 h 8997901"/>
              <a:gd name="connsiteX125" fmla="*/ 195195 w 8997901"/>
              <a:gd name="connsiteY125" fmla="*/ 3325318 h 8997901"/>
              <a:gd name="connsiteX126" fmla="*/ 159743 w 8997901"/>
              <a:gd name="connsiteY126" fmla="*/ 2580819 h 8997901"/>
              <a:gd name="connsiteX127" fmla="*/ 726980 w 8997901"/>
              <a:gd name="connsiteY127" fmla="*/ 2102213 h 8997901"/>
              <a:gd name="connsiteX128" fmla="*/ 833338 w 8997901"/>
              <a:gd name="connsiteY128" fmla="*/ 2598545 h 8997901"/>
              <a:gd name="connsiteX129" fmla="*/ 1365123 w 8997901"/>
              <a:gd name="connsiteY129" fmla="*/ 2917617 h 8997901"/>
              <a:gd name="connsiteX130" fmla="*/ 1950086 w 8997901"/>
              <a:gd name="connsiteY130" fmla="*/ 3077152 h 8997901"/>
              <a:gd name="connsiteX131" fmla="*/ 2446419 w 8997901"/>
              <a:gd name="connsiteY131" fmla="*/ 2439010 h 8997901"/>
              <a:gd name="connsiteX132" fmla="*/ 2340062 w 8997901"/>
              <a:gd name="connsiteY132" fmla="*/ 2297201 h 8997901"/>
              <a:gd name="connsiteX133" fmla="*/ 2020991 w 8997901"/>
              <a:gd name="connsiteY133" fmla="*/ 2031308 h 8997901"/>
              <a:gd name="connsiteX134" fmla="*/ 1719646 w 8997901"/>
              <a:gd name="connsiteY134" fmla="*/ 2031308 h 8997901"/>
              <a:gd name="connsiteX135" fmla="*/ 1843729 w 8997901"/>
              <a:gd name="connsiteY135" fmla="*/ 1623606 h 8997901"/>
              <a:gd name="connsiteX136" fmla="*/ 2269158 w 8997901"/>
              <a:gd name="connsiteY136" fmla="*/ 1534975 h 8997901"/>
              <a:gd name="connsiteX137" fmla="*/ 2233705 w 8997901"/>
              <a:gd name="connsiteY137" fmla="*/ 1836320 h 8997901"/>
              <a:gd name="connsiteX138" fmla="*/ 2481872 w 8997901"/>
              <a:gd name="connsiteY138" fmla="*/ 2173117 h 8997901"/>
              <a:gd name="connsiteX139" fmla="*/ 2605955 w 8997901"/>
              <a:gd name="connsiteY139" fmla="*/ 2279474 h 8997901"/>
              <a:gd name="connsiteX140" fmla="*/ 3208644 w 8997901"/>
              <a:gd name="connsiteY140" fmla="*/ 1889499 h 8997901"/>
              <a:gd name="connsiteX141" fmla="*/ 3066835 w 8997901"/>
              <a:gd name="connsiteY141" fmla="*/ 1286809 h 8997901"/>
              <a:gd name="connsiteX142" fmla="*/ 2765490 w 8997901"/>
              <a:gd name="connsiteY142" fmla="*/ 737297 h 8997901"/>
              <a:gd name="connsiteX143" fmla="*/ 2269158 w 8997901"/>
              <a:gd name="connsiteY143" fmla="*/ 613215 h 8997901"/>
              <a:gd name="connsiteX144" fmla="*/ 2783216 w 8997901"/>
              <a:gd name="connsiteY144" fmla="*/ 81429 h 8997901"/>
              <a:gd name="connsiteX145" fmla="*/ 3155882 w 8997901"/>
              <a:gd name="connsiteY145" fmla="*/ 1661 h 8997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8997901" h="8997901">
                <a:moveTo>
                  <a:pt x="3155882" y="1661"/>
                </a:moveTo>
                <a:cubicBezTo>
                  <a:pt x="3342145" y="-9417"/>
                  <a:pt x="3483401" y="34898"/>
                  <a:pt x="3527716" y="134608"/>
                </a:cubicBezTo>
                <a:cubicBezTo>
                  <a:pt x="3580894" y="258691"/>
                  <a:pt x="3456811" y="418227"/>
                  <a:pt x="3244097" y="560036"/>
                </a:cubicBezTo>
                <a:cubicBezTo>
                  <a:pt x="3244097" y="613215"/>
                  <a:pt x="3244097" y="772750"/>
                  <a:pt x="3403632" y="1162725"/>
                </a:cubicBezTo>
                <a:cubicBezTo>
                  <a:pt x="3456811" y="1322261"/>
                  <a:pt x="3580894" y="1517249"/>
                  <a:pt x="3704977" y="1694511"/>
                </a:cubicBezTo>
                <a:cubicBezTo>
                  <a:pt x="3970870" y="1623606"/>
                  <a:pt x="4236762" y="1588154"/>
                  <a:pt x="4502655" y="1588154"/>
                </a:cubicBezTo>
                <a:cubicBezTo>
                  <a:pt x="4520382" y="1534975"/>
                  <a:pt x="4520382" y="1464070"/>
                  <a:pt x="4520382" y="1410892"/>
                </a:cubicBezTo>
                <a:cubicBezTo>
                  <a:pt x="4538108" y="1127273"/>
                  <a:pt x="4502655" y="1020916"/>
                  <a:pt x="4502655" y="1003190"/>
                </a:cubicBezTo>
                <a:cubicBezTo>
                  <a:pt x="4360846" y="950011"/>
                  <a:pt x="4272215" y="879107"/>
                  <a:pt x="4272215" y="790476"/>
                </a:cubicBezTo>
                <a:cubicBezTo>
                  <a:pt x="4289941" y="666393"/>
                  <a:pt x="4449476" y="577762"/>
                  <a:pt x="4662190" y="595488"/>
                </a:cubicBezTo>
                <a:cubicBezTo>
                  <a:pt x="4857178" y="595488"/>
                  <a:pt x="5016714" y="701845"/>
                  <a:pt x="5016714" y="825928"/>
                </a:cubicBezTo>
                <a:cubicBezTo>
                  <a:pt x="5016714" y="914559"/>
                  <a:pt x="4910357" y="985464"/>
                  <a:pt x="4786274" y="1003190"/>
                </a:cubicBezTo>
                <a:cubicBezTo>
                  <a:pt x="4768548" y="1038642"/>
                  <a:pt x="4733096" y="1144999"/>
                  <a:pt x="4715369" y="1428618"/>
                </a:cubicBezTo>
                <a:cubicBezTo>
                  <a:pt x="4715369" y="1481797"/>
                  <a:pt x="4715369" y="1534975"/>
                  <a:pt x="4733096" y="1605880"/>
                </a:cubicBezTo>
                <a:cubicBezTo>
                  <a:pt x="4963536" y="1623606"/>
                  <a:pt x="5193976" y="1659058"/>
                  <a:pt x="5424416" y="1747689"/>
                </a:cubicBezTo>
                <a:cubicBezTo>
                  <a:pt x="5566226" y="1552701"/>
                  <a:pt x="5672582" y="1357713"/>
                  <a:pt x="5743487" y="1215904"/>
                </a:cubicBezTo>
                <a:cubicBezTo>
                  <a:pt x="5920749" y="825928"/>
                  <a:pt x="5938475" y="666393"/>
                  <a:pt x="5920749" y="613215"/>
                </a:cubicBezTo>
                <a:cubicBezTo>
                  <a:pt x="5725761" y="471405"/>
                  <a:pt x="5619404" y="311869"/>
                  <a:pt x="5672582" y="187786"/>
                </a:cubicBezTo>
                <a:cubicBezTo>
                  <a:pt x="5743487" y="28251"/>
                  <a:pt x="6062558" y="10524"/>
                  <a:pt x="6417082" y="170060"/>
                </a:cubicBezTo>
                <a:cubicBezTo>
                  <a:pt x="6753879" y="311869"/>
                  <a:pt x="6966593" y="560036"/>
                  <a:pt x="6895688" y="719571"/>
                </a:cubicBezTo>
                <a:cubicBezTo>
                  <a:pt x="6842510" y="843654"/>
                  <a:pt x="6647522" y="879107"/>
                  <a:pt x="6399356" y="825928"/>
                </a:cubicBezTo>
                <a:cubicBezTo>
                  <a:pt x="6363903" y="861381"/>
                  <a:pt x="6257546" y="967738"/>
                  <a:pt x="6080284" y="1357713"/>
                </a:cubicBezTo>
                <a:cubicBezTo>
                  <a:pt x="6009380" y="1517249"/>
                  <a:pt x="5956201" y="1729963"/>
                  <a:pt x="5903022" y="1960403"/>
                </a:cubicBezTo>
                <a:cubicBezTo>
                  <a:pt x="6151189" y="2084486"/>
                  <a:pt x="6363903" y="2244022"/>
                  <a:pt x="6558891" y="2439010"/>
                </a:cubicBezTo>
                <a:cubicBezTo>
                  <a:pt x="6612070" y="2403558"/>
                  <a:pt x="6647522" y="2368105"/>
                  <a:pt x="6700700" y="2332653"/>
                </a:cubicBezTo>
                <a:cubicBezTo>
                  <a:pt x="6895688" y="2137665"/>
                  <a:pt x="6948867" y="2049034"/>
                  <a:pt x="6966593" y="2013582"/>
                </a:cubicBezTo>
                <a:cubicBezTo>
                  <a:pt x="6913414" y="1907225"/>
                  <a:pt x="6895688" y="1783141"/>
                  <a:pt x="6966593" y="1712237"/>
                </a:cubicBezTo>
                <a:cubicBezTo>
                  <a:pt x="7055224" y="1641332"/>
                  <a:pt x="7232486" y="1694511"/>
                  <a:pt x="7374295" y="1854046"/>
                </a:cubicBezTo>
                <a:cubicBezTo>
                  <a:pt x="7516104" y="1995856"/>
                  <a:pt x="7551556" y="2190843"/>
                  <a:pt x="7462926" y="2261748"/>
                </a:cubicBezTo>
                <a:cubicBezTo>
                  <a:pt x="7392021" y="2314927"/>
                  <a:pt x="7285664" y="2314927"/>
                  <a:pt x="7161581" y="2226296"/>
                </a:cubicBezTo>
                <a:cubicBezTo>
                  <a:pt x="7126128" y="2244022"/>
                  <a:pt x="7037498" y="2297201"/>
                  <a:pt x="6824784" y="2492188"/>
                </a:cubicBezTo>
                <a:cubicBezTo>
                  <a:pt x="6789331" y="2527641"/>
                  <a:pt x="6753879" y="2563093"/>
                  <a:pt x="6700700" y="2616272"/>
                </a:cubicBezTo>
                <a:cubicBezTo>
                  <a:pt x="6860236" y="2793533"/>
                  <a:pt x="6984319" y="2988521"/>
                  <a:pt x="7108402" y="3201235"/>
                </a:cubicBezTo>
                <a:cubicBezTo>
                  <a:pt x="7321116" y="3165783"/>
                  <a:pt x="7551556" y="3112604"/>
                  <a:pt x="7711092" y="3059426"/>
                </a:cubicBezTo>
                <a:cubicBezTo>
                  <a:pt x="8101068" y="2899890"/>
                  <a:pt x="8225151" y="2811259"/>
                  <a:pt x="8242878" y="2758081"/>
                </a:cubicBezTo>
                <a:cubicBezTo>
                  <a:pt x="8207425" y="2527641"/>
                  <a:pt x="8260604" y="2314927"/>
                  <a:pt x="8366960" y="2279474"/>
                </a:cubicBezTo>
                <a:cubicBezTo>
                  <a:pt x="8544222" y="2208570"/>
                  <a:pt x="8774662" y="2439010"/>
                  <a:pt x="8916472" y="2793533"/>
                </a:cubicBezTo>
                <a:cubicBezTo>
                  <a:pt x="9040555" y="3130331"/>
                  <a:pt x="9022829" y="3467128"/>
                  <a:pt x="8863293" y="3520306"/>
                </a:cubicBezTo>
                <a:cubicBezTo>
                  <a:pt x="8739210" y="3573485"/>
                  <a:pt x="8579675" y="3449402"/>
                  <a:pt x="8437865" y="3254414"/>
                </a:cubicBezTo>
                <a:cubicBezTo>
                  <a:pt x="8384687" y="3236688"/>
                  <a:pt x="8225151" y="3236688"/>
                  <a:pt x="7835176" y="3396223"/>
                </a:cubicBezTo>
                <a:cubicBezTo>
                  <a:pt x="7675640" y="3449402"/>
                  <a:pt x="7480652" y="3573485"/>
                  <a:pt x="7285664" y="3697568"/>
                </a:cubicBezTo>
                <a:cubicBezTo>
                  <a:pt x="7374295" y="3963461"/>
                  <a:pt x="7409747" y="4229354"/>
                  <a:pt x="7409747" y="4495246"/>
                </a:cubicBezTo>
                <a:cubicBezTo>
                  <a:pt x="7462926" y="4512972"/>
                  <a:pt x="7533830" y="4512972"/>
                  <a:pt x="7569283" y="4512972"/>
                </a:cubicBezTo>
                <a:cubicBezTo>
                  <a:pt x="7870628" y="4530699"/>
                  <a:pt x="7959258" y="4512972"/>
                  <a:pt x="7994711" y="4495246"/>
                </a:cubicBezTo>
                <a:cubicBezTo>
                  <a:pt x="8030163" y="4371163"/>
                  <a:pt x="8118794" y="4264806"/>
                  <a:pt x="8207425" y="4282532"/>
                </a:cubicBezTo>
                <a:cubicBezTo>
                  <a:pt x="8331508" y="4282532"/>
                  <a:pt x="8420139" y="4459794"/>
                  <a:pt x="8402413" y="4654782"/>
                </a:cubicBezTo>
                <a:cubicBezTo>
                  <a:pt x="8402413" y="4867496"/>
                  <a:pt x="8296056" y="5027031"/>
                  <a:pt x="8171972" y="5009305"/>
                </a:cubicBezTo>
                <a:cubicBezTo>
                  <a:pt x="8083342" y="5009305"/>
                  <a:pt x="8012437" y="4920674"/>
                  <a:pt x="7994711" y="4778865"/>
                </a:cubicBezTo>
                <a:cubicBezTo>
                  <a:pt x="7959258" y="4761139"/>
                  <a:pt x="7852902" y="4725686"/>
                  <a:pt x="7569283" y="4725686"/>
                </a:cubicBezTo>
                <a:cubicBezTo>
                  <a:pt x="7516104" y="4725686"/>
                  <a:pt x="7462926" y="4725686"/>
                  <a:pt x="7392021" y="4725686"/>
                </a:cubicBezTo>
                <a:cubicBezTo>
                  <a:pt x="7374295" y="4956126"/>
                  <a:pt x="7321116" y="5204293"/>
                  <a:pt x="7250212" y="5417007"/>
                </a:cubicBezTo>
                <a:cubicBezTo>
                  <a:pt x="7445200" y="5558816"/>
                  <a:pt x="7622462" y="5682900"/>
                  <a:pt x="7781997" y="5753804"/>
                </a:cubicBezTo>
                <a:cubicBezTo>
                  <a:pt x="8171972" y="5913340"/>
                  <a:pt x="8331508" y="5931066"/>
                  <a:pt x="8384687" y="5931066"/>
                </a:cubicBezTo>
                <a:cubicBezTo>
                  <a:pt x="8526496" y="5718352"/>
                  <a:pt x="8686032" y="5611994"/>
                  <a:pt x="8810115" y="5665173"/>
                </a:cubicBezTo>
                <a:cubicBezTo>
                  <a:pt x="8969650" y="5736078"/>
                  <a:pt x="8969650" y="6072875"/>
                  <a:pt x="8827841" y="6409672"/>
                </a:cubicBezTo>
                <a:cubicBezTo>
                  <a:pt x="8686032" y="6746470"/>
                  <a:pt x="8420139" y="6959184"/>
                  <a:pt x="8260604" y="6888279"/>
                </a:cubicBezTo>
                <a:cubicBezTo>
                  <a:pt x="8154246" y="6835100"/>
                  <a:pt x="8118794" y="6640112"/>
                  <a:pt x="8171972" y="6391946"/>
                </a:cubicBezTo>
                <a:cubicBezTo>
                  <a:pt x="8136520" y="6356494"/>
                  <a:pt x="8012437" y="6250137"/>
                  <a:pt x="7640188" y="6072875"/>
                </a:cubicBezTo>
                <a:cubicBezTo>
                  <a:pt x="7480652" y="6019696"/>
                  <a:pt x="7267938" y="5948792"/>
                  <a:pt x="7037498" y="5913340"/>
                </a:cubicBezTo>
                <a:cubicBezTo>
                  <a:pt x="6913414" y="6143780"/>
                  <a:pt x="6736152" y="6356494"/>
                  <a:pt x="6541165" y="6551482"/>
                </a:cubicBezTo>
                <a:cubicBezTo>
                  <a:pt x="6594344" y="6604660"/>
                  <a:pt x="6629796" y="6657839"/>
                  <a:pt x="6665248" y="6693291"/>
                </a:cubicBezTo>
                <a:cubicBezTo>
                  <a:pt x="6860236" y="6906005"/>
                  <a:pt x="6948867" y="6959184"/>
                  <a:pt x="6966593" y="6976910"/>
                </a:cubicBezTo>
                <a:cubicBezTo>
                  <a:pt x="7090676" y="6906005"/>
                  <a:pt x="7214760" y="6888279"/>
                  <a:pt x="7267938" y="6959184"/>
                </a:cubicBezTo>
                <a:cubicBezTo>
                  <a:pt x="7356568" y="7047814"/>
                  <a:pt x="7303390" y="7225076"/>
                  <a:pt x="7143854" y="7366886"/>
                </a:cubicBezTo>
                <a:cubicBezTo>
                  <a:pt x="7002046" y="7508695"/>
                  <a:pt x="6807058" y="7544148"/>
                  <a:pt x="6736152" y="7455516"/>
                </a:cubicBezTo>
                <a:cubicBezTo>
                  <a:pt x="6665248" y="7402338"/>
                  <a:pt x="6682974" y="7278255"/>
                  <a:pt x="6771605" y="7171898"/>
                </a:cubicBezTo>
                <a:cubicBezTo>
                  <a:pt x="6753879" y="7136446"/>
                  <a:pt x="6700700" y="7030088"/>
                  <a:pt x="6505712" y="6817374"/>
                </a:cubicBezTo>
                <a:cubicBezTo>
                  <a:pt x="6470260" y="6781922"/>
                  <a:pt x="6434808" y="6746470"/>
                  <a:pt x="6381630" y="6711018"/>
                </a:cubicBezTo>
                <a:cubicBezTo>
                  <a:pt x="6204368" y="6852826"/>
                  <a:pt x="6009380" y="6994636"/>
                  <a:pt x="5796666" y="7100993"/>
                </a:cubicBezTo>
                <a:cubicBezTo>
                  <a:pt x="5832118" y="7331434"/>
                  <a:pt x="5867570" y="7544148"/>
                  <a:pt x="5938475" y="7703683"/>
                </a:cubicBezTo>
                <a:cubicBezTo>
                  <a:pt x="6080284" y="8093658"/>
                  <a:pt x="6186642" y="8217742"/>
                  <a:pt x="6239820" y="8253194"/>
                </a:cubicBezTo>
                <a:cubicBezTo>
                  <a:pt x="6470260" y="8200016"/>
                  <a:pt x="6665248" y="8253194"/>
                  <a:pt x="6718426" y="8377277"/>
                </a:cubicBezTo>
                <a:cubicBezTo>
                  <a:pt x="6789331" y="8536813"/>
                  <a:pt x="6558891" y="8767253"/>
                  <a:pt x="6204368" y="8909063"/>
                </a:cubicBezTo>
                <a:cubicBezTo>
                  <a:pt x="5867570" y="9050872"/>
                  <a:pt x="5530773" y="9015420"/>
                  <a:pt x="5477594" y="8855884"/>
                </a:cubicBezTo>
                <a:cubicBezTo>
                  <a:pt x="5424416" y="8731801"/>
                  <a:pt x="5548499" y="8572265"/>
                  <a:pt x="5743487" y="8430456"/>
                </a:cubicBezTo>
                <a:cubicBezTo>
                  <a:pt x="5761214" y="8377277"/>
                  <a:pt x="5743487" y="8217742"/>
                  <a:pt x="5601678" y="7827766"/>
                </a:cubicBezTo>
                <a:cubicBezTo>
                  <a:pt x="5530773" y="7685957"/>
                  <a:pt x="5424416" y="7490969"/>
                  <a:pt x="5300333" y="7295981"/>
                </a:cubicBezTo>
                <a:cubicBezTo>
                  <a:pt x="5034440" y="7366886"/>
                  <a:pt x="4750822" y="7402338"/>
                  <a:pt x="4484929" y="7402338"/>
                </a:cubicBezTo>
                <a:cubicBezTo>
                  <a:pt x="4484929" y="7473242"/>
                  <a:pt x="4467202" y="7526421"/>
                  <a:pt x="4467202" y="7579600"/>
                </a:cubicBezTo>
                <a:cubicBezTo>
                  <a:pt x="4467202" y="7863218"/>
                  <a:pt x="4484929" y="7969576"/>
                  <a:pt x="4502655" y="8005028"/>
                </a:cubicBezTo>
                <a:cubicBezTo>
                  <a:pt x="4626738" y="8040480"/>
                  <a:pt x="4715369" y="8111385"/>
                  <a:pt x="4715369" y="8200016"/>
                </a:cubicBezTo>
                <a:cubicBezTo>
                  <a:pt x="4715369" y="8324099"/>
                  <a:pt x="4538108" y="8412730"/>
                  <a:pt x="4343120" y="8412730"/>
                </a:cubicBezTo>
                <a:cubicBezTo>
                  <a:pt x="4130406" y="8395004"/>
                  <a:pt x="3970870" y="8288646"/>
                  <a:pt x="3970870" y="8182290"/>
                </a:cubicBezTo>
                <a:cubicBezTo>
                  <a:pt x="3988596" y="8075932"/>
                  <a:pt x="4077227" y="8005028"/>
                  <a:pt x="4219036" y="7987302"/>
                </a:cubicBezTo>
                <a:cubicBezTo>
                  <a:pt x="4236762" y="7951850"/>
                  <a:pt x="4254488" y="7845492"/>
                  <a:pt x="4272215" y="7561874"/>
                </a:cubicBezTo>
                <a:cubicBezTo>
                  <a:pt x="4272215" y="7508695"/>
                  <a:pt x="4272215" y="7455516"/>
                  <a:pt x="4272215" y="7402338"/>
                </a:cubicBezTo>
                <a:cubicBezTo>
                  <a:pt x="4024048" y="7384612"/>
                  <a:pt x="3793608" y="7331434"/>
                  <a:pt x="3580894" y="7242802"/>
                </a:cubicBezTo>
                <a:cubicBezTo>
                  <a:pt x="3439085" y="7437790"/>
                  <a:pt x="3315002" y="7632778"/>
                  <a:pt x="3244097" y="7774588"/>
                </a:cubicBezTo>
                <a:cubicBezTo>
                  <a:pt x="3084561" y="8164564"/>
                  <a:pt x="3066835" y="8324099"/>
                  <a:pt x="3066835" y="8377277"/>
                </a:cubicBezTo>
                <a:cubicBezTo>
                  <a:pt x="3279549" y="8519087"/>
                  <a:pt x="3385906" y="8696349"/>
                  <a:pt x="3332728" y="8802706"/>
                </a:cubicBezTo>
                <a:cubicBezTo>
                  <a:pt x="3261823" y="8962241"/>
                  <a:pt x="2925026" y="8979967"/>
                  <a:pt x="2588228" y="8820432"/>
                </a:cubicBezTo>
                <a:cubicBezTo>
                  <a:pt x="2251431" y="8678622"/>
                  <a:pt x="2038717" y="8430456"/>
                  <a:pt x="2109622" y="8270920"/>
                </a:cubicBezTo>
                <a:cubicBezTo>
                  <a:pt x="2162800" y="8146838"/>
                  <a:pt x="2357788" y="8111385"/>
                  <a:pt x="2588228" y="8164564"/>
                </a:cubicBezTo>
                <a:cubicBezTo>
                  <a:pt x="2641407" y="8129111"/>
                  <a:pt x="2747764" y="8022754"/>
                  <a:pt x="2907300" y="7632778"/>
                </a:cubicBezTo>
                <a:cubicBezTo>
                  <a:pt x="2978204" y="7473242"/>
                  <a:pt x="3049109" y="7260528"/>
                  <a:pt x="3084561" y="7030088"/>
                </a:cubicBezTo>
                <a:cubicBezTo>
                  <a:pt x="2854121" y="6906005"/>
                  <a:pt x="2623681" y="6746470"/>
                  <a:pt x="2446419" y="6551482"/>
                </a:cubicBezTo>
                <a:cubicBezTo>
                  <a:pt x="2393241" y="6586934"/>
                  <a:pt x="2340062" y="6622386"/>
                  <a:pt x="2304610" y="6657839"/>
                </a:cubicBezTo>
                <a:cubicBezTo>
                  <a:pt x="2091896" y="6852826"/>
                  <a:pt x="2038717" y="6941458"/>
                  <a:pt x="2020991" y="6976910"/>
                </a:cubicBezTo>
                <a:cubicBezTo>
                  <a:pt x="2091896" y="7083267"/>
                  <a:pt x="2091896" y="7207350"/>
                  <a:pt x="2038717" y="7278255"/>
                </a:cubicBezTo>
                <a:cubicBezTo>
                  <a:pt x="1950086" y="7349160"/>
                  <a:pt x="1755098" y="7295981"/>
                  <a:pt x="1631015" y="7154172"/>
                </a:cubicBezTo>
                <a:cubicBezTo>
                  <a:pt x="1489206" y="6994636"/>
                  <a:pt x="1436027" y="6817374"/>
                  <a:pt x="1524658" y="6728744"/>
                </a:cubicBezTo>
                <a:cubicBezTo>
                  <a:pt x="1595563" y="6675565"/>
                  <a:pt x="1719646" y="6693291"/>
                  <a:pt x="1826003" y="6764196"/>
                </a:cubicBezTo>
                <a:cubicBezTo>
                  <a:pt x="1861456" y="6746470"/>
                  <a:pt x="1950086" y="6711018"/>
                  <a:pt x="2162800" y="6516030"/>
                </a:cubicBezTo>
                <a:cubicBezTo>
                  <a:pt x="2198253" y="6480577"/>
                  <a:pt x="2251431" y="6427398"/>
                  <a:pt x="2286884" y="6391946"/>
                </a:cubicBezTo>
                <a:cubicBezTo>
                  <a:pt x="2127348" y="6214684"/>
                  <a:pt x="2003265" y="6001970"/>
                  <a:pt x="1896908" y="5789256"/>
                </a:cubicBezTo>
                <a:cubicBezTo>
                  <a:pt x="1666468" y="5824709"/>
                  <a:pt x="1453754" y="5877888"/>
                  <a:pt x="1294218" y="5931066"/>
                </a:cubicBezTo>
                <a:cubicBezTo>
                  <a:pt x="904242" y="6090602"/>
                  <a:pt x="780159" y="6196958"/>
                  <a:pt x="744707" y="6232410"/>
                </a:cubicBezTo>
                <a:cubicBezTo>
                  <a:pt x="780159" y="6480577"/>
                  <a:pt x="744707" y="6675565"/>
                  <a:pt x="620623" y="6711018"/>
                </a:cubicBezTo>
                <a:cubicBezTo>
                  <a:pt x="461088" y="6781922"/>
                  <a:pt x="212921" y="6551482"/>
                  <a:pt x="88838" y="6214684"/>
                </a:cubicBezTo>
                <a:cubicBezTo>
                  <a:pt x="-52971" y="5860161"/>
                  <a:pt x="-17519" y="5523364"/>
                  <a:pt x="142017" y="5470186"/>
                </a:cubicBezTo>
                <a:cubicBezTo>
                  <a:pt x="266100" y="5417007"/>
                  <a:pt x="425635" y="5541090"/>
                  <a:pt x="549719" y="5753804"/>
                </a:cubicBezTo>
                <a:cubicBezTo>
                  <a:pt x="602897" y="5753804"/>
                  <a:pt x="762433" y="5753804"/>
                  <a:pt x="1152409" y="5594268"/>
                </a:cubicBezTo>
                <a:cubicBezTo>
                  <a:pt x="1311944" y="5541090"/>
                  <a:pt x="1506932" y="5417007"/>
                  <a:pt x="1701920" y="5292924"/>
                </a:cubicBezTo>
                <a:cubicBezTo>
                  <a:pt x="1631015" y="5027031"/>
                  <a:pt x="1595563" y="4761139"/>
                  <a:pt x="1595563" y="4495246"/>
                </a:cubicBezTo>
                <a:cubicBezTo>
                  <a:pt x="1524658" y="4477520"/>
                  <a:pt x="1471480" y="4477520"/>
                  <a:pt x="1418301" y="4477520"/>
                </a:cubicBezTo>
                <a:cubicBezTo>
                  <a:pt x="1134682" y="4459794"/>
                  <a:pt x="1028326" y="4477520"/>
                  <a:pt x="992873" y="4495246"/>
                </a:cubicBezTo>
                <a:cubicBezTo>
                  <a:pt x="957421" y="4637056"/>
                  <a:pt x="886516" y="4725686"/>
                  <a:pt x="797885" y="4707960"/>
                </a:cubicBezTo>
                <a:cubicBezTo>
                  <a:pt x="673802" y="4707960"/>
                  <a:pt x="585171" y="4548425"/>
                  <a:pt x="585171" y="4335711"/>
                </a:cubicBezTo>
                <a:cubicBezTo>
                  <a:pt x="602897" y="4140723"/>
                  <a:pt x="709254" y="3981187"/>
                  <a:pt x="815611" y="3981187"/>
                </a:cubicBezTo>
                <a:cubicBezTo>
                  <a:pt x="904242" y="3981187"/>
                  <a:pt x="975147" y="4069818"/>
                  <a:pt x="1010599" y="4211627"/>
                </a:cubicBezTo>
                <a:cubicBezTo>
                  <a:pt x="1046052" y="4229354"/>
                  <a:pt x="1134682" y="4264806"/>
                  <a:pt x="1436027" y="4264806"/>
                </a:cubicBezTo>
                <a:cubicBezTo>
                  <a:pt x="1471480" y="4282532"/>
                  <a:pt x="1542384" y="4264806"/>
                  <a:pt x="1595563" y="4264806"/>
                </a:cubicBezTo>
                <a:cubicBezTo>
                  <a:pt x="1613289" y="4034366"/>
                  <a:pt x="1666468" y="3803925"/>
                  <a:pt x="1737372" y="3573485"/>
                </a:cubicBezTo>
                <a:cubicBezTo>
                  <a:pt x="1560111" y="3431675"/>
                  <a:pt x="1365123" y="3307592"/>
                  <a:pt x="1205587" y="3236688"/>
                </a:cubicBezTo>
                <a:cubicBezTo>
                  <a:pt x="833338" y="3077152"/>
                  <a:pt x="673802" y="3059426"/>
                  <a:pt x="620623" y="3059426"/>
                </a:cubicBezTo>
                <a:cubicBezTo>
                  <a:pt x="478814" y="3272140"/>
                  <a:pt x="301552" y="3378497"/>
                  <a:pt x="195195" y="3325318"/>
                </a:cubicBezTo>
                <a:cubicBezTo>
                  <a:pt x="35660" y="3254414"/>
                  <a:pt x="17933" y="2917617"/>
                  <a:pt x="159743" y="2580819"/>
                </a:cubicBezTo>
                <a:cubicBezTo>
                  <a:pt x="319278" y="2244022"/>
                  <a:pt x="567445" y="2031308"/>
                  <a:pt x="726980" y="2102213"/>
                </a:cubicBezTo>
                <a:cubicBezTo>
                  <a:pt x="851064" y="2155391"/>
                  <a:pt x="886516" y="2350379"/>
                  <a:pt x="833338" y="2598545"/>
                </a:cubicBezTo>
                <a:cubicBezTo>
                  <a:pt x="868790" y="2633998"/>
                  <a:pt x="975147" y="2740355"/>
                  <a:pt x="1365123" y="2917617"/>
                </a:cubicBezTo>
                <a:cubicBezTo>
                  <a:pt x="1506932" y="2988521"/>
                  <a:pt x="1737372" y="3041700"/>
                  <a:pt x="1950086" y="3077152"/>
                </a:cubicBezTo>
                <a:cubicBezTo>
                  <a:pt x="2091896" y="2846712"/>
                  <a:pt x="2251431" y="2633998"/>
                  <a:pt x="2446419" y="2439010"/>
                </a:cubicBezTo>
                <a:cubicBezTo>
                  <a:pt x="2410967" y="2385831"/>
                  <a:pt x="2375514" y="2332653"/>
                  <a:pt x="2340062" y="2297201"/>
                </a:cubicBezTo>
                <a:cubicBezTo>
                  <a:pt x="2145074" y="2084486"/>
                  <a:pt x="2056444" y="2031308"/>
                  <a:pt x="2020991" y="2031308"/>
                </a:cubicBezTo>
                <a:cubicBezTo>
                  <a:pt x="1896908" y="2084486"/>
                  <a:pt x="1790551" y="2102213"/>
                  <a:pt x="1719646" y="2031308"/>
                </a:cubicBezTo>
                <a:cubicBezTo>
                  <a:pt x="1648742" y="1942677"/>
                  <a:pt x="1701920" y="1765415"/>
                  <a:pt x="1843729" y="1623606"/>
                </a:cubicBezTo>
                <a:cubicBezTo>
                  <a:pt x="2003265" y="1481797"/>
                  <a:pt x="2180526" y="1446344"/>
                  <a:pt x="2269158" y="1534975"/>
                </a:cubicBezTo>
                <a:cubicBezTo>
                  <a:pt x="2322336" y="1588154"/>
                  <a:pt x="2304610" y="1712237"/>
                  <a:pt x="2233705" y="1836320"/>
                </a:cubicBezTo>
                <a:cubicBezTo>
                  <a:pt x="2251431" y="1854046"/>
                  <a:pt x="2286884" y="1960403"/>
                  <a:pt x="2481872" y="2173117"/>
                </a:cubicBezTo>
                <a:cubicBezTo>
                  <a:pt x="2517324" y="2208570"/>
                  <a:pt x="2570502" y="2244022"/>
                  <a:pt x="2605955" y="2279474"/>
                </a:cubicBezTo>
                <a:cubicBezTo>
                  <a:pt x="2783216" y="2137665"/>
                  <a:pt x="2995930" y="1995856"/>
                  <a:pt x="3208644" y="1889499"/>
                </a:cubicBezTo>
                <a:cubicBezTo>
                  <a:pt x="3173192" y="1659058"/>
                  <a:pt x="3120014" y="1446344"/>
                  <a:pt x="3066835" y="1286809"/>
                </a:cubicBezTo>
                <a:cubicBezTo>
                  <a:pt x="2907300" y="896833"/>
                  <a:pt x="2800942" y="772750"/>
                  <a:pt x="2765490" y="737297"/>
                </a:cubicBezTo>
                <a:cubicBezTo>
                  <a:pt x="2517324" y="790476"/>
                  <a:pt x="2322336" y="737297"/>
                  <a:pt x="2269158" y="613215"/>
                </a:cubicBezTo>
                <a:cubicBezTo>
                  <a:pt x="2215979" y="453679"/>
                  <a:pt x="2446419" y="223239"/>
                  <a:pt x="2783216" y="81429"/>
                </a:cubicBezTo>
                <a:cubicBezTo>
                  <a:pt x="2916163" y="34898"/>
                  <a:pt x="3044124" y="8309"/>
                  <a:pt x="3155882" y="166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CBEA62F-690D-4941-9147-C91F81BAE7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10623042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ctr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309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1125011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63CE7AAB-0DD6-0B4A-BCFF-835C69D82EA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662472" y="1362334"/>
            <a:ext cx="4498365" cy="4498430"/>
          </a:xfrm>
          <a:custGeom>
            <a:avLst/>
            <a:gdLst>
              <a:gd name="connsiteX0" fmla="*/ 3155881 w 8997901"/>
              <a:gd name="connsiteY0" fmla="*/ 1661 h 8997901"/>
              <a:gd name="connsiteX1" fmla="*/ 3527716 w 8997901"/>
              <a:gd name="connsiteY1" fmla="*/ 134608 h 8997901"/>
              <a:gd name="connsiteX2" fmla="*/ 3244097 w 8997901"/>
              <a:gd name="connsiteY2" fmla="*/ 560036 h 8997901"/>
              <a:gd name="connsiteX3" fmla="*/ 3403632 w 8997901"/>
              <a:gd name="connsiteY3" fmla="*/ 1162725 h 8997901"/>
              <a:gd name="connsiteX4" fmla="*/ 3704978 w 8997901"/>
              <a:gd name="connsiteY4" fmla="*/ 1694511 h 8997901"/>
              <a:gd name="connsiteX5" fmla="*/ 4502654 w 8997901"/>
              <a:gd name="connsiteY5" fmla="*/ 1588154 h 8997901"/>
              <a:gd name="connsiteX6" fmla="*/ 4520382 w 8997901"/>
              <a:gd name="connsiteY6" fmla="*/ 1410892 h 8997901"/>
              <a:gd name="connsiteX7" fmla="*/ 4502654 w 8997901"/>
              <a:gd name="connsiteY7" fmla="*/ 1003190 h 8997901"/>
              <a:gd name="connsiteX8" fmla="*/ 4272214 w 8997901"/>
              <a:gd name="connsiteY8" fmla="*/ 790476 h 8997901"/>
              <a:gd name="connsiteX9" fmla="*/ 4662190 w 8997901"/>
              <a:gd name="connsiteY9" fmla="*/ 595488 h 8997901"/>
              <a:gd name="connsiteX10" fmla="*/ 5016714 w 8997901"/>
              <a:gd name="connsiteY10" fmla="*/ 825928 h 8997901"/>
              <a:gd name="connsiteX11" fmla="*/ 4786274 w 8997901"/>
              <a:gd name="connsiteY11" fmla="*/ 1003190 h 8997901"/>
              <a:gd name="connsiteX12" fmla="*/ 4715370 w 8997901"/>
              <a:gd name="connsiteY12" fmla="*/ 1428618 h 8997901"/>
              <a:gd name="connsiteX13" fmla="*/ 4733096 w 8997901"/>
              <a:gd name="connsiteY13" fmla="*/ 1605880 h 8997901"/>
              <a:gd name="connsiteX14" fmla="*/ 5424416 w 8997901"/>
              <a:gd name="connsiteY14" fmla="*/ 1747689 h 8997901"/>
              <a:gd name="connsiteX15" fmla="*/ 5743486 w 8997901"/>
              <a:gd name="connsiteY15" fmla="*/ 1215904 h 8997901"/>
              <a:gd name="connsiteX16" fmla="*/ 5920750 w 8997901"/>
              <a:gd name="connsiteY16" fmla="*/ 613215 h 8997901"/>
              <a:gd name="connsiteX17" fmla="*/ 5672582 w 8997901"/>
              <a:gd name="connsiteY17" fmla="*/ 187786 h 8997901"/>
              <a:gd name="connsiteX18" fmla="*/ 6417082 w 8997901"/>
              <a:gd name="connsiteY18" fmla="*/ 170060 h 8997901"/>
              <a:gd name="connsiteX19" fmla="*/ 6895688 w 8997901"/>
              <a:gd name="connsiteY19" fmla="*/ 719572 h 8997901"/>
              <a:gd name="connsiteX20" fmla="*/ 6399356 w 8997901"/>
              <a:gd name="connsiteY20" fmla="*/ 825928 h 8997901"/>
              <a:gd name="connsiteX21" fmla="*/ 6080284 w 8997901"/>
              <a:gd name="connsiteY21" fmla="*/ 1357713 h 8997901"/>
              <a:gd name="connsiteX22" fmla="*/ 5903022 w 8997901"/>
              <a:gd name="connsiteY22" fmla="*/ 1960403 h 8997901"/>
              <a:gd name="connsiteX23" fmla="*/ 6558890 w 8997901"/>
              <a:gd name="connsiteY23" fmla="*/ 2439010 h 8997901"/>
              <a:gd name="connsiteX24" fmla="*/ 6700700 w 8997901"/>
              <a:gd name="connsiteY24" fmla="*/ 2332653 h 8997901"/>
              <a:gd name="connsiteX25" fmla="*/ 6966594 w 8997901"/>
              <a:gd name="connsiteY25" fmla="*/ 2013582 h 8997901"/>
              <a:gd name="connsiteX26" fmla="*/ 6966594 w 8997901"/>
              <a:gd name="connsiteY26" fmla="*/ 1712237 h 8997901"/>
              <a:gd name="connsiteX27" fmla="*/ 7374294 w 8997901"/>
              <a:gd name="connsiteY27" fmla="*/ 1854046 h 8997901"/>
              <a:gd name="connsiteX28" fmla="*/ 7462926 w 8997901"/>
              <a:gd name="connsiteY28" fmla="*/ 2261748 h 8997901"/>
              <a:gd name="connsiteX29" fmla="*/ 7161582 w 8997901"/>
              <a:gd name="connsiteY29" fmla="*/ 2226296 h 8997901"/>
              <a:gd name="connsiteX30" fmla="*/ 6824784 w 8997901"/>
              <a:gd name="connsiteY30" fmla="*/ 2492188 h 8997901"/>
              <a:gd name="connsiteX31" fmla="*/ 6700700 w 8997901"/>
              <a:gd name="connsiteY31" fmla="*/ 2616272 h 8997901"/>
              <a:gd name="connsiteX32" fmla="*/ 7108402 w 8997901"/>
              <a:gd name="connsiteY32" fmla="*/ 3201235 h 8997901"/>
              <a:gd name="connsiteX33" fmla="*/ 7711092 w 8997901"/>
              <a:gd name="connsiteY33" fmla="*/ 3059426 h 8997901"/>
              <a:gd name="connsiteX34" fmla="*/ 8242878 w 8997901"/>
              <a:gd name="connsiteY34" fmla="*/ 2758081 h 8997901"/>
              <a:gd name="connsiteX35" fmla="*/ 8366960 w 8997901"/>
              <a:gd name="connsiteY35" fmla="*/ 2279474 h 8997901"/>
              <a:gd name="connsiteX36" fmla="*/ 8916472 w 8997901"/>
              <a:gd name="connsiteY36" fmla="*/ 2793533 h 8997901"/>
              <a:gd name="connsiteX37" fmla="*/ 8863294 w 8997901"/>
              <a:gd name="connsiteY37" fmla="*/ 3520307 h 8997901"/>
              <a:gd name="connsiteX38" fmla="*/ 8437866 w 8997901"/>
              <a:gd name="connsiteY38" fmla="*/ 3254414 h 8997901"/>
              <a:gd name="connsiteX39" fmla="*/ 7835176 w 8997901"/>
              <a:gd name="connsiteY39" fmla="*/ 3396223 h 8997901"/>
              <a:gd name="connsiteX40" fmla="*/ 7285664 w 8997901"/>
              <a:gd name="connsiteY40" fmla="*/ 3697568 h 8997901"/>
              <a:gd name="connsiteX41" fmla="*/ 7409746 w 8997901"/>
              <a:gd name="connsiteY41" fmla="*/ 4495246 h 8997901"/>
              <a:gd name="connsiteX42" fmla="*/ 7569282 w 8997901"/>
              <a:gd name="connsiteY42" fmla="*/ 4512972 h 8997901"/>
              <a:gd name="connsiteX43" fmla="*/ 7994710 w 8997901"/>
              <a:gd name="connsiteY43" fmla="*/ 4495246 h 8997901"/>
              <a:gd name="connsiteX44" fmla="*/ 8207426 w 8997901"/>
              <a:gd name="connsiteY44" fmla="*/ 4282532 h 8997901"/>
              <a:gd name="connsiteX45" fmla="*/ 8402414 w 8997901"/>
              <a:gd name="connsiteY45" fmla="*/ 4654782 h 8997901"/>
              <a:gd name="connsiteX46" fmla="*/ 8171972 w 8997901"/>
              <a:gd name="connsiteY46" fmla="*/ 5009305 h 8997901"/>
              <a:gd name="connsiteX47" fmla="*/ 7994710 w 8997901"/>
              <a:gd name="connsiteY47" fmla="*/ 4778865 h 8997901"/>
              <a:gd name="connsiteX48" fmla="*/ 7569282 w 8997901"/>
              <a:gd name="connsiteY48" fmla="*/ 4725686 h 8997901"/>
              <a:gd name="connsiteX49" fmla="*/ 7392022 w 8997901"/>
              <a:gd name="connsiteY49" fmla="*/ 4725686 h 8997901"/>
              <a:gd name="connsiteX50" fmla="*/ 7250212 w 8997901"/>
              <a:gd name="connsiteY50" fmla="*/ 5417007 h 8997901"/>
              <a:gd name="connsiteX51" fmla="*/ 7781998 w 8997901"/>
              <a:gd name="connsiteY51" fmla="*/ 5753804 h 8997901"/>
              <a:gd name="connsiteX52" fmla="*/ 8384686 w 8997901"/>
              <a:gd name="connsiteY52" fmla="*/ 5931066 h 8997901"/>
              <a:gd name="connsiteX53" fmla="*/ 8810114 w 8997901"/>
              <a:gd name="connsiteY53" fmla="*/ 5665173 h 8997901"/>
              <a:gd name="connsiteX54" fmla="*/ 8827842 w 8997901"/>
              <a:gd name="connsiteY54" fmla="*/ 6409672 h 8997901"/>
              <a:gd name="connsiteX55" fmla="*/ 8260604 w 8997901"/>
              <a:gd name="connsiteY55" fmla="*/ 6888279 h 8997901"/>
              <a:gd name="connsiteX56" fmla="*/ 8171972 w 8997901"/>
              <a:gd name="connsiteY56" fmla="*/ 6391946 h 8997901"/>
              <a:gd name="connsiteX57" fmla="*/ 7640188 w 8997901"/>
              <a:gd name="connsiteY57" fmla="*/ 6072875 h 8997901"/>
              <a:gd name="connsiteX58" fmla="*/ 7037498 w 8997901"/>
              <a:gd name="connsiteY58" fmla="*/ 5913340 h 8997901"/>
              <a:gd name="connsiteX59" fmla="*/ 6541166 w 8997901"/>
              <a:gd name="connsiteY59" fmla="*/ 6551482 h 8997901"/>
              <a:gd name="connsiteX60" fmla="*/ 6665248 w 8997901"/>
              <a:gd name="connsiteY60" fmla="*/ 6693291 h 8997901"/>
              <a:gd name="connsiteX61" fmla="*/ 6966594 w 8997901"/>
              <a:gd name="connsiteY61" fmla="*/ 6976910 h 8997901"/>
              <a:gd name="connsiteX62" fmla="*/ 7267938 w 8997901"/>
              <a:gd name="connsiteY62" fmla="*/ 6959184 h 8997901"/>
              <a:gd name="connsiteX63" fmla="*/ 7143854 w 8997901"/>
              <a:gd name="connsiteY63" fmla="*/ 7366886 h 8997901"/>
              <a:gd name="connsiteX64" fmla="*/ 6736152 w 8997901"/>
              <a:gd name="connsiteY64" fmla="*/ 7455516 h 8997901"/>
              <a:gd name="connsiteX65" fmla="*/ 6771606 w 8997901"/>
              <a:gd name="connsiteY65" fmla="*/ 7171898 h 8997901"/>
              <a:gd name="connsiteX66" fmla="*/ 6505712 w 8997901"/>
              <a:gd name="connsiteY66" fmla="*/ 6817374 h 8997901"/>
              <a:gd name="connsiteX67" fmla="*/ 6381630 w 8997901"/>
              <a:gd name="connsiteY67" fmla="*/ 6711018 h 8997901"/>
              <a:gd name="connsiteX68" fmla="*/ 5796666 w 8997901"/>
              <a:gd name="connsiteY68" fmla="*/ 7100993 h 8997901"/>
              <a:gd name="connsiteX69" fmla="*/ 5938474 w 8997901"/>
              <a:gd name="connsiteY69" fmla="*/ 7703683 h 8997901"/>
              <a:gd name="connsiteX70" fmla="*/ 6239820 w 8997901"/>
              <a:gd name="connsiteY70" fmla="*/ 8253194 h 8997901"/>
              <a:gd name="connsiteX71" fmla="*/ 6718426 w 8997901"/>
              <a:gd name="connsiteY71" fmla="*/ 8377277 h 8997901"/>
              <a:gd name="connsiteX72" fmla="*/ 6204368 w 8997901"/>
              <a:gd name="connsiteY72" fmla="*/ 8909063 h 8997901"/>
              <a:gd name="connsiteX73" fmla="*/ 5477594 w 8997901"/>
              <a:gd name="connsiteY73" fmla="*/ 8855884 h 8997901"/>
              <a:gd name="connsiteX74" fmla="*/ 5743486 w 8997901"/>
              <a:gd name="connsiteY74" fmla="*/ 8430456 h 8997901"/>
              <a:gd name="connsiteX75" fmla="*/ 5601678 w 8997901"/>
              <a:gd name="connsiteY75" fmla="*/ 7827766 h 8997901"/>
              <a:gd name="connsiteX76" fmla="*/ 5300334 w 8997901"/>
              <a:gd name="connsiteY76" fmla="*/ 7295981 h 8997901"/>
              <a:gd name="connsiteX77" fmla="*/ 4484930 w 8997901"/>
              <a:gd name="connsiteY77" fmla="*/ 7402338 h 8997901"/>
              <a:gd name="connsiteX78" fmla="*/ 4467202 w 8997901"/>
              <a:gd name="connsiteY78" fmla="*/ 7579600 h 8997901"/>
              <a:gd name="connsiteX79" fmla="*/ 4502654 w 8997901"/>
              <a:gd name="connsiteY79" fmla="*/ 8005028 h 8997901"/>
              <a:gd name="connsiteX80" fmla="*/ 4715370 w 8997901"/>
              <a:gd name="connsiteY80" fmla="*/ 8200016 h 8997901"/>
              <a:gd name="connsiteX81" fmla="*/ 4343120 w 8997901"/>
              <a:gd name="connsiteY81" fmla="*/ 8412730 h 8997901"/>
              <a:gd name="connsiteX82" fmla="*/ 3970870 w 8997901"/>
              <a:gd name="connsiteY82" fmla="*/ 8182290 h 8997901"/>
              <a:gd name="connsiteX83" fmla="*/ 4219036 w 8997901"/>
              <a:gd name="connsiteY83" fmla="*/ 7987302 h 8997901"/>
              <a:gd name="connsiteX84" fmla="*/ 4272214 w 8997901"/>
              <a:gd name="connsiteY84" fmla="*/ 7561874 h 8997901"/>
              <a:gd name="connsiteX85" fmla="*/ 4272214 w 8997901"/>
              <a:gd name="connsiteY85" fmla="*/ 7402338 h 8997901"/>
              <a:gd name="connsiteX86" fmla="*/ 3580894 w 8997901"/>
              <a:gd name="connsiteY86" fmla="*/ 7242802 h 8997901"/>
              <a:gd name="connsiteX87" fmla="*/ 3244097 w 8997901"/>
              <a:gd name="connsiteY87" fmla="*/ 7774588 h 8997901"/>
              <a:gd name="connsiteX88" fmla="*/ 3066835 w 8997901"/>
              <a:gd name="connsiteY88" fmla="*/ 8377277 h 8997901"/>
              <a:gd name="connsiteX89" fmla="*/ 3332728 w 8997901"/>
              <a:gd name="connsiteY89" fmla="*/ 8802706 h 8997901"/>
              <a:gd name="connsiteX90" fmla="*/ 2588228 w 8997901"/>
              <a:gd name="connsiteY90" fmla="*/ 8820432 h 8997901"/>
              <a:gd name="connsiteX91" fmla="*/ 2109622 w 8997901"/>
              <a:gd name="connsiteY91" fmla="*/ 8270920 h 8997901"/>
              <a:gd name="connsiteX92" fmla="*/ 2588228 w 8997901"/>
              <a:gd name="connsiteY92" fmla="*/ 8164564 h 8997901"/>
              <a:gd name="connsiteX93" fmla="*/ 2907300 w 8997901"/>
              <a:gd name="connsiteY93" fmla="*/ 7632778 h 8997901"/>
              <a:gd name="connsiteX94" fmla="*/ 3084561 w 8997901"/>
              <a:gd name="connsiteY94" fmla="*/ 7030088 h 8997901"/>
              <a:gd name="connsiteX95" fmla="*/ 2446419 w 8997901"/>
              <a:gd name="connsiteY95" fmla="*/ 6551482 h 8997901"/>
              <a:gd name="connsiteX96" fmla="*/ 2304610 w 8997901"/>
              <a:gd name="connsiteY96" fmla="*/ 6657839 h 8997901"/>
              <a:gd name="connsiteX97" fmla="*/ 2020991 w 8997901"/>
              <a:gd name="connsiteY97" fmla="*/ 6976910 h 8997901"/>
              <a:gd name="connsiteX98" fmla="*/ 2038717 w 8997901"/>
              <a:gd name="connsiteY98" fmla="*/ 7278255 h 8997901"/>
              <a:gd name="connsiteX99" fmla="*/ 1631015 w 8997901"/>
              <a:gd name="connsiteY99" fmla="*/ 7154172 h 8997901"/>
              <a:gd name="connsiteX100" fmla="*/ 1524658 w 8997901"/>
              <a:gd name="connsiteY100" fmla="*/ 6728744 h 8997901"/>
              <a:gd name="connsiteX101" fmla="*/ 1826003 w 8997901"/>
              <a:gd name="connsiteY101" fmla="*/ 6764196 h 8997901"/>
              <a:gd name="connsiteX102" fmla="*/ 2162800 w 8997901"/>
              <a:gd name="connsiteY102" fmla="*/ 6516030 h 8997901"/>
              <a:gd name="connsiteX103" fmla="*/ 2286884 w 8997901"/>
              <a:gd name="connsiteY103" fmla="*/ 6391946 h 8997901"/>
              <a:gd name="connsiteX104" fmla="*/ 1896908 w 8997901"/>
              <a:gd name="connsiteY104" fmla="*/ 5789256 h 8997901"/>
              <a:gd name="connsiteX105" fmla="*/ 1294218 w 8997901"/>
              <a:gd name="connsiteY105" fmla="*/ 5931066 h 8997901"/>
              <a:gd name="connsiteX106" fmla="*/ 744707 w 8997901"/>
              <a:gd name="connsiteY106" fmla="*/ 6232410 h 8997901"/>
              <a:gd name="connsiteX107" fmla="*/ 620624 w 8997901"/>
              <a:gd name="connsiteY107" fmla="*/ 6711018 h 8997901"/>
              <a:gd name="connsiteX108" fmla="*/ 88838 w 8997901"/>
              <a:gd name="connsiteY108" fmla="*/ 6214684 h 8997901"/>
              <a:gd name="connsiteX109" fmla="*/ 142017 w 8997901"/>
              <a:gd name="connsiteY109" fmla="*/ 5470186 h 8997901"/>
              <a:gd name="connsiteX110" fmla="*/ 549719 w 8997901"/>
              <a:gd name="connsiteY110" fmla="*/ 5753804 h 8997901"/>
              <a:gd name="connsiteX111" fmla="*/ 1152409 w 8997901"/>
              <a:gd name="connsiteY111" fmla="*/ 5594269 h 8997901"/>
              <a:gd name="connsiteX112" fmla="*/ 1701920 w 8997901"/>
              <a:gd name="connsiteY112" fmla="*/ 5292924 h 8997901"/>
              <a:gd name="connsiteX113" fmla="*/ 1595563 w 8997901"/>
              <a:gd name="connsiteY113" fmla="*/ 4495246 h 8997901"/>
              <a:gd name="connsiteX114" fmla="*/ 1418301 w 8997901"/>
              <a:gd name="connsiteY114" fmla="*/ 4477520 h 8997901"/>
              <a:gd name="connsiteX115" fmla="*/ 992873 w 8997901"/>
              <a:gd name="connsiteY115" fmla="*/ 4495246 h 8997901"/>
              <a:gd name="connsiteX116" fmla="*/ 797885 w 8997901"/>
              <a:gd name="connsiteY116" fmla="*/ 4707960 h 8997901"/>
              <a:gd name="connsiteX117" fmla="*/ 585171 w 8997901"/>
              <a:gd name="connsiteY117" fmla="*/ 4335711 h 8997901"/>
              <a:gd name="connsiteX118" fmla="*/ 815611 w 8997901"/>
              <a:gd name="connsiteY118" fmla="*/ 3981187 h 8997901"/>
              <a:gd name="connsiteX119" fmla="*/ 1010599 w 8997901"/>
              <a:gd name="connsiteY119" fmla="*/ 4211627 h 8997901"/>
              <a:gd name="connsiteX120" fmla="*/ 1436027 w 8997901"/>
              <a:gd name="connsiteY120" fmla="*/ 4264806 h 8997901"/>
              <a:gd name="connsiteX121" fmla="*/ 1595563 w 8997901"/>
              <a:gd name="connsiteY121" fmla="*/ 4264806 h 8997901"/>
              <a:gd name="connsiteX122" fmla="*/ 1737372 w 8997901"/>
              <a:gd name="connsiteY122" fmla="*/ 3573485 h 8997901"/>
              <a:gd name="connsiteX123" fmla="*/ 1205587 w 8997901"/>
              <a:gd name="connsiteY123" fmla="*/ 3236688 h 8997901"/>
              <a:gd name="connsiteX124" fmla="*/ 620624 w 8997901"/>
              <a:gd name="connsiteY124" fmla="*/ 3059426 h 8997901"/>
              <a:gd name="connsiteX125" fmla="*/ 195195 w 8997901"/>
              <a:gd name="connsiteY125" fmla="*/ 3325319 h 8997901"/>
              <a:gd name="connsiteX126" fmla="*/ 159743 w 8997901"/>
              <a:gd name="connsiteY126" fmla="*/ 2580819 h 8997901"/>
              <a:gd name="connsiteX127" fmla="*/ 726981 w 8997901"/>
              <a:gd name="connsiteY127" fmla="*/ 2102213 h 8997901"/>
              <a:gd name="connsiteX128" fmla="*/ 833338 w 8997901"/>
              <a:gd name="connsiteY128" fmla="*/ 2598545 h 8997901"/>
              <a:gd name="connsiteX129" fmla="*/ 1365123 w 8997901"/>
              <a:gd name="connsiteY129" fmla="*/ 2917617 h 8997901"/>
              <a:gd name="connsiteX130" fmla="*/ 1950086 w 8997901"/>
              <a:gd name="connsiteY130" fmla="*/ 3077152 h 8997901"/>
              <a:gd name="connsiteX131" fmla="*/ 2446419 w 8997901"/>
              <a:gd name="connsiteY131" fmla="*/ 2439010 h 8997901"/>
              <a:gd name="connsiteX132" fmla="*/ 2340062 w 8997901"/>
              <a:gd name="connsiteY132" fmla="*/ 2297201 h 8997901"/>
              <a:gd name="connsiteX133" fmla="*/ 2020991 w 8997901"/>
              <a:gd name="connsiteY133" fmla="*/ 2031308 h 8997901"/>
              <a:gd name="connsiteX134" fmla="*/ 1719646 w 8997901"/>
              <a:gd name="connsiteY134" fmla="*/ 2031308 h 8997901"/>
              <a:gd name="connsiteX135" fmla="*/ 1843729 w 8997901"/>
              <a:gd name="connsiteY135" fmla="*/ 1623606 h 8997901"/>
              <a:gd name="connsiteX136" fmla="*/ 2269158 w 8997901"/>
              <a:gd name="connsiteY136" fmla="*/ 1534975 h 8997901"/>
              <a:gd name="connsiteX137" fmla="*/ 2233705 w 8997901"/>
              <a:gd name="connsiteY137" fmla="*/ 1836320 h 8997901"/>
              <a:gd name="connsiteX138" fmla="*/ 2481872 w 8997901"/>
              <a:gd name="connsiteY138" fmla="*/ 2173117 h 8997901"/>
              <a:gd name="connsiteX139" fmla="*/ 2605955 w 8997901"/>
              <a:gd name="connsiteY139" fmla="*/ 2279474 h 8997901"/>
              <a:gd name="connsiteX140" fmla="*/ 3208644 w 8997901"/>
              <a:gd name="connsiteY140" fmla="*/ 1889499 h 8997901"/>
              <a:gd name="connsiteX141" fmla="*/ 3066835 w 8997901"/>
              <a:gd name="connsiteY141" fmla="*/ 1286809 h 8997901"/>
              <a:gd name="connsiteX142" fmla="*/ 2765490 w 8997901"/>
              <a:gd name="connsiteY142" fmla="*/ 737297 h 8997901"/>
              <a:gd name="connsiteX143" fmla="*/ 2269158 w 8997901"/>
              <a:gd name="connsiteY143" fmla="*/ 613215 h 8997901"/>
              <a:gd name="connsiteX144" fmla="*/ 2783216 w 8997901"/>
              <a:gd name="connsiteY144" fmla="*/ 81429 h 8997901"/>
              <a:gd name="connsiteX145" fmla="*/ 3155881 w 8997901"/>
              <a:gd name="connsiteY145" fmla="*/ 1661 h 8997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8997901" h="8997901">
                <a:moveTo>
                  <a:pt x="3155881" y="1661"/>
                </a:moveTo>
                <a:cubicBezTo>
                  <a:pt x="3342145" y="-9417"/>
                  <a:pt x="3483400" y="34898"/>
                  <a:pt x="3527716" y="134608"/>
                </a:cubicBezTo>
                <a:cubicBezTo>
                  <a:pt x="3580894" y="258691"/>
                  <a:pt x="3456810" y="418227"/>
                  <a:pt x="3244097" y="560036"/>
                </a:cubicBezTo>
                <a:cubicBezTo>
                  <a:pt x="3244097" y="613215"/>
                  <a:pt x="3244097" y="772750"/>
                  <a:pt x="3403632" y="1162725"/>
                </a:cubicBezTo>
                <a:cubicBezTo>
                  <a:pt x="3456810" y="1322261"/>
                  <a:pt x="3580894" y="1517249"/>
                  <a:pt x="3704978" y="1694511"/>
                </a:cubicBezTo>
                <a:cubicBezTo>
                  <a:pt x="3970870" y="1623606"/>
                  <a:pt x="4236762" y="1588154"/>
                  <a:pt x="4502654" y="1588154"/>
                </a:cubicBezTo>
                <a:cubicBezTo>
                  <a:pt x="4520382" y="1534975"/>
                  <a:pt x="4520382" y="1464071"/>
                  <a:pt x="4520382" y="1410892"/>
                </a:cubicBezTo>
                <a:cubicBezTo>
                  <a:pt x="4538108" y="1127273"/>
                  <a:pt x="4502654" y="1020916"/>
                  <a:pt x="4502654" y="1003190"/>
                </a:cubicBezTo>
                <a:cubicBezTo>
                  <a:pt x="4360846" y="950012"/>
                  <a:pt x="4272214" y="879107"/>
                  <a:pt x="4272214" y="790476"/>
                </a:cubicBezTo>
                <a:cubicBezTo>
                  <a:pt x="4289942" y="666393"/>
                  <a:pt x="4449476" y="577762"/>
                  <a:pt x="4662190" y="595488"/>
                </a:cubicBezTo>
                <a:cubicBezTo>
                  <a:pt x="4857178" y="595488"/>
                  <a:pt x="5016714" y="701845"/>
                  <a:pt x="5016714" y="825928"/>
                </a:cubicBezTo>
                <a:cubicBezTo>
                  <a:pt x="5016714" y="914559"/>
                  <a:pt x="4910358" y="985464"/>
                  <a:pt x="4786274" y="1003190"/>
                </a:cubicBezTo>
                <a:cubicBezTo>
                  <a:pt x="4768548" y="1038643"/>
                  <a:pt x="4733096" y="1145000"/>
                  <a:pt x="4715370" y="1428618"/>
                </a:cubicBezTo>
                <a:cubicBezTo>
                  <a:pt x="4715370" y="1481797"/>
                  <a:pt x="4715370" y="1534975"/>
                  <a:pt x="4733096" y="1605880"/>
                </a:cubicBezTo>
                <a:cubicBezTo>
                  <a:pt x="4963536" y="1623606"/>
                  <a:pt x="5193976" y="1659058"/>
                  <a:pt x="5424416" y="1747689"/>
                </a:cubicBezTo>
                <a:cubicBezTo>
                  <a:pt x="5566226" y="1552701"/>
                  <a:pt x="5672582" y="1357713"/>
                  <a:pt x="5743486" y="1215904"/>
                </a:cubicBezTo>
                <a:cubicBezTo>
                  <a:pt x="5920750" y="825928"/>
                  <a:pt x="5938474" y="666393"/>
                  <a:pt x="5920750" y="613215"/>
                </a:cubicBezTo>
                <a:cubicBezTo>
                  <a:pt x="5725762" y="471405"/>
                  <a:pt x="5619404" y="311869"/>
                  <a:pt x="5672582" y="187786"/>
                </a:cubicBezTo>
                <a:cubicBezTo>
                  <a:pt x="5743486" y="28251"/>
                  <a:pt x="6062558" y="10524"/>
                  <a:pt x="6417082" y="170060"/>
                </a:cubicBezTo>
                <a:cubicBezTo>
                  <a:pt x="6753878" y="311869"/>
                  <a:pt x="6966594" y="560036"/>
                  <a:pt x="6895688" y="719572"/>
                </a:cubicBezTo>
                <a:cubicBezTo>
                  <a:pt x="6842510" y="843655"/>
                  <a:pt x="6647522" y="879107"/>
                  <a:pt x="6399356" y="825928"/>
                </a:cubicBezTo>
                <a:cubicBezTo>
                  <a:pt x="6363902" y="861381"/>
                  <a:pt x="6257546" y="967738"/>
                  <a:pt x="6080284" y="1357713"/>
                </a:cubicBezTo>
                <a:cubicBezTo>
                  <a:pt x="6009380" y="1517249"/>
                  <a:pt x="5956202" y="1729963"/>
                  <a:pt x="5903022" y="1960403"/>
                </a:cubicBezTo>
                <a:cubicBezTo>
                  <a:pt x="6151190" y="2084486"/>
                  <a:pt x="6363902" y="2244022"/>
                  <a:pt x="6558890" y="2439010"/>
                </a:cubicBezTo>
                <a:cubicBezTo>
                  <a:pt x="6612070" y="2403558"/>
                  <a:pt x="6647522" y="2368105"/>
                  <a:pt x="6700700" y="2332653"/>
                </a:cubicBezTo>
                <a:cubicBezTo>
                  <a:pt x="6895688" y="2137665"/>
                  <a:pt x="6948866" y="2049034"/>
                  <a:pt x="6966594" y="2013582"/>
                </a:cubicBezTo>
                <a:cubicBezTo>
                  <a:pt x="6913414" y="1907225"/>
                  <a:pt x="6895688" y="1783141"/>
                  <a:pt x="6966594" y="1712237"/>
                </a:cubicBezTo>
                <a:cubicBezTo>
                  <a:pt x="7055224" y="1641332"/>
                  <a:pt x="7232486" y="1694511"/>
                  <a:pt x="7374294" y="1854046"/>
                </a:cubicBezTo>
                <a:cubicBezTo>
                  <a:pt x="7516104" y="1995856"/>
                  <a:pt x="7551556" y="2190843"/>
                  <a:pt x="7462926" y="2261748"/>
                </a:cubicBezTo>
                <a:cubicBezTo>
                  <a:pt x="7392022" y="2314927"/>
                  <a:pt x="7285664" y="2314927"/>
                  <a:pt x="7161582" y="2226296"/>
                </a:cubicBezTo>
                <a:cubicBezTo>
                  <a:pt x="7126128" y="2244022"/>
                  <a:pt x="7037498" y="2297201"/>
                  <a:pt x="6824784" y="2492188"/>
                </a:cubicBezTo>
                <a:cubicBezTo>
                  <a:pt x="6789330" y="2527641"/>
                  <a:pt x="6753878" y="2563093"/>
                  <a:pt x="6700700" y="2616272"/>
                </a:cubicBezTo>
                <a:cubicBezTo>
                  <a:pt x="6860236" y="2793533"/>
                  <a:pt x="6984318" y="2988521"/>
                  <a:pt x="7108402" y="3201235"/>
                </a:cubicBezTo>
                <a:cubicBezTo>
                  <a:pt x="7321116" y="3165783"/>
                  <a:pt x="7551556" y="3112604"/>
                  <a:pt x="7711092" y="3059426"/>
                </a:cubicBezTo>
                <a:cubicBezTo>
                  <a:pt x="8101068" y="2899890"/>
                  <a:pt x="8225150" y="2811259"/>
                  <a:pt x="8242878" y="2758081"/>
                </a:cubicBezTo>
                <a:cubicBezTo>
                  <a:pt x="8207426" y="2527641"/>
                  <a:pt x="8260604" y="2314927"/>
                  <a:pt x="8366960" y="2279474"/>
                </a:cubicBezTo>
                <a:cubicBezTo>
                  <a:pt x="8544222" y="2208570"/>
                  <a:pt x="8774662" y="2439010"/>
                  <a:pt x="8916472" y="2793533"/>
                </a:cubicBezTo>
                <a:cubicBezTo>
                  <a:pt x="9040554" y="3130331"/>
                  <a:pt x="9022830" y="3467128"/>
                  <a:pt x="8863294" y="3520307"/>
                </a:cubicBezTo>
                <a:cubicBezTo>
                  <a:pt x="8739210" y="3573485"/>
                  <a:pt x="8579674" y="3449402"/>
                  <a:pt x="8437866" y="3254414"/>
                </a:cubicBezTo>
                <a:cubicBezTo>
                  <a:pt x="8384686" y="3236688"/>
                  <a:pt x="8225150" y="3236688"/>
                  <a:pt x="7835176" y="3396223"/>
                </a:cubicBezTo>
                <a:cubicBezTo>
                  <a:pt x="7675640" y="3449402"/>
                  <a:pt x="7480652" y="3573485"/>
                  <a:pt x="7285664" y="3697568"/>
                </a:cubicBezTo>
                <a:cubicBezTo>
                  <a:pt x="7374294" y="3963461"/>
                  <a:pt x="7409746" y="4229354"/>
                  <a:pt x="7409746" y="4495246"/>
                </a:cubicBezTo>
                <a:cubicBezTo>
                  <a:pt x="7462926" y="4512972"/>
                  <a:pt x="7533830" y="4512972"/>
                  <a:pt x="7569282" y="4512972"/>
                </a:cubicBezTo>
                <a:cubicBezTo>
                  <a:pt x="7870628" y="4530699"/>
                  <a:pt x="7959258" y="4512972"/>
                  <a:pt x="7994710" y="4495246"/>
                </a:cubicBezTo>
                <a:cubicBezTo>
                  <a:pt x="8030162" y="4371163"/>
                  <a:pt x="8118794" y="4264806"/>
                  <a:pt x="8207426" y="4282532"/>
                </a:cubicBezTo>
                <a:cubicBezTo>
                  <a:pt x="8331508" y="4282532"/>
                  <a:pt x="8420138" y="4459794"/>
                  <a:pt x="8402414" y="4654782"/>
                </a:cubicBezTo>
                <a:cubicBezTo>
                  <a:pt x="8402414" y="4867496"/>
                  <a:pt x="8296056" y="5027031"/>
                  <a:pt x="8171972" y="5009305"/>
                </a:cubicBezTo>
                <a:cubicBezTo>
                  <a:pt x="8083342" y="5009305"/>
                  <a:pt x="8012438" y="4920674"/>
                  <a:pt x="7994710" y="4778865"/>
                </a:cubicBezTo>
                <a:cubicBezTo>
                  <a:pt x="7959258" y="4761139"/>
                  <a:pt x="7852902" y="4725686"/>
                  <a:pt x="7569282" y="4725686"/>
                </a:cubicBezTo>
                <a:cubicBezTo>
                  <a:pt x="7516104" y="4725686"/>
                  <a:pt x="7462926" y="4725686"/>
                  <a:pt x="7392022" y="4725686"/>
                </a:cubicBezTo>
                <a:cubicBezTo>
                  <a:pt x="7374294" y="4956127"/>
                  <a:pt x="7321116" y="5204293"/>
                  <a:pt x="7250212" y="5417007"/>
                </a:cubicBezTo>
                <a:cubicBezTo>
                  <a:pt x="7445200" y="5558816"/>
                  <a:pt x="7622462" y="5682900"/>
                  <a:pt x="7781998" y="5753804"/>
                </a:cubicBezTo>
                <a:cubicBezTo>
                  <a:pt x="8171972" y="5913340"/>
                  <a:pt x="8331508" y="5931066"/>
                  <a:pt x="8384686" y="5931066"/>
                </a:cubicBezTo>
                <a:cubicBezTo>
                  <a:pt x="8526496" y="5718352"/>
                  <a:pt x="8686032" y="5611995"/>
                  <a:pt x="8810114" y="5665173"/>
                </a:cubicBezTo>
                <a:cubicBezTo>
                  <a:pt x="8969650" y="5736078"/>
                  <a:pt x="8969650" y="6072875"/>
                  <a:pt x="8827842" y="6409672"/>
                </a:cubicBezTo>
                <a:cubicBezTo>
                  <a:pt x="8686032" y="6746470"/>
                  <a:pt x="8420138" y="6959184"/>
                  <a:pt x="8260604" y="6888279"/>
                </a:cubicBezTo>
                <a:cubicBezTo>
                  <a:pt x="8154246" y="6835100"/>
                  <a:pt x="8118794" y="6640112"/>
                  <a:pt x="8171972" y="6391946"/>
                </a:cubicBezTo>
                <a:cubicBezTo>
                  <a:pt x="8136520" y="6356494"/>
                  <a:pt x="8012438" y="6250137"/>
                  <a:pt x="7640188" y="6072875"/>
                </a:cubicBezTo>
                <a:cubicBezTo>
                  <a:pt x="7480652" y="6019696"/>
                  <a:pt x="7267938" y="5948792"/>
                  <a:pt x="7037498" y="5913340"/>
                </a:cubicBezTo>
                <a:cubicBezTo>
                  <a:pt x="6913414" y="6143780"/>
                  <a:pt x="6736152" y="6356494"/>
                  <a:pt x="6541166" y="6551482"/>
                </a:cubicBezTo>
                <a:cubicBezTo>
                  <a:pt x="6594344" y="6604660"/>
                  <a:pt x="6629796" y="6657839"/>
                  <a:pt x="6665248" y="6693291"/>
                </a:cubicBezTo>
                <a:cubicBezTo>
                  <a:pt x="6860236" y="6906005"/>
                  <a:pt x="6948866" y="6959184"/>
                  <a:pt x="6966594" y="6976910"/>
                </a:cubicBezTo>
                <a:cubicBezTo>
                  <a:pt x="7090676" y="6906005"/>
                  <a:pt x="7214760" y="6888279"/>
                  <a:pt x="7267938" y="6959184"/>
                </a:cubicBezTo>
                <a:cubicBezTo>
                  <a:pt x="7356568" y="7047814"/>
                  <a:pt x="7303390" y="7225076"/>
                  <a:pt x="7143854" y="7366886"/>
                </a:cubicBezTo>
                <a:cubicBezTo>
                  <a:pt x="7002046" y="7508695"/>
                  <a:pt x="6807058" y="7544148"/>
                  <a:pt x="6736152" y="7455516"/>
                </a:cubicBezTo>
                <a:cubicBezTo>
                  <a:pt x="6665248" y="7402338"/>
                  <a:pt x="6682974" y="7278255"/>
                  <a:pt x="6771606" y="7171898"/>
                </a:cubicBezTo>
                <a:cubicBezTo>
                  <a:pt x="6753878" y="7136446"/>
                  <a:pt x="6700700" y="7030088"/>
                  <a:pt x="6505712" y="6817374"/>
                </a:cubicBezTo>
                <a:cubicBezTo>
                  <a:pt x="6470260" y="6781922"/>
                  <a:pt x="6434808" y="6746470"/>
                  <a:pt x="6381630" y="6711018"/>
                </a:cubicBezTo>
                <a:cubicBezTo>
                  <a:pt x="6204368" y="6852826"/>
                  <a:pt x="6009380" y="6994636"/>
                  <a:pt x="5796666" y="7100993"/>
                </a:cubicBezTo>
                <a:cubicBezTo>
                  <a:pt x="5832118" y="7331434"/>
                  <a:pt x="5867570" y="7544148"/>
                  <a:pt x="5938474" y="7703683"/>
                </a:cubicBezTo>
                <a:cubicBezTo>
                  <a:pt x="6080284" y="8093658"/>
                  <a:pt x="6186642" y="8217742"/>
                  <a:pt x="6239820" y="8253194"/>
                </a:cubicBezTo>
                <a:cubicBezTo>
                  <a:pt x="6470260" y="8200016"/>
                  <a:pt x="6665248" y="8253194"/>
                  <a:pt x="6718426" y="8377277"/>
                </a:cubicBezTo>
                <a:cubicBezTo>
                  <a:pt x="6789330" y="8536813"/>
                  <a:pt x="6558890" y="8767253"/>
                  <a:pt x="6204368" y="8909063"/>
                </a:cubicBezTo>
                <a:cubicBezTo>
                  <a:pt x="5867570" y="9050872"/>
                  <a:pt x="5530774" y="9015420"/>
                  <a:pt x="5477594" y="8855884"/>
                </a:cubicBezTo>
                <a:cubicBezTo>
                  <a:pt x="5424416" y="8731801"/>
                  <a:pt x="5548498" y="8572265"/>
                  <a:pt x="5743486" y="8430456"/>
                </a:cubicBezTo>
                <a:cubicBezTo>
                  <a:pt x="5761214" y="8377277"/>
                  <a:pt x="5743486" y="8217742"/>
                  <a:pt x="5601678" y="7827766"/>
                </a:cubicBezTo>
                <a:cubicBezTo>
                  <a:pt x="5530774" y="7685957"/>
                  <a:pt x="5424416" y="7490969"/>
                  <a:pt x="5300334" y="7295981"/>
                </a:cubicBezTo>
                <a:cubicBezTo>
                  <a:pt x="5034440" y="7366886"/>
                  <a:pt x="4750822" y="7402338"/>
                  <a:pt x="4484930" y="7402338"/>
                </a:cubicBezTo>
                <a:cubicBezTo>
                  <a:pt x="4484930" y="7473242"/>
                  <a:pt x="4467202" y="7526421"/>
                  <a:pt x="4467202" y="7579600"/>
                </a:cubicBezTo>
                <a:cubicBezTo>
                  <a:pt x="4467202" y="7863218"/>
                  <a:pt x="4484930" y="7969576"/>
                  <a:pt x="4502654" y="8005028"/>
                </a:cubicBezTo>
                <a:cubicBezTo>
                  <a:pt x="4626738" y="8040480"/>
                  <a:pt x="4715370" y="8111385"/>
                  <a:pt x="4715370" y="8200016"/>
                </a:cubicBezTo>
                <a:cubicBezTo>
                  <a:pt x="4715370" y="8324099"/>
                  <a:pt x="4538108" y="8412730"/>
                  <a:pt x="4343120" y="8412730"/>
                </a:cubicBezTo>
                <a:cubicBezTo>
                  <a:pt x="4130406" y="8395004"/>
                  <a:pt x="3970870" y="8288646"/>
                  <a:pt x="3970870" y="8182290"/>
                </a:cubicBezTo>
                <a:cubicBezTo>
                  <a:pt x="3988596" y="8075932"/>
                  <a:pt x="4077226" y="8005028"/>
                  <a:pt x="4219036" y="7987302"/>
                </a:cubicBezTo>
                <a:cubicBezTo>
                  <a:pt x="4236762" y="7951850"/>
                  <a:pt x="4254488" y="7845492"/>
                  <a:pt x="4272214" y="7561874"/>
                </a:cubicBezTo>
                <a:cubicBezTo>
                  <a:pt x="4272214" y="7508695"/>
                  <a:pt x="4272214" y="7455516"/>
                  <a:pt x="4272214" y="7402338"/>
                </a:cubicBezTo>
                <a:cubicBezTo>
                  <a:pt x="4024048" y="7384612"/>
                  <a:pt x="3793608" y="7331434"/>
                  <a:pt x="3580894" y="7242802"/>
                </a:cubicBezTo>
                <a:cubicBezTo>
                  <a:pt x="3439085" y="7437790"/>
                  <a:pt x="3315002" y="7632778"/>
                  <a:pt x="3244097" y="7774588"/>
                </a:cubicBezTo>
                <a:cubicBezTo>
                  <a:pt x="3084561" y="8164564"/>
                  <a:pt x="3066835" y="8324099"/>
                  <a:pt x="3066835" y="8377277"/>
                </a:cubicBezTo>
                <a:cubicBezTo>
                  <a:pt x="3279549" y="8519087"/>
                  <a:pt x="3385906" y="8696349"/>
                  <a:pt x="3332728" y="8802706"/>
                </a:cubicBezTo>
                <a:cubicBezTo>
                  <a:pt x="3261823" y="8962241"/>
                  <a:pt x="2925026" y="8979967"/>
                  <a:pt x="2588228" y="8820432"/>
                </a:cubicBezTo>
                <a:cubicBezTo>
                  <a:pt x="2251431" y="8678622"/>
                  <a:pt x="2038717" y="8430456"/>
                  <a:pt x="2109622" y="8270920"/>
                </a:cubicBezTo>
                <a:cubicBezTo>
                  <a:pt x="2162800" y="8146838"/>
                  <a:pt x="2357788" y="8111385"/>
                  <a:pt x="2588228" y="8164564"/>
                </a:cubicBezTo>
                <a:cubicBezTo>
                  <a:pt x="2641407" y="8129111"/>
                  <a:pt x="2747764" y="8022754"/>
                  <a:pt x="2907300" y="7632778"/>
                </a:cubicBezTo>
                <a:cubicBezTo>
                  <a:pt x="2978204" y="7473242"/>
                  <a:pt x="3049109" y="7260528"/>
                  <a:pt x="3084561" y="7030088"/>
                </a:cubicBezTo>
                <a:cubicBezTo>
                  <a:pt x="2854121" y="6906005"/>
                  <a:pt x="2623681" y="6746470"/>
                  <a:pt x="2446419" y="6551482"/>
                </a:cubicBezTo>
                <a:cubicBezTo>
                  <a:pt x="2393241" y="6586934"/>
                  <a:pt x="2340062" y="6622386"/>
                  <a:pt x="2304610" y="6657839"/>
                </a:cubicBezTo>
                <a:cubicBezTo>
                  <a:pt x="2091896" y="6852826"/>
                  <a:pt x="2038717" y="6941458"/>
                  <a:pt x="2020991" y="6976910"/>
                </a:cubicBezTo>
                <a:cubicBezTo>
                  <a:pt x="2091896" y="7083267"/>
                  <a:pt x="2091896" y="7207350"/>
                  <a:pt x="2038717" y="7278255"/>
                </a:cubicBezTo>
                <a:cubicBezTo>
                  <a:pt x="1950086" y="7349160"/>
                  <a:pt x="1755098" y="7295981"/>
                  <a:pt x="1631015" y="7154172"/>
                </a:cubicBezTo>
                <a:cubicBezTo>
                  <a:pt x="1489206" y="6994636"/>
                  <a:pt x="1436027" y="6817374"/>
                  <a:pt x="1524658" y="6728744"/>
                </a:cubicBezTo>
                <a:cubicBezTo>
                  <a:pt x="1595563" y="6675565"/>
                  <a:pt x="1719646" y="6693291"/>
                  <a:pt x="1826003" y="6764196"/>
                </a:cubicBezTo>
                <a:cubicBezTo>
                  <a:pt x="1861456" y="6746470"/>
                  <a:pt x="1950086" y="6711018"/>
                  <a:pt x="2162800" y="6516030"/>
                </a:cubicBezTo>
                <a:cubicBezTo>
                  <a:pt x="2198253" y="6480577"/>
                  <a:pt x="2251431" y="6427398"/>
                  <a:pt x="2286884" y="6391946"/>
                </a:cubicBezTo>
                <a:cubicBezTo>
                  <a:pt x="2127348" y="6214684"/>
                  <a:pt x="2003265" y="6001970"/>
                  <a:pt x="1896908" y="5789256"/>
                </a:cubicBezTo>
                <a:cubicBezTo>
                  <a:pt x="1666468" y="5824709"/>
                  <a:pt x="1453754" y="5877888"/>
                  <a:pt x="1294218" y="5931066"/>
                </a:cubicBezTo>
                <a:cubicBezTo>
                  <a:pt x="904242" y="6090602"/>
                  <a:pt x="780159" y="6196958"/>
                  <a:pt x="744707" y="6232410"/>
                </a:cubicBezTo>
                <a:cubicBezTo>
                  <a:pt x="780159" y="6480577"/>
                  <a:pt x="744707" y="6675565"/>
                  <a:pt x="620624" y="6711018"/>
                </a:cubicBezTo>
                <a:cubicBezTo>
                  <a:pt x="461088" y="6781922"/>
                  <a:pt x="212922" y="6551482"/>
                  <a:pt x="88838" y="6214684"/>
                </a:cubicBezTo>
                <a:cubicBezTo>
                  <a:pt x="-52971" y="5860161"/>
                  <a:pt x="-17519" y="5523364"/>
                  <a:pt x="142017" y="5470186"/>
                </a:cubicBezTo>
                <a:cubicBezTo>
                  <a:pt x="266100" y="5417007"/>
                  <a:pt x="425636" y="5541090"/>
                  <a:pt x="549719" y="5753804"/>
                </a:cubicBezTo>
                <a:cubicBezTo>
                  <a:pt x="602897" y="5753804"/>
                  <a:pt x="762433" y="5753804"/>
                  <a:pt x="1152409" y="5594269"/>
                </a:cubicBezTo>
                <a:cubicBezTo>
                  <a:pt x="1311944" y="5541090"/>
                  <a:pt x="1506932" y="5417007"/>
                  <a:pt x="1701920" y="5292924"/>
                </a:cubicBezTo>
                <a:cubicBezTo>
                  <a:pt x="1631015" y="5027031"/>
                  <a:pt x="1595563" y="4761139"/>
                  <a:pt x="1595563" y="4495246"/>
                </a:cubicBezTo>
                <a:cubicBezTo>
                  <a:pt x="1524658" y="4477520"/>
                  <a:pt x="1471480" y="4477520"/>
                  <a:pt x="1418301" y="4477520"/>
                </a:cubicBezTo>
                <a:cubicBezTo>
                  <a:pt x="1134682" y="4459794"/>
                  <a:pt x="1028326" y="4477520"/>
                  <a:pt x="992873" y="4495246"/>
                </a:cubicBezTo>
                <a:cubicBezTo>
                  <a:pt x="957421" y="4637056"/>
                  <a:pt x="886516" y="4725686"/>
                  <a:pt x="797885" y="4707960"/>
                </a:cubicBezTo>
                <a:cubicBezTo>
                  <a:pt x="673802" y="4707960"/>
                  <a:pt x="585171" y="4548425"/>
                  <a:pt x="585171" y="4335711"/>
                </a:cubicBezTo>
                <a:cubicBezTo>
                  <a:pt x="602897" y="4140723"/>
                  <a:pt x="709254" y="3981187"/>
                  <a:pt x="815611" y="3981187"/>
                </a:cubicBezTo>
                <a:cubicBezTo>
                  <a:pt x="904242" y="3981187"/>
                  <a:pt x="975147" y="4069818"/>
                  <a:pt x="1010599" y="4211627"/>
                </a:cubicBezTo>
                <a:cubicBezTo>
                  <a:pt x="1046052" y="4229354"/>
                  <a:pt x="1134682" y="4264806"/>
                  <a:pt x="1436027" y="4264806"/>
                </a:cubicBezTo>
                <a:cubicBezTo>
                  <a:pt x="1471480" y="4282532"/>
                  <a:pt x="1542384" y="4264806"/>
                  <a:pt x="1595563" y="4264806"/>
                </a:cubicBezTo>
                <a:cubicBezTo>
                  <a:pt x="1613289" y="4034366"/>
                  <a:pt x="1666468" y="3803925"/>
                  <a:pt x="1737372" y="3573485"/>
                </a:cubicBezTo>
                <a:cubicBezTo>
                  <a:pt x="1560111" y="3431676"/>
                  <a:pt x="1365123" y="3307593"/>
                  <a:pt x="1205587" y="3236688"/>
                </a:cubicBezTo>
                <a:cubicBezTo>
                  <a:pt x="833338" y="3077152"/>
                  <a:pt x="673802" y="3059426"/>
                  <a:pt x="620624" y="3059426"/>
                </a:cubicBezTo>
                <a:cubicBezTo>
                  <a:pt x="478814" y="3272140"/>
                  <a:pt x="301552" y="3378497"/>
                  <a:pt x="195195" y="3325319"/>
                </a:cubicBezTo>
                <a:cubicBezTo>
                  <a:pt x="35660" y="3254414"/>
                  <a:pt x="17934" y="2917617"/>
                  <a:pt x="159743" y="2580819"/>
                </a:cubicBezTo>
                <a:cubicBezTo>
                  <a:pt x="319279" y="2244022"/>
                  <a:pt x="567445" y="2031308"/>
                  <a:pt x="726981" y="2102213"/>
                </a:cubicBezTo>
                <a:cubicBezTo>
                  <a:pt x="851064" y="2155391"/>
                  <a:pt x="886516" y="2350379"/>
                  <a:pt x="833338" y="2598545"/>
                </a:cubicBezTo>
                <a:cubicBezTo>
                  <a:pt x="868790" y="2633998"/>
                  <a:pt x="975147" y="2740355"/>
                  <a:pt x="1365123" y="2917617"/>
                </a:cubicBezTo>
                <a:cubicBezTo>
                  <a:pt x="1506932" y="2988521"/>
                  <a:pt x="1737372" y="3041700"/>
                  <a:pt x="1950086" y="3077152"/>
                </a:cubicBezTo>
                <a:cubicBezTo>
                  <a:pt x="2091896" y="2846712"/>
                  <a:pt x="2251431" y="2633998"/>
                  <a:pt x="2446419" y="2439010"/>
                </a:cubicBezTo>
                <a:cubicBezTo>
                  <a:pt x="2410967" y="2385831"/>
                  <a:pt x="2375514" y="2332653"/>
                  <a:pt x="2340062" y="2297201"/>
                </a:cubicBezTo>
                <a:cubicBezTo>
                  <a:pt x="2145074" y="2084486"/>
                  <a:pt x="2056444" y="2031308"/>
                  <a:pt x="2020991" y="2031308"/>
                </a:cubicBezTo>
                <a:cubicBezTo>
                  <a:pt x="1896908" y="2084486"/>
                  <a:pt x="1790551" y="2102213"/>
                  <a:pt x="1719646" y="2031308"/>
                </a:cubicBezTo>
                <a:cubicBezTo>
                  <a:pt x="1648742" y="1942677"/>
                  <a:pt x="1701920" y="1765415"/>
                  <a:pt x="1843729" y="1623606"/>
                </a:cubicBezTo>
                <a:cubicBezTo>
                  <a:pt x="2003265" y="1481797"/>
                  <a:pt x="2180526" y="1446344"/>
                  <a:pt x="2269158" y="1534975"/>
                </a:cubicBezTo>
                <a:cubicBezTo>
                  <a:pt x="2322336" y="1588154"/>
                  <a:pt x="2304610" y="1712237"/>
                  <a:pt x="2233705" y="1836320"/>
                </a:cubicBezTo>
                <a:cubicBezTo>
                  <a:pt x="2251431" y="1854046"/>
                  <a:pt x="2286884" y="1960403"/>
                  <a:pt x="2481872" y="2173117"/>
                </a:cubicBezTo>
                <a:cubicBezTo>
                  <a:pt x="2517324" y="2208570"/>
                  <a:pt x="2570502" y="2244022"/>
                  <a:pt x="2605955" y="2279474"/>
                </a:cubicBezTo>
                <a:cubicBezTo>
                  <a:pt x="2783216" y="2137665"/>
                  <a:pt x="2995930" y="1995856"/>
                  <a:pt x="3208644" y="1889499"/>
                </a:cubicBezTo>
                <a:cubicBezTo>
                  <a:pt x="3173192" y="1659058"/>
                  <a:pt x="3120014" y="1446344"/>
                  <a:pt x="3066835" y="1286809"/>
                </a:cubicBezTo>
                <a:cubicBezTo>
                  <a:pt x="2907300" y="896833"/>
                  <a:pt x="2800942" y="772750"/>
                  <a:pt x="2765490" y="737297"/>
                </a:cubicBezTo>
                <a:cubicBezTo>
                  <a:pt x="2517324" y="790476"/>
                  <a:pt x="2322336" y="737297"/>
                  <a:pt x="2269158" y="613215"/>
                </a:cubicBezTo>
                <a:cubicBezTo>
                  <a:pt x="2215979" y="453679"/>
                  <a:pt x="2446419" y="223239"/>
                  <a:pt x="2783216" y="81429"/>
                </a:cubicBezTo>
                <a:cubicBezTo>
                  <a:pt x="2916163" y="34898"/>
                  <a:pt x="3044123" y="8309"/>
                  <a:pt x="3155881" y="166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100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071560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091" y="365083"/>
            <a:ext cx="10514231" cy="13254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786819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955506696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493733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0"/>
          </p:nvPr>
        </p:nvSpPr>
        <p:spPr>
          <a:xfrm>
            <a:off x="7394575" y="1773238"/>
            <a:ext cx="1639888" cy="3557588"/>
          </a:xfrm>
          <a:custGeom>
            <a:avLst/>
            <a:gdLst>
              <a:gd name="connsiteX0" fmla="*/ 182633 w 1639888"/>
              <a:gd name="connsiteY0" fmla="*/ 0 h 3557588"/>
              <a:gd name="connsiteX1" fmla="*/ 331022 w 1639888"/>
              <a:gd name="connsiteY1" fmla="*/ 0 h 3557588"/>
              <a:gd name="connsiteX2" fmla="*/ 365265 w 1639888"/>
              <a:gd name="connsiteY2" fmla="*/ 34281 h 3557588"/>
              <a:gd name="connsiteX3" fmla="*/ 365265 w 1639888"/>
              <a:gd name="connsiteY3" fmla="*/ 38090 h 3557588"/>
              <a:gd name="connsiteX4" fmla="*/ 460386 w 1639888"/>
              <a:gd name="connsiteY4" fmla="*/ 133314 h 3557588"/>
              <a:gd name="connsiteX5" fmla="*/ 1183307 w 1639888"/>
              <a:gd name="connsiteY5" fmla="*/ 133314 h 3557588"/>
              <a:gd name="connsiteX6" fmla="*/ 1278428 w 1639888"/>
              <a:gd name="connsiteY6" fmla="*/ 38090 h 3557588"/>
              <a:gd name="connsiteX7" fmla="*/ 1278428 w 1639888"/>
              <a:gd name="connsiteY7" fmla="*/ 34281 h 3557588"/>
              <a:gd name="connsiteX8" fmla="*/ 1308867 w 1639888"/>
              <a:gd name="connsiteY8" fmla="*/ 0 h 3557588"/>
              <a:gd name="connsiteX9" fmla="*/ 1461060 w 1639888"/>
              <a:gd name="connsiteY9" fmla="*/ 0 h 3557588"/>
              <a:gd name="connsiteX10" fmla="*/ 1639888 w 1639888"/>
              <a:gd name="connsiteY10" fmla="*/ 182831 h 3557588"/>
              <a:gd name="connsiteX11" fmla="*/ 1639888 w 1639888"/>
              <a:gd name="connsiteY11" fmla="*/ 3378566 h 3557588"/>
              <a:gd name="connsiteX12" fmla="*/ 1461060 w 1639888"/>
              <a:gd name="connsiteY12" fmla="*/ 3557588 h 3557588"/>
              <a:gd name="connsiteX13" fmla="*/ 182633 w 1639888"/>
              <a:gd name="connsiteY13" fmla="*/ 3557588 h 3557588"/>
              <a:gd name="connsiteX14" fmla="*/ 0 w 1639888"/>
              <a:gd name="connsiteY14" fmla="*/ 3378566 h 3557588"/>
              <a:gd name="connsiteX15" fmla="*/ 0 w 1639888"/>
              <a:gd name="connsiteY15" fmla="*/ 182831 h 3557588"/>
              <a:gd name="connsiteX16" fmla="*/ 182633 w 1639888"/>
              <a:gd name="connsiteY16" fmla="*/ 0 h 355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39888" h="3557588">
                <a:moveTo>
                  <a:pt x="182633" y="0"/>
                </a:moveTo>
                <a:cubicBezTo>
                  <a:pt x="182633" y="0"/>
                  <a:pt x="182633" y="0"/>
                  <a:pt x="331022" y="0"/>
                </a:cubicBezTo>
                <a:cubicBezTo>
                  <a:pt x="350046" y="0"/>
                  <a:pt x="365265" y="15236"/>
                  <a:pt x="365265" y="34281"/>
                </a:cubicBezTo>
                <a:cubicBezTo>
                  <a:pt x="365265" y="34281"/>
                  <a:pt x="365265" y="34281"/>
                  <a:pt x="365265" y="38090"/>
                </a:cubicBezTo>
                <a:cubicBezTo>
                  <a:pt x="365265" y="87607"/>
                  <a:pt x="407119" y="133314"/>
                  <a:pt x="460386" y="133314"/>
                </a:cubicBezTo>
                <a:cubicBezTo>
                  <a:pt x="460386" y="133314"/>
                  <a:pt x="460386" y="133314"/>
                  <a:pt x="1183307" y="133314"/>
                </a:cubicBezTo>
                <a:cubicBezTo>
                  <a:pt x="1236575" y="133314"/>
                  <a:pt x="1278428" y="87607"/>
                  <a:pt x="1278428" y="38090"/>
                </a:cubicBezTo>
                <a:cubicBezTo>
                  <a:pt x="1278428" y="38090"/>
                  <a:pt x="1278428" y="38090"/>
                  <a:pt x="1278428" y="34281"/>
                </a:cubicBezTo>
                <a:cubicBezTo>
                  <a:pt x="1278428" y="15236"/>
                  <a:pt x="1293647" y="0"/>
                  <a:pt x="1308867" y="0"/>
                </a:cubicBezTo>
                <a:cubicBezTo>
                  <a:pt x="1308867" y="0"/>
                  <a:pt x="1308867" y="0"/>
                  <a:pt x="1461060" y="0"/>
                </a:cubicBezTo>
                <a:cubicBezTo>
                  <a:pt x="1559986" y="0"/>
                  <a:pt x="1639888" y="79989"/>
                  <a:pt x="1639888" y="182831"/>
                </a:cubicBezTo>
                <a:cubicBezTo>
                  <a:pt x="1639888" y="182831"/>
                  <a:pt x="1639888" y="182831"/>
                  <a:pt x="1639888" y="3378566"/>
                </a:cubicBezTo>
                <a:cubicBezTo>
                  <a:pt x="1639888" y="3477600"/>
                  <a:pt x="1559986" y="3557588"/>
                  <a:pt x="1461060" y="3557588"/>
                </a:cubicBezTo>
                <a:cubicBezTo>
                  <a:pt x="1461060" y="3557588"/>
                  <a:pt x="1461060" y="3557588"/>
                  <a:pt x="182633" y="3557588"/>
                </a:cubicBezTo>
                <a:cubicBezTo>
                  <a:pt x="83707" y="3557588"/>
                  <a:pt x="0" y="3477600"/>
                  <a:pt x="0" y="3378566"/>
                </a:cubicBezTo>
                <a:cubicBezTo>
                  <a:pt x="0" y="3378566"/>
                  <a:pt x="0" y="3378566"/>
                  <a:pt x="0" y="182831"/>
                </a:cubicBezTo>
                <a:cubicBezTo>
                  <a:pt x="0" y="79989"/>
                  <a:pt x="83707" y="0"/>
                  <a:pt x="18263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881580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5989638" y="3028950"/>
            <a:ext cx="4313238" cy="2705100"/>
          </a:xfrm>
          <a:custGeom>
            <a:avLst/>
            <a:gdLst>
              <a:gd name="connsiteX0" fmla="*/ 0 w 4313238"/>
              <a:gd name="connsiteY0" fmla="*/ 0 h 2705100"/>
              <a:gd name="connsiteX1" fmla="*/ 4313238 w 4313238"/>
              <a:gd name="connsiteY1" fmla="*/ 0 h 2705100"/>
              <a:gd name="connsiteX2" fmla="*/ 4313238 w 4313238"/>
              <a:gd name="connsiteY2" fmla="*/ 2705100 h 2705100"/>
              <a:gd name="connsiteX3" fmla="*/ 0 w 4313238"/>
              <a:gd name="connsiteY3" fmla="*/ 27051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3238" h="2705100">
                <a:moveTo>
                  <a:pt x="0" y="0"/>
                </a:moveTo>
                <a:lnTo>
                  <a:pt x="4313238" y="0"/>
                </a:lnTo>
                <a:lnTo>
                  <a:pt x="4313238" y="2705100"/>
                </a:lnTo>
                <a:lnTo>
                  <a:pt x="0" y="27051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09485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836F14-7B8C-7B0C-4E94-DB5E622AA2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DE51F2-6F9F-19C3-2A17-957F758B22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028BB3-D187-2C5E-580C-CEAA827E7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5AD0E7-C6CA-1986-3A20-E99D79034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CDA37A-34E2-1389-C837-494412505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0291871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490663" y="1881189"/>
            <a:ext cx="4845050" cy="2733675"/>
          </a:xfrm>
          <a:custGeom>
            <a:avLst/>
            <a:gdLst>
              <a:gd name="connsiteX0" fmla="*/ 0 w 4845050"/>
              <a:gd name="connsiteY0" fmla="*/ 0 h 2733675"/>
              <a:gd name="connsiteX1" fmla="*/ 4845050 w 4845050"/>
              <a:gd name="connsiteY1" fmla="*/ 0 h 2733675"/>
              <a:gd name="connsiteX2" fmla="*/ 4845050 w 4845050"/>
              <a:gd name="connsiteY2" fmla="*/ 2733675 h 2733675"/>
              <a:gd name="connsiteX3" fmla="*/ 0 w 4845050"/>
              <a:gd name="connsiteY3" fmla="*/ 2733675 h 2733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45050" h="2733675">
                <a:moveTo>
                  <a:pt x="0" y="0"/>
                </a:moveTo>
                <a:lnTo>
                  <a:pt x="4845050" y="0"/>
                </a:lnTo>
                <a:lnTo>
                  <a:pt x="4845050" y="2733675"/>
                </a:lnTo>
                <a:lnTo>
                  <a:pt x="0" y="27336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81117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4691064" y="1771650"/>
            <a:ext cx="2809875" cy="3760788"/>
          </a:xfrm>
          <a:custGeom>
            <a:avLst/>
            <a:gdLst>
              <a:gd name="connsiteX0" fmla="*/ 0 w 2809875"/>
              <a:gd name="connsiteY0" fmla="*/ 0 h 3760788"/>
              <a:gd name="connsiteX1" fmla="*/ 2809875 w 2809875"/>
              <a:gd name="connsiteY1" fmla="*/ 0 h 3760788"/>
              <a:gd name="connsiteX2" fmla="*/ 2809875 w 2809875"/>
              <a:gd name="connsiteY2" fmla="*/ 3760788 h 3760788"/>
              <a:gd name="connsiteX3" fmla="*/ 0 w 2809875"/>
              <a:gd name="connsiteY3" fmla="*/ 3760788 h 3760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9875" h="3760788">
                <a:moveTo>
                  <a:pt x="0" y="0"/>
                </a:moveTo>
                <a:lnTo>
                  <a:pt x="2809875" y="0"/>
                </a:lnTo>
                <a:lnTo>
                  <a:pt x="2809875" y="3760788"/>
                </a:lnTo>
                <a:lnTo>
                  <a:pt x="0" y="376078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930128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61881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405880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6759712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881723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428028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883310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56206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33076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72B31-5AD7-44C4-0260-42836D924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FD79E-9E75-A2AC-E114-0E27A497A8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0DBDDD-5D61-C16B-50DD-E9059F87D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D69CC0-7BBF-8A76-51D6-0374D6D96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5CC151-FEF1-8FCC-89B9-E4998E34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678724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449388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481287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722F66-727D-4150-ADA5-49CF3A0F68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0352" y="1122363"/>
            <a:ext cx="10072922" cy="1978346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D9A1FE-C39F-4D7C-B93D-F8C203A1D6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0352" y="3509963"/>
            <a:ext cx="10072922" cy="1747837"/>
          </a:xfrm>
        </p:spPr>
        <p:txBody>
          <a:bodyPr>
            <a:normAutofit/>
          </a:bodyPr>
          <a:lstStyle>
            <a:lvl1pPr marL="0" indent="0" algn="l">
              <a:buNone/>
              <a:defRPr sz="2000" i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008AAC-7D41-4304-8D59-EF34B23268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0352" y="136525"/>
            <a:ext cx="2743200" cy="365125"/>
          </a:xfrm>
        </p:spPr>
        <p:txBody>
          <a:bodyPr/>
          <a:lstStyle>
            <a:lvl1pPr algn="l">
              <a:defRPr/>
            </a:lvl1pPr>
          </a:lstStyle>
          <a:p>
            <a:fld id="{524C6359-9BB8-4148-8114-537E698DA205}" type="datetime1">
              <a:rPr lang="en-US" smtClean="0"/>
              <a:t>11/1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4D078-DE22-4F23-8B48-21FB1415C3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352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64C1F5-608B-4335-9F2A-17F63D5FA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aphic 78">
            <a:extLst>
              <a:ext uri="{FF2B5EF4-FFF2-40B4-BE49-F238E27FC236}">
                <a16:creationId xmlns:a16="http://schemas.microsoft.com/office/drawing/2014/main" id="{51B01909-73B8-4486-A749-C643B1D7E3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30225" y="3267690"/>
            <a:ext cx="972241" cy="45719"/>
            <a:chOff x="4886325" y="3371754"/>
            <a:chExt cx="2418492" cy="113728"/>
          </a:xfrm>
          <a:solidFill>
            <a:schemeClr val="accent1"/>
          </a:solidFill>
        </p:grpSpPr>
        <p:sp>
          <p:nvSpPr>
            <p:cNvPr id="8" name="Graphic 78">
              <a:extLst>
                <a:ext uri="{FF2B5EF4-FFF2-40B4-BE49-F238E27FC236}">
                  <a16:creationId xmlns:a16="http://schemas.microsoft.com/office/drawing/2014/main" id="{5E279D86-4533-45F1-B0AA-D237399A5ED5}"/>
                </a:ext>
              </a:extLst>
            </p:cNvPr>
            <p:cNvSpPr/>
            <p:nvPr/>
          </p:nvSpPr>
          <p:spPr>
            <a:xfrm>
              <a:off x="4886325" y="3428428"/>
              <a:ext cx="2418302" cy="9525"/>
            </a:xfrm>
            <a:custGeom>
              <a:avLst/>
              <a:gdLst>
                <a:gd name="connsiteX0" fmla="*/ 0 w 2418302"/>
                <a:gd name="connsiteY0" fmla="*/ 0 h 9525"/>
                <a:gd name="connsiteX1" fmla="*/ 2418302 w 24183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8302" h="9525">
                  <a:moveTo>
                    <a:pt x="0" y="0"/>
                  </a:moveTo>
                  <a:lnTo>
                    <a:pt x="2418302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" name="Graphic 78">
              <a:extLst>
                <a:ext uri="{FF2B5EF4-FFF2-40B4-BE49-F238E27FC236}">
                  <a16:creationId xmlns:a16="http://schemas.microsoft.com/office/drawing/2014/main" id="{764FD722-CB31-4326-ADD8-CBA52FD1FF59}"/>
                </a:ext>
              </a:extLst>
            </p:cNvPr>
            <p:cNvGrpSpPr/>
            <p:nvPr/>
          </p:nvGrpSpPr>
          <p:grpSpPr>
            <a:xfrm>
              <a:off x="4886709" y="3371754"/>
              <a:ext cx="2418108" cy="113728"/>
              <a:chOff x="4886709" y="3371754"/>
              <a:chExt cx="2418108" cy="113728"/>
            </a:xfrm>
            <a:grpFill/>
          </p:grpSpPr>
          <p:sp>
            <p:nvSpPr>
              <p:cNvPr id="10" name="Graphic 78">
                <a:extLst>
                  <a:ext uri="{FF2B5EF4-FFF2-40B4-BE49-F238E27FC236}">
                    <a16:creationId xmlns:a16="http://schemas.microsoft.com/office/drawing/2014/main" id="{24E4BCEC-8B0A-444E-8509-1B3BB0449E5B}"/>
                  </a:ext>
                </a:extLst>
              </p:cNvPr>
              <p:cNvSpPr/>
              <p:nvPr/>
            </p:nvSpPr>
            <p:spPr>
              <a:xfrm>
                <a:off x="4895088" y="3474384"/>
                <a:ext cx="32575" cy="2906"/>
              </a:xfrm>
              <a:custGeom>
                <a:avLst/>
                <a:gdLst>
                  <a:gd name="connsiteX0" fmla="*/ 0 w 32575"/>
                  <a:gd name="connsiteY0" fmla="*/ 49 h 2906"/>
                  <a:gd name="connsiteX1" fmla="*/ 32576 w 32575"/>
                  <a:gd name="connsiteY1" fmla="*/ 2907 h 2906"/>
                  <a:gd name="connsiteX2" fmla="*/ 0 w 32575"/>
                  <a:gd name="connsiteY2" fmla="*/ 49 h 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575" h="2906">
                    <a:moveTo>
                      <a:pt x="0" y="49"/>
                    </a:moveTo>
                    <a:cubicBezTo>
                      <a:pt x="7430" y="2335"/>
                      <a:pt x="20384" y="2526"/>
                      <a:pt x="32576" y="2907"/>
                    </a:cubicBezTo>
                    <a:cubicBezTo>
                      <a:pt x="23146" y="716"/>
                      <a:pt x="13240" y="-236"/>
                      <a:pt x="0" y="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Graphic 78">
                <a:extLst>
                  <a:ext uri="{FF2B5EF4-FFF2-40B4-BE49-F238E27FC236}">
                    <a16:creationId xmlns:a16="http://schemas.microsoft.com/office/drawing/2014/main" id="{9DB36622-1DC7-4B17-8984-588BA8999FF6}"/>
                  </a:ext>
                </a:extLst>
              </p:cNvPr>
              <p:cNvSpPr/>
              <p:nvPr/>
            </p:nvSpPr>
            <p:spPr>
              <a:xfrm>
                <a:off x="4927758" y="3477344"/>
                <a:ext cx="380" cy="42"/>
              </a:xfrm>
              <a:custGeom>
                <a:avLst/>
                <a:gdLst>
                  <a:gd name="connsiteX0" fmla="*/ 190 w 380"/>
                  <a:gd name="connsiteY0" fmla="*/ 42 h 42"/>
                  <a:gd name="connsiteX1" fmla="*/ 381 w 380"/>
                  <a:gd name="connsiteY1" fmla="*/ 42 h 42"/>
                  <a:gd name="connsiteX2" fmla="*/ 0 w 380"/>
                  <a:gd name="connsiteY2" fmla="*/ 42 h 42"/>
                  <a:gd name="connsiteX3" fmla="*/ 190 w 380"/>
                  <a:gd name="connsiteY3" fmla="*/ 42 h 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" h="42">
                    <a:moveTo>
                      <a:pt x="190" y="42"/>
                    </a:moveTo>
                    <a:cubicBezTo>
                      <a:pt x="190" y="42"/>
                      <a:pt x="286" y="42"/>
                      <a:pt x="381" y="42"/>
                    </a:cubicBezTo>
                    <a:cubicBezTo>
                      <a:pt x="190" y="42"/>
                      <a:pt x="95" y="42"/>
                      <a:pt x="0" y="42"/>
                    </a:cubicBezTo>
                    <a:cubicBezTo>
                      <a:pt x="0" y="-53"/>
                      <a:pt x="95" y="42"/>
                      <a:pt x="190" y="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Graphic 78">
                <a:extLst>
                  <a:ext uri="{FF2B5EF4-FFF2-40B4-BE49-F238E27FC236}">
                    <a16:creationId xmlns:a16="http://schemas.microsoft.com/office/drawing/2014/main" id="{51B97AF0-1974-42B9-B5FC-A332C52E8272}"/>
                  </a:ext>
                </a:extLst>
              </p:cNvPr>
              <p:cNvSpPr/>
              <p:nvPr/>
            </p:nvSpPr>
            <p:spPr>
              <a:xfrm>
                <a:off x="7285577" y="3374517"/>
                <a:ext cx="10001" cy="190"/>
              </a:xfrm>
              <a:custGeom>
                <a:avLst/>
                <a:gdLst>
                  <a:gd name="connsiteX0" fmla="*/ 10001 w 10001"/>
                  <a:gd name="connsiteY0" fmla="*/ 0 h 190"/>
                  <a:gd name="connsiteX1" fmla="*/ 0 w 10001"/>
                  <a:gd name="connsiteY1" fmla="*/ 191 h 190"/>
                  <a:gd name="connsiteX2" fmla="*/ 10001 w 10001"/>
                  <a:gd name="connsiteY2" fmla="*/ 0 h 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1" h="190">
                    <a:moveTo>
                      <a:pt x="10001" y="0"/>
                    </a:moveTo>
                    <a:cubicBezTo>
                      <a:pt x="6953" y="0"/>
                      <a:pt x="3524" y="95"/>
                      <a:pt x="0" y="191"/>
                    </a:cubicBezTo>
                    <a:cubicBezTo>
                      <a:pt x="3334" y="191"/>
                      <a:pt x="6763" y="191"/>
                      <a:pt x="10001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Graphic 78">
                <a:extLst>
                  <a:ext uri="{FF2B5EF4-FFF2-40B4-BE49-F238E27FC236}">
                    <a16:creationId xmlns:a16="http://schemas.microsoft.com/office/drawing/2014/main" id="{95A298AD-BE5D-4BE1-8CDF-DBFB42D63FEB}"/>
                  </a:ext>
                </a:extLst>
              </p:cNvPr>
              <p:cNvSpPr/>
              <p:nvPr/>
            </p:nvSpPr>
            <p:spPr>
              <a:xfrm>
                <a:off x="4886709" y="3371754"/>
                <a:ext cx="2418108" cy="113728"/>
              </a:xfrm>
              <a:custGeom>
                <a:avLst/>
                <a:gdLst>
                  <a:gd name="connsiteX0" fmla="*/ 632266 w 2418108"/>
                  <a:gd name="connsiteY0" fmla="*/ 112205 h 113728"/>
                  <a:gd name="connsiteX1" fmla="*/ 723039 w 2418108"/>
                  <a:gd name="connsiteY1" fmla="*/ 109538 h 113728"/>
                  <a:gd name="connsiteX2" fmla="*/ 735136 w 2418108"/>
                  <a:gd name="connsiteY2" fmla="*/ 111823 h 113728"/>
                  <a:gd name="connsiteX3" fmla="*/ 752471 w 2418108"/>
                  <a:gd name="connsiteY3" fmla="*/ 108680 h 113728"/>
                  <a:gd name="connsiteX4" fmla="*/ 772569 w 2418108"/>
                  <a:gd name="connsiteY4" fmla="*/ 110585 h 113728"/>
                  <a:gd name="connsiteX5" fmla="*/ 1112993 w 2418108"/>
                  <a:gd name="connsiteY5" fmla="*/ 112967 h 113728"/>
                  <a:gd name="connsiteX6" fmla="*/ 1083465 w 2418108"/>
                  <a:gd name="connsiteY6" fmla="*/ 108776 h 113728"/>
                  <a:gd name="connsiteX7" fmla="*/ 1296825 w 2418108"/>
                  <a:gd name="connsiteY7" fmla="*/ 108966 h 113728"/>
                  <a:gd name="connsiteX8" fmla="*/ 1346736 w 2418108"/>
                  <a:gd name="connsiteY8" fmla="*/ 103632 h 113728"/>
                  <a:gd name="connsiteX9" fmla="*/ 1360643 w 2418108"/>
                  <a:gd name="connsiteY9" fmla="*/ 107633 h 113728"/>
                  <a:gd name="connsiteX10" fmla="*/ 1381788 w 2418108"/>
                  <a:gd name="connsiteY10" fmla="*/ 107442 h 113728"/>
                  <a:gd name="connsiteX11" fmla="*/ 1371692 w 2418108"/>
                  <a:gd name="connsiteY11" fmla="*/ 106490 h 113728"/>
                  <a:gd name="connsiteX12" fmla="*/ 1430080 w 2418108"/>
                  <a:gd name="connsiteY12" fmla="*/ 105537 h 113728"/>
                  <a:gd name="connsiteX13" fmla="*/ 1420269 w 2418108"/>
                  <a:gd name="connsiteY13" fmla="*/ 104108 h 113728"/>
                  <a:gd name="connsiteX14" fmla="*/ 1455702 w 2418108"/>
                  <a:gd name="connsiteY14" fmla="*/ 107061 h 113728"/>
                  <a:gd name="connsiteX15" fmla="*/ 1439414 w 2418108"/>
                  <a:gd name="connsiteY15" fmla="*/ 108109 h 113728"/>
                  <a:gd name="connsiteX16" fmla="*/ 1503613 w 2418108"/>
                  <a:gd name="connsiteY16" fmla="*/ 105918 h 113728"/>
                  <a:gd name="connsiteX17" fmla="*/ 1495802 w 2418108"/>
                  <a:gd name="connsiteY17" fmla="*/ 105823 h 113728"/>
                  <a:gd name="connsiteX18" fmla="*/ 1695923 w 2418108"/>
                  <a:gd name="connsiteY18" fmla="*/ 95155 h 113728"/>
                  <a:gd name="connsiteX19" fmla="*/ 1684016 w 2418108"/>
                  <a:gd name="connsiteY19" fmla="*/ 92488 h 113728"/>
                  <a:gd name="connsiteX20" fmla="*/ 1706210 w 2418108"/>
                  <a:gd name="connsiteY20" fmla="*/ 90202 h 113728"/>
                  <a:gd name="connsiteX21" fmla="*/ 1693351 w 2418108"/>
                  <a:gd name="connsiteY21" fmla="*/ 98108 h 113728"/>
                  <a:gd name="connsiteX22" fmla="*/ 2058539 w 2418108"/>
                  <a:gd name="connsiteY22" fmla="*/ 102203 h 113728"/>
                  <a:gd name="connsiteX23" fmla="*/ 2064540 w 2418108"/>
                  <a:gd name="connsiteY23" fmla="*/ 95060 h 113728"/>
                  <a:gd name="connsiteX24" fmla="*/ 2227132 w 2418108"/>
                  <a:gd name="connsiteY24" fmla="*/ 96203 h 113728"/>
                  <a:gd name="connsiteX25" fmla="*/ 2245229 w 2418108"/>
                  <a:gd name="connsiteY25" fmla="*/ 96869 h 113728"/>
                  <a:gd name="connsiteX26" fmla="*/ 2254278 w 2418108"/>
                  <a:gd name="connsiteY26" fmla="*/ 94393 h 113728"/>
                  <a:gd name="connsiteX27" fmla="*/ 2418108 w 2418108"/>
                  <a:gd name="connsiteY27" fmla="*/ 5810 h 113728"/>
                  <a:gd name="connsiteX28" fmla="*/ 2399058 w 2418108"/>
                  <a:gd name="connsiteY28" fmla="*/ 2858 h 113728"/>
                  <a:gd name="connsiteX29" fmla="*/ 2241039 w 2418108"/>
                  <a:gd name="connsiteY29" fmla="*/ 1905 h 113728"/>
                  <a:gd name="connsiteX30" fmla="*/ 2243991 w 2418108"/>
                  <a:gd name="connsiteY30" fmla="*/ 1048 h 113728"/>
                  <a:gd name="connsiteX31" fmla="*/ 2197128 w 2418108"/>
                  <a:gd name="connsiteY31" fmla="*/ 0 h 113728"/>
                  <a:gd name="connsiteX32" fmla="*/ 1710591 w 2418108"/>
                  <a:gd name="connsiteY32" fmla="*/ 6287 h 113728"/>
                  <a:gd name="connsiteX33" fmla="*/ 1713353 w 2418108"/>
                  <a:gd name="connsiteY33" fmla="*/ 5906 h 113728"/>
                  <a:gd name="connsiteX34" fmla="*/ 1210814 w 2418108"/>
                  <a:gd name="connsiteY34" fmla="*/ 7715 h 113728"/>
                  <a:gd name="connsiteX35" fmla="*/ 684463 w 2418108"/>
                  <a:gd name="connsiteY35" fmla="*/ 13716 h 113728"/>
                  <a:gd name="connsiteX36" fmla="*/ 687511 w 2418108"/>
                  <a:gd name="connsiteY36" fmla="*/ 12859 h 113728"/>
                  <a:gd name="connsiteX37" fmla="*/ 435670 w 2418108"/>
                  <a:gd name="connsiteY37" fmla="*/ 12192 h 113728"/>
                  <a:gd name="connsiteX38" fmla="*/ 440718 w 2418108"/>
                  <a:gd name="connsiteY38" fmla="*/ 12668 h 113728"/>
                  <a:gd name="connsiteX39" fmla="*/ 386807 w 2418108"/>
                  <a:gd name="connsiteY39" fmla="*/ 9906 h 113728"/>
                  <a:gd name="connsiteX40" fmla="*/ 16856 w 2418108"/>
                  <a:gd name="connsiteY40" fmla="*/ 12192 h 113728"/>
                  <a:gd name="connsiteX41" fmla="*/ 63528 w 2418108"/>
                  <a:gd name="connsiteY41" fmla="*/ 102870 h 113728"/>
                  <a:gd name="connsiteX42" fmla="*/ 42668 w 2418108"/>
                  <a:gd name="connsiteY42" fmla="*/ 102584 h 113728"/>
                  <a:gd name="connsiteX43" fmla="*/ 41430 w 2418108"/>
                  <a:gd name="connsiteY43" fmla="*/ 105537 h 113728"/>
                  <a:gd name="connsiteX44" fmla="*/ 54575 w 2418108"/>
                  <a:gd name="connsiteY44" fmla="*/ 105347 h 113728"/>
                  <a:gd name="connsiteX45" fmla="*/ 388140 w 2418108"/>
                  <a:gd name="connsiteY45" fmla="*/ 112109 h 113728"/>
                  <a:gd name="connsiteX46" fmla="*/ 482152 w 2418108"/>
                  <a:gd name="connsiteY46" fmla="*/ 113729 h 113728"/>
                  <a:gd name="connsiteX47" fmla="*/ 632266 w 2418108"/>
                  <a:gd name="connsiteY47" fmla="*/ 112205 h 11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418108" h="113728">
                    <a:moveTo>
                      <a:pt x="632266" y="112205"/>
                    </a:moveTo>
                    <a:cubicBezTo>
                      <a:pt x="656364" y="104680"/>
                      <a:pt x="694940" y="114110"/>
                      <a:pt x="723039" y="109538"/>
                    </a:cubicBezTo>
                    <a:cubicBezTo>
                      <a:pt x="722849" y="109919"/>
                      <a:pt x="735898" y="110109"/>
                      <a:pt x="735136" y="111823"/>
                    </a:cubicBezTo>
                    <a:cubicBezTo>
                      <a:pt x="735041" y="108776"/>
                      <a:pt x="767616" y="112300"/>
                      <a:pt x="752471" y="108680"/>
                    </a:cubicBezTo>
                    <a:cubicBezTo>
                      <a:pt x="754757" y="107633"/>
                      <a:pt x="790571" y="107633"/>
                      <a:pt x="772569" y="110585"/>
                    </a:cubicBezTo>
                    <a:cubicBezTo>
                      <a:pt x="822099" y="111633"/>
                      <a:pt x="1059653" y="114395"/>
                      <a:pt x="1112993" y="112967"/>
                    </a:cubicBezTo>
                    <a:cubicBezTo>
                      <a:pt x="1106135" y="110776"/>
                      <a:pt x="1089656" y="112205"/>
                      <a:pt x="1083465" y="108776"/>
                    </a:cubicBezTo>
                    <a:cubicBezTo>
                      <a:pt x="1153950" y="111728"/>
                      <a:pt x="1230626" y="113157"/>
                      <a:pt x="1296825" y="108966"/>
                    </a:cubicBezTo>
                    <a:cubicBezTo>
                      <a:pt x="1277680" y="103251"/>
                      <a:pt x="1356071" y="110966"/>
                      <a:pt x="1346736" y="103632"/>
                    </a:cubicBezTo>
                    <a:cubicBezTo>
                      <a:pt x="1351213" y="105347"/>
                      <a:pt x="1374454" y="106109"/>
                      <a:pt x="1360643" y="107633"/>
                    </a:cubicBezTo>
                    <a:cubicBezTo>
                      <a:pt x="1368548" y="107728"/>
                      <a:pt x="1376168" y="108299"/>
                      <a:pt x="1381788" y="107442"/>
                    </a:cubicBezTo>
                    <a:lnTo>
                      <a:pt x="1371692" y="106490"/>
                    </a:lnTo>
                    <a:cubicBezTo>
                      <a:pt x="1398266" y="106013"/>
                      <a:pt x="1412744" y="108680"/>
                      <a:pt x="1430080" y="105537"/>
                    </a:cubicBezTo>
                    <a:lnTo>
                      <a:pt x="1420269" y="104108"/>
                    </a:lnTo>
                    <a:cubicBezTo>
                      <a:pt x="1436176" y="103918"/>
                      <a:pt x="1449416" y="103632"/>
                      <a:pt x="1455702" y="107061"/>
                    </a:cubicBezTo>
                    <a:lnTo>
                      <a:pt x="1439414" y="108109"/>
                    </a:lnTo>
                    <a:cubicBezTo>
                      <a:pt x="1465799" y="108014"/>
                      <a:pt x="1481610" y="107823"/>
                      <a:pt x="1503613" y="105918"/>
                    </a:cubicBezTo>
                    <a:lnTo>
                      <a:pt x="1495802" y="105823"/>
                    </a:lnTo>
                    <a:cubicBezTo>
                      <a:pt x="1523806" y="102394"/>
                      <a:pt x="1670110" y="99441"/>
                      <a:pt x="1695923" y="95155"/>
                    </a:cubicBezTo>
                    <a:lnTo>
                      <a:pt x="1684016" y="92488"/>
                    </a:lnTo>
                    <a:lnTo>
                      <a:pt x="1706210" y="90202"/>
                    </a:lnTo>
                    <a:cubicBezTo>
                      <a:pt x="1703543" y="90202"/>
                      <a:pt x="1695542" y="98965"/>
                      <a:pt x="1693351" y="98108"/>
                    </a:cubicBezTo>
                    <a:cubicBezTo>
                      <a:pt x="1757549" y="99441"/>
                      <a:pt x="2045109" y="91345"/>
                      <a:pt x="2058539" y="102203"/>
                    </a:cubicBezTo>
                    <a:cubicBezTo>
                      <a:pt x="2079780" y="101917"/>
                      <a:pt x="2071303" y="103918"/>
                      <a:pt x="2064540" y="95060"/>
                    </a:cubicBezTo>
                    <a:cubicBezTo>
                      <a:pt x="2086638" y="95441"/>
                      <a:pt x="2259707" y="88773"/>
                      <a:pt x="2227132" y="96203"/>
                    </a:cubicBezTo>
                    <a:cubicBezTo>
                      <a:pt x="2232371" y="96298"/>
                      <a:pt x="2240372" y="95917"/>
                      <a:pt x="2245229" y="96869"/>
                    </a:cubicBezTo>
                    <a:cubicBezTo>
                      <a:pt x="2235704" y="94583"/>
                      <a:pt x="2261708" y="95345"/>
                      <a:pt x="2254278" y="94393"/>
                    </a:cubicBezTo>
                    <a:cubicBezTo>
                      <a:pt x="2395724" y="108776"/>
                      <a:pt x="2341527" y="36576"/>
                      <a:pt x="2418108" y="5810"/>
                    </a:cubicBezTo>
                    <a:cubicBezTo>
                      <a:pt x="2398772" y="4763"/>
                      <a:pt x="2335717" y="7239"/>
                      <a:pt x="2399058" y="2858"/>
                    </a:cubicBezTo>
                    <a:cubicBezTo>
                      <a:pt x="2343527" y="-572"/>
                      <a:pt x="2296283" y="1238"/>
                      <a:pt x="2241039" y="1905"/>
                    </a:cubicBezTo>
                    <a:lnTo>
                      <a:pt x="2243991" y="1048"/>
                    </a:lnTo>
                    <a:cubicBezTo>
                      <a:pt x="2234181" y="-381"/>
                      <a:pt x="2214845" y="1524"/>
                      <a:pt x="2197128" y="0"/>
                    </a:cubicBezTo>
                    <a:cubicBezTo>
                      <a:pt x="2115880" y="6096"/>
                      <a:pt x="1816128" y="3524"/>
                      <a:pt x="1710591" y="6287"/>
                    </a:cubicBezTo>
                    <a:lnTo>
                      <a:pt x="1713353" y="5906"/>
                    </a:lnTo>
                    <a:cubicBezTo>
                      <a:pt x="1577146" y="5429"/>
                      <a:pt x="1349308" y="11240"/>
                      <a:pt x="1210814" y="7715"/>
                    </a:cubicBezTo>
                    <a:cubicBezTo>
                      <a:pt x="1095848" y="23717"/>
                      <a:pt x="819051" y="5429"/>
                      <a:pt x="684463" y="13716"/>
                    </a:cubicBezTo>
                    <a:lnTo>
                      <a:pt x="687511" y="12859"/>
                    </a:lnTo>
                    <a:cubicBezTo>
                      <a:pt x="655316" y="14192"/>
                      <a:pt x="473008" y="10954"/>
                      <a:pt x="435670" y="12192"/>
                    </a:cubicBezTo>
                    <a:lnTo>
                      <a:pt x="440718" y="12668"/>
                    </a:lnTo>
                    <a:cubicBezTo>
                      <a:pt x="408047" y="14764"/>
                      <a:pt x="412524" y="11049"/>
                      <a:pt x="386807" y="9906"/>
                    </a:cubicBezTo>
                    <a:cubicBezTo>
                      <a:pt x="275174" y="28004"/>
                      <a:pt x="142395" y="18764"/>
                      <a:pt x="16856" y="12192"/>
                    </a:cubicBezTo>
                    <a:cubicBezTo>
                      <a:pt x="-6195" y="35528"/>
                      <a:pt x="-17434" y="114395"/>
                      <a:pt x="63528" y="102870"/>
                    </a:cubicBezTo>
                    <a:cubicBezTo>
                      <a:pt x="63528" y="102870"/>
                      <a:pt x="42668" y="102584"/>
                      <a:pt x="42668" y="102584"/>
                    </a:cubicBezTo>
                    <a:cubicBezTo>
                      <a:pt x="58004" y="103156"/>
                      <a:pt x="47336" y="104299"/>
                      <a:pt x="41430" y="105537"/>
                    </a:cubicBezTo>
                    <a:cubicBezTo>
                      <a:pt x="46764" y="105537"/>
                      <a:pt x="68386" y="107442"/>
                      <a:pt x="54575" y="105347"/>
                    </a:cubicBezTo>
                    <a:cubicBezTo>
                      <a:pt x="158588" y="108109"/>
                      <a:pt x="297462" y="110109"/>
                      <a:pt x="388140" y="112109"/>
                    </a:cubicBezTo>
                    <a:cubicBezTo>
                      <a:pt x="420525" y="113348"/>
                      <a:pt x="453577" y="106680"/>
                      <a:pt x="482152" y="113729"/>
                    </a:cubicBezTo>
                    <a:cubicBezTo>
                      <a:pt x="477580" y="111919"/>
                      <a:pt x="629885" y="111728"/>
                      <a:pt x="632266" y="1122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5424612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E7B4A7-C566-48F4-B4B8-3A5E7B6C5C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3B93F5-BC8B-452C-ACE2-C7E01D1B80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9A49B3-A57D-46C5-8462-0C52509F8F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0352" y="136525"/>
            <a:ext cx="2743200" cy="365125"/>
          </a:xfrm>
        </p:spPr>
        <p:txBody>
          <a:bodyPr/>
          <a:lstStyle/>
          <a:p>
            <a:fld id="{9376191F-481E-48E9-BB9A-369A67A7362D}" type="datetime1">
              <a:rPr lang="en-US" smtClean="0"/>
              <a:t>11/1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C8C810-EAF4-4D86-84DD-2E574122D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87E738-8574-490B-974B-9AD3B2AAE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aphic 78">
            <a:extLst>
              <a:ext uri="{FF2B5EF4-FFF2-40B4-BE49-F238E27FC236}">
                <a16:creationId xmlns:a16="http://schemas.microsoft.com/office/drawing/2014/main" id="{AC552FEA-472E-4E74-B31D-531852C190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30225" y="2310597"/>
            <a:ext cx="972241" cy="45719"/>
            <a:chOff x="4886325" y="3371754"/>
            <a:chExt cx="2418492" cy="113728"/>
          </a:xfrm>
          <a:solidFill>
            <a:schemeClr val="accent1"/>
          </a:solidFill>
        </p:grpSpPr>
        <p:sp>
          <p:nvSpPr>
            <p:cNvPr id="8" name="Graphic 78">
              <a:extLst>
                <a:ext uri="{FF2B5EF4-FFF2-40B4-BE49-F238E27FC236}">
                  <a16:creationId xmlns:a16="http://schemas.microsoft.com/office/drawing/2014/main" id="{41DF3078-C636-4776-A616-D5BF3BC280C9}"/>
                </a:ext>
              </a:extLst>
            </p:cNvPr>
            <p:cNvSpPr/>
            <p:nvPr/>
          </p:nvSpPr>
          <p:spPr>
            <a:xfrm>
              <a:off x="4886325" y="3428428"/>
              <a:ext cx="2418302" cy="9525"/>
            </a:xfrm>
            <a:custGeom>
              <a:avLst/>
              <a:gdLst>
                <a:gd name="connsiteX0" fmla="*/ 0 w 2418302"/>
                <a:gd name="connsiteY0" fmla="*/ 0 h 9525"/>
                <a:gd name="connsiteX1" fmla="*/ 2418302 w 24183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8302" h="9525">
                  <a:moveTo>
                    <a:pt x="0" y="0"/>
                  </a:moveTo>
                  <a:lnTo>
                    <a:pt x="2418302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" name="Graphic 78">
              <a:extLst>
                <a:ext uri="{FF2B5EF4-FFF2-40B4-BE49-F238E27FC236}">
                  <a16:creationId xmlns:a16="http://schemas.microsoft.com/office/drawing/2014/main" id="{0D1A27FA-1310-4BC3-A071-1566746B2FB1}"/>
                </a:ext>
              </a:extLst>
            </p:cNvPr>
            <p:cNvGrpSpPr/>
            <p:nvPr/>
          </p:nvGrpSpPr>
          <p:grpSpPr>
            <a:xfrm>
              <a:off x="4886709" y="3371754"/>
              <a:ext cx="2418108" cy="113728"/>
              <a:chOff x="4886709" y="3371754"/>
              <a:chExt cx="2418108" cy="113728"/>
            </a:xfrm>
            <a:grpFill/>
          </p:grpSpPr>
          <p:sp>
            <p:nvSpPr>
              <p:cNvPr id="10" name="Graphic 78">
                <a:extLst>
                  <a:ext uri="{FF2B5EF4-FFF2-40B4-BE49-F238E27FC236}">
                    <a16:creationId xmlns:a16="http://schemas.microsoft.com/office/drawing/2014/main" id="{99ACB9EB-84FE-4B33-9EF9-4EC7DAC25DD5}"/>
                  </a:ext>
                </a:extLst>
              </p:cNvPr>
              <p:cNvSpPr/>
              <p:nvPr/>
            </p:nvSpPr>
            <p:spPr>
              <a:xfrm>
                <a:off x="4895088" y="3474384"/>
                <a:ext cx="32575" cy="2906"/>
              </a:xfrm>
              <a:custGeom>
                <a:avLst/>
                <a:gdLst>
                  <a:gd name="connsiteX0" fmla="*/ 0 w 32575"/>
                  <a:gd name="connsiteY0" fmla="*/ 49 h 2906"/>
                  <a:gd name="connsiteX1" fmla="*/ 32576 w 32575"/>
                  <a:gd name="connsiteY1" fmla="*/ 2907 h 2906"/>
                  <a:gd name="connsiteX2" fmla="*/ 0 w 32575"/>
                  <a:gd name="connsiteY2" fmla="*/ 49 h 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575" h="2906">
                    <a:moveTo>
                      <a:pt x="0" y="49"/>
                    </a:moveTo>
                    <a:cubicBezTo>
                      <a:pt x="7430" y="2335"/>
                      <a:pt x="20384" y="2526"/>
                      <a:pt x="32576" y="2907"/>
                    </a:cubicBezTo>
                    <a:cubicBezTo>
                      <a:pt x="23146" y="716"/>
                      <a:pt x="13240" y="-236"/>
                      <a:pt x="0" y="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Graphic 78">
                <a:extLst>
                  <a:ext uri="{FF2B5EF4-FFF2-40B4-BE49-F238E27FC236}">
                    <a16:creationId xmlns:a16="http://schemas.microsoft.com/office/drawing/2014/main" id="{826E5EFB-0EF9-4DB8-99CB-5DD72009DB2C}"/>
                  </a:ext>
                </a:extLst>
              </p:cNvPr>
              <p:cNvSpPr/>
              <p:nvPr/>
            </p:nvSpPr>
            <p:spPr>
              <a:xfrm>
                <a:off x="4927758" y="3477344"/>
                <a:ext cx="380" cy="42"/>
              </a:xfrm>
              <a:custGeom>
                <a:avLst/>
                <a:gdLst>
                  <a:gd name="connsiteX0" fmla="*/ 190 w 380"/>
                  <a:gd name="connsiteY0" fmla="*/ 42 h 42"/>
                  <a:gd name="connsiteX1" fmla="*/ 381 w 380"/>
                  <a:gd name="connsiteY1" fmla="*/ 42 h 42"/>
                  <a:gd name="connsiteX2" fmla="*/ 0 w 380"/>
                  <a:gd name="connsiteY2" fmla="*/ 42 h 42"/>
                  <a:gd name="connsiteX3" fmla="*/ 190 w 380"/>
                  <a:gd name="connsiteY3" fmla="*/ 42 h 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" h="42">
                    <a:moveTo>
                      <a:pt x="190" y="42"/>
                    </a:moveTo>
                    <a:cubicBezTo>
                      <a:pt x="190" y="42"/>
                      <a:pt x="286" y="42"/>
                      <a:pt x="381" y="42"/>
                    </a:cubicBezTo>
                    <a:cubicBezTo>
                      <a:pt x="190" y="42"/>
                      <a:pt x="95" y="42"/>
                      <a:pt x="0" y="42"/>
                    </a:cubicBezTo>
                    <a:cubicBezTo>
                      <a:pt x="0" y="-53"/>
                      <a:pt x="95" y="42"/>
                      <a:pt x="190" y="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Graphic 78">
                <a:extLst>
                  <a:ext uri="{FF2B5EF4-FFF2-40B4-BE49-F238E27FC236}">
                    <a16:creationId xmlns:a16="http://schemas.microsoft.com/office/drawing/2014/main" id="{86238E12-0689-4123-8B2E-E1CCFCC4C882}"/>
                  </a:ext>
                </a:extLst>
              </p:cNvPr>
              <p:cNvSpPr/>
              <p:nvPr/>
            </p:nvSpPr>
            <p:spPr>
              <a:xfrm>
                <a:off x="7285577" y="3374517"/>
                <a:ext cx="10001" cy="190"/>
              </a:xfrm>
              <a:custGeom>
                <a:avLst/>
                <a:gdLst>
                  <a:gd name="connsiteX0" fmla="*/ 10001 w 10001"/>
                  <a:gd name="connsiteY0" fmla="*/ 0 h 190"/>
                  <a:gd name="connsiteX1" fmla="*/ 0 w 10001"/>
                  <a:gd name="connsiteY1" fmla="*/ 191 h 190"/>
                  <a:gd name="connsiteX2" fmla="*/ 10001 w 10001"/>
                  <a:gd name="connsiteY2" fmla="*/ 0 h 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1" h="190">
                    <a:moveTo>
                      <a:pt x="10001" y="0"/>
                    </a:moveTo>
                    <a:cubicBezTo>
                      <a:pt x="6953" y="0"/>
                      <a:pt x="3524" y="95"/>
                      <a:pt x="0" y="191"/>
                    </a:cubicBezTo>
                    <a:cubicBezTo>
                      <a:pt x="3334" y="191"/>
                      <a:pt x="6763" y="191"/>
                      <a:pt x="10001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Graphic 78">
                <a:extLst>
                  <a:ext uri="{FF2B5EF4-FFF2-40B4-BE49-F238E27FC236}">
                    <a16:creationId xmlns:a16="http://schemas.microsoft.com/office/drawing/2014/main" id="{8538CF67-A00E-4955-A447-001BE02E771A}"/>
                  </a:ext>
                </a:extLst>
              </p:cNvPr>
              <p:cNvSpPr/>
              <p:nvPr/>
            </p:nvSpPr>
            <p:spPr>
              <a:xfrm>
                <a:off x="4886709" y="3371754"/>
                <a:ext cx="2418108" cy="113728"/>
              </a:xfrm>
              <a:custGeom>
                <a:avLst/>
                <a:gdLst>
                  <a:gd name="connsiteX0" fmla="*/ 632266 w 2418108"/>
                  <a:gd name="connsiteY0" fmla="*/ 112205 h 113728"/>
                  <a:gd name="connsiteX1" fmla="*/ 723039 w 2418108"/>
                  <a:gd name="connsiteY1" fmla="*/ 109538 h 113728"/>
                  <a:gd name="connsiteX2" fmla="*/ 735136 w 2418108"/>
                  <a:gd name="connsiteY2" fmla="*/ 111823 h 113728"/>
                  <a:gd name="connsiteX3" fmla="*/ 752471 w 2418108"/>
                  <a:gd name="connsiteY3" fmla="*/ 108680 h 113728"/>
                  <a:gd name="connsiteX4" fmla="*/ 772569 w 2418108"/>
                  <a:gd name="connsiteY4" fmla="*/ 110585 h 113728"/>
                  <a:gd name="connsiteX5" fmla="*/ 1112993 w 2418108"/>
                  <a:gd name="connsiteY5" fmla="*/ 112967 h 113728"/>
                  <a:gd name="connsiteX6" fmla="*/ 1083465 w 2418108"/>
                  <a:gd name="connsiteY6" fmla="*/ 108776 h 113728"/>
                  <a:gd name="connsiteX7" fmla="*/ 1296825 w 2418108"/>
                  <a:gd name="connsiteY7" fmla="*/ 108966 h 113728"/>
                  <a:gd name="connsiteX8" fmla="*/ 1346736 w 2418108"/>
                  <a:gd name="connsiteY8" fmla="*/ 103632 h 113728"/>
                  <a:gd name="connsiteX9" fmla="*/ 1360643 w 2418108"/>
                  <a:gd name="connsiteY9" fmla="*/ 107633 h 113728"/>
                  <a:gd name="connsiteX10" fmla="*/ 1381788 w 2418108"/>
                  <a:gd name="connsiteY10" fmla="*/ 107442 h 113728"/>
                  <a:gd name="connsiteX11" fmla="*/ 1371692 w 2418108"/>
                  <a:gd name="connsiteY11" fmla="*/ 106490 h 113728"/>
                  <a:gd name="connsiteX12" fmla="*/ 1430080 w 2418108"/>
                  <a:gd name="connsiteY12" fmla="*/ 105537 h 113728"/>
                  <a:gd name="connsiteX13" fmla="*/ 1420269 w 2418108"/>
                  <a:gd name="connsiteY13" fmla="*/ 104108 h 113728"/>
                  <a:gd name="connsiteX14" fmla="*/ 1455702 w 2418108"/>
                  <a:gd name="connsiteY14" fmla="*/ 107061 h 113728"/>
                  <a:gd name="connsiteX15" fmla="*/ 1439414 w 2418108"/>
                  <a:gd name="connsiteY15" fmla="*/ 108109 h 113728"/>
                  <a:gd name="connsiteX16" fmla="*/ 1503613 w 2418108"/>
                  <a:gd name="connsiteY16" fmla="*/ 105918 h 113728"/>
                  <a:gd name="connsiteX17" fmla="*/ 1495802 w 2418108"/>
                  <a:gd name="connsiteY17" fmla="*/ 105823 h 113728"/>
                  <a:gd name="connsiteX18" fmla="*/ 1695923 w 2418108"/>
                  <a:gd name="connsiteY18" fmla="*/ 95155 h 113728"/>
                  <a:gd name="connsiteX19" fmla="*/ 1684016 w 2418108"/>
                  <a:gd name="connsiteY19" fmla="*/ 92488 h 113728"/>
                  <a:gd name="connsiteX20" fmla="*/ 1706210 w 2418108"/>
                  <a:gd name="connsiteY20" fmla="*/ 90202 h 113728"/>
                  <a:gd name="connsiteX21" fmla="*/ 1693351 w 2418108"/>
                  <a:gd name="connsiteY21" fmla="*/ 98108 h 113728"/>
                  <a:gd name="connsiteX22" fmla="*/ 2058539 w 2418108"/>
                  <a:gd name="connsiteY22" fmla="*/ 102203 h 113728"/>
                  <a:gd name="connsiteX23" fmla="*/ 2064540 w 2418108"/>
                  <a:gd name="connsiteY23" fmla="*/ 95060 h 113728"/>
                  <a:gd name="connsiteX24" fmla="*/ 2227132 w 2418108"/>
                  <a:gd name="connsiteY24" fmla="*/ 96203 h 113728"/>
                  <a:gd name="connsiteX25" fmla="*/ 2245229 w 2418108"/>
                  <a:gd name="connsiteY25" fmla="*/ 96869 h 113728"/>
                  <a:gd name="connsiteX26" fmla="*/ 2254278 w 2418108"/>
                  <a:gd name="connsiteY26" fmla="*/ 94393 h 113728"/>
                  <a:gd name="connsiteX27" fmla="*/ 2418108 w 2418108"/>
                  <a:gd name="connsiteY27" fmla="*/ 5810 h 113728"/>
                  <a:gd name="connsiteX28" fmla="*/ 2399058 w 2418108"/>
                  <a:gd name="connsiteY28" fmla="*/ 2858 h 113728"/>
                  <a:gd name="connsiteX29" fmla="*/ 2241039 w 2418108"/>
                  <a:gd name="connsiteY29" fmla="*/ 1905 h 113728"/>
                  <a:gd name="connsiteX30" fmla="*/ 2243991 w 2418108"/>
                  <a:gd name="connsiteY30" fmla="*/ 1048 h 113728"/>
                  <a:gd name="connsiteX31" fmla="*/ 2197128 w 2418108"/>
                  <a:gd name="connsiteY31" fmla="*/ 0 h 113728"/>
                  <a:gd name="connsiteX32" fmla="*/ 1710591 w 2418108"/>
                  <a:gd name="connsiteY32" fmla="*/ 6287 h 113728"/>
                  <a:gd name="connsiteX33" fmla="*/ 1713353 w 2418108"/>
                  <a:gd name="connsiteY33" fmla="*/ 5906 h 113728"/>
                  <a:gd name="connsiteX34" fmla="*/ 1210814 w 2418108"/>
                  <a:gd name="connsiteY34" fmla="*/ 7715 h 113728"/>
                  <a:gd name="connsiteX35" fmla="*/ 684463 w 2418108"/>
                  <a:gd name="connsiteY35" fmla="*/ 13716 h 113728"/>
                  <a:gd name="connsiteX36" fmla="*/ 687511 w 2418108"/>
                  <a:gd name="connsiteY36" fmla="*/ 12859 h 113728"/>
                  <a:gd name="connsiteX37" fmla="*/ 435670 w 2418108"/>
                  <a:gd name="connsiteY37" fmla="*/ 12192 h 113728"/>
                  <a:gd name="connsiteX38" fmla="*/ 440718 w 2418108"/>
                  <a:gd name="connsiteY38" fmla="*/ 12668 h 113728"/>
                  <a:gd name="connsiteX39" fmla="*/ 386807 w 2418108"/>
                  <a:gd name="connsiteY39" fmla="*/ 9906 h 113728"/>
                  <a:gd name="connsiteX40" fmla="*/ 16856 w 2418108"/>
                  <a:gd name="connsiteY40" fmla="*/ 12192 h 113728"/>
                  <a:gd name="connsiteX41" fmla="*/ 63528 w 2418108"/>
                  <a:gd name="connsiteY41" fmla="*/ 102870 h 113728"/>
                  <a:gd name="connsiteX42" fmla="*/ 42668 w 2418108"/>
                  <a:gd name="connsiteY42" fmla="*/ 102584 h 113728"/>
                  <a:gd name="connsiteX43" fmla="*/ 41430 w 2418108"/>
                  <a:gd name="connsiteY43" fmla="*/ 105537 h 113728"/>
                  <a:gd name="connsiteX44" fmla="*/ 54575 w 2418108"/>
                  <a:gd name="connsiteY44" fmla="*/ 105347 h 113728"/>
                  <a:gd name="connsiteX45" fmla="*/ 388140 w 2418108"/>
                  <a:gd name="connsiteY45" fmla="*/ 112109 h 113728"/>
                  <a:gd name="connsiteX46" fmla="*/ 482152 w 2418108"/>
                  <a:gd name="connsiteY46" fmla="*/ 113729 h 113728"/>
                  <a:gd name="connsiteX47" fmla="*/ 632266 w 2418108"/>
                  <a:gd name="connsiteY47" fmla="*/ 112205 h 11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418108" h="113728">
                    <a:moveTo>
                      <a:pt x="632266" y="112205"/>
                    </a:moveTo>
                    <a:cubicBezTo>
                      <a:pt x="656364" y="104680"/>
                      <a:pt x="694940" y="114110"/>
                      <a:pt x="723039" y="109538"/>
                    </a:cubicBezTo>
                    <a:cubicBezTo>
                      <a:pt x="722849" y="109919"/>
                      <a:pt x="735898" y="110109"/>
                      <a:pt x="735136" y="111823"/>
                    </a:cubicBezTo>
                    <a:cubicBezTo>
                      <a:pt x="735041" y="108776"/>
                      <a:pt x="767616" y="112300"/>
                      <a:pt x="752471" y="108680"/>
                    </a:cubicBezTo>
                    <a:cubicBezTo>
                      <a:pt x="754757" y="107633"/>
                      <a:pt x="790571" y="107633"/>
                      <a:pt x="772569" y="110585"/>
                    </a:cubicBezTo>
                    <a:cubicBezTo>
                      <a:pt x="822099" y="111633"/>
                      <a:pt x="1059653" y="114395"/>
                      <a:pt x="1112993" y="112967"/>
                    </a:cubicBezTo>
                    <a:cubicBezTo>
                      <a:pt x="1106135" y="110776"/>
                      <a:pt x="1089656" y="112205"/>
                      <a:pt x="1083465" y="108776"/>
                    </a:cubicBezTo>
                    <a:cubicBezTo>
                      <a:pt x="1153950" y="111728"/>
                      <a:pt x="1230626" y="113157"/>
                      <a:pt x="1296825" y="108966"/>
                    </a:cubicBezTo>
                    <a:cubicBezTo>
                      <a:pt x="1277680" y="103251"/>
                      <a:pt x="1356071" y="110966"/>
                      <a:pt x="1346736" y="103632"/>
                    </a:cubicBezTo>
                    <a:cubicBezTo>
                      <a:pt x="1351213" y="105347"/>
                      <a:pt x="1374454" y="106109"/>
                      <a:pt x="1360643" y="107633"/>
                    </a:cubicBezTo>
                    <a:cubicBezTo>
                      <a:pt x="1368548" y="107728"/>
                      <a:pt x="1376168" y="108299"/>
                      <a:pt x="1381788" y="107442"/>
                    </a:cubicBezTo>
                    <a:lnTo>
                      <a:pt x="1371692" y="106490"/>
                    </a:lnTo>
                    <a:cubicBezTo>
                      <a:pt x="1398266" y="106013"/>
                      <a:pt x="1412744" y="108680"/>
                      <a:pt x="1430080" y="105537"/>
                    </a:cubicBezTo>
                    <a:lnTo>
                      <a:pt x="1420269" y="104108"/>
                    </a:lnTo>
                    <a:cubicBezTo>
                      <a:pt x="1436176" y="103918"/>
                      <a:pt x="1449416" y="103632"/>
                      <a:pt x="1455702" y="107061"/>
                    </a:cubicBezTo>
                    <a:lnTo>
                      <a:pt x="1439414" y="108109"/>
                    </a:lnTo>
                    <a:cubicBezTo>
                      <a:pt x="1465799" y="108014"/>
                      <a:pt x="1481610" y="107823"/>
                      <a:pt x="1503613" y="105918"/>
                    </a:cubicBezTo>
                    <a:lnTo>
                      <a:pt x="1495802" y="105823"/>
                    </a:lnTo>
                    <a:cubicBezTo>
                      <a:pt x="1523806" y="102394"/>
                      <a:pt x="1670110" y="99441"/>
                      <a:pt x="1695923" y="95155"/>
                    </a:cubicBezTo>
                    <a:lnTo>
                      <a:pt x="1684016" y="92488"/>
                    </a:lnTo>
                    <a:lnTo>
                      <a:pt x="1706210" y="90202"/>
                    </a:lnTo>
                    <a:cubicBezTo>
                      <a:pt x="1703543" y="90202"/>
                      <a:pt x="1695542" y="98965"/>
                      <a:pt x="1693351" y="98108"/>
                    </a:cubicBezTo>
                    <a:cubicBezTo>
                      <a:pt x="1757549" y="99441"/>
                      <a:pt x="2045109" y="91345"/>
                      <a:pt x="2058539" y="102203"/>
                    </a:cubicBezTo>
                    <a:cubicBezTo>
                      <a:pt x="2079780" y="101917"/>
                      <a:pt x="2071303" y="103918"/>
                      <a:pt x="2064540" y="95060"/>
                    </a:cubicBezTo>
                    <a:cubicBezTo>
                      <a:pt x="2086638" y="95441"/>
                      <a:pt x="2259707" y="88773"/>
                      <a:pt x="2227132" y="96203"/>
                    </a:cubicBezTo>
                    <a:cubicBezTo>
                      <a:pt x="2232371" y="96298"/>
                      <a:pt x="2240372" y="95917"/>
                      <a:pt x="2245229" y="96869"/>
                    </a:cubicBezTo>
                    <a:cubicBezTo>
                      <a:pt x="2235704" y="94583"/>
                      <a:pt x="2261708" y="95345"/>
                      <a:pt x="2254278" y="94393"/>
                    </a:cubicBezTo>
                    <a:cubicBezTo>
                      <a:pt x="2395724" y="108776"/>
                      <a:pt x="2341527" y="36576"/>
                      <a:pt x="2418108" y="5810"/>
                    </a:cubicBezTo>
                    <a:cubicBezTo>
                      <a:pt x="2398772" y="4763"/>
                      <a:pt x="2335717" y="7239"/>
                      <a:pt x="2399058" y="2858"/>
                    </a:cubicBezTo>
                    <a:cubicBezTo>
                      <a:pt x="2343527" y="-572"/>
                      <a:pt x="2296283" y="1238"/>
                      <a:pt x="2241039" y="1905"/>
                    </a:cubicBezTo>
                    <a:lnTo>
                      <a:pt x="2243991" y="1048"/>
                    </a:lnTo>
                    <a:cubicBezTo>
                      <a:pt x="2234181" y="-381"/>
                      <a:pt x="2214845" y="1524"/>
                      <a:pt x="2197128" y="0"/>
                    </a:cubicBezTo>
                    <a:cubicBezTo>
                      <a:pt x="2115880" y="6096"/>
                      <a:pt x="1816128" y="3524"/>
                      <a:pt x="1710591" y="6287"/>
                    </a:cubicBezTo>
                    <a:lnTo>
                      <a:pt x="1713353" y="5906"/>
                    </a:lnTo>
                    <a:cubicBezTo>
                      <a:pt x="1577146" y="5429"/>
                      <a:pt x="1349308" y="11240"/>
                      <a:pt x="1210814" y="7715"/>
                    </a:cubicBezTo>
                    <a:cubicBezTo>
                      <a:pt x="1095848" y="23717"/>
                      <a:pt x="819051" y="5429"/>
                      <a:pt x="684463" y="13716"/>
                    </a:cubicBezTo>
                    <a:lnTo>
                      <a:pt x="687511" y="12859"/>
                    </a:lnTo>
                    <a:cubicBezTo>
                      <a:pt x="655316" y="14192"/>
                      <a:pt x="473008" y="10954"/>
                      <a:pt x="435670" y="12192"/>
                    </a:cubicBezTo>
                    <a:lnTo>
                      <a:pt x="440718" y="12668"/>
                    </a:lnTo>
                    <a:cubicBezTo>
                      <a:pt x="408047" y="14764"/>
                      <a:pt x="412524" y="11049"/>
                      <a:pt x="386807" y="9906"/>
                    </a:cubicBezTo>
                    <a:cubicBezTo>
                      <a:pt x="275174" y="28004"/>
                      <a:pt x="142395" y="18764"/>
                      <a:pt x="16856" y="12192"/>
                    </a:cubicBezTo>
                    <a:cubicBezTo>
                      <a:pt x="-6195" y="35528"/>
                      <a:pt x="-17434" y="114395"/>
                      <a:pt x="63528" y="102870"/>
                    </a:cubicBezTo>
                    <a:cubicBezTo>
                      <a:pt x="63528" y="102870"/>
                      <a:pt x="42668" y="102584"/>
                      <a:pt x="42668" y="102584"/>
                    </a:cubicBezTo>
                    <a:cubicBezTo>
                      <a:pt x="58004" y="103156"/>
                      <a:pt x="47336" y="104299"/>
                      <a:pt x="41430" y="105537"/>
                    </a:cubicBezTo>
                    <a:cubicBezTo>
                      <a:pt x="46764" y="105537"/>
                      <a:pt x="68386" y="107442"/>
                      <a:pt x="54575" y="105347"/>
                    </a:cubicBezTo>
                    <a:cubicBezTo>
                      <a:pt x="158588" y="108109"/>
                      <a:pt x="297462" y="110109"/>
                      <a:pt x="388140" y="112109"/>
                    </a:cubicBezTo>
                    <a:cubicBezTo>
                      <a:pt x="420525" y="113348"/>
                      <a:pt x="453577" y="106680"/>
                      <a:pt x="482152" y="113729"/>
                    </a:cubicBezTo>
                    <a:cubicBezTo>
                      <a:pt x="477580" y="111919"/>
                      <a:pt x="629885" y="111728"/>
                      <a:pt x="632266" y="1122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472127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9764E-4B3D-4B6A-A210-B50E4F60E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787068"/>
            <a:ext cx="10072922" cy="2313641"/>
          </a:xfrm>
        </p:spPr>
        <p:txBody>
          <a:bodyPr anchor="b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30AEC2-B6E6-4C09-A16F-5E2A1C9A0D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0352" y="3509963"/>
            <a:ext cx="10072922" cy="25796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A37CAB-B545-4E42-BB5A-F1DAA93350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677DE-DD04-48CC-9C18-7BE9FF2DEB6B}" type="datetime1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6D720B-7E58-43F4-9659-ADB2403A50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95F53F-2FA5-4B5C-A151-F07BBC002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aphic 78">
            <a:extLst>
              <a:ext uri="{FF2B5EF4-FFF2-40B4-BE49-F238E27FC236}">
                <a16:creationId xmlns:a16="http://schemas.microsoft.com/office/drawing/2014/main" id="{37B4CDD2-E09A-418A-9131-FBDEE440A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30225" y="3267690"/>
            <a:ext cx="972241" cy="45719"/>
            <a:chOff x="4886325" y="3371754"/>
            <a:chExt cx="2418492" cy="113728"/>
          </a:xfrm>
          <a:solidFill>
            <a:schemeClr val="accent1"/>
          </a:solidFill>
        </p:grpSpPr>
        <p:sp>
          <p:nvSpPr>
            <p:cNvPr id="8" name="Graphic 78">
              <a:extLst>
                <a:ext uri="{FF2B5EF4-FFF2-40B4-BE49-F238E27FC236}">
                  <a16:creationId xmlns:a16="http://schemas.microsoft.com/office/drawing/2014/main" id="{8852E5FB-B268-4CCA-8E55-803038F7A00D}"/>
                </a:ext>
              </a:extLst>
            </p:cNvPr>
            <p:cNvSpPr/>
            <p:nvPr/>
          </p:nvSpPr>
          <p:spPr>
            <a:xfrm>
              <a:off x="4886325" y="3428428"/>
              <a:ext cx="2418302" cy="9525"/>
            </a:xfrm>
            <a:custGeom>
              <a:avLst/>
              <a:gdLst>
                <a:gd name="connsiteX0" fmla="*/ 0 w 2418302"/>
                <a:gd name="connsiteY0" fmla="*/ 0 h 9525"/>
                <a:gd name="connsiteX1" fmla="*/ 2418302 w 24183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8302" h="9525">
                  <a:moveTo>
                    <a:pt x="0" y="0"/>
                  </a:moveTo>
                  <a:lnTo>
                    <a:pt x="2418302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" name="Graphic 78">
              <a:extLst>
                <a:ext uri="{FF2B5EF4-FFF2-40B4-BE49-F238E27FC236}">
                  <a16:creationId xmlns:a16="http://schemas.microsoft.com/office/drawing/2014/main" id="{A1C9CBB3-97C0-4A35-9088-C69233F5CEE7}"/>
                </a:ext>
              </a:extLst>
            </p:cNvPr>
            <p:cNvGrpSpPr/>
            <p:nvPr/>
          </p:nvGrpSpPr>
          <p:grpSpPr>
            <a:xfrm>
              <a:off x="4886709" y="3371754"/>
              <a:ext cx="2418108" cy="113728"/>
              <a:chOff x="4886709" y="3371754"/>
              <a:chExt cx="2418108" cy="113728"/>
            </a:xfrm>
            <a:grpFill/>
          </p:grpSpPr>
          <p:sp>
            <p:nvSpPr>
              <p:cNvPr id="10" name="Graphic 78">
                <a:extLst>
                  <a:ext uri="{FF2B5EF4-FFF2-40B4-BE49-F238E27FC236}">
                    <a16:creationId xmlns:a16="http://schemas.microsoft.com/office/drawing/2014/main" id="{31610871-AEE9-46EB-9D27-BA1D9D688124}"/>
                  </a:ext>
                </a:extLst>
              </p:cNvPr>
              <p:cNvSpPr/>
              <p:nvPr/>
            </p:nvSpPr>
            <p:spPr>
              <a:xfrm>
                <a:off x="4895088" y="3474384"/>
                <a:ext cx="32575" cy="2906"/>
              </a:xfrm>
              <a:custGeom>
                <a:avLst/>
                <a:gdLst>
                  <a:gd name="connsiteX0" fmla="*/ 0 w 32575"/>
                  <a:gd name="connsiteY0" fmla="*/ 49 h 2906"/>
                  <a:gd name="connsiteX1" fmla="*/ 32576 w 32575"/>
                  <a:gd name="connsiteY1" fmla="*/ 2907 h 2906"/>
                  <a:gd name="connsiteX2" fmla="*/ 0 w 32575"/>
                  <a:gd name="connsiteY2" fmla="*/ 49 h 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575" h="2906">
                    <a:moveTo>
                      <a:pt x="0" y="49"/>
                    </a:moveTo>
                    <a:cubicBezTo>
                      <a:pt x="7430" y="2335"/>
                      <a:pt x="20384" y="2526"/>
                      <a:pt x="32576" y="2907"/>
                    </a:cubicBezTo>
                    <a:cubicBezTo>
                      <a:pt x="23146" y="716"/>
                      <a:pt x="13240" y="-236"/>
                      <a:pt x="0" y="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Graphic 78">
                <a:extLst>
                  <a:ext uri="{FF2B5EF4-FFF2-40B4-BE49-F238E27FC236}">
                    <a16:creationId xmlns:a16="http://schemas.microsoft.com/office/drawing/2014/main" id="{27478059-2A11-484D-A2D7-199F74778E50}"/>
                  </a:ext>
                </a:extLst>
              </p:cNvPr>
              <p:cNvSpPr/>
              <p:nvPr/>
            </p:nvSpPr>
            <p:spPr>
              <a:xfrm>
                <a:off x="4927758" y="3477344"/>
                <a:ext cx="380" cy="42"/>
              </a:xfrm>
              <a:custGeom>
                <a:avLst/>
                <a:gdLst>
                  <a:gd name="connsiteX0" fmla="*/ 190 w 380"/>
                  <a:gd name="connsiteY0" fmla="*/ 42 h 42"/>
                  <a:gd name="connsiteX1" fmla="*/ 381 w 380"/>
                  <a:gd name="connsiteY1" fmla="*/ 42 h 42"/>
                  <a:gd name="connsiteX2" fmla="*/ 0 w 380"/>
                  <a:gd name="connsiteY2" fmla="*/ 42 h 42"/>
                  <a:gd name="connsiteX3" fmla="*/ 190 w 380"/>
                  <a:gd name="connsiteY3" fmla="*/ 42 h 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" h="42">
                    <a:moveTo>
                      <a:pt x="190" y="42"/>
                    </a:moveTo>
                    <a:cubicBezTo>
                      <a:pt x="190" y="42"/>
                      <a:pt x="286" y="42"/>
                      <a:pt x="381" y="42"/>
                    </a:cubicBezTo>
                    <a:cubicBezTo>
                      <a:pt x="190" y="42"/>
                      <a:pt x="95" y="42"/>
                      <a:pt x="0" y="42"/>
                    </a:cubicBezTo>
                    <a:cubicBezTo>
                      <a:pt x="0" y="-53"/>
                      <a:pt x="95" y="42"/>
                      <a:pt x="190" y="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Graphic 78">
                <a:extLst>
                  <a:ext uri="{FF2B5EF4-FFF2-40B4-BE49-F238E27FC236}">
                    <a16:creationId xmlns:a16="http://schemas.microsoft.com/office/drawing/2014/main" id="{30EC0886-DDB9-47F1-9414-C121C1D3F954}"/>
                  </a:ext>
                </a:extLst>
              </p:cNvPr>
              <p:cNvSpPr/>
              <p:nvPr/>
            </p:nvSpPr>
            <p:spPr>
              <a:xfrm>
                <a:off x="7285577" y="3374517"/>
                <a:ext cx="10001" cy="190"/>
              </a:xfrm>
              <a:custGeom>
                <a:avLst/>
                <a:gdLst>
                  <a:gd name="connsiteX0" fmla="*/ 10001 w 10001"/>
                  <a:gd name="connsiteY0" fmla="*/ 0 h 190"/>
                  <a:gd name="connsiteX1" fmla="*/ 0 w 10001"/>
                  <a:gd name="connsiteY1" fmla="*/ 191 h 190"/>
                  <a:gd name="connsiteX2" fmla="*/ 10001 w 10001"/>
                  <a:gd name="connsiteY2" fmla="*/ 0 h 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1" h="190">
                    <a:moveTo>
                      <a:pt x="10001" y="0"/>
                    </a:moveTo>
                    <a:cubicBezTo>
                      <a:pt x="6953" y="0"/>
                      <a:pt x="3524" y="95"/>
                      <a:pt x="0" y="191"/>
                    </a:cubicBezTo>
                    <a:cubicBezTo>
                      <a:pt x="3334" y="191"/>
                      <a:pt x="6763" y="191"/>
                      <a:pt x="10001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Graphic 78">
                <a:extLst>
                  <a:ext uri="{FF2B5EF4-FFF2-40B4-BE49-F238E27FC236}">
                    <a16:creationId xmlns:a16="http://schemas.microsoft.com/office/drawing/2014/main" id="{66A10427-DF20-4284-B215-EABA4D366E20}"/>
                  </a:ext>
                </a:extLst>
              </p:cNvPr>
              <p:cNvSpPr/>
              <p:nvPr/>
            </p:nvSpPr>
            <p:spPr>
              <a:xfrm>
                <a:off x="4886709" y="3371754"/>
                <a:ext cx="2418108" cy="113728"/>
              </a:xfrm>
              <a:custGeom>
                <a:avLst/>
                <a:gdLst>
                  <a:gd name="connsiteX0" fmla="*/ 632266 w 2418108"/>
                  <a:gd name="connsiteY0" fmla="*/ 112205 h 113728"/>
                  <a:gd name="connsiteX1" fmla="*/ 723039 w 2418108"/>
                  <a:gd name="connsiteY1" fmla="*/ 109538 h 113728"/>
                  <a:gd name="connsiteX2" fmla="*/ 735136 w 2418108"/>
                  <a:gd name="connsiteY2" fmla="*/ 111823 h 113728"/>
                  <a:gd name="connsiteX3" fmla="*/ 752471 w 2418108"/>
                  <a:gd name="connsiteY3" fmla="*/ 108680 h 113728"/>
                  <a:gd name="connsiteX4" fmla="*/ 772569 w 2418108"/>
                  <a:gd name="connsiteY4" fmla="*/ 110585 h 113728"/>
                  <a:gd name="connsiteX5" fmla="*/ 1112993 w 2418108"/>
                  <a:gd name="connsiteY5" fmla="*/ 112967 h 113728"/>
                  <a:gd name="connsiteX6" fmla="*/ 1083465 w 2418108"/>
                  <a:gd name="connsiteY6" fmla="*/ 108776 h 113728"/>
                  <a:gd name="connsiteX7" fmla="*/ 1296825 w 2418108"/>
                  <a:gd name="connsiteY7" fmla="*/ 108966 h 113728"/>
                  <a:gd name="connsiteX8" fmla="*/ 1346736 w 2418108"/>
                  <a:gd name="connsiteY8" fmla="*/ 103632 h 113728"/>
                  <a:gd name="connsiteX9" fmla="*/ 1360643 w 2418108"/>
                  <a:gd name="connsiteY9" fmla="*/ 107633 h 113728"/>
                  <a:gd name="connsiteX10" fmla="*/ 1381788 w 2418108"/>
                  <a:gd name="connsiteY10" fmla="*/ 107442 h 113728"/>
                  <a:gd name="connsiteX11" fmla="*/ 1371692 w 2418108"/>
                  <a:gd name="connsiteY11" fmla="*/ 106490 h 113728"/>
                  <a:gd name="connsiteX12" fmla="*/ 1430080 w 2418108"/>
                  <a:gd name="connsiteY12" fmla="*/ 105537 h 113728"/>
                  <a:gd name="connsiteX13" fmla="*/ 1420269 w 2418108"/>
                  <a:gd name="connsiteY13" fmla="*/ 104108 h 113728"/>
                  <a:gd name="connsiteX14" fmla="*/ 1455702 w 2418108"/>
                  <a:gd name="connsiteY14" fmla="*/ 107061 h 113728"/>
                  <a:gd name="connsiteX15" fmla="*/ 1439414 w 2418108"/>
                  <a:gd name="connsiteY15" fmla="*/ 108109 h 113728"/>
                  <a:gd name="connsiteX16" fmla="*/ 1503613 w 2418108"/>
                  <a:gd name="connsiteY16" fmla="*/ 105918 h 113728"/>
                  <a:gd name="connsiteX17" fmla="*/ 1495802 w 2418108"/>
                  <a:gd name="connsiteY17" fmla="*/ 105823 h 113728"/>
                  <a:gd name="connsiteX18" fmla="*/ 1695923 w 2418108"/>
                  <a:gd name="connsiteY18" fmla="*/ 95155 h 113728"/>
                  <a:gd name="connsiteX19" fmla="*/ 1684016 w 2418108"/>
                  <a:gd name="connsiteY19" fmla="*/ 92488 h 113728"/>
                  <a:gd name="connsiteX20" fmla="*/ 1706210 w 2418108"/>
                  <a:gd name="connsiteY20" fmla="*/ 90202 h 113728"/>
                  <a:gd name="connsiteX21" fmla="*/ 1693351 w 2418108"/>
                  <a:gd name="connsiteY21" fmla="*/ 98108 h 113728"/>
                  <a:gd name="connsiteX22" fmla="*/ 2058539 w 2418108"/>
                  <a:gd name="connsiteY22" fmla="*/ 102203 h 113728"/>
                  <a:gd name="connsiteX23" fmla="*/ 2064540 w 2418108"/>
                  <a:gd name="connsiteY23" fmla="*/ 95060 h 113728"/>
                  <a:gd name="connsiteX24" fmla="*/ 2227132 w 2418108"/>
                  <a:gd name="connsiteY24" fmla="*/ 96203 h 113728"/>
                  <a:gd name="connsiteX25" fmla="*/ 2245229 w 2418108"/>
                  <a:gd name="connsiteY25" fmla="*/ 96869 h 113728"/>
                  <a:gd name="connsiteX26" fmla="*/ 2254278 w 2418108"/>
                  <a:gd name="connsiteY26" fmla="*/ 94393 h 113728"/>
                  <a:gd name="connsiteX27" fmla="*/ 2418108 w 2418108"/>
                  <a:gd name="connsiteY27" fmla="*/ 5810 h 113728"/>
                  <a:gd name="connsiteX28" fmla="*/ 2399058 w 2418108"/>
                  <a:gd name="connsiteY28" fmla="*/ 2858 h 113728"/>
                  <a:gd name="connsiteX29" fmla="*/ 2241039 w 2418108"/>
                  <a:gd name="connsiteY29" fmla="*/ 1905 h 113728"/>
                  <a:gd name="connsiteX30" fmla="*/ 2243991 w 2418108"/>
                  <a:gd name="connsiteY30" fmla="*/ 1048 h 113728"/>
                  <a:gd name="connsiteX31" fmla="*/ 2197128 w 2418108"/>
                  <a:gd name="connsiteY31" fmla="*/ 0 h 113728"/>
                  <a:gd name="connsiteX32" fmla="*/ 1710591 w 2418108"/>
                  <a:gd name="connsiteY32" fmla="*/ 6287 h 113728"/>
                  <a:gd name="connsiteX33" fmla="*/ 1713353 w 2418108"/>
                  <a:gd name="connsiteY33" fmla="*/ 5906 h 113728"/>
                  <a:gd name="connsiteX34" fmla="*/ 1210814 w 2418108"/>
                  <a:gd name="connsiteY34" fmla="*/ 7715 h 113728"/>
                  <a:gd name="connsiteX35" fmla="*/ 684463 w 2418108"/>
                  <a:gd name="connsiteY35" fmla="*/ 13716 h 113728"/>
                  <a:gd name="connsiteX36" fmla="*/ 687511 w 2418108"/>
                  <a:gd name="connsiteY36" fmla="*/ 12859 h 113728"/>
                  <a:gd name="connsiteX37" fmla="*/ 435670 w 2418108"/>
                  <a:gd name="connsiteY37" fmla="*/ 12192 h 113728"/>
                  <a:gd name="connsiteX38" fmla="*/ 440718 w 2418108"/>
                  <a:gd name="connsiteY38" fmla="*/ 12668 h 113728"/>
                  <a:gd name="connsiteX39" fmla="*/ 386807 w 2418108"/>
                  <a:gd name="connsiteY39" fmla="*/ 9906 h 113728"/>
                  <a:gd name="connsiteX40" fmla="*/ 16856 w 2418108"/>
                  <a:gd name="connsiteY40" fmla="*/ 12192 h 113728"/>
                  <a:gd name="connsiteX41" fmla="*/ 63528 w 2418108"/>
                  <a:gd name="connsiteY41" fmla="*/ 102870 h 113728"/>
                  <a:gd name="connsiteX42" fmla="*/ 42668 w 2418108"/>
                  <a:gd name="connsiteY42" fmla="*/ 102584 h 113728"/>
                  <a:gd name="connsiteX43" fmla="*/ 41430 w 2418108"/>
                  <a:gd name="connsiteY43" fmla="*/ 105537 h 113728"/>
                  <a:gd name="connsiteX44" fmla="*/ 54575 w 2418108"/>
                  <a:gd name="connsiteY44" fmla="*/ 105347 h 113728"/>
                  <a:gd name="connsiteX45" fmla="*/ 388140 w 2418108"/>
                  <a:gd name="connsiteY45" fmla="*/ 112109 h 113728"/>
                  <a:gd name="connsiteX46" fmla="*/ 482152 w 2418108"/>
                  <a:gd name="connsiteY46" fmla="*/ 113729 h 113728"/>
                  <a:gd name="connsiteX47" fmla="*/ 632266 w 2418108"/>
                  <a:gd name="connsiteY47" fmla="*/ 112205 h 11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418108" h="113728">
                    <a:moveTo>
                      <a:pt x="632266" y="112205"/>
                    </a:moveTo>
                    <a:cubicBezTo>
                      <a:pt x="656364" y="104680"/>
                      <a:pt x="694940" y="114110"/>
                      <a:pt x="723039" y="109538"/>
                    </a:cubicBezTo>
                    <a:cubicBezTo>
                      <a:pt x="722849" y="109919"/>
                      <a:pt x="735898" y="110109"/>
                      <a:pt x="735136" y="111823"/>
                    </a:cubicBezTo>
                    <a:cubicBezTo>
                      <a:pt x="735041" y="108776"/>
                      <a:pt x="767616" y="112300"/>
                      <a:pt x="752471" y="108680"/>
                    </a:cubicBezTo>
                    <a:cubicBezTo>
                      <a:pt x="754757" y="107633"/>
                      <a:pt x="790571" y="107633"/>
                      <a:pt x="772569" y="110585"/>
                    </a:cubicBezTo>
                    <a:cubicBezTo>
                      <a:pt x="822099" y="111633"/>
                      <a:pt x="1059653" y="114395"/>
                      <a:pt x="1112993" y="112967"/>
                    </a:cubicBezTo>
                    <a:cubicBezTo>
                      <a:pt x="1106135" y="110776"/>
                      <a:pt x="1089656" y="112205"/>
                      <a:pt x="1083465" y="108776"/>
                    </a:cubicBezTo>
                    <a:cubicBezTo>
                      <a:pt x="1153950" y="111728"/>
                      <a:pt x="1230626" y="113157"/>
                      <a:pt x="1296825" y="108966"/>
                    </a:cubicBezTo>
                    <a:cubicBezTo>
                      <a:pt x="1277680" y="103251"/>
                      <a:pt x="1356071" y="110966"/>
                      <a:pt x="1346736" y="103632"/>
                    </a:cubicBezTo>
                    <a:cubicBezTo>
                      <a:pt x="1351213" y="105347"/>
                      <a:pt x="1374454" y="106109"/>
                      <a:pt x="1360643" y="107633"/>
                    </a:cubicBezTo>
                    <a:cubicBezTo>
                      <a:pt x="1368548" y="107728"/>
                      <a:pt x="1376168" y="108299"/>
                      <a:pt x="1381788" y="107442"/>
                    </a:cubicBezTo>
                    <a:lnTo>
                      <a:pt x="1371692" y="106490"/>
                    </a:lnTo>
                    <a:cubicBezTo>
                      <a:pt x="1398266" y="106013"/>
                      <a:pt x="1412744" y="108680"/>
                      <a:pt x="1430080" y="105537"/>
                    </a:cubicBezTo>
                    <a:lnTo>
                      <a:pt x="1420269" y="104108"/>
                    </a:lnTo>
                    <a:cubicBezTo>
                      <a:pt x="1436176" y="103918"/>
                      <a:pt x="1449416" y="103632"/>
                      <a:pt x="1455702" y="107061"/>
                    </a:cubicBezTo>
                    <a:lnTo>
                      <a:pt x="1439414" y="108109"/>
                    </a:lnTo>
                    <a:cubicBezTo>
                      <a:pt x="1465799" y="108014"/>
                      <a:pt x="1481610" y="107823"/>
                      <a:pt x="1503613" y="105918"/>
                    </a:cubicBezTo>
                    <a:lnTo>
                      <a:pt x="1495802" y="105823"/>
                    </a:lnTo>
                    <a:cubicBezTo>
                      <a:pt x="1523806" y="102394"/>
                      <a:pt x="1670110" y="99441"/>
                      <a:pt x="1695923" y="95155"/>
                    </a:cubicBezTo>
                    <a:lnTo>
                      <a:pt x="1684016" y="92488"/>
                    </a:lnTo>
                    <a:lnTo>
                      <a:pt x="1706210" y="90202"/>
                    </a:lnTo>
                    <a:cubicBezTo>
                      <a:pt x="1703543" y="90202"/>
                      <a:pt x="1695542" y="98965"/>
                      <a:pt x="1693351" y="98108"/>
                    </a:cubicBezTo>
                    <a:cubicBezTo>
                      <a:pt x="1757549" y="99441"/>
                      <a:pt x="2045109" y="91345"/>
                      <a:pt x="2058539" y="102203"/>
                    </a:cubicBezTo>
                    <a:cubicBezTo>
                      <a:pt x="2079780" y="101917"/>
                      <a:pt x="2071303" y="103918"/>
                      <a:pt x="2064540" y="95060"/>
                    </a:cubicBezTo>
                    <a:cubicBezTo>
                      <a:pt x="2086638" y="95441"/>
                      <a:pt x="2259707" y="88773"/>
                      <a:pt x="2227132" y="96203"/>
                    </a:cubicBezTo>
                    <a:cubicBezTo>
                      <a:pt x="2232371" y="96298"/>
                      <a:pt x="2240372" y="95917"/>
                      <a:pt x="2245229" y="96869"/>
                    </a:cubicBezTo>
                    <a:cubicBezTo>
                      <a:pt x="2235704" y="94583"/>
                      <a:pt x="2261708" y="95345"/>
                      <a:pt x="2254278" y="94393"/>
                    </a:cubicBezTo>
                    <a:cubicBezTo>
                      <a:pt x="2395724" y="108776"/>
                      <a:pt x="2341527" y="36576"/>
                      <a:pt x="2418108" y="5810"/>
                    </a:cubicBezTo>
                    <a:cubicBezTo>
                      <a:pt x="2398772" y="4763"/>
                      <a:pt x="2335717" y="7239"/>
                      <a:pt x="2399058" y="2858"/>
                    </a:cubicBezTo>
                    <a:cubicBezTo>
                      <a:pt x="2343527" y="-572"/>
                      <a:pt x="2296283" y="1238"/>
                      <a:pt x="2241039" y="1905"/>
                    </a:cubicBezTo>
                    <a:lnTo>
                      <a:pt x="2243991" y="1048"/>
                    </a:lnTo>
                    <a:cubicBezTo>
                      <a:pt x="2234181" y="-381"/>
                      <a:pt x="2214845" y="1524"/>
                      <a:pt x="2197128" y="0"/>
                    </a:cubicBezTo>
                    <a:cubicBezTo>
                      <a:pt x="2115880" y="6096"/>
                      <a:pt x="1816128" y="3524"/>
                      <a:pt x="1710591" y="6287"/>
                    </a:cubicBezTo>
                    <a:lnTo>
                      <a:pt x="1713353" y="5906"/>
                    </a:lnTo>
                    <a:cubicBezTo>
                      <a:pt x="1577146" y="5429"/>
                      <a:pt x="1349308" y="11240"/>
                      <a:pt x="1210814" y="7715"/>
                    </a:cubicBezTo>
                    <a:cubicBezTo>
                      <a:pt x="1095848" y="23717"/>
                      <a:pt x="819051" y="5429"/>
                      <a:pt x="684463" y="13716"/>
                    </a:cubicBezTo>
                    <a:lnTo>
                      <a:pt x="687511" y="12859"/>
                    </a:lnTo>
                    <a:cubicBezTo>
                      <a:pt x="655316" y="14192"/>
                      <a:pt x="473008" y="10954"/>
                      <a:pt x="435670" y="12192"/>
                    </a:cubicBezTo>
                    <a:lnTo>
                      <a:pt x="440718" y="12668"/>
                    </a:lnTo>
                    <a:cubicBezTo>
                      <a:pt x="408047" y="14764"/>
                      <a:pt x="412524" y="11049"/>
                      <a:pt x="386807" y="9906"/>
                    </a:cubicBezTo>
                    <a:cubicBezTo>
                      <a:pt x="275174" y="28004"/>
                      <a:pt x="142395" y="18764"/>
                      <a:pt x="16856" y="12192"/>
                    </a:cubicBezTo>
                    <a:cubicBezTo>
                      <a:pt x="-6195" y="35528"/>
                      <a:pt x="-17434" y="114395"/>
                      <a:pt x="63528" y="102870"/>
                    </a:cubicBezTo>
                    <a:cubicBezTo>
                      <a:pt x="63528" y="102870"/>
                      <a:pt x="42668" y="102584"/>
                      <a:pt x="42668" y="102584"/>
                    </a:cubicBezTo>
                    <a:cubicBezTo>
                      <a:pt x="58004" y="103156"/>
                      <a:pt x="47336" y="104299"/>
                      <a:pt x="41430" y="105537"/>
                    </a:cubicBezTo>
                    <a:cubicBezTo>
                      <a:pt x="46764" y="105537"/>
                      <a:pt x="68386" y="107442"/>
                      <a:pt x="54575" y="105347"/>
                    </a:cubicBezTo>
                    <a:cubicBezTo>
                      <a:pt x="158588" y="108109"/>
                      <a:pt x="297462" y="110109"/>
                      <a:pt x="388140" y="112109"/>
                    </a:cubicBezTo>
                    <a:cubicBezTo>
                      <a:pt x="420525" y="113348"/>
                      <a:pt x="453577" y="106680"/>
                      <a:pt x="482152" y="113729"/>
                    </a:cubicBezTo>
                    <a:cubicBezTo>
                      <a:pt x="477580" y="111919"/>
                      <a:pt x="629885" y="111728"/>
                      <a:pt x="632266" y="1122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6733938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473D3-0F03-4BF4-831F-34E80BAC55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C09409-59F2-486F-A6D0-FAEE8FFF25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25717" y="2521885"/>
            <a:ext cx="4645152" cy="36550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3087241-B390-47A6-8070-C3D4652F88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92136" y="2521885"/>
            <a:ext cx="4611138" cy="36550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80B360-2ACA-4B93-9439-591B6D3FB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255ED-7101-4D18-A8AE-3B5E4CB87EA5}" type="datetime1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4A73E2-CF78-404C-A86F-E70A284AE9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A8F42A-11E1-42A0-8ECF-A5BBA3B8C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aphic 78">
            <a:extLst>
              <a:ext uri="{FF2B5EF4-FFF2-40B4-BE49-F238E27FC236}">
                <a16:creationId xmlns:a16="http://schemas.microsoft.com/office/drawing/2014/main" id="{0CB61A83-9419-49FC-8074-2AB3D34FA8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30225" y="2319637"/>
            <a:ext cx="972241" cy="45719"/>
            <a:chOff x="4886325" y="3371754"/>
            <a:chExt cx="2418492" cy="113728"/>
          </a:xfrm>
          <a:solidFill>
            <a:schemeClr val="accent1"/>
          </a:solidFill>
        </p:grpSpPr>
        <p:sp>
          <p:nvSpPr>
            <p:cNvPr id="9" name="Graphic 78">
              <a:extLst>
                <a:ext uri="{FF2B5EF4-FFF2-40B4-BE49-F238E27FC236}">
                  <a16:creationId xmlns:a16="http://schemas.microsoft.com/office/drawing/2014/main" id="{BCD12E57-97FB-48D8-81CC-7C37E8947CB4}"/>
                </a:ext>
              </a:extLst>
            </p:cNvPr>
            <p:cNvSpPr/>
            <p:nvPr/>
          </p:nvSpPr>
          <p:spPr>
            <a:xfrm>
              <a:off x="4886325" y="3428428"/>
              <a:ext cx="2418302" cy="9525"/>
            </a:xfrm>
            <a:custGeom>
              <a:avLst/>
              <a:gdLst>
                <a:gd name="connsiteX0" fmla="*/ 0 w 2418302"/>
                <a:gd name="connsiteY0" fmla="*/ 0 h 9525"/>
                <a:gd name="connsiteX1" fmla="*/ 2418302 w 24183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8302" h="9525">
                  <a:moveTo>
                    <a:pt x="0" y="0"/>
                  </a:moveTo>
                  <a:lnTo>
                    <a:pt x="2418302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" name="Graphic 78">
              <a:extLst>
                <a:ext uri="{FF2B5EF4-FFF2-40B4-BE49-F238E27FC236}">
                  <a16:creationId xmlns:a16="http://schemas.microsoft.com/office/drawing/2014/main" id="{E487641C-E83B-4134-88C9-1D23D5FA1836}"/>
                </a:ext>
              </a:extLst>
            </p:cNvPr>
            <p:cNvGrpSpPr/>
            <p:nvPr/>
          </p:nvGrpSpPr>
          <p:grpSpPr>
            <a:xfrm>
              <a:off x="4886709" y="3371754"/>
              <a:ext cx="2418108" cy="113728"/>
              <a:chOff x="4886709" y="3371754"/>
              <a:chExt cx="2418108" cy="113728"/>
            </a:xfrm>
            <a:grpFill/>
          </p:grpSpPr>
          <p:sp>
            <p:nvSpPr>
              <p:cNvPr id="11" name="Graphic 78">
                <a:extLst>
                  <a:ext uri="{FF2B5EF4-FFF2-40B4-BE49-F238E27FC236}">
                    <a16:creationId xmlns:a16="http://schemas.microsoft.com/office/drawing/2014/main" id="{B99AB7A6-A88C-44E1-A9DE-4126B957F88A}"/>
                  </a:ext>
                </a:extLst>
              </p:cNvPr>
              <p:cNvSpPr/>
              <p:nvPr/>
            </p:nvSpPr>
            <p:spPr>
              <a:xfrm>
                <a:off x="4895088" y="3474384"/>
                <a:ext cx="32575" cy="2906"/>
              </a:xfrm>
              <a:custGeom>
                <a:avLst/>
                <a:gdLst>
                  <a:gd name="connsiteX0" fmla="*/ 0 w 32575"/>
                  <a:gd name="connsiteY0" fmla="*/ 49 h 2906"/>
                  <a:gd name="connsiteX1" fmla="*/ 32576 w 32575"/>
                  <a:gd name="connsiteY1" fmla="*/ 2907 h 2906"/>
                  <a:gd name="connsiteX2" fmla="*/ 0 w 32575"/>
                  <a:gd name="connsiteY2" fmla="*/ 49 h 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575" h="2906">
                    <a:moveTo>
                      <a:pt x="0" y="49"/>
                    </a:moveTo>
                    <a:cubicBezTo>
                      <a:pt x="7430" y="2335"/>
                      <a:pt x="20384" y="2526"/>
                      <a:pt x="32576" y="2907"/>
                    </a:cubicBezTo>
                    <a:cubicBezTo>
                      <a:pt x="23146" y="716"/>
                      <a:pt x="13240" y="-236"/>
                      <a:pt x="0" y="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Graphic 78">
                <a:extLst>
                  <a:ext uri="{FF2B5EF4-FFF2-40B4-BE49-F238E27FC236}">
                    <a16:creationId xmlns:a16="http://schemas.microsoft.com/office/drawing/2014/main" id="{9FF0D518-1D17-44C7-BF73-7C980481DB5B}"/>
                  </a:ext>
                </a:extLst>
              </p:cNvPr>
              <p:cNvSpPr/>
              <p:nvPr/>
            </p:nvSpPr>
            <p:spPr>
              <a:xfrm>
                <a:off x="4927758" y="3477344"/>
                <a:ext cx="380" cy="42"/>
              </a:xfrm>
              <a:custGeom>
                <a:avLst/>
                <a:gdLst>
                  <a:gd name="connsiteX0" fmla="*/ 190 w 380"/>
                  <a:gd name="connsiteY0" fmla="*/ 42 h 42"/>
                  <a:gd name="connsiteX1" fmla="*/ 381 w 380"/>
                  <a:gd name="connsiteY1" fmla="*/ 42 h 42"/>
                  <a:gd name="connsiteX2" fmla="*/ 0 w 380"/>
                  <a:gd name="connsiteY2" fmla="*/ 42 h 42"/>
                  <a:gd name="connsiteX3" fmla="*/ 190 w 380"/>
                  <a:gd name="connsiteY3" fmla="*/ 42 h 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" h="42">
                    <a:moveTo>
                      <a:pt x="190" y="42"/>
                    </a:moveTo>
                    <a:cubicBezTo>
                      <a:pt x="190" y="42"/>
                      <a:pt x="286" y="42"/>
                      <a:pt x="381" y="42"/>
                    </a:cubicBezTo>
                    <a:cubicBezTo>
                      <a:pt x="190" y="42"/>
                      <a:pt x="95" y="42"/>
                      <a:pt x="0" y="42"/>
                    </a:cubicBezTo>
                    <a:cubicBezTo>
                      <a:pt x="0" y="-53"/>
                      <a:pt x="95" y="42"/>
                      <a:pt x="190" y="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Graphic 78">
                <a:extLst>
                  <a:ext uri="{FF2B5EF4-FFF2-40B4-BE49-F238E27FC236}">
                    <a16:creationId xmlns:a16="http://schemas.microsoft.com/office/drawing/2014/main" id="{9A7A3E12-61E8-41A0-A459-15BF375FA945}"/>
                  </a:ext>
                </a:extLst>
              </p:cNvPr>
              <p:cNvSpPr/>
              <p:nvPr/>
            </p:nvSpPr>
            <p:spPr>
              <a:xfrm>
                <a:off x="7285577" y="3374517"/>
                <a:ext cx="10001" cy="190"/>
              </a:xfrm>
              <a:custGeom>
                <a:avLst/>
                <a:gdLst>
                  <a:gd name="connsiteX0" fmla="*/ 10001 w 10001"/>
                  <a:gd name="connsiteY0" fmla="*/ 0 h 190"/>
                  <a:gd name="connsiteX1" fmla="*/ 0 w 10001"/>
                  <a:gd name="connsiteY1" fmla="*/ 191 h 190"/>
                  <a:gd name="connsiteX2" fmla="*/ 10001 w 10001"/>
                  <a:gd name="connsiteY2" fmla="*/ 0 h 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1" h="190">
                    <a:moveTo>
                      <a:pt x="10001" y="0"/>
                    </a:moveTo>
                    <a:cubicBezTo>
                      <a:pt x="6953" y="0"/>
                      <a:pt x="3524" y="95"/>
                      <a:pt x="0" y="191"/>
                    </a:cubicBezTo>
                    <a:cubicBezTo>
                      <a:pt x="3334" y="191"/>
                      <a:pt x="6763" y="191"/>
                      <a:pt x="10001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Graphic 78">
                <a:extLst>
                  <a:ext uri="{FF2B5EF4-FFF2-40B4-BE49-F238E27FC236}">
                    <a16:creationId xmlns:a16="http://schemas.microsoft.com/office/drawing/2014/main" id="{9E5E4A56-9100-4D60-8A34-0FE116F41FF1}"/>
                  </a:ext>
                </a:extLst>
              </p:cNvPr>
              <p:cNvSpPr/>
              <p:nvPr/>
            </p:nvSpPr>
            <p:spPr>
              <a:xfrm>
                <a:off x="4886709" y="3371754"/>
                <a:ext cx="2418108" cy="113728"/>
              </a:xfrm>
              <a:custGeom>
                <a:avLst/>
                <a:gdLst>
                  <a:gd name="connsiteX0" fmla="*/ 632266 w 2418108"/>
                  <a:gd name="connsiteY0" fmla="*/ 112205 h 113728"/>
                  <a:gd name="connsiteX1" fmla="*/ 723039 w 2418108"/>
                  <a:gd name="connsiteY1" fmla="*/ 109538 h 113728"/>
                  <a:gd name="connsiteX2" fmla="*/ 735136 w 2418108"/>
                  <a:gd name="connsiteY2" fmla="*/ 111823 h 113728"/>
                  <a:gd name="connsiteX3" fmla="*/ 752471 w 2418108"/>
                  <a:gd name="connsiteY3" fmla="*/ 108680 h 113728"/>
                  <a:gd name="connsiteX4" fmla="*/ 772569 w 2418108"/>
                  <a:gd name="connsiteY4" fmla="*/ 110585 h 113728"/>
                  <a:gd name="connsiteX5" fmla="*/ 1112993 w 2418108"/>
                  <a:gd name="connsiteY5" fmla="*/ 112967 h 113728"/>
                  <a:gd name="connsiteX6" fmla="*/ 1083465 w 2418108"/>
                  <a:gd name="connsiteY6" fmla="*/ 108776 h 113728"/>
                  <a:gd name="connsiteX7" fmla="*/ 1296825 w 2418108"/>
                  <a:gd name="connsiteY7" fmla="*/ 108966 h 113728"/>
                  <a:gd name="connsiteX8" fmla="*/ 1346736 w 2418108"/>
                  <a:gd name="connsiteY8" fmla="*/ 103632 h 113728"/>
                  <a:gd name="connsiteX9" fmla="*/ 1360643 w 2418108"/>
                  <a:gd name="connsiteY9" fmla="*/ 107633 h 113728"/>
                  <a:gd name="connsiteX10" fmla="*/ 1381788 w 2418108"/>
                  <a:gd name="connsiteY10" fmla="*/ 107442 h 113728"/>
                  <a:gd name="connsiteX11" fmla="*/ 1371692 w 2418108"/>
                  <a:gd name="connsiteY11" fmla="*/ 106490 h 113728"/>
                  <a:gd name="connsiteX12" fmla="*/ 1430080 w 2418108"/>
                  <a:gd name="connsiteY12" fmla="*/ 105537 h 113728"/>
                  <a:gd name="connsiteX13" fmla="*/ 1420269 w 2418108"/>
                  <a:gd name="connsiteY13" fmla="*/ 104108 h 113728"/>
                  <a:gd name="connsiteX14" fmla="*/ 1455702 w 2418108"/>
                  <a:gd name="connsiteY14" fmla="*/ 107061 h 113728"/>
                  <a:gd name="connsiteX15" fmla="*/ 1439414 w 2418108"/>
                  <a:gd name="connsiteY15" fmla="*/ 108109 h 113728"/>
                  <a:gd name="connsiteX16" fmla="*/ 1503613 w 2418108"/>
                  <a:gd name="connsiteY16" fmla="*/ 105918 h 113728"/>
                  <a:gd name="connsiteX17" fmla="*/ 1495802 w 2418108"/>
                  <a:gd name="connsiteY17" fmla="*/ 105823 h 113728"/>
                  <a:gd name="connsiteX18" fmla="*/ 1695923 w 2418108"/>
                  <a:gd name="connsiteY18" fmla="*/ 95155 h 113728"/>
                  <a:gd name="connsiteX19" fmla="*/ 1684016 w 2418108"/>
                  <a:gd name="connsiteY19" fmla="*/ 92488 h 113728"/>
                  <a:gd name="connsiteX20" fmla="*/ 1706210 w 2418108"/>
                  <a:gd name="connsiteY20" fmla="*/ 90202 h 113728"/>
                  <a:gd name="connsiteX21" fmla="*/ 1693351 w 2418108"/>
                  <a:gd name="connsiteY21" fmla="*/ 98108 h 113728"/>
                  <a:gd name="connsiteX22" fmla="*/ 2058539 w 2418108"/>
                  <a:gd name="connsiteY22" fmla="*/ 102203 h 113728"/>
                  <a:gd name="connsiteX23" fmla="*/ 2064540 w 2418108"/>
                  <a:gd name="connsiteY23" fmla="*/ 95060 h 113728"/>
                  <a:gd name="connsiteX24" fmla="*/ 2227132 w 2418108"/>
                  <a:gd name="connsiteY24" fmla="*/ 96203 h 113728"/>
                  <a:gd name="connsiteX25" fmla="*/ 2245229 w 2418108"/>
                  <a:gd name="connsiteY25" fmla="*/ 96869 h 113728"/>
                  <a:gd name="connsiteX26" fmla="*/ 2254278 w 2418108"/>
                  <a:gd name="connsiteY26" fmla="*/ 94393 h 113728"/>
                  <a:gd name="connsiteX27" fmla="*/ 2418108 w 2418108"/>
                  <a:gd name="connsiteY27" fmla="*/ 5810 h 113728"/>
                  <a:gd name="connsiteX28" fmla="*/ 2399058 w 2418108"/>
                  <a:gd name="connsiteY28" fmla="*/ 2858 h 113728"/>
                  <a:gd name="connsiteX29" fmla="*/ 2241039 w 2418108"/>
                  <a:gd name="connsiteY29" fmla="*/ 1905 h 113728"/>
                  <a:gd name="connsiteX30" fmla="*/ 2243991 w 2418108"/>
                  <a:gd name="connsiteY30" fmla="*/ 1048 h 113728"/>
                  <a:gd name="connsiteX31" fmla="*/ 2197128 w 2418108"/>
                  <a:gd name="connsiteY31" fmla="*/ 0 h 113728"/>
                  <a:gd name="connsiteX32" fmla="*/ 1710591 w 2418108"/>
                  <a:gd name="connsiteY32" fmla="*/ 6287 h 113728"/>
                  <a:gd name="connsiteX33" fmla="*/ 1713353 w 2418108"/>
                  <a:gd name="connsiteY33" fmla="*/ 5906 h 113728"/>
                  <a:gd name="connsiteX34" fmla="*/ 1210814 w 2418108"/>
                  <a:gd name="connsiteY34" fmla="*/ 7715 h 113728"/>
                  <a:gd name="connsiteX35" fmla="*/ 684463 w 2418108"/>
                  <a:gd name="connsiteY35" fmla="*/ 13716 h 113728"/>
                  <a:gd name="connsiteX36" fmla="*/ 687511 w 2418108"/>
                  <a:gd name="connsiteY36" fmla="*/ 12859 h 113728"/>
                  <a:gd name="connsiteX37" fmla="*/ 435670 w 2418108"/>
                  <a:gd name="connsiteY37" fmla="*/ 12192 h 113728"/>
                  <a:gd name="connsiteX38" fmla="*/ 440718 w 2418108"/>
                  <a:gd name="connsiteY38" fmla="*/ 12668 h 113728"/>
                  <a:gd name="connsiteX39" fmla="*/ 386807 w 2418108"/>
                  <a:gd name="connsiteY39" fmla="*/ 9906 h 113728"/>
                  <a:gd name="connsiteX40" fmla="*/ 16856 w 2418108"/>
                  <a:gd name="connsiteY40" fmla="*/ 12192 h 113728"/>
                  <a:gd name="connsiteX41" fmla="*/ 63528 w 2418108"/>
                  <a:gd name="connsiteY41" fmla="*/ 102870 h 113728"/>
                  <a:gd name="connsiteX42" fmla="*/ 42668 w 2418108"/>
                  <a:gd name="connsiteY42" fmla="*/ 102584 h 113728"/>
                  <a:gd name="connsiteX43" fmla="*/ 41430 w 2418108"/>
                  <a:gd name="connsiteY43" fmla="*/ 105537 h 113728"/>
                  <a:gd name="connsiteX44" fmla="*/ 54575 w 2418108"/>
                  <a:gd name="connsiteY44" fmla="*/ 105347 h 113728"/>
                  <a:gd name="connsiteX45" fmla="*/ 388140 w 2418108"/>
                  <a:gd name="connsiteY45" fmla="*/ 112109 h 113728"/>
                  <a:gd name="connsiteX46" fmla="*/ 482152 w 2418108"/>
                  <a:gd name="connsiteY46" fmla="*/ 113729 h 113728"/>
                  <a:gd name="connsiteX47" fmla="*/ 632266 w 2418108"/>
                  <a:gd name="connsiteY47" fmla="*/ 112205 h 11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418108" h="113728">
                    <a:moveTo>
                      <a:pt x="632266" y="112205"/>
                    </a:moveTo>
                    <a:cubicBezTo>
                      <a:pt x="656364" y="104680"/>
                      <a:pt x="694940" y="114110"/>
                      <a:pt x="723039" y="109538"/>
                    </a:cubicBezTo>
                    <a:cubicBezTo>
                      <a:pt x="722849" y="109919"/>
                      <a:pt x="735898" y="110109"/>
                      <a:pt x="735136" y="111823"/>
                    </a:cubicBezTo>
                    <a:cubicBezTo>
                      <a:pt x="735041" y="108776"/>
                      <a:pt x="767616" y="112300"/>
                      <a:pt x="752471" y="108680"/>
                    </a:cubicBezTo>
                    <a:cubicBezTo>
                      <a:pt x="754757" y="107633"/>
                      <a:pt x="790571" y="107633"/>
                      <a:pt x="772569" y="110585"/>
                    </a:cubicBezTo>
                    <a:cubicBezTo>
                      <a:pt x="822099" y="111633"/>
                      <a:pt x="1059653" y="114395"/>
                      <a:pt x="1112993" y="112967"/>
                    </a:cubicBezTo>
                    <a:cubicBezTo>
                      <a:pt x="1106135" y="110776"/>
                      <a:pt x="1089656" y="112205"/>
                      <a:pt x="1083465" y="108776"/>
                    </a:cubicBezTo>
                    <a:cubicBezTo>
                      <a:pt x="1153950" y="111728"/>
                      <a:pt x="1230626" y="113157"/>
                      <a:pt x="1296825" y="108966"/>
                    </a:cubicBezTo>
                    <a:cubicBezTo>
                      <a:pt x="1277680" y="103251"/>
                      <a:pt x="1356071" y="110966"/>
                      <a:pt x="1346736" y="103632"/>
                    </a:cubicBezTo>
                    <a:cubicBezTo>
                      <a:pt x="1351213" y="105347"/>
                      <a:pt x="1374454" y="106109"/>
                      <a:pt x="1360643" y="107633"/>
                    </a:cubicBezTo>
                    <a:cubicBezTo>
                      <a:pt x="1368548" y="107728"/>
                      <a:pt x="1376168" y="108299"/>
                      <a:pt x="1381788" y="107442"/>
                    </a:cubicBezTo>
                    <a:lnTo>
                      <a:pt x="1371692" y="106490"/>
                    </a:lnTo>
                    <a:cubicBezTo>
                      <a:pt x="1398266" y="106013"/>
                      <a:pt x="1412744" y="108680"/>
                      <a:pt x="1430080" y="105537"/>
                    </a:cubicBezTo>
                    <a:lnTo>
                      <a:pt x="1420269" y="104108"/>
                    </a:lnTo>
                    <a:cubicBezTo>
                      <a:pt x="1436176" y="103918"/>
                      <a:pt x="1449416" y="103632"/>
                      <a:pt x="1455702" y="107061"/>
                    </a:cubicBezTo>
                    <a:lnTo>
                      <a:pt x="1439414" y="108109"/>
                    </a:lnTo>
                    <a:cubicBezTo>
                      <a:pt x="1465799" y="108014"/>
                      <a:pt x="1481610" y="107823"/>
                      <a:pt x="1503613" y="105918"/>
                    </a:cubicBezTo>
                    <a:lnTo>
                      <a:pt x="1495802" y="105823"/>
                    </a:lnTo>
                    <a:cubicBezTo>
                      <a:pt x="1523806" y="102394"/>
                      <a:pt x="1670110" y="99441"/>
                      <a:pt x="1695923" y="95155"/>
                    </a:cubicBezTo>
                    <a:lnTo>
                      <a:pt x="1684016" y="92488"/>
                    </a:lnTo>
                    <a:lnTo>
                      <a:pt x="1706210" y="90202"/>
                    </a:lnTo>
                    <a:cubicBezTo>
                      <a:pt x="1703543" y="90202"/>
                      <a:pt x="1695542" y="98965"/>
                      <a:pt x="1693351" y="98108"/>
                    </a:cubicBezTo>
                    <a:cubicBezTo>
                      <a:pt x="1757549" y="99441"/>
                      <a:pt x="2045109" y="91345"/>
                      <a:pt x="2058539" y="102203"/>
                    </a:cubicBezTo>
                    <a:cubicBezTo>
                      <a:pt x="2079780" y="101917"/>
                      <a:pt x="2071303" y="103918"/>
                      <a:pt x="2064540" y="95060"/>
                    </a:cubicBezTo>
                    <a:cubicBezTo>
                      <a:pt x="2086638" y="95441"/>
                      <a:pt x="2259707" y="88773"/>
                      <a:pt x="2227132" y="96203"/>
                    </a:cubicBezTo>
                    <a:cubicBezTo>
                      <a:pt x="2232371" y="96298"/>
                      <a:pt x="2240372" y="95917"/>
                      <a:pt x="2245229" y="96869"/>
                    </a:cubicBezTo>
                    <a:cubicBezTo>
                      <a:pt x="2235704" y="94583"/>
                      <a:pt x="2261708" y="95345"/>
                      <a:pt x="2254278" y="94393"/>
                    </a:cubicBezTo>
                    <a:cubicBezTo>
                      <a:pt x="2395724" y="108776"/>
                      <a:pt x="2341527" y="36576"/>
                      <a:pt x="2418108" y="5810"/>
                    </a:cubicBezTo>
                    <a:cubicBezTo>
                      <a:pt x="2398772" y="4763"/>
                      <a:pt x="2335717" y="7239"/>
                      <a:pt x="2399058" y="2858"/>
                    </a:cubicBezTo>
                    <a:cubicBezTo>
                      <a:pt x="2343527" y="-572"/>
                      <a:pt x="2296283" y="1238"/>
                      <a:pt x="2241039" y="1905"/>
                    </a:cubicBezTo>
                    <a:lnTo>
                      <a:pt x="2243991" y="1048"/>
                    </a:lnTo>
                    <a:cubicBezTo>
                      <a:pt x="2234181" y="-381"/>
                      <a:pt x="2214845" y="1524"/>
                      <a:pt x="2197128" y="0"/>
                    </a:cubicBezTo>
                    <a:cubicBezTo>
                      <a:pt x="2115880" y="6096"/>
                      <a:pt x="1816128" y="3524"/>
                      <a:pt x="1710591" y="6287"/>
                    </a:cubicBezTo>
                    <a:lnTo>
                      <a:pt x="1713353" y="5906"/>
                    </a:lnTo>
                    <a:cubicBezTo>
                      <a:pt x="1577146" y="5429"/>
                      <a:pt x="1349308" y="11240"/>
                      <a:pt x="1210814" y="7715"/>
                    </a:cubicBezTo>
                    <a:cubicBezTo>
                      <a:pt x="1095848" y="23717"/>
                      <a:pt x="819051" y="5429"/>
                      <a:pt x="684463" y="13716"/>
                    </a:cubicBezTo>
                    <a:lnTo>
                      <a:pt x="687511" y="12859"/>
                    </a:lnTo>
                    <a:cubicBezTo>
                      <a:pt x="655316" y="14192"/>
                      <a:pt x="473008" y="10954"/>
                      <a:pt x="435670" y="12192"/>
                    </a:cubicBezTo>
                    <a:lnTo>
                      <a:pt x="440718" y="12668"/>
                    </a:lnTo>
                    <a:cubicBezTo>
                      <a:pt x="408047" y="14764"/>
                      <a:pt x="412524" y="11049"/>
                      <a:pt x="386807" y="9906"/>
                    </a:cubicBezTo>
                    <a:cubicBezTo>
                      <a:pt x="275174" y="28004"/>
                      <a:pt x="142395" y="18764"/>
                      <a:pt x="16856" y="12192"/>
                    </a:cubicBezTo>
                    <a:cubicBezTo>
                      <a:pt x="-6195" y="35528"/>
                      <a:pt x="-17434" y="114395"/>
                      <a:pt x="63528" y="102870"/>
                    </a:cubicBezTo>
                    <a:cubicBezTo>
                      <a:pt x="63528" y="102870"/>
                      <a:pt x="42668" y="102584"/>
                      <a:pt x="42668" y="102584"/>
                    </a:cubicBezTo>
                    <a:cubicBezTo>
                      <a:pt x="58004" y="103156"/>
                      <a:pt x="47336" y="104299"/>
                      <a:pt x="41430" y="105537"/>
                    </a:cubicBezTo>
                    <a:cubicBezTo>
                      <a:pt x="46764" y="105537"/>
                      <a:pt x="68386" y="107442"/>
                      <a:pt x="54575" y="105347"/>
                    </a:cubicBezTo>
                    <a:cubicBezTo>
                      <a:pt x="158588" y="108109"/>
                      <a:pt x="297462" y="110109"/>
                      <a:pt x="388140" y="112109"/>
                    </a:cubicBezTo>
                    <a:cubicBezTo>
                      <a:pt x="420525" y="113348"/>
                      <a:pt x="453577" y="106680"/>
                      <a:pt x="482152" y="113729"/>
                    </a:cubicBezTo>
                    <a:cubicBezTo>
                      <a:pt x="477580" y="111919"/>
                      <a:pt x="629885" y="111728"/>
                      <a:pt x="632266" y="1122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03001353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BECA31-EE14-41DD-9914-DA7138220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787067"/>
            <a:ext cx="10072922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B22AB6-1657-4AE2-8607-2C77A25D79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0352" y="2521884"/>
            <a:ext cx="4845387" cy="780439"/>
          </a:xfrm>
        </p:spPr>
        <p:txBody>
          <a:bodyPr anchor="b">
            <a:normAutofit/>
          </a:bodyPr>
          <a:lstStyle>
            <a:lvl1pPr marL="0" indent="0">
              <a:buNone/>
              <a:defRPr sz="2000" b="0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AA6DC0-D4D5-4164-A3FD-6BB5CBB2BB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0352" y="3366390"/>
            <a:ext cx="4845387" cy="264479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9B35F8-95F3-43D1-8917-5836BAA904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734025" y="2521884"/>
            <a:ext cx="4869249" cy="780439"/>
          </a:xfrm>
        </p:spPr>
        <p:txBody>
          <a:bodyPr anchor="b">
            <a:normAutofit/>
          </a:bodyPr>
          <a:lstStyle>
            <a:lvl1pPr marL="0" indent="0">
              <a:buNone/>
              <a:defRPr sz="2000" b="0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639E7-F4A3-4ADE-B290-0A4F9761B9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734025" y="3366390"/>
            <a:ext cx="4869249" cy="264479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6F296B-429F-4DFC-ABC3-0A078EA994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2F23D-51F6-4C94-8CD5-B9ABBF67EE23}" type="datetime1">
              <a:rPr lang="en-US" smtClean="0"/>
              <a:t>11/1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7103B9-D521-4910-AC15-F12F25CB9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73A6D9-123D-492C-B5CE-294EF2559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48018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92A22-4B4D-4F58-9783-A0469DA4D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718" y="787068"/>
            <a:ext cx="10077556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5EE610-5457-4E8C-B568-B8D560773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A702F-6367-4FD1-89A8-3744BE6BA9A2}" type="datetime1">
              <a:rPr lang="en-US" smtClean="0"/>
              <a:t>11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BA57BB-288A-4A30-A4EC-FF0537BC2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414C89-B968-4A85-A035-E2997A5F8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aphic 78">
            <a:extLst>
              <a:ext uri="{FF2B5EF4-FFF2-40B4-BE49-F238E27FC236}">
                <a16:creationId xmlns:a16="http://schemas.microsoft.com/office/drawing/2014/main" id="{AC45ECC6-E29C-40EF-A7C9-5A17DAFD4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30225" y="2352330"/>
            <a:ext cx="972241" cy="45719"/>
            <a:chOff x="4886325" y="3371754"/>
            <a:chExt cx="2418492" cy="113728"/>
          </a:xfrm>
          <a:solidFill>
            <a:schemeClr val="accent1"/>
          </a:solidFill>
        </p:grpSpPr>
        <p:sp>
          <p:nvSpPr>
            <p:cNvPr id="7" name="Graphic 78">
              <a:extLst>
                <a:ext uri="{FF2B5EF4-FFF2-40B4-BE49-F238E27FC236}">
                  <a16:creationId xmlns:a16="http://schemas.microsoft.com/office/drawing/2014/main" id="{8DA0D497-8E8F-426A-8172-894BE03F70F6}"/>
                </a:ext>
              </a:extLst>
            </p:cNvPr>
            <p:cNvSpPr/>
            <p:nvPr/>
          </p:nvSpPr>
          <p:spPr>
            <a:xfrm>
              <a:off x="4886325" y="3428428"/>
              <a:ext cx="2418302" cy="9525"/>
            </a:xfrm>
            <a:custGeom>
              <a:avLst/>
              <a:gdLst>
                <a:gd name="connsiteX0" fmla="*/ 0 w 2418302"/>
                <a:gd name="connsiteY0" fmla="*/ 0 h 9525"/>
                <a:gd name="connsiteX1" fmla="*/ 2418302 w 24183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8302" h="9525">
                  <a:moveTo>
                    <a:pt x="0" y="0"/>
                  </a:moveTo>
                  <a:lnTo>
                    <a:pt x="2418302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aphic 78">
              <a:extLst>
                <a:ext uri="{FF2B5EF4-FFF2-40B4-BE49-F238E27FC236}">
                  <a16:creationId xmlns:a16="http://schemas.microsoft.com/office/drawing/2014/main" id="{8C0459EF-3B70-4083-8845-3A9AF847E805}"/>
                </a:ext>
              </a:extLst>
            </p:cNvPr>
            <p:cNvGrpSpPr/>
            <p:nvPr/>
          </p:nvGrpSpPr>
          <p:grpSpPr>
            <a:xfrm>
              <a:off x="4886709" y="3371754"/>
              <a:ext cx="2418108" cy="113728"/>
              <a:chOff x="4886709" y="3371754"/>
              <a:chExt cx="2418108" cy="113728"/>
            </a:xfrm>
            <a:grpFill/>
          </p:grpSpPr>
          <p:sp>
            <p:nvSpPr>
              <p:cNvPr id="9" name="Graphic 78">
                <a:extLst>
                  <a:ext uri="{FF2B5EF4-FFF2-40B4-BE49-F238E27FC236}">
                    <a16:creationId xmlns:a16="http://schemas.microsoft.com/office/drawing/2014/main" id="{53BF2B58-70F8-4288-85AB-CBDA723CDFCC}"/>
                  </a:ext>
                </a:extLst>
              </p:cNvPr>
              <p:cNvSpPr/>
              <p:nvPr/>
            </p:nvSpPr>
            <p:spPr>
              <a:xfrm>
                <a:off x="4895088" y="3474384"/>
                <a:ext cx="32575" cy="2906"/>
              </a:xfrm>
              <a:custGeom>
                <a:avLst/>
                <a:gdLst>
                  <a:gd name="connsiteX0" fmla="*/ 0 w 32575"/>
                  <a:gd name="connsiteY0" fmla="*/ 49 h 2906"/>
                  <a:gd name="connsiteX1" fmla="*/ 32576 w 32575"/>
                  <a:gd name="connsiteY1" fmla="*/ 2907 h 2906"/>
                  <a:gd name="connsiteX2" fmla="*/ 0 w 32575"/>
                  <a:gd name="connsiteY2" fmla="*/ 49 h 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575" h="2906">
                    <a:moveTo>
                      <a:pt x="0" y="49"/>
                    </a:moveTo>
                    <a:cubicBezTo>
                      <a:pt x="7430" y="2335"/>
                      <a:pt x="20384" y="2526"/>
                      <a:pt x="32576" y="2907"/>
                    </a:cubicBezTo>
                    <a:cubicBezTo>
                      <a:pt x="23146" y="716"/>
                      <a:pt x="13240" y="-236"/>
                      <a:pt x="0" y="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Graphic 78">
                <a:extLst>
                  <a:ext uri="{FF2B5EF4-FFF2-40B4-BE49-F238E27FC236}">
                    <a16:creationId xmlns:a16="http://schemas.microsoft.com/office/drawing/2014/main" id="{A569E551-A5A0-4A8F-B999-3A6D104814A2}"/>
                  </a:ext>
                </a:extLst>
              </p:cNvPr>
              <p:cNvSpPr/>
              <p:nvPr/>
            </p:nvSpPr>
            <p:spPr>
              <a:xfrm>
                <a:off x="4927758" y="3477344"/>
                <a:ext cx="380" cy="42"/>
              </a:xfrm>
              <a:custGeom>
                <a:avLst/>
                <a:gdLst>
                  <a:gd name="connsiteX0" fmla="*/ 190 w 380"/>
                  <a:gd name="connsiteY0" fmla="*/ 42 h 42"/>
                  <a:gd name="connsiteX1" fmla="*/ 381 w 380"/>
                  <a:gd name="connsiteY1" fmla="*/ 42 h 42"/>
                  <a:gd name="connsiteX2" fmla="*/ 0 w 380"/>
                  <a:gd name="connsiteY2" fmla="*/ 42 h 42"/>
                  <a:gd name="connsiteX3" fmla="*/ 190 w 380"/>
                  <a:gd name="connsiteY3" fmla="*/ 42 h 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" h="42">
                    <a:moveTo>
                      <a:pt x="190" y="42"/>
                    </a:moveTo>
                    <a:cubicBezTo>
                      <a:pt x="190" y="42"/>
                      <a:pt x="286" y="42"/>
                      <a:pt x="381" y="42"/>
                    </a:cubicBezTo>
                    <a:cubicBezTo>
                      <a:pt x="190" y="42"/>
                      <a:pt x="95" y="42"/>
                      <a:pt x="0" y="42"/>
                    </a:cubicBezTo>
                    <a:cubicBezTo>
                      <a:pt x="0" y="-53"/>
                      <a:pt x="95" y="42"/>
                      <a:pt x="190" y="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Graphic 78">
                <a:extLst>
                  <a:ext uri="{FF2B5EF4-FFF2-40B4-BE49-F238E27FC236}">
                    <a16:creationId xmlns:a16="http://schemas.microsoft.com/office/drawing/2014/main" id="{0FB69EB5-D9AC-46E7-934E-32999C39B2E6}"/>
                  </a:ext>
                </a:extLst>
              </p:cNvPr>
              <p:cNvSpPr/>
              <p:nvPr/>
            </p:nvSpPr>
            <p:spPr>
              <a:xfrm>
                <a:off x="7285577" y="3374517"/>
                <a:ext cx="10001" cy="190"/>
              </a:xfrm>
              <a:custGeom>
                <a:avLst/>
                <a:gdLst>
                  <a:gd name="connsiteX0" fmla="*/ 10001 w 10001"/>
                  <a:gd name="connsiteY0" fmla="*/ 0 h 190"/>
                  <a:gd name="connsiteX1" fmla="*/ 0 w 10001"/>
                  <a:gd name="connsiteY1" fmla="*/ 191 h 190"/>
                  <a:gd name="connsiteX2" fmla="*/ 10001 w 10001"/>
                  <a:gd name="connsiteY2" fmla="*/ 0 h 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1" h="190">
                    <a:moveTo>
                      <a:pt x="10001" y="0"/>
                    </a:moveTo>
                    <a:cubicBezTo>
                      <a:pt x="6953" y="0"/>
                      <a:pt x="3524" y="95"/>
                      <a:pt x="0" y="191"/>
                    </a:cubicBezTo>
                    <a:cubicBezTo>
                      <a:pt x="3334" y="191"/>
                      <a:pt x="6763" y="191"/>
                      <a:pt x="10001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Graphic 78">
                <a:extLst>
                  <a:ext uri="{FF2B5EF4-FFF2-40B4-BE49-F238E27FC236}">
                    <a16:creationId xmlns:a16="http://schemas.microsoft.com/office/drawing/2014/main" id="{6EABC49A-B4ED-44E4-ADB7-E432734A7C96}"/>
                  </a:ext>
                </a:extLst>
              </p:cNvPr>
              <p:cNvSpPr/>
              <p:nvPr/>
            </p:nvSpPr>
            <p:spPr>
              <a:xfrm>
                <a:off x="4886709" y="3371754"/>
                <a:ext cx="2418108" cy="113728"/>
              </a:xfrm>
              <a:custGeom>
                <a:avLst/>
                <a:gdLst>
                  <a:gd name="connsiteX0" fmla="*/ 632266 w 2418108"/>
                  <a:gd name="connsiteY0" fmla="*/ 112205 h 113728"/>
                  <a:gd name="connsiteX1" fmla="*/ 723039 w 2418108"/>
                  <a:gd name="connsiteY1" fmla="*/ 109538 h 113728"/>
                  <a:gd name="connsiteX2" fmla="*/ 735136 w 2418108"/>
                  <a:gd name="connsiteY2" fmla="*/ 111823 h 113728"/>
                  <a:gd name="connsiteX3" fmla="*/ 752471 w 2418108"/>
                  <a:gd name="connsiteY3" fmla="*/ 108680 h 113728"/>
                  <a:gd name="connsiteX4" fmla="*/ 772569 w 2418108"/>
                  <a:gd name="connsiteY4" fmla="*/ 110585 h 113728"/>
                  <a:gd name="connsiteX5" fmla="*/ 1112993 w 2418108"/>
                  <a:gd name="connsiteY5" fmla="*/ 112967 h 113728"/>
                  <a:gd name="connsiteX6" fmla="*/ 1083465 w 2418108"/>
                  <a:gd name="connsiteY6" fmla="*/ 108776 h 113728"/>
                  <a:gd name="connsiteX7" fmla="*/ 1296825 w 2418108"/>
                  <a:gd name="connsiteY7" fmla="*/ 108966 h 113728"/>
                  <a:gd name="connsiteX8" fmla="*/ 1346736 w 2418108"/>
                  <a:gd name="connsiteY8" fmla="*/ 103632 h 113728"/>
                  <a:gd name="connsiteX9" fmla="*/ 1360643 w 2418108"/>
                  <a:gd name="connsiteY9" fmla="*/ 107633 h 113728"/>
                  <a:gd name="connsiteX10" fmla="*/ 1381788 w 2418108"/>
                  <a:gd name="connsiteY10" fmla="*/ 107442 h 113728"/>
                  <a:gd name="connsiteX11" fmla="*/ 1371692 w 2418108"/>
                  <a:gd name="connsiteY11" fmla="*/ 106490 h 113728"/>
                  <a:gd name="connsiteX12" fmla="*/ 1430080 w 2418108"/>
                  <a:gd name="connsiteY12" fmla="*/ 105537 h 113728"/>
                  <a:gd name="connsiteX13" fmla="*/ 1420269 w 2418108"/>
                  <a:gd name="connsiteY13" fmla="*/ 104108 h 113728"/>
                  <a:gd name="connsiteX14" fmla="*/ 1455702 w 2418108"/>
                  <a:gd name="connsiteY14" fmla="*/ 107061 h 113728"/>
                  <a:gd name="connsiteX15" fmla="*/ 1439414 w 2418108"/>
                  <a:gd name="connsiteY15" fmla="*/ 108109 h 113728"/>
                  <a:gd name="connsiteX16" fmla="*/ 1503613 w 2418108"/>
                  <a:gd name="connsiteY16" fmla="*/ 105918 h 113728"/>
                  <a:gd name="connsiteX17" fmla="*/ 1495802 w 2418108"/>
                  <a:gd name="connsiteY17" fmla="*/ 105823 h 113728"/>
                  <a:gd name="connsiteX18" fmla="*/ 1695923 w 2418108"/>
                  <a:gd name="connsiteY18" fmla="*/ 95155 h 113728"/>
                  <a:gd name="connsiteX19" fmla="*/ 1684016 w 2418108"/>
                  <a:gd name="connsiteY19" fmla="*/ 92488 h 113728"/>
                  <a:gd name="connsiteX20" fmla="*/ 1706210 w 2418108"/>
                  <a:gd name="connsiteY20" fmla="*/ 90202 h 113728"/>
                  <a:gd name="connsiteX21" fmla="*/ 1693351 w 2418108"/>
                  <a:gd name="connsiteY21" fmla="*/ 98108 h 113728"/>
                  <a:gd name="connsiteX22" fmla="*/ 2058539 w 2418108"/>
                  <a:gd name="connsiteY22" fmla="*/ 102203 h 113728"/>
                  <a:gd name="connsiteX23" fmla="*/ 2064540 w 2418108"/>
                  <a:gd name="connsiteY23" fmla="*/ 95060 h 113728"/>
                  <a:gd name="connsiteX24" fmla="*/ 2227132 w 2418108"/>
                  <a:gd name="connsiteY24" fmla="*/ 96203 h 113728"/>
                  <a:gd name="connsiteX25" fmla="*/ 2245229 w 2418108"/>
                  <a:gd name="connsiteY25" fmla="*/ 96869 h 113728"/>
                  <a:gd name="connsiteX26" fmla="*/ 2254278 w 2418108"/>
                  <a:gd name="connsiteY26" fmla="*/ 94393 h 113728"/>
                  <a:gd name="connsiteX27" fmla="*/ 2418108 w 2418108"/>
                  <a:gd name="connsiteY27" fmla="*/ 5810 h 113728"/>
                  <a:gd name="connsiteX28" fmla="*/ 2399058 w 2418108"/>
                  <a:gd name="connsiteY28" fmla="*/ 2858 h 113728"/>
                  <a:gd name="connsiteX29" fmla="*/ 2241039 w 2418108"/>
                  <a:gd name="connsiteY29" fmla="*/ 1905 h 113728"/>
                  <a:gd name="connsiteX30" fmla="*/ 2243991 w 2418108"/>
                  <a:gd name="connsiteY30" fmla="*/ 1048 h 113728"/>
                  <a:gd name="connsiteX31" fmla="*/ 2197128 w 2418108"/>
                  <a:gd name="connsiteY31" fmla="*/ 0 h 113728"/>
                  <a:gd name="connsiteX32" fmla="*/ 1710591 w 2418108"/>
                  <a:gd name="connsiteY32" fmla="*/ 6287 h 113728"/>
                  <a:gd name="connsiteX33" fmla="*/ 1713353 w 2418108"/>
                  <a:gd name="connsiteY33" fmla="*/ 5906 h 113728"/>
                  <a:gd name="connsiteX34" fmla="*/ 1210814 w 2418108"/>
                  <a:gd name="connsiteY34" fmla="*/ 7715 h 113728"/>
                  <a:gd name="connsiteX35" fmla="*/ 684463 w 2418108"/>
                  <a:gd name="connsiteY35" fmla="*/ 13716 h 113728"/>
                  <a:gd name="connsiteX36" fmla="*/ 687511 w 2418108"/>
                  <a:gd name="connsiteY36" fmla="*/ 12859 h 113728"/>
                  <a:gd name="connsiteX37" fmla="*/ 435670 w 2418108"/>
                  <a:gd name="connsiteY37" fmla="*/ 12192 h 113728"/>
                  <a:gd name="connsiteX38" fmla="*/ 440718 w 2418108"/>
                  <a:gd name="connsiteY38" fmla="*/ 12668 h 113728"/>
                  <a:gd name="connsiteX39" fmla="*/ 386807 w 2418108"/>
                  <a:gd name="connsiteY39" fmla="*/ 9906 h 113728"/>
                  <a:gd name="connsiteX40" fmla="*/ 16856 w 2418108"/>
                  <a:gd name="connsiteY40" fmla="*/ 12192 h 113728"/>
                  <a:gd name="connsiteX41" fmla="*/ 63528 w 2418108"/>
                  <a:gd name="connsiteY41" fmla="*/ 102870 h 113728"/>
                  <a:gd name="connsiteX42" fmla="*/ 42668 w 2418108"/>
                  <a:gd name="connsiteY42" fmla="*/ 102584 h 113728"/>
                  <a:gd name="connsiteX43" fmla="*/ 41430 w 2418108"/>
                  <a:gd name="connsiteY43" fmla="*/ 105537 h 113728"/>
                  <a:gd name="connsiteX44" fmla="*/ 54575 w 2418108"/>
                  <a:gd name="connsiteY44" fmla="*/ 105347 h 113728"/>
                  <a:gd name="connsiteX45" fmla="*/ 388140 w 2418108"/>
                  <a:gd name="connsiteY45" fmla="*/ 112109 h 113728"/>
                  <a:gd name="connsiteX46" fmla="*/ 482152 w 2418108"/>
                  <a:gd name="connsiteY46" fmla="*/ 113729 h 113728"/>
                  <a:gd name="connsiteX47" fmla="*/ 632266 w 2418108"/>
                  <a:gd name="connsiteY47" fmla="*/ 112205 h 11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418108" h="113728">
                    <a:moveTo>
                      <a:pt x="632266" y="112205"/>
                    </a:moveTo>
                    <a:cubicBezTo>
                      <a:pt x="656364" y="104680"/>
                      <a:pt x="694940" y="114110"/>
                      <a:pt x="723039" y="109538"/>
                    </a:cubicBezTo>
                    <a:cubicBezTo>
                      <a:pt x="722849" y="109919"/>
                      <a:pt x="735898" y="110109"/>
                      <a:pt x="735136" y="111823"/>
                    </a:cubicBezTo>
                    <a:cubicBezTo>
                      <a:pt x="735041" y="108776"/>
                      <a:pt x="767616" y="112300"/>
                      <a:pt x="752471" y="108680"/>
                    </a:cubicBezTo>
                    <a:cubicBezTo>
                      <a:pt x="754757" y="107633"/>
                      <a:pt x="790571" y="107633"/>
                      <a:pt x="772569" y="110585"/>
                    </a:cubicBezTo>
                    <a:cubicBezTo>
                      <a:pt x="822099" y="111633"/>
                      <a:pt x="1059653" y="114395"/>
                      <a:pt x="1112993" y="112967"/>
                    </a:cubicBezTo>
                    <a:cubicBezTo>
                      <a:pt x="1106135" y="110776"/>
                      <a:pt x="1089656" y="112205"/>
                      <a:pt x="1083465" y="108776"/>
                    </a:cubicBezTo>
                    <a:cubicBezTo>
                      <a:pt x="1153950" y="111728"/>
                      <a:pt x="1230626" y="113157"/>
                      <a:pt x="1296825" y="108966"/>
                    </a:cubicBezTo>
                    <a:cubicBezTo>
                      <a:pt x="1277680" y="103251"/>
                      <a:pt x="1356071" y="110966"/>
                      <a:pt x="1346736" y="103632"/>
                    </a:cubicBezTo>
                    <a:cubicBezTo>
                      <a:pt x="1351213" y="105347"/>
                      <a:pt x="1374454" y="106109"/>
                      <a:pt x="1360643" y="107633"/>
                    </a:cubicBezTo>
                    <a:cubicBezTo>
                      <a:pt x="1368548" y="107728"/>
                      <a:pt x="1376168" y="108299"/>
                      <a:pt x="1381788" y="107442"/>
                    </a:cubicBezTo>
                    <a:lnTo>
                      <a:pt x="1371692" y="106490"/>
                    </a:lnTo>
                    <a:cubicBezTo>
                      <a:pt x="1398266" y="106013"/>
                      <a:pt x="1412744" y="108680"/>
                      <a:pt x="1430080" y="105537"/>
                    </a:cubicBezTo>
                    <a:lnTo>
                      <a:pt x="1420269" y="104108"/>
                    </a:lnTo>
                    <a:cubicBezTo>
                      <a:pt x="1436176" y="103918"/>
                      <a:pt x="1449416" y="103632"/>
                      <a:pt x="1455702" y="107061"/>
                    </a:cubicBezTo>
                    <a:lnTo>
                      <a:pt x="1439414" y="108109"/>
                    </a:lnTo>
                    <a:cubicBezTo>
                      <a:pt x="1465799" y="108014"/>
                      <a:pt x="1481610" y="107823"/>
                      <a:pt x="1503613" y="105918"/>
                    </a:cubicBezTo>
                    <a:lnTo>
                      <a:pt x="1495802" y="105823"/>
                    </a:lnTo>
                    <a:cubicBezTo>
                      <a:pt x="1523806" y="102394"/>
                      <a:pt x="1670110" y="99441"/>
                      <a:pt x="1695923" y="95155"/>
                    </a:cubicBezTo>
                    <a:lnTo>
                      <a:pt x="1684016" y="92488"/>
                    </a:lnTo>
                    <a:lnTo>
                      <a:pt x="1706210" y="90202"/>
                    </a:lnTo>
                    <a:cubicBezTo>
                      <a:pt x="1703543" y="90202"/>
                      <a:pt x="1695542" y="98965"/>
                      <a:pt x="1693351" y="98108"/>
                    </a:cubicBezTo>
                    <a:cubicBezTo>
                      <a:pt x="1757549" y="99441"/>
                      <a:pt x="2045109" y="91345"/>
                      <a:pt x="2058539" y="102203"/>
                    </a:cubicBezTo>
                    <a:cubicBezTo>
                      <a:pt x="2079780" y="101917"/>
                      <a:pt x="2071303" y="103918"/>
                      <a:pt x="2064540" y="95060"/>
                    </a:cubicBezTo>
                    <a:cubicBezTo>
                      <a:pt x="2086638" y="95441"/>
                      <a:pt x="2259707" y="88773"/>
                      <a:pt x="2227132" y="96203"/>
                    </a:cubicBezTo>
                    <a:cubicBezTo>
                      <a:pt x="2232371" y="96298"/>
                      <a:pt x="2240372" y="95917"/>
                      <a:pt x="2245229" y="96869"/>
                    </a:cubicBezTo>
                    <a:cubicBezTo>
                      <a:pt x="2235704" y="94583"/>
                      <a:pt x="2261708" y="95345"/>
                      <a:pt x="2254278" y="94393"/>
                    </a:cubicBezTo>
                    <a:cubicBezTo>
                      <a:pt x="2395724" y="108776"/>
                      <a:pt x="2341527" y="36576"/>
                      <a:pt x="2418108" y="5810"/>
                    </a:cubicBezTo>
                    <a:cubicBezTo>
                      <a:pt x="2398772" y="4763"/>
                      <a:pt x="2335717" y="7239"/>
                      <a:pt x="2399058" y="2858"/>
                    </a:cubicBezTo>
                    <a:cubicBezTo>
                      <a:pt x="2343527" y="-572"/>
                      <a:pt x="2296283" y="1238"/>
                      <a:pt x="2241039" y="1905"/>
                    </a:cubicBezTo>
                    <a:lnTo>
                      <a:pt x="2243991" y="1048"/>
                    </a:lnTo>
                    <a:cubicBezTo>
                      <a:pt x="2234181" y="-381"/>
                      <a:pt x="2214845" y="1524"/>
                      <a:pt x="2197128" y="0"/>
                    </a:cubicBezTo>
                    <a:cubicBezTo>
                      <a:pt x="2115880" y="6096"/>
                      <a:pt x="1816128" y="3524"/>
                      <a:pt x="1710591" y="6287"/>
                    </a:cubicBezTo>
                    <a:lnTo>
                      <a:pt x="1713353" y="5906"/>
                    </a:lnTo>
                    <a:cubicBezTo>
                      <a:pt x="1577146" y="5429"/>
                      <a:pt x="1349308" y="11240"/>
                      <a:pt x="1210814" y="7715"/>
                    </a:cubicBezTo>
                    <a:cubicBezTo>
                      <a:pt x="1095848" y="23717"/>
                      <a:pt x="819051" y="5429"/>
                      <a:pt x="684463" y="13716"/>
                    </a:cubicBezTo>
                    <a:lnTo>
                      <a:pt x="687511" y="12859"/>
                    </a:lnTo>
                    <a:cubicBezTo>
                      <a:pt x="655316" y="14192"/>
                      <a:pt x="473008" y="10954"/>
                      <a:pt x="435670" y="12192"/>
                    </a:cubicBezTo>
                    <a:lnTo>
                      <a:pt x="440718" y="12668"/>
                    </a:lnTo>
                    <a:cubicBezTo>
                      <a:pt x="408047" y="14764"/>
                      <a:pt x="412524" y="11049"/>
                      <a:pt x="386807" y="9906"/>
                    </a:cubicBezTo>
                    <a:cubicBezTo>
                      <a:pt x="275174" y="28004"/>
                      <a:pt x="142395" y="18764"/>
                      <a:pt x="16856" y="12192"/>
                    </a:cubicBezTo>
                    <a:cubicBezTo>
                      <a:pt x="-6195" y="35528"/>
                      <a:pt x="-17434" y="114395"/>
                      <a:pt x="63528" y="102870"/>
                    </a:cubicBezTo>
                    <a:cubicBezTo>
                      <a:pt x="63528" y="102870"/>
                      <a:pt x="42668" y="102584"/>
                      <a:pt x="42668" y="102584"/>
                    </a:cubicBezTo>
                    <a:cubicBezTo>
                      <a:pt x="58004" y="103156"/>
                      <a:pt x="47336" y="104299"/>
                      <a:pt x="41430" y="105537"/>
                    </a:cubicBezTo>
                    <a:cubicBezTo>
                      <a:pt x="46764" y="105537"/>
                      <a:pt x="68386" y="107442"/>
                      <a:pt x="54575" y="105347"/>
                    </a:cubicBezTo>
                    <a:cubicBezTo>
                      <a:pt x="158588" y="108109"/>
                      <a:pt x="297462" y="110109"/>
                      <a:pt x="388140" y="112109"/>
                    </a:cubicBezTo>
                    <a:cubicBezTo>
                      <a:pt x="420525" y="113348"/>
                      <a:pt x="453577" y="106680"/>
                      <a:pt x="482152" y="113729"/>
                    </a:cubicBezTo>
                    <a:cubicBezTo>
                      <a:pt x="477580" y="111919"/>
                      <a:pt x="629885" y="111728"/>
                      <a:pt x="632266" y="1122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1435836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7A339C-4093-4B40-8C90-52F005CA9A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E99BD-4B4F-4460-B452-0E8146ACCF8F}" type="datetime1">
              <a:rPr lang="en-US" smtClean="0"/>
              <a:t>11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A33F04-8E0A-4165-930C-527D781A7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2F57B-BEB6-4973-A362-38F638E0D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02442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FAC90-C2CA-44DD-8EF8-20BDD67242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787068"/>
            <a:ext cx="4315386" cy="2223152"/>
          </a:xfr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E915FB-D5F4-4CAD-AE70-3644E81802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5420086" cy="487362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374DA3-3BAC-4045-825F-B3C27B8973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352" y="3429000"/>
            <a:ext cx="4315386" cy="2439988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5A0D65-0423-4E45-947A-E08C8569F1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FD34C-1867-42A9-AC54-D15ADD8A65E7}" type="datetime1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E6FBD0-E49F-4DE6-9264-CEDB9BAA0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16B246-A768-4B2D-96C6-9F4178526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aphic 78">
            <a:extLst>
              <a:ext uri="{FF2B5EF4-FFF2-40B4-BE49-F238E27FC236}">
                <a16:creationId xmlns:a16="http://schemas.microsoft.com/office/drawing/2014/main" id="{839DB371-B90D-44CB-A4AF-C7BDBFD0A8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30225" y="3193468"/>
            <a:ext cx="972241" cy="45719"/>
            <a:chOff x="4886325" y="3371754"/>
            <a:chExt cx="2418492" cy="113728"/>
          </a:xfrm>
          <a:solidFill>
            <a:schemeClr val="accent1"/>
          </a:solidFill>
        </p:grpSpPr>
        <p:sp>
          <p:nvSpPr>
            <p:cNvPr id="9" name="Graphic 78">
              <a:extLst>
                <a:ext uri="{FF2B5EF4-FFF2-40B4-BE49-F238E27FC236}">
                  <a16:creationId xmlns:a16="http://schemas.microsoft.com/office/drawing/2014/main" id="{0C845011-2FC2-40F7-B0C6-49CBBA72B9CB}"/>
                </a:ext>
              </a:extLst>
            </p:cNvPr>
            <p:cNvSpPr/>
            <p:nvPr/>
          </p:nvSpPr>
          <p:spPr>
            <a:xfrm>
              <a:off x="4886325" y="3428428"/>
              <a:ext cx="2418302" cy="9525"/>
            </a:xfrm>
            <a:custGeom>
              <a:avLst/>
              <a:gdLst>
                <a:gd name="connsiteX0" fmla="*/ 0 w 2418302"/>
                <a:gd name="connsiteY0" fmla="*/ 0 h 9525"/>
                <a:gd name="connsiteX1" fmla="*/ 2418302 w 24183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8302" h="9525">
                  <a:moveTo>
                    <a:pt x="0" y="0"/>
                  </a:moveTo>
                  <a:lnTo>
                    <a:pt x="2418302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" name="Graphic 78">
              <a:extLst>
                <a:ext uri="{FF2B5EF4-FFF2-40B4-BE49-F238E27FC236}">
                  <a16:creationId xmlns:a16="http://schemas.microsoft.com/office/drawing/2014/main" id="{82BC78B8-5139-436F-AD47-3CC03903FDDC}"/>
                </a:ext>
              </a:extLst>
            </p:cNvPr>
            <p:cNvGrpSpPr/>
            <p:nvPr/>
          </p:nvGrpSpPr>
          <p:grpSpPr>
            <a:xfrm>
              <a:off x="4886709" y="3371754"/>
              <a:ext cx="2418108" cy="113728"/>
              <a:chOff x="4886709" y="3371754"/>
              <a:chExt cx="2418108" cy="113728"/>
            </a:xfrm>
            <a:grpFill/>
          </p:grpSpPr>
          <p:sp>
            <p:nvSpPr>
              <p:cNvPr id="11" name="Graphic 78">
                <a:extLst>
                  <a:ext uri="{FF2B5EF4-FFF2-40B4-BE49-F238E27FC236}">
                    <a16:creationId xmlns:a16="http://schemas.microsoft.com/office/drawing/2014/main" id="{F9DC17BA-1278-45C9-B1BF-B9F1518E1F29}"/>
                  </a:ext>
                </a:extLst>
              </p:cNvPr>
              <p:cNvSpPr/>
              <p:nvPr/>
            </p:nvSpPr>
            <p:spPr>
              <a:xfrm>
                <a:off x="4895088" y="3474384"/>
                <a:ext cx="32575" cy="2906"/>
              </a:xfrm>
              <a:custGeom>
                <a:avLst/>
                <a:gdLst>
                  <a:gd name="connsiteX0" fmla="*/ 0 w 32575"/>
                  <a:gd name="connsiteY0" fmla="*/ 49 h 2906"/>
                  <a:gd name="connsiteX1" fmla="*/ 32576 w 32575"/>
                  <a:gd name="connsiteY1" fmla="*/ 2907 h 2906"/>
                  <a:gd name="connsiteX2" fmla="*/ 0 w 32575"/>
                  <a:gd name="connsiteY2" fmla="*/ 49 h 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575" h="2906">
                    <a:moveTo>
                      <a:pt x="0" y="49"/>
                    </a:moveTo>
                    <a:cubicBezTo>
                      <a:pt x="7430" y="2335"/>
                      <a:pt x="20384" y="2526"/>
                      <a:pt x="32576" y="2907"/>
                    </a:cubicBezTo>
                    <a:cubicBezTo>
                      <a:pt x="23146" y="716"/>
                      <a:pt x="13240" y="-236"/>
                      <a:pt x="0" y="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Graphic 78">
                <a:extLst>
                  <a:ext uri="{FF2B5EF4-FFF2-40B4-BE49-F238E27FC236}">
                    <a16:creationId xmlns:a16="http://schemas.microsoft.com/office/drawing/2014/main" id="{99637B9F-CC26-4669-81F0-A942B4F72D61}"/>
                  </a:ext>
                </a:extLst>
              </p:cNvPr>
              <p:cNvSpPr/>
              <p:nvPr/>
            </p:nvSpPr>
            <p:spPr>
              <a:xfrm>
                <a:off x="4927758" y="3477344"/>
                <a:ext cx="380" cy="42"/>
              </a:xfrm>
              <a:custGeom>
                <a:avLst/>
                <a:gdLst>
                  <a:gd name="connsiteX0" fmla="*/ 190 w 380"/>
                  <a:gd name="connsiteY0" fmla="*/ 42 h 42"/>
                  <a:gd name="connsiteX1" fmla="*/ 381 w 380"/>
                  <a:gd name="connsiteY1" fmla="*/ 42 h 42"/>
                  <a:gd name="connsiteX2" fmla="*/ 0 w 380"/>
                  <a:gd name="connsiteY2" fmla="*/ 42 h 42"/>
                  <a:gd name="connsiteX3" fmla="*/ 190 w 380"/>
                  <a:gd name="connsiteY3" fmla="*/ 42 h 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" h="42">
                    <a:moveTo>
                      <a:pt x="190" y="42"/>
                    </a:moveTo>
                    <a:cubicBezTo>
                      <a:pt x="190" y="42"/>
                      <a:pt x="286" y="42"/>
                      <a:pt x="381" y="42"/>
                    </a:cubicBezTo>
                    <a:cubicBezTo>
                      <a:pt x="190" y="42"/>
                      <a:pt x="95" y="42"/>
                      <a:pt x="0" y="42"/>
                    </a:cubicBezTo>
                    <a:cubicBezTo>
                      <a:pt x="0" y="-53"/>
                      <a:pt x="95" y="42"/>
                      <a:pt x="190" y="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Graphic 78">
                <a:extLst>
                  <a:ext uri="{FF2B5EF4-FFF2-40B4-BE49-F238E27FC236}">
                    <a16:creationId xmlns:a16="http://schemas.microsoft.com/office/drawing/2014/main" id="{2BB8F115-0030-47B4-BAF4-C15D1EA27B11}"/>
                  </a:ext>
                </a:extLst>
              </p:cNvPr>
              <p:cNvSpPr/>
              <p:nvPr/>
            </p:nvSpPr>
            <p:spPr>
              <a:xfrm>
                <a:off x="7285577" y="3374517"/>
                <a:ext cx="10001" cy="190"/>
              </a:xfrm>
              <a:custGeom>
                <a:avLst/>
                <a:gdLst>
                  <a:gd name="connsiteX0" fmla="*/ 10001 w 10001"/>
                  <a:gd name="connsiteY0" fmla="*/ 0 h 190"/>
                  <a:gd name="connsiteX1" fmla="*/ 0 w 10001"/>
                  <a:gd name="connsiteY1" fmla="*/ 191 h 190"/>
                  <a:gd name="connsiteX2" fmla="*/ 10001 w 10001"/>
                  <a:gd name="connsiteY2" fmla="*/ 0 h 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1" h="190">
                    <a:moveTo>
                      <a:pt x="10001" y="0"/>
                    </a:moveTo>
                    <a:cubicBezTo>
                      <a:pt x="6953" y="0"/>
                      <a:pt x="3524" y="95"/>
                      <a:pt x="0" y="191"/>
                    </a:cubicBezTo>
                    <a:cubicBezTo>
                      <a:pt x="3334" y="191"/>
                      <a:pt x="6763" y="191"/>
                      <a:pt x="10001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Graphic 78">
                <a:extLst>
                  <a:ext uri="{FF2B5EF4-FFF2-40B4-BE49-F238E27FC236}">
                    <a16:creationId xmlns:a16="http://schemas.microsoft.com/office/drawing/2014/main" id="{662F9949-4F1A-4708-824B-E876E9BEDA16}"/>
                  </a:ext>
                </a:extLst>
              </p:cNvPr>
              <p:cNvSpPr/>
              <p:nvPr/>
            </p:nvSpPr>
            <p:spPr>
              <a:xfrm>
                <a:off x="4886709" y="3371754"/>
                <a:ext cx="2418108" cy="113728"/>
              </a:xfrm>
              <a:custGeom>
                <a:avLst/>
                <a:gdLst>
                  <a:gd name="connsiteX0" fmla="*/ 632266 w 2418108"/>
                  <a:gd name="connsiteY0" fmla="*/ 112205 h 113728"/>
                  <a:gd name="connsiteX1" fmla="*/ 723039 w 2418108"/>
                  <a:gd name="connsiteY1" fmla="*/ 109538 h 113728"/>
                  <a:gd name="connsiteX2" fmla="*/ 735136 w 2418108"/>
                  <a:gd name="connsiteY2" fmla="*/ 111823 h 113728"/>
                  <a:gd name="connsiteX3" fmla="*/ 752471 w 2418108"/>
                  <a:gd name="connsiteY3" fmla="*/ 108680 h 113728"/>
                  <a:gd name="connsiteX4" fmla="*/ 772569 w 2418108"/>
                  <a:gd name="connsiteY4" fmla="*/ 110585 h 113728"/>
                  <a:gd name="connsiteX5" fmla="*/ 1112993 w 2418108"/>
                  <a:gd name="connsiteY5" fmla="*/ 112967 h 113728"/>
                  <a:gd name="connsiteX6" fmla="*/ 1083465 w 2418108"/>
                  <a:gd name="connsiteY6" fmla="*/ 108776 h 113728"/>
                  <a:gd name="connsiteX7" fmla="*/ 1296825 w 2418108"/>
                  <a:gd name="connsiteY7" fmla="*/ 108966 h 113728"/>
                  <a:gd name="connsiteX8" fmla="*/ 1346736 w 2418108"/>
                  <a:gd name="connsiteY8" fmla="*/ 103632 h 113728"/>
                  <a:gd name="connsiteX9" fmla="*/ 1360643 w 2418108"/>
                  <a:gd name="connsiteY9" fmla="*/ 107633 h 113728"/>
                  <a:gd name="connsiteX10" fmla="*/ 1381788 w 2418108"/>
                  <a:gd name="connsiteY10" fmla="*/ 107442 h 113728"/>
                  <a:gd name="connsiteX11" fmla="*/ 1371692 w 2418108"/>
                  <a:gd name="connsiteY11" fmla="*/ 106490 h 113728"/>
                  <a:gd name="connsiteX12" fmla="*/ 1430080 w 2418108"/>
                  <a:gd name="connsiteY12" fmla="*/ 105537 h 113728"/>
                  <a:gd name="connsiteX13" fmla="*/ 1420269 w 2418108"/>
                  <a:gd name="connsiteY13" fmla="*/ 104108 h 113728"/>
                  <a:gd name="connsiteX14" fmla="*/ 1455702 w 2418108"/>
                  <a:gd name="connsiteY14" fmla="*/ 107061 h 113728"/>
                  <a:gd name="connsiteX15" fmla="*/ 1439414 w 2418108"/>
                  <a:gd name="connsiteY15" fmla="*/ 108109 h 113728"/>
                  <a:gd name="connsiteX16" fmla="*/ 1503613 w 2418108"/>
                  <a:gd name="connsiteY16" fmla="*/ 105918 h 113728"/>
                  <a:gd name="connsiteX17" fmla="*/ 1495802 w 2418108"/>
                  <a:gd name="connsiteY17" fmla="*/ 105823 h 113728"/>
                  <a:gd name="connsiteX18" fmla="*/ 1695923 w 2418108"/>
                  <a:gd name="connsiteY18" fmla="*/ 95155 h 113728"/>
                  <a:gd name="connsiteX19" fmla="*/ 1684016 w 2418108"/>
                  <a:gd name="connsiteY19" fmla="*/ 92488 h 113728"/>
                  <a:gd name="connsiteX20" fmla="*/ 1706210 w 2418108"/>
                  <a:gd name="connsiteY20" fmla="*/ 90202 h 113728"/>
                  <a:gd name="connsiteX21" fmla="*/ 1693351 w 2418108"/>
                  <a:gd name="connsiteY21" fmla="*/ 98108 h 113728"/>
                  <a:gd name="connsiteX22" fmla="*/ 2058539 w 2418108"/>
                  <a:gd name="connsiteY22" fmla="*/ 102203 h 113728"/>
                  <a:gd name="connsiteX23" fmla="*/ 2064540 w 2418108"/>
                  <a:gd name="connsiteY23" fmla="*/ 95060 h 113728"/>
                  <a:gd name="connsiteX24" fmla="*/ 2227132 w 2418108"/>
                  <a:gd name="connsiteY24" fmla="*/ 96203 h 113728"/>
                  <a:gd name="connsiteX25" fmla="*/ 2245229 w 2418108"/>
                  <a:gd name="connsiteY25" fmla="*/ 96869 h 113728"/>
                  <a:gd name="connsiteX26" fmla="*/ 2254278 w 2418108"/>
                  <a:gd name="connsiteY26" fmla="*/ 94393 h 113728"/>
                  <a:gd name="connsiteX27" fmla="*/ 2418108 w 2418108"/>
                  <a:gd name="connsiteY27" fmla="*/ 5810 h 113728"/>
                  <a:gd name="connsiteX28" fmla="*/ 2399058 w 2418108"/>
                  <a:gd name="connsiteY28" fmla="*/ 2858 h 113728"/>
                  <a:gd name="connsiteX29" fmla="*/ 2241039 w 2418108"/>
                  <a:gd name="connsiteY29" fmla="*/ 1905 h 113728"/>
                  <a:gd name="connsiteX30" fmla="*/ 2243991 w 2418108"/>
                  <a:gd name="connsiteY30" fmla="*/ 1048 h 113728"/>
                  <a:gd name="connsiteX31" fmla="*/ 2197128 w 2418108"/>
                  <a:gd name="connsiteY31" fmla="*/ 0 h 113728"/>
                  <a:gd name="connsiteX32" fmla="*/ 1710591 w 2418108"/>
                  <a:gd name="connsiteY32" fmla="*/ 6287 h 113728"/>
                  <a:gd name="connsiteX33" fmla="*/ 1713353 w 2418108"/>
                  <a:gd name="connsiteY33" fmla="*/ 5906 h 113728"/>
                  <a:gd name="connsiteX34" fmla="*/ 1210814 w 2418108"/>
                  <a:gd name="connsiteY34" fmla="*/ 7715 h 113728"/>
                  <a:gd name="connsiteX35" fmla="*/ 684463 w 2418108"/>
                  <a:gd name="connsiteY35" fmla="*/ 13716 h 113728"/>
                  <a:gd name="connsiteX36" fmla="*/ 687511 w 2418108"/>
                  <a:gd name="connsiteY36" fmla="*/ 12859 h 113728"/>
                  <a:gd name="connsiteX37" fmla="*/ 435670 w 2418108"/>
                  <a:gd name="connsiteY37" fmla="*/ 12192 h 113728"/>
                  <a:gd name="connsiteX38" fmla="*/ 440718 w 2418108"/>
                  <a:gd name="connsiteY38" fmla="*/ 12668 h 113728"/>
                  <a:gd name="connsiteX39" fmla="*/ 386807 w 2418108"/>
                  <a:gd name="connsiteY39" fmla="*/ 9906 h 113728"/>
                  <a:gd name="connsiteX40" fmla="*/ 16856 w 2418108"/>
                  <a:gd name="connsiteY40" fmla="*/ 12192 h 113728"/>
                  <a:gd name="connsiteX41" fmla="*/ 63528 w 2418108"/>
                  <a:gd name="connsiteY41" fmla="*/ 102870 h 113728"/>
                  <a:gd name="connsiteX42" fmla="*/ 42668 w 2418108"/>
                  <a:gd name="connsiteY42" fmla="*/ 102584 h 113728"/>
                  <a:gd name="connsiteX43" fmla="*/ 41430 w 2418108"/>
                  <a:gd name="connsiteY43" fmla="*/ 105537 h 113728"/>
                  <a:gd name="connsiteX44" fmla="*/ 54575 w 2418108"/>
                  <a:gd name="connsiteY44" fmla="*/ 105347 h 113728"/>
                  <a:gd name="connsiteX45" fmla="*/ 388140 w 2418108"/>
                  <a:gd name="connsiteY45" fmla="*/ 112109 h 113728"/>
                  <a:gd name="connsiteX46" fmla="*/ 482152 w 2418108"/>
                  <a:gd name="connsiteY46" fmla="*/ 113729 h 113728"/>
                  <a:gd name="connsiteX47" fmla="*/ 632266 w 2418108"/>
                  <a:gd name="connsiteY47" fmla="*/ 112205 h 11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418108" h="113728">
                    <a:moveTo>
                      <a:pt x="632266" y="112205"/>
                    </a:moveTo>
                    <a:cubicBezTo>
                      <a:pt x="656364" y="104680"/>
                      <a:pt x="694940" y="114110"/>
                      <a:pt x="723039" y="109538"/>
                    </a:cubicBezTo>
                    <a:cubicBezTo>
                      <a:pt x="722849" y="109919"/>
                      <a:pt x="735898" y="110109"/>
                      <a:pt x="735136" y="111823"/>
                    </a:cubicBezTo>
                    <a:cubicBezTo>
                      <a:pt x="735041" y="108776"/>
                      <a:pt x="767616" y="112300"/>
                      <a:pt x="752471" y="108680"/>
                    </a:cubicBezTo>
                    <a:cubicBezTo>
                      <a:pt x="754757" y="107633"/>
                      <a:pt x="790571" y="107633"/>
                      <a:pt x="772569" y="110585"/>
                    </a:cubicBezTo>
                    <a:cubicBezTo>
                      <a:pt x="822099" y="111633"/>
                      <a:pt x="1059653" y="114395"/>
                      <a:pt x="1112993" y="112967"/>
                    </a:cubicBezTo>
                    <a:cubicBezTo>
                      <a:pt x="1106135" y="110776"/>
                      <a:pt x="1089656" y="112205"/>
                      <a:pt x="1083465" y="108776"/>
                    </a:cubicBezTo>
                    <a:cubicBezTo>
                      <a:pt x="1153950" y="111728"/>
                      <a:pt x="1230626" y="113157"/>
                      <a:pt x="1296825" y="108966"/>
                    </a:cubicBezTo>
                    <a:cubicBezTo>
                      <a:pt x="1277680" y="103251"/>
                      <a:pt x="1356071" y="110966"/>
                      <a:pt x="1346736" y="103632"/>
                    </a:cubicBezTo>
                    <a:cubicBezTo>
                      <a:pt x="1351213" y="105347"/>
                      <a:pt x="1374454" y="106109"/>
                      <a:pt x="1360643" y="107633"/>
                    </a:cubicBezTo>
                    <a:cubicBezTo>
                      <a:pt x="1368548" y="107728"/>
                      <a:pt x="1376168" y="108299"/>
                      <a:pt x="1381788" y="107442"/>
                    </a:cubicBezTo>
                    <a:lnTo>
                      <a:pt x="1371692" y="106490"/>
                    </a:lnTo>
                    <a:cubicBezTo>
                      <a:pt x="1398266" y="106013"/>
                      <a:pt x="1412744" y="108680"/>
                      <a:pt x="1430080" y="105537"/>
                    </a:cubicBezTo>
                    <a:lnTo>
                      <a:pt x="1420269" y="104108"/>
                    </a:lnTo>
                    <a:cubicBezTo>
                      <a:pt x="1436176" y="103918"/>
                      <a:pt x="1449416" y="103632"/>
                      <a:pt x="1455702" y="107061"/>
                    </a:cubicBezTo>
                    <a:lnTo>
                      <a:pt x="1439414" y="108109"/>
                    </a:lnTo>
                    <a:cubicBezTo>
                      <a:pt x="1465799" y="108014"/>
                      <a:pt x="1481610" y="107823"/>
                      <a:pt x="1503613" y="105918"/>
                    </a:cubicBezTo>
                    <a:lnTo>
                      <a:pt x="1495802" y="105823"/>
                    </a:lnTo>
                    <a:cubicBezTo>
                      <a:pt x="1523806" y="102394"/>
                      <a:pt x="1670110" y="99441"/>
                      <a:pt x="1695923" y="95155"/>
                    </a:cubicBezTo>
                    <a:lnTo>
                      <a:pt x="1684016" y="92488"/>
                    </a:lnTo>
                    <a:lnTo>
                      <a:pt x="1706210" y="90202"/>
                    </a:lnTo>
                    <a:cubicBezTo>
                      <a:pt x="1703543" y="90202"/>
                      <a:pt x="1695542" y="98965"/>
                      <a:pt x="1693351" y="98108"/>
                    </a:cubicBezTo>
                    <a:cubicBezTo>
                      <a:pt x="1757549" y="99441"/>
                      <a:pt x="2045109" y="91345"/>
                      <a:pt x="2058539" y="102203"/>
                    </a:cubicBezTo>
                    <a:cubicBezTo>
                      <a:pt x="2079780" y="101917"/>
                      <a:pt x="2071303" y="103918"/>
                      <a:pt x="2064540" y="95060"/>
                    </a:cubicBezTo>
                    <a:cubicBezTo>
                      <a:pt x="2086638" y="95441"/>
                      <a:pt x="2259707" y="88773"/>
                      <a:pt x="2227132" y="96203"/>
                    </a:cubicBezTo>
                    <a:cubicBezTo>
                      <a:pt x="2232371" y="96298"/>
                      <a:pt x="2240372" y="95917"/>
                      <a:pt x="2245229" y="96869"/>
                    </a:cubicBezTo>
                    <a:cubicBezTo>
                      <a:pt x="2235704" y="94583"/>
                      <a:pt x="2261708" y="95345"/>
                      <a:pt x="2254278" y="94393"/>
                    </a:cubicBezTo>
                    <a:cubicBezTo>
                      <a:pt x="2395724" y="108776"/>
                      <a:pt x="2341527" y="36576"/>
                      <a:pt x="2418108" y="5810"/>
                    </a:cubicBezTo>
                    <a:cubicBezTo>
                      <a:pt x="2398772" y="4763"/>
                      <a:pt x="2335717" y="7239"/>
                      <a:pt x="2399058" y="2858"/>
                    </a:cubicBezTo>
                    <a:cubicBezTo>
                      <a:pt x="2343527" y="-572"/>
                      <a:pt x="2296283" y="1238"/>
                      <a:pt x="2241039" y="1905"/>
                    </a:cubicBezTo>
                    <a:lnTo>
                      <a:pt x="2243991" y="1048"/>
                    </a:lnTo>
                    <a:cubicBezTo>
                      <a:pt x="2234181" y="-381"/>
                      <a:pt x="2214845" y="1524"/>
                      <a:pt x="2197128" y="0"/>
                    </a:cubicBezTo>
                    <a:cubicBezTo>
                      <a:pt x="2115880" y="6096"/>
                      <a:pt x="1816128" y="3524"/>
                      <a:pt x="1710591" y="6287"/>
                    </a:cubicBezTo>
                    <a:lnTo>
                      <a:pt x="1713353" y="5906"/>
                    </a:lnTo>
                    <a:cubicBezTo>
                      <a:pt x="1577146" y="5429"/>
                      <a:pt x="1349308" y="11240"/>
                      <a:pt x="1210814" y="7715"/>
                    </a:cubicBezTo>
                    <a:cubicBezTo>
                      <a:pt x="1095848" y="23717"/>
                      <a:pt x="819051" y="5429"/>
                      <a:pt x="684463" y="13716"/>
                    </a:cubicBezTo>
                    <a:lnTo>
                      <a:pt x="687511" y="12859"/>
                    </a:lnTo>
                    <a:cubicBezTo>
                      <a:pt x="655316" y="14192"/>
                      <a:pt x="473008" y="10954"/>
                      <a:pt x="435670" y="12192"/>
                    </a:cubicBezTo>
                    <a:lnTo>
                      <a:pt x="440718" y="12668"/>
                    </a:lnTo>
                    <a:cubicBezTo>
                      <a:pt x="408047" y="14764"/>
                      <a:pt x="412524" y="11049"/>
                      <a:pt x="386807" y="9906"/>
                    </a:cubicBezTo>
                    <a:cubicBezTo>
                      <a:pt x="275174" y="28004"/>
                      <a:pt x="142395" y="18764"/>
                      <a:pt x="16856" y="12192"/>
                    </a:cubicBezTo>
                    <a:cubicBezTo>
                      <a:pt x="-6195" y="35528"/>
                      <a:pt x="-17434" y="114395"/>
                      <a:pt x="63528" y="102870"/>
                    </a:cubicBezTo>
                    <a:cubicBezTo>
                      <a:pt x="63528" y="102870"/>
                      <a:pt x="42668" y="102584"/>
                      <a:pt x="42668" y="102584"/>
                    </a:cubicBezTo>
                    <a:cubicBezTo>
                      <a:pt x="58004" y="103156"/>
                      <a:pt x="47336" y="104299"/>
                      <a:pt x="41430" y="105537"/>
                    </a:cubicBezTo>
                    <a:cubicBezTo>
                      <a:pt x="46764" y="105537"/>
                      <a:pt x="68386" y="107442"/>
                      <a:pt x="54575" y="105347"/>
                    </a:cubicBezTo>
                    <a:cubicBezTo>
                      <a:pt x="158588" y="108109"/>
                      <a:pt x="297462" y="110109"/>
                      <a:pt x="388140" y="112109"/>
                    </a:cubicBezTo>
                    <a:cubicBezTo>
                      <a:pt x="420525" y="113348"/>
                      <a:pt x="453577" y="106680"/>
                      <a:pt x="482152" y="113729"/>
                    </a:cubicBezTo>
                    <a:cubicBezTo>
                      <a:pt x="477580" y="111919"/>
                      <a:pt x="629885" y="111728"/>
                      <a:pt x="632266" y="1122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289969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BCF887-01C8-515D-882C-0251DF59B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96AF6B-6EA3-70C1-84DF-8938790C08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29E2A1-1BA4-D802-5ADE-2148F05E7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C821A-DDFB-FC60-3A30-8181A469E4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2CB6DB-AEC7-6920-C96C-FAAE134B5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5041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CB0C8-915E-4BF2-976E-B8D7EDC59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52" y="787068"/>
            <a:ext cx="3932237" cy="2223152"/>
          </a:xfr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10714E6-8E50-4B50-A2E0-F9D20155EB9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5420086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D67A6C-5CA5-4EF0-B1C4-ED85FF255A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352" y="3429000"/>
            <a:ext cx="3932237" cy="243998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C76474-31D4-4567-B4EC-B6AF24488A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6133E9-A654-4C17-8C3C-DDCAC83D6EBF}" type="datetime1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902DE0-33F5-4372-8EB5-F5746D344A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C5C2EF-849D-4B2C-8ED6-D26553657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aphic 78">
            <a:extLst>
              <a:ext uri="{FF2B5EF4-FFF2-40B4-BE49-F238E27FC236}">
                <a16:creationId xmlns:a16="http://schemas.microsoft.com/office/drawing/2014/main" id="{7627CBC2-9DC2-4EE8-A2D5-849E30F220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30225" y="3193468"/>
            <a:ext cx="972241" cy="45719"/>
            <a:chOff x="4886325" y="3371754"/>
            <a:chExt cx="2418492" cy="113728"/>
          </a:xfrm>
          <a:solidFill>
            <a:schemeClr val="accent1"/>
          </a:solidFill>
        </p:grpSpPr>
        <p:sp>
          <p:nvSpPr>
            <p:cNvPr id="9" name="Graphic 78">
              <a:extLst>
                <a:ext uri="{FF2B5EF4-FFF2-40B4-BE49-F238E27FC236}">
                  <a16:creationId xmlns:a16="http://schemas.microsoft.com/office/drawing/2014/main" id="{9FB4AEFC-63AB-4831-8EC1-E8145604D8D9}"/>
                </a:ext>
              </a:extLst>
            </p:cNvPr>
            <p:cNvSpPr/>
            <p:nvPr/>
          </p:nvSpPr>
          <p:spPr>
            <a:xfrm>
              <a:off x="4886325" y="3428428"/>
              <a:ext cx="2418302" cy="9525"/>
            </a:xfrm>
            <a:custGeom>
              <a:avLst/>
              <a:gdLst>
                <a:gd name="connsiteX0" fmla="*/ 0 w 2418302"/>
                <a:gd name="connsiteY0" fmla="*/ 0 h 9525"/>
                <a:gd name="connsiteX1" fmla="*/ 2418302 w 24183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8302" h="9525">
                  <a:moveTo>
                    <a:pt x="0" y="0"/>
                  </a:moveTo>
                  <a:lnTo>
                    <a:pt x="2418302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" name="Graphic 78">
              <a:extLst>
                <a:ext uri="{FF2B5EF4-FFF2-40B4-BE49-F238E27FC236}">
                  <a16:creationId xmlns:a16="http://schemas.microsoft.com/office/drawing/2014/main" id="{811E1337-D5DA-408D-91F3-A6A35FCDD0B9}"/>
                </a:ext>
              </a:extLst>
            </p:cNvPr>
            <p:cNvGrpSpPr/>
            <p:nvPr/>
          </p:nvGrpSpPr>
          <p:grpSpPr>
            <a:xfrm>
              <a:off x="4886709" y="3371754"/>
              <a:ext cx="2418108" cy="113728"/>
              <a:chOff x="4886709" y="3371754"/>
              <a:chExt cx="2418108" cy="113728"/>
            </a:xfrm>
            <a:grpFill/>
          </p:grpSpPr>
          <p:sp>
            <p:nvSpPr>
              <p:cNvPr id="11" name="Graphic 78">
                <a:extLst>
                  <a:ext uri="{FF2B5EF4-FFF2-40B4-BE49-F238E27FC236}">
                    <a16:creationId xmlns:a16="http://schemas.microsoft.com/office/drawing/2014/main" id="{1E473FA4-FD80-4D04-AAC5-63B9A4D80778}"/>
                  </a:ext>
                </a:extLst>
              </p:cNvPr>
              <p:cNvSpPr/>
              <p:nvPr/>
            </p:nvSpPr>
            <p:spPr>
              <a:xfrm>
                <a:off x="4895088" y="3474384"/>
                <a:ext cx="32575" cy="2906"/>
              </a:xfrm>
              <a:custGeom>
                <a:avLst/>
                <a:gdLst>
                  <a:gd name="connsiteX0" fmla="*/ 0 w 32575"/>
                  <a:gd name="connsiteY0" fmla="*/ 49 h 2906"/>
                  <a:gd name="connsiteX1" fmla="*/ 32576 w 32575"/>
                  <a:gd name="connsiteY1" fmla="*/ 2907 h 2906"/>
                  <a:gd name="connsiteX2" fmla="*/ 0 w 32575"/>
                  <a:gd name="connsiteY2" fmla="*/ 49 h 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575" h="2906">
                    <a:moveTo>
                      <a:pt x="0" y="49"/>
                    </a:moveTo>
                    <a:cubicBezTo>
                      <a:pt x="7430" y="2335"/>
                      <a:pt x="20384" y="2526"/>
                      <a:pt x="32576" y="2907"/>
                    </a:cubicBezTo>
                    <a:cubicBezTo>
                      <a:pt x="23146" y="716"/>
                      <a:pt x="13240" y="-236"/>
                      <a:pt x="0" y="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Graphic 78">
                <a:extLst>
                  <a:ext uri="{FF2B5EF4-FFF2-40B4-BE49-F238E27FC236}">
                    <a16:creationId xmlns:a16="http://schemas.microsoft.com/office/drawing/2014/main" id="{FCB457B9-48DE-4921-8C3F-996598075B1F}"/>
                  </a:ext>
                </a:extLst>
              </p:cNvPr>
              <p:cNvSpPr/>
              <p:nvPr/>
            </p:nvSpPr>
            <p:spPr>
              <a:xfrm>
                <a:off x="4927758" y="3477344"/>
                <a:ext cx="380" cy="42"/>
              </a:xfrm>
              <a:custGeom>
                <a:avLst/>
                <a:gdLst>
                  <a:gd name="connsiteX0" fmla="*/ 190 w 380"/>
                  <a:gd name="connsiteY0" fmla="*/ 42 h 42"/>
                  <a:gd name="connsiteX1" fmla="*/ 381 w 380"/>
                  <a:gd name="connsiteY1" fmla="*/ 42 h 42"/>
                  <a:gd name="connsiteX2" fmla="*/ 0 w 380"/>
                  <a:gd name="connsiteY2" fmla="*/ 42 h 42"/>
                  <a:gd name="connsiteX3" fmla="*/ 190 w 380"/>
                  <a:gd name="connsiteY3" fmla="*/ 42 h 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" h="42">
                    <a:moveTo>
                      <a:pt x="190" y="42"/>
                    </a:moveTo>
                    <a:cubicBezTo>
                      <a:pt x="190" y="42"/>
                      <a:pt x="286" y="42"/>
                      <a:pt x="381" y="42"/>
                    </a:cubicBezTo>
                    <a:cubicBezTo>
                      <a:pt x="190" y="42"/>
                      <a:pt x="95" y="42"/>
                      <a:pt x="0" y="42"/>
                    </a:cubicBezTo>
                    <a:cubicBezTo>
                      <a:pt x="0" y="-53"/>
                      <a:pt x="95" y="42"/>
                      <a:pt x="190" y="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Graphic 78">
                <a:extLst>
                  <a:ext uri="{FF2B5EF4-FFF2-40B4-BE49-F238E27FC236}">
                    <a16:creationId xmlns:a16="http://schemas.microsoft.com/office/drawing/2014/main" id="{53C9DB95-9A61-4553-8D82-D2BE26FCBC6E}"/>
                  </a:ext>
                </a:extLst>
              </p:cNvPr>
              <p:cNvSpPr/>
              <p:nvPr/>
            </p:nvSpPr>
            <p:spPr>
              <a:xfrm>
                <a:off x="7285577" y="3374517"/>
                <a:ext cx="10001" cy="190"/>
              </a:xfrm>
              <a:custGeom>
                <a:avLst/>
                <a:gdLst>
                  <a:gd name="connsiteX0" fmla="*/ 10001 w 10001"/>
                  <a:gd name="connsiteY0" fmla="*/ 0 h 190"/>
                  <a:gd name="connsiteX1" fmla="*/ 0 w 10001"/>
                  <a:gd name="connsiteY1" fmla="*/ 191 h 190"/>
                  <a:gd name="connsiteX2" fmla="*/ 10001 w 10001"/>
                  <a:gd name="connsiteY2" fmla="*/ 0 h 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1" h="190">
                    <a:moveTo>
                      <a:pt x="10001" y="0"/>
                    </a:moveTo>
                    <a:cubicBezTo>
                      <a:pt x="6953" y="0"/>
                      <a:pt x="3524" y="95"/>
                      <a:pt x="0" y="191"/>
                    </a:cubicBezTo>
                    <a:cubicBezTo>
                      <a:pt x="3334" y="191"/>
                      <a:pt x="6763" y="191"/>
                      <a:pt x="10001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Graphic 78">
                <a:extLst>
                  <a:ext uri="{FF2B5EF4-FFF2-40B4-BE49-F238E27FC236}">
                    <a16:creationId xmlns:a16="http://schemas.microsoft.com/office/drawing/2014/main" id="{0EAE371F-24C9-4738-834F-FAF5A5C9ACE1}"/>
                  </a:ext>
                </a:extLst>
              </p:cNvPr>
              <p:cNvSpPr/>
              <p:nvPr/>
            </p:nvSpPr>
            <p:spPr>
              <a:xfrm>
                <a:off x="4886709" y="3371754"/>
                <a:ext cx="2418108" cy="113728"/>
              </a:xfrm>
              <a:custGeom>
                <a:avLst/>
                <a:gdLst>
                  <a:gd name="connsiteX0" fmla="*/ 632266 w 2418108"/>
                  <a:gd name="connsiteY0" fmla="*/ 112205 h 113728"/>
                  <a:gd name="connsiteX1" fmla="*/ 723039 w 2418108"/>
                  <a:gd name="connsiteY1" fmla="*/ 109538 h 113728"/>
                  <a:gd name="connsiteX2" fmla="*/ 735136 w 2418108"/>
                  <a:gd name="connsiteY2" fmla="*/ 111823 h 113728"/>
                  <a:gd name="connsiteX3" fmla="*/ 752471 w 2418108"/>
                  <a:gd name="connsiteY3" fmla="*/ 108680 h 113728"/>
                  <a:gd name="connsiteX4" fmla="*/ 772569 w 2418108"/>
                  <a:gd name="connsiteY4" fmla="*/ 110585 h 113728"/>
                  <a:gd name="connsiteX5" fmla="*/ 1112993 w 2418108"/>
                  <a:gd name="connsiteY5" fmla="*/ 112967 h 113728"/>
                  <a:gd name="connsiteX6" fmla="*/ 1083465 w 2418108"/>
                  <a:gd name="connsiteY6" fmla="*/ 108776 h 113728"/>
                  <a:gd name="connsiteX7" fmla="*/ 1296825 w 2418108"/>
                  <a:gd name="connsiteY7" fmla="*/ 108966 h 113728"/>
                  <a:gd name="connsiteX8" fmla="*/ 1346736 w 2418108"/>
                  <a:gd name="connsiteY8" fmla="*/ 103632 h 113728"/>
                  <a:gd name="connsiteX9" fmla="*/ 1360643 w 2418108"/>
                  <a:gd name="connsiteY9" fmla="*/ 107633 h 113728"/>
                  <a:gd name="connsiteX10" fmla="*/ 1381788 w 2418108"/>
                  <a:gd name="connsiteY10" fmla="*/ 107442 h 113728"/>
                  <a:gd name="connsiteX11" fmla="*/ 1371692 w 2418108"/>
                  <a:gd name="connsiteY11" fmla="*/ 106490 h 113728"/>
                  <a:gd name="connsiteX12" fmla="*/ 1430080 w 2418108"/>
                  <a:gd name="connsiteY12" fmla="*/ 105537 h 113728"/>
                  <a:gd name="connsiteX13" fmla="*/ 1420269 w 2418108"/>
                  <a:gd name="connsiteY13" fmla="*/ 104108 h 113728"/>
                  <a:gd name="connsiteX14" fmla="*/ 1455702 w 2418108"/>
                  <a:gd name="connsiteY14" fmla="*/ 107061 h 113728"/>
                  <a:gd name="connsiteX15" fmla="*/ 1439414 w 2418108"/>
                  <a:gd name="connsiteY15" fmla="*/ 108109 h 113728"/>
                  <a:gd name="connsiteX16" fmla="*/ 1503613 w 2418108"/>
                  <a:gd name="connsiteY16" fmla="*/ 105918 h 113728"/>
                  <a:gd name="connsiteX17" fmla="*/ 1495802 w 2418108"/>
                  <a:gd name="connsiteY17" fmla="*/ 105823 h 113728"/>
                  <a:gd name="connsiteX18" fmla="*/ 1695923 w 2418108"/>
                  <a:gd name="connsiteY18" fmla="*/ 95155 h 113728"/>
                  <a:gd name="connsiteX19" fmla="*/ 1684016 w 2418108"/>
                  <a:gd name="connsiteY19" fmla="*/ 92488 h 113728"/>
                  <a:gd name="connsiteX20" fmla="*/ 1706210 w 2418108"/>
                  <a:gd name="connsiteY20" fmla="*/ 90202 h 113728"/>
                  <a:gd name="connsiteX21" fmla="*/ 1693351 w 2418108"/>
                  <a:gd name="connsiteY21" fmla="*/ 98108 h 113728"/>
                  <a:gd name="connsiteX22" fmla="*/ 2058539 w 2418108"/>
                  <a:gd name="connsiteY22" fmla="*/ 102203 h 113728"/>
                  <a:gd name="connsiteX23" fmla="*/ 2064540 w 2418108"/>
                  <a:gd name="connsiteY23" fmla="*/ 95060 h 113728"/>
                  <a:gd name="connsiteX24" fmla="*/ 2227132 w 2418108"/>
                  <a:gd name="connsiteY24" fmla="*/ 96203 h 113728"/>
                  <a:gd name="connsiteX25" fmla="*/ 2245229 w 2418108"/>
                  <a:gd name="connsiteY25" fmla="*/ 96869 h 113728"/>
                  <a:gd name="connsiteX26" fmla="*/ 2254278 w 2418108"/>
                  <a:gd name="connsiteY26" fmla="*/ 94393 h 113728"/>
                  <a:gd name="connsiteX27" fmla="*/ 2418108 w 2418108"/>
                  <a:gd name="connsiteY27" fmla="*/ 5810 h 113728"/>
                  <a:gd name="connsiteX28" fmla="*/ 2399058 w 2418108"/>
                  <a:gd name="connsiteY28" fmla="*/ 2858 h 113728"/>
                  <a:gd name="connsiteX29" fmla="*/ 2241039 w 2418108"/>
                  <a:gd name="connsiteY29" fmla="*/ 1905 h 113728"/>
                  <a:gd name="connsiteX30" fmla="*/ 2243991 w 2418108"/>
                  <a:gd name="connsiteY30" fmla="*/ 1048 h 113728"/>
                  <a:gd name="connsiteX31" fmla="*/ 2197128 w 2418108"/>
                  <a:gd name="connsiteY31" fmla="*/ 0 h 113728"/>
                  <a:gd name="connsiteX32" fmla="*/ 1710591 w 2418108"/>
                  <a:gd name="connsiteY32" fmla="*/ 6287 h 113728"/>
                  <a:gd name="connsiteX33" fmla="*/ 1713353 w 2418108"/>
                  <a:gd name="connsiteY33" fmla="*/ 5906 h 113728"/>
                  <a:gd name="connsiteX34" fmla="*/ 1210814 w 2418108"/>
                  <a:gd name="connsiteY34" fmla="*/ 7715 h 113728"/>
                  <a:gd name="connsiteX35" fmla="*/ 684463 w 2418108"/>
                  <a:gd name="connsiteY35" fmla="*/ 13716 h 113728"/>
                  <a:gd name="connsiteX36" fmla="*/ 687511 w 2418108"/>
                  <a:gd name="connsiteY36" fmla="*/ 12859 h 113728"/>
                  <a:gd name="connsiteX37" fmla="*/ 435670 w 2418108"/>
                  <a:gd name="connsiteY37" fmla="*/ 12192 h 113728"/>
                  <a:gd name="connsiteX38" fmla="*/ 440718 w 2418108"/>
                  <a:gd name="connsiteY38" fmla="*/ 12668 h 113728"/>
                  <a:gd name="connsiteX39" fmla="*/ 386807 w 2418108"/>
                  <a:gd name="connsiteY39" fmla="*/ 9906 h 113728"/>
                  <a:gd name="connsiteX40" fmla="*/ 16856 w 2418108"/>
                  <a:gd name="connsiteY40" fmla="*/ 12192 h 113728"/>
                  <a:gd name="connsiteX41" fmla="*/ 63528 w 2418108"/>
                  <a:gd name="connsiteY41" fmla="*/ 102870 h 113728"/>
                  <a:gd name="connsiteX42" fmla="*/ 42668 w 2418108"/>
                  <a:gd name="connsiteY42" fmla="*/ 102584 h 113728"/>
                  <a:gd name="connsiteX43" fmla="*/ 41430 w 2418108"/>
                  <a:gd name="connsiteY43" fmla="*/ 105537 h 113728"/>
                  <a:gd name="connsiteX44" fmla="*/ 54575 w 2418108"/>
                  <a:gd name="connsiteY44" fmla="*/ 105347 h 113728"/>
                  <a:gd name="connsiteX45" fmla="*/ 388140 w 2418108"/>
                  <a:gd name="connsiteY45" fmla="*/ 112109 h 113728"/>
                  <a:gd name="connsiteX46" fmla="*/ 482152 w 2418108"/>
                  <a:gd name="connsiteY46" fmla="*/ 113729 h 113728"/>
                  <a:gd name="connsiteX47" fmla="*/ 632266 w 2418108"/>
                  <a:gd name="connsiteY47" fmla="*/ 112205 h 11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418108" h="113728">
                    <a:moveTo>
                      <a:pt x="632266" y="112205"/>
                    </a:moveTo>
                    <a:cubicBezTo>
                      <a:pt x="656364" y="104680"/>
                      <a:pt x="694940" y="114110"/>
                      <a:pt x="723039" y="109538"/>
                    </a:cubicBezTo>
                    <a:cubicBezTo>
                      <a:pt x="722849" y="109919"/>
                      <a:pt x="735898" y="110109"/>
                      <a:pt x="735136" y="111823"/>
                    </a:cubicBezTo>
                    <a:cubicBezTo>
                      <a:pt x="735041" y="108776"/>
                      <a:pt x="767616" y="112300"/>
                      <a:pt x="752471" y="108680"/>
                    </a:cubicBezTo>
                    <a:cubicBezTo>
                      <a:pt x="754757" y="107633"/>
                      <a:pt x="790571" y="107633"/>
                      <a:pt x="772569" y="110585"/>
                    </a:cubicBezTo>
                    <a:cubicBezTo>
                      <a:pt x="822099" y="111633"/>
                      <a:pt x="1059653" y="114395"/>
                      <a:pt x="1112993" y="112967"/>
                    </a:cubicBezTo>
                    <a:cubicBezTo>
                      <a:pt x="1106135" y="110776"/>
                      <a:pt x="1089656" y="112205"/>
                      <a:pt x="1083465" y="108776"/>
                    </a:cubicBezTo>
                    <a:cubicBezTo>
                      <a:pt x="1153950" y="111728"/>
                      <a:pt x="1230626" y="113157"/>
                      <a:pt x="1296825" y="108966"/>
                    </a:cubicBezTo>
                    <a:cubicBezTo>
                      <a:pt x="1277680" y="103251"/>
                      <a:pt x="1356071" y="110966"/>
                      <a:pt x="1346736" y="103632"/>
                    </a:cubicBezTo>
                    <a:cubicBezTo>
                      <a:pt x="1351213" y="105347"/>
                      <a:pt x="1374454" y="106109"/>
                      <a:pt x="1360643" y="107633"/>
                    </a:cubicBezTo>
                    <a:cubicBezTo>
                      <a:pt x="1368548" y="107728"/>
                      <a:pt x="1376168" y="108299"/>
                      <a:pt x="1381788" y="107442"/>
                    </a:cubicBezTo>
                    <a:lnTo>
                      <a:pt x="1371692" y="106490"/>
                    </a:lnTo>
                    <a:cubicBezTo>
                      <a:pt x="1398266" y="106013"/>
                      <a:pt x="1412744" y="108680"/>
                      <a:pt x="1430080" y="105537"/>
                    </a:cubicBezTo>
                    <a:lnTo>
                      <a:pt x="1420269" y="104108"/>
                    </a:lnTo>
                    <a:cubicBezTo>
                      <a:pt x="1436176" y="103918"/>
                      <a:pt x="1449416" y="103632"/>
                      <a:pt x="1455702" y="107061"/>
                    </a:cubicBezTo>
                    <a:lnTo>
                      <a:pt x="1439414" y="108109"/>
                    </a:lnTo>
                    <a:cubicBezTo>
                      <a:pt x="1465799" y="108014"/>
                      <a:pt x="1481610" y="107823"/>
                      <a:pt x="1503613" y="105918"/>
                    </a:cubicBezTo>
                    <a:lnTo>
                      <a:pt x="1495802" y="105823"/>
                    </a:lnTo>
                    <a:cubicBezTo>
                      <a:pt x="1523806" y="102394"/>
                      <a:pt x="1670110" y="99441"/>
                      <a:pt x="1695923" y="95155"/>
                    </a:cubicBezTo>
                    <a:lnTo>
                      <a:pt x="1684016" y="92488"/>
                    </a:lnTo>
                    <a:lnTo>
                      <a:pt x="1706210" y="90202"/>
                    </a:lnTo>
                    <a:cubicBezTo>
                      <a:pt x="1703543" y="90202"/>
                      <a:pt x="1695542" y="98965"/>
                      <a:pt x="1693351" y="98108"/>
                    </a:cubicBezTo>
                    <a:cubicBezTo>
                      <a:pt x="1757549" y="99441"/>
                      <a:pt x="2045109" y="91345"/>
                      <a:pt x="2058539" y="102203"/>
                    </a:cubicBezTo>
                    <a:cubicBezTo>
                      <a:pt x="2079780" y="101917"/>
                      <a:pt x="2071303" y="103918"/>
                      <a:pt x="2064540" y="95060"/>
                    </a:cubicBezTo>
                    <a:cubicBezTo>
                      <a:pt x="2086638" y="95441"/>
                      <a:pt x="2259707" y="88773"/>
                      <a:pt x="2227132" y="96203"/>
                    </a:cubicBezTo>
                    <a:cubicBezTo>
                      <a:pt x="2232371" y="96298"/>
                      <a:pt x="2240372" y="95917"/>
                      <a:pt x="2245229" y="96869"/>
                    </a:cubicBezTo>
                    <a:cubicBezTo>
                      <a:pt x="2235704" y="94583"/>
                      <a:pt x="2261708" y="95345"/>
                      <a:pt x="2254278" y="94393"/>
                    </a:cubicBezTo>
                    <a:cubicBezTo>
                      <a:pt x="2395724" y="108776"/>
                      <a:pt x="2341527" y="36576"/>
                      <a:pt x="2418108" y="5810"/>
                    </a:cubicBezTo>
                    <a:cubicBezTo>
                      <a:pt x="2398772" y="4763"/>
                      <a:pt x="2335717" y="7239"/>
                      <a:pt x="2399058" y="2858"/>
                    </a:cubicBezTo>
                    <a:cubicBezTo>
                      <a:pt x="2343527" y="-572"/>
                      <a:pt x="2296283" y="1238"/>
                      <a:pt x="2241039" y="1905"/>
                    </a:cubicBezTo>
                    <a:lnTo>
                      <a:pt x="2243991" y="1048"/>
                    </a:lnTo>
                    <a:cubicBezTo>
                      <a:pt x="2234181" y="-381"/>
                      <a:pt x="2214845" y="1524"/>
                      <a:pt x="2197128" y="0"/>
                    </a:cubicBezTo>
                    <a:cubicBezTo>
                      <a:pt x="2115880" y="6096"/>
                      <a:pt x="1816128" y="3524"/>
                      <a:pt x="1710591" y="6287"/>
                    </a:cubicBezTo>
                    <a:lnTo>
                      <a:pt x="1713353" y="5906"/>
                    </a:lnTo>
                    <a:cubicBezTo>
                      <a:pt x="1577146" y="5429"/>
                      <a:pt x="1349308" y="11240"/>
                      <a:pt x="1210814" y="7715"/>
                    </a:cubicBezTo>
                    <a:cubicBezTo>
                      <a:pt x="1095848" y="23717"/>
                      <a:pt x="819051" y="5429"/>
                      <a:pt x="684463" y="13716"/>
                    </a:cubicBezTo>
                    <a:lnTo>
                      <a:pt x="687511" y="12859"/>
                    </a:lnTo>
                    <a:cubicBezTo>
                      <a:pt x="655316" y="14192"/>
                      <a:pt x="473008" y="10954"/>
                      <a:pt x="435670" y="12192"/>
                    </a:cubicBezTo>
                    <a:lnTo>
                      <a:pt x="440718" y="12668"/>
                    </a:lnTo>
                    <a:cubicBezTo>
                      <a:pt x="408047" y="14764"/>
                      <a:pt x="412524" y="11049"/>
                      <a:pt x="386807" y="9906"/>
                    </a:cubicBezTo>
                    <a:cubicBezTo>
                      <a:pt x="275174" y="28004"/>
                      <a:pt x="142395" y="18764"/>
                      <a:pt x="16856" y="12192"/>
                    </a:cubicBezTo>
                    <a:cubicBezTo>
                      <a:pt x="-6195" y="35528"/>
                      <a:pt x="-17434" y="114395"/>
                      <a:pt x="63528" y="102870"/>
                    </a:cubicBezTo>
                    <a:cubicBezTo>
                      <a:pt x="63528" y="102870"/>
                      <a:pt x="42668" y="102584"/>
                      <a:pt x="42668" y="102584"/>
                    </a:cubicBezTo>
                    <a:cubicBezTo>
                      <a:pt x="58004" y="103156"/>
                      <a:pt x="47336" y="104299"/>
                      <a:pt x="41430" y="105537"/>
                    </a:cubicBezTo>
                    <a:cubicBezTo>
                      <a:pt x="46764" y="105537"/>
                      <a:pt x="68386" y="107442"/>
                      <a:pt x="54575" y="105347"/>
                    </a:cubicBezTo>
                    <a:cubicBezTo>
                      <a:pt x="158588" y="108109"/>
                      <a:pt x="297462" y="110109"/>
                      <a:pt x="388140" y="112109"/>
                    </a:cubicBezTo>
                    <a:cubicBezTo>
                      <a:pt x="420525" y="113348"/>
                      <a:pt x="453577" y="106680"/>
                      <a:pt x="482152" y="113729"/>
                    </a:cubicBezTo>
                    <a:cubicBezTo>
                      <a:pt x="477580" y="111919"/>
                      <a:pt x="629885" y="111728"/>
                      <a:pt x="632266" y="1122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908338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29F2C5-A3FC-44EF-BA15-CEC83C83D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5040D3-67DB-455C-AD79-49E185DB63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B2B07A-258E-42DD-9A68-2C76F7D54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49BD0-10DB-43E7-8F22-40B3D51B8FC3}" type="datetime1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01E9BC-3BB8-40CD-9294-59A2E59E1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13979D-5589-4770-9D29-046F2B506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aphic 78">
            <a:extLst>
              <a:ext uri="{FF2B5EF4-FFF2-40B4-BE49-F238E27FC236}">
                <a16:creationId xmlns:a16="http://schemas.microsoft.com/office/drawing/2014/main" id="{12EF7969-DB38-4989-A65C-9D190A2455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30225" y="2333456"/>
            <a:ext cx="972241" cy="45719"/>
            <a:chOff x="4886325" y="3371754"/>
            <a:chExt cx="2418492" cy="113728"/>
          </a:xfrm>
          <a:solidFill>
            <a:schemeClr val="accent1"/>
          </a:solidFill>
        </p:grpSpPr>
        <p:sp>
          <p:nvSpPr>
            <p:cNvPr id="8" name="Graphic 78">
              <a:extLst>
                <a:ext uri="{FF2B5EF4-FFF2-40B4-BE49-F238E27FC236}">
                  <a16:creationId xmlns:a16="http://schemas.microsoft.com/office/drawing/2014/main" id="{2145BE25-C437-45FE-A3D3-BBAAF108CC9B}"/>
                </a:ext>
              </a:extLst>
            </p:cNvPr>
            <p:cNvSpPr/>
            <p:nvPr/>
          </p:nvSpPr>
          <p:spPr>
            <a:xfrm>
              <a:off x="4886325" y="3428428"/>
              <a:ext cx="2418302" cy="9525"/>
            </a:xfrm>
            <a:custGeom>
              <a:avLst/>
              <a:gdLst>
                <a:gd name="connsiteX0" fmla="*/ 0 w 2418302"/>
                <a:gd name="connsiteY0" fmla="*/ 0 h 9525"/>
                <a:gd name="connsiteX1" fmla="*/ 2418302 w 24183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8302" h="9525">
                  <a:moveTo>
                    <a:pt x="0" y="0"/>
                  </a:moveTo>
                  <a:lnTo>
                    <a:pt x="2418302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" name="Graphic 78">
              <a:extLst>
                <a:ext uri="{FF2B5EF4-FFF2-40B4-BE49-F238E27FC236}">
                  <a16:creationId xmlns:a16="http://schemas.microsoft.com/office/drawing/2014/main" id="{4A9D0FA0-682C-4076-B779-D865AEEFC66C}"/>
                </a:ext>
              </a:extLst>
            </p:cNvPr>
            <p:cNvGrpSpPr/>
            <p:nvPr/>
          </p:nvGrpSpPr>
          <p:grpSpPr>
            <a:xfrm>
              <a:off x="4886709" y="3371754"/>
              <a:ext cx="2418108" cy="113728"/>
              <a:chOff x="4886709" y="3371754"/>
              <a:chExt cx="2418108" cy="113728"/>
            </a:xfrm>
            <a:grpFill/>
          </p:grpSpPr>
          <p:sp>
            <p:nvSpPr>
              <p:cNvPr id="10" name="Graphic 78">
                <a:extLst>
                  <a:ext uri="{FF2B5EF4-FFF2-40B4-BE49-F238E27FC236}">
                    <a16:creationId xmlns:a16="http://schemas.microsoft.com/office/drawing/2014/main" id="{AB60163C-1A2D-4F00-BC61-8A3C11E2D2BE}"/>
                  </a:ext>
                </a:extLst>
              </p:cNvPr>
              <p:cNvSpPr/>
              <p:nvPr/>
            </p:nvSpPr>
            <p:spPr>
              <a:xfrm>
                <a:off x="4895088" y="3474384"/>
                <a:ext cx="32575" cy="2906"/>
              </a:xfrm>
              <a:custGeom>
                <a:avLst/>
                <a:gdLst>
                  <a:gd name="connsiteX0" fmla="*/ 0 w 32575"/>
                  <a:gd name="connsiteY0" fmla="*/ 49 h 2906"/>
                  <a:gd name="connsiteX1" fmla="*/ 32576 w 32575"/>
                  <a:gd name="connsiteY1" fmla="*/ 2907 h 2906"/>
                  <a:gd name="connsiteX2" fmla="*/ 0 w 32575"/>
                  <a:gd name="connsiteY2" fmla="*/ 49 h 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575" h="2906">
                    <a:moveTo>
                      <a:pt x="0" y="49"/>
                    </a:moveTo>
                    <a:cubicBezTo>
                      <a:pt x="7430" y="2335"/>
                      <a:pt x="20384" y="2526"/>
                      <a:pt x="32576" y="2907"/>
                    </a:cubicBezTo>
                    <a:cubicBezTo>
                      <a:pt x="23146" y="716"/>
                      <a:pt x="13240" y="-236"/>
                      <a:pt x="0" y="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Graphic 78">
                <a:extLst>
                  <a:ext uri="{FF2B5EF4-FFF2-40B4-BE49-F238E27FC236}">
                    <a16:creationId xmlns:a16="http://schemas.microsoft.com/office/drawing/2014/main" id="{3FF8D873-9CF9-4A0A-A7B8-875C0B8233D6}"/>
                  </a:ext>
                </a:extLst>
              </p:cNvPr>
              <p:cNvSpPr/>
              <p:nvPr/>
            </p:nvSpPr>
            <p:spPr>
              <a:xfrm>
                <a:off x="4927758" y="3477344"/>
                <a:ext cx="380" cy="42"/>
              </a:xfrm>
              <a:custGeom>
                <a:avLst/>
                <a:gdLst>
                  <a:gd name="connsiteX0" fmla="*/ 190 w 380"/>
                  <a:gd name="connsiteY0" fmla="*/ 42 h 42"/>
                  <a:gd name="connsiteX1" fmla="*/ 381 w 380"/>
                  <a:gd name="connsiteY1" fmla="*/ 42 h 42"/>
                  <a:gd name="connsiteX2" fmla="*/ 0 w 380"/>
                  <a:gd name="connsiteY2" fmla="*/ 42 h 42"/>
                  <a:gd name="connsiteX3" fmla="*/ 190 w 380"/>
                  <a:gd name="connsiteY3" fmla="*/ 42 h 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" h="42">
                    <a:moveTo>
                      <a:pt x="190" y="42"/>
                    </a:moveTo>
                    <a:cubicBezTo>
                      <a:pt x="190" y="42"/>
                      <a:pt x="286" y="42"/>
                      <a:pt x="381" y="42"/>
                    </a:cubicBezTo>
                    <a:cubicBezTo>
                      <a:pt x="190" y="42"/>
                      <a:pt x="95" y="42"/>
                      <a:pt x="0" y="42"/>
                    </a:cubicBezTo>
                    <a:cubicBezTo>
                      <a:pt x="0" y="-53"/>
                      <a:pt x="95" y="42"/>
                      <a:pt x="190" y="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Graphic 78">
                <a:extLst>
                  <a:ext uri="{FF2B5EF4-FFF2-40B4-BE49-F238E27FC236}">
                    <a16:creationId xmlns:a16="http://schemas.microsoft.com/office/drawing/2014/main" id="{2B645470-F624-4417-A8A4-FC242E43C9DB}"/>
                  </a:ext>
                </a:extLst>
              </p:cNvPr>
              <p:cNvSpPr/>
              <p:nvPr/>
            </p:nvSpPr>
            <p:spPr>
              <a:xfrm>
                <a:off x="7285577" y="3374517"/>
                <a:ext cx="10001" cy="190"/>
              </a:xfrm>
              <a:custGeom>
                <a:avLst/>
                <a:gdLst>
                  <a:gd name="connsiteX0" fmla="*/ 10001 w 10001"/>
                  <a:gd name="connsiteY0" fmla="*/ 0 h 190"/>
                  <a:gd name="connsiteX1" fmla="*/ 0 w 10001"/>
                  <a:gd name="connsiteY1" fmla="*/ 191 h 190"/>
                  <a:gd name="connsiteX2" fmla="*/ 10001 w 10001"/>
                  <a:gd name="connsiteY2" fmla="*/ 0 h 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1" h="190">
                    <a:moveTo>
                      <a:pt x="10001" y="0"/>
                    </a:moveTo>
                    <a:cubicBezTo>
                      <a:pt x="6953" y="0"/>
                      <a:pt x="3524" y="95"/>
                      <a:pt x="0" y="191"/>
                    </a:cubicBezTo>
                    <a:cubicBezTo>
                      <a:pt x="3334" y="191"/>
                      <a:pt x="6763" y="191"/>
                      <a:pt x="10001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Graphic 78">
                <a:extLst>
                  <a:ext uri="{FF2B5EF4-FFF2-40B4-BE49-F238E27FC236}">
                    <a16:creationId xmlns:a16="http://schemas.microsoft.com/office/drawing/2014/main" id="{ECC7EFEF-6B2A-4210-9275-0077ACF2827B}"/>
                  </a:ext>
                </a:extLst>
              </p:cNvPr>
              <p:cNvSpPr/>
              <p:nvPr/>
            </p:nvSpPr>
            <p:spPr>
              <a:xfrm>
                <a:off x="4886709" y="3371754"/>
                <a:ext cx="2418108" cy="113728"/>
              </a:xfrm>
              <a:custGeom>
                <a:avLst/>
                <a:gdLst>
                  <a:gd name="connsiteX0" fmla="*/ 632266 w 2418108"/>
                  <a:gd name="connsiteY0" fmla="*/ 112205 h 113728"/>
                  <a:gd name="connsiteX1" fmla="*/ 723039 w 2418108"/>
                  <a:gd name="connsiteY1" fmla="*/ 109538 h 113728"/>
                  <a:gd name="connsiteX2" fmla="*/ 735136 w 2418108"/>
                  <a:gd name="connsiteY2" fmla="*/ 111823 h 113728"/>
                  <a:gd name="connsiteX3" fmla="*/ 752471 w 2418108"/>
                  <a:gd name="connsiteY3" fmla="*/ 108680 h 113728"/>
                  <a:gd name="connsiteX4" fmla="*/ 772569 w 2418108"/>
                  <a:gd name="connsiteY4" fmla="*/ 110585 h 113728"/>
                  <a:gd name="connsiteX5" fmla="*/ 1112993 w 2418108"/>
                  <a:gd name="connsiteY5" fmla="*/ 112967 h 113728"/>
                  <a:gd name="connsiteX6" fmla="*/ 1083465 w 2418108"/>
                  <a:gd name="connsiteY6" fmla="*/ 108776 h 113728"/>
                  <a:gd name="connsiteX7" fmla="*/ 1296825 w 2418108"/>
                  <a:gd name="connsiteY7" fmla="*/ 108966 h 113728"/>
                  <a:gd name="connsiteX8" fmla="*/ 1346736 w 2418108"/>
                  <a:gd name="connsiteY8" fmla="*/ 103632 h 113728"/>
                  <a:gd name="connsiteX9" fmla="*/ 1360643 w 2418108"/>
                  <a:gd name="connsiteY9" fmla="*/ 107633 h 113728"/>
                  <a:gd name="connsiteX10" fmla="*/ 1381788 w 2418108"/>
                  <a:gd name="connsiteY10" fmla="*/ 107442 h 113728"/>
                  <a:gd name="connsiteX11" fmla="*/ 1371692 w 2418108"/>
                  <a:gd name="connsiteY11" fmla="*/ 106490 h 113728"/>
                  <a:gd name="connsiteX12" fmla="*/ 1430080 w 2418108"/>
                  <a:gd name="connsiteY12" fmla="*/ 105537 h 113728"/>
                  <a:gd name="connsiteX13" fmla="*/ 1420269 w 2418108"/>
                  <a:gd name="connsiteY13" fmla="*/ 104108 h 113728"/>
                  <a:gd name="connsiteX14" fmla="*/ 1455702 w 2418108"/>
                  <a:gd name="connsiteY14" fmla="*/ 107061 h 113728"/>
                  <a:gd name="connsiteX15" fmla="*/ 1439414 w 2418108"/>
                  <a:gd name="connsiteY15" fmla="*/ 108109 h 113728"/>
                  <a:gd name="connsiteX16" fmla="*/ 1503613 w 2418108"/>
                  <a:gd name="connsiteY16" fmla="*/ 105918 h 113728"/>
                  <a:gd name="connsiteX17" fmla="*/ 1495802 w 2418108"/>
                  <a:gd name="connsiteY17" fmla="*/ 105823 h 113728"/>
                  <a:gd name="connsiteX18" fmla="*/ 1695923 w 2418108"/>
                  <a:gd name="connsiteY18" fmla="*/ 95155 h 113728"/>
                  <a:gd name="connsiteX19" fmla="*/ 1684016 w 2418108"/>
                  <a:gd name="connsiteY19" fmla="*/ 92488 h 113728"/>
                  <a:gd name="connsiteX20" fmla="*/ 1706210 w 2418108"/>
                  <a:gd name="connsiteY20" fmla="*/ 90202 h 113728"/>
                  <a:gd name="connsiteX21" fmla="*/ 1693351 w 2418108"/>
                  <a:gd name="connsiteY21" fmla="*/ 98108 h 113728"/>
                  <a:gd name="connsiteX22" fmla="*/ 2058539 w 2418108"/>
                  <a:gd name="connsiteY22" fmla="*/ 102203 h 113728"/>
                  <a:gd name="connsiteX23" fmla="*/ 2064540 w 2418108"/>
                  <a:gd name="connsiteY23" fmla="*/ 95060 h 113728"/>
                  <a:gd name="connsiteX24" fmla="*/ 2227132 w 2418108"/>
                  <a:gd name="connsiteY24" fmla="*/ 96203 h 113728"/>
                  <a:gd name="connsiteX25" fmla="*/ 2245229 w 2418108"/>
                  <a:gd name="connsiteY25" fmla="*/ 96869 h 113728"/>
                  <a:gd name="connsiteX26" fmla="*/ 2254278 w 2418108"/>
                  <a:gd name="connsiteY26" fmla="*/ 94393 h 113728"/>
                  <a:gd name="connsiteX27" fmla="*/ 2418108 w 2418108"/>
                  <a:gd name="connsiteY27" fmla="*/ 5810 h 113728"/>
                  <a:gd name="connsiteX28" fmla="*/ 2399058 w 2418108"/>
                  <a:gd name="connsiteY28" fmla="*/ 2858 h 113728"/>
                  <a:gd name="connsiteX29" fmla="*/ 2241039 w 2418108"/>
                  <a:gd name="connsiteY29" fmla="*/ 1905 h 113728"/>
                  <a:gd name="connsiteX30" fmla="*/ 2243991 w 2418108"/>
                  <a:gd name="connsiteY30" fmla="*/ 1048 h 113728"/>
                  <a:gd name="connsiteX31" fmla="*/ 2197128 w 2418108"/>
                  <a:gd name="connsiteY31" fmla="*/ 0 h 113728"/>
                  <a:gd name="connsiteX32" fmla="*/ 1710591 w 2418108"/>
                  <a:gd name="connsiteY32" fmla="*/ 6287 h 113728"/>
                  <a:gd name="connsiteX33" fmla="*/ 1713353 w 2418108"/>
                  <a:gd name="connsiteY33" fmla="*/ 5906 h 113728"/>
                  <a:gd name="connsiteX34" fmla="*/ 1210814 w 2418108"/>
                  <a:gd name="connsiteY34" fmla="*/ 7715 h 113728"/>
                  <a:gd name="connsiteX35" fmla="*/ 684463 w 2418108"/>
                  <a:gd name="connsiteY35" fmla="*/ 13716 h 113728"/>
                  <a:gd name="connsiteX36" fmla="*/ 687511 w 2418108"/>
                  <a:gd name="connsiteY36" fmla="*/ 12859 h 113728"/>
                  <a:gd name="connsiteX37" fmla="*/ 435670 w 2418108"/>
                  <a:gd name="connsiteY37" fmla="*/ 12192 h 113728"/>
                  <a:gd name="connsiteX38" fmla="*/ 440718 w 2418108"/>
                  <a:gd name="connsiteY38" fmla="*/ 12668 h 113728"/>
                  <a:gd name="connsiteX39" fmla="*/ 386807 w 2418108"/>
                  <a:gd name="connsiteY39" fmla="*/ 9906 h 113728"/>
                  <a:gd name="connsiteX40" fmla="*/ 16856 w 2418108"/>
                  <a:gd name="connsiteY40" fmla="*/ 12192 h 113728"/>
                  <a:gd name="connsiteX41" fmla="*/ 63528 w 2418108"/>
                  <a:gd name="connsiteY41" fmla="*/ 102870 h 113728"/>
                  <a:gd name="connsiteX42" fmla="*/ 42668 w 2418108"/>
                  <a:gd name="connsiteY42" fmla="*/ 102584 h 113728"/>
                  <a:gd name="connsiteX43" fmla="*/ 41430 w 2418108"/>
                  <a:gd name="connsiteY43" fmla="*/ 105537 h 113728"/>
                  <a:gd name="connsiteX44" fmla="*/ 54575 w 2418108"/>
                  <a:gd name="connsiteY44" fmla="*/ 105347 h 113728"/>
                  <a:gd name="connsiteX45" fmla="*/ 388140 w 2418108"/>
                  <a:gd name="connsiteY45" fmla="*/ 112109 h 113728"/>
                  <a:gd name="connsiteX46" fmla="*/ 482152 w 2418108"/>
                  <a:gd name="connsiteY46" fmla="*/ 113729 h 113728"/>
                  <a:gd name="connsiteX47" fmla="*/ 632266 w 2418108"/>
                  <a:gd name="connsiteY47" fmla="*/ 112205 h 11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418108" h="113728">
                    <a:moveTo>
                      <a:pt x="632266" y="112205"/>
                    </a:moveTo>
                    <a:cubicBezTo>
                      <a:pt x="656364" y="104680"/>
                      <a:pt x="694940" y="114110"/>
                      <a:pt x="723039" y="109538"/>
                    </a:cubicBezTo>
                    <a:cubicBezTo>
                      <a:pt x="722849" y="109919"/>
                      <a:pt x="735898" y="110109"/>
                      <a:pt x="735136" y="111823"/>
                    </a:cubicBezTo>
                    <a:cubicBezTo>
                      <a:pt x="735041" y="108776"/>
                      <a:pt x="767616" y="112300"/>
                      <a:pt x="752471" y="108680"/>
                    </a:cubicBezTo>
                    <a:cubicBezTo>
                      <a:pt x="754757" y="107633"/>
                      <a:pt x="790571" y="107633"/>
                      <a:pt x="772569" y="110585"/>
                    </a:cubicBezTo>
                    <a:cubicBezTo>
                      <a:pt x="822099" y="111633"/>
                      <a:pt x="1059653" y="114395"/>
                      <a:pt x="1112993" y="112967"/>
                    </a:cubicBezTo>
                    <a:cubicBezTo>
                      <a:pt x="1106135" y="110776"/>
                      <a:pt x="1089656" y="112205"/>
                      <a:pt x="1083465" y="108776"/>
                    </a:cubicBezTo>
                    <a:cubicBezTo>
                      <a:pt x="1153950" y="111728"/>
                      <a:pt x="1230626" y="113157"/>
                      <a:pt x="1296825" y="108966"/>
                    </a:cubicBezTo>
                    <a:cubicBezTo>
                      <a:pt x="1277680" y="103251"/>
                      <a:pt x="1356071" y="110966"/>
                      <a:pt x="1346736" y="103632"/>
                    </a:cubicBezTo>
                    <a:cubicBezTo>
                      <a:pt x="1351213" y="105347"/>
                      <a:pt x="1374454" y="106109"/>
                      <a:pt x="1360643" y="107633"/>
                    </a:cubicBezTo>
                    <a:cubicBezTo>
                      <a:pt x="1368548" y="107728"/>
                      <a:pt x="1376168" y="108299"/>
                      <a:pt x="1381788" y="107442"/>
                    </a:cubicBezTo>
                    <a:lnTo>
                      <a:pt x="1371692" y="106490"/>
                    </a:lnTo>
                    <a:cubicBezTo>
                      <a:pt x="1398266" y="106013"/>
                      <a:pt x="1412744" y="108680"/>
                      <a:pt x="1430080" y="105537"/>
                    </a:cubicBezTo>
                    <a:lnTo>
                      <a:pt x="1420269" y="104108"/>
                    </a:lnTo>
                    <a:cubicBezTo>
                      <a:pt x="1436176" y="103918"/>
                      <a:pt x="1449416" y="103632"/>
                      <a:pt x="1455702" y="107061"/>
                    </a:cubicBezTo>
                    <a:lnTo>
                      <a:pt x="1439414" y="108109"/>
                    </a:lnTo>
                    <a:cubicBezTo>
                      <a:pt x="1465799" y="108014"/>
                      <a:pt x="1481610" y="107823"/>
                      <a:pt x="1503613" y="105918"/>
                    </a:cubicBezTo>
                    <a:lnTo>
                      <a:pt x="1495802" y="105823"/>
                    </a:lnTo>
                    <a:cubicBezTo>
                      <a:pt x="1523806" y="102394"/>
                      <a:pt x="1670110" y="99441"/>
                      <a:pt x="1695923" y="95155"/>
                    </a:cubicBezTo>
                    <a:lnTo>
                      <a:pt x="1684016" y="92488"/>
                    </a:lnTo>
                    <a:lnTo>
                      <a:pt x="1706210" y="90202"/>
                    </a:lnTo>
                    <a:cubicBezTo>
                      <a:pt x="1703543" y="90202"/>
                      <a:pt x="1695542" y="98965"/>
                      <a:pt x="1693351" y="98108"/>
                    </a:cubicBezTo>
                    <a:cubicBezTo>
                      <a:pt x="1757549" y="99441"/>
                      <a:pt x="2045109" y="91345"/>
                      <a:pt x="2058539" y="102203"/>
                    </a:cubicBezTo>
                    <a:cubicBezTo>
                      <a:pt x="2079780" y="101917"/>
                      <a:pt x="2071303" y="103918"/>
                      <a:pt x="2064540" y="95060"/>
                    </a:cubicBezTo>
                    <a:cubicBezTo>
                      <a:pt x="2086638" y="95441"/>
                      <a:pt x="2259707" y="88773"/>
                      <a:pt x="2227132" y="96203"/>
                    </a:cubicBezTo>
                    <a:cubicBezTo>
                      <a:pt x="2232371" y="96298"/>
                      <a:pt x="2240372" y="95917"/>
                      <a:pt x="2245229" y="96869"/>
                    </a:cubicBezTo>
                    <a:cubicBezTo>
                      <a:pt x="2235704" y="94583"/>
                      <a:pt x="2261708" y="95345"/>
                      <a:pt x="2254278" y="94393"/>
                    </a:cubicBezTo>
                    <a:cubicBezTo>
                      <a:pt x="2395724" y="108776"/>
                      <a:pt x="2341527" y="36576"/>
                      <a:pt x="2418108" y="5810"/>
                    </a:cubicBezTo>
                    <a:cubicBezTo>
                      <a:pt x="2398772" y="4763"/>
                      <a:pt x="2335717" y="7239"/>
                      <a:pt x="2399058" y="2858"/>
                    </a:cubicBezTo>
                    <a:cubicBezTo>
                      <a:pt x="2343527" y="-572"/>
                      <a:pt x="2296283" y="1238"/>
                      <a:pt x="2241039" y="1905"/>
                    </a:cubicBezTo>
                    <a:lnTo>
                      <a:pt x="2243991" y="1048"/>
                    </a:lnTo>
                    <a:cubicBezTo>
                      <a:pt x="2234181" y="-381"/>
                      <a:pt x="2214845" y="1524"/>
                      <a:pt x="2197128" y="0"/>
                    </a:cubicBezTo>
                    <a:cubicBezTo>
                      <a:pt x="2115880" y="6096"/>
                      <a:pt x="1816128" y="3524"/>
                      <a:pt x="1710591" y="6287"/>
                    </a:cubicBezTo>
                    <a:lnTo>
                      <a:pt x="1713353" y="5906"/>
                    </a:lnTo>
                    <a:cubicBezTo>
                      <a:pt x="1577146" y="5429"/>
                      <a:pt x="1349308" y="11240"/>
                      <a:pt x="1210814" y="7715"/>
                    </a:cubicBezTo>
                    <a:cubicBezTo>
                      <a:pt x="1095848" y="23717"/>
                      <a:pt x="819051" y="5429"/>
                      <a:pt x="684463" y="13716"/>
                    </a:cubicBezTo>
                    <a:lnTo>
                      <a:pt x="687511" y="12859"/>
                    </a:lnTo>
                    <a:cubicBezTo>
                      <a:pt x="655316" y="14192"/>
                      <a:pt x="473008" y="10954"/>
                      <a:pt x="435670" y="12192"/>
                    </a:cubicBezTo>
                    <a:lnTo>
                      <a:pt x="440718" y="12668"/>
                    </a:lnTo>
                    <a:cubicBezTo>
                      <a:pt x="408047" y="14764"/>
                      <a:pt x="412524" y="11049"/>
                      <a:pt x="386807" y="9906"/>
                    </a:cubicBezTo>
                    <a:cubicBezTo>
                      <a:pt x="275174" y="28004"/>
                      <a:pt x="142395" y="18764"/>
                      <a:pt x="16856" y="12192"/>
                    </a:cubicBezTo>
                    <a:cubicBezTo>
                      <a:pt x="-6195" y="35528"/>
                      <a:pt x="-17434" y="114395"/>
                      <a:pt x="63528" y="102870"/>
                    </a:cubicBezTo>
                    <a:cubicBezTo>
                      <a:pt x="63528" y="102870"/>
                      <a:pt x="42668" y="102584"/>
                      <a:pt x="42668" y="102584"/>
                    </a:cubicBezTo>
                    <a:cubicBezTo>
                      <a:pt x="58004" y="103156"/>
                      <a:pt x="47336" y="104299"/>
                      <a:pt x="41430" y="105537"/>
                    </a:cubicBezTo>
                    <a:cubicBezTo>
                      <a:pt x="46764" y="105537"/>
                      <a:pt x="68386" y="107442"/>
                      <a:pt x="54575" y="105347"/>
                    </a:cubicBezTo>
                    <a:cubicBezTo>
                      <a:pt x="158588" y="108109"/>
                      <a:pt x="297462" y="110109"/>
                      <a:pt x="388140" y="112109"/>
                    </a:cubicBezTo>
                    <a:cubicBezTo>
                      <a:pt x="420525" y="113348"/>
                      <a:pt x="453577" y="106680"/>
                      <a:pt x="482152" y="113729"/>
                    </a:cubicBezTo>
                    <a:cubicBezTo>
                      <a:pt x="477580" y="111919"/>
                      <a:pt x="629885" y="111728"/>
                      <a:pt x="632266" y="1122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2014642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C6693CD-CB65-4F37-A6DA-F300B93C14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974374" y="787067"/>
            <a:ext cx="2628900" cy="538989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48D117-7AE6-4831-9867-5145F64A0C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25719" y="787067"/>
            <a:ext cx="7039402" cy="538989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988CF8-397F-485E-8081-AFA4DADD44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6C79C-F566-427A-93F6-434A4E613134}" type="datetime1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CE4773-4660-4F21-83CF-1A449395B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B59537-EB47-40FA-893E-785D6FE00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aphic 78">
            <a:extLst>
              <a:ext uri="{FF2B5EF4-FFF2-40B4-BE49-F238E27FC236}">
                <a16:creationId xmlns:a16="http://schemas.microsoft.com/office/drawing/2014/main" id="{588F505F-2957-41FC-9AAA-962853A671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5400000">
            <a:off x="7283627" y="1250328"/>
            <a:ext cx="972241" cy="45719"/>
            <a:chOff x="4886325" y="3371754"/>
            <a:chExt cx="2418492" cy="113728"/>
          </a:xfrm>
          <a:solidFill>
            <a:schemeClr val="accent1"/>
          </a:solidFill>
        </p:grpSpPr>
        <p:sp>
          <p:nvSpPr>
            <p:cNvPr id="8" name="Graphic 78">
              <a:extLst>
                <a:ext uri="{FF2B5EF4-FFF2-40B4-BE49-F238E27FC236}">
                  <a16:creationId xmlns:a16="http://schemas.microsoft.com/office/drawing/2014/main" id="{091A36EB-8545-4EFE-B619-165D36D644D1}"/>
                </a:ext>
              </a:extLst>
            </p:cNvPr>
            <p:cNvSpPr/>
            <p:nvPr/>
          </p:nvSpPr>
          <p:spPr>
            <a:xfrm>
              <a:off x="4886325" y="3428428"/>
              <a:ext cx="2418302" cy="9525"/>
            </a:xfrm>
            <a:custGeom>
              <a:avLst/>
              <a:gdLst>
                <a:gd name="connsiteX0" fmla="*/ 0 w 2418302"/>
                <a:gd name="connsiteY0" fmla="*/ 0 h 9525"/>
                <a:gd name="connsiteX1" fmla="*/ 2418302 w 24183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8302" h="9525">
                  <a:moveTo>
                    <a:pt x="0" y="0"/>
                  </a:moveTo>
                  <a:lnTo>
                    <a:pt x="2418302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" name="Graphic 78">
              <a:extLst>
                <a:ext uri="{FF2B5EF4-FFF2-40B4-BE49-F238E27FC236}">
                  <a16:creationId xmlns:a16="http://schemas.microsoft.com/office/drawing/2014/main" id="{8D075D29-6706-486B-A55A-13866882BA88}"/>
                </a:ext>
              </a:extLst>
            </p:cNvPr>
            <p:cNvGrpSpPr/>
            <p:nvPr/>
          </p:nvGrpSpPr>
          <p:grpSpPr>
            <a:xfrm>
              <a:off x="4886709" y="3371754"/>
              <a:ext cx="2418108" cy="113728"/>
              <a:chOff x="4886709" y="3371754"/>
              <a:chExt cx="2418108" cy="113728"/>
            </a:xfrm>
            <a:grpFill/>
          </p:grpSpPr>
          <p:sp>
            <p:nvSpPr>
              <p:cNvPr id="10" name="Graphic 78">
                <a:extLst>
                  <a:ext uri="{FF2B5EF4-FFF2-40B4-BE49-F238E27FC236}">
                    <a16:creationId xmlns:a16="http://schemas.microsoft.com/office/drawing/2014/main" id="{3FAE751A-10F0-48F2-BBC3-D2FE499B345B}"/>
                  </a:ext>
                </a:extLst>
              </p:cNvPr>
              <p:cNvSpPr/>
              <p:nvPr/>
            </p:nvSpPr>
            <p:spPr>
              <a:xfrm>
                <a:off x="4895088" y="3474384"/>
                <a:ext cx="32575" cy="2906"/>
              </a:xfrm>
              <a:custGeom>
                <a:avLst/>
                <a:gdLst>
                  <a:gd name="connsiteX0" fmla="*/ 0 w 32575"/>
                  <a:gd name="connsiteY0" fmla="*/ 49 h 2906"/>
                  <a:gd name="connsiteX1" fmla="*/ 32576 w 32575"/>
                  <a:gd name="connsiteY1" fmla="*/ 2907 h 2906"/>
                  <a:gd name="connsiteX2" fmla="*/ 0 w 32575"/>
                  <a:gd name="connsiteY2" fmla="*/ 49 h 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575" h="2906">
                    <a:moveTo>
                      <a:pt x="0" y="49"/>
                    </a:moveTo>
                    <a:cubicBezTo>
                      <a:pt x="7430" y="2335"/>
                      <a:pt x="20384" y="2526"/>
                      <a:pt x="32576" y="2907"/>
                    </a:cubicBezTo>
                    <a:cubicBezTo>
                      <a:pt x="23146" y="716"/>
                      <a:pt x="13240" y="-236"/>
                      <a:pt x="0" y="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Graphic 78">
                <a:extLst>
                  <a:ext uri="{FF2B5EF4-FFF2-40B4-BE49-F238E27FC236}">
                    <a16:creationId xmlns:a16="http://schemas.microsoft.com/office/drawing/2014/main" id="{52289CAF-683C-4BCC-8AA5-95A3BF799B0F}"/>
                  </a:ext>
                </a:extLst>
              </p:cNvPr>
              <p:cNvSpPr/>
              <p:nvPr/>
            </p:nvSpPr>
            <p:spPr>
              <a:xfrm>
                <a:off x="4927758" y="3477344"/>
                <a:ext cx="380" cy="42"/>
              </a:xfrm>
              <a:custGeom>
                <a:avLst/>
                <a:gdLst>
                  <a:gd name="connsiteX0" fmla="*/ 190 w 380"/>
                  <a:gd name="connsiteY0" fmla="*/ 42 h 42"/>
                  <a:gd name="connsiteX1" fmla="*/ 381 w 380"/>
                  <a:gd name="connsiteY1" fmla="*/ 42 h 42"/>
                  <a:gd name="connsiteX2" fmla="*/ 0 w 380"/>
                  <a:gd name="connsiteY2" fmla="*/ 42 h 42"/>
                  <a:gd name="connsiteX3" fmla="*/ 190 w 380"/>
                  <a:gd name="connsiteY3" fmla="*/ 42 h 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" h="42">
                    <a:moveTo>
                      <a:pt x="190" y="42"/>
                    </a:moveTo>
                    <a:cubicBezTo>
                      <a:pt x="190" y="42"/>
                      <a:pt x="286" y="42"/>
                      <a:pt x="381" y="42"/>
                    </a:cubicBezTo>
                    <a:cubicBezTo>
                      <a:pt x="190" y="42"/>
                      <a:pt x="95" y="42"/>
                      <a:pt x="0" y="42"/>
                    </a:cubicBezTo>
                    <a:cubicBezTo>
                      <a:pt x="0" y="-53"/>
                      <a:pt x="95" y="42"/>
                      <a:pt x="190" y="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Graphic 78">
                <a:extLst>
                  <a:ext uri="{FF2B5EF4-FFF2-40B4-BE49-F238E27FC236}">
                    <a16:creationId xmlns:a16="http://schemas.microsoft.com/office/drawing/2014/main" id="{3BC8403A-C46F-4DA1-A015-00A80215F289}"/>
                  </a:ext>
                </a:extLst>
              </p:cNvPr>
              <p:cNvSpPr/>
              <p:nvPr/>
            </p:nvSpPr>
            <p:spPr>
              <a:xfrm>
                <a:off x="7285577" y="3374517"/>
                <a:ext cx="10001" cy="190"/>
              </a:xfrm>
              <a:custGeom>
                <a:avLst/>
                <a:gdLst>
                  <a:gd name="connsiteX0" fmla="*/ 10001 w 10001"/>
                  <a:gd name="connsiteY0" fmla="*/ 0 h 190"/>
                  <a:gd name="connsiteX1" fmla="*/ 0 w 10001"/>
                  <a:gd name="connsiteY1" fmla="*/ 191 h 190"/>
                  <a:gd name="connsiteX2" fmla="*/ 10001 w 10001"/>
                  <a:gd name="connsiteY2" fmla="*/ 0 h 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1" h="190">
                    <a:moveTo>
                      <a:pt x="10001" y="0"/>
                    </a:moveTo>
                    <a:cubicBezTo>
                      <a:pt x="6953" y="0"/>
                      <a:pt x="3524" y="95"/>
                      <a:pt x="0" y="191"/>
                    </a:cubicBezTo>
                    <a:cubicBezTo>
                      <a:pt x="3334" y="191"/>
                      <a:pt x="6763" y="191"/>
                      <a:pt x="10001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Graphic 78">
                <a:extLst>
                  <a:ext uri="{FF2B5EF4-FFF2-40B4-BE49-F238E27FC236}">
                    <a16:creationId xmlns:a16="http://schemas.microsoft.com/office/drawing/2014/main" id="{A797D957-3A2C-42DF-B73E-CBB47BE036B7}"/>
                  </a:ext>
                </a:extLst>
              </p:cNvPr>
              <p:cNvSpPr/>
              <p:nvPr/>
            </p:nvSpPr>
            <p:spPr>
              <a:xfrm>
                <a:off x="4886709" y="3371754"/>
                <a:ext cx="2418108" cy="113728"/>
              </a:xfrm>
              <a:custGeom>
                <a:avLst/>
                <a:gdLst>
                  <a:gd name="connsiteX0" fmla="*/ 632266 w 2418108"/>
                  <a:gd name="connsiteY0" fmla="*/ 112205 h 113728"/>
                  <a:gd name="connsiteX1" fmla="*/ 723039 w 2418108"/>
                  <a:gd name="connsiteY1" fmla="*/ 109538 h 113728"/>
                  <a:gd name="connsiteX2" fmla="*/ 735136 w 2418108"/>
                  <a:gd name="connsiteY2" fmla="*/ 111823 h 113728"/>
                  <a:gd name="connsiteX3" fmla="*/ 752471 w 2418108"/>
                  <a:gd name="connsiteY3" fmla="*/ 108680 h 113728"/>
                  <a:gd name="connsiteX4" fmla="*/ 772569 w 2418108"/>
                  <a:gd name="connsiteY4" fmla="*/ 110585 h 113728"/>
                  <a:gd name="connsiteX5" fmla="*/ 1112993 w 2418108"/>
                  <a:gd name="connsiteY5" fmla="*/ 112967 h 113728"/>
                  <a:gd name="connsiteX6" fmla="*/ 1083465 w 2418108"/>
                  <a:gd name="connsiteY6" fmla="*/ 108776 h 113728"/>
                  <a:gd name="connsiteX7" fmla="*/ 1296825 w 2418108"/>
                  <a:gd name="connsiteY7" fmla="*/ 108966 h 113728"/>
                  <a:gd name="connsiteX8" fmla="*/ 1346736 w 2418108"/>
                  <a:gd name="connsiteY8" fmla="*/ 103632 h 113728"/>
                  <a:gd name="connsiteX9" fmla="*/ 1360643 w 2418108"/>
                  <a:gd name="connsiteY9" fmla="*/ 107633 h 113728"/>
                  <a:gd name="connsiteX10" fmla="*/ 1381788 w 2418108"/>
                  <a:gd name="connsiteY10" fmla="*/ 107442 h 113728"/>
                  <a:gd name="connsiteX11" fmla="*/ 1371692 w 2418108"/>
                  <a:gd name="connsiteY11" fmla="*/ 106490 h 113728"/>
                  <a:gd name="connsiteX12" fmla="*/ 1430080 w 2418108"/>
                  <a:gd name="connsiteY12" fmla="*/ 105537 h 113728"/>
                  <a:gd name="connsiteX13" fmla="*/ 1420269 w 2418108"/>
                  <a:gd name="connsiteY13" fmla="*/ 104108 h 113728"/>
                  <a:gd name="connsiteX14" fmla="*/ 1455702 w 2418108"/>
                  <a:gd name="connsiteY14" fmla="*/ 107061 h 113728"/>
                  <a:gd name="connsiteX15" fmla="*/ 1439414 w 2418108"/>
                  <a:gd name="connsiteY15" fmla="*/ 108109 h 113728"/>
                  <a:gd name="connsiteX16" fmla="*/ 1503613 w 2418108"/>
                  <a:gd name="connsiteY16" fmla="*/ 105918 h 113728"/>
                  <a:gd name="connsiteX17" fmla="*/ 1495802 w 2418108"/>
                  <a:gd name="connsiteY17" fmla="*/ 105823 h 113728"/>
                  <a:gd name="connsiteX18" fmla="*/ 1695923 w 2418108"/>
                  <a:gd name="connsiteY18" fmla="*/ 95155 h 113728"/>
                  <a:gd name="connsiteX19" fmla="*/ 1684016 w 2418108"/>
                  <a:gd name="connsiteY19" fmla="*/ 92488 h 113728"/>
                  <a:gd name="connsiteX20" fmla="*/ 1706210 w 2418108"/>
                  <a:gd name="connsiteY20" fmla="*/ 90202 h 113728"/>
                  <a:gd name="connsiteX21" fmla="*/ 1693351 w 2418108"/>
                  <a:gd name="connsiteY21" fmla="*/ 98108 h 113728"/>
                  <a:gd name="connsiteX22" fmla="*/ 2058539 w 2418108"/>
                  <a:gd name="connsiteY22" fmla="*/ 102203 h 113728"/>
                  <a:gd name="connsiteX23" fmla="*/ 2064540 w 2418108"/>
                  <a:gd name="connsiteY23" fmla="*/ 95060 h 113728"/>
                  <a:gd name="connsiteX24" fmla="*/ 2227132 w 2418108"/>
                  <a:gd name="connsiteY24" fmla="*/ 96203 h 113728"/>
                  <a:gd name="connsiteX25" fmla="*/ 2245229 w 2418108"/>
                  <a:gd name="connsiteY25" fmla="*/ 96869 h 113728"/>
                  <a:gd name="connsiteX26" fmla="*/ 2254278 w 2418108"/>
                  <a:gd name="connsiteY26" fmla="*/ 94393 h 113728"/>
                  <a:gd name="connsiteX27" fmla="*/ 2418108 w 2418108"/>
                  <a:gd name="connsiteY27" fmla="*/ 5810 h 113728"/>
                  <a:gd name="connsiteX28" fmla="*/ 2399058 w 2418108"/>
                  <a:gd name="connsiteY28" fmla="*/ 2858 h 113728"/>
                  <a:gd name="connsiteX29" fmla="*/ 2241039 w 2418108"/>
                  <a:gd name="connsiteY29" fmla="*/ 1905 h 113728"/>
                  <a:gd name="connsiteX30" fmla="*/ 2243991 w 2418108"/>
                  <a:gd name="connsiteY30" fmla="*/ 1048 h 113728"/>
                  <a:gd name="connsiteX31" fmla="*/ 2197128 w 2418108"/>
                  <a:gd name="connsiteY31" fmla="*/ 0 h 113728"/>
                  <a:gd name="connsiteX32" fmla="*/ 1710591 w 2418108"/>
                  <a:gd name="connsiteY32" fmla="*/ 6287 h 113728"/>
                  <a:gd name="connsiteX33" fmla="*/ 1713353 w 2418108"/>
                  <a:gd name="connsiteY33" fmla="*/ 5906 h 113728"/>
                  <a:gd name="connsiteX34" fmla="*/ 1210814 w 2418108"/>
                  <a:gd name="connsiteY34" fmla="*/ 7715 h 113728"/>
                  <a:gd name="connsiteX35" fmla="*/ 684463 w 2418108"/>
                  <a:gd name="connsiteY35" fmla="*/ 13716 h 113728"/>
                  <a:gd name="connsiteX36" fmla="*/ 687511 w 2418108"/>
                  <a:gd name="connsiteY36" fmla="*/ 12859 h 113728"/>
                  <a:gd name="connsiteX37" fmla="*/ 435670 w 2418108"/>
                  <a:gd name="connsiteY37" fmla="*/ 12192 h 113728"/>
                  <a:gd name="connsiteX38" fmla="*/ 440718 w 2418108"/>
                  <a:gd name="connsiteY38" fmla="*/ 12668 h 113728"/>
                  <a:gd name="connsiteX39" fmla="*/ 386807 w 2418108"/>
                  <a:gd name="connsiteY39" fmla="*/ 9906 h 113728"/>
                  <a:gd name="connsiteX40" fmla="*/ 16856 w 2418108"/>
                  <a:gd name="connsiteY40" fmla="*/ 12192 h 113728"/>
                  <a:gd name="connsiteX41" fmla="*/ 63528 w 2418108"/>
                  <a:gd name="connsiteY41" fmla="*/ 102870 h 113728"/>
                  <a:gd name="connsiteX42" fmla="*/ 42668 w 2418108"/>
                  <a:gd name="connsiteY42" fmla="*/ 102584 h 113728"/>
                  <a:gd name="connsiteX43" fmla="*/ 41430 w 2418108"/>
                  <a:gd name="connsiteY43" fmla="*/ 105537 h 113728"/>
                  <a:gd name="connsiteX44" fmla="*/ 54575 w 2418108"/>
                  <a:gd name="connsiteY44" fmla="*/ 105347 h 113728"/>
                  <a:gd name="connsiteX45" fmla="*/ 388140 w 2418108"/>
                  <a:gd name="connsiteY45" fmla="*/ 112109 h 113728"/>
                  <a:gd name="connsiteX46" fmla="*/ 482152 w 2418108"/>
                  <a:gd name="connsiteY46" fmla="*/ 113729 h 113728"/>
                  <a:gd name="connsiteX47" fmla="*/ 632266 w 2418108"/>
                  <a:gd name="connsiteY47" fmla="*/ 112205 h 11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418108" h="113728">
                    <a:moveTo>
                      <a:pt x="632266" y="112205"/>
                    </a:moveTo>
                    <a:cubicBezTo>
                      <a:pt x="656364" y="104680"/>
                      <a:pt x="694940" y="114110"/>
                      <a:pt x="723039" y="109538"/>
                    </a:cubicBezTo>
                    <a:cubicBezTo>
                      <a:pt x="722849" y="109919"/>
                      <a:pt x="735898" y="110109"/>
                      <a:pt x="735136" y="111823"/>
                    </a:cubicBezTo>
                    <a:cubicBezTo>
                      <a:pt x="735041" y="108776"/>
                      <a:pt x="767616" y="112300"/>
                      <a:pt x="752471" y="108680"/>
                    </a:cubicBezTo>
                    <a:cubicBezTo>
                      <a:pt x="754757" y="107633"/>
                      <a:pt x="790571" y="107633"/>
                      <a:pt x="772569" y="110585"/>
                    </a:cubicBezTo>
                    <a:cubicBezTo>
                      <a:pt x="822099" y="111633"/>
                      <a:pt x="1059653" y="114395"/>
                      <a:pt x="1112993" y="112967"/>
                    </a:cubicBezTo>
                    <a:cubicBezTo>
                      <a:pt x="1106135" y="110776"/>
                      <a:pt x="1089656" y="112205"/>
                      <a:pt x="1083465" y="108776"/>
                    </a:cubicBezTo>
                    <a:cubicBezTo>
                      <a:pt x="1153950" y="111728"/>
                      <a:pt x="1230626" y="113157"/>
                      <a:pt x="1296825" y="108966"/>
                    </a:cubicBezTo>
                    <a:cubicBezTo>
                      <a:pt x="1277680" y="103251"/>
                      <a:pt x="1356071" y="110966"/>
                      <a:pt x="1346736" y="103632"/>
                    </a:cubicBezTo>
                    <a:cubicBezTo>
                      <a:pt x="1351213" y="105347"/>
                      <a:pt x="1374454" y="106109"/>
                      <a:pt x="1360643" y="107633"/>
                    </a:cubicBezTo>
                    <a:cubicBezTo>
                      <a:pt x="1368548" y="107728"/>
                      <a:pt x="1376168" y="108299"/>
                      <a:pt x="1381788" y="107442"/>
                    </a:cubicBezTo>
                    <a:lnTo>
                      <a:pt x="1371692" y="106490"/>
                    </a:lnTo>
                    <a:cubicBezTo>
                      <a:pt x="1398266" y="106013"/>
                      <a:pt x="1412744" y="108680"/>
                      <a:pt x="1430080" y="105537"/>
                    </a:cubicBezTo>
                    <a:lnTo>
                      <a:pt x="1420269" y="104108"/>
                    </a:lnTo>
                    <a:cubicBezTo>
                      <a:pt x="1436176" y="103918"/>
                      <a:pt x="1449416" y="103632"/>
                      <a:pt x="1455702" y="107061"/>
                    </a:cubicBezTo>
                    <a:lnTo>
                      <a:pt x="1439414" y="108109"/>
                    </a:lnTo>
                    <a:cubicBezTo>
                      <a:pt x="1465799" y="108014"/>
                      <a:pt x="1481610" y="107823"/>
                      <a:pt x="1503613" y="105918"/>
                    </a:cubicBezTo>
                    <a:lnTo>
                      <a:pt x="1495802" y="105823"/>
                    </a:lnTo>
                    <a:cubicBezTo>
                      <a:pt x="1523806" y="102394"/>
                      <a:pt x="1670110" y="99441"/>
                      <a:pt x="1695923" y="95155"/>
                    </a:cubicBezTo>
                    <a:lnTo>
                      <a:pt x="1684016" y="92488"/>
                    </a:lnTo>
                    <a:lnTo>
                      <a:pt x="1706210" y="90202"/>
                    </a:lnTo>
                    <a:cubicBezTo>
                      <a:pt x="1703543" y="90202"/>
                      <a:pt x="1695542" y="98965"/>
                      <a:pt x="1693351" y="98108"/>
                    </a:cubicBezTo>
                    <a:cubicBezTo>
                      <a:pt x="1757549" y="99441"/>
                      <a:pt x="2045109" y="91345"/>
                      <a:pt x="2058539" y="102203"/>
                    </a:cubicBezTo>
                    <a:cubicBezTo>
                      <a:pt x="2079780" y="101917"/>
                      <a:pt x="2071303" y="103918"/>
                      <a:pt x="2064540" y="95060"/>
                    </a:cubicBezTo>
                    <a:cubicBezTo>
                      <a:pt x="2086638" y="95441"/>
                      <a:pt x="2259707" y="88773"/>
                      <a:pt x="2227132" y="96203"/>
                    </a:cubicBezTo>
                    <a:cubicBezTo>
                      <a:pt x="2232371" y="96298"/>
                      <a:pt x="2240372" y="95917"/>
                      <a:pt x="2245229" y="96869"/>
                    </a:cubicBezTo>
                    <a:cubicBezTo>
                      <a:pt x="2235704" y="94583"/>
                      <a:pt x="2261708" y="95345"/>
                      <a:pt x="2254278" y="94393"/>
                    </a:cubicBezTo>
                    <a:cubicBezTo>
                      <a:pt x="2395724" y="108776"/>
                      <a:pt x="2341527" y="36576"/>
                      <a:pt x="2418108" y="5810"/>
                    </a:cubicBezTo>
                    <a:cubicBezTo>
                      <a:pt x="2398772" y="4763"/>
                      <a:pt x="2335717" y="7239"/>
                      <a:pt x="2399058" y="2858"/>
                    </a:cubicBezTo>
                    <a:cubicBezTo>
                      <a:pt x="2343527" y="-572"/>
                      <a:pt x="2296283" y="1238"/>
                      <a:pt x="2241039" y="1905"/>
                    </a:cubicBezTo>
                    <a:lnTo>
                      <a:pt x="2243991" y="1048"/>
                    </a:lnTo>
                    <a:cubicBezTo>
                      <a:pt x="2234181" y="-381"/>
                      <a:pt x="2214845" y="1524"/>
                      <a:pt x="2197128" y="0"/>
                    </a:cubicBezTo>
                    <a:cubicBezTo>
                      <a:pt x="2115880" y="6096"/>
                      <a:pt x="1816128" y="3524"/>
                      <a:pt x="1710591" y="6287"/>
                    </a:cubicBezTo>
                    <a:lnTo>
                      <a:pt x="1713353" y="5906"/>
                    </a:lnTo>
                    <a:cubicBezTo>
                      <a:pt x="1577146" y="5429"/>
                      <a:pt x="1349308" y="11240"/>
                      <a:pt x="1210814" y="7715"/>
                    </a:cubicBezTo>
                    <a:cubicBezTo>
                      <a:pt x="1095848" y="23717"/>
                      <a:pt x="819051" y="5429"/>
                      <a:pt x="684463" y="13716"/>
                    </a:cubicBezTo>
                    <a:lnTo>
                      <a:pt x="687511" y="12859"/>
                    </a:lnTo>
                    <a:cubicBezTo>
                      <a:pt x="655316" y="14192"/>
                      <a:pt x="473008" y="10954"/>
                      <a:pt x="435670" y="12192"/>
                    </a:cubicBezTo>
                    <a:lnTo>
                      <a:pt x="440718" y="12668"/>
                    </a:lnTo>
                    <a:cubicBezTo>
                      <a:pt x="408047" y="14764"/>
                      <a:pt x="412524" y="11049"/>
                      <a:pt x="386807" y="9906"/>
                    </a:cubicBezTo>
                    <a:cubicBezTo>
                      <a:pt x="275174" y="28004"/>
                      <a:pt x="142395" y="18764"/>
                      <a:pt x="16856" y="12192"/>
                    </a:cubicBezTo>
                    <a:cubicBezTo>
                      <a:pt x="-6195" y="35528"/>
                      <a:pt x="-17434" y="114395"/>
                      <a:pt x="63528" y="102870"/>
                    </a:cubicBezTo>
                    <a:cubicBezTo>
                      <a:pt x="63528" y="102870"/>
                      <a:pt x="42668" y="102584"/>
                      <a:pt x="42668" y="102584"/>
                    </a:cubicBezTo>
                    <a:cubicBezTo>
                      <a:pt x="58004" y="103156"/>
                      <a:pt x="47336" y="104299"/>
                      <a:pt x="41430" y="105537"/>
                    </a:cubicBezTo>
                    <a:cubicBezTo>
                      <a:pt x="46764" y="105537"/>
                      <a:pt x="68386" y="107442"/>
                      <a:pt x="54575" y="105347"/>
                    </a:cubicBezTo>
                    <a:cubicBezTo>
                      <a:pt x="158588" y="108109"/>
                      <a:pt x="297462" y="110109"/>
                      <a:pt x="388140" y="112109"/>
                    </a:cubicBezTo>
                    <a:cubicBezTo>
                      <a:pt x="420525" y="113348"/>
                      <a:pt x="453577" y="106680"/>
                      <a:pt x="482152" y="113729"/>
                    </a:cubicBezTo>
                    <a:cubicBezTo>
                      <a:pt x="477580" y="111919"/>
                      <a:pt x="629885" y="111728"/>
                      <a:pt x="632266" y="1122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544368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1A6C9-7EE5-B8C5-E063-9F8EE4C35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ED569B-E1EA-3705-A047-AE5AAA17C0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BFF5DA-6F3B-C9AB-020F-21E3C7E27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D6523C-3472-7916-B0DC-377951B19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3AD517-AFD6-C176-79B0-C2F126241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708606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A18C9-850C-3E81-EC3D-80CA8009B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11C4DE-C757-4F8E-EA24-247B845D49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334C84-D773-FDD7-02D5-BEBD3EC1D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B4D87C-2306-FD2C-66AA-BB53E9203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A8F31D-192E-1B9A-5E82-FA3E4B9E8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0345827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216BE-2D05-793C-394E-87F3CE74E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2B0953-3333-14E2-DA72-01A84C6A29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D9887E-7E27-69DD-D398-44F3BBD85B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3502B8-8674-8129-188F-8416AC1F0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A2D8F2-DA8D-6F85-9045-DE6BB1B51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902547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E9476-ACEF-9ABA-BCA5-7C08CA2CE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865516-7DC6-34DD-63A0-7BBD118A91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F42EE1-3740-4E1C-543D-FB27A200EC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6647B2-07E3-809E-D1A8-8D67BB83B0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929CDF-4D46-3A09-585C-62CF02F1E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F5D05B-3E13-E5D2-DB83-E8C2D7C9C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128300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50123-5541-D4C9-2A3C-E7AD9AFD0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EE98B0-83C3-438A-3F97-7B041F50FE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B1168B-9EF9-F8C3-B685-66ACE01EB6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8A189A-97CF-7B54-16AC-56224B4F4FC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D19666E-5942-FB89-F721-3F9E7FEB8A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B3F8842-8D5D-B3FA-BD18-81B44EDAF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6EAA13-DD25-79F5-10AD-4611EB7C7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3A10650-9253-A182-FA9D-05BC4C969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9608670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D97B96-A681-3EE3-3990-C57D718661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EFE280-0645-B71F-EA65-90A3A95E1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E55078-2946-981F-E252-C4B2B381D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82F9F0-F272-49B6-938C-5028B2BF6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4745718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6C8558-6093-1CF1-48FF-9EFC071E46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1F1E9F-22E0-0139-02E2-74821DABD3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6461D2-0102-6AC9-4913-F73B941CB2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987388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5F13F7-D6E8-0020-AE69-5B5CA59F1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A788E8-C3D7-C1F4-7124-92852ED7EA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EA26D7-718C-51BD-78B8-AA748E7DDA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1C508B-34CA-D0B1-26A4-6EAAF8D23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D1F937-C0AE-B4DE-590D-D7BCEDA7C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794C9B-2201-3604-D542-5EE98FE87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507679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821E79-C3E5-1BA4-EB7D-AB75537D3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FE2A68-F35A-1DA0-A7EC-8A821E19F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5877C-6933-9DE2-1CB9-D4E9558936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F2A4DF-36B8-AC4F-DC59-6ACB4D229B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72B915-A2A0-28F4-F6A0-39DDF8E256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C36A1E-B62F-9DB1-BD35-261FD04515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49457911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DF5971-FBC9-A627-DE1C-5626247B5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B96831-8038-4208-75FB-4EDDD7283D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5D204D-CE9C-D313-9281-CB6FBB58D2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538DE4-9C6F-A2D1-D090-5A877DB2C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1ACE88-76B4-3543-BA6D-05C4E6B26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34D341-AD07-8D52-6A13-6D9A9DC1B4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85174762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9BC006-3EB7-83EB-8F79-F728EAC6E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2050929-E15A-0172-9D0F-14BFAA4381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93381C-DA0E-CC25-72B0-D0BB5544F2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AB63EF-4ACF-EA0B-ADEA-5AB791AB5B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CC237C-9E25-742E-F100-AAED92D59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728186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6888AA5-2E59-799E-B294-DF1CC50DDBD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DC65B1-2C0C-C98E-E72F-7669F865B2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539D49-7E0E-39D5-8009-92CA8F0B90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340D48-6D38-7A37-7776-FBD5C067A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AED8E-CFD5-C2C3-9EED-A14AAD2FB7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38892658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B270B5-2641-4048-A5B7-426327B0B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084"/>
            <a:ext cx="10515819" cy="831928"/>
          </a:xfrm>
          <a:prstGeom prst="rect">
            <a:avLst/>
          </a:prstGeom>
        </p:spPr>
        <p:txBody>
          <a:bodyPr anchor="ctr"/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281430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LAST TITTLE " preserve="1" userDrawn="1">
  <p:cSld name="BIG LAST TITTLE 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D93E4BB-3BB0-493A-9AAA-515B43E8E4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4609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27" name="Google Shape;27;p3"/>
          <p:cNvCxnSpPr/>
          <p:nvPr/>
        </p:nvCxnSpPr>
        <p:spPr>
          <a:xfrm>
            <a:off x="6057022" y="2489400"/>
            <a:ext cx="0" cy="199600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8" name="Google Shape;28;p3"/>
          <p:cNvSpPr/>
          <p:nvPr/>
        </p:nvSpPr>
        <p:spPr>
          <a:xfrm flipH="1">
            <a:off x="2263656" y="12163"/>
            <a:ext cx="235" cy="230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1"/>
                </a:move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" name="Google Shape;29;p3"/>
          <p:cNvSpPr/>
          <p:nvPr/>
        </p:nvSpPr>
        <p:spPr>
          <a:xfrm flipH="1">
            <a:off x="2263656" y="12163"/>
            <a:ext cx="235" cy="230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1"/>
                </a:move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3"/>
          <p:cNvSpPr/>
          <p:nvPr/>
        </p:nvSpPr>
        <p:spPr>
          <a:xfrm>
            <a:off x="12114165" y="24324"/>
            <a:ext cx="77836" cy="12392"/>
          </a:xfrm>
          <a:custGeom>
            <a:avLst/>
            <a:gdLst/>
            <a:ahLst/>
            <a:cxnLst/>
            <a:rect l="l" t="t" r="r" b="b"/>
            <a:pathLst>
              <a:path w="332" h="54" extrusionOk="0">
                <a:moveTo>
                  <a:pt x="0" y="0"/>
                </a:moveTo>
                <a:cubicBezTo>
                  <a:pt x="106" y="0"/>
                  <a:pt x="212" y="53"/>
                  <a:pt x="331" y="53"/>
                </a:cubicBezTo>
                <a:cubicBezTo>
                  <a:pt x="212" y="0"/>
                  <a:pt x="159" y="0"/>
                  <a:pt x="53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3"/>
          <p:cNvSpPr/>
          <p:nvPr/>
        </p:nvSpPr>
        <p:spPr>
          <a:xfrm>
            <a:off x="10666522" y="12163"/>
            <a:ext cx="235" cy="230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1"/>
                </a:move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" name="Google Shape;32;p3"/>
          <p:cNvSpPr txBox="1">
            <a:spLocks noGrp="1"/>
          </p:cNvSpPr>
          <p:nvPr>
            <p:ph type="ctrTitle"/>
          </p:nvPr>
        </p:nvSpPr>
        <p:spPr>
          <a:xfrm flipH="1">
            <a:off x="6193082" y="3040400"/>
            <a:ext cx="8988800" cy="894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33" name="Google Shape;33;p3"/>
          <p:cNvSpPr txBox="1">
            <a:spLocks noGrp="1"/>
          </p:cNvSpPr>
          <p:nvPr>
            <p:ph type="subTitle" idx="1"/>
          </p:nvPr>
        </p:nvSpPr>
        <p:spPr>
          <a:xfrm flipH="1">
            <a:off x="2134437" y="3173000"/>
            <a:ext cx="3727600" cy="62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None/>
              <a:defRPr>
                <a:solidFill>
                  <a:srgbClr val="FFFFFF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2403130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CHEDULE" preserve="1">
  <p:cSld name="SCHEDULE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0"/>
          <p:cNvSpPr/>
          <p:nvPr/>
        </p:nvSpPr>
        <p:spPr>
          <a:xfrm rot="10800000" flipH="1">
            <a:off x="700" y="-23636"/>
            <a:ext cx="12192000" cy="68844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0" name="Google Shape;90;p10"/>
          <p:cNvSpPr txBox="1">
            <a:spLocks noGrp="1"/>
          </p:cNvSpPr>
          <p:nvPr>
            <p:ph type="ctrTitle"/>
          </p:nvPr>
        </p:nvSpPr>
        <p:spPr>
          <a:xfrm rot="-5400000">
            <a:off x="5323611" y="3033367"/>
            <a:ext cx="105304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91" name="Google Shape;91;p10"/>
          <p:cNvCxnSpPr>
            <a:stCxn id="89" idx="1"/>
          </p:cNvCxnSpPr>
          <p:nvPr/>
        </p:nvCxnSpPr>
        <p:spPr>
          <a:xfrm>
            <a:off x="700" y="3418564"/>
            <a:ext cx="5554400" cy="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" name="Google Shape;92;p10"/>
          <p:cNvSpPr txBox="1">
            <a:spLocks noGrp="1"/>
          </p:cNvSpPr>
          <p:nvPr>
            <p:ph type="ctrTitle" idx="2"/>
          </p:nvPr>
        </p:nvSpPr>
        <p:spPr>
          <a:xfrm>
            <a:off x="2737614" y="1828847"/>
            <a:ext cx="23920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 sz="1867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9pPr>
          </a:lstStyle>
          <a:p>
            <a:endParaRPr dirty="0"/>
          </a:p>
        </p:txBody>
      </p:sp>
      <p:sp>
        <p:nvSpPr>
          <p:cNvPr id="93" name="Google Shape;93;p10"/>
          <p:cNvSpPr txBox="1">
            <a:spLocks noGrp="1"/>
          </p:cNvSpPr>
          <p:nvPr>
            <p:ph type="subTitle" idx="1"/>
          </p:nvPr>
        </p:nvSpPr>
        <p:spPr>
          <a:xfrm>
            <a:off x="2737614" y="2526536"/>
            <a:ext cx="2392000" cy="49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9pPr>
          </a:lstStyle>
          <a:p>
            <a:endParaRPr dirty="0"/>
          </a:p>
        </p:txBody>
      </p:sp>
      <p:sp>
        <p:nvSpPr>
          <p:cNvPr id="94" name="Google Shape;94;p10"/>
          <p:cNvSpPr txBox="1">
            <a:spLocks noGrp="1"/>
          </p:cNvSpPr>
          <p:nvPr>
            <p:ph type="title" idx="3" hasCustomPrompt="1"/>
          </p:nvPr>
        </p:nvSpPr>
        <p:spPr>
          <a:xfrm>
            <a:off x="335348" y="2047902"/>
            <a:ext cx="2338400" cy="11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9pPr>
          </a:lstStyle>
          <a:p>
            <a:r>
              <a:rPr dirty="0"/>
              <a:t>xx%</a:t>
            </a:r>
          </a:p>
        </p:txBody>
      </p:sp>
      <p:sp>
        <p:nvSpPr>
          <p:cNvPr id="95" name="Google Shape;95;p10"/>
          <p:cNvSpPr txBox="1">
            <a:spLocks noGrp="1"/>
          </p:cNvSpPr>
          <p:nvPr>
            <p:ph type="ctrTitle" idx="4"/>
          </p:nvPr>
        </p:nvSpPr>
        <p:spPr>
          <a:xfrm>
            <a:off x="2737614" y="3656524"/>
            <a:ext cx="23920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 sz="1867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96" name="Google Shape;96;p10"/>
          <p:cNvSpPr txBox="1">
            <a:spLocks noGrp="1"/>
          </p:cNvSpPr>
          <p:nvPr>
            <p:ph type="subTitle" idx="5"/>
          </p:nvPr>
        </p:nvSpPr>
        <p:spPr>
          <a:xfrm>
            <a:off x="2737614" y="4354214"/>
            <a:ext cx="2392000" cy="49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97" name="Google Shape;97;p10"/>
          <p:cNvSpPr txBox="1">
            <a:spLocks noGrp="1"/>
          </p:cNvSpPr>
          <p:nvPr>
            <p:ph type="title" idx="6" hasCustomPrompt="1"/>
          </p:nvPr>
        </p:nvSpPr>
        <p:spPr>
          <a:xfrm>
            <a:off x="335348" y="3875579"/>
            <a:ext cx="2338400" cy="11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98" name="Google Shape;98;p10"/>
          <p:cNvSpPr txBox="1">
            <a:spLocks noGrp="1"/>
          </p:cNvSpPr>
          <p:nvPr>
            <p:ph type="ctrTitle" idx="7"/>
          </p:nvPr>
        </p:nvSpPr>
        <p:spPr>
          <a:xfrm>
            <a:off x="7233982" y="1828847"/>
            <a:ext cx="23920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 sz="1867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99" name="Google Shape;99;p10"/>
          <p:cNvSpPr txBox="1">
            <a:spLocks noGrp="1"/>
          </p:cNvSpPr>
          <p:nvPr>
            <p:ph type="subTitle" idx="8"/>
          </p:nvPr>
        </p:nvSpPr>
        <p:spPr>
          <a:xfrm>
            <a:off x="7233982" y="2526536"/>
            <a:ext cx="2392000" cy="49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0" name="Google Shape;100;p10"/>
          <p:cNvSpPr txBox="1">
            <a:spLocks noGrp="1"/>
          </p:cNvSpPr>
          <p:nvPr>
            <p:ph type="title" idx="9" hasCustomPrompt="1"/>
          </p:nvPr>
        </p:nvSpPr>
        <p:spPr>
          <a:xfrm>
            <a:off x="4831715" y="2047902"/>
            <a:ext cx="2338400" cy="11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01" name="Google Shape;101;p10"/>
          <p:cNvSpPr txBox="1">
            <a:spLocks noGrp="1"/>
          </p:cNvSpPr>
          <p:nvPr>
            <p:ph type="ctrTitle" idx="13"/>
          </p:nvPr>
        </p:nvSpPr>
        <p:spPr>
          <a:xfrm>
            <a:off x="7233982" y="3656524"/>
            <a:ext cx="23920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 sz="1867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2" name="Google Shape;102;p10"/>
          <p:cNvSpPr txBox="1">
            <a:spLocks noGrp="1"/>
          </p:cNvSpPr>
          <p:nvPr>
            <p:ph type="subTitle" idx="14"/>
          </p:nvPr>
        </p:nvSpPr>
        <p:spPr>
          <a:xfrm>
            <a:off x="7233982" y="4354214"/>
            <a:ext cx="2392000" cy="49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3" name="Google Shape;103;p10"/>
          <p:cNvSpPr txBox="1">
            <a:spLocks noGrp="1"/>
          </p:cNvSpPr>
          <p:nvPr>
            <p:ph type="title" idx="15" hasCustomPrompt="1"/>
          </p:nvPr>
        </p:nvSpPr>
        <p:spPr>
          <a:xfrm>
            <a:off x="4831715" y="3875579"/>
            <a:ext cx="2338400" cy="11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8667">
                <a:solidFill>
                  <a:srgbClr val="FFFFFF"/>
                </a:solidFill>
              </a:defRPr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350563071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AND DESIGN 1" preserve="1" userDrawn="1">
  <p:cSld name="HEADLAND DESIGN 1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2B1C724-EFB9-4767-A9CE-1FB48C55C6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4609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7" name="Google Shape;107;p11"/>
          <p:cNvSpPr/>
          <p:nvPr/>
        </p:nvSpPr>
        <p:spPr>
          <a:xfrm>
            <a:off x="134" y="0"/>
            <a:ext cx="12192000" cy="6858000"/>
          </a:xfrm>
          <a:prstGeom prst="rect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" name="Google Shape;110;p11"/>
          <p:cNvSpPr txBox="1">
            <a:spLocks noGrp="1"/>
          </p:cNvSpPr>
          <p:nvPr>
            <p:ph type="ctrTitle"/>
          </p:nvPr>
        </p:nvSpPr>
        <p:spPr>
          <a:xfrm>
            <a:off x="5733330" y="3027168"/>
            <a:ext cx="2610800" cy="854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9pPr>
          </a:lstStyle>
          <a:p>
            <a:endParaRPr dirty="0"/>
          </a:p>
        </p:txBody>
      </p:sp>
      <p:sp>
        <p:nvSpPr>
          <p:cNvPr id="111" name="Google Shape;111;p11"/>
          <p:cNvSpPr txBox="1">
            <a:spLocks noGrp="1"/>
          </p:cNvSpPr>
          <p:nvPr>
            <p:ph type="subTitle" idx="1"/>
          </p:nvPr>
        </p:nvSpPr>
        <p:spPr>
          <a:xfrm>
            <a:off x="5733330" y="3848834"/>
            <a:ext cx="3540400" cy="56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None/>
              <a:defRPr sz="1600">
                <a:solidFill>
                  <a:srgbClr val="FFFFFF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12" name="Google Shape;112;p11"/>
          <p:cNvSpPr txBox="1">
            <a:spLocks noGrp="1"/>
          </p:cNvSpPr>
          <p:nvPr>
            <p:ph type="ctrTitle" idx="2"/>
          </p:nvPr>
        </p:nvSpPr>
        <p:spPr>
          <a:xfrm>
            <a:off x="311667" y="2829002"/>
            <a:ext cx="5256000" cy="1782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7107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7">
          <p15:clr>
            <a:srgbClr val="FA7B17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IMAGE" preserve="1" userDrawn="1">
  <p:cSld name="TITLE + IMAGE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22"/>
          <p:cNvSpPr/>
          <p:nvPr/>
        </p:nvSpPr>
        <p:spPr>
          <a:xfrm rot="10800000" flipH="1">
            <a:off x="700" y="-7234"/>
            <a:ext cx="12192000" cy="68680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0D1E017-F58F-4E6B-865D-9F357FF3B26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234"/>
            <a:ext cx="6096000" cy="686514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79" name="Google Shape;179;p22"/>
          <p:cNvSpPr/>
          <p:nvPr/>
        </p:nvSpPr>
        <p:spPr>
          <a:xfrm flipH="1">
            <a:off x="1780424" y="1917600"/>
            <a:ext cx="8702800" cy="3022800"/>
          </a:xfrm>
          <a:prstGeom prst="rect">
            <a:avLst/>
          </a:prstGeom>
          <a:solidFill>
            <a:srgbClr val="434343">
              <a:alpha val="646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0" name="Google Shape;180;p22"/>
          <p:cNvSpPr txBox="1">
            <a:spLocks noGrp="1"/>
          </p:cNvSpPr>
          <p:nvPr>
            <p:ph type="ctrTitle"/>
          </p:nvPr>
        </p:nvSpPr>
        <p:spPr>
          <a:xfrm>
            <a:off x="2528943" y="2798200"/>
            <a:ext cx="3345200" cy="126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81" name="Google Shape;181;p22"/>
          <p:cNvSpPr txBox="1">
            <a:spLocks noGrp="1"/>
          </p:cNvSpPr>
          <p:nvPr>
            <p:ph type="subTitle" idx="1"/>
          </p:nvPr>
        </p:nvSpPr>
        <p:spPr>
          <a:xfrm>
            <a:off x="6491230" y="2890167"/>
            <a:ext cx="2919200" cy="1056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 sz="1467">
                <a:solidFill>
                  <a:srgbClr val="FFFFFF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8311400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TITLE + SUBTITLE" preserve="1">
  <p:cSld name="BIG TITLE + SUBTITLE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15"/>
          <p:cNvSpPr/>
          <p:nvPr/>
        </p:nvSpPr>
        <p:spPr>
          <a:xfrm rot="10800000" flipH="1">
            <a:off x="700" y="-23636"/>
            <a:ext cx="12192000" cy="68844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7" name="Google Shape;137;p15"/>
          <p:cNvSpPr txBox="1">
            <a:spLocks noGrp="1"/>
          </p:cNvSpPr>
          <p:nvPr>
            <p:ph type="ctrTitle"/>
          </p:nvPr>
        </p:nvSpPr>
        <p:spPr>
          <a:xfrm>
            <a:off x="377667" y="2571351"/>
            <a:ext cx="11465600" cy="1494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200"/>
              <a:buNone/>
              <a:defRPr sz="96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8" name="Google Shape;138;p15"/>
          <p:cNvSpPr txBox="1">
            <a:spLocks noGrp="1"/>
          </p:cNvSpPr>
          <p:nvPr>
            <p:ph type="subTitle" idx="1"/>
          </p:nvPr>
        </p:nvSpPr>
        <p:spPr>
          <a:xfrm>
            <a:off x="2535867" y="3893466"/>
            <a:ext cx="7149200" cy="39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None/>
              <a:defRPr>
                <a:solidFill>
                  <a:srgbClr val="FFFFFF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575334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33408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5677E7-E1B2-4480-5C6F-2DCF96209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2837C1-514F-1208-79A6-B0C3AE5CED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470ADD-A90D-D33D-A349-CBC895F9DC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1F5AE9-2217-ADD7-484D-8585302CEA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833706-AB44-625A-5C3B-A2B64B07EE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BC33A25-12CC-AB81-001E-27E20D76B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620C8EB-214B-116B-33AF-B064F5612B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AF2AED-8826-07AC-8D81-1D4D6765E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0185708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AND DESIGN 3" preserve="1" userDrawn="1">
  <p:cSld name="HEADLAND DESIGN 3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0A93DAC-FF0D-4923-8961-ED91EAA3E5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21" name="Google Shape;121;p13"/>
          <p:cNvSpPr/>
          <p:nvPr/>
        </p:nvSpPr>
        <p:spPr>
          <a:xfrm>
            <a:off x="134" y="0"/>
            <a:ext cx="12192000" cy="6858000"/>
          </a:xfrm>
          <a:prstGeom prst="rect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2" name="Google Shape;122;p13"/>
          <p:cNvSpPr/>
          <p:nvPr/>
        </p:nvSpPr>
        <p:spPr>
          <a:xfrm flipH="1">
            <a:off x="1745434" y="0"/>
            <a:ext cx="8702800" cy="5496800"/>
          </a:xfrm>
          <a:prstGeom prst="rect">
            <a:avLst/>
          </a:prstGeom>
          <a:solidFill>
            <a:srgbClr val="434343">
              <a:alpha val="776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3" name="Google Shape;123;p13"/>
          <p:cNvSpPr txBox="1">
            <a:spLocks noGrp="1"/>
          </p:cNvSpPr>
          <p:nvPr>
            <p:ph type="subTitle" idx="1"/>
          </p:nvPr>
        </p:nvSpPr>
        <p:spPr>
          <a:xfrm>
            <a:off x="3746367" y="4139534"/>
            <a:ext cx="4700800" cy="46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None/>
              <a:defRPr sz="1600">
                <a:solidFill>
                  <a:srgbClr val="FFFFFF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24" name="Google Shape;124;p13"/>
          <p:cNvSpPr txBox="1">
            <a:spLocks noGrp="1"/>
          </p:cNvSpPr>
          <p:nvPr>
            <p:ph type="ctrTitle"/>
          </p:nvPr>
        </p:nvSpPr>
        <p:spPr>
          <a:xfrm>
            <a:off x="1254902" y="2244167"/>
            <a:ext cx="9683600" cy="1174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6000"/>
              <a:buNone/>
              <a:defRPr sz="8000">
                <a:solidFill>
                  <a:srgbClr val="666666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6000"/>
              <a:buNone/>
              <a:defRPr sz="8000">
                <a:solidFill>
                  <a:srgbClr val="666666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6000"/>
              <a:buNone/>
              <a:defRPr sz="8000">
                <a:solidFill>
                  <a:srgbClr val="666666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6000"/>
              <a:buNone/>
              <a:defRPr sz="8000">
                <a:solidFill>
                  <a:srgbClr val="666666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6000"/>
              <a:buNone/>
              <a:defRPr sz="8000">
                <a:solidFill>
                  <a:srgbClr val="666666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6000"/>
              <a:buNone/>
              <a:defRPr sz="8000">
                <a:solidFill>
                  <a:srgbClr val="666666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6000"/>
              <a:buNone/>
              <a:defRPr sz="8000">
                <a:solidFill>
                  <a:srgbClr val="666666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6000"/>
              <a:buNone/>
              <a:defRPr sz="8000">
                <a:solidFill>
                  <a:srgbClr val="666666"/>
                </a:solidFill>
              </a:defRPr>
            </a:lvl9pPr>
          </a:lstStyle>
          <a:p>
            <a:endParaRPr dirty="0"/>
          </a:p>
        </p:txBody>
      </p:sp>
      <p:sp>
        <p:nvSpPr>
          <p:cNvPr id="125" name="Google Shape;125;p13"/>
          <p:cNvSpPr txBox="1">
            <a:spLocks noGrp="1"/>
          </p:cNvSpPr>
          <p:nvPr>
            <p:ph type="ctrTitle" idx="2"/>
          </p:nvPr>
        </p:nvSpPr>
        <p:spPr>
          <a:xfrm>
            <a:off x="778634" y="3732766"/>
            <a:ext cx="10636400" cy="51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26" name="Google Shape;126;p13"/>
          <p:cNvCxnSpPr/>
          <p:nvPr/>
        </p:nvCxnSpPr>
        <p:spPr>
          <a:xfrm>
            <a:off x="5088502" y="3515334"/>
            <a:ext cx="20168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223381574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DESIGN 1" preserve="1">
  <p:cSld name="TITLE DESIGN 1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6"/>
          <p:cNvSpPr/>
          <p:nvPr/>
        </p:nvSpPr>
        <p:spPr>
          <a:xfrm rot="10800000" flipH="1">
            <a:off x="700" y="-23636"/>
            <a:ext cx="12192000" cy="68844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3" name="Google Shape;143;p16"/>
          <p:cNvSpPr txBox="1">
            <a:spLocks noGrp="1"/>
          </p:cNvSpPr>
          <p:nvPr>
            <p:ph type="ctrTitle"/>
          </p:nvPr>
        </p:nvSpPr>
        <p:spPr>
          <a:xfrm>
            <a:off x="2619802" y="378800"/>
            <a:ext cx="6952400" cy="126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28087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DESIGN 1" preserve="1">
  <p:cSld name="BACKGROUND DESIGN 1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20"/>
          <p:cNvSpPr/>
          <p:nvPr/>
        </p:nvSpPr>
        <p:spPr>
          <a:xfrm rot="10800000" flipH="1">
            <a:off x="700" y="-23614"/>
            <a:ext cx="12192000" cy="68844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7" name="Google Shape;167;p20"/>
          <p:cNvSpPr txBox="1">
            <a:spLocks noGrp="1"/>
          </p:cNvSpPr>
          <p:nvPr>
            <p:ph type="ctrTitle"/>
          </p:nvPr>
        </p:nvSpPr>
        <p:spPr>
          <a:xfrm>
            <a:off x="1352847" y="1190600"/>
            <a:ext cx="30336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68" name="Google Shape;168;p20"/>
          <p:cNvSpPr txBox="1">
            <a:spLocks noGrp="1"/>
          </p:cNvSpPr>
          <p:nvPr>
            <p:ph type="subTitle" idx="1"/>
          </p:nvPr>
        </p:nvSpPr>
        <p:spPr>
          <a:xfrm>
            <a:off x="1352846" y="3976667"/>
            <a:ext cx="29192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 sz="1467">
                <a:solidFill>
                  <a:srgbClr val="FFFFFF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1314092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DESIGN 2" type="blank" preserve="1">
  <p:cSld name="BACKGROUND DESIGN 2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21"/>
          <p:cNvSpPr/>
          <p:nvPr/>
        </p:nvSpPr>
        <p:spPr>
          <a:xfrm rot="10800000">
            <a:off x="-72" y="-23636"/>
            <a:ext cx="12192000" cy="68844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3" name="Google Shape;173;p21"/>
          <p:cNvSpPr txBox="1">
            <a:spLocks noGrp="1"/>
          </p:cNvSpPr>
          <p:nvPr>
            <p:ph type="ctrTitle"/>
          </p:nvPr>
        </p:nvSpPr>
        <p:spPr>
          <a:xfrm>
            <a:off x="7787810" y="1190600"/>
            <a:ext cx="30336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None/>
              <a:defRPr sz="6933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74" name="Google Shape;174;p21"/>
          <p:cNvSpPr txBox="1">
            <a:spLocks noGrp="1"/>
          </p:cNvSpPr>
          <p:nvPr>
            <p:ph type="subTitle" idx="1"/>
          </p:nvPr>
        </p:nvSpPr>
        <p:spPr>
          <a:xfrm>
            <a:off x="7902210" y="3976667"/>
            <a:ext cx="29192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 sz="1467">
                <a:solidFill>
                  <a:srgbClr val="FFFFFF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 sz="3734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8073021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TITTLE OPENING" userDrawn="1">
  <p:cSld name="BIG TITTLE OPENING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465A53E7-8476-4E15-B534-006478793D9F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/>
          <a:lstStyle/>
          <a:p>
            <a:endParaRPr lang="en-US"/>
          </a:p>
        </p:txBody>
      </p:sp>
      <p:sp>
        <p:nvSpPr>
          <p:cNvPr id="12" name="Google Shape;12;p2"/>
          <p:cNvSpPr/>
          <p:nvPr/>
        </p:nvSpPr>
        <p:spPr>
          <a:xfrm>
            <a:off x="12114165" y="24324"/>
            <a:ext cx="77836" cy="12392"/>
          </a:xfrm>
          <a:custGeom>
            <a:avLst/>
            <a:gdLst/>
            <a:ahLst/>
            <a:cxnLst/>
            <a:rect l="l" t="t" r="r" b="b"/>
            <a:pathLst>
              <a:path w="332" h="54" extrusionOk="0">
                <a:moveTo>
                  <a:pt x="0" y="0"/>
                </a:moveTo>
                <a:cubicBezTo>
                  <a:pt x="106" y="0"/>
                  <a:pt x="212" y="53"/>
                  <a:pt x="331" y="53"/>
                </a:cubicBezTo>
                <a:cubicBezTo>
                  <a:pt x="212" y="0"/>
                  <a:pt x="159" y="0"/>
                  <a:pt x="53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" name="Google Shape;13;p2"/>
          <p:cNvSpPr/>
          <p:nvPr/>
        </p:nvSpPr>
        <p:spPr>
          <a:xfrm>
            <a:off x="12114165" y="24324"/>
            <a:ext cx="77836" cy="12392"/>
          </a:xfrm>
          <a:custGeom>
            <a:avLst/>
            <a:gdLst/>
            <a:ahLst/>
            <a:cxnLst/>
            <a:rect l="l" t="t" r="r" b="b"/>
            <a:pathLst>
              <a:path w="332" h="54" extrusionOk="0">
                <a:moveTo>
                  <a:pt x="0" y="0"/>
                </a:moveTo>
                <a:cubicBezTo>
                  <a:pt x="106" y="0"/>
                  <a:pt x="212" y="53"/>
                  <a:pt x="331" y="53"/>
                </a:cubicBezTo>
                <a:cubicBezTo>
                  <a:pt x="212" y="0"/>
                  <a:pt x="159" y="0"/>
                  <a:pt x="53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" name="Google Shape;14;p2"/>
          <p:cNvSpPr/>
          <p:nvPr/>
        </p:nvSpPr>
        <p:spPr>
          <a:xfrm>
            <a:off x="10666522" y="12163"/>
            <a:ext cx="235" cy="230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1"/>
                </a:move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5" name="Google Shape;15;p2"/>
          <p:cNvSpPr/>
          <p:nvPr/>
        </p:nvSpPr>
        <p:spPr>
          <a:xfrm>
            <a:off x="10666522" y="12163"/>
            <a:ext cx="235" cy="230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1"/>
                </a:move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" name="Google Shape;16;p2"/>
          <p:cNvSpPr/>
          <p:nvPr/>
        </p:nvSpPr>
        <p:spPr>
          <a:xfrm>
            <a:off x="24852" y="2010646"/>
            <a:ext cx="235" cy="230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2"/>
          <p:cNvSpPr/>
          <p:nvPr/>
        </p:nvSpPr>
        <p:spPr>
          <a:xfrm>
            <a:off x="24852" y="3225478"/>
            <a:ext cx="235" cy="230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2"/>
          <p:cNvSpPr/>
          <p:nvPr/>
        </p:nvSpPr>
        <p:spPr>
          <a:xfrm flipH="1">
            <a:off x="1526022" y="12163"/>
            <a:ext cx="235" cy="230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1"/>
                </a:move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2"/>
          <p:cNvSpPr/>
          <p:nvPr/>
        </p:nvSpPr>
        <p:spPr>
          <a:xfrm flipH="1">
            <a:off x="1526022" y="12163"/>
            <a:ext cx="235" cy="230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1"/>
                </a:move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0" name="Google Shape;20;p2"/>
          <p:cNvSpPr/>
          <p:nvPr/>
        </p:nvSpPr>
        <p:spPr>
          <a:xfrm>
            <a:off x="10666522" y="12163"/>
            <a:ext cx="235" cy="230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1"/>
                </a:move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" name="Google Shape;21;p2"/>
          <p:cNvSpPr txBox="1">
            <a:spLocks noGrp="1"/>
          </p:cNvSpPr>
          <p:nvPr>
            <p:ph type="ctrTitle"/>
          </p:nvPr>
        </p:nvSpPr>
        <p:spPr>
          <a:xfrm>
            <a:off x="220069" y="2729370"/>
            <a:ext cx="6161361" cy="1755572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EBCFB2"/>
              </a:buClr>
              <a:buSzPts val="6000"/>
              <a:buNone/>
              <a:defRPr sz="8000">
                <a:solidFill>
                  <a:srgbClr val="EBCFB2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None/>
              <a:defRPr sz="6933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None/>
              <a:defRPr sz="6933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None/>
              <a:defRPr sz="6933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None/>
              <a:defRPr sz="6933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None/>
              <a:defRPr sz="6933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None/>
              <a:defRPr sz="6933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None/>
              <a:defRPr sz="6933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None/>
              <a:defRPr sz="6933">
                <a:solidFill>
                  <a:srgbClr val="434343"/>
                </a:solidFill>
              </a:defRPr>
            </a:lvl9pPr>
          </a:lstStyle>
          <a:p>
            <a:endParaRPr dirty="0"/>
          </a:p>
        </p:txBody>
      </p:sp>
      <p:sp>
        <p:nvSpPr>
          <p:cNvPr id="22" name="Google Shape;22;p2"/>
          <p:cNvSpPr txBox="1">
            <a:spLocks noGrp="1"/>
          </p:cNvSpPr>
          <p:nvPr>
            <p:ph type="subTitle" idx="1"/>
          </p:nvPr>
        </p:nvSpPr>
        <p:spPr>
          <a:xfrm>
            <a:off x="6712467" y="3173000"/>
            <a:ext cx="2823600" cy="62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None/>
              <a:defRPr>
                <a:solidFill>
                  <a:srgbClr val="FFFFFF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 sz="3734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 sz="3734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 sz="3734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 sz="3734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 sz="3734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 sz="3734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 sz="3734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 sz="3734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517484" y="2489400"/>
            <a:ext cx="0" cy="199600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4867250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preserve="1">
  <p:cSld name="Table of contents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4"/>
          <p:cNvSpPr txBox="1">
            <a:spLocks noGrp="1"/>
          </p:cNvSpPr>
          <p:nvPr>
            <p:ph type="title"/>
          </p:nvPr>
        </p:nvSpPr>
        <p:spPr>
          <a:xfrm>
            <a:off x="2480700" y="1165800"/>
            <a:ext cx="267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1" name="Google Shape;51;p14"/>
          <p:cNvSpPr txBox="1">
            <a:spLocks noGrp="1"/>
          </p:cNvSpPr>
          <p:nvPr>
            <p:ph type="subTitle" idx="1"/>
          </p:nvPr>
        </p:nvSpPr>
        <p:spPr>
          <a:xfrm>
            <a:off x="2480700" y="1795000"/>
            <a:ext cx="29560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2" name="Google Shape;52;p14"/>
          <p:cNvSpPr txBox="1">
            <a:spLocks noGrp="1"/>
          </p:cNvSpPr>
          <p:nvPr>
            <p:ph type="title" idx="2" hasCustomPrompt="1"/>
          </p:nvPr>
        </p:nvSpPr>
        <p:spPr>
          <a:xfrm>
            <a:off x="465434" y="1364286"/>
            <a:ext cx="1877600" cy="78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Josefin Sans Thin"/>
              <a:buNone/>
              <a:defRPr sz="80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9pPr>
          </a:lstStyle>
          <a:p>
            <a:r>
              <a:t>xx%</a:t>
            </a:r>
          </a:p>
        </p:txBody>
      </p:sp>
      <p:sp>
        <p:nvSpPr>
          <p:cNvPr id="53" name="Google Shape;53;p14"/>
          <p:cNvSpPr txBox="1">
            <a:spLocks noGrp="1"/>
          </p:cNvSpPr>
          <p:nvPr>
            <p:ph type="title" idx="3"/>
          </p:nvPr>
        </p:nvSpPr>
        <p:spPr>
          <a:xfrm>
            <a:off x="8174100" y="1165800"/>
            <a:ext cx="24044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4" name="Google Shape;54;p14"/>
          <p:cNvSpPr txBox="1">
            <a:spLocks noGrp="1"/>
          </p:cNvSpPr>
          <p:nvPr>
            <p:ph type="subTitle" idx="4"/>
          </p:nvPr>
        </p:nvSpPr>
        <p:spPr>
          <a:xfrm>
            <a:off x="8174100" y="1795000"/>
            <a:ext cx="29560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5" name="Google Shape;55;p14"/>
          <p:cNvSpPr txBox="1">
            <a:spLocks noGrp="1"/>
          </p:cNvSpPr>
          <p:nvPr>
            <p:ph type="title" idx="5" hasCustomPrompt="1"/>
          </p:nvPr>
        </p:nvSpPr>
        <p:spPr>
          <a:xfrm>
            <a:off x="6158834" y="1364286"/>
            <a:ext cx="1877600" cy="78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Josefin Sans Thin"/>
              <a:buNone/>
              <a:defRPr sz="80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9pPr>
          </a:lstStyle>
          <a:p>
            <a:r>
              <a:t>xx%</a:t>
            </a:r>
          </a:p>
        </p:txBody>
      </p:sp>
      <p:sp>
        <p:nvSpPr>
          <p:cNvPr id="56" name="Google Shape;56;p14"/>
          <p:cNvSpPr txBox="1">
            <a:spLocks noGrp="1"/>
          </p:cNvSpPr>
          <p:nvPr>
            <p:ph type="title" idx="6"/>
          </p:nvPr>
        </p:nvSpPr>
        <p:spPr>
          <a:xfrm>
            <a:off x="2480700" y="2823000"/>
            <a:ext cx="267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ubTitle" idx="7"/>
          </p:nvPr>
        </p:nvSpPr>
        <p:spPr>
          <a:xfrm>
            <a:off x="2480700" y="3452200"/>
            <a:ext cx="29560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14"/>
          <p:cNvSpPr txBox="1">
            <a:spLocks noGrp="1"/>
          </p:cNvSpPr>
          <p:nvPr>
            <p:ph type="title" idx="8" hasCustomPrompt="1"/>
          </p:nvPr>
        </p:nvSpPr>
        <p:spPr>
          <a:xfrm>
            <a:off x="465434" y="3021486"/>
            <a:ext cx="1877600" cy="78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Josefin Sans Thin"/>
              <a:buNone/>
              <a:defRPr sz="80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9pPr>
          </a:lstStyle>
          <a:p>
            <a:r>
              <a:t>xx%</a:t>
            </a:r>
          </a:p>
        </p:txBody>
      </p:sp>
      <p:sp>
        <p:nvSpPr>
          <p:cNvPr id="59" name="Google Shape;59;p14"/>
          <p:cNvSpPr txBox="1">
            <a:spLocks noGrp="1"/>
          </p:cNvSpPr>
          <p:nvPr>
            <p:ph type="title" idx="9"/>
          </p:nvPr>
        </p:nvSpPr>
        <p:spPr>
          <a:xfrm>
            <a:off x="8174100" y="2823000"/>
            <a:ext cx="24044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0" name="Google Shape;60;p14"/>
          <p:cNvSpPr txBox="1">
            <a:spLocks noGrp="1"/>
          </p:cNvSpPr>
          <p:nvPr>
            <p:ph type="subTitle" idx="13"/>
          </p:nvPr>
        </p:nvSpPr>
        <p:spPr>
          <a:xfrm>
            <a:off x="8174100" y="3452200"/>
            <a:ext cx="29560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1" name="Google Shape;61;p14"/>
          <p:cNvSpPr txBox="1">
            <a:spLocks noGrp="1"/>
          </p:cNvSpPr>
          <p:nvPr>
            <p:ph type="title" idx="14" hasCustomPrompt="1"/>
          </p:nvPr>
        </p:nvSpPr>
        <p:spPr>
          <a:xfrm>
            <a:off x="6158834" y="3021486"/>
            <a:ext cx="1877600" cy="78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Josefin Sans Thin"/>
              <a:buNone/>
              <a:defRPr sz="80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9pPr>
          </a:lstStyle>
          <a:p>
            <a:r>
              <a:t>xx%</a:t>
            </a:r>
          </a:p>
        </p:txBody>
      </p:sp>
      <p:sp>
        <p:nvSpPr>
          <p:cNvPr id="62" name="Google Shape;62;p14"/>
          <p:cNvSpPr txBox="1">
            <a:spLocks noGrp="1"/>
          </p:cNvSpPr>
          <p:nvPr>
            <p:ph type="title" idx="15"/>
          </p:nvPr>
        </p:nvSpPr>
        <p:spPr>
          <a:xfrm>
            <a:off x="2480700" y="4480200"/>
            <a:ext cx="267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3" name="Google Shape;63;p14"/>
          <p:cNvSpPr txBox="1">
            <a:spLocks noGrp="1"/>
          </p:cNvSpPr>
          <p:nvPr>
            <p:ph type="subTitle" idx="16"/>
          </p:nvPr>
        </p:nvSpPr>
        <p:spPr>
          <a:xfrm>
            <a:off x="2480700" y="5109400"/>
            <a:ext cx="29560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4" name="Google Shape;64;p14"/>
          <p:cNvSpPr txBox="1">
            <a:spLocks noGrp="1"/>
          </p:cNvSpPr>
          <p:nvPr>
            <p:ph type="title" idx="17" hasCustomPrompt="1"/>
          </p:nvPr>
        </p:nvSpPr>
        <p:spPr>
          <a:xfrm>
            <a:off x="465434" y="4678686"/>
            <a:ext cx="1877600" cy="78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Josefin Sans Thin"/>
              <a:buNone/>
              <a:defRPr sz="80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9pPr>
          </a:lstStyle>
          <a:p>
            <a:r>
              <a:t>xx%</a:t>
            </a:r>
          </a:p>
        </p:txBody>
      </p:sp>
      <p:sp>
        <p:nvSpPr>
          <p:cNvPr id="65" name="Google Shape;65;p14"/>
          <p:cNvSpPr txBox="1">
            <a:spLocks noGrp="1"/>
          </p:cNvSpPr>
          <p:nvPr>
            <p:ph type="title" idx="18"/>
          </p:nvPr>
        </p:nvSpPr>
        <p:spPr>
          <a:xfrm>
            <a:off x="8174100" y="4480200"/>
            <a:ext cx="24044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14"/>
          <p:cNvSpPr txBox="1">
            <a:spLocks noGrp="1"/>
          </p:cNvSpPr>
          <p:nvPr>
            <p:ph type="subTitle" idx="19"/>
          </p:nvPr>
        </p:nvSpPr>
        <p:spPr>
          <a:xfrm>
            <a:off x="8174100" y="5109400"/>
            <a:ext cx="29560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7" name="Google Shape;67;p14"/>
          <p:cNvSpPr txBox="1">
            <a:spLocks noGrp="1"/>
          </p:cNvSpPr>
          <p:nvPr>
            <p:ph type="title" idx="20" hasCustomPrompt="1"/>
          </p:nvPr>
        </p:nvSpPr>
        <p:spPr>
          <a:xfrm>
            <a:off x="6158834" y="4678686"/>
            <a:ext cx="1877600" cy="78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Josefin Sans Thin"/>
              <a:buNone/>
              <a:defRPr sz="80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Font typeface="Josefin Sans Thin"/>
              <a:buNone/>
              <a:defRPr sz="9600" b="0">
                <a:solidFill>
                  <a:schemeClr val="accent1"/>
                </a:solidFill>
                <a:latin typeface="Josefin Sans Thin"/>
                <a:ea typeface="Josefin Sans Thin"/>
                <a:cs typeface="Josefin Sans Thin"/>
                <a:sym typeface="Josefin Sans Thin"/>
              </a:defRPr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9703459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preserve="1" userDrawn="1">
  <p:cSld name="Section header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ECAA5B-1721-46DF-A962-C3255C042F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631657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3" name="Google Shape;13;p3"/>
          <p:cNvSpPr txBox="1">
            <a:spLocks noGrp="1"/>
          </p:cNvSpPr>
          <p:nvPr>
            <p:ph type="title"/>
          </p:nvPr>
        </p:nvSpPr>
        <p:spPr>
          <a:xfrm>
            <a:off x="7468334" y="3986300"/>
            <a:ext cx="4422000" cy="816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40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7468334" y="5064100"/>
            <a:ext cx="34244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Josefin Sans"/>
              <a:buNone/>
              <a:defRPr sz="1867">
                <a:solidFill>
                  <a:schemeClr val="accent1"/>
                </a:solidFill>
                <a:latin typeface="Josefin Sans"/>
                <a:ea typeface="Josefin Sans"/>
                <a:cs typeface="Josefin Sans"/>
                <a:sym typeface="Josefin Sans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204635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 type="tx" preserve="1">
  <p:cSld name="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4"/>
          <p:cNvSpPr/>
          <p:nvPr/>
        </p:nvSpPr>
        <p:spPr>
          <a:xfrm rot="10800000" flipH="1">
            <a:off x="-35134" y="-23634"/>
            <a:ext cx="12263600" cy="6884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" name="Google Shape;36;p4"/>
          <p:cNvSpPr/>
          <p:nvPr/>
        </p:nvSpPr>
        <p:spPr>
          <a:xfrm>
            <a:off x="-140500" y="1600900"/>
            <a:ext cx="9970800" cy="365600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4"/>
          <p:cNvSpPr txBox="1">
            <a:spLocks noGrp="1"/>
          </p:cNvSpPr>
          <p:nvPr>
            <p:ph type="title"/>
          </p:nvPr>
        </p:nvSpPr>
        <p:spPr>
          <a:xfrm>
            <a:off x="2763979" y="3832267"/>
            <a:ext cx="6509200" cy="5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 sz="1867">
                <a:solidFill>
                  <a:srgbClr val="FFFFFF"/>
                </a:solidFill>
              </a:defRPr>
            </a:lvl1pPr>
            <a:lvl2pPr lvl="1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2pPr>
            <a:lvl3pPr lvl="2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3pPr>
            <a:lvl4pPr lvl="3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4pPr>
            <a:lvl5pPr lvl="4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5pPr>
            <a:lvl6pPr lvl="5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6pPr>
            <a:lvl7pPr lvl="6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7pPr>
            <a:lvl8pPr lvl="7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8pPr>
            <a:lvl9pPr lvl="8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39" name="Google Shape;39;p4"/>
          <p:cNvSpPr txBox="1">
            <a:spLocks noGrp="1"/>
          </p:cNvSpPr>
          <p:nvPr>
            <p:ph type="subTitle" idx="1"/>
          </p:nvPr>
        </p:nvSpPr>
        <p:spPr>
          <a:xfrm>
            <a:off x="3040967" y="2584800"/>
            <a:ext cx="6509200" cy="132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55869651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hree Columns" preserve="1">
  <p:cSld name="Title + Three Columns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5"/>
          <p:cNvSpPr txBox="1">
            <a:spLocks noGrp="1"/>
          </p:cNvSpPr>
          <p:nvPr>
            <p:ph type="title"/>
          </p:nvPr>
        </p:nvSpPr>
        <p:spPr>
          <a:xfrm rot="-5400000">
            <a:off x="8518134" y="2844000"/>
            <a:ext cx="51152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70" name="Google Shape;70;p15"/>
          <p:cNvSpPr/>
          <p:nvPr/>
        </p:nvSpPr>
        <p:spPr>
          <a:xfrm>
            <a:off x="11032300" y="5897067"/>
            <a:ext cx="324800" cy="2808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1" name="Google Shape;71;p15"/>
          <p:cNvSpPr txBox="1">
            <a:spLocks noGrp="1"/>
          </p:cNvSpPr>
          <p:nvPr>
            <p:ph type="title" idx="2"/>
          </p:nvPr>
        </p:nvSpPr>
        <p:spPr>
          <a:xfrm>
            <a:off x="1280967" y="3781050"/>
            <a:ext cx="29560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72" name="Google Shape;72;p15"/>
          <p:cNvSpPr txBox="1">
            <a:spLocks noGrp="1"/>
          </p:cNvSpPr>
          <p:nvPr>
            <p:ph type="subTitle" idx="1"/>
          </p:nvPr>
        </p:nvSpPr>
        <p:spPr>
          <a:xfrm>
            <a:off x="1280767" y="4511851"/>
            <a:ext cx="29560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title" idx="3"/>
          </p:nvPr>
        </p:nvSpPr>
        <p:spPr>
          <a:xfrm>
            <a:off x="4033767" y="1318151"/>
            <a:ext cx="29560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74" name="Google Shape;74;p15"/>
          <p:cNvSpPr txBox="1">
            <a:spLocks noGrp="1"/>
          </p:cNvSpPr>
          <p:nvPr>
            <p:ph type="subTitle" idx="4"/>
          </p:nvPr>
        </p:nvSpPr>
        <p:spPr>
          <a:xfrm>
            <a:off x="4033567" y="2048951"/>
            <a:ext cx="29560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75" name="Google Shape;75;p15"/>
          <p:cNvSpPr txBox="1">
            <a:spLocks noGrp="1"/>
          </p:cNvSpPr>
          <p:nvPr>
            <p:ph type="title" idx="5"/>
          </p:nvPr>
        </p:nvSpPr>
        <p:spPr>
          <a:xfrm>
            <a:off x="6786766" y="3781050"/>
            <a:ext cx="29560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15"/>
          <p:cNvSpPr txBox="1">
            <a:spLocks noGrp="1"/>
          </p:cNvSpPr>
          <p:nvPr>
            <p:ph type="subTitle" idx="6"/>
          </p:nvPr>
        </p:nvSpPr>
        <p:spPr>
          <a:xfrm>
            <a:off x="6786567" y="4511851"/>
            <a:ext cx="29560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9428415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wo texts" preserve="1" userDrawn="1">
  <p:cSld name="Title + Two texts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D60C2985-6719-4EE1-A02F-E741FA6CE2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950461" y="-20638"/>
            <a:ext cx="4068400" cy="387620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642B88-27E2-42F3-8DCB-56C176FE4C9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0638"/>
            <a:ext cx="2446000" cy="68992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8" name="Google Shape;78;p16"/>
          <p:cNvSpPr txBox="1">
            <a:spLocks noGrp="1"/>
          </p:cNvSpPr>
          <p:nvPr>
            <p:ph type="title"/>
          </p:nvPr>
        </p:nvSpPr>
        <p:spPr>
          <a:xfrm rot="-5400000">
            <a:off x="8518134" y="2844000"/>
            <a:ext cx="51152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6"/>
          <p:cNvSpPr txBox="1">
            <a:spLocks noGrp="1"/>
          </p:cNvSpPr>
          <p:nvPr>
            <p:ph type="body" idx="1"/>
          </p:nvPr>
        </p:nvSpPr>
        <p:spPr>
          <a:xfrm>
            <a:off x="2841900" y="4286734"/>
            <a:ext cx="3672400" cy="159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608" lvl="0" indent="-423339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 sz="1867">
                <a:solidFill>
                  <a:schemeClr val="lt1"/>
                </a:solidFill>
              </a:defRPr>
            </a:lvl1pPr>
            <a:lvl2pPr marL="1219215" lvl="1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828823" lvl="2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2438431" lvl="3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3048038" lvl="4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3657646" lvl="5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4267254" lvl="6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4876861" lvl="7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5486469" lvl="8" indent="-423339" rtl="0">
              <a:spcBef>
                <a:spcPts val="2134"/>
              </a:spcBef>
              <a:spcAft>
                <a:spcPts val="2134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80" name="Google Shape;80;p16"/>
          <p:cNvSpPr/>
          <p:nvPr/>
        </p:nvSpPr>
        <p:spPr>
          <a:xfrm>
            <a:off x="11032300" y="5897067"/>
            <a:ext cx="324800" cy="2808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1" name="Google Shape;81;p16"/>
          <p:cNvSpPr txBox="1">
            <a:spLocks noGrp="1"/>
          </p:cNvSpPr>
          <p:nvPr>
            <p:ph type="body" idx="2"/>
          </p:nvPr>
        </p:nvSpPr>
        <p:spPr>
          <a:xfrm>
            <a:off x="7467728" y="739700"/>
            <a:ext cx="2602800" cy="233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608" lvl="0" indent="-423339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 sz="1867">
                <a:solidFill>
                  <a:schemeClr val="lt1"/>
                </a:solidFill>
              </a:defRPr>
            </a:lvl1pPr>
            <a:lvl2pPr marL="1219215" lvl="1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828823" lvl="2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2438431" lvl="3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3048038" lvl="4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3657646" lvl="5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4267254" lvl="6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4876861" lvl="7" indent="-423339" rtl="0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5486469" lvl="8" indent="-423339" rtl="0">
              <a:spcBef>
                <a:spcPts val="2134"/>
              </a:spcBef>
              <a:spcAft>
                <a:spcPts val="2134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217653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1D0BEB-C462-D745-AAA5-C4DB05E8F9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0277D0-C5B2-A41F-DF9A-1F3D858DC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199CA-8804-1C74-91BF-A95F75EBB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0C7121-3E21-44E4-7713-B65A4515BD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9235725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 type="tx" preserve="1">
  <p:cSld name="1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4"/>
          <p:cNvSpPr/>
          <p:nvPr/>
        </p:nvSpPr>
        <p:spPr>
          <a:xfrm rot="10800000" flipH="1">
            <a:off x="-35134" y="-23634"/>
            <a:ext cx="12263600" cy="68844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" name="Google Shape;36;p4"/>
          <p:cNvSpPr/>
          <p:nvPr/>
        </p:nvSpPr>
        <p:spPr>
          <a:xfrm>
            <a:off x="-140500" y="1600900"/>
            <a:ext cx="9970800" cy="365600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4"/>
          <p:cNvSpPr txBox="1">
            <a:spLocks noGrp="1"/>
          </p:cNvSpPr>
          <p:nvPr>
            <p:ph type="title"/>
          </p:nvPr>
        </p:nvSpPr>
        <p:spPr>
          <a:xfrm>
            <a:off x="2763979" y="3832267"/>
            <a:ext cx="6509200" cy="5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 sz="1867">
                <a:solidFill>
                  <a:srgbClr val="FFFFFF"/>
                </a:solidFill>
              </a:defRPr>
            </a:lvl1pPr>
            <a:lvl2pPr lvl="1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2pPr>
            <a:lvl3pPr lvl="2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3pPr>
            <a:lvl4pPr lvl="3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4pPr>
            <a:lvl5pPr lvl="4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5pPr>
            <a:lvl6pPr lvl="5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6pPr>
            <a:lvl7pPr lvl="6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7pPr>
            <a:lvl8pPr lvl="7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8pPr>
            <a:lvl9pPr lvl="8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39" name="Google Shape;39;p4"/>
          <p:cNvSpPr txBox="1">
            <a:spLocks noGrp="1"/>
          </p:cNvSpPr>
          <p:nvPr>
            <p:ph type="subTitle" idx="1"/>
          </p:nvPr>
        </p:nvSpPr>
        <p:spPr>
          <a:xfrm>
            <a:off x="3040967" y="2584800"/>
            <a:ext cx="6509200" cy="132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2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835141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EXT" preserve="1" userDrawn="1">
  <p:cSld name="TITLE + TEXT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 rot="10800000" flipH="1">
            <a:off x="700" y="-23636"/>
            <a:ext cx="12192000" cy="6884400"/>
          </a:xfrm>
          <a:prstGeom prst="rect">
            <a:avLst/>
          </a:prstGeom>
          <a:solidFill>
            <a:srgbClr val="43434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4BBACC1-3A27-46D8-A2AC-8C7D4D44E6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3813"/>
            <a:ext cx="8073232" cy="688181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43" name="Google Shape;43;p5"/>
          <p:cNvCxnSpPr>
            <a:cxnSpLocks/>
            <a:stCxn id="42" idx="1"/>
          </p:cNvCxnSpPr>
          <p:nvPr/>
        </p:nvCxnSpPr>
        <p:spPr>
          <a:xfrm>
            <a:off x="700" y="3418564"/>
            <a:ext cx="7417739" cy="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6906768" y="3542400"/>
            <a:ext cx="3540400" cy="62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None/>
              <a:defRPr>
                <a:solidFill>
                  <a:srgbClr val="FFFFFF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334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ctrTitle"/>
          </p:nvPr>
        </p:nvSpPr>
        <p:spPr>
          <a:xfrm>
            <a:off x="6906768" y="2352540"/>
            <a:ext cx="3540400" cy="8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sz="2134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sz="2134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sz="2134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sz="2134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sz="2134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sz="2134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sz="2134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sz="2134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257182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Four Columns " preserve="1">
  <p:cSld name="Title + Four Columns 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9"/>
          <p:cNvSpPr txBox="1">
            <a:spLocks noGrp="1"/>
          </p:cNvSpPr>
          <p:nvPr>
            <p:ph type="title"/>
          </p:nvPr>
        </p:nvSpPr>
        <p:spPr>
          <a:xfrm rot="-5400000">
            <a:off x="8518134" y="2844000"/>
            <a:ext cx="51152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90" name="Google Shape;90;p19"/>
          <p:cNvSpPr/>
          <p:nvPr/>
        </p:nvSpPr>
        <p:spPr>
          <a:xfrm>
            <a:off x="11032300" y="5897067"/>
            <a:ext cx="324800" cy="2808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1" name="Google Shape;91;p19"/>
          <p:cNvSpPr txBox="1">
            <a:spLocks noGrp="1"/>
          </p:cNvSpPr>
          <p:nvPr>
            <p:ph type="title" idx="2"/>
          </p:nvPr>
        </p:nvSpPr>
        <p:spPr>
          <a:xfrm>
            <a:off x="2251051" y="742267"/>
            <a:ext cx="29596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2" name="Google Shape;92;p19"/>
          <p:cNvSpPr txBox="1">
            <a:spLocks noGrp="1"/>
          </p:cNvSpPr>
          <p:nvPr>
            <p:ph type="subTitle" idx="1"/>
          </p:nvPr>
        </p:nvSpPr>
        <p:spPr>
          <a:xfrm>
            <a:off x="2250850" y="1473067"/>
            <a:ext cx="29596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3" name="Google Shape;93;p19"/>
          <p:cNvSpPr txBox="1">
            <a:spLocks noGrp="1"/>
          </p:cNvSpPr>
          <p:nvPr>
            <p:ph type="title" idx="3"/>
          </p:nvPr>
        </p:nvSpPr>
        <p:spPr>
          <a:xfrm>
            <a:off x="2251051" y="2544584"/>
            <a:ext cx="29596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4" name="Google Shape;94;p19"/>
          <p:cNvSpPr txBox="1">
            <a:spLocks noGrp="1"/>
          </p:cNvSpPr>
          <p:nvPr>
            <p:ph type="subTitle" idx="4"/>
          </p:nvPr>
        </p:nvSpPr>
        <p:spPr>
          <a:xfrm>
            <a:off x="2250850" y="3275384"/>
            <a:ext cx="29596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19"/>
          <p:cNvSpPr txBox="1">
            <a:spLocks noGrp="1"/>
          </p:cNvSpPr>
          <p:nvPr>
            <p:ph type="title" idx="5"/>
          </p:nvPr>
        </p:nvSpPr>
        <p:spPr>
          <a:xfrm>
            <a:off x="6981551" y="2544584"/>
            <a:ext cx="29596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6" name="Google Shape;96;p19"/>
          <p:cNvSpPr txBox="1">
            <a:spLocks noGrp="1"/>
          </p:cNvSpPr>
          <p:nvPr>
            <p:ph type="subTitle" idx="6"/>
          </p:nvPr>
        </p:nvSpPr>
        <p:spPr>
          <a:xfrm>
            <a:off x="6981351" y="3275384"/>
            <a:ext cx="29596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7" name="Google Shape;97;p19"/>
          <p:cNvSpPr txBox="1">
            <a:spLocks noGrp="1"/>
          </p:cNvSpPr>
          <p:nvPr>
            <p:ph type="title" idx="7"/>
          </p:nvPr>
        </p:nvSpPr>
        <p:spPr>
          <a:xfrm>
            <a:off x="6981551" y="4356918"/>
            <a:ext cx="29596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8" name="Google Shape;98;p19"/>
          <p:cNvSpPr txBox="1">
            <a:spLocks noGrp="1"/>
          </p:cNvSpPr>
          <p:nvPr>
            <p:ph type="subTitle" idx="8"/>
          </p:nvPr>
        </p:nvSpPr>
        <p:spPr>
          <a:xfrm>
            <a:off x="6981351" y="5087718"/>
            <a:ext cx="29596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0084909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wo Columns " preserve="1">
  <p:cSld name="Title + Two Columns 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20"/>
          <p:cNvSpPr txBox="1">
            <a:spLocks noGrp="1"/>
          </p:cNvSpPr>
          <p:nvPr>
            <p:ph type="title"/>
          </p:nvPr>
        </p:nvSpPr>
        <p:spPr>
          <a:xfrm rot="-5400000">
            <a:off x="8518134" y="2844000"/>
            <a:ext cx="51152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01" name="Google Shape;101;p20"/>
          <p:cNvSpPr/>
          <p:nvPr/>
        </p:nvSpPr>
        <p:spPr>
          <a:xfrm>
            <a:off x="11032300" y="5897067"/>
            <a:ext cx="324800" cy="2808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2" name="Google Shape;102;p20"/>
          <p:cNvSpPr txBox="1">
            <a:spLocks noGrp="1"/>
          </p:cNvSpPr>
          <p:nvPr>
            <p:ph type="title" idx="2"/>
          </p:nvPr>
        </p:nvSpPr>
        <p:spPr>
          <a:xfrm>
            <a:off x="1699175" y="3718049"/>
            <a:ext cx="33284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03" name="Google Shape;103;p20"/>
          <p:cNvSpPr txBox="1">
            <a:spLocks noGrp="1"/>
          </p:cNvSpPr>
          <p:nvPr>
            <p:ph type="subTitle" idx="1"/>
          </p:nvPr>
        </p:nvSpPr>
        <p:spPr>
          <a:xfrm>
            <a:off x="1698951" y="4448850"/>
            <a:ext cx="3328400" cy="151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04" name="Google Shape;104;p20"/>
          <p:cNvSpPr txBox="1">
            <a:spLocks noGrp="1"/>
          </p:cNvSpPr>
          <p:nvPr>
            <p:ph type="title" idx="3"/>
          </p:nvPr>
        </p:nvSpPr>
        <p:spPr>
          <a:xfrm>
            <a:off x="6005042" y="3718049"/>
            <a:ext cx="33284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05" name="Google Shape;105;p20"/>
          <p:cNvSpPr txBox="1">
            <a:spLocks noGrp="1"/>
          </p:cNvSpPr>
          <p:nvPr>
            <p:ph type="subTitle" idx="4"/>
          </p:nvPr>
        </p:nvSpPr>
        <p:spPr>
          <a:xfrm>
            <a:off x="6004818" y="4448850"/>
            <a:ext cx="3328400" cy="151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8273386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FEB48417-FD5E-4E14-AECB-6047FE202062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2389188" y="1459707"/>
            <a:ext cx="6345482" cy="329642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Google Shape;25;p6"/>
          <p:cNvSpPr txBox="1">
            <a:spLocks noGrp="1"/>
          </p:cNvSpPr>
          <p:nvPr>
            <p:ph type="title"/>
          </p:nvPr>
        </p:nvSpPr>
        <p:spPr>
          <a:xfrm rot="-5400000">
            <a:off x="8518134" y="2844000"/>
            <a:ext cx="51152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6"/>
          <p:cNvSpPr/>
          <p:nvPr/>
        </p:nvSpPr>
        <p:spPr>
          <a:xfrm>
            <a:off x="11032300" y="5897067"/>
            <a:ext cx="324800" cy="2808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330105802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hree Columns 1" preserve="1">
  <p:cSld name="Title + Three Columns 1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1"/>
          <p:cNvSpPr txBox="1">
            <a:spLocks noGrp="1"/>
          </p:cNvSpPr>
          <p:nvPr>
            <p:ph type="title"/>
          </p:nvPr>
        </p:nvSpPr>
        <p:spPr>
          <a:xfrm rot="-5400000">
            <a:off x="8518134" y="2844000"/>
            <a:ext cx="51152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21"/>
          <p:cNvSpPr/>
          <p:nvPr/>
        </p:nvSpPr>
        <p:spPr>
          <a:xfrm>
            <a:off x="11032300" y="5897067"/>
            <a:ext cx="324800" cy="2808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9" name="Google Shape;109;p21"/>
          <p:cNvSpPr txBox="1">
            <a:spLocks noGrp="1"/>
          </p:cNvSpPr>
          <p:nvPr>
            <p:ph type="title" idx="2"/>
          </p:nvPr>
        </p:nvSpPr>
        <p:spPr>
          <a:xfrm>
            <a:off x="1131292" y="3362667"/>
            <a:ext cx="258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10" name="Google Shape;110;p21"/>
          <p:cNvSpPr txBox="1">
            <a:spLocks noGrp="1"/>
          </p:cNvSpPr>
          <p:nvPr>
            <p:ph type="subTitle" idx="1"/>
          </p:nvPr>
        </p:nvSpPr>
        <p:spPr>
          <a:xfrm>
            <a:off x="1131118" y="4093467"/>
            <a:ext cx="25848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11" name="Google Shape;111;p21"/>
          <p:cNvSpPr txBox="1">
            <a:spLocks noGrp="1"/>
          </p:cNvSpPr>
          <p:nvPr>
            <p:ph type="title" idx="3"/>
          </p:nvPr>
        </p:nvSpPr>
        <p:spPr>
          <a:xfrm>
            <a:off x="4267092" y="3362667"/>
            <a:ext cx="258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12" name="Google Shape;112;p21"/>
          <p:cNvSpPr txBox="1">
            <a:spLocks noGrp="1"/>
          </p:cNvSpPr>
          <p:nvPr>
            <p:ph type="subTitle" idx="4"/>
          </p:nvPr>
        </p:nvSpPr>
        <p:spPr>
          <a:xfrm>
            <a:off x="4266918" y="4093467"/>
            <a:ext cx="25848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13" name="Google Shape;113;p21"/>
          <p:cNvSpPr txBox="1">
            <a:spLocks noGrp="1"/>
          </p:cNvSpPr>
          <p:nvPr>
            <p:ph type="title" idx="5"/>
          </p:nvPr>
        </p:nvSpPr>
        <p:spPr>
          <a:xfrm>
            <a:off x="7402892" y="3362667"/>
            <a:ext cx="258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14" name="Google Shape;114;p21"/>
          <p:cNvSpPr txBox="1">
            <a:spLocks noGrp="1"/>
          </p:cNvSpPr>
          <p:nvPr>
            <p:ph type="subTitle" idx="6"/>
          </p:nvPr>
        </p:nvSpPr>
        <p:spPr>
          <a:xfrm>
            <a:off x="7402718" y="4093467"/>
            <a:ext cx="25848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5809642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ix Columns " preserve="1">
  <p:cSld name="Title + Six Columns 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22"/>
          <p:cNvSpPr txBox="1">
            <a:spLocks noGrp="1"/>
          </p:cNvSpPr>
          <p:nvPr>
            <p:ph type="title"/>
          </p:nvPr>
        </p:nvSpPr>
        <p:spPr>
          <a:xfrm rot="-5400000">
            <a:off x="8518134" y="2844000"/>
            <a:ext cx="51152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17" name="Google Shape;117;p22"/>
          <p:cNvSpPr/>
          <p:nvPr/>
        </p:nvSpPr>
        <p:spPr>
          <a:xfrm>
            <a:off x="11032300" y="5897067"/>
            <a:ext cx="324800" cy="2808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8" name="Google Shape;118;p22"/>
          <p:cNvSpPr txBox="1">
            <a:spLocks noGrp="1"/>
          </p:cNvSpPr>
          <p:nvPr>
            <p:ph type="title" idx="2"/>
          </p:nvPr>
        </p:nvSpPr>
        <p:spPr>
          <a:xfrm>
            <a:off x="1131292" y="1635467"/>
            <a:ext cx="258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19" name="Google Shape;119;p22"/>
          <p:cNvSpPr txBox="1">
            <a:spLocks noGrp="1"/>
          </p:cNvSpPr>
          <p:nvPr>
            <p:ph type="subTitle" idx="1"/>
          </p:nvPr>
        </p:nvSpPr>
        <p:spPr>
          <a:xfrm>
            <a:off x="1131118" y="2366267"/>
            <a:ext cx="25848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0" name="Google Shape;120;p22"/>
          <p:cNvSpPr txBox="1">
            <a:spLocks noGrp="1"/>
          </p:cNvSpPr>
          <p:nvPr>
            <p:ph type="title" idx="3"/>
          </p:nvPr>
        </p:nvSpPr>
        <p:spPr>
          <a:xfrm>
            <a:off x="4267092" y="1635467"/>
            <a:ext cx="258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1" name="Google Shape;121;p22"/>
          <p:cNvSpPr txBox="1">
            <a:spLocks noGrp="1"/>
          </p:cNvSpPr>
          <p:nvPr>
            <p:ph type="subTitle" idx="4"/>
          </p:nvPr>
        </p:nvSpPr>
        <p:spPr>
          <a:xfrm>
            <a:off x="4266918" y="2366267"/>
            <a:ext cx="25848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2" name="Google Shape;122;p22"/>
          <p:cNvSpPr txBox="1">
            <a:spLocks noGrp="1"/>
          </p:cNvSpPr>
          <p:nvPr>
            <p:ph type="title" idx="5"/>
          </p:nvPr>
        </p:nvSpPr>
        <p:spPr>
          <a:xfrm>
            <a:off x="7402892" y="1635467"/>
            <a:ext cx="258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3" name="Google Shape;123;p22"/>
          <p:cNvSpPr txBox="1">
            <a:spLocks noGrp="1"/>
          </p:cNvSpPr>
          <p:nvPr>
            <p:ph type="subTitle" idx="6"/>
          </p:nvPr>
        </p:nvSpPr>
        <p:spPr>
          <a:xfrm>
            <a:off x="7402718" y="2366267"/>
            <a:ext cx="25848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4" name="Google Shape;124;p22"/>
          <p:cNvSpPr txBox="1">
            <a:spLocks noGrp="1"/>
          </p:cNvSpPr>
          <p:nvPr>
            <p:ph type="title" idx="7"/>
          </p:nvPr>
        </p:nvSpPr>
        <p:spPr>
          <a:xfrm>
            <a:off x="1131292" y="4419067"/>
            <a:ext cx="258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5" name="Google Shape;125;p22"/>
          <p:cNvSpPr txBox="1">
            <a:spLocks noGrp="1"/>
          </p:cNvSpPr>
          <p:nvPr>
            <p:ph type="subTitle" idx="8"/>
          </p:nvPr>
        </p:nvSpPr>
        <p:spPr>
          <a:xfrm>
            <a:off x="1131118" y="5149867"/>
            <a:ext cx="25848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6" name="Google Shape;126;p22"/>
          <p:cNvSpPr txBox="1">
            <a:spLocks noGrp="1"/>
          </p:cNvSpPr>
          <p:nvPr>
            <p:ph type="title" idx="9"/>
          </p:nvPr>
        </p:nvSpPr>
        <p:spPr>
          <a:xfrm>
            <a:off x="4267092" y="4419067"/>
            <a:ext cx="258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7" name="Google Shape;127;p22"/>
          <p:cNvSpPr txBox="1">
            <a:spLocks noGrp="1"/>
          </p:cNvSpPr>
          <p:nvPr>
            <p:ph type="subTitle" idx="13"/>
          </p:nvPr>
        </p:nvSpPr>
        <p:spPr>
          <a:xfrm>
            <a:off x="4266918" y="5149867"/>
            <a:ext cx="25848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8" name="Google Shape;128;p22"/>
          <p:cNvSpPr txBox="1">
            <a:spLocks noGrp="1"/>
          </p:cNvSpPr>
          <p:nvPr>
            <p:ph type="title" idx="14"/>
          </p:nvPr>
        </p:nvSpPr>
        <p:spPr>
          <a:xfrm>
            <a:off x="7402892" y="4419067"/>
            <a:ext cx="2584800" cy="78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4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9" name="Google Shape;129;p22"/>
          <p:cNvSpPr txBox="1">
            <a:spLocks noGrp="1"/>
          </p:cNvSpPr>
          <p:nvPr>
            <p:ph type="subTitle" idx="15"/>
          </p:nvPr>
        </p:nvSpPr>
        <p:spPr>
          <a:xfrm>
            <a:off x="7402718" y="5149867"/>
            <a:ext cx="2584800" cy="102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933685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 preserve="1">
  <p:cSld name="Big number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1"/>
          <p:cNvSpPr txBox="1">
            <a:spLocks noGrp="1"/>
          </p:cNvSpPr>
          <p:nvPr>
            <p:ph type="title" hasCustomPrompt="1"/>
          </p:nvPr>
        </p:nvSpPr>
        <p:spPr>
          <a:xfrm>
            <a:off x="2345833" y="3788800"/>
            <a:ext cx="8533600" cy="191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None/>
              <a:defRPr sz="9600">
                <a:solidFill>
                  <a:schemeClr val="accent1"/>
                </a:solidFill>
              </a:defRPr>
            </a:lvl1pPr>
            <a:lvl2pPr lvl="1" algn="r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None/>
              <a:defRPr sz="9600">
                <a:solidFill>
                  <a:schemeClr val="accent1"/>
                </a:solidFill>
              </a:defRPr>
            </a:lvl2pPr>
            <a:lvl3pPr lvl="2" algn="r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None/>
              <a:defRPr sz="9600">
                <a:solidFill>
                  <a:schemeClr val="accent1"/>
                </a:solidFill>
              </a:defRPr>
            </a:lvl3pPr>
            <a:lvl4pPr lvl="3" algn="r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None/>
              <a:defRPr sz="9600">
                <a:solidFill>
                  <a:schemeClr val="accent1"/>
                </a:solidFill>
              </a:defRPr>
            </a:lvl4pPr>
            <a:lvl5pPr lvl="4" algn="r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None/>
              <a:defRPr sz="9600">
                <a:solidFill>
                  <a:schemeClr val="accent1"/>
                </a:solidFill>
              </a:defRPr>
            </a:lvl5pPr>
            <a:lvl6pPr lvl="5" algn="r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None/>
              <a:defRPr sz="9600">
                <a:solidFill>
                  <a:schemeClr val="accent1"/>
                </a:solidFill>
              </a:defRPr>
            </a:lvl6pPr>
            <a:lvl7pPr lvl="6" algn="r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None/>
              <a:defRPr sz="9600">
                <a:solidFill>
                  <a:schemeClr val="accent1"/>
                </a:solidFill>
              </a:defRPr>
            </a:lvl7pPr>
            <a:lvl8pPr lvl="7" algn="r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None/>
              <a:defRPr sz="9600">
                <a:solidFill>
                  <a:schemeClr val="accent1"/>
                </a:solidFill>
              </a:defRPr>
            </a:lvl8pPr>
            <a:lvl9pPr lvl="8" algn="r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200"/>
              <a:buNone/>
              <a:defRPr sz="96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3" name="Google Shape;43;p11"/>
          <p:cNvSpPr txBox="1">
            <a:spLocks noGrp="1"/>
          </p:cNvSpPr>
          <p:nvPr>
            <p:ph type="body" idx="1"/>
          </p:nvPr>
        </p:nvSpPr>
        <p:spPr>
          <a:xfrm>
            <a:off x="1241434" y="1162967"/>
            <a:ext cx="4252000" cy="83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608" lvl="0" indent="-45720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●"/>
              <a:defRPr>
                <a:solidFill>
                  <a:schemeClr val="lt1"/>
                </a:solidFill>
              </a:defRPr>
            </a:lvl1pPr>
            <a:lvl2pPr marL="1219215" lvl="1" indent="-457206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800"/>
              <a:buChar char="○"/>
              <a:defRPr sz="2400">
                <a:solidFill>
                  <a:schemeClr val="lt1"/>
                </a:solidFill>
              </a:defRPr>
            </a:lvl2pPr>
            <a:lvl3pPr marL="1828823" lvl="2" indent="-457206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800"/>
              <a:buChar char="■"/>
              <a:defRPr sz="2400">
                <a:solidFill>
                  <a:schemeClr val="lt1"/>
                </a:solidFill>
              </a:defRPr>
            </a:lvl3pPr>
            <a:lvl4pPr marL="2438431" lvl="3" indent="-457206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800"/>
              <a:buChar char="●"/>
              <a:defRPr sz="2400">
                <a:solidFill>
                  <a:schemeClr val="lt1"/>
                </a:solidFill>
              </a:defRPr>
            </a:lvl4pPr>
            <a:lvl5pPr marL="3048038" lvl="4" indent="-457206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800"/>
              <a:buChar char="○"/>
              <a:defRPr sz="2400">
                <a:solidFill>
                  <a:schemeClr val="lt1"/>
                </a:solidFill>
              </a:defRPr>
            </a:lvl5pPr>
            <a:lvl6pPr marL="3657646" lvl="5" indent="-457206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800"/>
              <a:buChar char="■"/>
              <a:defRPr sz="2400">
                <a:solidFill>
                  <a:schemeClr val="lt1"/>
                </a:solidFill>
              </a:defRPr>
            </a:lvl6pPr>
            <a:lvl7pPr marL="4267254" lvl="6" indent="-457206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800"/>
              <a:buChar char="●"/>
              <a:defRPr sz="2400">
                <a:solidFill>
                  <a:schemeClr val="lt1"/>
                </a:solidFill>
              </a:defRPr>
            </a:lvl7pPr>
            <a:lvl8pPr marL="4876861" lvl="7" indent="-457206">
              <a:spcBef>
                <a:spcPts val="2134"/>
              </a:spcBef>
              <a:spcAft>
                <a:spcPts val="0"/>
              </a:spcAft>
              <a:buClr>
                <a:schemeClr val="lt1"/>
              </a:buClr>
              <a:buSzPts val="1800"/>
              <a:buChar char="○"/>
              <a:defRPr sz="2400">
                <a:solidFill>
                  <a:schemeClr val="lt1"/>
                </a:solidFill>
              </a:defRPr>
            </a:lvl8pPr>
            <a:lvl9pPr marL="5486469" lvl="8" indent="-457206">
              <a:spcBef>
                <a:spcPts val="2134"/>
              </a:spcBef>
              <a:spcAft>
                <a:spcPts val="2134"/>
              </a:spcAft>
              <a:buClr>
                <a:schemeClr val="lt1"/>
              </a:buClr>
              <a:buSzPts val="1800"/>
              <a:buChar char="■"/>
              <a:defRPr sz="2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773795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 preserve="1">
  <p:cSld name="Capti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0"/>
          <p:cNvSpPr txBox="1">
            <a:spLocks noGrp="1"/>
          </p:cNvSpPr>
          <p:nvPr>
            <p:ph type="title"/>
          </p:nvPr>
        </p:nvSpPr>
        <p:spPr>
          <a:xfrm rot="-5400000">
            <a:off x="8518134" y="2844000"/>
            <a:ext cx="51152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0" name="Google Shape;40;p10"/>
          <p:cNvSpPr/>
          <p:nvPr/>
        </p:nvSpPr>
        <p:spPr>
          <a:xfrm>
            <a:off x="11032300" y="5897067"/>
            <a:ext cx="324800" cy="2808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96049497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1_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6"/>
          <p:cNvSpPr txBox="1">
            <a:spLocks noGrp="1"/>
          </p:cNvSpPr>
          <p:nvPr>
            <p:ph type="title"/>
          </p:nvPr>
        </p:nvSpPr>
        <p:spPr>
          <a:xfrm rot="-5400000">
            <a:off x="8518134" y="2844000"/>
            <a:ext cx="51152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2134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6"/>
          <p:cNvSpPr/>
          <p:nvPr/>
        </p:nvSpPr>
        <p:spPr>
          <a:xfrm>
            <a:off x="11032300" y="5897067"/>
            <a:ext cx="324800" cy="2808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38415175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F6D8F0-DA39-892C-33AC-015389830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A407FB-B2F0-151B-4BD0-747FAEB07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8A5F36-6DF3-ADAD-225B-E29844362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08987466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0" y="0"/>
            <a:ext cx="2305051" cy="6858001"/>
            <a:chOff x="0" y="0"/>
            <a:chExt cx="2305051" cy="6858001"/>
          </a:xfrm>
          <a:gradFill flip="none" rotWithShape="1">
            <a:gsLst>
              <a:gs pos="0">
                <a:schemeClr val="tx2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5400000" scaled="0"/>
            <a:tileRect/>
          </a:gradFill>
        </p:grpSpPr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1209675" y="4763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414338" y="9525"/>
              <a:ext cx="28575" cy="4481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7" name="Freeform 10"/>
            <p:cNvSpPr/>
            <p:nvPr/>
          </p:nvSpPr>
          <p:spPr bwMode="auto"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8" name="Freeform 11"/>
            <p:cNvSpPr/>
            <p:nvPr/>
          </p:nvSpPr>
          <p:spPr bwMode="auto"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0" t="0" r="r" b="b"/>
              <a:pathLst>
                <a:path w="237" h="1135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0" name="Freeform 13"/>
            <p:cNvSpPr/>
            <p:nvPr/>
          </p:nvSpPr>
          <p:spPr bwMode="auto"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1" name="Freeform 14"/>
            <p:cNvSpPr/>
            <p:nvPr/>
          </p:nvSpPr>
          <p:spPr bwMode="auto"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2" name="Freeform 15"/>
            <p:cNvSpPr>
              <a:spLocks noEditPoints="1"/>
            </p:cNvSpPr>
            <p:nvPr/>
          </p:nvSpPr>
          <p:spPr bwMode="auto"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3" name="Freeform 16"/>
            <p:cNvSpPr>
              <a:spLocks noEditPoints="1"/>
            </p:cNvSpPr>
            <p:nvPr/>
          </p:nvSpPr>
          <p:spPr bwMode="auto"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4" name="Freeform 17"/>
            <p:cNvSpPr/>
            <p:nvPr/>
          </p:nvSpPr>
          <p:spPr bwMode="auto"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0" t="0" r="r" b="b"/>
              <a:pathLst>
                <a:path w="264" h="329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5" name="Freeform 18"/>
            <p:cNvSpPr>
              <a:spLocks noEditPoints="1"/>
            </p:cNvSpPr>
            <p:nvPr/>
          </p:nvSpPr>
          <p:spPr bwMode="auto"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0" t="0" r="r" b="b"/>
              <a:pathLst>
                <a:path w="34" h="31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6" name="Freeform 19"/>
            <p:cNvSpPr/>
            <p:nvPr/>
          </p:nvSpPr>
          <p:spPr bwMode="auto"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7" name="Freeform 20"/>
            <p:cNvSpPr>
              <a:spLocks noEditPoints="1"/>
            </p:cNvSpPr>
            <p:nvPr/>
          </p:nvSpPr>
          <p:spPr bwMode="auto"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8" name="Freeform 21"/>
            <p:cNvSpPr>
              <a:spLocks noEditPoints="1"/>
            </p:cNvSpPr>
            <p:nvPr/>
          </p:nvSpPr>
          <p:spPr bwMode="auto"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9" name="Freeform 22"/>
            <p:cNvSpPr/>
            <p:nvPr/>
          </p:nvSpPr>
          <p:spPr bwMode="auto"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0" t="0" r="r" b="b"/>
              <a:pathLst>
                <a:path w="213" h="766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0" name="Freeform 23"/>
            <p:cNvSpPr>
              <a:spLocks noEditPoints="1"/>
            </p:cNvSpPr>
            <p:nvPr/>
          </p:nvSpPr>
          <p:spPr bwMode="auto"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1" name="Freeform 24"/>
            <p:cNvSpPr>
              <a:spLocks noEditPoints="1"/>
            </p:cNvSpPr>
            <p:nvPr/>
          </p:nvSpPr>
          <p:spPr bwMode="auto"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2" name="Freeform 25"/>
            <p:cNvSpPr/>
            <p:nvPr/>
          </p:nvSpPr>
          <p:spPr bwMode="auto"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0" t="0" r="r" b="b"/>
              <a:pathLst>
                <a:path w="84" h="168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3" name="Freeform 26"/>
            <p:cNvSpPr>
              <a:spLocks noEditPoints="1"/>
            </p:cNvSpPr>
            <p:nvPr/>
          </p:nvSpPr>
          <p:spPr bwMode="auto"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4" name="Freeform 27"/>
            <p:cNvSpPr/>
            <p:nvPr/>
          </p:nvSpPr>
          <p:spPr bwMode="auto"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0" t="0" r="r" b="b"/>
              <a:pathLst>
                <a:path w="84" h="17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5" name="Freeform 28"/>
            <p:cNvSpPr>
              <a:spLocks noEditPoints="1"/>
            </p:cNvSpPr>
            <p:nvPr/>
          </p:nvSpPr>
          <p:spPr bwMode="auto"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6" name="Freeform 29"/>
            <p:cNvSpPr/>
            <p:nvPr/>
          </p:nvSpPr>
          <p:spPr bwMode="auto"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0" t="0" r="r" b="b"/>
              <a:pathLst>
                <a:path w="195" h="982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7" name="Freeform 30"/>
            <p:cNvSpPr>
              <a:spLocks noEditPoints="1"/>
            </p:cNvSpPr>
            <p:nvPr/>
          </p:nvSpPr>
          <p:spPr bwMode="auto"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8" name="Freeform 31"/>
            <p:cNvSpPr/>
            <p:nvPr/>
          </p:nvSpPr>
          <p:spPr bwMode="auto"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0" t="0" r="r" b="b"/>
              <a:pathLst>
                <a:path w="192" h="112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9" name="Freeform 32"/>
            <p:cNvSpPr>
              <a:spLocks noEditPoints="1"/>
            </p:cNvSpPr>
            <p:nvPr/>
          </p:nvSpPr>
          <p:spPr bwMode="auto"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0" name="Rectangle 33"/>
            <p:cNvSpPr>
              <a:spLocks noChangeArrowheads="1"/>
            </p:cNvSpPr>
            <p:nvPr/>
          </p:nvSpPr>
          <p:spPr bwMode="auto">
            <a:xfrm>
              <a:off x="642938" y="6610350"/>
              <a:ext cx="23813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41" name="Freeform 34"/>
            <p:cNvSpPr>
              <a:spLocks noEditPoints="1"/>
            </p:cNvSpPr>
            <p:nvPr/>
          </p:nvSpPr>
          <p:spPr bwMode="auto"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2" name="Freeform 35"/>
            <p:cNvSpPr/>
            <p:nvPr/>
          </p:nvSpPr>
          <p:spPr bwMode="auto"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0" t="0" r="r" b="b"/>
              <a:pathLst>
                <a:path w="120" h="291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3" name="Freeform 36"/>
            <p:cNvSpPr/>
            <p:nvPr/>
          </p:nvSpPr>
          <p:spPr bwMode="auto"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0" t="0" r="r" b="b"/>
              <a:pathLst>
                <a:path w="135" h="476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4" name="Freeform 37"/>
            <p:cNvSpPr>
              <a:spLocks noEditPoints="1"/>
            </p:cNvSpPr>
            <p:nvPr/>
          </p:nvSpPr>
          <p:spPr bwMode="auto"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0" t="0" r="r" b="b"/>
              <a:pathLst>
                <a:path w="35" h="34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5" name="Freeform 38"/>
            <p:cNvSpPr/>
            <p:nvPr/>
          </p:nvSpPr>
          <p:spPr bwMode="auto"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0" t="0" r="r" b="b"/>
              <a:pathLst>
                <a:path w="402" h="2536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6" name="Freeform 39"/>
            <p:cNvSpPr/>
            <p:nvPr/>
          </p:nvSpPr>
          <p:spPr bwMode="auto"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0" t="0" r="r" b="b"/>
              <a:pathLst>
                <a:path w="90" h="30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7" name="Freeform 40"/>
            <p:cNvSpPr>
              <a:spLocks noEditPoints="1"/>
            </p:cNvSpPr>
            <p:nvPr/>
          </p:nvSpPr>
          <p:spPr bwMode="auto"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8" name="Freeform 41"/>
            <p:cNvSpPr/>
            <p:nvPr/>
          </p:nvSpPr>
          <p:spPr bwMode="auto"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0" t="0" r="r" b="b"/>
              <a:pathLst>
                <a:path w="90" h="299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9" name="Freeform 42"/>
            <p:cNvSpPr>
              <a:spLocks noEditPoints="1"/>
            </p:cNvSpPr>
            <p:nvPr/>
          </p:nvSpPr>
          <p:spPr bwMode="auto"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0" name="Freeform 43"/>
            <p:cNvSpPr/>
            <p:nvPr/>
          </p:nvSpPr>
          <p:spPr bwMode="auto"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0" t="0" r="r" b="b"/>
              <a:pathLst>
                <a:path w="72" h="285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1" name="Freeform 44"/>
            <p:cNvSpPr>
              <a:spLocks noEditPoints="1"/>
            </p:cNvSpPr>
            <p:nvPr/>
          </p:nvSpPr>
          <p:spPr bwMode="auto"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2" name="Rectangle 45"/>
            <p:cNvSpPr>
              <a:spLocks noChangeArrowheads="1"/>
            </p:cNvSpPr>
            <p:nvPr/>
          </p:nvSpPr>
          <p:spPr bwMode="auto">
            <a:xfrm>
              <a:off x="1228725" y="4662488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53" name="Freeform 46"/>
            <p:cNvSpPr/>
            <p:nvPr/>
          </p:nvSpPr>
          <p:spPr bwMode="auto"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0" t="0" r="r" b="b"/>
              <a:pathLst>
                <a:path w="234" h="1135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4" name="Freeform 47"/>
            <p:cNvSpPr>
              <a:spLocks noEditPoints="1"/>
            </p:cNvSpPr>
            <p:nvPr/>
          </p:nvSpPr>
          <p:spPr bwMode="auto"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5" name="Freeform 48"/>
            <p:cNvSpPr/>
            <p:nvPr/>
          </p:nvSpPr>
          <p:spPr bwMode="auto"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0" t="0" r="r" b="b"/>
              <a:pathLst>
                <a:path w="219" h="1802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6" name="Freeform 49"/>
            <p:cNvSpPr>
              <a:spLocks noEditPoints="1"/>
            </p:cNvSpPr>
            <p:nvPr/>
          </p:nvSpPr>
          <p:spPr bwMode="auto"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7" name="Freeform 50"/>
            <p:cNvSpPr>
              <a:spLocks noEditPoints="1"/>
            </p:cNvSpPr>
            <p:nvPr/>
          </p:nvSpPr>
          <p:spPr bwMode="auto"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8" name="Freeform 51"/>
            <p:cNvSpPr/>
            <p:nvPr/>
          </p:nvSpPr>
          <p:spPr bwMode="auto"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9" name="Freeform 52"/>
            <p:cNvSpPr/>
            <p:nvPr/>
          </p:nvSpPr>
          <p:spPr bwMode="auto"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0" name="Freeform 53"/>
            <p:cNvSpPr>
              <a:spLocks noEditPoints="1"/>
            </p:cNvSpPr>
            <p:nvPr/>
          </p:nvSpPr>
          <p:spPr bwMode="auto"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1" name="Freeform 54"/>
            <p:cNvSpPr>
              <a:spLocks noEditPoints="1"/>
            </p:cNvSpPr>
            <p:nvPr/>
          </p:nvSpPr>
          <p:spPr bwMode="auto"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2" name="Freeform 55"/>
            <p:cNvSpPr/>
            <p:nvPr/>
          </p:nvSpPr>
          <p:spPr bwMode="auto"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0" t="0" r="r" b="b"/>
              <a:pathLst>
                <a:path w="264" h="332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3" name="Freeform 56"/>
            <p:cNvSpPr>
              <a:spLocks noEditPoints="1"/>
            </p:cNvSpPr>
            <p:nvPr/>
          </p:nvSpPr>
          <p:spPr bwMode="auto"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0" t="0" r="r" b="b"/>
              <a:pathLst>
                <a:path w="33" h="31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4" name="Freeform 57"/>
            <p:cNvSpPr/>
            <p:nvPr/>
          </p:nvSpPr>
          <p:spPr bwMode="auto"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0" t="0" r="r" b="b"/>
              <a:pathLst>
                <a:path w="147" h="3215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5" name="Freeform 58"/>
            <p:cNvSpPr>
              <a:spLocks noEditPoints="1"/>
            </p:cNvSpPr>
            <p:nvPr/>
          </p:nvSpPr>
          <p:spPr bwMode="auto"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6424" y="1122363"/>
            <a:ext cx="8791575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6424" y="3602038"/>
            <a:ext cx="879157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77511" y="5410201"/>
            <a:ext cx="2743200" cy="365125"/>
          </a:xfrm>
        </p:spPr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76424" y="5410201"/>
            <a:ext cx="5124886" cy="365125"/>
          </a:xfr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96911" y="5410199"/>
            <a:ext cx="771089" cy="365125"/>
          </a:xfrm>
        </p:spPr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159044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4225636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419226"/>
            <a:ext cx="990600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424362"/>
            <a:ext cx="9906000" cy="1374776"/>
          </a:xfrm>
        </p:spPr>
        <p:txBody>
          <a:bodyPr>
            <a:normAutofit/>
          </a:bodyPr>
          <a:lstStyle>
            <a:lvl1pPr marL="0" indent="0">
              <a:buNone/>
              <a:defRPr sz="18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2133249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0" y="2249486"/>
            <a:ext cx="4878389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249486"/>
            <a:ext cx="4875211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9717651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19126"/>
            <a:ext cx="9906000" cy="147796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0019" y="2249486"/>
            <a:ext cx="4649783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0" y="3073397"/>
            <a:ext cx="4878391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0808" y="2249485"/>
            <a:ext cx="4646602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073397"/>
            <a:ext cx="4875210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35706816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20904784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10654311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6705" y="609601"/>
            <a:ext cx="3856037" cy="163988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6200" y="592666"/>
            <a:ext cx="5891209" cy="5198534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705" y="2249486"/>
            <a:ext cx="3856037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4447408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5934508" cy="163988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380721" y="609601"/>
            <a:ext cx="3666690" cy="5181599"/>
          </a:xfrm>
          <a:prstGeom prst="round2DiagRect">
            <a:avLst>
              <a:gd name="adj1" fmla="val 5608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2249486"/>
            <a:ext cx="5934511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36921049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4304664"/>
            <a:ext cx="9912355" cy="819355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41411" y="606426"/>
            <a:ext cx="9912354" cy="3299778"/>
          </a:xfrm>
          <a:prstGeom prst="round2DiagRect">
            <a:avLst>
              <a:gd name="adj1" fmla="val 4860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320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5124020"/>
            <a:ext cx="9910859" cy="68247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199324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E8B30-03E4-B0BF-AD63-D4ABCE31A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764D23-55DA-34E1-A3DC-2D741B1CDD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230C63-9274-BF2B-5428-F93FCF3079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50BDFE-9C0A-8668-B185-5C014C912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AE3BF4-2869-C72F-729B-358B2B3A64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1C8292-F566-AB1D-9255-E7489DC30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3430335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56" y="609600"/>
            <a:ext cx="9905955" cy="3429000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4419599"/>
            <a:ext cx="9904459" cy="137159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38074696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599"/>
            <a:ext cx="9302752" cy="2748429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309919"/>
            <a:ext cx="9906002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  <p:sp>
        <p:nvSpPr>
          <p:cNvPr id="60" name="TextBox 59"/>
          <p:cNvSpPr txBox="1"/>
          <p:nvPr/>
        </p:nvSpPr>
        <p:spPr>
          <a:xfrm>
            <a:off x="903512" y="73239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0537370" y="276497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5984041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2134041"/>
            <a:ext cx="9906001" cy="2511835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4657655"/>
            <a:ext cx="9904505" cy="1140644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512953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141410" y="2674463"/>
            <a:ext cx="319689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27918" y="3360263"/>
            <a:ext cx="3208735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4766" y="2677635"/>
            <a:ext cx="3184385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04213" y="3363435"/>
            <a:ext cx="3195830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442" y="2674463"/>
            <a:ext cx="3194968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52442" y="3360263"/>
            <a:ext cx="3194968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4511306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141413" y="4404596"/>
            <a:ext cx="319524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141413" y="2666998"/>
            <a:ext cx="31952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41413" y="4980858"/>
            <a:ext cx="3195240" cy="8178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89053" y="4404596"/>
            <a:ext cx="320040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89053" y="2666998"/>
            <a:ext cx="31989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7593" y="4980857"/>
            <a:ext cx="3200400" cy="81034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567" y="4404595"/>
            <a:ext cx="3190741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52442" y="2666998"/>
            <a:ext cx="3194969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442" y="4980854"/>
            <a:ext cx="3194968" cy="81034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3441942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90629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0" y="609599"/>
            <a:ext cx="2005011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0" y="609599"/>
            <a:ext cx="7748590" cy="51816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16703519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DD129-A8C2-419E-B641-6CC90F5073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1524000"/>
            <a:ext cx="10668000" cy="22860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B33C04-8A23-4499-A6EF-1D190F0FB3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000" y="4571999"/>
            <a:ext cx="10668000" cy="152400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FA99FB-5674-4BC5-949F-8D45EC167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63CF93-DD67-4FE2-8083-864693FE8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05E934-32B6-44B1-9622-67F30BDA3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316755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6AF011-A499-4054-89BF-A4800A68F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6FB6E8-D956-45B5-9B4A-9D31DF466B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CDB9DB-9E62-4292-915C-1DD4134740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D462F1-BC30-4172-8353-363123A1D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92EE8A-96DF-4D7D-B434-778324756D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81281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8453A-F2B4-4EDB-B8FA-150267BC1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524000"/>
            <a:ext cx="10668000" cy="30384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C46C51-ADF1-48FC-A4D9-38C369E783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4589463"/>
            <a:ext cx="10668000" cy="150653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C43B56-4DC7-490B-AEFD-55ED1ECFF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4738F8-C4B2-41D8-B627-A6DDB24B2D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F43D49-23F8-4C4B-9C30-EDC030EE6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9694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D2D079-6FD0-C2FA-4603-F5956D138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3D24F3-3D72-E56F-B7BC-383A54591D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94462B-5BF3-EBD9-2A70-F0BFAF69F0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6B218-C5A9-3B43-A637-1B5B52E7B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A33584-65F9-71B5-C23A-5420E879D5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231D13-B00E-1372-552F-CE7109EA8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05186452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5556D-6916-42E6-8820-8A0D328A5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2747A5-C962-477F-89AA-A32385D579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2000" y="2285999"/>
            <a:ext cx="5151119" cy="3810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D08312-30FC-44D8-B2A9-B5CAAD9F06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8879" y="2285999"/>
            <a:ext cx="5151121" cy="3810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ED84EB-AF90-4F19-A376-0FE5E50F9E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838ED0-2789-41E4-A36E-83F92CA2E8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221A83-6D60-45F0-9173-5F6D2438B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63667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4FFAE2-03F4-4A94-86C4-9305B237C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762000"/>
            <a:ext cx="10668000" cy="15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BAC5A5-E184-46B6-8AB5-C8E132D362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2285999"/>
            <a:ext cx="5151119" cy="7619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DCFE87-5D80-45CB-9D13-DFC9AFCEC7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2000" y="3048000"/>
            <a:ext cx="5151119" cy="30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AC1E5A-8423-4749-8EDA-E13425F696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8878" y="2286000"/>
            <a:ext cx="5151122" cy="7619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A832AAA-4BB8-4A3D-9C79-516F82F800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8878" y="3048000"/>
            <a:ext cx="5151122" cy="30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80BEC63-51D3-4C70-B804-BE9EF765AD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5CA295-8563-402F-92C3-1F20C977C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FA5918-109D-4342-84C0-9774A52C9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00547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F2662-CBD1-4498-9B6E-2961F5EF1B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FF739AE-8101-4C18-8CF3-911BDF397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EB1C88-D181-449C-9BE1-E85068C18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38A2C9-E93B-4F0A-A021-9E3AEBC3F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94555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0AE8D9-9B42-438E-ADA6-CCFE45788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F792B9-A8AF-4E13-8A25-741E89691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3A2CF6-DBC5-4491-B213-B3CD09D31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23005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27076-58C8-494C-B6B1-DC86F62DD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761998"/>
            <a:ext cx="3810000" cy="1524002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F29E36-0340-452F-8D0A-1BC3F3A388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0" y="762001"/>
            <a:ext cx="6096000" cy="5334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051C2E-E587-45E8-BDB1-DFF2F2791B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62000" y="2286000"/>
            <a:ext cx="3810000" cy="381000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21D993-DEDD-470E-B48B-CB053A55A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926C64-7401-4CA4-859F-74472AF869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108F41-F1F6-431C-9B45-8A447F188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58094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104FB-422C-4023-9381-EB12F1582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1" y="762000"/>
            <a:ext cx="3809999" cy="1524000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DBA3AA-DE44-4B1F-91D1-09F67B89B9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334000" y="762001"/>
            <a:ext cx="6021388" cy="5334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27B131-5117-4106-80DB-2AB208C4C9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62001" y="2286000"/>
            <a:ext cx="3809999" cy="38100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3918A-7F23-4C72-8E80-591324A30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1071C8-76FE-4B83-8317-BD53C7C844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23681A-6F29-48FC-9409-319ED3E96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908674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BA5B09-FC60-445F-8A12-79869BEC6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A219F7-87F2-409F-BB0B-8FE9270C98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AC2BB8-59E0-4EB2-B3BE-59D8641EE1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56984E-C0DE-461B-8011-8FC31B0EE9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FE7C03-68D3-445E-A5A2-8A935CFC9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189066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B21F0D7-112D-48B1-B32B-170B1AA2B5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143998" y="761999"/>
            <a:ext cx="2286000" cy="53340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B27A7C1-8E5B-41DA-9802-F242D382B6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62001" y="761999"/>
            <a:ext cx="7619999" cy="53340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961CC7-F5B1-464A-8127-60645FB21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94302-B381-4F37-A9FF-5CC551917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707151-541F-4104-B989-83A9DCA6E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00383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DD129-A8C2-419E-B641-6CC90F5073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1524000"/>
            <a:ext cx="10668000" cy="22860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B33C04-8A23-4499-A6EF-1D190F0FB3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000" y="4571999"/>
            <a:ext cx="10668000" cy="152400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FA99FB-5674-4BC5-949F-8D45EC167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63CF93-DD67-4FE2-8083-864693FE8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05E934-32B6-44B1-9622-67F30BDA3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030665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6AF011-A499-4054-89BF-A4800A68F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6FB6E8-D956-45B5-9B4A-9D31DF466B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CDB9DB-9E62-4292-915C-1DD4134740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D462F1-BC30-4172-8353-363123A1D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92EE8A-96DF-4D7D-B434-778324756D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920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53135-8816-160F-26DD-372AED722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871B86-75A4-1C27-1767-C7D9B954A7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4E6F74-CCD4-6DF5-A2D8-DD959F57F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636C1A-B9AE-0F7E-A076-24F9F2D54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4033D-949B-14B9-EF8B-CC6855CC6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9744586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8453A-F2B4-4EDB-B8FA-150267BC1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524000"/>
            <a:ext cx="10668000" cy="30384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C46C51-ADF1-48FC-A4D9-38C369E783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4589463"/>
            <a:ext cx="10668000" cy="150653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C43B56-4DC7-490B-AEFD-55ED1ECFF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4738F8-C4B2-41D8-B627-A6DDB24B2D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F43D49-23F8-4C4B-9C30-EDC030EE6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326495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5556D-6916-42E6-8820-8A0D328A5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2747A5-C962-477F-89AA-A32385D579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2000" y="2285999"/>
            <a:ext cx="5151119" cy="3810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D08312-30FC-44D8-B2A9-B5CAAD9F06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8879" y="2285999"/>
            <a:ext cx="5151121" cy="3810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ED84EB-AF90-4F19-A376-0FE5E50F9E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838ED0-2789-41E4-A36E-83F92CA2E8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221A83-6D60-45F0-9173-5F6D2438B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820726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4FFAE2-03F4-4A94-86C4-9305B237C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762000"/>
            <a:ext cx="10668000" cy="15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BAC5A5-E184-46B6-8AB5-C8E132D362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2285999"/>
            <a:ext cx="5151119" cy="7619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DCFE87-5D80-45CB-9D13-DFC9AFCEC7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2000" y="3048000"/>
            <a:ext cx="5151119" cy="30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AC1E5A-8423-4749-8EDA-E13425F696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8878" y="2286000"/>
            <a:ext cx="5151122" cy="7619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A832AAA-4BB8-4A3D-9C79-516F82F800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8878" y="3048000"/>
            <a:ext cx="5151122" cy="30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80BEC63-51D3-4C70-B804-BE9EF765AD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5CA295-8563-402F-92C3-1F20C977C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FA5918-109D-4342-84C0-9774A52C9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85697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F2662-CBD1-4498-9B6E-2961F5EF1B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FF739AE-8101-4C18-8CF3-911BDF397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EB1C88-D181-449C-9BE1-E85068C18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38A2C9-E93B-4F0A-A021-9E3AEBC3F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020280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0AE8D9-9B42-438E-ADA6-CCFE45788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F792B9-A8AF-4E13-8A25-741E89691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3A2CF6-DBC5-4491-B213-B3CD09D31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61315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27076-58C8-494C-B6B1-DC86F62DD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761998"/>
            <a:ext cx="3810000" cy="1524002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F29E36-0340-452F-8D0A-1BC3F3A388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0" y="762001"/>
            <a:ext cx="6096000" cy="5334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051C2E-E587-45E8-BDB1-DFF2F2791B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62000" y="2286000"/>
            <a:ext cx="3810000" cy="381000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21D993-DEDD-470E-B48B-CB053A55A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926C64-7401-4CA4-859F-74472AF869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108F41-F1F6-431C-9B45-8A447F188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61219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104FB-422C-4023-9381-EB12F1582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1" y="762000"/>
            <a:ext cx="3809999" cy="1524000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DBA3AA-DE44-4B1F-91D1-09F67B89B9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334000" y="762001"/>
            <a:ext cx="6021388" cy="5334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27B131-5117-4106-80DB-2AB208C4C9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62001" y="2286000"/>
            <a:ext cx="3809999" cy="38100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3918A-7F23-4C72-8E80-591324A30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1071C8-76FE-4B83-8317-BD53C7C844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23681A-6F29-48FC-9409-319ED3E96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684429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BA5B09-FC60-445F-8A12-79869BEC6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A219F7-87F2-409F-BB0B-8FE9270C98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AC2BB8-59E0-4EB2-B3BE-59D8641EE1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56984E-C0DE-461B-8011-8FC31B0EE9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FE7C03-68D3-445E-A5A2-8A935CFC9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3339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B21F0D7-112D-48B1-B32B-170B1AA2B5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143998" y="761999"/>
            <a:ext cx="2286000" cy="53340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B27A7C1-8E5B-41DA-9802-F242D382B6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62001" y="761999"/>
            <a:ext cx="7619999" cy="53340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961CC7-F5B1-464A-8127-60645FB21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69C88-B244-455D-A017-012B25B1ACDD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94302-B381-4F37-A9FF-5CC551917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707151-541F-4104-B989-83A9DCA6E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E569E-9B7C-4CB9-AB80-C0841F922C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261316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9DA59-7A43-7509-09A5-C22B90E28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6027A1-B1AF-06BB-2740-6291399A76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E917D5-C99B-CAD9-3DA6-C570664218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3BF2A9-2AC7-4106-FC85-CEF011F7E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860814-F0E5-07C6-9FC3-0AF6D9CCD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146441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09F9D56-B94D-A366-BF28-0FDB875471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A0B338-5421-3400-29C8-0656E0500D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719093-7C2E-2679-CB9C-337F66B3A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F0A4BA-8538-5138-F1CE-63CCEA719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C3CC5C-0A8C-49F3-9370-6BA6D2FF6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331359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22137B-4DB3-F8F2-A2A6-FDA520BF1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7FE097-1A8B-A74A-0FAB-1DA2C5AD76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8562FC-EC63-1A2F-0B62-1D1BF5EB7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4EA376-D5BC-2B62-4D39-2965FBDAD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262BE7-A35A-2B77-FADE-C9526CC03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50539796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CC9558-7735-FBCC-03D3-08C73BA9E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C36239-F15C-FD17-E596-A00496F45A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97B9A9-9A51-8889-AF0E-56D54D0BB9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5C34DE-D8FB-BC0A-760D-98B008D6B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E52E0-CE0F-AE72-1A69-E87869AED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51790369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1C000-4603-2AC6-3B40-3DD307400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7805D1-50EB-14CB-ACC8-9582D540AB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668F57-FE57-4F3C-AA0E-636685DE2D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F1C13E-8004-E3AB-F6DF-93820DD733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199433-3344-3F8B-02E0-7D2AFD226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5A6AE9-87AA-3144-896A-AE4E36EF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754064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BCDC89-CC79-BA05-2C98-B6BDE5F6E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A8710E-C195-50A6-F2C8-92364C5F04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0BFB0A-392E-1061-BE75-62F42CB44C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73EEBF-03D5-04EC-4B3E-1C97DE846E1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177AE4-D8C0-8421-0E07-BB6E67483AA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ECE2B8-8C26-0925-FE6B-817E19B85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BDC06E8-D7EB-9A31-E813-0384F07FB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D0E664-C90F-D88C-9FE0-9C678CB14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319151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37DE6-FCF9-0F4B-A6EF-331B78832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C2092D-A57E-07C3-65D5-C687AA42BA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101587-3F1E-9CC7-9FFB-17A63F329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B42FF0-9114-3D19-6CA8-F3FEEBAD9D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9024934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8A96EA-9635-68CA-FDC7-EC881C83E1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B389DF-3F01-24A6-9E67-977D43159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976C4-2363-D472-AB66-89A9A773E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73148918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D41740-723B-561D-AD52-A4DFE8B5B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1F44-CBE5-244A-F9A0-BCC1194A6F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4EE2A1-FA7B-EF9F-6192-951C826CD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A57EB3-611B-3F1D-BBB9-010C3B5C1F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A786F2-8E3F-D69C-33CF-73DBF8E91E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D600C5-F5C1-AAF4-3136-2D52B252EE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4172806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86C47-6CA9-8F8E-3FB6-20CC85B3D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359208B-E037-DC8D-0C14-E8B6EA873A3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05E418-3960-A536-6252-853F7B6F9A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82856E-42C6-3DD3-3143-3998E8280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72090B-814A-0AC6-04A5-C8AF800E83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0D1BC8-337A-E491-77ED-531944393C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48212590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D5F61-23D5-93C6-5CE0-25D181D06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E68691-1DAA-D39C-619B-FC2AAB2754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08E748-DE6E-1BAC-6B4E-95E22CF20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38189E-72AF-B581-3E3D-5ACF6A3EB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16AC6B-EE45-ABC6-D6EA-FE47A0266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66208302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D75CEE1-3875-6F67-5707-5E68FBC1562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65EFC42-7376-A4BE-E922-9AA2AB7090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DA0E8D-23DC-A5CF-B174-62C49BAF20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11C889-42B0-F7B4-7D99-DEACF2DF7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03C3D6-E78F-0FFA-092F-66F80AE96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664934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10623042" cy="82799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025006"/>
            <a:ext cx="10623042" cy="279151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493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936644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FBA5B27-13AD-4B4F-95D7-65F6886D3F9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258171" y="5366079"/>
            <a:ext cx="2341035" cy="755058"/>
            <a:chOff x="9258171" y="4332267"/>
            <a:chExt cx="2341035" cy="755058"/>
          </a:xfrm>
        </p:grpSpPr>
        <p:sp>
          <p:nvSpPr>
            <p:cNvPr id="27" name="Freeform 107">
              <a:extLst>
                <a:ext uri="{FF2B5EF4-FFF2-40B4-BE49-F238E27FC236}">
                  <a16:creationId xmlns:a16="http://schemas.microsoft.com/office/drawing/2014/main" id="{1BDEBB6C-35D5-4DCC-904F-796783AF58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91892" y="4824181"/>
              <a:ext cx="190838" cy="259589"/>
            </a:xfrm>
            <a:custGeom>
              <a:avLst/>
              <a:gdLst>
                <a:gd name="T0" fmla="*/ 118 w 148"/>
                <a:gd name="T1" fmla="*/ 63 h 201"/>
                <a:gd name="T2" fmla="*/ 115 w 148"/>
                <a:gd name="T3" fmla="*/ 48 h 201"/>
                <a:gd name="T4" fmla="*/ 108 w 148"/>
                <a:gd name="T5" fmla="*/ 37 h 201"/>
                <a:gd name="T6" fmla="*/ 98 w 148"/>
                <a:gd name="T7" fmla="*/ 31 h 201"/>
                <a:gd name="T8" fmla="*/ 83 w 148"/>
                <a:gd name="T9" fmla="*/ 28 h 201"/>
                <a:gd name="T10" fmla="*/ 30 w 148"/>
                <a:gd name="T11" fmla="*/ 28 h 201"/>
                <a:gd name="T12" fmla="*/ 30 w 148"/>
                <a:gd name="T13" fmla="*/ 98 h 201"/>
                <a:gd name="T14" fmla="*/ 83 w 148"/>
                <a:gd name="T15" fmla="*/ 98 h 201"/>
                <a:gd name="T16" fmla="*/ 109 w 148"/>
                <a:gd name="T17" fmla="*/ 88 h 201"/>
                <a:gd name="T18" fmla="*/ 118 w 148"/>
                <a:gd name="T19" fmla="*/ 63 h 201"/>
                <a:gd name="T20" fmla="*/ 148 w 148"/>
                <a:gd name="T21" fmla="*/ 63 h 201"/>
                <a:gd name="T22" fmla="*/ 144 w 148"/>
                <a:gd name="T23" fmla="*/ 90 h 201"/>
                <a:gd name="T24" fmla="*/ 130 w 148"/>
                <a:gd name="T25" fmla="*/ 110 h 201"/>
                <a:gd name="T26" fmla="*/ 109 w 148"/>
                <a:gd name="T27" fmla="*/ 122 h 201"/>
                <a:gd name="T28" fmla="*/ 82 w 148"/>
                <a:gd name="T29" fmla="*/ 126 h 201"/>
                <a:gd name="T30" fmla="*/ 30 w 148"/>
                <a:gd name="T31" fmla="*/ 126 h 201"/>
                <a:gd name="T32" fmla="*/ 30 w 148"/>
                <a:gd name="T33" fmla="*/ 201 h 201"/>
                <a:gd name="T34" fmla="*/ 0 w 148"/>
                <a:gd name="T35" fmla="*/ 201 h 201"/>
                <a:gd name="T36" fmla="*/ 0 w 148"/>
                <a:gd name="T37" fmla="*/ 0 h 201"/>
                <a:gd name="T38" fmla="*/ 84 w 148"/>
                <a:gd name="T39" fmla="*/ 0 h 201"/>
                <a:gd name="T40" fmla="*/ 110 w 148"/>
                <a:gd name="T41" fmla="*/ 4 h 201"/>
                <a:gd name="T42" fmla="*/ 130 w 148"/>
                <a:gd name="T43" fmla="*/ 16 h 201"/>
                <a:gd name="T44" fmla="*/ 144 w 148"/>
                <a:gd name="T45" fmla="*/ 35 h 201"/>
                <a:gd name="T46" fmla="*/ 148 w 148"/>
                <a:gd name="T47" fmla="*/ 6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8" h="201">
                  <a:moveTo>
                    <a:pt x="118" y="63"/>
                  </a:moveTo>
                  <a:cubicBezTo>
                    <a:pt x="118" y="57"/>
                    <a:pt x="117" y="52"/>
                    <a:pt x="115" y="48"/>
                  </a:cubicBezTo>
                  <a:cubicBezTo>
                    <a:pt x="114" y="44"/>
                    <a:pt x="111" y="40"/>
                    <a:pt x="108" y="37"/>
                  </a:cubicBezTo>
                  <a:cubicBezTo>
                    <a:pt x="105" y="34"/>
                    <a:pt x="102" y="32"/>
                    <a:pt x="98" y="31"/>
                  </a:cubicBezTo>
                  <a:cubicBezTo>
                    <a:pt x="93" y="29"/>
                    <a:pt x="89" y="28"/>
                    <a:pt x="8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83" y="98"/>
                    <a:pt x="83" y="98"/>
                    <a:pt x="83" y="98"/>
                  </a:cubicBezTo>
                  <a:cubicBezTo>
                    <a:pt x="95" y="98"/>
                    <a:pt x="104" y="94"/>
                    <a:pt x="109" y="88"/>
                  </a:cubicBezTo>
                  <a:cubicBezTo>
                    <a:pt x="115" y="82"/>
                    <a:pt x="118" y="74"/>
                    <a:pt x="118" y="63"/>
                  </a:cubicBezTo>
                  <a:moveTo>
                    <a:pt x="148" y="63"/>
                  </a:moveTo>
                  <a:cubicBezTo>
                    <a:pt x="148" y="73"/>
                    <a:pt x="147" y="82"/>
                    <a:pt x="144" y="90"/>
                  </a:cubicBezTo>
                  <a:cubicBezTo>
                    <a:pt x="140" y="98"/>
                    <a:pt x="136" y="104"/>
                    <a:pt x="130" y="110"/>
                  </a:cubicBezTo>
                  <a:cubicBezTo>
                    <a:pt x="124" y="115"/>
                    <a:pt x="117" y="119"/>
                    <a:pt x="109" y="122"/>
                  </a:cubicBezTo>
                  <a:cubicBezTo>
                    <a:pt x="101" y="124"/>
                    <a:pt x="92" y="126"/>
                    <a:pt x="82" y="126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201"/>
                    <a:pt x="30" y="201"/>
                    <a:pt x="30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3" y="0"/>
                    <a:pt x="102" y="1"/>
                    <a:pt x="110" y="4"/>
                  </a:cubicBezTo>
                  <a:cubicBezTo>
                    <a:pt x="117" y="7"/>
                    <a:pt x="124" y="11"/>
                    <a:pt x="130" y="16"/>
                  </a:cubicBezTo>
                  <a:cubicBezTo>
                    <a:pt x="136" y="21"/>
                    <a:pt x="140" y="28"/>
                    <a:pt x="144" y="35"/>
                  </a:cubicBezTo>
                  <a:cubicBezTo>
                    <a:pt x="147" y="43"/>
                    <a:pt x="148" y="52"/>
                    <a:pt x="148" y="63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8" name="Freeform 108">
              <a:extLst>
                <a:ext uri="{FF2B5EF4-FFF2-40B4-BE49-F238E27FC236}">
                  <a16:creationId xmlns:a16="http://schemas.microsoft.com/office/drawing/2014/main" id="{BCD91366-0ACE-4D7B-BB11-9311EE05F5F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95771" y="4884632"/>
              <a:ext cx="157649" cy="202693"/>
            </a:xfrm>
            <a:custGeom>
              <a:avLst/>
              <a:gdLst>
                <a:gd name="T0" fmla="*/ 93 w 122"/>
                <a:gd name="T1" fmla="*/ 89 h 157"/>
                <a:gd name="T2" fmla="*/ 86 w 122"/>
                <a:gd name="T3" fmla="*/ 86 h 157"/>
                <a:gd name="T4" fmla="*/ 79 w 122"/>
                <a:gd name="T5" fmla="*/ 85 h 157"/>
                <a:gd name="T6" fmla="*/ 70 w 122"/>
                <a:gd name="T7" fmla="*/ 83 h 157"/>
                <a:gd name="T8" fmla="*/ 59 w 122"/>
                <a:gd name="T9" fmla="*/ 83 h 157"/>
                <a:gd name="T10" fmla="*/ 36 w 122"/>
                <a:gd name="T11" fmla="*/ 89 h 157"/>
                <a:gd name="T12" fmla="*/ 28 w 122"/>
                <a:gd name="T13" fmla="*/ 105 h 157"/>
                <a:gd name="T14" fmla="*/ 31 w 122"/>
                <a:gd name="T15" fmla="*/ 117 h 157"/>
                <a:gd name="T16" fmla="*/ 37 w 122"/>
                <a:gd name="T17" fmla="*/ 124 h 157"/>
                <a:gd name="T18" fmla="*/ 45 w 122"/>
                <a:gd name="T19" fmla="*/ 129 h 157"/>
                <a:gd name="T20" fmla="*/ 57 w 122"/>
                <a:gd name="T21" fmla="*/ 130 h 157"/>
                <a:gd name="T22" fmla="*/ 68 w 122"/>
                <a:gd name="T23" fmla="*/ 128 h 157"/>
                <a:gd name="T24" fmla="*/ 79 w 122"/>
                <a:gd name="T25" fmla="*/ 124 h 157"/>
                <a:gd name="T26" fmla="*/ 87 w 122"/>
                <a:gd name="T27" fmla="*/ 118 h 157"/>
                <a:gd name="T28" fmla="*/ 93 w 122"/>
                <a:gd name="T29" fmla="*/ 111 h 157"/>
                <a:gd name="T30" fmla="*/ 93 w 122"/>
                <a:gd name="T31" fmla="*/ 89 h 157"/>
                <a:gd name="T32" fmla="*/ 93 w 122"/>
                <a:gd name="T33" fmla="*/ 154 h 157"/>
                <a:gd name="T34" fmla="*/ 93 w 122"/>
                <a:gd name="T35" fmla="*/ 139 h 157"/>
                <a:gd name="T36" fmla="*/ 84 w 122"/>
                <a:gd name="T37" fmla="*/ 147 h 157"/>
                <a:gd name="T38" fmla="*/ 76 w 122"/>
                <a:gd name="T39" fmla="*/ 151 h 157"/>
                <a:gd name="T40" fmla="*/ 66 w 122"/>
                <a:gd name="T41" fmla="*/ 155 h 157"/>
                <a:gd name="T42" fmla="*/ 52 w 122"/>
                <a:gd name="T43" fmla="*/ 157 h 157"/>
                <a:gd name="T44" fmla="*/ 34 w 122"/>
                <a:gd name="T45" fmla="*/ 154 h 157"/>
                <a:gd name="T46" fmla="*/ 17 w 122"/>
                <a:gd name="T47" fmla="*/ 145 h 157"/>
                <a:gd name="T48" fmla="*/ 5 w 122"/>
                <a:gd name="T49" fmla="*/ 130 h 157"/>
                <a:gd name="T50" fmla="*/ 0 w 122"/>
                <a:gd name="T51" fmla="*/ 106 h 157"/>
                <a:gd name="T52" fmla="*/ 5 w 122"/>
                <a:gd name="T53" fmla="*/ 84 h 157"/>
                <a:gd name="T54" fmla="*/ 17 w 122"/>
                <a:gd name="T55" fmla="*/ 69 h 157"/>
                <a:gd name="T56" fmla="*/ 36 w 122"/>
                <a:gd name="T57" fmla="*/ 60 h 157"/>
                <a:gd name="T58" fmla="*/ 60 w 122"/>
                <a:gd name="T59" fmla="*/ 57 h 157"/>
                <a:gd name="T60" fmla="*/ 80 w 122"/>
                <a:gd name="T61" fmla="*/ 59 h 157"/>
                <a:gd name="T62" fmla="*/ 93 w 122"/>
                <a:gd name="T63" fmla="*/ 63 h 157"/>
                <a:gd name="T64" fmla="*/ 93 w 122"/>
                <a:gd name="T65" fmla="*/ 52 h 157"/>
                <a:gd name="T66" fmla="*/ 86 w 122"/>
                <a:gd name="T67" fmla="*/ 33 h 157"/>
                <a:gd name="T68" fmla="*/ 65 w 122"/>
                <a:gd name="T69" fmla="*/ 26 h 157"/>
                <a:gd name="T70" fmla="*/ 44 w 122"/>
                <a:gd name="T71" fmla="*/ 29 h 157"/>
                <a:gd name="T72" fmla="*/ 26 w 122"/>
                <a:gd name="T73" fmla="*/ 36 h 157"/>
                <a:gd name="T74" fmla="*/ 14 w 122"/>
                <a:gd name="T75" fmla="*/ 14 h 157"/>
                <a:gd name="T76" fmla="*/ 38 w 122"/>
                <a:gd name="T77" fmla="*/ 3 h 157"/>
                <a:gd name="T78" fmla="*/ 66 w 122"/>
                <a:gd name="T79" fmla="*/ 0 h 157"/>
                <a:gd name="T80" fmla="*/ 89 w 122"/>
                <a:gd name="T81" fmla="*/ 3 h 157"/>
                <a:gd name="T82" fmla="*/ 107 w 122"/>
                <a:gd name="T83" fmla="*/ 12 h 157"/>
                <a:gd name="T84" fmla="*/ 118 w 122"/>
                <a:gd name="T85" fmla="*/ 28 h 157"/>
                <a:gd name="T86" fmla="*/ 122 w 122"/>
                <a:gd name="T87" fmla="*/ 51 h 157"/>
                <a:gd name="T88" fmla="*/ 122 w 122"/>
                <a:gd name="T89" fmla="*/ 154 h 157"/>
                <a:gd name="T90" fmla="*/ 93 w 122"/>
                <a:gd name="T91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57">
                  <a:moveTo>
                    <a:pt x="93" y="89"/>
                  </a:moveTo>
                  <a:cubicBezTo>
                    <a:pt x="91" y="88"/>
                    <a:pt x="88" y="87"/>
                    <a:pt x="86" y="86"/>
                  </a:cubicBezTo>
                  <a:cubicBezTo>
                    <a:pt x="84" y="86"/>
                    <a:pt x="81" y="85"/>
                    <a:pt x="79" y="85"/>
                  </a:cubicBezTo>
                  <a:cubicBezTo>
                    <a:pt x="77" y="84"/>
                    <a:pt x="74" y="84"/>
                    <a:pt x="70" y="83"/>
                  </a:cubicBezTo>
                  <a:cubicBezTo>
                    <a:pt x="67" y="83"/>
                    <a:pt x="63" y="83"/>
                    <a:pt x="59" y="83"/>
                  </a:cubicBezTo>
                  <a:cubicBezTo>
                    <a:pt x="50" y="83"/>
                    <a:pt x="42" y="85"/>
                    <a:pt x="36" y="89"/>
                  </a:cubicBezTo>
                  <a:cubicBezTo>
                    <a:pt x="31" y="93"/>
                    <a:pt x="28" y="98"/>
                    <a:pt x="28" y="105"/>
                  </a:cubicBezTo>
                  <a:cubicBezTo>
                    <a:pt x="28" y="110"/>
                    <a:pt x="29" y="113"/>
                    <a:pt x="31" y="117"/>
                  </a:cubicBezTo>
                  <a:cubicBezTo>
                    <a:pt x="32" y="120"/>
                    <a:pt x="34" y="122"/>
                    <a:pt x="37" y="124"/>
                  </a:cubicBezTo>
                  <a:cubicBezTo>
                    <a:pt x="39" y="126"/>
                    <a:pt x="42" y="128"/>
                    <a:pt x="45" y="129"/>
                  </a:cubicBezTo>
                  <a:cubicBezTo>
                    <a:pt x="48" y="130"/>
                    <a:pt x="52" y="130"/>
                    <a:pt x="57" y="130"/>
                  </a:cubicBezTo>
                  <a:cubicBezTo>
                    <a:pt x="61" y="130"/>
                    <a:pt x="65" y="130"/>
                    <a:pt x="68" y="128"/>
                  </a:cubicBezTo>
                  <a:cubicBezTo>
                    <a:pt x="72" y="127"/>
                    <a:pt x="75" y="126"/>
                    <a:pt x="79" y="124"/>
                  </a:cubicBezTo>
                  <a:cubicBezTo>
                    <a:pt x="82" y="122"/>
                    <a:pt x="85" y="120"/>
                    <a:pt x="87" y="118"/>
                  </a:cubicBezTo>
                  <a:cubicBezTo>
                    <a:pt x="90" y="116"/>
                    <a:pt x="92" y="113"/>
                    <a:pt x="93" y="111"/>
                  </a:cubicBezTo>
                  <a:lnTo>
                    <a:pt x="93" y="89"/>
                  </a:lnTo>
                  <a:close/>
                  <a:moveTo>
                    <a:pt x="93" y="154"/>
                  </a:moveTo>
                  <a:cubicBezTo>
                    <a:pt x="93" y="139"/>
                    <a:pt x="93" y="139"/>
                    <a:pt x="93" y="139"/>
                  </a:cubicBezTo>
                  <a:cubicBezTo>
                    <a:pt x="90" y="142"/>
                    <a:pt x="86" y="145"/>
                    <a:pt x="84" y="147"/>
                  </a:cubicBezTo>
                  <a:cubicBezTo>
                    <a:pt x="81" y="148"/>
                    <a:pt x="79" y="150"/>
                    <a:pt x="76" y="151"/>
                  </a:cubicBezTo>
                  <a:cubicBezTo>
                    <a:pt x="73" y="153"/>
                    <a:pt x="70" y="154"/>
                    <a:pt x="66" y="155"/>
                  </a:cubicBezTo>
                  <a:cubicBezTo>
                    <a:pt x="62" y="156"/>
                    <a:pt x="57" y="157"/>
                    <a:pt x="52" y="157"/>
                  </a:cubicBezTo>
                  <a:cubicBezTo>
                    <a:pt x="46" y="157"/>
                    <a:pt x="40" y="156"/>
                    <a:pt x="34" y="154"/>
                  </a:cubicBezTo>
                  <a:cubicBezTo>
                    <a:pt x="28" y="152"/>
                    <a:pt x="22" y="149"/>
                    <a:pt x="17" y="145"/>
                  </a:cubicBezTo>
                  <a:cubicBezTo>
                    <a:pt x="12" y="141"/>
                    <a:pt x="8" y="136"/>
                    <a:pt x="5" y="130"/>
                  </a:cubicBezTo>
                  <a:cubicBezTo>
                    <a:pt x="2" y="123"/>
                    <a:pt x="0" y="115"/>
                    <a:pt x="0" y="106"/>
                  </a:cubicBezTo>
                  <a:cubicBezTo>
                    <a:pt x="0" y="98"/>
                    <a:pt x="2" y="90"/>
                    <a:pt x="5" y="84"/>
                  </a:cubicBezTo>
                  <a:cubicBezTo>
                    <a:pt x="8" y="78"/>
                    <a:pt x="12" y="73"/>
                    <a:pt x="17" y="69"/>
                  </a:cubicBezTo>
                  <a:cubicBezTo>
                    <a:pt x="23" y="65"/>
                    <a:pt x="29" y="62"/>
                    <a:pt x="36" y="60"/>
                  </a:cubicBezTo>
                  <a:cubicBezTo>
                    <a:pt x="44" y="58"/>
                    <a:pt x="51" y="57"/>
                    <a:pt x="60" y="57"/>
                  </a:cubicBezTo>
                  <a:cubicBezTo>
                    <a:pt x="68" y="57"/>
                    <a:pt x="75" y="58"/>
                    <a:pt x="80" y="59"/>
                  </a:cubicBezTo>
                  <a:cubicBezTo>
                    <a:pt x="85" y="60"/>
                    <a:pt x="90" y="61"/>
                    <a:pt x="93" y="63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44"/>
                    <a:pt x="91" y="37"/>
                    <a:pt x="86" y="33"/>
                  </a:cubicBezTo>
                  <a:cubicBezTo>
                    <a:pt x="81" y="29"/>
                    <a:pt x="74" y="26"/>
                    <a:pt x="65" y="26"/>
                  </a:cubicBezTo>
                  <a:cubicBezTo>
                    <a:pt x="57" y="26"/>
                    <a:pt x="50" y="27"/>
                    <a:pt x="44" y="29"/>
                  </a:cubicBezTo>
                  <a:cubicBezTo>
                    <a:pt x="38" y="30"/>
                    <a:pt x="32" y="33"/>
                    <a:pt x="26" y="36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2" y="9"/>
                    <a:pt x="29" y="6"/>
                    <a:pt x="38" y="3"/>
                  </a:cubicBezTo>
                  <a:cubicBezTo>
                    <a:pt x="46" y="1"/>
                    <a:pt x="55" y="0"/>
                    <a:pt x="66" y="0"/>
                  </a:cubicBezTo>
                  <a:cubicBezTo>
                    <a:pt x="74" y="0"/>
                    <a:pt x="82" y="1"/>
                    <a:pt x="89" y="3"/>
                  </a:cubicBezTo>
                  <a:cubicBezTo>
                    <a:pt x="96" y="5"/>
                    <a:pt x="102" y="8"/>
                    <a:pt x="107" y="12"/>
                  </a:cubicBezTo>
                  <a:cubicBezTo>
                    <a:pt x="112" y="17"/>
                    <a:pt x="116" y="22"/>
                    <a:pt x="118" y="28"/>
                  </a:cubicBezTo>
                  <a:cubicBezTo>
                    <a:pt x="121" y="35"/>
                    <a:pt x="122" y="42"/>
                    <a:pt x="122" y="51"/>
                  </a:cubicBezTo>
                  <a:cubicBezTo>
                    <a:pt x="122" y="154"/>
                    <a:pt x="122" y="154"/>
                    <a:pt x="122" y="154"/>
                  </a:cubicBezTo>
                  <a:lnTo>
                    <a:pt x="93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9" name="Freeform 109">
              <a:extLst>
                <a:ext uri="{FF2B5EF4-FFF2-40B4-BE49-F238E27FC236}">
                  <a16:creationId xmlns:a16="http://schemas.microsoft.com/office/drawing/2014/main" id="{5B856923-F641-4D75-9CAD-3802B0FB1F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350" y="4884632"/>
              <a:ext cx="114977" cy="199136"/>
            </a:xfrm>
            <a:custGeom>
              <a:avLst/>
              <a:gdLst>
                <a:gd name="T0" fmla="*/ 82 w 89"/>
                <a:gd name="T1" fmla="*/ 34 h 154"/>
                <a:gd name="T2" fmla="*/ 72 w 89"/>
                <a:gd name="T3" fmla="*/ 30 h 154"/>
                <a:gd name="T4" fmla="*/ 59 w 89"/>
                <a:gd name="T5" fmla="*/ 29 h 154"/>
                <a:gd name="T6" fmla="*/ 37 w 89"/>
                <a:gd name="T7" fmla="*/ 39 h 154"/>
                <a:gd name="T8" fmla="*/ 30 w 89"/>
                <a:gd name="T9" fmla="*/ 68 h 154"/>
                <a:gd name="T10" fmla="*/ 30 w 89"/>
                <a:gd name="T11" fmla="*/ 154 h 154"/>
                <a:gd name="T12" fmla="*/ 0 w 89"/>
                <a:gd name="T13" fmla="*/ 154 h 154"/>
                <a:gd name="T14" fmla="*/ 0 w 89"/>
                <a:gd name="T15" fmla="*/ 3 h 154"/>
                <a:gd name="T16" fmla="*/ 30 w 89"/>
                <a:gd name="T17" fmla="*/ 3 h 154"/>
                <a:gd name="T18" fmla="*/ 30 w 89"/>
                <a:gd name="T19" fmla="*/ 18 h 154"/>
                <a:gd name="T20" fmla="*/ 36 w 89"/>
                <a:gd name="T21" fmla="*/ 11 h 154"/>
                <a:gd name="T22" fmla="*/ 44 w 89"/>
                <a:gd name="T23" fmla="*/ 5 h 154"/>
                <a:gd name="T24" fmla="*/ 53 w 89"/>
                <a:gd name="T25" fmla="*/ 1 h 154"/>
                <a:gd name="T26" fmla="*/ 64 w 89"/>
                <a:gd name="T27" fmla="*/ 0 h 154"/>
                <a:gd name="T28" fmla="*/ 79 w 89"/>
                <a:gd name="T29" fmla="*/ 2 h 154"/>
                <a:gd name="T30" fmla="*/ 89 w 89"/>
                <a:gd name="T31" fmla="*/ 6 h 154"/>
                <a:gd name="T32" fmla="*/ 82 w 89"/>
                <a:gd name="T33" fmla="*/ 3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154">
                  <a:moveTo>
                    <a:pt x="82" y="34"/>
                  </a:moveTo>
                  <a:cubicBezTo>
                    <a:pt x="78" y="33"/>
                    <a:pt x="75" y="31"/>
                    <a:pt x="72" y="30"/>
                  </a:cubicBezTo>
                  <a:cubicBezTo>
                    <a:pt x="68" y="29"/>
                    <a:pt x="64" y="29"/>
                    <a:pt x="59" y="29"/>
                  </a:cubicBezTo>
                  <a:cubicBezTo>
                    <a:pt x="50" y="29"/>
                    <a:pt x="42" y="32"/>
                    <a:pt x="37" y="39"/>
                  </a:cubicBezTo>
                  <a:cubicBezTo>
                    <a:pt x="32" y="45"/>
                    <a:pt x="30" y="55"/>
                    <a:pt x="30" y="68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5"/>
                    <a:pt x="33" y="13"/>
                    <a:pt x="36" y="11"/>
                  </a:cubicBezTo>
                  <a:cubicBezTo>
                    <a:pt x="38" y="8"/>
                    <a:pt x="41" y="7"/>
                    <a:pt x="44" y="5"/>
                  </a:cubicBezTo>
                  <a:cubicBezTo>
                    <a:pt x="47" y="3"/>
                    <a:pt x="50" y="2"/>
                    <a:pt x="53" y="1"/>
                  </a:cubicBezTo>
                  <a:cubicBezTo>
                    <a:pt x="57" y="0"/>
                    <a:pt x="60" y="0"/>
                    <a:pt x="64" y="0"/>
                  </a:cubicBezTo>
                  <a:cubicBezTo>
                    <a:pt x="70" y="0"/>
                    <a:pt x="75" y="1"/>
                    <a:pt x="79" y="2"/>
                  </a:cubicBezTo>
                  <a:cubicBezTo>
                    <a:pt x="83" y="3"/>
                    <a:pt x="87" y="4"/>
                    <a:pt x="89" y="6"/>
                  </a:cubicBezTo>
                  <a:lnTo>
                    <a:pt x="82" y="3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0" name="Freeform 110">
              <a:extLst>
                <a:ext uri="{FF2B5EF4-FFF2-40B4-BE49-F238E27FC236}">
                  <a16:creationId xmlns:a16="http://schemas.microsoft.com/office/drawing/2014/main" id="{40DAF9A5-54C2-4E1B-B8EF-D07B9E8A41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28849" y="4813512"/>
              <a:ext cx="112606" cy="273813"/>
            </a:xfrm>
            <a:custGeom>
              <a:avLst/>
              <a:gdLst>
                <a:gd name="T0" fmla="*/ 84 w 87"/>
                <a:gd name="T1" fmla="*/ 205 h 212"/>
                <a:gd name="T2" fmla="*/ 71 w 87"/>
                <a:gd name="T3" fmla="*/ 210 h 212"/>
                <a:gd name="T4" fmla="*/ 55 w 87"/>
                <a:gd name="T5" fmla="*/ 212 h 212"/>
                <a:gd name="T6" fmla="*/ 41 w 87"/>
                <a:gd name="T7" fmla="*/ 210 h 212"/>
                <a:gd name="T8" fmla="*/ 31 w 87"/>
                <a:gd name="T9" fmla="*/ 203 h 212"/>
                <a:gd name="T10" fmla="*/ 24 w 87"/>
                <a:gd name="T11" fmla="*/ 190 h 212"/>
                <a:gd name="T12" fmla="*/ 21 w 87"/>
                <a:gd name="T13" fmla="*/ 172 h 212"/>
                <a:gd name="T14" fmla="*/ 21 w 87"/>
                <a:gd name="T15" fmla="*/ 85 h 212"/>
                <a:gd name="T16" fmla="*/ 0 w 87"/>
                <a:gd name="T17" fmla="*/ 85 h 212"/>
                <a:gd name="T18" fmla="*/ 0 w 87"/>
                <a:gd name="T19" fmla="*/ 58 h 212"/>
                <a:gd name="T20" fmla="*/ 21 w 87"/>
                <a:gd name="T21" fmla="*/ 58 h 212"/>
                <a:gd name="T22" fmla="*/ 21 w 87"/>
                <a:gd name="T23" fmla="*/ 15 h 212"/>
                <a:gd name="T24" fmla="*/ 50 w 87"/>
                <a:gd name="T25" fmla="*/ 0 h 212"/>
                <a:gd name="T26" fmla="*/ 50 w 87"/>
                <a:gd name="T27" fmla="*/ 58 h 212"/>
                <a:gd name="T28" fmla="*/ 87 w 87"/>
                <a:gd name="T29" fmla="*/ 58 h 212"/>
                <a:gd name="T30" fmla="*/ 87 w 87"/>
                <a:gd name="T31" fmla="*/ 85 h 212"/>
                <a:gd name="T32" fmla="*/ 50 w 87"/>
                <a:gd name="T33" fmla="*/ 85 h 212"/>
                <a:gd name="T34" fmla="*/ 50 w 87"/>
                <a:gd name="T35" fmla="*/ 167 h 212"/>
                <a:gd name="T36" fmla="*/ 51 w 87"/>
                <a:gd name="T37" fmla="*/ 176 h 212"/>
                <a:gd name="T38" fmla="*/ 54 w 87"/>
                <a:gd name="T39" fmla="*/ 181 h 212"/>
                <a:gd name="T40" fmla="*/ 59 w 87"/>
                <a:gd name="T41" fmla="*/ 184 h 212"/>
                <a:gd name="T42" fmla="*/ 66 w 87"/>
                <a:gd name="T43" fmla="*/ 185 h 212"/>
                <a:gd name="T44" fmla="*/ 77 w 87"/>
                <a:gd name="T45" fmla="*/ 183 h 212"/>
                <a:gd name="T46" fmla="*/ 87 w 87"/>
                <a:gd name="T47" fmla="*/ 179 h 212"/>
                <a:gd name="T48" fmla="*/ 84 w 87"/>
                <a:gd name="T49" fmla="*/ 20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212">
                  <a:moveTo>
                    <a:pt x="84" y="205"/>
                  </a:moveTo>
                  <a:cubicBezTo>
                    <a:pt x="80" y="207"/>
                    <a:pt x="76" y="209"/>
                    <a:pt x="71" y="210"/>
                  </a:cubicBezTo>
                  <a:cubicBezTo>
                    <a:pt x="66" y="211"/>
                    <a:pt x="61" y="212"/>
                    <a:pt x="55" y="212"/>
                  </a:cubicBezTo>
                  <a:cubicBezTo>
                    <a:pt x="50" y="212"/>
                    <a:pt x="45" y="211"/>
                    <a:pt x="41" y="210"/>
                  </a:cubicBezTo>
                  <a:cubicBezTo>
                    <a:pt x="38" y="208"/>
                    <a:pt x="34" y="206"/>
                    <a:pt x="31" y="203"/>
                  </a:cubicBezTo>
                  <a:cubicBezTo>
                    <a:pt x="28" y="200"/>
                    <a:pt x="25" y="196"/>
                    <a:pt x="24" y="190"/>
                  </a:cubicBezTo>
                  <a:cubicBezTo>
                    <a:pt x="22" y="185"/>
                    <a:pt x="21" y="179"/>
                    <a:pt x="21" y="172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167"/>
                    <a:pt x="50" y="167"/>
                    <a:pt x="50" y="167"/>
                  </a:cubicBezTo>
                  <a:cubicBezTo>
                    <a:pt x="50" y="170"/>
                    <a:pt x="50" y="173"/>
                    <a:pt x="51" y="176"/>
                  </a:cubicBezTo>
                  <a:cubicBezTo>
                    <a:pt x="52" y="178"/>
                    <a:pt x="52" y="180"/>
                    <a:pt x="54" y="181"/>
                  </a:cubicBezTo>
                  <a:cubicBezTo>
                    <a:pt x="55" y="182"/>
                    <a:pt x="57" y="183"/>
                    <a:pt x="59" y="184"/>
                  </a:cubicBezTo>
                  <a:cubicBezTo>
                    <a:pt x="61" y="185"/>
                    <a:pt x="63" y="185"/>
                    <a:pt x="66" y="185"/>
                  </a:cubicBezTo>
                  <a:cubicBezTo>
                    <a:pt x="69" y="185"/>
                    <a:pt x="73" y="184"/>
                    <a:pt x="77" y="183"/>
                  </a:cubicBezTo>
                  <a:cubicBezTo>
                    <a:pt x="81" y="182"/>
                    <a:pt x="85" y="180"/>
                    <a:pt x="87" y="179"/>
                  </a:cubicBezTo>
                  <a:lnTo>
                    <a:pt x="84" y="205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1" name="Freeform 111">
              <a:extLst>
                <a:ext uri="{FF2B5EF4-FFF2-40B4-BE49-F238E27FC236}">
                  <a16:creationId xmlns:a16="http://schemas.microsoft.com/office/drawing/2014/main" id="{4EAC484B-8D53-4F3D-B63E-275952A93E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8201" y="4813512"/>
              <a:ext cx="156464" cy="270256"/>
            </a:xfrm>
            <a:custGeom>
              <a:avLst/>
              <a:gdLst>
                <a:gd name="T0" fmla="*/ 91 w 121"/>
                <a:gd name="T1" fmla="*/ 209 h 209"/>
                <a:gd name="T2" fmla="*/ 91 w 121"/>
                <a:gd name="T3" fmla="*/ 124 h 209"/>
                <a:gd name="T4" fmla="*/ 84 w 121"/>
                <a:gd name="T5" fmla="*/ 93 h 209"/>
                <a:gd name="T6" fmla="*/ 60 w 121"/>
                <a:gd name="T7" fmla="*/ 82 h 209"/>
                <a:gd name="T8" fmla="*/ 47 w 121"/>
                <a:gd name="T9" fmla="*/ 85 h 209"/>
                <a:gd name="T10" fmla="*/ 38 w 121"/>
                <a:gd name="T11" fmla="*/ 92 h 209"/>
                <a:gd name="T12" fmla="*/ 31 w 121"/>
                <a:gd name="T13" fmla="*/ 104 h 209"/>
                <a:gd name="T14" fmla="*/ 29 w 121"/>
                <a:gd name="T15" fmla="*/ 121 h 209"/>
                <a:gd name="T16" fmla="*/ 29 w 121"/>
                <a:gd name="T17" fmla="*/ 209 h 209"/>
                <a:gd name="T18" fmla="*/ 0 w 121"/>
                <a:gd name="T19" fmla="*/ 209 h 209"/>
                <a:gd name="T20" fmla="*/ 0 w 121"/>
                <a:gd name="T21" fmla="*/ 15 h 209"/>
                <a:gd name="T22" fmla="*/ 29 w 121"/>
                <a:gd name="T23" fmla="*/ 0 h 209"/>
                <a:gd name="T24" fmla="*/ 29 w 121"/>
                <a:gd name="T25" fmla="*/ 73 h 209"/>
                <a:gd name="T26" fmla="*/ 36 w 121"/>
                <a:gd name="T27" fmla="*/ 65 h 209"/>
                <a:gd name="T28" fmla="*/ 45 w 121"/>
                <a:gd name="T29" fmla="*/ 60 h 209"/>
                <a:gd name="T30" fmla="*/ 55 w 121"/>
                <a:gd name="T31" fmla="*/ 56 h 209"/>
                <a:gd name="T32" fmla="*/ 67 w 121"/>
                <a:gd name="T33" fmla="*/ 55 h 209"/>
                <a:gd name="T34" fmla="*/ 90 w 121"/>
                <a:gd name="T35" fmla="*/ 59 h 209"/>
                <a:gd name="T36" fmla="*/ 107 w 121"/>
                <a:gd name="T37" fmla="*/ 72 h 209"/>
                <a:gd name="T38" fmla="*/ 117 w 121"/>
                <a:gd name="T39" fmla="*/ 94 h 209"/>
                <a:gd name="T40" fmla="*/ 121 w 121"/>
                <a:gd name="T41" fmla="*/ 122 h 209"/>
                <a:gd name="T42" fmla="*/ 121 w 121"/>
                <a:gd name="T43" fmla="*/ 209 h 209"/>
                <a:gd name="T44" fmla="*/ 91 w 121"/>
                <a:gd name="T4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209">
                  <a:moveTo>
                    <a:pt x="91" y="209"/>
                  </a:moveTo>
                  <a:cubicBezTo>
                    <a:pt x="91" y="124"/>
                    <a:pt x="91" y="124"/>
                    <a:pt x="91" y="124"/>
                  </a:cubicBezTo>
                  <a:cubicBezTo>
                    <a:pt x="91" y="110"/>
                    <a:pt x="89" y="99"/>
                    <a:pt x="84" y="93"/>
                  </a:cubicBezTo>
                  <a:cubicBezTo>
                    <a:pt x="79" y="86"/>
                    <a:pt x="71" y="82"/>
                    <a:pt x="60" y="82"/>
                  </a:cubicBezTo>
                  <a:cubicBezTo>
                    <a:pt x="56" y="82"/>
                    <a:pt x="51" y="83"/>
                    <a:pt x="47" y="85"/>
                  </a:cubicBezTo>
                  <a:cubicBezTo>
                    <a:pt x="44" y="86"/>
                    <a:pt x="40" y="89"/>
                    <a:pt x="38" y="92"/>
                  </a:cubicBezTo>
                  <a:cubicBezTo>
                    <a:pt x="35" y="95"/>
                    <a:pt x="33" y="99"/>
                    <a:pt x="31" y="104"/>
                  </a:cubicBezTo>
                  <a:cubicBezTo>
                    <a:pt x="30" y="109"/>
                    <a:pt x="29" y="114"/>
                    <a:pt x="29" y="121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1" y="70"/>
                    <a:pt x="33" y="67"/>
                    <a:pt x="36" y="65"/>
                  </a:cubicBezTo>
                  <a:cubicBezTo>
                    <a:pt x="39" y="63"/>
                    <a:pt x="42" y="61"/>
                    <a:pt x="45" y="60"/>
                  </a:cubicBezTo>
                  <a:cubicBezTo>
                    <a:pt x="48" y="58"/>
                    <a:pt x="52" y="57"/>
                    <a:pt x="55" y="56"/>
                  </a:cubicBezTo>
                  <a:cubicBezTo>
                    <a:pt x="59" y="55"/>
                    <a:pt x="63" y="55"/>
                    <a:pt x="67" y="55"/>
                  </a:cubicBezTo>
                  <a:cubicBezTo>
                    <a:pt x="76" y="55"/>
                    <a:pt x="84" y="56"/>
                    <a:pt x="90" y="59"/>
                  </a:cubicBezTo>
                  <a:cubicBezTo>
                    <a:pt x="97" y="62"/>
                    <a:pt x="103" y="67"/>
                    <a:pt x="107" y="72"/>
                  </a:cubicBezTo>
                  <a:cubicBezTo>
                    <a:pt x="112" y="78"/>
                    <a:pt x="115" y="85"/>
                    <a:pt x="117" y="94"/>
                  </a:cubicBezTo>
                  <a:cubicBezTo>
                    <a:pt x="119" y="102"/>
                    <a:pt x="121" y="112"/>
                    <a:pt x="121" y="122"/>
                  </a:cubicBezTo>
                  <a:cubicBezTo>
                    <a:pt x="121" y="209"/>
                    <a:pt x="121" y="209"/>
                    <a:pt x="121" y="209"/>
                  </a:cubicBezTo>
                  <a:lnTo>
                    <a:pt x="91" y="209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2" name="Freeform 112">
              <a:extLst>
                <a:ext uri="{FF2B5EF4-FFF2-40B4-BE49-F238E27FC236}">
                  <a16:creationId xmlns:a16="http://schemas.microsoft.com/office/drawing/2014/main" id="{EE9B6653-B2BA-4F04-85A8-ACBD80054A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61929" y="4884632"/>
              <a:ext cx="167132" cy="202693"/>
            </a:xfrm>
            <a:custGeom>
              <a:avLst/>
              <a:gdLst>
                <a:gd name="T0" fmla="*/ 100 w 130"/>
                <a:gd name="T1" fmla="*/ 65 h 157"/>
                <a:gd name="T2" fmla="*/ 97 w 130"/>
                <a:gd name="T3" fmla="*/ 50 h 157"/>
                <a:gd name="T4" fmla="*/ 91 w 130"/>
                <a:gd name="T5" fmla="*/ 38 h 157"/>
                <a:gd name="T6" fmla="*/ 80 w 130"/>
                <a:gd name="T7" fmla="*/ 30 h 157"/>
                <a:gd name="T8" fmla="*/ 64 w 130"/>
                <a:gd name="T9" fmla="*/ 27 h 157"/>
                <a:gd name="T10" fmla="*/ 51 w 130"/>
                <a:gd name="T11" fmla="*/ 29 h 157"/>
                <a:gd name="T12" fmla="*/ 41 w 130"/>
                <a:gd name="T13" fmla="*/ 37 h 157"/>
                <a:gd name="T14" fmla="*/ 34 w 130"/>
                <a:gd name="T15" fmla="*/ 48 h 157"/>
                <a:gd name="T16" fmla="*/ 30 w 130"/>
                <a:gd name="T17" fmla="*/ 65 h 157"/>
                <a:gd name="T18" fmla="*/ 100 w 130"/>
                <a:gd name="T19" fmla="*/ 65 h 157"/>
                <a:gd name="T20" fmla="*/ 130 w 130"/>
                <a:gd name="T21" fmla="*/ 75 h 157"/>
                <a:gd name="T22" fmla="*/ 129 w 130"/>
                <a:gd name="T23" fmla="*/ 83 h 157"/>
                <a:gd name="T24" fmla="*/ 129 w 130"/>
                <a:gd name="T25" fmla="*/ 89 h 157"/>
                <a:gd name="T26" fmla="*/ 29 w 130"/>
                <a:gd name="T27" fmla="*/ 89 h 157"/>
                <a:gd name="T28" fmla="*/ 34 w 130"/>
                <a:gd name="T29" fmla="*/ 108 h 157"/>
                <a:gd name="T30" fmla="*/ 43 w 130"/>
                <a:gd name="T31" fmla="*/ 120 h 157"/>
                <a:gd name="T32" fmla="*/ 54 w 130"/>
                <a:gd name="T33" fmla="*/ 128 h 157"/>
                <a:gd name="T34" fmla="*/ 67 w 130"/>
                <a:gd name="T35" fmla="*/ 130 h 157"/>
                <a:gd name="T36" fmla="*/ 77 w 130"/>
                <a:gd name="T37" fmla="*/ 129 h 157"/>
                <a:gd name="T38" fmla="*/ 85 w 130"/>
                <a:gd name="T39" fmla="*/ 127 h 157"/>
                <a:gd name="T40" fmla="*/ 92 w 130"/>
                <a:gd name="T41" fmla="*/ 123 h 157"/>
                <a:gd name="T42" fmla="*/ 100 w 130"/>
                <a:gd name="T43" fmla="*/ 118 h 157"/>
                <a:gd name="T44" fmla="*/ 117 w 130"/>
                <a:gd name="T45" fmla="*/ 137 h 157"/>
                <a:gd name="T46" fmla="*/ 107 w 130"/>
                <a:gd name="T47" fmla="*/ 146 h 157"/>
                <a:gd name="T48" fmla="*/ 96 w 130"/>
                <a:gd name="T49" fmla="*/ 151 h 157"/>
                <a:gd name="T50" fmla="*/ 82 w 130"/>
                <a:gd name="T51" fmla="*/ 155 h 157"/>
                <a:gd name="T52" fmla="*/ 65 w 130"/>
                <a:gd name="T53" fmla="*/ 157 h 157"/>
                <a:gd name="T54" fmla="*/ 47 w 130"/>
                <a:gd name="T55" fmla="*/ 154 h 157"/>
                <a:gd name="T56" fmla="*/ 32 w 130"/>
                <a:gd name="T57" fmla="*/ 147 h 157"/>
                <a:gd name="T58" fmla="*/ 20 w 130"/>
                <a:gd name="T59" fmla="*/ 137 h 157"/>
                <a:gd name="T60" fmla="*/ 10 w 130"/>
                <a:gd name="T61" fmla="*/ 122 h 157"/>
                <a:gd name="T62" fmla="*/ 3 w 130"/>
                <a:gd name="T63" fmla="*/ 102 h 157"/>
                <a:gd name="T64" fmla="*/ 0 w 130"/>
                <a:gd name="T65" fmla="*/ 78 h 157"/>
                <a:gd name="T66" fmla="*/ 5 w 130"/>
                <a:gd name="T67" fmla="*/ 45 h 157"/>
                <a:gd name="T68" fmla="*/ 19 w 130"/>
                <a:gd name="T69" fmla="*/ 20 h 157"/>
                <a:gd name="T70" fmla="*/ 40 w 130"/>
                <a:gd name="T71" fmla="*/ 5 h 157"/>
                <a:gd name="T72" fmla="*/ 66 w 130"/>
                <a:gd name="T73" fmla="*/ 0 h 157"/>
                <a:gd name="T74" fmla="*/ 94 w 130"/>
                <a:gd name="T75" fmla="*/ 6 h 157"/>
                <a:gd name="T76" fmla="*/ 114 w 130"/>
                <a:gd name="T77" fmla="*/ 22 h 157"/>
                <a:gd name="T78" fmla="*/ 126 w 130"/>
                <a:gd name="T79" fmla="*/ 46 h 157"/>
                <a:gd name="T80" fmla="*/ 130 w 130"/>
                <a:gd name="T81" fmla="*/ 7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0" h="157">
                  <a:moveTo>
                    <a:pt x="100" y="65"/>
                  </a:moveTo>
                  <a:cubicBezTo>
                    <a:pt x="100" y="59"/>
                    <a:pt x="99" y="55"/>
                    <a:pt x="97" y="50"/>
                  </a:cubicBezTo>
                  <a:cubicBezTo>
                    <a:pt x="96" y="45"/>
                    <a:pt x="94" y="41"/>
                    <a:pt x="91" y="38"/>
                  </a:cubicBezTo>
                  <a:cubicBezTo>
                    <a:pt x="88" y="34"/>
                    <a:pt x="84" y="32"/>
                    <a:pt x="80" y="30"/>
                  </a:cubicBezTo>
                  <a:cubicBezTo>
                    <a:pt x="76" y="28"/>
                    <a:pt x="70" y="27"/>
                    <a:pt x="64" y="27"/>
                  </a:cubicBezTo>
                  <a:cubicBezTo>
                    <a:pt x="59" y="27"/>
                    <a:pt x="55" y="28"/>
                    <a:pt x="51" y="29"/>
                  </a:cubicBezTo>
                  <a:cubicBezTo>
                    <a:pt x="47" y="31"/>
                    <a:pt x="43" y="34"/>
                    <a:pt x="41" y="37"/>
                  </a:cubicBezTo>
                  <a:cubicBezTo>
                    <a:pt x="38" y="40"/>
                    <a:pt x="35" y="44"/>
                    <a:pt x="34" y="48"/>
                  </a:cubicBezTo>
                  <a:cubicBezTo>
                    <a:pt x="32" y="53"/>
                    <a:pt x="31" y="58"/>
                    <a:pt x="30" y="65"/>
                  </a:cubicBezTo>
                  <a:lnTo>
                    <a:pt x="100" y="65"/>
                  </a:lnTo>
                  <a:close/>
                  <a:moveTo>
                    <a:pt x="130" y="75"/>
                  </a:moveTo>
                  <a:cubicBezTo>
                    <a:pt x="130" y="78"/>
                    <a:pt x="130" y="81"/>
                    <a:pt x="129" y="83"/>
                  </a:cubicBezTo>
                  <a:cubicBezTo>
                    <a:pt x="129" y="85"/>
                    <a:pt x="129" y="87"/>
                    <a:pt x="12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30" y="96"/>
                    <a:pt x="32" y="102"/>
                    <a:pt x="34" y="108"/>
                  </a:cubicBezTo>
                  <a:cubicBezTo>
                    <a:pt x="36" y="113"/>
                    <a:pt x="39" y="117"/>
                    <a:pt x="43" y="120"/>
                  </a:cubicBezTo>
                  <a:cubicBezTo>
                    <a:pt x="46" y="124"/>
                    <a:pt x="50" y="126"/>
                    <a:pt x="54" y="128"/>
                  </a:cubicBezTo>
                  <a:cubicBezTo>
                    <a:pt x="58" y="129"/>
                    <a:pt x="63" y="130"/>
                    <a:pt x="67" y="130"/>
                  </a:cubicBezTo>
                  <a:cubicBezTo>
                    <a:pt x="71" y="130"/>
                    <a:pt x="74" y="130"/>
                    <a:pt x="77" y="129"/>
                  </a:cubicBezTo>
                  <a:cubicBezTo>
                    <a:pt x="79" y="129"/>
                    <a:pt x="82" y="128"/>
                    <a:pt x="85" y="127"/>
                  </a:cubicBezTo>
                  <a:cubicBezTo>
                    <a:pt x="88" y="126"/>
                    <a:pt x="90" y="124"/>
                    <a:pt x="92" y="123"/>
                  </a:cubicBezTo>
                  <a:cubicBezTo>
                    <a:pt x="94" y="122"/>
                    <a:pt x="97" y="120"/>
                    <a:pt x="100" y="118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4" y="140"/>
                    <a:pt x="110" y="143"/>
                    <a:pt x="107" y="146"/>
                  </a:cubicBezTo>
                  <a:cubicBezTo>
                    <a:pt x="103" y="148"/>
                    <a:pt x="100" y="150"/>
                    <a:pt x="96" y="151"/>
                  </a:cubicBezTo>
                  <a:cubicBezTo>
                    <a:pt x="92" y="153"/>
                    <a:pt x="87" y="154"/>
                    <a:pt x="82" y="155"/>
                  </a:cubicBezTo>
                  <a:cubicBezTo>
                    <a:pt x="77" y="156"/>
                    <a:pt x="72" y="157"/>
                    <a:pt x="65" y="157"/>
                  </a:cubicBezTo>
                  <a:cubicBezTo>
                    <a:pt x="59" y="157"/>
                    <a:pt x="53" y="156"/>
                    <a:pt x="47" y="154"/>
                  </a:cubicBezTo>
                  <a:cubicBezTo>
                    <a:pt x="41" y="152"/>
                    <a:pt x="36" y="150"/>
                    <a:pt x="32" y="147"/>
                  </a:cubicBezTo>
                  <a:cubicBezTo>
                    <a:pt x="28" y="144"/>
                    <a:pt x="24" y="141"/>
                    <a:pt x="20" y="137"/>
                  </a:cubicBezTo>
                  <a:cubicBezTo>
                    <a:pt x="17" y="133"/>
                    <a:pt x="13" y="128"/>
                    <a:pt x="10" y="122"/>
                  </a:cubicBezTo>
                  <a:cubicBezTo>
                    <a:pt x="7" y="116"/>
                    <a:pt x="5" y="110"/>
                    <a:pt x="3" y="102"/>
                  </a:cubicBezTo>
                  <a:cubicBezTo>
                    <a:pt x="1" y="95"/>
                    <a:pt x="0" y="87"/>
                    <a:pt x="0" y="78"/>
                  </a:cubicBezTo>
                  <a:cubicBezTo>
                    <a:pt x="0" y="66"/>
                    <a:pt x="2" y="55"/>
                    <a:pt x="5" y="45"/>
                  </a:cubicBezTo>
                  <a:cubicBezTo>
                    <a:pt x="8" y="35"/>
                    <a:pt x="13" y="27"/>
                    <a:pt x="19" y="20"/>
                  </a:cubicBezTo>
                  <a:cubicBezTo>
                    <a:pt x="25" y="14"/>
                    <a:pt x="31" y="9"/>
                    <a:pt x="40" y="5"/>
                  </a:cubicBezTo>
                  <a:cubicBezTo>
                    <a:pt x="48" y="2"/>
                    <a:pt x="57" y="0"/>
                    <a:pt x="66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10"/>
                    <a:pt x="109" y="16"/>
                    <a:pt x="114" y="22"/>
                  </a:cubicBezTo>
                  <a:cubicBezTo>
                    <a:pt x="119" y="29"/>
                    <a:pt x="123" y="37"/>
                    <a:pt x="126" y="46"/>
                  </a:cubicBezTo>
                  <a:cubicBezTo>
                    <a:pt x="128" y="56"/>
                    <a:pt x="130" y="65"/>
                    <a:pt x="130" y="75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3" name="Freeform 113">
              <a:extLst>
                <a:ext uri="{FF2B5EF4-FFF2-40B4-BE49-F238E27FC236}">
                  <a16:creationId xmlns:a16="http://schemas.microsoft.com/office/drawing/2014/main" id="{62285B7B-621E-4890-98FB-CE3A75F75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57507" y="4884632"/>
              <a:ext cx="155278" cy="199136"/>
            </a:xfrm>
            <a:custGeom>
              <a:avLst/>
              <a:gdLst>
                <a:gd name="T0" fmla="*/ 91 w 120"/>
                <a:gd name="T1" fmla="*/ 154 h 154"/>
                <a:gd name="T2" fmla="*/ 91 w 120"/>
                <a:gd name="T3" fmla="*/ 69 h 154"/>
                <a:gd name="T4" fmla="*/ 84 w 120"/>
                <a:gd name="T5" fmla="*/ 38 h 154"/>
                <a:gd name="T6" fmla="*/ 60 w 120"/>
                <a:gd name="T7" fmla="*/ 27 h 154"/>
                <a:gd name="T8" fmla="*/ 47 w 120"/>
                <a:gd name="T9" fmla="*/ 30 h 154"/>
                <a:gd name="T10" fmla="*/ 37 w 120"/>
                <a:gd name="T11" fmla="*/ 38 h 154"/>
                <a:gd name="T12" fmla="*/ 31 w 120"/>
                <a:gd name="T13" fmla="*/ 50 h 154"/>
                <a:gd name="T14" fmla="*/ 29 w 120"/>
                <a:gd name="T15" fmla="*/ 66 h 154"/>
                <a:gd name="T16" fmla="*/ 29 w 120"/>
                <a:gd name="T17" fmla="*/ 154 h 154"/>
                <a:gd name="T18" fmla="*/ 0 w 120"/>
                <a:gd name="T19" fmla="*/ 154 h 154"/>
                <a:gd name="T20" fmla="*/ 0 w 120"/>
                <a:gd name="T21" fmla="*/ 3 h 154"/>
                <a:gd name="T22" fmla="*/ 29 w 120"/>
                <a:gd name="T23" fmla="*/ 3 h 154"/>
                <a:gd name="T24" fmla="*/ 29 w 120"/>
                <a:gd name="T25" fmla="*/ 18 h 154"/>
                <a:gd name="T26" fmla="*/ 36 w 120"/>
                <a:gd name="T27" fmla="*/ 10 h 154"/>
                <a:gd name="T28" fmla="*/ 45 w 120"/>
                <a:gd name="T29" fmla="*/ 5 h 154"/>
                <a:gd name="T30" fmla="*/ 55 w 120"/>
                <a:gd name="T31" fmla="*/ 1 h 154"/>
                <a:gd name="T32" fmla="*/ 67 w 120"/>
                <a:gd name="T33" fmla="*/ 0 h 154"/>
                <a:gd name="T34" fmla="*/ 90 w 120"/>
                <a:gd name="T35" fmla="*/ 4 h 154"/>
                <a:gd name="T36" fmla="*/ 107 w 120"/>
                <a:gd name="T37" fmla="*/ 17 h 154"/>
                <a:gd name="T38" fmla="*/ 117 w 120"/>
                <a:gd name="T39" fmla="*/ 38 h 154"/>
                <a:gd name="T40" fmla="*/ 120 w 120"/>
                <a:gd name="T41" fmla="*/ 67 h 154"/>
                <a:gd name="T42" fmla="*/ 120 w 120"/>
                <a:gd name="T43" fmla="*/ 154 h 154"/>
                <a:gd name="T44" fmla="*/ 91 w 120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0" h="154">
                  <a:moveTo>
                    <a:pt x="91" y="154"/>
                  </a:moveTo>
                  <a:cubicBezTo>
                    <a:pt x="91" y="69"/>
                    <a:pt x="91" y="69"/>
                    <a:pt x="91" y="69"/>
                  </a:cubicBezTo>
                  <a:cubicBezTo>
                    <a:pt x="91" y="55"/>
                    <a:pt x="88" y="45"/>
                    <a:pt x="84" y="38"/>
                  </a:cubicBezTo>
                  <a:cubicBezTo>
                    <a:pt x="79" y="31"/>
                    <a:pt x="71" y="27"/>
                    <a:pt x="60" y="27"/>
                  </a:cubicBezTo>
                  <a:cubicBezTo>
                    <a:pt x="55" y="27"/>
                    <a:pt x="51" y="28"/>
                    <a:pt x="47" y="30"/>
                  </a:cubicBezTo>
                  <a:cubicBezTo>
                    <a:pt x="43" y="32"/>
                    <a:pt x="40" y="34"/>
                    <a:pt x="37" y="38"/>
                  </a:cubicBezTo>
                  <a:cubicBezTo>
                    <a:pt x="34" y="41"/>
                    <a:pt x="32" y="45"/>
                    <a:pt x="31" y="50"/>
                  </a:cubicBezTo>
                  <a:cubicBezTo>
                    <a:pt x="30" y="55"/>
                    <a:pt x="29" y="60"/>
                    <a:pt x="29" y="66"/>
                  </a:cubicBezTo>
                  <a:cubicBezTo>
                    <a:pt x="29" y="154"/>
                    <a:pt x="29" y="154"/>
                    <a:pt x="29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1" y="15"/>
                    <a:pt x="33" y="12"/>
                    <a:pt x="36" y="10"/>
                  </a:cubicBezTo>
                  <a:cubicBezTo>
                    <a:pt x="39" y="8"/>
                    <a:pt x="42" y="6"/>
                    <a:pt x="45" y="5"/>
                  </a:cubicBezTo>
                  <a:cubicBezTo>
                    <a:pt x="48" y="3"/>
                    <a:pt x="52" y="2"/>
                    <a:pt x="55" y="1"/>
                  </a:cubicBezTo>
                  <a:cubicBezTo>
                    <a:pt x="59" y="0"/>
                    <a:pt x="63" y="0"/>
                    <a:pt x="67" y="0"/>
                  </a:cubicBezTo>
                  <a:cubicBezTo>
                    <a:pt x="76" y="0"/>
                    <a:pt x="84" y="2"/>
                    <a:pt x="90" y="4"/>
                  </a:cubicBezTo>
                  <a:cubicBezTo>
                    <a:pt x="97" y="7"/>
                    <a:pt x="103" y="12"/>
                    <a:pt x="107" y="17"/>
                  </a:cubicBezTo>
                  <a:cubicBezTo>
                    <a:pt x="112" y="23"/>
                    <a:pt x="115" y="30"/>
                    <a:pt x="117" y="38"/>
                  </a:cubicBezTo>
                  <a:cubicBezTo>
                    <a:pt x="119" y="46"/>
                    <a:pt x="120" y="56"/>
                    <a:pt x="120" y="67"/>
                  </a:cubicBezTo>
                  <a:cubicBezTo>
                    <a:pt x="120" y="154"/>
                    <a:pt x="120" y="154"/>
                    <a:pt x="120" y="154"/>
                  </a:cubicBezTo>
                  <a:lnTo>
                    <a:pt x="91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4" name="Freeform 114">
              <a:extLst>
                <a:ext uri="{FF2B5EF4-FFF2-40B4-BE49-F238E27FC236}">
                  <a16:creationId xmlns:a16="http://schemas.microsoft.com/office/drawing/2014/main" id="{ED2D9B08-BB63-4F97-AB32-3067898723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241235" y="4884632"/>
              <a:ext cx="173060" cy="202693"/>
            </a:xfrm>
            <a:custGeom>
              <a:avLst/>
              <a:gdLst>
                <a:gd name="T0" fmla="*/ 105 w 134"/>
                <a:gd name="T1" fmla="*/ 78 h 157"/>
                <a:gd name="T2" fmla="*/ 102 w 134"/>
                <a:gd name="T3" fmla="*/ 58 h 157"/>
                <a:gd name="T4" fmla="*/ 94 w 134"/>
                <a:gd name="T5" fmla="*/ 42 h 157"/>
                <a:gd name="T6" fmla="*/ 82 w 134"/>
                <a:gd name="T7" fmla="*/ 32 h 157"/>
                <a:gd name="T8" fmla="*/ 66 w 134"/>
                <a:gd name="T9" fmla="*/ 28 h 157"/>
                <a:gd name="T10" fmla="*/ 51 w 134"/>
                <a:gd name="T11" fmla="*/ 32 h 157"/>
                <a:gd name="T12" fmla="*/ 40 w 134"/>
                <a:gd name="T13" fmla="*/ 42 h 157"/>
                <a:gd name="T14" fmla="*/ 33 w 134"/>
                <a:gd name="T15" fmla="*/ 57 h 157"/>
                <a:gd name="T16" fmla="*/ 30 w 134"/>
                <a:gd name="T17" fmla="*/ 78 h 157"/>
                <a:gd name="T18" fmla="*/ 33 w 134"/>
                <a:gd name="T19" fmla="*/ 100 h 157"/>
                <a:gd name="T20" fmla="*/ 41 w 134"/>
                <a:gd name="T21" fmla="*/ 116 h 157"/>
                <a:gd name="T22" fmla="*/ 52 w 134"/>
                <a:gd name="T23" fmla="*/ 125 h 157"/>
                <a:gd name="T24" fmla="*/ 68 w 134"/>
                <a:gd name="T25" fmla="*/ 129 h 157"/>
                <a:gd name="T26" fmla="*/ 83 w 134"/>
                <a:gd name="T27" fmla="*/ 125 h 157"/>
                <a:gd name="T28" fmla="*/ 95 w 134"/>
                <a:gd name="T29" fmla="*/ 114 h 157"/>
                <a:gd name="T30" fmla="*/ 102 w 134"/>
                <a:gd name="T31" fmla="*/ 98 h 157"/>
                <a:gd name="T32" fmla="*/ 105 w 134"/>
                <a:gd name="T33" fmla="*/ 78 h 157"/>
                <a:gd name="T34" fmla="*/ 134 w 134"/>
                <a:gd name="T35" fmla="*/ 78 h 157"/>
                <a:gd name="T36" fmla="*/ 129 w 134"/>
                <a:gd name="T37" fmla="*/ 111 h 157"/>
                <a:gd name="T38" fmla="*/ 115 w 134"/>
                <a:gd name="T39" fmla="*/ 136 h 157"/>
                <a:gd name="T40" fmla="*/ 93 w 134"/>
                <a:gd name="T41" fmla="*/ 151 h 157"/>
                <a:gd name="T42" fmla="*/ 67 w 134"/>
                <a:gd name="T43" fmla="*/ 157 h 157"/>
                <a:gd name="T44" fmla="*/ 40 w 134"/>
                <a:gd name="T45" fmla="*/ 151 h 157"/>
                <a:gd name="T46" fmla="*/ 19 w 134"/>
                <a:gd name="T47" fmla="*/ 135 h 157"/>
                <a:gd name="T48" fmla="*/ 5 w 134"/>
                <a:gd name="T49" fmla="*/ 111 h 157"/>
                <a:gd name="T50" fmla="*/ 0 w 134"/>
                <a:gd name="T51" fmla="*/ 78 h 157"/>
                <a:gd name="T52" fmla="*/ 6 w 134"/>
                <a:gd name="T53" fmla="*/ 45 h 157"/>
                <a:gd name="T54" fmla="*/ 20 w 134"/>
                <a:gd name="T55" fmla="*/ 21 h 157"/>
                <a:gd name="T56" fmla="*/ 41 w 134"/>
                <a:gd name="T57" fmla="*/ 5 h 157"/>
                <a:gd name="T58" fmla="*/ 67 w 134"/>
                <a:gd name="T59" fmla="*/ 0 h 157"/>
                <a:gd name="T60" fmla="*/ 94 w 134"/>
                <a:gd name="T61" fmla="*/ 6 h 157"/>
                <a:gd name="T62" fmla="*/ 115 w 134"/>
                <a:gd name="T63" fmla="*/ 21 h 157"/>
                <a:gd name="T64" fmla="*/ 129 w 134"/>
                <a:gd name="T65" fmla="*/ 46 h 157"/>
                <a:gd name="T66" fmla="*/ 134 w 134"/>
                <a:gd name="T67" fmla="*/ 7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57">
                  <a:moveTo>
                    <a:pt x="105" y="78"/>
                  </a:moveTo>
                  <a:cubicBezTo>
                    <a:pt x="105" y="71"/>
                    <a:pt x="104" y="64"/>
                    <a:pt x="102" y="58"/>
                  </a:cubicBezTo>
                  <a:cubicBezTo>
                    <a:pt x="100" y="52"/>
                    <a:pt x="98" y="46"/>
                    <a:pt x="94" y="42"/>
                  </a:cubicBezTo>
                  <a:cubicBezTo>
                    <a:pt x="91" y="37"/>
                    <a:pt x="87" y="34"/>
                    <a:pt x="82" y="32"/>
                  </a:cubicBezTo>
                  <a:cubicBezTo>
                    <a:pt x="78" y="29"/>
                    <a:pt x="72" y="28"/>
                    <a:pt x="66" y="28"/>
                  </a:cubicBezTo>
                  <a:cubicBezTo>
                    <a:pt x="61" y="28"/>
                    <a:pt x="56" y="29"/>
                    <a:pt x="51" y="32"/>
                  </a:cubicBezTo>
                  <a:cubicBezTo>
                    <a:pt x="47" y="34"/>
                    <a:pt x="43" y="37"/>
                    <a:pt x="40" y="42"/>
                  </a:cubicBezTo>
                  <a:cubicBezTo>
                    <a:pt x="37" y="46"/>
                    <a:pt x="34" y="51"/>
                    <a:pt x="33" y="57"/>
                  </a:cubicBezTo>
                  <a:cubicBezTo>
                    <a:pt x="31" y="63"/>
                    <a:pt x="30" y="70"/>
                    <a:pt x="30" y="78"/>
                  </a:cubicBezTo>
                  <a:cubicBezTo>
                    <a:pt x="30" y="86"/>
                    <a:pt x="31" y="93"/>
                    <a:pt x="33" y="100"/>
                  </a:cubicBezTo>
                  <a:cubicBezTo>
                    <a:pt x="35" y="106"/>
                    <a:pt x="37" y="111"/>
                    <a:pt x="41" y="116"/>
                  </a:cubicBezTo>
                  <a:cubicBezTo>
                    <a:pt x="44" y="120"/>
                    <a:pt x="48" y="123"/>
                    <a:pt x="52" y="125"/>
                  </a:cubicBezTo>
                  <a:cubicBezTo>
                    <a:pt x="57" y="128"/>
                    <a:pt x="62" y="129"/>
                    <a:pt x="68" y="129"/>
                  </a:cubicBezTo>
                  <a:cubicBezTo>
                    <a:pt x="73" y="129"/>
                    <a:pt x="78" y="127"/>
                    <a:pt x="83" y="125"/>
                  </a:cubicBezTo>
                  <a:cubicBezTo>
                    <a:pt x="87" y="122"/>
                    <a:pt x="91" y="118"/>
                    <a:pt x="95" y="114"/>
                  </a:cubicBezTo>
                  <a:cubicBezTo>
                    <a:pt x="98" y="109"/>
                    <a:pt x="100" y="104"/>
                    <a:pt x="102" y="98"/>
                  </a:cubicBezTo>
                  <a:cubicBezTo>
                    <a:pt x="104" y="92"/>
                    <a:pt x="105" y="85"/>
                    <a:pt x="105" y="78"/>
                  </a:cubicBezTo>
                  <a:moveTo>
                    <a:pt x="134" y="78"/>
                  </a:moveTo>
                  <a:cubicBezTo>
                    <a:pt x="134" y="90"/>
                    <a:pt x="133" y="101"/>
                    <a:pt x="129" y="111"/>
                  </a:cubicBezTo>
                  <a:cubicBezTo>
                    <a:pt x="126" y="121"/>
                    <a:pt x="121" y="129"/>
                    <a:pt x="115" y="136"/>
                  </a:cubicBezTo>
                  <a:cubicBezTo>
                    <a:pt x="109" y="143"/>
                    <a:pt x="102" y="148"/>
                    <a:pt x="93" y="151"/>
                  </a:cubicBezTo>
                  <a:cubicBezTo>
                    <a:pt x="85" y="155"/>
                    <a:pt x="76" y="157"/>
                    <a:pt x="67" y="157"/>
                  </a:cubicBezTo>
                  <a:cubicBezTo>
                    <a:pt x="57" y="157"/>
                    <a:pt x="48" y="155"/>
                    <a:pt x="40" y="151"/>
                  </a:cubicBezTo>
                  <a:cubicBezTo>
                    <a:pt x="32" y="147"/>
                    <a:pt x="25" y="142"/>
                    <a:pt x="19" y="135"/>
                  </a:cubicBezTo>
                  <a:cubicBezTo>
                    <a:pt x="13" y="128"/>
                    <a:pt x="9" y="120"/>
                    <a:pt x="5" y="111"/>
                  </a:cubicBezTo>
                  <a:cubicBezTo>
                    <a:pt x="2" y="101"/>
                    <a:pt x="0" y="90"/>
                    <a:pt x="0" y="78"/>
                  </a:cubicBezTo>
                  <a:cubicBezTo>
                    <a:pt x="0" y="66"/>
                    <a:pt x="2" y="55"/>
                    <a:pt x="6" y="45"/>
                  </a:cubicBezTo>
                  <a:cubicBezTo>
                    <a:pt x="9" y="36"/>
                    <a:pt x="14" y="28"/>
                    <a:pt x="20" y="21"/>
                  </a:cubicBezTo>
                  <a:cubicBezTo>
                    <a:pt x="26" y="14"/>
                    <a:pt x="33" y="9"/>
                    <a:pt x="41" y="5"/>
                  </a:cubicBezTo>
                  <a:cubicBezTo>
                    <a:pt x="49" y="2"/>
                    <a:pt x="58" y="0"/>
                    <a:pt x="67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9"/>
                    <a:pt x="109" y="14"/>
                    <a:pt x="115" y="21"/>
                  </a:cubicBezTo>
                  <a:cubicBezTo>
                    <a:pt x="121" y="28"/>
                    <a:pt x="126" y="36"/>
                    <a:pt x="129" y="46"/>
                  </a:cubicBezTo>
                  <a:cubicBezTo>
                    <a:pt x="133" y="55"/>
                    <a:pt x="134" y="66"/>
                    <a:pt x="134" y="78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5" name="Freeform 115">
              <a:extLst>
                <a:ext uri="{FF2B5EF4-FFF2-40B4-BE49-F238E27FC236}">
                  <a16:creationId xmlns:a16="http://schemas.microsoft.com/office/drawing/2014/main" id="{7507FDA4-AD3A-46A4-A0BE-347939901A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742" y="4884632"/>
              <a:ext cx="156464" cy="199136"/>
            </a:xfrm>
            <a:custGeom>
              <a:avLst/>
              <a:gdLst>
                <a:gd name="T0" fmla="*/ 92 w 121"/>
                <a:gd name="T1" fmla="*/ 154 h 154"/>
                <a:gd name="T2" fmla="*/ 92 w 121"/>
                <a:gd name="T3" fmla="*/ 69 h 154"/>
                <a:gd name="T4" fmla="*/ 84 w 121"/>
                <a:gd name="T5" fmla="*/ 38 h 154"/>
                <a:gd name="T6" fmla="*/ 61 w 121"/>
                <a:gd name="T7" fmla="*/ 27 h 154"/>
                <a:gd name="T8" fmla="*/ 48 w 121"/>
                <a:gd name="T9" fmla="*/ 30 h 154"/>
                <a:gd name="T10" fmla="*/ 38 w 121"/>
                <a:gd name="T11" fmla="*/ 38 h 154"/>
                <a:gd name="T12" fmla="*/ 32 w 121"/>
                <a:gd name="T13" fmla="*/ 50 h 154"/>
                <a:gd name="T14" fmla="*/ 30 w 121"/>
                <a:gd name="T15" fmla="*/ 66 h 154"/>
                <a:gd name="T16" fmla="*/ 30 w 121"/>
                <a:gd name="T17" fmla="*/ 154 h 154"/>
                <a:gd name="T18" fmla="*/ 0 w 121"/>
                <a:gd name="T19" fmla="*/ 154 h 154"/>
                <a:gd name="T20" fmla="*/ 0 w 121"/>
                <a:gd name="T21" fmla="*/ 3 h 154"/>
                <a:gd name="T22" fmla="*/ 30 w 121"/>
                <a:gd name="T23" fmla="*/ 3 h 154"/>
                <a:gd name="T24" fmla="*/ 30 w 121"/>
                <a:gd name="T25" fmla="*/ 18 h 154"/>
                <a:gd name="T26" fmla="*/ 37 w 121"/>
                <a:gd name="T27" fmla="*/ 10 h 154"/>
                <a:gd name="T28" fmla="*/ 46 w 121"/>
                <a:gd name="T29" fmla="*/ 5 h 154"/>
                <a:gd name="T30" fmla="*/ 56 w 121"/>
                <a:gd name="T31" fmla="*/ 1 h 154"/>
                <a:gd name="T32" fmla="*/ 68 w 121"/>
                <a:gd name="T33" fmla="*/ 0 h 154"/>
                <a:gd name="T34" fmla="*/ 91 w 121"/>
                <a:gd name="T35" fmla="*/ 4 h 154"/>
                <a:gd name="T36" fmla="*/ 108 w 121"/>
                <a:gd name="T37" fmla="*/ 17 h 154"/>
                <a:gd name="T38" fmla="*/ 118 w 121"/>
                <a:gd name="T39" fmla="*/ 38 h 154"/>
                <a:gd name="T40" fmla="*/ 121 w 121"/>
                <a:gd name="T41" fmla="*/ 67 h 154"/>
                <a:gd name="T42" fmla="*/ 121 w 121"/>
                <a:gd name="T43" fmla="*/ 154 h 154"/>
                <a:gd name="T44" fmla="*/ 92 w 121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154">
                  <a:moveTo>
                    <a:pt x="92" y="154"/>
                  </a:moveTo>
                  <a:cubicBezTo>
                    <a:pt x="92" y="69"/>
                    <a:pt x="92" y="69"/>
                    <a:pt x="92" y="69"/>
                  </a:cubicBezTo>
                  <a:cubicBezTo>
                    <a:pt x="92" y="55"/>
                    <a:pt x="89" y="45"/>
                    <a:pt x="84" y="38"/>
                  </a:cubicBezTo>
                  <a:cubicBezTo>
                    <a:pt x="80" y="31"/>
                    <a:pt x="72" y="27"/>
                    <a:pt x="61" y="27"/>
                  </a:cubicBezTo>
                  <a:cubicBezTo>
                    <a:pt x="56" y="27"/>
                    <a:pt x="52" y="28"/>
                    <a:pt x="48" y="30"/>
                  </a:cubicBezTo>
                  <a:cubicBezTo>
                    <a:pt x="44" y="32"/>
                    <a:pt x="40" y="34"/>
                    <a:pt x="38" y="38"/>
                  </a:cubicBezTo>
                  <a:cubicBezTo>
                    <a:pt x="35" y="41"/>
                    <a:pt x="33" y="45"/>
                    <a:pt x="32" y="50"/>
                  </a:cubicBezTo>
                  <a:cubicBezTo>
                    <a:pt x="31" y="55"/>
                    <a:pt x="30" y="60"/>
                    <a:pt x="30" y="66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2" y="15"/>
                    <a:pt x="34" y="12"/>
                    <a:pt x="37" y="10"/>
                  </a:cubicBezTo>
                  <a:cubicBezTo>
                    <a:pt x="39" y="8"/>
                    <a:pt x="42" y="6"/>
                    <a:pt x="46" y="5"/>
                  </a:cubicBezTo>
                  <a:cubicBezTo>
                    <a:pt x="49" y="3"/>
                    <a:pt x="52" y="2"/>
                    <a:pt x="56" y="1"/>
                  </a:cubicBezTo>
                  <a:cubicBezTo>
                    <a:pt x="60" y="0"/>
                    <a:pt x="64" y="0"/>
                    <a:pt x="68" y="0"/>
                  </a:cubicBezTo>
                  <a:cubicBezTo>
                    <a:pt x="77" y="0"/>
                    <a:pt x="85" y="2"/>
                    <a:pt x="91" y="4"/>
                  </a:cubicBezTo>
                  <a:cubicBezTo>
                    <a:pt x="98" y="7"/>
                    <a:pt x="103" y="12"/>
                    <a:pt x="108" y="17"/>
                  </a:cubicBezTo>
                  <a:cubicBezTo>
                    <a:pt x="112" y="23"/>
                    <a:pt x="116" y="30"/>
                    <a:pt x="118" y="38"/>
                  </a:cubicBezTo>
                  <a:cubicBezTo>
                    <a:pt x="120" y="46"/>
                    <a:pt x="121" y="56"/>
                    <a:pt x="121" y="67"/>
                  </a:cubicBezTo>
                  <a:cubicBezTo>
                    <a:pt x="121" y="154"/>
                    <a:pt x="121" y="154"/>
                    <a:pt x="121" y="154"/>
                  </a:cubicBezTo>
                  <a:lnTo>
                    <a:pt x="92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6" name="Freeform 117">
              <a:extLst>
                <a:ext uri="{FF2B5EF4-FFF2-40B4-BE49-F238E27FC236}">
                  <a16:creationId xmlns:a16="http://schemas.microsoft.com/office/drawing/2014/main" id="{02273CF4-735A-46D2-A6F8-4D05FD16C6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8171" y="4332267"/>
              <a:ext cx="733721" cy="267886"/>
            </a:xfrm>
            <a:custGeom>
              <a:avLst/>
              <a:gdLst>
                <a:gd name="T0" fmla="*/ 619 w 619"/>
                <a:gd name="T1" fmla="*/ 0 h 226"/>
                <a:gd name="T2" fmla="*/ 0 w 619"/>
                <a:gd name="T3" fmla="*/ 226 h 226"/>
                <a:gd name="T4" fmla="*/ 619 w 619"/>
                <a:gd name="T5" fmla="*/ 117 h 226"/>
                <a:gd name="T6" fmla="*/ 619 w 619"/>
                <a:gd name="T7" fmla="*/ 0 h 226"/>
                <a:gd name="T8" fmla="*/ 619 w 619"/>
                <a:gd name="T9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226">
                  <a:moveTo>
                    <a:pt x="619" y="0"/>
                  </a:moveTo>
                  <a:lnTo>
                    <a:pt x="0" y="226"/>
                  </a:lnTo>
                  <a:lnTo>
                    <a:pt x="619" y="117"/>
                  </a:lnTo>
                  <a:lnTo>
                    <a:pt x="619" y="0"/>
                  </a:lnTo>
                  <a:lnTo>
                    <a:pt x="619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7" name="Freeform 118">
              <a:extLst>
                <a:ext uri="{FF2B5EF4-FFF2-40B4-BE49-F238E27FC236}">
                  <a16:creationId xmlns:a16="http://schemas.microsoft.com/office/drawing/2014/main" id="{AEF436CD-F8A5-405C-A4DE-1B20E82BA9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264100" y="4711579"/>
              <a:ext cx="616374" cy="372194"/>
            </a:xfrm>
            <a:custGeom>
              <a:avLst/>
              <a:gdLst>
                <a:gd name="T0" fmla="*/ 418 w 520"/>
                <a:gd name="T1" fmla="*/ 0 h 314"/>
                <a:gd name="T2" fmla="*/ 364 w 520"/>
                <a:gd name="T3" fmla="*/ 102 h 314"/>
                <a:gd name="T4" fmla="*/ 311 w 520"/>
                <a:gd name="T5" fmla="*/ 0 h 314"/>
                <a:gd name="T6" fmla="*/ 207 w 520"/>
                <a:gd name="T7" fmla="*/ 0 h 314"/>
                <a:gd name="T8" fmla="*/ 318 w 520"/>
                <a:gd name="T9" fmla="*/ 189 h 314"/>
                <a:gd name="T10" fmla="*/ 318 w 520"/>
                <a:gd name="T11" fmla="*/ 314 h 314"/>
                <a:gd name="T12" fmla="*/ 410 w 520"/>
                <a:gd name="T13" fmla="*/ 314 h 314"/>
                <a:gd name="T14" fmla="*/ 410 w 520"/>
                <a:gd name="T15" fmla="*/ 189 h 314"/>
                <a:gd name="T16" fmla="*/ 520 w 520"/>
                <a:gd name="T17" fmla="*/ 0 h 314"/>
                <a:gd name="T18" fmla="*/ 418 w 520"/>
                <a:gd name="T19" fmla="*/ 0 h 314"/>
                <a:gd name="T20" fmla="*/ 0 w 520"/>
                <a:gd name="T21" fmla="*/ 0 h 314"/>
                <a:gd name="T22" fmla="*/ 0 w 520"/>
                <a:gd name="T23" fmla="*/ 314 h 314"/>
                <a:gd name="T24" fmla="*/ 251 w 520"/>
                <a:gd name="T25" fmla="*/ 314 h 314"/>
                <a:gd name="T26" fmla="*/ 251 w 520"/>
                <a:gd name="T27" fmla="*/ 242 h 314"/>
                <a:gd name="T28" fmla="*/ 94 w 520"/>
                <a:gd name="T29" fmla="*/ 242 h 314"/>
                <a:gd name="T30" fmla="*/ 94 w 520"/>
                <a:gd name="T31" fmla="*/ 189 h 314"/>
                <a:gd name="T32" fmla="*/ 207 w 520"/>
                <a:gd name="T33" fmla="*/ 189 h 314"/>
                <a:gd name="T34" fmla="*/ 207 w 520"/>
                <a:gd name="T35" fmla="*/ 124 h 314"/>
                <a:gd name="T36" fmla="*/ 94 w 520"/>
                <a:gd name="T37" fmla="*/ 124 h 314"/>
                <a:gd name="T38" fmla="*/ 94 w 520"/>
                <a:gd name="T39" fmla="*/ 72 h 314"/>
                <a:gd name="T40" fmla="*/ 219 w 520"/>
                <a:gd name="T41" fmla="*/ 72 h 314"/>
                <a:gd name="T42" fmla="*/ 178 w 520"/>
                <a:gd name="T43" fmla="*/ 0 h 314"/>
                <a:gd name="T44" fmla="*/ 0 w 520"/>
                <a:gd name="T45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0" h="314">
                  <a:moveTo>
                    <a:pt x="418" y="0"/>
                  </a:moveTo>
                  <a:lnTo>
                    <a:pt x="364" y="102"/>
                  </a:lnTo>
                  <a:lnTo>
                    <a:pt x="311" y="0"/>
                  </a:lnTo>
                  <a:lnTo>
                    <a:pt x="207" y="0"/>
                  </a:lnTo>
                  <a:lnTo>
                    <a:pt x="318" y="189"/>
                  </a:lnTo>
                  <a:lnTo>
                    <a:pt x="318" y="314"/>
                  </a:lnTo>
                  <a:lnTo>
                    <a:pt x="410" y="314"/>
                  </a:lnTo>
                  <a:lnTo>
                    <a:pt x="410" y="189"/>
                  </a:lnTo>
                  <a:lnTo>
                    <a:pt x="520" y="0"/>
                  </a:lnTo>
                  <a:lnTo>
                    <a:pt x="418" y="0"/>
                  </a:lnTo>
                  <a:close/>
                  <a:moveTo>
                    <a:pt x="0" y="0"/>
                  </a:moveTo>
                  <a:lnTo>
                    <a:pt x="0" y="314"/>
                  </a:lnTo>
                  <a:lnTo>
                    <a:pt x="251" y="314"/>
                  </a:lnTo>
                  <a:lnTo>
                    <a:pt x="251" y="242"/>
                  </a:lnTo>
                  <a:lnTo>
                    <a:pt x="94" y="242"/>
                  </a:lnTo>
                  <a:lnTo>
                    <a:pt x="94" y="189"/>
                  </a:lnTo>
                  <a:lnTo>
                    <a:pt x="207" y="189"/>
                  </a:lnTo>
                  <a:lnTo>
                    <a:pt x="207" y="124"/>
                  </a:lnTo>
                  <a:lnTo>
                    <a:pt x="94" y="124"/>
                  </a:lnTo>
                  <a:lnTo>
                    <a:pt x="94" y="72"/>
                  </a:lnTo>
                  <a:lnTo>
                    <a:pt x="219" y="72"/>
                  </a:lnTo>
                  <a:lnTo>
                    <a:pt x="1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381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98249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767554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99890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560615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580916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687036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18010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i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0097" y="3249001"/>
            <a:ext cx="3815927" cy="259198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1936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3344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86C3B7DE-4946-4A42-A5F8-75AF78CFB7E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882618" y="1505137"/>
            <a:ext cx="9309203" cy="5352862"/>
          </a:xfrm>
          <a:custGeom>
            <a:avLst/>
            <a:gdLst>
              <a:gd name="connsiteX0" fmla="*/ 18620830 w 18620830"/>
              <a:gd name="connsiteY0" fmla="*/ 0 h 10706963"/>
              <a:gd name="connsiteX1" fmla="*/ 18620830 w 18620830"/>
              <a:gd name="connsiteY1" fmla="*/ 8427961 h 10706963"/>
              <a:gd name="connsiteX2" fmla="*/ 14657342 w 18620830"/>
              <a:gd name="connsiteY2" fmla="*/ 10706963 h 10706963"/>
              <a:gd name="connsiteX3" fmla="*/ 0 w 18620830"/>
              <a:gd name="connsiteY3" fmla="*/ 10706963 h 1070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20830" h="10706963">
                <a:moveTo>
                  <a:pt x="18620830" y="0"/>
                </a:moveTo>
                <a:lnTo>
                  <a:pt x="18620830" y="8427961"/>
                </a:lnTo>
                <a:lnTo>
                  <a:pt x="14657342" y="10706963"/>
                </a:lnTo>
                <a:lnTo>
                  <a:pt x="0" y="10706963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99AA26AE-05DD-084D-B9E9-A88BED696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id="{9DAF56A2-8656-584F-9ECA-DC6A93AC08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3932595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99AA26AE-05DD-084D-B9E9-A88BED696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000" y="4796995"/>
            <a:ext cx="5291899" cy="133199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id="{9DAF56A2-8656-584F-9ECA-DC6A93AC08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60000" y="2219125"/>
            <a:ext cx="5291899" cy="2217871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4D073AE7-0840-9541-B128-5656C3D8C21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9309203" cy="5352862"/>
          </a:xfrm>
          <a:custGeom>
            <a:avLst/>
            <a:gdLst>
              <a:gd name="connsiteX0" fmla="*/ 3963488 w 18620830"/>
              <a:gd name="connsiteY0" fmla="*/ 0 h 10706963"/>
              <a:gd name="connsiteX1" fmla="*/ 18620830 w 18620830"/>
              <a:gd name="connsiteY1" fmla="*/ 0 h 10706963"/>
              <a:gd name="connsiteX2" fmla="*/ 0 w 18620830"/>
              <a:gd name="connsiteY2" fmla="*/ 10706963 h 10706963"/>
              <a:gd name="connsiteX3" fmla="*/ 0 w 18620830"/>
              <a:gd name="connsiteY3" fmla="*/ 2279002 h 1070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20830" h="10706963">
                <a:moveTo>
                  <a:pt x="3963488" y="0"/>
                </a:moveTo>
                <a:lnTo>
                  <a:pt x="18620830" y="0"/>
                </a:lnTo>
                <a:lnTo>
                  <a:pt x="0" y="10706963"/>
                </a:lnTo>
                <a:lnTo>
                  <a:pt x="0" y="2279002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r">
              <a:defRPr lang="ru-RU" sz="4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76275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>
            <a:extLst>
              <a:ext uri="{FF2B5EF4-FFF2-40B4-BE49-F238E27FC236}">
                <a16:creationId xmlns:a16="http://schemas.microsoft.com/office/drawing/2014/main" id="{15C65016-0BCC-744E-B27F-812C5F7AB24F}"/>
              </a:ext>
            </a:extLst>
          </p:cNvPr>
          <p:cNvSpPr/>
          <p:nvPr userDrawn="1"/>
        </p:nvSpPr>
        <p:spPr>
          <a:xfrm rot="10800000">
            <a:off x="-1" y="0"/>
            <a:ext cx="12192000" cy="6857999"/>
          </a:xfrm>
          <a:custGeom>
            <a:avLst/>
            <a:gdLst>
              <a:gd name="connsiteX0" fmla="*/ 0 w 24386818"/>
              <a:gd name="connsiteY0" fmla="*/ 0 h 13717588"/>
              <a:gd name="connsiteX1" fmla="*/ 9443793 w 24386818"/>
              <a:gd name="connsiteY1" fmla="*/ 0 h 13717588"/>
              <a:gd name="connsiteX2" fmla="*/ 17522180 w 24386818"/>
              <a:gd name="connsiteY2" fmla="*/ 0 h 13717588"/>
              <a:gd name="connsiteX3" fmla="*/ 24386818 w 24386818"/>
              <a:gd name="connsiteY3" fmla="*/ 0 h 13717588"/>
              <a:gd name="connsiteX4" fmla="*/ 24386818 w 24386818"/>
              <a:gd name="connsiteY4" fmla="*/ 1 h 13717588"/>
              <a:gd name="connsiteX5" fmla="*/ 24386818 w 24386818"/>
              <a:gd name="connsiteY5" fmla="*/ 4342151 h 13717588"/>
              <a:gd name="connsiteX6" fmla="*/ 24386818 w 24386818"/>
              <a:gd name="connsiteY6" fmla="*/ 8287413 h 13717588"/>
              <a:gd name="connsiteX7" fmla="*/ 24386818 w 24386818"/>
              <a:gd name="connsiteY7" fmla="*/ 11438585 h 13717588"/>
              <a:gd name="connsiteX8" fmla="*/ 24386818 w 24386818"/>
              <a:gd name="connsiteY8" fmla="*/ 13717588 h 13717588"/>
              <a:gd name="connsiteX9" fmla="*/ 14943025 w 24386818"/>
              <a:gd name="connsiteY9" fmla="*/ 13717588 h 13717588"/>
              <a:gd name="connsiteX10" fmla="*/ 6864639 w 24386818"/>
              <a:gd name="connsiteY10" fmla="*/ 13717588 h 13717588"/>
              <a:gd name="connsiteX11" fmla="*/ 0 w 24386818"/>
              <a:gd name="connsiteY11" fmla="*/ 13717588 h 13717588"/>
              <a:gd name="connsiteX12" fmla="*/ 0 w 24386818"/>
              <a:gd name="connsiteY12" fmla="*/ 13717587 h 13717588"/>
              <a:gd name="connsiteX13" fmla="*/ 0 w 24386818"/>
              <a:gd name="connsiteY13" fmla="*/ 9375437 h 13717588"/>
              <a:gd name="connsiteX14" fmla="*/ 0 w 24386818"/>
              <a:gd name="connsiteY14" fmla="*/ 5430175 h 13717588"/>
              <a:gd name="connsiteX15" fmla="*/ 0 w 24386818"/>
              <a:gd name="connsiteY15" fmla="*/ 2279003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386818" h="13717588">
                <a:moveTo>
                  <a:pt x="0" y="0"/>
                </a:moveTo>
                <a:lnTo>
                  <a:pt x="9443793" y="0"/>
                </a:lnTo>
                <a:lnTo>
                  <a:pt x="17522180" y="0"/>
                </a:lnTo>
                <a:lnTo>
                  <a:pt x="24386818" y="0"/>
                </a:lnTo>
                <a:lnTo>
                  <a:pt x="24386818" y="1"/>
                </a:lnTo>
                <a:lnTo>
                  <a:pt x="24386818" y="4342151"/>
                </a:lnTo>
                <a:lnTo>
                  <a:pt x="24386818" y="8287413"/>
                </a:lnTo>
                <a:lnTo>
                  <a:pt x="24386818" y="11438585"/>
                </a:lnTo>
                <a:lnTo>
                  <a:pt x="24386818" y="13717588"/>
                </a:lnTo>
                <a:lnTo>
                  <a:pt x="14943025" y="13717588"/>
                </a:lnTo>
                <a:lnTo>
                  <a:pt x="6864639" y="13717588"/>
                </a:lnTo>
                <a:lnTo>
                  <a:pt x="0" y="13717588"/>
                </a:lnTo>
                <a:lnTo>
                  <a:pt x="0" y="13717587"/>
                </a:lnTo>
                <a:lnTo>
                  <a:pt x="0" y="9375437"/>
                </a:lnTo>
                <a:lnTo>
                  <a:pt x="0" y="5430175"/>
                </a:lnTo>
                <a:lnTo>
                  <a:pt x="0" y="2279003"/>
                </a:lnTo>
                <a:close/>
              </a:path>
            </a:pathLst>
          </a:cu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4" tIns="22857" rIns="45714" bIns="2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/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99AA26AE-05DD-084D-B9E9-A88BED696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000" y="4796995"/>
            <a:ext cx="5291899" cy="133199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id="{9DAF56A2-8656-584F-9ECA-DC6A93AC08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60000" y="2219125"/>
            <a:ext cx="5291899" cy="2217871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4D073AE7-0840-9541-B128-5656C3D8C21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9309203" cy="5352862"/>
          </a:xfrm>
          <a:custGeom>
            <a:avLst/>
            <a:gdLst>
              <a:gd name="connsiteX0" fmla="*/ 3963488 w 18620830"/>
              <a:gd name="connsiteY0" fmla="*/ 0 h 10706963"/>
              <a:gd name="connsiteX1" fmla="*/ 18620830 w 18620830"/>
              <a:gd name="connsiteY1" fmla="*/ 0 h 10706963"/>
              <a:gd name="connsiteX2" fmla="*/ 0 w 18620830"/>
              <a:gd name="connsiteY2" fmla="*/ 10706963 h 10706963"/>
              <a:gd name="connsiteX3" fmla="*/ 0 w 18620830"/>
              <a:gd name="connsiteY3" fmla="*/ 2279002 h 1070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20830" h="10706963">
                <a:moveTo>
                  <a:pt x="3963488" y="0"/>
                </a:moveTo>
                <a:lnTo>
                  <a:pt x="18620830" y="0"/>
                </a:lnTo>
                <a:lnTo>
                  <a:pt x="0" y="10706963"/>
                </a:lnTo>
                <a:lnTo>
                  <a:pt x="0" y="2279002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r">
              <a:defRPr lang="ru-RU" sz="4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83039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олилиния 9">
            <a:extLst>
              <a:ext uri="{FF2B5EF4-FFF2-40B4-BE49-F238E27FC236}">
                <a16:creationId xmlns:a16="http://schemas.microsoft.com/office/drawing/2014/main" id="{542AA0CC-7B9F-3348-AD53-B2439A69A599}"/>
              </a:ext>
            </a:extLst>
          </p:cNvPr>
          <p:cNvSpPr/>
          <p:nvPr userDrawn="1"/>
        </p:nvSpPr>
        <p:spPr>
          <a:xfrm rot="10800000">
            <a:off x="-1" y="0"/>
            <a:ext cx="12192000" cy="6857999"/>
          </a:xfrm>
          <a:custGeom>
            <a:avLst/>
            <a:gdLst>
              <a:gd name="connsiteX0" fmla="*/ 0 w 24386818"/>
              <a:gd name="connsiteY0" fmla="*/ 0 h 13717588"/>
              <a:gd name="connsiteX1" fmla="*/ 9443793 w 24386818"/>
              <a:gd name="connsiteY1" fmla="*/ 0 h 13717588"/>
              <a:gd name="connsiteX2" fmla="*/ 17522180 w 24386818"/>
              <a:gd name="connsiteY2" fmla="*/ 0 h 13717588"/>
              <a:gd name="connsiteX3" fmla="*/ 24386818 w 24386818"/>
              <a:gd name="connsiteY3" fmla="*/ 0 h 13717588"/>
              <a:gd name="connsiteX4" fmla="*/ 24386818 w 24386818"/>
              <a:gd name="connsiteY4" fmla="*/ 1 h 13717588"/>
              <a:gd name="connsiteX5" fmla="*/ 24386818 w 24386818"/>
              <a:gd name="connsiteY5" fmla="*/ 4342151 h 13717588"/>
              <a:gd name="connsiteX6" fmla="*/ 24386818 w 24386818"/>
              <a:gd name="connsiteY6" fmla="*/ 8287413 h 13717588"/>
              <a:gd name="connsiteX7" fmla="*/ 24386818 w 24386818"/>
              <a:gd name="connsiteY7" fmla="*/ 11438585 h 13717588"/>
              <a:gd name="connsiteX8" fmla="*/ 24386818 w 24386818"/>
              <a:gd name="connsiteY8" fmla="*/ 13717588 h 13717588"/>
              <a:gd name="connsiteX9" fmla="*/ 14943025 w 24386818"/>
              <a:gd name="connsiteY9" fmla="*/ 13717588 h 13717588"/>
              <a:gd name="connsiteX10" fmla="*/ 6864639 w 24386818"/>
              <a:gd name="connsiteY10" fmla="*/ 13717588 h 13717588"/>
              <a:gd name="connsiteX11" fmla="*/ 0 w 24386818"/>
              <a:gd name="connsiteY11" fmla="*/ 13717588 h 13717588"/>
              <a:gd name="connsiteX12" fmla="*/ 0 w 24386818"/>
              <a:gd name="connsiteY12" fmla="*/ 13717587 h 13717588"/>
              <a:gd name="connsiteX13" fmla="*/ 0 w 24386818"/>
              <a:gd name="connsiteY13" fmla="*/ 9375437 h 13717588"/>
              <a:gd name="connsiteX14" fmla="*/ 0 w 24386818"/>
              <a:gd name="connsiteY14" fmla="*/ 5430175 h 13717588"/>
              <a:gd name="connsiteX15" fmla="*/ 0 w 24386818"/>
              <a:gd name="connsiteY15" fmla="*/ 2279003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386818" h="13717588">
                <a:moveTo>
                  <a:pt x="0" y="0"/>
                </a:moveTo>
                <a:lnTo>
                  <a:pt x="9443793" y="0"/>
                </a:lnTo>
                <a:lnTo>
                  <a:pt x="17522180" y="0"/>
                </a:lnTo>
                <a:lnTo>
                  <a:pt x="24386818" y="0"/>
                </a:lnTo>
                <a:lnTo>
                  <a:pt x="24386818" y="1"/>
                </a:lnTo>
                <a:lnTo>
                  <a:pt x="24386818" y="4342151"/>
                </a:lnTo>
                <a:lnTo>
                  <a:pt x="24386818" y="8287413"/>
                </a:lnTo>
                <a:lnTo>
                  <a:pt x="24386818" y="11438585"/>
                </a:lnTo>
                <a:lnTo>
                  <a:pt x="24386818" y="13717588"/>
                </a:lnTo>
                <a:lnTo>
                  <a:pt x="14943025" y="13717588"/>
                </a:lnTo>
                <a:lnTo>
                  <a:pt x="6864639" y="13717588"/>
                </a:lnTo>
                <a:lnTo>
                  <a:pt x="0" y="13717588"/>
                </a:lnTo>
                <a:lnTo>
                  <a:pt x="0" y="13717587"/>
                </a:lnTo>
                <a:lnTo>
                  <a:pt x="0" y="9375437"/>
                </a:lnTo>
                <a:lnTo>
                  <a:pt x="0" y="5430175"/>
                </a:lnTo>
                <a:lnTo>
                  <a:pt x="0" y="2279003"/>
                </a:lnTo>
                <a:close/>
              </a:path>
            </a:pathLst>
          </a:cu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4" tIns="22857" rIns="45714" bIns="2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5D7E93B-3798-2A4B-BBF5-58857D6F3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000" y="4796995"/>
            <a:ext cx="5291899" cy="133199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086D9922-3004-0A4C-A1A3-5FA4849458B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60000" y="2219125"/>
            <a:ext cx="5291899" cy="2217871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1897589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>
            <a:extLst>
              <a:ext uri="{FF2B5EF4-FFF2-40B4-BE49-F238E27FC236}">
                <a16:creationId xmlns:a16="http://schemas.microsoft.com/office/drawing/2014/main" id="{4BC160C0-9A82-0C42-8895-DBD7668904BD}"/>
              </a:ext>
            </a:extLst>
          </p:cNvPr>
          <p:cNvSpPr/>
          <p:nvPr userDrawn="1"/>
        </p:nvSpPr>
        <p:spPr>
          <a:xfrm rot="10800000">
            <a:off x="-1" y="0"/>
            <a:ext cx="12192000" cy="6857999"/>
          </a:xfrm>
          <a:custGeom>
            <a:avLst/>
            <a:gdLst>
              <a:gd name="connsiteX0" fmla="*/ 0 w 24386818"/>
              <a:gd name="connsiteY0" fmla="*/ 0 h 13717588"/>
              <a:gd name="connsiteX1" fmla="*/ 9443793 w 24386818"/>
              <a:gd name="connsiteY1" fmla="*/ 0 h 13717588"/>
              <a:gd name="connsiteX2" fmla="*/ 17522180 w 24386818"/>
              <a:gd name="connsiteY2" fmla="*/ 0 h 13717588"/>
              <a:gd name="connsiteX3" fmla="*/ 24386818 w 24386818"/>
              <a:gd name="connsiteY3" fmla="*/ 0 h 13717588"/>
              <a:gd name="connsiteX4" fmla="*/ 24386818 w 24386818"/>
              <a:gd name="connsiteY4" fmla="*/ 1 h 13717588"/>
              <a:gd name="connsiteX5" fmla="*/ 24386818 w 24386818"/>
              <a:gd name="connsiteY5" fmla="*/ 4342151 h 13717588"/>
              <a:gd name="connsiteX6" fmla="*/ 24386818 w 24386818"/>
              <a:gd name="connsiteY6" fmla="*/ 8287413 h 13717588"/>
              <a:gd name="connsiteX7" fmla="*/ 24386818 w 24386818"/>
              <a:gd name="connsiteY7" fmla="*/ 11438585 h 13717588"/>
              <a:gd name="connsiteX8" fmla="*/ 24386818 w 24386818"/>
              <a:gd name="connsiteY8" fmla="*/ 13717588 h 13717588"/>
              <a:gd name="connsiteX9" fmla="*/ 14943025 w 24386818"/>
              <a:gd name="connsiteY9" fmla="*/ 13717588 h 13717588"/>
              <a:gd name="connsiteX10" fmla="*/ 6864639 w 24386818"/>
              <a:gd name="connsiteY10" fmla="*/ 13717588 h 13717588"/>
              <a:gd name="connsiteX11" fmla="*/ 0 w 24386818"/>
              <a:gd name="connsiteY11" fmla="*/ 13717588 h 13717588"/>
              <a:gd name="connsiteX12" fmla="*/ 0 w 24386818"/>
              <a:gd name="connsiteY12" fmla="*/ 13717587 h 13717588"/>
              <a:gd name="connsiteX13" fmla="*/ 0 w 24386818"/>
              <a:gd name="connsiteY13" fmla="*/ 9375437 h 13717588"/>
              <a:gd name="connsiteX14" fmla="*/ 0 w 24386818"/>
              <a:gd name="connsiteY14" fmla="*/ 5430175 h 13717588"/>
              <a:gd name="connsiteX15" fmla="*/ 0 w 24386818"/>
              <a:gd name="connsiteY15" fmla="*/ 2279003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386818" h="13717588">
                <a:moveTo>
                  <a:pt x="0" y="0"/>
                </a:moveTo>
                <a:lnTo>
                  <a:pt x="9443793" y="0"/>
                </a:lnTo>
                <a:lnTo>
                  <a:pt x="17522180" y="0"/>
                </a:lnTo>
                <a:lnTo>
                  <a:pt x="24386818" y="0"/>
                </a:lnTo>
                <a:lnTo>
                  <a:pt x="24386818" y="1"/>
                </a:lnTo>
                <a:lnTo>
                  <a:pt x="24386818" y="4342151"/>
                </a:lnTo>
                <a:lnTo>
                  <a:pt x="24386818" y="8287413"/>
                </a:lnTo>
                <a:lnTo>
                  <a:pt x="24386818" y="11438585"/>
                </a:lnTo>
                <a:lnTo>
                  <a:pt x="24386818" y="13717588"/>
                </a:lnTo>
                <a:lnTo>
                  <a:pt x="14943025" y="13717588"/>
                </a:lnTo>
                <a:lnTo>
                  <a:pt x="6864639" y="13717588"/>
                </a:lnTo>
                <a:lnTo>
                  <a:pt x="0" y="13717588"/>
                </a:lnTo>
                <a:lnTo>
                  <a:pt x="0" y="13717587"/>
                </a:lnTo>
                <a:lnTo>
                  <a:pt x="0" y="9375437"/>
                </a:lnTo>
                <a:lnTo>
                  <a:pt x="0" y="5430175"/>
                </a:lnTo>
                <a:lnTo>
                  <a:pt x="0" y="2279003"/>
                </a:lnTo>
                <a:close/>
              </a:path>
            </a:pathLst>
          </a:cu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4" tIns="22857" rIns="45714" bIns="2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38EB78-67EC-C34D-BF98-801CABA49C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3" name="Текст 3">
            <a:extLst>
              <a:ext uri="{FF2B5EF4-FFF2-40B4-BE49-F238E27FC236}">
                <a16:creationId xmlns:a16="http://schemas.microsoft.com/office/drawing/2014/main" id="{C9EAE98D-A5DE-B948-A82F-0160056652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Рисунок 30">
            <a:extLst>
              <a:ext uri="{FF2B5EF4-FFF2-40B4-BE49-F238E27FC236}">
                <a16:creationId xmlns:a16="http://schemas.microsoft.com/office/drawing/2014/main" id="{0A55B3DB-45C1-FE49-9F02-C8098956168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461072" y="708251"/>
            <a:ext cx="2206804" cy="4715978"/>
          </a:xfrm>
          <a:custGeom>
            <a:avLst/>
            <a:gdLst>
              <a:gd name="connsiteX0" fmla="*/ 466924 w 4408266"/>
              <a:gd name="connsiteY0" fmla="*/ 0 h 9420405"/>
              <a:gd name="connsiteX1" fmla="*/ 1057794 w 4408266"/>
              <a:gd name="connsiteY1" fmla="*/ 0 h 9420405"/>
              <a:gd name="connsiteX2" fmla="*/ 1057794 w 4408266"/>
              <a:gd name="connsiteY2" fmla="*/ 111037 h 9420405"/>
              <a:gd name="connsiteX3" fmla="*/ 1248692 w 4408266"/>
              <a:gd name="connsiteY3" fmla="*/ 301936 h 9420405"/>
              <a:gd name="connsiteX4" fmla="*/ 3161000 w 4408266"/>
              <a:gd name="connsiteY4" fmla="*/ 301936 h 9420405"/>
              <a:gd name="connsiteX5" fmla="*/ 3351900 w 4408266"/>
              <a:gd name="connsiteY5" fmla="*/ 111037 h 9420405"/>
              <a:gd name="connsiteX6" fmla="*/ 3351900 w 4408266"/>
              <a:gd name="connsiteY6" fmla="*/ 0 h 9420405"/>
              <a:gd name="connsiteX7" fmla="*/ 3941342 w 4408266"/>
              <a:gd name="connsiteY7" fmla="*/ 0 h 9420405"/>
              <a:gd name="connsiteX8" fmla="*/ 4408266 w 4408266"/>
              <a:gd name="connsiteY8" fmla="*/ 466923 h 9420405"/>
              <a:gd name="connsiteX9" fmla="*/ 4408266 w 4408266"/>
              <a:gd name="connsiteY9" fmla="*/ 8953482 h 9420405"/>
              <a:gd name="connsiteX10" fmla="*/ 3941342 w 4408266"/>
              <a:gd name="connsiteY10" fmla="*/ 9420405 h 9420405"/>
              <a:gd name="connsiteX11" fmla="*/ 466924 w 4408266"/>
              <a:gd name="connsiteY11" fmla="*/ 9420405 h 9420405"/>
              <a:gd name="connsiteX12" fmla="*/ 0 w 4408266"/>
              <a:gd name="connsiteY12" fmla="*/ 8953482 h 9420405"/>
              <a:gd name="connsiteX13" fmla="*/ 0 w 4408266"/>
              <a:gd name="connsiteY13" fmla="*/ 466923 h 9420405"/>
              <a:gd name="connsiteX14" fmla="*/ 466924 w 4408266"/>
              <a:gd name="connsiteY14" fmla="*/ 0 h 942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08266" h="9420405">
                <a:moveTo>
                  <a:pt x="466924" y="0"/>
                </a:moveTo>
                <a:lnTo>
                  <a:pt x="1057794" y="0"/>
                </a:lnTo>
                <a:lnTo>
                  <a:pt x="1057794" y="111037"/>
                </a:lnTo>
                <a:cubicBezTo>
                  <a:pt x="1057794" y="216468"/>
                  <a:pt x="1143262" y="301936"/>
                  <a:pt x="1248692" y="301936"/>
                </a:cubicBezTo>
                <a:lnTo>
                  <a:pt x="3161000" y="301936"/>
                </a:lnTo>
                <a:cubicBezTo>
                  <a:pt x="3266430" y="301936"/>
                  <a:pt x="3351900" y="216468"/>
                  <a:pt x="3351900" y="111037"/>
                </a:cubicBezTo>
                <a:lnTo>
                  <a:pt x="3351900" y="0"/>
                </a:lnTo>
                <a:lnTo>
                  <a:pt x="3941342" y="0"/>
                </a:lnTo>
                <a:cubicBezTo>
                  <a:pt x="4199216" y="0"/>
                  <a:pt x="4408266" y="209049"/>
                  <a:pt x="4408266" y="466923"/>
                </a:cubicBezTo>
                <a:lnTo>
                  <a:pt x="4408266" y="8953482"/>
                </a:lnTo>
                <a:cubicBezTo>
                  <a:pt x="4408266" y="9211356"/>
                  <a:pt x="4199216" y="9420405"/>
                  <a:pt x="3941342" y="9420405"/>
                </a:cubicBezTo>
                <a:lnTo>
                  <a:pt x="466924" y="9420405"/>
                </a:lnTo>
                <a:cubicBezTo>
                  <a:pt x="209050" y="9420405"/>
                  <a:pt x="0" y="9211356"/>
                  <a:pt x="0" y="8953482"/>
                </a:cubicBezTo>
                <a:lnTo>
                  <a:pt x="0" y="466923"/>
                </a:lnTo>
                <a:cubicBezTo>
                  <a:pt x="0" y="209049"/>
                  <a:pt x="209050" y="0"/>
                  <a:pt x="466924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/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4467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олилиния 9">
            <a:extLst>
              <a:ext uri="{FF2B5EF4-FFF2-40B4-BE49-F238E27FC236}">
                <a16:creationId xmlns:a16="http://schemas.microsoft.com/office/drawing/2014/main" id="{C3737DCC-3EC4-3042-ADF8-18D032746A7B}"/>
              </a:ext>
            </a:extLst>
          </p:cNvPr>
          <p:cNvSpPr/>
          <p:nvPr userDrawn="1"/>
        </p:nvSpPr>
        <p:spPr>
          <a:xfrm rot="10800000">
            <a:off x="-1" y="0"/>
            <a:ext cx="12192000" cy="6857999"/>
          </a:xfrm>
          <a:custGeom>
            <a:avLst/>
            <a:gdLst>
              <a:gd name="connsiteX0" fmla="*/ 0 w 24386818"/>
              <a:gd name="connsiteY0" fmla="*/ 0 h 13717588"/>
              <a:gd name="connsiteX1" fmla="*/ 9443793 w 24386818"/>
              <a:gd name="connsiteY1" fmla="*/ 0 h 13717588"/>
              <a:gd name="connsiteX2" fmla="*/ 17522180 w 24386818"/>
              <a:gd name="connsiteY2" fmla="*/ 0 h 13717588"/>
              <a:gd name="connsiteX3" fmla="*/ 24386818 w 24386818"/>
              <a:gd name="connsiteY3" fmla="*/ 0 h 13717588"/>
              <a:gd name="connsiteX4" fmla="*/ 24386818 w 24386818"/>
              <a:gd name="connsiteY4" fmla="*/ 1 h 13717588"/>
              <a:gd name="connsiteX5" fmla="*/ 24386818 w 24386818"/>
              <a:gd name="connsiteY5" fmla="*/ 4342151 h 13717588"/>
              <a:gd name="connsiteX6" fmla="*/ 24386818 w 24386818"/>
              <a:gd name="connsiteY6" fmla="*/ 8287413 h 13717588"/>
              <a:gd name="connsiteX7" fmla="*/ 24386818 w 24386818"/>
              <a:gd name="connsiteY7" fmla="*/ 11438585 h 13717588"/>
              <a:gd name="connsiteX8" fmla="*/ 24386818 w 24386818"/>
              <a:gd name="connsiteY8" fmla="*/ 13717588 h 13717588"/>
              <a:gd name="connsiteX9" fmla="*/ 14943025 w 24386818"/>
              <a:gd name="connsiteY9" fmla="*/ 13717588 h 13717588"/>
              <a:gd name="connsiteX10" fmla="*/ 6864639 w 24386818"/>
              <a:gd name="connsiteY10" fmla="*/ 13717588 h 13717588"/>
              <a:gd name="connsiteX11" fmla="*/ 0 w 24386818"/>
              <a:gd name="connsiteY11" fmla="*/ 13717588 h 13717588"/>
              <a:gd name="connsiteX12" fmla="*/ 0 w 24386818"/>
              <a:gd name="connsiteY12" fmla="*/ 13717587 h 13717588"/>
              <a:gd name="connsiteX13" fmla="*/ 0 w 24386818"/>
              <a:gd name="connsiteY13" fmla="*/ 9375437 h 13717588"/>
              <a:gd name="connsiteX14" fmla="*/ 0 w 24386818"/>
              <a:gd name="connsiteY14" fmla="*/ 5430175 h 13717588"/>
              <a:gd name="connsiteX15" fmla="*/ 0 w 24386818"/>
              <a:gd name="connsiteY15" fmla="*/ 2279003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386818" h="13717588">
                <a:moveTo>
                  <a:pt x="0" y="0"/>
                </a:moveTo>
                <a:lnTo>
                  <a:pt x="9443793" y="0"/>
                </a:lnTo>
                <a:lnTo>
                  <a:pt x="17522180" y="0"/>
                </a:lnTo>
                <a:lnTo>
                  <a:pt x="24386818" y="0"/>
                </a:lnTo>
                <a:lnTo>
                  <a:pt x="24386818" y="1"/>
                </a:lnTo>
                <a:lnTo>
                  <a:pt x="24386818" y="4342151"/>
                </a:lnTo>
                <a:lnTo>
                  <a:pt x="24386818" y="8287413"/>
                </a:lnTo>
                <a:lnTo>
                  <a:pt x="24386818" y="11438585"/>
                </a:lnTo>
                <a:lnTo>
                  <a:pt x="24386818" y="13717588"/>
                </a:lnTo>
                <a:lnTo>
                  <a:pt x="14943025" y="13717588"/>
                </a:lnTo>
                <a:lnTo>
                  <a:pt x="6864639" y="13717588"/>
                </a:lnTo>
                <a:lnTo>
                  <a:pt x="0" y="13717588"/>
                </a:lnTo>
                <a:lnTo>
                  <a:pt x="0" y="13717587"/>
                </a:lnTo>
                <a:lnTo>
                  <a:pt x="0" y="9375437"/>
                </a:lnTo>
                <a:lnTo>
                  <a:pt x="0" y="5430175"/>
                </a:lnTo>
                <a:lnTo>
                  <a:pt x="0" y="2279003"/>
                </a:lnTo>
                <a:close/>
              </a:path>
            </a:pathLst>
          </a:cu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4" tIns="22857" rIns="45714" bIns="2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/>
          </a:p>
        </p:txBody>
      </p:sp>
      <p:sp>
        <p:nvSpPr>
          <p:cNvPr id="6" name="Рисунок 5">
            <a:extLst>
              <a:ext uri="{FF2B5EF4-FFF2-40B4-BE49-F238E27FC236}">
                <a16:creationId xmlns:a16="http://schemas.microsoft.com/office/drawing/2014/main" id="{CCD2D610-4A88-7E42-BC54-ACFBAEC1512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12192001" cy="6858000"/>
          </a:xfrm>
          <a:custGeom>
            <a:avLst/>
            <a:gdLst>
              <a:gd name="connsiteX0" fmla="*/ 18620829 w 24387177"/>
              <a:gd name="connsiteY0" fmla="*/ 0 h 13717588"/>
              <a:gd name="connsiteX1" fmla="*/ 24387177 w 24387177"/>
              <a:gd name="connsiteY1" fmla="*/ 0 h 13717588"/>
              <a:gd name="connsiteX2" fmla="*/ 24387177 w 24387177"/>
              <a:gd name="connsiteY2" fmla="*/ 13717588 h 13717588"/>
              <a:gd name="connsiteX3" fmla="*/ 0 w 24387177"/>
              <a:gd name="connsiteY3" fmla="*/ 13717588 h 13717588"/>
              <a:gd name="connsiteX4" fmla="*/ 0 w 24387177"/>
              <a:gd name="connsiteY4" fmla="*/ 10706963 h 13717588"/>
              <a:gd name="connsiteX5" fmla="*/ 0 w 24387177"/>
              <a:gd name="connsiteY5" fmla="*/ 0 h 13717588"/>
              <a:gd name="connsiteX6" fmla="*/ 3963488 w 24387177"/>
              <a:gd name="connsiteY6" fmla="*/ 0 h 13717588"/>
              <a:gd name="connsiteX7" fmla="*/ 0 w 24387177"/>
              <a:gd name="connsiteY7" fmla="*/ 2279002 h 13717588"/>
              <a:gd name="connsiteX0" fmla="*/ 18620829 w 24387177"/>
              <a:gd name="connsiteY0" fmla="*/ 0 h 13717588"/>
              <a:gd name="connsiteX1" fmla="*/ 24387177 w 24387177"/>
              <a:gd name="connsiteY1" fmla="*/ 0 h 13717588"/>
              <a:gd name="connsiteX2" fmla="*/ 24387177 w 24387177"/>
              <a:gd name="connsiteY2" fmla="*/ 13717588 h 13717588"/>
              <a:gd name="connsiteX3" fmla="*/ 0 w 24387177"/>
              <a:gd name="connsiteY3" fmla="*/ 13717588 h 13717588"/>
              <a:gd name="connsiteX4" fmla="*/ 0 w 24387177"/>
              <a:gd name="connsiteY4" fmla="*/ 10706963 h 13717588"/>
              <a:gd name="connsiteX5" fmla="*/ 18620829 w 24387177"/>
              <a:gd name="connsiteY5" fmla="*/ 0 h 13717588"/>
              <a:gd name="connsiteX6" fmla="*/ 0 w 24387177"/>
              <a:gd name="connsiteY6" fmla="*/ 0 h 13717588"/>
              <a:gd name="connsiteX7" fmla="*/ 0 w 24387177"/>
              <a:gd name="connsiteY7" fmla="*/ 2279002 h 13717588"/>
              <a:gd name="connsiteX8" fmla="*/ 0 w 24387177"/>
              <a:gd name="connsiteY8" fmla="*/ 0 h 13717588"/>
              <a:gd name="connsiteX0" fmla="*/ 18620829 w 24387177"/>
              <a:gd name="connsiteY0" fmla="*/ 0 h 13717588"/>
              <a:gd name="connsiteX1" fmla="*/ 24387177 w 24387177"/>
              <a:gd name="connsiteY1" fmla="*/ 0 h 13717588"/>
              <a:gd name="connsiteX2" fmla="*/ 24387177 w 24387177"/>
              <a:gd name="connsiteY2" fmla="*/ 13717588 h 13717588"/>
              <a:gd name="connsiteX3" fmla="*/ 0 w 24387177"/>
              <a:gd name="connsiteY3" fmla="*/ 13717588 h 13717588"/>
              <a:gd name="connsiteX4" fmla="*/ 0 w 24387177"/>
              <a:gd name="connsiteY4" fmla="*/ 10706963 h 13717588"/>
              <a:gd name="connsiteX5" fmla="*/ 18620829 w 24387177"/>
              <a:gd name="connsiteY5" fmla="*/ 0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387177" h="13717588">
                <a:moveTo>
                  <a:pt x="18620829" y="0"/>
                </a:moveTo>
                <a:lnTo>
                  <a:pt x="24387177" y="0"/>
                </a:lnTo>
                <a:lnTo>
                  <a:pt x="24387177" y="13717588"/>
                </a:lnTo>
                <a:lnTo>
                  <a:pt x="0" y="13717588"/>
                </a:lnTo>
                <a:lnTo>
                  <a:pt x="0" y="10706963"/>
                </a:lnTo>
                <a:lnTo>
                  <a:pt x="18620829" y="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r">
              <a:defRPr lang="ru-RU" sz="400" dirty="0"/>
            </a:lvl1pPr>
          </a:lstStyle>
          <a:p>
            <a:pPr lvl="0" algn="ctr"/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ED07EFE-59CF-E945-9AE5-32D07AE20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000" y="4796995"/>
            <a:ext cx="5291899" cy="133199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47629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2099" y="549014"/>
            <a:ext cx="10331803" cy="71999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2099" y="1737008"/>
            <a:ext cx="10331803" cy="2951986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F8176027-EFD5-1A4C-B3F3-DE92C312D23C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488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052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 build="p">
            <p:tmplLst>
              <p:tmpl lvl="1"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 build="p">
            <p:tmplLst>
              <p:tmpl lvl="1"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0B9F8773-BE8E-984A-9587-9C712611D9C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958129" y="0"/>
            <a:ext cx="5233871" cy="6685862"/>
          </a:xfrm>
          <a:custGeom>
            <a:avLst/>
            <a:gdLst>
              <a:gd name="connsiteX0" fmla="*/ 4767204 w 10469104"/>
              <a:gd name="connsiteY0" fmla="*/ 0 h 13373273"/>
              <a:gd name="connsiteX1" fmla="*/ 6676898 w 10469104"/>
              <a:gd name="connsiteY1" fmla="*/ 0 h 13373273"/>
              <a:gd name="connsiteX2" fmla="*/ 10469104 w 10469104"/>
              <a:gd name="connsiteY2" fmla="*/ 3792206 h 13373273"/>
              <a:gd name="connsiteX3" fmla="*/ 10469104 w 10469104"/>
              <a:gd name="connsiteY3" fmla="*/ 9535230 h 13373273"/>
              <a:gd name="connsiteX4" fmla="*/ 10450048 w 10469104"/>
              <a:gd name="connsiteY4" fmla="*/ 9516174 h 13373273"/>
              <a:gd name="connsiteX5" fmla="*/ 10446568 w 10469104"/>
              <a:gd name="connsiteY5" fmla="*/ 9519661 h 13373273"/>
              <a:gd name="connsiteX6" fmla="*/ 9491720 w 10469104"/>
              <a:gd name="connsiteY6" fmla="*/ 10474509 h 13373273"/>
              <a:gd name="connsiteX7" fmla="*/ 8915244 w 10469104"/>
              <a:gd name="connsiteY7" fmla="*/ 9898035 h 13373273"/>
              <a:gd name="connsiteX8" fmla="*/ 8911760 w 10469104"/>
              <a:gd name="connsiteY8" fmla="*/ 9901517 h 13373273"/>
              <a:gd name="connsiteX9" fmla="*/ 7956912 w 10469104"/>
              <a:gd name="connsiteY9" fmla="*/ 10856366 h 13373273"/>
              <a:gd name="connsiteX10" fmla="*/ 7953428 w 10469104"/>
              <a:gd name="connsiteY10" fmla="*/ 10859848 h 13373273"/>
              <a:gd name="connsiteX11" fmla="*/ 9512008 w 10469104"/>
              <a:gd name="connsiteY11" fmla="*/ 12418426 h 13373273"/>
              <a:gd name="connsiteX12" fmla="*/ 8557160 w 10469104"/>
              <a:gd name="connsiteY12" fmla="*/ 13373273 h 13373273"/>
              <a:gd name="connsiteX13" fmla="*/ 600243 w 10469104"/>
              <a:gd name="connsiteY13" fmla="*/ 5416358 h 13373273"/>
              <a:gd name="connsiteX14" fmla="*/ 1252501 w 10469104"/>
              <a:gd name="connsiteY14" fmla="*/ 4764102 h 13373273"/>
              <a:gd name="connsiteX15" fmla="*/ 1555092 w 10469104"/>
              <a:gd name="connsiteY15" fmla="*/ 4461510 h 13373273"/>
              <a:gd name="connsiteX16" fmla="*/ 1558574 w 10469104"/>
              <a:gd name="connsiteY16" fmla="*/ 4458028 h 13373273"/>
              <a:gd name="connsiteX17" fmla="*/ 0 w 10469104"/>
              <a:gd name="connsiteY17" fmla="*/ 2899449 h 13373273"/>
              <a:gd name="connsiteX18" fmla="*/ 954847 w 10469104"/>
              <a:gd name="connsiteY18" fmla="*/ 1944600 h 13373273"/>
              <a:gd name="connsiteX19" fmla="*/ 1534804 w 10469104"/>
              <a:gd name="connsiteY19" fmla="*/ 2517592 h 13373273"/>
              <a:gd name="connsiteX20" fmla="*/ 2489652 w 10469104"/>
              <a:gd name="connsiteY20" fmla="*/ 1562744 h 13373273"/>
              <a:gd name="connsiteX21" fmla="*/ 5002268 w 10469104"/>
              <a:gd name="connsiteY21" fmla="*/ 4075357 h 13373273"/>
              <a:gd name="connsiteX22" fmla="*/ 5964084 w 10469104"/>
              <a:gd name="connsiteY22" fmla="*/ 3113543 h 13373273"/>
              <a:gd name="connsiteX23" fmla="*/ 4707780 w 10469104"/>
              <a:gd name="connsiteY23" fmla="*/ 1857236 h 13373273"/>
              <a:gd name="connsiteX24" fmla="*/ 4724356 w 10469104"/>
              <a:gd name="connsiteY24" fmla="*/ 1840658 h 13373273"/>
              <a:gd name="connsiteX25" fmla="*/ 5662624 w 10469104"/>
              <a:gd name="connsiteY25" fmla="*/ 902389 h 13373273"/>
              <a:gd name="connsiteX26" fmla="*/ 5666108 w 10469104"/>
              <a:gd name="connsiteY26" fmla="*/ 898907 h 13373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0469104" h="13373273">
                <a:moveTo>
                  <a:pt x="4767204" y="0"/>
                </a:moveTo>
                <a:lnTo>
                  <a:pt x="6676898" y="0"/>
                </a:lnTo>
                <a:lnTo>
                  <a:pt x="10469104" y="3792206"/>
                </a:lnTo>
                <a:lnTo>
                  <a:pt x="10469104" y="9535230"/>
                </a:lnTo>
                <a:lnTo>
                  <a:pt x="10450048" y="9516174"/>
                </a:lnTo>
                <a:lnTo>
                  <a:pt x="10446568" y="9519661"/>
                </a:lnTo>
                <a:lnTo>
                  <a:pt x="9491720" y="10474509"/>
                </a:lnTo>
                <a:lnTo>
                  <a:pt x="8915244" y="9898035"/>
                </a:lnTo>
                <a:lnTo>
                  <a:pt x="8911760" y="9901517"/>
                </a:lnTo>
                <a:lnTo>
                  <a:pt x="7956912" y="10856366"/>
                </a:lnTo>
                <a:lnTo>
                  <a:pt x="7953428" y="10859848"/>
                </a:lnTo>
                <a:lnTo>
                  <a:pt x="9512008" y="12418426"/>
                </a:lnTo>
                <a:lnTo>
                  <a:pt x="8557160" y="13373273"/>
                </a:lnTo>
                <a:lnTo>
                  <a:pt x="600243" y="5416358"/>
                </a:lnTo>
                <a:lnTo>
                  <a:pt x="1252501" y="4764102"/>
                </a:lnTo>
                <a:lnTo>
                  <a:pt x="1555092" y="4461510"/>
                </a:lnTo>
                <a:lnTo>
                  <a:pt x="1558574" y="4458028"/>
                </a:lnTo>
                <a:lnTo>
                  <a:pt x="0" y="2899449"/>
                </a:lnTo>
                <a:lnTo>
                  <a:pt x="954847" y="1944600"/>
                </a:lnTo>
                <a:lnTo>
                  <a:pt x="1534804" y="2517592"/>
                </a:lnTo>
                <a:lnTo>
                  <a:pt x="2489652" y="1562744"/>
                </a:lnTo>
                <a:lnTo>
                  <a:pt x="5002268" y="4075357"/>
                </a:lnTo>
                <a:lnTo>
                  <a:pt x="5964084" y="3113543"/>
                </a:lnTo>
                <a:lnTo>
                  <a:pt x="4707780" y="1857236"/>
                </a:lnTo>
                <a:lnTo>
                  <a:pt x="4724356" y="1840658"/>
                </a:lnTo>
                <a:lnTo>
                  <a:pt x="5662624" y="902389"/>
                </a:lnTo>
                <a:lnTo>
                  <a:pt x="5666108" y="898907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575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F371FCA-38F6-D94D-A4AC-3FCDE404E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873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47D0AE4B-1B6B-364E-A39A-AC9665C2B8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873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77D69DA2-F2A2-134A-AA28-9693FCCC307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172138"/>
            <a:ext cx="5233871" cy="6685862"/>
          </a:xfrm>
          <a:custGeom>
            <a:avLst/>
            <a:gdLst>
              <a:gd name="connsiteX0" fmla="*/ 1911944 w 10469104"/>
              <a:gd name="connsiteY0" fmla="*/ 0 h 13373273"/>
              <a:gd name="connsiteX1" fmla="*/ 9868861 w 10469104"/>
              <a:gd name="connsiteY1" fmla="*/ 7956915 h 13373273"/>
              <a:gd name="connsiteX2" fmla="*/ 9216603 w 10469104"/>
              <a:gd name="connsiteY2" fmla="*/ 8609171 h 13373273"/>
              <a:gd name="connsiteX3" fmla="*/ 8914012 w 10469104"/>
              <a:gd name="connsiteY3" fmla="*/ 8911763 h 13373273"/>
              <a:gd name="connsiteX4" fmla="*/ 8910530 w 10469104"/>
              <a:gd name="connsiteY4" fmla="*/ 8915245 h 13373273"/>
              <a:gd name="connsiteX5" fmla="*/ 10469104 w 10469104"/>
              <a:gd name="connsiteY5" fmla="*/ 10473824 h 13373273"/>
              <a:gd name="connsiteX6" fmla="*/ 9514257 w 10469104"/>
              <a:gd name="connsiteY6" fmla="*/ 11428673 h 13373273"/>
              <a:gd name="connsiteX7" fmla="*/ 8934300 w 10469104"/>
              <a:gd name="connsiteY7" fmla="*/ 10855681 h 13373273"/>
              <a:gd name="connsiteX8" fmla="*/ 7979452 w 10469104"/>
              <a:gd name="connsiteY8" fmla="*/ 11810529 h 13373273"/>
              <a:gd name="connsiteX9" fmla="*/ 5466836 w 10469104"/>
              <a:gd name="connsiteY9" fmla="*/ 9297916 h 13373273"/>
              <a:gd name="connsiteX10" fmla="*/ 4505020 w 10469104"/>
              <a:gd name="connsiteY10" fmla="*/ 10259730 h 13373273"/>
              <a:gd name="connsiteX11" fmla="*/ 5761324 w 10469104"/>
              <a:gd name="connsiteY11" fmla="*/ 11516037 h 13373273"/>
              <a:gd name="connsiteX12" fmla="*/ 5744748 w 10469104"/>
              <a:gd name="connsiteY12" fmla="*/ 11532615 h 13373273"/>
              <a:gd name="connsiteX13" fmla="*/ 4806480 w 10469104"/>
              <a:gd name="connsiteY13" fmla="*/ 12470884 h 13373273"/>
              <a:gd name="connsiteX14" fmla="*/ 4802996 w 10469104"/>
              <a:gd name="connsiteY14" fmla="*/ 12474366 h 13373273"/>
              <a:gd name="connsiteX15" fmla="*/ 5701900 w 10469104"/>
              <a:gd name="connsiteY15" fmla="*/ 13373273 h 13373273"/>
              <a:gd name="connsiteX16" fmla="*/ 3792206 w 10469104"/>
              <a:gd name="connsiteY16" fmla="*/ 13373273 h 13373273"/>
              <a:gd name="connsiteX17" fmla="*/ 0 w 10469104"/>
              <a:gd name="connsiteY17" fmla="*/ 9581067 h 13373273"/>
              <a:gd name="connsiteX18" fmla="*/ 0 w 10469104"/>
              <a:gd name="connsiteY18" fmla="*/ 3838043 h 13373273"/>
              <a:gd name="connsiteX19" fmla="*/ 19056 w 10469104"/>
              <a:gd name="connsiteY19" fmla="*/ 3857099 h 13373273"/>
              <a:gd name="connsiteX20" fmla="*/ 22536 w 10469104"/>
              <a:gd name="connsiteY20" fmla="*/ 3853612 h 13373273"/>
              <a:gd name="connsiteX21" fmla="*/ 977384 w 10469104"/>
              <a:gd name="connsiteY21" fmla="*/ 2898764 h 13373273"/>
              <a:gd name="connsiteX22" fmla="*/ 1553860 w 10469104"/>
              <a:gd name="connsiteY22" fmla="*/ 3475238 h 13373273"/>
              <a:gd name="connsiteX23" fmla="*/ 1557344 w 10469104"/>
              <a:gd name="connsiteY23" fmla="*/ 3471756 h 13373273"/>
              <a:gd name="connsiteX24" fmla="*/ 2512192 w 10469104"/>
              <a:gd name="connsiteY24" fmla="*/ 2516907 h 13373273"/>
              <a:gd name="connsiteX25" fmla="*/ 2515676 w 10469104"/>
              <a:gd name="connsiteY25" fmla="*/ 2513425 h 13373273"/>
              <a:gd name="connsiteX26" fmla="*/ 957096 w 10469104"/>
              <a:gd name="connsiteY26" fmla="*/ 954847 h 13373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0469104" h="13373273">
                <a:moveTo>
                  <a:pt x="1911944" y="0"/>
                </a:moveTo>
                <a:lnTo>
                  <a:pt x="9868861" y="7956915"/>
                </a:lnTo>
                <a:lnTo>
                  <a:pt x="9216603" y="8609171"/>
                </a:lnTo>
                <a:lnTo>
                  <a:pt x="8914012" y="8911763"/>
                </a:lnTo>
                <a:lnTo>
                  <a:pt x="8910530" y="8915245"/>
                </a:lnTo>
                <a:lnTo>
                  <a:pt x="10469104" y="10473824"/>
                </a:lnTo>
                <a:lnTo>
                  <a:pt x="9514257" y="11428673"/>
                </a:lnTo>
                <a:lnTo>
                  <a:pt x="8934300" y="10855681"/>
                </a:lnTo>
                <a:lnTo>
                  <a:pt x="7979452" y="11810529"/>
                </a:lnTo>
                <a:lnTo>
                  <a:pt x="5466836" y="9297916"/>
                </a:lnTo>
                <a:lnTo>
                  <a:pt x="4505020" y="10259730"/>
                </a:lnTo>
                <a:lnTo>
                  <a:pt x="5761324" y="11516037"/>
                </a:lnTo>
                <a:lnTo>
                  <a:pt x="5744748" y="11532615"/>
                </a:lnTo>
                <a:lnTo>
                  <a:pt x="4806480" y="12470884"/>
                </a:lnTo>
                <a:lnTo>
                  <a:pt x="4802996" y="12474366"/>
                </a:lnTo>
                <a:lnTo>
                  <a:pt x="5701900" y="13373273"/>
                </a:lnTo>
                <a:lnTo>
                  <a:pt x="3792206" y="13373273"/>
                </a:lnTo>
                <a:lnTo>
                  <a:pt x="0" y="9581067"/>
                </a:lnTo>
                <a:lnTo>
                  <a:pt x="0" y="3838043"/>
                </a:lnTo>
                <a:lnTo>
                  <a:pt x="19056" y="3857099"/>
                </a:lnTo>
                <a:lnTo>
                  <a:pt x="22536" y="3853612"/>
                </a:lnTo>
                <a:lnTo>
                  <a:pt x="977384" y="2898764"/>
                </a:lnTo>
                <a:lnTo>
                  <a:pt x="1553860" y="3475238"/>
                </a:lnTo>
                <a:lnTo>
                  <a:pt x="1557344" y="3471756"/>
                </a:lnTo>
                <a:lnTo>
                  <a:pt x="2512192" y="2516907"/>
                </a:lnTo>
                <a:lnTo>
                  <a:pt x="2515676" y="2513425"/>
                </a:lnTo>
                <a:lnTo>
                  <a:pt x="957096" y="954847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10ED2FF9-F28C-9847-8DF6-E4B639E0F3F7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38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7008486-9D45-43C8-BA76-43F6E774609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1212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41696975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8" name="Рисунок 27">
            <a:extLst>
              <a:ext uri="{FF2B5EF4-FFF2-40B4-BE49-F238E27FC236}">
                <a16:creationId xmlns:a16="http://schemas.microsoft.com/office/drawing/2014/main" id="{3EA8684B-E14B-304D-8D4E-C30B1798970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923871" y="10409"/>
            <a:ext cx="5268129" cy="6689606"/>
          </a:xfrm>
          <a:custGeom>
            <a:avLst/>
            <a:gdLst>
              <a:gd name="connsiteX0" fmla="*/ 4759714 w 10537630"/>
              <a:gd name="connsiteY0" fmla="*/ 0 h 13380761"/>
              <a:gd name="connsiteX1" fmla="*/ 6669410 w 10537630"/>
              <a:gd name="connsiteY1" fmla="*/ 0 h 13380761"/>
              <a:gd name="connsiteX2" fmla="*/ 10537630 w 10537630"/>
              <a:gd name="connsiteY2" fmla="*/ 3868219 h 13380761"/>
              <a:gd name="connsiteX3" fmla="*/ 10537630 w 10537630"/>
              <a:gd name="connsiteY3" fmla="*/ 9611242 h 13380761"/>
              <a:gd name="connsiteX4" fmla="*/ 10450050 w 10537630"/>
              <a:gd name="connsiteY4" fmla="*/ 9523662 h 13380761"/>
              <a:gd name="connsiteX5" fmla="*/ 10446566 w 10537630"/>
              <a:gd name="connsiteY5" fmla="*/ 9527149 h 13380761"/>
              <a:gd name="connsiteX6" fmla="*/ 10446570 w 10537630"/>
              <a:gd name="connsiteY6" fmla="*/ 9527149 h 13380761"/>
              <a:gd name="connsiteX7" fmla="*/ 9491722 w 10537630"/>
              <a:gd name="connsiteY7" fmla="*/ 10481997 h 13380761"/>
              <a:gd name="connsiteX8" fmla="*/ 8915246 w 10537630"/>
              <a:gd name="connsiteY8" fmla="*/ 9905523 h 13380761"/>
              <a:gd name="connsiteX9" fmla="*/ 8911762 w 10537630"/>
              <a:gd name="connsiteY9" fmla="*/ 9909005 h 13380761"/>
              <a:gd name="connsiteX10" fmla="*/ 7956914 w 10537630"/>
              <a:gd name="connsiteY10" fmla="*/ 10863854 h 13380761"/>
              <a:gd name="connsiteX11" fmla="*/ 7953430 w 10537630"/>
              <a:gd name="connsiteY11" fmla="*/ 10867336 h 13380761"/>
              <a:gd name="connsiteX12" fmla="*/ 9512006 w 10537630"/>
              <a:gd name="connsiteY12" fmla="*/ 12425914 h 13380761"/>
              <a:gd name="connsiteX13" fmla="*/ 8557158 w 10537630"/>
              <a:gd name="connsiteY13" fmla="*/ 13380761 h 13380761"/>
              <a:gd name="connsiteX14" fmla="*/ 600243 w 10537630"/>
              <a:gd name="connsiteY14" fmla="*/ 5423846 h 13380761"/>
              <a:gd name="connsiteX15" fmla="*/ 1252501 w 10537630"/>
              <a:gd name="connsiteY15" fmla="*/ 4771590 h 13380761"/>
              <a:gd name="connsiteX16" fmla="*/ 1555092 w 10537630"/>
              <a:gd name="connsiteY16" fmla="*/ 4468997 h 13380761"/>
              <a:gd name="connsiteX17" fmla="*/ 1558574 w 10537630"/>
              <a:gd name="connsiteY17" fmla="*/ 4465516 h 13380761"/>
              <a:gd name="connsiteX18" fmla="*/ 0 w 10537630"/>
              <a:gd name="connsiteY18" fmla="*/ 2906937 h 13380761"/>
              <a:gd name="connsiteX19" fmla="*/ 954847 w 10537630"/>
              <a:gd name="connsiteY19" fmla="*/ 1952088 h 13380761"/>
              <a:gd name="connsiteX20" fmla="*/ 1534804 w 10537630"/>
              <a:gd name="connsiteY20" fmla="*/ 2525080 h 13380761"/>
              <a:gd name="connsiteX21" fmla="*/ 2489652 w 10537630"/>
              <a:gd name="connsiteY21" fmla="*/ 1570232 h 13380761"/>
              <a:gd name="connsiteX22" fmla="*/ 5002266 w 10537630"/>
              <a:gd name="connsiteY22" fmla="*/ 4082845 h 13380761"/>
              <a:gd name="connsiteX23" fmla="*/ 5964082 w 10537630"/>
              <a:gd name="connsiteY23" fmla="*/ 3121031 h 13380761"/>
              <a:gd name="connsiteX24" fmla="*/ 4707778 w 10537630"/>
              <a:gd name="connsiteY24" fmla="*/ 1864724 h 13380761"/>
              <a:gd name="connsiteX25" fmla="*/ 4724358 w 10537630"/>
              <a:gd name="connsiteY25" fmla="*/ 1848146 h 13380761"/>
              <a:gd name="connsiteX26" fmla="*/ 5662626 w 10537630"/>
              <a:gd name="connsiteY26" fmla="*/ 909877 h 13380761"/>
              <a:gd name="connsiteX27" fmla="*/ 5666108 w 10537630"/>
              <a:gd name="connsiteY27" fmla="*/ 906395 h 13380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0537630" h="13380761">
                <a:moveTo>
                  <a:pt x="4759714" y="0"/>
                </a:moveTo>
                <a:lnTo>
                  <a:pt x="6669410" y="0"/>
                </a:lnTo>
                <a:lnTo>
                  <a:pt x="10537630" y="3868219"/>
                </a:lnTo>
                <a:lnTo>
                  <a:pt x="10537630" y="9611242"/>
                </a:lnTo>
                <a:lnTo>
                  <a:pt x="10450050" y="9523662"/>
                </a:lnTo>
                <a:lnTo>
                  <a:pt x="10446566" y="9527149"/>
                </a:lnTo>
                <a:lnTo>
                  <a:pt x="10446570" y="9527149"/>
                </a:lnTo>
                <a:lnTo>
                  <a:pt x="9491722" y="10481997"/>
                </a:lnTo>
                <a:lnTo>
                  <a:pt x="8915246" y="9905523"/>
                </a:lnTo>
                <a:lnTo>
                  <a:pt x="8911762" y="9909005"/>
                </a:lnTo>
                <a:lnTo>
                  <a:pt x="7956914" y="10863854"/>
                </a:lnTo>
                <a:lnTo>
                  <a:pt x="7953430" y="10867336"/>
                </a:lnTo>
                <a:lnTo>
                  <a:pt x="9512006" y="12425914"/>
                </a:lnTo>
                <a:lnTo>
                  <a:pt x="8557158" y="13380761"/>
                </a:lnTo>
                <a:lnTo>
                  <a:pt x="600243" y="5423846"/>
                </a:lnTo>
                <a:lnTo>
                  <a:pt x="1252501" y="4771590"/>
                </a:lnTo>
                <a:lnTo>
                  <a:pt x="1555092" y="4468997"/>
                </a:lnTo>
                <a:lnTo>
                  <a:pt x="1558574" y="4465516"/>
                </a:lnTo>
                <a:lnTo>
                  <a:pt x="0" y="2906937"/>
                </a:lnTo>
                <a:lnTo>
                  <a:pt x="954847" y="1952088"/>
                </a:lnTo>
                <a:lnTo>
                  <a:pt x="1534804" y="2525080"/>
                </a:lnTo>
                <a:lnTo>
                  <a:pt x="2489652" y="1570232"/>
                </a:lnTo>
                <a:lnTo>
                  <a:pt x="5002266" y="4082845"/>
                </a:lnTo>
                <a:lnTo>
                  <a:pt x="5964082" y="3121031"/>
                </a:lnTo>
                <a:lnTo>
                  <a:pt x="4707778" y="1864724"/>
                </a:lnTo>
                <a:lnTo>
                  <a:pt x="4724358" y="1848146"/>
                </a:lnTo>
                <a:lnTo>
                  <a:pt x="5662626" y="909877"/>
                </a:lnTo>
                <a:lnTo>
                  <a:pt x="5666108" y="906395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5438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7E8ACEEE-2A3F-1249-B0B4-E6AA3970C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873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4CD14C99-1C7B-3946-B8CF-7D43C3548F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873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3635E497-001B-944C-B4D3-C7433B03EC6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4EB5A4BE-EDF0-4741-B00A-08BD357B6B3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492" y="173963"/>
            <a:ext cx="5268129" cy="6689606"/>
          </a:xfrm>
          <a:custGeom>
            <a:avLst/>
            <a:gdLst>
              <a:gd name="connsiteX0" fmla="*/ 1980472 w 10537630"/>
              <a:gd name="connsiteY0" fmla="*/ 0 h 13380761"/>
              <a:gd name="connsiteX1" fmla="*/ 9937387 w 10537630"/>
              <a:gd name="connsiteY1" fmla="*/ 7956915 h 13380761"/>
              <a:gd name="connsiteX2" fmla="*/ 9285129 w 10537630"/>
              <a:gd name="connsiteY2" fmla="*/ 8609171 h 13380761"/>
              <a:gd name="connsiteX3" fmla="*/ 8982538 w 10537630"/>
              <a:gd name="connsiteY3" fmla="*/ 8911764 h 13380761"/>
              <a:gd name="connsiteX4" fmla="*/ 8979056 w 10537630"/>
              <a:gd name="connsiteY4" fmla="*/ 8915245 h 13380761"/>
              <a:gd name="connsiteX5" fmla="*/ 10537630 w 10537630"/>
              <a:gd name="connsiteY5" fmla="*/ 10473824 h 13380761"/>
              <a:gd name="connsiteX6" fmla="*/ 9582783 w 10537630"/>
              <a:gd name="connsiteY6" fmla="*/ 11428673 h 13380761"/>
              <a:gd name="connsiteX7" fmla="*/ 9002826 w 10537630"/>
              <a:gd name="connsiteY7" fmla="*/ 10855681 h 13380761"/>
              <a:gd name="connsiteX8" fmla="*/ 8047978 w 10537630"/>
              <a:gd name="connsiteY8" fmla="*/ 11810529 h 13380761"/>
              <a:gd name="connsiteX9" fmla="*/ 5535364 w 10537630"/>
              <a:gd name="connsiteY9" fmla="*/ 9297916 h 13380761"/>
              <a:gd name="connsiteX10" fmla="*/ 4573548 w 10537630"/>
              <a:gd name="connsiteY10" fmla="*/ 10259730 h 13380761"/>
              <a:gd name="connsiteX11" fmla="*/ 5829852 w 10537630"/>
              <a:gd name="connsiteY11" fmla="*/ 11516037 h 13380761"/>
              <a:gd name="connsiteX12" fmla="*/ 5813272 w 10537630"/>
              <a:gd name="connsiteY12" fmla="*/ 11532615 h 13380761"/>
              <a:gd name="connsiteX13" fmla="*/ 4875004 w 10537630"/>
              <a:gd name="connsiteY13" fmla="*/ 12470884 h 13380761"/>
              <a:gd name="connsiteX14" fmla="*/ 4871522 w 10537630"/>
              <a:gd name="connsiteY14" fmla="*/ 12474366 h 13380761"/>
              <a:gd name="connsiteX15" fmla="*/ 5777916 w 10537630"/>
              <a:gd name="connsiteY15" fmla="*/ 13380761 h 13380761"/>
              <a:gd name="connsiteX16" fmla="*/ 3868220 w 10537630"/>
              <a:gd name="connsiteY16" fmla="*/ 13380761 h 13380761"/>
              <a:gd name="connsiteX17" fmla="*/ 0 w 10537630"/>
              <a:gd name="connsiteY17" fmla="*/ 9512542 h 13380761"/>
              <a:gd name="connsiteX18" fmla="*/ 0 w 10537630"/>
              <a:gd name="connsiteY18" fmla="*/ 3769519 h 13380761"/>
              <a:gd name="connsiteX19" fmla="*/ 87580 w 10537630"/>
              <a:gd name="connsiteY19" fmla="*/ 3857099 h 13380761"/>
              <a:gd name="connsiteX20" fmla="*/ 91064 w 10537630"/>
              <a:gd name="connsiteY20" fmla="*/ 3853612 h 13380761"/>
              <a:gd name="connsiteX21" fmla="*/ 91060 w 10537630"/>
              <a:gd name="connsiteY21" fmla="*/ 3853612 h 13380761"/>
              <a:gd name="connsiteX22" fmla="*/ 1045908 w 10537630"/>
              <a:gd name="connsiteY22" fmla="*/ 2898764 h 13380761"/>
              <a:gd name="connsiteX23" fmla="*/ 1622384 w 10537630"/>
              <a:gd name="connsiteY23" fmla="*/ 3475238 h 13380761"/>
              <a:gd name="connsiteX24" fmla="*/ 1625868 w 10537630"/>
              <a:gd name="connsiteY24" fmla="*/ 3471756 h 13380761"/>
              <a:gd name="connsiteX25" fmla="*/ 2580716 w 10537630"/>
              <a:gd name="connsiteY25" fmla="*/ 2516907 h 13380761"/>
              <a:gd name="connsiteX26" fmla="*/ 2584200 w 10537630"/>
              <a:gd name="connsiteY26" fmla="*/ 2513425 h 13380761"/>
              <a:gd name="connsiteX27" fmla="*/ 1025624 w 10537630"/>
              <a:gd name="connsiteY27" fmla="*/ 954847 h 13380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0537630" h="13380761">
                <a:moveTo>
                  <a:pt x="1980472" y="0"/>
                </a:moveTo>
                <a:lnTo>
                  <a:pt x="9937387" y="7956915"/>
                </a:lnTo>
                <a:lnTo>
                  <a:pt x="9285129" y="8609171"/>
                </a:lnTo>
                <a:lnTo>
                  <a:pt x="8982538" y="8911764"/>
                </a:lnTo>
                <a:lnTo>
                  <a:pt x="8979056" y="8915245"/>
                </a:lnTo>
                <a:lnTo>
                  <a:pt x="10537630" y="10473824"/>
                </a:lnTo>
                <a:lnTo>
                  <a:pt x="9582783" y="11428673"/>
                </a:lnTo>
                <a:lnTo>
                  <a:pt x="9002826" y="10855681"/>
                </a:lnTo>
                <a:lnTo>
                  <a:pt x="8047978" y="11810529"/>
                </a:lnTo>
                <a:lnTo>
                  <a:pt x="5535364" y="9297916"/>
                </a:lnTo>
                <a:lnTo>
                  <a:pt x="4573548" y="10259730"/>
                </a:lnTo>
                <a:lnTo>
                  <a:pt x="5829852" y="11516037"/>
                </a:lnTo>
                <a:lnTo>
                  <a:pt x="5813272" y="11532615"/>
                </a:lnTo>
                <a:lnTo>
                  <a:pt x="4875004" y="12470884"/>
                </a:lnTo>
                <a:lnTo>
                  <a:pt x="4871522" y="12474366"/>
                </a:lnTo>
                <a:lnTo>
                  <a:pt x="5777916" y="13380761"/>
                </a:lnTo>
                <a:lnTo>
                  <a:pt x="3868220" y="13380761"/>
                </a:lnTo>
                <a:lnTo>
                  <a:pt x="0" y="9512542"/>
                </a:lnTo>
                <a:lnTo>
                  <a:pt x="0" y="3769519"/>
                </a:lnTo>
                <a:lnTo>
                  <a:pt x="87580" y="3857099"/>
                </a:lnTo>
                <a:lnTo>
                  <a:pt x="91064" y="3853612"/>
                </a:lnTo>
                <a:lnTo>
                  <a:pt x="91060" y="3853612"/>
                </a:lnTo>
                <a:lnTo>
                  <a:pt x="1045908" y="2898764"/>
                </a:lnTo>
                <a:lnTo>
                  <a:pt x="1622384" y="3475238"/>
                </a:lnTo>
                <a:lnTo>
                  <a:pt x="1625868" y="3471756"/>
                </a:lnTo>
                <a:lnTo>
                  <a:pt x="2580716" y="2516907"/>
                </a:lnTo>
                <a:lnTo>
                  <a:pt x="2584200" y="2513425"/>
                </a:lnTo>
                <a:lnTo>
                  <a:pt x="1025624" y="954847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09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86C3B7DE-4946-4A42-A5F8-75AF78CFB7E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882618" y="1505137"/>
            <a:ext cx="9309203" cy="5352862"/>
          </a:xfrm>
          <a:custGeom>
            <a:avLst/>
            <a:gdLst>
              <a:gd name="connsiteX0" fmla="*/ 18620830 w 18620830"/>
              <a:gd name="connsiteY0" fmla="*/ 0 h 10706963"/>
              <a:gd name="connsiteX1" fmla="*/ 18620830 w 18620830"/>
              <a:gd name="connsiteY1" fmla="*/ 8427961 h 10706963"/>
              <a:gd name="connsiteX2" fmla="*/ 14657342 w 18620830"/>
              <a:gd name="connsiteY2" fmla="*/ 10706963 h 10706963"/>
              <a:gd name="connsiteX3" fmla="*/ 0 w 18620830"/>
              <a:gd name="connsiteY3" fmla="*/ 10706963 h 1070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20830" h="10706963">
                <a:moveTo>
                  <a:pt x="18620830" y="0"/>
                </a:moveTo>
                <a:lnTo>
                  <a:pt x="18620830" y="8427961"/>
                </a:lnTo>
                <a:lnTo>
                  <a:pt x="14657342" y="10706963"/>
                </a:lnTo>
                <a:lnTo>
                  <a:pt x="0" y="10706963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99AA26AE-05DD-084D-B9E9-A88BED696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id="{9DAF56A2-8656-584F-9ECA-DC6A93AC08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15257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" grpId="0"/>
          <p:bldP spid="21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" grpId="0"/>
          <p:bldP spid="21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38D31F3D-268D-E94B-B115-0D523DC5BB7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0" y="0"/>
            <a:ext cx="9309203" cy="5352862"/>
          </a:xfrm>
          <a:custGeom>
            <a:avLst/>
            <a:gdLst>
              <a:gd name="connsiteX0" fmla="*/ 3963488 w 18620830"/>
              <a:gd name="connsiteY0" fmla="*/ 0 h 10706963"/>
              <a:gd name="connsiteX1" fmla="*/ 18620830 w 18620830"/>
              <a:gd name="connsiteY1" fmla="*/ 0 h 10706963"/>
              <a:gd name="connsiteX2" fmla="*/ 0 w 18620830"/>
              <a:gd name="connsiteY2" fmla="*/ 10706963 h 10706963"/>
              <a:gd name="connsiteX3" fmla="*/ 0 w 18620830"/>
              <a:gd name="connsiteY3" fmla="*/ 2279002 h 1070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20830" h="10706963">
                <a:moveTo>
                  <a:pt x="3963488" y="0"/>
                </a:moveTo>
                <a:lnTo>
                  <a:pt x="18620830" y="0"/>
                </a:lnTo>
                <a:lnTo>
                  <a:pt x="0" y="10706963"/>
                </a:lnTo>
                <a:lnTo>
                  <a:pt x="0" y="2279002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7979AE19-4F34-E742-A2D7-F3BBB635AD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873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D914087-3FEA-F241-B008-9889F71519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873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4" name="Номер слайда 1">
            <a:extLst>
              <a:ext uri="{FF2B5EF4-FFF2-40B4-BE49-F238E27FC236}">
                <a16:creationId xmlns:a16="http://schemas.microsoft.com/office/drawing/2014/main" id="{FE1FC58B-9EFA-F948-A9D2-5D606E4B5DF7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40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99AA26AE-05DD-084D-B9E9-A88BED696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id="{9DAF56A2-8656-584F-9ECA-DC6A93AC08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7D419CE3-ABBF-0E4A-8BB0-2D49C8F7FE4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433283" y="1044987"/>
            <a:ext cx="7758718" cy="5813014"/>
          </a:xfrm>
          <a:custGeom>
            <a:avLst/>
            <a:gdLst>
              <a:gd name="connsiteX0" fmla="*/ 15519457 w 15519457"/>
              <a:gd name="connsiteY0" fmla="*/ 0 h 11627375"/>
              <a:gd name="connsiteX1" fmla="*/ 15519457 w 15519457"/>
              <a:gd name="connsiteY1" fmla="*/ 8474273 h 11627375"/>
              <a:gd name="connsiteX2" fmla="*/ 10058125 w 15519457"/>
              <a:gd name="connsiteY2" fmla="*/ 11627375 h 11627375"/>
              <a:gd name="connsiteX3" fmla="*/ 44441 w 15519457"/>
              <a:gd name="connsiteY3" fmla="*/ 11627375 h 11627375"/>
              <a:gd name="connsiteX4" fmla="*/ 27796 w 15519457"/>
              <a:gd name="connsiteY4" fmla="*/ 11531973 h 11627375"/>
              <a:gd name="connsiteX5" fmla="*/ 1835349 w 15519457"/>
              <a:gd name="connsiteY5" fmla="*/ 7900525 h 11627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519457" h="11627375">
                <a:moveTo>
                  <a:pt x="15519457" y="0"/>
                </a:moveTo>
                <a:lnTo>
                  <a:pt x="15519457" y="8474273"/>
                </a:lnTo>
                <a:lnTo>
                  <a:pt x="10058125" y="11627375"/>
                </a:lnTo>
                <a:lnTo>
                  <a:pt x="44441" y="11627375"/>
                </a:lnTo>
                <a:lnTo>
                  <a:pt x="27796" y="11531973"/>
                </a:lnTo>
                <a:cubicBezTo>
                  <a:pt x="-148288" y="10112865"/>
                  <a:pt x="519052" y="8660493"/>
                  <a:pt x="1835349" y="7900525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1076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" grpId="0"/>
          <p:bldP spid="21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" grpId="0"/>
          <p:bldP spid="21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329754BE-ACA2-7143-A9BB-E7735212A3C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7758718" cy="3927123"/>
          </a:xfrm>
          <a:custGeom>
            <a:avLst/>
            <a:gdLst>
              <a:gd name="connsiteX0" fmla="*/ 5461332 w 15519457"/>
              <a:gd name="connsiteY0" fmla="*/ 0 h 7855155"/>
              <a:gd name="connsiteX1" fmla="*/ 15475016 w 15519457"/>
              <a:gd name="connsiteY1" fmla="*/ 0 h 7855155"/>
              <a:gd name="connsiteX2" fmla="*/ 15491661 w 15519457"/>
              <a:gd name="connsiteY2" fmla="*/ 95402 h 7855155"/>
              <a:gd name="connsiteX3" fmla="*/ 13684108 w 15519457"/>
              <a:gd name="connsiteY3" fmla="*/ 3726850 h 7855155"/>
              <a:gd name="connsiteX4" fmla="*/ 10282506 w 15519457"/>
              <a:gd name="connsiteY4" fmla="*/ 5690767 h 7855155"/>
              <a:gd name="connsiteX5" fmla="*/ 10263297 w 15519457"/>
              <a:gd name="connsiteY5" fmla="*/ 5580673 h 7855155"/>
              <a:gd name="connsiteX6" fmla="*/ 9995820 w 15519457"/>
              <a:gd name="connsiteY6" fmla="*/ 4898249 h 7855155"/>
              <a:gd name="connsiteX7" fmla="*/ 8054797 w 15519457"/>
              <a:gd name="connsiteY7" fmla="*/ 3685332 h 7855155"/>
              <a:gd name="connsiteX8" fmla="*/ 6666611 w 15519457"/>
              <a:gd name="connsiteY8" fmla="*/ 4006184 h 7855155"/>
              <a:gd name="connsiteX9" fmla="*/ 0 w 15519457"/>
              <a:gd name="connsiteY9" fmla="*/ 7855155 h 7855155"/>
              <a:gd name="connsiteX10" fmla="*/ 0 w 15519457"/>
              <a:gd name="connsiteY10" fmla="*/ 3153102 h 7855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519457" h="7855155">
                <a:moveTo>
                  <a:pt x="5461332" y="0"/>
                </a:moveTo>
                <a:lnTo>
                  <a:pt x="15475016" y="0"/>
                </a:lnTo>
                <a:lnTo>
                  <a:pt x="15491661" y="95402"/>
                </a:lnTo>
                <a:cubicBezTo>
                  <a:pt x="15667745" y="1514510"/>
                  <a:pt x="15000405" y="2966882"/>
                  <a:pt x="13684108" y="3726850"/>
                </a:cubicBezTo>
                <a:lnTo>
                  <a:pt x="10282506" y="5690767"/>
                </a:lnTo>
                <a:lnTo>
                  <a:pt x="10263297" y="5580673"/>
                </a:lnTo>
                <a:cubicBezTo>
                  <a:pt x="10210495" y="5346797"/>
                  <a:pt x="10122008" y="5116812"/>
                  <a:pt x="9995820" y="4898249"/>
                </a:cubicBezTo>
                <a:cubicBezTo>
                  <a:pt x="9575198" y="4169705"/>
                  <a:pt x="8835220" y="3740489"/>
                  <a:pt x="8054797" y="3685332"/>
                </a:cubicBezTo>
                <a:cubicBezTo>
                  <a:pt x="7586543" y="3652238"/>
                  <a:pt x="7103731" y="3753807"/>
                  <a:pt x="6666611" y="4006184"/>
                </a:cubicBezTo>
                <a:lnTo>
                  <a:pt x="0" y="7855155"/>
                </a:lnTo>
                <a:lnTo>
                  <a:pt x="0" y="3153102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7979AE19-4F34-E742-A2D7-F3BBB635AD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873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D914087-3FEA-F241-B008-9889F71519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873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4" name="Номер слайда 1">
            <a:extLst>
              <a:ext uri="{FF2B5EF4-FFF2-40B4-BE49-F238E27FC236}">
                <a16:creationId xmlns:a16="http://schemas.microsoft.com/office/drawing/2014/main" id="{FE1FC58B-9EFA-F948-A9D2-5D606E4B5DF7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148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99AA26AE-05DD-084D-B9E9-A88BED696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id="{9DAF56A2-8656-584F-9ECA-DC6A93AC08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A4B4C631-3A5B-3C4A-81A2-AA1AFDB7139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527991" y="9448"/>
            <a:ext cx="5664009" cy="5870227"/>
          </a:xfrm>
          <a:custGeom>
            <a:avLst/>
            <a:gdLst>
              <a:gd name="connsiteX0" fmla="*/ 10427802 w 11329494"/>
              <a:gd name="connsiteY0" fmla="*/ 0 h 11741814"/>
              <a:gd name="connsiteX1" fmla="*/ 11329494 w 11329494"/>
              <a:gd name="connsiteY1" fmla="*/ 0 h 11741814"/>
              <a:gd name="connsiteX2" fmla="*/ 11329494 w 11329494"/>
              <a:gd name="connsiteY2" fmla="*/ 7855628 h 11741814"/>
              <a:gd name="connsiteX3" fmla="*/ 5441120 w 11329494"/>
              <a:gd name="connsiteY3" fmla="*/ 11255282 h 11741814"/>
              <a:gd name="connsiteX4" fmla="*/ 486533 w 11329494"/>
              <a:gd name="connsiteY4" fmla="*/ 9927704 h 11741814"/>
              <a:gd name="connsiteX5" fmla="*/ 486534 w 11329494"/>
              <a:gd name="connsiteY5" fmla="*/ 9927705 h 11741814"/>
              <a:gd name="connsiteX6" fmla="*/ 1814112 w 11329494"/>
              <a:gd name="connsiteY6" fmla="*/ 4973117 h 11741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29494" h="11741814">
                <a:moveTo>
                  <a:pt x="10427802" y="0"/>
                </a:moveTo>
                <a:lnTo>
                  <a:pt x="11329494" y="0"/>
                </a:lnTo>
                <a:lnTo>
                  <a:pt x="11329494" y="7855628"/>
                </a:lnTo>
                <a:lnTo>
                  <a:pt x="5441120" y="11255282"/>
                </a:lnTo>
                <a:cubicBezTo>
                  <a:pt x="3706351" y="12256852"/>
                  <a:pt x="1488104" y="11662476"/>
                  <a:pt x="486533" y="9927704"/>
                </a:cubicBezTo>
                <a:lnTo>
                  <a:pt x="486534" y="9927705"/>
                </a:lnTo>
                <a:cubicBezTo>
                  <a:pt x="-515038" y="8192933"/>
                  <a:pt x="79340" y="5974688"/>
                  <a:pt x="1814112" y="4973117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7307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" grpId="0"/>
          <p:bldP spid="21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" grpId="0"/>
          <p:bldP spid="21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7979AE19-4F34-E742-A2D7-F3BBB635AD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873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D914087-3FEA-F241-B008-9889F71519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873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4" name="Номер слайда 1">
            <a:extLst>
              <a:ext uri="{FF2B5EF4-FFF2-40B4-BE49-F238E27FC236}">
                <a16:creationId xmlns:a16="http://schemas.microsoft.com/office/drawing/2014/main" id="{FE1FC58B-9EFA-F948-A9D2-5D606E4B5DF7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CCD0BBBE-5176-4940-8068-949975BB3A9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" y="1917007"/>
            <a:ext cx="6001135" cy="4940993"/>
          </a:xfrm>
          <a:custGeom>
            <a:avLst/>
            <a:gdLst>
              <a:gd name="connsiteX0" fmla="*/ 8454026 w 12003833"/>
              <a:gd name="connsiteY0" fmla="*/ 910 h 9883130"/>
              <a:gd name="connsiteX1" fmla="*/ 11517302 w 12003833"/>
              <a:gd name="connsiteY1" fmla="*/ 1814109 h 9883130"/>
              <a:gd name="connsiteX2" fmla="*/ 11517300 w 12003833"/>
              <a:gd name="connsiteY2" fmla="*/ 1814110 h 9883130"/>
              <a:gd name="connsiteX3" fmla="*/ 10189722 w 12003833"/>
              <a:gd name="connsiteY3" fmla="*/ 6768697 h 9883130"/>
              <a:gd name="connsiteX4" fmla="*/ 4795366 w 12003833"/>
              <a:gd name="connsiteY4" fmla="*/ 9883130 h 9883130"/>
              <a:gd name="connsiteX5" fmla="*/ 0 w 12003833"/>
              <a:gd name="connsiteY5" fmla="*/ 9883130 h 9883130"/>
              <a:gd name="connsiteX6" fmla="*/ 0 w 12003833"/>
              <a:gd name="connsiteY6" fmla="*/ 4275516 h 9883130"/>
              <a:gd name="connsiteX7" fmla="*/ 6562712 w 12003833"/>
              <a:gd name="connsiteY7" fmla="*/ 486532 h 9883130"/>
              <a:gd name="connsiteX8" fmla="*/ 8454026 w 12003833"/>
              <a:gd name="connsiteY8" fmla="*/ 910 h 98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003833" h="9883130">
                <a:moveTo>
                  <a:pt x="8454026" y="910"/>
                </a:moveTo>
                <a:cubicBezTo>
                  <a:pt x="9678762" y="28349"/>
                  <a:pt x="10860022" y="675666"/>
                  <a:pt x="11517302" y="1814109"/>
                </a:cubicBezTo>
                <a:lnTo>
                  <a:pt x="11517300" y="1814110"/>
                </a:lnTo>
                <a:cubicBezTo>
                  <a:pt x="12518872" y="3548883"/>
                  <a:pt x="11924494" y="5767126"/>
                  <a:pt x="10189722" y="6768697"/>
                </a:cubicBezTo>
                <a:lnTo>
                  <a:pt x="4795366" y="9883130"/>
                </a:lnTo>
                <a:lnTo>
                  <a:pt x="0" y="9883130"/>
                </a:lnTo>
                <a:lnTo>
                  <a:pt x="0" y="4275516"/>
                </a:lnTo>
                <a:lnTo>
                  <a:pt x="6562712" y="486532"/>
                </a:lnTo>
                <a:cubicBezTo>
                  <a:pt x="7159040" y="142242"/>
                  <a:pt x="7812498" y="-13465"/>
                  <a:pt x="8454026" y="91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617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99AA26AE-05DD-084D-B9E9-A88BED696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id="{9DAF56A2-8656-584F-9ECA-DC6A93AC08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2669C9EF-466F-874D-B704-259021C309D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916004" y="9448"/>
            <a:ext cx="6275997" cy="5060500"/>
          </a:xfrm>
          <a:custGeom>
            <a:avLst/>
            <a:gdLst>
              <a:gd name="connsiteX0" fmla="*/ 6631535 w 12553629"/>
              <a:gd name="connsiteY0" fmla="*/ 0 h 10122171"/>
              <a:gd name="connsiteX1" fmla="*/ 12553629 w 12553629"/>
              <a:gd name="connsiteY1" fmla="*/ 0 h 10122171"/>
              <a:gd name="connsiteX2" fmla="*/ 12553629 w 12553629"/>
              <a:gd name="connsiteY2" fmla="*/ 5794720 h 10122171"/>
              <a:gd name="connsiteX3" fmla="*/ 5985231 w 12553629"/>
              <a:gd name="connsiteY3" fmla="*/ 9586986 h 10122171"/>
              <a:gd name="connsiteX4" fmla="*/ 535185 w 12553629"/>
              <a:gd name="connsiteY4" fmla="*/ 8126650 h 10122171"/>
              <a:gd name="connsiteX5" fmla="*/ 535186 w 12553629"/>
              <a:gd name="connsiteY5" fmla="*/ 8126651 h 10122171"/>
              <a:gd name="connsiteX6" fmla="*/ 1995521 w 12553629"/>
              <a:gd name="connsiteY6" fmla="*/ 2676604 h 10122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553629" h="10122171">
                <a:moveTo>
                  <a:pt x="6631535" y="0"/>
                </a:moveTo>
                <a:lnTo>
                  <a:pt x="12553629" y="0"/>
                </a:lnTo>
                <a:lnTo>
                  <a:pt x="12553629" y="5794720"/>
                </a:lnTo>
                <a:lnTo>
                  <a:pt x="5985231" y="9586986"/>
                </a:lnTo>
                <a:cubicBezTo>
                  <a:pt x="4076984" y="10688712"/>
                  <a:pt x="1636914" y="10034900"/>
                  <a:pt x="535185" y="8126650"/>
                </a:cubicBezTo>
                <a:lnTo>
                  <a:pt x="535186" y="8126651"/>
                </a:lnTo>
                <a:cubicBezTo>
                  <a:pt x="-566542" y="6218402"/>
                  <a:pt x="87273" y="3778333"/>
                  <a:pt x="1995521" y="2676604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067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" grpId="0"/>
          <p:bldP spid="21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" grpId="0"/>
          <p:bldP spid="21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7979AE19-4F34-E742-A2D7-F3BBB635AD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873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D914087-3FEA-F241-B008-9889F71519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873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4" name="Номер слайда 1">
            <a:extLst>
              <a:ext uri="{FF2B5EF4-FFF2-40B4-BE49-F238E27FC236}">
                <a16:creationId xmlns:a16="http://schemas.microsoft.com/office/drawing/2014/main" id="{FE1FC58B-9EFA-F948-A9D2-5D606E4B5DF7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20" name="Рисунок 19">
            <a:extLst>
              <a:ext uri="{FF2B5EF4-FFF2-40B4-BE49-F238E27FC236}">
                <a16:creationId xmlns:a16="http://schemas.microsoft.com/office/drawing/2014/main" id="{85DD1F63-B697-164C-89D5-B273B1F1EADB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0" y="1671444"/>
            <a:ext cx="5268520" cy="5186556"/>
          </a:xfrm>
          <a:custGeom>
            <a:avLst/>
            <a:gdLst>
              <a:gd name="connsiteX0" fmla="*/ 6633624 w 10538412"/>
              <a:gd name="connsiteY0" fmla="*/ 1001 h 10374312"/>
              <a:gd name="connsiteX1" fmla="*/ 10003228 w 10538412"/>
              <a:gd name="connsiteY1" fmla="*/ 1995520 h 10374312"/>
              <a:gd name="connsiteX2" fmla="*/ 10003226 w 10538412"/>
              <a:gd name="connsiteY2" fmla="*/ 1995521 h 10374312"/>
              <a:gd name="connsiteX3" fmla="*/ 8542890 w 10538412"/>
              <a:gd name="connsiteY3" fmla="*/ 7445568 h 10374312"/>
              <a:gd name="connsiteX4" fmla="*/ 3470157 w 10538412"/>
              <a:gd name="connsiteY4" fmla="*/ 10374312 h 10374312"/>
              <a:gd name="connsiteX5" fmla="*/ 0 w 10538412"/>
              <a:gd name="connsiteY5" fmla="*/ 10374312 h 10374312"/>
              <a:gd name="connsiteX6" fmla="*/ 0 w 10538412"/>
              <a:gd name="connsiteY6" fmla="*/ 3163966 h 10374312"/>
              <a:gd name="connsiteX7" fmla="*/ 4553178 w 10538412"/>
              <a:gd name="connsiteY7" fmla="*/ 535187 h 10374312"/>
              <a:gd name="connsiteX8" fmla="*/ 6633624 w 10538412"/>
              <a:gd name="connsiteY8" fmla="*/ 1001 h 1037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38412" h="10374312">
                <a:moveTo>
                  <a:pt x="6633624" y="1001"/>
                </a:moveTo>
                <a:cubicBezTo>
                  <a:pt x="7980834" y="31184"/>
                  <a:pt x="9280220" y="743233"/>
                  <a:pt x="10003228" y="1995520"/>
                </a:cubicBezTo>
                <a:lnTo>
                  <a:pt x="10003226" y="1995521"/>
                </a:lnTo>
                <a:cubicBezTo>
                  <a:pt x="11104954" y="3903771"/>
                  <a:pt x="10451140" y="6343840"/>
                  <a:pt x="8542890" y="7445568"/>
                </a:cubicBezTo>
                <a:lnTo>
                  <a:pt x="3470157" y="10374312"/>
                </a:lnTo>
                <a:lnTo>
                  <a:pt x="0" y="10374312"/>
                </a:lnTo>
                <a:lnTo>
                  <a:pt x="0" y="3163966"/>
                </a:lnTo>
                <a:lnTo>
                  <a:pt x="4553178" y="535187"/>
                </a:lnTo>
                <a:cubicBezTo>
                  <a:pt x="5209141" y="156468"/>
                  <a:pt x="5927944" y="-14810"/>
                  <a:pt x="6633624" y="1001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8612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with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836F14-7B8C-7B0C-4E94-DB5E622AA2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DE51F2-6F9F-19C3-2A17-957F758B22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028BB3-D187-2C5E-580C-CEAA827E7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5AD0E7-C6CA-1986-3A20-E99D79034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CDA37A-34E2-1389-C837-494412505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264546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5A59C2E1-5179-C046-8017-9C90C480693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74229" y="1"/>
            <a:ext cx="11917771" cy="6858000"/>
          </a:xfrm>
          <a:custGeom>
            <a:avLst/>
            <a:gdLst>
              <a:gd name="connsiteX0" fmla="*/ 7396056 w 23838646"/>
              <a:gd name="connsiteY0" fmla="*/ 9880743 h 13717587"/>
              <a:gd name="connsiteX1" fmla="*/ 9585017 w 23838646"/>
              <a:gd name="connsiteY1" fmla="*/ 11176423 h 13717587"/>
              <a:gd name="connsiteX2" fmla="*/ 9669989 w 23838646"/>
              <a:gd name="connsiteY2" fmla="*/ 13608996 h 13717587"/>
              <a:gd name="connsiteX3" fmla="*/ 9610486 w 23838646"/>
              <a:gd name="connsiteY3" fmla="*/ 13717587 h 13717587"/>
              <a:gd name="connsiteX4" fmla="*/ 0 w 23838646"/>
              <a:gd name="connsiteY4" fmla="*/ 13717587 h 13717587"/>
              <a:gd name="connsiteX5" fmla="*/ 6044560 w 23838646"/>
              <a:gd name="connsiteY5" fmla="*/ 10227762 h 13717587"/>
              <a:gd name="connsiteX6" fmla="*/ 7396056 w 23838646"/>
              <a:gd name="connsiteY6" fmla="*/ 9880743 h 13717587"/>
              <a:gd name="connsiteX7" fmla="*/ 20680748 w 23838646"/>
              <a:gd name="connsiteY7" fmla="*/ 8894027 h 13717587"/>
              <a:gd name="connsiteX8" fmla="*/ 22869708 w 23838646"/>
              <a:gd name="connsiteY8" fmla="*/ 10189706 h 13717587"/>
              <a:gd name="connsiteX9" fmla="*/ 22143846 w 23838646"/>
              <a:gd name="connsiteY9" fmla="*/ 13586078 h 13717587"/>
              <a:gd name="connsiteX10" fmla="*/ 21940494 w 23838646"/>
              <a:gd name="connsiteY10" fmla="*/ 13717587 h 13717587"/>
              <a:gd name="connsiteX11" fmla="*/ 11575650 w 23838646"/>
              <a:gd name="connsiteY11" fmla="*/ 13717587 h 13717587"/>
              <a:gd name="connsiteX12" fmla="*/ 11914817 w 23838646"/>
              <a:gd name="connsiteY12" fmla="*/ 13521769 h 13717587"/>
              <a:gd name="connsiteX13" fmla="*/ 12241296 w 23838646"/>
              <a:gd name="connsiteY13" fmla="*/ 13362313 h 13717587"/>
              <a:gd name="connsiteX14" fmla="*/ 12244153 w 23838646"/>
              <a:gd name="connsiteY14" fmla="*/ 13361269 h 13717587"/>
              <a:gd name="connsiteX15" fmla="*/ 12321757 w 23838646"/>
              <a:gd name="connsiteY15" fmla="*/ 13302275 h 13717587"/>
              <a:gd name="connsiteX16" fmla="*/ 12544561 w 23838646"/>
              <a:gd name="connsiteY16" fmla="*/ 13158187 h 13717587"/>
              <a:gd name="connsiteX17" fmla="*/ 19329252 w 23838646"/>
              <a:gd name="connsiteY17" fmla="*/ 9241046 h 13717587"/>
              <a:gd name="connsiteX18" fmla="*/ 20680748 w 23838646"/>
              <a:gd name="connsiteY18" fmla="*/ 8894027 h 13717587"/>
              <a:gd name="connsiteX19" fmla="*/ 23838646 w 23838646"/>
              <a:gd name="connsiteY19" fmla="*/ 6678438 h 13717587"/>
              <a:gd name="connsiteX20" fmla="*/ 23838646 w 23838646"/>
              <a:gd name="connsiteY20" fmla="*/ 10697734 h 13717587"/>
              <a:gd name="connsiteX21" fmla="*/ 23713066 w 23838646"/>
              <a:gd name="connsiteY21" fmla="*/ 10592744 h 13717587"/>
              <a:gd name="connsiteX22" fmla="*/ 23226796 w 23838646"/>
              <a:gd name="connsiteY22" fmla="*/ 9983542 h 13717587"/>
              <a:gd name="connsiteX23" fmla="*/ 23749430 w 23838646"/>
              <a:gd name="connsiteY23" fmla="*/ 6749856 h 13717587"/>
              <a:gd name="connsiteX24" fmla="*/ 23759560 w 23838646"/>
              <a:gd name="connsiteY24" fmla="*/ 0 h 13717587"/>
              <a:gd name="connsiteX25" fmla="*/ 23838646 w 23838646"/>
              <a:gd name="connsiteY25" fmla="*/ 0 h 13717587"/>
              <a:gd name="connsiteX26" fmla="*/ 23838646 w 23838646"/>
              <a:gd name="connsiteY26" fmla="*/ 5939832 h 13717587"/>
              <a:gd name="connsiteX27" fmla="*/ 20896992 w 23838646"/>
              <a:gd name="connsiteY27" fmla="*/ 7638197 h 13717587"/>
              <a:gd name="connsiteX28" fmla="*/ 20660808 w 23838646"/>
              <a:gd name="connsiteY28" fmla="*/ 7759107 h 13717587"/>
              <a:gd name="connsiteX29" fmla="*/ 20569164 w 23838646"/>
              <a:gd name="connsiteY29" fmla="*/ 7797551 h 13717587"/>
              <a:gd name="connsiteX30" fmla="*/ 20490052 w 23838646"/>
              <a:gd name="connsiteY30" fmla="*/ 7857691 h 13717587"/>
              <a:gd name="connsiteX31" fmla="*/ 20267252 w 23838646"/>
              <a:gd name="connsiteY31" fmla="*/ 8001779 h 13717587"/>
              <a:gd name="connsiteX32" fmla="*/ 13482561 w 23838646"/>
              <a:gd name="connsiteY32" fmla="*/ 11918919 h 13717587"/>
              <a:gd name="connsiteX33" fmla="*/ 9942104 w 23838646"/>
              <a:gd name="connsiteY33" fmla="*/ 10970257 h 13717587"/>
              <a:gd name="connsiteX34" fmla="*/ 10890769 w 23838646"/>
              <a:gd name="connsiteY34" fmla="*/ 7429803 h 13717587"/>
              <a:gd name="connsiteX35" fmla="*/ 17675456 w 23838646"/>
              <a:gd name="connsiteY35" fmla="*/ 3512659 h 13717587"/>
              <a:gd name="connsiteX36" fmla="*/ 18001932 w 23838646"/>
              <a:gd name="connsiteY36" fmla="*/ 3353202 h 13717587"/>
              <a:gd name="connsiteX37" fmla="*/ 18004788 w 23838646"/>
              <a:gd name="connsiteY37" fmla="*/ 3352160 h 13717587"/>
              <a:gd name="connsiteX38" fmla="*/ 18082396 w 23838646"/>
              <a:gd name="connsiteY38" fmla="*/ 3293164 h 13717587"/>
              <a:gd name="connsiteX39" fmla="*/ 18305196 w 23838646"/>
              <a:gd name="connsiteY39" fmla="*/ 3149076 h 1371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838646" h="13717587">
                <a:moveTo>
                  <a:pt x="7396056" y="9880743"/>
                </a:moveTo>
                <a:cubicBezTo>
                  <a:pt x="8271230" y="9900352"/>
                  <a:pt x="9115336" y="10362914"/>
                  <a:pt x="9585017" y="11176423"/>
                </a:cubicBezTo>
                <a:cubicBezTo>
                  <a:pt x="10032331" y="11951196"/>
                  <a:pt x="10034163" y="12860921"/>
                  <a:pt x="9669989" y="13608996"/>
                </a:cubicBezTo>
                <a:lnTo>
                  <a:pt x="9610486" y="13717587"/>
                </a:lnTo>
                <a:lnTo>
                  <a:pt x="0" y="13717587"/>
                </a:lnTo>
                <a:lnTo>
                  <a:pt x="6044560" y="10227762"/>
                </a:lnTo>
                <a:cubicBezTo>
                  <a:pt x="6470684" y="9981738"/>
                  <a:pt x="6937633" y="9870474"/>
                  <a:pt x="7396056" y="9880743"/>
                </a:cubicBezTo>
                <a:close/>
                <a:moveTo>
                  <a:pt x="20680748" y="8894027"/>
                </a:moveTo>
                <a:cubicBezTo>
                  <a:pt x="21555924" y="8913637"/>
                  <a:pt x="22400028" y="9376198"/>
                  <a:pt x="22869708" y="10189706"/>
                </a:cubicBezTo>
                <a:cubicBezTo>
                  <a:pt x="23540680" y="11351864"/>
                  <a:pt x="23209316" y="12817667"/>
                  <a:pt x="22143846" y="13586078"/>
                </a:cubicBezTo>
                <a:lnTo>
                  <a:pt x="21940494" y="13717587"/>
                </a:lnTo>
                <a:lnTo>
                  <a:pt x="11575650" y="13717587"/>
                </a:lnTo>
                <a:lnTo>
                  <a:pt x="11914817" y="13521769"/>
                </a:lnTo>
                <a:cubicBezTo>
                  <a:pt x="12021349" y="13460265"/>
                  <a:pt x="12130432" y="13407179"/>
                  <a:pt x="12241296" y="13362313"/>
                </a:cubicBezTo>
                <a:lnTo>
                  <a:pt x="12244153" y="13361269"/>
                </a:lnTo>
                <a:lnTo>
                  <a:pt x="12321757" y="13302275"/>
                </a:lnTo>
                <a:cubicBezTo>
                  <a:pt x="12392789" y="13251047"/>
                  <a:pt x="12467081" y="13202919"/>
                  <a:pt x="12544561" y="13158187"/>
                </a:cubicBezTo>
                <a:lnTo>
                  <a:pt x="19329252" y="9241046"/>
                </a:lnTo>
                <a:cubicBezTo>
                  <a:pt x="19755376" y="8995022"/>
                  <a:pt x="20222324" y="8883758"/>
                  <a:pt x="20680748" y="8894027"/>
                </a:cubicBezTo>
                <a:close/>
                <a:moveTo>
                  <a:pt x="23838646" y="6678438"/>
                </a:moveTo>
                <a:lnTo>
                  <a:pt x="23838646" y="10697734"/>
                </a:lnTo>
                <a:lnTo>
                  <a:pt x="23713066" y="10592744"/>
                </a:lnTo>
                <a:cubicBezTo>
                  <a:pt x="23525750" y="10419756"/>
                  <a:pt x="23360990" y="10215973"/>
                  <a:pt x="23226796" y="9983542"/>
                </a:cubicBezTo>
                <a:cubicBezTo>
                  <a:pt x="22600552" y="8898861"/>
                  <a:pt x="22847456" y="7549671"/>
                  <a:pt x="23749430" y="6749856"/>
                </a:cubicBezTo>
                <a:close/>
                <a:moveTo>
                  <a:pt x="23759560" y="0"/>
                </a:moveTo>
                <a:lnTo>
                  <a:pt x="23838646" y="0"/>
                </a:lnTo>
                <a:lnTo>
                  <a:pt x="23838646" y="5939832"/>
                </a:lnTo>
                <a:lnTo>
                  <a:pt x="20896992" y="7638197"/>
                </a:lnTo>
                <a:cubicBezTo>
                  <a:pt x="20819516" y="7682929"/>
                  <a:pt x="20740688" y="7723204"/>
                  <a:pt x="20660808" y="7759107"/>
                </a:cubicBezTo>
                <a:lnTo>
                  <a:pt x="20569164" y="7797551"/>
                </a:lnTo>
                <a:lnTo>
                  <a:pt x="20490052" y="7857691"/>
                </a:lnTo>
                <a:cubicBezTo>
                  <a:pt x="20419024" y="7908920"/>
                  <a:pt x="20344728" y="7957047"/>
                  <a:pt x="20267252" y="8001779"/>
                </a:cubicBezTo>
                <a:lnTo>
                  <a:pt x="13482561" y="11918919"/>
                </a:lnTo>
                <a:cubicBezTo>
                  <a:pt x="12242924" y="12634625"/>
                  <a:pt x="10657809" y="12209893"/>
                  <a:pt x="9942104" y="10970257"/>
                </a:cubicBezTo>
                <a:cubicBezTo>
                  <a:pt x="9226401" y="9730621"/>
                  <a:pt x="9651131" y="8145507"/>
                  <a:pt x="10890769" y="7429803"/>
                </a:cubicBezTo>
                <a:lnTo>
                  <a:pt x="17675456" y="3512659"/>
                </a:lnTo>
                <a:cubicBezTo>
                  <a:pt x="17781988" y="3451153"/>
                  <a:pt x="17891068" y="3398069"/>
                  <a:pt x="18001932" y="3353202"/>
                </a:cubicBezTo>
                <a:lnTo>
                  <a:pt x="18004788" y="3352160"/>
                </a:lnTo>
                <a:lnTo>
                  <a:pt x="18082396" y="3293164"/>
                </a:lnTo>
                <a:cubicBezTo>
                  <a:pt x="18153428" y="3241936"/>
                  <a:pt x="18227720" y="3193809"/>
                  <a:pt x="18305196" y="3149076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3154CB3-47E6-F247-B1A7-D0046DE98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F2334D50-1EF5-DC46-8342-6E523519C2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70190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  <p:bldP spid="6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Main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412C3184-B029-6746-A8C5-C8AE509186BE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0" y="0"/>
            <a:ext cx="11917771" cy="6858000"/>
          </a:xfrm>
          <a:custGeom>
            <a:avLst/>
            <a:gdLst>
              <a:gd name="connsiteX0" fmla="*/ 0 w 23838645"/>
              <a:gd name="connsiteY0" fmla="*/ 3019853 h 13717587"/>
              <a:gd name="connsiteX1" fmla="*/ 125580 w 23838645"/>
              <a:gd name="connsiteY1" fmla="*/ 3124843 h 13717587"/>
              <a:gd name="connsiteX2" fmla="*/ 611850 w 23838645"/>
              <a:gd name="connsiteY2" fmla="*/ 3734045 h 13717587"/>
              <a:gd name="connsiteX3" fmla="*/ 89216 w 23838645"/>
              <a:gd name="connsiteY3" fmla="*/ 6967731 h 13717587"/>
              <a:gd name="connsiteX4" fmla="*/ 0 w 23838645"/>
              <a:gd name="connsiteY4" fmla="*/ 7039149 h 13717587"/>
              <a:gd name="connsiteX5" fmla="*/ 11582384 w 23838645"/>
              <a:gd name="connsiteY5" fmla="*/ 1451872 h 13717587"/>
              <a:gd name="connsiteX6" fmla="*/ 13896542 w 23838645"/>
              <a:gd name="connsiteY6" fmla="*/ 2747330 h 13717587"/>
              <a:gd name="connsiteX7" fmla="*/ 12947877 w 23838645"/>
              <a:gd name="connsiteY7" fmla="*/ 6287784 h 13717587"/>
              <a:gd name="connsiteX8" fmla="*/ 6163191 w 23838645"/>
              <a:gd name="connsiteY8" fmla="*/ 10204928 h 13717587"/>
              <a:gd name="connsiteX9" fmla="*/ 5836715 w 23838645"/>
              <a:gd name="connsiteY9" fmla="*/ 10364385 h 13717587"/>
              <a:gd name="connsiteX10" fmla="*/ 5833859 w 23838645"/>
              <a:gd name="connsiteY10" fmla="*/ 10365427 h 13717587"/>
              <a:gd name="connsiteX11" fmla="*/ 5756251 w 23838645"/>
              <a:gd name="connsiteY11" fmla="*/ 10424423 h 13717587"/>
              <a:gd name="connsiteX12" fmla="*/ 5533451 w 23838645"/>
              <a:gd name="connsiteY12" fmla="*/ 10568511 h 13717587"/>
              <a:gd name="connsiteX13" fmla="*/ 79086 w 23838645"/>
              <a:gd name="connsiteY13" fmla="*/ 13717587 h 13717587"/>
              <a:gd name="connsiteX14" fmla="*/ 0 w 23838645"/>
              <a:gd name="connsiteY14" fmla="*/ 13717587 h 13717587"/>
              <a:gd name="connsiteX15" fmla="*/ 0 w 23838645"/>
              <a:gd name="connsiteY15" fmla="*/ 7777755 h 13717587"/>
              <a:gd name="connsiteX16" fmla="*/ 2941655 w 23838645"/>
              <a:gd name="connsiteY16" fmla="*/ 6079390 h 13717587"/>
              <a:gd name="connsiteX17" fmla="*/ 3177838 w 23838645"/>
              <a:gd name="connsiteY17" fmla="*/ 5958480 h 13717587"/>
              <a:gd name="connsiteX18" fmla="*/ 3269483 w 23838645"/>
              <a:gd name="connsiteY18" fmla="*/ 5920036 h 13717587"/>
              <a:gd name="connsiteX19" fmla="*/ 3348594 w 23838645"/>
              <a:gd name="connsiteY19" fmla="*/ 5859896 h 13717587"/>
              <a:gd name="connsiteX20" fmla="*/ 3571394 w 23838645"/>
              <a:gd name="connsiteY20" fmla="*/ 5715808 h 13717587"/>
              <a:gd name="connsiteX21" fmla="*/ 10356085 w 23838645"/>
              <a:gd name="connsiteY21" fmla="*/ 1798668 h 13717587"/>
              <a:gd name="connsiteX22" fmla="*/ 11582384 w 23838645"/>
              <a:gd name="connsiteY22" fmla="*/ 1451872 h 13717587"/>
              <a:gd name="connsiteX23" fmla="*/ 14228160 w 23838645"/>
              <a:gd name="connsiteY23" fmla="*/ 0 h 13717587"/>
              <a:gd name="connsiteX24" fmla="*/ 23838645 w 23838645"/>
              <a:gd name="connsiteY24" fmla="*/ 0 h 13717587"/>
              <a:gd name="connsiteX25" fmla="*/ 17794085 w 23838645"/>
              <a:gd name="connsiteY25" fmla="*/ 3489825 h 13717587"/>
              <a:gd name="connsiteX26" fmla="*/ 16442590 w 23838645"/>
              <a:gd name="connsiteY26" fmla="*/ 3836844 h 13717587"/>
              <a:gd name="connsiteX27" fmla="*/ 14253629 w 23838645"/>
              <a:gd name="connsiteY27" fmla="*/ 2541164 h 13717587"/>
              <a:gd name="connsiteX28" fmla="*/ 14168657 w 23838645"/>
              <a:gd name="connsiteY28" fmla="*/ 108591 h 13717587"/>
              <a:gd name="connsiteX29" fmla="*/ 1898152 w 23838645"/>
              <a:gd name="connsiteY29" fmla="*/ 0 h 13717587"/>
              <a:gd name="connsiteX30" fmla="*/ 12262996 w 23838645"/>
              <a:gd name="connsiteY30" fmla="*/ 0 h 13717587"/>
              <a:gd name="connsiteX31" fmla="*/ 11923829 w 23838645"/>
              <a:gd name="connsiteY31" fmla="*/ 195818 h 13717587"/>
              <a:gd name="connsiteX32" fmla="*/ 11597350 w 23838645"/>
              <a:gd name="connsiteY32" fmla="*/ 355274 h 13717587"/>
              <a:gd name="connsiteX33" fmla="*/ 11594493 w 23838645"/>
              <a:gd name="connsiteY33" fmla="*/ 356318 h 13717587"/>
              <a:gd name="connsiteX34" fmla="*/ 11516889 w 23838645"/>
              <a:gd name="connsiteY34" fmla="*/ 415312 h 13717587"/>
              <a:gd name="connsiteX35" fmla="*/ 11294085 w 23838645"/>
              <a:gd name="connsiteY35" fmla="*/ 559400 h 13717587"/>
              <a:gd name="connsiteX36" fmla="*/ 4509394 w 23838645"/>
              <a:gd name="connsiteY36" fmla="*/ 4476541 h 13717587"/>
              <a:gd name="connsiteX37" fmla="*/ 3157899 w 23838645"/>
              <a:gd name="connsiteY37" fmla="*/ 4823560 h 13717587"/>
              <a:gd name="connsiteX38" fmla="*/ 968938 w 23838645"/>
              <a:gd name="connsiteY38" fmla="*/ 3527881 h 13717587"/>
              <a:gd name="connsiteX39" fmla="*/ 1694800 w 23838645"/>
              <a:gd name="connsiteY39" fmla="*/ 131509 h 1371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838645" h="13717587">
                <a:moveTo>
                  <a:pt x="0" y="3019853"/>
                </a:moveTo>
                <a:lnTo>
                  <a:pt x="125580" y="3124843"/>
                </a:lnTo>
                <a:cubicBezTo>
                  <a:pt x="312896" y="3297831"/>
                  <a:pt x="477656" y="3501614"/>
                  <a:pt x="611850" y="3734045"/>
                </a:cubicBezTo>
                <a:cubicBezTo>
                  <a:pt x="1238094" y="4818727"/>
                  <a:pt x="991190" y="6167916"/>
                  <a:pt x="89216" y="6967731"/>
                </a:cubicBezTo>
                <a:lnTo>
                  <a:pt x="0" y="7039149"/>
                </a:lnTo>
                <a:close/>
                <a:moveTo>
                  <a:pt x="11582384" y="1451872"/>
                </a:moveTo>
                <a:cubicBezTo>
                  <a:pt x="12501516" y="1428000"/>
                  <a:pt x="13404495" y="1895080"/>
                  <a:pt x="13896542" y="2747330"/>
                </a:cubicBezTo>
                <a:cubicBezTo>
                  <a:pt x="14612245" y="3986966"/>
                  <a:pt x="14187515" y="5572081"/>
                  <a:pt x="12947877" y="6287784"/>
                </a:cubicBezTo>
                <a:lnTo>
                  <a:pt x="6163191" y="10204928"/>
                </a:lnTo>
                <a:cubicBezTo>
                  <a:pt x="6056659" y="10266434"/>
                  <a:pt x="5947579" y="10319518"/>
                  <a:pt x="5836715" y="10364385"/>
                </a:cubicBezTo>
                <a:lnTo>
                  <a:pt x="5833859" y="10365427"/>
                </a:lnTo>
                <a:lnTo>
                  <a:pt x="5756251" y="10424423"/>
                </a:lnTo>
                <a:cubicBezTo>
                  <a:pt x="5685219" y="10475651"/>
                  <a:pt x="5610927" y="10523778"/>
                  <a:pt x="5533451" y="10568511"/>
                </a:cubicBezTo>
                <a:lnTo>
                  <a:pt x="79086" y="13717587"/>
                </a:lnTo>
                <a:lnTo>
                  <a:pt x="0" y="13717587"/>
                </a:lnTo>
                <a:lnTo>
                  <a:pt x="0" y="7777755"/>
                </a:lnTo>
                <a:lnTo>
                  <a:pt x="2941655" y="6079390"/>
                </a:lnTo>
                <a:cubicBezTo>
                  <a:pt x="3019131" y="6034658"/>
                  <a:pt x="3097959" y="5994384"/>
                  <a:pt x="3177838" y="5958480"/>
                </a:cubicBezTo>
                <a:lnTo>
                  <a:pt x="3269483" y="5920036"/>
                </a:lnTo>
                <a:lnTo>
                  <a:pt x="3348594" y="5859896"/>
                </a:lnTo>
                <a:cubicBezTo>
                  <a:pt x="3419622" y="5808667"/>
                  <a:pt x="3493918" y="5760540"/>
                  <a:pt x="3571394" y="5715808"/>
                </a:cubicBezTo>
                <a:lnTo>
                  <a:pt x="10356085" y="1798668"/>
                </a:lnTo>
                <a:cubicBezTo>
                  <a:pt x="10743472" y="1575010"/>
                  <a:pt x="11164596" y="1462723"/>
                  <a:pt x="11582384" y="1451872"/>
                </a:cubicBezTo>
                <a:close/>
                <a:moveTo>
                  <a:pt x="14228160" y="0"/>
                </a:moveTo>
                <a:lnTo>
                  <a:pt x="23838645" y="0"/>
                </a:lnTo>
                <a:lnTo>
                  <a:pt x="17794085" y="3489825"/>
                </a:lnTo>
                <a:cubicBezTo>
                  <a:pt x="17367961" y="3735849"/>
                  <a:pt x="16901013" y="3847113"/>
                  <a:pt x="16442590" y="3836844"/>
                </a:cubicBezTo>
                <a:cubicBezTo>
                  <a:pt x="15567416" y="3817235"/>
                  <a:pt x="14723310" y="3354673"/>
                  <a:pt x="14253629" y="2541164"/>
                </a:cubicBezTo>
                <a:cubicBezTo>
                  <a:pt x="13806315" y="1766391"/>
                  <a:pt x="13804483" y="856666"/>
                  <a:pt x="14168657" y="108591"/>
                </a:cubicBezTo>
                <a:close/>
                <a:moveTo>
                  <a:pt x="1898152" y="0"/>
                </a:moveTo>
                <a:lnTo>
                  <a:pt x="12262996" y="0"/>
                </a:lnTo>
                <a:lnTo>
                  <a:pt x="11923829" y="195818"/>
                </a:lnTo>
                <a:cubicBezTo>
                  <a:pt x="11817297" y="257322"/>
                  <a:pt x="11708214" y="310408"/>
                  <a:pt x="11597350" y="355274"/>
                </a:cubicBezTo>
                <a:lnTo>
                  <a:pt x="11594493" y="356318"/>
                </a:lnTo>
                <a:lnTo>
                  <a:pt x="11516889" y="415312"/>
                </a:lnTo>
                <a:cubicBezTo>
                  <a:pt x="11445857" y="466540"/>
                  <a:pt x="11371565" y="514668"/>
                  <a:pt x="11294085" y="559400"/>
                </a:cubicBezTo>
                <a:lnTo>
                  <a:pt x="4509394" y="4476541"/>
                </a:lnTo>
                <a:cubicBezTo>
                  <a:pt x="4083270" y="4722565"/>
                  <a:pt x="3616322" y="4833829"/>
                  <a:pt x="3157899" y="4823560"/>
                </a:cubicBezTo>
                <a:cubicBezTo>
                  <a:pt x="2282722" y="4803951"/>
                  <a:pt x="1438618" y="4341389"/>
                  <a:pt x="968938" y="3527881"/>
                </a:cubicBezTo>
                <a:cubicBezTo>
                  <a:pt x="297966" y="2365723"/>
                  <a:pt x="629330" y="899920"/>
                  <a:pt x="1694800" y="131509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dirty="0"/>
            </a:lvl1pPr>
          </a:lstStyle>
          <a:p>
            <a:pPr lvl="0" algn="ctr"/>
            <a:endParaRPr lang="ru-RU" dirty="0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7979AE19-4F34-E742-A2D7-F3BBB635AD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873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D914087-3FEA-F241-B008-9889F71519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873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4" name="Номер слайда 1">
            <a:extLst>
              <a:ext uri="{FF2B5EF4-FFF2-40B4-BE49-F238E27FC236}">
                <a16:creationId xmlns:a16="http://schemas.microsoft.com/office/drawing/2014/main" id="{FE1FC58B-9EFA-F948-A9D2-5D606E4B5DF7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9275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/>
          <p:bldP spid="13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3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654967" y="2601004"/>
            <a:ext cx="6882065" cy="198651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581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/>
        </p:bldLst>
      </p:timing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057985" y="2061006"/>
            <a:ext cx="4605997" cy="935996"/>
          </a:xfrm>
          <a:prstGeom prst="rect">
            <a:avLst/>
          </a:prstGeom>
        </p:spPr>
        <p:txBody>
          <a:bodyPr/>
          <a:lstStyle>
            <a:lvl1pPr>
              <a:defRPr lang="en-US" sz="1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057985" y="765013"/>
            <a:ext cx="4605997" cy="1007995"/>
          </a:xfrm>
          <a:prstGeom prst="rect">
            <a:avLst/>
          </a:prstGeom>
        </p:spPr>
        <p:txBody>
          <a:bodyPr/>
          <a:lstStyle>
            <a:lvl1pPr>
              <a:defRPr lang="en-US" sz="4000" b="1" i="0" kern="120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6638241" y="2061006"/>
            <a:ext cx="4605997" cy="935996"/>
          </a:xfrm>
          <a:prstGeom prst="rect">
            <a:avLst/>
          </a:prstGeom>
        </p:spPr>
        <p:txBody>
          <a:bodyPr/>
          <a:lstStyle>
            <a:lvl1pPr>
              <a:defRPr lang="en-US" sz="1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6638241" y="765013"/>
            <a:ext cx="4605997" cy="1007995"/>
          </a:xfrm>
          <a:prstGeom prst="rect">
            <a:avLst/>
          </a:prstGeom>
        </p:spPr>
        <p:txBody>
          <a:bodyPr/>
          <a:lstStyle>
            <a:lvl1pPr>
              <a:defRPr lang="en-US" sz="4000" b="1" i="0" kern="120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57178" y="5981995"/>
            <a:ext cx="2844800" cy="878036"/>
          </a:xfrm>
          <a:prstGeom prst="rect">
            <a:avLst/>
          </a:prstGeom>
        </p:spPr>
        <p:txBody>
          <a:bodyPr/>
          <a:lstStyle>
            <a:lvl1pPr algn="r">
              <a:defRPr lang="uk-UA" sz="6949" b="0" i="0" kern="1200" baseline="0" smtClean="0">
                <a:solidFill>
                  <a:schemeClr val="bg1">
                    <a:lumMod val="95000"/>
                  </a:schemeClr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388931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801012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Рисунок 10">
            <a:extLst>
              <a:ext uri="{FF2B5EF4-FFF2-40B4-BE49-F238E27FC236}">
                <a16:creationId xmlns:a16="http://schemas.microsoft.com/office/drawing/2014/main" id="{FE93B032-6714-3C43-976A-09D136BA5F8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27991" y="909012"/>
            <a:ext cx="5147902" cy="5128578"/>
          </a:xfrm>
          <a:custGeom>
            <a:avLst/>
            <a:gdLst>
              <a:gd name="connsiteX0" fmla="*/ 5889574 w 11779148"/>
              <a:gd name="connsiteY0" fmla="*/ 0 h 11748018"/>
              <a:gd name="connsiteX1" fmla="*/ 11779148 w 11779148"/>
              <a:gd name="connsiteY1" fmla="*/ 5889577 h 11748018"/>
              <a:gd name="connsiteX2" fmla="*/ 7361470 w 11779148"/>
              <a:gd name="connsiteY2" fmla="*/ 11593735 h 11748018"/>
              <a:gd name="connsiteX3" fmla="*/ 7179652 w 11779148"/>
              <a:gd name="connsiteY3" fmla="*/ 11635698 h 11748018"/>
              <a:gd name="connsiteX4" fmla="*/ 7179652 w 11779148"/>
              <a:gd name="connsiteY4" fmla="*/ 11367864 h 11748018"/>
              <a:gd name="connsiteX5" fmla="*/ 7179652 w 11779148"/>
              <a:gd name="connsiteY5" fmla="*/ 8011273 h 11748018"/>
              <a:gd name="connsiteX6" fmla="*/ 8365898 w 11779148"/>
              <a:gd name="connsiteY6" fmla="*/ 8011273 h 11748018"/>
              <a:gd name="connsiteX7" fmla="*/ 8484522 w 11779148"/>
              <a:gd name="connsiteY7" fmla="*/ 7922264 h 11748018"/>
              <a:gd name="connsiteX8" fmla="*/ 8573490 w 11779148"/>
              <a:gd name="connsiteY8" fmla="*/ 6557465 h 11748018"/>
              <a:gd name="connsiteX9" fmla="*/ 8484522 w 11779148"/>
              <a:gd name="connsiteY9" fmla="*/ 6438787 h 11748018"/>
              <a:gd name="connsiteX10" fmla="*/ 7179652 w 11779148"/>
              <a:gd name="connsiteY10" fmla="*/ 6438787 h 11748018"/>
              <a:gd name="connsiteX11" fmla="*/ 7179652 w 11779148"/>
              <a:gd name="connsiteY11" fmla="*/ 5489362 h 11748018"/>
              <a:gd name="connsiteX12" fmla="*/ 7565182 w 11779148"/>
              <a:gd name="connsiteY12" fmla="*/ 5073988 h 11748018"/>
              <a:gd name="connsiteX13" fmla="*/ 8484522 w 11779148"/>
              <a:gd name="connsiteY13" fmla="*/ 5073988 h 11748018"/>
              <a:gd name="connsiteX14" fmla="*/ 8603146 w 11779148"/>
              <a:gd name="connsiteY14" fmla="*/ 4955311 h 11748018"/>
              <a:gd name="connsiteX15" fmla="*/ 8603146 w 11779148"/>
              <a:gd name="connsiteY15" fmla="*/ 3590512 h 11748018"/>
              <a:gd name="connsiteX16" fmla="*/ 8484522 w 11779148"/>
              <a:gd name="connsiteY16" fmla="*/ 3471833 h 11748018"/>
              <a:gd name="connsiteX17" fmla="*/ 6942404 w 11779148"/>
              <a:gd name="connsiteY17" fmla="*/ 3471833 h 11748018"/>
              <a:gd name="connsiteX18" fmla="*/ 5281662 w 11779148"/>
              <a:gd name="connsiteY18" fmla="*/ 5133327 h 11748018"/>
              <a:gd name="connsiteX19" fmla="*/ 5281662 w 11779148"/>
              <a:gd name="connsiteY19" fmla="*/ 6438787 h 11748018"/>
              <a:gd name="connsiteX20" fmla="*/ 4480948 w 11779148"/>
              <a:gd name="connsiteY20" fmla="*/ 6438787 h 11748018"/>
              <a:gd name="connsiteX21" fmla="*/ 4362324 w 11779148"/>
              <a:gd name="connsiteY21" fmla="*/ 6557465 h 11748018"/>
              <a:gd name="connsiteX22" fmla="*/ 4362324 w 11779148"/>
              <a:gd name="connsiteY22" fmla="*/ 7922264 h 11748018"/>
              <a:gd name="connsiteX23" fmla="*/ 4480948 w 11779148"/>
              <a:gd name="connsiteY23" fmla="*/ 8011273 h 11748018"/>
              <a:gd name="connsiteX24" fmla="*/ 5281662 w 11779148"/>
              <a:gd name="connsiteY24" fmla="*/ 8011273 h 11748018"/>
              <a:gd name="connsiteX25" fmla="*/ 5281662 w 11779148"/>
              <a:gd name="connsiteY25" fmla="*/ 8100282 h 11748018"/>
              <a:gd name="connsiteX26" fmla="*/ 5281662 w 11779148"/>
              <a:gd name="connsiteY26" fmla="*/ 11734242 h 11748018"/>
              <a:gd name="connsiteX27" fmla="*/ 5281662 w 11779148"/>
              <a:gd name="connsiteY27" fmla="*/ 11748018 h 11748018"/>
              <a:gd name="connsiteX28" fmla="*/ 4992650 w 11779148"/>
              <a:gd name="connsiteY28" fmla="*/ 11711293 h 11748018"/>
              <a:gd name="connsiteX29" fmla="*/ 0 w 11779148"/>
              <a:gd name="connsiteY29" fmla="*/ 5889577 h 11748018"/>
              <a:gd name="connsiteX30" fmla="*/ 5889574 w 11779148"/>
              <a:gd name="connsiteY30" fmla="*/ 0 h 1174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779148" h="11748018">
                <a:moveTo>
                  <a:pt x="5889574" y="0"/>
                </a:moveTo>
                <a:cubicBezTo>
                  <a:pt x="9142296" y="0"/>
                  <a:pt x="11779148" y="2636853"/>
                  <a:pt x="11779148" y="5889577"/>
                </a:cubicBezTo>
                <a:cubicBezTo>
                  <a:pt x="11779148" y="8634063"/>
                  <a:pt x="9901936" y="10940102"/>
                  <a:pt x="7361470" y="11593735"/>
                </a:cubicBezTo>
                <a:lnTo>
                  <a:pt x="7179652" y="11635698"/>
                </a:lnTo>
                <a:lnTo>
                  <a:pt x="7179652" y="11367864"/>
                </a:lnTo>
                <a:cubicBezTo>
                  <a:pt x="7179652" y="8011273"/>
                  <a:pt x="7179652" y="8011273"/>
                  <a:pt x="7179652" y="8011273"/>
                </a:cubicBezTo>
                <a:cubicBezTo>
                  <a:pt x="8365898" y="8011273"/>
                  <a:pt x="8365898" y="8011273"/>
                  <a:pt x="8365898" y="8011273"/>
                </a:cubicBezTo>
                <a:cubicBezTo>
                  <a:pt x="8425210" y="8011273"/>
                  <a:pt x="8454866" y="7981603"/>
                  <a:pt x="8484522" y="7922264"/>
                </a:cubicBezTo>
                <a:cubicBezTo>
                  <a:pt x="8573490" y="6557465"/>
                  <a:pt x="8573490" y="6557465"/>
                  <a:pt x="8573490" y="6557465"/>
                </a:cubicBezTo>
                <a:cubicBezTo>
                  <a:pt x="8603146" y="6498126"/>
                  <a:pt x="8543834" y="6438787"/>
                  <a:pt x="8484522" y="6438787"/>
                </a:cubicBezTo>
                <a:cubicBezTo>
                  <a:pt x="7179652" y="6438787"/>
                  <a:pt x="7179652" y="6438787"/>
                  <a:pt x="7179652" y="6438787"/>
                </a:cubicBezTo>
                <a:cubicBezTo>
                  <a:pt x="7179652" y="5489362"/>
                  <a:pt x="7179652" y="5489362"/>
                  <a:pt x="7179652" y="5489362"/>
                </a:cubicBezTo>
                <a:cubicBezTo>
                  <a:pt x="7179652" y="5252006"/>
                  <a:pt x="7357590" y="5073988"/>
                  <a:pt x="7565182" y="5073988"/>
                </a:cubicBezTo>
                <a:cubicBezTo>
                  <a:pt x="8484522" y="5073988"/>
                  <a:pt x="8484522" y="5073988"/>
                  <a:pt x="8484522" y="5073988"/>
                </a:cubicBezTo>
                <a:cubicBezTo>
                  <a:pt x="8543834" y="5073988"/>
                  <a:pt x="8603146" y="5014649"/>
                  <a:pt x="8603146" y="4955311"/>
                </a:cubicBezTo>
                <a:cubicBezTo>
                  <a:pt x="8603146" y="3590512"/>
                  <a:pt x="8603146" y="3590512"/>
                  <a:pt x="8603146" y="3590512"/>
                </a:cubicBezTo>
                <a:cubicBezTo>
                  <a:pt x="8603146" y="3531172"/>
                  <a:pt x="8543834" y="3471833"/>
                  <a:pt x="8484522" y="3471833"/>
                </a:cubicBezTo>
                <a:cubicBezTo>
                  <a:pt x="6942404" y="3471833"/>
                  <a:pt x="6942404" y="3471833"/>
                  <a:pt x="6942404" y="3471833"/>
                </a:cubicBezTo>
                <a:cubicBezTo>
                  <a:pt x="6023064" y="3471833"/>
                  <a:pt x="5281662" y="4213572"/>
                  <a:pt x="5281662" y="5133327"/>
                </a:cubicBezTo>
                <a:cubicBezTo>
                  <a:pt x="5281662" y="6438787"/>
                  <a:pt x="5281662" y="6438787"/>
                  <a:pt x="5281662" y="6438787"/>
                </a:cubicBezTo>
                <a:cubicBezTo>
                  <a:pt x="4480948" y="6438787"/>
                  <a:pt x="4480948" y="6438787"/>
                  <a:pt x="4480948" y="6438787"/>
                </a:cubicBezTo>
                <a:cubicBezTo>
                  <a:pt x="4421636" y="6438787"/>
                  <a:pt x="4362324" y="6498126"/>
                  <a:pt x="4362324" y="6557465"/>
                </a:cubicBezTo>
                <a:cubicBezTo>
                  <a:pt x="4362324" y="7922264"/>
                  <a:pt x="4362324" y="7922264"/>
                  <a:pt x="4362324" y="7922264"/>
                </a:cubicBezTo>
                <a:cubicBezTo>
                  <a:pt x="4362324" y="7981603"/>
                  <a:pt x="4421636" y="8011273"/>
                  <a:pt x="4480948" y="8011273"/>
                </a:cubicBezTo>
                <a:cubicBezTo>
                  <a:pt x="5281662" y="8011273"/>
                  <a:pt x="5281662" y="8011273"/>
                  <a:pt x="5281662" y="8011273"/>
                </a:cubicBezTo>
                <a:lnTo>
                  <a:pt x="5281662" y="8100282"/>
                </a:lnTo>
                <a:cubicBezTo>
                  <a:pt x="5281662" y="10034365"/>
                  <a:pt x="5281662" y="11122286"/>
                  <a:pt x="5281662" y="11734242"/>
                </a:cubicBezTo>
                <a:lnTo>
                  <a:pt x="5281662" y="11748018"/>
                </a:lnTo>
                <a:lnTo>
                  <a:pt x="4992650" y="11711293"/>
                </a:lnTo>
                <a:cubicBezTo>
                  <a:pt x="2165618" y="11279331"/>
                  <a:pt x="0" y="8837358"/>
                  <a:pt x="0" y="5889577"/>
                </a:cubicBezTo>
                <a:cubicBezTo>
                  <a:pt x="0" y="2636853"/>
                  <a:pt x="2636852" y="0"/>
                  <a:pt x="5889574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799" dirty="0"/>
            </a:lvl1pPr>
          </a:lstStyle>
          <a:p>
            <a:pPr lvl="0"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825591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801012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90D12028-29DA-E342-A86B-ADEEF68A9F1A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6491992" y="1726104"/>
            <a:ext cx="5147902" cy="3502887"/>
          </a:xfrm>
          <a:custGeom>
            <a:avLst/>
            <a:gdLst>
              <a:gd name="T0" fmla="*/ 304 w 304"/>
              <a:gd name="T1" fmla="*/ 66 h 213"/>
              <a:gd name="T2" fmla="*/ 238 w 304"/>
              <a:gd name="T3" fmla="*/ 0 h 213"/>
              <a:gd name="T4" fmla="*/ 66 w 304"/>
              <a:gd name="T5" fmla="*/ 0 h 213"/>
              <a:gd name="T6" fmla="*/ 0 w 304"/>
              <a:gd name="T7" fmla="*/ 66 h 213"/>
              <a:gd name="T8" fmla="*/ 0 w 304"/>
              <a:gd name="T9" fmla="*/ 147 h 213"/>
              <a:gd name="T10" fmla="*/ 66 w 304"/>
              <a:gd name="T11" fmla="*/ 213 h 213"/>
              <a:gd name="T12" fmla="*/ 238 w 304"/>
              <a:gd name="T13" fmla="*/ 213 h 213"/>
              <a:gd name="T14" fmla="*/ 304 w 304"/>
              <a:gd name="T15" fmla="*/ 147 h 213"/>
              <a:gd name="T16" fmla="*/ 304 w 304"/>
              <a:gd name="T17" fmla="*/ 66 h 213"/>
              <a:gd name="T18" fmla="*/ 196 w 304"/>
              <a:gd name="T19" fmla="*/ 111 h 213"/>
              <a:gd name="T20" fmla="*/ 127 w 304"/>
              <a:gd name="T21" fmla="*/ 148 h 213"/>
              <a:gd name="T22" fmla="*/ 122 w 304"/>
              <a:gd name="T23" fmla="*/ 144 h 213"/>
              <a:gd name="T24" fmla="*/ 122 w 304"/>
              <a:gd name="T25" fmla="*/ 67 h 213"/>
              <a:gd name="T26" fmla="*/ 127 w 304"/>
              <a:gd name="T27" fmla="*/ 63 h 213"/>
              <a:gd name="T28" fmla="*/ 196 w 304"/>
              <a:gd name="T29" fmla="*/ 103 h 213"/>
              <a:gd name="T30" fmla="*/ 196 w 304"/>
              <a:gd name="T31" fmla="*/ 111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04" h="213">
                <a:moveTo>
                  <a:pt x="304" y="66"/>
                </a:moveTo>
                <a:cubicBezTo>
                  <a:pt x="304" y="30"/>
                  <a:pt x="274" y="0"/>
                  <a:pt x="238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30" y="0"/>
                  <a:pt x="0" y="30"/>
                  <a:pt x="0" y="66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83"/>
                  <a:pt x="30" y="213"/>
                  <a:pt x="66" y="213"/>
                </a:cubicBezTo>
                <a:cubicBezTo>
                  <a:pt x="238" y="213"/>
                  <a:pt x="238" y="213"/>
                  <a:pt x="238" y="213"/>
                </a:cubicBezTo>
                <a:cubicBezTo>
                  <a:pt x="274" y="213"/>
                  <a:pt x="304" y="183"/>
                  <a:pt x="304" y="147"/>
                </a:cubicBezTo>
                <a:lnTo>
                  <a:pt x="304" y="66"/>
                </a:lnTo>
                <a:close/>
                <a:moveTo>
                  <a:pt x="196" y="111"/>
                </a:moveTo>
                <a:cubicBezTo>
                  <a:pt x="127" y="148"/>
                  <a:pt x="127" y="148"/>
                  <a:pt x="127" y="148"/>
                </a:cubicBezTo>
                <a:cubicBezTo>
                  <a:pt x="124" y="150"/>
                  <a:pt x="122" y="148"/>
                  <a:pt x="122" y="144"/>
                </a:cubicBezTo>
                <a:cubicBezTo>
                  <a:pt x="122" y="67"/>
                  <a:pt x="122" y="67"/>
                  <a:pt x="122" y="67"/>
                </a:cubicBezTo>
                <a:cubicBezTo>
                  <a:pt x="122" y="64"/>
                  <a:pt x="124" y="62"/>
                  <a:pt x="127" y="63"/>
                </a:cubicBezTo>
                <a:cubicBezTo>
                  <a:pt x="196" y="103"/>
                  <a:pt x="196" y="103"/>
                  <a:pt x="196" y="103"/>
                </a:cubicBezTo>
                <a:cubicBezTo>
                  <a:pt x="199" y="105"/>
                  <a:pt x="199" y="109"/>
                  <a:pt x="196" y="11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799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42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801012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9">
            <a:extLst>
              <a:ext uri="{FF2B5EF4-FFF2-40B4-BE49-F238E27FC236}">
                <a16:creationId xmlns:a16="http://schemas.microsoft.com/office/drawing/2014/main" id="{D7C4001B-A5D1-EE48-B16C-4E5F45A07A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auto">
          <a:xfrm>
            <a:off x="6234597" y="1146376"/>
            <a:ext cx="5662692" cy="4662344"/>
          </a:xfrm>
          <a:custGeom>
            <a:avLst/>
            <a:gdLst>
              <a:gd name="T0" fmla="*/ 300 w 301"/>
              <a:gd name="T1" fmla="*/ 30 h 257"/>
              <a:gd name="T2" fmla="*/ 269 w 301"/>
              <a:gd name="T3" fmla="*/ 38 h 257"/>
              <a:gd name="T4" fmla="*/ 284 w 301"/>
              <a:gd name="T5" fmla="*/ 25 h 257"/>
              <a:gd name="T6" fmla="*/ 295 w 301"/>
              <a:gd name="T7" fmla="*/ 7 h 257"/>
              <a:gd name="T8" fmla="*/ 294 w 301"/>
              <a:gd name="T9" fmla="*/ 5 h 257"/>
              <a:gd name="T10" fmla="*/ 293 w 301"/>
              <a:gd name="T11" fmla="*/ 5 h 257"/>
              <a:gd name="T12" fmla="*/ 257 w 301"/>
              <a:gd name="T13" fmla="*/ 19 h 257"/>
              <a:gd name="T14" fmla="*/ 254 w 301"/>
              <a:gd name="T15" fmla="*/ 18 h 257"/>
              <a:gd name="T16" fmla="*/ 251 w 301"/>
              <a:gd name="T17" fmla="*/ 15 h 257"/>
              <a:gd name="T18" fmla="*/ 234 w 301"/>
              <a:gd name="T19" fmla="*/ 4 h 257"/>
              <a:gd name="T20" fmla="*/ 207 w 301"/>
              <a:gd name="T21" fmla="*/ 0 h 257"/>
              <a:gd name="T22" fmla="*/ 182 w 301"/>
              <a:gd name="T23" fmla="*/ 7 h 257"/>
              <a:gd name="T24" fmla="*/ 161 w 301"/>
              <a:gd name="T25" fmla="*/ 24 h 257"/>
              <a:gd name="T26" fmla="*/ 149 w 301"/>
              <a:gd name="T27" fmla="*/ 49 h 257"/>
              <a:gd name="T28" fmla="*/ 148 w 301"/>
              <a:gd name="T29" fmla="*/ 74 h 257"/>
              <a:gd name="T30" fmla="*/ 147 w 301"/>
              <a:gd name="T31" fmla="*/ 76 h 257"/>
              <a:gd name="T32" fmla="*/ 23 w 301"/>
              <a:gd name="T33" fmla="*/ 13 h 257"/>
              <a:gd name="T34" fmla="*/ 20 w 301"/>
              <a:gd name="T35" fmla="*/ 13 h 257"/>
              <a:gd name="T36" fmla="*/ 31 w 301"/>
              <a:gd name="T37" fmla="*/ 87 h 257"/>
              <a:gd name="T38" fmla="*/ 38 w 301"/>
              <a:gd name="T39" fmla="*/ 94 h 257"/>
              <a:gd name="T40" fmla="*/ 14 w 301"/>
              <a:gd name="T41" fmla="*/ 87 h 257"/>
              <a:gd name="T42" fmla="*/ 12 w 301"/>
              <a:gd name="T43" fmla="*/ 88 h 257"/>
              <a:gd name="T44" fmla="*/ 12 w 301"/>
              <a:gd name="T45" fmla="*/ 96 h 257"/>
              <a:gd name="T46" fmla="*/ 51 w 301"/>
              <a:gd name="T47" fmla="*/ 146 h 257"/>
              <a:gd name="T48" fmla="*/ 59 w 301"/>
              <a:gd name="T49" fmla="*/ 149 h 257"/>
              <a:gd name="T50" fmla="*/ 36 w 301"/>
              <a:gd name="T51" fmla="*/ 149 h 257"/>
              <a:gd name="T52" fmla="*/ 34 w 301"/>
              <a:gd name="T53" fmla="*/ 151 h 257"/>
              <a:gd name="T54" fmla="*/ 84 w 301"/>
              <a:gd name="T55" fmla="*/ 193 h 257"/>
              <a:gd name="T56" fmla="*/ 90 w 301"/>
              <a:gd name="T57" fmla="*/ 194 h 257"/>
              <a:gd name="T58" fmla="*/ 90 w 301"/>
              <a:gd name="T59" fmla="*/ 194 h 257"/>
              <a:gd name="T60" fmla="*/ 56 w 301"/>
              <a:gd name="T61" fmla="*/ 212 h 257"/>
              <a:gd name="T62" fmla="*/ 5 w 301"/>
              <a:gd name="T63" fmla="*/ 218 h 257"/>
              <a:gd name="T64" fmla="*/ 1 w 301"/>
              <a:gd name="T65" fmla="*/ 218 h 257"/>
              <a:gd name="T66" fmla="*/ 2 w 301"/>
              <a:gd name="T67" fmla="*/ 220 h 257"/>
              <a:gd name="T68" fmla="*/ 13 w 301"/>
              <a:gd name="T69" fmla="*/ 226 h 257"/>
              <a:gd name="T70" fmla="*/ 47 w 301"/>
              <a:gd name="T71" fmla="*/ 240 h 257"/>
              <a:gd name="T72" fmla="*/ 223 w 301"/>
              <a:gd name="T73" fmla="*/ 199 h 257"/>
              <a:gd name="T74" fmla="*/ 272 w 301"/>
              <a:gd name="T75" fmla="*/ 64 h 257"/>
              <a:gd name="T76" fmla="*/ 276 w 301"/>
              <a:gd name="T77" fmla="*/ 60 h 257"/>
              <a:gd name="T78" fmla="*/ 299 w 301"/>
              <a:gd name="T79" fmla="*/ 35 h 257"/>
              <a:gd name="T80" fmla="*/ 301 w 301"/>
              <a:gd name="T81" fmla="*/ 30 h 257"/>
              <a:gd name="T82" fmla="*/ 301 w 301"/>
              <a:gd name="T83" fmla="*/ 30 h 257"/>
              <a:gd name="T84" fmla="*/ 300 w 301"/>
              <a:gd name="T85" fmla="*/ 30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1" h="257">
                <a:moveTo>
                  <a:pt x="300" y="30"/>
                </a:moveTo>
                <a:cubicBezTo>
                  <a:pt x="290" y="34"/>
                  <a:pt x="280" y="37"/>
                  <a:pt x="269" y="38"/>
                </a:cubicBezTo>
                <a:cubicBezTo>
                  <a:pt x="274" y="38"/>
                  <a:pt x="282" y="29"/>
                  <a:pt x="284" y="25"/>
                </a:cubicBezTo>
                <a:cubicBezTo>
                  <a:pt x="289" y="20"/>
                  <a:pt x="292" y="13"/>
                  <a:pt x="295" y="7"/>
                </a:cubicBezTo>
                <a:cubicBezTo>
                  <a:pt x="295" y="6"/>
                  <a:pt x="295" y="6"/>
                  <a:pt x="294" y="5"/>
                </a:cubicBezTo>
                <a:cubicBezTo>
                  <a:pt x="294" y="5"/>
                  <a:pt x="293" y="5"/>
                  <a:pt x="293" y="5"/>
                </a:cubicBezTo>
                <a:cubicBezTo>
                  <a:pt x="281" y="11"/>
                  <a:pt x="270" y="16"/>
                  <a:pt x="257" y="19"/>
                </a:cubicBezTo>
                <a:cubicBezTo>
                  <a:pt x="256" y="19"/>
                  <a:pt x="255" y="19"/>
                  <a:pt x="254" y="18"/>
                </a:cubicBezTo>
                <a:cubicBezTo>
                  <a:pt x="253" y="17"/>
                  <a:pt x="252" y="16"/>
                  <a:pt x="251" y="15"/>
                </a:cubicBezTo>
                <a:cubicBezTo>
                  <a:pt x="246" y="11"/>
                  <a:pt x="240" y="7"/>
                  <a:pt x="234" y="4"/>
                </a:cubicBezTo>
                <a:cubicBezTo>
                  <a:pt x="225" y="1"/>
                  <a:pt x="216" y="0"/>
                  <a:pt x="207" y="0"/>
                </a:cubicBezTo>
                <a:cubicBezTo>
                  <a:pt x="198" y="1"/>
                  <a:pt x="189" y="3"/>
                  <a:pt x="182" y="7"/>
                </a:cubicBezTo>
                <a:cubicBezTo>
                  <a:pt x="174" y="11"/>
                  <a:pt x="167" y="17"/>
                  <a:pt x="161" y="24"/>
                </a:cubicBezTo>
                <a:cubicBezTo>
                  <a:pt x="155" y="31"/>
                  <a:pt x="151" y="40"/>
                  <a:pt x="149" y="49"/>
                </a:cubicBezTo>
                <a:cubicBezTo>
                  <a:pt x="147" y="57"/>
                  <a:pt x="147" y="66"/>
                  <a:pt x="148" y="74"/>
                </a:cubicBezTo>
                <a:cubicBezTo>
                  <a:pt x="148" y="76"/>
                  <a:pt x="148" y="76"/>
                  <a:pt x="147" y="76"/>
                </a:cubicBezTo>
                <a:cubicBezTo>
                  <a:pt x="98" y="69"/>
                  <a:pt x="57" y="51"/>
                  <a:pt x="23" y="13"/>
                </a:cubicBezTo>
                <a:cubicBezTo>
                  <a:pt x="22" y="11"/>
                  <a:pt x="21" y="11"/>
                  <a:pt x="20" y="13"/>
                </a:cubicBezTo>
                <a:cubicBezTo>
                  <a:pt x="5" y="35"/>
                  <a:pt x="12" y="70"/>
                  <a:pt x="31" y="87"/>
                </a:cubicBezTo>
                <a:cubicBezTo>
                  <a:pt x="33" y="89"/>
                  <a:pt x="35" y="92"/>
                  <a:pt x="38" y="94"/>
                </a:cubicBezTo>
                <a:cubicBezTo>
                  <a:pt x="37" y="94"/>
                  <a:pt x="25" y="93"/>
                  <a:pt x="14" y="87"/>
                </a:cubicBezTo>
                <a:cubicBezTo>
                  <a:pt x="13" y="86"/>
                  <a:pt x="12" y="87"/>
                  <a:pt x="12" y="88"/>
                </a:cubicBezTo>
                <a:cubicBezTo>
                  <a:pt x="12" y="91"/>
                  <a:pt x="12" y="93"/>
                  <a:pt x="12" y="96"/>
                </a:cubicBezTo>
                <a:cubicBezTo>
                  <a:pt x="15" y="118"/>
                  <a:pt x="30" y="138"/>
                  <a:pt x="51" y="146"/>
                </a:cubicBezTo>
                <a:cubicBezTo>
                  <a:pt x="54" y="147"/>
                  <a:pt x="57" y="148"/>
                  <a:pt x="59" y="149"/>
                </a:cubicBezTo>
                <a:cubicBezTo>
                  <a:pt x="55" y="150"/>
                  <a:pt x="50" y="150"/>
                  <a:pt x="36" y="149"/>
                </a:cubicBezTo>
                <a:cubicBezTo>
                  <a:pt x="34" y="149"/>
                  <a:pt x="34" y="150"/>
                  <a:pt x="34" y="151"/>
                </a:cubicBezTo>
                <a:cubicBezTo>
                  <a:pt x="45" y="180"/>
                  <a:pt x="67" y="188"/>
                  <a:pt x="84" y="193"/>
                </a:cubicBezTo>
                <a:cubicBezTo>
                  <a:pt x="86" y="193"/>
                  <a:pt x="88" y="193"/>
                  <a:pt x="90" y="194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84" y="202"/>
                  <a:pt x="65" y="209"/>
                  <a:pt x="56" y="212"/>
                </a:cubicBezTo>
                <a:cubicBezTo>
                  <a:pt x="40" y="217"/>
                  <a:pt x="22" y="220"/>
                  <a:pt x="5" y="218"/>
                </a:cubicBezTo>
                <a:cubicBezTo>
                  <a:pt x="2" y="218"/>
                  <a:pt x="2" y="218"/>
                  <a:pt x="1" y="218"/>
                </a:cubicBezTo>
                <a:cubicBezTo>
                  <a:pt x="0" y="219"/>
                  <a:pt x="1" y="219"/>
                  <a:pt x="2" y="220"/>
                </a:cubicBezTo>
                <a:cubicBezTo>
                  <a:pt x="5" y="222"/>
                  <a:pt x="9" y="224"/>
                  <a:pt x="13" y="226"/>
                </a:cubicBezTo>
                <a:cubicBezTo>
                  <a:pt x="23" y="232"/>
                  <a:pt x="35" y="237"/>
                  <a:pt x="47" y="240"/>
                </a:cubicBezTo>
                <a:cubicBezTo>
                  <a:pt x="108" y="257"/>
                  <a:pt x="177" y="245"/>
                  <a:pt x="223" y="199"/>
                </a:cubicBezTo>
                <a:cubicBezTo>
                  <a:pt x="259" y="163"/>
                  <a:pt x="272" y="113"/>
                  <a:pt x="272" y="64"/>
                </a:cubicBezTo>
                <a:cubicBezTo>
                  <a:pt x="272" y="62"/>
                  <a:pt x="274" y="61"/>
                  <a:pt x="276" y="60"/>
                </a:cubicBezTo>
                <a:cubicBezTo>
                  <a:pt x="285" y="53"/>
                  <a:pt x="292" y="44"/>
                  <a:pt x="299" y="35"/>
                </a:cubicBezTo>
                <a:cubicBezTo>
                  <a:pt x="301" y="33"/>
                  <a:pt x="301" y="31"/>
                  <a:pt x="301" y="30"/>
                </a:cubicBezTo>
                <a:cubicBezTo>
                  <a:pt x="301" y="30"/>
                  <a:pt x="301" y="30"/>
                  <a:pt x="301" y="30"/>
                </a:cubicBezTo>
                <a:cubicBezTo>
                  <a:pt x="301" y="29"/>
                  <a:pt x="301" y="29"/>
                  <a:pt x="300" y="3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918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801012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24">
            <a:extLst>
              <a:ext uri="{FF2B5EF4-FFF2-40B4-BE49-F238E27FC236}">
                <a16:creationId xmlns:a16="http://schemas.microsoft.com/office/drawing/2014/main" id="{40C85FC2-40BA-7E46-A2F5-EBB5E6A55E6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auto">
          <a:xfrm>
            <a:off x="5772006" y="1629009"/>
            <a:ext cx="6011817" cy="3719186"/>
          </a:xfrm>
          <a:custGeom>
            <a:avLst/>
            <a:gdLst>
              <a:gd name="T0" fmla="*/ 448 w 459"/>
              <a:gd name="T1" fmla="*/ 25 h 266"/>
              <a:gd name="T2" fmla="*/ 400 w 459"/>
              <a:gd name="T3" fmla="*/ 20 h 266"/>
              <a:gd name="T4" fmla="*/ 353 w 459"/>
              <a:gd name="T5" fmla="*/ 23 h 266"/>
              <a:gd name="T6" fmla="*/ 324 w 459"/>
              <a:gd name="T7" fmla="*/ 75 h 266"/>
              <a:gd name="T8" fmla="*/ 279 w 459"/>
              <a:gd name="T9" fmla="*/ 131 h 266"/>
              <a:gd name="T10" fmla="*/ 268 w 459"/>
              <a:gd name="T11" fmla="*/ 49 h 266"/>
              <a:gd name="T12" fmla="*/ 261 w 459"/>
              <a:gd name="T13" fmla="*/ 16 h 266"/>
              <a:gd name="T14" fmla="*/ 231 w 459"/>
              <a:gd name="T15" fmla="*/ 5 h 266"/>
              <a:gd name="T16" fmla="*/ 154 w 459"/>
              <a:gd name="T17" fmla="*/ 29 h 266"/>
              <a:gd name="T18" fmla="*/ 181 w 459"/>
              <a:gd name="T19" fmla="*/ 116 h 266"/>
              <a:gd name="T20" fmla="*/ 139 w 459"/>
              <a:gd name="T21" fmla="*/ 108 h 266"/>
              <a:gd name="T22" fmla="*/ 91 w 459"/>
              <a:gd name="T23" fmla="*/ 20 h 266"/>
              <a:gd name="T24" fmla="*/ 11 w 459"/>
              <a:gd name="T25" fmla="*/ 25 h 266"/>
              <a:gd name="T26" fmla="*/ 70 w 459"/>
              <a:gd name="T27" fmla="*/ 151 h 266"/>
              <a:gd name="T28" fmla="*/ 209 w 459"/>
              <a:gd name="T29" fmla="*/ 262 h 266"/>
              <a:gd name="T30" fmla="*/ 263 w 459"/>
              <a:gd name="T31" fmla="*/ 260 h 266"/>
              <a:gd name="T32" fmla="*/ 285 w 459"/>
              <a:gd name="T33" fmla="*/ 203 h 266"/>
              <a:gd name="T34" fmla="*/ 350 w 459"/>
              <a:gd name="T35" fmla="*/ 260 h 266"/>
              <a:gd name="T36" fmla="*/ 400 w 459"/>
              <a:gd name="T37" fmla="*/ 264 h 266"/>
              <a:gd name="T38" fmla="*/ 450 w 459"/>
              <a:gd name="T39" fmla="*/ 251 h 266"/>
              <a:gd name="T40" fmla="*/ 381 w 459"/>
              <a:gd name="T41" fmla="*/ 153 h 266"/>
              <a:gd name="T42" fmla="*/ 422 w 459"/>
              <a:gd name="T43" fmla="*/ 90 h 266"/>
              <a:gd name="T44" fmla="*/ 448 w 459"/>
              <a:gd name="T45" fmla="*/ 25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59" h="266">
                <a:moveTo>
                  <a:pt x="448" y="25"/>
                </a:moveTo>
                <a:cubicBezTo>
                  <a:pt x="443" y="20"/>
                  <a:pt x="422" y="20"/>
                  <a:pt x="400" y="20"/>
                </a:cubicBezTo>
                <a:cubicBezTo>
                  <a:pt x="379" y="21"/>
                  <a:pt x="357" y="21"/>
                  <a:pt x="353" y="23"/>
                </a:cubicBezTo>
                <a:cubicBezTo>
                  <a:pt x="348" y="24"/>
                  <a:pt x="338" y="49"/>
                  <a:pt x="324" y="75"/>
                </a:cubicBezTo>
                <a:cubicBezTo>
                  <a:pt x="309" y="104"/>
                  <a:pt x="290" y="132"/>
                  <a:pt x="279" y="131"/>
                </a:cubicBezTo>
                <a:cubicBezTo>
                  <a:pt x="263" y="131"/>
                  <a:pt x="267" y="84"/>
                  <a:pt x="268" y="49"/>
                </a:cubicBezTo>
                <a:cubicBezTo>
                  <a:pt x="268" y="26"/>
                  <a:pt x="264" y="18"/>
                  <a:pt x="261" y="16"/>
                </a:cubicBezTo>
                <a:cubicBezTo>
                  <a:pt x="253" y="11"/>
                  <a:pt x="231" y="5"/>
                  <a:pt x="231" y="5"/>
                </a:cubicBezTo>
                <a:cubicBezTo>
                  <a:pt x="231" y="5"/>
                  <a:pt x="164" y="0"/>
                  <a:pt x="154" y="29"/>
                </a:cubicBezTo>
                <a:cubicBezTo>
                  <a:pt x="167" y="31"/>
                  <a:pt x="189" y="27"/>
                  <a:pt x="181" y="116"/>
                </a:cubicBezTo>
                <a:cubicBezTo>
                  <a:pt x="180" y="121"/>
                  <a:pt x="170" y="157"/>
                  <a:pt x="139" y="108"/>
                </a:cubicBezTo>
                <a:cubicBezTo>
                  <a:pt x="132" y="95"/>
                  <a:pt x="102" y="21"/>
                  <a:pt x="91" y="20"/>
                </a:cubicBezTo>
                <a:cubicBezTo>
                  <a:pt x="57" y="19"/>
                  <a:pt x="23" y="18"/>
                  <a:pt x="11" y="25"/>
                </a:cubicBezTo>
                <a:cubicBezTo>
                  <a:pt x="0" y="31"/>
                  <a:pt x="26" y="82"/>
                  <a:pt x="70" y="151"/>
                </a:cubicBezTo>
                <a:cubicBezTo>
                  <a:pt x="105" y="207"/>
                  <a:pt x="143" y="251"/>
                  <a:pt x="209" y="262"/>
                </a:cubicBezTo>
                <a:cubicBezTo>
                  <a:pt x="221" y="263"/>
                  <a:pt x="253" y="265"/>
                  <a:pt x="263" y="260"/>
                </a:cubicBezTo>
                <a:cubicBezTo>
                  <a:pt x="270" y="257"/>
                  <a:pt x="262" y="208"/>
                  <a:pt x="285" y="203"/>
                </a:cubicBezTo>
                <a:cubicBezTo>
                  <a:pt x="296" y="201"/>
                  <a:pt x="335" y="254"/>
                  <a:pt x="350" y="260"/>
                </a:cubicBezTo>
                <a:cubicBezTo>
                  <a:pt x="360" y="264"/>
                  <a:pt x="380" y="265"/>
                  <a:pt x="400" y="264"/>
                </a:cubicBezTo>
                <a:cubicBezTo>
                  <a:pt x="423" y="264"/>
                  <a:pt x="448" y="266"/>
                  <a:pt x="450" y="251"/>
                </a:cubicBezTo>
                <a:cubicBezTo>
                  <a:pt x="456" y="218"/>
                  <a:pt x="383" y="174"/>
                  <a:pt x="381" y="153"/>
                </a:cubicBezTo>
                <a:cubicBezTo>
                  <a:pt x="379" y="138"/>
                  <a:pt x="408" y="111"/>
                  <a:pt x="422" y="90"/>
                </a:cubicBezTo>
                <a:cubicBezTo>
                  <a:pt x="440" y="65"/>
                  <a:pt x="459" y="34"/>
                  <a:pt x="448" y="2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457155" indent="-457155" defTabSz="1219079">
              <a:spcBef>
                <a:spcPct val="20000"/>
              </a:spcBef>
              <a:buFont typeface="Arial" panose="020B0604020202020204" pitchFamily="34" charset="0"/>
              <a:buChar char="•"/>
              <a:defRPr/>
            </a:lvl1pPr>
          </a:lstStyle>
          <a:p>
            <a:pPr marL="914492" indent="-914492" defTabSz="2438645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ru-RU" sz="4799" b="1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182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801012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Рисунок 8">
            <a:extLst>
              <a:ext uri="{FF2B5EF4-FFF2-40B4-BE49-F238E27FC236}">
                <a16:creationId xmlns:a16="http://schemas.microsoft.com/office/drawing/2014/main" id="{2242636F-690F-2D4C-8A8A-38C9851AE2F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74555" y="729013"/>
            <a:ext cx="5465339" cy="5445108"/>
          </a:xfrm>
          <a:custGeom>
            <a:avLst/>
            <a:gdLst>
              <a:gd name="connsiteX0" fmla="*/ 5256584 w 10513168"/>
              <a:gd name="connsiteY0" fmla="*/ 3636404 h 10513168"/>
              <a:gd name="connsiteX1" fmla="*/ 3636404 w 10513168"/>
              <a:gd name="connsiteY1" fmla="*/ 5256584 h 10513168"/>
              <a:gd name="connsiteX2" fmla="*/ 5256584 w 10513168"/>
              <a:gd name="connsiteY2" fmla="*/ 6876764 h 10513168"/>
              <a:gd name="connsiteX3" fmla="*/ 6876764 w 10513168"/>
              <a:gd name="connsiteY3" fmla="*/ 5256584 h 10513168"/>
              <a:gd name="connsiteX4" fmla="*/ 5256584 w 10513168"/>
              <a:gd name="connsiteY4" fmla="*/ 3636404 h 10513168"/>
              <a:gd name="connsiteX5" fmla="*/ 5256584 w 10513168"/>
              <a:gd name="connsiteY5" fmla="*/ 2664296 h 10513168"/>
              <a:gd name="connsiteX6" fmla="*/ 7848872 w 10513168"/>
              <a:gd name="connsiteY6" fmla="*/ 5256584 h 10513168"/>
              <a:gd name="connsiteX7" fmla="*/ 5256584 w 10513168"/>
              <a:gd name="connsiteY7" fmla="*/ 7848872 h 10513168"/>
              <a:gd name="connsiteX8" fmla="*/ 2664296 w 10513168"/>
              <a:gd name="connsiteY8" fmla="*/ 5256584 h 10513168"/>
              <a:gd name="connsiteX9" fmla="*/ 5256584 w 10513168"/>
              <a:gd name="connsiteY9" fmla="*/ 2664296 h 10513168"/>
              <a:gd name="connsiteX10" fmla="*/ 7848872 w 10513168"/>
              <a:gd name="connsiteY10" fmla="*/ 1908212 h 10513168"/>
              <a:gd name="connsiteX11" fmla="*/ 8460940 w 10513168"/>
              <a:gd name="connsiteY11" fmla="*/ 2520280 h 10513168"/>
              <a:gd name="connsiteX12" fmla="*/ 7848872 w 10513168"/>
              <a:gd name="connsiteY12" fmla="*/ 3132348 h 10513168"/>
              <a:gd name="connsiteX13" fmla="*/ 7236804 w 10513168"/>
              <a:gd name="connsiteY13" fmla="*/ 2520280 h 10513168"/>
              <a:gd name="connsiteX14" fmla="*/ 7848872 w 10513168"/>
              <a:gd name="connsiteY14" fmla="*/ 1908212 h 10513168"/>
              <a:gd name="connsiteX15" fmla="*/ 3103844 w 10513168"/>
              <a:gd name="connsiteY15" fmla="*/ 1044116 h 10513168"/>
              <a:gd name="connsiteX16" fmla="*/ 1044116 w 10513168"/>
              <a:gd name="connsiteY16" fmla="*/ 3103844 h 10513168"/>
              <a:gd name="connsiteX17" fmla="*/ 1044116 w 10513168"/>
              <a:gd name="connsiteY17" fmla="*/ 7409324 h 10513168"/>
              <a:gd name="connsiteX18" fmla="*/ 3103844 w 10513168"/>
              <a:gd name="connsiteY18" fmla="*/ 9469052 h 10513168"/>
              <a:gd name="connsiteX19" fmla="*/ 7409324 w 10513168"/>
              <a:gd name="connsiteY19" fmla="*/ 9469052 h 10513168"/>
              <a:gd name="connsiteX20" fmla="*/ 9469052 w 10513168"/>
              <a:gd name="connsiteY20" fmla="*/ 7409324 h 10513168"/>
              <a:gd name="connsiteX21" fmla="*/ 9469052 w 10513168"/>
              <a:gd name="connsiteY21" fmla="*/ 3103844 h 10513168"/>
              <a:gd name="connsiteX22" fmla="*/ 7409324 w 10513168"/>
              <a:gd name="connsiteY22" fmla="*/ 1044116 h 10513168"/>
              <a:gd name="connsiteX23" fmla="*/ 2916036 w 10513168"/>
              <a:gd name="connsiteY23" fmla="*/ 0 h 10513168"/>
              <a:gd name="connsiteX24" fmla="*/ 7597130 w 10513168"/>
              <a:gd name="connsiteY24" fmla="*/ 0 h 10513168"/>
              <a:gd name="connsiteX25" fmla="*/ 10513168 w 10513168"/>
              <a:gd name="connsiteY25" fmla="*/ 2916037 h 10513168"/>
              <a:gd name="connsiteX26" fmla="*/ 10513168 w 10513168"/>
              <a:gd name="connsiteY26" fmla="*/ 7597131 h 10513168"/>
              <a:gd name="connsiteX27" fmla="*/ 7597130 w 10513168"/>
              <a:gd name="connsiteY27" fmla="*/ 10513168 h 10513168"/>
              <a:gd name="connsiteX28" fmla="*/ 2916036 w 10513168"/>
              <a:gd name="connsiteY28" fmla="*/ 10513168 h 10513168"/>
              <a:gd name="connsiteX29" fmla="*/ 0 w 10513168"/>
              <a:gd name="connsiteY29" fmla="*/ 7597131 h 10513168"/>
              <a:gd name="connsiteX30" fmla="*/ 0 w 10513168"/>
              <a:gd name="connsiteY30" fmla="*/ 2916037 h 10513168"/>
              <a:gd name="connsiteX31" fmla="*/ 2916036 w 10513168"/>
              <a:gd name="connsiteY31" fmla="*/ 0 h 10513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513168" h="10513168">
                <a:moveTo>
                  <a:pt x="5256584" y="3636404"/>
                </a:moveTo>
                <a:cubicBezTo>
                  <a:pt x="4361784" y="3636404"/>
                  <a:pt x="3636404" y="4361783"/>
                  <a:pt x="3636404" y="5256584"/>
                </a:cubicBezTo>
                <a:cubicBezTo>
                  <a:pt x="3636404" y="6151385"/>
                  <a:pt x="4361784" y="6876764"/>
                  <a:pt x="5256584" y="6876764"/>
                </a:cubicBezTo>
                <a:cubicBezTo>
                  <a:pt x="6151384" y="6876764"/>
                  <a:pt x="6876764" y="6151385"/>
                  <a:pt x="6876764" y="5256584"/>
                </a:cubicBezTo>
                <a:cubicBezTo>
                  <a:pt x="6876764" y="4361783"/>
                  <a:pt x="6151384" y="3636404"/>
                  <a:pt x="5256584" y="3636404"/>
                </a:cubicBezTo>
                <a:close/>
                <a:moveTo>
                  <a:pt x="5256584" y="2664296"/>
                </a:moveTo>
                <a:cubicBezTo>
                  <a:pt x="6688264" y="2664296"/>
                  <a:pt x="7848872" y="3824903"/>
                  <a:pt x="7848872" y="5256584"/>
                </a:cubicBezTo>
                <a:cubicBezTo>
                  <a:pt x="7848872" y="6688265"/>
                  <a:pt x="6688264" y="7848872"/>
                  <a:pt x="5256584" y="7848872"/>
                </a:cubicBezTo>
                <a:cubicBezTo>
                  <a:pt x="3824904" y="7848872"/>
                  <a:pt x="2664296" y="6688265"/>
                  <a:pt x="2664296" y="5256584"/>
                </a:cubicBezTo>
                <a:cubicBezTo>
                  <a:pt x="2664296" y="3824903"/>
                  <a:pt x="3824904" y="2664296"/>
                  <a:pt x="5256584" y="2664296"/>
                </a:cubicBezTo>
                <a:close/>
                <a:moveTo>
                  <a:pt x="7848872" y="1908212"/>
                </a:moveTo>
                <a:cubicBezTo>
                  <a:pt x="8186908" y="1908212"/>
                  <a:pt x="8460940" y="2182244"/>
                  <a:pt x="8460940" y="2520280"/>
                </a:cubicBezTo>
                <a:cubicBezTo>
                  <a:pt x="8460940" y="2858316"/>
                  <a:pt x="8186908" y="3132348"/>
                  <a:pt x="7848872" y="3132348"/>
                </a:cubicBezTo>
                <a:cubicBezTo>
                  <a:pt x="7510836" y="3132348"/>
                  <a:pt x="7236804" y="2858316"/>
                  <a:pt x="7236804" y="2520280"/>
                </a:cubicBezTo>
                <a:cubicBezTo>
                  <a:pt x="7236804" y="2182244"/>
                  <a:pt x="7510836" y="1908212"/>
                  <a:pt x="7848872" y="1908212"/>
                </a:cubicBezTo>
                <a:close/>
                <a:moveTo>
                  <a:pt x="3103844" y="1044116"/>
                </a:moveTo>
                <a:cubicBezTo>
                  <a:pt x="1966288" y="1044116"/>
                  <a:pt x="1044116" y="1966288"/>
                  <a:pt x="1044116" y="3103844"/>
                </a:cubicBezTo>
                <a:lnTo>
                  <a:pt x="1044116" y="7409324"/>
                </a:lnTo>
                <a:cubicBezTo>
                  <a:pt x="1044116" y="8546880"/>
                  <a:pt x="1966288" y="9469052"/>
                  <a:pt x="3103844" y="9469052"/>
                </a:cubicBezTo>
                <a:lnTo>
                  <a:pt x="7409324" y="9469052"/>
                </a:lnTo>
                <a:cubicBezTo>
                  <a:pt x="8546880" y="9469052"/>
                  <a:pt x="9469052" y="8546880"/>
                  <a:pt x="9469052" y="7409324"/>
                </a:cubicBezTo>
                <a:lnTo>
                  <a:pt x="9469052" y="3103844"/>
                </a:lnTo>
                <a:cubicBezTo>
                  <a:pt x="9469052" y="1966288"/>
                  <a:pt x="8546880" y="1044116"/>
                  <a:pt x="7409324" y="1044116"/>
                </a:cubicBezTo>
                <a:close/>
                <a:moveTo>
                  <a:pt x="2916036" y="0"/>
                </a:moveTo>
                <a:lnTo>
                  <a:pt x="7597130" y="0"/>
                </a:lnTo>
                <a:cubicBezTo>
                  <a:pt x="9207612" y="0"/>
                  <a:pt x="10513168" y="1305554"/>
                  <a:pt x="10513168" y="2916037"/>
                </a:cubicBezTo>
                <a:lnTo>
                  <a:pt x="10513168" y="7597131"/>
                </a:lnTo>
                <a:cubicBezTo>
                  <a:pt x="10513168" y="9207614"/>
                  <a:pt x="9207612" y="10513168"/>
                  <a:pt x="7597130" y="10513168"/>
                </a:cubicBezTo>
                <a:lnTo>
                  <a:pt x="2916036" y="10513168"/>
                </a:lnTo>
                <a:cubicBezTo>
                  <a:pt x="1305552" y="10513168"/>
                  <a:pt x="0" y="9207614"/>
                  <a:pt x="0" y="7597131"/>
                </a:cubicBezTo>
                <a:lnTo>
                  <a:pt x="0" y="2916037"/>
                </a:lnTo>
                <a:cubicBezTo>
                  <a:pt x="0" y="1305554"/>
                  <a:pt x="1305552" y="0"/>
                  <a:pt x="2916036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899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801012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0939" y="2925002"/>
            <a:ext cx="4359018" cy="3042927"/>
          </a:xfrm>
          <a:prstGeom prst="rect">
            <a:avLst/>
          </a:prstGeom>
        </p:spPr>
        <p:txBody>
          <a:bodyPr/>
          <a:lstStyle>
            <a:lvl1pPr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22">
            <a:extLst>
              <a:ext uri="{FF2B5EF4-FFF2-40B4-BE49-F238E27FC236}">
                <a16:creationId xmlns:a16="http://schemas.microsoft.com/office/drawing/2014/main" id="{2A2EB8E7-FF77-8746-8524-2E8F7CDCDF1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auto">
          <a:xfrm>
            <a:off x="6563991" y="468494"/>
            <a:ext cx="4859907" cy="6020492"/>
          </a:xfrm>
          <a:custGeom>
            <a:avLst/>
            <a:gdLst>
              <a:gd name="T0" fmla="*/ 171 w 323"/>
              <a:gd name="T1" fmla="*/ 0 h 404"/>
              <a:gd name="T2" fmla="*/ 0 w 323"/>
              <a:gd name="T3" fmla="*/ 145 h 404"/>
              <a:gd name="T4" fmla="*/ 5 w 323"/>
              <a:gd name="T5" fmla="*/ 179 h 404"/>
              <a:gd name="T6" fmla="*/ 49 w 323"/>
              <a:gd name="T7" fmla="*/ 233 h 404"/>
              <a:gd name="T8" fmla="*/ 61 w 323"/>
              <a:gd name="T9" fmla="*/ 227 h 404"/>
              <a:gd name="T10" fmla="*/ 66 w 323"/>
              <a:gd name="T11" fmla="*/ 209 h 404"/>
              <a:gd name="T12" fmla="*/ 63 w 323"/>
              <a:gd name="T13" fmla="*/ 196 h 404"/>
              <a:gd name="T14" fmla="*/ 50 w 323"/>
              <a:gd name="T15" fmla="*/ 172 h 404"/>
              <a:gd name="T16" fmla="*/ 47 w 323"/>
              <a:gd name="T17" fmla="*/ 151 h 404"/>
              <a:gd name="T18" fmla="*/ 165 w 323"/>
              <a:gd name="T19" fmla="*/ 40 h 404"/>
              <a:gd name="T20" fmla="*/ 264 w 323"/>
              <a:gd name="T21" fmla="*/ 128 h 404"/>
              <a:gd name="T22" fmla="*/ 260 w 323"/>
              <a:gd name="T23" fmla="*/ 171 h 404"/>
              <a:gd name="T24" fmla="*/ 188 w 323"/>
              <a:gd name="T25" fmla="*/ 251 h 404"/>
              <a:gd name="T26" fmla="*/ 151 w 323"/>
              <a:gd name="T27" fmla="*/ 207 h 404"/>
              <a:gd name="T28" fmla="*/ 163 w 323"/>
              <a:gd name="T29" fmla="*/ 165 h 404"/>
              <a:gd name="T30" fmla="*/ 172 w 323"/>
              <a:gd name="T31" fmla="*/ 125 h 404"/>
              <a:gd name="T32" fmla="*/ 140 w 323"/>
              <a:gd name="T33" fmla="*/ 90 h 404"/>
              <a:gd name="T34" fmla="*/ 93 w 323"/>
              <a:gd name="T35" fmla="*/ 150 h 404"/>
              <a:gd name="T36" fmla="*/ 95 w 323"/>
              <a:gd name="T37" fmla="*/ 167 h 404"/>
              <a:gd name="T38" fmla="*/ 101 w 323"/>
              <a:gd name="T39" fmla="*/ 187 h 404"/>
              <a:gd name="T40" fmla="*/ 70 w 323"/>
              <a:gd name="T41" fmla="*/ 313 h 404"/>
              <a:gd name="T42" fmla="*/ 69 w 323"/>
              <a:gd name="T43" fmla="*/ 401 h 404"/>
              <a:gd name="T44" fmla="*/ 75 w 323"/>
              <a:gd name="T45" fmla="*/ 402 h 404"/>
              <a:gd name="T46" fmla="*/ 118 w 323"/>
              <a:gd name="T47" fmla="*/ 326 h 404"/>
              <a:gd name="T48" fmla="*/ 135 w 323"/>
              <a:gd name="T49" fmla="*/ 263 h 404"/>
              <a:gd name="T50" fmla="*/ 194 w 323"/>
              <a:gd name="T51" fmla="*/ 291 h 404"/>
              <a:gd name="T52" fmla="*/ 318 w 323"/>
              <a:gd name="T53" fmla="*/ 181 h 404"/>
              <a:gd name="T54" fmla="*/ 323 w 323"/>
              <a:gd name="T55" fmla="*/ 133 h 404"/>
              <a:gd name="T56" fmla="*/ 171 w 323"/>
              <a:gd name="T57" fmla="*/ 0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23" h="404">
                <a:moveTo>
                  <a:pt x="171" y="0"/>
                </a:moveTo>
                <a:cubicBezTo>
                  <a:pt x="58" y="0"/>
                  <a:pt x="0" y="79"/>
                  <a:pt x="0" y="145"/>
                </a:cubicBezTo>
                <a:cubicBezTo>
                  <a:pt x="0" y="157"/>
                  <a:pt x="2" y="169"/>
                  <a:pt x="5" y="179"/>
                </a:cubicBezTo>
                <a:cubicBezTo>
                  <a:pt x="11" y="204"/>
                  <a:pt x="26" y="224"/>
                  <a:pt x="49" y="233"/>
                </a:cubicBezTo>
                <a:cubicBezTo>
                  <a:pt x="55" y="235"/>
                  <a:pt x="60" y="233"/>
                  <a:pt x="61" y="227"/>
                </a:cubicBezTo>
                <a:cubicBezTo>
                  <a:pt x="62" y="223"/>
                  <a:pt x="65" y="213"/>
                  <a:pt x="66" y="209"/>
                </a:cubicBezTo>
                <a:cubicBezTo>
                  <a:pt x="68" y="203"/>
                  <a:pt x="67" y="201"/>
                  <a:pt x="63" y="196"/>
                </a:cubicBezTo>
                <a:cubicBezTo>
                  <a:pt x="57" y="189"/>
                  <a:pt x="52" y="182"/>
                  <a:pt x="50" y="172"/>
                </a:cubicBezTo>
                <a:cubicBezTo>
                  <a:pt x="48" y="166"/>
                  <a:pt x="47" y="159"/>
                  <a:pt x="47" y="151"/>
                </a:cubicBezTo>
                <a:cubicBezTo>
                  <a:pt x="47" y="92"/>
                  <a:pt x="92" y="40"/>
                  <a:pt x="165" y="40"/>
                </a:cubicBezTo>
                <a:cubicBezTo>
                  <a:pt x="229" y="40"/>
                  <a:pt x="264" y="78"/>
                  <a:pt x="264" y="128"/>
                </a:cubicBezTo>
                <a:cubicBezTo>
                  <a:pt x="264" y="143"/>
                  <a:pt x="263" y="158"/>
                  <a:pt x="260" y="171"/>
                </a:cubicBezTo>
                <a:cubicBezTo>
                  <a:pt x="250" y="218"/>
                  <a:pt x="224" y="251"/>
                  <a:pt x="188" y="251"/>
                </a:cubicBezTo>
                <a:cubicBezTo>
                  <a:pt x="163" y="251"/>
                  <a:pt x="145" y="231"/>
                  <a:pt x="151" y="207"/>
                </a:cubicBezTo>
                <a:cubicBezTo>
                  <a:pt x="154" y="193"/>
                  <a:pt x="159" y="178"/>
                  <a:pt x="163" y="165"/>
                </a:cubicBezTo>
                <a:cubicBezTo>
                  <a:pt x="168" y="150"/>
                  <a:pt x="172" y="136"/>
                  <a:pt x="172" y="125"/>
                </a:cubicBezTo>
                <a:cubicBezTo>
                  <a:pt x="172" y="106"/>
                  <a:pt x="161" y="90"/>
                  <a:pt x="140" y="90"/>
                </a:cubicBezTo>
                <a:cubicBezTo>
                  <a:pt x="114" y="90"/>
                  <a:pt x="93" y="116"/>
                  <a:pt x="93" y="150"/>
                </a:cubicBezTo>
                <a:cubicBezTo>
                  <a:pt x="93" y="156"/>
                  <a:pt x="94" y="162"/>
                  <a:pt x="95" y="167"/>
                </a:cubicBezTo>
                <a:cubicBezTo>
                  <a:pt x="97" y="179"/>
                  <a:pt x="101" y="187"/>
                  <a:pt x="101" y="187"/>
                </a:cubicBezTo>
                <a:cubicBezTo>
                  <a:pt x="101" y="187"/>
                  <a:pt x="75" y="294"/>
                  <a:pt x="70" y="313"/>
                </a:cubicBezTo>
                <a:cubicBezTo>
                  <a:pt x="61" y="350"/>
                  <a:pt x="69" y="396"/>
                  <a:pt x="69" y="401"/>
                </a:cubicBezTo>
                <a:cubicBezTo>
                  <a:pt x="70" y="403"/>
                  <a:pt x="74" y="404"/>
                  <a:pt x="75" y="402"/>
                </a:cubicBezTo>
                <a:cubicBezTo>
                  <a:pt x="78" y="399"/>
                  <a:pt x="108" y="363"/>
                  <a:pt x="118" y="326"/>
                </a:cubicBezTo>
                <a:cubicBezTo>
                  <a:pt x="121" y="316"/>
                  <a:pt x="135" y="263"/>
                  <a:pt x="135" y="263"/>
                </a:cubicBezTo>
                <a:cubicBezTo>
                  <a:pt x="144" y="278"/>
                  <a:pt x="168" y="291"/>
                  <a:pt x="194" y="291"/>
                </a:cubicBezTo>
                <a:cubicBezTo>
                  <a:pt x="256" y="291"/>
                  <a:pt x="303" y="246"/>
                  <a:pt x="318" y="181"/>
                </a:cubicBezTo>
                <a:cubicBezTo>
                  <a:pt x="321" y="166"/>
                  <a:pt x="323" y="150"/>
                  <a:pt x="323" y="133"/>
                </a:cubicBezTo>
                <a:cubicBezTo>
                  <a:pt x="323" y="64"/>
                  <a:pt x="263" y="0"/>
                  <a:pt x="171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635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42462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848801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6848884" y="2925002"/>
            <a:ext cx="4359018" cy="3042927"/>
          </a:xfrm>
          <a:prstGeom prst="rect">
            <a:avLst/>
          </a:prstGeom>
        </p:spPr>
        <p:txBody>
          <a:bodyPr/>
          <a:lstStyle>
            <a:lvl1pPr algn="r"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5">
            <a:extLst>
              <a:ext uri="{FF2B5EF4-FFF2-40B4-BE49-F238E27FC236}">
                <a16:creationId xmlns:a16="http://schemas.microsoft.com/office/drawing/2014/main" id="{BF2B1F7D-565C-5E4F-85B7-AA2C878038A8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 bwMode="auto">
          <a:xfrm>
            <a:off x="0" y="955434"/>
            <a:ext cx="3396051" cy="5902566"/>
          </a:xfrm>
          <a:custGeom>
            <a:avLst/>
            <a:gdLst>
              <a:gd name="T0" fmla="*/ 0 w 3210"/>
              <a:gd name="T1" fmla="*/ 1099 h 5565"/>
              <a:gd name="T2" fmla="*/ 0 w 3210"/>
              <a:gd name="T3" fmla="*/ 2287 h 5565"/>
              <a:gd name="T4" fmla="*/ 1746 w 3210"/>
              <a:gd name="T5" fmla="*/ 1747 h 5565"/>
              <a:gd name="T6" fmla="*/ 1746 w 3210"/>
              <a:gd name="T7" fmla="*/ 5565 h 5565"/>
              <a:gd name="T8" fmla="*/ 3210 w 3210"/>
              <a:gd name="T9" fmla="*/ 5565 h 5565"/>
              <a:gd name="T10" fmla="*/ 3210 w 3210"/>
              <a:gd name="T11" fmla="*/ 0 h 5565"/>
              <a:gd name="T12" fmla="*/ 3054 w 3210"/>
              <a:gd name="T13" fmla="*/ 0 h 5565"/>
              <a:gd name="T14" fmla="*/ 0 w 3210"/>
              <a:gd name="T15" fmla="*/ 1099 h 5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210" h="5565">
                <a:moveTo>
                  <a:pt x="0" y="1099"/>
                </a:moveTo>
                <a:lnTo>
                  <a:pt x="0" y="2287"/>
                </a:lnTo>
                <a:lnTo>
                  <a:pt x="1746" y="1747"/>
                </a:lnTo>
                <a:lnTo>
                  <a:pt x="1746" y="5565"/>
                </a:lnTo>
                <a:lnTo>
                  <a:pt x="3210" y="5565"/>
                </a:lnTo>
                <a:lnTo>
                  <a:pt x="3210" y="0"/>
                </a:lnTo>
                <a:lnTo>
                  <a:pt x="3054" y="0"/>
                </a:lnTo>
                <a:lnTo>
                  <a:pt x="0" y="1099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 algn="ctr"/>
            <a:endParaRPr lang="ru-RU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630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4">
            <a:extLst>
              <a:ext uri="{FF2B5EF4-FFF2-40B4-BE49-F238E27FC236}">
                <a16:creationId xmlns:a16="http://schemas.microsoft.com/office/drawing/2014/main" id="{EA083E1C-F261-9849-BD41-8A706A956394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 bwMode="auto">
          <a:xfrm>
            <a:off x="0" y="871205"/>
            <a:ext cx="5268016" cy="5974565"/>
          </a:xfrm>
          <a:custGeom>
            <a:avLst/>
            <a:gdLst>
              <a:gd name="T0" fmla="*/ 722 w 827"/>
              <a:gd name="T1" fmla="*/ 91 h 942"/>
              <a:gd name="T2" fmla="*/ 427 w 827"/>
              <a:gd name="T3" fmla="*/ 0 h 942"/>
              <a:gd name="T4" fmla="*/ 205 w 827"/>
              <a:gd name="T5" fmla="*/ 53 h 942"/>
              <a:gd name="T6" fmla="*/ 53 w 827"/>
              <a:gd name="T7" fmla="*/ 199 h 942"/>
              <a:gd name="T8" fmla="*/ 0 w 827"/>
              <a:gd name="T9" fmla="*/ 404 h 942"/>
              <a:gd name="T10" fmla="*/ 245 w 827"/>
              <a:gd name="T11" fmla="*/ 404 h 942"/>
              <a:gd name="T12" fmla="*/ 292 w 827"/>
              <a:gd name="T13" fmla="*/ 253 h 942"/>
              <a:gd name="T14" fmla="*/ 423 w 827"/>
              <a:gd name="T15" fmla="*/ 196 h 942"/>
              <a:gd name="T16" fmla="*/ 541 w 827"/>
              <a:gd name="T17" fmla="*/ 243 h 942"/>
              <a:gd name="T18" fmla="*/ 582 w 827"/>
              <a:gd name="T19" fmla="*/ 372 h 942"/>
              <a:gd name="T20" fmla="*/ 543 w 827"/>
              <a:gd name="T21" fmla="*/ 499 h 942"/>
              <a:gd name="T22" fmla="*/ 422 w 827"/>
              <a:gd name="T23" fmla="*/ 655 h 942"/>
              <a:gd name="T24" fmla="*/ 153 w 827"/>
              <a:gd name="T25" fmla="*/ 942 h 942"/>
              <a:gd name="T26" fmla="*/ 441 w 827"/>
              <a:gd name="T27" fmla="*/ 942 h 942"/>
              <a:gd name="T28" fmla="*/ 618 w 827"/>
              <a:gd name="T29" fmla="*/ 755 h 942"/>
              <a:gd name="T30" fmla="*/ 780 w 827"/>
              <a:gd name="T31" fmla="*/ 534 h 942"/>
              <a:gd name="T32" fmla="*/ 827 w 827"/>
              <a:gd name="T33" fmla="*/ 349 h 942"/>
              <a:gd name="T34" fmla="*/ 722 w 827"/>
              <a:gd name="T35" fmla="*/ 91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27" h="942">
                <a:moveTo>
                  <a:pt x="722" y="91"/>
                </a:moveTo>
                <a:cubicBezTo>
                  <a:pt x="652" y="31"/>
                  <a:pt x="553" y="0"/>
                  <a:pt x="427" y="0"/>
                </a:cubicBezTo>
                <a:cubicBezTo>
                  <a:pt x="344" y="0"/>
                  <a:pt x="270" y="18"/>
                  <a:pt x="205" y="53"/>
                </a:cubicBezTo>
                <a:cubicBezTo>
                  <a:pt x="140" y="88"/>
                  <a:pt x="89" y="137"/>
                  <a:pt x="53" y="199"/>
                </a:cubicBezTo>
                <a:cubicBezTo>
                  <a:pt x="18" y="260"/>
                  <a:pt x="0" y="329"/>
                  <a:pt x="0" y="404"/>
                </a:cubicBezTo>
                <a:cubicBezTo>
                  <a:pt x="245" y="404"/>
                  <a:pt x="245" y="404"/>
                  <a:pt x="245" y="404"/>
                </a:cubicBezTo>
                <a:cubicBezTo>
                  <a:pt x="245" y="342"/>
                  <a:pt x="260" y="292"/>
                  <a:pt x="292" y="253"/>
                </a:cubicBezTo>
                <a:cubicBezTo>
                  <a:pt x="324" y="215"/>
                  <a:pt x="367" y="196"/>
                  <a:pt x="423" y="196"/>
                </a:cubicBezTo>
                <a:cubicBezTo>
                  <a:pt x="474" y="196"/>
                  <a:pt x="513" y="212"/>
                  <a:pt x="541" y="243"/>
                </a:cubicBezTo>
                <a:cubicBezTo>
                  <a:pt x="568" y="274"/>
                  <a:pt x="582" y="317"/>
                  <a:pt x="582" y="372"/>
                </a:cubicBezTo>
                <a:cubicBezTo>
                  <a:pt x="582" y="412"/>
                  <a:pt x="569" y="454"/>
                  <a:pt x="543" y="499"/>
                </a:cubicBezTo>
                <a:cubicBezTo>
                  <a:pt x="517" y="543"/>
                  <a:pt x="476" y="595"/>
                  <a:pt x="422" y="655"/>
                </a:cubicBezTo>
                <a:cubicBezTo>
                  <a:pt x="153" y="942"/>
                  <a:pt x="153" y="942"/>
                  <a:pt x="153" y="942"/>
                </a:cubicBezTo>
                <a:cubicBezTo>
                  <a:pt x="441" y="942"/>
                  <a:pt x="441" y="942"/>
                  <a:pt x="441" y="942"/>
                </a:cubicBezTo>
                <a:cubicBezTo>
                  <a:pt x="618" y="755"/>
                  <a:pt x="618" y="755"/>
                  <a:pt x="618" y="755"/>
                </a:cubicBezTo>
                <a:cubicBezTo>
                  <a:pt x="694" y="671"/>
                  <a:pt x="748" y="597"/>
                  <a:pt x="780" y="534"/>
                </a:cubicBezTo>
                <a:cubicBezTo>
                  <a:pt x="811" y="471"/>
                  <a:pt x="827" y="410"/>
                  <a:pt x="827" y="349"/>
                </a:cubicBezTo>
                <a:cubicBezTo>
                  <a:pt x="827" y="238"/>
                  <a:pt x="792" y="152"/>
                  <a:pt x="722" y="91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BF76A8C0-06DD-1745-85F1-407373AFF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801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99F60FDF-0BCE-444A-9E94-E15410833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884" y="2925002"/>
            <a:ext cx="4359018" cy="3042927"/>
          </a:xfrm>
          <a:prstGeom prst="rect">
            <a:avLst/>
          </a:prstGeom>
        </p:spPr>
        <p:txBody>
          <a:bodyPr/>
          <a:lstStyle>
            <a:lvl1pPr algn="r"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724848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/>
          <p:bldP spid="9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/>
          <p:bldP spid="9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3">
            <a:extLst>
              <a:ext uri="{FF2B5EF4-FFF2-40B4-BE49-F238E27FC236}">
                <a16:creationId xmlns:a16="http://schemas.microsoft.com/office/drawing/2014/main" id="{08C20EFA-0367-4E40-9494-73A7C2EB0AF8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 bwMode="auto">
          <a:xfrm>
            <a:off x="4637" y="891306"/>
            <a:ext cx="5339216" cy="5974565"/>
          </a:xfrm>
          <a:custGeom>
            <a:avLst/>
            <a:gdLst>
              <a:gd name="T0" fmla="*/ 632 w 838"/>
              <a:gd name="T1" fmla="*/ 614 h 942"/>
              <a:gd name="T2" fmla="*/ 767 w 838"/>
              <a:gd name="T3" fmla="*/ 505 h 942"/>
              <a:gd name="T4" fmla="*/ 819 w 838"/>
              <a:gd name="T5" fmla="*/ 350 h 942"/>
              <a:gd name="T6" fmla="*/ 708 w 838"/>
              <a:gd name="T7" fmla="*/ 94 h 942"/>
              <a:gd name="T8" fmla="*/ 403 w 838"/>
              <a:gd name="T9" fmla="*/ 0 h 942"/>
              <a:gd name="T10" fmla="*/ 197 w 838"/>
              <a:gd name="T11" fmla="*/ 43 h 942"/>
              <a:gd name="T12" fmla="*/ 52 w 838"/>
              <a:gd name="T13" fmla="*/ 163 h 942"/>
              <a:gd name="T14" fmla="*/ 0 w 838"/>
              <a:gd name="T15" fmla="*/ 335 h 942"/>
              <a:gd name="T16" fmla="*/ 244 w 838"/>
              <a:gd name="T17" fmla="*/ 335 h 942"/>
              <a:gd name="T18" fmla="*/ 292 w 838"/>
              <a:gd name="T19" fmla="*/ 235 h 942"/>
              <a:gd name="T20" fmla="*/ 409 w 838"/>
              <a:gd name="T21" fmla="*/ 196 h 942"/>
              <a:gd name="T22" fmla="*/ 531 w 838"/>
              <a:gd name="T23" fmla="*/ 238 h 942"/>
              <a:gd name="T24" fmla="*/ 575 w 838"/>
              <a:gd name="T25" fmla="*/ 353 h 942"/>
              <a:gd name="T26" fmla="*/ 530 w 838"/>
              <a:gd name="T27" fmla="*/ 477 h 942"/>
              <a:gd name="T28" fmla="*/ 393 w 838"/>
              <a:gd name="T29" fmla="*/ 523 h 942"/>
              <a:gd name="T30" fmla="*/ 263 w 838"/>
              <a:gd name="T31" fmla="*/ 523 h 942"/>
              <a:gd name="T32" fmla="*/ 263 w 838"/>
              <a:gd name="T33" fmla="*/ 714 h 942"/>
              <a:gd name="T34" fmla="*/ 392 w 838"/>
              <a:gd name="T35" fmla="*/ 714 h 942"/>
              <a:gd name="T36" fmla="*/ 594 w 838"/>
              <a:gd name="T37" fmla="*/ 898 h 942"/>
              <a:gd name="T38" fmla="*/ 590 w 838"/>
              <a:gd name="T39" fmla="*/ 942 h 942"/>
              <a:gd name="T40" fmla="*/ 836 w 838"/>
              <a:gd name="T41" fmla="*/ 942 h 942"/>
              <a:gd name="T42" fmla="*/ 838 w 838"/>
              <a:gd name="T43" fmla="*/ 901 h 942"/>
              <a:gd name="T44" fmla="*/ 787 w 838"/>
              <a:gd name="T45" fmla="*/ 726 h 942"/>
              <a:gd name="T46" fmla="*/ 632 w 838"/>
              <a:gd name="T47" fmla="*/ 614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38" h="942">
                <a:moveTo>
                  <a:pt x="632" y="614"/>
                </a:moveTo>
                <a:cubicBezTo>
                  <a:pt x="688" y="589"/>
                  <a:pt x="733" y="553"/>
                  <a:pt x="767" y="505"/>
                </a:cubicBezTo>
                <a:cubicBezTo>
                  <a:pt x="802" y="458"/>
                  <a:pt x="819" y="406"/>
                  <a:pt x="819" y="350"/>
                </a:cubicBezTo>
                <a:cubicBezTo>
                  <a:pt x="819" y="241"/>
                  <a:pt x="782" y="156"/>
                  <a:pt x="708" y="94"/>
                </a:cubicBezTo>
                <a:cubicBezTo>
                  <a:pt x="635" y="31"/>
                  <a:pt x="533" y="0"/>
                  <a:pt x="403" y="0"/>
                </a:cubicBezTo>
                <a:cubicBezTo>
                  <a:pt x="328" y="0"/>
                  <a:pt x="260" y="15"/>
                  <a:pt x="197" y="43"/>
                </a:cubicBezTo>
                <a:cubicBezTo>
                  <a:pt x="135" y="72"/>
                  <a:pt x="87" y="112"/>
                  <a:pt x="52" y="163"/>
                </a:cubicBezTo>
                <a:cubicBezTo>
                  <a:pt x="18" y="214"/>
                  <a:pt x="0" y="271"/>
                  <a:pt x="0" y="335"/>
                </a:cubicBezTo>
                <a:cubicBezTo>
                  <a:pt x="244" y="335"/>
                  <a:pt x="244" y="335"/>
                  <a:pt x="244" y="335"/>
                </a:cubicBezTo>
                <a:cubicBezTo>
                  <a:pt x="244" y="294"/>
                  <a:pt x="260" y="261"/>
                  <a:pt x="292" y="235"/>
                </a:cubicBezTo>
                <a:cubicBezTo>
                  <a:pt x="323" y="209"/>
                  <a:pt x="362" y="196"/>
                  <a:pt x="409" y="196"/>
                </a:cubicBezTo>
                <a:cubicBezTo>
                  <a:pt x="461" y="196"/>
                  <a:pt x="501" y="210"/>
                  <a:pt x="531" y="238"/>
                </a:cubicBezTo>
                <a:cubicBezTo>
                  <a:pt x="560" y="265"/>
                  <a:pt x="575" y="304"/>
                  <a:pt x="575" y="353"/>
                </a:cubicBezTo>
                <a:cubicBezTo>
                  <a:pt x="575" y="405"/>
                  <a:pt x="560" y="446"/>
                  <a:pt x="530" y="477"/>
                </a:cubicBezTo>
                <a:cubicBezTo>
                  <a:pt x="500" y="508"/>
                  <a:pt x="455" y="523"/>
                  <a:pt x="393" y="523"/>
                </a:cubicBezTo>
                <a:cubicBezTo>
                  <a:pt x="263" y="523"/>
                  <a:pt x="263" y="523"/>
                  <a:pt x="263" y="523"/>
                </a:cubicBezTo>
                <a:cubicBezTo>
                  <a:pt x="263" y="714"/>
                  <a:pt x="263" y="714"/>
                  <a:pt x="263" y="714"/>
                </a:cubicBezTo>
                <a:cubicBezTo>
                  <a:pt x="392" y="714"/>
                  <a:pt x="392" y="714"/>
                  <a:pt x="392" y="714"/>
                </a:cubicBezTo>
                <a:cubicBezTo>
                  <a:pt x="527" y="714"/>
                  <a:pt x="594" y="775"/>
                  <a:pt x="594" y="898"/>
                </a:cubicBezTo>
                <a:cubicBezTo>
                  <a:pt x="594" y="914"/>
                  <a:pt x="593" y="928"/>
                  <a:pt x="590" y="942"/>
                </a:cubicBezTo>
                <a:cubicBezTo>
                  <a:pt x="836" y="942"/>
                  <a:pt x="836" y="942"/>
                  <a:pt x="836" y="942"/>
                </a:cubicBezTo>
                <a:cubicBezTo>
                  <a:pt x="838" y="929"/>
                  <a:pt x="838" y="915"/>
                  <a:pt x="838" y="901"/>
                </a:cubicBezTo>
                <a:cubicBezTo>
                  <a:pt x="838" y="834"/>
                  <a:pt x="821" y="775"/>
                  <a:pt x="787" y="726"/>
                </a:cubicBezTo>
                <a:cubicBezTo>
                  <a:pt x="753" y="676"/>
                  <a:pt x="702" y="639"/>
                  <a:pt x="632" y="614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D698217-4A94-3845-972A-DE498CE7D8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801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id="{F9E37294-1B85-AA4B-857B-0862C6B846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884" y="2925002"/>
            <a:ext cx="4359018" cy="3042927"/>
          </a:xfrm>
          <a:prstGeom prst="rect">
            <a:avLst/>
          </a:prstGeom>
        </p:spPr>
        <p:txBody>
          <a:bodyPr/>
          <a:lstStyle>
            <a:lvl1pPr algn="r"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68862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0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0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2">
            <a:extLst>
              <a:ext uri="{FF2B5EF4-FFF2-40B4-BE49-F238E27FC236}">
                <a16:creationId xmlns:a16="http://schemas.microsoft.com/office/drawing/2014/main" id="{AA8FCCEF-7261-6147-AC0C-FB3CB61F6283}"/>
              </a:ext>
            </a:extLst>
          </p:cNvPr>
          <p:cNvSpPr>
            <a:spLocks noGrp="1" noEditPoints="1"/>
          </p:cNvSpPr>
          <p:nvPr>
            <p:ph type="pic" sz="quarter" idx="50"/>
          </p:nvPr>
        </p:nvSpPr>
        <p:spPr bwMode="auto">
          <a:xfrm>
            <a:off x="8787" y="1019511"/>
            <a:ext cx="5700007" cy="5830566"/>
          </a:xfrm>
          <a:custGeom>
            <a:avLst/>
            <a:gdLst>
              <a:gd name="T0" fmla="*/ 4548 w 5388"/>
              <a:gd name="T1" fmla="*/ 4592 h 5547"/>
              <a:gd name="T2" fmla="*/ 4548 w 5388"/>
              <a:gd name="T3" fmla="*/ 0 h 5547"/>
              <a:gd name="T4" fmla="*/ 3072 w 5388"/>
              <a:gd name="T5" fmla="*/ 0 h 5547"/>
              <a:gd name="T6" fmla="*/ 0 w 5388"/>
              <a:gd name="T7" fmla="*/ 4851 h 5547"/>
              <a:gd name="T8" fmla="*/ 48 w 5388"/>
              <a:gd name="T9" fmla="*/ 5547 h 5547"/>
              <a:gd name="T10" fmla="*/ 5388 w 5388"/>
              <a:gd name="T11" fmla="*/ 5547 h 5547"/>
              <a:gd name="T12" fmla="*/ 5388 w 5388"/>
              <a:gd name="T13" fmla="*/ 4592 h 5547"/>
              <a:gd name="T14" fmla="*/ 4548 w 5388"/>
              <a:gd name="T15" fmla="*/ 4592 h 5547"/>
              <a:gd name="T16" fmla="*/ 3084 w 5388"/>
              <a:gd name="T17" fmla="*/ 4592 h 5547"/>
              <a:gd name="T18" fmla="*/ 1824 w 5388"/>
              <a:gd name="T19" fmla="*/ 4592 h 5547"/>
              <a:gd name="T20" fmla="*/ 3084 w 5388"/>
              <a:gd name="T21" fmla="*/ 2546 h 5547"/>
              <a:gd name="T22" fmla="*/ 3084 w 5388"/>
              <a:gd name="T23" fmla="*/ 4592 h 5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388" h="5547">
                <a:moveTo>
                  <a:pt x="4548" y="4592"/>
                </a:moveTo>
                <a:lnTo>
                  <a:pt x="4548" y="0"/>
                </a:lnTo>
                <a:lnTo>
                  <a:pt x="3072" y="0"/>
                </a:lnTo>
                <a:lnTo>
                  <a:pt x="0" y="4851"/>
                </a:lnTo>
                <a:lnTo>
                  <a:pt x="48" y="5547"/>
                </a:lnTo>
                <a:lnTo>
                  <a:pt x="5388" y="5547"/>
                </a:lnTo>
                <a:lnTo>
                  <a:pt x="5388" y="4592"/>
                </a:lnTo>
                <a:lnTo>
                  <a:pt x="4548" y="4592"/>
                </a:lnTo>
                <a:close/>
                <a:moveTo>
                  <a:pt x="3084" y="4592"/>
                </a:moveTo>
                <a:lnTo>
                  <a:pt x="1824" y="4592"/>
                </a:lnTo>
                <a:lnTo>
                  <a:pt x="3084" y="2546"/>
                </a:lnTo>
                <a:lnTo>
                  <a:pt x="3084" y="4592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517EDD7-6D3B-D34C-88D2-2D3266A192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801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D45A50AC-9DB6-F447-BC75-073680A79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884" y="2925002"/>
            <a:ext cx="4359018" cy="3042927"/>
          </a:xfrm>
          <a:prstGeom prst="rect">
            <a:avLst/>
          </a:prstGeom>
        </p:spPr>
        <p:txBody>
          <a:bodyPr/>
          <a:lstStyle>
            <a:lvl1pPr algn="r">
              <a:defRPr lang="en-US" sz="13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271815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1">
            <a:extLst>
              <a:ext uri="{FF2B5EF4-FFF2-40B4-BE49-F238E27FC236}">
                <a16:creationId xmlns:a16="http://schemas.microsoft.com/office/drawing/2014/main" id="{401447D7-78E6-5744-8C34-CEA1AE6B34CC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 bwMode="auto">
          <a:xfrm>
            <a:off x="0" y="955434"/>
            <a:ext cx="5088019" cy="5902566"/>
          </a:xfrm>
          <a:custGeom>
            <a:avLst/>
            <a:gdLst>
              <a:gd name="T0" fmla="*/ 425 w 800"/>
              <a:gd name="T1" fmla="*/ 421 h 924"/>
              <a:gd name="T2" fmla="*/ 240 w 800"/>
              <a:gd name="T3" fmla="*/ 467 h 924"/>
              <a:gd name="T4" fmla="*/ 271 w 800"/>
              <a:gd name="T5" fmla="*/ 204 h 924"/>
              <a:gd name="T6" fmla="*/ 759 w 800"/>
              <a:gd name="T7" fmla="*/ 204 h 924"/>
              <a:gd name="T8" fmla="*/ 759 w 800"/>
              <a:gd name="T9" fmla="*/ 0 h 924"/>
              <a:gd name="T10" fmla="*/ 71 w 800"/>
              <a:gd name="T11" fmla="*/ 0 h 924"/>
              <a:gd name="T12" fmla="*/ 0 w 800"/>
              <a:gd name="T13" fmla="*/ 624 h 924"/>
              <a:gd name="T14" fmla="*/ 194 w 800"/>
              <a:gd name="T15" fmla="*/ 673 h 924"/>
              <a:gd name="T16" fmla="*/ 218 w 800"/>
              <a:gd name="T17" fmla="*/ 651 h 924"/>
              <a:gd name="T18" fmla="*/ 358 w 800"/>
              <a:gd name="T19" fmla="*/ 605 h 924"/>
              <a:gd name="T20" fmla="*/ 504 w 800"/>
              <a:gd name="T21" fmla="*/ 661 h 924"/>
              <a:gd name="T22" fmla="*/ 556 w 800"/>
              <a:gd name="T23" fmla="*/ 821 h 924"/>
              <a:gd name="T24" fmla="*/ 543 w 800"/>
              <a:gd name="T25" fmla="*/ 924 h 924"/>
              <a:gd name="T26" fmla="*/ 792 w 800"/>
              <a:gd name="T27" fmla="*/ 924 h 924"/>
              <a:gd name="T28" fmla="*/ 800 w 800"/>
              <a:gd name="T29" fmla="*/ 834 h 924"/>
              <a:gd name="T30" fmla="*/ 700 w 800"/>
              <a:gd name="T31" fmla="*/ 530 h 924"/>
              <a:gd name="T32" fmla="*/ 425 w 800"/>
              <a:gd name="T33" fmla="*/ 421 h 9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00" h="924">
                <a:moveTo>
                  <a:pt x="425" y="421"/>
                </a:moveTo>
                <a:cubicBezTo>
                  <a:pt x="360" y="421"/>
                  <a:pt x="298" y="436"/>
                  <a:pt x="240" y="467"/>
                </a:cubicBezTo>
                <a:cubicBezTo>
                  <a:pt x="271" y="204"/>
                  <a:pt x="271" y="204"/>
                  <a:pt x="271" y="204"/>
                </a:cubicBezTo>
                <a:cubicBezTo>
                  <a:pt x="759" y="204"/>
                  <a:pt x="759" y="204"/>
                  <a:pt x="759" y="204"/>
                </a:cubicBezTo>
                <a:cubicBezTo>
                  <a:pt x="759" y="0"/>
                  <a:pt x="759" y="0"/>
                  <a:pt x="759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0" y="624"/>
                  <a:pt x="0" y="624"/>
                  <a:pt x="0" y="624"/>
                </a:cubicBezTo>
                <a:cubicBezTo>
                  <a:pt x="194" y="673"/>
                  <a:pt x="194" y="673"/>
                  <a:pt x="194" y="673"/>
                </a:cubicBezTo>
                <a:cubicBezTo>
                  <a:pt x="218" y="651"/>
                  <a:pt x="218" y="651"/>
                  <a:pt x="218" y="651"/>
                </a:cubicBezTo>
                <a:cubicBezTo>
                  <a:pt x="254" y="620"/>
                  <a:pt x="301" y="605"/>
                  <a:pt x="358" y="605"/>
                </a:cubicBezTo>
                <a:cubicBezTo>
                  <a:pt x="421" y="605"/>
                  <a:pt x="470" y="624"/>
                  <a:pt x="504" y="661"/>
                </a:cubicBezTo>
                <a:cubicBezTo>
                  <a:pt x="539" y="698"/>
                  <a:pt x="556" y="751"/>
                  <a:pt x="556" y="821"/>
                </a:cubicBezTo>
                <a:cubicBezTo>
                  <a:pt x="556" y="860"/>
                  <a:pt x="552" y="894"/>
                  <a:pt x="543" y="924"/>
                </a:cubicBezTo>
                <a:cubicBezTo>
                  <a:pt x="792" y="924"/>
                  <a:pt x="792" y="924"/>
                  <a:pt x="792" y="924"/>
                </a:cubicBezTo>
                <a:cubicBezTo>
                  <a:pt x="797" y="895"/>
                  <a:pt x="800" y="865"/>
                  <a:pt x="800" y="834"/>
                </a:cubicBezTo>
                <a:cubicBezTo>
                  <a:pt x="800" y="704"/>
                  <a:pt x="767" y="602"/>
                  <a:pt x="700" y="530"/>
                </a:cubicBezTo>
                <a:cubicBezTo>
                  <a:pt x="634" y="457"/>
                  <a:pt x="542" y="421"/>
                  <a:pt x="425" y="421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8C00925-FA83-7D45-9BF5-C36AFCF919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801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0EA515A1-8F85-3C4E-A8E9-19B1FE39D7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884" y="2925002"/>
            <a:ext cx="4359018" cy="3042927"/>
          </a:xfrm>
          <a:prstGeom prst="rect">
            <a:avLst/>
          </a:prstGeom>
        </p:spPr>
        <p:txBody>
          <a:bodyPr/>
          <a:lstStyle>
            <a:lvl1pPr algn="r">
              <a:defRPr lang="en-US" sz="13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75298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>
            <a:extLst>
              <a:ext uri="{FF2B5EF4-FFF2-40B4-BE49-F238E27FC236}">
                <a16:creationId xmlns:a16="http://schemas.microsoft.com/office/drawing/2014/main" id="{DB04C1B4-FCBA-C94A-A0FA-10F6109A7B8E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 bwMode="auto">
          <a:xfrm>
            <a:off x="0" y="919434"/>
            <a:ext cx="5339216" cy="5938566"/>
          </a:xfrm>
          <a:custGeom>
            <a:avLst/>
            <a:gdLst>
              <a:gd name="T0" fmla="*/ 497 w 846"/>
              <a:gd name="T1" fmla="*/ 420 h 938"/>
              <a:gd name="T2" fmla="*/ 250 w 846"/>
              <a:gd name="T3" fmla="*/ 520 h 938"/>
              <a:gd name="T4" fmla="*/ 371 w 846"/>
              <a:gd name="T5" fmla="*/ 288 h 938"/>
              <a:gd name="T6" fmla="*/ 637 w 846"/>
              <a:gd name="T7" fmla="*/ 202 h 938"/>
              <a:gd name="T8" fmla="*/ 660 w 846"/>
              <a:gd name="T9" fmla="*/ 202 h 938"/>
              <a:gd name="T10" fmla="*/ 660 w 846"/>
              <a:gd name="T11" fmla="*/ 0 h 938"/>
              <a:gd name="T12" fmla="*/ 620 w 846"/>
              <a:gd name="T13" fmla="*/ 0 h 938"/>
              <a:gd name="T14" fmla="*/ 292 w 846"/>
              <a:gd name="T15" fmla="*/ 85 h 938"/>
              <a:gd name="T16" fmla="*/ 75 w 846"/>
              <a:gd name="T17" fmla="*/ 322 h 938"/>
              <a:gd name="T18" fmla="*/ 0 w 846"/>
              <a:gd name="T19" fmla="*/ 676 h 938"/>
              <a:gd name="T20" fmla="*/ 0 w 846"/>
              <a:gd name="T21" fmla="*/ 763 h 938"/>
              <a:gd name="T22" fmla="*/ 21 w 846"/>
              <a:gd name="T23" fmla="*/ 938 h 938"/>
              <a:gd name="T24" fmla="*/ 264 w 846"/>
              <a:gd name="T25" fmla="*/ 938 h 938"/>
              <a:gd name="T26" fmla="*/ 245 w 846"/>
              <a:gd name="T27" fmla="*/ 803 h 938"/>
              <a:gd name="T28" fmla="*/ 245 w 846"/>
              <a:gd name="T29" fmla="*/ 729 h 938"/>
              <a:gd name="T30" fmla="*/ 315 w 846"/>
              <a:gd name="T31" fmla="*/ 647 h 938"/>
              <a:gd name="T32" fmla="*/ 423 w 846"/>
              <a:gd name="T33" fmla="*/ 616 h 938"/>
              <a:gd name="T34" fmla="*/ 554 w 846"/>
              <a:gd name="T35" fmla="*/ 678 h 938"/>
              <a:gd name="T36" fmla="*/ 603 w 846"/>
              <a:gd name="T37" fmla="*/ 840 h 938"/>
              <a:gd name="T38" fmla="*/ 588 w 846"/>
              <a:gd name="T39" fmla="*/ 938 h 938"/>
              <a:gd name="T40" fmla="*/ 836 w 846"/>
              <a:gd name="T41" fmla="*/ 938 h 938"/>
              <a:gd name="T42" fmla="*/ 846 w 846"/>
              <a:gd name="T43" fmla="*/ 837 h 938"/>
              <a:gd name="T44" fmla="*/ 752 w 846"/>
              <a:gd name="T45" fmla="*/ 535 h 938"/>
              <a:gd name="T46" fmla="*/ 497 w 846"/>
              <a:gd name="T47" fmla="*/ 420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46" h="938">
                <a:moveTo>
                  <a:pt x="497" y="420"/>
                </a:moveTo>
                <a:cubicBezTo>
                  <a:pt x="397" y="420"/>
                  <a:pt x="315" y="454"/>
                  <a:pt x="250" y="520"/>
                </a:cubicBezTo>
                <a:cubicBezTo>
                  <a:pt x="263" y="421"/>
                  <a:pt x="303" y="344"/>
                  <a:pt x="371" y="288"/>
                </a:cubicBezTo>
                <a:cubicBezTo>
                  <a:pt x="438" y="232"/>
                  <a:pt x="527" y="203"/>
                  <a:pt x="637" y="202"/>
                </a:cubicBezTo>
                <a:cubicBezTo>
                  <a:pt x="660" y="202"/>
                  <a:pt x="660" y="202"/>
                  <a:pt x="660" y="202"/>
                </a:cubicBezTo>
                <a:cubicBezTo>
                  <a:pt x="660" y="0"/>
                  <a:pt x="660" y="0"/>
                  <a:pt x="660" y="0"/>
                </a:cubicBezTo>
                <a:cubicBezTo>
                  <a:pt x="620" y="0"/>
                  <a:pt x="620" y="0"/>
                  <a:pt x="620" y="0"/>
                </a:cubicBezTo>
                <a:cubicBezTo>
                  <a:pt x="496" y="1"/>
                  <a:pt x="386" y="29"/>
                  <a:pt x="292" y="85"/>
                </a:cubicBezTo>
                <a:cubicBezTo>
                  <a:pt x="198" y="141"/>
                  <a:pt x="126" y="220"/>
                  <a:pt x="75" y="322"/>
                </a:cubicBezTo>
                <a:cubicBezTo>
                  <a:pt x="25" y="425"/>
                  <a:pt x="0" y="542"/>
                  <a:pt x="0" y="676"/>
                </a:cubicBezTo>
                <a:cubicBezTo>
                  <a:pt x="0" y="763"/>
                  <a:pt x="0" y="763"/>
                  <a:pt x="0" y="763"/>
                </a:cubicBezTo>
                <a:cubicBezTo>
                  <a:pt x="0" y="827"/>
                  <a:pt x="7" y="885"/>
                  <a:pt x="21" y="938"/>
                </a:cubicBezTo>
                <a:cubicBezTo>
                  <a:pt x="264" y="938"/>
                  <a:pt x="264" y="938"/>
                  <a:pt x="264" y="938"/>
                </a:cubicBezTo>
                <a:cubicBezTo>
                  <a:pt x="251" y="900"/>
                  <a:pt x="245" y="855"/>
                  <a:pt x="245" y="803"/>
                </a:cubicBezTo>
                <a:cubicBezTo>
                  <a:pt x="245" y="729"/>
                  <a:pt x="245" y="729"/>
                  <a:pt x="245" y="729"/>
                </a:cubicBezTo>
                <a:cubicBezTo>
                  <a:pt x="260" y="695"/>
                  <a:pt x="283" y="668"/>
                  <a:pt x="315" y="647"/>
                </a:cubicBezTo>
                <a:cubicBezTo>
                  <a:pt x="347" y="627"/>
                  <a:pt x="383" y="616"/>
                  <a:pt x="423" y="616"/>
                </a:cubicBezTo>
                <a:cubicBezTo>
                  <a:pt x="478" y="616"/>
                  <a:pt x="522" y="637"/>
                  <a:pt x="554" y="678"/>
                </a:cubicBezTo>
                <a:cubicBezTo>
                  <a:pt x="587" y="719"/>
                  <a:pt x="603" y="773"/>
                  <a:pt x="603" y="840"/>
                </a:cubicBezTo>
                <a:cubicBezTo>
                  <a:pt x="603" y="876"/>
                  <a:pt x="598" y="909"/>
                  <a:pt x="588" y="938"/>
                </a:cubicBezTo>
                <a:cubicBezTo>
                  <a:pt x="836" y="938"/>
                  <a:pt x="836" y="938"/>
                  <a:pt x="836" y="938"/>
                </a:cubicBezTo>
                <a:cubicBezTo>
                  <a:pt x="843" y="906"/>
                  <a:pt x="846" y="872"/>
                  <a:pt x="846" y="837"/>
                </a:cubicBezTo>
                <a:cubicBezTo>
                  <a:pt x="846" y="712"/>
                  <a:pt x="815" y="612"/>
                  <a:pt x="752" y="535"/>
                </a:cubicBezTo>
                <a:cubicBezTo>
                  <a:pt x="689" y="459"/>
                  <a:pt x="604" y="420"/>
                  <a:pt x="497" y="42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DD8289F-4557-6A44-8E0A-12B206A07D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801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EC8CAD86-386C-BD48-B310-3A039BBE5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884" y="2925002"/>
            <a:ext cx="4359018" cy="3042927"/>
          </a:xfrm>
          <a:prstGeom prst="rect">
            <a:avLst/>
          </a:prstGeom>
        </p:spPr>
        <p:txBody>
          <a:bodyPr/>
          <a:lstStyle>
            <a:lvl1pPr algn="r">
              <a:defRPr lang="en-US" sz="13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4098559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DC94B303-8A5C-0747-BC03-0AB135FF2B5E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 bwMode="auto">
          <a:xfrm>
            <a:off x="0" y="1027434"/>
            <a:ext cx="5484011" cy="5830566"/>
          </a:xfrm>
          <a:custGeom>
            <a:avLst/>
            <a:gdLst>
              <a:gd name="connsiteX0" fmla="*/ 0 w 10969451"/>
              <a:gd name="connsiteY0" fmla="*/ 0 h 11662483"/>
              <a:gd name="connsiteX1" fmla="*/ 47773 w 10969451"/>
              <a:gd name="connsiteY1" fmla="*/ 0 h 11662483"/>
              <a:gd name="connsiteX2" fmla="*/ 9865097 w 10969451"/>
              <a:gd name="connsiteY2" fmla="*/ 0 h 11662483"/>
              <a:gd name="connsiteX3" fmla="*/ 10969451 w 10969451"/>
              <a:gd name="connsiteY3" fmla="*/ 0 h 11662483"/>
              <a:gd name="connsiteX4" fmla="*/ 10969451 w 10969451"/>
              <a:gd name="connsiteY4" fmla="*/ 1717730 h 11662483"/>
              <a:gd name="connsiteX5" fmla="*/ 6642401 w 10969451"/>
              <a:gd name="connsiteY5" fmla="*/ 11662483 h 11662483"/>
              <a:gd name="connsiteX6" fmla="*/ 5992519 w 10969451"/>
              <a:gd name="connsiteY6" fmla="*/ 11662483 h 11662483"/>
              <a:gd name="connsiteX7" fmla="*/ 3479353 w 10969451"/>
              <a:gd name="connsiteY7" fmla="*/ 11662483 h 11662483"/>
              <a:gd name="connsiteX8" fmla="*/ 3161687 w 10969451"/>
              <a:gd name="connsiteY8" fmla="*/ 11662483 h 11662483"/>
              <a:gd name="connsiteX9" fmla="*/ 6966325 w 10969451"/>
              <a:gd name="connsiteY9" fmla="*/ 2487240 h 11662483"/>
              <a:gd name="connsiteX10" fmla="*/ 47773 w 10969451"/>
              <a:gd name="connsiteY10" fmla="*/ 2487240 h 11662483"/>
              <a:gd name="connsiteX11" fmla="*/ 0 w 10969451"/>
              <a:gd name="connsiteY11" fmla="*/ 2487240 h 11662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9451" h="11662483">
                <a:moveTo>
                  <a:pt x="0" y="0"/>
                </a:moveTo>
                <a:lnTo>
                  <a:pt x="47773" y="0"/>
                </a:lnTo>
                <a:lnTo>
                  <a:pt x="9865097" y="0"/>
                </a:lnTo>
                <a:lnTo>
                  <a:pt x="10969451" y="0"/>
                </a:lnTo>
                <a:lnTo>
                  <a:pt x="10969451" y="1717730"/>
                </a:lnTo>
                <a:lnTo>
                  <a:pt x="6642401" y="11662483"/>
                </a:lnTo>
                <a:lnTo>
                  <a:pt x="5992519" y="11662483"/>
                </a:lnTo>
                <a:lnTo>
                  <a:pt x="3479353" y="11662483"/>
                </a:lnTo>
                <a:lnTo>
                  <a:pt x="3161687" y="11662483"/>
                </a:lnTo>
                <a:lnTo>
                  <a:pt x="6966325" y="2487240"/>
                </a:lnTo>
                <a:lnTo>
                  <a:pt x="47773" y="2487240"/>
                </a:lnTo>
                <a:lnTo>
                  <a:pt x="0" y="2487240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3485E98-4BAB-4647-A273-4C1B087122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801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EE1461D6-FAAB-9048-B3E2-1806D42500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884" y="2925002"/>
            <a:ext cx="4359018" cy="3042927"/>
          </a:xfrm>
          <a:prstGeom prst="rect">
            <a:avLst/>
          </a:prstGeom>
        </p:spPr>
        <p:txBody>
          <a:bodyPr/>
          <a:lstStyle>
            <a:lvl1pPr algn="r">
              <a:defRPr lang="en-US" sz="13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32203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79B6F384-6C99-1F45-93DB-19B9B9C1E4CD}"/>
              </a:ext>
            </a:extLst>
          </p:cNvPr>
          <p:cNvSpPr>
            <a:spLocks noGrp="1" noEditPoints="1"/>
          </p:cNvSpPr>
          <p:nvPr>
            <p:ph type="pic" sz="quarter" idx="57"/>
          </p:nvPr>
        </p:nvSpPr>
        <p:spPr bwMode="auto">
          <a:xfrm>
            <a:off x="0" y="847435"/>
            <a:ext cx="5268016" cy="6010565"/>
          </a:xfrm>
          <a:custGeom>
            <a:avLst/>
            <a:gdLst>
              <a:gd name="T0" fmla="*/ 637 w 831"/>
              <a:gd name="T1" fmla="*/ 613 h 942"/>
              <a:gd name="T2" fmla="*/ 760 w 831"/>
              <a:gd name="T3" fmla="*/ 503 h 942"/>
              <a:gd name="T4" fmla="*/ 805 w 831"/>
              <a:gd name="T5" fmla="*/ 344 h 942"/>
              <a:gd name="T6" fmla="*/ 699 w 831"/>
              <a:gd name="T7" fmla="*/ 93 h 942"/>
              <a:gd name="T8" fmla="*/ 416 w 831"/>
              <a:gd name="T9" fmla="*/ 0 h 942"/>
              <a:gd name="T10" fmla="*/ 131 w 831"/>
              <a:gd name="T11" fmla="*/ 94 h 942"/>
              <a:gd name="T12" fmla="*/ 27 w 831"/>
              <a:gd name="T13" fmla="*/ 344 h 942"/>
              <a:gd name="T14" fmla="*/ 71 w 831"/>
              <a:gd name="T15" fmla="*/ 503 h 942"/>
              <a:gd name="T16" fmla="*/ 194 w 831"/>
              <a:gd name="T17" fmla="*/ 613 h 942"/>
              <a:gd name="T18" fmla="*/ 53 w 831"/>
              <a:gd name="T19" fmla="*/ 731 h 942"/>
              <a:gd name="T20" fmla="*/ 0 w 831"/>
              <a:gd name="T21" fmla="*/ 909 h 942"/>
              <a:gd name="T22" fmla="*/ 2 w 831"/>
              <a:gd name="T23" fmla="*/ 942 h 942"/>
              <a:gd name="T24" fmla="*/ 250 w 831"/>
              <a:gd name="T25" fmla="*/ 942 h 942"/>
              <a:gd name="T26" fmla="*/ 244 w 831"/>
              <a:gd name="T27" fmla="*/ 892 h 942"/>
              <a:gd name="T28" fmla="*/ 291 w 831"/>
              <a:gd name="T29" fmla="*/ 763 h 942"/>
              <a:gd name="T30" fmla="*/ 415 w 831"/>
              <a:gd name="T31" fmla="*/ 715 h 942"/>
              <a:gd name="T32" fmla="*/ 540 w 831"/>
              <a:gd name="T33" fmla="*/ 763 h 942"/>
              <a:gd name="T34" fmla="*/ 586 w 831"/>
              <a:gd name="T35" fmla="*/ 892 h 942"/>
              <a:gd name="T36" fmla="*/ 581 w 831"/>
              <a:gd name="T37" fmla="*/ 942 h 942"/>
              <a:gd name="T38" fmla="*/ 830 w 831"/>
              <a:gd name="T39" fmla="*/ 942 h 942"/>
              <a:gd name="T40" fmla="*/ 831 w 831"/>
              <a:gd name="T41" fmla="*/ 909 h 942"/>
              <a:gd name="T42" fmla="*/ 778 w 831"/>
              <a:gd name="T43" fmla="*/ 732 h 942"/>
              <a:gd name="T44" fmla="*/ 637 w 831"/>
              <a:gd name="T45" fmla="*/ 613 h 942"/>
              <a:gd name="T46" fmla="*/ 523 w 831"/>
              <a:gd name="T47" fmla="*/ 474 h 942"/>
              <a:gd name="T48" fmla="*/ 416 w 831"/>
              <a:gd name="T49" fmla="*/ 519 h 942"/>
              <a:gd name="T50" fmla="*/ 309 w 831"/>
              <a:gd name="T51" fmla="*/ 474 h 942"/>
              <a:gd name="T52" fmla="*/ 271 w 831"/>
              <a:gd name="T53" fmla="*/ 356 h 942"/>
              <a:gd name="T54" fmla="*/ 309 w 831"/>
              <a:gd name="T55" fmla="*/ 239 h 942"/>
              <a:gd name="T56" fmla="*/ 416 w 831"/>
              <a:gd name="T57" fmla="*/ 196 h 942"/>
              <a:gd name="T58" fmla="*/ 523 w 831"/>
              <a:gd name="T59" fmla="*/ 240 h 942"/>
              <a:gd name="T60" fmla="*/ 561 w 831"/>
              <a:gd name="T61" fmla="*/ 356 h 942"/>
              <a:gd name="T62" fmla="*/ 523 w 831"/>
              <a:gd name="T63" fmla="*/ 474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31" h="942">
                <a:moveTo>
                  <a:pt x="637" y="613"/>
                </a:moveTo>
                <a:cubicBezTo>
                  <a:pt x="689" y="586"/>
                  <a:pt x="730" y="549"/>
                  <a:pt x="760" y="503"/>
                </a:cubicBezTo>
                <a:cubicBezTo>
                  <a:pt x="790" y="456"/>
                  <a:pt x="805" y="404"/>
                  <a:pt x="805" y="344"/>
                </a:cubicBezTo>
                <a:cubicBezTo>
                  <a:pt x="805" y="238"/>
                  <a:pt x="769" y="154"/>
                  <a:pt x="699" y="93"/>
                </a:cubicBezTo>
                <a:cubicBezTo>
                  <a:pt x="629" y="31"/>
                  <a:pt x="535" y="0"/>
                  <a:pt x="416" y="0"/>
                </a:cubicBezTo>
                <a:cubicBezTo>
                  <a:pt x="296" y="0"/>
                  <a:pt x="201" y="31"/>
                  <a:pt x="131" y="94"/>
                </a:cubicBezTo>
                <a:cubicBezTo>
                  <a:pt x="61" y="156"/>
                  <a:pt x="27" y="239"/>
                  <a:pt x="27" y="344"/>
                </a:cubicBezTo>
                <a:cubicBezTo>
                  <a:pt x="27" y="404"/>
                  <a:pt x="41" y="456"/>
                  <a:pt x="71" y="503"/>
                </a:cubicBezTo>
                <a:cubicBezTo>
                  <a:pt x="100" y="549"/>
                  <a:pt x="141" y="586"/>
                  <a:pt x="194" y="613"/>
                </a:cubicBezTo>
                <a:cubicBezTo>
                  <a:pt x="135" y="641"/>
                  <a:pt x="88" y="681"/>
                  <a:pt x="53" y="731"/>
                </a:cubicBezTo>
                <a:cubicBezTo>
                  <a:pt x="18" y="782"/>
                  <a:pt x="0" y="841"/>
                  <a:pt x="0" y="909"/>
                </a:cubicBezTo>
                <a:cubicBezTo>
                  <a:pt x="0" y="920"/>
                  <a:pt x="1" y="931"/>
                  <a:pt x="2" y="942"/>
                </a:cubicBezTo>
                <a:cubicBezTo>
                  <a:pt x="250" y="942"/>
                  <a:pt x="250" y="942"/>
                  <a:pt x="250" y="942"/>
                </a:cubicBezTo>
                <a:cubicBezTo>
                  <a:pt x="246" y="926"/>
                  <a:pt x="244" y="910"/>
                  <a:pt x="244" y="892"/>
                </a:cubicBezTo>
                <a:cubicBezTo>
                  <a:pt x="244" y="838"/>
                  <a:pt x="260" y="795"/>
                  <a:pt x="291" y="763"/>
                </a:cubicBezTo>
                <a:cubicBezTo>
                  <a:pt x="322" y="731"/>
                  <a:pt x="363" y="715"/>
                  <a:pt x="415" y="715"/>
                </a:cubicBezTo>
                <a:cubicBezTo>
                  <a:pt x="467" y="715"/>
                  <a:pt x="509" y="731"/>
                  <a:pt x="540" y="763"/>
                </a:cubicBezTo>
                <a:cubicBezTo>
                  <a:pt x="571" y="795"/>
                  <a:pt x="586" y="838"/>
                  <a:pt x="586" y="892"/>
                </a:cubicBezTo>
                <a:cubicBezTo>
                  <a:pt x="586" y="910"/>
                  <a:pt x="584" y="926"/>
                  <a:pt x="581" y="942"/>
                </a:cubicBezTo>
                <a:cubicBezTo>
                  <a:pt x="830" y="942"/>
                  <a:pt x="830" y="942"/>
                  <a:pt x="830" y="942"/>
                </a:cubicBezTo>
                <a:cubicBezTo>
                  <a:pt x="830" y="931"/>
                  <a:pt x="831" y="920"/>
                  <a:pt x="831" y="909"/>
                </a:cubicBezTo>
                <a:cubicBezTo>
                  <a:pt x="831" y="841"/>
                  <a:pt x="813" y="782"/>
                  <a:pt x="778" y="732"/>
                </a:cubicBezTo>
                <a:cubicBezTo>
                  <a:pt x="743" y="681"/>
                  <a:pt x="696" y="642"/>
                  <a:pt x="637" y="613"/>
                </a:cubicBezTo>
                <a:close/>
                <a:moveTo>
                  <a:pt x="523" y="474"/>
                </a:moveTo>
                <a:cubicBezTo>
                  <a:pt x="498" y="504"/>
                  <a:pt x="463" y="519"/>
                  <a:pt x="416" y="519"/>
                </a:cubicBezTo>
                <a:cubicBezTo>
                  <a:pt x="370" y="519"/>
                  <a:pt x="335" y="504"/>
                  <a:pt x="309" y="474"/>
                </a:cubicBezTo>
                <a:cubicBezTo>
                  <a:pt x="284" y="444"/>
                  <a:pt x="271" y="405"/>
                  <a:pt x="271" y="356"/>
                </a:cubicBezTo>
                <a:cubicBezTo>
                  <a:pt x="271" y="306"/>
                  <a:pt x="284" y="267"/>
                  <a:pt x="309" y="239"/>
                </a:cubicBezTo>
                <a:cubicBezTo>
                  <a:pt x="335" y="210"/>
                  <a:pt x="370" y="196"/>
                  <a:pt x="416" y="196"/>
                </a:cubicBezTo>
                <a:cubicBezTo>
                  <a:pt x="462" y="196"/>
                  <a:pt x="497" y="211"/>
                  <a:pt x="523" y="240"/>
                </a:cubicBezTo>
                <a:cubicBezTo>
                  <a:pt x="548" y="269"/>
                  <a:pt x="561" y="308"/>
                  <a:pt x="561" y="356"/>
                </a:cubicBezTo>
                <a:cubicBezTo>
                  <a:pt x="561" y="405"/>
                  <a:pt x="548" y="444"/>
                  <a:pt x="523" y="474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EC4552A-4DCE-B044-A4B9-94FEE27D8E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801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D63160D3-8864-764A-AB04-8E8653E7D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884" y="2925002"/>
            <a:ext cx="4359018" cy="3042927"/>
          </a:xfrm>
          <a:prstGeom prst="rect">
            <a:avLst/>
          </a:prstGeom>
        </p:spPr>
        <p:txBody>
          <a:bodyPr/>
          <a:lstStyle>
            <a:lvl1pPr algn="r">
              <a:defRPr lang="en-US" sz="13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29756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9">
            <a:extLst>
              <a:ext uri="{FF2B5EF4-FFF2-40B4-BE49-F238E27FC236}">
                <a16:creationId xmlns:a16="http://schemas.microsoft.com/office/drawing/2014/main" id="{62D17ACD-BC13-E24F-81CE-E72054BAF371}"/>
              </a:ext>
            </a:extLst>
          </p:cNvPr>
          <p:cNvSpPr>
            <a:spLocks noGrp="1" noEditPoints="1"/>
          </p:cNvSpPr>
          <p:nvPr>
            <p:ph type="pic" sz="quarter" idx="58"/>
          </p:nvPr>
        </p:nvSpPr>
        <p:spPr bwMode="auto">
          <a:xfrm>
            <a:off x="10036" y="883435"/>
            <a:ext cx="5232016" cy="5974565"/>
          </a:xfrm>
          <a:custGeom>
            <a:avLst/>
            <a:gdLst>
              <a:gd name="T0" fmla="*/ 629 w 829"/>
              <a:gd name="T1" fmla="*/ 61 h 942"/>
              <a:gd name="T2" fmla="*/ 413 w 829"/>
              <a:gd name="T3" fmla="*/ 0 h 942"/>
              <a:gd name="T4" fmla="*/ 200 w 829"/>
              <a:gd name="T5" fmla="*/ 56 h 942"/>
              <a:gd name="T6" fmla="*/ 53 w 829"/>
              <a:gd name="T7" fmla="*/ 213 h 942"/>
              <a:gd name="T8" fmla="*/ 0 w 829"/>
              <a:gd name="T9" fmla="*/ 435 h 942"/>
              <a:gd name="T10" fmla="*/ 98 w 829"/>
              <a:gd name="T11" fmla="*/ 737 h 942"/>
              <a:gd name="T12" fmla="*/ 359 w 829"/>
              <a:gd name="T13" fmla="*/ 848 h 942"/>
              <a:gd name="T14" fmla="*/ 582 w 829"/>
              <a:gd name="T15" fmla="*/ 755 h 942"/>
              <a:gd name="T16" fmla="*/ 511 w 829"/>
              <a:gd name="T17" fmla="*/ 942 h 942"/>
              <a:gd name="T18" fmla="*/ 759 w 829"/>
              <a:gd name="T19" fmla="*/ 942 h 942"/>
              <a:gd name="T20" fmla="*/ 829 w 829"/>
              <a:gd name="T21" fmla="*/ 587 h 942"/>
              <a:gd name="T22" fmla="*/ 829 w 829"/>
              <a:gd name="T23" fmla="*/ 497 h 942"/>
              <a:gd name="T24" fmla="*/ 776 w 829"/>
              <a:gd name="T25" fmla="*/ 236 h 942"/>
              <a:gd name="T26" fmla="*/ 629 w 829"/>
              <a:gd name="T27" fmla="*/ 61 h 942"/>
              <a:gd name="T28" fmla="*/ 585 w 829"/>
              <a:gd name="T29" fmla="*/ 558 h 942"/>
              <a:gd name="T30" fmla="*/ 520 w 829"/>
              <a:gd name="T31" fmla="*/ 631 h 942"/>
              <a:gd name="T32" fmla="*/ 419 w 829"/>
              <a:gd name="T33" fmla="*/ 662 h 942"/>
              <a:gd name="T34" fmla="*/ 289 w 829"/>
              <a:gd name="T35" fmla="*/ 597 h 942"/>
              <a:gd name="T36" fmla="*/ 243 w 829"/>
              <a:gd name="T37" fmla="*/ 432 h 942"/>
              <a:gd name="T38" fmla="*/ 290 w 829"/>
              <a:gd name="T39" fmla="*/ 263 h 942"/>
              <a:gd name="T40" fmla="*/ 411 w 829"/>
              <a:gd name="T41" fmla="*/ 196 h 942"/>
              <a:gd name="T42" fmla="*/ 538 w 829"/>
              <a:gd name="T43" fmla="*/ 265 h 942"/>
              <a:gd name="T44" fmla="*/ 585 w 829"/>
              <a:gd name="T45" fmla="*/ 457 h 942"/>
              <a:gd name="T46" fmla="*/ 585 w 829"/>
              <a:gd name="T47" fmla="*/ 558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29" h="942">
                <a:moveTo>
                  <a:pt x="629" y="61"/>
                </a:moveTo>
                <a:cubicBezTo>
                  <a:pt x="566" y="21"/>
                  <a:pt x="494" y="0"/>
                  <a:pt x="413" y="0"/>
                </a:cubicBezTo>
                <a:cubicBezTo>
                  <a:pt x="334" y="0"/>
                  <a:pt x="263" y="19"/>
                  <a:pt x="200" y="56"/>
                </a:cubicBezTo>
                <a:cubicBezTo>
                  <a:pt x="137" y="94"/>
                  <a:pt x="88" y="146"/>
                  <a:pt x="53" y="213"/>
                </a:cubicBezTo>
                <a:cubicBezTo>
                  <a:pt x="18" y="281"/>
                  <a:pt x="0" y="354"/>
                  <a:pt x="0" y="435"/>
                </a:cubicBezTo>
                <a:cubicBezTo>
                  <a:pt x="0" y="561"/>
                  <a:pt x="33" y="662"/>
                  <a:pt x="98" y="737"/>
                </a:cubicBezTo>
                <a:cubicBezTo>
                  <a:pt x="163" y="811"/>
                  <a:pt x="250" y="848"/>
                  <a:pt x="359" y="848"/>
                </a:cubicBezTo>
                <a:cubicBezTo>
                  <a:pt x="444" y="848"/>
                  <a:pt x="518" y="817"/>
                  <a:pt x="582" y="755"/>
                </a:cubicBezTo>
                <a:cubicBezTo>
                  <a:pt x="574" y="832"/>
                  <a:pt x="551" y="894"/>
                  <a:pt x="511" y="942"/>
                </a:cubicBezTo>
                <a:cubicBezTo>
                  <a:pt x="759" y="942"/>
                  <a:pt x="759" y="942"/>
                  <a:pt x="759" y="942"/>
                </a:cubicBezTo>
                <a:cubicBezTo>
                  <a:pt x="806" y="843"/>
                  <a:pt x="829" y="725"/>
                  <a:pt x="829" y="587"/>
                </a:cubicBezTo>
                <a:cubicBezTo>
                  <a:pt x="829" y="497"/>
                  <a:pt x="829" y="497"/>
                  <a:pt x="829" y="497"/>
                </a:cubicBezTo>
                <a:cubicBezTo>
                  <a:pt x="828" y="399"/>
                  <a:pt x="811" y="312"/>
                  <a:pt x="776" y="236"/>
                </a:cubicBezTo>
                <a:cubicBezTo>
                  <a:pt x="741" y="160"/>
                  <a:pt x="692" y="102"/>
                  <a:pt x="629" y="61"/>
                </a:cubicBezTo>
                <a:close/>
                <a:moveTo>
                  <a:pt x="585" y="558"/>
                </a:moveTo>
                <a:cubicBezTo>
                  <a:pt x="570" y="587"/>
                  <a:pt x="549" y="611"/>
                  <a:pt x="520" y="631"/>
                </a:cubicBezTo>
                <a:cubicBezTo>
                  <a:pt x="492" y="652"/>
                  <a:pt x="458" y="662"/>
                  <a:pt x="419" y="662"/>
                </a:cubicBezTo>
                <a:cubicBezTo>
                  <a:pt x="363" y="662"/>
                  <a:pt x="320" y="640"/>
                  <a:pt x="289" y="597"/>
                </a:cubicBezTo>
                <a:cubicBezTo>
                  <a:pt x="259" y="554"/>
                  <a:pt x="243" y="499"/>
                  <a:pt x="243" y="432"/>
                </a:cubicBezTo>
                <a:cubicBezTo>
                  <a:pt x="243" y="364"/>
                  <a:pt x="259" y="308"/>
                  <a:pt x="290" y="263"/>
                </a:cubicBezTo>
                <a:cubicBezTo>
                  <a:pt x="322" y="219"/>
                  <a:pt x="362" y="196"/>
                  <a:pt x="411" y="196"/>
                </a:cubicBezTo>
                <a:cubicBezTo>
                  <a:pt x="464" y="196"/>
                  <a:pt x="506" y="219"/>
                  <a:pt x="538" y="265"/>
                </a:cubicBezTo>
                <a:cubicBezTo>
                  <a:pt x="569" y="310"/>
                  <a:pt x="585" y="375"/>
                  <a:pt x="585" y="457"/>
                </a:cubicBezTo>
                <a:lnTo>
                  <a:pt x="585" y="558"/>
                </a:ln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1AB1BFF-EFAD-114F-9B33-CA99D1DB9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801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58288020-5DAE-CA46-9763-1546398199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884" y="2925002"/>
            <a:ext cx="4359018" cy="3042927"/>
          </a:xfrm>
          <a:prstGeom prst="rect">
            <a:avLst/>
          </a:prstGeom>
        </p:spPr>
        <p:txBody>
          <a:bodyPr/>
          <a:lstStyle>
            <a:lvl1pPr algn="r">
              <a:defRPr lang="en-US" sz="13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53853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>
            <a:extLst>
              <a:ext uri="{FF2B5EF4-FFF2-40B4-BE49-F238E27FC236}">
                <a16:creationId xmlns:a16="http://schemas.microsoft.com/office/drawing/2014/main" id="{C0D68591-52E5-E148-800D-041B1589A72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 bwMode="auto">
          <a:xfrm>
            <a:off x="0" y="879987"/>
            <a:ext cx="5255910" cy="5978013"/>
          </a:xfrm>
          <a:custGeom>
            <a:avLst/>
            <a:gdLst>
              <a:gd name="connsiteX0" fmla="*/ 5256595 w 10513189"/>
              <a:gd name="connsiteY0" fmla="*/ 0 h 11957411"/>
              <a:gd name="connsiteX1" fmla="*/ 9145209 w 10513189"/>
              <a:gd name="connsiteY1" fmla="*/ 1675561 h 11957411"/>
              <a:gd name="connsiteX2" fmla="*/ 10513189 w 10513189"/>
              <a:gd name="connsiteY2" fmla="*/ 6499145 h 11957411"/>
              <a:gd name="connsiteX3" fmla="*/ 10513189 w 10513189"/>
              <a:gd name="connsiteY3" fmla="*/ 9367908 h 11957411"/>
              <a:gd name="connsiteX4" fmla="*/ 10247193 w 10513189"/>
              <a:gd name="connsiteY4" fmla="*/ 11957411 h 11957411"/>
              <a:gd name="connsiteX5" fmla="*/ 9501923 w 10513189"/>
              <a:gd name="connsiteY5" fmla="*/ 11957411 h 11957411"/>
              <a:gd name="connsiteX6" fmla="*/ 9495167 w 10513189"/>
              <a:gd name="connsiteY6" fmla="*/ 11957411 h 11957411"/>
              <a:gd name="connsiteX7" fmla="*/ 9416047 w 10513189"/>
              <a:gd name="connsiteY7" fmla="*/ 11957411 h 11957411"/>
              <a:gd name="connsiteX8" fmla="*/ 9384451 w 10513189"/>
              <a:gd name="connsiteY8" fmla="*/ 11957411 h 11957411"/>
              <a:gd name="connsiteX9" fmla="*/ 9358447 w 10513189"/>
              <a:gd name="connsiteY9" fmla="*/ 11957411 h 11957411"/>
              <a:gd name="connsiteX10" fmla="*/ 9278059 w 10513189"/>
              <a:gd name="connsiteY10" fmla="*/ 11957411 h 11957411"/>
              <a:gd name="connsiteX11" fmla="*/ 9255239 w 10513189"/>
              <a:gd name="connsiteY11" fmla="*/ 11957411 h 11957411"/>
              <a:gd name="connsiteX12" fmla="*/ 9228135 w 10513189"/>
              <a:gd name="connsiteY12" fmla="*/ 11957411 h 11957411"/>
              <a:gd name="connsiteX13" fmla="*/ 9171089 w 10513189"/>
              <a:gd name="connsiteY13" fmla="*/ 11957411 h 11957411"/>
              <a:gd name="connsiteX14" fmla="*/ 9113731 w 10513189"/>
              <a:gd name="connsiteY14" fmla="*/ 11957411 h 11957411"/>
              <a:gd name="connsiteX15" fmla="*/ 9106447 w 10513189"/>
              <a:gd name="connsiteY15" fmla="*/ 11957411 h 11957411"/>
              <a:gd name="connsiteX16" fmla="*/ 9033735 w 10513189"/>
              <a:gd name="connsiteY16" fmla="*/ 11957411 h 11957411"/>
              <a:gd name="connsiteX17" fmla="*/ 8959367 w 10513189"/>
              <a:gd name="connsiteY17" fmla="*/ 11957411 h 11957411"/>
              <a:gd name="connsiteX18" fmla="*/ 8952477 w 10513189"/>
              <a:gd name="connsiteY18" fmla="*/ 11957411 h 11957411"/>
              <a:gd name="connsiteX19" fmla="*/ 8862201 w 10513189"/>
              <a:gd name="connsiteY19" fmla="*/ 11957411 h 11957411"/>
              <a:gd name="connsiteX20" fmla="*/ 8791589 w 10513189"/>
              <a:gd name="connsiteY20" fmla="*/ 11957411 h 11957411"/>
              <a:gd name="connsiteX21" fmla="*/ 8762429 w 10513189"/>
              <a:gd name="connsiteY21" fmla="*/ 11957411 h 11957411"/>
              <a:gd name="connsiteX22" fmla="*/ 8652689 w 10513189"/>
              <a:gd name="connsiteY22" fmla="*/ 11957411 h 11957411"/>
              <a:gd name="connsiteX23" fmla="*/ 8609835 w 10513189"/>
              <a:gd name="connsiteY23" fmla="*/ 11957411 h 11957411"/>
              <a:gd name="connsiteX24" fmla="*/ 8532505 w 10513189"/>
              <a:gd name="connsiteY24" fmla="*/ 11957411 h 11957411"/>
              <a:gd name="connsiteX25" fmla="*/ 8413551 w 10513189"/>
              <a:gd name="connsiteY25" fmla="*/ 11957411 h 11957411"/>
              <a:gd name="connsiteX26" fmla="*/ 8401401 w 10513189"/>
              <a:gd name="connsiteY26" fmla="*/ 11957411 h 11957411"/>
              <a:gd name="connsiteX27" fmla="*/ 8258905 w 10513189"/>
              <a:gd name="connsiteY27" fmla="*/ 11957411 h 11957411"/>
              <a:gd name="connsiteX28" fmla="*/ 8202173 w 10513189"/>
              <a:gd name="connsiteY28" fmla="*/ 11957411 h 11957411"/>
              <a:gd name="connsiteX29" fmla="*/ 8104541 w 10513189"/>
              <a:gd name="connsiteY29" fmla="*/ 11957411 h 11957411"/>
              <a:gd name="connsiteX30" fmla="*/ 7975145 w 10513189"/>
              <a:gd name="connsiteY30" fmla="*/ 11957411 h 11957411"/>
              <a:gd name="connsiteX31" fmla="*/ 7937833 w 10513189"/>
              <a:gd name="connsiteY31" fmla="*/ 11957411 h 11957411"/>
              <a:gd name="connsiteX32" fmla="*/ 7758307 w 10513189"/>
              <a:gd name="connsiteY32" fmla="*/ 11957411 h 11957411"/>
              <a:gd name="connsiteX33" fmla="*/ 7731909 w 10513189"/>
              <a:gd name="connsiteY33" fmla="*/ 11957411 h 11957411"/>
              <a:gd name="connsiteX34" fmla="*/ 7565491 w 10513189"/>
              <a:gd name="connsiteY34" fmla="*/ 11957411 h 11957411"/>
              <a:gd name="connsiteX35" fmla="*/ 7471903 w 10513189"/>
              <a:gd name="connsiteY35" fmla="*/ 11957411 h 11957411"/>
              <a:gd name="connsiteX36" fmla="*/ 7358905 w 10513189"/>
              <a:gd name="connsiteY36" fmla="*/ 11957411 h 11957411"/>
              <a:gd name="connsiteX37" fmla="*/ 7194569 w 10513189"/>
              <a:gd name="connsiteY37" fmla="*/ 11957411 h 11957411"/>
              <a:gd name="connsiteX38" fmla="*/ 7138079 w 10513189"/>
              <a:gd name="connsiteY38" fmla="*/ 11957411 h 11957411"/>
              <a:gd name="connsiteX39" fmla="*/ 6902537 w 10513189"/>
              <a:gd name="connsiteY39" fmla="*/ 11957411 h 11957411"/>
              <a:gd name="connsiteX40" fmla="*/ 7106937 w 10513189"/>
              <a:gd name="connsiteY40" fmla="*/ 10024274 h 11957411"/>
              <a:gd name="connsiteX41" fmla="*/ 7106937 w 10513189"/>
              <a:gd name="connsiteY41" fmla="*/ 6496298 h 11957411"/>
              <a:gd name="connsiteX42" fmla="*/ 6655109 w 10513189"/>
              <a:gd name="connsiteY42" fmla="*/ 3801987 h 11957411"/>
              <a:gd name="connsiteX43" fmla="*/ 5256595 w 10513189"/>
              <a:gd name="connsiteY43" fmla="*/ 2968322 h 11957411"/>
              <a:gd name="connsiteX44" fmla="*/ 3890355 w 10513189"/>
              <a:gd name="connsiteY44" fmla="*/ 3765741 h 11957411"/>
              <a:gd name="connsiteX45" fmla="*/ 3417011 w 10513189"/>
              <a:gd name="connsiteY45" fmla="*/ 6266738 h 11957411"/>
              <a:gd name="connsiteX46" fmla="*/ 3417011 w 10513189"/>
              <a:gd name="connsiteY46" fmla="*/ 9879288 h 11957411"/>
              <a:gd name="connsiteX47" fmla="*/ 3632167 w 10513189"/>
              <a:gd name="connsiteY47" fmla="*/ 11957411 h 11957411"/>
              <a:gd name="connsiteX48" fmla="*/ 3364027 w 10513189"/>
              <a:gd name="connsiteY48" fmla="*/ 11957411 h 11957411"/>
              <a:gd name="connsiteX49" fmla="*/ 3343953 w 10513189"/>
              <a:gd name="connsiteY49" fmla="*/ 11957411 h 11957411"/>
              <a:gd name="connsiteX50" fmla="*/ 3343205 w 10513189"/>
              <a:gd name="connsiteY50" fmla="*/ 11957411 h 11957411"/>
              <a:gd name="connsiteX51" fmla="*/ 3337967 w 10513189"/>
              <a:gd name="connsiteY51" fmla="*/ 11957411 h 11957411"/>
              <a:gd name="connsiteX52" fmla="*/ 3323747 w 10513189"/>
              <a:gd name="connsiteY52" fmla="*/ 11957411 h 11957411"/>
              <a:gd name="connsiteX53" fmla="*/ 3306743 w 10513189"/>
              <a:gd name="connsiteY53" fmla="*/ 11957411 h 11957411"/>
              <a:gd name="connsiteX54" fmla="*/ 3296059 w 10513189"/>
              <a:gd name="connsiteY54" fmla="*/ 11957411 h 11957411"/>
              <a:gd name="connsiteX55" fmla="*/ 3250409 w 10513189"/>
              <a:gd name="connsiteY55" fmla="*/ 11957411 h 11957411"/>
              <a:gd name="connsiteX56" fmla="*/ 3241835 w 10513189"/>
              <a:gd name="connsiteY56" fmla="*/ 11957411 h 11957411"/>
              <a:gd name="connsiteX57" fmla="*/ 3182307 w 10513189"/>
              <a:gd name="connsiteY57" fmla="*/ 11957411 h 11957411"/>
              <a:gd name="connsiteX58" fmla="*/ 3168821 w 10513189"/>
              <a:gd name="connsiteY58" fmla="*/ 11957411 h 11957411"/>
              <a:gd name="connsiteX59" fmla="*/ 3138435 w 10513189"/>
              <a:gd name="connsiteY59" fmla="*/ 11957411 h 11957411"/>
              <a:gd name="connsiteX60" fmla="*/ 3087265 w 10513189"/>
              <a:gd name="connsiteY60" fmla="*/ 11957411 h 11957411"/>
              <a:gd name="connsiteX61" fmla="*/ 3087227 w 10513189"/>
              <a:gd name="connsiteY61" fmla="*/ 11957411 h 11957411"/>
              <a:gd name="connsiteX62" fmla="*/ 3028239 w 10513189"/>
              <a:gd name="connsiteY62" fmla="*/ 11957411 h 11957411"/>
              <a:gd name="connsiteX63" fmla="*/ 2996575 w 10513189"/>
              <a:gd name="connsiteY63" fmla="*/ 11957411 h 11957411"/>
              <a:gd name="connsiteX64" fmla="*/ 2960791 w 10513189"/>
              <a:gd name="connsiteY64" fmla="*/ 11957411 h 11957411"/>
              <a:gd name="connsiteX65" fmla="*/ 2896390 w 10513189"/>
              <a:gd name="connsiteY65" fmla="*/ 11957411 h 11957411"/>
              <a:gd name="connsiteX66" fmla="*/ 2884366 w 10513189"/>
              <a:gd name="connsiteY66" fmla="*/ 11957411 h 11957411"/>
              <a:gd name="connsiteX67" fmla="*/ 2798397 w 10513189"/>
              <a:gd name="connsiteY67" fmla="*/ 11957411 h 11957411"/>
              <a:gd name="connsiteX68" fmla="*/ 2786194 w 10513189"/>
              <a:gd name="connsiteY68" fmla="*/ 11957411 h 11957411"/>
              <a:gd name="connsiteX69" fmla="*/ 2702327 w 10513189"/>
              <a:gd name="connsiteY69" fmla="*/ 11957411 h 11957411"/>
              <a:gd name="connsiteX70" fmla="*/ 2665511 w 10513189"/>
              <a:gd name="connsiteY70" fmla="*/ 11957411 h 11957411"/>
              <a:gd name="connsiteX71" fmla="*/ 2595591 w 10513189"/>
              <a:gd name="connsiteY71" fmla="*/ 11957411 h 11957411"/>
              <a:gd name="connsiteX72" fmla="*/ 2533864 w 10513189"/>
              <a:gd name="connsiteY72" fmla="*/ 11957411 h 11957411"/>
              <a:gd name="connsiteX73" fmla="*/ 2477631 w 10513189"/>
              <a:gd name="connsiteY73" fmla="*/ 11957411 h 11957411"/>
              <a:gd name="connsiteX74" fmla="*/ 2390776 w 10513189"/>
              <a:gd name="connsiteY74" fmla="*/ 11957411 h 11957411"/>
              <a:gd name="connsiteX75" fmla="*/ 2347884 w 10513189"/>
              <a:gd name="connsiteY75" fmla="*/ 11957411 h 11957411"/>
              <a:gd name="connsiteX76" fmla="*/ 2235771 w 10513189"/>
              <a:gd name="connsiteY76" fmla="*/ 11957411 h 11957411"/>
              <a:gd name="connsiteX77" fmla="*/ 2205788 w 10513189"/>
              <a:gd name="connsiteY77" fmla="*/ 11957411 h 11957411"/>
              <a:gd name="connsiteX78" fmla="*/ 2068372 w 10513189"/>
              <a:gd name="connsiteY78" fmla="*/ 11957411 h 11957411"/>
              <a:gd name="connsiteX79" fmla="*/ 2050784 w 10513189"/>
              <a:gd name="connsiteY79" fmla="*/ 11957411 h 11957411"/>
              <a:gd name="connsiteX80" fmla="*/ 1888102 w 10513189"/>
              <a:gd name="connsiteY80" fmla="*/ 11957411 h 11957411"/>
              <a:gd name="connsiteX81" fmla="*/ 1882309 w 10513189"/>
              <a:gd name="connsiteY81" fmla="*/ 11957411 h 11957411"/>
              <a:gd name="connsiteX82" fmla="*/ 1699802 w 10513189"/>
              <a:gd name="connsiteY82" fmla="*/ 11957411 h 11957411"/>
              <a:gd name="connsiteX83" fmla="*/ 1694485 w 10513189"/>
              <a:gd name="connsiteY83" fmla="*/ 11957411 h 11957411"/>
              <a:gd name="connsiteX84" fmla="*/ 1502702 w 10513189"/>
              <a:gd name="connsiteY84" fmla="*/ 11957411 h 11957411"/>
              <a:gd name="connsiteX85" fmla="*/ 1487043 w 10513189"/>
              <a:gd name="connsiteY85" fmla="*/ 11957411 h 11957411"/>
              <a:gd name="connsiteX86" fmla="*/ 1290448 w 10513189"/>
              <a:gd name="connsiteY86" fmla="*/ 11957411 h 11957411"/>
              <a:gd name="connsiteX87" fmla="*/ 1265301 w 10513189"/>
              <a:gd name="connsiteY87" fmla="*/ 11957411 h 11957411"/>
              <a:gd name="connsiteX88" fmla="*/ 1062479 w 10513189"/>
              <a:gd name="connsiteY88" fmla="*/ 11957411 h 11957411"/>
              <a:gd name="connsiteX89" fmla="*/ 1028781 w 10513189"/>
              <a:gd name="connsiteY89" fmla="*/ 11957411 h 11957411"/>
              <a:gd name="connsiteX90" fmla="*/ 818232 w 10513189"/>
              <a:gd name="connsiteY90" fmla="*/ 11957411 h 11957411"/>
              <a:gd name="connsiteX91" fmla="*/ 278663 w 10513189"/>
              <a:gd name="connsiteY91" fmla="*/ 11957411 h 11957411"/>
              <a:gd name="connsiteX92" fmla="*/ 0 w 10513189"/>
              <a:gd name="connsiteY92" fmla="*/ 9532925 h 11957411"/>
              <a:gd name="connsiteX93" fmla="*/ 0 w 10513189"/>
              <a:gd name="connsiteY93" fmla="*/ 6651468 h 11957411"/>
              <a:gd name="connsiteX94" fmla="*/ 1355315 w 10513189"/>
              <a:gd name="connsiteY94" fmla="*/ 1700948 h 11957411"/>
              <a:gd name="connsiteX95" fmla="*/ 5256595 w 10513189"/>
              <a:gd name="connsiteY95" fmla="*/ 0 h 11957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0513189" h="11957411">
                <a:moveTo>
                  <a:pt x="5256595" y="0"/>
                </a:moveTo>
                <a:cubicBezTo>
                  <a:pt x="6941237" y="0"/>
                  <a:pt x="8245887" y="558520"/>
                  <a:pt x="9145209" y="1675561"/>
                </a:cubicBezTo>
                <a:cubicBezTo>
                  <a:pt x="10044529" y="2805295"/>
                  <a:pt x="10500523" y="4404695"/>
                  <a:pt x="10513189" y="6499145"/>
                </a:cubicBezTo>
                <a:cubicBezTo>
                  <a:pt x="10513189" y="6499145"/>
                  <a:pt x="10513189" y="6499145"/>
                  <a:pt x="10513189" y="9367908"/>
                </a:cubicBezTo>
                <a:cubicBezTo>
                  <a:pt x="10513189" y="10332625"/>
                  <a:pt x="10424525" y="11195792"/>
                  <a:pt x="10247193" y="11957411"/>
                </a:cubicBezTo>
                <a:cubicBezTo>
                  <a:pt x="10247193" y="11957411"/>
                  <a:pt x="10247193" y="11957411"/>
                  <a:pt x="9501923" y="11957411"/>
                </a:cubicBezTo>
                <a:lnTo>
                  <a:pt x="9495167" y="11957411"/>
                </a:lnTo>
                <a:cubicBezTo>
                  <a:pt x="9495167" y="11957411"/>
                  <a:pt x="9495167" y="11957411"/>
                  <a:pt x="9416047" y="11957411"/>
                </a:cubicBezTo>
                <a:lnTo>
                  <a:pt x="9384451" y="11957411"/>
                </a:lnTo>
                <a:lnTo>
                  <a:pt x="9358447" y="11957411"/>
                </a:lnTo>
                <a:cubicBezTo>
                  <a:pt x="9335659" y="11957411"/>
                  <a:pt x="9309075" y="11957411"/>
                  <a:pt x="9278059" y="11957411"/>
                </a:cubicBezTo>
                <a:lnTo>
                  <a:pt x="9255239" y="11957411"/>
                </a:lnTo>
                <a:lnTo>
                  <a:pt x="9228135" y="11957411"/>
                </a:lnTo>
                <a:cubicBezTo>
                  <a:pt x="9210333" y="11957411"/>
                  <a:pt x="9191343" y="11957411"/>
                  <a:pt x="9171089" y="11957411"/>
                </a:cubicBezTo>
                <a:lnTo>
                  <a:pt x="9113731" y="11957411"/>
                </a:lnTo>
                <a:lnTo>
                  <a:pt x="9106447" y="11957411"/>
                </a:lnTo>
                <a:cubicBezTo>
                  <a:pt x="9083581" y="11957411"/>
                  <a:pt x="9059369" y="11957411"/>
                  <a:pt x="9033735" y="11957411"/>
                </a:cubicBezTo>
                <a:lnTo>
                  <a:pt x="8959367" y="11957411"/>
                </a:lnTo>
                <a:lnTo>
                  <a:pt x="8952477" y="11957411"/>
                </a:lnTo>
                <a:cubicBezTo>
                  <a:pt x="8923915" y="11957411"/>
                  <a:pt x="8893849" y="11957411"/>
                  <a:pt x="8862201" y="11957411"/>
                </a:cubicBezTo>
                <a:lnTo>
                  <a:pt x="8791589" y="11957411"/>
                </a:lnTo>
                <a:lnTo>
                  <a:pt x="8762429" y="11957411"/>
                </a:lnTo>
                <a:cubicBezTo>
                  <a:pt x="8727537" y="11957411"/>
                  <a:pt x="8690983" y="11957411"/>
                  <a:pt x="8652689" y="11957411"/>
                </a:cubicBezTo>
                <a:lnTo>
                  <a:pt x="8609835" y="11957411"/>
                </a:lnTo>
                <a:lnTo>
                  <a:pt x="8532505" y="11957411"/>
                </a:lnTo>
                <a:lnTo>
                  <a:pt x="8413551" y="11957411"/>
                </a:lnTo>
                <a:lnTo>
                  <a:pt x="8401401" y="11957411"/>
                </a:lnTo>
                <a:cubicBezTo>
                  <a:pt x="8355827" y="11957411"/>
                  <a:pt x="8308355" y="11957411"/>
                  <a:pt x="8258905" y="11957411"/>
                </a:cubicBezTo>
                <a:lnTo>
                  <a:pt x="8202173" y="11957411"/>
                </a:lnTo>
                <a:lnTo>
                  <a:pt x="8104541" y="11957411"/>
                </a:lnTo>
                <a:lnTo>
                  <a:pt x="7975145" y="11957411"/>
                </a:lnTo>
                <a:lnTo>
                  <a:pt x="7937833" y="11957411"/>
                </a:lnTo>
                <a:cubicBezTo>
                  <a:pt x="7880153" y="11957411"/>
                  <a:pt x="7820339" y="11957411"/>
                  <a:pt x="7758307" y="11957411"/>
                </a:cubicBezTo>
                <a:lnTo>
                  <a:pt x="7731909" y="11957411"/>
                </a:lnTo>
                <a:lnTo>
                  <a:pt x="7565491" y="11957411"/>
                </a:lnTo>
                <a:lnTo>
                  <a:pt x="7471903" y="11957411"/>
                </a:lnTo>
                <a:lnTo>
                  <a:pt x="7358905" y="11957411"/>
                </a:lnTo>
                <a:lnTo>
                  <a:pt x="7194569" y="11957411"/>
                </a:lnTo>
                <a:lnTo>
                  <a:pt x="7138079" y="11957411"/>
                </a:lnTo>
                <a:cubicBezTo>
                  <a:pt x="7062045" y="11957411"/>
                  <a:pt x="6983557" y="11957411"/>
                  <a:pt x="6902537" y="11957411"/>
                </a:cubicBezTo>
                <a:cubicBezTo>
                  <a:pt x="7031631" y="11449962"/>
                  <a:pt x="7096179" y="10797529"/>
                  <a:pt x="7106937" y="10024274"/>
                </a:cubicBezTo>
                <a:cubicBezTo>
                  <a:pt x="7106937" y="10024274"/>
                  <a:pt x="7106937" y="10024274"/>
                  <a:pt x="7106937" y="6496298"/>
                </a:cubicBezTo>
                <a:cubicBezTo>
                  <a:pt x="7106937" y="5263923"/>
                  <a:pt x="6956327" y="4369846"/>
                  <a:pt x="6655109" y="3801987"/>
                </a:cubicBezTo>
                <a:cubicBezTo>
                  <a:pt x="6353891" y="3246210"/>
                  <a:pt x="5891305" y="2968322"/>
                  <a:pt x="5256595" y="2968322"/>
                </a:cubicBezTo>
                <a:cubicBezTo>
                  <a:pt x="4632643" y="2968322"/>
                  <a:pt x="4180815" y="3234128"/>
                  <a:pt x="3890355" y="3765741"/>
                </a:cubicBezTo>
                <a:cubicBezTo>
                  <a:pt x="3589137" y="4297354"/>
                  <a:pt x="3438527" y="5131019"/>
                  <a:pt x="3417011" y="6266738"/>
                </a:cubicBezTo>
                <a:cubicBezTo>
                  <a:pt x="3417011" y="6266738"/>
                  <a:pt x="3417011" y="6266738"/>
                  <a:pt x="3417011" y="9879288"/>
                </a:cubicBezTo>
                <a:cubicBezTo>
                  <a:pt x="3417011" y="10725036"/>
                  <a:pt x="3492317" y="11413716"/>
                  <a:pt x="3632167" y="11957411"/>
                </a:cubicBezTo>
                <a:cubicBezTo>
                  <a:pt x="3632167" y="11957411"/>
                  <a:pt x="3632167" y="11957411"/>
                  <a:pt x="3364027" y="11957411"/>
                </a:cubicBezTo>
                <a:lnTo>
                  <a:pt x="3343953" y="11957411"/>
                </a:lnTo>
                <a:lnTo>
                  <a:pt x="3343205" y="11957411"/>
                </a:lnTo>
                <a:lnTo>
                  <a:pt x="3337967" y="11957411"/>
                </a:lnTo>
                <a:lnTo>
                  <a:pt x="3323747" y="11957411"/>
                </a:lnTo>
                <a:lnTo>
                  <a:pt x="3306743" y="11957411"/>
                </a:lnTo>
                <a:lnTo>
                  <a:pt x="3296059" y="11957411"/>
                </a:lnTo>
                <a:lnTo>
                  <a:pt x="3250409" y="11957411"/>
                </a:lnTo>
                <a:lnTo>
                  <a:pt x="3241835" y="11957411"/>
                </a:lnTo>
                <a:lnTo>
                  <a:pt x="3182307" y="11957411"/>
                </a:lnTo>
                <a:lnTo>
                  <a:pt x="3168821" y="11957411"/>
                </a:lnTo>
                <a:lnTo>
                  <a:pt x="3138435" y="11957411"/>
                </a:lnTo>
                <a:lnTo>
                  <a:pt x="3087265" y="11957411"/>
                </a:lnTo>
                <a:lnTo>
                  <a:pt x="3087227" y="11957411"/>
                </a:lnTo>
                <a:lnTo>
                  <a:pt x="3028239" y="11957411"/>
                </a:lnTo>
                <a:lnTo>
                  <a:pt x="2996575" y="11957411"/>
                </a:lnTo>
                <a:lnTo>
                  <a:pt x="2960791" y="11957411"/>
                </a:lnTo>
                <a:lnTo>
                  <a:pt x="2896390" y="11957411"/>
                </a:lnTo>
                <a:lnTo>
                  <a:pt x="2884366" y="11957411"/>
                </a:lnTo>
                <a:lnTo>
                  <a:pt x="2798397" y="11957411"/>
                </a:lnTo>
                <a:lnTo>
                  <a:pt x="2786194" y="11957411"/>
                </a:lnTo>
                <a:lnTo>
                  <a:pt x="2702327" y="11957411"/>
                </a:lnTo>
                <a:lnTo>
                  <a:pt x="2665511" y="11957411"/>
                </a:lnTo>
                <a:lnTo>
                  <a:pt x="2595591" y="11957411"/>
                </a:lnTo>
                <a:lnTo>
                  <a:pt x="2533864" y="11957411"/>
                </a:lnTo>
                <a:lnTo>
                  <a:pt x="2477631" y="11957411"/>
                </a:lnTo>
                <a:lnTo>
                  <a:pt x="2390776" y="11957411"/>
                </a:lnTo>
                <a:lnTo>
                  <a:pt x="2347884" y="11957411"/>
                </a:lnTo>
                <a:lnTo>
                  <a:pt x="2235771" y="11957411"/>
                </a:lnTo>
                <a:lnTo>
                  <a:pt x="2205788" y="11957411"/>
                </a:lnTo>
                <a:lnTo>
                  <a:pt x="2068372" y="11957411"/>
                </a:lnTo>
                <a:lnTo>
                  <a:pt x="2050784" y="11957411"/>
                </a:lnTo>
                <a:lnTo>
                  <a:pt x="1888102" y="11957411"/>
                </a:lnTo>
                <a:lnTo>
                  <a:pt x="1882309" y="11957411"/>
                </a:lnTo>
                <a:lnTo>
                  <a:pt x="1699802" y="11957411"/>
                </a:lnTo>
                <a:lnTo>
                  <a:pt x="1694485" y="11957411"/>
                </a:lnTo>
                <a:lnTo>
                  <a:pt x="1502702" y="11957411"/>
                </a:lnTo>
                <a:lnTo>
                  <a:pt x="1487043" y="11957411"/>
                </a:lnTo>
                <a:lnTo>
                  <a:pt x="1290448" y="11957411"/>
                </a:lnTo>
                <a:lnTo>
                  <a:pt x="1265301" y="11957411"/>
                </a:lnTo>
                <a:lnTo>
                  <a:pt x="1062479" y="11957411"/>
                </a:lnTo>
                <a:lnTo>
                  <a:pt x="1028781" y="11957411"/>
                </a:lnTo>
                <a:lnTo>
                  <a:pt x="818232" y="11957411"/>
                </a:lnTo>
                <a:cubicBezTo>
                  <a:pt x="649851" y="11957411"/>
                  <a:pt x="470244" y="11957411"/>
                  <a:pt x="278663" y="11957411"/>
                </a:cubicBezTo>
                <a:cubicBezTo>
                  <a:pt x="101332" y="11233873"/>
                  <a:pt x="12666" y="10421480"/>
                  <a:pt x="0" y="9532925"/>
                </a:cubicBezTo>
                <a:cubicBezTo>
                  <a:pt x="0" y="9532925"/>
                  <a:pt x="0" y="9532925"/>
                  <a:pt x="0" y="6651468"/>
                </a:cubicBezTo>
                <a:cubicBezTo>
                  <a:pt x="0" y="4480856"/>
                  <a:pt x="455994" y="2830682"/>
                  <a:pt x="1355315" y="1700948"/>
                </a:cubicBezTo>
                <a:cubicBezTo>
                  <a:pt x="2254636" y="571214"/>
                  <a:pt x="3559285" y="0"/>
                  <a:pt x="5256595" y="0"/>
                </a:cubicBezTo>
                <a:close/>
              </a:path>
            </a:pathLst>
          </a:custGeom>
          <a:pattFill prst="lgCheck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CE4C49EC-3C14-0046-B0AE-DD2CBADBAE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801" y="693013"/>
            <a:ext cx="4359101" cy="1151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FFEA7CFC-443E-534E-B035-49AAA76228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884" y="2925002"/>
            <a:ext cx="4359018" cy="3042927"/>
          </a:xfrm>
          <a:prstGeom prst="rect">
            <a:avLst/>
          </a:prstGeom>
        </p:spPr>
        <p:txBody>
          <a:bodyPr/>
          <a:lstStyle>
            <a:lvl1pPr algn="r">
              <a:defRPr lang="en-US" sz="13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20450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with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>
            <p:tmplLst>
              <p:tmpl>
                <p:tnLst>
                  <p:par>
                    <p:cTn presetID="2" presetClass="entr" presetSubtype="2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72B31-5AD7-44C4-0260-42836D924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FD79E-9E75-A2AC-E114-0E27A497A8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0DBDDD-5D61-C16B-50DD-E9059F87D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D69CC0-7BBF-8A76-51D6-0374D6D96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5CC151-FEF1-8FCC-89B9-E4998E34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99402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5235E8ED-01DC-2A44-ABB1-58BF8AD4AB1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0" y="4673125"/>
            <a:ext cx="12192001" cy="2184875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10623042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ctr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025007"/>
            <a:ext cx="10623042" cy="2339989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261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4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5235E8ED-01DC-2A44-ABB1-58BF8AD4AB1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399956" y="0"/>
            <a:ext cx="3792045" cy="6858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6987111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025007"/>
            <a:ext cx="6987111" cy="2339989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4866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8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5235E8ED-01DC-2A44-ABB1-58BF8AD4AB1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0" y="0"/>
            <a:ext cx="3792045" cy="6858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4036" y="729013"/>
            <a:ext cx="6987111" cy="827996"/>
          </a:xfrm>
          <a:prstGeom prst="rect">
            <a:avLst/>
          </a:prstGeom>
        </p:spPr>
        <p:txBody>
          <a:bodyPr>
            <a:noAutofit/>
          </a:bodyPr>
          <a:lstStyle>
            <a:lvl1pPr marL="9524" marR="0" indent="0" algn="r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19093" algn="l"/>
              </a:tabLst>
              <a:defRPr lang="ru-RU" sz="3600" b="1" kern="1200" cap="all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24036" y="2025007"/>
            <a:ext cx="6987111" cy="2339989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2"/>
            <a:ext cx="1246071" cy="409215"/>
          </a:xfrm>
          <a:prstGeom prst="rect">
            <a:avLst/>
          </a:prstGeom>
        </p:spPr>
        <p:txBody>
          <a:bodyPr rIns="215969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8957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8957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920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2" fill="hold" nodeType="afterEffect" p14:presetBounceEnd="50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  <p:bldP spid="26" grpId="0">
            <p:tmplLst>
              <p:tmpl>
                <p:tnLst>
                  <p:par>
                    <p:cTn presetID="2" presetClass="entr" presetSubtype="2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10623042" cy="82799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id="{5A46628C-5AEB-C34E-83BE-D77A4BC9B4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025006"/>
            <a:ext cx="10623042" cy="279151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20000"/>
              </a:lnSpc>
              <a:spcBef>
                <a:spcPts val="636"/>
              </a:spcBef>
              <a:defRPr lang="en-US" sz="1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352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1AD29FD1-1D60-5F4D-A0B8-5AA099243688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0" y="-1"/>
            <a:ext cx="3047550" cy="2349877"/>
          </a:xfrm>
          <a:custGeom>
            <a:avLst/>
            <a:gdLst>
              <a:gd name="connsiteX0" fmla="*/ 0 w 6095894"/>
              <a:gd name="connsiteY0" fmla="*/ 0 h 4700298"/>
              <a:gd name="connsiteX1" fmla="*/ 6095894 w 6095894"/>
              <a:gd name="connsiteY1" fmla="*/ 0 h 4700298"/>
              <a:gd name="connsiteX2" fmla="*/ 6095894 w 6095894"/>
              <a:gd name="connsiteY2" fmla="*/ 4700298 h 4700298"/>
              <a:gd name="connsiteX3" fmla="*/ 0 w 6095894"/>
              <a:gd name="connsiteY3" fmla="*/ 4700298 h 4700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5894" h="4700298">
                <a:moveTo>
                  <a:pt x="0" y="0"/>
                </a:moveTo>
                <a:lnTo>
                  <a:pt x="6095894" y="0"/>
                </a:lnTo>
                <a:lnTo>
                  <a:pt x="6095894" y="4700298"/>
                </a:lnTo>
                <a:lnTo>
                  <a:pt x="0" y="4700298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41E6ACC4-D8C9-9C41-B165-3517F70994F0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6096300" y="-1"/>
            <a:ext cx="3047550" cy="2349877"/>
          </a:xfrm>
          <a:custGeom>
            <a:avLst/>
            <a:gdLst>
              <a:gd name="connsiteX0" fmla="*/ 0 w 6095894"/>
              <a:gd name="connsiteY0" fmla="*/ 0 h 4700298"/>
              <a:gd name="connsiteX1" fmla="*/ 6095894 w 6095894"/>
              <a:gd name="connsiteY1" fmla="*/ 0 h 4700298"/>
              <a:gd name="connsiteX2" fmla="*/ 6095894 w 6095894"/>
              <a:gd name="connsiteY2" fmla="*/ 4700298 h 4700298"/>
              <a:gd name="connsiteX3" fmla="*/ 0 w 6095894"/>
              <a:gd name="connsiteY3" fmla="*/ 4700298 h 4700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5894" h="4700298">
                <a:moveTo>
                  <a:pt x="0" y="0"/>
                </a:moveTo>
                <a:lnTo>
                  <a:pt x="6095894" y="0"/>
                </a:lnTo>
                <a:lnTo>
                  <a:pt x="6095894" y="4700298"/>
                </a:lnTo>
                <a:lnTo>
                  <a:pt x="0" y="4700298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3F86A1-F1F6-2F4A-B5A0-CA5ED358BDC2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3048150" y="4652994"/>
            <a:ext cx="3047550" cy="2201612"/>
          </a:xfrm>
          <a:custGeom>
            <a:avLst/>
            <a:gdLst>
              <a:gd name="connsiteX0" fmla="*/ 0 w 6095894"/>
              <a:gd name="connsiteY0" fmla="*/ 0 h 4403734"/>
              <a:gd name="connsiteX1" fmla="*/ 6095894 w 6095894"/>
              <a:gd name="connsiteY1" fmla="*/ 0 h 4403734"/>
              <a:gd name="connsiteX2" fmla="*/ 6095894 w 6095894"/>
              <a:gd name="connsiteY2" fmla="*/ 4403734 h 4403734"/>
              <a:gd name="connsiteX3" fmla="*/ 0 w 6095894"/>
              <a:gd name="connsiteY3" fmla="*/ 4403734 h 440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5894" h="4403734">
                <a:moveTo>
                  <a:pt x="0" y="0"/>
                </a:moveTo>
                <a:lnTo>
                  <a:pt x="6095894" y="0"/>
                </a:lnTo>
                <a:lnTo>
                  <a:pt x="6095894" y="4403734"/>
                </a:lnTo>
                <a:lnTo>
                  <a:pt x="0" y="4403734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1B5BD8CE-4E9A-2B49-BFD5-1C04AFE5A72C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9144449" y="4652994"/>
            <a:ext cx="3047551" cy="2201612"/>
          </a:xfrm>
          <a:custGeom>
            <a:avLst/>
            <a:gdLst>
              <a:gd name="connsiteX0" fmla="*/ 0 w 6095896"/>
              <a:gd name="connsiteY0" fmla="*/ 0 h 4403734"/>
              <a:gd name="connsiteX1" fmla="*/ 6095896 w 6095896"/>
              <a:gd name="connsiteY1" fmla="*/ 0 h 4403734"/>
              <a:gd name="connsiteX2" fmla="*/ 6095896 w 6095896"/>
              <a:gd name="connsiteY2" fmla="*/ 4403734 h 4403734"/>
              <a:gd name="connsiteX3" fmla="*/ 0 w 6095896"/>
              <a:gd name="connsiteY3" fmla="*/ 4403734 h 440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5896" h="4403734">
                <a:moveTo>
                  <a:pt x="0" y="0"/>
                </a:moveTo>
                <a:lnTo>
                  <a:pt x="6095896" y="0"/>
                </a:lnTo>
                <a:lnTo>
                  <a:pt x="6095896" y="4403734"/>
                </a:lnTo>
                <a:lnTo>
                  <a:pt x="0" y="4403734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06733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4FAECE92-1B5A-F548-A06B-CE311F3A3730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5D84267F-D525-A346-8B97-A2271CCD611E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4115661" y="3429001"/>
            <a:ext cx="5498714" cy="3429000"/>
          </a:xfrm>
          <a:custGeom>
            <a:avLst/>
            <a:gdLst>
              <a:gd name="connsiteX0" fmla="*/ 3959927 w 10998860"/>
              <a:gd name="connsiteY0" fmla="*/ 0 h 6858793"/>
              <a:gd name="connsiteX1" fmla="*/ 10998860 w 10998860"/>
              <a:gd name="connsiteY1" fmla="*/ 0 h 6858793"/>
              <a:gd name="connsiteX2" fmla="*/ 7038932 w 10998860"/>
              <a:gd name="connsiteY2" fmla="*/ 6858793 h 6858793"/>
              <a:gd name="connsiteX3" fmla="*/ 0 w 10998860"/>
              <a:gd name="connsiteY3" fmla="*/ 6858793 h 6858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98860" h="6858793">
                <a:moveTo>
                  <a:pt x="3959927" y="0"/>
                </a:moveTo>
                <a:lnTo>
                  <a:pt x="10998860" y="0"/>
                </a:lnTo>
                <a:lnTo>
                  <a:pt x="7038932" y="6858793"/>
                </a:lnTo>
                <a:lnTo>
                  <a:pt x="0" y="6858793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051E74EB-0C9B-0646-B821-F9EA2C79758A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2575667" y="1"/>
            <a:ext cx="5498713" cy="3428999"/>
          </a:xfrm>
          <a:custGeom>
            <a:avLst/>
            <a:gdLst>
              <a:gd name="connsiteX0" fmla="*/ 3959925 w 10998858"/>
              <a:gd name="connsiteY0" fmla="*/ 0 h 6858792"/>
              <a:gd name="connsiteX1" fmla="*/ 10998858 w 10998858"/>
              <a:gd name="connsiteY1" fmla="*/ 0 h 6858792"/>
              <a:gd name="connsiteX2" fmla="*/ 7038933 w 10998858"/>
              <a:gd name="connsiteY2" fmla="*/ 6858792 h 6858792"/>
              <a:gd name="connsiteX3" fmla="*/ 0 w 10998858"/>
              <a:gd name="connsiteY3" fmla="*/ 6858791 h 6858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98858" h="6858792">
                <a:moveTo>
                  <a:pt x="3959925" y="0"/>
                </a:moveTo>
                <a:lnTo>
                  <a:pt x="10998858" y="0"/>
                </a:lnTo>
                <a:lnTo>
                  <a:pt x="7038933" y="6858792"/>
                </a:lnTo>
                <a:lnTo>
                  <a:pt x="0" y="6858791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14675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Рисунок 34">
            <a:extLst>
              <a:ext uri="{FF2B5EF4-FFF2-40B4-BE49-F238E27FC236}">
                <a16:creationId xmlns:a16="http://schemas.microsoft.com/office/drawing/2014/main" id="{579A799C-A474-4747-A5B3-46E15E2D540B}"/>
              </a:ext>
            </a:extLst>
          </p:cNvPr>
          <p:cNvSpPr>
            <a:spLocks noGrp="1"/>
          </p:cNvSpPr>
          <p:nvPr userDrawn="1">
            <p:ph type="pic" sz="quarter" idx="46"/>
          </p:nvPr>
        </p:nvSpPr>
        <p:spPr>
          <a:xfrm>
            <a:off x="6652651" y="1845008"/>
            <a:ext cx="976555" cy="976569"/>
          </a:xfrm>
          <a:custGeom>
            <a:avLst/>
            <a:gdLst>
              <a:gd name="connsiteX0" fmla="*/ 0 w 1953365"/>
              <a:gd name="connsiteY0" fmla="*/ 0 h 1953365"/>
              <a:gd name="connsiteX1" fmla="*/ 1953365 w 1953365"/>
              <a:gd name="connsiteY1" fmla="*/ 0 h 1953365"/>
              <a:gd name="connsiteX2" fmla="*/ 1953365 w 1953365"/>
              <a:gd name="connsiteY2" fmla="*/ 1953365 h 1953365"/>
              <a:gd name="connsiteX3" fmla="*/ 0 w 1953365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5" h="1953365">
                <a:moveTo>
                  <a:pt x="0" y="0"/>
                </a:moveTo>
                <a:lnTo>
                  <a:pt x="1953365" y="0"/>
                </a:lnTo>
                <a:lnTo>
                  <a:pt x="1953365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6" name="Рисунок 35">
            <a:extLst>
              <a:ext uri="{FF2B5EF4-FFF2-40B4-BE49-F238E27FC236}">
                <a16:creationId xmlns:a16="http://schemas.microsoft.com/office/drawing/2014/main" id="{02BFB004-1843-A041-849F-96E5BF473956}"/>
              </a:ext>
            </a:extLst>
          </p:cNvPr>
          <p:cNvSpPr>
            <a:spLocks noGrp="1"/>
          </p:cNvSpPr>
          <p:nvPr userDrawn="1">
            <p:ph type="pic" sz="quarter" idx="47"/>
          </p:nvPr>
        </p:nvSpPr>
        <p:spPr>
          <a:xfrm>
            <a:off x="6652651" y="3555000"/>
            <a:ext cx="976555" cy="976569"/>
          </a:xfrm>
          <a:custGeom>
            <a:avLst/>
            <a:gdLst>
              <a:gd name="connsiteX0" fmla="*/ 0 w 1953365"/>
              <a:gd name="connsiteY0" fmla="*/ 0 h 1953365"/>
              <a:gd name="connsiteX1" fmla="*/ 1953365 w 1953365"/>
              <a:gd name="connsiteY1" fmla="*/ 0 h 1953365"/>
              <a:gd name="connsiteX2" fmla="*/ 1953365 w 1953365"/>
              <a:gd name="connsiteY2" fmla="*/ 1953365 h 1953365"/>
              <a:gd name="connsiteX3" fmla="*/ 0 w 1953365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5" h="1953365">
                <a:moveTo>
                  <a:pt x="0" y="0"/>
                </a:moveTo>
                <a:lnTo>
                  <a:pt x="1953365" y="0"/>
                </a:lnTo>
                <a:lnTo>
                  <a:pt x="1953365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7" name="Рисунок 36">
            <a:extLst>
              <a:ext uri="{FF2B5EF4-FFF2-40B4-BE49-F238E27FC236}">
                <a16:creationId xmlns:a16="http://schemas.microsoft.com/office/drawing/2014/main" id="{8DF33FE3-A85C-064C-A931-C35BD23FE3B7}"/>
              </a:ext>
            </a:extLst>
          </p:cNvPr>
          <p:cNvSpPr>
            <a:spLocks noGrp="1"/>
          </p:cNvSpPr>
          <p:nvPr userDrawn="1">
            <p:ph type="pic" sz="quarter" idx="48"/>
          </p:nvPr>
        </p:nvSpPr>
        <p:spPr>
          <a:xfrm>
            <a:off x="7840628" y="3555000"/>
            <a:ext cx="976556" cy="976569"/>
          </a:xfrm>
          <a:custGeom>
            <a:avLst/>
            <a:gdLst>
              <a:gd name="connsiteX0" fmla="*/ 0 w 1953366"/>
              <a:gd name="connsiteY0" fmla="*/ 0 h 1953365"/>
              <a:gd name="connsiteX1" fmla="*/ 1953366 w 1953366"/>
              <a:gd name="connsiteY1" fmla="*/ 0 h 1953365"/>
              <a:gd name="connsiteX2" fmla="*/ 1953366 w 1953366"/>
              <a:gd name="connsiteY2" fmla="*/ 1953365 h 1953365"/>
              <a:gd name="connsiteX3" fmla="*/ 0 w 1953366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6" h="1953365">
                <a:moveTo>
                  <a:pt x="0" y="0"/>
                </a:moveTo>
                <a:lnTo>
                  <a:pt x="1953366" y="0"/>
                </a:lnTo>
                <a:lnTo>
                  <a:pt x="1953366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8" name="Рисунок 37">
            <a:extLst>
              <a:ext uri="{FF2B5EF4-FFF2-40B4-BE49-F238E27FC236}">
                <a16:creationId xmlns:a16="http://schemas.microsoft.com/office/drawing/2014/main" id="{80DB4EF3-8D43-204A-AF69-BDAB5CE41DC5}"/>
              </a:ext>
            </a:extLst>
          </p:cNvPr>
          <p:cNvSpPr>
            <a:spLocks noGrp="1"/>
          </p:cNvSpPr>
          <p:nvPr userDrawn="1">
            <p:ph type="pic" sz="quarter" idx="49"/>
          </p:nvPr>
        </p:nvSpPr>
        <p:spPr>
          <a:xfrm>
            <a:off x="9017988" y="3555000"/>
            <a:ext cx="976555" cy="976569"/>
          </a:xfrm>
          <a:custGeom>
            <a:avLst/>
            <a:gdLst>
              <a:gd name="connsiteX0" fmla="*/ 0 w 1953364"/>
              <a:gd name="connsiteY0" fmla="*/ 0 h 1953365"/>
              <a:gd name="connsiteX1" fmla="*/ 1953364 w 1953364"/>
              <a:gd name="connsiteY1" fmla="*/ 0 h 1953365"/>
              <a:gd name="connsiteX2" fmla="*/ 1953364 w 1953364"/>
              <a:gd name="connsiteY2" fmla="*/ 1953365 h 1953365"/>
              <a:gd name="connsiteX3" fmla="*/ 0 w 1953364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4" h="1953365">
                <a:moveTo>
                  <a:pt x="0" y="0"/>
                </a:moveTo>
                <a:lnTo>
                  <a:pt x="1953364" y="0"/>
                </a:lnTo>
                <a:lnTo>
                  <a:pt x="1953364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9" name="Рисунок 38">
            <a:extLst>
              <a:ext uri="{FF2B5EF4-FFF2-40B4-BE49-F238E27FC236}">
                <a16:creationId xmlns:a16="http://schemas.microsoft.com/office/drawing/2014/main" id="{5B931989-E9A1-7D4C-B889-1A3428AA5DB3}"/>
              </a:ext>
            </a:extLst>
          </p:cNvPr>
          <p:cNvSpPr>
            <a:spLocks noGrp="1"/>
          </p:cNvSpPr>
          <p:nvPr userDrawn="1">
            <p:ph type="pic" sz="quarter" idx="50"/>
          </p:nvPr>
        </p:nvSpPr>
        <p:spPr>
          <a:xfrm>
            <a:off x="10195347" y="3555000"/>
            <a:ext cx="976556" cy="976569"/>
          </a:xfrm>
          <a:custGeom>
            <a:avLst/>
            <a:gdLst>
              <a:gd name="connsiteX0" fmla="*/ 0 w 1953366"/>
              <a:gd name="connsiteY0" fmla="*/ 0 h 1953365"/>
              <a:gd name="connsiteX1" fmla="*/ 1953366 w 1953366"/>
              <a:gd name="connsiteY1" fmla="*/ 0 h 1953365"/>
              <a:gd name="connsiteX2" fmla="*/ 1953366 w 1953366"/>
              <a:gd name="connsiteY2" fmla="*/ 1953365 h 1953365"/>
              <a:gd name="connsiteX3" fmla="*/ 0 w 1953366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6" h="1953365">
                <a:moveTo>
                  <a:pt x="0" y="0"/>
                </a:moveTo>
                <a:lnTo>
                  <a:pt x="1953366" y="0"/>
                </a:lnTo>
                <a:lnTo>
                  <a:pt x="1953366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0" name="Рисунок 39">
            <a:extLst>
              <a:ext uri="{FF2B5EF4-FFF2-40B4-BE49-F238E27FC236}">
                <a16:creationId xmlns:a16="http://schemas.microsoft.com/office/drawing/2014/main" id="{7BB21460-6E04-6A46-8DA9-73058612F6B1}"/>
              </a:ext>
            </a:extLst>
          </p:cNvPr>
          <p:cNvSpPr>
            <a:spLocks noGrp="1"/>
          </p:cNvSpPr>
          <p:nvPr userDrawn="1">
            <p:ph type="pic" sz="quarter" idx="51"/>
          </p:nvPr>
        </p:nvSpPr>
        <p:spPr>
          <a:xfrm>
            <a:off x="6652651" y="5264992"/>
            <a:ext cx="976555" cy="976569"/>
          </a:xfrm>
          <a:custGeom>
            <a:avLst/>
            <a:gdLst>
              <a:gd name="connsiteX0" fmla="*/ 0 w 1953365"/>
              <a:gd name="connsiteY0" fmla="*/ 0 h 1953365"/>
              <a:gd name="connsiteX1" fmla="*/ 1953365 w 1953365"/>
              <a:gd name="connsiteY1" fmla="*/ 0 h 1953365"/>
              <a:gd name="connsiteX2" fmla="*/ 1953365 w 1953365"/>
              <a:gd name="connsiteY2" fmla="*/ 1953365 h 1953365"/>
              <a:gd name="connsiteX3" fmla="*/ 0 w 1953365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5" h="1953365">
                <a:moveTo>
                  <a:pt x="0" y="0"/>
                </a:moveTo>
                <a:lnTo>
                  <a:pt x="1953365" y="0"/>
                </a:lnTo>
                <a:lnTo>
                  <a:pt x="1953365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1" name="Рисунок 40">
            <a:extLst>
              <a:ext uri="{FF2B5EF4-FFF2-40B4-BE49-F238E27FC236}">
                <a16:creationId xmlns:a16="http://schemas.microsoft.com/office/drawing/2014/main" id="{59EB2067-AFEB-6445-8547-0EB2FD660845}"/>
              </a:ext>
            </a:extLst>
          </p:cNvPr>
          <p:cNvSpPr>
            <a:spLocks noGrp="1"/>
          </p:cNvSpPr>
          <p:nvPr userDrawn="1">
            <p:ph type="pic" sz="quarter" idx="52"/>
          </p:nvPr>
        </p:nvSpPr>
        <p:spPr>
          <a:xfrm>
            <a:off x="7830010" y="5264992"/>
            <a:ext cx="976555" cy="976569"/>
          </a:xfrm>
          <a:custGeom>
            <a:avLst/>
            <a:gdLst>
              <a:gd name="connsiteX0" fmla="*/ 0 w 1953364"/>
              <a:gd name="connsiteY0" fmla="*/ 0 h 1953365"/>
              <a:gd name="connsiteX1" fmla="*/ 1953364 w 1953364"/>
              <a:gd name="connsiteY1" fmla="*/ 0 h 1953365"/>
              <a:gd name="connsiteX2" fmla="*/ 1953364 w 1953364"/>
              <a:gd name="connsiteY2" fmla="*/ 1953365 h 1953365"/>
              <a:gd name="connsiteX3" fmla="*/ 0 w 1953364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4" h="1953365">
                <a:moveTo>
                  <a:pt x="0" y="0"/>
                </a:moveTo>
                <a:lnTo>
                  <a:pt x="1953364" y="0"/>
                </a:lnTo>
                <a:lnTo>
                  <a:pt x="1953364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2" name="Рисунок 41">
            <a:extLst>
              <a:ext uri="{FF2B5EF4-FFF2-40B4-BE49-F238E27FC236}">
                <a16:creationId xmlns:a16="http://schemas.microsoft.com/office/drawing/2014/main" id="{CF95EB1A-6241-9C47-ADE1-0C6FDF6D062A}"/>
              </a:ext>
            </a:extLst>
          </p:cNvPr>
          <p:cNvSpPr>
            <a:spLocks noGrp="1"/>
          </p:cNvSpPr>
          <p:nvPr userDrawn="1">
            <p:ph type="pic" sz="quarter" idx="53"/>
          </p:nvPr>
        </p:nvSpPr>
        <p:spPr>
          <a:xfrm>
            <a:off x="9007370" y="5264992"/>
            <a:ext cx="976556" cy="976569"/>
          </a:xfrm>
          <a:custGeom>
            <a:avLst/>
            <a:gdLst>
              <a:gd name="connsiteX0" fmla="*/ 0 w 1953366"/>
              <a:gd name="connsiteY0" fmla="*/ 0 h 1953365"/>
              <a:gd name="connsiteX1" fmla="*/ 1953366 w 1953366"/>
              <a:gd name="connsiteY1" fmla="*/ 0 h 1953365"/>
              <a:gd name="connsiteX2" fmla="*/ 1953366 w 1953366"/>
              <a:gd name="connsiteY2" fmla="*/ 1953365 h 1953365"/>
              <a:gd name="connsiteX3" fmla="*/ 0 w 1953366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6" h="1953365">
                <a:moveTo>
                  <a:pt x="0" y="0"/>
                </a:moveTo>
                <a:lnTo>
                  <a:pt x="1953366" y="0"/>
                </a:lnTo>
                <a:lnTo>
                  <a:pt x="1953366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4" name="Рисунок 33">
            <a:extLst>
              <a:ext uri="{FF2B5EF4-FFF2-40B4-BE49-F238E27FC236}">
                <a16:creationId xmlns:a16="http://schemas.microsoft.com/office/drawing/2014/main" id="{9C5B8A5F-B040-594F-B6B7-78751CCCC4FA}"/>
              </a:ext>
            </a:extLst>
          </p:cNvPr>
          <p:cNvSpPr>
            <a:spLocks noGrp="1"/>
          </p:cNvSpPr>
          <p:nvPr userDrawn="1">
            <p:ph type="pic" sz="quarter" idx="54"/>
          </p:nvPr>
        </p:nvSpPr>
        <p:spPr>
          <a:xfrm>
            <a:off x="7830010" y="1845008"/>
            <a:ext cx="976555" cy="976569"/>
          </a:xfrm>
          <a:custGeom>
            <a:avLst/>
            <a:gdLst>
              <a:gd name="connsiteX0" fmla="*/ 0 w 1953364"/>
              <a:gd name="connsiteY0" fmla="*/ 0 h 1953365"/>
              <a:gd name="connsiteX1" fmla="*/ 1953364 w 1953364"/>
              <a:gd name="connsiteY1" fmla="*/ 0 h 1953365"/>
              <a:gd name="connsiteX2" fmla="*/ 1953364 w 1953364"/>
              <a:gd name="connsiteY2" fmla="*/ 1953365 h 1953365"/>
              <a:gd name="connsiteX3" fmla="*/ 0 w 1953364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4" h="1953365">
                <a:moveTo>
                  <a:pt x="0" y="0"/>
                </a:moveTo>
                <a:lnTo>
                  <a:pt x="1953364" y="0"/>
                </a:lnTo>
                <a:lnTo>
                  <a:pt x="1953364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3" name="Рисунок 32">
            <a:extLst>
              <a:ext uri="{FF2B5EF4-FFF2-40B4-BE49-F238E27FC236}">
                <a16:creationId xmlns:a16="http://schemas.microsoft.com/office/drawing/2014/main" id="{25D2FCC9-6FDA-2D44-A6BE-61CD44C464FD}"/>
              </a:ext>
            </a:extLst>
          </p:cNvPr>
          <p:cNvSpPr>
            <a:spLocks noGrp="1"/>
          </p:cNvSpPr>
          <p:nvPr userDrawn="1">
            <p:ph type="pic" sz="quarter" idx="55"/>
          </p:nvPr>
        </p:nvSpPr>
        <p:spPr>
          <a:xfrm>
            <a:off x="9007370" y="1845008"/>
            <a:ext cx="976556" cy="976569"/>
          </a:xfrm>
          <a:custGeom>
            <a:avLst/>
            <a:gdLst>
              <a:gd name="connsiteX0" fmla="*/ 0 w 1953366"/>
              <a:gd name="connsiteY0" fmla="*/ 0 h 1953365"/>
              <a:gd name="connsiteX1" fmla="*/ 1953366 w 1953366"/>
              <a:gd name="connsiteY1" fmla="*/ 0 h 1953365"/>
              <a:gd name="connsiteX2" fmla="*/ 1953366 w 1953366"/>
              <a:gd name="connsiteY2" fmla="*/ 1953365 h 1953365"/>
              <a:gd name="connsiteX3" fmla="*/ 0 w 1953366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6" h="1953365">
                <a:moveTo>
                  <a:pt x="0" y="0"/>
                </a:moveTo>
                <a:lnTo>
                  <a:pt x="1953366" y="0"/>
                </a:lnTo>
                <a:lnTo>
                  <a:pt x="1953366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6341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Рисунок 34">
            <a:extLst>
              <a:ext uri="{FF2B5EF4-FFF2-40B4-BE49-F238E27FC236}">
                <a16:creationId xmlns:a16="http://schemas.microsoft.com/office/drawing/2014/main" id="{579A799C-A474-4747-A5B3-46E15E2D540B}"/>
              </a:ext>
            </a:extLst>
          </p:cNvPr>
          <p:cNvSpPr>
            <a:spLocks noGrp="1"/>
          </p:cNvSpPr>
          <p:nvPr userDrawn="1">
            <p:ph type="pic" sz="quarter" idx="46"/>
          </p:nvPr>
        </p:nvSpPr>
        <p:spPr>
          <a:xfrm>
            <a:off x="1905315" y="441014"/>
            <a:ext cx="976555" cy="976569"/>
          </a:xfrm>
          <a:custGeom>
            <a:avLst/>
            <a:gdLst>
              <a:gd name="connsiteX0" fmla="*/ 0 w 1953365"/>
              <a:gd name="connsiteY0" fmla="*/ 0 h 1953365"/>
              <a:gd name="connsiteX1" fmla="*/ 1953365 w 1953365"/>
              <a:gd name="connsiteY1" fmla="*/ 0 h 1953365"/>
              <a:gd name="connsiteX2" fmla="*/ 1953365 w 1953365"/>
              <a:gd name="connsiteY2" fmla="*/ 1953365 h 1953365"/>
              <a:gd name="connsiteX3" fmla="*/ 0 w 1953365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5" h="1953365">
                <a:moveTo>
                  <a:pt x="0" y="0"/>
                </a:moveTo>
                <a:lnTo>
                  <a:pt x="1953365" y="0"/>
                </a:lnTo>
                <a:lnTo>
                  <a:pt x="1953365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6" name="Рисунок 35">
            <a:extLst>
              <a:ext uri="{FF2B5EF4-FFF2-40B4-BE49-F238E27FC236}">
                <a16:creationId xmlns:a16="http://schemas.microsoft.com/office/drawing/2014/main" id="{02BFB004-1843-A041-849F-96E5BF473956}"/>
              </a:ext>
            </a:extLst>
          </p:cNvPr>
          <p:cNvSpPr>
            <a:spLocks noGrp="1"/>
          </p:cNvSpPr>
          <p:nvPr userDrawn="1">
            <p:ph type="pic" sz="quarter" idx="47"/>
          </p:nvPr>
        </p:nvSpPr>
        <p:spPr>
          <a:xfrm>
            <a:off x="717339" y="2151006"/>
            <a:ext cx="976555" cy="976569"/>
          </a:xfrm>
          <a:custGeom>
            <a:avLst/>
            <a:gdLst>
              <a:gd name="connsiteX0" fmla="*/ 0 w 1953365"/>
              <a:gd name="connsiteY0" fmla="*/ 0 h 1953365"/>
              <a:gd name="connsiteX1" fmla="*/ 1953365 w 1953365"/>
              <a:gd name="connsiteY1" fmla="*/ 0 h 1953365"/>
              <a:gd name="connsiteX2" fmla="*/ 1953365 w 1953365"/>
              <a:gd name="connsiteY2" fmla="*/ 1953365 h 1953365"/>
              <a:gd name="connsiteX3" fmla="*/ 0 w 1953365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5" h="1953365">
                <a:moveTo>
                  <a:pt x="0" y="0"/>
                </a:moveTo>
                <a:lnTo>
                  <a:pt x="1953365" y="0"/>
                </a:lnTo>
                <a:lnTo>
                  <a:pt x="1953365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7" name="Рисунок 36">
            <a:extLst>
              <a:ext uri="{FF2B5EF4-FFF2-40B4-BE49-F238E27FC236}">
                <a16:creationId xmlns:a16="http://schemas.microsoft.com/office/drawing/2014/main" id="{8DF33FE3-A85C-064C-A931-C35BD23FE3B7}"/>
              </a:ext>
            </a:extLst>
          </p:cNvPr>
          <p:cNvSpPr>
            <a:spLocks noGrp="1"/>
          </p:cNvSpPr>
          <p:nvPr userDrawn="1">
            <p:ph type="pic" sz="quarter" idx="48"/>
          </p:nvPr>
        </p:nvSpPr>
        <p:spPr>
          <a:xfrm>
            <a:off x="1905315" y="2151006"/>
            <a:ext cx="976556" cy="976569"/>
          </a:xfrm>
          <a:custGeom>
            <a:avLst/>
            <a:gdLst>
              <a:gd name="connsiteX0" fmla="*/ 0 w 1953366"/>
              <a:gd name="connsiteY0" fmla="*/ 0 h 1953365"/>
              <a:gd name="connsiteX1" fmla="*/ 1953366 w 1953366"/>
              <a:gd name="connsiteY1" fmla="*/ 0 h 1953365"/>
              <a:gd name="connsiteX2" fmla="*/ 1953366 w 1953366"/>
              <a:gd name="connsiteY2" fmla="*/ 1953365 h 1953365"/>
              <a:gd name="connsiteX3" fmla="*/ 0 w 1953366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6" h="1953365">
                <a:moveTo>
                  <a:pt x="0" y="0"/>
                </a:moveTo>
                <a:lnTo>
                  <a:pt x="1953366" y="0"/>
                </a:lnTo>
                <a:lnTo>
                  <a:pt x="1953366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8" name="Рисунок 37">
            <a:extLst>
              <a:ext uri="{FF2B5EF4-FFF2-40B4-BE49-F238E27FC236}">
                <a16:creationId xmlns:a16="http://schemas.microsoft.com/office/drawing/2014/main" id="{80DB4EF3-8D43-204A-AF69-BDAB5CE41DC5}"/>
              </a:ext>
            </a:extLst>
          </p:cNvPr>
          <p:cNvSpPr>
            <a:spLocks noGrp="1"/>
          </p:cNvSpPr>
          <p:nvPr userDrawn="1">
            <p:ph type="pic" sz="quarter" idx="49"/>
          </p:nvPr>
        </p:nvSpPr>
        <p:spPr>
          <a:xfrm>
            <a:off x="3082675" y="2151006"/>
            <a:ext cx="976555" cy="976569"/>
          </a:xfrm>
          <a:custGeom>
            <a:avLst/>
            <a:gdLst>
              <a:gd name="connsiteX0" fmla="*/ 0 w 1953364"/>
              <a:gd name="connsiteY0" fmla="*/ 0 h 1953365"/>
              <a:gd name="connsiteX1" fmla="*/ 1953364 w 1953364"/>
              <a:gd name="connsiteY1" fmla="*/ 0 h 1953365"/>
              <a:gd name="connsiteX2" fmla="*/ 1953364 w 1953364"/>
              <a:gd name="connsiteY2" fmla="*/ 1953365 h 1953365"/>
              <a:gd name="connsiteX3" fmla="*/ 0 w 1953364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4" h="1953365">
                <a:moveTo>
                  <a:pt x="0" y="0"/>
                </a:moveTo>
                <a:lnTo>
                  <a:pt x="1953364" y="0"/>
                </a:lnTo>
                <a:lnTo>
                  <a:pt x="1953364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9" name="Рисунок 38">
            <a:extLst>
              <a:ext uri="{FF2B5EF4-FFF2-40B4-BE49-F238E27FC236}">
                <a16:creationId xmlns:a16="http://schemas.microsoft.com/office/drawing/2014/main" id="{5B931989-E9A1-7D4C-B889-1A3428AA5DB3}"/>
              </a:ext>
            </a:extLst>
          </p:cNvPr>
          <p:cNvSpPr>
            <a:spLocks noGrp="1"/>
          </p:cNvSpPr>
          <p:nvPr userDrawn="1">
            <p:ph type="pic" sz="quarter" idx="50"/>
          </p:nvPr>
        </p:nvSpPr>
        <p:spPr>
          <a:xfrm>
            <a:off x="4260035" y="2151006"/>
            <a:ext cx="976556" cy="976569"/>
          </a:xfrm>
          <a:custGeom>
            <a:avLst/>
            <a:gdLst>
              <a:gd name="connsiteX0" fmla="*/ 0 w 1953366"/>
              <a:gd name="connsiteY0" fmla="*/ 0 h 1953365"/>
              <a:gd name="connsiteX1" fmla="*/ 1953366 w 1953366"/>
              <a:gd name="connsiteY1" fmla="*/ 0 h 1953365"/>
              <a:gd name="connsiteX2" fmla="*/ 1953366 w 1953366"/>
              <a:gd name="connsiteY2" fmla="*/ 1953365 h 1953365"/>
              <a:gd name="connsiteX3" fmla="*/ 0 w 1953366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6" h="1953365">
                <a:moveTo>
                  <a:pt x="0" y="0"/>
                </a:moveTo>
                <a:lnTo>
                  <a:pt x="1953366" y="0"/>
                </a:lnTo>
                <a:lnTo>
                  <a:pt x="1953366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0" name="Рисунок 39">
            <a:extLst>
              <a:ext uri="{FF2B5EF4-FFF2-40B4-BE49-F238E27FC236}">
                <a16:creationId xmlns:a16="http://schemas.microsoft.com/office/drawing/2014/main" id="{7BB21460-6E04-6A46-8DA9-73058612F6B1}"/>
              </a:ext>
            </a:extLst>
          </p:cNvPr>
          <p:cNvSpPr>
            <a:spLocks noGrp="1"/>
          </p:cNvSpPr>
          <p:nvPr userDrawn="1">
            <p:ph type="pic" sz="quarter" idx="51"/>
          </p:nvPr>
        </p:nvSpPr>
        <p:spPr>
          <a:xfrm>
            <a:off x="1905315" y="3860998"/>
            <a:ext cx="976555" cy="976569"/>
          </a:xfrm>
          <a:custGeom>
            <a:avLst/>
            <a:gdLst>
              <a:gd name="connsiteX0" fmla="*/ 0 w 1953365"/>
              <a:gd name="connsiteY0" fmla="*/ 0 h 1953365"/>
              <a:gd name="connsiteX1" fmla="*/ 1953365 w 1953365"/>
              <a:gd name="connsiteY1" fmla="*/ 0 h 1953365"/>
              <a:gd name="connsiteX2" fmla="*/ 1953365 w 1953365"/>
              <a:gd name="connsiteY2" fmla="*/ 1953365 h 1953365"/>
              <a:gd name="connsiteX3" fmla="*/ 0 w 1953365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5" h="1953365">
                <a:moveTo>
                  <a:pt x="0" y="0"/>
                </a:moveTo>
                <a:lnTo>
                  <a:pt x="1953365" y="0"/>
                </a:lnTo>
                <a:lnTo>
                  <a:pt x="1953365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1" name="Рисунок 40">
            <a:extLst>
              <a:ext uri="{FF2B5EF4-FFF2-40B4-BE49-F238E27FC236}">
                <a16:creationId xmlns:a16="http://schemas.microsoft.com/office/drawing/2014/main" id="{59EB2067-AFEB-6445-8547-0EB2FD660845}"/>
              </a:ext>
            </a:extLst>
          </p:cNvPr>
          <p:cNvSpPr>
            <a:spLocks noGrp="1"/>
          </p:cNvSpPr>
          <p:nvPr userDrawn="1">
            <p:ph type="pic" sz="quarter" idx="52"/>
          </p:nvPr>
        </p:nvSpPr>
        <p:spPr>
          <a:xfrm>
            <a:off x="3082675" y="3860998"/>
            <a:ext cx="976555" cy="976569"/>
          </a:xfrm>
          <a:custGeom>
            <a:avLst/>
            <a:gdLst>
              <a:gd name="connsiteX0" fmla="*/ 0 w 1953364"/>
              <a:gd name="connsiteY0" fmla="*/ 0 h 1953365"/>
              <a:gd name="connsiteX1" fmla="*/ 1953364 w 1953364"/>
              <a:gd name="connsiteY1" fmla="*/ 0 h 1953365"/>
              <a:gd name="connsiteX2" fmla="*/ 1953364 w 1953364"/>
              <a:gd name="connsiteY2" fmla="*/ 1953365 h 1953365"/>
              <a:gd name="connsiteX3" fmla="*/ 0 w 1953364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4" h="1953365">
                <a:moveTo>
                  <a:pt x="0" y="0"/>
                </a:moveTo>
                <a:lnTo>
                  <a:pt x="1953364" y="0"/>
                </a:lnTo>
                <a:lnTo>
                  <a:pt x="1953364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2" name="Рисунок 41">
            <a:extLst>
              <a:ext uri="{FF2B5EF4-FFF2-40B4-BE49-F238E27FC236}">
                <a16:creationId xmlns:a16="http://schemas.microsoft.com/office/drawing/2014/main" id="{CF95EB1A-6241-9C47-ADE1-0C6FDF6D062A}"/>
              </a:ext>
            </a:extLst>
          </p:cNvPr>
          <p:cNvSpPr>
            <a:spLocks noGrp="1"/>
          </p:cNvSpPr>
          <p:nvPr userDrawn="1">
            <p:ph type="pic" sz="quarter" idx="53"/>
          </p:nvPr>
        </p:nvSpPr>
        <p:spPr>
          <a:xfrm>
            <a:off x="4260035" y="3860998"/>
            <a:ext cx="976556" cy="976569"/>
          </a:xfrm>
          <a:custGeom>
            <a:avLst/>
            <a:gdLst>
              <a:gd name="connsiteX0" fmla="*/ 0 w 1953366"/>
              <a:gd name="connsiteY0" fmla="*/ 0 h 1953365"/>
              <a:gd name="connsiteX1" fmla="*/ 1953366 w 1953366"/>
              <a:gd name="connsiteY1" fmla="*/ 0 h 1953365"/>
              <a:gd name="connsiteX2" fmla="*/ 1953366 w 1953366"/>
              <a:gd name="connsiteY2" fmla="*/ 1953365 h 1953365"/>
              <a:gd name="connsiteX3" fmla="*/ 0 w 1953366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6" h="1953365">
                <a:moveTo>
                  <a:pt x="0" y="0"/>
                </a:moveTo>
                <a:lnTo>
                  <a:pt x="1953366" y="0"/>
                </a:lnTo>
                <a:lnTo>
                  <a:pt x="1953366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4" name="Рисунок 33">
            <a:extLst>
              <a:ext uri="{FF2B5EF4-FFF2-40B4-BE49-F238E27FC236}">
                <a16:creationId xmlns:a16="http://schemas.microsoft.com/office/drawing/2014/main" id="{9C5B8A5F-B040-594F-B6B7-78751CCCC4FA}"/>
              </a:ext>
            </a:extLst>
          </p:cNvPr>
          <p:cNvSpPr>
            <a:spLocks noGrp="1"/>
          </p:cNvSpPr>
          <p:nvPr userDrawn="1">
            <p:ph type="pic" sz="quarter" idx="54"/>
          </p:nvPr>
        </p:nvSpPr>
        <p:spPr>
          <a:xfrm>
            <a:off x="3082675" y="441014"/>
            <a:ext cx="976555" cy="976569"/>
          </a:xfrm>
          <a:custGeom>
            <a:avLst/>
            <a:gdLst>
              <a:gd name="connsiteX0" fmla="*/ 0 w 1953364"/>
              <a:gd name="connsiteY0" fmla="*/ 0 h 1953365"/>
              <a:gd name="connsiteX1" fmla="*/ 1953364 w 1953364"/>
              <a:gd name="connsiteY1" fmla="*/ 0 h 1953365"/>
              <a:gd name="connsiteX2" fmla="*/ 1953364 w 1953364"/>
              <a:gd name="connsiteY2" fmla="*/ 1953365 h 1953365"/>
              <a:gd name="connsiteX3" fmla="*/ 0 w 1953364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4" h="1953365">
                <a:moveTo>
                  <a:pt x="0" y="0"/>
                </a:moveTo>
                <a:lnTo>
                  <a:pt x="1953364" y="0"/>
                </a:lnTo>
                <a:lnTo>
                  <a:pt x="1953364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3" name="Рисунок 32">
            <a:extLst>
              <a:ext uri="{FF2B5EF4-FFF2-40B4-BE49-F238E27FC236}">
                <a16:creationId xmlns:a16="http://schemas.microsoft.com/office/drawing/2014/main" id="{25D2FCC9-6FDA-2D44-A6BE-61CD44C464FD}"/>
              </a:ext>
            </a:extLst>
          </p:cNvPr>
          <p:cNvSpPr>
            <a:spLocks noGrp="1"/>
          </p:cNvSpPr>
          <p:nvPr userDrawn="1">
            <p:ph type="pic" sz="quarter" idx="55"/>
          </p:nvPr>
        </p:nvSpPr>
        <p:spPr>
          <a:xfrm>
            <a:off x="4260035" y="441014"/>
            <a:ext cx="976556" cy="976569"/>
          </a:xfrm>
          <a:custGeom>
            <a:avLst/>
            <a:gdLst>
              <a:gd name="connsiteX0" fmla="*/ 0 w 1953366"/>
              <a:gd name="connsiteY0" fmla="*/ 0 h 1953365"/>
              <a:gd name="connsiteX1" fmla="*/ 1953366 w 1953366"/>
              <a:gd name="connsiteY1" fmla="*/ 0 h 1953365"/>
              <a:gd name="connsiteX2" fmla="*/ 1953366 w 1953366"/>
              <a:gd name="connsiteY2" fmla="*/ 1953365 h 1953365"/>
              <a:gd name="connsiteX3" fmla="*/ 0 w 1953366"/>
              <a:gd name="connsiteY3" fmla="*/ 1953365 h 195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3366" h="1953365">
                <a:moveTo>
                  <a:pt x="0" y="0"/>
                </a:moveTo>
                <a:lnTo>
                  <a:pt x="1953366" y="0"/>
                </a:lnTo>
                <a:lnTo>
                  <a:pt x="1953366" y="1953365"/>
                </a:lnTo>
                <a:lnTo>
                  <a:pt x="0" y="195336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62183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20098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407C7DDB-69DF-B940-91D6-554202B064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424070" y="2956394"/>
            <a:ext cx="4007250" cy="1503741"/>
          </a:xfrm>
          <a:prstGeom prst="rect">
            <a:avLst/>
          </a:prstGeom>
        </p:spPr>
        <p:txBody>
          <a:bodyPr/>
          <a:lstStyle>
            <a:lvl1pPr algn="r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4" name="Текст 3">
            <a:extLst>
              <a:ext uri="{FF2B5EF4-FFF2-40B4-BE49-F238E27FC236}">
                <a16:creationId xmlns:a16="http://schemas.microsoft.com/office/drawing/2014/main" id="{28529CCD-3F0C-834A-9A32-AD693A3526F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26865" y="4841245"/>
            <a:ext cx="4007250" cy="1503741"/>
          </a:xfrm>
          <a:prstGeom prst="rect">
            <a:avLst/>
          </a:prstGeom>
        </p:spPr>
        <p:txBody>
          <a:bodyPr/>
          <a:lstStyle>
            <a:lvl1pPr algn="r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Рисунок 11">
            <a:extLst>
              <a:ext uri="{FF2B5EF4-FFF2-40B4-BE49-F238E27FC236}">
                <a16:creationId xmlns:a16="http://schemas.microsoft.com/office/drawing/2014/main" id="{B15AAE49-E29D-5045-B8A0-96C8E4A02E8E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7391975" y="2933253"/>
            <a:ext cx="4166745" cy="1526882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1" name="Рисунок 11">
            <a:extLst>
              <a:ext uri="{FF2B5EF4-FFF2-40B4-BE49-F238E27FC236}">
                <a16:creationId xmlns:a16="http://schemas.microsoft.com/office/drawing/2014/main" id="{553BCDA5-E8C9-0D47-B389-73F184D3B405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7391975" y="4841246"/>
            <a:ext cx="4166745" cy="1526882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</p:bldLst>
      </p:timing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3">
            <a:extLst>
              <a:ext uri="{FF2B5EF4-FFF2-40B4-BE49-F238E27FC236}">
                <a16:creationId xmlns:a16="http://schemas.microsoft.com/office/drawing/2014/main" id="{407C7DDB-69DF-B940-91D6-554202B064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424070" y="809264"/>
            <a:ext cx="4007250" cy="1503741"/>
          </a:xfrm>
          <a:prstGeom prst="rect">
            <a:avLst/>
          </a:prstGeom>
        </p:spPr>
        <p:txBody>
          <a:bodyPr/>
          <a:lstStyle>
            <a:lvl1pPr algn="r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Текст 3">
            <a:extLst>
              <a:ext uri="{FF2B5EF4-FFF2-40B4-BE49-F238E27FC236}">
                <a16:creationId xmlns:a16="http://schemas.microsoft.com/office/drawing/2014/main" id="{BAA75962-A3B6-6946-A9C7-3442528143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5211" y="2694116"/>
            <a:ext cx="4007250" cy="1503741"/>
          </a:xfrm>
          <a:prstGeom prst="rect">
            <a:avLst/>
          </a:prstGeom>
        </p:spPr>
        <p:txBody>
          <a:bodyPr/>
          <a:lstStyle>
            <a:lvl1pPr algn="r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id="{18CD846F-5A25-A44C-BA1E-80416DA7D6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416983" y="4553247"/>
            <a:ext cx="4007250" cy="1503741"/>
          </a:xfrm>
          <a:prstGeom prst="rect">
            <a:avLst/>
          </a:prstGeom>
        </p:spPr>
        <p:txBody>
          <a:bodyPr/>
          <a:lstStyle>
            <a:lvl1pPr algn="r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Рисунок 11">
            <a:extLst>
              <a:ext uri="{FF2B5EF4-FFF2-40B4-BE49-F238E27FC236}">
                <a16:creationId xmlns:a16="http://schemas.microsoft.com/office/drawing/2014/main" id="{D150DAEA-4249-0147-9CB4-35147F087C68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7402247" y="2681256"/>
            <a:ext cx="4166745" cy="1526882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9" name="Рисунок 11">
            <a:extLst>
              <a:ext uri="{FF2B5EF4-FFF2-40B4-BE49-F238E27FC236}">
                <a16:creationId xmlns:a16="http://schemas.microsoft.com/office/drawing/2014/main" id="{DFBED8BF-6D1C-B14D-9769-CA13208F2125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7402247" y="4553247"/>
            <a:ext cx="4166745" cy="1526882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1" name="Рисунок 11">
            <a:extLst>
              <a:ext uri="{FF2B5EF4-FFF2-40B4-BE49-F238E27FC236}">
                <a16:creationId xmlns:a16="http://schemas.microsoft.com/office/drawing/2014/main" id="{83D49B15-8E7B-7243-AA97-0C872DCA9A80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7402247" y="809264"/>
            <a:ext cx="4166745" cy="1526882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761E89C7-9762-0A4F-979A-07F165C5C308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3356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3225800"/>
            <a:ext cx="12192000" cy="3632200"/>
          </a:xfrm>
          <a:prstGeom prst="rect">
            <a:avLst/>
          </a:prstGeom>
          <a:gradFill flip="none" rotWithShape="1">
            <a:gsLst>
              <a:gs pos="44000">
                <a:srgbClr val="CBCBCB">
                  <a:alpha val="22000"/>
                </a:srgbClr>
              </a:gs>
              <a:gs pos="100000">
                <a:srgbClr val="5F5F5F">
                  <a:alpha val="19000"/>
                </a:srgbClr>
              </a:gs>
              <a:gs pos="100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95"/>
            <a:endParaRPr lang="en-US" sz="23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4987990"/>
            <a:ext cx="10363200" cy="610820"/>
          </a:xfrm>
        </p:spPr>
        <p:txBody>
          <a:bodyPr/>
          <a:lstStyle>
            <a:lvl1pPr algn="ctr">
              <a:defRPr lang="en-US" sz="3999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5509360"/>
            <a:ext cx="8534401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399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26887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20098" y="585013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58" name="Текст 3"/>
          <p:cNvSpPr>
            <a:spLocks noGrp="1"/>
          </p:cNvSpPr>
          <p:nvPr>
            <p:ph type="body" sz="quarter" idx="27" hasCustomPrompt="1"/>
          </p:nvPr>
        </p:nvSpPr>
        <p:spPr>
          <a:xfrm>
            <a:off x="1034365" y="4975817"/>
            <a:ext cx="2231958" cy="1189171"/>
          </a:xfrm>
          <a:prstGeom prst="rect">
            <a:avLst/>
          </a:prstGeom>
        </p:spPr>
        <p:txBody>
          <a:bodyPr/>
          <a:lstStyle>
            <a:lvl1pPr algn="ctr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0" name="Текст 3"/>
          <p:cNvSpPr>
            <a:spLocks noGrp="1"/>
          </p:cNvSpPr>
          <p:nvPr>
            <p:ph type="body" sz="quarter" idx="28" hasCustomPrompt="1"/>
          </p:nvPr>
        </p:nvSpPr>
        <p:spPr>
          <a:xfrm>
            <a:off x="3702560" y="4975817"/>
            <a:ext cx="2231958" cy="1189171"/>
          </a:xfrm>
          <a:prstGeom prst="rect">
            <a:avLst/>
          </a:prstGeom>
        </p:spPr>
        <p:txBody>
          <a:bodyPr/>
          <a:lstStyle>
            <a:lvl1pPr algn="ctr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1" name="Текст 3"/>
          <p:cNvSpPr>
            <a:spLocks noGrp="1"/>
          </p:cNvSpPr>
          <p:nvPr>
            <p:ph type="body" sz="quarter" idx="29" hasCustomPrompt="1"/>
          </p:nvPr>
        </p:nvSpPr>
        <p:spPr>
          <a:xfrm>
            <a:off x="6370754" y="4975817"/>
            <a:ext cx="2231958" cy="1189171"/>
          </a:xfrm>
          <a:prstGeom prst="rect">
            <a:avLst/>
          </a:prstGeom>
        </p:spPr>
        <p:txBody>
          <a:bodyPr/>
          <a:lstStyle>
            <a:lvl1pPr algn="ctr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2" name="Текст 3"/>
          <p:cNvSpPr>
            <a:spLocks noGrp="1"/>
          </p:cNvSpPr>
          <p:nvPr>
            <p:ph type="body" sz="quarter" idx="30" hasCustomPrompt="1"/>
          </p:nvPr>
        </p:nvSpPr>
        <p:spPr>
          <a:xfrm>
            <a:off x="9038948" y="4975817"/>
            <a:ext cx="2231958" cy="1189171"/>
          </a:xfrm>
          <a:prstGeom prst="rect">
            <a:avLst/>
          </a:prstGeom>
        </p:spPr>
        <p:txBody>
          <a:bodyPr/>
          <a:lstStyle>
            <a:lvl1pPr algn="ctr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Рисунок 11">
            <a:extLst>
              <a:ext uri="{FF2B5EF4-FFF2-40B4-BE49-F238E27FC236}">
                <a16:creationId xmlns:a16="http://schemas.microsoft.com/office/drawing/2014/main" id="{56927C02-21E5-4E4C-9751-CD5BCFFC387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1034365" y="2637004"/>
            <a:ext cx="2251526" cy="1683810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63836BFB-247A-F74A-9371-1F4353F735EA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3702559" y="2637004"/>
            <a:ext cx="2251526" cy="1683810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3" name="Рисунок 11">
            <a:extLst>
              <a:ext uri="{FF2B5EF4-FFF2-40B4-BE49-F238E27FC236}">
                <a16:creationId xmlns:a16="http://schemas.microsoft.com/office/drawing/2014/main" id="{3D7BAE8B-7971-6842-81DC-D037074E4742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6370754" y="2637004"/>
            <a:ext cx="2251526" cy="1683810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4" name="Рисунок 11">
            <a:extLst>
              <a:ext uri="{FF2B5EF4-FFF2-40B4-BE49-F238E27FC236}">
                <a16:creationId xmlns:a16="http://schemas.microsoft.com/office/drawing/2014/main" id="{424461E2-5064-3E4C-B364-570B7B47BA9A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9038948" y="2637004"/>
            <a:ext cx="2251526" cy="1683810"/>
          </a:xfrm>
          <a:custGeom>
            <a:avLst/>
            <a:gdLst>
              <a:gd name="connsiteX0" fmla="*/ 0 w 6078092"/>
              <a:gd name="connsiteY0" fmla="*/ 0 h 5382630"/>
              <a:gd name="connsiteX1" fmla="*/ 6078092 w 6078092"/>
              <a:gd name="connsiteY1" fmla="*/ 0 h 5382630"/>
              <a:gd name="connsiteX2" fmla="*/ 6078092 w 6078092"/>
              <a:gd name="connsiteY2" fmla="*/ 5382630 h 5382630"/>
              <a:gd name="connsiteX3" fmla="*/ 0 w 6078092"/>
              <a:gd name="connsiteY3" fmla="*/ 5382630 h 538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8092" h="5382630">
                <a:moveTo>
                  <a:pt x="0" y="0"/>
                </a:moveTo>
                <a:lnTo>
                  <a:pt x="6078092" y="0"/>
                </a:lnTo>
                <a:lnTo>
                  <a:pt x="6078092" y="5382630"/>
                </a:lnTo>
                <a:lnTo>
                  <a:pt x="0" y="538263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5" name="Номер слайда 1">
            <a:extLst>
              <a:ext uri="{FF2B5EF4-FFF2-40B4-BE49-F238E27FC236}">
                <a16:creationId xmlns:a16="http://schemas.microsoft.com/office/drawing/2014/main" id="{F895F541-0F96-5840-9683-8B097B5AD5E9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803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</p:bldLst>
      </p:timing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10623042" cy="82799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34" name="Рисунок 33">
            <a:extLst>
              <a:ext uri="{FF2B5EF4-FFF2-40B4-BE49-F238E27FC236}">
                <a16:creationId xmlns:a16="http://schemas.microsoft.com/office/drawing/2014/main" id="{A2C3AC68-808C-EE46-87E2-F2BA121EB75A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0" y="4413420"/>
            <a:ext cx="2444545" cy="2444580"/>
          </a:xfrm>
          <a:custGeom>
            <a:avLst/>
            <a:gdLst>
              <a:gd name="connsiteX0" fmla="*/ 0 w 4889726"/>
              <a:gd name="connsiteY0" fmla="*/ 0 h 4889726"/>
              <a:gd name="connsiteX1" fmla="*/ 4889726 w 4889726"/>
              <a:gd name="connsiteY1" fmla="*/ 0 h 4889726"/>
              <a:gd name="connsiteX2" fmla="*/ 4889726 w 4889726"/>
              <a:gd name="connsiteY2" fmla="*/ 4889726 h 4889726"/>
              <a:gd name="connsiteX3" fmla="*/ 0 w 4889726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6" h="4889726">
                <a:moveTo>
                  <a:pt x="0" y="0"/>
                </a:moveTo>
                <a:lnTo>
                  <a:pt x="4889726" y="0"/>
                </a:lnTo>
                <a:lnTo>
                  <a:pt x="4889726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6" name="Рисунок 35">
            <a:extLst>
              <a:ext uri="{FF2B5EF4-FFF2-40B4-BE49-F238E27FC236}">
                <a16:creationId xmlns:a16="http://schemas.microsoft.com/office/drawing/2014/main" id="{F48FEEA2-83AF-8D46-99E6-5321CACBC8E4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4873728" y="4413420"/>
            <a:ext cx="2444545" cy="2444580"/>
          </a:xfrm>
          <a:custGeom>
            <a:avLst/>
            <a:gdLst>
              <a:gd name="connsiteX0" fmla="*/ 0 w 4889726"/>
              <a:gd name="connsiteY0" fmla="*/ 0 h 4889726"/>
              <a:gd name="connsiteX1" fmla="*/ 4889726 w 4889726"/>
              <a:gd name="connsiteY1" fmla="*/ 0 h 4889726"/>
              <a:gd name="connsiteX2" fmla="*/ 4889726 w 4889726"/>
              <a:gd name="connsiteY2" fmla="*/ 4889726 h 4889726"/>
              <a:gd name="connsiteX3" fmla="*/ 0 w 4889726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6" h="4889726">
                <a:moveTo>
                  <a:pt x="0" y="0"/>
                </a:moveTo>
                <a:lnTo>
                  <a:pt x="4889726" y="0"/>
                </a:lnTo>
                <a:lnTo>
                  <a:pt x="4889726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0" name="Рисунок 39">
            <a:extLst>
              <a:ext uri="{FF2B5EF4-FFF2-40B4-BE49-F238E27FC236}">
                <a16:creationId xmlns:a16="http://schemas.microsoft.com/office/drawing/2014/main" id="{A6F1C3C2-F6FF-334F-AE1B-1BA50DE0E66C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9747455" y="4413420"/>
            <a:ext cx="2444546" cy="2444580"/>
          </a:xfrm>
          <a:custGeom>
            <a:avLst/>
            <a:gdLst/>
            <a:ahLst/>
            <a:cxnLst/>
            <a:rect l="l" t="t" r="r" b="b"/>
            <a:pathLst>
              <a:path w="4889728" h="4889726">
                <a:moveTo>
                  <a:pt x="0" y="0"/>
                </a:moveTo>
                <a:lnTo>
                  <a:pt x="4889728" y="0"/>
                </a:lnTo>
                <a:lnTo>
                  <a:pt x="4889728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3" name="Рисунок 32">
            <a:extLst>
              <a:ext uri="{FF2B5EF4-FFF2-40B4-BE49-F238E27FC236}">
                <a16:creationId xmlns:a16="http://schemas.microsoft.com/office/drawing/2014/main" id="{F58EE6FC-E1BE-2B4C-8A0B-6F8C742360FA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2436864" y="1989007"/>
            <a:ext cx="2444545" cy="2444580"/>
          </a:xfrm>
          <a:custGeom>
            <a:avLst/>
            <a:gdLst>
              <a:gd name="connsiteX0" fmla="*/ 0 w 4889726"/>
              <a:gd name="connsiteY0" fmla="*/ 0 h 4889726"/>
              <a:gd name="connsiteX1" fmla="*/ 4889726 w 4889726"/>
              <a:gd name="connsiteY1" fmla="*/ 0 h 4889726"/>
              <a:gd name="connsiteX2" fmla="*/ 4889726 w 4889726"/>
              <a:gd name="connsiteY2" fmla="*/ 4889726 h 4889726"/>
              <a:gd name="connsiteX3" fmla="*/ 0 w 4889726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6" h="4889726">
                <a:moveTo>
                  <a:pt x="0" y="0"/>
                </a:moveTo>
                <a:lnTo>
                  <a:pt x="4889726" y="0"/>
                </a:lnTo>
                <a:lnTo>
                  <a:pt x="4889726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9" name="Рисунок 38">
            <a:extLst>
              <a:ext uri="{FF2B5EF4-FFF2-40B4-BE49-F238E27FC236}">
                <a16:creationId xmlns:a16="http://schemas.microsoft.com/office/drawing/2014/main" id="{F104EB32-B91E-154E-96B3-DF80901BFBF9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7310592" y="1989007"/>
            <a:ext cx="2444544" cy="2444580"/>
          </a:xfrm>
          <a:custGeom>
            <a:avLst/>
            <a:gdLst>
              <a:gd name="connsiteX0" fmla="*/ 0 w 4889725"/>
              <a:gd name="connsiteY0" fmla="*/ 0 h 4889726"/>
              <a:gd name="connsiteX1" fmla="*/ 4889725 w 4889725"/>
              <a:gd name="connsiteY1" fmla="*/ 0 h 4889726"/>
              <a:gd name="connsiteX2" fmla="*/ 4889725 w 4889725"/>
              <a:gd name="connsiteY2" fmla="*/ 4889726 h 4889726"/>
              <a:gd name="connsiteX3" fmla="*/ 0 w 4889725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5" h="4889726">
                <a:moveTo>
                  <a:pt x="0" y="0"/>
                </a:moveTo>
                <a:lnTo>
                  <a:pt x="4889725" y="0"/>
                </a:lnTo>
                <a:lnTo>
                  <a:pt x="4889725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23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10623042" cy="82799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32" name="Рисунок 31">
            <a:extLst>
              <a:ext uri="{FF2B5EF4-FFF2-40B4-BE49-F238E27FC236}">
                <a16:creationId xmlns:a16="http://schemas.microsoft.com/office/drawing/2014/main" id="{B31B1E98-3AE4-B243-8F8F-2AFBF130A413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83782" y="2201140"/>
            <a:ext cx="2020284" cy="2020314"/>
          </a:xfrm>
          <a:custGeom>
            <a:avLst/>
            <a:gdLst>
              <a:gd name="connsiteX0" fmla="*/ 0 w 4889726"/>
              <a:gd name="connsiteY0" fmla="*/ 0 h 4889726"/>
              <a:gd name="connsiteX1" fmla="*/ 4889726 w 4889726"/>
              <a:gd name="connsiteY1" fmla="*/ 0 h 4889726"/>
              <a:gd name="connsiteX2" fmla="*/ 4889726 w 4889726"/>
              <a:gd name="connsiteY2" fmla="*/ 4889726 h 4889726"/>
              <a:gd name="connsiteX3" fmla="*/ 0 w 4889726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6" h="4889726">
                <a:moveTo>
                  <a:pt x="0" y="0"/>
                </a:moveTo>
                <a:lnTo>
                  <a:pt x="4889726" y="0"/>
                </a:lnTo>
                <a:lnTo>
                  <a:pt x="4889726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3" name="Рисунок 32">
            <a:extLst>
              <a:ext uri="{FF2B5EF4-FFF2-40B4-BE49-F238E27FC236}">
                <a16:creationId xmlns:a16="http://schemas.microsoft.com/office/drawing/2014/main" id="{F58EE6FC-E1BE-2B4C-8A0B-6F8C742360FA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2834820" y="2201140"/>
            <a:ext cx="2020284" cy="2020314"/>
          </a:xfrm>
          <a:custGeom>
            <a:avLst/>
            <a:gdLst>
              <a:gd name="connsiteX0" fmla="*/ 0 w 4889726"/>
              <a:gd name="connsiteY0" fmla="*/ 0 h 4889726"/>
              <a:gd name="connsiteX1" fmla="*/ 4889726 w 4889726"/>
              <a:gd name="connsiteY1" fmla="*/ 0 h 4889726"/>
              <a:gd name="connsiteX2" fmla="*/ 4889726 w 4889726"/>
              <a:gd name="connsiteY2" fmla="*/ 4889726 h 4889726"/>
              <a:gd name="connsiteX3" fmla="*/ 0 w 4889726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6" h="4889726">
                <a:moveTo>
                  <a:pt x="0" y="0"/>
                </a:moveTo>
                <a:lnTo>
                  <a:pt x="4889726" y="0"/>
                </a:lnTo>
                <a:lnTo>
                  <a:pt x="4889726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8" name="Рисунок 37">
            <a:extLst>
              <a:ext uri="{FF2B5EF4-FFF2-40B4-BE49-F238E27FC236}">
                <a16:creationId xmlns:a16="http://schemas.microsoft.com/office/drawing/2014/main" id="{5FD31819-DF5B-B34F-BC92-B4DCF2FB730D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5085858" y="2201140"/>
            <a:ext cx="2020284" cy="2020314"/>
          </a:xfrm>
          <a:custGeom>
            <a:avLst/>
            <a:gdLst>
              <a:gd name="connsiteX0" fmla="*/ 0 w 4889726"/>
              <a:gd name="connsiteY0" fmla="*/ 0 h 4889726"/>
              <a:gd name="connsiteX1" fmla="*/ 4889726 w 4889726"/>
              <a:gd name="connsiteY1" fmla="*/ 0 h 4889726"/>
              <a:gd name="connsiteX2" fmla="*/ 4889726 w 4889726"/>
              <a:gd name="connsiteY2" fmla="*/ 4889726 h 4889726"/>
              <a:gd name="connsiteX3" fmla="*/ 0 w 4889726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6" h="4889726">
                <a:moveTo>
                  <a:pt x="0" y="0"/>
                </a:moveTo>
                <a:lnTo>
                  <a:pt x="4889726" y="0"/>
                </a:lnTo>
                <a:lnTo>
                  <a:pt x="4889726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9" name="Рисунок 38">
            <a:extLst>
              <a:ext uri="{FF2B5EF4-FFF2-40B4-BE49-F238E27FC236}">
                <a16:creationId xmlns:a16="http://schemas.microsoft.com/office/drawing/2014/main" id="{F104EB32-B91E-154E-96B3-DF80901BFBF9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7336896" y="2201140"/>
            <a:ext cx="2020284" cy="2020314"/>
          </a:xfrm>
          <a:custGeom>
            <a:avLst/>
            <a:gdLst>
              <a:gd name="connsiteX0" fmla="*/ 0 w 4889725"/>
              <a:gd name="connsiteY0" fmla="*/ 0 h 4889726"/>
              <a:gd name="connsiteX1" fmla="*/ 4889725 w 4889725"/>
              <a:gd name="connsiteY1" fmla="*/ 0 h 4889726"/>
              <a:gd name="connsiteX2" fmla="*/ 4889725 w 4889725"/>
              <a:gd name="connsiteY2" fmla="*/ 4889726 h 4889726"/>
              <a:gd name="connsiteX3" fmla="*/ 0 w 4889725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5" h="4889726">
                <a:moveTo>
                  <a:pt x="0" y="0"/>
                </a:moveTo>
                <a:lnTo>
                  <a:pt x="4889725" y="0"/>
                </a:lnTo>
                <a:lnTo>
                  <a:pt x="4889725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2" name="Рисунок 41">
            <a:extLst>
              <a:ext uri="{FF2B5EF4-FFF2-40B4-BE49-F238E27FC236}">
                <a16:creationId xmlns:a16="http://schemas.microsoft.com/office/drawing/2014/main" id="{DD2D3A0F-F00D-DA49-89A6-049317443323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9587934" y="2201140"/>
            <a:ext cx="2020285" cy="2020314"/>
          </a:xfrm>
          <a:custGeom>
            <a:avLst/>
            <a:gdLst>
              <a:gd name="connsiteX0" fmla="*/ 0 w 4889728"/>
              <a:gd name="connsiteY0" fmla="*/ 0 h 4889726"/>
              <a:gd name="connsiteX1" fmla="*/ 4889728 w 4889728"/>
              <a:gd name="connsiteY1" fmla="*/ 0 h 4889726"/>
              <a:gd name="connsiteX2" fmla="*/ 4889728 w 4889728"/>
              <a:gd name="connsiteY2" fmla="*/ 4889726 h 4889726"/>
              <a:gd name="connsiteX3" fmla="*/ 0 w 4889728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8" h="4889726">
                <a:moveTo>
                  <a:pt x="0" y="0"/>
                </a:moveTo>
                <a:lnTo>
                  <a:pt x="4889728" y="0"/>
                </a:lnTo>
                <a:lnTo>
                  <a:pt x="4889728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23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10623042" cy="82799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33" name="Рисунок 32">
            <a:extLst>
              <a:ext uri="{FF2B5EF4-FFF2-40B4-BE49-F238E27FC236}">
                <a16:creationId xmlns:a16="http://schemas.microsoft.com/office/drawing/2014/main" id="{F58EE6FC-E1BE-2B4C-8A0B-6F8C742360FA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2436864" y="2748412"/>
            <a:ext cx="2444545" cy="2444580"/>
          </a:xfrm>
          <a:custGeom>
            <a:avLst/>
            <a:gdLst>
              <a:gd name="connsiteX0" fmla="*/ 0 w 4889726"/>
              <a:gd name="connsiteY0" fmla="*/ 0 h 4889726"/>
              <a:gd name="connsiteX1" fmla="*/ 4889726 w 4889726"/>
              <a:gd name="connsiteY1" fmla="*/ 0 h 4889726"/>
              <a:gd name="connsiteX2" fmla="*/ 4889726 w 4889726"/>
              <a:gd name="connsiteY2" fmla="*/ 4889726 h 4889726"/>
              <a:gd name="connsiteX3" fmla="*/ 0 w 4889726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6" h="4889726">
                <a:moveTo>
                  <a:pt x="0" y="0"/>
                </a:moveTo>
                <a:lnTo>
                  <a:pt x="4889726" y="0"/>
                </a:lnTo>
                <a:lnTo>
                  <a:pt x="4889726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8" name="Рисунок 37">
            <a:extLst>
              <a:ext uri="{FF2B5EF4-FFF2-40B4-BE49-F238E27FC236}">
                <a16:creationId xmlns:a16="http://schemas.microsoft.com/office/drawing/2014/main" id="{5FD31819-DF5B-B34F-BC92-B4DCF2FB730D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4873728" y="2748412"/>
            <a:ext cx="2444545" cy="2444580"/>
          </a:xfrm>
          <a:custGeom>
            <a:avLst/>
            <a:gdLst>
              <a:gd name="connsiteX0" fmla="*/ 0 w 4889726"/>
              <a:gd name="connsiteY0" fmla="*/ 0 h 4889726"/>
              <a:gd name="connsiteX1" fmla="*/ 4889726 w 4889726"/>
              <a:gd name="connsiteY1" fmla="*/ 0 h 4889726"/>
              <a:gd name="connsiteX2" fmla="*/ 4889726 w 4889726"/>
              <a:gd name="connsiteY2" fmla="*/ 4889726 h 4889726"/>
              <a:gd name="connsiteX3" fmla="*/ 0 w 4889726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6" h="4889726">
                <a:moveTo>
                  <a:pt x="0" y="0"/>
                </a:moveTo>
                <a:lnTo>
                  <a:pt x="4889726" y="0"/>
                </a:lnTo>
                <a:lnTo>
                  <a:pt x="4889726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9" name="Рисунок 38">
            <a:extLst>
              <a:ext uri="{FF2B5EF4-FFF2-40B4-BE49-F238E27FC236}">
                <a16:creationId xmlns:a16="http://schemas.microsoft.com/office/drawing/2014/main" id="{F104EB32-B91E-154E-96B3-DF80901BFBF9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7310592" y="2748412"/>
            <a:ext cx="2444544" cy="2444580"/>
          </a:xfrm>
          <a:custGeom>
            <a:avLst/>
            <a:gdLst>
              <a:gd name="connsiteX0" fmla="*/ 0 w 4889725"/>
              <a:gd name="connsiteY0" fmla="*/ 0 h 4889726"/>
              <a:gd name="connsiteX1" fmla="*/ 4889725 w 4889725"/>
              <a:gd name="connsiteY1" fmla="*/ 0 h 4889726"/>
              <a:gd name="connsiteX2" fmla="*/ 4889725 w 4889725"/>
              <a:gd name="connsiteY2" fmla="*/ 4889726 h 4889726"/>
              <a:gd name="connsiteX3" fmla="*/ 0 w 4889725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5" h="4889726">
                <a:moveTo>
                  <a:pt x="0" y="0"/>
                </a:moveTo>
                <a:lnTo>
                  <a:pt x="4889725" y="0"/>
                </a:lnTo>
                <a:lnTo>
                  <a:pt x="4889725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2" name="Рисунок 41">
            <a:extLst>
              <a:ext uri="{FF2B5EF4-FFF2-40B4-BE49-F238E27FC236}">
                <a16:creationId xmlns:a16="http://schemas.microsoft.com/office/drawing/2014/main" id="{DD2D3A0F-F00D-DA49-89A6-049317443323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9747455" y="2748412"/>
            <a:ext cx="2444546" cy="2444580"/>
          </a:xfrm>
          <a:custGeom>
            <a:avLst/>
            <a:gdLst>
              <a:gd name="connsiteX0" fmla="*/ 0 w 4889728"/>
              <a:gd name="connsiteY0" fmla="*/ 0 h 4889726"/>
              <a:gd name="connsiteX1" fmla="*/ 4889728 w 4889728"/>
              <a:gd name="connsiteY1" fmla="*/ 0 h 4889726"/>
              <a:gd name="connsiteX2" fmla="*/ 4889728 w 4889728"/>
              <a:gd name="connsiteY2" fmla="*/ 4889726 h 4889726"/>
              <a:gd name="connsiteX3" fmla="*/ 0 w 4889728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8" h="4889726">
                <a:moveTo>
                  <a:pt x="0" y="0"/>
                </a:moveTo>
                <a:lnTo>
                  <a:pt x="4889728" y="0"/>
                </a:lnTo>
                <a:lnTo>
                  <a:pt x="4889728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653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Mai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9BBE0B44-7CE7-FF4E-910E-810823942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856" y="729013"/>
            <a:ext cx="10623042" cy="82799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YOUR TOP SLIDE</a:t>
            </a:r>
            <a:endParaRPr lang="ru-RU" dirty="0"/>
          </a:p>
        </p:txBody>
      </p:sp>
      <p:sp>
        <p:nvSpPr>
          <p:cNvPr id="32" name="Рисунок 31">
            <a:extLst>
              <a:ext uri="{FF2B5EF4-FFF2-40B4-BE49-F238E27FC236}">
                <a16:creationId xmlns:a16="http://schemas.microsoft.com/office/drawing/2014/main" id="{B31B1E98-3AE4-B243-8F8F-2AFBF130A413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0" y="2748412"/>
            <a:ext cx="2444545" cy="2444580"/>
          </a:xfrm>
          <a:custGeom>
            <a:avLst/>
            <a:gdLst>
              <a:gd name="connsiteX0" fmla="*/ 0 w 4889726"/>
              <a:gd name="connsiteY0" fmla="*/ 0 h 4889726"/>
              <a:gd name="connsiteX1" fmla="*/ 4889726 w 4889726"/>
              <a:gd name="connsiteY1" fmla="*/ 0 h 4889726"/>
              <a:gd name="connsiteX2" fmla="*/ 4889726 w 4889726"/>
              <a:gd name="connsiteY2" fmla="*/ 4889726 h 4889726"/>
              <a:gd name="connsiteX3" fmla="*/ 0 w 4889726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6" h="4889726">
                <a:moveTo>
                  <a:pt x="0" y="0"/>
                </a:moveTo>
                <a:lnTo>
                  <a:pt x="4889726" y="0"/>
                </a:lnTo>
                <a:lnTo>
                  <a:pt x="4889726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3" name="Рисунок 32">
            <a:extLst>
              <a:ext uri="{FF2B5EF4-FFF2-40B4-BE49-F238E27FC236}">
                <a16:creationId xmlns:a16="http://schemas.microsoft.com/office/drawing/2014/main" id="{F58EE6FC-E1BE-2B4C-8A0B-6F8C742360FA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2436864" y="2748412"/>
            <a:ext cx="2444545" cy="2444580"/>
          </a:xfrm>
          <a:custGeom>
            <a:avLst/>
            <a:gdLst>
              <a:gd name="connsiteX0" fmla="*/ 0 w 4889726"/>
              <a:gd name="connsiteY0" fmla="*/ 0 h 4889726"/>
              <a:gd name="connsiteX1" fmla="*/ 4889726 w 4889726"/>
              <a:gd name="connsiteY1" fmla="*/ 0 h 4889726"/>
              <a:gd name="connsiteX2" fmla="*/ 4889726 w 4889726"/>
              <a:gd name="connsiteY2" fmla="*/ 4889726 h 4889726"/>
              <a:gd name="connsiteX3" fmla="*/ 0 w 4889726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6" h="4889726">
                <a:moveTo>
                  <a:pt x="0" y="0"/>
                </a:moveTo>
                <a:lnTo>
                  <a:pt x="4889726" y="0"/>
                </a:lnTo>
                <a:lnTo>
                  <a:pt x="4889726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8" name="Рисунок 37">
            <a:extLst>
              <a:ext uri="{FF2B5EF4-FFF2-40B4-BE49-F238E27FC236}">
                <a16:creationId xmlns:a16="http://schemas.microsoft.com/office/drawing/2014/main" id="{5FD31819-DF5B-B34F-BC92-B4DCF2FB730D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4873728" y="2748412"/>
            <a:ext cx="2444545" cy="2444580"/>
          </a:xfrm>
          <a:custGeom>
            <a:avLst/>
            <a:gdLst>
              <a:gd name="connsiteX0" fmla="*/ 0 w 4889726"/>
              <a:gd name="connsiteY0" fmla="*/ 0 h 4889726"/>
              <a:gd name="connsiteX1" fmla="*/ 4889726 w 4889726"/>
              <a:gd name="connsiteY1" fmla="*/ 0 h 4889726"/>
              <a:gd name="connsiteX2" fmla="*/ 4889726 w 4889726"/>
              <a:gd name="connsiteY2" fmla="*/ 4889726 h 4889726"/>
              <a:gd name="connsiteX3" fmla="*/ 0 w 4889726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6" h="4889726">
                <a:moveTo>
                  <a:pt x="0" y="0"/>
                </a:moveTo>
                <a:lnTo>
                  <a:pt x="4889726" y="0"/>
                </a:lnTo>
                <a:lnTo>
                  <a:pt x="4889726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9" name="Рисунок 38">
            <a:extLst>
              <a:ext uri="{FF2B5EF4-FFF2-40B4-BE49-F238E27FC236}">
                <a16:creationId xmlns:a16="http://schemas.microsoft.com/office/drawing/2014/main" id="{F104EB32-B91E-154E-96B3-DF80901BFBF9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7310592" y="2748412"/>
            <a:ext cx="2444544" cy="2444580"/>
          </a:xfrm>
          <a:custGeom>
            <a:avLst/>
            <a:gdLst>
              <a:gd name="connsiteX0" fmla="*/ 0 w 4889725"/>
              <a:gd name="connsiteY0" fmla="*/ 0 h 4889726"/>
              <a:gd name="connsiteX1" fmla="*/ 4889725 w 4889725"/>
              <a:gd name="connsiteY1" fmla="*/ 0 h 4889726"/>
              <a:gd name="connsiteX2" fmla="*/ 4889725 w 4889725"/>
              <a:gd name="connsiteY2" fmla="*/ 4889726 h 4889726"/>
              <a:gd name="connsiteX3" fmla="*/ 0 w 4889725"/>
              <a:gd name="connsiteY3" fmla="*/ 4889726 h 488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9725" h="4889726">
                <a:moveTo>
                  <a:pt x="0" y="0"/>
                </a:moveTo>
                <a:lnTo>
                  <a:pt x="4889725" y="0"/>
                </a:lnTo>
                <a:lnTo>
                  <a:pt x="4889725" y="4889726"/>
                </a:lnTo>
                <a:lnTo>
                  <a:pt x="0" y="488972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59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/>
        </p:bldLst>
      </p:timing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5364434" y="2997002"/>
            <a:ext cx="2289156" cy="150374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3" name="Текст 3"/>
          <p:cNvSpPr>
            <a:spLocks noGrp="1"/>
          </p:cNvSpPr>
          <p:nvPr>
            <p:ph type="body" sz="quarter" idx="24" hasCustomPrompt="1"/>
          </p:nvPr>
        </p:nvSpPr>
        <p:spPr>
          <a:xfrm>
            <a:off x="8570332" y="2997002"/>
            <a:ext cx="2290865" cy="1503741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1845007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846093" y="2997002"/>
            <a:ext cx="2289156" cy="150374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8572041" y="4900868"/>
            <a:ext cx="2289156" cy="150374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1" name="Текст 3"/>
          <p:cNvSpPr>
            <a:spLocks noGrp="1"/>
          </p:cNvSpPr>
          <p:nvPr>
            <p:ph type="body" sz="quarter" idx="28" hasCustomPrompt="1"/>
          </p:nvPr>
        </p:nvSpPr>
        <p:spPr>
          <a:xfrm>
            <a:off x="5364434" y="4900868"/>
            <a:ext cx="2290865" cy="1503741"/>
          </a:xfrm>
          <a:prstGeom prst="rect">
            <a:avLst/>
          </a:prstGeom>
        </p:spPr>
        <p:txBody>
          <a:bodyPr/>
          <a:lstStyle>
            <a:lvl1pPr algn="r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20097" y="837012"/>
            <a:ext cx="8675834" cy="10079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9813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3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3" grpId="0"/>
        </p:bldLst>
      </p:timing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5364434" y="441014"/>
            <a:ext cx="2289156" cy="150374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3" name="Текст 3"/>
          <p:cNvSpPr>
            <a:spLocks noGrp="1"/>
          </p:cNvSpPr>
          <p:nvPr>
            <p:ph type="body" sz="quarter" idx="24" hasCustomPrompt="1"/>
          </p:nvPr>
        </p:nvSpPr>
        <p:spPr>
          <a:xfrm>
            <a:off x="8570332" y="441014"/>
            <a:ext cx="2290865" cy="1503741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846093" y="441014"/>
            <a:ext cx="2289156" cy="150374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8572041" y="2344879"/>
            <a:ext cx="2289156" cy="150374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1" name="Текст 3"/>
          <p:cNvSpPr>
            <a:spLocks noGrp="1"/>
          </p:cNvSpPr>
          <p:nvPr>
            <p:ph type="body" sz="quarter" idx="28" hasCustomPrompt="1"/>
          </p:nvPr>
        </p:nvSpPr>
        <p:spPr>
          <a:xfrm>
            <a:off x="5364434" y="2344879"/>
            <a:ext cx="2290865" cy="1503741"/>
          </a:xfrm>
          <a:prstGeom prst="rect">
            <a:avLst/>
          </a:prstGeom>
        </p:spPr>
        <p:txBody>
          <a:bodyPr/>
          <a:lstStyle>
            <a:lvl1pPr algn="r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5362726" y="4202264"/>
            <a:ext cx="2289156" cy="150374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30" hasCustomPrompt="1"/>
          </p:nvPr>
        </p:nvSpPr>
        <p:spPr>
          <a:xfrm>
            <a:off x="8568624" y="4202264"/>
            <a:ext cx="2290865" cy="1503741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2844385" y="4202264"/>
            <a:ext cx="2289156" cy="150374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316951" y="441014"/>
            <a:ext cx="2289156" cy="150374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5C5E538E-2998-2344-8B97-9F188723942D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26547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0" y="2962179"/>
            <a:ext cx="12192000" cy="161881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ru-RU" dirty="0"/>
              <a:t>  </a:t>
            </a:r>
            <a:endParaRPr lang="en-US" dirty="0"/>
          </a:p>
        </p:txBody>
      </p:sp>
      <p:sp>
        <p:nvSpPr>
          <p:cNvPr id="21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9551934" y="4723818"/>
            <a:ext cx="1943963" cy="1018834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20098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7391975" y="4723817"/>
            <a:ext cx="1943963" cy="1018834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2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5232016" y="4723817"/>
            <a:ext cx="1943963" cy="1018834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3" name="Текст 3"/>
          <p:cNvSpPr>
            <a:spLocks noGrp="1"/>
          </p:cNvSpPr>
          <p:nvPr>
            <p:ph type="body" sz="quarter" idx="25" hasCustomPrompt="1"/>
          </p:nvPr>
        </p:nvSpPr>
        <p:spPr>
          <a:xfrm>
            <a:off x="1020097" y="2817003"/>
            <a:ext cx="3923925" cy="1763992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lang="en-US" sz="9998" b="1" i="0" baseline="0" dirty="0">
                <a:solidFill>
                  <a:schemeClr val="bg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017</a:t>
            </a:r>
            <a:endParaRPr lang="en-US" dirty="0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9D4BC20E-09CE-9D48-90F8-4C3CB9D5D032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695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</p:bldLst>
      </p:timing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4872024" y="2962178"/>
            <a:ext cx="7319976" cy="16188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7175979" y="2962178"/>
            <a:ext cx="2303956" cy="1618817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42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0" y="2962178"/>
            <a:ext cx="4872024" cy="1618817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ru-RU" dirty="0"/>
              <a:t>  </a:t>
            </a:r>
            <a:endParaRPr lang="en-US" dirty="0"/>
          </a:p>
        </p:txBody>
      </p:sp>
      <p:sp>
        <p:nvSpPr>
          <p:cNvPr id="21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9736102" y="4723818"/>
            <a:ext cx="1767239" cy="1018834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20098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7480337" y="4723817"/>
            <a:ext cx="1767239" cy="1018834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2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5232016" y="4723817"/>
            <a:ext cx="1943963" cy="1018834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4872024" y="2962178"/>
            <a:ext cx="2303956" cy="16188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23" hasCustomPrompt="1"/>
          </p:nvPr>
        </p:nvSpPr>
        <p:spPr>
          <a:xfrm>
            <a:off x="9731930" y="3753000"/>
            <a:ext cx="1767239" cy="575105"/>
          </a:xfrm>
          <a:prstGeom prst="rect">
            <a:avLst/>
          </a:prstGeom>
        </p:spPr>
        <p:txBody>
          <a:bodyPr/>
          <a:lstStyle>
            <a:lvl1pPr algn="l">
              <a:defRPr lang="en-US" sz="2699" b="1" i="0" baseline="0" dirty="0">
                <a:solidFill>
                  <a:schemeClr val="bg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019</a:t>
            </a:r>
            <a:endParaRPr lang="en-US" dirty="0"/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24" hasCustomPrompt="1"/>
          </p:nvPr>
        </p:nvSpPr>
        <p:spPr>
          <a:xfrm>
            <a:off x="7476165" y="3752999"/>
            <a:ext cx="1767239" cy="575105"/>
          </a:xfrm>
          <a:prstGeom prst="rect">
            <a:avLst/>
          </a:prstGeom>
        </p:spPr>
        <p:txBody>
          <a:bodyPr/>
          <a:lstStyle>
            <a:lvl1pPr algn="l">
              <a:defRPr lang="en-US" sz="2699" b="1" i="0" baseline="0" dirty="0">
                <a:solidFill>
                  <a:schemeClr val="bg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018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25" hasCustomPrompt="1"/>
          </p:nvPr>
        </p:nvSpPr>
        <p:spPr>
          <a:xfrm>
            <a:off x="5227844" y="3752999"/>
            <a:ext cx="1943963" cy="575105"/>
          </a:xfrm>
          <a:prstGeom prst="rect">
            <a:avLst/>
          </a:prstGeom>
        </p:spPr>
        <p:txBody>
          <a:bodyPr/>
          <a:lstStyle>
            <a:lvl1pPr algn="l">
              <a:defRPr lang="en-US" sz="2699" b="1" i="0" baseline="0" dirty="0">
                <a:solidFill>
                  <a:schemeClr val="bg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017</a:t>
            </a:r>
            <a:endParaRPr lang="en-US" dirty="0"/>
          </a:p>
        </p:txBody>
      </p:sp>
      <p:sp>
        <p:nvSpPr>
          <p:cNvPr id="14" name="Номер слайда 1">
            <a:extLst>
              <a:ext uri="{FF2B5EF4-FFF2-40B4-BE49-F238E27FC236}">
                <a16:creationId xmlns:a16="http://schemas.microsoft.com/office/drawing/2014/main" id="{C7B2D91D-E744-CA4B-9793-42093E8315E3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54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</p:bldLst>
      </p:timing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20098" y="837012"/>
            <a:ext cx="4248237" cy="13682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89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4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134555" y="2707459"/>
            <a:ext cx="2289156" cy="166764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1132568" y="4733380"/>
            <a:ext cx="2290865" cy="917723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3914757" y="2547981"/>
            <a:ext cx="2289156" cy="181952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24" hasCustomPrompt="1"/>
          </p:nvPr>
        </p:nvSpPr>
        <p:spPr>
          <a:xfrm>
            <a:off x="3912770" y="4733380"/>
            <a:ext cx="2290865" cy="917723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6694960" y="2307697"/>
            <a:ext cx="2289156" cy="204836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2" name="Текст 3"/>
          <p:cNvSpPr>
            <a:spLocks noGrp="1"/>
          </p:cNvSpPr>
          <p:nvPr>
            <p:ph type="body" sz="quarter" idx="26" hasCustomPrompt="1"/>
          </p:nvPr>
        </p:nvSpPr>
        <p:spPr>
          <a:xfrm>
            <a:off x="6692973" y="4733380"/>
            <a:ext cx="2290865" cy="917723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9475163" y="1963802"/>
            <a:ext cx="2289156" cy="2375887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4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28" hasCustomPrompt="1"/>
          </p:nvPr>
        </p:nvSpPr>
        <p:spPr>
          <a:xfrm>
            <a:off x="9473176" y="4733380"/>
            <a:ext cx="2290865" cy="917723"/>
          </a:xfrm>
          <a:prstGeom prst="rect">
            <a:avLst/>
          </a:prstGeom>
        </p:spPr>
        <p:txBody>
          <a:bodyPr/>
          <a:lstStyle>
            <a:lvl1pPr algn="l">
              <a:defRPr lang="en-US" sz="11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F168FEAF-54BE-8448-92A9-59FA181BC46D}"/>
              </a:ext>
            </a:extLst>
          </p:cNvPr>
          <p:cNvSpPr txBox="1">
            <a:spLocks/>
          </p:cNvSpPr>
          <p:nvPr userDrawn="1"/>
        </p:nvSpPr>
        <p:spPr>
          <a:xfrm>
            <a:off x="10955907" y="6325901"/>
            <a:ext cx="1246071" cy="409215"/>
          </a:xfrm>
          <a:prstGeom prst="rect">
            <a:avLst/>
          </a:prstGeom>
        </p:spPr>
        <p:txBody>
          <a:bodyPr rIns="215972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219079">
              <a:lnSpc>
                <a:spcPct val="150000"/>
              </a:lnSpc>
              <a:spcBef>
                <a:spcPts val="432"/>
              </a:spcBef>
            </a:pPr>
            <a:fld id="{E8BBD06A-759F-43F0-9FDD-30D8801384DF}" type="slidenum">
              <a:rPr lang="ru-RU" sz="16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1219079">
                <a:lnSpc>
                  <a:spcPct val="150000"/>
                </a:lnSpc>
                <a:spcBef>
                  <a:spcPts val="432"/>
                </a:spcBef>
              </a:pPr>
              <a:t>‹#›</a:t>
            </a:fld>
            <a:endParaRPr lang="ru-RU" sz="1600" dirty="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66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</p:bldLst>
      </p:timing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7.xml"/><Relationship Id="rId13" Type="http://schemas.openxmlformats.org/officeDocument/2006/relationships/slideLayout" Target="../slideLayouts/slideLayout332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322.xml"/><Relationship Id="rId7" Type="http://schemas.openxmlformats.org/officeDocument/2006/relationships/slideLayout" Target="../slideLayouts/slideLayout326.xml"/><Relationship Id="rId12" Type="http://schemas.openxmlformats.org/officeDocument/2006/relationships/slideLayout" Target="../slideLayouts/slideLayout331.xml"/><Relationship Id="rId17" Type="http://schemas.openxmlformats.org/officeDocument/2006/relationships/slideLayout" Target="../slideLayouts/slideLayout336.xml"/><Relationship Id="rId2" Type="http://schemas.openxmlformats.org/officeDocument/2006/relationships/slideLayout" Target="../slideLayouts/slideLayout321.xml"/><Relationship Id="rId16" Type="http://schemas.openxmlformats.org/officeDocument/2006/relationships/slideLayout" Target="../slideLayouts/slideLayout335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325.xml"/><Relationship Id="rId11" Type="http://schemas.openxmlformats.org/officeDocument/2006/relationships/slideLayout" Target="../slideLayouts/slideLayout330.xml"/><Relationship Id="rId5" Type="http://schemas.openxmlformats.org/officeDocument/2006/relationships/slideLayout" Target="../slideLayouts/slideLayout324.xml"/><Relationship Id="rId15" Type="http://schemas.openxmlformats.org/officeDocument/2006/relationships/slideLayout" Target="../slideLayouts/slideLayout334.xml"/><Relationship Id="rId10" Type="http://schemas.openxmlformats.org/officeDocument/2006/relationships/slideLayout" Target="../slideLayouts/slideLayout329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323.xml"/><Relationship Id="rId9" Type="http://schemas.openxmlformats.org/officeDocument/2006/relationships/slideLayout" Target="../slideLayouts/slideLayout328.xml"/><Relationship Id="rId14" Type="http://schemas.openxmlformats.org/officeDocument/2006/relationships/slideLayout" Target="../slideLayouts/slideLayout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39.xml"/><Relationship Id="rId7" Type="http://schemas.openxmlformats.org/officeDocument/2006/relationships/slideLayout" Target="../slideLayouts/slideLayout343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338.xml"/><Relationship Id="rId1" Type="http://schemas.openxmlformats.org/officeDocument/2006/relationships/slideLayout" Target="../slideLayouts/slideLayout337.xml"/><Relationship Id="rId6" Type="http://schemas.openxmlformats.org/officeDocument/2006/relationships/slideLayout" Target="../slideLayouts/slideLayout342.xml"/><Relationship Id="rId11" Type="http://schemas.openxmlformats.org/officeDocument/2006/relationships/slideLayout" Target="../slideLayouts/slideLayout347.xml"/><Relationship Id="rId5" Type="http://schemas.openxmlformats.org/officeDocument/2006/relationships/slideLayout" Target="../slideLayouts/slideLayout341.xml"/><Relationship Id="rId10" Type="http://schemas.openxmlformats.org/officeDocument/2006/relationships/slideLayout" Target="../slideLayouts/slideLayout346.xml"/><Relationship Id="rId4" Type="http://schemas.openxmlformats.org/officeDocument/2006/relationships/slideLayout" Target="../slideLayouts/slideLayout340.xml"/><Relationship Id="rId9" Type="http://schemas.openxmlformats.org/officeDocument/2006/relationships/slideLayout" Target="../slideLayouts/slideLayout34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50.xml"/><Relationship Id="rId7" Type="http://schemas.openxmlformats.org/officeDocument/2006/relationships/slideLayout" Target="../slideLayouts/slideLayout354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349.xml"/><Relationship Id="rId1" Type="http://schemas.openxmlformats.org/officeDocument/2006/relationships/slideLayout" Target="../slideLayouts/slideLayout348.xml"/><Relationship Id="rId6" Type="http://schemas.openxmlformats.org/officeDocument/2006/relationships/slideLayout" Target="../slideLayouts/slideLayout353.xml"/><Relationship Id="rId11" Type="http://schemas.openxmlformats.org/officeDocument/2006/relationships/slideLayout" Target="../slideLayouts/slideLayout358.xml"/><Relationship Id="rId5" Type="http://schemas.openxmlformats.org/officeDocument/2006/relationships/slideLayout" Target="../slideLayouts/slideLayout352.xml"/><Relationship Id="rId10" Type="http://schemas.openxmlformats.org/officeDocument/2006/relationships/slideLayout" Target="../slideLayouts/slideLayout357.xml"/><Relationship Id="rId4" Type="http://schemas.openxmlformats.org/officeDocument/2006/relationships/slideLayout" Target="../slideLayouts/slideLayout351.xml"/><Relationship Id="rId9" Type="http://schemas.openxmlformats.org/officeDocument/2006/relationships/slideLayout" Target="../slideLayouts/slideLayout35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61.xml"/><Relationship Id="rId7" Type="http://schemas.openxmlformats.org/officeDocument/2006/relationships/slideLayout" Target="../slideLayouts/slideLayout365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360.xml"/><Relationship Id="rId1" Type="http://schemas.openxmlformats.org/officeDocument/2006/relationships/slideLayout" Target="../slideLayouts/slideLayout359.xml"/><Relationship Id="rId6" Type="http://schemas.openxmlformats.org/officeDocument/2006/relationships/slideLayout" Target="../slideLayouts/slideLayout364.xml"/><Relationship Id="rId11" Type="http://schemas.openxmlformats.org/officeDocument/2006/relationships/slideLayout" Target="../slideLayouts/slideLayout369.xml"/><Relationship Id="rId5" Type="http://schemas.openxmlformats.org/officeDocument/2006/relationships/slideLayout" Target="../slideLayouts/slideLayout363.xml"/><Relationship Id="rId10" Type="http://schemas.openxmlformats.org/officeDocument/2006/relationships/slideLayout" Target="../slideLayouts/slideLayout368.xml"/><Relationship Id="rId4" Type="http://schemas.openxmlformats.org/officeDocument/2006/relationships/slideLayout" Target="../slideLayouts/slideLayout362.xml"/><Relationship Id="rId9" Type="http://schemas.openxmlformats.org/officeDocument/2006/relationships/slideLayout" Target="../slideLayouts/slideLayout36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72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371.xml"/><Relationship Id="rId1" Type="http://schemas.openxmlformats.org/officeDocument/2006/relationships/slideLayout" Target="../slideLayouts/slideLayout370.xml"/><Relationship Id="rId6" Type="http://schemas.openxmlformats.org/officeDocument/2006/relationships/tags" Target="../tags/tag4.xml"/><Relationship Id="rId5" Type="http://schemas.openxmlformats.org/officeDocument/2006/relationships/theme" Target="../theme/theme14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373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59.xml"/><Relationship Id="rId42" Type="http://schemas.openxmlformats.org/officeDocument/2006/relationships/slideLayout" Target="../slideLayouts/slideLayout80.xml"/><Relationship Id="rId63" Type="http://schemas.openxmlformats.org/officeDocument/2006/relationships/slideLayout" Target="../slideLayouts/slideLayout101.xml"/><Relationship Id="rId84" Type="http://schemas.openxmlformats.org/officeDocument/2006/relationships/slideLayout" Target="../slideLayouts/slideLayout122.xml"/><Relationship Id="rId138" Type="http://schemas.openxmlformats.org/officeDocument/2006/relationships/slideLayout" Target="../slideLayouts/slideLayout176.xml"/><Relationship Id="rId159" Type="http://schemas.openxmlformats.org/officeDocument/2006/relationships/slideLayout" Target="../slideLayouts/slideLayout197.xml"/><Relationship Id="rId170" Type="http://schemas.openxmlformats.org/officeDocument/2006/relationships/slideLayout" Target="../slideLayouts/slideLayout208.xml"/><Relationship Id="rId191" Type="http://schemas.openxmlformats.org/officeDocument/2006/relationships/slideLayout" Target="../slideLayouts/slideLayout229.xml"/><Relationship Id="rId205" Type="http://schemas.openxmlformats.org/officeDocument/2006/relationships/slideLayout" Target="../slideLayouts/slideLayout243.xml"/><Relationship Id="rId107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49.xml"/><Relationship Id="rId32" Type="http://schemas.openxmlformats.org/officeDocument/2006/relationships/slideLayout" Target="../slideLayouts/slideLayout70.xml"/><Relationship Id="rId53" Type="http://schemas.openxmlformats.org/officeDocument/2006/relationships/slideLayout" Target="../slideLayouts/slideLayout91.xml"/><Relationship Id="rId74" Type="http://schemas.openxmlformats.org/officeDocument/2006/relationships/slideLayout" Target="../slideLayouts/slideLayout112.xml"/><Relationship Id="rId128" Type="http://schemas.openxmlformats.org/officeDocument/2006/relationships/slideLayout" Target="../slideLayouts/slideLayout166.xml"/><Relationship Id="rId149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43.xml"/><Relationship Id="rId90" Type="http://schemas.openxmlformats.org/officeDocument/2006/relationships/slideLayout" Target="../slideLayouts/slideLayout128.xml"/><Relationship Id="rId95" Type="http://schemas.openxmlformats.org/officeDocument/2006/relationships/slideLayout" Target="../slideLayouts/slideLayout133.xml"/><Relationship Id="rId160" Type="http://schemas.openxmlformats.org/officeDocument/2006/relationships/slideLayout" Target="../slideLayouts/slideLayout198.xml"/><Relationship Id="rId165" Type="http://schemas.openxmlformats.org/officeDocument/2006/relationships/slideLayout" Target="../slideLayouts/slideLayout203.xml"/><Relationship Id="rId181" Type="http://schemas.openxmlformats.org/officeDocument/2006/relationships/slideLayout" Target="../slideLayouts/slideLayout219.xml"/><Relationship Id="rId186" Type="http://schemas.openxmlformats.org/officeDocument/2006/relationships/slideLayout" Target="../slideLayouts/slideLayout224.xml"/><Relationship Id="rId216" Type="http://schemas.openxmlformats.org/officeDocument/2006/relationships/slideLayout" Target="../slideLayouts/slideLayout254.xml"/><Relationship Id="rId211" Type="http://schemas.openxmlformats.org/officeDocument/2006/relationships/slideLayout" Target="../slideLayouts/slideLayout249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43" Type="http://schemas.openxmlformats.org/officeDocument/2006/relationships/slideLayout" Target="../slideLayouts/slideLayout81.xml"/><Relationship Id="rId48" Type="http://schemas.openxmlformats.org/officeDocument/2006/relationships/slideLayout" Target="../slideLayouts/slideLayout86.xml"/><Relationship Id="rId64" Type="http://schemas.openxmlformats.org/officeDocument/2006/relationships/slideLayout" Target="../slideLayouts/slideLayout102.xml"/><Relationship Id="rId69" Type="http://schemas.openxmlformats.org/officeDocument/2006/relationships/slideLayout" Target="../slideLayouts/slideLayout107.xml"/><Relationship Id="rId113" Type="http://schemas.openxmlformats.org/officeDocument/2006/relationships/slideLayout" Target="../slideLayouts/slideLayout151.xml"/><Relationship Id="rId118" Type="http://schemas.openxmlformats.org/officeDocument/2006/relationships/slideLayout" Target="../slideLayouts/slideLayout156.xml"/><Relationship Id="rId134" Type="http://schemas.openxmlformats.org/officeDocument/2006/relationships/slideLayout" Target="../slideLayouts/slideLayout172.xml"/><Relationship Id="rId139" Type="http://schemas.openxmlformats.org/officeDocument/2006/relationships/slideLayout" Target="../slideLayouts/slideLayout177.xml"/><Relationship Id="rId80" Type="http://schemas.openxmlformats.org/officeDocument/2006/relationships/slideLayout" Target="../slideLayouts/slideLayout118.xml"/><Relationship Id="rId85" Type="http://schemas.openxmlformats.org/officeDocument/2006/relationships/slideLayout" Target="../slideLayouts/slideLayout123.xml"/><Relationship Id="rId150" Type="http://schemas.openxmlformats.org/officeDocument/2006/relationships/slideLayout" Target="../slideLayouts/slideLayout188.xml"/><Relationship Id="rId155" Type="http://schemas.openxmlformats.org/officeDocument/2006/relationships/slideLayout" Target="../slideLayouts/slideLayout193.xml"/><Relationship Id="rId171" Type="http://schemas.openxmlformats.org/officeDocument/2006/relationships/slideLayout" Target="../slideLayouts/slideLayout209.xml"/><Relationship Id="rId176" Type="http://schemas.openxmlformats.org/officeDocument/2006/relationships/slideLayout" Target="../slideLayouts/slideLayout214.xml"/><Relationship Id="rId192" Type="http://schemas.openxmlformats.org/officeDocument/2006/relationships/slideLayout" Target="../slideLayouts/slideLayout230.xml"/><Relationship Id="rId197" Type="http://schemas.openxmlformats.org/officeDocument/2006/relationships/slideLayout" Target="../slideLayouts/slideLayout235.xml"/><Relationship Id="rId206" Type="http://schemas.openxmlformats.org/officeDocument/2006/relationships/slideLayout" Target="../slideLayouts/slideLayout244.xml"/><Relationship Id="rId201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33" Type="http://schemas.openxmlformats.org/officeDocument/2006/relationships/slideLayout" Target="../slideLayouts/slideLayout71.xml"/><Relationship Id="rId38" Type="http://schemas.openxmlformats.org/officeDocument/2006/relationships/slideLayout" Target="../slideLayouts/slideLayout76.xml"/><Relationship Id="rId59" Type="http://schemas.openxmlformats.org/officeDocument/2006/relationships/slideLayout" Target="../slideLayouts/slideLayout97.xml"/><Relationship Id="rId103" Type="http://schemas.openxmlformats.org/officeDocument/2006/relationships/slideLayout" Target="../slideLayouts/slideLayout141.xml"/><Relationship Id="rId108" Type="http://schemas.openxmlformats.org/officeDocument/2006/relationships/slideLayout" Target="../slideLayouts/slideLayout146.xml"/><Relationship Id="rId124" Type="http://schemas.openxmlformats.org/officeDocument/2006/relationships/slideLayout" Target="../slideLayouts/slideLayout162.xml"/><Relationship Id="rId129" Type="http://schemas.openxmlformats.org/officeDocument/2006/relationships/slideLayout" Target="../slideLayouts/slideLayout167.xml"/><Relationship Id="rId54" Type="http://schemas.openxmlformats.org/officeDocument/2006/relationships/slideLayout" Target="../slideLayouts/slideLayout92.xml"/><Relationship Id="rId70" Type="http://schemas.openxmlformats.org/officeDocument/2006/relationships/slideLayout" Target="../slideLayouts/slideLayout108.xml"/><Relationship Id="rId75" Type="http://schemas.openxmlformats.org/officeDocument/2006/relationships/slideLayout" Target="../slideLayouts/slideLayout113.xml"/><Relationship Id="rId91" Type="http://schemas.openxmlformats.org/officeDocument/2006/relationships/slideLayout" Target="../slideLayouts/slideLayout129.xml"/><Relationship Id="rId96" Type="http://schemas.openxmlformats.org/officeDocument/2006/relationships/slideLayout" Target="../slideLayouts/slideLayout134.xml"/><Relationship Id="rId140" Type="http://schemas.openxmlformats.org/officeDocument/2006/relationships/slideLayout" Target="../slideLayouts/slideLayout178.xml"/><Relationship Id="rId145" Type="http://schemas.openxmlformats.org/officeDocument/2006/relationships/slideLayout" Target="../slideLayouts/slideLayout183.xml"/><Relationship Id="rId161" Type="http://schemas.openxmlformats.org/officeDocument/2006/relationships/slideLayout" Target="../slideLayouts/slideLayout199.xml"/><Relationship Id="rId166" Type="http://schemas.openxmlformats.org/officeDocument/2006/relationships/slideLayout" Target="../slideLayouts/slideLayout204.xml"/><Relationship Id="rId182" Type="http://schemas.openxmlformats.org/officeDocument/2006/relationships/slideLayout" Target="../slideLayouts/slideLayout220.xml"/><Relationship Id="rId187" Type="http://schemas.openxmlformats.org/officeDocument/2006/relationships/slideLayout" Target="../slideLayouts/slideLayout225.xml"/><Relationship Id="rId217" Type="http://schemas.openxmlformats.org/officeDocument/2006/relationships/theme" Target="../theme/theme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212" Type="http://schemas.openxmlformats.org/officeDocument/2006/relationships/slideLayout" Target="../slideLayouts/slideLayout250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49" Type="http://schemas.openxmlformats.org/officeDocument/2006/relationships/slideLayout" Target="../slideLayouts/slideLayout87.xml"/><Relationship Id="rId114" Type="http://schemas.openxmlformats.org/officeDocument/2006/relationships/slideLayout" Target="../slideLayouts/slideLayout152.xml"/><Relationship Id="rId119" Type="http://schemas.openxmlformats.org/officeDocument/2006/relationships/slideLayout" Target="../slideLayouts/slideLayout157.xml"/><Relationship Id="rId44" Type="http://schemas.openxmlformats.org/officeDocument/2006/relationships/slideLayout" Target="../slideLayouts/slideLayout82.xml"/><Relationship Id="rId60" Type="http://schemas.openxmlformats.org/officeDocument/2006/relationships/slideLayout" Target="../slideLayouts/slideLayout98.xml"/><Relationship Id="rId65" Type="http://schemas.openxmlformats.org/officeDocument/2006/relationships/slideLayout" Target="../slideLayouts/slideLayout103.xml"/><Relationship Id="rId81" Type="http://schemas.openxmlformats.org/officeDocument/2006/relationships/slideLayout" Target="../slideLayouts/slideLayout119.xml"/><Relationship Id="rId86" Type="http://schemas.openxmlformats.org/officeDocument/2006/relationships/slideLayout" Target="../slideLayouts/slideLayout124.xml"/><Relationship Id="rId130" Type="http://schemas.openxmlformats.org/officeDocument/2006/relationships/slideLayout" Target="../slideLayouts/slideLayout168.xml"/><Relationship Id="rId135" Type="http://schemas.openxmlformats.org/officeDocument/2006/relationships/slideLayout" Target="../slideLayouts/slideLayout173.xml"/><Relationship Id="rId151" Type="http://schemas.openxmlformats.org/officeDocument/2006/relationships/slideLayout" Target="../slideLayouts/slideLayout189.xml"/><Relationship Id="rId156" Type="http://schemas.openxmlformats.org/officeDocument/2006/relationships/slideLayout" Target="../slideLayouts/slideLayout194.xml"/><Relationship Id="rId177" Type="http://schemas.openxmlformats.org/officeDocument/2006/relationships/slideLayout" Target="../slideLayouts/slideLayout215.xml"/><Relationship Id="rId198" Type="http://schemas.openxmlformats.org/officeDocument/2006/relationships/slideLayout" Target="../slideLayouts/slideLayout236.xml"/><Relationship Id="rId172" Type="http://schemas.openxmlformats.org/officeDocument/2006/relationships/slideLayout" Target="../slideLayouts/slideLayout210.xml"/><Relationship Id="rId193" Type="http://schemas.openxmlformats.org/officeDocument/2006/relationships/slideLayout" Target="../slideLayouts/slideLayout231.xml"/><Relationship Id="rId202" Type="http://schemas.openxmlformats.org/officeDocument/2006/relationships/slideLayout" Target="../slideLayouts/slideLayout240.xml"/><Relationship Id="rId207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9" Type="http://schemas.openxmlformats.org/officeDocument/2006/relationships/slideLayout" Target="../slideLayouts/slideLayout77.xml"/><Relationship Id="rId109" Type="http://schemas.openxmlformats.org/officeDocument/2006/relationships/slideLayout" Target="../slideLayouts/slideLayout147.xml"/><Relationship Id="rId34" Type="http://schemas.openxmlformats.org/officeDocument/2006/relationships/slideLayout" Target="../slideLayouts/slideLayout72.xml"/><Relationship Id="rId50" Type="http://schemas.openxmlformats.org/officeDocument/2006/relationships/slideLayout" Target="../slideLayouts/slideLayout88.xml"/><Relationship Id="rId55" Type="http://schemas.openxmlformats.org/officeDocument/2006/relationships/slideLayout" Target="../slideLayouts/slideLayout93.xml"/><Relationship Id="rId76" Type="http://schemas.openxmlformats.org/officeDocument/2006/relationships/slideLayout" Target="../slideLayouts/slideLayout114.xml"/><Relationship Id="rId97" Type="http://schemas.openxmlformats.org/officeDocument/2006/relationships/slideLayout" Target="../slideLayouts/slideLayout135.xml"/><Relationship Id="rId104" Type="http://schemas.openxmlformats.org/officeDocument/2006/relationships/slideLayout" Target="../slideLayouts/slideLayout142.xml"/><Relationship Id="rId120" Type="http://schemas.openxmlformats.org/officeDocument/2006/relationships/slideLayout" Target="../slideLayouts/slideLayout158.xml"/><Relationship Id="rId125" Type="http://schemas.openxmlformats.org/officeDocument/2006/relationships/slideLayout" Target="../slideLayouts/slideLayout163.xml"/><Relationship Id="rId141" Type="http://schemas.openxmlformats.org/officeDocument/2006/relationships/slideLayout" Target="../slideLayouts/slideLayout179.xml"/><Relationship Id="rId146" Type="http://schemas.openxmlformats.org/officeDocument/2006/relationships/slideLayout" Target="../slideLayouts/slideLayout184.xml"/><Relationship Id="rId167" Type="http://schemas.openxmlformats.org/officeDocument/2006/relationships/slideLayout" Target="../slideLayouts/slideLayout205.xml"/><Relationship Id="rId188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45.xml"/><Relationship Id="rId71" Type="http://schemas.openxmlformats.org/officeDocument/2006/relationships/slideLayout" Target="../slideLayouts/slideLayout109.xml"/><Relationship Id="rId92" Type="http://schemas.openxmlformats.org/officeDocument/2006/relationships/slideLayout" Target="../slideLayouts/slideLayout130.xml"/><Relationship Id="rId162" Type="http://schemas.openxmlformats.org/officeDocument/2006/relationships/slideLayout" Target="../slideLayouts/slideLayout200.xml"/><Relationship Id="rId183" Type="http://schemas.openxmlformats.org/officeDocument/2006/relationships/slideLayout" Target="../slideLayouts/slideLayout221.xml"/><Relationship Id="rId213" Type="http://schemas.openxmlformats.org/officeDocument/2006/relationships/slideLayout" Target="../slideLayouts/slideLayout251.xml"/><Relationship Id="rId218" Type="http://schemas.openxmlformats.org/officeDocument/2006/relationships/image" Target="../media/image1.png"/><Relationship Id="rId2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62.xml"/><Relationship Id="rId40" Type="http://schemas.openxmlformats.org/officeDocument/2006/relationships/slideLayout" Target="../slideLayouts/slideLayout78.xml"/><Relationship Id="rId45" Type="http://schemas.openxmlformats.org/officeDocument/2006/relationships/slideLayout" Target="../slideLayouts/slideLayout83.xml"/><Relationship Id="rId66" Type="http://schemas.openxmlformats.org/officeDocument/2006/relationships/slideLayout" Target="../slideLayouts/slideLayout104.xml"/><Relationship Id="rId87" Type="http://schemas.openxmlformats.org/officeDocument/2006/relationships/slideLayout" Target="../slideLayouts/slideLayout125.xml"/><Relationship Id="rId110" Type="http://schemas.openxmlformats.org/officeDocument/2006/relationships/slideLayout" Target="../slideLayouts/slideLayout148.xml"/><Relationship Id="rId115" Type="http://schemas.openxmlformats.org/officeDocument/2006/relationships/slideLayout" Target="../slideLayouts/slideLayout153.xml"/><Relationship Id="rId131" Type="http://schemas.openxmlformats.org/officeDocument/2006/relationships/slideLayout" Target="../slideLayouts/slideLayout169.xml"/><Relationship Id="rId136" Type="http://schemas.openxmlformats.org/officeDocument/2006/relationships/slideLayout" Target="../slideLayouts/slideLayout174.xml"/><Relationship Id="rId157" Type="http://schemas.openxmlformats.org/officeDocument/2006/relationships/slideLayout" Target="../slideLayouts/slideLayout195.xml"/><Relationship Id="rId178" Type="http://schemas.openxmlformats.org/officeDocument/2006/relationships/slideLayout" Target="../slideLayouts/slideLayout216.xml"/><Relationship Id="rId61" Type="http://schemas.openxmlformats.org/officeDocument/2006/relationships/slideLayout" Target="../slideLayouts/slideLayout99.xml"/><Relationship Id="rId82" Type="http://schemas.openxmlformats.org/officeDocument/2006/relationships/slideLayout" Target="../slideLayouts/slideLayout120.xml"/><Relationship Id="rId152" Type="http://schemas.openxmlformats.org/officeDocument/2006/relationships/slideLayout" Target="../slideLayouts/slideLayout190.xml"/><Relationship Id="rId173" Type="http://schemas.openxmlformats.org/officeDocument/2006/relationships/slideLayout" Target="../slideLayouts/slideLayout211.xml"/><Relationship Id="rId194" Type="http://schemas.openxmlformats.org/officeDocument/2006/relationships/slideLayout" Target="../slideLayouts/slideLayout232.xml"/><Relationship Id="rId199" Type="http://schemas.openxmlformats.org/officeDocument/2006/relationships/slideLayout" Target="../slideLayouts/slideLayout237.xml"/><Relationship Id="rId203" Type="http://schemas.openxmlformats.org/officeDocument/2006/relationships/slideLayout" Target="../slideLayouts/slideLayout241.xml"/><Relationship Id="rId208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52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Relationship Id="rId56" Type="http://schemas.openxmlformats.org/officeDocument/2006/relationships/slideLayout" Target="../slideLayouts/slideLayout94.xml"/><Relationship Id="rId77" Type="http://schemas.openxmlformats.org/officeDocument/2006/relationships/slideLayout" Target="../slideLayouts/slideLayout115.xml"/><Relationship Id="rId100" Type="http://schemas.openxmlformats.org/officeDocument/2006/relationships/slideLayout" Target="../slideLayouts/slideLayout138.xml"/><Relationship Id="rId105" Type="http://schemas.openxmlformats.org/officeDocument/2006/relationships/slideLayout" Target="../slideLayouts/slideLayout143.xml"/><Relationship Id="rId126" Type="http://schemas.openxmlformats.org/officeDocument/2006/relationships/slideLayout" Target="../slideLayouts/slideLayout164.xml"/><Relationship Id="rId147" Type="http://schemas.openxmlformats.org/officeDocument/2006/relationships/slideLayout" Target="../slideLayouts/slideLayout185.xml"/><Relationship Id="rId168" Type="http://schemas.openxmlformats.org/officeDocument/2006/relationships/slideLayout" Target="../slideLayouts/slideLayout206.xml"/><Relationship Id="rId8" Type="http://schemas.openxmlformats.org/officeDocument/2006/relationships/slideLayout" Target="../slideLayouts/slideLayout46.xml"/><Relationship Id="rId51" Type="http://schemas.openxmlformats.org/officeDocument/2006/relationships/slideLayout" Target="../slideLayouts/slideLayout89.xml"/><Relationship Id="rId72" Type="http://schemas.openxmlformats.org/officeDocument/2006/relationships/slideLayout" Target="../slideLayouts/slideLayout110.xml"/><Relationship Id="rId93" Type="http://schemas.openxmlformats.org/officeDocument/2006/relationships/slideLayout" Target="../slideLayouts/slideLayout131.xml"/><Relationship Id="rId98" Type="http://schemas.openxmlformats.org/officeDocument/2006/relationships/slideLayout" Target="../slideLayouts/slideLayout136.xml"/><Relationship Id="rId121" Type="http://schemas.openxmlformats.org/officeDocument/2006/relationships/slideLayout" Target="../slideLayouts/slideLayout159.xml"/><Relationship Id="rId142" Type="http://schemas.openxmlformats.org/officeDocument/2006/relationships/slideLayout" Target="../slideLayouts/slideLayout180.xml"/><Relationship Id="rId163" Type="http://schemas.openxmlformats.org/officeDocument/2006/relationships/slideLayout" Target="../slideLayouts/slideLayout201.xml"/><Relationship Id="rId184" Type="http://schemas.openxmlformats.org/officeDocument/2006/relationships/slideLayout" Target="../slideLayouts/slideLayout222.xml"/><Relationship Id="rId189" Type="http://schemas.openxmlformats.org/officeDocument/2006/relationships/slideLayout" Target="../slideLayouts/slideLayout227.xml"/><Relationship Id="rId3" Type="http://schemas.openxmlformats.org/officeDocument/2006/relationships/slideLayout" Target="../slideLayouts/slideLayout41.xml"/><Relationship Id="rId214" Type="http://schemas.openxmlformats.org/officeDocument/2006/relationships/slideLayout" Target="../slideLayouts/slideLayout252.xml"/><Relationship Id="rId25" Type="http://schemas.openxmlformats.org/officeDocument/2006/relationships/slideLayout" Target="../slideLayouts/slideLayout63.xml"/><Relationship Id="rId46" Type="http://schemas.openxmlformats.org/officeDocument/2006/relationships/slideLayout" Target="../slideLayouts/slideLayout84.xml"/><Relationship Id="rId67" Type="http://schemas.openxmlformats.org/officeDocument/2006/relationships/slideLayout" Target="../slideLayouts/slideLayout105.xml"/><Relationship Id="rId116" Type="http://schemas.openxmlformats.org/officeDocument/2006/relationships/slideLayout" Target="../slideLayouts/slideLayout154.xml"/><Relationship Id="rId137" Type="http://schemas.openxmlformats.org/officeDocument/2006/relationships/slideLayout" Target="../slideLayouts/slideLayout175.xml"/><Relationship Id="rId158" Type="http://schemas.openxmlformats.org/officeDocument/2006/relationships/slideLayout" Target="../slideLayouts/slideLayout196.xml"/><Relationship Id="rId20" Type="http://schemas.openxmlformats.org/officeDocument/2006/relationships/slideLayout" Target="../slideLayouts/slideLayout58.xml"/><Relationship Id="rId41" Type="http://schemas.openxmlformats.org/officeDocument/2006/relationships/slideLayout" Target="../slideLayouts/slideLayout79.xml"/><Relationship Id="rId62" Type="http://schemas.openxmlformats.org/officeDocument/2006/relationships/slideLayout" Target="../slideLayouts/slideLayout100.xml"/><Relationship Id="rId83" Type="http://schemas.openxmlformats.org/officeDocument/2006/relationships/slideLayout" Target="../slideLayouts/slideLayout121.xml"/><Relationship Id="rId88" Type="http://schemas.openxmlformats.org/officeDocument/2006/relationships/slideLayout" Target="../slideLayouts/slideLayout126.xml"/><Relationship Id="rId111" Type="http://schemas.openxmlformats.org/officeDocument/2006/relationships/slideLayout" Target="../slideLayouts/slideLayout149.xml"/><Relationship Id="rId132" Type="http://schemas.openxmlformats.org/officeDocument/2006/relationships/slideLayout" Target="../slideLayouts/slideLayout170.xml"/><Relationship Id="rId153" Type="http://schemas.openxmlformats.org/officeDocument/2006/relationships/slideLayout" Target="../slideLayouts/slideLayout191.xml"/><Relationship Id="rId174" Type="http://schemas.openxmlformats.org/officeDocument/2006/relationships/slideLayout" Target="../slideLayouts/slideLayout212.xml"/><Relationship Id="rId179" Type="http://schemas.openxmlformats.org/officeDocument/2006/relationships/slideLayout" Target="../slideLayouts/slideLayout217.xml"/><Relationship Id="rId195" Type="http://schemas.openxmlformats.org/officeDocument/2006/relationships/slideLayout" Target="../slideLayouts/slideLayout233.xml"/><Relationship Id="rId209" Type="http://schemas.openxmlformats.org/officeDocument/2006/relationships/slideLayout" Target="../slideLayouts/slideLayout247.xml"/><Relationship Id="rId190" Type="http://schemas.openxmlformats.org/officeDocument/2006/relationships/slideLayout" Target="../slideLayouts/slideLayout228.xml"/><Relationship Id="rId204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53.xml"/><Relationship Id="rId36" Type="http://schemas.openxmlformats.org/officeDocument/2006/relationships/slideLayout" Target="../slideLayouts/slideLayout74.xml"/><Relationship Id="rId57" Type="http://schemas.openxmlformats.org/officeDocument/2006/relationships/slideLayout" Target="../slideLayouts/slideLayout95.xml"/><Relationship Id="rId106" Type="http://schemas.openxmlformats.org/officeDocument/2006/relationships/slideLayout" Target="../slideLayouts/slideLayout144.xml"/><Relationship Id="rId127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9.xml"/><Relationship Id="rId52" Type="http://schemas.openxmlformats.org/officeDocument/2006/relationships/slideLayout" Target="../slideLayouts/slideLayout90.xml"/><Relationship Id="rId73" Type="http://schemas.openxmlformats.org/officeDocument/2006/relationships/slideLayout" Target="../slideLayouts/slideLayout111.xml"/><Relationship Id="rId78" Type="http://schemas.openxmlformats.org/officeDocument/2006/relationships/slideLayout" Target="../slideLayouts/slideLayout116.xml"/><Relationship Id="rId94" Type="http://schemas.openxmlformats.org/officeDocument/2006/relationships/slideLayout" Target="../slideLayouts/slideLayout132.xml"/><Relationship Id="rId99" Type="http://schemas.openxmlformats.org/officeDocument/2006/relationships/slideLayout" Target="../slideLayouts/slideLayout137.xml"/><Relationship Id="rId101" Type="http://schemas.openxmlformats.org/officeDocument/2006/relationships/slideLayout" Target="../slideLayouts/slideLayout139.xml"/><Relationship Id="rId122" Type="http://schemas.openxmlformats.org/officeDocument/2006/relationships/slideLayout" Target="../slideLayouts/slideLayout160.xml"/><Relationship Id="rId143" Type="http://schemas.openxmlformats.org/officeDocument/2006/relationships/slideLayout" Target="../slideLayouts/slideLayout181.xml"/><Relationship Id="rId148" Type="http://schemas.openxmlformats.org/officeDocument/2006/relationships/slideLayout" Target="../slideLayouts/slideLayout186.xml"/><Relationship Id="rId164" Type="http://schemas.openxmlformats.org/officeDocument/2006/relationships/slideLayout" Target="../slideLayouts/slideLayout202.xml"/><Relationship Id="rId169" Type="http://schemas.openxmlformats.org/officeDocument/2006/relationships/slideLayout" Target="../slideLayouts/slideLayout207.xml"/><Relationship Id="rId185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80" Type="http://schemas.openxmlformats.org/officeDocument/2006/relationships/slideLayout" Target="../slideLayouts/slideLayout218.xml"/><Relationship Id="rId210" Type="http://schemas.openxmlformats.org/officeDocument/2006/relationships/slideLayout" Target="../slideLayouts/slideLayout248.xml"/><Relationship Id="rId215" Type="http://schemas.openxmlformats.org/officeDocument/2006/relationships/slideLayout" Target="../slideLayouts/slideLayout253.xml"/><Relationship Id="rId26" Type="http://schemas.openxmlformats.org/officeDocument/2006/relationships/slideLayout" Target="../slideLayouts/slideLayout64.xml"/><Relationship Id="rId47" Type="http://schemas.openxmlformats.org/officeDocument/2006/relationships/slideLayout" Target="../slideLayouts/slideLayout85.xml"/><Relationship Id="rId68" Type="http://schemas.openxmlformats.org/officeDocument/2006/relationships/slideLayout" Target="../slideLayouts/slideLayout106.xml"/><Relationship Id="rId89" Type="http://schemas.openxmlformats.org/officeDocument/2006/relationships/slideLayout" Target="../slideLayouts/slideLayout127.xml"/><Relationship Id="rId112" Type="http://schemas.openxmlformats.org/officeDocument/2006/relationships/slideLayout" Target="../slideLayouts/slideLayout150.xml"/><Relationship Id="rId133" Type="http://schemas.openxmlformats.org/officeDocument/2006/relationships/slideLayout" Target="../slideLayouts/slideLayout171.xml"/><Relationship Id="rId154" Type="http://schemas.openxmlformats.org/officeDocument/2006/relationships/slideLayout" Target="../slideLayouts/slideLayout192.xml"/><Relationship Id="rId175" Type="http://schemas.openxmlformats.org/officeDocument/2006/relationships/slideLayout" Target="../slideLayouts/slideLayout213.xml"/><Relationship Id="rId196" Type="http://schemas.openxmlformats.org/officeDocument/2006/relationships/slideLayout" Target="../slideLayouts/slideLayout234.xml"/><Relationship Id="rId200" Type="http://schemas.openxmlformats.org/officeDocument/2006/relationships/slideLayout" Target="../slideLayouts/slideLayout238.xml"/><Relationship Id="rId16" Type="http://schemas.openxmlformats.org/officeDocument/2006/relationships/slideLayout" Target="../slideLayouts/slideLayout54.xml"/><Relationship Id="rId37" Type="http://schemas.openxmlformats.org/officeDocument/2006/relationships/slideLayout" Target="../slideLayouts/slideLayout75.xml"/><Relationship Id="rId58" Type="http://schemas.openxmlformats.org/officeDocument/2006/relationships/slideLayout" Target="../slideLayouts/slideLayout96.xml"/><Relationship Id="rId79" Type="http://schemas.openxmlformats.org/officeDocument/2006/relationships/slideLayout" Target="../slideLayouts/slideLayout117.xml"/><Relationship Id="rId102" Type="http://schemas.openxmlformats.org/officeDocument/2006/relationships/slideLayout" Target="../slideLayouts/slideLayout140.xml"/><Relationship Id="rId123" Type="http://schemas.openxmlformats.org/officeDocument/2006/relationships/slideLayout" Target="../slideLayouts/slideLayout161.xml"/><Relationship Id="rId144" Type="http://schemas.openxmlformats.org/officeDocument/2006/relationships/slideLayout" Target="../slideLayouts/slideLayout18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slideLayout" Target="../slideLayouts/slideLayout269.xml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68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58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slideLayout" Target="../slideLayouts/slideLayout267.xml"/><Relationship Id="rId5" Type="http://schemas.openxmlformats.org/officeDocument/2006/relationships/slideLayout" Target="../slideLayouts/slideLayout261.xml"/><Relationship Id="rId15" Type="http://schemas.openxmlformats.org/officeDocument/2006/relationships/slideLayout" Target="../slideLayouts/slideLayout271.xml"/><Relationship Id="rId10" Type="http://schemas.openxmlformats.org/officeDocument/2006/relationships/slideLayout" Target="../slideLayouts/slideLayout266.xml"/><Relationship Id="rId4" Type="http://schemas.openxmlformats.org/officeDocument/2006/relationships/slideLayout" Target="../slideLayouts/slideLayout260.xml"/><Relationship Id="rId9" Type="http://schemas.openxmlformats.org/officeDocument/2006/relationships/slideLayout" Target="../slideLayouts/slideLayout265.xml"/><Relationship Id="rId14" Type="http://schemas.openxmlformats.org/officeDocument/2006/relationships/slideLayout" Target="../slideLayouts/slideLayout27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7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73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11" Type="http://schemas.openxmlformats.org/officeDocument/2006/relationships/slideLayout" Target="../slideLayouts/slideLayout282.xml"/><Relationship Id="rId5" Type="http://schemas.openxmlformats.org/officeDocument/2006/relationships/slideLayout" Target="../slideLayouts/slideLayout276.xml"/><Relationship Id="rId10" Type="http://schemas.openxmlformats.org/officeDocument/2006/relationships/slideLayout" Target="../slideLayouts/slideLayout281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0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285.xml"/><Relationship Id="rId7" Type="http://schemas.openxmlformats.org/officeDocument/2006/relationships/slideLayout" Target="../slideLayouts/slideLayout289.xml"/><Relationship Id="rId12" Type="http://schemas.openxmlformats.org/officeDocument/2006/relationships/slideLayout" Target="../slideLayouts/slideLayout294.xml"/><Relationship Id="rId2" Type="http://schemas.openxmlformats.org/officeDocument/2006/relationships/slideLayout" Target="../slideLayouts/slideLayout284.xml"/><Relationship Id="rId1" Type="http://schemas.openxmlformats.org/officeDocument/2006/relationships/slideLayout" Target="../slideLayouts/slideLayout283.xml"/><Relationship Id="rId6" Type="http://schemas.openxmlformats.org/officeDocument/2006/relationships/slideLayout" Target="../slideLayouts/slideLayout288.xml"/><Relationship Id="rId11" Type="http://schemas.openxmlformats.org/officeDocument/2006/relationships/slideLayout" Target="../slideLayouts/slideLayout293.xml"/><Relationship Id="rId5" Type="http://schemas.openxmlformats.org/officeDocument/2006/relationships/slideLayout" Target="../slideLayouts/slideLayout287.xml"/><Relationship Id="rId10" Type="http://schemas.openxmlformats.org/officeDocument/2006/relationships/slideLayout" Target="../slideLayouts/slideLayout292.xml"/><Relationship Id="rId4" Type="http://schemas.openxmlformats.org/officeDocument/2006/relationships/slideLayout" Target="../slideLayouts/slideLayout286.xml"/><Relationship Id="rId9" Type="http://schemas.openxmlformats.org/officeDocument/2006/relationships/slideLayout" Target="../slideLayouts/slideLayout291.xml"/><Relationship Id="rId14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2.xml"/><Relationship Id="rId13" Type="http://schemas.openxmlformats.org/officeDocument/2006/relationships/slideLayout" Target="../slideLayouts/slideLayout307.xml"/><Relationship Id="rId18" Type="http://schemas.openxmlformats.org/officeDocument/2006/relationships/slideLayout" Target="../slideLayouts/slideLayout312.xml"/><Relationship Id="rId26" Type="http://schemas.openxmlformats.org/officeDocument/2006/relationships/theme" Target="../theme/theme9.xml"/><Relationship Id="rId3" Type="http://schemas.openxmlformats.org/officeDocument/2006/relationships/slideLayout" Target="../slideLayouts/slideLayout297.xml"/><Relationship Id="rId21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301.xml"/><Relationship Id="rId12" Type="http://schemas.openxmlformats.org/officeDocument/2006/relationships/slideLayout" Target="../slideLayouts/slideLayout306.xml"/><Relationship Id="rId17" Type="http://schemas.openxmlformats.org/officeDocument/2006/relationships/slideLayout" Target="../slideLayouts/slideLayout311.xml"/><Relationship Id="rId25" Type="http://schemas.openxmlformats.org/officeDocument/2006/relationships/slideLayout" Target="../slideLayouts/slideLayout319.xml"/><Relationship Id="rId2" Type="http://schemas.openxmlformats.org/officeDocument/2006/relationships/slideLayout" Target="../slideLayouts/slideLayout296.xml"/><Relationship Id="rId16" Type="http://schemas.openxmlformats.org/officeDocument/2006/relationships/slideLayout" Target="../slideLayouts/slideLayout310.xml"/><Relationship Id="rId20" Type="http://schemas.openxmlformats.org/officeDocument/2006/relationships/slideLayout" Target="../slideLayouts/slideLayout314.xml"/><Relationship Id="rId1" Type="http://schemas.openxmlformats.org/officeDocument/2006/relationships/slideLayout" Target="../slideLayouts/slideLayout295.xml"/><Relationship Id="rId6" Type="http://schemas.openxmlformats.org/officeDocument/2006/relationships/slideLayout" Target="../slideLayouts/slideLayout300.xml"/><Relationship Id="rId11" Type="http://schemas.openxmlformats.org/officeDocument/2006/relationships/slideLayout" Target="../slideLayouts/slideLayout305.xml"/><Relationship Id="rId24" Type="http://schemas.openxmlformats.org/officeDocument/2006/relationships/slideLayout" Target="../slideLayouts/slideLayout318.xml"/><Relationship Id="rId5" Type="http://schemas.openxmlformats.org/officeDocument/2006/relationships/slideLayout" Target="../slideLayouts/slideLayout299.xml"/><Relationship Id="rId15" Type="http://schemas.openxmlformats.org/officeDocument/2006/relationships/slideLayout" Target="../slideLayouts/slideLayout309.xml"/><Relationship Id="rId23" Type="http://schemas.openxmlformats.org/officeDocument/2006/relationships/slideLayout" Target="../slideLayouts/slideLayout317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304.xml"/><Relationship Id="rId19" Type="http://schemas.openxmlformats.org/officeDocument/2006/relationships/slideLayout" Target="../slideLayouts/slideLayout313.xml"/><Relationship Id="rId4" Type="http://schemas.openxmlformats.org/officeDocument/2006/relationships/slideLayout" Target="../slideLayouts/slideLayout298.xml"/><Relationship Id="rId9" Type="http://schemas.openxmlformats.org/officeDocument/2006/relationships/slideLayout" Target="../slideLayouts/slideLayout303.xml"/><Relationship Id="rId14" Type="http://schemas.openxmlformats.org/officeDocument/2006/relationships/slideLayout" Target="../slideLayouts/slideLayout308.xml"/><Relationship Id="rId22" Type="http://schemas.openxmlformats.org/officeDocument/2006/relationships/slideLayout" Target="../slideLayouts/slideLayout316.xml"/><Relationship Id="rId27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472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916" r:id="rId6"/>
    <p:sldLayoutId id="2147483917" r:id="rId7"/>
    <p:sldLayoutId id="2147483918" r:id="rId8"/>
  </p:sldLayoutIdLst>
  <p:hf hdr="0"/>
  <p:txStyles>
    <p:titleStyle>
      <a:lvl1pPr algn="ctr" defTabSz="1219201" rtl="0" eaLnBrk="1" latinLnBrk="0" hangingPunct="1">
        <a:spcBef>
          <a:spcPct val="0"/>
        </a:spcBef>
        <a:buNone/>
        <a:defRPr sz="5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1" indent="-457201" algn="l" defTabSz="1219201" rtl="0" eaLnBrk="1" latinLnBrk="0" hangingPunct="1">
        <a:spcBef>
          <a:spcPct val="20000"/>
        </a:spcBef>
        <a:buFont typeface="Arial" panose="020B0604020202020204" pitchFamily="34" charset="0"/>
        <a:buChar char="•"/>
        <a:defRPr sz="4250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1" algn="l" defTabSz="1219201" rtl="0" eaLnBrk="1" latinLnBrk="0" hangingPunct="1">
        <a:spcBef>
          <a:spcPct val="20000"/>
        </a:spcBef>
        <a:buFont typeface="Arial" panose="020B0604020202020204" pitchFamily="34" charset="0"/>
        <a:buChar char="–"/>
        <a:defRPr sz="3750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9201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9201" rtl="0" eaLnBrk="1" latinLnBrk="0" hangingPunct="1">
        <a:spcBef>
          <a:spcPct val="20000"/>
        </a:spcBef>
        <a:buFont typeface="Arial" panose="020B0604020202020204" pitchFamily="34" charset="0"/>
        <a:buChar char="–"/>
        <a:defRPr sz="265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9201" rtl="0" eaLnBrk="1" latinLnBrk="0" hangingPunct="1">
        <a:spcBef>
          <a:spcPct val="20000"/>
        </a:spcBef>
        <a:buFont typeface="Arial" panose="020B0604020202020204" pitchFamily="34" charset="0"/>
        <a:buChar char="»"/>
        <a:defRPr sz="2650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9201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1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1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1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1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0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-14288" y="0"/>
            <a:ext cx="12053888" cy="6858001"/>
            <a:chOff x="-14288" y="0"/>
            <a:chExt cx="12053888" cy="6858001"/>
          </a:xfrm>
        </p:grpSpPr>
        <p:grpSp>
          <p:nvGrpSpPr>
            <p:cNvPr id="9" name="Group 8"/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21" name="Rectangle 5"/>
              <p:cNvSpPr>
                <a:spLocks noChangeArrowheads="1"/>
              </p:cNvSpPr>
              <p:nvPr/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4" name="Freeform 8"/>
              <p:cNvSpPr/>
              <p:nvPr/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5" name="Freeform 9"/>
              <p:cNvSpPr>
                <a:spLocks noEditPoints="1"/>
              </p:cNvSpPr>
              <p:nvPr/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6" name="Freeform 10"/>
              <p:cNvSpPr/>
              <p:nvPr/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" name="Freeform 11"/>
              <p:cNvSpPr/>
              <p:nvPr/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8" name="Freeform 12"/>
              <p:cNvSpPr>
                <a:spLocks noEditPoints="1"/>
              </p:cNvSpPr>
              <p:nvPr/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9" name="Freeform 13"/>
              <p:cNvSpPr>
                <a:spLocks noEditPoints="1"/>
              </p:cNvSpPr>
              <p:nvPr/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0" name="Freeform 14"/>
              <p:cNvSpPr/>
              <p:nvPr/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1" name="Freeform 15"/>
              <p:cNvSpPr>
                <a:spLocks noEditPoints="1"/>
              </p:cNvSpPr>
              <p:nvPr/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2" name="Line 16"/>
              <p:cNvSpPr>
                <a:spLocks noChangeShapeType="1"/>
              </p:cNvSpPr>
              <p:nvPr/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33" name="Freeform 17"/>
              <p:cNvSpPr/>
              <p:nvPr/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4" name="Freeform 18"/>
              <p:cNvSpPr/>
              <p:nvPr/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5" name="Freeform 19"/>
              <p:cNvSpPr/>
              <p:nvPr/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6" name="Freeform 20"/>
              <p:cNvSpPr>
                <a:spLocks noEditPoints="1"/>
              </p:cNvSpPr>
              <p:nvPr/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7" name="Rectangle 21"/>
              <p:cNvSpPr>
                <a:spLocks noChangeArrowheads="1"/>
              </p:cNvSpPr>
              <p:nvPr/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38" name="Freeform 22"/>
              <p:cNvSpPr/>
              <p:nvPr/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9" name="Freeform 23"/>
              <p:cNvSpPr>
                <a:spLocks noEditPoints="1"/>
              </p:cNvSpPr>
              <p:nvPr/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0" name="Freeform 24"/>
              <p:cNvSpPr/>
              <p:nvPr/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1" name="Freeform 25"/>
              <p:cNvSpPr>
                <a:spLocks noEditPoints="1"/>
              </p:cNvSpPr>
              <p:nvPr/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2" name="Freeform 26"/>
              <p:cNvSpPr/>
              <p:nvPr/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3" name="Freeform 27"/>
              <p:cNvSpPr/>
              <p:nvPr/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4" name="Freeform 28"/>
              <p:cNvSpPr>
                <a:spLocks noEditPoints="1"/>
              </p:cNvSpPr>
              <p:nvPr/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5" name="Freeform 29"/>
              <p:cNvSpPr>
                <a:spLocks noEditPoints="1"/>
              </p:cNvSpPr>
              <p:nvPr/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6" name="Freeform 30"/>
              <p:cNvSpPr/>
              <p:nvPr/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7" name="Freeform 31"/>
              <p:cNvSpPr>
                <a:spLocks noEditPoints="1"/>
              </p:cNvSpPr>
              <p:nvPr/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0" name="Group 9"/>
            <p:cNvGrpSpPr/>
            <p:nvPr/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adFill flip="none" rotWithShape="1">
              <a:gsLst>
                <a:gs pos="0">
                  <a:schemeClr val="tx2">
                    <a:alpha val="80000"/>
                  </a:schemeClr>
                </a:gs>
                <a:gs pos="100000">
                  <a:schemeClr val="bg2">
                    <a:lumMod val="60000"/>
                    <a:lumOff val="40000"/>
                    <a:alpha val="6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11" name="Freeform 32"/>
              <p:cNvSpPr/>
              <p:nvPr/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" name="Freeform 33"/>
              <p:cNvSpPr>
                <a:spLocks noEditPoints="1"/>
              </p:cNvSpPr>
              <p:nvPr/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3" name="Freeform 34"/>
              <p:cNvSpPr>
                <a:spLocks noEditPoints="1"/>
              </p:cNvSpPr>
              <p:nvPr/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4" name="Freeform 35"/>
              <p:cNvSpPr/>
              <p:nvPr/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5" name="Freeform 36"/>
              <p:cNvSpPr>
                <a:spLocks noEditPoints="1"/>
              </p:cNvSpPr>
              <p:nvPr/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6" name="Freeform 37"/>
              <p:cNvSpPr/>
              <p:nvPr/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7" name="Freeform 38"/>
              <p:cNvSpPr>
                <a:spLocks noEditPoints="1"/>
              </p:cNvSpPr>
              <p:nvPr/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" name="Freeform 39"/>
              <p:cNvSpPr/>
              <p:nvPr/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" name="Freeform 40"/>
              <p:cNvSpPr>
                <a:spLocks noEditPoints="1"/>
              </p:cNvSpPr>
              <p:nvPr/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" name="Rectangle 41"/>
              <p:cNvSpPr>
                <a:spLocks noChangeArrowheads="1"/>
              </p:cNvSpPr>
              <p:nvPr/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C72C6D-C32A-4F41-88FA-2DC2ACF7E2C0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cap="all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7A0FE6-EF89-452B-9C0F-CB6E9A59C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130681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22" r:id="rId1"/>
    <p:sldLayoutId id="2147484223" r:id="rId2"/>
    <p:sldLayoutId id="2147484224" r:id="rId3"/>
    <p:sldLayoutId id="2147484225" r:id="rId4"/>
    <p:sldLayoutId id="2147484226" r:id="rId5"/>
    <p:sldLayoutId id="2147484227" r:id="rId6"/>
    <p:sldLayoutId id="2147484228" r:id="rId7"/>
    <p:sldLayoutId id="2147484229" r:id="rId8"/>
    <p:sldLayoutId id="2147484230" r:id="rId9"/>
    <p:sldLayoutId id="2147484231" r:id="rId10"/>
    <p:sldLayoutId id="2147484232" r:id="rId11"/>
    <p:sldLayoutId id="2147484233" r:id="rId12"/>
    <p:sldLayoutId id="2147484234" r:id="rId13"/>
    <p:sldLayoutId id="2147484235" r:id="rId14"/>
    <p:sldLayoutId id="2147484236" r:id="rId15"/>
    <p:sldLayoutId id="2147484237" r:id="rId16"/>
    <p:sldLayoutId id="2147484238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125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6EF5A53-0A64-4CA5-B9C7-1CB97CB5CF1C}"/>
              </a:ext>
            </a:extLst>
          </p:cNvPr>
          <p:cNvSpPr/>
          <p:nvPr/>
        </p:nvSpPr>
        <p:spPr>
          <a:xfrm>
            <a:off x="8157843" y="6244836"/>
            <a:ext cx="4034156" cy="613164"/>
          </a:xfrm>
          <a:custGeom>
            <a:avLst/>
            <a:gdLst>
              <a:gd name="connsiteX0" fmla="*/ 1479137 w 4034156"/>
              <a:gd name="connsiteY0" fmla="*/ 230 h 613164"/>
              <a:gd name="connsiteX1" fmla="*/ 3482844 w 4034156"/>
              <a:gd name="connsiteY1" fmla="*/ 298555 h 613164"/>
              <a:gd name="connsiteX2" fmla="*/ 3831590 w 4034156"/>
              <a:gd name="connsiteY2" fmla="*/ 425010 h 613164"/>
              <a:gd name="connsiteX3" fmla="*/ 4034156 w 4034156"/>
              <a:gd name="connsiteY3" fmla="*/ 494088 h 613164"/>
              <a:gd name="connsiteX4" fmla="*/ 4034156 w 4034156"/>
              <a:gd name="connsiteY4" fmla="*/ 613164 h 613164"/>
              <a:gd name="connsiteX5" fmla="*/ 0 w 4034156"/>
              <a:gd name="connsiteY5" fmla="*/ 613164 h 613164"/>
              <a:gd name="connsiteX6" fmla="*/ 54792 w 4034156"/>
              <a:gd name="connsiteY6" fmla="*/ 512415 h 613164"/>
              <a:gd name="connsiteX7" fmla="*/ 168327 w 4034156"/>
              <a:gd name="connsiteY7" fmla="*/ 366637 h 613164"/>
              <a:gd name="connsiteX8" fmla="*/ 1192562 w 4034156"/>
              <a:gd name="connsiteY8" fmla="*/ 1522 h 613164"/>
              <a:gd name="connsiteX9" fmla="*/ 1479137 w 4034156"/>
              <a:gd name="connsiteY9" fmla="*/ 230 h 613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4156" h="613164">
                <a:moveTo>
                  <a:pt x="1479137" y="230"/>
                </a:moveTo>
                <a:cubicBezTo>
                  <a:pt x="2152575" y="4287"/>
                  <a:pt x="2854487" y="63583"/>
                  <a:pt x="3482844" y="298555"/>
                </a:cubicBezTo>
                <a:cubicBezTo>
                  <a:pt x="3599338" y="342114"/>
                  <a:pt x="3715540" y="384216"/>
                  <a:pt x="3831590" y="425010"/>
                </a:cubicBezTo>
                <a:lnTo>
                  <a:pt x="4034156" y="494088"/>
                </a:lnTo>
                <a:lnTo>
                  <a:pt x="4034156" y="613164"/>
                </a:lnTo>
                <a:lnTo>
                  <a:pt x="0" y="613164"/>
                </a:lnTo>
                <a:lnTo>
                  <a:pt x="54792" y="512415"/>
                </a:lnTo>
                <a:cubicBezTo>
                  <a:pt x="88888" y="459433"/>
                  <a:pt x="126502" y="410480"/>
                  <a:pt x="168327" y="366637"/>
                </a:cubicBezTo>
                <a:cubicBezTo>
                  <a:pt x="428292" y="94062"/>
                  <a:pt x="821899" y="6565"/>
                  <a:pt x="1192562" y="1522"/>
                </a:cubicBezTo>
                <a:cubicBezTo>
                  <a:pt x="1287308" y="198"/>
                  <a:pt x="1382932" y="-349"/>
                  <a:pt x="1479137" y="23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4ABFBEA-4EB0-4D02-A2C0-1733CD3D6F12}"/>
              </a:ext>
            </a:extLst>
          </p:cNvPr>
          <p:cNvSpPr/>
          <p:nvPr/>
        </p:nvSpPr>
        <p:spPr>
          <a:xfrm>
            <a:off x="1" y="688126"/>
            <a:ext cx="448491" cy="1634252"/>
          </a:xfrm>
          <a:custGeom>
            <a:avLst/>
            <a:gdLst>
              <a:gd name="connsiteX0" fmla="*/ 0 w 448491"/>
              <a:gd name="connsiteY0" fmla="*/ 0 h 1634252"/>
              <a:gd name="connsiteX1" fmla="*/ 12983 w 448491"/>
              <a:gd name="connsiteY1" fmla="*/ 10508 h 1634252"/>
              <a:gd name="connsiteX2" fmla="*/ 441611 w 448491"/>
              <a:gd name="connsiteY2" fmla="*/ 863751 h 1634252"/>
              <a:gd name="connsiteX3" fmla="*/ 251011 w 448491"/>
              <a:gd name="connsiteY3" fmla="*/ 1302895 h 1634252"/>
              <a:gd name="connsiteX4" fmla="*/ 74605 w 448491"/>
              <a:gd name="connsiteY4" fmla="*/ 1543249 h 1634252"/>
              <a:gd name="connsiteX5" fmla="*/ 0 w 448491"/>
              <a:gd name="connsiteY5" fmla="*/ 1634252 h 1634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8491" h="1634252">
                <a:moveTo>
                  <a:pt x="0" y="0"/>
                </a:moveTo>
                <a:lnTo>
                  <a:pt x="12983" y="10508"/>
                </a:lnTo>
                <a:cubicBezTo>
                  <a:pt x="278410" y="241022"/>
                  <a:pt x="489787" y="530267"/>
                  <a:pt x="441611" y="863751"/>
                </a:cubicBezTo>
                <a:cubicBezTo>
                  <a:pt x="418542" y="1022632"/>
                  <a:pt x="337007" y="1166302"/>
                  <a:pt x="251011" y="1302895"/>
                </a:cubicBezTo>
                <a:cubicBezTo>
                  <a:pt x="215138" y="1359902"/>
                  <a:pt x="154723" y="1442480"/>
                  <a:pt x="74605" y="1543249"/>
                </a:cubicBezTo>
                <a:lnTo>
                  <a:pt x="0" y="163425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>
              <a:solidFill>
                <a:prstClr val="white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9E083F6-57F4-487B-A766-EA0462B1EED8}"/>
              </a:ext>
            </a:extLst>
          </p:cNvPr>
          <p:cNvSpPr/>
          <p:nvPr/>
        </p:nvSpPr>
        <p:spPr>
          <a:xfrm>
            <a:off x="7309459" y="6144069"/>
            <a:ext cx="4418271" cy="718159"/>
          </a:xfrm>
          <a:custGeom>
            <a:avLst/>
            <a:gdLst>
              <a:gd name="connsiteX0" fmla="*/ 1421452 w 4590626"/>
              <a:gd name="connsiteY0" fmla="*/ 0 h 713930"/>
              <a:gd name="connsiteX1" fmla="*/ 3247781 w 4590626"/>
              <a:gd name="connsiteY1" fmla="*/ 271915 h 713930"/>
              <a:gd name="connsiteX2" fmla="*/ 4517331 w 4590626"/>
              <a:gd name="connsiteY2" fmla="*/ 693394 h 713930"/>
              <a:gd name="connsiteX3" fmla="*/ 4590626 w 4590626"/>
              <a:gd name="connsiteY3" fmla="*/ 713930 h 713930"/>
              <a:gd name="connsiteX4" fmla="*/ 0 w 4590626"/>
              <a:gd name="connsiteY4" fmla="*/ 713930 h 713930"/>
              <a:gd name="connsiteX5" fmla="*/ 2854 w 4590626"/>
              <a:gd name="connsiteY5" fmla="*/ 705624 h 713930"/>
              <a:gd name="connsiteX6" fmla="*/ 226680 w 4590626"/>
              <a:gd name="connsiteY6" fmla="*/ 333970 h 713930"/>
              <a:gd name="connsiteX7" fmla="*/ 1160245 w 4590626"/>
              <a:gd name="connsiteY7" fmla="*/ 1178 h 713930"/>
              <a:gd name="connsiteX8" fmla="*/ 1421452 w 4590626"/>
              <a:gd name="connsiteY8" fmla="*/ 0 h 713930"/>
              <a:gd name="connsiteX0" fmla="*/ 1421452 w 4517331"/>
              <a:gd name="connsiteY0" fmla="*/ 0 h 713930"/>
              <a:gd name="connsiteX1" fmla="*/ 3247781 w 4517331"/>
              <a:gd name="connsiteY1" fmla="*/ 271915 h 713930"/>
              <a:gd name="connsiteX2" fmla="*/ 4517331 w 4517331"/>
              <a:gd name="connsiteY2" fmla="*/ 693394 h 713930"/>
              <a:gd name="connsiteX3" fmla="*/ 0 w 4517331"/>
              <a:gd name="connsiteY3" fmla="*/ 713930 h 713930"/>
              <a:gd name="connsiteX4" fmla="*/ 2854 w 4517331"/>
              <a:gd name="connsiteY4" fmla="*/ 705624 h 713930"/>
              <a:gd name="connsiteX5" fmla="*/ 226680 w 4517331"/>
              <a:gd name="connsiteY5" fmla="*/ 333970 h 713930"/>
              <a:gd name="connsiteX6" fmla="*/ 1160245 w 4517331"/>
              <a:gd name="connsiteY6" fmla="*/ 1178 h 713930"/>
              <a:gd name="connsiteX7" fmla="*/ 1421452 w 4517331"/>
              <a:gd name="connsiteY7" fmla="*/ 0 h 713930"/>
              <a:gd name="connsiteX0" fmla="*/ 0 w 4608771"/>
              <a:gd name="connsiteY0" fmla="*/ 713930 h 784834"/>
              <a:gd name="connsiteX1" fmla="*/ 2854 w 4608771"/>
              <a:gd name="connsiteY1" fmla="*/ 705624 h 784834"/>
              <a:gd name="connsiteX2" fmla="*/ 226680 w 4608771"/>
              <a:gd name="connsiteY2" fmla="*/ 333970 h 784834"/>
              <a:gd name="connsiteX3" fmla="*/ 1160245 w 4608771"/>
              <a:gd name="connsiteY3" fmla="*/ 1178 h 784834"/>
              <a:gd name="connsiteX4" fmla="*/ 1421452 w 4608771"/>
              <a:gd name="connsiteY4" fmla="*/ 0 h 784834"/>
              <a:gd name="connsiteX5" fmla="*/ 3247781 w 4608771"/>
              <a:gd name="connsiteY5" fmla="*/ 271915 h 784834"/>
              <a:gd name="connsiteX6" fmla="*/ 4608771 w 4608771"/>
              <a:gd name="connsiteY6" fmla="*/ 784834 h 784834"/>
              <a:gd name="connsiteX0" fmla="*/ 0 w 4418271"/>
              <a:gd name="connsiteY0" fmla="*/ 713930 h 718159"/>
              <a:gd name="connsiteX1" fmla="*/ 2854 w 4418271"/>
              <a:gd name="connsiteY1" fmla="*/ 705624 h 718159"/>
              <a:gd name="connsiteX2" fmla="*/ 226680 w 4418271"/>
              <a:gd name="connsiteY2" fmla="*/ 333970 h 718159"/>
              <a:gd name="connsiteX3" fmla="*/ 1160245 w 4418271"/>
              <a:gd name="connsiteY3" fmla="*/ 1178 h 718159"/>
              <a:gd name="connsiteX4" fmla="*/ 1421452 w 4418271"/>
              <a:gd name="connsiteY4" fmla="*/ 0 h 718159"/>
              <a:gd name="connsiteX5" fmla="*/ 3247781 w 4418271"/>
              <a:gd name="connsiteY5" fmla="*/ 271915 h 718159"/>
              <a:gd name="connsiteX6" fmla="*/ 4418271 w 4418271"/>
              <a:gd name="connsiteY6" fmla="*/ 718159 h 71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18271" h="718159">
                <a:moveTo>
                  <a:pt x="0" y="713930"/>
                </a:moveTo>
                <a:lnTo>
                  <a:pt x="2854" y="705624"/>
                </a:lnTo>
                <a:cubicBezTo>
                  <a:pt x="60059" y="562888"/>
                  <a:pt x="131373" y="433874"/>
                  <a:pt x="226680" y="333970"/>
                </a:cubicBezTo>
                <a:cubicBezTo>
                  <a:pt x="463632" y="85526"/>
                  <a:pt x="822395" y="5774"/>
                  <a:pt x="1160245" y="1178"/>
                </a:cubicBezTo>
                <a:lnTo>
                  <a:pt x="1421452" y="0"/>
                </a:lnTo>
                <a:cubicBezTo>
                  <a:pt x="2035274" y="3698"/>
                  <a:pt x="2748311" y="152222"/>
                  <a:pt x="3247781" y="271915"/>
                </a:cubicBezTo>
                <a:cubicBezTo>
                  <a:pt x="3747251" y="391608"/>
                  <a:pt x="3902480" y="501606"/>
                  <a:pt x="4418271" y="718159"/>
                </a:cubicBezTo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A2F988-7148-4375-83D8-12EE5EBC7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762000"/>
            <a:ext cx="10668000" cy="152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896238-C5B3-4F3C-97FA-890E1A51A2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2286000"/>
            <a:ext cx="10668000" cy="38180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6E4474-0442-4E4B-9E5B-CA7B3951C1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89165" y="194320"/>
            <a:ext cx="20408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fld id="{76969C88-B244-455D-A017-012B25B1ACDD}" type="datetimeFigureOut">
              <a:rPr lang="en-US" smtClean="0"/>
              <a:pPr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626A98-F887-40E1-B9BA-9D93DE90E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1999" y="6356350"/>
            <a:ext cx="66128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2C8119-73F6-4713-9AD3-3628DCDFB8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06000" y="6356350"/>
            <a:ext cx="1524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fld id="{07CE569E-9B7C-4CB9-AB80-C0841F922C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8130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0" r:id="rId1"/>
    <p:sldLayoutId id="2147484241" r:id="rId2"/>
    <p:sldLayoutId id="2147484242" r:id="rId3"/>
    <p:sldLayoutId id="2147484243" r:id="rId4"/>
    <p:sldLayoutId id="2147484244" r:id="rId5"/>
    <p:sldLayoutId id="2147484245" r:id="rId6"/>
    <p:sldLayoutId id="2147484246" r:id="rId7"/>
    <p:sldLayoutId id="2147484247" r:id="rId8"/>
    <p:sldLayoutId id="2147484248" r:id="rId9"/>
    <p:sldLayoutId id="2147484249" r:id="rId10"/>
    <p:sldLayoutId id="214748425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5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6EF5A53-0A64-4CA5-B9C7-1CB97CB5CF1C}"/>
              </a:ext>
            </a:extLst>
          </p:cNvPr>
          <p:cNvSpPr/>
          <p:nvPr/>
        </p:nvSpPr>
        <p:spPr>
          <a:xfrm>
            <a:off x="8157843" y="6244836"/>
            <a:ext cx="4034156" cy="613164"/>
          </a:xfrm>
          <a:custGeom>
            <a:avLst/>
            <a:gdLst>
              <a:gd name="connsiteX0" fmla="*/ 1479137 w 4034156"/>
              <a:gd name="connsiteY0" fmla="*/ 230 h 613164"/>
              <a:gd name="connsiteX1" fmla="*/ 3482844 w 4034156"/>
              <a:gd name="connsiteY1" fmla="*/ 298555 h 613164"/>
              <a:gd name="connsiteX2" fmla="*/ 3831590 w 4034156"/>
              <a:gd name="connsiteY2" fmla="*/ 425010 h 613164"/>
              <a:gd name="connsiteX3" fmla="*/ 4034156 w 4034156"/>
              <a:gd name="connsiteY3" fmla="*/ 494088 h 613164"/>
              <a:gd name="connsiteX4" fmla="*/ 4034156 w 4034156"/>
              <a:gd name="connsiteY4" fmla="*/ 613164 h 613164"/>
              <a:gd name="connsiteX5" fmla="*/ 0 w 4034156"/>
              <a:gd name="connsiteY5" fmla="*/ 613164 h 613164"/>
              <a:gd name="connsiteX6" fmla="*/ 54792 w 4034156"/>
              <a:gd name="connsiteY6" fmla="*/ 512415 h 613164"/>
              <a:gd name="connsiteX7" fmla="*/ 168327 w 4034156"/>
              <a:gd name="connsiteY7" fmla="*/ 366637 h 613164"/>
              <a:gd name="connsiteX8" fmla="*/ 1192562 w 4034156"/>
              <a:gd name="connsiteY8" fmla="*/ 1522 h 613164"/>
              <a:gd name="connsiteX9" fmla="*/ 1479137 w 4034156"/>
              <a:gd name="connsiteY9" fmla="*/ 230 h 613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4156" h="613164">
                <a:moveTo>
                  <a:pt x="1479137" y="230"/>
                </a:moveTo>
                <a:cubicBezTo>
                  <a:pt x="2152575" y="4287"/>
                  <a:pt x="2854487" y="63583"/>
                  <a:pt x="3482844" y="298555"/>
                </a:cubicBezTo>
                <a:cubicBezTo>
                  <a:pt x="3599338" y="342114"/>
                  <a:pt x="3715540" y="384216"/>
                  <a:pt x="3831590" y="425010"/>
                </a:cubicBezTo>
                <a:lnTo>
                  <a:pt x="4034156" y="494088"/>
                </a:lnTo>
                <a:lnTo>
                  <a:pt x="4034156" y="613164"/>
                </a:lnTo>
                <a:lnTo>
                  <a:pt x="0" y="613164"/>
                </a:lnTo>
                <a:lnTo>
                  <a:pt x="54792" y="512415"/>
                </a:lnTo>
                <a:cubicBezTo>
                  <a:pt x="88888" y="459433"/>
                  <a:pt x="126502" y="410480"/>
                  <a:pt x="168327" y="366637"/>
                </a:cubicBezTo>
                <a:cubicBezTo>
                  <a:pt x="428292" y="94062"/>
                  <a:pt x="821899" y="6565"/>
                  <a:pt x="1192562" y="1522"/>
                </a:cubicBezTo>
                <a:cubicBezTo>
                  <a:pt x="1287308" y="198"/>
                  <a:pt x="1382932" y="-349"/>
                  <a:pt x="1479137" y="23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4ABFBEA-4EB0-4D02-A2C0-1733CD3D6F12}"/>
              </a:ext>
            </a:extLst>
          </p:cNvPr>
          <p:cNvSpPr/>
          <p:nvPr/>
        </p:nvSpPr>
        <p:spPr>
          <a:xfrm>
            <a:off x="1" y="688126"/>
            <a:ext cx="448491" cy="1634252"/>
          </a:xfrm>
          <a:custGeom>
            <a:avLst/>
            <a:gdLst>
              <a:gd name="connsiteX0" fmla="*/ 0 w 448491"/>
              <a:gd name="connsiteY0" fmla="*/ 0 h 1634252"/>
              <a:gd name="connsiteX1" fmla="*/ 12983 w 448491"/>
              <a:gd name="connsiteY1" fmla="*/ 10508 h 1634252"/>
              <a:gd name="connsiteX2" fmla="*/ 441611 w 448491"/>
              <a:gd name="connsiteY2" fmla="*/ 863751 h 1634252"/>
              <a:gd name="connsiteX3" fmla="*/ 251011 w 448491"/>
              <a:gd name="connsiteY3" fmla="*/ 1302895 h 1634252"/>
              <a:gd name="connsiteX4" fmla="*/ 74605 w 448491"/>
              <a:gd name="connsiteY4" fmla="*/ 1543249 h 1634252"/>
              <a:gd name="connsiteX5" fmla="*/ 0 w 448491"/>
              <a:gd name="connsiteY5" fmla="*/ 1634252 h 1634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8491" h="1634252">
                <a:moveTo>
                  <a:pt x="0" y="0"/>
                </a:moveTo>
                <a:lnTo>
                  <a:pt x="12983" y="10508"/>
                </a:lnTo>
                <a:cubicBezTo>
                  <a:pt x="278410" y="241022"/>
                  <a:pt x="489787" y="530267"/>
                  <a:pt x="441611" y="863751"/>
                </a:cubicBezTo>
                <a:cubicBezTo>
                  <a:pt x="418542" y="1022632"/>
                  <a:pt x="337007" y="1166302"/>
                  <a:pt x="251011" y="1302895"/>
                </a:cubicBezTo>
                <a:cubicBezTo>
                  <a:pt x="215138" y="1359902"/>
                  <a:pt x="154723" y="1442480"/>
                  <a:pt x="74605" y="1543249"/>
                </a:cubicBezTo>
                <a:lnTo>
                  <a:pt x="0" y="163425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>
              <a:solidFill>
                <a:prstClr val="white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9E083F6-57F4-487B-A766-EA0462B1EED8}"/>
              </a:ext>
            </a:extLst>
          </p:cNvPr>
          <p:cNvSpPr/>
          <p:nvPr/>
        </p:nvSpPr>
        <p:spPr>
          <a:xfrm>
            <a:off x="7309459" y="6144069"/>
            <a:ext cx="4418271" cy="718159"/>
          </a:xfrm>
          <a:custGeom>
            <a:avLst/>
            <a:gdLst>
              <a:gd name="connsiteX0" fmla="*/ 1421452 w 4590626"/>
              <a:gd name="connsiteY0" fmla="*/ 0 h 713930"/>
              <a:gd name="connsiteX1" fmla="*/ 3247781 w 4590626"/>
              <a:gd name="connsiteY1" fmla="*/ 271915 h 713930"/>
              <a:gd name="connsiteX2" fmla="*/ 4517331 w 4590626"/>
              <a:gd name="connsiteY2" fmla="*/ 693394 h 713930"/>
              <a:gd name="connsiteX3" fmla="*/ 4590626 w 4590626"/>
              <a:gd name="connsiteY3" fmla="*/ 713930 h 713930"/>
              <a:gd name="connsiteX4" fmla="*/ 0 w 4590626"/>
              <a:gd name="connsiteY4" fmla="*/ 713930 h 713930"/>
              <a:gd name="connsiteX5" fmla="*/ 2854 w 4590626"/>
              <a:gd name="connsiteY5" fmla="*/ 705624 h 713930"/>
              <a:gd name="connsiteX6" fmla="*/ 226680 w 4590626"/>
              <a:gd name="connsiteY6" fmla="*/ 333970 h 713930"/>
              <a:gd name="connsiteX7" fmla="*/ 1160245 w 4590626"/>
              <a:gd name="connsiteY7" fmla="*/ 1178 h 713930"/>
              <a:gd name="connsiteX8" fmla="*/ 1421452 w 4590626"/>
              <a:gd name="connsiteY8" fmla="*/ 0 h 713930"/>
              <a:gd name="connsiteX0" fmla="*/ 1421452 w 4517331"/>
              <a:gd name="connsiteY0" fmla="*/ 0 h 713930"/>
              <a:gd name="connsiteX1" fmla="*/ 3247781 w 4517331"/>
              <a:gd name="connsiteY1" fmla="*/ 271915 h 713930"/>
              <a:gd name="connsiteX2" fmla="*/ 4517331 w 4517331"/>
              <a:gd name="connsiteY2" fmla="*/ 693394 h 713930"/>
              <a:gd name="connsiteX3" fmla="*/ 0 w 4517331"/>
              <a:gd name="connsiteY3" fmla="*/ 713930 h 713930"/>
              <a:gd name="connsiteX4" fmla="*/ 2854 w 4517331"/>
              <a:gd name="connsiteY4" fmla="*/ 705624 h 713930"/>
              <a:gd name="connsiteX5" fmla="*/ 226680 w 4517331"/>
              <a:gd name="connsiteY5" fmla="*/ 333970 h 713930"/>
              <a:gd name="connsiteX6" fmla="*/ 1160245 w 4517331"/>
              <a:gd name="connsiteY6" fmla="*/ 1178 h 713930"/>
              <a:gd name="connsiteX7" fmla="*/ 1421452 w 4517331"/>
              <a:gd name="connsiteY7" fmla="*/ 0 h 713930"/>
              <a:gd name="connsiteX0" fmla="*/ 0 w 4608771"/>
              <a:gd name="connsiteY0" fmla="*/ 713930 h 784834"/>
              <a:gd name="connsiteX1" fmla="*/ 2854 w 4608771"/>
              <a:gd name="connsiteY1" fmla="*/ 705624 h 784834"/>
              <a:gd name="connsiteX2" fmla="*/ 226680 w 4608771"/>
              <a:gd name="connsiteY2" fmla="*/ 333970 h 784834"/>
              <a:gd name="connsiteX3" fmla="*/ 1160245 w 4608771"/>
              <a:gd name="connsiteY3" fmla="*/ 1178 h 784834"/>
              <a:gd name="connsiteX4" fmla="*/ 1421452 w 4608771"/>
              <a:gd name="connsiteY4" fmla="*/ 0 h 784834"/>
              <a:gd name="connsiteX5" fmla="*/ 3247781 w 4608771"/>
              <a:gd name="connsiteY5" fmla="*/ 271915 h 784834"/>
              <a:gd name="connsiteX6" fmla="*/ 4608771 w 4608771"/>
              <a:gd name="connsiteY6" fmla="*/ 784834 h 784834"/>
              <a:gd name="connsiteX0" fmla="*/ 0 w 4418271"/>
              <a:gd name="connsiteY0" fmla="*/ 713930 h 718159"/>
              <a:gd name="connsiteX1" fmla="*/ 2854 w 4418271"/>
              <a:gd name="connsiteY1" fmla="*/ 705624 h 718159"/>
              <a:gd name="connsiteX2" fmla="*/ 226680 w 4418271"/>
              <a:gd name="connsiteY2" fmla="*/ 333970 h 718159"/>
              <a:gd name="connsiteX3" fmla="*/ 1160245 w 4418271"/>
              <a:gd name="connsiteY3" fmla="*/ 1178 h 718159"/>
              <a:gd name="connsiteX4" fmla="*/ 1421452 w 4418271"/>
              <a:gd name="connsiteY4" fmla="*/ 0 h 718159"/>
              <a:gd name="connsiteX5" fmla="*/ 3247781 w 4418271"/>
              <a:gd name="connsiteY5" fmla="*/ 271915 h 718159"/>
              <a:gd name="connsiteX6" fmla="*/ 4418271 w 4418271"/>
              <a:gd name="connsiteY6" fmla="*/ 718159 h 71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18271" h="718159">
                <a:moveTo>
                  <a:pt x="0" y="713930"/>
                </a:moveTo>
                <a:lnTo>
                  <a:pt x="2854" y="705624"/>
                </a:lnTo>
                <a:cubicBezTo>
                  <a:pt x="60059" y="562888"/>
                  <a:pt x="131373" y="433874"/>
                  <a:pt x="226680" y="333970"/>
                </a:cubicBezTo>
                <a:cubicBezTo>
                  <a:pt x="463632" y="85526"/>
                  <a:pt x="822395" y="5774"/>
                  <a:pt x="1160245" y="1178"/>
                </a:cubicBezTo>
                <a:lnTo>
                  <a:pt x="1421452" y="0"/>
                </a:lnTo>
                <a:cubicBezTo>
                  <a:pt x="2035274" y="3698"/>
                  <a:pt x="2748311" y="152222"/>
                  <a:pt x="3247781" y="271915"/>
                </a:cubicBezTo>
                <a:cubicBezTo>
                  <a:pt x="3747251" y="391608"/>
                  <a:pt x="3902480" y="501606"/>
                  <a:pt x="4418271" y="718159"/>
                </a:cubicBezTo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A2F988-7148-4375-83D8-12EE5EBC7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762000"/>
            <a:ext cx="10668000" cy="152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896238-C5B3-4F3C-97FA-890E1A51A2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2286000"/>
            <a:ext cx="10668000" cy="38180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6E4474-0442-4E4B-9E5B-CA7B3951C1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89165" y="194320"/>
            <a:ext cx="20408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fld id="{76969C88-B244-455D-A017-012B25B1ACDD}" type="datetimeFigureOut">
              <a:rPr lang="en-US" smtClean="0"/>
              <a:pPr/>
              <a:t>1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626A98-F887-40E1-B9BA-9D93DE90E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1999" y="6356350"/>
            <a:ext cx="66128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2C8119-73F6-4713-9AD3-3628DCDFB8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06000" y="6356350"/>
            <a:ext cx="1524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fld id="{07CE569E-9B7C-4CB9-AB80-C0841F922C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0316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5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82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454A02E-CCB1-7A2C-C5A4-D9DA7497D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D3F36A-B7ED-425B-367F-FF5AECB03F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A4B27F-D048-8521-0780-D293691645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9CEE1F1-076F-4B35-8626-82837025EE8E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94458B-262D-D0F6-3F00-F426922EF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87F2F4-0AA3-612B-19AA-AB11E23345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310EC3F-EE39-43B0-80DC-1A26BA1DF6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8771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alphaModFix amt="82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4554640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5FF8F2A-9422-420C-B50E-588E96C8CB1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4714" y="6359353"/>
            <a:ext cx="955115" cy="308551"/>
            <a:chOff x="2703513" y="2332038"/>
            <a:chExt cx="6784975" cy="2190751"/>
          </a:xfrm>
        </p:grpSpPr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5C20A05E-7CB6-4514-8190-653E999CC8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29176" y="3757613"/>
              <a:ext cx="554038" cy="754063"/>
            </a:xfrm>
            <a:custGeom>
              <a:avLst/>
              <a:gdLst>
                <a:gd name="T0" fmla="*/ 118 w 148"/>
                <a:gd name="T1" fmla="*/ 63 h 201"/>
                <a:gd name="T2" fmla="*/ 115 w 148"/>
                <a:gd name="T3" fmla="*/ 48 h 201"/>
                <a:gd name="T4" fmla="*/ 108 w 148"/>
                <a:gd name="T5" fmla="*/ 37 h 201"/>
                <a:gd name="T6" fmla="*/ 98 w 148"/>
                <a:gd name="T7" fmla="*/ 31 h 201"/>
                <a:gd name="T8" fmla="*/ 83 w 148"/>
                <a:gd name="T9" fmla="*/ 28 h 201"/>
                <a:gd name="T10" fmla="*/ 30 w 148"/>
                <a:gd name="T11" fmla="*/ 28 h 201"/>
                <a:gd name="T12" fmla="*/ 30 w 148"/>
                <a:gd name="T13" fmla="*/ 98 h 201"/>
                <a:gd name="T14" fmla="*/ 83 w 148"/>
                <a:gd name="T15" fmla="*/ 98 h 201"/>
                <a:gd name="T16" fmla="*/ 109 w 148"/>
                <a:gd name="T17" fmla="*/ 88 h 201"/>
                <a:gd name="T18" fmla="*/ 118 w 148"/>
                <a:gd name="T19" fmla="*/ 63 h 201"/>
                <a:gd name="T20" fmla="*/ 148 w 148"/>
                <a:gd name="T21" fmla="*/ 63 h 201"/>
                <a:gd name="T22" fmla="*/ 144 w 148"/>
                <a:gd name="T23" fmla="*/ 90 h 201"/>
                <a:gd name="T24" fmla="*/ 130 w 148"/>
                <a:gd name="T25" fmla="*/ 110 h 201"/>
                <a:gd name="T26" fmla="*/ 109 w 148"/>
                <a:gd name="T27" fmla="*/ 122 h 201"/>
                <a:gd name="T28" fmla="*/ 82 w 148"/>
                <a:gd name="T29" fmla="*/ 126 h 201"/>
                <a:gd name="T30" fmla="*/ 30 w 148"/>
                <a:gd name="T31" fmla="*/ 126 h 201"/>
                <a:gd name="T32" fmla="*/ 30 w 148"/>
                <a:gd name="T33" fmla="*/ 201 h 201"/>
                <a:gd name="T34" fmla="*/ 0 w 148"/>
                <a:gd name="T35" fmla="*/ 201 h 201"/>
                <a:gd name="T36" fmla="*/ 0 w 148"/>
                <a:gd name="T37" fmla="*/ 0 h 201"/>
                <a:gd name="T38" fmla="*/ 84 w 148"/>
                <a:gd name="T39" fmla="*/ 0 h 201"/>
                <a:gd name="T40" fmla="*/ 110 w 148"/>
                <a:gd name="T41" fmla="*/ 4 h 201"/>
                <a:gd name="T42" fmla="*/ 130 w 148"/>
                <a:gd name="T43" fmla="*/ 16 h 201"/>
                <a:gd name="T44" fmla="*/ 144 w 148"/>
                <a:gd name="T45" fmla="*/ 35 h 201"/>
                <a:gd name="T46" fmla="*/ 148 w 148"/>
                <a:gd name="T47" fmla="*/ 6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8" h="201">
                  <a:moveTo>
                    <a:pt x="118" y="63"/>
                  </a:moveTo>
                  <a:cubicBezTo>
                    <a:pt x="118" y="57"/>
                    <a:pt x="117" y="52"/>
                    <a:pt x="115" y="48"/>
                  </a:cubicBezTo>
                  <a:cubicBezTo>
                    <a:pt x="114" y="44"/>
                    <a:pt x="111" y="40"/>
                    <a:pt x="108" y="37"/>
                  </a:cubicBezTo>
                  <a:cubicBezTo>
                    <a:pt x="105" y="34"/>
                    <a:pt x="102" y="32"/>
                    <a:pt x="98" y="31"/>
                  </a:cubicBezTo>
                  <a:cubicBezTo>
                    <a:pt x="93" y="29"/>
                    <a:pt x="89" y="28"/>
                    <a:pt x="8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83" y="98"/>
                    <a:pt x="83" y="98"/>
                    <a:pt x="83" y="98"/>
                  </a:cubicBezTo>
                  <a:cubicBezTo>
                    <a:pt x="95" y="98"/>
                    <a:pt x="104" y="94"/>
                    <a:pt x="109" y="88"/>
                  </a:cubicBezTo>
                  <a:cubicBezTo>
                    <a:pt x="115" y="82"/>
                    <a:pt x="118" y="74"/>
                    <a:pt x="118" y="63"/>
                  </a:cubicBezTo>
                  <a:moveTo>
                    <a:pt x="148" y="63"/>
                  </a:moveTo>
                  <a:cubicBezTo>
                    <a:pt x="148" y="73"/>
                    <a:pt x="147" y="82"/>
                    <a:pt x="144" y="90"/>
                  </a:cubicBezTo>
                  <a:cubicBezTo>
                    <a:pt x="140" y="98"/>
                    <a:pt x="136" y="104"/>
                    <a:pt x="130" y="110"/>
                  </a:cubicBezTo>
                  <a:cubicBezTo>
                    <a:pt x="124" y="115"/>
                    <a:pt x="117" y="119"/>
                    <a:pt x="109" y="122"/>
                  </a:cubicBezTo>
                  <a:cubicBezTo>
                    <a:pt x="101" y="124"/>
                    <a:pt x="92" y="126"/>
                    <a:pt x="82" y="126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201"/>
                    <a:pt x="30" y="201"/>
                    <a:pt x="30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3" y="0"/>
                    <a:pt x="102" y="1"/>
                    <a:pt x="110" y="4"/>
                  </a:cubicBezTo>
                  <a:cubicBezTo>
                    <a:pt x="117" y="7"/>
                    <a:pt x="124" y="11"/>
                    <a:pt x="130" y="16"/>
                  </a:cubicBezTo>
                  <a:cubicBezTo>
                    <a:pt x="136" y="21"/>
                    <a:pt x="140" y="28"/>
                    <a:pt x="144" y="35"/>
                  </a:cubicBezTo>
                  <a:cubicBezTo>
                    <a:pt x="147" y="43"/>
                    <a:pt x="148" y="52"/>
                    <a:pt x="148" y="63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2906F4E8-7C8C-492D-AE92-6123472DE4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421313" y="3933826"/>
              <a:ext cx="457200" cy="588963"/>
            </a:xfrm>
            <a:custGeom>
              <a:avLst/>
              <a:gdLst>
                <a:gd name="T0" fmla="*/ 93 w 122"/>
                <a:gd name="T1" fmla="*/ 89 h 157"/>
                <a:gd name="T2" fmla="*/ 86 w 122"/>
                <a:gd name="T3" fmla="*/ 86 h 157"/>
                <a:gd name="T4" fmla="*/ 79 w 122"/>
                <a:gd name="T5" fmla="*/ 85 h 157"/>
                <a:gd name="T6" fmla="*/ 70 w 122"/>
                <a:gd name="T7" fmla="*/ 83 h 157"/>
                <a:gd name="T8" fmla="*/ 59 w 122"/>
                <a:gd name="T9" fmla="*/ 83 h 157"/>
                <a:gd name="T10" fmla="*/ 36 w 122"/>
                <a:gd name="T11" fmla="*/ 89 h 157"/>
                <a:gd name="T12" fmla="*/ 28 w 122"/>
                <a:gd name="T13" fmla="*/ 105 h 157"/>
                <a:gd name="T14" fmla="*/ 31 w 122"/>
                <a:gd name="T15" fmla="*/ 117 h 157"/>
                <a:gd name="T16" fmla="*/ 37 w 122"/>
                <a:gd name="T17" fmla="*/ 124 h 157"/>
                <a:gd name="T18" fmla="*/ 45 w 122"/>
                <a:gd name="T19" fmla="*/ 129 h 157"/>
                <a:gd name="T20" fmla="*/ 57 w 122"/>
                <a:gd name="T21" fmla="*/ 130 h 157"/>
                <a:gd name="T22" fmla="*/ 68 w 122"/>
                <a:gd name="T23" fmla="*/ 128 h 157"/>
                <a:gd name="T24" fmla="*/ 79 w 122"/>
                <a:gd name="T25" fmla="*/ 124 h 157"/>
                <a:gd name="T26" fmla="*/ 87 w 122"/>
                <a:gd name="T27" fmla="*/ 118 h 157"/>
                <a:gd name="T28" fmla="*/ 93 w 122"/>
                <a:gd name="T29" fmla="*/ 111 h 157"/>
                <a:gd name="T30" fmla="*/ 93 w 122"/>
                <a:gd name="T31" fmla="*/ 89 h 157"/>
                <a:gd name="T32" fmla="*/ 93 w 122"/>
                <a:gd name="T33" fmla="*/ 154 h 157"/>
                <a:gd name="T34" fmla="*/ 93 w 122"/>
                <a:gd name="T35" fmla="*/ 139 h 157"/>
                <a:gd name="T36" fmla="*/ 84 w 122"/>
                <a:gd name="T37" fmla="*/ 147 h 157"/>
                <a:gd name="T38" fmla="*/ 76 w 122"/>
                <a:gd name="T39" fmla="*/ 151 h 157"/>
                <a:gd name="T40" fmla="*/ 66 w 122"/>
                <a:gd name="T41" fmla="*/ 155 h 157"/>
                <a:gd name="T42" fmla="*/ 52 w 122"/>
                <a:gd name="T43" fmla="*/ 157 h 157"/>
                <a:gd name="T44" fmla="*/ 34 w 122"/>
                <a:gd name="T45" fmla="*/ 154 h 157"/>
                <a:gd name="T46" fmla="*/ 17 w 122"/>
                <a:gd name="T47" fmla="*/ 145 h 157"/>
                <a:gd name="T48" fmla="*/ 5 w 122"/>
                <a:gd name="T49" fmla="*/ 130 h 157"/>
                <a:gd name="T50" fmla="*/ 0 w 122"/>
                <a:gd name="T51" fmla="*/ 106 h 157"/>
                <a:gd name="T52" fmla="*/ 5 w 122"/>
                <a:gd name="T53" fmla="*/ 84 h 157"/>
                <a:gd name="T54" fmla="*/ 17 w 122"/>
                <a:gd name="T55" fmla="*/ 69 h 157"/>
                <a:gd name="T56" fmla="*/ 36 w 122"/>
                <a:gd name="T57" fmla="*/ 60 h 157"/>
                <a:gd name="T58" fmla="*/ 60 w 122"/>
                <a:gd name="T59" fmla="*/ 57 h 157"/>
                <a:gd name="T60" fmla="*/ 80 w 122"/>
                <a:gd name="T61" fmla="*/ 59 h 157"/>
                <a:gd name="T62" fmla="*/ 93 w 122"/>
                <a:gd name="T63" fmla="*/ 63 h 157"/>
                <a:gd name="T64" fmla="*/ 93 w 122"/>
                <a:gd name="T65" fmla="*/ 52 h 157"/>
                <a:gd name="T66" fmla="*/ 86 w 122"/>
                <a:gd name="T67" fmla="*/ 33 h 157"/>
                <a:gd name="T68" fmla="*/ 65 w 122"/>
                <a:gd name="T69" fmla="*/ 26 h 157"/>
                <a:gd name="T70" fmla="*/ 44 w 122"/>
                <a:gd name="T71" fmla="*/ 29 h 157"/>
                <a:gd name="T72" fmla="*/ 26 w 122"/>
                <a:gd name="T73" fmla="*/ 36 h 157"/>
                <a:gd name="T74" fmla="*/ 14 w 122"/>
                <a:gd name="T75" fmla="*/ 14 h 157"/>
                <a:gd name="T76" fmla="*/ 38 w 122"/>
                <a:gd name="T77" fmla="*/ 3 h 157"/>
                <a:gd name="T78" fmla="*/ 66 w 122"/>
                <a:gd name="T79" fmla="*/ 0 h 157"/>
                <a:gd name="T80" fmla="*/ 89 w 122"/>
                <a:gd name="T81" fmla="*/ 3 h 157"/>
                <a:gd name="T82" fmla="*/ 107 w 122"/>
                <a:gd name="T83" fmla="*/ 12 h 157"/>
                <a:gd name="T84" fmla="*/ 118 w 122"/>
                <a:gd name="T85" fmla="*/ 28 h 157"/>
                <a:gd name="T86" fmla="*/ 122 w 122"/>
                <a:gd name="T87" fmla="*/ 51 h 157"/>
                <a:gd name="T88" fmla="*/ 122 w 122"/>
                <a:gd name="T89" fmla="*/ 154 h 157"/>
                <a:gd name="T90" fmla="*/ 93 w 122"/>
                <a:gd name="T91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57">
                  <a:moveTo>
                    <a:pt x="93" y="89"/>
                  </a:moveTo>
                  <a:cubicBezTo>
                    <a:pt x="91" y="88"/>
                    <a:pt x="88" y="87"/>
                    <a:pt x="86" y="86"/>
                  </a:cubicBezTo>
                  <a:cubicBezTo>
                    <a:pt x="84" y="86"/>
                    <a:pt x="81" y="85"/>
                    <a:pt x="79" y="85"/>
                  </a:cubicBezTo>
                  <a:cubicBezTo>
                    <a:pt x="77" y="84"/>
                    <a:pt x="74" y="84"/>
                    <a:pt x="70" y="83"/>
                  </a:cubicBezTo>
                  <a:cubicBezTo>
                    <a:pt x="67" y="83"/>
                    <a:pt x="63" y="83"/>
                    <a:pt x="59" y="83"/>
                  </a:cubicBezTo>
                  <a:cubicBezTo>
                    <a:pt x="50" y="83"/>
                    <a:pt x="42" y="85"/>
                    <a:pt x="36" y="89"/>
                  </a:cubicBezTo>
                  <a:cubicBezTo>
                    <a:pt x="31" y="93"/>
                    <a:pt x="28" y="98"/>
                    <a:pt x="28" y="105"/>
                  </a:cubicBezTo>
                  <a:cubicBezTo>
                    <a:pt x="28" y="110"/>
                    <a:pt x="29" y="113"/>
                    <a:pt x="31" y="117"/>
                  </a:cubicBezTo>
                  <a:cubicBezTo>
                    <a:pt x="32" y="120"/>
                    <a:pt x="34" y="122"/>
                    <a:pt x="37" y="124"/>
                  </a:cubicBezTo>
                  <a:cubicBezTo>
                    <a:pt x="39" y="126"/>
                    <a:pt x="42" y="128"/>
                    <a:pt x="45" y="129"/>
                  </a:cubicBezTo>
                  <a:cubicBezTo>
                    <a:pt x="48" y="130"/>
                    <a:pt x="52" y="130"/>
                    <a:pt x="57" y="130"/>
                  </a:cubicBezTo>
                  <a:cubicBezTo>
                    <a:pt x="61" y="130"/>
                    <a:pt x="65" y="130"/>
                    <a:pt x="68" y="128"/>
                  </a:cubicBezTo>
                  <a:cubicBezTo>
                    <a:pt x="72" y="127"/>
                    <a:pt x="75" y="126"/>
                    <a:pt x="79" y="124"/>
                  </a:cubicBezTo>
                  <a:cubicBezTo>
                    <a:pt x="82" y="122"/>
                    <a:pt x="85" y="120"/>
                    <a:pt x="87" y="118"/>
                  </a:cubicBezTo>
                  <a:cubicBezTo>
                    <a:pt x="90" y="116"/>
                    <a:pt x="92" y="113"/>
                    <a:pt x="93" y="111"/>
                  </a:cubicBezTo>
                  <a:lnTo>
                    <a:pt x="93" y="89"/>
                  </a:lnTo>
                  <a:close/>
                  <a:moveTo>
                    <a:pt x="93" y="154"/>
                  </a:moveTo>
                  <a:cubicBezTo>
                    <a:pt x="93" y="139"/>
                    <a:pt x="93" y="139"/>
                    <a:pt x="93" y="139"/>
                  </a:cubicBezTo>
                  <a:cubicBezTo>
                    <a:pt x="90" y="142"/>
                    <a:pt x="86" y="145"/>
                    <a:pt x="84" y="147"/>
                  </a:cubicBezTo>
                  <a:cubicBezTo>
                    <a:pt x="81" y="148"/>
                    <a:pt x="79" y="150"/>
                    <a:pt x="76" y="151"/>
                  </a:cubicBezTo>
                  <a:cubicBezTo>
                    <a:pt x="73" y="153"/>
                    <a:pt x="70" y="154"/>
                    <a:pt x="66" y="155"/>
                  </a:cubicBezTo>
                  <a:cubicBezTo>
                    <a:pt x="62" y="156"/>
                    <a:pt x="57" y="157"/>
                    <a:pt x="52" y="157"/>
                  </a:cubicBezTo>
                  <a:cubicBezTo>
                    <a:pt x="46" y="157"/>
                    <a:pt x="40" y="156"/>
                    <a:pt x="34" y="154"/>
                  </a:cubicBezTo>
                  <a:cubicBezTo>
                    <a:pt x="28" y="152"/>
                    <a:pt x="22" y="149"/>
                    <a:pt x="17" y="145"/>
                  </a:cubicBezTo>
                  <a:cubicBezTo>
                    <a:pt x="12" y="141"/>
                    <a:pt x="8" y="136"/>
                    <a:pt x="5" y="130"/>
                  </a:cubicBezTo>
                  <a:cubicBezTo>
                    <a:pt x="2" y="123"/>
                    <a:pt x="0" y="115"/>
                    <a:pt x="0" y="106"/>
                  </a:cubicBezTo>
                  <a:cubicBezTo>
                    <a:pt x="0" y="98"/>
                    <a:pt x="2" y="90"/>
                    <a:pt x="5" y="84"/>
                  </a:cubicBezTo>
                  <a:cubicBezTo>
                    <a:pt x="8" y="78"/>
                    <a:pt x="12" y="73"/>
                    <a:pt x="17" y="69"/>
                  </a:cubicBezTo>
                  <a:cubicBezTo>
                    <a:pt x="23" y="65"/>
                    <a:pt x="29" y="62"/>
                    <a:pt x="36" y="60"/>
                  </a:cubicBezTo>
                  <a:cubicBezTo>
                    <a:pt x="44" y="58"/>
                    <a:pt x="51" y="57"/>
                    <a:pt x="60" y="57"/>
                  </a:cubicBezTo>
                  <a:cubicBezTo>
                    <a:pt x="68" y="57"/>
                    <a:pt x="75" y="58"/>
                    <a:pt x="80" y="59"/>
                  </a:cubicBezTo>
                  <a:cubicBezTo>
                    <a:pt x="85" y="60"/>
                    <a:pt x="90" y="61"/>
                    <a:pt x="93" y="63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44"/>
                    <a:pt x="91" y="37"/>
                    <a:pt x="86" y="33"/>
                  </a:cubicBezTo>
                  <a:cubicBezTo>
                    <a:pt x="81" y="29"/>
                    <a:pt x="74" y="26"/>
                    <a:pt x="65" y="26"/>
                  </a:cubicBezTo>
                  <a:cubicBezTo>
                    <a:pt x="57" y="26"/>
                    <a:pt x="50" y="27"/>
                    <a:pt x="44" y="29"/>
                  </a:cubicBezTo>
                  <a:cubicBezTo>
                    <a:pt x="38" y="30"/>
                    <a:pt x="32" y="33"/>
                    <a:pt x="26" y="36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2" y="9"/>
                    <a:pt x="29" y="6"/>
                    <a:pt x="38" y="3"/>
                  </a:cubicBezTo>
                  <a:cubicBezTo>
                    <a:pt x="46" y="1"/>
                    <a:pt x="55" y="0"/>
                    <a:pt x="66" y="0"/>
                  </a:cubicBezTo>
                  <a:cubicBezTo>
                    <a:pt x="74" y="0"/>
                    <a:pt x="82" y="1"/>
                    <a:pt x="89" y="3"/>
                  </a:cubicBezTo>
                  <a:cubicBezTo>
                    <a:pt x="96" y="5"/>
                    <a:pt x="102" y="8"/>
                    <a:pt x="107" y="12"/>
                  </a:cubicBezTo>
                  <a:cubicBezTo>
                    <a:pt x="112" y="17"/>
                    <a:pt x="116" y="22"/>
                    <a:pt x="118" y="28"/>
                  </a:cubicBezTo>
                  <a:cubicBezTo>
                    <a:pt x="121" y="35"/>
                    <a:pt x="122" y="42"/>
                    <a:pt x="122" y="51"/>
                  </a:cubicBezTo>
                  <a:cubicBezTo>
                    <a:pt x="122" y="154"/>
                    <a:pt x="122" y="154"/>
                    <a:pt x="122" y="154"/>
                  </a:cubicBezTo>
                  <a:lnTo>
                    <a:pt x="93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175B30B7-5A53-4168-BFBE-6E4E12C17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463" y="3933826"/>
              <a:ext cx="333375" cy="577850"/>
            </a:xfrm>
            <a:custGeom>
              <a:avLst/>
              <a:gdLst>
                <a:gd name="T0" fmla="*/ 82 w 89"/>
                <a:gd name="T1" fmla="*/ 34 h 154"/>
                <a:gd name="T2" fmla="*/ 72 w 89"/>
                <a:gd name="T3" fmla="*/ 30 h 154"/>
                <a:gd name="T4" fmla="*/ 59 w 89"/>
                <a:gd name="T5" fmla="*/ 29 h 154"/>
                <a:gd name="T6" fmla="*/ 37 w 89"/>
                <a:gd name="T7" fmla="*/ 39 h 154"/>
                <a:gd name="T8" fmla="*/ 30 w 89"/>
                <a:gd name="T9" fmla="*/ 68 h 154"/>
                <a:gd name="T10" fmla="*/ 30 w 89"/>
                <a:gd name="T11" fmla="*/ 154 h 154"/>
                <a:gd name="T12" fmla="*/ 0 w 89"/>
                <a:gd name="T13" fmla="*/ 154 h 154"/>
                <a:gd name="T14" fmla="*/ 0 w 89"/>
                <a:gd name="T15" fmla="*/ 3 h 154"/>
                <a:gd name="T16" fmla="*/ 30 w 89"/>
                <a:gd name="T17" fmla="*/ 3 h 154"/>
                <a:gd name="T18" fmla="*/ 30 w 89"/>
                <a:gd name="T19" fmla="*/ 18 h 154"/>
                <a:gd name="T20" fmla="*/ 36 w 89"/>
                <a:gd name="T21" fmla="*/ 11 h 154"/>
                <a:gd name="T22" fmla="*/ 44 w 89"/>
                <a:gd name="T23" fmla="*/ 5 h 154"/>
                <a:gd name="T24" fmla="*/ 53 w 89"/>
                <a:gd name="T25" fmla="*/ 1 h 154"/>
                <a:gd name="T26" fmla="*/ 64 w 89"/>
                <a:gd name="T27" fmla="*/ 0 h 154"/>
                <a:gd name="T28" fmla="*/ 79 w 89"/>
                <a:gd name="T29" fmla="*/ 2 h 154"/>
                <a:gd name="T30" fmla="*/ 89 w 89"/>
                <a:gd name="T31" fmla="*/ 6 h 154"/>
                <a:gd name="T32" fmla="*/ 82 w 89"/>
                <a:gd name="T33" fmla="*/ 3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154">
                  <a:moveTo>
                    <a:pt x="82" y="34"/>
                  </a:moveTo>
                  <a:cubicBezTo>
                    <a:pt x="78" y="33"/>
                    <a:pt x="75" y="31"/>
                    <a:pt x="72" y="30"/>
                  </a:cubicBezTo>
                  <a:cubicBezTo>
                    <a:pt x="68" y="29"/>
                    <a:pt x="64" y="29"/>
                    <a:pt x="59" y="29"/>
                  </a:cubicBezTo>
                  <a:cubicBezTo>
                    <a:pt x="50" y="29"/>
                    <a:pt x="42" y="32"/>
                    <a:pt x="37" y="39"/>
                  </a:cubicBezTo>
                  <a:cubicBezTo>
                    <a:pt x="32" y="45"/>
                    <a:pt x="30" y="55"/>
                    <a:pt x="30" y="68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5"/>
                    <a:pt x="33" y="13"/>
                    <a:pt x="36" y="11"/>
                  </a:cubicBezTo>
                  <a:cubicBezTo>
                    <a:pt x="38" y="8"/>
                    <a:pt x="41" y="7"/>
                    <a:pt x="44" y="5"/>
                  </a:cubicBezTo>
                  <a:cubicBezTo>
                    <a:pt x="47" y="3"/>
                    <a:pt x="50" y="2"/>
                    <a:pt x="53" y="1"/>
                  </a:cubicBezTo>
                  <a:cubicBezTo>
                    <a:pt x="57" y="0"/>
                    <a:pt x="60" y="0"/>
                    <a:pt x="64" y="0"/>
                  </a:cubicBezTo>
                  <a:cubicBezTo>
                    <a:pt x="70" y="0"/>
                    <a:pt x="75" y="1"/>
                    <a:pt x="79" y="2"/>
                  </a:cubicBezTo>
                  <a:cubicBezTo>
                    <a:pt x="83" y="3"/>
                    <a:pt x="87" y="4"/>
                    <a:pt x="89" y="6"/>
                  </a:cubicBezTo>
                  <a:lnTo>
                    <a:pt x="82" y="3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135215D0-9FE7-4759-B4E4-4F1CF36CDC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1" y="3727451"/>
              <a:ext cx="325438" cy="795338"/>
            </a:xfrm>
            <a:custGeom>
              <a:avLst/>
              <a:gdLst>
                <a:gd name="T0" fmla="*/ 84 w 87"/>
                <a:gd name="T1" fmla="*/ 205 h 212"/>
                <a:gd name="T2" fmla="*/ 71 w 87"/>
                <a:gd name="T3" fmla="*/ 210 h 212"/>
                <a:gd name="T4" fmla="*/ 55 w 87"/>
                <a:gd name="T5" fmla="*/ 212 h 212"/>
                <a:gd name="T6" fmla="*/ 41 w 87"/>
                <a:gd name="T7" fmla="*/ 210 h 212"/>
                <a:gd name="T8" fmla="*/ 31 w 87"/>
                <a:gd name="T9" fmla="*/ 203 h 212"/>
                <a:gd name="T10" fmla="*/ 24 w 87"/>
                <a:gd name="T11" fmla="*/ 190 h 212"/>
                <a:gd name="T12" fmla="*/ 21 w 87"/>
                <a:gd name="T13" fmla="*/ 172 h 212"/>
                <a:gd name="T14" fmla="*/ 21 w 87"/>
                <a:gd name="T15" fmla="*/ 85 h 212"/>
                <a:gd name="T16" fmla="*/ 0 w 87"/>
                <a:gd name="T17" fmla="*/ 85 h 212"/>
                <a:gd name="T18" fmla="*/ 0 w 87"/>
                <a:gd name="T19" fmla="*/ 58 h 212"/>
                <a:gd name="T20" fmla="*/ 21 w 87"/>
                <a:gd name="T21" fmla="*/ 58 h 212"/>
                <a:gd name="T22" fmla="*/ 21 w 87"/>
                <a:gd name="T23" fmla="*/ 15 h 212"/>
                <a:gd name="T24" fmla="*/ 50 w 87"/>
                <a:gd name="T25" fmla="*/ 0 h 212"/>
                <a:gd name="T26" fmla="*/ 50 w 87"/>
                <a:gd name="T27" fmla="*/ 58 h 212"/>
                <a:gd name="T28" fmla="*/ 87 w 87"/>
                <a:gd name="T29" fmla="*/ 58 h 212"/>
                <a:gd name="T30" fmla="*/ 87 w 87"/>
                <a:gd name="T31" fmla="*/ 85 h 212"/>
                <a:gd name="T32" fmla="*/ 50 w 87"/>
                <a:gd name="T33" fmla="*/ 85 h 212"/>
                <a:gd name="T34" fmla="*/ 50 w 87"/>
                <a:gd name="T35" fmla="*/ 167 h 212"/>
                <a:gd name="T36" fmla="*/ 51 w 87"/>
                <a:gd name="T37" fmla="*/ 176 h 212"/>
                <a:gd name="T38" fmla="*/ 54 w 87"/>
                <a:gd name="T39" fmla="*/ 181 h 212"/>
                <a:gd name="T40" fmla="*/ 59 w 87"/>
                <a:gd name="T41" fmla="*/ 184 h 212"/>
                <a:gd name="T42" fmla="*/ 66 w 87"/>
                <a:gd name="T43" fmla="*/ 185 h 212"/>
                <a:gd name="T44" fmla="*/ 77 w 87"/>
                <a:gd name="T45" fmla="*/ 183 h 212"/>
                <a:gd name="T46" fmla="*/ 87 w 87"/>
                <a:gd name="T47" fmla="*/ 179 h 212"/>
                <a:gd name="T48" fmla="*/ 84 w 87"/>
                <a:gd name="T49" fmla="*/ 20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212">
                  <a:moveTo>
                    <a:pt x="84" y="205"/>
                  </a:moveTo>
                  <a:cubicBezTo>
                    <a:pt x="80" y="207"/>
                    <a:pt x="76" y="209"/>
                    <a:pt x="71" y="210"/>
                  </a:cubicBezTo>
                  <a:cubicBezTo>
                    <a:pt x="66" y="211"/>
                    <a:pt x="61" y="212"/>
                    <a:pt x="55" y="212"/>
                  </a:cubicBezTo>
                  <a:cubicBezTo>
                    <a:pt x="50" y="212"/>
                    <a:pt x="45" y="211"/>
                    <a:pt x="41" y="210"/>
                  </a:cubicBezTo>
                  <a:cubicBezTo>
                    <a:pt x="38" y="208"/>
                    <a:pt x="34" y="206"/>
                    <a:pt x="31" y="203"/>
                  </a:cubicBezTo>
                  <a:cubicBezTo>
                    <a:pt x="28" y="200"/>
                    <a:pt x="25" y="196"/>
                    <a:pt x="24" y="190"/>
                  </a:cubicBezTo>
                  <a:cubicBezTo>
                    <a:pt x="22" y="185"/>
                    <a:pt x="21" y="179"/>
                    <a:pt x="21" y="172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167"/>
                    <a:pt x="50" y="167"/>
                    <a:pt x="50" y="167"/>
                  </a:cubicBezTo>
                  <a:cubicBezTo>
                    <a:pt x="50" y="170"/>
                    <a:pt x="50" y="173"/>
                    <a:pt x="51" y="176"/>
                  </a:cubicBezTo>
                  <a:cubicBezTo>
                    <a:pt x="52" y="178"/>
                    <a:pt x="52" y="180"/>
                    <a:pt x="54" y="181"/>
                  </a:cubicBezTo>
                  <a:cubicBezTo>
                    <a:pt x="55" y="182"/>
                    <a:pt x="57" y="183"/>
                    <a:pt x="59" y="184"/>
                  </a:cubicBezTo>
                  <a:cubicBezTo>
                    <a:pt x="61" y="185"/>
                    <a:pt x="63" y="185"/>
                    <a:pt x="66" y="185"/>
                  </a:cubicBezTo>
                  <a:cubicBezTo>
                    <a:pt x="69" y="185"/>
                    <a:pt x="73" y="184"/>
                    <a:pt x="77" y="183"/>
                  </a:cubicBezTo>
                  <a:cubicBezTo>
                    <a:pt x="81" y="182"/>
                    <a:pt x="85" y="180"/>
                    <a:pt x="87" y="179"/>
                  </a:cubicBezTo>
                  <a:lnTo>
                    <a:pt x="84" y="205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3901A9A3-4170-4947-A531-DCC49C48A6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8313" y="3727451"/>
              <a:ext cx="452438" cy="784225"/>
            </a:xfrm>
            <a:custGeom>
              <a:avLst/>
              <a:gdLst>
                <a:gd name="T0" fmla="*/ 91 w 121"/>
                <a:gd name="T1" fmla="*/ 209 h 209"/>
                <a:gd name="T2" fmla="*/ 91 w 121"/>
                <a:gd name="T3" fmla="*/ 124 h 209"/>
                <a:gd name="T4" fmla="*/ 84 w 121"/>
                <a:gd name="T5" fmla="*/ 93 h 209"/>
                <a:gd name="T6" fmla="*/ 60 w 121"/>
                <a:gd name="T7" fmla="*/ 82 h 209"/>
                <a:gd name="T8" fmla="*/ 47 w 121"/>
                <a:gd name="T9" fmla="*/ 85 h 209"/>
                <a:gd name="T10" fmla="*/ 38 w 121"/>
                <a:gd name="T11" fmla="*/ 92 h 209"/>
                <a:gd name="T12" fmla="*/ 31 w 121"/>
                <a:gd name="T13" fmla="*/ 104 h 209"/>
                <a:gd name="T14" fmla="*/ 29 w 121"/>
                <a:gd name="T15" fmla="*/ 121 h 209"/>
                <a:gd name="T16" fmla="*/ 29 w 121"/>
                <a:gd name="T17" fmla="*/ 209 h 209"/>
                <a:gd name="T18" fmla="*/ 0 w 121"/>
                <a:gd name="T19" fmla="*/ 209 h 209"/>
                <a:gd name="T20" fmla="*/ 0 w 121"/>
                <a:gd name="T21" fmla="*/ 15 h 209"/>
                <a:gd name="T22" fmla="*/ 29 w 121"/>
                <a:gd name="T23" fmla="*/ 0 h 209"/>
                <a:gd name="T24" fmla="*/ 29 w 121"/>
                <a:gd name="T25" fmla="*/ 73 h 209"/>
                <a:gd name="T26" fmla="*/ 36 w 121"/>
                <a:gd name="T27" fmla="*/ 65 h 209"/>
                <a:gd name="T28" fmla="*/ 45 w 121"/>
                <a:gd name="T29" fmla="*/ 60 h 209"/>
                <a:gd name="T30" fmla="*/ 55 w 121"/>
                <a:gd name="T31" fmla="*/ 56 h 209"/>
                <a:gd name="T32" fmla="*/ 67 w 121"/>
                <a:gd name="T33" fmla="*/ 55 h 209"/>
                <a:gd name="T34" fmla="*/ 90 w 121"/>
                <a:gd name="T35" fmla="*/ 59 h 209"/>
                <a:gd name="T36" fmla="*/ 107 w 121"/>
                <a:gd name="T37" fmla="*/ 72 h 209"/>
                <a:gd name="T38" fmla="*/ 117 w 121"/>
                <a:gd name="T39" fmla="*/ 94 h 209"/>
                <a:gd name="T40" fmla="*/ 121 w 121"/>
                <a:gd name="T41" fmla="*/ 122 h 209"/>
                <a:gd name="T42" fmla="*/ 121 w 121"/>
                <a:gd name="T43" fmla="*/ 209 h 209"/>
                <a:gd name="T44" fmla="*/ 91 w 121"/>
                <a:gd name="T4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209">
                  <a:moveTo>
                    <a:pt x="91" y="209"/>
                  </a:moveTo>
                  <a:cubicBezTo>
                    <a:pt x="91" y="124"/>
                    <a:pt x="91" y="124"/>
                    <a:pt x="91" y="124"/>
                  </a:cubicBezTo>
                  <a:cubicBezTo>
                    <a:pt x="91" y="110"/>
                    <a:pt x="89" y="99"/>
                    <a:pt x="84" y="93"/>
                  </a:cubicBezTo>
                  <a:cubicBezTo>
                    <a:pt x="79" y="86"/>
                    <a:pt x="71" y="82"/>
                    <a:pt x="60" y="82"/>
                  </a:cubicBezTo>
                  <a:cubicBezTo>
                    <a:pt x="56" y="82"/>
                    <a:pt x="51" y="83"/>
                    <a:pt x="47" y="85"/>
                  </a:cubicBezTo>
                  <a:cubicBezTo>
                    <a:pt x="44" y="86"/>
                    <a:pt x="40" y="89"/>
                    <a:pt x="38" y="92"/>
                  </a:cubicBezTo>
                  <a:cubicBezTo>
                    <a:pt x="35" y="95"/>
                    <a:pt x="33" y="99"/>
                    <a:pt x="31" y="104"/>
                  </a:cubicBezTo>
                  <a:cubicBezTo>
                    <a:pt x="30" y="109"/>
                    <a:pt x="29" y="114"/>
                    <a:pt x="29" y="121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1" y="70"/>
                    <a:pt x="33" y="67"/>
                    <a:pt x="36" y="65"/>
                  </a:cubicBezTo>
                  <a:cubicBezTo>
                    <a:pt x="39" y="63"/>
                    <a:pt x="42" y="61"/>
                    <a:pt x="45" y="60"/>
                  </a:cubicBezTo>
                  <a:cubicBezTo>
                    <a:pt x="48" y="58"/>
                    <a:pt x="52" y="57"/>
                    <a:pt x="55" y="56"/>
                  </a:cubicBezTo>
                  <a:cubicBezTo>
                    <a:pt x="59" y="55"/>
                    <a:pt x="63" y="55"/>
                    <a:pt x="67" y="55"/>
                  </a:cubicBezTo>
                  <a:cubicBezTo>
                    <a:pt x="76" y="55"/>
                    <a:pt x="84" y="56"/>
                    <a:pt x="90" y="59"/>
                  </a:cubicBezTo>
                  <a:cubicBezTo>
                    <a:pt x="97" y="62"/>
                    <a:pt x="103" y="67"/>
                    <a:pt x="107" y="72"/>
                  </a:cubicBezTo>
                  <a:cubicBezTo>
                    <a:pt x="112" y="78"/>
                    <a:pt x="115" y="85"/>
                    <a:pt x="117" y="94"/>
                  </a:cubicBezTo>
                  <a:cubicBezTo>
                    <a:pt x="119" y="102"/>
                    <a:pt x="121" y="112"/>
                    <a:pt x="121" y="122"/>
                  </a:cubicBezTo>
                  <a:cubicBezTo>
                    <a:pt x="121" y="209"/>
                    <a:pt x="121" y="209"/>
                    <a:pt x="121" y="209"/>
                  </a:cubicBezTo>
                  <a:lnTo>
                    <a:pt x="91" y="209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120">
              <a:extLst>
                <a:ext uri="{FF2B5EF4-FFF2-40B4-BE49-F238E27FC236}">
                  <a16:creationId xmlns:a16="http://schemas.microsoft.com/office/drawing/2014/main" id="{392675B7-2FAB-4097-BCB9-AE9398EE66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50126" y="3933826"/>
              <a:ext cx="485775" cy="588963"/>
            </a:xfrm>
            <a:custGeom>
              <a:avLst/>
              <a:gdLst>
                <a:gd name="T0" fmla="*/ 100 w 130"/>
                <a:gd name="T1" fmla="*/ 65 h 157"/>
                <a:gd name="T2" fmla="*/ 97 w 130"/>
                <a:gd name="T3" fmla="*/ 50 h 157"/>
                <a:gd name="T4" fmla="*/ 91 w 130"/>
                <a:gd name="T5" fmla="*/ 38 h 157"/>
                <a:gd name="T6" fmla="*/ 80 w 130"/>
                <a:gd name="T7" fmla="*/ 30 h 157"/>
                <a:gd name="T8" fmla="*/ 64 w 130"/>
                <a:gd name="T9" fmla="*/ 27 h 157"/>
                <a:gd name="T10" fmla="*/ 51 w 130"/>
                <a:gd name="T11" fmla="*/ 29 h 157"/>
                <a:gd name="T12" fmla="*/ 41 w 130"/>
                <a:gd name="T13" fmla="*/ 37 h 157"/>
                <a:gd name="T14" fmla="*/ 34 w 130"/>
                <a:gd name="T15" fmla="*/ 48 h 157"/>
                <a:gd name="T16" fmla="*/ 30 w 130"/>
                <a:gd name="T17" fmla="*/ 65 h 157"/>
                <a:gd name="T18" fmla="*/ 100 w 130"/>
                <a:gd name="T19" fmla="*/ 65 h 157"/>
                <a:gd name="T20" fmla="*/ 130 w 130"/>
                <a:gd name="T21" fmla="*/ 75 h 157"/>
                <a:gd name="T22" fmla="*/ 129 w 130"/>
                <a:gd name="T23" fmla="*/ 83 h 157"/>
                <a:gd name="T24" fmla="*/ 129 w 130"/>
                <a:gd name="T25" fmla="*/ 89 h 157"/>
                <a:gd name="T26" fmla="*/ 29 w 130"/>
                <a:gd name="T27" fmla="*/ 89 h 157"/>
                <a:gd name="T28" fmla="*/ 34 w 130"/>
                <a:gd name="T29" fmla="*/ 108 h 157"/>
                <a:gd name="T30" fmla="*/ 43 w 130"/>
                <a:gd name="T31" fmla="*/ 120 h 157"/>
                <a:gd name="T32" fmla="*/ 54 w 130"/>
                <a:gd name="T33" fmla="*/ 128 h 157"/>
                <a:gd name="T34" fmla="*/ 67 w 130"/>
                <a:gd name="T35" fmla="*/ 130 h 157"/>
                <a:gd name="T36" fmla="*/ 77 w 130"/>
                <a:gd name="T37" fmla="*/ 129 h 157"/>
                <a:gd name="T38" fmla="*/ 85 w 130"/>
                <a:gd name="T39" fmla="*/ 127 h 157"/>
                <a:gd name="T40" fmla="*/ 92 w 130"/>
                <a:gd name="T41" fmla="*/ 123 h 157"/>
                <a:gd name="T42" fmla="*/ 100 w 130"/>
                <a:gd name="T43" fmla="*/ 118 h 157"/>
                <a:gd name="T44" fmla="*/ 117 w 130"/>
                <a:gd name="T45" fmla="*/ 137 h 157"/>
                <a:gd name="T46" fmla="*/ 107 w 130"/>
                <a:gd name="T47" fmla="*/ 146 h 157"/>
                <a:gd name="T48" fmla="*/ 96 w 130"/>
                <a:gd name="T49" fmla="*/ 151 h 157"/>
                <a:gd name="T50" fmla="*/ 82 w 130"/>
                <a:gd name="T51" fmla="*/ 155 h 157"/>
                <a:gd name="T52" fmla="*/ 65 w 130"/>
                <a:gd name="T53" fmla="*/ 157 h 157"/>
                <a:gd name="T54" fmla="*/ 47 w 130"/>
                <a:gd name="T55" fmla="*/ 154 h 157"/>
                <a:gd name="T56" fmla="*/ 32 w 130"/>
                <a:gd name="T57" fmla="*/ 147 h 157"/>
                <a:gd name="T58" fmla="*/ 20 w 130"/>
                <a:gd name="T59" fmla="*/ 137 h 157"/>
                <a:gd name="T60" fmla="*/ 10 w 130"/>
                <a:gd name="T61" fmla="*/ 122 h 157"/>
                <a:gd name="T62" fmla="*/ 3 w 130"/>
                <a:gd name="T63" fmla="*/ 102 h 157"/>
                <a:gd name="T64" fmla="*/ 0 w 130"/>
                <a:gd name="T65" fmla="*/ 78 h 157"/>
                <a:gd name="T66" fmla="*/ 5 w 130"/>
                <a:gd name="T67" fmla="*/ 45 h 157"/>
                <a:gd name="T68" fmla="*/ 19 w 130"/>
                <a:gd name="T69" fmla="*/ 20 h 157"/>
                <a:gd name="T70" fmla="*/ 40 w 130"/>
                <a:gd name="T71" fmla="*/ 5 h 157"/>
                <a:gd name="T72" fmla="*/ 66 w 130"/>
                <a:gd name="T73" fmla="*/ 0 h 157"/>
                <a:gd name="T74" fmla="*/ 94 w 130"/>
                <a:gd name="T75" fmla="*/ 6 h 157"/>
                <a:gd name="T76" fmla="*/ 114 w 130"/>
                <a:gd name="T77" fmla="*/ 22 h 157"/>
                <a:gd name="T78" fmla="*/ 126 w 130"/>
                <a:gd name="T79" fmla="*/ 46 h 157"/>
                <a:gd name="T80" fmla="*/ 130 w 130"/>
                <a:gd name="T81" fmla="*/ 7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0" h="157">
                  <a:moveTo>
                    <a:pt x="100" y="65"/>
                  </a:moveTo>
                  <a:cubicBezTo>
                    <a:pt x="100" y="59"/>
                    <a:pt x="99" y="55"/>
                    <a:pt x="97" y="50"/>
                  </a:cubicBezTo>
                  <a:cubicBezTo>
                    <a:pt x="96" y="45"/>
                    <a:pt x="94" y="41"/>
                    <a:pt x="91" y="38"/>
                  </a:cubicBezTo>
                  <a:cubicBezTo>
                    <a:pt x="88" y="34"/>
                    <a:pt x="84" y="32"/>
                    <a:pt x="80" y="30"/>
                  </a:cubicBezTo>
                  <a:cubicBezTo>
                    <a:pt x="76" y="28"/>
                    <a:pt x="70" y="27"/>
                    <a:pt x="64" y="27"/>
                  </a:cubicBezTo>
                  <a:cubicBezTo>
                    <a:pt x="59" y="27"/>
                    <a:pt x="55" y="28"/>
                    <a:pt x="51" y="29"/>
                  </a:cubicBezTo>
                  <a:cubicBezTo>
                    <a:pt x="47" y="31"/>
                    <a:pt x="43" y="34"/>
                    <a:pt x="41" y="37"/>
                  </a:cubicBezTo>
                  <a:cubicBezTo>
                    <a:pt x="38" y="40"/>
                    <a:pt x="35" y="44"/>
                    <a:pt x="34" y="48"/>
                  </a:cubicBezTo>
                  <a:cubicBezTo>
                    <a:pt x="32" y="53"/>
                    <a:pt x="31" y="58"/>
                    <a:pt x="30" y="65"/>
                  </a:cubicBezTo>
                  <a:lnTo>
                    <a:pt x="100" y="65"/>
                  </a:lnTo>
                  <a:close/>
                  <a:moveTo>
                    <a:pt x="130" y="75"/>
                  </a:moveTo>
                  <a:cubicBezTo>
                    <a:pt x="130" y="78"/>
                    <a:pt x="130" y="81"/>
                    <a:pt x="129" y="83"/>
                  </a:cubicBezTo>
                  <a:cubicBezTo>
                    <a:pt x="129" y="85"/>
                    <a:pt x="129" y="87"/>
                    <a:pt x="12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30" y="96"/>
                    <a:pt x="32" y="102"/>
                    <a:pt x="34" y="108"/>
                  </a:cubicBezTo>
                  <a:cubicBezTo>
                    <a:pt x="36" y="113"/>
                    <a:pt x="39" y="117"/>
                    <a:pt x="43" y="120"/>
                  </a:cubicBezTo>
                  <a:cubicBezTo>
                    <a:pt x="46" y="124"/>
                    <a:pt x="50" y="126"/>
                    <a:pt x="54" y="128"/>
                  </a:cubicBezTo>
                  <a:cubicBezTo>
                    <a:pt x="58" y="129"/>
                    <a:pt x="63" y="130"/>
                    <a:pt x="67" y="130"/>
                  </a:cubicBezTo>
                  <a:cubicBezTo>
                    <a:pt x="71" y="130"/>
                    <a:pt x="74" y="130"/>
                    <a:pt x="77" y="129"/>
                  </a:cubicBezTo>
                  <a:cubicBezTo>
                    <a:pt x="79" y="129"/>
                    <a:pt x="82" y="128"/>
                    <a:pt x="85" y="127"/>
                  </a:cubicBezTo>
                  <a:cubicBezTo>
                    <a:pt x="88" y="126"/>
                    <a:pt x="90" y="124"/>
                    <a:pt x="92" y="123"/>
                  </a:cubicBezTo>
                  <a:cubicBezTo>
                    <a:pt x="94" y="122"/>
                    <a:pt x="97" y="120"/>
                    <a:pt x="100" y="118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4" y="140"/>
                    <a:pt x="110" y="143"/>
                    <a:pt x="107" y="146"/>
                  </a:cubicBezTo>
                  <a:cubicBezTo>
                    <a:pt x="103" y="148"/>
                    <a:pt x="100" y="150"/>
                    <a:pt x="96" y="151"/>
                  </a:cubicBezTo>
                  <a:cubicBezTo>
                    <a:pt x="92" y="153"/>
                    <a:pt x="87" y="154"/>
                    <a:pt x="82" y="155"/>
                  </a:cubicBezTo>
                  <a:cubicBezTo>
                    <a:pt x="77" y="156"/>
                    <a:pt x="72" y="157"/>
                    <a:pt x="65" y="157"/>
                  </a:cubicBezTo>
                  <a:cubicBezTo>
                    <a:pt x="59" y="157"/>
                    <a:pt x="53" y="156"/>
                    <a:pt x="47" y="154"/>
                  </a:cubicBezTo>
                  <a:cubicBezTo>
                    <a:pt x="41" y="152"/>
                    <a:pt x="36" y="150"/>
                    <a:pt x="32" y="147"/>
                  </a:cubicBezTo>
                  <a:cubicBezTo>
                    <a:pt x="28" y="144"/>
                    <a:pt x="24" y="141"/>
                    <a:pt x="20" y="137"/>
                  </a:cubicBezTo>
                  <a:cubicBezTo>
                    <a:pt x="17" y="133"/>
                    <a:pt x="13" y="128"/>
                    <a:pt x="10" y="122"/>
                  </a:cubicBezTo>
                  <a:cubicBezTo>
                    <a:pt x="7" y="116"/>
                    <a:pt x="5" y="110"/>
                    <a:pt x="3" y="102"/>
                  </a:cubicBezTo>
                  <a:cubicBezTo>
                    <a:pt x="1" y="95"/>
                    <a:pt x="0" y="87"/>
                    <a:pt x="0" y="78"/>
                  </a:cubicBezTo>
                  <a:cubicBezTo>
                    <a:pt x="0" y="66"/>
                    <a:pt x="2" y="55"/>
                    <a:pt x="5" y="45"/>
                  </a:cubicBezTo>
                  <a:cubicBezTo>
                    <a:pt x="8" y="35"/>
                    <a:pt x="13" y="27"/>
                    <a:pt x="19" y="20"/>
                  </a:cubicBezTo>
                  <a:cubicBezTo>
                    <a:pt x="25" y="14"/>
                    <a:pt x="31" y="9"/>
                    <a:pt x="40" y="5"/>
                  </a:cubicBezTo>
                  <a:cubicBezTo>
                    <a:pt x="48" y="2"/>
                    <a:pt x="57" y="0"/>
                    <a:pt x="66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10"/>
                    <a:pt x="109" y="16"/>
                    <a:pt x="114" y="22"/>
                  </a:cubicBezTo>
                  <a:cubicBezTo>
                    <a:pt x="119" y="29"/>
                    <a:pt x="123" y="37"/>
                    <a:pt x="126" y="46"/>
                  </a:cubicBezTo>
                  <a:cubicBezTo>
                    <a:pt x="128" y="56"/>
                    <a:pt x="130" y="65"/>
                    <a:pt x="130" y="75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21">
              <a:extLst>
                <a:ext uri="{FF2B5EF4-FFF2-40B4-BE49-F238E27FC236}">
                  <a16:creationId xmlns:a16="http://schemas.microsoft.com/office/drawing/2014/main" id="{12E2F172-F143-4692-B4D7-15077F32B9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8451" y="3933826"/>
              <a:ext cx="449263" cy="577850"/>
            </a:xfrm>
            <a:custGeom>
              <a:avLst/>
              <a:gdLst>
                <a:gd name="T0" fmla="*/ 91 w 120"/>
                <a:gd name="T1" fmla="*/ 154 h 154"/>
                <a:gd name="T2" fmla="*/ 91 w 120"/>
                <a:gd name="T3" fmla="*/ 69 h 154"/>
                <a:gd name="T4" fmla="*/ 84 w 120"/>
                <a:gd name="T5" fmla="*/ 38 h 154"/>
                <a:gd name="T6" fmla="*/ 60 w 120"/>
                <a:gd name="T7" fmla="*/ 27 h 154"/>
                <a:gd name="T8" fmla="*/ 47 w 120"/>
                <a:gd name="T9" fmla="*/ 30 h 154"/>
                <a:gd name="T10" fmla="*/ 37 w 120"/>
                <a:gd name="T11" fmla="*/ 38 h 154"/>
                <a:gd name="T12" fmla="*/ 31 w 120"/>
                <a:gd name="T13" fmla="*/ 50 h 154"/>
                <a:gd name="T14" fmla="*/ 29 w 120"/>
                <a:gd name="T15" fmla="*/ 66 h 154"/>
                <a:gd name="T16" fmla="*/ 29 w 120"/>
                <a:gd name="T17" fmla="*/ 154 h 154"/>
                <a:gd name="T18" fmla="*/ 0 w 120"/>
                <a:gd name="T19" fmla="*/ 154 h 154"/>
                <a:gd name="T20" fmla="*/ 0 w 120"/>
                <a:gd name="T21" fmla="*/ 3 h 154"/>
                <a:gd name="T22" fmla="*/ 29 w 120"/>
                <a:gd name="T23" fmla="*/ 3 h 154"/>
                <a:gd name="T24" fmla="*/ 29 w 120"/>
                <a:gd name="T25" fmla="*/ 18 h 154"/>
                <a:gd name="T26" fmla="*/ 36 w 120"/>
                <a:gd name="T27" fmla="*/ 10 h 154"/>
                <a:gd name="T28" fmla="*/ 45 w 120"/>
                <a:gd name="T29" fmla="*/ 5 h 154"/>
                <a:gd name="T30" fmla="*/ 55 w 120"/>
                <a:gd name="T31" fmla="*/ 1 h 154"/>
                <a:gd name="T32" fmla="*/ 67 w 120"/>
                <a:gd name="T33" fmla="*/ 0 h 154"/>
                <a:gd name="T34" fmla="*/ 90 w 120"/>
                <a:gd name="T35" fmla="*/ 4 h 154"/>
                <a:gd name="T36" fmla="*/ 107 w 120"/>
                <a:gd name="T37" fmla="*/ 17 h 154"/>
                <a:gd name="T38" fmla="*/ 117 w 120"/>
                <a:gd name="T39" fmla="*/ 38 h 154"/>
                <a:gd name="T40" fmla="*/ 120 w 120"/>
                <a:gd name="T41" fmla="*/ 67 h 154"/>
                <a:gd name="T42" fmla="*/ 120 w 120"/>
                <a:gd name="T43" fmla="*/ 154 h 154"/>
                <a:gd name="T44" fmla="*/ 91 w 120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0" h="154">
                  <a:moveTo>
                    <a:pt x="91" y="154"/>
                  </a:moveTo>
                  <a:cubicBezTo>
                    <a:pt x="91" y="69"/>
                    <a:pt x="91" y="69"/>
                    <a:pt x="91" y="69"/>
                  </a:cubicBezTo>
                  <a:cubicBezTo>
                    <a:pt x="91" y="55"/>
                    <a:pt x="88" y="45"/>
                    <a:pt x="84" y="38"/>
                  </a:cubicBezTo>
                  <a:cubicBezTo>
                    <a:pt x="79" y="31"/>
                    <a:pt x="71" y="27"/>
                    <a:pt x="60" y="27"/>
                  </a:cubicBezTo>
                  <a:cubicBezTo>
                    <a:pt x="55" y="27"/>
                    <a:pt x="51" y="28"/>
                    <a:pt x="47" y="30"/>
                  </a:cubicBezTo>
                  <a:cubicBezTo>
                    <a:pt x="43" y="32"/>
                    <a:pt x="40" y="34"/>
                    <a:pt x="37" y="38"/>
                  </a:cubicBezTo>
                  <a:cubicBezTo>
                    <a:pt x="34" y="41"/>
                    <a:pt x="32" y="45"/>
                    <a:pt x="31" y="50"/>
                  </a:cubicBezTo>
                  <a:cubicBezTo>
                    <a:pt x="30" y="55"/>
                    <a:pt x="29" y="60"/>
                    <a:pt x="29" y="66"/>
                  </a:cubicBezTo>
                  <a:cubicBezTo>
                    <a:pt x="29" y="154"/>
                    <a:pt x="29" y="154"/>
                    <a:pt x="29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1" y="15"/>
                    <a:pt x="33" y="12"/>
                    <a:pt x="36" y="10"/>
                  </a:cubicBezTo>
                  <a:cubicBezTo>
                    <a:pt x="39" y="8"/>
                    <a:pt x="42" y="6"/>
                    <a:pt x="45" y="5"/>
                  </a:cubicBezTo>
                  <a:cubicBezTo>
                    <a:pt x="48" y="3"/>
                    <a:pt x="52" y="2"/>
                    <a:pt x="55" y="1"/>
                  </a:cubicBezTo>
                  <a:cubicBezTo>
                    <a:pt x="59" y="0"/>
                    <a:pt x="63" y="0"/>
                    <a:pt x="67" y="0"/>
                  </a:cubicBezTo>
                  <a:cubicBezTo>
                    <a:pt x="76" y="0"/>
                    <a:pt x="84" y="2"/>
                    <a:pt x="90" y="4"/>
                  </a:cubicBezTo>
                  <a:cubicBezTo>
                    <a:pt x="97" y="7"/>
                    <a:pt x="103" y="12"/>
                    <a:pt x="107" y="17"/>
                  </a:cubicBezTo>
                  <a:cubicBezTo>
                    <a:pt x="112" y="23"/>
                    <a:pt x="115" y="30"/>
                    <a:pt x="117" y="38"/>
                  </a:cubicBezTo>
                  <a:cubicBezTo>
                    <a:pt x="119" y="46"/>
                    <a:pt x="120" y="56"/>
                    <a:pt x="120" y="67"/>
                  </a:cubicBezTo>
                  <a:cubicBezTo>
                    <a:pt x="120" y="154"/>
                    <a:pt x="120" y="154"/>
                    <a:pt x="120" y="154"/>
                  </a:cubicBezTo>
                  <a:lnTo>
                    <a:pt x="91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22">
              <a:extLst>
                <a:ext uri="{FF2B5EF4-FFF2-40B4-BE49-F238E27FC236}">
                  <a16:creationId xmlns:a16="http://schemas.microsoft.com/office/drawing/2014/main" id="{9C1166C9-6345-4EA6-96F2-A65CC24762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50263" y="3933826"/>
              <a:ext cx="501650" cy="588963"/>
            </a:xfrm>
            <a:custGeom>
              <a:avLst/>
              <a:gdLst>
                <a:gd name="T0" fmla="*/ 105 w 134"/>
                <a:gd name="T1" fmla="*/ 78 h 157"/>
                <a:gd name="T2" fmla="*/ 102 w 134"/>
                <a:gd name="T3" fmla="*/ 58 h 157"/>
                <a:gd name="T4" fmla="*/ 94 w 134"/>
                <a:gd name="T5" fmla="*/ 42 h 157"/>
                <a:gd name="T6" fmla="*/ 82 w 134"/>
                <a:gd name="T7" fmla="*/ 32 h 157"/>
                <a:gd name="T8" fmla="*/ 66 w 134"/>
                <a:gd name="T9" fmla="*/ 28 h 157"/>
                <a:gd name="T10" fmla="*/ 51 w 134"/>
                <a:gd name="T11" fmla="*/ 32 h 157"/>
                <a:gd name="T12" fmla="*/ 40 w 134"/>
                <a:gd name="T13" fmla="*/ 42 h 157"/>
                <a:gd name="T14" fmla="*/ 33 w 134"/>
                <a:gd name="T15" fmla="*/ 57 h 157"/>
                <a:gd name="T16" fmla="*/ 30 w 134"/>
                <a:gd name="T17" fmla="*/ 78 h 157"/>
                <a:gd name="T18" fmla="*/ 33 w 134"/>
                <a:gd name="T19" fmla="*/ 100 h 157"/>
                <a:gd name="T20" fmla="*/ 41 w 134"/>
                <a:gd name="T21" fmla="*/ 116 h 157"/>
                <a:gd name="T22" fmla="*/ 52 w 134"/>
                <a:gd name="T23" fmla="*/ 125 h 157"/>
                <a:gd name="T24" fmla="*/ 68 w 134"/>
                <a:gd name="T25" fmla="*/ 129 h 157"/>
                <a:gd name="T26" fmla="*/ 83 w 134"/>
                <a:gd name="T27" fmla="*/ 125 h 157"/>
                <a:gd name="T28" fmla="*/ 95 w 134"/>
                <a:gd name="T29" fmla="*/ 114 h 157"/>
                <a:gd name="T30" fmla="*/ 102 w 134"/>
                <a:gd name="T31" fmla="*/ 98 h 157"/>
                <a:gd name="T32" fmla="*/ 105 w 134"/>
                <a:gd name="T33" fmla="*/ 78 h 157"/>
                <a:gd name="T34" fmla="*/ 134 w 134"/>
                <a:gd name="T35" fmla="*/ 78 h 157"/>
                <a:gd name="T36" fmla="*/ 129 w 134"/>
                <a:gd name="T37" fmla="*/ 111 h 157"/>
                <a:gd name="T38" fmla="*/ 115 w 134"/>
                <a:gd name="T39" fmla="*/ 136 h 157"/>
                <a:gd name="T40" fmla="*/ 93 w 134"/>
                <a:gd name="T41" fmla="*/ 151 h 157"/>
                <a:gd name="T42" fmla="*/ 67 w 134"/>
                <a:gd name="T43" fmla="*/ 157 h 157"/>
                <a:gd name="T44" fmla="*/ 40 w 134"/>
                <a:gd name="T45" fmla="*/ 151 h 157"/>
                <a:gd name="T46" fmla="*/ 19 w 134"/>
                <a:gd name="T47" fmla="*/ 135 h 157"/>
                <a:gd name="T48" fmla="*/ 5 w 134"/>
                <a:gd name="T49" fmla="*/ 111 h 157"/>
                <a:gd name="T50" fmla="*/ 0 w 134"/>
                <a:gd name="T51" fmla="*/ 78 h 157"/>
                <a:gd name="T52" fmla="*/ 6 w 134"/>
                <a:gd name="T53" fmla="*/ 45 h 157"/>
                <a:gd name="T54" fmla="*/ 20 w 134"/>
                <a:gd name="T55" fmla="*/ 21 h 157"/>
                <a:gd name="T56" fmla="*/ 41 w 134"/>
                <a:gd name="T57" fmla="*/ 5 h 157"/>
                <a:gd name="T58" fmla="*/ 67 w 134"/>
                <a:gd name="T59" fmla="*/ 0 h 157"/>
                <a:gd name="T60" fmla="*/ 94 w 134"/>
                <a:gd name="T61" fmla="*/ 6 h 157"/>
                <a:gd name="T62" fmla="*/ 115 w 134"/>
                <a:gd name="T63" fmla="*/ 21 h 157"/>
                <a:gd name="T64" fmla="*/ 129 w 134"/>
                <a:gd name="T65" fmla="*/ 46 h 157"/>
                <a:gd name="T66" fmla="*/ 134 w 134"/>
                <a:gd name="T67" fmla="*/ 7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57">
                  <a:moveTo>
                    <a:pt x="105" y="78"/>
                  </a:moveTo>
                  <a:cubicBezTo>
                    <a:pt x="105" y="71"/>
                    <a:pt x="104" y="64"/>
                    <a:pt x="102" y="58"/>
                  </a:cubicBezTo>
                  <a:cubicBezTo>
                    <a:pt x="100" y="52"/>
                    <a:pt x="98" y="46"/>
                    <a:pt x="94" y="42"/>
                  </a:cubicBezTo>
                  <a:cubicBezTo>
                    <a:pt x="91" y="37"/>
                    <a:pt x="87" y="34"/>
                    <a:pt x="82" y="32"/>
                  </a:cubicBezTo>
                  <a:cubicBezTo>
                    <a:pt x="78" y="29"/>
                    <a:pt x="72" y="28"/>
                    <a:pt x="66" y="28"/>
                  </a:cubicBezTo>
                  <a:cubicBezTo>
                    <a:pt x="61" y="28"/>
                    <a:pt x="56" y="29"/>
                    <a:pt x="51" y="32"/>
                  </a:cubicBezTo>
                  <a:cubicBezTo>
                    <a:pt x="47" y="34"/>
                    <a:pt x="43" y="37"/>
                    <a:pt x="40" y="42"/>
                  </a:cubicBezTo>
                  <a:cubicBezTo>
                    <a:pt x="37" y="46"/>
                    <a:pt x="34" y="51"/>
                    <a:pt x="33" y="57"/>
                  </a:cubicBezTo>
                  <a:cubicBezTo>
                    <a:pt x="31" y="63"/>
                    <a:pt x="30" y="70"/>
                    <a:pt x="30" y="78"/>
                  </a:cubicBezTo>
                  <a:cubicBezTo>
                    <a:pt x="30" y="86"/>
                    <a:pt x="31" y="93"/>
                    <a:pt x="33" y="100"/>
                  </a:cubicBezTo>
                  <a:cubicBezTo>
                    <a:pt x="35" y="106"/>
                    <a:pt x="37" y="111"/>
                    <a:pt x="41" y="116"/>
                  </a:cubicBezTo>
                  <a:cubicBezTo>
                    <a:pt x="44" y="120"/>
                    <a:pt x="48" y="123"/>
                    <a:pt x="52" y="125"/>
                  </a:cubicBezTo>
                  <a:cubicBezTo>
                    <a:pt x="57" y="128"/>
                    <a:pt x="62" y="129"/>
                    <a:pt x="68" y="129"/>
                  </a:cubicBezTo>
                  <a:cubicBezTo>
                    <a:pt x="73" y="129"/>
                    <a:pt x="78" y="127"/>
                    <a:pt x="83" y="125"/>
                  </a:cubicBezTo>
                  <a:cubicBezTo>
                    <a:pt x="87" y="122"/>
                    <a:pt x="91" y="118"/>
                    <a:pt x="95" y="114"/>
                  </a:cubicBezTo>
                  <a:cubicBezTo>
                    <a:pt x="98" y="109"/>
                    <a:pt x="100" y="104"/>
                    <a:pt x="102" y="98"/>
                  </a:cubicBezTo>
                  <a:cubicBezTo>
                    <a:pt x="104" y="92"/>
                    <a:pt x="105" y="85"/>
                    <a:pt x="105" y="78"/>
                  </a:cubicBezTo>
                  <a:moveTo>
                    <a:pt x="134" y="78"/>
                  </a:moveTo>
                  <a:cubicBezTo>
                    <a:pt x="134" y="90"/>
                    <a:pt x="133" y="101"/>
                    <a:pt x="129" y="111"/>
                  </a:cubicBezTo>
                  <a:cubicBezTo>
                    <a:pt x="126" y="121"/>
                    <a:pt x="121" y="129"/>
                    <a:pt x="115" y="136"/>
                  </a:cubicBezTo>
                  <a:cubicBezTo>
                    <a:pt x="109" y="143"/>
                    <a:pt x="102" y="148"/>
                    <a:pt x="93" y="151"/>
                  </a:cubicBezTo>
                  <a:cubicBezTo>
                    <a:pt x="85" y="155"/>
                    <a:pt x="76" y="157"/>
                    <a:pt x="67" y="157"/>
                  </a:cubicBezTo>
                  <a:cubicBezTo>
                    <a:pt x="57" y="157"/>
                    <a:pt x="48" y="155"/>
                    <a:pt x="40" y="151"/>
                  </a:cubicBezTo>
                  <a:cubicBezTo>
                    <a:pt x="32" y="147"/>
                    <a:pt x="25" y="142"/>
                    <a:pt x="19" y="135"/>
                  </a:cubicBezTo>
                  <a:cubicBezTo>
                    <a:pt x="13" y="128"/>
                    <a:pt x="9" y="120"/>
                    <a:pt x="5" y="111"/>
                  </a:cubicBezTo>
                  <a:cubicBezTo>
                    <a:pt x="2" y="101"/>
                    <a:pt x="0" y="90"/>
                    <a:pt x="0" y="78"/>
                  </a:cubicBezTo>
                  <a:cubicBezTo>
                    <a:pt x="0" y="66"/>
                    <a:pt x="2" y="55"/>
                    <a:pt x="6" y="45"/>
                  </a:cubicBezTo>
                  <a:cubicBezTo>
                    <a:pt x="9" y="36"/>
                    <a:pt x="14" y="28"/>
                    <a:pt x="20" y="21"/>
                  </a:cubicBezTo>
                  <a:cubicBezTo>
                    <a:pt x="26" y="14"/>
                    <a:pt x="33" y="9"/>
                    <a:pt x="41" y="5"/>
                  </a:cubicBezTo>
                  <a:cubicBezTo>
                    <a:pt x="49" y="2"/>
                    <a:pt x="58" y="0"/>
                    <a:pt x="67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9"/>
                    <a:pt x="109" y="14"/>
                    <a:pt x="115" y="21"/>
                  </a:cubicBezTo>
                  <a:cubicBezTo>
                    <a:pt x="121" y="28"/>
                    <a:pt x="126" y="36"/>
                    <a:pt x="129" y="46"/>
                  </a:cubicBezTo>
                  <a:cubicBezTo>
                    <a:pt x="133" y="55"/>
                    <a:pt x="134" y="66"/>
                    <a:pt x="134" y="78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3">
              <a:extLst>
                <a:ext uri="{FF2B5EF4-FFF2-40B4-BE49-F238E27FC236}">
                  <a16:creationId xmlns:a16="http://schemas.microsoft.com/office/drawing/2014/main" id="{F6D0CFF4-3F25-4B8F-ADCB-12637DACA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4463" y="3933826"/>
              <a:ext cx="454025" cy="577850"/>
            </a:xfrm>
            <a:custGeom>
              <a:avLst/>
              <a:gdLst>
                <a:gd name="T0" fmla="*/ 92 w 121"/>
                <a:gd name="T1" fmla="*/ 154 h 154"/>
                <a:gd name="T2" fmla="*/ 92 w 121"/>
                <a:gd name="T3" fmla="*/ 69 h 154"/>
                <a:gd name="T4" fmla="*/ 84 w 121"/>
                <a:gd name="T5" fmla="*/ 38 h 154"/>
                <a:gd name="T6" fmla="*/ 61 w 121"/>
                <a:gd name="T7" fmla="*/ 27 h 154"/>
                <a:gd name="T8" fmla="*/ 48 w 121"/>
                <a:gd name="T9" fmla="*/ 30 h 154"/>
                <a:gd name="T10" fmla="*/ 38 w 121"/>
                <a:gd name="T11" fmla="*/ 38 h 154"/>
                <a:gd name="T12" fmla="*/ 32 w 121"/>
                <a:gd name="T13" fmla="*/ 50 h 154"/>
                <a:gd name="T14" fmla="*/ 30 w 121"/>
                <a:gd name="T15" fmla="*/ 66 h 154"/>
                <a:gd name="T16" fmla="*/ 30 w 121"/>
                <a:gd name="T17" fmla="*/ 154 h 154"/>
                <a:gd name="T18" fmla="*/ 0 w 121"/>
                <a:gd name="T19" fmla="*/ 154 h 154"/>
                <a:gd name="T20" fmla="*/ 0 w 121"/>
                <a:gd name="T21" fmla="*/ 3 h 154"/>
                <a:gd name="T22" fmla="*/ 30 w 121"/>
                <a:gd name="T23" fmla="*/ 3 h 154"/>
                <a:gd name="T24" fmla="*/ 30 w 121"/>
                <a:gd name="T25" fmla="*/ 18 h 154"/>
                <a:gd name="T26" fmla="*/ 37 w 121"/>
                <a:gd name="T27" fmla="*/ 10 h 154"/>
                <a:gd name="T28" fmla="*/ 46 w 121"/>
                <a:gd name="T29" fmla="*/ 5 h 154"/>
                <a:gd name="T30" fmla="*/ 56 w 121"/>
                <a:gd name="T31" fmla="*/ 1 h 154"/>
                <a:gd name="T32" fmla="*/ 68 w 121"/>
                <a:gd name="T33" fmla="*/ 0 h 154"/>
                <a:gd name="T34" fmla="*/ 91 w 121"/>
                <a:gd name="T35" fmla="*/ 4 h 154"/>
                <a:gd name="T36" fmla="*/ 108 w 121"/>
                <a:gd name="T37" fmla="*/ 17 h 154"/>
                <a:gd name="T38" fmla="*/ 118 w 121"/>
                <a:gd name="T39" fmla="*/ 38 h 154"/>
                <a:gd name="T40" fmla="*/ 121 w 121"/>
                <a:gd name="T41" fmla="*/ 67 h 154"/>
                <a:gd name="T42" fmla="*/ 121 w 121"/>
                <a:gd name="T43" fmla="*/ 154 h 154"/>
                <a:gd name="T44" fmla="*/ 92 w 121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154">
                  <a:moveTo>
                    <a:pt x="92" y="154"/>
                  </a:moveTo>
                  <a:cubicBezTo>
                    <a:pt x="92" y="69"/>
                    <a:pt x="92" y="69"/>
                    <a:pt x="92" y="69"/>
                  </a:cubicBezTo>
                  <a:cubicBezTo>
                    <a:pt x="92" y="55"/>
                    <a:pt x="89" y="45"/>
                    <a:pt x="84" y="38"/>
                  </a:cubicBezTo>
                  <a:cubicBezTo>
                    <a:pt x="80" y="31"/>
                    <a:pt x="72" y="27"/>
                    <a:pt x="61" y="27"/>
                  </a:cubicBezTo>
                  <a:cubicBezTo>
                    <a:pt x="56" y="27"/>
                    <a:pt x="52" y="28"/>
                    <a:pt x="48" y="30"/>
                  </a:cubicBezTo>
                  <a:cubicBezTo>
                    <a:pt x="44" y="32"/>
                    <a:pt x="40" y="34"/>
                    <a:pt x="38" y="38"/>
                  </a:cubicBezTo>
                  <a:cubicBezTo>
                    <a:pt x="35" y="41"/>
                    <a:pt x="33" y="45"/>
                    <a:pt x="32" y="50"/>
                  </a:cubicBezTo>
                  <a:cubicBezTo>
                    <a:pt x="31" y="55"/>
                    <a:pt x="30" y="60"/>
                    <a:pt x="30" y="66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2" y="15"/>
                    <a:pt x="34" y="12"/>
                    <a:pt x="37" y="10"/>
                  </a:cubicBezTo>
                  <a:cubicBezTo>
                    <a:pt x="39" y="8"/>
                    <a:pt x="42" y="6"/>
                    <a:pt x="46" y="5"/>
                  </a:cubicBezTo>
                  <a:cubicBezTo>
                    <a:pt x="49" y="3"/>
                    <a:pt x="52" y="2"/>
                    <a:pt x="56" y="1"/>
                  </a:cubicBezTo>
                  <a:cubicBezTo>
                    <a:pt x="60" y="0"/>
                    <a:pt x="64" y="0"/>
                    <a:pt x="68" y="0"/>
                  </a:cubicBezTo>
                  <a:cubicBezTo>
                    <a:pt x="77" y="0"/>
                    <a:pt x="85" y="2"/>
                    <a:pt x="91" y="4"/>
                  </a:cubicBezTo>
                  <a:cubicBezTo>
                    <a:pt x="98" y="7"/>
                    <a:pt x="103" y="12"/>
                    <a:pt x="108" y="17"/>
                  </a:cubicBezTo>
                  <a:cubicBezTo>
                    <a:pt x="112" y="23"/>
                    <a:pt x="116" y="30"/>
                    <a:pt x="118" y="38"/>
                  </a:cubicBezTo>
                  <a:cubicBezTo>
                    <a:pt x="120" y="46"/>
                    <a:pt x="121" y="56"/>
                    <a:pt x="121" y="67"/>
                  </a:cubicBezTo>
                  <a:cubicBezTo>
                    <a:pt x="121" y="154"/>
                    <a:pt x="121" y="154"/>
                    <a:pt x="121" y="154"/>
                  </a:cubicBezTo>
                  <a:lnTo>
                    <a:pt x="92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24">
              <a:extLst>
                <a:ext uri="{FF2B5EF4-FFF2-40B4-BE49-F238E27FC236}">
                  <a16:creationId xmlns:a16="http://schemas.microsoft.com/office/drawing/2014/main" id="{9932F642-1E35-48EC-B6C4-B38B0CA08E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3513" y="2332038"/>
              <a:ext cx="2125663" cy="776288"/>
            </a:xfrm>
            <a:custGeom>
              <a:avLst/>
              <a:gdLst>
                <a:gd name="T0" fmla="*/ 1339 w 1339"/>
                <a:gd name="T1" fmla="*/ 0 h 489"/>
                <a:gd name="T2" fmla="*/ 0 w 1339"/>
                <a:gd name="T3" fmla="*/ 489 h 489"/>
                <a:gd name="T4" fmla="*/ 1339 w 1339"/>
                <a:gd name="T5" fmla="*/ 253 h 489"/>
                <a:gd name="T6" fmla="*/ 1339 w 1339"/>
                <a:gd name="T7" fmla="*/ 0 h 489"/>
                <a:gd name="T8" fmla="*/ 1339 w 1339"/>
                <a:gd name="T9" fmla="*/ 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9" h="489">
                  <a:moveTo>
                    <a:pt x="1339" y="0"/>
                  </a:moveTo>
                  <a:lnTo>
                    <a:pt x="0" y="489"/>
                  </a:lnTo>
                  <a:lnTo>
                    <a:pt x="1339" y="253"/>
                  </a:lnTo>
                  <a:lnTo>
                    <a:pt x="1339" y="0"/>
                  </a:lnTo>
                  <a:lnTo>
                    <a:pt x="1339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25">
              <a:extLst>
                <a:ext uri="{FF2B5EF4-FFF2-40B4-BE49-F238E27FC236}">
                  <a16:creationId xmlns:a16="http://schemas.microsoft.com/office/drawing/2014/main" id="{D5D95FF1-6143-4F5E-A9CE-4E0A960335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20976" y="3430588"/>
              <a:ext cx="1787525" cy="1081088"/>
            </a:xfrm>
            <a:custGeom>
              <a:avLst/>
              <a:gdLst>
                <a:gd name="T0" fmla="*/ 904 w 1126"/>
                <a:gd name="T1" fmla="*/ 0 h 681"/>
                <a:gd name="T2" fmla="*/ 788 w 1126"/>
                <a:gd name="T3" fmla="*/ 222 h 681"/>
                <a:gd name="T4" fmla="*/ 673 w 1126"/>
                <a:gd name="T5" fmla="*/ 0 h 681"/>
                <a:gd name="T6" fmla="*/ 449 w 1126"/>
                <a:gd name="T7" fmla="*/ 0 h 681"/>
                <a:gd name="T8" fmla="*/ 687 w 1126"/>
                <a:gd name="T9" fmla="*/ 411 h 681"/>
                <a:gd name="T10" fmla="*/ 687 w 1126"/>
                <a:gd name="T11" fmla="*/ 681 h 681"/>
                <a:gd name="T12" fmla="*/ 887 w 1126"/>
                <a:gd name="T13" fmla="*/ 681 h 681"/>
                <a:gd name="T14" fmla="*/ 887 w 1126"/>
                <a:gd name="T15" fmla="*/ 411 h 681"/>
                <a:gd name="T16" fmla="*/ 1126 w 1126"/>
                <a:gd name="T17" fmla="*/ 0 h 681"/>
                <a:gd name="T18" fmla="*/ 904 w 1126"/>
                <a:gd name="T19" fmla="*/ 0 h 681"/>
                <a:gd name="T20" fmla="*/ 0 w 1126"/>
                <a:gd name="T21" fmla="*/ 0 h 681"/>
                <a:gd name="T22" fmla="*/ 0 w 1126"/>
                <a:gd name="T23" fmla="*/ 681 h 681"/>
                <a:gd name="T24" fmla="*/ 543 w 1126"/>
                <a:gd name="T25" fmla="*/ 681 h 681"/>
                <a:gd name="T26" fmla="*/ 543 w 1126"/>
                <a:gd name="T27" fmla="*/ 525 h 681"/>
                <a:gd name="T28" fmla="*/ 203 w 1126"/>
                <a:gd name="T29" fmla="*/ 525 h 681"/>
                <a:gd name="T30" fmla="*/ 203 w 1126"/>
                <a:gd name="T31" fmla="*/ 411 h 681"/>
                <a:gd name="T32" fmla="*/ 449 w 1126"/>
                <a:gd name="T33" fmla="*/ 411 h 681"/>
                <a:gd name="T34" fmla="*/ 449 w 1126"/>
                <a:gd name="T35" fmla="*/ 269 h 681"/>
                <a:gd name="T36" fmla="*/ 203 w 1126"/>
                <a:gd name="T37" fmla="*/ 269 h 681"/>
                <a:gd name="T38" fmla="*/ 203 w 1126"/>
                <a:gd name="T39" fmla="*/ 156 h 681"/>
                <a:gd name="T40" fmla="*/ 475 w 1126"/>
                <a:gd name="T41" fmla="*/ 156 h 681"/>
                <a:gd name="T42" fmla="*/ 385 w 1126"/>
                <a:gd name="T43" fmla="*/ 0 h 681"/>
                <a:gd name="T44" fmla="*/ 0 w 1126"/>
                <a:gd name="T45" fmla="*/ 0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26" h="681">
                  <a:moveTo>
                    <a:pt x="904" y="0"/>
                  </a:moveTo>
                  <a:lnTo>
                    <a:pt x="788" y="222"/>
                  </a:lnTo>
                  <a:lnTo>
                    <a:pt x="673" y="0"/>
                  </a:lnTo>
                  <a:lnTo>
                    <a:pt x="449" y="0"/>
                  </a:lnTo>
                  <a:lnTo>
                    <a:pt x="687" y="411"/>
                  </a:lnTo>
                  <a:lnTo>
                    <a:pt x="687" y="681"/>
                  </a:lnTo>
                  <a:lnTo>
                    <a:pt x="887" y="681"/>
                  </a:lnTo>
                  <a:lnTo>
                    <a:pt x="887" y="411"/>
                  </a:lnTo>
                  <a:lnTo>
                    <a:pt x="1126" y="0"/>
                  </a:lnTo>
                  <a:lnTo>
                    <a:pt x="904" y="0"/>
                  </a:lnTo>
                  <a:close/>
                  <a:moveTo>
                    <a:pt x="0" y="0"/>
                  </a:moveTo>
                  <a:lnTo>
                    <a:pt x="0" y="681"/>
                  </a:lnTo>
                  <a:lnTo>
                    <a:pt x="543" y="681"/>
                  </a:lnTo>
                  <a:lnTo>
                    <a:pt x="543" y="525"/>
                  </a:lnTo>
                  <a:lnTo>
                    <a:pt x="203" y="525"/>
                  </a:lnTo>
                  <a:lnTo>
                    <a:pt x="203" y="411"/>
                  </a:lnTo>
                  <a:lnTo>
                    <a:pt x="449" y="411"/>
                  </a:lnTo>
                  <a:lnTo>
                    <a:pt x="449" y="269"/>
                  </a:lnTo>
                  <a:lnTo>
                    <a:pt x="203" y="269"/>
                  </a:lnTo>
                  <a:lnTo>
                    <a:pt x="203" y="156"/>
                  </a:lnTo>
                  <a:lnTo>
                    <a:pt x="475" y="156"/>
                  </a:lnTo>
                  <a:lnTo>
                    <a:pt x="3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474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9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1081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38426"/>
            <a:ext cx="10972801" cy="4987739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8895"/>
              <a:t>11/1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8895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431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07" r:id="rId12"/>
    <p:sldLayoutId id="2147483908" r:id="rId13"/>
    <p:sldLayoutId id="2147483909" r:id="rId14"/>
    <p:sldLayoutId id="2147483910" r:id="rId15"/>
    <p:sldLayoutId id="2147483911" r:id="rId16"/>
    <p:sldLayoutId id="2147483912" r:id="rId17"/>
  </p:sldLayoutIdLst>
  <p:txStyles>
    <p:titleStyle>
      <a:lvl1pPr algn="l" defTabSz="1218845" rtl="0" eaLnBrk="1" latinLnBrk="0" hangingPunct="1">
        <a:spcBef>
          <a:spcPct val="0"/>
        </a:spcBef>
        <a:buNone/>
        <a:defRPr sz="3199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457067" indent="-457067" algn="l" defTabSz="1218845" rtl="0" eaLnBrk="1" latinLnBrk="0" hangingPunct="1">
        <a:spcBef>
          <a:spcPct val="20000"/>
        </a:spcBef>
        <a:buFont typeface="Arial" pitchFamily="34" charset="0"/>
        <a:buChar char="•"/>
        <a:defRPr sz="3599" kern="1200">
          <a:solidFill>
            <a:schemeClr val="tx1"/>
          </a:solidFill>
          <a:latin typeface="+mj-lt"/>
          <a:ea typeface="+mn-ea"/>
          <a:cs typeface="+mn-cs"/>
        </a:defRPr>
      </a:lvl1pPr>
      <a:lvl2pPr marL="990311" indent="-380889" algn="l" defTabSz="1218845" rtl="0" eaLnBrk="1" latinLnBrk="0" hangingPunct="1">
        <a:spcBef>
          <a:spcPct val="20000"/>
        </a:spcBef>
        <a:buFont typeface="Arial" pitchFamily="34" charset="0"/>
        <a:buChar char="–"/>
        <a:defRPr sz="3199" kern="1200">
          <a:solidFill>
            <a:schemeClr val="tx1"/>
          </a:solidFill>
          <a:latin typeface="+mj-lt"/>
          <a:ea typeface="+mn-ea"/>
          <a:cs typeface="+mn-cs"/>
        </a:defRPr>
      </a:lvl2pPr>
      <a:lvl3pPr marL="1523555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j-lt"/>
          <a:ea typeface="+mn-ea"/>
          <a:cs typeface="+mn-cs"/>
        </a:defRPr>
      </a:lvl3pPr>
      <a:lvl4pPr marL="2132979" indent="-304712" algn="l" defTabSz="121884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400" indent="-304712" algn="l" defTabSz="121884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1822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244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666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089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22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5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7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89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1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4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955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378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7DBD9C-52F7-6464-A1B6-0F9E2AF98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F451C4-0B9E-3ED1-8FB3-154FB5E230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0BB992-5D9D-0187-7522-AE7B403BF8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9BC0F76-D917-4A97-9A25-9DC6A72F5BCC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7AC3DE-FAAE-317E-3F81-8780168BC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A99DE9-9794-BD49-E9E7-E5DF514303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EDCF931-C328-43EF-B534-60EDA48749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49618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  <p:sldLayoutId id="2147483932" r:id="rId12"/>
    <p:sldLayoutId id="214748393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8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7673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  <p:sldLayoutId id="2147483952" r:id="rId18"/>
    <p:sldLayoutId id="2147483953" r:id="rId19"/>
    <p:sldLayoutId id="2147483954" r:id="rId20"/>
    <p:sldLayoutId id="2147483955" r:id="rId21"/>
    <p:sldLayoutId id="2147483956" r:id="rId22"/>
    <p:sldLayoutId id="2147483957" r:id="rId23"/>
    <p:sldLayoutId id="2147483958" r:id="rId24"/>
    <p:sldLayoutId id="2147483959" r:id="rId25"/>
    <p:sldLayoutId id="2147483960" r:id="rId26"/>
    <p:sldLayoutId id="2147483961" r:id="rId27"/>
    <p:sldLayoutId id="2147483962" r:id="rId28"/>
    <p:sldLayoutId id="2147483963" r:id="rId29"/>
    <p:sldLayoutId id="2147483964" r:id="rId30"/>
    <p:sldLayoutId id="2147483965" r:id="rId31"/>
    <p:sldLayoutId id="2147483966" r:id="rId32"/>
    <p:sldLayoutId id="2147483967" r:id="rId33"/>
    <p:sldLayoutId id="2147483968" r:id="rId34"/>
    <p:sldLayoutId id="2147483969" r:id="rId35"/>
    <p:sldLayoutId id="2147483970" r:id="rId36"/>
    <p:sldLayoutId id="2147483971" r:id="rId37"/>
    <p:sldLayoutId id="2147483972" r:id="rId38"/>
    <p:sldLayoutId id="2147483973" r:id="rId39"/>
    <p:sldLayoutId id="2147483974" r:id="rId40"/>
    <p:sldLayoutId id="2147483975" r:id="rId41"/>
    <p:sldLayoutId id="2147483976" r:id="rId42"/>
    <p:sldLayoutId id="2147483977" r:id="rId43"/>
    <p:sldLayoutId id="2147483978" r:id="rId44"/>
    <p:sldLayoutId id="2147483979" r:id="rId45"/>
    <p:sldLayoutId id="2147483980" r:id="rId46"/>
    <p:sldLayoutId id="2147483981" r:id="rId47"/>
    <p:sldLayoutId id="2147483982" r:id="rId48"/>
    <p:sldLayoutId id="2147483983" r:id="rId49"/>
    <p:sldLayoutId id="2147483984" r:id="rId50"/>
    <p:sldLayoutId id="2147483985" r:id="rId51"/>
    <p:sldLayoutId id="2147483986" r:id="rId52"/>
    <p:sldLayoutId id="2147483987" r:id="rId53"/>
    <p:sldLayoutId id="2147483988" r:id="rId54"/>
    <p:sldLayoutId id="2147483989" r:id="rId55"/>
    <p:sldLayoutId id="2147483990" r:id="rId56"/>
    <p:sldLayoutId id="2147483991" r:id="rId57"/>
    <p:sldLayoutId id="2147483992" r:id="rId58"/>
    <p:sldLayoutId id="2147483993" r:id="rId59"/>
    <p:sldLayoutId id="2147483994" r:id="rId60"/>
    <p:sldLayoutId id="2147483995" r:id="rId61"/>
    <p:sldLayoutId id="2147483996" r:id="rId62"/>
    <p:sldLayoutId id="2147483997" r:id="rId63"/>
    <p:sldLayoutId id="2147483998" r:id="rId64"/>
    <p:sldLayoutId id="2147483999" r:id="rId65"/>
    <p:sldLayoutId id="2147484000" r:id="rId66"/>
    <p:sldLayoutId id="2147484001" r:id="rId67"/>
    <p:sldLayoutId id="2147484002" r:id="rId68"/>
    <p:sldLayoutId id="2147484003" r:id="rId69"/>
    <p:sldLayoutId id="2147484004" r:id="rId70"/>
    <p:sldLayoutId id="2147484005" r:id="rId71"/>
    <p:sldLayoutId id="2147484006" r:id="rId72"/>
    <p:sldLayoutId id="2147484007" r:id="rId73"/>
    <p:sldLayoutId id="2147484008" r:id="rId74"/>
    <p:sldLayoutId id="2147484009" r:id="rId75"/>
    <p:sldLayoutId id="2147484010" r:id="rId76"/>
    <p:sldLayoutId id="2147484011" r:id="rId77"/>
    <p:sldLayoutId id="2147484012" r:id="rId78"/>
    <p:sldLayoutId id="2147484013" r:id="rId79"/>
    <p:sldLayoutId id="2147484014" r:id="rId80"/>
    <p:sldLayoutId id="2147484015" r:id="rId81"/>
    <p:sldLayoutId id="2147484016" r:id="rId82"/>
    <p:sldLayoutId id="2147484017" r:id="rId83"/>
    <p:sldLayoutId id="2147484018" r:id="rId84"/>
    <p:sldLayoutId id="2147484019" r:id="rId85"/>
    <p:sldLayoutId id="2147484020" r:id="rId86"/>
    <p:sldLayoutId id="2147484021" r:id="rId87"/>
    <p:sldLayoutId id="2147484022" r:id="rId88"/>
    <p:sldLayoutId id="2147484023" r:id="rId89"/>
    <p:sldLayoutId id="2147484024" r:id="rId90"/>
    <p:sldLayoutId id="2147484025" r:id="rId91"/>
    <p:sldLayoutId id="2147484026" r:id="rId92"/>
    <p:sldLayoutId id="2147484027" r:id="rId93"/>
    <p:sldLayoutId id="2147484028" r:id="rId94"/>
    <p:sldLayoutId id="2147484029" r:id="rId95"/>
    <p:sldLayoutId id="2147484030" r:id="rId96"/>
    <p:sldLayoutId id="2147484031" r:id="rId97"/>
    <p:sldLayoutId id="2147484032" r:id="rId98"/>
    <p:sldLayoutId id="2147484033" r:id="rId99"/>
    <p:sldLayoutId id="2147484034" r:id="rId100"/>
    <p:sldLayoutId id="2147484035" r:id="rId101"/>
    <p:sldLayoutId id="2147484036" r:id="rId102"/>
    <p:sldLayoutId id="2147484037" r:id="rId103"/>
    <p:sldLayoutId id="2147484038" r:id="rId104"/>
    <p:sldLayoutId id="2147484039" r:id="rId105"/>
    <p:sldLayoutId id="2147484040" r:id="rId106"/>
    <p:sldLayoutId id="2147484041" r:id="rId107"/>
    <p:sldLayoutId id="2147484042" r:id="rId108"/>
    <p:sldLayoutId id="2147484043" r:id="rId109"/>
    <p:sldLayoutId id="2147484044" r:id="rId110"/>
    <p:sldLayoutId id="2147484045" r:id="rId111"/>
    <p:sldLayoutId id="2147484046" r:id="rId112"/>
    <p:sldLayoutId id="2147484047" r:id="rId113"/>
    <p:sldLayoutId id="2147484048" r:id="rId114"/>
    <p:sldLayoutId id="2147484049" r:id="rId115"/>
    <p:sldLayoutId id="2147484050" r:id="rId116"/>
    <p:sldLayoutId id="2147484051" r:id="rId117"/>
    <p:sldLayoutId id="2147484052" r:id="rId118"/>
    <p:sldLayoutId id="2147484053" r:id="rId119"/>
    <p:sldLayoutId id="2147484054" r:id="rId120"/>
    <p:sldLayoutId id="2147484055" r:id="rId121"/>
    <p:sldLayoutId id="2147484056" r:id="rId122"/>
    <p:sldLayoutId id="2147484057" r:id="rId123"/>
    <p:sldLayoutId id="2147484058" r:id="rId124"/>
    <p:sldLayoutId id="2147484059" r:id="rId125"/>
    <p:sldLayoutId id="2147484060" r:id="rId126"/>
    <p:sldLayoutId id="2147484061" r:id="rId127"/>
    <p:sldLayoutId id="2147484062" r:id="rId128"/>
    <p:sldLayoutId id="2147484063" r:id="rId129"/>
    <p:sldLayoutId id="2147484064" r:id="rId130"/>
    <p:sldLayoutId id="2147484065" r:id="rId131"/>
    <p:sldLayoutId id="2147484066" r:id="rId132"/>
    <p:sldLayoutId id="2147484067" r:id="rId133"/>
    <p:sldLayoutId id="2147484068" r:id="rId134"/>
    <p:sldLayoutId id="2147484069" r:id="rId135"/>
    <p:sldLayoutId id="2147484070" r:id="rId136"/>
    <p:sldLayoutId id="2147484071" r:id="rId137"/>
    <p:sldLayoutId id="2147484072" r:id="rId138"/>
    <p:sldLayoutId id="2147484073" r:id="rId139"/>
    <p:sldLayoutId id="2147484074" r:id="rId140"/>
    <p:sldLayoutId id="2147484075" r:id="rId141"/>
    <p:sldLayoutId id="2147484076" r:id="rId142"/>
    <p:sldLayoutId id="2147484077" r:id="rId143"/>
    <p:sldLayoutId id="2147484078" r:id="rId144"/>
    <p:sldLayoutId id="2147484079" r:id="rId145"/>
    <p:sldLayoutId id="2147484080" r:id="rId146"/>
    <p:sldLayoutId id="2147484081" r:id="rId147"/>
    <p:sldLayoutId id="2147484082" r:id="rId148"/>
    <p:sldLayoutId id="2147484083" r:id="rId149"/>
    <p:sldLayoutId id="2147484084" r:id="rId150"/>
    <p:sldLayoutId id="2147484085" r:id="rId151"/>
    <p:sldLayoutId id="2147484086" r:id="rId152"/>
    <p:sldLayoutId id="2147484087" r:id="rId153"/>
    <p:sldLayoutId id="2147484088" r:id="rId154"/>
    <p:sldLayoutId id="2147484089" r:id="rId155"/>
    <p:sldLayoutId id="2147484090" r:id="rId156"/>
    <p:sldLayoutId id="2147484091" r:id="rId157"/>
    <p:sldLayoutId id="2147484092" r:id="rId158"/>
    <p:sldLayoutId id="2147484093" r:id="rId159"/>
    <p:sldLayoutId id="2147484094" r:id="rId160"/>
    <p:sldLayoutId id="2147484095" r:id="rId161"/>
    <p:sldLayoutId id="2147484096" r:id="rId162"/>
    <p:sldLayoutId id="2147484097" r:id="rId163"/>
    <p:sldLayoutId id="2147484098" r:id="rId164"/>
    <p:sldLayoutId id="2147484099" r:id="rId165"/>
    <p:sldLayoutId id="2147484100" r:id="rId166"/>
    <p:sldLayoutId id="2147484101" r:id="rId167"/>
    <p:sldLayoutId id="2147484102" r:id="rId168"/>
    <p:sldLayoutId id="2147484103" r:id="rId169"/>
    <p:sldLayoutId id="2147484104" r:id="rId170"/>
    <p:sldLayoutId id="2147484105" r:id="rId171"/>
    <p:sldLayoutId id="2147484106" r:id="rId172"/>
    <p:sldLayoutId id="2147484107" r:id="rId173"/>
    <p:sldLayoutId id="2147484108" r:id="rId174"/>
    <p:sldLayoutId id="2147484109" r:id="rId175"/>
    <p:sldLayoutId id="2147484110" r:id="rId176"/>
    <p:sldLayoutId id="2147484111" r:id="rId177"/>
    <p:sldLayoutId id="2147484112" r:id="rId178"/>
    <p:sldLayoutId id="2147484113" r:id="rId179"/>
    <p:sldLayoutId id="2147484114" r:id="rId180"/>
    <p:sldLayoutId id="2147484115" r:id="rId181"/>
    <p:sldLayoutId id="2147484116" r:id="rId182"/>
    <p:sldLayoutId id="2147484117" r:id="rId183"/>
    <p:sldLayoutId id="2147484118" r:id="rId184"/>
    <p:sldLayoutId id="2147484119" r:id="rId185"/>
    <p:sldLayoutId id="2147484120" r:id="rId186"/>
    <p:sldLayoutId id="2147484121" r:id="rId187"/>
    <p:sldLayoutId id="2147484122" r:id="rId188"/>
    <p:sldLayoutId id="2147484123" r:id="rId189"/>
    <p:sldLayoutId id="2147484124" r:id="rId190"/>
    <p:sldLayoutId id="2147484125" r:id="rId191"/>
    <p:sldLayoutId id="2147484126" r:id="rId192"/>
    <p:sldLayoutId id="2147484127" r:id="rId193"/>
    <p:sldLayoutId id="2147484128" r:id="rId194"/>
    <p:sldLayoutId id="2147484129" r:id="rId195"/>
    <p:sldLayoutId id="2147484130" r:id="rId196"/>
    <p:sldLayoutId id="2147484131" r:id="rId197"/>
    <p:sldLayoutId id="2147484132" r:id="rId198"/>
    <p:sldLayoutId id="2147484133" r:id="rId199"/>
    <p:sldLayoutId id="2147484134" r:id="rId200"/>
    <p:sldLayoutId id="2147484135" r:id="rId201"/>
    <p:sldLayoutId id="2147484136" r:id="rId202"/>
    <p:sldLayoutId id="2147484137" r:id="rId203"/>
    <p:sldLayoutId id="2147484138" r:id="rId204"/>
    <p:sldLayoutId id="2147484139" r:id="rId205"/>
    <p:sldLayoutId id="2147484140" r:id="rId206"/>
    <p:sldLayoutId id="2147484141" r:id="rId207"/>
    <p:sldLayoutId id="2147484142" r:id="rId208"/>
    <p:sldLayoutId id="2147484143" r:id="rId209"/>
    <p:sldLayoutId id="2147484144" r:id="rId210"/>
    <p:sldLayoutId id="2147484145" r:id="rId211"/>
    <p:sldLayoutId id="2147484146" r:id="rId212"/>
    <p:sldLayoutId id="2147484147" r:id="rId213"/>
    <p:sldLayoutId id="2147484148" r:id="rId214"/>
    <p:sldLayoutId id="2147484149" r:id="rId215"/>
    <p:sldLayoutId id="2147484150" r:id="rId216"/>
  </p:sldLayoutIdLst>
  <p:hf hdr="0"/>
  <p:txStyles>
    <p:titleStyle>
      <a:lvl1pPr algn="ctr" defTabSz="1219079" rtl="0" eaLnBrk="1" latinLnBrk="0" hangingPunct="1">
        <a:spcBef>
          <a:spcPct val="0"/>
        </a:spcBef>
        <a:buNone/>
        <a:defRPr sz="58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55" indent="-457155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4250" kern="1200">
          <a:solidFill>
            <a:schemeClr val="tx1"/>
          </a:solidFill>
          <a:latin typeface="+mn-lt"/>
          <a:ea typeface="+mn-ea"/>
          <a:cs typeface="+mn-cs"/>
        </a:defRPr>
      </a:lvl1pPr>
      <a:lvl2pPr marL="990501" indent="-380962" algn="l" defTabSz="1219079" rtl="0" eaLnBrk="1" latinLnBrk="0" hangingPunct="1">
        <a:spcBef>
          <a:spcPct val="20000"/>
        </a:spcBef>
        <a:buFont typeface="Arial" panose="020B0604020202020204" pitchFamily="34" charset="0"/>
        <a:buChar char="–"/>
        <a:defRPr sz="3750" kern="1200">
          <a:solidFill>
            <a:schemeClr val="tx1"/>
          </a:solidFill>
          <a:latin typeface="+mn-lt"/>
          <a:ea typeface="+mn-ea"/>
          <a:cs typeface="+mn-cs"/>
        </a:defRPr>
      </a:lvl2pPr>
      <a:lvl3pPr marL="1523848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86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–"/>
        <a:defRPr sz="2650" kern="1200">
          <a:solidFill>
            <a:schemeClr val="tx1"/>
          </a:solidFill>
          <a:latin typeface="+mn-lt"/>
          <a:ea typeface="+mn-ea"/>
          <a:cs typeface="+mn-cs"/>
        </a:defRPr>
      </a:lvl4pPr>
      <a:lvl5pPr marL="2742925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»"/>
        <a:defRPr sz="2650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2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9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52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</p:sldLayoutIdLst>
  <p:hf hdr="0"/>
  <p:txStyles>
    <p:titleStyle>
      <a:lvl1pPr algn="ctr" defTabSz="1219079" rtl="0" eaLnBrk="1" latinLnBrk="0" hangingPunct="1">
        <a:spcBef>
          <a:spcPct val="0"/>
        </a:spcBef>
        <a:buNone/>
        <a:defRPr sz="58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55" indent="-457155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4250" kern="1200">
          <a:solidFill>
            <a:schemeClr val="tx1"/>
          </a:solidFill>
          <a:latin typeface="+mn-lt"/>
          <a:ea typeface="+mn-ea"/>
          <a:cs typeface="+mn-cs"/>
        </a:defRPr>
      </a:lvl1pPr>
      <a:lvl2pPr marL="990501" indent="-380962" algn="l" defTabSz="1219079" rtl="0" eaLnBrk="1" latinLnBrk="0" hangingPunct="1">
        <a:spcBef>
          <a:spcPct val="20000"/>
        </a:spcBef>
        <a:buFont typeface="Arial" panose="020B0604020202020204" pitchFamily="34" charset="0"/>
        <a:buChar char="–"/>
        <a:defRPr sz="3750" kern="1200">
          <a:solidFill>
            <a:schemeClr val="tx1"/>
          </a:solidFill>
          <a:latin typeface="+mn-lt"/>
          <a:ea typeface="+mn-ea"/>
          <a:cs typeface="+mn-cs"/>
        </a:defRPr>
      </a:lvl2pPr>
      <a:lvl3pPr marL="1523848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86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–"/>
        <a:defRPr sz="2650" kern="1200">
          <a:solidFill>
            <a:schemeClr val="tx1"/>
          </a:solidFill>
          <a:latin typeface="+mn-lt"/>
          <a:ea typeface="+mn-ea"/>
          <a:cs typeface="+mn-cs"/>
        </a:defRPr>
      </a:lvl4pPr>
      <a:lvl5pPr marL="2742925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»"/>
        <a:defRPr sz="2650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2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9" algn="l" defTabSz="12190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6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9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13ED45-0328-4F6E-A02C-14122AFDC62B}" type="datetimeFigureOut">
              <a:rPr lang="ru-RU" smtClean="0"/>
              <a:t>16.11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1FC462-F6D6-45A4-850A-CBC4AE8C4B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61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5" r:id="rId1"/>
    <p:sldLayoutId id="2147484156" r:id="rId2"/>
    <p:sldLayoutId id="2147484157" r:id="rId3"/>
    <p:sldLayoutId id="2147484158" r:id="rId4"/>
    <p:sldLayoutId id="2147484159" r:id="rId5"/>
    <p:sldLayoutId id="2147484160" r:id="rId6"/>
    <p:sldLayoutId id="2147484161" r:id="rId7"/>
    <p:sldLayoutId id="2147484162" r:id="rId8"/>
    <p:sldLayoutId id="2147484163" r:id="rId9"/>
    <p:sldLayoutId id="2147484164" r:id="rId10"/>
    <p:sldLayoutId id="2147484165" r:id="rId11"/>
    <p:sldLayoutId id="2147484166" r:id="rId12"/>
    <p:sldLayoutId id="2147484167" r:id="rId13"/>
    <p:sldLayoutId id="2147484168" r:id="rId14"/>
    <p:sldLayoutId id="2147484169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35959F4-53DA-47FF-BC24-1E5B75C69876}"/>
              </a:ext>
            </a:extLst>
          </p:cNvPr>
          <p:cNvSpPr/>
          <p:nvPr/>
        </p:nvSpPr>
        <p:spPr>
          <a:xfrm>
            <a:off x="9753030" y="5516668"/>
            <a:ext cx="2438970" cy="1341332"/>
          </a:xfrm>
          <a:custGeom>
            <a:avLst/>
            <a:gdLst>
              <a:gd name="connsiteX0" fmla="*/ 2025355 w 2438970"/>
              <a:gd name="connsiteY0" fmla="*/ 235 h 1341332"/>
              <a:gd name="connsiteX1" fmla="*/ 2381960 w 2438970"/>
              <a:gd name="connsiteY1" fmla="*/ 44517 h 1341332"/>
              <a:gd name="connsiteX2" fmla="*/ 2438970 w 2438970"/>
              <a:gd name="connsiteY2" fmla="*/ 58872 h 1341332"/>
              <a:gd name="connsiteX3" fmla="*/ 2438970 w 2438970"/>
              <a:gd name="connsiteY3" fmla="*/ 1341332 h 1341332"/>
              <a:gd name="connsiteX4" fmla="*/ 0 w 2438970"/>
              <a:gd name="connsiteY4" fmla="*/ 1341332 h 1341332"/>
              <a:gd name="connsiteX5" fmla="*/ 13333 w 2438970"/>
              <a:gd name="connsiteY5" fmla="*/ 1328018 h 1341332"/>
              <a:gd name="connsiteX6" fmla="*/ 936262 w 2438970"/>
              <a:gd name="connsiteY6" fmla="*/ 459947 h 1341332"/>
              <a:gd name="connsiteX7" fmla="*/ 1554028 w 2438970"/>
              <a:gd name="connsiteY7" fmla="*/ 71153 h 1341332"/>
              <a:gd name="connsiteX8" fmla="*/ 2025355 w 2438970"/>
              <a:gd name="connsiteY8" fmla="*/ 235 h 1341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38970" h="1341332">
                <a:moveTo>
                  <a:pt x="2025355" y="235"/>
                </a:moveTo>
                <a:cubicBezTo>
                  <a:pt x="2143847" y="2306"/>
                  <a:pt x="2262766" y="17993"/>
                  <a:pt x="2381960" y="44517"/>
                </a:cubicBezTo>
                <a:lnTo>
                  <a:pt x="2438970" y="58872"/>
                </a:lnTo>
                <a:lnTo>
                  <a:pt x="2438970" y="1341332"/>
                </a:lnTo>
                <a:lnTo>
                  <a:pt x="0" y="1341332"/>
                </a:lnTo>
                <a:lnTo>
                  <a:pt x="13333" y="1328018"/>
                </a:lnTo>
                <a:cubicBezTo>
                  <a:pt x="324723" y="1028950"/>
                  <a:pt x="645390" y="738459"/>
                  <a:pt x="936262" y="459947"/>
                </a:cubicBezTo>
                <a:cubicBezTo>
                  <a:pt x="1139660" y="265152"/>
                  <a:pt x="1345794" y="140817"/>
                  <a:pt x="1554028" y="71153"/>
                </a:cubicBezTo>
                <a:cubicBezTo>
                  <a:pt x="1710136" y="18918"/>
                  <a:pt x="1867365" y="-2526"/>
                  <a:pt x="2025355" y="235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7CF83E8-F6F0-41E3-B580-7412A04DDFB5}"/>
              </a:ext>
            </a:extLst>
          </p:cNvPr>
          <p:cNvGrpSpPr/>
          <p:nvPr/>
        </p:nvGrpSpPr>
        <p:grpSpPr>
          <a:xfrm>
            <a:off x="10776050" y="5204030"/>
            <a:ext cx="886141" cy="802497"/>
            <a:chOff x="10948005" y="3272152"/>
            <a:chExt cx="868640" cy="786648"/>
          </a:xfrm>
          <a:solidFill>
            <a:schemeClr val="accent1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A0B6DBB-705D-48D0-842C-F9DFA7684D19}"/>
                </a:ext>
              </a:extLst>
            </p:cNvPr>
            <p:cNvSpPr/>
            <p:nvPr/>
          </p:nvSpPr>
          <p:spPr>
            <a:xfrm>
              <a:off x="11194317" y="3944888"/>
              <a:ext cx="128449" cy="113912"/>
            </a:xfrm>
            <a:custGeom>
              <a:avLst/>
              <a:gdLst>
                <a:gd name="connsiteX0" fmla="*/ 237621 w 453152"/>
                <a:gd name="connsiteY0" fmla="*/ 965 h 401867"/>
                <a:gd name="connsiteX1" fmla="*/ 370246 w 453152"/>
                <a:gd name="connsiteY1" fmla="*/ 23666 h 401867"/>
                <a:gd name="connsiteX2" fmla="*/ 437392 w 453152"/>
                <a:gd name="connsiteY2" fmla="*/ 198545 h 401867"/>
                <a:gd name="connsiteX3" fmla="*/ 67745 w 453152"/>
                <a:gd name="connsiteY3" fmla="*/ 392003 h 401867"/>
                <a:gd name="connsiteX4" fmla="*/ 911 w 453152"/>
                <a:gd name="connsiteY4" fmla="*/ 254095 h 401867"/>
                <a:gd name="connsiteX5" fmla="*/ 115564 w 453152"/>
                <a:gd name="connsiteY5" fmla="*/ 51160 h 401867"/>
                <a:gd name="connsiteX6" fmla="*/ 237621 w 453152"/>
                <a:gd name="connsiteY6" fmla="*/ 965 h 401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3152" h="401867">
                  <a:moveTo>
                    <a:pt x="237621" y="965"/>
                  </a:moveTo>
                  <a:cubicBezTo>
                    <a:pt x="283632" y="-2971"/>
                    <a:pt x="331405" y="5243"/>
                    <a:pt x="370246" y="23666"/>
                  </a:cubicBezTo>
                  <a:cubicBezTo>
                    <a:pt x="436830" y="55275"/>
                    <a:pt x="477168" y="116810"/>
                    <a:pt x="437392" y="198545"/>
                  </a:cubicBezTo>
                  <a:cubicBezTo>
                    <a:pt x="391568" y="292624"/>
                    <a:pt x="176850" y="441630"/>
                    <a:pt x="67745" y="392003"/>
                  </a:cubicBezTo>
                  <a:cubicBezTo>
                    <a:pt x="18056" y="369372"/>
                    <a:pt x="-5012" y="308398"/>
                    <a:pt x="911" y="254095"/>
                  </a:cubicBezTo>
                  <a:cubicBezTo>
                    <a:pt x="9203" y="178033"/>
                    <a:pt x="61012" y="103094"/>
                    <a:pt x="115564" y="51160"/>
                  </a:cubicBezTo>
                  <a:cubicBezTo>
                    <a:pt x="147361" y="20985"/>
                    <a:pt x="191610" y="4900"/>
                    <a:pt x="237621" y="96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194A764-16E1-4D0D-9357-76F80E6086C0}"/>
                </a:ext>
              </a:extLst>
            </p:cNvPr>
            <p:cNvSpPr/>
            <p:nvPr/>
          </p:nvSpPr>
          <p:spPr>
            <a:xfrm>
              <a:off x="10953045" y="3808430"/>
              <a:ext cx="144912" cy="193414"/>
            </a:xfrm>
            <a:custGeom>
              <a:avLst/>
              <a:gdLst>
                <a:gd name="connsiteX0" fmla="*/ 390625 w 511232"/>
                <a:gd name="connsiteY0" fmla="*/ 1621 h 682341"/>
                <a:gd name="connsiteX1" fmla="*/ 508142 w 511232"/>
                <a:gd name="connsiteY1" fmla="*/ 64038 h 682341"/>
                <a:gd name="connsiteX2" fmla="*/ 508453 w 511232"/>
                <a:gd name="connsiteY2" fmla="*/ 121832 h 682341"/>
                <a:gd name="connsiteX3" fmla="*/ 316492 w 511232"/>
                <a:gd name="connsiteY3" fmla="*/ 567602 h 682341"/>
                <a:gd name="connsiteX4" fmla="*/ 80265 w 511232"/>
                <a:gd name="connsiteY4" fmla="*/ 640359 h 682341"/>
                <a:gd name="connsiteX5" fmla="*/ 13306 w 511232"/>
                <a:gd name="connsiteY5" fmla="*/ 274828 h 682341"/>
                <a:gd name="connsiteX6" fmla="*/ 140989 w 511232"/>
                <a:gd name="connsiteY6" fmla="*/ 107181 h 682341"/>
                <a:gd name="connsiteX7" fmla="*/ 390625 w 511232"/>
                <a:gd name="connsiteY7" fmla="*/ 1621 h 68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232" h="682341">
                  <a:moveTo>
                    <a:pt x="390625" y="1621"/>
                  </a:moveTo>
                  <a:cubicBezTo>
                    <a:pt x="446543" y="-5212"/>
                    <a:pt x="493343" y="8441"/>
                    <a:pt x="508142" y="64038"/>
                  </a:cubicBezTo>
                  <a:cubicBezTo>
                    <a:pt x="513192" y="82866"/>
                    <a:pt x="511134" y="102754"/>
                    <a:pt x="508453" y="121832"/>
                  </a:cubicBezTo>
                  <a:cubicBezTo>
                    <a:pt x="485324" y="287796"/>
                    <a:pt x="417242" y="443971"/>
                    <a:pt x="316492" y="567602"/>
                  </a:cubicBezTo>
                  <a:cubicBezTo>
                    <a:pt x="253024" y="645534"/>
                    <a:pt x="165055" y="737743"/>
                    <a:pt x="80265" y="640359"/>
                  </a:cubicBezTo>
                  <a:cubicBezTo>
                    <a:pt x="5014" y="553948"/>
                    <a:pt x="-17368" y="383621"/>
                    <a:pt x="13306" y="274828"/>
                  </a:cubicBezTo>
                  <a:cubicBezTo>
                    <a:pt x="33443" y="203318"/>
                    <a:pt x="83382" y="146521"/>
                    <a:pt x="140989" y="107181"/>
                  </a:cubicBezTo>
                  <a:cubicBezTo>
                    <a:pt x="178904" y="81308"/>
                    <a:pt x="297428" y="13010"/>
                    <a:pt x="390625" y="162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15B7F3F-A40D-4F24-8536-E2420B433211}"/>
                </a:ext>
              </a:extLst>
            </p:cNvPr>
            <p:cNvSpPr/>
            <p:nvPr/>
          </p:nvSpPr>
          <p:spPr>
            <a:xfrm>
              <a:off x="11684524" y="3907536"/>
              <a:ext cx="132121" cy="93006"/>
            </a:xfrm>
            <a:custGeom>
              <a:avLst/>
              <a:gdLst>
                <a:gd name="connsiteX0" fmla="*/ 252822 w 466107"/>
                <a:gd name="connsiteY0" fmla="*/ 1539 h 328114"/>
                <a:gd name="connsiteX1" fmla="*/ 451641 w 466107"/>
                <a:gd name="connsiteY1" fmla="*/ 122177 h 328114"/>
                <a:gd name="connsiteX2" fmla="*/ 391790 w 466107"/>
                <a:gd name="connsiteY2" fmla="*/ 297430 h 328114"/>
                <a:gd name="connsiteX3" fmla="*/ 8614 w 466107"/>
                <a:gd name="connsiteY3" fmla="*/ 243252 h 328114"/>
                <a:gd name="connsiteX4" fmla="*/ 45897 w 466107"/>
                <a:gd name="connsiteY4" fmla="*/ 97302 h 328114"/>
                <a:gd name="connsiteX5" fmla="*/ 252822 w 466107"/>
                <a:gd name="connsiteY5" fmla="*/ 1539 h 328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6107" h="328114">
                  <a:moveTo>
                    <a:pt x="252822" y="1539"/>
                  </a:moveTo>
                  <a:cubicBezTo>
                    <a:pt x="335429" y="-10494"/>
                    <a:pt x="418848" y="49794"/>
                    <a:pt x="451641" y="122177"/>
                  </a:cubicBezTo>
                  <a:cubicBezTo>
                    <a:pt x="479697" y="184273"/>
                    <a:pt x="470594" y="255285"/>
                    <a:pt x="391790" y="297430"/>
                  </a:cubicBezTo>
                  <a:cubicBezTo>
                    <a:pt x="301077" y="345935"/>
                    <a:pt x="55935" y="343254"/>
                    <a:pt x="8614" y="243252"/>
                  </a:cubicBezTo>
                  <a:cubicBezTo>
                    <a:pt x="-12895" y="197678"/>
                    <a:pt x="8240" y="136766"/>
                    <a:pt x="45897" y="97302"/>
                  </a:cubicBezTo>
                  <a:cubicBezTo>
                    <a:pt x="98704" y="42064"/>
                    <a:pt x="181872" y="11950"/>
                    <a:pt x="252822" y="153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endParaRPr>
            </a:p>
          </p:txBody>
        </p:sp>
        <p:sp>
          <p:nvSpPr>
            <p:cNvPr id="24" name="Graphic 12">
              <a:extLst>
                <a:ext uri="{FF2B5EF4-FFF2-40B4-BE49-F238E27FC236}">
                  <a16:creationId xmlns:a16="http://schemas.microsoft.com/office/drawing/2014/main" id="{CEF42844-A829-4ED2-A360-63BB2A7C45EE}"/>
                </a:ext>
              </a:extLst>
            </p:cNvPr>
            <p:cNvSpPr/>
            <p:nvPr/>
          </p:nvSpPr>
          <p:spPr>
            <a:xfrm>
              <a:off x="11142141" y="3272152"/>
              <a:ext cx="180625" cy="158824"/>
            </a:xfrm>
            <a:custGeom>
              <a:avLst/>
              <a:gdLst>
                <a:gd name="connsiteX0" fmla="*/ 63289 w 3341477"/>
                <a:gd name="connsiteY0" fmla="*/ 1933384 h 2938167"/>
                <a:gd name="connsiteX1" fmla="*/ 263314 w 3341477"/>
                <a:gd name="connsiteY1" fmla="*/ 514159 h 2938167"/>
                <a:gd name="connsiteX2" fmla="*/ 1098276 w 3341477"/>
                <a:gd name="connsiteY2" fmla="*/ 952 h 2938167"/>
                <a:gd name="connsiteX3" fmla="*/ 2654089 w 3341477"/>
                <a:gd name="connsiteY3" fmla="*/ 371284 h 2938167"/>
                <a:gd name="connsiteX4" fmla="*/ 3219398 w 3341477"/>
                <a:gd name="connsiteY4" fmla="*/ 2080926 h 2938167"/>
                <a:gd name="connsiteX5" fmla="*/ 2044489 w 3341477"/>
                <a:gd name="connsiteY5" fmla="*/ 2933509 h 2938167"/>
                <a:gd name="connsiteX6" fmla="*/ 453814 w 3341477"/>
                <a:gd name="connsiteY6" fmla="*/ 2495359 h 2938167"/>
                <a:gd name="connsiteX7" fmla="*/ 63289 w 3341477"/>
                <a:gd name="connsiteY7" fmla="*/ 1933384 h 2938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1477" h="2938167">
                  <a:moveTo>
                    <a:pt x="63289" y="1933384"/>
                  </a:moveTo>
                  <a:cubicBezTo>
                    <a:pt x="56717" y="1895856"/>
                    <a:pt x="-165311" y="914209"/>
                    <a:pt x="263314" y="514159"/>
                  </a:cubicBezTo>
                  <a:cubicBezTo>
                    <a:pt x="691939" y="114109"/>
                    <a:pt x="609262" y="11620"/>
                    <a:pt x="1098276" y="952"/>
                  </a:cubicBezTo>
                  <a:cubicBezTo>
                    <a:pt x="1587289" y="-9716"/>
                    <a:pt x="2320714" y="66484"/>
                    <a:pt x="2654089" y="371284"/>
                  </a:cubicBezTo>
                  <a:cubicBezTo>
                    <a:pt x="2987464" y="676084"/>
                    <a:pt x="3603732" y="1514094"/>
                    <a:pt x="3219398" y="2080926"/>
                  </a:cubicBezTo>
                  <a:cubicBezTo>
                    <a:pt x="2835064" y="2647759"/>
                    <a:pt x="2558839" y="2895409"/>
                    <a:pt x="2044489" y="2933509"/>
                  </a:cubicBezTo>
                  <a:cubicBezTo>
                    <a:pt x="1530139" y="2971609"/>
                    <a:pt x="701464" y="2771584"/>
                    <a:pt x="453814" y="2495359"/>
                  </a:cubicBezTo>
                  <a:cubicBezTo>
                    <a:pt x="206164" y="2219134"/>
                    <a:pt x="101389" y="2152459"/>
                    <a:pt x="63289" y="19333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Graphic 15">
              <a:extLst>
                <a:ext uri="{FF2B5EF4-FFF2-40B4-BE49-F238E27FC236}">
                  <a16:creationId xmlns:a16="http://schemas.microsoft.com/office/drawing/2014/main" id="{57B23B52-A1C3-44EF-BC11-9094A0DA11AB}"/>
                </a:ext>
              </a:extLst>
            </p:cNvPr>
            <p:cNvSpPr/>
            <p:nvPr/>
          </p:nvSpPr>
          <p:spPr>
            <a:xfrm>
              <a:off x="11602136" y="3379098"/>
              <a:ext cx="82388" cy="75292"/>
            </a:xfrm>
            <a:custGeom>
              <a:avLst/>
              <a:gdLst>
                <a:gd name="connsiteX0" fmla="*/ 17664 w 5240764"/>
                <a:gd name="connsiteY0" fmla="*/ 2947947 h 4789394"/>
                <a:gd name="connsiteX1" fmla="*/ 903489 w 5240764"/>
                <a:gd name="connsiteY1" fmla="*/ 195222 h 4789394"/>
                <a:gd name="connsiteX2" fmla="*/ 3560964 w 5240764"/>
                <a:gd name="connsiteY2" fmla="*/ 357147 h 4789394"/>
                <a:gd name="connsiteX3" fmla="*/ 5240602 w 5240764"/>
                <a:gd name="connsiteY3" fmla="*/ 2076409 h 4789394"/>
                <a:gd name="connsiteX4" fmla="*/ 4568328 w 5240764"/>
                <a:gd name="connsiteY4" fmla="*/ 3879397 h 4789394"/>
                <a:gd name="connsiteX5" fmla="*/ 3284739 w 5240764"/>
                <a:gd name="connsiteY5" fmla="*/ 4605297 h 4789394"/>
                <a:gd name="connsiteX6" fmla="*/ 1074939 w 5240764"/>
                <a:gd name="connsiteY6" fmla="*/ 4357647 h 4789394"/>
                <a:gd name="connsiteX7" fmla="*/ 15187 w 5240764"/>
                <a:gd name="connsiteY7" fmla="*/ 2830313 h 478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40764" h="4789394">
                  <a:moveTo>
                    <a:pt x="17664" y="2947947"/>
                  </a:moveTo>
                  <a:cubicBezTo>
                    <a:pt x="17664" y="2900322"/>
                    <a:pt x="-201411" y="490497"/>
                    <a:pt x="903489" y="195222"/>
                  </a:cubicBezTo>
                  <a:cubicBezTo>
                    <a:pt x="2008389" y="-100053"/>
                    <a:pt x="2598939" y="-71478"/>
                    <a:pt x="3560964" y="357147"/>
                  </a:cubicBezTo>
                  <a:cubicBezTo>
                    <a:pt x="4522989" y="785772"/>
                    <a:pt x="5253271" y="1338222"/>
                    <a:pt x="5240602" y="2076409"/>
                  </a:cubicBezTo>
                  <a:cubicBezTo>
                    <a:pt x="5227934" y="2814597"/>
                    <a:pt x="4842267" y="3677276"/>
                    <a:pt x="4568328" y="3879397"/>
                  </a:cubicBezTo>
                  <a:cubicBezTo>
                    <a:pt x="4294389" y="4081422"/>
                    <a:pt x="4065789" y="4548147"/>
                    <a:pt x="3284739" y="4605297"/>
                  </a:cubicBezTo>
                  <a:cubicBezTo>
                    <a:pt x="2503689" y="4662447"/>
                    <a:pt x="1579764" y="5110122"/>
                    <a:pt x="1074939" y="4357647"/>
                  </a:cubicBezTo>
                  <a:cubicBezTo>
                    <a:pt x="570114" y="3605172"/>
                    <a:pt x="12615" y="3617554"/>
                    <a:pt x="15187" y="283031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Graphic 15">
              <a:extLst>
                <a:ext uri="{FF2B5EF4-FFF2-40B4-BE49-F238E27FC236}">
                  <a16:creationId xmlns:a16="http://schemas.microsoft.com/office/drawing/2014/main" id="{064E08E5-DA92-4CF2-A0BF-E341800227B2}"/>
                </a:ext>
              </a:extLst>
            </p:cNvPr>
            <p:cNvSpPr/>
            <p:nvPr/>
          </p:nvSpPr>
          <p:spPr>
            <a:xfrm>
              <a:off x="10948005" y="3504095"/>
              <a:ext cx="82388" cy="75292"/>
            </a:xfrm>
            <a:custGeom>
              <a:avLst/>
              <a:gdLst>
                <a:gd name="connsiteX0" fmla="*/ 17664 w 5240764"/>
                <a:gd name="connsiteY0" fmla="*/ 2947947 h 4789394"/>
                <a:gd name="connsiteX1" fmla="*/ 903489 w 5240764"/>
                <a:gd name="connsiteY1" fmla="*/ 195222 h 4789394"/>
                <a:gd name="connsiteX2" fmla="*/ 3560964 w 5240764"/>
                <a:gd name="connsiteY2" fmla="*/ 357147 h 4789394"/>
                <a:gd name="connsiteX3" fmla="*/ 5240602 w 5240764"/>
                <a:gd name="connsiteY3" fmla="*/ 2076409 h 4789394"/>
                <a:gd name="connsiteX4" fmla="*/ 4568328 w 5240764"/>
                <a:gd name="connsiteY4" fmla="*/ 3879397 h 4789394"/>
                <a:gd name="connsiteX5" fmla="*/ 3284739 w 5240764"/>
                <a:gd name="connsiteY5" fmla="*/ 4605297 h 4789394"/>
                <a:gd name="connsiteX6" fmla="*/ 1074939 w 5240764"/>
                <a:gd name="connsiteY6" fmla="*/ 4357647 h 4789394"/>
                <a:gd name="connsiteX7" fmla="*/ 15187 w 5240764"/>
                <a:gd name="connsiteY7" fmla="*/ 2830313 h 478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40764" h="4789394">
                  <a:moveTo>
                    <a:pt x="17664" y="2947947"/>
                  </a:moveTo>
                  <a:cubicBezTo>
                    <a:pt x="17664" y="2900322"/>
                    <a:pt x="-201411" y="490497"/>
                    <a:pt x="903489" y="195222"/>
                  </a:cubicBezTo>
                  <a:cubicBezTo>
                    <a:pt x="2008389" y="-100053"/>
                    <a:pt x="2598939" y="-71478"/>
                    <a:pt x="3560964" y="357147"/>
                  </a:cubicBezTo>
                  <a:cubicBezTo>
                    <a:pt x="4522989" y="785772"/>
                    <a:pt x="5253271" y="1338222"/>
                    <a:pt x="5240602" y="2076409"/>
                  </a:cubicBezTo>
                  <a:cubicBezTo>
                    <a:pt x="5227934" y="2814597"/>
                    <a:pt x="4842267" y="3677276"/>
                    <a:pt x="4568328" y="3879397"/>
                  </a:cubicBezTo>
                  <a:cubicBezTo>
                    <a:pt x="4294389" y="4081422"/>
                    <a:pt x="4065789" y="4548147"/>
                    <a:pt x="3284739" y="4605297"/>
                  </a:cubicBezTo>
                  <a:cubicBezTo>
                    <a:pt x="2503689" y="4662447"/>
                    <a:pt x="1579764" y="5110122"/>
                    <a:pt x="1074939" y="4357647"/>
                  </a:cubicBezTo>
                  <a:cubicBezTo>
                    <a:pt x="570114" y="3605172"/>
                    <a:pt x="12615" y="3617554"/>
                    <a:pt x="15187" y="283031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A222560-E657-4CAE-B667-7BE9E224B244}"/>
                </a:ext>
              </a:extLst>
            </p:cNvPr>
            <p:cNvSpPr/>
            <p:nvPr/>
          </p:nvSpPr>
          <p:spPr>
            <a:xfrm>
              <a:off x="11343727" y="3666564"/>
              <a:ext cx="173527" cy="138496"/>
            </a:xfrm>
            <a:custGeom>
              <a:avLst/>
              <a:gdLst>
                <a:gd name="connsiteX0" fmla="*/ 237392 w 789043"/>
                <a:gd name="connsiteY0" fmla="*/ 81 h 629754"/>
                <a:gd name="connsiteX1" fmla="*/ 758692 w 789043"/>
                <a:gd name="connsiteY1" fmla="*/ 233550 h 629754"/>
                <a:gd name="connsiteX2" fmla="*/ 650647 w 789043"/>
                <a:gd name="connsiteY2" fmla="*/ 335111 h 629754"/>
                <a:gd name="connsiteX3" fmla="*/ 315041 w 789043"/>
                <a:gd name="connsiteY3" fmla="*/ 584992 h 629754"/>
                <a:gd name="connsiteX4" fmla="*/ 192159 w 789043"/>
                <a:gd name="connsiteY4" fmla="*/ 625953 h 629754"/>
                <a:gd name="connsiteX5" fmla="*/ 124264 w 789043"/>
                <a:gd name="connsiteY5" fmla="*/ 552260 h 629754"/>
                <a:gd name="connsiteX6" fmla="*/ 1631 w 789043"/>
                <a:gd name="connsiteY6" fmla="*/ 133735 h 629754"/>
                <a:gd name="connsiteX7" fmla="*/ 35422 w 789043"/>
                <a:gd name="connsiteY7" fmla="*/ 14157 h 629754"/>
                <a:gd name="connsiteX8" fmla="*/ 113728 w 789043"/>
                <a:gd name="connsiteY8" fmla="*/ 378 h 629754"/>
                <a:gd name="connsiteX9" fmla="*/ 237392 w 789043"/>
                <a:gd name="connsiteY9" fmla="*/ 81 h 629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9043" h="629754">
                  <a:moveTo>
                    <a:pt x="237392" y="81"/>
                  </a:moveTo>
                  <a:cubicBezTo>
                    <a:pt x="474795" y="-992"/>
                    <a:pt x="907215" y="10463"/>
                    <a:pt x="758692" y="233550"/>
                  </a:cubicBezTo>
                  <a:cubicBezTo>
                    <a:pt x="731135" y="274948"/>
                    <a:pt x="690486" y="305435"/>
                    <a:pt x="650647" y="335111"/>
                  </a:cubicBezTo>
                  <a:cubicBezTo>
                    <a:pt x="538737" y="418405"/>
                    <a:pt x="426889" y="501698"/>
                    <a:pt x="315041" y="584992"/>
                  </a:cubicBezTo>
                  <a:cubicBezTo>
                    <a:pt x="278943" y="611863"/>
                    <a:pt x="234865" y="640167"/>
                    <a:pt x="192159" y="625953"/>
                  </a:cubicBezTo>
                  <a:cubicBezTo>
                    <a:pt x="159614" y="615105"/>
                    <a:pt x="139851" y="582810"/>
                    <a:pt x="124264" y="552260"/>
                  </a:cubicBezTo>
                  <a:cubicBezTo>
                    <a:pt x="57742" y="422021"/>
                    <a:pt x="15908" y="279250"/>
                    <a:pt x="1631" y="133735"/>
                  </a:cubicBezTo>
                  <a:cubicBezTo>
                    <a:pt x="-2671" y="90343"/>
                    <a:pt x="-676" y="38596"/>
                    <a:pt x="35422" y="14157"/>
                  </a:cubicBezTo>
                  <a:cubicBezTo>
                    <a:pt x="57804" y="-931"/>
                    <a:pt x="86795" y="-557"/>
                    <a:pt x="113728" y="378"/>
                  </a:cubicBezTo>
                  <a:cubicBezTo>
                    <a:pt x="138207" y="1243"/>
                    <a:pt x="182606" y="328"/>
                    <a:pt x="237392" y="8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9226104-0061-4319-8237-9C001BF85D49}"/>
              </a:ext>
            </a:extLst>
          </p:cNvPr>
          <p:cNvSpPr/>
          <p:nvPr/>
        </p:nvSpPr>
        <p:spPr>
          <a:xfrm rot="5400000">
            <a:off x="615181" y="-615181"/>
            <a:ext cx="1085312" cy="2315675"/>
          </a:xfrm>
          <a:custGeom>
            <a:avLst/>
            <a:gdLst>
              <a:gd name="connsiteX0" fmla="*/ 0 w 1085312"/>
              <a:gd name="connsiteY0" fmla="*/ 2315675 h 2315675"/>
              <a:gd name="connsiteX1" fmla="*/ 0 w 1085312"/>
              <a:gd name="connsiteY1" fmla="*/ 0 h 2315675"/>
              <a:gd name="connsiteX2" fmla="*/ 53089 w 1085312"/>
              <a:gd name="connsiteY2" fmla="*/ 4542 h 2315675"/>
              <a:gd name="connsiteX3" fmla="*/ 790077 w 1085312"/>
              <a:gd name="connsiteY3" fmla="*/ 872756 h 2315675"/>
              <a:gd name="connsiteX4" fmla="*/ 1085252 w 1085312"/>
              <a:gd name="connsiteY4" fmla="*/ 1943649 h 2315675"/>
              <a:gd name="connsiteX5" fmla="*/ 1064832 w 1085312"/>
              <a:gd name="connsiteY5" fmla="*/ 2198094 h 2315675"/>
              <a:gd name="connsiteX6" fmla="*/ 1043734 w 1085312"/>
              <a:gd name="connsiteY6" fmla="*/ 2315675 h 2315675"/>
              <a:gd name="connsiteX7" fmla="*/ 0 w 1085312"/>
              <a:gd name="connsiteY7" fmla="*/ 2315675 h 2315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312" h="2315675">
                <a:moveTo>
                  <a:pt x="0" y="2315675"/>
                </a:moveTo>
                <a:lnTo>
                  <a:pt x="0" y="0"/>
                </a:lnTo>
                <a:lnTo>
                  <a:pt x="53089" y="4542"/>
                </a:lnTo>
                <a:cubicBezTo>
                  <a:pt x="405263" y="73503"/>
                  <a:pt x="612623" y="486635"/>
                  <a:pt x="790077" y="872756"/>
                </a:cubicBezTo>
                <a:cubicBezTo>
                  <a:pt x="937425" y="1193596"/>
                  <a:pt x="1088787" y="1533232"/>
                  <a:pt x="1085252" y="1943649"/>
                </a:cubicBezTo>
                <a:cubicBezTo>
                  <a:pt x="1084528" y="2029058"/>
                  <a:pt x="1077341" y="2113833"/>
                  <a:pt x="1064832" y="2198094"/>
                </a:cubicBezTo>
                <a:lnTo>
                  <a:pt x="1043734" y="2315675"/>
                </a:lnTo>
                <a:lnTo>
                  <a:pt x="0" y="2315675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78318D-FE3E-41D7-9A8C-2065A2C46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717" y="787068"/>
            <a:ext cx="10077557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B06718-79E7-4159-A003-F86FE7B3D8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5717" y="2521885"/>
            <a:ext cx="10077557" cy="35490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1F99FF-FFE2-431D-A0C8-A46C21712A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5718" y="1365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none" spc="11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8769D389-4C4C-4FD7-9E6B-9F44477F0EB8}" type="datetime1">
              <a:rPr lang="en-US" smtClean="0"/>
              <a:t>11/1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C3547E-668D-4191-847C-7424F75496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5718" y="6356350"/>
            <a:ext cx="3450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none" spc="11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BB6E6E-8527-4F63-A0C7-84CD44A2B0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5367" y="6356350"/>
            <a:ext cx="5298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none" spc="11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1076ED0-0DB3-4879-AAE5-5C20D22C1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001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  <p:sldLayoutId id="2147484174" r:id="rId4"/>
    <p:sldLayoutId id="2147484175" r:id="rId5"/>
    <p:sldLayoutId id="2147484176" r:id="rId6"/>
    <p:sldLayoutId id="2147484177" r:id="rId7"/>
    <p:sldLayoutId id="2147484178" r:id="rId8"/>
    <p:sldLayoutId id="2147484179" r:id="rId9"/>
    <p:sldLayoutId id="2147484180" r:id="rId10"/>
    <p:sldLayoutId id="2147484181" r:id="rId11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19DEE15-8D07-9C75-FC37-172CA0613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E99CD5-30B9-31C1-3D37-991ED862E6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1DA006-1773-07F4-B6B2-A30BF6D3FB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F7442F9-9D01-4694-BFEB-C29E36EE352D}" type="datetimeFigureOut">
              <a:rPr lang="en-IN" smtClean="0"/>
              <a:t>16-1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031E90-504C-C486-E387-500E7F8850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CA006E-C3E2-8026-35CC-6F7053E3C4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AA40797-364C-45D1-8340-7D98478040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72218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  <p:sldLayoutId id="2147484193" r:id="rId11"/>
    <p:sldLayoutId id="214748419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8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F1A2E9-0A58-4CD8-B9CB-2A5E9A0BC469}" type="datetimeFigureOut">
              <a:rPr lang="en-US" smtClean="0"/>
              <a:t>11/1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9F497E-EEEB-4D0F-8C2E-A2AA7485E8AD}" type="slidenum">
              <a:rPr lang="en-US" smtClean="0"/>
              <a:t>‹#›</a:t>
            </a:fld>
            <a:endParaRPr lang="en-US"/>
          </a:p>
        </p:txBody>
      </p:sp>
    </p:spTree>
    <p:custDataLst>
      <p:tags r:id="rId27"/>
    </p:custDataLst>
    <p:extLst>
      <p:ext uri="{BB962C8B-B14F-4D97-AF65-F5344CB8AC3E}">
        <p14:creationId xmlns:p14="http://schemas.microsoft.com/office/powerpoint/2010/main" val="1891819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6" r:id="rId1"/>
    <p:sldLayoutId id="2147484197" r:id="rId2"/>
    <p:sldLayoutId id="2147484198" r:id="rId3"/>
    <p:sldLayoutId id="2147484199" r:id="rId4"/>
    <p:sldLayoutId id="2147484200" r:id="rId5"/>
    <p:sldLayoutId id="2147484201" r:id="rId6"/>
    <p:sldLayoutId id="2147484202" r:id="rId7"/>
    <p:sldLayoutId id="2147484203" r:id="rId8"/>
    <p:sldLayoutId id="2147484204" r:id="rId9"/>
    <p:sldLayoutId id="2147484205" r:id="rId10"/>
    <p:sldLayoutId id="2147484206" r:id="rId11"/>
    <p:sldLayoutId id="2147484207" r:id="rId12"/>
    <p:sldLayoutId id="2147484208" r:id="rId13"/>
    <p:sldLayoutId id="2147484209" r:id="rId14"/>
    <p:sldLayoutId id="2147484210" r:id="rId15"/>
    <p:sldLayoutId id="2147484211" r:id="rId16"/>
    <p:sldLayoutId id="2147484212" r:id="rId17"/>
    <p:sldLayoutId id="2147484213" r:id="rId18"/>
    <p:sldLayoutId id="2147484214" r:id="rId19"/>
    <p:sldLayoutId id="2147484215" r:id="rId20"/>
    <p:sldLayoutId id="2147484216" r:id="rId21"/>
    <p:sldLayoutId id="2147484217" r:id="rId22"/>
    <p:sldLayoutId id="2147484218" r:id="rId23"/>
    <p:sldLayoutId id="2147484219" r:id="rId24"/>
    <p:sldLayoutId id="2147484220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14/relationships/chartEx" Target="../charts/chartEx2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microsoft.com/office/2014/relationships/chartEx" Target="../charts/chartEx3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4/relationships/chartEx" Target="../charts/chartEx4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5.xml"/><Relationship Id="rId1" Type="http://schemas.openxmlformats.org/officeDocument/2006/relationships/tags" Target="../tags/tag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55.xml"/><Relationship Id="rId1" Type="http://schemas.openxmlformats.org/officeDocument/2006/relationships/tags" Target="../tags/tag15.xml"/><Relationship Id="rId4" Type="http://schemas.openxmlformats.org/officeDocument/2006/relationships/image" Target="../media/image22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7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package" Target="../embeddings/Microsoft_Excel_Worksheet6.xlsx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58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emf"/><Relationship Id="rId5" Type="http://schemas.openxmlformats.org/officeDocument/2006/relationships/package" Target="../embeddings/Microsoft_Excel_Worksheet1.xlsx"/><Relationship Id="rId4" Type="http://schemas.openxmlformats.org/officeDocument/2006/relationships/image" Target="../media/image14.emf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3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58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7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4.xml"/><Relationship Id="rId1" Type="http://schemas.openxmlformats.org/officeDocument/2006/relationships/tags" Target="../tags/tag1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4.xml"/><Relationship Id="rId1" Type="http://schemas.openxmlformats.org/officeDocument/2006/relationships/tags" Target="../tags/tag1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4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2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20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2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20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package" Target="../embeddings/Microsoft_Excel_Worksheet10.xlsx"/><Relationship Id="rId1" Type="http://schemas.openxmlformats.org/officeDocument/2006/relationships/slideLayout" Target="../slideLayouts/slideLayout320.xml"/><Relationship Id="rId5" Type="http://schemas.openxmlformats.org/officeDocument/2006/relationships/image" Target="../media/image50.emf"/><Relationship Id="rId4" Type="http://schemas.openxmlformats.org/officeDocument/2006/relationships/package" Target="../embeddings/Microsoft_Excel_Worksheet11.xlsx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package" Target="../embeddings/Microsoft_Excel_Worksheet12.xlsx"/><Relationship Id="rId1" Type="http://schemas.openxmlformats.org/officeDocument/2006/relationships/slideLayout" Target="../slideLayouts/slideLayout320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1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48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34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55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4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49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49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49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49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61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49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4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49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49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49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49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49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60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9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71.xml"/><Relationship Id="rId1" Type="http://schemas.openxmlformats.org/officeDocument/2006/relationships/tags" Target="../tags/tag18.xml"/><Relationship Id="rId4" Type="http://schemas.openxmlformats.org/officeDocument/2006/relationships/image" Target="../media/image67.emf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9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6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Oval 5">
            <a:extLst>
              <a:ext uri="{FF2B5EF4-FFF2-40B4-BE49-F238E27FC236}">
                <a16:creationId xmlns:a16="http://schemas.microsoft.com/office/drawing/2014/main" id="{4853A86A-8E98-4A51-B633-12B75AC8B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045" y="4829322"/>
            <a:ext cx="7433080" cy="884245"/>
          </a:xfrm>
          <a:prstGeom prst="ellipse">
            <a:avLst/>
          </a:prstGeom>
          <a:solidFill>
            <a:srgbClr val="F2F2F2">
              <a:alpha val="50196"/>
            </a:srgb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66" name="Rectangle 10">
            <a:extLst>
              <a:ext uri="{FF2B5EF4-FFF2-40B4-BE49-F238E27FC236}">
                <a16:creationId xmlns:a16="http://schemas.microsoft.com/office/drawing/2014/main" id="{8275BD3B-AB9C-4439-B386-A1B8CC00C1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3915" y="3284434"/>
            <a:ext cx="392514" cy="1559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grpSp>
        <p:nvGrpSpPr>
          <p:cNvPr id="363" name="Group 362">
            <a:extLst>
              <a:ext uri="{FF2B5EF4-FFF2-40B4-BE49-F238E27FC236}">
                <a16:creationId xmlns:a16="http://schemas.microsoft.com/office/drawing/2014/main" id="{9C258CB6-0826-49FA-81FF-58A3322F0972}"/>
              </a:ext>
            </a:extLst>
          </p:cNvPr>
          <p:cNvGrpSpPr/>
          <p:nvPr/>
        </p:nvGrpSpPr>
        <p:grpSpPr>
          <a:xfrm>
            <a:off x="4711383" y="2879820"/>
            <a:ext cx="2078727" cy="1964022"/>
            <a:chOff x="9423993" y="5760291"/>
            <a:chExt cx="4157994" cy="3928554"/>
          </a:xfrm>
          <a:solidFill>
            <a:schemeClr val="bg1">
              <a:lumMod val="85000"/>
            </a:schemeClr>
          </a:solidFill>
        </p:grpSpPr>
        <p:sp>
          <p:nvSpPr>
            <p:cNvPr id="163" name="Rectangle 7">
              <a:extLst>
                <a:ext uri="{FF2B5EF4-FFF2-40B4-BE49-F238E27FC236}">
                  <a16:creationId xmlns:a16="http://schemas.microsoft.com/office/drawing/2014/main" id="{008E376A-5953-4F1A-90B8-2E446A73B6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23993" y="7964657"/>
              <a:ext cx="786098" cy="1724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228600">
                <a:defRPr/>
              </a:pPr>
              <a:endParaRPr lang="en-US" sz="900">
                <a:solidFill>
                  <a:srgbClr val="272E3A"/>
                </a:solidFill>
                <a:latin typeface="Montserrat Light"/>
              </a:endParaRPr>
            </a:p>
          </p:txBody>
        </p:sp>
        <p:sp>
          <p:nvSpPr>
            <p:cNvPr id="164" name="Rectangle 8">
              <a:extLst>
                <a:ext uri="{FF2B5EF4-FFF2-40B4-BE49-F238E27FC236}">
                  <a16:creationId xmlns:a16="http://schemas.microsoft.com/office/drawing/2014/main" id="{EB0E9645-A3B4-46D5-99C4-5E91A46D64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0874" y="7095302"/>
              <a:ext cx="787066" cy="259354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228600">
                <a:defRPr/>
              </a:pPr>
              <a:endParaRPr lang="en-US" sz="900">
                <a:solidFill>
                  <a:srgbClr val="272E3A"/>
                </a:solidFill>
                <a:latin typeface="Montserrat Light"/>
              </a:endParaRPr>
            </a:p>
          </p:txBody>
        </p:sp>
        <p:sp>
          <p:nvSpPr>
            <p:cNvPr id="165" name="Rectangle 9">
              <a:extLst>
                <a:ext uri="{FF2B5EF4-FFF2-40B4-BE49-F238E27FC236}">
                  <a16:creationId xmlns:a16="http://schemas.microsoft.com/office/drawing/2014/main" id="{C05E5596-C85F-4922-95A1-CECFCED36A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89350" y="6569623"/>
              <a:ext cx="785130" cy="31192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228600">
                <a:defRPr/>
              </a:pPr>
              <a:endParaRPr lang="en-US" sz="900">
                <a:solidFill>
                  <a:srgbClr val="272E3A"/>
                </a:solidFill>
                <a:latin typeface="Montserrat Light"/>
              </a:endParaRPr>
            </a:p>
          </p:txBody>
        </p:sp>
        <p:sp>
          <p:nvSpPr>
            <p:cNvPr id="167" name="Rectangle 11">
              <a:extLst>
                <a:ext uri="{FF2B5EF4-FFF2-40B4-BE49-F238E27FC236}">
                  <a16:creationId xmlns:a16="http://schemas.microsoft.com/office/drawing/2014/main" id="{9AA663A6-1AA3-4724-9887-C4C5332D2D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95889" y="5760291"/>
              <a:ext cx="786098" cy="392855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228600">
                <a:defRPr/>
              </a:pPr>
              <a:endParaRPr lang="en-US" sz="900">
                <a:solidFill>
                  <a:srgbClr val="272E3A"/>
                </a:solidFill>
                <a:latin typeface="Montserrat Light"/>
              </a:endParaRPr>
            </a:p>
          </p:txBody>
        </p:sp>
      </p:grpSp>
      <p:grpSp>
        <p:nvGrpSpPr>
          <p:cNvPr id="364" name="Group 363">
            <a:extLst>
              <a:ext uri="{FF2B5EF4-FFF2-40B4-BE49-F238E27FC236}">
                <a16:creationId xmlns:a16="http://schemas.microsoft.com/office/drawing/2014/main" id="{CB43DB0F-0AE9-44F5-906F-FCDCDA830570}"/>
              </a:ext>
            </a:extLst>
          </p:cNvPr>
          <p:cNvGrpSpPr/>
          <p:nvPr/>
        </p:nvGrpSpPr>
        <p:grpSpPr>
          <a:xfrm>
            <a:off x="4216748" y="1927333"/>
            <a:ext cx="2715654" cy="2081147"/>
            <a:chOff x="8434594" y="3855068"/>
            <a:chExt cx="5432014" cy="4162835"/>
          </a:xfrm>
          <a:solidFill>
            <a:schemeClr val="accent5"/>
          </a:solidFill>
        </p:grpSpPr>
        <p:sp>
          <p:nvSpPr>
            <p:cNvPr id="162" name="Freeform 6">
              <a:extLst>
                <a:ext uri="{FF2B5EF4-FFF2-40B4-BE49-F238E27FC236}">
                  <a16:creationId xmlns:a16="http://schemas.microsoft.com/office/drawing/2014/main" id="{CC8FFAF8-450B-4318-99C7-12E0D6F5C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4594" y="3962528"/>
              <a:ext cx="5277118" cy="4055375"/>
            </a:xfrm>
            <a:custGeom>
              <a:avLst/>
              <a:gdLst>
                <a:gd name="T0" fmla="*/ 269 w 5451"/>
                <a:gd name="T1" fmla="*/ 4189 h 4189"/>
                <a:gd name="T2" fmla="*/ 0 w 5451"/>
                <a:gd name="T3" fmla="*/ 3912 h 4189"/>
                <a:gd name="T4" fmla="*/ 2226 w 5451"/>
                <a:gd name="T5" fmla="*/ 1755 h 4189"/>
                <a:gd name="T6" fmla="*/ 2707 w 5451"/>
                <a:gd name="T7" fmla="*/ 2368 h 4189"/>
                <a:gd name="T8" fmla="*/ 5184 w 5451"/>
                <a:gd name="T9" fmla="*/ 0 h 4189"/>
                <a:gd name="T10" fmla="*/ 5451 w 5451"/>
                <a:gd name="T11" fmla="*/ 279 h 4189"/>
                <a:gd name="T12" fmla="*/ 2666 w 5451"/>
                <a:gd name="T13" fmla="*/ 2941 h 4189"/>
                <a:gd name="T14" fmla="*/ 2186 w 5451"/>
                <a:gd name="T15" fmla="*/ 2329 h 4189"/>
                <a:gd name="T16" fmla="*/ 269 w 5451"/>
                <a:gd name="T17" fmla="*/ 4189 h 4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51" h="4189">
                  <a:moveTo>
                    <a:pt x="269" y="4189"/>
                  </a:moveTo>
                  <a:lnTo>
                    <a:pt x="0" y="3912"/>
                  </a:lnTo>
                  <a:lnTo>
                    <a:pt x="2226" y="1755"/>
                  </a:lnTo>
                  <a:lnTo>
                    <a:pt x="2707" y="2368"/>
                  </a:lnTo>
                  <a:lnTo>
                    <a:pt x="5184" y="0"/>
                  </a:lnTo>
                  <a:lnTo>
                    <a:pt x="5451" y="279"/>
                  </a:lnTo>
                  <a:lnTo>
                    <a:pt x="2666" y="2941"/>
                  </a:lnTo>
                  <a:lnTo>
                    <a:pt x="2186" y="2329"/>
                  </a:lnTo>
                  <a:lnTo>
                    <a:pt x="269" y="4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228600">
                <a:defRPr/>
              </a:pPr>
              <a:endParaRPr lang="en-US" sz="900">
                <a:solidFill>
                  <a:srgbClr val="272E3A"/>
                </a:solidFill>
                <a:latin typeface="Montserrat Light"/>
              </a:endParaRPr>
            </a:p>
          </p:txBody>
        </p:sp>
        <p:sp>
          <p:nvSpPr>
            <p:cNvPr id="168" name="Freeform 12">
              <a:extLst>
                <a:ext uri="{FF2B5EF4-FFF2-40B4-BE49-F238E27FC236}">
                  <a16:creationId xmlns:a16="http://schemas.microsoft.com/office/drawing/2014/main" id="{40A61771-0D1A-4E48-A239-98AF788F5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7209" y="3855068"/>
              <a:ext cx="989399" cy="1001016"/>
            </a:xfrm>
            <a:custGeom>
              <a:avLst/>
              <a:gdLst>
                <a:gd name="T0" fmla="*/ 1022 w 1022"/>
                <a:gd name="T1" fmla="*/ 0 h 1034"/>
                <a:gd name="T2" fmla="*/ 0 w 1022"/>
                <a:gd name="T3" fmla="*/ 250 h 1034"/>
                <a:gd name="T4" fmla="*/ 728 w 1022"/>
                <a:gd name="T5" fmla="*/ 1034 h 1034"/>
                <a:gd name="T6" fmla="*/ 1022 w 1022"/>
                <a:gd name="T7" fmla="*/ 0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2" h="1034">
                  <a:moveTo>
                    <a:pt x="1022" y="0"/>
                  </a:moveTo>
                  <a:lnTo>
                    <a:pt x="0" y="250"/>
                  </a:lnTo>
                  <a:lnTo>
                    <a:pt x="728" y="1034"/>
                  </a:lnTo>
                  <a:lnTo>
                    <a:pt x="10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228600">
                <a:defRPr/>
              </a:pPr>
              <a:endParaRPr lang="en-US" sz="900">
                <a:solidFill>
                  <a:srgbClr val="272E3A"/>
                </a:solidFill>
                <a:latin typeface="Montserrat Light"/>
              </a:endParaRPr>
            </a:p>
          </p:txBody>
        </p:sp>
      </p:grpSp>
      <p:sp>
        <p:nvSpPr>
          <p:cNvPr id="169" name="Rectangle 13">
            <a:extLst>
              <a:ext uri="{FF2B5EF4-FFF2-40B4-BE49-F238E27FC236}">
                <a16:creationId xmlns:a16="http://schemas.microsoft.com/office/drawing/2014/main" id="{1D20417D-FDBC-4235-96B2-13A0E2B225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604" y="4839970"/>
            <a:ext cx="2411226" cy="15390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70" name="Rectangle 14">
            <a:extLst>
              <a:ext uri="{FF2B5EF4-FFF2-40B4-BE49-F238E27FC236}">
                <a16:creationId xmlns:a16="http://schemas.microsoft.com/office/drawing/2014/main" id="{A1A39DE1-C8EF-41E8-939C-336AB91342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604" y="4839970"/>
            <a:ext cx="2411226" cy="153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71" name="Freeform 15">
            <a:extLst>
              <a:ext uri="{FF2B5EF4-FFF2-40B4-BE49-F238E27FC236}">
                <a16:creationId xmlns:a16="http://schemas.microsoft.com/office/drawing/2014/main" id="{1014C75D-E41F-4719-8400-AA69AA620071}"/>
              </a:ext>
            </a:extLst>
          </p:cNvPr>
          <p:cNvSpPr>
            <a:spLocks/>
          </p:cNvSpPr>
          <p:nvPr/>
        </p:nvSpPr>
        <p:spPr bwMode="auto">
          <a:xfrm>
            <a:off x="1220866" y="3024532"/>
            <a:ext cx="584657" cy="2043395"/>
          </a:xfrm>
          <a:custGeom>
            <a:avLst/>
            <a:gdLst>
              <a:gd name="T0" fmla="*/ 135 w 1208"/>
              <a:gd name="T1" fmla="*/ 4222 h 4222"/>
              <a:gd name="T2" fmla="*/ 0 w 1208"/>
              <a:gd name="T3" fmla="*/ 4222 h 4222"/>
              <a:gd name="T4" fmla="*/ 1082 w 1208"/>
              <a:gd name="T5" fmla="*/ 0 h 4222"/>
              <a:gd name="T6" fmla="*/ 1208 w 1208"/>
              <a:gd name="T7" fmla="*/ 33 h 4222"/>
              <a:gd name="T8" fmla="*/ 135 w 1208"/>
              <a:gd name="T9" fmla="*/ 4222 h 4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08" h="4222">
                <a:moveTo>
                  <a:pt x="135" y="4222"/>
                </a:moveTo>
                <a:lnTo>
                  <a:pt x="0" y="4222"/>
                </a:lnTo>
                <a:lnTo>
                  <a:pt x="1082" y="0"/>
                </a:lnTo>
                <a:lnTo>
                  <a:pt x="1208" y="33"/>
                </a:lnTo>
                <a:lnTo>
                  <a:pt x="135" y="4222"/>
                </a:lnTo>
                <a:close/>
              </a:path>
            </a:pathLst>
          </a:custGeom>
          <a:solidFill>
            <a:srgbClr val="A5C8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72" name="Freeform 16">
            <a:extLst>
              <a:ext uri="{FF2B5EF4-FFF2-40B4-BE49-F238E27FC236}">
                <a16:creationId xmlns:a16="http://schemas.microsoft.com/office/drawing/2014/main" id="{C27B186E-69F9-4688-A41C-9AA090BA870D}"/>
              </a:ext>
            </a:extLst>
          </p:cNvPr>
          <p:cNvSpPr>
            <a:spLocks/>
          </p:cNvSpPr>
          <p:nvPr/>
        </p:nvSpPr>
        <p:spPr bwMode="auto">
          <a:xfrm>
            <a:off x="1220866" y="3024532"/>
            <a:ext cx="584657" cy="2043395"/>
          </a:xfrm>
          <a:custGeom>
            <a:avLst/>
            <a:gdLst>
              <a:gd name="T0" fmla="*/ 135 w 1208"/>
              <a:gd name="T1" fmla="*/ 4222 h 4222"/>
              <a:gd name="T2" fmla="*/ 0 w 1208"/>
              <a:gd name="T3" fmla="*/ 4222 h 4222"/>
              <a:gd name="T4" fmla="*/ 1082 w 1208"/>
              <a:gd name="T5" fmla="*/ 0 h 4222"/>
              <a:gd name="T6" fmla="*/ 1208 w 1208"/>
              <a:gd name="T7" fmla="*/ 33 h 4222"/>
              <a:gd name="T8" fmla="*/ 135 w 1208"/>
              <a:gd name="T9" fmla="*/ 4222 h 4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08" h="4222">
                <a:moveTo>
                  <a:pt x="135" y="4222"/>
                </a:moveTo>
                <a:lnTo>
                  <a:pt x="0" y="4222"/>
                </a:lnTo>
                <a:lnTo>
                  <a:pt x="1082" y="0"/>
                </a:lnTo>
                <a:lnTo>
                  <a:pt x="1208" y="33"/>
                </a:lnTo>
                <a:lnTo>
                  <a:pt x="135" y="4222"/>
                </a:lnTo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73" name="Freeform 17">
            <a:extLst>
              <a:ext uri="{FF2B5EF4-FFF2-40B4-BE49-F238E27FC236}">
                <a16:creationId xmlns:a16="http://schemas.microsoft.com/office/drawing/2014/main" id="{B2219890-6151-4912-9D5E-22120AADE0B4}"/>
              </a:ext>
            </a:extLst>
          </p:cNvPr>
          <p:cNvSpPr>
            <a:spLocks/>
          </p:cNvSpPr>
          <p:nvPr/>
        </p:nvSpPr>
        <p:spPr bwMode="auto">
          <a:xfrm>
            <a:off x="1993794" y="3024532"/>
            <a:ext cx="585141" cy="2043395"/>
          </a:xfrm>
          <a:custGeom>
            <a:avLst/>
            <a:gdLst>
              <a:gd name="T0" fmla="*/ 1074 w 1209"/>
              <a:gd name="T1" fmla="*/ 4222 h 4222"/>
              <a:gd name="T2" fmla="*/ 1209 w 1209"/>
              <a:gd name="T3" fmla="*/ 4222 h 4222"/>
              <a:gd name="T4" fmla="*/ 127 w 1209"/>
              <a:gd name="T5" fmla="*/ 0 h 4222"/>
              <a:gd name="T6" fmla="*/ 0 w 1209"/>
              <a:gd name="T7" fmla="*/ 33 h 4222"/>
              <a:gd name="T8" fmla="*/ 1074 w 1209"/>
              <a:gd name="T9" fmla="*/ 4222 h 4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09" h="4222">
                <a:moveTo>
                  <a:pt x="1074" y="4222"/>
                </a:moveTo>
                <a:lnTo>
                  <a:pt x="1209" y="4222"/>
                </a:lnTo>
                <a:lnTo>
                  <a:pt x="127" y="0"/>
                </a:lnTo>
                <a:lnTo>
                  <a:pt x="0" y="33"/>
                </a:lnTo>
                <a:lnTo>
                  <a:pt x="1074" y="4222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74" name="Freeform 18">
            <a:extLst>
              <a:ext uri="{FF2B5EF4-FFF2-40B4-BE49-F238E27FC236}">
                <a16:creationId xmlns:a16="http://schemas.microsoft.com/office/drawing/2014/main" id="{116FCB06-19DA-421A-89A8-7EF48B5C859E}"/>
              </a:ext>
            </a:extLst>
          </p:cNvPr>
          <p:cNvSpPr>
            <a:spLocks/>
          </p:cNvSpPr>
          <p:nvPr/>
        </p:nvSpPr>
        <p:spPr bwMode="auto">
          <a:xfrm>
            <a:off x="1993794" y="3024532"/>
            <a:ext cx="585141" cy="2043395"/>
          </a:xfrm>
          <a:custGeom>
            <a:avLst/>
            <a:gdLst>
              <a:gd name="T0" fmla="*/ 1074 w 1209"/>
              <a:gd name="T1" fmla="*/ 4222 h 4222"/>
              <a:gd name="T2" fmla="*/ 1209 w 1209"/>
              <a:gd name="T3" fmla="*/ 4222 h 4222"/>
              <a:gd name="T4" fmla="*/ 127 w 1209"/>
              <a:gd name="T5" fmla="*/ 0 h 4222"/>
              <a:gd name="T6" fmla="*/ 0 w 1209"/>
              <a:gd name="T7" fmla="*/ 33 h 4222"/>
              <a:gd name="T8" fmla="*/ 1074 w 1209"/>
              <a:gd name="T9" fmla="*/ 4222 h 4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09" h="4222">
                <a:moveTo>
                  <a:pt x="1074" y="4222"/>
                </a:moveTo>
                <a:lnTo>
                  <a:pt x="1209" y="4222"/>
                </a:lnTo>
                <a:lnTo>
                  <a:pt x="127" y="0"/>
                </a:lnTo>
                <a:lnTo>
                  <a:pt x="0" y="33"/>
                </a:lnTo>
                <a:lnTo>
                  <a:pt x="1074" y="422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75" name="Rectangle 19">
            <a:extLst>
              <a:ext uri="{FF2B5EF4-FFF2-40B4-BE49-F238E27FC236}">
                <a16:creationId xmlns:a16="http://schemas.microsoft.com/office/drawing/2014/main" id="{E00F1414-8670-4861-ADCA-8CDE271262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086" y="1952985"/>
            <a:ext cx="1945630" cy="13391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76" name="Rectangle 20">
            <a:extLst>
              <a:ext uri="{FF2B5EF4-FFF2-40B4-BE49-F238E27FC236}">
                <a16:creationId xmlns:a16="http://schemas.microsoft.com/office/drawing/2014/main" id="{4DFBE275-9B0C-499A-ACC9-488FFCC472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086" y="1952985"/>
            <a:ext cx="1945630" cy="1339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77" name="Rectangle 21">
            <a:extLst>
              <a:ext uri="{FF2B5EF4-FFF2-40B4-BE49-F238E27FC236}">
                <a16:creationId xmlns:a16="http://schemas.microsoft.com/office/drawing/2014/main" id="{1A6F8FD2-A16B-4A3F-8AE3-34E080C6A6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2482" y="2462623"/>
            <a:ext cx="180528" cy="7017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78" name="Rectangle 22">
            <a:extLst>
              <a:ext uri="{FF2B5EF4-FFF2-40B4-BE49-F238E27FC236}">
                <a16:creationId xmlns:a16="http://schemas.microsoft.com/office/drawing/2014/main" id="{B25DB992-2EB0-4BD9-AB3A-6A9FDFF638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3009" y="2338238"/>
            <a:ext cx="180528" cy="8261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79" name="Rectangle 23">
            <a:extLst>
              <a:ext uri="{FF2B5EF4-FFF2-40B4-BE49-F238E27FC236}">
                <a16:creationId xmlns:a16="http://schemas.microsoft.com/office/drawing/2014/main" id="{F6D30734-2BBB-4393-991C-F44D4D074B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3536" y="2129640"/>
            <a:ext cx="181012" cy="10347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80" name="Freeform 24">
            <a:extLst>
              <a:ext uri="{FF2B5EF4-FFF2-40B4-BE49-F238E27FC236}">
                <a16:creationId xmlns:a16="http://schemas.microsoft.com/office/drawing/2014/main" id="{D3AC25D0-4178-475B-96DC-FB2196D88A02}"/>
              </a:ext>
            </a:extLst>
          </p:cNvPr>
          <p:cNvSpPr>
            <a:spLocks/>
          </p:cNvSpPr>
          <p:nvPr/>
        </p:nvSpPr>
        <p:spPr bwMode="auto">
          <a:xfrm>
            <a:off x="1993794" y="2100116"/>
            <a:ext cx="331048" cy="331048"/>
          </a:xfrm>
          <a:custGeom>
            <a:avLst/>
            <a:gdLst>
              <a:gd name="T0" fmla="*/ 506 w 506"/>
              <a:gd name="T1" fmla="*/ 0 h 506"/>
              <a:gd name="T2" fmla="*/ 506 w 506"/>
              <a:gd name="T3" fmla="*/ 179 h 506"/>
              <a:gd name="T4" fmla="*/ 180 w 506"/>
              <a:gd name="T5" fmla="*/ 506 h 506"/>
              <a:gd name="T6" fmla="*/ 0 w 506"/>
              <a:gd name="T7" fmla="*/ 506 h 506"/>
              <a:gd name="T8" fmla="*/ 506 w 506"/>
              <a:gd name="T9" fmla="*/ 0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6" h="506">
                <a:moveTo>
                  <a:pt x="506" y="0"/>
                </a:moveTo>
                <a:cubicBezTo>
                  <a:pt x="506" y="179"/>
                  <a:pt x="506" y="179"/>
                  <a:pt x="506" y="179"/>
                </a:cubicBezTo>
                <a:cubicBezTo>
                  <a:pt x="326" y="179"/>
                  <a:pt x="180" y="326"/>
                  <a:pt x="180" y="506"/>
                </a:cubicBezTo>
                <a:cubicBezTo>
                  <a:pt x="0" y="506"/>
                  <a:pt x="0" y="506"/>
                  <a:pt x="0" y="506"/>
                </a:cubicBezTo>
                <a:cubicBezTo>
                  <a:pt x="0" y="227"/>
                  <a:pt x="227" y="0"/>
                  <a:pt x="50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81" name="Freeform 25">
            <a:extLst>
              <a:ext uri="{FF2B5EF4-FFF2-40B4-BE49-F238E27FC236}">
                <a16:creationId xmlns:a16="http://schemas.microsoft.com/office/drawing/2014/main" id="{A9E6F2FB-528B-4082-A49C-30DC118A6381}"/>
              </a:ext>
            </a:extLst>
          </p:cNvPr>
          <p:cNvSpPr>
            <a:spLocks/>
          </p:cNvSpPr>
          <p:nvPr/>
        </p:nvSpPr>
        <p:spPr bwMode="auto">
          <a:xfrm>
            <a:off x="1993794" y="2431164"/>
            <a:ext cx="662095" cy="331048"/>
          </a:xfrm>
          <a:custGeom>
            <a:avLst/>
            <a:gdLst>
              <a:gd name="T0" fmla="*/ 1012 w 1012"/>
              <a:gd name="T1" fmla="*/ 0 h 506"/>
              <a:gd name="T2" fmla="*/ 506 w 1012"/>
              <a:gd name="T3" fmla="*/ 506 h 506"/>
              <a:gd name="T4" fmla="*/ 0 w 1012"/>
              <a:gd name="T5" fmla="*/ 0 h 506"/>
              <a:gd name="T6" fmla="*/ 180 w 1012"/>
              <a:gd name="T7" fmla="*/ 0 h 506"/>
              <a:gd name="T8" fmla="*/ 506 w 1012"/>
              <a:gd name="T9" fmla="*/ 326 h 506"/>
              <a:gd name="T10" fmla="*/ 832 w 1012"/>
              <a:gd name="T11" fmla="*/ 0 h 506"/>
              <a:gd name="T12" fmla="*/ 1012 w 1012"/>
              <a:gd name="T13" fmla="*/ 0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12" h="506">
                <a:moveTo>
                  <a:pt x="1012" y="0"/>
                </a:moveTo>
                <a:cubicBezTo>
                  <a:pt x="1012" y="279"/>
                  <a:pt x="785" y="506"/>
                  <a:pt x="506" y="506"/>
                </a:cubicBezTo>
                <a:cubicBezTo>
                  <a:pt x="227" y="506"/>
                  <a:pt x="0" y="279"/>
                  <a:pt x="0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0" y="180"/>
                  <a:pt x="326" y="326"/>
                  <a:pt x="506" y="326"/>
                </a:cubicBezTo>
                <a:cubicBezTo>
                  <a:pt x="686" y="326"/>
                  <a:pt x="832" y="180"/>
                  <a:pt x="832" y="0"/>
                </a:cubicBezTo>
                <a:lnTo>
                  <a:pt x="101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82" name="Freeform 26">
            <a:extLst>
              <a:ext uri="{FF2B5EF4-FFF2-40B4-BE49-F238E27FC236}">
                <a16:creationId xmlns:a16="http://schemas.microsoft.com/office/drawing/2014/main" id="{D223A0D3-47C2-436A-B204-124D188A2B8D}"/>
              </a:ext>
            </a:extLst>
          </p:cNvPr>
          <p:cNvSpPr>
            <a:spLocks/>
          </p:cNvSpPr>
          <p:nvPr/>
        </p:nvSpPr>
        <p:spPr bwMode="auto">
          <a:xfrm>
            <a:off x="2324841" y="2100116"/>
            <a:ext cx="331048" cy="331048"/>
          </a:xfrm>
          <a:custGeom>
            <a:avLst/>
            <a:gdLst>
              <a:gd name="T0" fmla="*/ 506 w 506"/>
              <a:gd name="T1" fmla="*/ 506 h 506"/>
              <a:gd name="T2" fmla="*/ 326 w 506"/>
              <a:gd name="T3" fmla="*/ 506 h 506"/>
              <a:gd name="T4" fmla="*/ 0 w 506"/>
              <a:gd name="T5" fmla="*/ 179 h 506"/>
              <a:gd name="T6" fmla="*/ 0 w 506"/>
              <a:gd name="T7" fmla="*/ 0 h 506"/>
              <a:gd name="T8" fmla="*/ 506 w 506"/>
              <a:gd name="T9" fmla="*/ 506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6" h="506">
                <a:moveTo>
                  <a:pt x="506" y="506"/>
                </a:moveTo>
                <a:cubicBezTo>
                  <a:pt x="326" y="506"/>
                  <a:pt x="326" y="506"/>
                  <a:pt x="326" y="506"/>
                </a:cubicBezTo>
                <a:cubicBezTo>
                  <a:pt x="326" y="326"/>
                  <a:pt x="180" y="179"/>
                  <a:pt x="0" y="179"/>
                </a:cubicBezTo>
                <a:cubicBezTo>
                  <a:pt x="0" y="0"/>
                  <a:pt x="0" y="0"/>
                  <a:pt x="0" y="0"/>
                </a:cubicBezTo>
                <a:cubicBezTo>
                  <a:pt x="279" y="0"/>
                  <a:pt x="506" y="227"/>
                  <a:pt x="506" y="50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grpSp>
        <p:nvGrpSpPr>
          <p:cNvPr id="365" name="Group 364">
            <a:extLst>
              <a:ext uri="{FF2B5EF4-FFF2-40B4-BE49-F238E27FC236}">
                <a16:creationId xmlns:a16="http://schemas.microsoft.com/office/drawing/2014/main" id="{1C317362-136C-41DD-8F34-B892C0638995}"/>
              </a:ext>
            </a:extLst>
          </p:cNvPr>
          <p:cNvGrpSpPr/>
          <p:nvPr/>
        </p:nvGrpSpPr>
        <p:grpSpPr>
          <a:xfrm>
            <a:off x="1862150" y="2853201"/>
            <a:ext cx="903605" cy="243447"/>
            <a:chOff x="3724783" y="5707045"/>
            <a:chExt cx="1807445" cy="486956"/>
          </a:xfrm>
          <a:solidFill>
            <a:schemeClr val="bg1">
              <a:lumMod val="85000"/>
            </a:schemeClr>
          </a:solidFill>
        </p:grpSpPr>
        <p:sp>
          <p:nvSpPr>
            <p:cNvPr id="183" name="Freeform 27">
              <a:extLst>
                <a:ext uri="{FF2B5EF4-FFF2-40B4-BE49-F238E27FC236}">
                  <a16:creationId xmlns:a16="http://schemas.microsoft.com/office/drawing/2014/main" id="{C32DC476-325C-4B78-9E71-41404AC8C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783" y="5707045"/>
              <a:ext cx="1807445" cy="61958"/>
            </a:xfrm>
            <a:custGeom>
              <a:avLst/>
              <a:gdLst>
                <a:gd name="T0" fmla="*/ 1357 w 1381"/>
                <a:gd name="T1" fmla="*/ 47 h 47"/>
                <a:gd name="T2" fmla="*/ 23 w 1381"/>
                <a:gd name="T3" fmla="*/ 47 h 47"/>
                <a:gd name="T4" fmla="*/ 0 w 1381"/>
                <a:gd name="T5" fmla="*/ 23 h 47"/>
                <a:gd name="T6" fmla="*/ 23 w 1381"/>
                <a:gd name="T7" fmla="*/ 0 h 47"/>
                <a:gd name="T8" fmla="*/ 1357 w 1381"/>
                <a:gd name="T9" fmla="*/ 0 h 47"/>
                <a:gd name="T10" fmla="*/ 1381 w 1381"/>
                <a:gd name="T11" fmla="*/ 23 h 47"/>
                <a:gd name="T12" fmla="*/ 1357 w 1381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1" h="47">
                  <a:moveTo>
                    <a:pt x="1357" y="47"/>
                  </a:moveTo>
                  <a:cubicBezTo>
                    <a:pt x="23" y="47"/>
                    <a:pt x="23" y="47"/>
                    <a:pt x="23" y="47"/>
                  </a:cubicBezTo>
                  <a:cubicBezTo>
                    <a:pt x="10" y="47"/>
                    <a:pt x="0" y="36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1357" y="0"/>
                    <a:pt x="1357" y="0"/>
                    <a:pt x="1357" y="0"/>
                  </a:cubicBezTo>
                  <a:cubicBezTo>
                    <a:pt x="1370" y="0"/>
                    <a:pt x="1381" y="10"/>
                    <a:pt x="1381" y="23"/>
                  </a:cubicBezTo>
                  <a:cubicBezTo>
                    <a:pt x="1381" y="36"/>
                    <a:pt x="1370" y="47"/>
                    <a:pt x="1357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228600">
                <a:defRPr/>
              </a:pPr>
              <a:endParaRPr lang="en-US" sz="900">
                <a:solidFill>
                  <a:srgbClr val="272E3A"/>
                </a:solidFill>
                <a:latin typeface="Montserrat Light"/>
              </a:endParaRPr>
            </a:p>
          </p:txBody>
        </p:sp>
        <p:sp>
          <p:nvSpPr>
            <p:cNvPr id="184" name="Freeform 28">
              <a:extLst>
                <a:ext uri="{FF2B5EF4-FFF2-40B4-BE49-F238E27FC236}">
                  <a16:creationId xmlns:a16="http://schemas.microsoft.com/office/drawing/2014/main" id="{E097756B-97A7-41CA-9B82-C0873D833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783" y="5919060"/>
              <a:ext cx="1807445" cy="61958"/>
            </a:xfrm>
            <a:custGeom>
              <a:avLst/>
              <a:gdLst>
                <a:gd name="T0" fmla="*/ 1357 w 1381"/>
                <a:gd name="T1" fmla="*/ 47 h 47"/>
                <a:gd name="T2" fmla="*/ 23 w 1381"/>
                <a:gd name="T3" fmla="*/ 47 h 47"/>
                <a:gd name="T4" fmla="*/ 0 w 1381"/>
                <a:gd name="T5" fmla="*/ 24 h 47"/>
                <a:gd name="T6" fmla="*/ 23 w 1381"/>
                <a:gd name="T7" fmla="*/ 0 h 47"/>
                <a:gd name="T8" fmla="*/ 1357 w 1381"/>
                <a:gd name="T9" fmla="*/ 0 h 47"/>
                <a:gd name="T10" fmla="*/ 1381 w 1381"/>
                <a:gd name="T11" fmla="*/ 24 h 47"/>
                <a:gd name="T12" fmla="*/ 1357 w 1381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1" h="47">
                  <a:moveTo>
                    <a:pt x="1357" y="47"/>
                  </a:moveTo>
                  <a:cubicBezTo>
                    <a:pt x="23" y="47"/>
                    <a:pt x="23" y="47"/>
                    <a:pt x="23" y="47"/>
                  </a:cubicBezTo>
                  <a:cubicBezTo>
                    <a:pt x="10" y="47"/>
                    <a:pt x="0" y="37"/>
                    <a:pt x="0" y="24"/>
                  </a:cubicBezTo>
                  <a:cubicBezTo>
                    <a:pt x="0" y="11"/>
                    <a:pt x="10" y="0"/>
                    <a:pt x="23" y="0"/>
                  </a:cubicBezTo>
                  <a:cubicBezTo>
                    <a:pt x="1357" y="0"/>
                    <a:pt x="1357" y="0"/>
                    <a:pt x="1357" y="0"/>
                  </a:cubicBezTo>
                  <a:cubicBezTo>
                    <a:pt x="1370" y="0"/>
                    <a:pt x="1381" y="11"/>
                    <a:pt x="1381" y="24"/>
                  </a:cubicBezTo>
                  <a:cubicBezTo>
                    <a:pt x="1381" y="37"/>
                    <a:pt x="1370" y="47"/>
                    <a:pt x="1357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228600">
                <a:defRPr/>
              </a:pPr>
              <a:endParaRPr lang="en-US" sz="900">
                <a:solidFill>
                  <a:srgbClr val="272E3A"/>
                </a:solidFill>
                <a:latin typeface="Montserrat Light"/>
              </a:endParaRPr>
            </a:p>
          </p:txBody>
        </p:sp>
        <p:sp>
          <p:nvSpPr>
            <p:cNvPr id="185" name="Freeform 29">
              <a:extLst>
                <a:ext uri="{FF2B5EF4-FFF2-40B4-BE49-F238E27FC236}">
                  <a16:creationId xmlns:a16="http://schemas.microsoft.com/office/drawing/2014/main" id="{8630F4A2-AE9E-488D-9022-D17EC6CD0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783" y="6131074"/>
              <a:ext cx="1807445" cy="62927"/>
            </a:xfrm>
            <a:custGeom>
              <a:avLst/>
              <a:gdLst>
                <a:gd name="T0" fmla="*/ 1357 w 1381"/>
                <a:gd name="T1" fmla="*/ 48 h 48"/>
                <a:gd name="T2" fmla="*/ 23 w 1381"/>
                <a:gd name="T3" fmla="*/ 48 h 48"/>
                <a:gd name="T4" fmla="*/ 0 w 1381"/>
                <a:gd name="T5" fmla="*/ 24 h 48"/>
                <a:gd name="T6" fmla="*/ 23 w 1381"/>
                <a:gd name="T7" fmla="*/ 0 h 48"/>
                <a:gd name="T8" fmla="*/ 1357 w 1381"/>
                <a:gd name="T9" fmla="*/ 0 h 48"/>
                <a:gd name="T10" fmla="*/ 1381 w 1381"/>
                <a:gd name="T11" fmla="*/ 24 h 48"/>
                <a:gd name="T12" fmla="*/ 1357 w 1381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1" h="48">
                  <a:moveTo>
                    <a:pt x="1357" y="48"/>
                  </a:moveTo>
                  <a:cubicBezTo>
                    <a:pt x="23" y="48"/>
                    <a:pt x="23" y="48"/>
                    <a:pt x="23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3" y="0"/>
                  </a:cubicBezTo>
                  <a:cubicBezTo>
                    <a:pt x="1357" y="0"/>
                    <a:pt x="1357" y="0"/>
                    <a:pt x="1357" y="0"/>
                  </a:cubicBezTo>
                  <a:cubicBezTo>
                    <a:pt x="1370" y="0"/>
                    <a:pt x="1381" y="11"/>
                    <a:pt x="1381" y="24"/>
                  </a:cubicBezTo>
                  <a:cubicBezTo>
                    <a:pt x="1381" y="37"/>
                    <a:pt x="1370" y="48"/>
                    <a:pt x="135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228600">
                <a:defRPr/>
              </a:pPr>
              <a:endParaRPr lang="en-US" sz="900">
                <a:solidFill>
                  <a:srgbClr val="272E3A"/>
                </a:solidFill>
                <a:latin typeface="Montserrat Light"/>
              </a:endParaRPr>
            </a:p>
          </p:txBody>
        </p:sp>
      </p:grpSp>
      <p:sp>
        <p:nvSpPr>
          <p:cNvPr id="186" name="Rectangle 30">
            <a:extLst>
              <a:ext uri="{FF2B5EF4-FFF2-40B4-BE49-F238E27FC236}">
                <a16:creationId xmlns:a16="http://schemas.microsoft.com/office/drawing/2014/main" id="{31823EC2-B433-4566-B4B7-5F4F696624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302" y="1916201"/>
            <a:ext cx="2002257" cy="8663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87" name="Rectangle 31">
            <a:extLst>
              <a:ext uri="{FF2B5EF4-FFF2-40B4-BE49-F238E27FC236}">
                <a16:creationId xmlns:a16="http://schemas.microsoft.com/office/drawing/2014/main" id="{A3358DD3-1D35-4BE1-B6C8-B358392BFB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302" y="1916201"/>
            <a:ext cx="2002257" cy="86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88" name="Rectangle 32">
            <a:extLst>
              <a:ext uri="{FF2B5EF4-FFF2-40B4-BE49-F238E27FC236}">
                <a16:creationId xmlns:a16="http://schemas.microsoft.com/office/drawing/2014/main" id="{21B1DB4A-9CA8-4437-8048-E315949225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086" y="2002835"/>
            <a:ext cx="1945630" cy="396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89" name="Rectangle 33">
            <a:extLst>
              <a:ext uri="{FF2B5EF4-FFF2-40B4-BE49-F238E27FC236}">
                <a16:creationId xmlns:a16="http://schemas.microsoft.com/office/drawing/2014/main" id="{B078CB74-DA69-45AF-9572-793A8B74B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086" y="2002835"/>
            <a:ext cx="1945630" cy="3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90" name="Freeform 34">
            <a:extLst>
              <a:ext uri="{FF2B5EF4-FFF2-40B4-BE49-F238E27FC236}">
                <a16:creationId xmlns:a16="http://schemas.microsoft.com/office/drawing/2014/main" id="{03FFC671-27B7-48B0-8876-94B86188AC20}"/>
              </a:ext>
            </a:extLst>
          </p:cNvPr>
          <p:cNvSpPr>
            <a:spLocks/>
          </p:cNvSpPr>
          <p:nvPr/>
        </p:nvSpPr>
        <p:spPr bwMode="auto">
          <a:xfrm>
            <a:off x="1656939" y="3292178"/>
            <a:ext cx="18876" cy="74050"/>
          </a:xfrm>
          <a:custGeom>
            <a:avLst/>
            <a:gdLst>
              <a:gd name="T0" fmla="*/ 39 w 39"/>
              <a:gd name="T1" fmla="*/ 0 h 153"/>
              <a:gd name="T2" fmla="*/ 39 w 39"/>
              <a:gd name="T3" fmla="*/ 0 h 153"/>
              <a:gd name="T4" fmla="*/ 0 w 39"/>
              <a:gd name="T5" fmla="*/ 153 h 153"/>
              <a:gd name="T6" fmla="*/ 0 w 39"/>
              <a:gd name="T7" fmla="*/ 153 h 153"/>
              <a:gd name="T8" fmla="*/ 39 w 39"/>
              <a:gd name="T9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" h="153">
                <a:moveTo>
                  <a:pt x="39" y="0"/>
                </a:moveTo>
                <a:lnTo>
                  <a:pt x="39" y="0"/>
                </a:lnTo>
                <a:lnTo>
                  <a:pt x="0" y="153"/>
                </a:lnTo>
                <a:lnTo>
                  <a:pt x="0" y="153"/>
                </a:lnTo>
                <a:lnTo>
                  <a:pt x="39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91" name="Freeform 35">
            <a:extLst>
              <a:ext uri="{FF2B5EF4-FFF2-40B4-BE49-F238E27FC236}">
                <a16:creationId xmlns:a16="http://schemas.microsoft.com/office/drawing/2014/main" id="{79210B1B-B2EB-4D61-9662-DD681F5F2EB4}"/>
              </a:ext>
            </a:extLst>
          </p:cNvPr>
          <p:cNvSpPr>
            <a:spLocks/>
          </p:cNvSpPr>
          <p:nvPr/>
        </p:nvSpPr>
        <p:spPr bwMode="auto">
          <a:xfrm>
            <a:off x="1656939" y="3292178"/>
            <a:ext cx="18876" cy="74050"/>
          </a:xfrm>
          <a:custGeom>
            <a:avLst/>
            <a:gdLst>
              <a:gd name="T0" fmla="*/ 39 w 39"/>
              <a:gd name="T1" fmla="*/ 0 h 153"/>
              <a:gd name="T2" fmla="*/ 39 w 39"/>
              <a:gd name="T3" fmla="*/ 0 h 153"/>
              <a:gd name="T4" fmla="*/ 0 w 39"/>
              <a:gd name="T5" fmla="*/ 153 h 153"/>
              <a:gd name="T6" fmla="*/ 0 w 39"/>
              <a:gd name="T7" fmla="*/ 153 h 153"/>
              <a:gd name="T8" fmla="*/ 39 w 39"/>
              <a:gd name="T9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" h="153">
                <a:moveTo>
                  <a:pt x="39" y="0"/>
                </a:moveTo>
                <a:lnTo>
                  <a:pt x="39" y="0"/>
                </a:lnTo>
                <a:lnTo>
                  <a:pt x="0" y="153"/>
                </a:lnTo>
                <a:lnTo>
                  <a:pt x="0" y="153"/>
                </a:lnTo>
                <a:lnTo>
                  <a:pt x="3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92" name="Freeform 36">
            <a:extLst>
              <a:ext uri="{FF2B5EF4-FFF2-40B4-BE49-F238E27FC236}">
                <a16:creationId xmlns:a16="http://schemas.microsoft.com/office/drawing/2014/main" id="{1BFDB534-5770-4574-9568-06E0B9D91F53}"/>
              </a:ext>
            </a:extLst>
          </p:cNvPr>
          <p:cNvSpPr>
            <a:spLocks/>
          </p:cNvSpPr>
          <p:nvPr/>
        </p:nvSpPr>
        <p:spPr bwMode="auto">
          <a:xfrm>
            <a:off x="1656939" y="3292178"/>
            <a:ext cx="84214" cy="74050"/>
          </a:xfrm>
          <a:custGeom>
            <a:avLst/>
            <a:gdLst>
              <a:gd name="T0" fmla="*/ 174 w 174"/>
              <a:gd name="T1" fmla="*/ 0 h 153"/>
              <a:gd name="T2" fmla="*/ 39 w 174"/>
              <a:gd name="T3" fmla="*/ 0 h 153"/>
              <a:gd name="T4" fmla="*/ 0 w 174"/>
              <a:gd name="T5" fmla="*/ 153 h 153"/>
              <a:gd name="T6" fmla="*/ 135 w 174"/>
              <a:gd name="T7" fmla="*/ 153 h 153"/>
              <a:gd name="T8" fmla="*/ 174 w 174"/>
              <a:gd name="T9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4" h="153">
                <a:moveTo>
                  <a:pt x="174" y="0"/>
                </a:moveTo>
                <a:lnTo>
                  <a:pt x="39" y="0"/>
                </a:lnTo>
                <a:lnTo>
                  <a:pt x="0" y="153"/>
                </a:lnTo>
                <a:lnTo>
                  <a:pt x="135" y="153"/>
                </a:lnTo>
                <a:lnTo>
                  <a:pt x="174" y="0"/>
                </a:lnTo>
                <a:close/>
              </a:path>
            </a:pathLst>
          </a:custGeom>
          <a:solidFill>
            <a:srgbClr val="8CAA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93" name="Freeform 37">
            <a:extLst>
              <a:ext uri="{FF2B5EF4-FFF2-40B4-BE49-F238E27FC236}">
                <a16:creationId xmlns:a16="http://schemas.microsoft.com/office/drawing/2014/main" id="{508852C7-059D-4B71-B1F0-4FDDEB308CC5}"/>
              </a:ext>
            </a:extLst>
          </p:cNvPr>
          <p:cNvSpPr>
            <a:spLocks/>
          </p:cNvSpPr>
          <p:nvPr/>
        </p:nvSpPr>
        <p:spPr bwMode="auto">
          <a:xfrm>
            <a:off x="1656939" y="3292178"/>
            <a:ext cx="84214" cy="74050"/>
          </a:xfrm>
          <a:custGeom>
            <a:avLst/>
            <a:gdLst>
              <a:gd name="T0" fmla="*/ 174 w 174"/>
              <a:gd name="T1" fmla="*/ 0 h 153"/>
              <a:gd name="T2" fmla="*/ 39 w 174"/>
              <a:gd name="T3" fmla="*/ 0 h 153"/>
              <a:gd name="T4" fmla="*/ 0 w 174"/>
              <a:gd name="T5" fmla="*/ 153 h 153"/>
              <a:gd name="T6" fmla="*/ 135 w 174"/>
              <a:gd name="T7" fmla="*/ 153 h 153"/>
              <a:gd name="T8" fmla="*/ 174 w 174"/>
              <a:gd name="T9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4" h="153">
                <a:moveTo>
                  <a:pt x="174" y="0"/>
                </a:moveTo>
                <a:lnTo>
                  <a:pt x="39" y="0"/>
                </a:lnTo>
                <a:lnTo>
                  <a:pt x="0" y="153"/>
                </a:lnTo>
                <a:lnTo>
                  <a:pt x="135" y="153"/>
                </a:lnTo>
                <a:lnTo>
                  <a:pt x="174" y="0"/>
                </a:lnTo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94" name="Rectangle 38">
            <a:extLst>
              <a:ext uri="{FF2B5EF4-FFF2-40B4-BE49-F238E27FC236}">
                <a16:creationId xmlns:a16="http://schemas.microsoft.com/office/drawing/2014/main" id="{7B530E2B-1BCF-4A49-AF91-776DBE61BC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5814" y="3292178"/>
            <a:ext cx="65339" cy="484"/>
          </a:xfrm>
          <a:prstGeom prst="rect">
            <a:avLst/>
          </a:prstGeom>
          <a:solidFill>
            <a:srgbClr val="AA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95" name="Freeform 39">
            <a:extLst>
              <a:ext uri="{FF2B5EF4-FFF2-40B4-BE49-F238E27FC236}">
                <a16:creationId xmlns:a16="http://schemas.microsoft.com/office/drawing/2014/main" id="{D2B2FE1B-6E53-48B2-8405-2F198B5F6D5B}"/>
              </a:ext>
            </a:extLst>
          </p:cNvPr>
          <p:cNvSpPr>
            <a:spLocks/>
          </p:cNvSpPr>
          <p:nvPr/>
        </p:nvSpPr>
        <p:spPr bwMode="auto">
          <a:xfrm>
            <a:off x="1675814" y="3292178"/>
            <a:ext cx="65339" cy="0"/>
          </a:xfrm>
          <a:custGeom>
            <a:avLst/>
            <a:gdLst>
              <a:gd name="T0" fmla="*/ 135 w 135"/>
              <a:gd name="T1" fmla="*/ 0 w 135"/>
              <a:gd name="T2" fmla="*/ 0 w 135"/>
              <a:gd name="T3" fmla="*/ 135 w 135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35">
                <a:moveTo>
                  <a:pt x="135" y="0"/>
                </a:moveTo>
                <a:lnTo>
                  <a:pt x="0" y="0"/>
                </a:lnTo>
                <a:lnTo>
                  <a:pt x="0" y="0"/>
                </a:lnTo>
                <a:lnTo>
                  <a:pt x="13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96" name="Freeform 40">
            <a:extLst>
              <a:ext uri="{FF2B5EF4-FFF2-40B4-BE49-F238E27FC236}">
                <a16:creationId xmlns:a16="http://schemas.microsoft.com/office/drawing/2014/main" id="{13D908BE-EE30-4C84-8CEB-FAECF64774D5}"/>
              </a:ext>
            </a:extLst>
          </p:cNvPr>
          <p:cNvSpPr>
            <a:spLocks/>
          </p:cNvSpPr>
          <p:nvPr/>
        </p:nvSpPr>
        <p:spPr bwMode="auto">
          <a:xfrm>
            <a:off x="2123986" y="3292178"/>
            <a:ext cx="18876" cy="74050"/>
          </a:xfrm>
          <a:custGeom>
            <a:avLst/>
            <a:gdLst>
              <a:gd name="T0" fmla="*/ 0 w 39"/>
              <a:gd name="T1" fmla="*/ 0 h 153"/>
              <a:gd name="T2" fmla="*/ 0 w 39"/>
              <a:gd name="T3" fmla="*/ 0 h 153"/>
              <a:gd name="T4" fmla="*/ 39 w 39"/>
              <a:gd name="T5" fmla="*/ 153 h 153"/>
              <a:gd name="T6" fmla="*/ 39 w 39"/>
              <a:gd name="T7" fmla="*/ 153 h 153"/>
              <a:gd name="T8" fmla="*/ 0 w 39"/>
              <a:gd name="T9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" h="153">
                <a:moveTo>
                  <a:pt x="0" y="0"/>
                </a:moveTo>
                <a:lnTo>
                  <a:pt x="0" y="0"/>
                </a:lnTo>
                <a:lnTo>
                  <a:pt x="39" y="153"/>
                </a:lnTo>
                <a:lnTo>
                  <a:pt x="39" y="15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97" name="Freeform 41">
            <a:extLst>
              <a:ext uri="{FF2B5EF4-FFF2-40B4-BE49-F238E27FC236}">
                <a16:creationId xmlns:a16="http://schemas.microsoft.com/office/drawing/2014/main" id="{5ACAA9CA-9574-4AEF-9DF5-6C6D9ACA4B72}"/>
              </a:ext>
            </a:extLst>
          </p:cNvPr>
          <p:cNvSpPr>
            <a:spLocks/>
          </p:cNvSpPr>
          <p:nvPr/>
        </p:nvSpPr>
        <p:spPr bwMode="auto">
          <a:xfrm>
            <a:off x="2123986" y="3292178"/>
            <a:ext cx="18876" cy="74050"/>
          </a:xfrm>
          <a:custGeom>
            <a:avLst/>
            <a:gdLst>
              <a:gd name="T0" fmla="*/ 0 w 39"/>
              <a:gd name="T1" fmla="*/ 0 h 153"/>
              <a:gd name="T2" fmla="*/ 0 w 39"/>
              <a:gd name="T3" fmla="*/ 0 h 153"/>
              <a:gd name="T4" fmla="*/ 39 w 39"/>
              <a:gd name="T5" fmla="*/ 153 h 153"/>
              <a:gd name="T6" fmla="*/ 39 w 39"/>
              <a:gd name="T7" fmla="*/ 153 h 153"/>
              <a:gd name="T8" fmla="*/ 0 w 39"/>
              <a:gd name="T9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" h="153">
                <a:moveTo>
                  <a:pt x="0" y="0"/>
                </a:moveTo>
                <a:lnTo>
                  <a:pt x="0" y="0"/>
                </a:lnTo>
                <a:lnTo>
                  <a:pt x="39" y="153"/>
                </a:lnTo>
                <a:lnTo>
                  <a:pt x="39" y="15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98" name="Freeform 42">
            <a:extLst>
              <a:ext uri="{FF2B5EF4-FFF2-40B4-BE49-F238E27FC236}">
                <a16:creationId xmlns:a16="http://schemas.microsoft.com/office/drawing/2014/main" id="{B5B5579A-5CE3-48DF-993E-15F46B950480}"/>
              </a:ext>
            </a:extLst>
          </p:cNvPr>
          <p:cNvSpPr>
            <a:spLocks/>
          </p:cNvSpPr>
          <p:nvPr/>
        </p:nvSpPr>
        <p:spPr bwMode="auto">
          <a:xfrm>
            <a:off x="2058648" y="3292178"/>
            <a:ext cx="84214" cy="74050"/>
          </a:xfrm>
          <a:custGeom>
            <a:avLst/>
            <a:gdLst>
              <a:gd name="T0" fmla="*/ 135 w 174"/>
              <a:gd name="T1" fmla="*/ 0 h 153"/>
              <a:gd name="T2" fmla="*/ 0 w 174"/>
              <a:gd name="T3" fmla="*/ 0 h 153"/>
              <a:gd name="T4" fmla="*/ 39 w 174"/>
              <a:gd name="T5" fmla="*/ 153 h 153"/>
              <a:gd name="T6" fmla="*/ 174 w 174"/>
              <a:gd name="T7" fmla="*/ 153 h 153"/>
              <a:gd name="T8" fmla="*/ 135 w 174"/>
              <a:gd name="T9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4" h="153">
                <a:moveTo>
                  <a:pt x="135" y="0"/>
                </a:moveTo>
                <a:lnTo>
                  <a:pt x="0" y="0"/>
                </a:lnTo>
                <a:lnTo>
                  <a:pt x="39" y="153"/>
                </a:lnTo>
                <a:lnTo>
                  <a:pt x="174" y="153"/>
                </a:lnTo>
                <a:lnTo>
                  <a:pt x="135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99" name="Freeform 43">
            <a:extLst>
              <a:ext uri="{FF2B5EF4-FFF2-40B4-BE49-F238E27FC236}">
                <a16:creationId xmlns:a16="http://schemas.microsoft.com/office/drawing/2014/main" id="{3FEBF4CA-96A2-4C64-BAC1-BF758FE3C671}"/>
              </a:ext>
            </a:extLst>
          </p:cNvPr>
          <p:cNvSpPr>
            <a:spLocks/>
          </p:cNvSpPr>
          <p:nvPr/>
        </p:nvSpPr>
        <p:spPr bwMode="auto">
          <a:xfrm>
            <a:off x="2058648" y="3292178"/>
            <a:ext cx="84214" cy="74050"/>
          </a:xfrm>
          <a:custGeom>
            <a:avLst/>
            <a:gdLst>
              <a:gd name="T0" fmla="*/ 135 w 174"/>
              <a:gd name="T1" fmla="*/ 0 h 153"/>
              <a:gd name="T2" fmla="*/ 0 w 174"/>
              <a:gd name="T3" fmla="*/ 0 h 153"/>
              <a:gd name="T4" fmla="*/ 39 w 174"/>
              <a:gd name="T5" fmla="*/ 153 h 153"/>
              <a:gd name="T6" fmla="*/ 174 w 174"/>
              <a:gd name="T7" fmla="*/ 153 h 153"/>
              <a:gd name="T8" fmla="*/ 135 w 174"/>
              <a:gd name="T9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4" h="153">
                <a:moveTo>
                  <a:pt x="135" y="0"/>
                </a:moveTo>
                <a:lnTo>
                  <a:pt x="0" y="0"/>
                </a:lnTo>
                <a:lnTo>
                  <a:pt x="39" y="153"/>
                </a:lnTo>
                <a:lnTo>
                  <a:pt x="174" y="153"/>
                </a:lnTo>
                <a:lnTo>
                  <a:pt x="13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00" name="Freeform 44">
            <a:extLst>
              <a:ext uri="{FF2B5EF4-FFF2-40B4-BE49-F238E27FC236}">
                <a16:creationId xmlns:a16="http://schemas.microsoft.com/office/drawing/2014/main" id="{39EF1E76-3264-49A7-8535-915A2ED10F18}"/>
              </a:ext>
            </a:extLst>
          </p:cNvPr>
          <p:cNvSpPr>
            <a:spLocks/>
          </p:cNvSpPr>
          <p:nvPr/>
        </p:nvSpPr>
        <p:spPr bwMode="auto">
          <a:xfrm>
            <a:off x="2058648" y="3292178"/>
            <a:ext cx="65339" cy="0"/>
          </a:xfrm>
          <a:custGeom>
            <a:avLst/>
            <a:gdLst>
              <a:gd name="T0" fmla="*/ 135 w 135"/>
              <a:gd name="T1" fmla="*/ 0 w 135"/>
              <a:gd name="T2" fmla="*/ 135 w 135"/>
              <a:gd name="T3" fmla="*/ 135 w 135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35">
                <a:moveTo>
                  <a:pt x="135" y="0"/>
                </a:moveTo>
                <a:lnTo>
                  <a:pt x="0" y="0"/>
                </a:lnTo>
                <a:lnTo>
                  <a:pt x="135" y="0"/>
                </a:lnTo>
                <a:lnTo>
                  <a:pt x="135" y="0"/>
                </a:lnTo>
                <a:close/>
              </a:path>
            </a:pathLst>
          </a:custGeom>
          <a:solidFill>
            <a:srgbClr val="AA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01" name="Freeform 45">
            <a:extLst>
              <a:ext uri="{FF2B5EF4-FFF2-40B4-BE49-F238E27FC236}">
                <a16:creationId xmlns:a16="http://schemas.microsoft.com/office/drawing/2014/main" id="{131A58F8-221B-4BEF-9325-7CBADE47E577}"/>
              </a:ext>
            </a:extLst>
          </p:cNvPr>
          <p:cNvSpPr>
            <a:spLocks/>
          </p:cNvSpPr>
          <p:nvPr/>
        </p:nvSpPr>
        <p:spPr bwMode="auto">
          <a:xfrm>
            <a:off x="2058648" y="3292178"/>
            <a:ext cx="65339" cy="0"/>
          </a:xfrm>
          <a:custGeom>
            <a:avLst/>
            <a:gdLst>
              <a:gd name="T0" fmla="*/ 135 w 135"/>
              <a:gd name="T1" fmla="*/ 0 w 135"/>
              <a:gd name="T2" fmla="*/ 135 w 135"/>
              <a:gd name="T3" fmla="*/ 135 w 135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35">
                <a:moveTo>
                  <a:pt x="135" y="0"/>
                </a:moveTo>
                <a:lnTo>
                  <a:pt x="0" y="0"/>
                </a:lnTo>
                <a:lnTo>
                  <a:pt x="135" y="0"/>
                </a:lnTo>
                <a:lnTo>
                  <a:pt x="13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02" name="Rectangle 46">
            <a:extLst>
              <a:ext uri="{FF2B5EF4-FFF2-40B4-BE49-F238E27FC236}">
                <a16:creationId xmlns:a16="http://schemas.microsoft.com/office/drawing/2014/main" id="{D52F31DE-FA8A-4FF2-B970-80FA83E592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1955" y="2978070"/>
            <a:ext cx="180528" cy="1863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03" name="Freeform 47">
            <a:extLst>
              <a:ext uri="{FF2B5EF4-FFF2-40B4-BE49-F238E27FC236}">
                <a16:creationId xmlns:a16="http://schemas.microsoft.com/office/drawing/2014/main" id="{4A066985-2888-4D6B-84F7-21E17CD9A1DD}"/>
              </a:ext>
            </a:extLst>
          </p:cNvPr>
          <p:cNvSpPr>
            <a:spLocks/>
          </p:cNvSpPr>
          <p:nvPr/>
        </p:nvSpPr>
        <p:spPr bwMode="auto">
          <a:xfrm>
            <a:off x="3021784" y="3840535"/>
            <a:ext cx="94862" cy="852302"/>
          </a:xfrm>
          <a:custGeom>
            <a:avLst/>
            <a:gdLst>
              <a:gd name="T0" fmla="*/ 196 w 196"/>
              <a:gd name="T1" fmla="*/ 192 h 1761"/>
              <a:gd name="T2" fmla="*/ 30 w 196"/>
              <a:gd name="T3" fmla="*/ 0 h 1761"/>
              <a:gd name="T4" fmla="*/ 0 w 196"/>
              <a:gd name="T5" fmla="*/ 1761 h 1761"/>
              <a:gd name="T6" fmla="*/ 177 w 196"/>
              <a:gd name="T7" fmla="*/ 1761 h 1761"/>
              <a:gd name="T8" fmla="*/ 196 w 196"/>
              <a:gd name="T9" fmla="*/ 192 h 17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6" h="1761">
                <a:moveTo>
                  <a:pt x="196" y="192"/>
                </a:moveTo>
                <a:lnTo>
                  <a:pt x="30" y="0"/>
                </a:lnTo>
                <a:lnTo>
                  <a:pt x="0" y="1761"/>
                </a:lnTo>
                <a:lnTo>
                  <a:pt x="177" y="1761"/>
                </a:lnTo>
                <a:lnTo>
                  <a:pt x="196" y="192"/>
                </a:ln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04" name="Freeform 48">
            <a:extLst>
              <a:ext uri="{FF2B5EF4-FFF2-40B4-BE49-F238E27FC236}">
                <a16:creationId xmlns:a16="http://schemas.microsoft.com/office/drawing/2014/main" id="{5A7339A0-F9C8-48CB-8BC7-A5D97A4CFDBA}"/>
              </a:ext>
            </a:extLst>
          </p:cNvPr>
          <p:cNvSpPr>
            <a:spLocks/>
          </p:cNvSpPr>
          <p:nvPr/>
        </p:nvSpPr>
        <p:spPr bwMode="auto">
          <a:xfrm>
            <a:off x="2719775" y="3455765"/>
            <a:ext cx="266678" cy="268129"/>
          </a:xfrm>
          <a:custGeom>
            <a:avLst/>
            <a:gdLst>
              <a:gd name="T0" fmla="*/ 408 w 408"/>
              <a:gd name="T1" fmla="*/ 155 h 410"/>
              <a:gd name="T2" fmla="*/ 0 w 408"/>
              <a:gd name="T3" fmla="*/ 221 h 410"/>
              <a:gd name="T4" fmla="*/ 408 w 408"/>
              <a:gd name="T5" fmla="*/ 155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08" h="410">
                <a:moveTo>
                  <a:pt x="408" y="155"/>
                </a:moveTo>
                <a:cubicBezTo>
                  <a:pt x="408" y="155"/>
                  <a:pt x="296" y="410"/>
                  <a:pt x="0" y="221"/>
                </a:cubicBezTo>
                <a:cubicBezTo>
                  <a:pt x="73" y="21"/>
                  <a:pt x="300" y="0"/>
                  <a:pt x="408" y="155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05" name="Freeform 49">
            <a:extLst>
              <a:ext uri="{FF2B5EF4-FFF2-40B4-BE49-F238E27FC236}">
                <a16:creationId xmlns:a16="http://schemas.microsoft.com/office/drawing/2014/main" id="{E92DF5E1-AF7F-437B-AF54-5D25FE8C255F}"/>
              </a:ext>
            </a:extLst>
          </p:cNvPr>
          <p:cNvSpPr>
            <a:spLocks/>
          </p:cNvSpPr>
          <p:nvPr/>
        </p:nvSpPr>
        <p:spPr bwMode="auto">
          <a:xfrm>
            <a:off x="2726067" y="3540947"/>
            <a:ext cx="290393" cy="57595"/>
          </a:xfrm>
          <a:custGeom>
            <a:avLst/>
            <a:gdLst>
              <a:gd name="T0" fmla="*/ 444 w 444"/>
              <a:gd name="T1" fmla="*/ 22 h 88"/>
              <a:gd name="T2" fmla="*/ 443 w 444"/>
              <a:gd name="T3" fmla="*/ 28 h 88"/>
              <a:gd name="T4" fmla="*/ 3 w 444"/>
              <a:gd name="T5" fmla="*/ 88 h 88"/>
              <a:gd name="T6" fmla="*/ 0 w 444"/>
              <a:gd name="T7" fmla="*/ 82 h 88"/>
              <a:gd name="T8" fmla="*/ 444 w 444"/>
              <a:gd name="T9" fmla="*/ 22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4" h="88">
                <a:moveTo>
                  <a:pt x="444" y="22"/>
                </a:moveTo>
                <a:cubicBezTo>
                  <a:pt x="443" y="28"/>
                  <a:pt x="443" y="28"/>
                  <a:pt x="443" y="28"/>
                </a:cubicBezTo>
                <a:cubicBezTo>
                  <a:pt x="181" y="7"/>
                  <a:pt x="5" y="87"/>
                  <a:pt x="3" y="88"/>
                </a:cubicBezTo>
                <a:cubicBezTo>
                  <a:pt x="0" y="82"/>
                  <a:pt x="0" y="82"/>
                  <a:pt x="0" y="82"/>
                </a:cubicBezTo>
                <a:cubicBezTo>
                  <a:pt x="2" y="81"/>
                  <a:pt x="180" y="0"/>
                  <a:pt x="444" y="22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06" name="Freeform 50">
            <a:extLst>
              <a:ext uri="{FF2B5EF4-FFF2-40B4-BE49-F238E27FC236}">
                <a16:creationId xmlns:a16="http://schemas.microsoft.com/office/drawing/2014/main" id="{8723BBB6-5500-4967-9F7E-5BE9D2E5FAA8}"/>
              </a:ext>
            </a:extLst>
          </p:cNvPr>
          <p:cNvSpPr>
            <a:spLocks/>
          </p:cNvSpPr>
          <p:nvPr/>
        </p:nvSpPr>
        <p:spPr bwMode="auto">
          <a:xfrm>
            <a:off x="2902723" y="3508036"/>
            <a:ext cx="44043" cy="107445"/>
          </a:xfrm>
          <a:custGeom>
            <a:avLst/>
            <a:gdLst>
              <a:gd name="T0" fmla="*/ 66 w 67"/>
              <a:gd name="T1" fmla="*/ 73 h 164"/>
              <a:gd name="T2" fmla="*/ 62 w 67"/>
              <a:gd name="T3" fmla="*/ 97 h 164"/>
              <a:gd name="T4" fmla="*/ 45 w 67"/>
              <a:gd name="T5" fmla="*/ 125 h 164"/>
              <a:gd name="T6" fmla="*/ 42 w 67"/>
              <a:gd name="T7" fmla="*/ 129 h 164"/>
              <a:gd name="T8" fmla="*/ 17 w 67"/>
              <a:gd name="T9" fmla="*/ 162 h 164"/>
              <a:gd name="T10" fmla="*/ 13 w 67"/>
              <a:gd name="T11" fmla="*/ 163 h 164"/>
              <a:gd name="T12" fmla="*/ 12 w 67"/>
              <a:gd name="T13" fmla="*/ 158 h 164"/>
              <a:gd name="T14" fmla="*/ 37 w 67"/>
              <a:gd name="T15" fmla="*/ 125 h 164"/>
              <a:gd name="T16" fmla="*/ 40 w 67"/>
              <a:gd name="T17" fmla="*/ 121 h 164"/>
              <a:gd name="T18" fmla="*/ 55 w 67"/>
              <a:gd name="T19" fmla="*/ 95 h 164"/>
              <a:gd name="T20" fmla="*/ 53 w 67"/>
              <a:gd name="T21" fmla="*/ 52 h 164"/>
              <a:gd name="T22" fmla="*/ 2 w 67"/>
              <a:gd name="T23" fmla="*/ 7 h 164"/>
              <a:gd name="T24" fmla="*/ 0 w 67"/>
              <a:gd name="T25" fmla="*/ 2 h 164"/>
              <a:gd name="T26" fmla="*/ 5 w 67"/>
              <a:gd name="T27" fmla="*/ 1 h 164"/>
              <a:gd name="T28" fmla="*/ 59 w 67"/>
              <a:gd name="T29" fmla="*/ 48 h 164"/>
              <a:gd name="T30" fmla="*/ 66 w 67"/>
              <a:gd name="T31" fmla="*/ 73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7" h="164">
                <a:moveTo>
                  <a:pt x="66" y="73"/>
                </a:moveTo>
                <a:cubicBezTo>
                  <a:pt x="67" y="82"/>
                  <a:pt x="65" y="90"/>
                  <a:pt x="62" y="97"/>
                </a:cubicBezTo>
                <a:cubicBezTo>
                  <a:pt x="57" y="107"/>
                  <a:pt x="51" y="116"/>
                  <a:pt x="45" y="12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34" y="141"/>
                  <a:pt x="26" y="152"/>
                  <a:pt x="17" y="162"/>
                </a:cubicBezTo>
                <a:cubicBezTo>
                  <a:pt x="16" y="164"/>
                  <a:pt x="14" y="164"/>
                  <a:pt x="13" y="163"/>
                </a:cubicBezTo>
                <a:cubicBezTo>
                  <a:pt x="11" y="162"/>
                  <a:pt x="11" y="159"/>
                  <a:pt x="12" y="158"/>
                </a:cubicBezTo>
                <a:cubicBezTo>
                  <a:pt x="21" y="148"/>
                  <a:pt x="29" y="137"/>
                  <a:pt x="37" y="125"/>
                </a:cubicBezTo>
                <a:cubicBezTo>
                  <a:pt x="40" y="121"/>
                  <a:pt x="40" y="121"/>
                  <a:pt x="40" y="121"/>
                </a:cubicBezTo>
                <a:cubicBezTo>
                  <a:pt x="45" y="113"/>
                  <a:pt x="51" y="104"/>
                  <a:pt x="55" y="95"/>
                </a:cubicBezTo>
                <a:cubicBezTo>
                  <a:pt x="62" y="80"/>
                  <a:pt x="61" y="65"/>
                  <a:pt x="53" y="52"/>
                </a:cubicBezTo>
                <a:cubicBezTo>
                  <a:pt x="42" y="32"/>
                  <a:pt x="22" y="19"/>
                  <a:pt x="2" y="7"/>
                </a:cubicBezTo>
                <a:cubicBezTo>
                  <a:pt x="0" y="6"/>
                  <a:pt x="0" y="4"/>
                  <a:pt x="0" y="2"/>
                </a:cubicBezTo>
                <a:cubicBezTo>
                  <a:pt x="1" y="1"/>
                  <a:pt x="4" y="0"/>
                  <a:pt x="5" y="1"/>
                </a:cubicBezTo>
                <a:cubicBezTo>
                  <a:pt x="26" y="14"/>
                  <a:pt x="47" y="28"/>
                  <a:pt x="59" y="48"/>
                </a:cubicBezTo>
                <a:cubicBezTo>
                  <a:pt x="64" y="56"/>
                  <a:pt x="66" y="65"/>
                  <a:pt x="66" y="73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07" name="Freeform 51">
            <a:extLst>
              <a:ext uri="{FF2B5EF4-FFF2-40B4-BE49-F238E27FC236}">
                <a16:creationId xmlns:a16="http://schemas.microsoft.com/office/drawing/2014/main" id="{3AC987C8-0E6A-4198-8BEC-25ADC4CE0B5C}"/>
              </a:ext>
            </a:extLst>
          </p:cNvPr>
          <p:cNvSpPr>
            <a:spLocks/>
          </p:cNvSpPr>
          <p:nvPr/>
        </p:nvSpPr>
        <p:spPr bwMode="auto">
          <a:xfrm>
            <a:off x="2855292" y="3500776"/>
            <a:ext cx="53239" cy="123901"/>
          </a:xfrm>
          <a:custGeom>
            <a:avLst/>
            <a:gdLst>
              <a:gd name="T0" fmla="*/ 81 w 82"/>
              <a:gd name="T1" fmla="*/ 84 h 189"/>
              <a:gd name="T2" fmla="*/ 73 w 82"/>
              <a:gd name="T3" fmla="*/ 118 h 189"/>
              <a:gd name="T4" fmla="*/ 32 w 82"/>
              <a:gd name="T5" fmla="*/ 187 h 189"/>
              <a:gd name="T6" fmla="*/ 27 w 82"/>
              <a:gd name="T7" fmla="*/ 188 h 189"/>
              <a:gd name="T8" fmla="*/ 27 w 82"/>
              <a:gd name="T9" fmla="*/ 183 h 189"/>
              <a:gd name="T10" fmla="*/ 67 w 82"/>
              <a:gd name="T11" fmla="*/ 115 h 189"/>
              <a:gd name="T12" fmla="*/ 74 w 82"/>
              <a:gd name="T13" fmla="*/ 80 h 189"/>
              <a:gd name="T14" fmla="*/ 2 w 82"/>
              <a:gd name="T15" fmla="*/ 7 h 189"/>
              <a:gd name="T16" fmla="*/ 1 w 82"/>
              <a:gd name="T17" fmla="*/ 2 h 189"/>
              <a:gd name="T18" fmla="*/ 6 w 82"/>
              <a:gd name="T19" fmla="*/ 1 h 189"/>
              <a:gd name="T20" fmla="*/ 81 w 82"/>
              <a:gd name="T21" fmla="*/ 79 h 189"/>
              <a:gd name="T22" fmla="*/ 81 w 82"/>
              <a:gd name="T23" fmla="*/ 84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2" h="189">
                <a:moveTo>
                  <a:pt x="81" y="84"/>
                </a:moveTo>
                <a:cubicBezTo>
                  <a:pt x="82" y="94"/>
                  <a:pt x="79" y="106"/>
                  <a:pt x="73" y="118"/>
                </a:cubicBezTo>
                <a:cubicBezTo>
                  <a:pt x="62" y="142"/>
                  <a:pt x="47" y="166"/>
                  <a:pt x="32" y="187"/>
                </a:cubicBezTo>
                <a:cubicBezTo>
                  <a:pt x="31" y="189"/>
                  <a:pt x="29" y="189"/>
                  <a:pt x="27" y="188"/>
                </a:cubicBezTo>
                <a:cubicBezTo>
                  <a:pt x="26" y="187"/>
                  <a:pt x="26" y="185"/>
                  <a:pt x="27" y="183"/>
                </a:cubicBezTo>
                <a:cubicBezTo>
                  <a:pt x="41" y="162"/>
                  <a:pt x="56" y="139"/>
                  <a:pt x="67" y="115"/>
                </a:cubicBezTo>
                <a:cubicBezTo>
                  <a:pt x="73" y="102"/>
                  <a:pt x="76" y="90"/>
                  <a:pt x="74" y="80"/>
                </a:cubicBezTo>
                <a:cubicBezTo>
                  <a:pt x="70" y="47"/>
                  <a:pt x="36" y="24"/>
                  <a:pt x="2" y="7"/>
                </a:cubicBezTo>
                <a:cubicBezTo>
                  <a:pt x="1" y="6"/>
                  <a:pt x="0" y="4"/>
                  <a:pt x="1" y="2"/>
                </a:cubicBezTo>
                <a:cubicBezTo>
                  <a:pt x="2" y="0"/>
                  <a:pt x="4" y="0"/>
                  <a:pt x="6" y="1"/>
                </a:cubicBezTo>
                <a:cubicBezTo>
                  <a:pt x="40" y="19"/>
                  <a:pt x="76" y="43"/>
                  <a:pt x="81" y="79"/>
                </a:cubicBezTo>
                <a:cubicBezTo>
                  <a:pt x="81" y="80"/>
                  <a:pt x="81" y="82"/>
                  <a:pt x="81" y="84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08" name="Freeform 52">
            <a:extLst>
              <a:ext uri="{FF2B5EF4-FFF2-40B4-BE49-F238E27FC236}">
                <a16:creationId xmlns:a16="http://schemas.microsoft.com/office/drawing/2014/main" id="{AEB3E1D3-98AE-4E5A-B057-BAB02FDAEFDF}"/>
              </a:ext>
            </a:extLst>
          </p:cNvPr>
          <p:cNvSpPr>
            <a:spLocks/>
          </p:cNvSpPr>
          <p:nvPr/>
        </p:nvSpPr>
        <p:spPr bwMode="auto">
          <a:xfrm>
            <a:off x="2814153" y="3510456"/>
            <a:ext cx="56627" cy="112770"/>
          </a:xfrm>
          <a:custGeom>
            <a:avLst/>
            <a:gdLst>
              <a:gd name="T0" fmla="*/ 86 w 87"/>
              <a:gd name="T1" fmla="*/ 85 h 172"/>
              <a:gd name="T2" fmla="*/ 31 w 87"/>
              <a:gd name="T3" fmla="*/ 171 h 172"/>
              <a:gd name="T4" fmla="*/ 26 w 87"/>
              <a:gd name="T5" fmla="*/ 170 h 172"/>
              <a:gd name="T6" fmla="*/ 27 w 87"/>
              <a:gd name="T7" fmla="*/ 166 h 172"/>
              <a:gd name="T8" fmla="*/ 78 w 87"/>
              <a:gd name="T9" fmla="*/ 75 h 172"/>
              <a:gd name="T10" fmla="*/ 3 w 87"/>
              <a:gd name="T11" fmla="*/ 7 h 172"/>
              <a:gd name="T12" fmla="*/ 0 w 87"/>
              <a:gd name="T13" fmla="*/ 3 h 172"/>
              <a:gd name="T14" fmla="*/ 4 w 87"/>
              <a:gd name="T15" fmla="*/ 1 h 172"/>
              <a:gd name="T16" fmla="*/ 84 w 87"/>
              <a:gd name="T17" fmla="*/ 74 h 172"/>
              <a:gd name="T18" fmla="*/ 86 w 87"/>
              <a:gd name="T19" fmla="*/ 85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7" h="172">
                <a:moveTo>
                  <a:pt x="86" y="85"/>
                </a:moveTo>
                <a:cubicBezTo>
                  <a:pt x="87" y="125"/>
                  <a:pt x="53" y="156"/>
                  <a:pt x="31" y="171"/>
                </a:cubicBezTo>
                <a:cubicBezTo>
                  <a:pt x="29" y="172"/>
                  <a:pt x="27" y="172"/>
                  <a:pt x="26" y="170"/>
                </a:cubicBezTo>
                <a:cubicBezTo>
                  <a:pt x="25" y="169"/>
                  <a:pt x="25" y="167"/>
                  <a:pt x="27" y="166"/>
                </a:cubicBezTo>
                <a:cubicBezTo>
                  <a:pt x="50" y="150"/>
                  <a:pt x="86" y="117"/>
                  <a:pt x="78" y="75"/>
                </a:cubicBezTo>
                <a:cubicBezTo>
                  <a:pt x="70" y="37"/>
                  <a:pt x="35" y="14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2"/>
                  <a:pt x="2" y="0"/>
                  <a:pt x="4" y="1"/>
                </a:cubicBezTo>
                <a:cubicBezTo>
                  <a:pt x="38" y="8"/>
                  <a:pt x="76" y="33"/>
                  <a:pt x="84" y="74"/>
                </a:cubicBezTo>
                <a:cubicBezTo>
                  <a:pt x="85" y="78"/>
                  <a:pt x="85" y="82"/>
                  <a:pt x="86" y="85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09" name="Freeform 53">
            <a:extLst>
              <a:ext uri="{FF2B5EF4-FFF2-40B4-BE49-F238E27FC236}">
                <a16:creationId xmlns:a16="http://schemas.microsoft.com/office/drawing/2014/main" id="{0C720103-E33E-4C45-BF74-DCF5331704C5}"/>
              </a:ext>
            </a:extLst>
          </p:cNvPr>
          <p:cNvSpPr>
            <a:spLocks/>
          </p:cNvSpPr>
          <p:nvPr/>
        </p:nvSpPr>
        <p:spPr bwMode="auto">
          <a:xfrm>
            <a:off x="2777854" y="3533687"/>
            <a:ext cx="45011" cy="84214"/>
          </a:xfrm>
          <a:custGeom>
            <a:avLst/>
            <a:gdLst>
              <a:gd name="T0" fmla="*/ 68 w 69"/>
              <a:gd name="T1" fmla="*/ 60 h 129"/>
              <a:gd name="T2" fmla="*/ 24 w 69"/>
              <a:gd name="T3" fmla="*/ 128 h 129"/>
              <a:gd name="T4" fmla="*/ 20 w 69"/>
              <a:gd name="T5" fmla="*/ 127 h 129"/>
              <a:gd name="T6" fmla="*/ 20 w 69"/>
              <a:gd name="T7" fmla="*/ 122 h 129"/>
              <a:gd name="T8" fmla="*/ 61 w 69"/>
              <a:gd name="T9" fmla="*/ 55 h 129"/>
              <a:gd name="T10" fmla="*/ 3 w 69"/>
              <a:gd name="T11" fmla="*/ 6 h 129"/>
              <a:gd name="T12" fmla="*/ 0 w 69"/>
              <a:gd name="T13" fmla="*/ 3 h 129"/>
              <a:gd name="T14" fmla="*/ 3 w 69"/>
              <a:gd name="T15" fmla="*/ 0 h 129"/>
              <a:gd name="T16" fmla="*/ 68 w 69"/>
              <a:gd name="T17" fmla="*/ 54 h 129"/>
              <a:gd name="T18" fmla="*/ 68 w 69"/>
              <a:gd name="T19" fmla="*/ 6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9" h="129">
                <a:moveTo>
                  <a:pt x="68" y="60"/>
                </a:moveTo>
                <a:cubicBezTo>
                  <a:pt x="69" y="94"/>
                  <a:pt x="26" y="126"/>
                  <a:pt x="24" y="128"/>
                </a:cubicBezTo>
                <a:cubicBezTo>
                  <a:pt x="23" y="129"/>
                  <a:pt x="21" y="128"/>
                  <a:pt x="20" y="127"/>
                </a:cubicBezTo>
                <a:cubicBezTo>
                  <a:pt x="19" y="125"/>
                  <a:pt x="19" y="123"/>
                  <a:pt x="20" y="122"/>
                </a:cubicBezTo>
                <a:cubicBezTo>
                  <a:pt x="21" y="122"/>
                  <a:pt x="67" y="87"/>
                  <a:pt x="61" y="55"/>
                </a:cubicBezTo>
                <a:cubicBezTo>
                  <a:pt x="55" y="22"/>
                  <a:pt x="6" y="7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9" y="0"/>
                  <a:pt x="61" y="17"/>
                  <a:pt x="68" y="54"/>
                </a:cubicBezTo>
                <a:cubicBezTo>
                  <a:pt x="68" y="56"/>
                  <a:pt x="68" y="58"/>
                  <a:pt x="68" y="60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10" name="Freeform 54">
            <a:extLst>
              <a:ext uri="{FF2B5EF4-FFF2-40B4-BE49-F238E27FC236}">
                <a16:creationId xmlns:a16="http://schemas.microsoft.com/office/drawing/2014/main" id="{5FD4D4ED-DF03-4149-8124-1D80B74BBE7D}"/>
              </a:ext>
            </a:extLst>
          </p:cNvPr>
          <p:cNvSpPr>
            <a:spLocks/>
          </p:cNvSpPr>
          <p:nvPr/>
        </p:nvSpPr>
        <p:spPr bwMode="auto">
          <a:xfrm>
            <a:off x="3038239" y="3470769"/>
            <a:ext cx="410906" cy="368315"/>
          </a:xfrm>
          <a:custGeom>
            <a:avLst/>
            <a:gdLst>
              <a:gd name="T0" fmla="*/ 263 w 628"/>
              <a:gd name="T1" fmla="*/ 563 h 563"/>
              <a:gd name="T2" fmla="*/ 413 w 628"/>
              <a:gd name="T3" fmla="*/ 0 h 563"/>
              <a:gd name="T4" fmla="*/ 263 w 628"/>
              <a:gd name="T5" fmla="*/ 563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28" h="563">
                <a:moveTo>
                  <a:pt x="263" y="563"/>
                </a:moveTo>
                <a:cubicBezTo>
                  <a:pt x="263" y="563"/>
                  <a:pt x="0" y="272"/>
                  <a:pt x="413" y="0"/>
                </a:cubicBezTo>
                <a:cubicBezTo>
                  <a:pt x="628" y="209"/>
                  <a:pt x="524" y="513"/>
                  <a:pt x="263" y="563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11" name="Freeform 55">
            <a:extLst>
              <a:ext uri="{FF2B5EF4-FFF2-40B4-BE49-F238E27FC236}">
                <a16:creationId xmlns:a16="http://schemas.microsoft.com/office/drawing/2014/main" id="{EDF6BE63-0CC5-4D80-9AC9-BD59FFAD87BD}"/>
              </a:ext>
            </a:extLst>
          </p:cNvPr>
          <p:cNvSpPr>
            <a:spLocks/>
          </p:cNvSpPr>
          <p:nvPr/>
        </p:nvSpPr>
        <p:spPr bwMode="auto">
          <a:xfrm>
            <a:off x="3190695" y="3482385"/>
            <a:ext cx="122933" cy="395902"/>
          </a:xfrm>
          <a:custGeom>
            <a:avLst/>
            <a:gdLst>
              <a:gd name="T0" fmla="*/ 9 w 188"/>
              <a:gd name="T1" fmla="*/ 605 h 605"/>
              <a:gd name="T2" fmla="*/ 0 w 188"/>
              <a:gd name="T3" fmla="*/ 601 h 605"/>
              <a:gd name="T4" fmla="*/ 177 w 188"/>
              <a:gd name="T5" fmla="*/ 0 h 605"/>
              <a:gd name="T6" fmla="*/ 186 w 188"/>
              <a:gd name="T7" fmla="*/ 0 h 605"/>
              <a:gd name="T8" fmla="*/ 9 w 188"/>
              <a:gd name="T9" fmla="*/ 605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8" h="605">
                <a:moveTo>
                  <a:pt x="9" y="605"/>
                </a:moveTo>
                <a:cubicBezTo>
                  <a:pt x="0" y="601"/>
                  <a:pt x="0" y="601"/>
                  <a:pt x="0" y="601"/>
                </a:cubicBezTo>
                <a:cubicBezTo>
                  <a:pt x="179" y="276"/>
                  <a:pt x="177" y="3"/>
                  <a:pt x="177" y="0"/>
                </a:cubicBezTo>
                <a:cubicBezTo>
                  <a:pt x="186" y="0"/>
                  <a:pt x="186" y="0"/>
                  <a:pt x="186" y="0"/>
                </a:cubicBezTo>
                <a:cubicBezTo>
                  <a:pt x="186" y="3"/>
                  <a:pt x="188" y="279"/>
                  <a:pt x="9" y="605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12" name="Freeform 56">
            <a:extLst>
              <a:ext uri="{FF2B5EF4-FFF2-40B4-BE49-F238E27FC236}">
                <a16:creationId xmlns:a16="http://schemas.microsoft.com/office/drawing/2014/main" id="{83A77BEC-4CD6-49A6-9FBB-D2AD50B7CA37}"/>
              </a:ext>
            </a:extLst>
          </p:cNvPr>
          <p:cNvSpPr>
            <a:spLocks/>
          </p:cNvSpPr>
          <p:nvPr/>
        </p:nvSpPr>
        <p:spPr bwMode="auto">
          <a:xfrm>
            <a:off x="3178111" y="3708407"/>
            <a:ext cx="142777" cy="83730"/>
          </a:xfrm>
          <a:custGeom>
            <a:avLst/>
            <a:gdLst>
              <a:gd name="T0" fmla="*/ 87 w 218"/>
              <a:gd name="T1" fmla="*/ 121 h 128"/>
              <a:gd name="T2" fmla="*/ 59 w 218"/>
              <a:gd name="T3" fmla="*/ 101 h 128"/>
              <a:gd name="T4" fmla="*/ 33 w 218"/>
              <a:gd name="T5" fmla="*/ 64 h 128"/>
              <a:gd name="T6" fmla="*/ 30 w 218"/>
              <a:gd name="T7" fmla="*/ 58 h 128"/>
              <a:gd name="T8" fmla="*/ 1 w 218"/>
              <a:gd name="T9" fmla="*/ 7 h 128"/>
              <a:gd name="T10" fmla="*/ 3 w 218"/>
              <a:gd name="T11" fmla="*/ 1 h 128"/>
              <a:gd name="T12" fmla="*/ 9 w 218"/>
              <a:gd name="T13" fmla="*/ 3 h 128"/>
              <a:gd name="T14" fmla="*/ 38 w 218"/>
              <a:gd name="T15" fmla="*/ 53 h 128"/>
              <a:gd name="T16" fmla="*/ 41 w 218"/>
              <a:gd name="T17" fmla="*/ 60 h 128"/>
              <a:gd name="T18" fmla="*/ 66 w 218"/>
              <a:gd name="T19" fmla="*/ 95 h 128"/>
              <a:gd name="T20" fmla="*/ 123 w 218"/>
              <a:gd name="T21" fmla="*/ 117 h 128"/>
              <a:gd name="T22" fmla="*/ 210 w 218"/>
              <a:gd name="T23" fmla="*/ 76 h 128"/>
              <a:gd name="T24" fmla="*/ 217 w 218"/>
              <a:gd name="T25" fmla="*/ 78 h 128"/>
              <a:gd name="T26" fmla="*/ 215 w 218"/>
              <a:gd name="T27" fmla="*/ 84 h 128"/>
              <a:gd name="T28" fmla="*/ 124 w 218"/>
              <a:gd name="T29" fmla="*/ 126 h 128"/>
              <a:gd name="T30" fmla="*/ 87 w 218"/>
              <a:gd name="T31" fmla="*/ 121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18" h="128">
                <a:moveTo>
                  <a:pt x="87" y="121"/>
                </a:moveTo>
                <a:cubicBezTo>
                  <a:pt x="77" y="117"/>
                  <a:pt x="67" y="110"/>
                  <a:pt x="59" y="101"/>
                </a:cubicBezTo>
                <a:cubicBezTo>
                  <a:pt x="49" y="90"/>
                  <a:pt x="41" y="77"/>
                  <a:pt x="33" y="64"/>
                </a:cubicBezTo>
                <a:cubicBezTo>
                  <a:pt x="30" y="58"/>
                  <a:pt x="30" y="58"/>
                  <a:pt x="30" y="58"/>
                </a:cubicBezTo>
                <a:cubicBezTo>
                  <a:pt x="19" y="41"/>
                  <a:pt x="10" y="24"/>
                  <a:pt x="1" y="7"/>
                </a:cubicBezTo>
                <a:cubicBezTo>
                  <a:pt x="0" y="5"/>
                  <a:pt x="1" y="2"/>
                  <a:pt x="3" y="1"/>
                </a:cubicBezTo>
                <a:cubicBezTo>
                  <a:pt x="5" y="0"/>
                  <a:pt x="8" y="1"/>
                  <a:pt x="9" y="3"/>
                </a:cubicBezTo>
                <a:cubicBezTo>
                  <a:pt x="18" y="20"/>
                  <a:pt x="27" y="37"/>
                  <a:pt x="38" y="53"/>
                </a:cubicBezTo>
                <a:cubicBezTo>
                  <a:pt x="41" y="60"/>
                  <a:pt x="41" y="60"/>
                  <a:pt x="41" y="60"/>
                </a:cubicBezTo>
                <a:cubicBezTo>
                  <a:pt x="49" y="72"/>
                  <a:pt x="56" y="84"/>
                  <a:pt x="66" y="95"/>
                </a:cubicBezTo>
                <a:cubicBezTo>
                  <a:pt x="81" y="111"/>
                  <a:pt x="101" y="119"/>
                  <a:pt x="123" y="117"/>
                </a:cubicBezTo>
                <a:cubicBezTo>
                  <a:pt x="154" y="113"/>
                  <a:pt x="183" y="95"/>
                  <a:pt x="210" y="76"/>
                </a:cubicBezTo>
                <a:cubicBezTo>
                  <a:pt x="212" y="75"/>
                  <a:pt x="215" y="75"/>
                  <a:pt x="217" y="78"/>
                </a:cubicBezTo>
                <a:cubicBezTo>
                  <a:pt x="218" y="80"/>
                  <a:pt x="218" y="83"/>
                  <a:pt x="215" y="84"/>
                </a:cubicBezTo>
                <a:cubicBezTo>
                  <a:pt x="187" y="103"/>
                  <a:pt x="157" y="122"/>
                  <a:pt x="124" y="126"/>
                </a:cubicBezTo>
                <a:cubicBezTo>
                  <a:pt x="111" y="128"/>
                  <a:pt x="98" y="126"/>
                  <a:pt x="87" y="121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13" name="Freeform 57">
            <a:extLst>
              <a:ext uri="{FF2B5EF4-FFF2-40B4-BE49-F238E27FC236}">
                <a16:creationId xmlns:a16="http://schemas.microsoft.com/office/drawing/2014/main" id="{09E6B300-097F-42B2-9482-44180F8823A2}"/>
              </a:ext>
            </a:extLst>
          </p:cNvPr>
          <p:cNvSpPr>
            <a:spLocks/>
          </p:cNvSpPr>
          <p:nvPr/>
        </p:nvSpPr>
        <p:spPr bwMode="auto">
          <a:xfrm>
            <a:off x="3187791" y="3653232"/>
            <a:ext cx="169396" cy="96798"/>
          </a:xfrm>
          <a:custGeom>
            <a:avLst/>
            <a:gdLst>
              <a:gd name="T0" fmla="*/ 106 w 259"/>
              <a:gd name="T1" fmla="*/ 131 h 148"/>
              <a:gd name="T2" fmla="*/ 67 w 259"/>
              <a:gd name="T3" fmla="*/ 101 h 148"/>
              <a:gd name="T4" fmla="*/ 2 w 259"/>
              <a:gd name="T5" fmla="*/ 8 h 148"/>
              <a:gd name="T6" fmla="*/ 3 w 259"/>
              <a:gd name="T7" fmla="*/ 1 h 148"/>
              <a:gd name="T8" fmla="*/ 10 w 259"/>
              <a:gd name="T9" fmla="*/ 3 h 148"/>
              <a:gd name="T10" fmla="*/ 74 w 259"/>
              <a:gd name="T11" fmla="*/ 95 h 148"/>
              <a:gd name="T12" fmla="*/ 116 w 259"/>
              <a:gd name="T13" fmla="*/ 124 h 148"/>
              <a:gd name="T14" fmla="*/ 251 w 259"/>
              <a:gd name="T15" fmla="*/ 74 h 148"/>
              <a:gd name="T16" fmla="*/ 258 w 259"/>
              <a:gd name="T17" fmla="*/ 75 h 148"/>
              <a:gd name="T18" fmla="*/ 257 w 259"/>
              <a:gd name="T19" fmla="*/ 81 h 148"/>
              <a:gd name="T20" fmla="*/ 113 w 259"/>
              <a:gd name="T21" fmla="*/ 133 h 148"/>
              <a:gd name="T22" fmla="*/ 106 w 259"/>
              <a:gd name="T23" fmla="*/ 131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9" h="148">
                <a:moveTo>
                  <a:pt x="106" y="131"/>
                </a:moveTo>
                <a:cubicBezTo>
                  <a:pt x="93" y="125"/>
                  <a:pt x="79" y="115"/>
                  <a:pt x="67" y="101"/>
                </a:cubicBezTo>
                <a:cubicBezTo>
                  <a:pt x="42" y="73"/>
                  <a:pt x="21" y="39"/>
                  <a:pt x="2" y="8"/>
                </a:cubicBezTo>
                <a:cubicBezTo>
                  <a:pt x="0" y="6"/>
                  <a:pt x="1" y="3"/>
                  <a:pt x="3" y="1"/>
                </a:cubicBezTo>
                <a:cubicBezTo>
                  <a:pt x="6" y="0"/>
                  <a:pt x="8" y="1"/>
                  <a:pt x="10" y="3"/>
                </a:cubicBezTo>
                <a:cubicBezTo>
                  <a:pt x="29" y="34"/>
                  <a:pt x="49" y="67"/>
                  <a:pt x="74" y="95"/>
                </a:cubicBezTo>
                <a:cubicBezTo>
                  <a:pt x="87" y="110"/>
                  <a:pt x="101" y="120"/>
                  <a:pt x="116" y="124"/>
                </a:cubicBezTo>
                <a:cubicBezTo>
                  <a:pt x="160" y="138"/>
                  <a:pt x="209" y="107"/>
                  <a:pt x="251" y="74"/>
                </a:cubicBezTo>
                <a:cubicBezTo>
                  <a:pt x="253" y="72"/>
                  <a:pt x="256" y="73"/>
                  <a:pt x="258" y="75"/>
                </a:cubicBezTo>
                <a:cubicBezTo>
                  <a:pt x="259" y="77"/>
                  <a:pt x="259" y="80"/>
                  <a:pt x="257" y="81"/>
                </a:cubicBezTo>
                <a:cubicBezTo>
                  <a:pt x="213" y="115"/>
                  <a:pt x="162" y="148"/>
                  <a:pt x="113" y="133"/>
                </a:cubicBezTo>
                <a:cubicBezTo>
                  <a:pt x="111" y="133"/>
                  <a:pt x="109" y="132"/>
                  <a:pt x="106" y="131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14" name="Freeform 58">
            <a:extLst>
              <a:ext uri="{FF2B5EF4-FFF2-40B4-BE49-F238E27FC236}">
                <a16:creationId xmlns:a16="http://schemas.microsoft.com/office/drawing/2014/main" id="{7EFE94EF-E5B8-4FF2-836A-92596DBAC64F}"/>
              </a:ext>
            </a:extLst>
          </p:cNvPr>
          <p:cNvSpPr>
            <a:spLocks/>
          </p:cNvSpPr>
          <p:nvPr/>
        </p:nvSpPr>
        <p:spPr bwMode="auto">
          <a:xfrm>
            <a:off x="3214410" y="3600961"/>
            <a:ext cx="153908" cy="94378"/>
          </a:xfrm>
          <a:custGeom>
            <a:avLst/>
            <a:gdLst>
              <a:gd name="T0" fmla="*/ 79 w 236"/>
              <a:gd name="T1" fmla="*/ 126 h 144"/>
              <a:gd name="T2" fmla="*/ 0 w 236"/>
              <a:gd name="T3" fmla="*/ 6 h 144"/>
              <a:gd name="T4" fmla="*/ 4 w 236"/>
              <a:gd name="T5" fmla="*/ 0 h 144"/>
              <a:gd name="T6" fmla="*/ 10 w 236"/>
              <a:gd name="T7" fmla="*/ 4 h 144"/>
              <a:gd name="T8" fmla="*/ 97 w 236"/>
              <a:gd name="T9" fmla="*/ 122 h 144"/>
              <a:gd name="T10" fmla="*/ 227 w 236"/>
              <a:gd name="T11" fmla="*/ 64 h 144"/>
              <a:gd name="T12" fmla="*/ 233 w 236"/>
              <a:gd name="T13" fmla="*/ 63 h 144"/>
              <a:gd name="T14" fmla="*/ 235 w 236"/>
              <a:gd name="T15" fmla="*/ 70 h 144"/>
              <a:gd name="T16" fmla="*/ 95 w 236"/>
              <a:gd name="T17" fmla="*/ 131 h 144"/>
              <a:gd name="T18" fmla="*/ 79 w 236"/>
              <a:gd name="T19" fmla="*/ 126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6" h="144">
                <a:moveTo>
                  <a:pt x="79" y="126"/>
                </a:moveTo>
                <a:cubicBezTo>
                  <a:pt x="27" y="104"/>
                  <a:pt x="7" y="43"/>
                  <a:pt x="0" y="6"/>
                </a:cubicBezTo>
                <a:cubicBezTo>
                  <a:pt x="0" y="3"/>
                  <a:pt x="2" y="1"/>
                  <a:pt x="4" y="0"/>
                </a:cubicBezTo>
                <a:cubicBezTo>
                  <a:pt x="7" y="0"/>
                  <a:pt x="9" y="2"/>
                  <a:pt x="10" y="4"/>
                </a:cubicBezTo>
                <a:cubicBezTo>
                  <a:pt x="17" y="42"/>
                  <a:pt x="38" y="108"/>
                  <a:pt x="97" y="122"/>
                </a:cubicBezTo>
                <a:cubicBezTo>
                  <a:pt x="150" y="134"/>
                  <a:pt x="200" y="101"/>
                  <a:pt x="227" y="64"/>
                </a:cubicBezTo>
                <a:cubicBezTo>
                  <a:pt x="228" y="62"/>
                  <a:pt x="231" y="62"/>
                  <a:pt x="233" y="63"/>
                </a:cubicBezTo>
                <a:cubicBezTo>
                  <a:pt x="236" y="65"/>
                  <a:pt x="236" y="68"/>
                  <a:pt x="235" y="70"/>
                </a:cubicBezTo>
                <a:cubicBezTo>
                  <a:pt x="206" y="109"/>
                  <a:pt x="152" y="144"/>
                  <a:pt x="95" y="131"/>
                </a:cubicBezTo>
                <a:cubicBezTo>
                  <a:pt x="89" y="130"/>
                  <a:pt x="84" y="128"/>
                  <a:pt x="79" y="126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15" name="Freeform 59">
            <a:extLst>
              <a:ext uri="{FF2B5EF4-FFF2-40B4-BE49-F238E27FC236}">
                <a16:creationId xmlns:a16="http://schemas.microsoft.com/office/drawing/2014/main" id="{1B064C6E-3986-4184-9597-940F9655987A}"/>
              </a:ext>
            </a:extLst>
          </p:cNvPr>
          <p:cNvSpPr>
            <a:spLocks/>
          </p:cNvSpPr>
          <p:nvPr/>
        </p:nvSpPr>
        <p:spPr bwMode="auto">
          <a:xfrm>
            <a:off x="3244417" y="3552563"/>
            <a:ext cx="116157" cy="75986"/>
          </a:xfrm>
          <a:custGeom>
            <a:avLst/>
            <a:gdLst>
              <a:gd name="T0" fmla="*/ 63 w 178"/>
              <a:gd name="T1" fmla="*/ 102 h 116"/>
              <a:gd name="T2" fmla="*/ 1 w 178"/>
              <a:gd name="T3" fmla="*/ 6 h 116"/>
              <a:gd name="T4" fmla="*/ 4 w 178"/>
              <a:gd name="T5" fmla="*/ 0 h 116"/>
              <a:gd name="T6" fmla="*/ 10 w 178"/>
              <a:gd name="T7" fmla="*/ 4 h 116"/>
              <a:gd name="T8" fmla="*/ 73 w 178"/>
              <a:gd name="T9" fmla="*/ 95 h 116"/>
              <a:gd name="T10" fmla="*/ 169 w 178"/>
              <a:gd name="T11" fmla="*/ 48 h 116"/>
              <a:gd name="T12" fmla="*/ 175 w 178"/>
              <a:gd name="T13" fmla="*/ 46 h 116"/>
              <a:gd name="T14" fmla="*/ 177 w 178"/>
              <a:gd name="T15" fmla="*/ 52 h 116"/>
              <a:gd name="T16" fmla="*/ 71 w 178"/>
              <a:gd name="T17" fmla="*/ 104 h 116"/>
              <a:gd name="T18" fmla="*/ 63 w 178"/>
              <a:gd name="T19" fmla="*/ 102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8" h="116">
                <a:moveTo>
                  <a:pt x="63" y="102"/>
                </a:moveTo>
                <a:cubicBezTo>
                  <a:pt x="18" y="83"/>
                  <a:pt x="1" y="9"/>
                  <a:pt x="1" y="6"/>
                </a:cubicBezTo>
                <a:cubicBezTo>
                  <a:pt x="0" y="3"/>
                  <a:pt x="2" y="1"/>
                  <a:pt x="4" y="0"/>
                </a:cubicBezTo>
                <a:cubicBezTo>
                  <a:pt x="7" y="0"/>
                  <a:pt x="9" y="1"/>
                  <a:pt x="10" y="4"/>
                </a:cubicBezTo>
                <a:cubicBezTo>
                  <a:pt x="10" y="5"/>
                  <a:pt x="28" y="84"/>
                  <a:pt x="73" y="95"/>
                </a:cubicBezTo>
                <a:cubicBezTo>
                  <a:pt x="118" y="106"/>
                  <a:pt x="166" y="53"/>
                  <a:pt x="169" y="48"/>
                </a:cubicBezTo>
                <a:cubicBezTo>
                  <a:pt x="170" y="46"/>
                  <a:pt x="173" y="45"/>
                  <a:pt x="175" y="46"/>
                </a:cubicBezTo>
                <a:cubicBezTo>
                  <a:pt x="177" y="47"/>
                  <a:pt x="178" y="50"/>
                  <a:pt x="177" y="52"/>
                </a:cubicBezTo>
                <a:cubicBezTo>
                  <a:pt x="174" y="60"/>
                  <a:pt x="121" y="116"/>
                  <a:pt x="71" y="104"/>
                </a:cubicBezTo>
                <a:cubicBezTo>
                  <a:pt x="68" y="104"/>
                  <a:pt x="65" y="103"/>
                  <a:pt x="63" y="102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16" name="Freeform 60">
            <a:extLst>
              <a:ext uri="{FF2B5EF4-FFF2-40B4-BE49-F238E27FC236}">
                <a16:creationId xmlns:a16="http://schemas.microsoft.com/office/drawing/2014/main" id="{363448D2-8EE5-445E-9110-03B66C2DDB48}"/>
              </a:ext>
            </a:extLst>
          </p:cNvPr>
          <p:cNvSpPr>
            <a:spLocks/>
          </p:cNvSpPr>
          <p:nvPr/>
        </p:nvSpPr>
        <p:spPr bwMode="auto">
          <a:xfrm>
            <a:off x="2297738" y="3098099"/>
            <a:ext cx="286037" cy="328144"/>
          </a:xfrm>
          <a:custGeom>
            <a:avLst/>
            <a:gdLst>
              <a:gd name="T0" fmla="*/ 352 w 437"/>
              <a:gd name="T1" fmla="*/ 441 h 502"/>
              <a:gd name="T2" fmla="*/ 0 w 437"/>
              <a:gd name="T3" fmla="*/ 64 h 502"/>
              <a:gd name="T4" fmla="*/ 352 w 437"/>
              <a:gd name="T5" fmla="*/ 441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7" h="502">
                <a:moveTo>
                  <a:pt x="352" y="441"/>
                </a:moveTo>
                <a:cubicBezTo>
                  <a:pt x="352" y="441"/>
                  <a:pt x="10" y="502"/>
                  <a:pt x="0" y="64"/>
                </a:cubicBezTo>
                <a:cubicBezTo>
                  <a:pt x="258" y="0"/>
                  <a:pt x="437" y="221"/>
                  <a:pt x="352" y="441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17" name="Freeform 61">
            <a:extLst>
              <a:ext uri="{FF2B5EF4-FFF2-40B4-BE49-F238E27FC236}">
                <a16:creationId xmlns:a16="http://schemas.microsoft.com/office/drawing/2014/main" id="{B1CA0A41-34A0-4898-9138-DB3F9F762769}"/>
              </a:ext>
            </a:extLst>
          </p:cNvPr>
          <p:cNvSpPr>
            <a:spLocks/>
          </p:cNvSpPr>
          <p:nvPr/>
        </p:nvSpPr>
        <p:spPr bwMode="auto">
          <a:xfrm>
            <a:off x="2305966" y="3142142"/>
            <a:ext cx="244898" cy="275873"/>
          </a:xfrm>
          <a:custGeom>
            <a:avLst/>
            <a:gdLst>
              <a:gd name="T0" fmla="*/ 375 w 375"/>
              <a:gd name="T1" fmla="*/ 417 h 421"/>
              <a:gd name="T2" fmla="*/ 368 w 375"/>
              <a:gd name="T3" fmla="*/ 421 h 421"/>
              <a:gd name="T4" fmla="*/ 0 w 375"/>
              <a:gd name="T5" fmla="*/ 7 h 421"/>
              <a:gd name="T6" fmla="*/ 4 w 375"/>
              <a:gd name="T7" fmla="*/ 0 h 421"/>
              <a:gd name="T8" fmla="*/ 375 w 375"/>
              <a:gd name="T9" fmla="*/ 417 h 4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5" h="421">
                <a:moveTo>
                  <a:pt x="375" y="417"/>
                </a:moveTo>
                <a:cubicBezTo>
                  <a:pt x="368" y="421"/>
                  <a:pt x="368" y="421"/>
                  <a:pt x="368" y="421"/>
                </a:cubicBezTo>
                <a:cubicBezTo>
                  <a:pt x="208" y="135"/>
                  <a:pt x="2" y="8"/>
                  <a:pt x="0" y="7"/>
                </a:cubicBezTo>
                <a:cubicBezTo>
                  <a:pt x="4" y="0"/>
                  <a:pt x="4" y="0"/>
                  <a:pt x="4" y="0"/>
                </a:cubicBezTo>
                <a:cubicBezTo>
                  <a:pt x="6" y="1"/>
                  <a:pt x="214" y="129"/>
                  <a:pt x="375" y="417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18" name="Freeform 62">
            <a:extLst>
              <a:ext uri="{FF2B5EF4-FFF2-40B4-BE49-F238E27FC236}">
                <a16:creationId xmlns:a16="http://schemas.microsoft.com/office/drawing/2014/main" id="{74E547DC-956F-4EDD-8A0E-CAAAB1E6C307}"/>
              </a:ext>
            </a:extLst>
          </p:cNvPr>
          <p:cNvSpPr>
            <a:spLocks/>
          </p:cNvSpPr>
          <p:nvPr/>
        </p:nvSpPr>
        <p:spPr bwMode="auto">
          <a:xfrm>
            <a:off x="2416315" y="3266042"/>
            <a:ext cx="107445" cy="86150"/>
          </a:xfrm>
          <a:custGeom>
            <a:avLst/>
            <a:gdLst>
              <a:gd name="T0" fmla="*/ 130 w 164"/>
              <a:gd name="T1" fmla="*/ 118 h 132"/>
              <a:gd name="T2" fmla="*/ 102 w 164"/>
              <a:gd name="T3" fmla="*/ 130 h 132"/>
              <a:gd name="T4" fmla="*/ 62 w 164"/>
              <a:gd name="T5" fmla="*/ 132 h 132"/>
              <a:gd name="T6" fmla="*/ 56 w 164"/>
              <a:gd name="T7" fmla="*/ 132 h 132"/>
              <a:gd name="T8" fmla="*/ 4 w 164"/>
              <a:gd name="T9" fmla="*/ 129 h 132"/>
              <a:gd name="T10" fmla="*/ 0 w 164"/>
              <a:gd name="T11" fmla="*/ 125 h 132"/>
              <a:gd name="T12" fmla="*/ 4 w 164"/>
              <a:gd name="T13" fmla="*/ 121 h 132"/>
              <a:gd name="T14" fmla="*/ 56 w 164"/>
              <a:gd name="T15" fmla="*/ 124 h 132"/>
              <a:gd name="T16" fmla="*/ 62 w 164"/>
              <a:gd name="T17" fmla="*/ 124 h 132"/>
              <a:gd name="T18" fmla="*/ 100 w 164"/>
              <a:gd name="T19" fmla="*/ 122 h 132"/>
              <a:gd name="T20" fmla="*/ 143 w 164"/>
              <a:gd name="T21" fmla="*/ 90 h 132"/>
              <a:gd name="T22" fmla="*/ 154 w 164"/>
              <a:gd name="T23" fmla="*/ 5 h 132"/>
              <a:gd name="T24" fmla="*/ 158 w 164"/>
              <a:gd name="T25" fmla="*/ 0 h 132"/>
              <a:gd name="T26" fmla="*/ 162 w 164"/>
              <a:gd name="T27" fmla="*/ 4 h 132"/>
              <a:gd name="T28" fmla="*/ 151 w 164"/>
              <a:gd name="T29" fmla="*/ 93 h 132"/>
              <a:gd name="T30" fmla="*/ 130 w 164"/>
              <a:gd name="T31" fmla="*/ 118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64" h="132">
                <a:moveTo>
                  <a:pt x="130" y="118"/>
                </a:moveTo>
                <a:cubicBezTo>
                  <a:pt x="122" y="124"/>
                  <a:pt x="112" y="128"/>
                  <a:pt x="102" y="130"/>
                </a:cubicBezTo>
                <a:cubicBezTo>
                  <a:pt x="88" y="132"/>
                  <a:pt x="75" y="132"/>
                  <a:pt x="62" y="132"/>
                </a:cubicBezTo>
                <a:cubicBezTo>
                  <a:pt x="56" y="132"/>
                  <a:pt x="56" y="132"/>
                  <a:pt x="56" y="132"/>
                </a:cubicBezTo>
                <a:cubicBezTo>
                  <a:pt x="38" y="132"/>
                  <a:pt x="20" y="131"/>
                  <a:pt x="4" y="129"/>
                </a:cubicBezTo>
                <a:cubicBezTo>
                  <a:pt x="1" y="129"/>
                  <a:pt x="0" y="127"/>
                  <a:pt x="0" y="125"/>
                </a:cubicBezTo>
                <a:cubicBezTo>
                  <a:pt x="0" y="123"/>
                  <a:pt x="2" y="121"/>
                  <a:pt x="4" y="121"/>
                </a:cubicBezTo>
                <a:cubicBezTo>
                  <a:pt x="21" y="123"/>
                  <a:pt x="38" y="124"/>
                  <a:pt x="56" y="124"/>
                </a:cubicBezTo>
                <a:cubicBezTo>
                  <a:pt x="62" y="124"/>
                  <a:pt x="62" y="124"/>
                  <a:pt x="62" y="124"/>
                </a:cubicBezTo>
                <a:cubicBezTo>
                  <a:pt x="75" y="124"/>
                  <a:pt x="88" y="124"/>
                  <a:pt x="100" y="122"/>
                </a:cubicBezTo>
                <a:cubicBezTo>
                  <a:pt x="120" y="118"/>
                  <a:pt x="135" y="107"/>
                  <a:pt x="143" y="90"/>
                </a:cubicBezTo>
                <a:cubicBezTo>
                  <a:pt x="155" y="64"/>
                  <a:pt x="155" y="34"/>
                  <a:pt x="154" y="5"/>
                </a:cubicBezTo>
                <a:cubicBezTo>
                  <a:pt x="154" y="3"/>
                  <a:pt x="156" y="1"/>
                  <a:pt x="158" y="0"/>
                </a:cubicBezTo>
                <a:cubicBezTo>
                  <a:pt x="160" y="0"/>
                  <a:pt x="162" y="2"/>
                  <a:pt x="162" y="4"/>
                </a:cubicBezTo>
                <a:cubicBezTo>
                  <a:pt x="163" y="35"/>
                  <a:pt x="164" y="66"/>
                  <a:pt x="151" y="93"/>
                </a:cubicBezTo>
                <a:cubicBezTo>
                  <a:pt x="146" y="103"/>
                  <a:pt x="139" y="112"/>
                  <a:pt x="130" y="118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19" name="Freeform 63">
            <a:extLst>
              <a:ext uri="{FF2B5EF4-FFF2-40B4-BE49-F238E27FC236}">
                <a16:creationId xmlns:a16="http://schemas.microsoft.com/office/drawing/2014/main" id="{72134D07-F08C-4251-9876-70736740340E}"/>
              </a:ext>
            </a:extLst>
          </p:cNvPr>
          <p:cNvSpPr>
            <a:spLocks/>
          </p:cNvSpPr>
          <p:nvPr/>
        </p:nvSpPr>
        <p:spPr bwMode="auto">
          <a:xfrm>
            <a:off x="2379533" y="3212319"/>
            <a:ext cx="120997" cy="105510"/>
          </a:xfrm>
          <a:custGeom>
            <a:avLst/>
            <a:gdLst>
              <a:gd name="T0" fmla="*/ 146 w 185"/>
              <a:gd name="T1" fmla="*/ 140 h 161"/>
              <a:gd name="T2" fmla="*/ 105 w 185"/>
              <a:gd name="T3" fmla="*/ 155 h 161"/>
              <a:gd name="T4" fmla="*/ 5 w 185"/>
              <a:gd name="T5" fmla="*/ 161 h 161"/>
              <a:gd name="T6" fmla="*/ 0 w 185"/>
              <a:gd name="T7" fmla="*/ 156 h 161"/>
              <a:gd name="T8" fmla="*/ 5 w 185"/>
              <a:gd name="T9" fmla="*/ 152 h 161"/>
              <a:gd name="T10" fmla="*/ 104 w 185"/>
              <a:gd name="T11" fmla="*/ 147 h 161"/>
              <a:gd name="T12" fmla="*/ 146 w 185"/>
              <a:gd name="T13" fmla="*/ 130 h 161"/>
              <a:gd name="T14" fmla="*/ 171 w 185"/>
              <a:gd name="T15" fmla="*/ 4 h 161"/>
              <a:gd name="T16" fmla="*/ 175 w 185"/>
              <a:gd name="T17" fmla="*/ 0 h 161"/>
              <a:gd name="T18" fmla="*/ 180 w 185"/>
              <a:gd name="T19" fmla="*/ 3 h 161"/>
              <a:gd name="T20" fmla="*/ 151 w 185"/>
              <a:gd name="T21" fmla="*/ 136 h 161"/>
              <a:gd name="T22" fmla="*/ 146 w 185"/>
              <a:gd name="T23" fmla="*/ 140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5" h="161">
                <a:moveTo>
                  <a:pt x="146" y="140"/>
                </a:moveTo>
                <a:cubicBezTo>
                  <a:pt x="136" y="147"/>
                  <a:pt x="122" y="153"/>
                  <a:pt x="105" y="155"/>
                </a:cubicBezTo>
                <a:cubicBezTo>
                  <a:pt x="72" y="161"/>
                  <a:pt x="37" y="161"/>
                  <a:pt x="5" y="161"/>
                </a:cubicBezTo>
                <a:cubicBezTo>
                  <a:pt x="2" y="161"/>
                  <a:pt x="0" y="159"/>
                  <a:pt x="0" y="156"/>
                </a:cubicBezTo>
                <a:cubicBezTo>
                  <a:pt x="0" y="154"/>
                  <a:pt x="2" y="152"/>
                  <a:pt x="5" y="152"/>
                </a:cubicBezTo>
                <a:cubicBezTo>
                  <a:pt x="37" y="153"/>
                  <a:pt x="71" y="153"/>
                  <a:pt x="104" y="147"/>
                </a:cubicBezTo>
                <a:cubicBezTo>
                  <a:pt x="122" y="144"/>
                  <a:pt x="136" y="138"/>
                  <a:pt x="146" y="130"/>
                </a:cubicBezTo>
                <a:cubicBezTo>
                  <a:pt x="177" y="102"/>
                  <a:pt x="176" y="51"/>
                  <a:pt x="171" y="4"/>
                </a:cubicBezTo>
                <a:cubicBezTo>
                  <a:pt x="171" y="2"/>
                  <a:pt x="173" y="0"/>
                  <a:pt x="175" y="0"/>
                </a:cubicBezTo>
                <a:cubicBezTo>
                  <a:pt x="177" y="0"/>
                  <a:pt x="179" y="1"/>
                  <a:pt x="180" y="3"/>
                </a:cubicBezTo>
                <a:cubicBezTo>
                  <a:pt x="185" y="52"/>
                  <a:pt x="185" y="106"/>
                  <a:pt x="151" y="136"/>
                </a:cubicBezTo>
                <a:cubicBezTo>
                  <a:pt x="150" y="137"/>
                  <a:pt x="148" y="139"/>
                  <a:pt x="146" y="140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20" name="Freeform 64">
            <a:extLst>
              <a:ext uri="{FF2B5EF4-FFF2-40B4-BE49-F238E27FC236}">
                <a16:creationId xmlns:a16="http://schemas.microsoft.com/office/drawing/2014/main" id="{1D88626C-4408-4B58-8B19-A9B953952573}"/>
              </a:ext>
            </a:extLst>
          </p:cNvPr>
          <p:cNvSpPr>
            <a:spLocks/>
          </p:cNvSpPr>
          <p:nvPr/>
        </p:nvSpPr>
        <p:spPr bwMode="auto">
          <a:xfrm>
            <a:off x="2352429" y="3175537"/>
            <a:ext cx="116157" cy="115189"/>
          </a:xfrm>
          <a:custGeom>
            <a:avLst/>
            <a:gdLst>
              <a:gd name="T0" fmla="*/ 130 w 178"/>
              <a:gd name="T1" fmla="*/ 146 h 176"/>
              <a:gd name="T2" fmla="*/ 3 w 178"/>
              <a:gd name="T3" fmla="*/ 149 h 176"/>
              <a:gd name="T4" fmla="*/ 1 w 178"/>
              <a:gd name="T5" fmla="*/ 144 h 176"/>
              <a:gd name="T6" fmla="*/ 6 w 178"/>
              <a:gd name="T7" fmla="*/ 141 h 176"/>
              <a:gd name="T8" fmla="*/ 135 w 178"/>
              <a:gd name="T9" fmla="*/ 131 h 176"/>
              <a:gd name="T10" fmla="*/ 153 w 178"/>
              <a:gd name="T11" fmla="*/ 6 h 176"/>
              <a:gd name="T12" fmla="*/ 155 w 178"/>
              <a:gd name="T13" fmla="*/ 1 h 176"/>
              <a:gd name="T14" fmla="*/ 161 w 178"/>
              <a:gd name="T15" fmla="*/ 3 h 176"/>
              <a:gd name="T16" fmla="*/ 141 w 178"/>
              <a:gd name="T17" fmla="*/ 137 h 176"/>
              <a:gd name="T18" fmla="*/ 130 w 178"/>
              <a:gd name="T19" fmla="*/ 146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8" h="176">
                <a:moveTo>
                  <a:pt x="130" y="146"/>
                </a:moveTo>
                <a:cubicBezTo>
                  <a:pt x="89" y="176"/>
                  <a:pt x="34" y="161"/>
                  <a:pt x="3" y="149"/>
                </a:cubicBezTo>
                <a:cubicBezTo>
                  <a:pt x="1" y="148"/>
                  <a:pt x="0" y="146"/>
                  <a:pt x="1" y="144"/>
                </a:cubicBezTo>
                <a:cubicBezTo>
                  <a:pt x="1" y="142"/>
                  <a:pt x="4" y="140"/>
                  <a:pt x="6" y="141"/>
                </a:cubicBezTo>
                <a:cubicBezTo>
                  <a:pt x="38" y="154"/>
                  <a:pt x="98" y="169"/>
                  <a:pt x="135" y="131"/>
                </a:cubicBezTo>
                <a:cubicBezTo>
                  <a:pt x="169" y="97"/>
                  <a:pt x="169" y="44"/>
                  <a:pt x="153" y="6"/>
                </a:cubicBezTo>
                <a:cubicBezTo>
                  <a:pt x="152" y="4"/>
                  <a:pt x="153" y="2"/>
                  <a:pt x="155" y="1"/>
                </a:cubicBezTo>
                <a:cubicBezTo>
                  <a:pt x="158" y="0"/>
                  <a:pt x="160" y="1"/>
                  <a:pt x="161" y="3"/>
                </a:cubicBezTo>
                <a:cubicBezTo>
                  <a:pt x="177" y="43"/>
                  <a:pt x="178" y="100"/>
                  <a:pt x="141" y="137"/>
                </a:cubicBezTo>
                <a:cubicBezTo>
                  <a:pt x="138" y="140"/>
                  <a:pt x="134" y="144"/>
                  <a:pt x="130" y="146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21" name="Freeform 65">
            <a:extLst>
              <a:ext uri="{FF2B5EF4-FFF2-40B4-BE49-F238E27FC236}">
                <a16:creationId xmlns:a16="http://schemas.microsoft.com/office/drawing/2014/main" id="{6D983C5A-B8B4-4A23-8301-8D2AB322280E}"/>
              </a:ext>
            </a:extLst>
          </p:cNvPr>
          <p:cNvSpPr>
            <a:spLocks/>
          </p:cNvSpPr>
          <p:nvPr/>
        </p:nvSpPr>
        <p:spPr bwMode="auto">
          <a:xfrm>
            <a:off x="2330165" y="3153273"/>
            <a:ext cx="93410" cy="90022"/>
          </a:xfrm>
          <a:custGeom>
            <a:avLst/>
            <a:gdLst>
              <a:gd name="T0" fmla="*/ 104 w 143"/>
              <a:gd name="T1" fmla="*/ 112 h 137"/>
              <a:gd name="T2" fmla="*/ 3 w 143"/>
              <a:gd name="T3" fmla="*/ 114 h 137"/>
              <a:gd name="T4" fmla="*/ 1 w 143"/>
              <a:gd name="T5" fmla="*/ 108 h 137"/>
              <a:gd name="T6" fmla="*/ 6 w 143"/>
              <a:gd name="T7" fmla="*/ 106 h 137"/>
              <a:gd name="T8" fmla="*/ 104 w 143"/>
              <a:gd name="T9" fmla="*/ 101 h 137"/>
              <a:gd name="T10" fmla="*/ 114 w 143"/>
              <a:gd name="T11" fmla="*/ 7 h 137"/>
              <a:gd name="T12" fmla="*/ 115 w 143"/>
              <a:gd name="T13" fmla="*/ 2 h 137"/>
              <a:gd name="T14" fmla="*/ 121 w 143"/>
              <a:gd name="T15" fmla="*/ 2 h 137"/>
              <a:gd name="T16" fmla="*/ 110 w 143"/>
              <a:gd name="T17" fmla="*/ 107 h 137"/>
              <a:gd name="T18" fmla="*/ 104 w 143"/>
              <a:gd name="T19" fmla="*/ 112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3" h="137">
                <a:moveTo>
                  <a:pt x="104" y="112"/>
                </a:moveTo>
                <a:cubicBezTo>
                  <a:pt x="69" y="137"/>
                  <a:pt x="6" y="115"/>
                  <a:pt x="3" y="114"/>
                </a:cubicBezTo>
                <a:cubicBezTo>
                  <a:pt x="1" y="113"/>
                  <a:pt x="0" y="110"/>
                  <a:pt x="1" y="108"/>
                </a:cubicBezTo>
                <a:cubicBezTo>
                  <a:pt x="1" y="106"/>
                  <a:pt x="4" y="105"/>
                  <a:pt x="6" y="106"/>
                </a:cubicBezTo>
                <a:cubicBezTo>
                  <a:pt x="7" y="106"/>
                  <a:pt x="75" y="130"/>
                  <a:pt x="104" y="101"/>
                </a:cubicBezTo>
                <a:cubicBezTo>
                  <a:pt x="134" y="72"/>
                  <a:pt x="116" y="11"/>
                  <a:pt x="114" y="7"/>
                </a:cubicBezTo>
                <a:cubicBezTo>
                  <a:pt x="113" y="5"/>
                  <a:pt x="113" y="3"/>
                  <a:pt x="115" y="2"/>
                </a:cubicBezTo>
                <a:cubicBezTo>
                  <a:pt x="117" y="0"/>
                  <a:pt x="119" y="1"/>
                  <a:pt x="121" y="2"/>
                </a:cubicBezTo>
                <a:cubicBezTo>
                  <a:pt x="125" y="8"/>
                  <a:pt x="143" y="75"/>
                  <a:pt x="110" y="107"/>
                </a:cubicBezTo>
                <a:cubicBezTo>
                  <a:pt x="108" y="109"/>
                  <a:pt x="106" y="110"/>
                  <a:pt x="104" y="112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22" name="Freeform 66">
            <a:extLst>
              <a:ext uri="{FF2B5EF4-FFF2-40B4-BE49-F238E27FC236}">
                <a16:creationId xmlns:a16="http://schemas.microsoft.com/office/drawing/2014/main" id="{A7FE6A4C-5F80-416F-BFEA-4C920E6AC666}"/>
              </a:ext>
            </a:extLst>
          </p:cNvPr>
          <p:cNvSpPr>
            <a:spLocks/>
          </p:cNvSpPr>
          <p:nvPr/>
        </p:nvSpPr>
        <p:spPr bwMode="auto">
          <a:xfrm>
            <a:off x="2621042" y="3668236"/>
            <a:ext cx="366379" cy="349439"/>
          </a:xfrm>
          <a:custGeom>
            <a:avLst/>
            <a:gdLst>
              <a:gd name="T0" fmla="*/ 173 w 560"/>
              <a:gd name="T1" fmla="*/ 0 h 534"/>
              <a:gd name="T2" fmla="*/ 406 w 560"/>
              <a:gd name="T3" fmla="*/ 534 h 534"/>
              <a:gd name="T4" fmla="*/ 173 w 560"/>
              <a:gd name="T5" fmla="*/ 0 h 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60" h="534">
                <a:moveTo>
                  <a:pt x="173" y="0"/>
                </a:moveTo>
                <a:cubicBezTo>
                  <a:pt x="173" y="0"/>
                  <a:pt x="560" y="64"/>
                  <a:pt x="406" y="534"/>
                </a:cubicBezTo>
                <a:cubicBezTo>
                  <a:pt x="107" y="504"/>
                  <a:pt x="0" y="202"/>
                  <a:pt x="173" y="0"/>
                </a:cubicBezTo>
                <a:close/>
              </a:path>
            </a:pathLst>
          </a:custGeom>
          <a:solidFill>
            <a:srgbClr val="1BA1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23" name="Freeform 67">
            <a:extLst>
              <a:ext uri="{FF2B5EF4-FFF2-40B4-BE49-F238E27FC236}">
                <a16:creationId xmlns:a16="http://schemas.microsoft.com/office/drawing/2014/main" id="{C7C97AE7-B4E4-4EA2-A2C8-B507B836C494}"/>
              </a:ext>
            </a:extLst>
          </p:cNvPr>
          <p:cNvSpPr>
            <a:spLocks/>
          </p:cNvSpPr>
          <p:nvPr/>
        </p:nvSpPr>
        <p:spPr bwMode="auto">
          <a:xfrm>
            <a:off x="2720260" y="3627581"/>
            <a:ext cx="160200" cy="383802"/>
          </a:xfrm>
          <a:custGeom>
            <a:avLst/>
            <a:gdLst>
              <a:gd name="T0" fmla="*/ 0 w 245"/>
              <a:gd name="T1" fmla="*/ 2 h 586"/>
              <a:gd name="T2" fmla="*/ 10 w 245"/>
              <a:gd name="T3" fmla="*/ 0 h 586"/>
              <a:gd name="T4" fmla="*/ 245 w 245"/>
              <a:gd name="T5" fmla="*/ 580 h 586"/>
              <a:gd name="T6" fmla="*/ 238 w 245"/>
              <a:gd name="T7" fmla="*/ 586 h 586"/>
              <a:gd name="T8" fmla="*/ 0 w 245"/>
              <a:gd name="T9" fmla="*/ 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5" h="586">
                <a:moveTo>
                  <a:pt x="0" y="2"/>
                </a:moveTo>
                <a:cubicBezTo>
                  <a:pt x="10" y="0"/>
                  <a:pt x="10" y="0"/>
                  <a:pt x="10" y="0"/>
                </a:cubicBezTo>
                <a:cubicBezTo>
                  <a:pt x="72" y="365"/>
                  <a:pt x="243" y="578"/>
                  <a:pt x="245" y="580"/>
                </a:cubicBezTo>
                <a:cubicBezTo>
                  <a:pt x="238" y="586"/>
                  <a:pt x="238" y="586"/>
                  <a:pt x="238" y="586"/>
                </a:cubicBezTo>
                <a:cubicBezTo>
                  <a:pt x="236" y="584"/>
                  <a:pt x="63" y="369"/>
                  <a:pt x="0" y="2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24" name="Freeform 68">
            <a:extLst>
              <a:ext uri="{FF2B5EF4-FFF2-40B4-BE49-F238E27FC236}">
                <a16:creationId xmlns:a16="http://schemas.microsoft.com/office/drawing/2014/main" id="{CAA59518-B032-4118-B4A7-799A43AC69F4}"/>
              </a:ext>
            </a:extLst>
          </p:cNvPr>
          <p:cNvSpPr>
            <a:spLocks/>
          </p:cNvSpPr>
          <p:nvPr/>
        </p:nvSpPr>
        <p:spPr bwMode="auto">
          <a:xfrm>
            <a:off x="2695576" y="3721475"/>
            <a:ext cx="143745" cy="78406"/>
          </a:xfrm>
          <a:custGeom>
            <a:avLst/>
            <a:gdLst>
              <a:gd name="T0" fmla="*/ 78 w 220"/>
              <a:gd name="T1" fmla="*/ 4 h 120"/>
              <a:gd name="T2" fmla="*/ 113 w 220"/>
              <a:gd name="T3" fmla="*/ 2 h 120"/>
              <a:gd name="T4" fmla="*/ 156 w 220"/>
              <a:gd name="T5" fmla="*/ 15 h 120"/>
              <a:gd name="T6" fmla="*/ 162 w 220"/>
              <a:gd name="T7" fmla="*/ 18 h 120"/>
              <a:gd name="T8" fmla="*/ 217 w 220"/>
              <a:gd name="T9" fmla="*/ 40 h 120"/>
              <a:gd name="T10" fmla="*/ 219 w 220"/>
              <a:gd name="T11" fmla="*/ 46 h 120"/>
              <a:gd name="T12" fmla="*/ 213 w 220"/>
              <a:gd name="T13" fmla="*/ 49 h 120"/>
              <a:gd name="T14" fmla="*/ 159 w 220"/>
              <a:gd name="T15" fmla="*/ 27 h 120"/>
              <a:gd name="T16" fmla="*/ 152 w 220"/>
              <a:gd name="T17" fmla="*/ 24 h 120"/>
              <a:gd name="T18" fmla="*/ 111 w 220"/>
              <a:gd name="T19" fmla="*/ 12 h 120"/>
              <a:gd name="T20" fmla="*/ 53 w 220"/>
              <a:gd name="T21" fmla="*/ 30 h 120"/>
              <a:gd name="T22" fmla="*/ 10 w 220"/>
              <a:gd name="T23" fmla="*/ 116 h 120"/>
              <a:gd name="T24" fmla="*/ 4 w 220"/>
              <a:gd name="T25" fmla="*/ 119 h 120"/>
              <a:gd name="T26" fmla="*/ 1 w 220"/>
              <a:gd name="T27" fmla="*/ 113 h 120"/>
              <a:gd name="T28" fmla="*/ 47 w 220"/>
              <a:gd name="T29" fmla="*/ 23 h 120"/>
              <a:gd name="T30" fmla="*/ 78 w 220"/>
              <a:gd name="T31" fmla="*/ 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0" h="120">
                <a:moveTo>
                  <a:pt x="78" y="4"/>
                </a:moveTo>
                <a:cubicBezTo>
                  <a:pt x="89" y="1"/>
                  <a:pt x="101" y="0"/>
                  <a:pt x="113" y="2"/>
                </a:cubicBezTo>
                <a:cubicBezTo>
                  <a:pt x="128" y="5"/>
                  <a:pt x="142" y="10"/>
                  <a:pt x="156" y="15"/>
                </a:cubicBezTo>
                <a:cubicBezTo>
                  <a:pt x="162" y="18"/>
                  <a:pt x="162" y="18"/>
                  <a:pt x="162" y="18"/>
                </a:cubicBezTo>
                <a:cubicBezTo>
                  <a:pt x="181" y="24"/>
                  <a:pt x="199" y="32"/>
                  <a:pt x="217" y="40"/>
                </a:cubicBezTo>
                <a:cubicBezTo>
                  <a:pt x="219" y="41"/>
                  <a:pt x="220" y="44"/>
                  <a:pt x="219" y="46"/>
                </a:cubicBezTo>
                <a:cubicBezTo>
                  <a:pt x="218" y="49"/>
                  <a:pt x="215" y="50"/>
                  <a:pt x="213" y="49"/>
                </a:cubicBezTo>
                <a:cubicBezTo>
                  <a:pt x="196" y="41"/>
                  <a:pt x="178" y="33"/>
                  <a:pt x="159" y="27"/>
                </a:cubicBezTo>
                <a:cubicBezTo>
                  <a:pt x="152" y="24"/>
                  <a:pt x="152" y="24"/>
                  <a:pt x="152" y="24"/>
                </a:cubicBezTo>
                <a:cubicBezTo>
                  <a:pt x="139" y="19"/>
                  <a:pt x="125" y="14"/>
                  <a:pt x="111" y="12"/>
                </a:cubicBezTo>
                <a:cubicBezTo>
                  <a:pt x="89" y="8"/>
                  <a:pt x="69" y="14"/>
                  <a:pt x="53" y="30"/>
                </a:cubicBezTo>
                <a:cubicBezTo>
                  <a:pt x="31" y="52"/>
                  <a:pt x="20" y="84"/>
                  <a:pt x="10" y="116"/>
                </a:cubicBezTo>
                <a:cubicBezTo>
                  <a:pt x="9" y="118"/>
                  <a:pt x="6" y="120"/>
                  <a:pt x="4" y="119"/>
                </a:cubicBezTo>
                <a:cubicBezTo>
                  <a:pt x="2" y="118"/>
                  <a:pt x="0" y="116"/>
                  <a:pt x="1" y="113"/>
                </a:cubicBezTo>
                <a:cubicBezTo>
                  <a:pt x="11" y="81"/>
                  <a:pt x="23" y="47"/>
                  <a:pt x="47" y="23"/>
                </a:cubicBezTo>
                <a:cubicBezTo>
                  <a:pt x="56" y="14"/>
                  <a:pt x="67" y="8"/>
                  <a:pt x="78" y="4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25" name="Freeform 69">
            <a:extLst>
              <a:ext uri="{FF2B5EF4-FFF2-40B4-BE49-F238E27FC236}">
                <a16:creationId xmlns:a16="http://schemas.microsoft.com/office/drawing/2014/main" id="{A6384CB7-5F10-453E-8585-6DBCF21812D9}"/>
              </a:ext>
            </a:extLst>
          </p:cNvPr>
          <p:cNvSpPr>
            <a:spLocks/>
          </p:cNvSpPr>
          <p:nvPr/>
        </p:nvSpPr>
        <p:spPr bwMode="auto">
          <a:xfrm>
            <a:off x="2701868" y="3772777"/>
            <a:ext cx="163588" cy="93894"/>
          </a:xfrm>
          <a:custGeom>
            <a:avLst/>
            <a:gdLst>
              <a:gd name="T0" fmla="*/ 88 w 250"/>
              <a:gd name="T1" fmla="*/ 5 h 143"/>
              <a:gd name="T2" fmla="*/ 137 w 250"/>
              <a:gd name="T3" fmla="*/ 3 h 143"/>
              <a:gd name="T4" fmla="*/ 246 w 250"/>
              <a:gd name="T5" fmla="*/ 36 h 143"/>
              <a:gd name="T6" fmla="*/ 249 w 250"/>
              <a:gd name="T7" fmla="*/ 42 h 143"/>
              <a:gd name="T8" fmla="*/ 243 w 250"/>
              <a:gd name="T9" fmla="*/ 45 h 143"/>
              <a:gd name="T10" fmla="*/ 136 w 250"/>
              <a:gd name="T11" fmla="*/ 13 h 143"/>
              <a:gd name="T12" fmla="*/ 84 w 250"/>
              <a:gd name="T13" fmla="*/ 16 h 143"/>
              <a:gd name="T14" fmla="*/ 10 w 250"/>
              <a:gd name="T15" fmla="*/ 139 h 143"/>
              <a:gd name="T16" fmla="*/ 4 w 250"/>
              <a:gd name="T17" fmla="*/ 143 h 143"/>
              <a:gd name="T18" fmla="*/ 1 w 250"/>
              <a:gd name="T19" fmla="*/ 137 h 143"/>
              <a:gd name="T20" fmla="*/ 81 w 250"/>
              <a:gd name="T21" fmla="*/ 7 h 143"/>
              <a:gd name="T22" fmla="*/ 88 w 250"/>
              <a:gd name="T23" fmla="*/ 5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0" h="143">
                <a:moveTo>
                  <a:pt x="88" y="5"/>
                </a:moveTo>
                <a:cubicBezTo>
                  <a:pt x="102" y="0"/>
                  <a:pt x="119" y="0"/>
                  <a:pt x="137" y="3"/>
                </a:cubicBezTo>
                <a:cubicBezTo>
                  <a:pt x="174" y="10"/>
                  <a:pt x="212" y="23"/>
                  <a:pt x="246" y="36"/>
                </a:cubicBezTo>
                <a:cubicBezTo>
                  <a:pt x="249" y="37"/>
                  <a:pt x="250" y="39"/>
                  <a:pt x="249" y="42"/>
                </a:cubicBezTo>
                <a:cubicBezTo>
                  <a:pt x="248" y="44"/>
                  <a:pt x="245" y="46"/>
                  <a:pt x="243" y="45"/>
                </a:cubicBezTo>
                <a:cubicBezTo>
                  <a:pt x="209" y="32"/>
                  <a:pt x="172" y="19"/>
                  <a:pt x="136" y="13"/>
                </a:cubicBezTo>
                <a:cubicBezTo>
                  <a:pt x="116" y="9"/>
                  <a:pt x="98" y="10"/>
                  <a:pt x="84" y="16"/>
                </a:cubicBezTo>
                <a:cubicBezTo>
                  <a:pt x="41" y="33"/>
                  <a:pt x="22" y="88"/>
                  <a:pt x="10" y="139"/>
                </a:cubicBezTo>
                <a:cubicBezTo>
                  <a:pt x="9" y="142"/>
                  <a:pt x="7" y="143"/>
                  <a:pt x="4" y="143"/>
                </a:cubicBezTo>
                <a:cubicBezTo>
                  <a:pt x="2" y="142"/>
                  <a:pt x="0" y="139"/>
                  <a:pt x="1" y="137"/>
                </a:cubicBezTo>
                <a:cubicBezTo>
                  <a:pt x="14" y="83"/>
                  <a:pt x="33" y="26"/>
                  <a:pt x="81" y="7"/>
                </a:cubicBezTo>
                <a:cubicBezTo>
                  <a:pt x="83" y="6"/>
                  <a:pt x="85" y="5"/>
                  <a:pt x="88" y="5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26" name="Freeform 70">
            <a:extLst>
              <a:ext uri="{FF2B5EF4-FFF2-40B4-BE49-F238E27FC236}">
                <a16:creationId xmlns:a16="http://schemas.microsoft.com/office/drawing/2014/main" id="{258410F1-A054-47D0-997A-539081FB5E4F}"/>
              </a:ext>
            </a:extLst>
          </p:cNvPr>
          <p:cNvSpPr>
            <a:spLocks/>
          </p:cNvSpPr>
          <p:nvPr/>
        </p:nvSpPr>
        <p:spPr bwMode="auto">
          <a:xfrm>
            <a:off x="2729455" y="3814400"/>
            <a:ext cx="148584" cy="105026"/>
          </a:xfrm>
          <a:custGeom>
            <a:avLst/>
            <a:gdLst>
              <a:gd name="T0" fmla="*/ 89 w 227"/>
              <a:gd name="T1" fmla="*/ 16 h 161"/>
              <a:gd name="T2" fmla="*/ 225 w 227"/>
              <a:gd name="T3" fmla="*/ 61 h 161"/>
              <a:gd name="T4" fmla="*/ 225 w 227"/>
              <a:gd name="T5" fmla="*/ 68 h 161"/>
              <a:gd name="T6" fmla="*/ 219 w 227"/>
              <a:gd name="T7" fmla="*/ 68 h 161"/>
              <a:gd name="T8" fmla="*/ 77 w 227"/>
              <a:gd name="T9" fmla="*/ 30 h 161"/>
              <a:gd name="T10" fmla="*/ 11 w 227"/>
              <a:gd name="T11" fmla="*/ 156 h 161"/>
              <a:gd name="T12" fmla="*/ 7 w 227"/>
              <a:gd name="T13" fmla="*/ 161 h 161"/>
              <a:gd name="T14" fmla="*/ 2 w 227"/>
              <a:gd name="T15" fmla="*/ 157 h 161"/>
              <a:gd name="T16" fmla="*/ 73 w 227"/>
              <a:gd name="T17" fmla="*/ 22 h 161"/>
              <a:gd name="T18" fmla="*/ 89 w 227"/>
              <a:gd name="T19" fmla="*/ 16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7" h="161">
                <a:moveTo>
                  <a:pt x="89" y="16"/>
                </a:moveTo>
                <a:cubicBezTo>
                  <a:pt x="143" y="0"/>
                  <a:pt x="196" y="37"/>
                  <a:pt x="225" y="61"/>
                </a:cubicBezTo>
                <a:cubicBezTo>
                  <a:pt x="227" y="63"/>
                  <a:pt x="227" y="66"/>
                  <a:pt x="225" y="68"/>
                </a:cubicBezTo>
                <a:cubicBezTo>
                  <a:pt x="224" y="70"/>
                  <a:pt x="221" y="70"/>
                  <a:pt x="219" y="68"/>
                </a:cubicBezTo>
                <a:cubicBezTo>
                  <a:pt x="189" y="43"/>
                  <a:pt x="132" y="4"/>
                  <a:pt x="77" y="30"/>
                </a:cubicBezTo>
                <a:cubicBezTo>
                  <a:pt x="29" y="54"/>
                  <a:pt x="9" y="111"/>
                  <a:pt x="11" y="156"/>
                </a:cubicBezTo>
                <a:cubicBezTo>
                  <a:pt x="11" y="159"/>
                  <a:pt x="9" y="161"/>
                  <a:pt x="7" y="161"/>
                </a:cubicBezTo>
                <a:cubicBezTo>
                  <a:pt x="4" y="161"/>
                  <a:pt x="2" y="159"/>
                  <a:pt x="2" y="157"/>
                </a:cubicBezTo>
                <a:cubicBezTo>
                  <a:pt x="0" y="108"/>
                  <a:pt x="21" y="47"/>
                  <a:pt x="73" y="22"/>
                </a:cubicBezTo>
                <a:cubicBezTo>
                  <a:pt x="78" y="20"/>
                  <a:pt x="84" y="18"/>
                  <a:pt x="89" y="16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27" name="Freeform 71">
            <a:extLst>
              <a:ext uri="{FF2B5EF4-FFF2-40B4-BE49-F238E27FC236}">
                <a16:creationId xmlns:a16="http://schemas.microsoft.com/office/drawing/2014/main" id="{40F10547-D1FF-400C-A958-05CC122130B9}"/>
              </a:ext>
            </a:extLst>
          </p:cNvPr>
          <p:cNvSpPr>
            <a:spLocks/>
          </p:cNvSpPr>
          <p:nvPr/>
        </p:nvSpPr>
        <p:spPr bwMode="auto">
          <a:xfrm>
            <a:off x="2772046" y="3878287"/>
            <a:ext cx="112285" cy="83246"/>
          </a:xfrm>
          <a:custGeom>
            <a:avLst/>
            <a:gdLst>
              <a:gd name="T0" fmla="*/ 62 w 172"/>
              <a:gd name="T1" fmla="*/ 13 h 127"/>
              <a:gd name="T2" fmla="*/ 170 w 172"/>
              <a:gd name="T3" fmla="*/ 50 h 127"/>
              <a:gd name="T4" fmla="*/ 170 w 172"/>
              <a:gd name="T5" fmla="*/ 56 h 127"/>
              <a:gd name="T6" fmla="*/ 164 w 172"/>
              <a:gd name="T7" fmla="*/ 57 h 127"/>
              <a:gd name="T8" fmla="*/ 58 w 172"/>
              <a:gd name="T9" fmla="*/ 25 h 127"/>
              <a:gd name="T10" fmla="*/ 12 w 172"/>
              <a:gd name="T11" fmla="*/ 121 h 127"/>
              <a:gd name="T12" fmla="*/ 8 w 172"/>
              <a:gd name="T13" fmla="*/ 127 h 127"/>
              <a:gd name="T14" fmla="*/ 3 w 172"/>
              <a:gd name="T15" fmla="*/ 124 h 127"/>
              <a:gd name="T16" fmla="*/ 54 w 172"/>
              <a:gd name="T17" fmla="*/ 16 h 127"/>
              <a:gd name="T18" fmla="*/ 62 w 172"/>
              <a:gd name="T19" fmla="*/ 13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2" h="127">
                <a:moveTo>
                  <a:pt x="62" y="13"/>
                </a:moveTo>
                <a:cubicBezTo>
                  <a:pt x="108" y="0"/>
                  <a:pt x="167" y="48"/>
                  <a:pt x="170" y="50"/>
                </a:cubicBezTo>
                <a:cubicBezTo>
                  <a:pt x="172" y="51"/>
                  <a:pt x="172" y="54"/>
                  <a:pt x="170" y="56"/>
                </a:cubicBezTo>
                <a:cubicBezTo>
                  <a:pt x="169" y="58"/>
                  <a:pt x="166" y="59"/>
                  <a:pt x="164" y="57"/>
                </a:cubicBezTo>
                <a:cubicBezTo>
                  <a:pt x="163" y="56"/>
                  <a:pt x="100" y="5"/>
                  <a:pt x="58" y="25"/>
                </a:cubicBezTo>
                <a:cubicBezTo>
                  <a:pt x="15" y="45"/>
                  <a:pt x="11" y="116"/>
                  <a:pt x="12" y="121"/>
                </a:cubicBezTo>
                <a:cubicBezTo>
                  <a:pt x="12" y="124"/>
                  <a:pt x="11" y="126"/>
                  <a:pt x="8" y="127"/>
                </a:cubicBezTo>
                <a:cubicBezTo>
                  <a:pt x="6" y="127"/>
                  <a:pt x="3" y="126"/>
                  <a:pt x="3" y="124"/>
                </a:cubicBezTo>
                <a:cubicBezTo>
                  <a:pt x="0" y="116"/>
                  <a:pt x="7" y="39"/>
                  <a:pt x="54" y="16"/>
                </a:cubicBezTo>
                <a:cubicBezTo>
                  <a:pt x="56" y="15"/>
                  <a:pt x="59" y="14"/>
                  <a:pt x="62" y="13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28" name="Freeform 72">
            <a:extLst>
              <a:ext uri="{FF2B5EF4-FFF2-40B4-BE49-F238E27FC236}">
                <a16:creationId xmlns:a16="http://schemas.microsoft.com/office/drawing/2014/main" id="{A07B2870-58AE-492E-BA47-F9F7E0918B45}"/>
              </a:ext>
            </a:extLst>
          </p:cNvPr>
          <p:cNvSpPr>
            <a:spLocks/>
          </p:cNvSpPr>
          <p:nvPr/>
        </p:nvSpPr>
        <p:spPr bwMode="auto">
          <a:xfrm>
            <a:off x="2241596" y="3709375"/>
            <a:ext cx="403646" cy="377027"/>
          </a:xfrm>
          <a:custGeom>
            <a:avLst/>
            <a:gdLst>
              <a:gd name="T0" fmla="*/ 323 w 617"/>
              <a:gd name="T1" fmla="*/ 0 h 576"/>
              <a:gd name="T2" fmla="*/ 238 w 617"/>
              <a:gd name="T3" fmla="*/ 576 h 576"/>
              <a:gd name="T4" fmla="*/ 323 w 617"/>
              <a:gd name="T5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17" h="576">
                <a:moveTo>
                  <a:pt x="323" y="0"/>
                </a:moveTo>
                <a:cubicBezTo>
                  <a:pt x="323" y="0"/>
                  <a:pt x="617" y="259"/>
                  <a:pt x="238" y="576"/>
                </a:cubicBezTo>
                <a:cubicBezTo>
                  <a:pt x="0" y="393"/>
                  <a:pt x="69" y="79"/>
                  <a:pt x="323" y="0"/>
                </a:cubicBezTo>
                <a:close/>
              </a:path>
            </a:pathLst>
          </a:custGeom>
          <a:solidFill>
            <a:srgbClr val="1BA1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29" name="Freeform 73">
            <a:extLst>
              <a:ext uri="{FF2B5EF4-FFF2-40B4-BE49-F238E27FC236}">
                <a16:creationId xmlns:a16="http://schemas.microsoft.com/office/drawing/2014/main" id="{9A7BB9E0-AC01-4394-81FC-ABC1E9B402DC}"/>
              </a:ext>
            </a:extLst>
          </p:cNvPr>
          <p:cNvSpPr>
            <a:spLocks/>
          </p:cNvSpPr>
          <p:nvPr/>
        </p:nvSpPr>
        <p:spPr bwMode="auto">
          <a:xfrm>
            <a:off x="2369853" y="3668236"/>
            <a:ext cx="98250" cy="407034"/>
          </a:xfrm>
          <a:custGeom>
            <a:avLst/>
            <a:gdLst>
              <a:gd name="T0" fmla="*/ 141 w 150"/>
              <a:gd name="T1" fmla="*/ 0 h 622"/>
              <a:gd name="T2" fmla="*/ 150 w 150"/>
              <a:gd name="T3" fmla="*/ 4 h 622"/>
              <a:gd name="T4" fmla="*/ 43 w 150"/>
              <a:gd name="T5" fmla="*/ 621 h 622"/>
              <a:gd name="T6" fmla="*/ 33 w 150"/>
              <a:gd name="T7" fmla="*/ 622 h 622"/>
              <a:gd name="T8" fmla="*/ 141 w 150"/>
              <a:gd name="T9" fmla="*/ 0 h 6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0" h="622">
                <a:moveTo>
                  <a:pt x="141" y="0"/>
                </a:moveTo>
                <a:cubicBezTo>
                  <a:pt x="150" y="4"/>
                  <a:pt x="150" y="4"/>
                  <a:pt x="150" y="4"/>
                </a:cubicBezTo>
                <a:cubicBezTo>
                  <a:pt x="10" y="346"/>
                  <a:pt x="42" y="618"/>
                  <a:pt x="43" y="621"/>
                </a:cubicBezTo>
                <a:cubicBezTo>
                  <a:pt x="33" y="622"/>
                  <a:pt x="33" y="622"/>
                  <a:pt x="33" y="622"/>
                </a:cubicBezTo>
                <a:cubicBezTo>
                  <a:pt x="33" y="619"/>
                  <a:pt x="0" y="345"/>
                  <a:pt x="141" y="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30" name="Freeform 74">
            <a:extLst>
              <a:ext uri="{FF2B5EF4-FFF2-40B4-BE49-F238E27FC236}">
                <a16:creationId xmlns:a16="http://schemas.microsoft.com/office/drawing/2014/main" id="{6FD016B9-3B87-40BB-AE25-9C881B658AA4}"/>
              </a:ext>
            </a:extLst>
          </p:cNvPr>
          <p:cNvSpPr>
            <a:spLocks/>
          </p:cNvSpPr>
          <p:nvPr/>
        </p:nvSpPr>
        <p:spPr bwMode="auto">
          <a:xfrm>
            <a:off x="2352429" y="3760678"/>
            <a:ext cx="147133" cy="75986"/>
          </a:xfrm>
          <a:custGeom>
            <a:avLst/>
            <a:gdLst>
              <a:gd name="T0" fmla="*/ 125 w 225"/>
              <a:gd name="T1" fmla="*/ 4 h 116"/>
              <a:gd name="T2" fmla="*/ 155 w 225"/>
              <a:gd name="T3" fmla="*/ 21 h 116"/>
              <a:gd name="T4" fmla="*/ 185 w 225"/>
              <a:gd name="T5" fmla="*/ 54 h 116"/>
              <a:gd name="T6" fmla="*/ 189 w 225"/>
              <a:gd name="T7" fmla="*/ 60 h 116"/>
              <a:gd name="T8" fmla="*/ 223 w 225"/>
              <a:gd name="T9" fmla="*/ 108 h 116"/>
              <a:gd name="T10" fmla="*/ 222 w 225"/>
              <a:gd name="T11" fmla="*/ 114 h 116"/>
              <a:gd name="T12" fmla="*/ 216 w 225"/>
              <a:gd name="T13" fmla="*/ 113 h 116"/>
              <a:gd name="T14" fmla="*/ 182 w 225"/>
              <a:gd name="T15" fmla="*/ 66 h 116"/>
              <a:gd name="T16" fmla="*/ 177 w 225"/>
              <a:gd name="T17" fmla="*/ 60 h 116"/>
              <a:gd name="T18" fmla="*/ 149 w 225"/>
              <a:gd name="T19" fmla="*/ 28 h 116"/>
              <a:gd name="T20" fmla="*/ 90 w 225"/>
              <a:gd name="T21" fmla="*/ 12 h 116"/>
              <a:gd name="T22" fmla="*/ 8 w 225"/>
              <a:gd name="T23" fmla="*/ 63 h 116"/>
              <a:gd name="T24" fmla="*/ 1 w 225"/>
              <a:gd name="T25" fmla="*/ 62 h 116"/>
              <a:gd name="T26" fmla="*/ 2 w 225"/>
              <a:gd name="T27" fmla="*/ 56 h 116"/>
              <a:gd name="T28" fmla="*/ 88 w 225"/>
              <a:gd name="T29" fmla="*/ 3 h 116"/>
              <a:gd name="T30" fmla="*/ 125 w 225"/>
              <a:gd name="T31" fmla="*/ 4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5" h="116">
                <a:moveTo>
                  <a:pt x="125" y="4"/>
                </a:moveTo>
                <a:cubicBezTo>
                  <a:pt x="136" y="7"/>
                  <a:pt x="146" y="13"/>
                  <a:pt x="155" y="21"/>
                </a:cubicBezTo>
                <a:cubicBezTo>
                  <a:pt x="167" y="31"/>
                  <a:pt x="176" y="43"/>
                  <a:pt x="185" y="54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201" y="76"/>
                  <a:pt x="213" y="92"/>
                  <a:pt x="223" y="108"/>
                </a:cubicBezTo>
                <a:cubicBezTo>
                  <a:pt x="225" y="110"/>
                  <a:pt x="224" y="113"/>
                  <a:pt x="222" y="114"/>
                </a:cubicBezTo>
                <a:cubicBezTo>
                  <a:pt x="220" y="116"/>
                  <a:pt x="217" y="115"/>
                  <a:pt x="216" y="113"/>
                </a:cubicBezTo>
                <a:cubicBezTo>
                  <a:pt x="205" y="97"/>
                  <a:pt x="194" y="81"/>
                  <a:pt x="182" y="66"/>
                </a:cubicBezTo>
                <a:cubicBezTo>
                  <a:pt x="177" y="60"/>
                  <a:pt x="177" y="60"/>
                  <a:pt x="177" y="60"/>
                </a:cubicBezTo>
                <a:cubicBezTo>
                  <a:pt x="169" y="49"/>
                  <a:pt x="160" y="37"/>
                  <a:pt x="149" y="28"/>
                </a:cubicBezTo>
                <a:cubicBezTo>
                  <a:pt x="132" y="13"/>
                  <a:pt x="111" y="8"/>
                  <a:pt x="90" y="12"/>
                </a:cubicBezTo>
                <a:cubicBezTo>
                  <a:pt x="60" y="20"/>
                  <a:pt x="33" y="41"/>
                  <a:pt x="8" y="63"/>
                </a:cubicBezTo>
                <a:cubicBezTo>
                  <a:pt x="6" y="64"/>
                  <a:pt x="3" y="64"/>
                  <a:pt x="1" y="62"/>
                </a:cubicBezTo>
                <a:cubicBezTo>
                  <a:pt x="0" y="60"/>
                  <a:pt x="0" y="57"/>
                  <a:pt x="2" y="56"/>
                </a:cubicBezTo>
                <a:cubicBezTo>
                  <a:pt x="27" y="33"/>
                  <a:pt x="55" y="11"/>
                  <a:pt x="88" y="3"/>
                </a:cubicBezTo>
                <a:cubicBezTo>
                  <a:pt x="101" y="0"/>
                  <a:pt x="113" y="1"/>
                  <a:pt x="125" y="4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31" name="Freeform 75">
            <a:extLst>
              <a:ext uri="{FF2B5EF4-FFF2-40B4-BE49-F238E27FC236}">
                <a16:creationId xmlns:a16="http://schemas.microsoft.com/office/drawing/2014/main" id="{A983EF0A-ABC5-4D17-9585-E158CC77DE83}"/>
              </a:ext>
            </a:extLst>
          </p:cNvPr>
          <p:cNvSpPr>
            <a:spLocks/>
          </p:cNvSpPr>
          <p:nvPr/>
        </p:nvSpPr>
        <p:spPr bwMode="auto">
          <a:xfrm>
            <a:off x="2321938" y="3807140"/>
            <a:ext cx="173268" cy="84214"/>
          </a:xfrm>
          <a:custGeom>
            <a:avLst/>
            <a:gdLst>
              <a:gd name="T0" fmla="*/ 145 w 265"/>
              <a:gd name="T1" fmla="*/ 11 h 129"/>
              <a:gd name="T2" fmla="*/ 188 w 265"/>
              <a:gd name="T3" fmla="*/ 36 h 129"/>
              <a:gd name="T4" fmla="*/ 263 w 265"/>
              <a:gd name="T5" fmla="*/ 121 h 129"/>
              <a:gd name="T6" fmla="*/ 262 w 265"/>
              <a:gd name="T7" fmla="*/ 128 h 129"/>
              <a:gd name="T8" fmla="*/ 256 w 265"/>
              <a:gd name="T9" fmla="*/ 127 h 129"/>
              <a:gd name="T10" fmla="*/ 182 w 265"/>
              <a:gd name="T11" fmla="*/ 43 h 129"/>
              <a:gd name="T12" fmla="*/ 137 w 265"/>
              <a:gd name="T13" fmla="*/ 18 h 129"/>
              <a:gd name="T14" fmla="*/ 8 w 265"/>
              <a:gd name="T15" fmla="*/ 84 h 129"/>
              <a:gd name="T16" fmla="*/ 2 w 265"/>
              <a:gd name="T17" fmla="*/ 84 h 129"/>
              <a:gd name="T18" fmla="*/ 2 w 265"/>
              <a:gd name="T19" fmla="*/ 77 h 129"/>
              <a:gd name="T20" fmla="*/ 139 w 265"/>
              <a:gd name="T21" fmla="*/ 9 h 129"/>
              <a:gd name="T22" fmla="*/ 145 w 265"/>
              <a:gd name="T23" fmla="*/ 11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" h="129">
                <a:moveTo>
                  <a:pt x="145" y="11"/>
                </a:moveTo>
                <a:cubicBezTo>
                  <a:pt x="160" y="15"/>
                  <a:pt x="174" y="23"/>
                  <a:pt x="188" y="36"/>
                </a:cubicBezTo>
                <a:cubicBezTo>
                  <a:pt x="216" y="61"/>
                  <a:pt x="241" y="92"/>
                  <a:pt x="263" y="121"/>
                </a:cubicBezTo>
                <a:cubicBezTo>
                  <a:pt x="265" y="123"/>
                  <a:pt x="264" y="126"/>
                  <a:pt x="262" y="128"/>
                </a:cubicBezTo>
                <a:cubicBezTo>
                  <a:pt x="260" y="129"/>
                  <a:pt x="257" y="129"/>
                  <a:pt x="256" y="127"/>
                </a:cubicBezTo>
                <a:cubicBezTo>
                  <a:pt x="234" y="98"/>
                  <a:pt x="209" y="68"/>
                  <a:pt x="182" y="43"/>
                </a:cubicBezTo>
                <a:cubicBezTo>
                  <a:pt x="167" y="29"/>
                  <a:pt x="152" y="21"/>
                  <a:pt x="137" y="18"/>
                </a:cubicBezTo>
                <a:cubicBezTo>
                  <a:pt x="91" y="10"/>
                  <a:pt x="46" y="47"/>
                  <a:pt x="8" y="84"/>
                </a:cubicBezTo>
                <a:cubicBezTo>
                  <a:pt x="6" y="86"/>
                  <a:pt x="3" y="85"/>
                  <a:pt x="2" y="84"/>
                </a:cubicBezTo>
                <a:cubicBezTo>
                  <a:pt x="0" y="82"/>
                  <a:pt x="0" y="79"/>
                  <a:pt x="2" y="77"/>
                </a:cubicBezTo>
                <a:cubicBezTo>
                  <a:pt x="41" y="38"/>
                  <a:pt x="88" y="0"/>
                  <a:pt x="139" y="9"/>
                </a:cubicBezTo>
                <a:cubicBezTo>
                  <a:pt x="141" y="9"/>
                  <a:pt x="143" y="10"/>
                  <a:pt x="145" y="11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32" name="Freeform 76">
            <a:extLst>
              <a:ext uri="{FF2B5EF4-FFF2-40B4-BE49-F238E27FC236}">
                <a16:creationId xmlns:a16="http://schemas.microsoft.com/office/drawing/2014/main" id="{5DB5D18B-B6B1-4271-BACF-A7589BD7A6E3}"/>
              </a:ext>
            </a:extLst>
          </p:cNvPr>
          <p:cNvSpPr>
            <a:spLocks/>
          </p:cNvSpPr>
          <p:nvPr/>
        </p:nvSpPr>
        <p:spPr bwMode="auto">
          <a:xfrm>
            <a:off x="2317582" y="3863767"/>
            <a:ext cx="158264" cy="83246"/>
          </a:xfrm>
          <a:custGeom>
            <a:avLst/>
            <a:gdLst>
              <a:gd name="T0" fmla="*/ 150 w 242"/>
              <a:gd name="T1" fmla="*/ 10 h 127"/>
              <a:gd name="T2" fmla="*/ 241 w 242"/>
              <a:gd name="T3" fmla="*/ 120 h 127"/>
              <a:gd name="T4" fmla="*/ 238 w 242"/>
              <a:gd name="T5" fmla="*/ 126 h 127"/>
              <a:gd name="T6" fmla="*/ 232 w 242"/>
              <a:gd name="T7" fmla="*/ 123 h 127"/>
              <a:gd name="T8" fmla="*/ 132 w 242"/>
              <a:gd name="T9" fmla="*/ 16 h 127"/>
              <a:gd name="T10" fmla="*/ 10 w 242"/>
              <a:gd name="T11" fmla="*/ 88 h 127"/>
              <a:gd name="T12" fmla="*/ 3 w 242"/>
              <a:gd name="T13" fmla="*/ 90 h 127"/>
              <a:gd name="T14" fmla="*/ 1 w 242"/>
              <a:gd name="T15" fmla="*/ 83 h 127"/>
              <a:gd name="T16" fmla="*/ 133 w 242"/>
              <a:gd name="T17" fmla="*/ 7 h 127"/>
              <a:gd name="T18" fmla="*/ 150 w 242"/>
              <a:gd name="T19" fmla="*/ 1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2" h="127">
                <a:moveTo>
                  <a:pt x="150" y="10"/>
                </a:moveTo>
                <a:cubicBezTo>
                  <a:pt x="204" y="25"/>
                  <a:pt x="230" y="84"/>
                  <a:pt x="241" y="120"/>
                </a:cubicBezTo>
                <a:cubicBezTo>
                  <a:pt x="242" y="123"/>
                  <a:pt x="241" y="125"/>
                  <a:pt x="238" y="126"/>
                </a:cubicBezTo>
                <a:cubicBezTo>
                  <a:pt x="236" y="127"/>
                  <a:pt x="233" y="125"/>
                  <a:pt x="232" y="123"/>
                </a:cubicBezTo>
                <a:cubicBezTo>
                  <a:pt x="221" y="86"/>
                  <a:pt x="192" y="22"/>
                  <a:pt x="132" y="16"/>
                </a:cubicBezTo>
                <a:cubicBezTo>
                  <a:pt x="78" y="10"/>
                  <a:pt x="32" y="48"/>
                  <a:pt x="10" y="88"/>
                </a:cubicBezTo>
                <a:cubicBezTo>
                  <a:pt x="8" y="90"/>
                  <a:pt x="5" y="91"/>
                  <a:pt x="3" y="90"/>
                </a:cubicBezTo>
                <a:cubicBezTo>
                  <a:pt x="1" y="88"/>
                  <a:pt x="0" y="85"/>
                  <a:pt x="1" y="83"/>
                </a:cubicBezTo>
                <a:cubicBezTo>
                  <a:pt x="25" y="41"/>
                  <a:pt x="75" y="0"/>
                  <a:pt x="133" y="7"/>
                </a:cubicBezTo>
                <a:cubicBezTo>
                  <a:pt x="139" y="7"/>
                  <a:pt x="144" y="8"/>
                  <a:pt x="150" y="1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33" name="Freeform 77">
            <a:extLst>
              <a:ext uri="{FF2B5EF4-FFF2-40B4-BE49-F238E27FC236}">
                <a16:creationId xmlns:a16="http://schemas.microsoft.com/office/drawing/2014/main" id="{0316B3E4-D5FE-4460-B448-5FAF8F9F2B77}"/>
              </a:ext>
            </a:extLst>
          </p:cNvPr>
          <p:cNvSpPr>
            <a:spLocks/>
          </p:cNvSpPr>
          <p:nvPr/>
        </p:nvSpPr>
        <p:spPr bwMode="auto">
          <a:xfrm>
            <a:off x="2332102" y="3931525"/>
            <a:ext cx="119545" cy="67274"/>
          </a:xfrm>
          <a:custGeom>
            <a:avLst/>
            <a:gdLst>
              <a:gd name="T0" fmla="*/ 109 w 183"/>
              <a:gd name="T1" fmla="*/ 8 h 103"/>
              <a:gd name="T2" fmla="*/ 182 w 183"/>
              <a:gd name="T3" fmla="*/ 96 h 103"/>
              <a:gd name="T4" fmla="*/ 179 w 183"/>
              <a:gd name="T5" fmla="*/ 102 h 103"/>
              <a:gd name="T6" fmla="*/ 173 w 183"/>
              <a:gd name="T7" fmla="*/ 99 h 103"/>
              <a:gd name="T8" fmla="*/ 100 w 183"/>
              <a:gd name="T9" fmla="*/ 15 h 103"/>
              <a:gd name="T10" fmla="*/ 10 w 183"/>
              <a:gd name="T11" fmla="*/ 73 h 103"/>
              <a:gd name="T12" fmla="*/ 4 w 183"/>
              <a:gd name="T13" fmla="*/ 75 h 103"/>
              <a:gd name="T14" fmla="*/ 1 w 183"/>
              <a:gd name="T15" fmla="*/ 70 h 103"/>
              <a:gd name="T16" fmla="*/ 101 w 183"/>
              <a:gd name="T17" fmla="*/ 6 h 103"/>
              <a:gd name="T18" fmla="*/ 109 w 183"/>
              <a:gd name="T19" fmla="*/ 8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83" h="103">
                <a:moveTo>
                  <a:pt x="109" y="8"/>
                </a:moveTo>
                <a:cubicBezTo>
                  <a:pt x="156" y="21"/>
                  <a:pt x="181" y="93"/>
                  <a:pt x="182" y="96"/>
                </a:cubicBezTo>
                <a:cubicBezTo>
                  <a:pt x="183" y="98"/>
                  <a:pt x="181" y="101"/>
                  <a:pt x="179" y="102"/>
                </a:cubicBezTo>
                <a:cubicBezTo>
                  <a:pt x="176" y="103"/>
                  <a:pt x="174" y="101"/>
                  <a:pt x="173" y="99"/>
                </a:cubicBezTo>
                <a:cubicBezTo>
                  <a:pt x="173" y="98"/>
                  <a:pt x="146" y="21"/>
                  <a:pt x="100" y="15"/>
                </a:cubicBezTo>
                <a:cubicBezTo>
                  <a:pt x="53" y="10"/>
                  <a:pt x="12" y="68"/>
                  <a:pt x="10" y="73"/>
                </a:cubicBezTo>
                <a:cubicBezTo>
                  <a:pt x="9" y="75"/>
                  <a:pt x="6" y="76"/>
                  <a:pt x="4" y="75"/>
                </a:cubicBezTo>
                <a:cubicBezTo>
                  <a:pt x="2" y="75"/>
                  <a:pt x="0" y="72"/>
                  <a:pt x="1" y="70"/>
                </a:cubicBezTo>
                <a:cubicBezTo>
                  <a:pt x="3" y="62"/>
                  <a:pt x="49" y="0"/>
                  <a:pt x="101" y="6"/>
                </a:cubicBezTo>
                <a:cubicBezTo>
                  <a:pt x="104" y="6"/>
                  <a:pt x="107" y="7"/>
                  <a:pt x="109" y="8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34" name="Freeform 78">
            <a:extLst>
              <a:ext uri="{FF2B5EF4-FFF2-40B4-BE49-F238E27FC236}">
                <a16:creationId xmlns:a16="http://schemas.microsoft.com/office/drawing/2014/main" id="{9F184E00-168A-4F8B-82C2-7256D5FCAA44}"/>
              </a:ext>
            </a:extLst>
          </p:cNvPr>
          <p:cNvSpPr>
            <a:spLocks/>
          </p:cNvSpPr>
          <p:nvPr/>
        </p:nvSpPr>
        <p:spPr bwMode="auto">
          <a:xfrm>
            <a:off x="2797697" y="3101003"/>
            <a:ext cx="289425" cy="263773"/>
          </a:xfrm>
          <a:custGeom>
            <a:avLst/>
            <a:gdLst>
              <a:gd name="T0" fmla="*/ 195 w 443"/>
              <a:gd name="T1" fmla="*/ 403 h 403"/>
              <a:gd name="T2" fmla="*/ 284 w 443"/>
              <a:gd name="T3" fmla="*/ 0 h 403"/>
              <a:gd name="T4" fmla="*/ 195 w 443"/>
              <a:gd name="T5" fmla="*/ 403 h 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43" h="403">
                <a:moveTo>
                  <a:pt x="195" y="403"/>
                </a:moveTo>
                <a:cubicBezTo>
                  <a:pt x="195" y="403"/>
                  <a:pt x="0" y="205"/>
                  <a:pt x="284" y="0"/>
                </a:cubicBezTo>
                <a:cubicBezTo>
                  <a:pt x="443" y="141"/>
                  <a:pt x="379" y="360"/>
                  <a:pt x="195" y="403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35" name="Freeform 79">
            <a:extLst>
              <a:ext uri="{FF2B5EF4-FFF2-40B4-BE49-F238E27FC236}">
                <a16:creationId xmlns:a16="http://schemas.microsoft.com/office/drawing/2014/main" id="{C3CC50B8-20DE-4AB4-BE1C-F9A1745E1E29}"/>
              </a:ext>
            </a:extLst>
          </p:cNvPr>
          <p:cNvSpPr>
            <a:spLocks/>
          </p:cNvSpPr>
          <p:nvPr/>
        </p:nvSpPr>
        <p:spPr bwMode="auto">
          <a:xfrm>
            <a:off x="2912886" y="3109231"/>
            <a:ext cx="80342" cy="283617"/>
          </a:xfrm>
          <a:custGeom>
            <a:avLst/>
            <a:gdLst>
              <a:gd name="T0" fmla="*/ 6 w 123"/>
              <a:gd name="T1" fmla="*/ 434 h 434"/>
              <a:gd name="T2" fmla="*/ 0 w 123"/>
              <a:gd name="T3" fmla="*/ 431 h 434"/>
              <a:gd name="T4" fmla="*/ 107 w 123"/>
              <a:gd name="T5" fmla="*/ 0 h 434"/>
              <a:gd name="T6" fmla="*/ 113 w 123"/>
              <a:gd name="T7" fmla="*/ 0 h 434"/>
              <a:gd name="T8" fmla="*/ 6 w 123"/>
              <a:gd name="T9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3" h="434">
                <a:moveTo>
                  <a:pt x="6" y="434"/>
                </a:moveTo>
                <a:cubicBezTo>
                  <a:pt x="0" y="431"/>
                  <a:pt x="0" y="431"/>
                  <a:pt x="0" y="431"/>
                </a:cubicBezTo>
                <a:cubicBezTo>
                  <a:pt x="116" y="196"/>
                  <a:pt x="107" y="2"/>
                  <a:pt x="107" y="0"/>
                </a:cubicBezTo>
                <a:cubicBezTo>
                  <a:pt x="113" y="0"/>
                  <a:pt x="113" y="0"/>
                  <a:pt x="113" y="0"/>
                </a:cubicBezTo>
                <a:cubicBezTo>
                  <a:pt x="114" y="2"/>
                  <a:pt x="123" y="198"/>
                  <a:pt x="6" y="434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36" name="Freeform 80">
            <a:extLst>
              <a:ext uri="{FF2B5EF4-FFF2-40B4-BE49-F238E27FC236}">
                <a16:creationId xmlns:a16="http://schemas.microsoft.com/office/drawing/2014/main" id="{80612FA2-67CA-4077-A428-B4042EFCDE49}"/>
              </a:ext>
            </a:extLst>
          </p:cNvPr>
          <p:cNvSpPr>
            <a:spLocks/>
          </p:cNvSpPr>
          <p:nvPr/>
        </p:nvSpPr>
        <p:spPr bwMode="auto">
          <a:xfrm>
            <a:off x="2898367" y="3272334"/>
            <a:ext cx="102605" cy="57595"/>
          </a:xfrm>
          <a:custGeom>
            <a:avLst/>
            <a:gdLst>
              <a:gd name="T0" fmla="*/ 65 w 157"/>
              <a:gd name="T1" fmla="*/ 84 h 88"/>
              <a:gd name="T2" fmla="*/ 45 w 157"/>
              <a:gd name="T3" fmla="*/ 71 h 88"/>
              <a:gd name="T4" fmla="*/ 26 w 157"/>
              <a:gd name="T5" fmla="*/ 46 h 88"/>
              <a:gd name="T6" fmla="*/ 23 w 157"/>
              <a:gd name="T7" fmla="*/ 41 h 88"/>
              <a:gd name="T8" fmla="*/ 1 w 157"/>
              <a:gd name="T9" fmla="*/ 6 h 88"/>
              <a:gd name="T10" fmla="*/ 2 w 157"/>
              <a:gd name="T11" fmla="*/ 1 h 88"/>
              <a:gd name="T12" fmla="*/ 7 w 157"/>
              <a:gd name="T13" fmla="*/ 3 h 88"/>
              <a:gd name="T14" fmla="*/ 28 w 157"/>
              <a:gd name="T15" fmla="*/ 38 h 88"/>
              <a:gd name="T16" fmla="*/ 31 w 157"/>
              <a:gd name="T17" fmla="*/ 42 h 88"/>
              <a:gd name="T18" fmla="*/ 50 w 157"/>
              <a:gd name="T19" fmla="*/ 66 h 88"/>
              <a:gd name="T20" fmla="*/ 91 w 157"/>
              <a:gd name="T21" fmla="*/ 80 h 88"/>
              <a:gd name="T22" fmla="*/ 151 w 157"/>
              <a:gd name="T23" fmla="*/ 49 h 88"/>
              <a:gd name="T24" fmla="*/ 156 w 157"/>
              <a:gd name="T25" fmla="*/ 49 h 88"/>
              <a:gd name="T26" fmla="*/ 155 w 157"/>
              <a:gd name="T27" fmla="*/ 54 h 88"/>
              <a:gd name="T28" fmla="*/ 92 w 157"/>
              <a:gd name="T29" fmla="*/ 87 h 88"/>
              <a:gd name="T30" fmla="*/ 65 w 157"/>
              <a:gd name="T31" fmla="*/ 84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7" h="88">
                <a:moveTo>
                  <a:pt x="65" y="84"/>
                </a:moveTo>
                <a:cubicBezTo>
                  <a:pt x="58" y="81"/>
                  <a:pt x="51" y="77"/>
                  <a:pt x="45" y="71"/>
                </a:cubicBezTo>
                <a:cubicBezTo>
                  <a:pt x="37" y="63"/>
                  <a:pt x="32" y="54"/>
                  <a:pt x="26" y="46"/>
                </a:cubicBezTo>
                <a:cubicBezTo>
                  <a:pt x="23" y="41"/>
                  <a:pt x="23" y="41"/>
                  <a:pt x="23" y="41"/>
                </a:cubicBezTo>
                <a:cubicBezTo>
                  <a:pt x="15" y="30"/>
                  <a:pt x="8" y="18"/>
                  <a:pt x="1" y="6"/>
                </a:cubicBezTo>
                <a:cubicBezTo>
                  <a:pt x="0" y="4"/>
                  <a:pt x="1" y="2"/>
                  <a:pt x="2" y="1"/>
                </a:cubicBezTo>
                <a:cubicBezTo>
                  <a:pt x="4" y="0"/>
                  <a:pt x="6" y="1"/>
                  <a:pt x="7" y="3"/>
                </a:cubicBezTo>
                <a:cubicBezTo>
                  <a:pt x="13" y="14"/>
                  <a:pt x="21" y="26"/>
                  <a:pt x="28" y="38"/>
                </a:cubicBezTo>
                <a:cubicBezTo>
                  <a:pt x="31" y="42"/>
                  <a:pt x="31" y="42"/>
                  <a:pt x="31" y="42"/>
                </a:cubicBezTo>
                <a:cubicBezTo>
                  <a:pt x="37" y="50"/>
                  <a:pt x="43" y="59"/>
                  <a:pt x="50" y="66"/>
                </a:cubicBezTo>
                <a:cubicBezTo>
                  <a:pt x="61" y="77"/>
                  <a:pt x="75" y="82"/>
                  <a:pt x="91" y="80"/>
                </a:cubicBezTo>
                <a:cubicBezTo>
                  <a:pt x="113" y="77"/>
                  <a:pt x="133" y="63"/>
                  <a:pt x="151" y="49"/>
                </a:cubicBezTo>
                <a:cubicBezTo>
                  <a:pt x="153" y="48"/>
                  <a:pt x="155" y="48"/>
                  <a:pt x="156" y="49"/>
                </a:cubicBezTo>
                <a:cubicBezTo>
                  <a:pt x="157" y="51"/>
                  <a:pt x="157" y="53"/>
                  <a:pt x="155" y="54"/>
                </a:cubicBezTo>
                <a:cubicBezTo>
                  <a:pt x="136" y="68"/>
                  <a:pt x="115" y="83"/>
                  <a:pt x="92" y="87"/>
                </a:cubicBezTo>
                <a:cubicBezTo>
                  <a:pt x="83" y="88"/>
                  <a:pt x="74" y="87"/>
                  <a:pt x="65" y="84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37" name="Freeform 81">
            <a:extLst>
              <a:ext uri="{FF2B5EF4-FFF2-40B4-BE49-F238E27FC236}">
                <a16:creationId xmlns:a16="http://schemas.microsoft.com/office/drawing/2014/main" id="{61F7683B-D318-4B3E-85A4-4ACD47DE6CA4}"/>
              </a:ext>
            </a:extLst>
          </p:cNvPr>
          <p:cNvSpPr>
            <a:spLocks/>
          </p:cNvSpPr>
          <p:nvPr/>
        </p:nvSpPr>
        <p:spPr bwMode="auto">
          <a:xfrm>
            <a:off x="2904175" y="3234099"/>
            <a:ext cx="120997" cy="65339"/>
          </a:xfrm>
          <a:custGeom>
            <a:avLst/>
            <a:gdLst>
              <a:gd name="T0" fmla="*/ 79 w 185"/>
              <a:gd name="T1" fmla="*/ 90 h 100"/>
              <a:gd name="T2" fmla="*/ 50 w 185"/>
              <a:gd name="T3" fmla="*/ 69 h 100"/>
              <a:gd name="T4" fmla="*/ 1 w 185"/>
              <a:gd name="T5" fmla="*/ 5 h 100"/>
              <a:gd name="T6" fmla="*/ 2 w 185"/>
              <a:gd name="T7" fmla="*/ 1 h 100"/>
              <a:gd name="T8" fmla="*/ 6 w 185"/>
              <a:gd name="T9" fmla="*/ 2 h 100"/>
              <a:gd name="T10" fmla="*/ 54 w 185"/>
              <a:gd name="T11" fmla="*/ 65 h 100"/>
              <a:gd name="T12" fmla="*/ 85 w 185"/>
              <a:gd name="T13" fmla="*/ 85 h 100"/>
              <a:gd name="T14" fmla="*/ 180 w 185"/>
              <a:gd name="T15" fmla="*/ 45 h 100"/>
              <a:gd name="T16" fmla="*/ 184 w 185"/>
              <a:gd name="T17" fmla="*/ 45 h 100"/>
              <a:gd name="T18" fmla="*/ 184 w 185"/>
              <a:gd name="T19" fmla="*/ 50 h 100"/>
              <a:gd name="T20" fmla="*/ 83 w 185"/>
              <a:gd name="T21" fmla="*/ 91 h 100"/>
              <a:gd name="T22" fmla="*/ 79 w 185"/>
              <a:gd name="T23" fmla="*/ 9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5" h="100">
                <a:moveTo>
                  <a:pt x="79" y="90"/>
                </a:moveTo>
                <a:cubicBezTo>
                  <a:pt x="69" y="86"/>
                  <a:pt x="59" y="79"/>
                  <a:pt x="50" y="69"/>
                </a:cubicBezTo>
                <a:cubicBezTo>
                  <a:pt x="31" y="50"/>
                  <a:pt x="15" y="27"/>
                  <a:pt x="1" y="5"/>
                </a:cubicBezTo>
                <a:cubicBezTo>
                  <a:pt x="0" y="4"/>
                  <a:pt x="0" y="2"/>
                  <a:pt x="2" y="1"/>
                </a:cubicBezTo>
                <a:cubicBezTo>
                  <a:pt x="3" y="0"/>
                  <a:pt x="5" y="0"/>
                  <a:pt x="6" y="2"/>
                </a:cubicBezTo>
                <a:cubicBezTo>
                  <a:pt x="21" y="23"/>
                  <a:pt x="36" y="46"/>
                  <a:pt x="54" y="65"/>
                </a:cubicBezTo>
                <a:cubicBezTo>
                  <a:pt x="64" y="75"/>
                  <a:pt x="75" y="82"/>
                  <a:pt x="85" y="85"/>
                </a:cubicBezTo>
                <a:cubicBezTo>
                  <a:pt x="117" y="93"/>
                  <a:pt x="151" y="69"/>
                  <a:pt x="180" y="45"/>
                </a:cubicBezTo>
                <a:cubicBezTo>
                  <a:pt x="181" y="44"/>
                  <a:pt x="183" y="44"/>
                  <a:pt x="184" y="45"/>
                </a:cubicBezTo>
                <a:cubicBezTo>
                  <a:pt x="185" y="47"/>
                  <a:pt x="185" y="49"/>
                  <a:pt x="184" y="50"/>
                </a:cubicBezTo>
                <a:cubicBezTo>
                  <a:pt x="154" y="75"/>
                  <a:pt x="119" y="100"/>
                  <a:pt x="83" y="91"/>
                </a:cubicBezTo>
                <a:cubicBezTo>
                  <a:pt x="82" y="91"/>
                  <a:pt x="80" y="90"/>
                  <a:pt x="79" y="90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38" name="Freeform 82">
            <a:extLst>
              <a:ext uri="{FF2B5EF4-FFF2-40B4-BE49-F238E27FC236}">
                <a16:creationId xmlns:a16="http://schemas.microsoft.com/office/drawing/2014/main" id="{0B0226B9-3130-413D-91B9-47A0886E18F7}"/>
              </a:ext>
            </a:extLst>
          </p:cNvPr>
          <p:cNvSpPr>
            <a:spLocks/>
          </p:cNvSpPr>
          <p:nvPr/>
        </p:nvSpPr>
        <p:spPr bwMode="auto">
          <a:xfrm>
            <a:off x="2920630" y="3195864"/>
            <a:ext cx="110833" cy="63402"/>
          </a:xfrm>
          <a:custGeom>
            <a:avLst/>
            <a:gdLst>
              <a:gd name="T0" fmla="*/ 60 w 170"/>
              <a:gd name="T1" fmla="*/ 87 h 97"/>
              <a:gd name="T2" fmla="*/ 1 w 170"/>
              <a:gd name="T3" fmla="*/ 4 h 97"/>
              <a:gd name="T4" fmla="*/ 3 w 170"/>
              <a:gd name="T5" fmla="*/ 0 h 97"/>
              <a:gd name="T6" fmla="*/ 7 w 170"/>
              <a:gd name="T7" fmla="*/ 3 h 97"/>
              <a:gd name="T8" fmla="*/ 73 w 170"/>
              <a:gd name="T9" fmla="*/ 83 h 97"/>
              <a:gd name="T10" fmla="*/ 163 w 170"/>
              <a:gd name="T11" fmla="*/ 39 h 97"/>
              <a:gd name="T12" fmla="*/ 168 w 170"/>
              <a:gd name="T13" fmla="*/ 38 h 97"/>
              <a:gd name="T14" fmla="*/ 169 w 170"/>
              <a:gd name="T15" fmla="*/ 42 h 97"/>
              <a:gd name="T16" fmla="*/ 71 w 170"/>
              <a:gd name="T17" fmla="*/ 90 h 97"/>
              <a:gd name="T18" fmla="*/ 60 w 170"/>
              <a:gd name="T19" fmla="*/ 87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0" h="97">
                <a:moveTo>
                  <a:pt x="60" y="87"/>
                </a:moveTo>
                <a:cubicBezTo>
                  <a:pt x="22" y="73"/>
                  <a:pt x="7" y="30"/>
                  <a:pt x="1" y="4"/>
                </a:cubicBezTo>
                <a:cubicBezTo>
                  <a:pt x="0" y="2"/>
                  <a:pt x="1" y="0"/>
                  <a:pt x="3" y="0"/>
                </a:cubicBezTo>
                <a:cubicBezTo>
                  <a:pt x="5" y="0"/>
                  <a:pt x="7" y="1"/>
                  <a:pt x="7" y="3"/>
                </a:cubicBezTo>
                <a:cubicBezTo>
                  <a:pt x="13" y="29"/>
                  <a:pt x="30" y="76"/>
                  <a:pt x="73" y="83"/>
                </a:cubicBezTo>
                <a:cubicBezTo>
                  <a:pt x="110" y="90"/>
                  <a:pt x="145" y="66"/>
                  <a:pt x="163" y="39"/>
                </a:cubicBezTo>
                <a:cubicBezTo>
                  <a:pt x="164" y="37"/>
                  <a:pt x="166" y="37"/>
                  <a:pt x="168" y="38"/>
                </a:cubicBezTo>
                <a:cubicBezTo>
                  <a:pt x="169" y="39"/>
                  <a:pt x="170" y="41"/>
                  <a:pt x="169" y="42"/>
                </a:cubicBezTo>
                <a:cubicBezTo>
                  <a:pt x="150" y="71"/>
                  <a:pt x="112" y="97"/>
                  <a:pt x="71" y="90"/>
                </a:cubicBezTo>
                <a:cubicBezTo>
                  <a:pt x="67" y="89"/>
                  <a:pt x="64" y="88"/>
                  <a:pt x="60" y="87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39" name="Freeform 83">
            <a:extLst>
              <a:ext uri="{FF2B5EF4-FFF2-40B4-BE49-F238E27FC236}">
                <a16:creationId xmlns:a16="http://schemas.microsoft.com/office/drawing/2014/main" id="{168A1178-56E5-4255-B2F8-6128A64F9035}"/>
              </a:ext>
            </a:extLst>
          </p:cNvPr>
          <p:cNvSpPr>
            <a:spLocks/>
          </p:cNvSpPr>
          <p:nvPr/>
        </p:nvSpPr>
        <p:spPr bwMode="auto">
          <a:xfrm>
            <a:off x="2940958" y="3160533"/>
            <a:ext cx="83730" cy="51787"/>
          </a:xfrm>
          <a:custGeom>
            <a:avLst/>
            <a:gdLst>
              <a:gd name="T0" fmla="*/ 47 w 128"/>
              <a:gd name="T1" fmla="*/ 70 h 79"/>
              <a:gd name="T2" fmla="*/ 0 w 128"/>
              <a:gd name="T3" fmla="*/ 4 h 79"/>
              <a:gd name="T4" fmla="*/ 3 w 128"/>
              <a:gd name="T5" fmla="*/ 0 h 79"/>
              <a:gd name="T6" fmla="*/ 7 w 128"/>
              <a:gd name="T7" fmla="*/ 3 h 79"/>
              <a:gd name="T8" fmla="*/ 54 w 128"/>
              <a:gd name="T9" fmla="*/ 65 h 79"/>
              <a:gd name="T10" fmla="*/ 121 w 128"/>
              <a:gd name="T11" fmla="*/ 29 h 79"/>
              <a:gd name="T12" fmla="*/ 125 w 128"/>
              <a:gd name="T13" fmla="*/ 28 h 79"/>
              <a:gd name="T14" fmla="*/ 127 w 128"/>
              <a:gd name="T15" fmla="*/ 32 h 79"/>
              <a:gd name="T16" fmla="*/ 53 w 128"/>
              <a:gd name="T17" fmla="*/ 72 h 79"/>
              <a:gd name="T18" fmla="*/ 47 w 128"/>
              <a:gd name="T19" fmla="*/ 7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8" h="79">
                <a:moveTo>
                  <a:pt x="47" y="70"/>
                </a:moveTo>
                <a:cubicBezTo>
                  <a:pt x="15" y="58"/>
                  <a:pt x="1" y="7"/>
                  <a:pt x="0" y="4"/>
                </a:cubicBezTo>
                <a:cubicBezTo>
                  <a:pt x="0" y="2"/>
                  <a:pt x="1" y="1"/>
                  <a:pt x="3" y="0"/>
                </a:cubicBezTo>
                <a:cubicBezTo>
                  <a:pt x="4" y="0"/>
                  <a:pt x="6" y="1"/>
                  <a:pt x="7" y="3"/>
                </a:cubicBezTo>
                <a:cubicBezTo>
                  <a:pt x="7" y="3"/>
                  <a:pt x="22" y="59"/>
                  <a:pt x="54" y="65"/>
                </a:cubicBezTo>
                <a:cubicBezTo>
                  <a:pt x="87" y="72"/>
                  <a:pt x="119" y="32"/>
                  <a:pt x="121" y="29"/>
                </a:cubicBezTo>
                <a:cubicBezTo>
                  <a:pt x="122" y="28"/>
                  <a:pt x="124" y="27"/>
                  <a:pt x="125" y="28"/>
                </a:cubicBezTo>
                <a:cubicBezTo>
                  <a:pt x="127" y="28"/>
                  <a:pt x="128" y="30"/>
                  <a:pt x="127" y="32"/>
                </a:cubicBezTo>
                <a:cubicBezTo>
                  <a:pt x="125" y="37"/>
                  <a:pt x="89" y="79"/>
                  <a:pt x="53" y="72"/>
                </a:cubicBezTo>
                <a:cubicBezTo>
                  <a:pt x="51" y="71"/>
                  <a:pt x="49" y="71"/>
                  <a:pt x="47" y="70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40" name="Freeform 84">
            <a:extLst>
              <a:ext uri="{FF2B5EF4-FFF2-40B4-BE49-F238E27FC236}">
                <a16:creationId xmlns:a16="http://schemas.microsoft.com/office/drawing/2014/main" id="{A05D1F9E-B121-40EB-93B4-A0964A649AC7}"/>
              </a:ext>
            </a:extLst>
          </p:cNvPr>
          <p:cNvSpPr>
            <a:spLocks/>
          </p:cNvSpPr>
          <p:nvPr/>
        </p:nvSpPr>
        <p:spPr bwMode="auto">
          <a:xfrm>
            <a:off x="2901755" y="3237003"/>
            <a:ext cx="362991" cy="330564"/>
          </a:xfrm>
          <a:custGeom>
            <a:avLst/>
            <a:gdLst>
              <a:gd name="T0" fmla="*/ 244 w 555"/>
              <a:gd name="T1" fmla="*/ 505 h 505"/>
              <a:gd name="T2" fmla="*/ 356 w 555"/>
              <a:gd name="T3" fmla="*/ 0 h 505"/>
              <a:gd name="T4" fmla="*/ 244 w 555"/>
              <a:gd name="T5" fmla="*/ 505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55" h="505">
                <a:moveTo>
                  <a:pt x="244" y="505"/>
                </a:moveTo>
                <a:cubicBezTo>
                  <a:pt x="244" y="505"/>
                  <a:pt x="0" y="257"/>
                  <a:pt x="356" y="0"/>
                </a:cubicBezTo>
                <a:cubicBezTo>
                  <a:pt x="555" y="177"/>
                  <a:pt x="474" y="451"/>
                  <a:pt x="244" y="505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41" name="Freeform 85">
            <a:extLst>
              <a:ext uri="{FF2B5EF4-FFF2-40B4-BE49-F238E27FC236}">
                <a16:creationId xmlns:a16="http://schemas.microsoft.com/office/drawing/2014/main" id="{63091919-E14F-45D9-901F-1D94D3397540}"/>
              </a:ext>
            </a:extLst>
          </p:cNvPr>
          <p:cNvSpPr>
            <a:spLocks/>
          </p:cNvSpPr>
          <p:nvPr/>
        </p:nvSpPr>
        <p:spPr bwMode="auto">
          <a:xfrm>
            <a:off x="3045499" y="3247167"/>
            <a:ext cx="100670" cy="355731"/>
          </a:xfrm>
          <a:custGeom>
            <a:avLst/>
            <a:gdLst>
              <a:gd name="T0" fmla="*/ 7 w 154"/>
              <a:gd name="T1" fmla="*/ 544 h 544"/>
              <a:gd name="T2" fmla="*/ 0 w 154"/>
              <a:gd name="T3" fmla="*/ 541 h 544"/>
              <a:gd name="T4" fmla="*/ 134 w 154"/>
              <a:gd name="T5" fmla="*/ 1 h 544"/>
              <a:gd name="T6" fmla="*/ 142 w 154"/>
              <a:gd name="T7" fmla="*/ 0 h 544"/>
              <a:gd name="T8" fmla="*/ 7 w 154"/>
              <a:gd name="T9" fmla="*/ 544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4" h="544">
                <a:moveTo>
                  <a:pt x="7" y="544"/>
                </a:moveTo>
                <a:cubicBezTo>
                  <a:pt x="0" y="541"/>
                  <a:pt x="0" y="541"/>
                  <a:pt x="0" y="541"/>
                </a:cubicBezTo>
                <a:cubicBezTo>
                  <a:pt x="146" y="246"/>
                  <a:pt x="134" y="3"/>
                  <a:pt x="134" y="1"/>
                </a:cubicBezTo>
                <a:cubicBezTo>
                  <a:pt x="142" y="0"/>
                  <a:pt x="142" y="0"/>
                  <a:pt x="142" y="0"/>
                </a:cubicBezTo>
                <a:cubicBezTo>
                  <a:pt x="142" y="3"/>
                  <a:pt x="154" y="248"/>
                  <a:pt x="7" y="544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42" name="Freeform 86">
            <a:extLst>
              <a:ext uri="{FF2B5EF4-FFF2-40B4-BE49-F238E27FC236}">
                <a16:creationId xmlns:a16="http://schemas.microsoft.com/office/drawing/2014/main" id="{CE8FE043-02AA-4E56-83F2-7F8052E3B679}"/>
              </a:ext>
            </a:extLst>
          </p:cNvPr>
          <p:cNvSpPr>
            <a:spLocks/>
          </p:cNvSpPr>
          <p:nvPr/>
        </p:nvSpPr>
        <p:spPr bwMode="auto">
          <a:xfrm>
            <a:off x="3027591" y="3452378"/>
            <a:ext cx="128257" cy="72114"/>
          </a:xfrm>
          <a:custGeom>
            <a:avLst/>
            <a:gdLst>
              <a:gd name="T0" fmla="*/ 82 w 196"/>
              <a:gd name="T1" fmla="*/ 105 h 110"/>
              <a:gd name="T2" fmla="*/ 56 w 196"/>
              <a:gd name="T3" fmla="*/ 88 h 110"/>
              <a:gd name="T4" fmla="*/ 32 w 196"/>
              <a:gd name="T5" fmla="*/ 57 h 110"/>
              <a:gd name="T6" fmla="*/ 28 w 196"/>
              <a:gd name="T7" fmla="*/ 51 h 110"/>
              <a:gd name="T8" fmla="*/ 1 w 196"/>
              <a:gd name="T9" fmla="*/ 7 h 110"/>
              <a:gd name="T10" fmla="*/ 3 w 196"/>
              <a:gd name="T11" fmla="*/ 1 h 110"/>
              <a:gd name="T12" fmla="*/ 8 w 196"/>
              <a:gd name="T13" fmla="*/ 3 h 110"/>
              <a:gd name="T14" fmla="*/ 35 w 196"/>
              <a:gd name="T15" fmla="*/ 47 h 110"/>
              <a:gd name="T16" fmla="*/ 39 w 196"/>
              <a:gd name="T17" fmla="*/ 52 h 110"/>
              <a:gd name="T18" fmla="*/ 62 w 196"/>
              <a:gd name="T19" fmla="*/ 82 h 110"/>
              <a:gd name="T20" fmla="*/ 113 w 196"/>
              <a:gd name="T21" fmla="*/ 100 h 110"/>
              <a:gd name="T22" fmla="*/ 189 w 196"/>
              <a:gd name="T23" fmla="*/ 61 h 110"/>
              <a:gd name="T24" fmla="*/ 195 w 196"/>
              <a:gd name="T25" fmla="*/ 61 h 110"/>
              <a:gd name="T26" fmla="*/ 194 w 196"/>
              <a:gd name="T27" fmla="*/ 67 h 110"/>
              <a:gd name="T28" fmla="*/ 114 w 196"/>
              <a:gd name="T29" fmla="*/ 108 h 110"/>
              <a:gd name="T30" fmla="*/ 82 w 196"/>
              <a:gd name="T31" fmla="*/ 105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96" h="110">
                <a:moveTo>
                  <a:pt x="82" y="105"/>
                </a:moveTo>
                <a:cubicBezTo>
                  <a:pt x="72" y="101"/>
                  <a:pt x="63" y="96"/>
                  <a:pt x="56" y="88"/>
                </a:cubicBezTo>
                <a:cubicBezTo>
                  <a:pt x="47" y="79"/>
                  <a:pt x="39" y="67"/>
                  <a:pt x="32" y="57"/>
                </a:cubicBezTo>
                <a:cubicBezTo>
                  <a:pt x="28" y="51"/>
                  <a:pt x="28" y="51"/>
                  <a:pt x="28" y="51"/>
                </a:cubicBezTo>
                <a:cubicBezTo>
                  <a:pt x="18" y="37"/>
                  <a:pt x="9" y="22"/>
                  <a:pt x="1" y="7"/>
                </a:cubicBezTo>
                <a:cubicBezTo>
                  <a:pt x="0" y="5"/>
                  <a:pt x="1" y="2"/>
                  <a:pt x="3" y="1"/>
                </a:cubicBezTo>
                <a:cubicBezTo>
                  <a:pt x="5" y="0"/>
                  <a:pt x="7" y="1"/>
                  <a:pt x="8" y="3"/>
                </a:cubicBezTo>
                <a:cubicBezTo>
                  <a:pt x="16" y="17"/>
                  <a:pt x="25" y="32"/>
                  <a:pt x="35" y="47"/>
                </a:cubicBezTo>
                <a:cubicBezTo>
                  <a:pt x="39" y="52"/>
                  <a:pt x="39" y="52"/>
                  <a:pt x="39" y="52"/>
                </a:cubicBezTo>
                <a:cubicBezTo>
                  <a:pt x="46" y="62"/>
                  <a:pt x="53" y="73"/>
                  <a:pt x="62" y="82"/>
                </a:cubicBezTo>
                <a:cubicBezTo>
                  <a:pt x="76" y="97"/>
                  <a:pt x="94" y="103"/>
                  <a:pt x="113" y="100"/>
                </a:cubicBezTo>
                <a:cubicBezTo>
                  <a:pt x="141" y="95"/>
                  <a:pt x="166" y="78"/>
                  <a:pt x="189" y="61"/>
                </a:cubicBezTo>
                <a:cubicBezTo>
                  <a:pt x="191" y="59"/>
                  <a:pt x="194" y="59"/>
                  <a:pt x="195" y="61"/>
                </a:cubicBezTo>
                <a:cubicBezTo>
                  <a:pt x="196" y="63"/>
                  <a:pt x="196" y="66"/>
                  <a:pt x="194" y="67"/>
                </a:cubicBezTo>
                <a:cubicBezTo>
                  <a:pt x="170" y="85"/>
                  <a:pt x="144" y="103"/>
                  <a:pt x="114" y="108"/>
                </a:cubicBezTo>
                <a:cubicBezTo>
                  <a:pt x="103" y="110"/>
                  <a:pt x="92" y="109"/>
                  <a:pt x="82" y="105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43" name="Freeform 87">
            <a:extLst>
              <a:ext uri="{FF2B5EF4-FFF2-40B4-BE49-F238E27FC236}">
                <a16:creationId xmlns:a16="http://schemas.microsoft.com/office/drawing/2014/main" id="{44FEB0D0-E2C2-4BD7-98C7-2618AB13B930}"/>
              </a:ext>
            </a:extLst>
          </p:cNvPr>
          <p:cNvSpPr>
            <a:spLocks/>
          </p:cNvSpPr>
          <p:nvPr/>
        </p:nvSpPr>
        <p:spPr bwMode="auto">
          <a:xfrm>
            <a:off x="3034851" y="3403495"/>
            <a:ext cx="151972" cy="82278"/>
          </a:xfrm>
          <a:custGeom>
            <a:avLst/>
            <a:gdLst>
              <a:gd name="T0" fmla="*/ 98 w 232"/>
              <a:gd name="T1" fmla="*/ 113 h 126"/>
              <a:gd name="T2" fmla="*/ 62 w 232"/>
              <a:gd name="T3" fmla="*/ 88 h 126"/>
              <a:gd name="T4" fmla="*/ 1 w 232"/>
              <a:gd name="T5" fmla="*/ 7 h 126"/>
              <a:gd name="T6" fmla="*/ 2 w 232"/>
              <a:gd name="T7" fmla="*/ 2 h 126"/>
              <a:gd name="T8" fmla="*/ 8 w 232"/>
              <a:gd name="T9" fmla="*/ 3 h 126"/>
              <a:gd name="T10" fmla="*/ 68 w 232"/>
              <a:gd name="T11" fmla="*/ 82 h 126"/>
              <a:gd name="T12" fmla="*/ 106 w 232"/>
              <a:gd name="T13" fmla="*/ 107 h 126"/>
              <a:gd name="T14" fmla="*/ 225 w 232"/>
              <a:gd name="T15" fmla="*/ 57 h 126"/>
              <a:gd name="T16" fmla="*/ 230 w 232"/>
              <a:gd name="T17" fmla="*/ 57 h 126"/>
              <a:gd name="T18" fmla="*/ 230 w 232"/>
              <a:gd name="T19" fmla="*/ 63 h 126"/>
              <a:gd name="T20" fmla="*/ 104 w 232"/>
              <a:gd name="T21" fmla="*/ 115 h 126"/>
              <a:gd name="T22" fmla="*/ 98 w 232"/>
              <a:gd name="T23" fmla="*/ 113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2" h="126">
                <a:moveTo>
                  <a:pt x="98" y="113"/>
                </a:moveTo>
                <a:cubicBezTo>
                  <a:pt x="86" y="108"/>
                  <a:pt x="74" y="100"/>
                  <a:pt x="62" y="88"/>
                </a:cubicBezTo>
                <a:cubicBezTo>
                  <a:pt x="39" y="63"/>
                  <a:pt x="19" y="35"/>
                  <a:pt x="1" y="7"/>
                </a:cubicBezTo>
                <a:cubicBezTo>
                  <a:pt x="0" y="5"/>
                  <a:pt x="0" y="3"/>
                  <a:pt x="2" y="2"/>
                </a:cubicBezTo>
                <a:cubicBezTo>
                  <a:pt x="4" y="0"/>
                  <a:pt x="7" y="1"/>
                  <a:pt x="8" y="3"/>
                </a:cubicBezTo>
                <a:cubicBezTo>
                  <a:pt x="26" y="30"/>
                  <a:pt x="45" y="58"/>
                  <a:pt x="68" y="82"/>
                </a:cubicBezTo>
                <a:cubicBezTo>
                  <a:pt x="81" y="95"/>
                  <a:pt x="93" y="103"/>
                  <a:pt x="106" y="107"/>
                </a:cubicBezTo>
                <a:cubicBezTo>
                  <a:pt x="147" y="117"/>
                  <a:pt x="189" y="87"/>
                  <a:pt x="225" y="57"/>
                </a:cubicBezTo>
                <a:cubicBezTo>
                  <a:pt x="226" y="55"/>
                  <a:pt x="229" y="56"/>
                  <a:pt x="230" y="57"/>
                </a:cubicBezTo>
                <a:cubicBezTo>
                  <a:pt x="232" y="59"/>
                  <a:pt x="232" y="62"/>
                  <a:pt x="230" y="63"/>
                </a:cubicBezTo>
                <a:cubicBezTo>
                  <a:pt x="192" y="95"/>
                  <a:pt x="148" y="126"/>
                  <a:pt x="104" y="115"/>
                </a:cubicBezTo>
                <a:cubicBezTo>
                  <a:pt x="102" y="114"/>
                  <a:pt x="100" y="114"/>
                  <a:pt x="98" y="113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44" name="Freeform 88">
            <a:extLst>
              <a:ext uri="{FF2B5EF4-FFF2-40B4-BE49-F238E27FC236}">
                <a16:creationId xmlns:a16="http://schemas.microsoft.com/office/drawing/2014/main" id="{E39A6A7E-4AC8-4536-A5B9-E59E13767D9B}"/>
              </a:ext>
            </a:extLst>
          </p:cNvPr>
          <p:cNvSpPr>
            <a:spLocks/>
          </p:cNvSpPr>
          <p:nvPr/>
        </p:nvSpPr>
        <p:spPr bwMode="auto">
          <a:xfrm>
            <a:off x="3055663" y="3356064"/>
            <a:ext cx="138905" cy="79858"/>
          </a:xfrm>
          <a:custGeom>
            <a:avLst/>
            <a:gdLst>
              <a:gd name="T0" fmla="*/ 74 w 212"/>
              <a:gd name="T1" fmla="*/ 109 h 122"/>
              <a:gd name="T2" fmla="*/ 0 w 212"/>
              <a:gd name="T3" fmla="*/ 5 h 122"/>
              <a:gd name="T4" fmla="*/ 3 w 212"/>
              <a:gd name="T5" fmla="*/ 0 h 122"/>
              <a:gd name="T6" fmla="*/ 8 w 212"/>
              <a:gd name="T7" fmla="*/ 3 h 122"/>
              <a:gd name="T8" fmla="*/ 90 w 212"/>
              <a:gd name="T9" fmla="*/ 104 h 122"/>
              <a:gd name="T10" fmla="*/ 203 w 212"/>
              <a:gd name="T11" fmla="*/ 49 h 122"/>
              <a:gd name="T12" fmla="*/ 209 w 212"/>
              <a:gd name="T13" fmla="*/ 47 h 122"/>
              <a:gd name="T14" fmla="*/ 210 w 212"/>
              <a:gd name="T15" fmla="*/ 53 h 122"/>
              <a:gd name="T16" fmla="*/ 88 w 212"/>
              <a:gd name="T17" fmla="*/ 113 h 122"/>
              <a:gd name="T18" fmla="*/ 74 w 212"/>
              <a:gd name="T19" fmla="*/ 109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12" h="122">
                <a:moveTo>
                  <a:pt x="74" y="109"/>
                </a:moveTo>
                <a:cubicBezTo>
                  <a:pt x="27" y="92"/>
                  <a:pt x="8" y="38"/>
                  <a:pt x="0" y="5"/>
                </a:cubicBezTo>
                <a:cubicBezTo>
                  <a:pt x="0" y="3"/>
                  <a:pt x="1" y="1"/>
                  <a:pt x="3" y="0"/>
                </a:cubicBezTo>
                <a:cubicBezTo>
                  <a:pt x="5" y="0"/>
                  <a:pt x="8" y="1"/>
                  <a:pt x="8" y="3"/>
                </a:cubicBezTo>
                <a:cubicBezTo>
                  <a:pt x="16" y="37"/>
                  <a:pt x="37" y="95"/>
                  <a:pt x="90" y="104"/>
                </a:cubicBezTo>
                <a:cubicBezTo>
                  <a:pt x="137" y="113"/>
                  <a:pt x="181" y="82"/>
                  <a:pt x="203" y="49"/>
                </a:cubicBezTo>
                <a:cubicBezTo>
                  <a:pt x="205" y="47"/>
                  <a:pt x="207" y="46"/>
                  <a:pt x="209" y="47"/>
                </a:cubicBezTo>
                <a:cubicBezTo>
                  <a:pt x="211" y="49"/>
                  <a:pt x="212" y="51"/>
                  <a:pt x="210" y="53"/>
                </a:cubicBezTo>
                <a:cubicBezTo>
                  <a:pt x="187" y="89"/>
                  <a:pt x="140" y="122"/>
                  <a:pt x="88" y="113"/>
                </a:cubicBezTo>
                <a:cubicBezTo>
                  <a:pt x="83" y="112"/>
                  <a:pt x="79" y="110"/>
                  <a:pt x="74" y="109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45" name="Freeform 89">
            <a:extLst>
              <a:ext uri="{FF2B5EF4-FFF2-40B4-BE49-F238E27FC236}">
                <a16:creationId xmlns:a16="http://schemas.microsoft.com/office/drawing/2014/main" id="{A2C0F7A6-3960-43A1-BA8E-86B5049FC0D5}"/>
              </a:ext>
            </a:extLst>
          </p:cNvPr>
          <p:cNvSpPr>
            <a:spLocks/>
          </p:cNvSpPr>
          <p:nvPr/>
        </p:nvSpPr>
        <p:spPr bwMode="auto">
          <a:xfrm>
            <a:off x="3080830" y="3312021"/>
            <a:ext cx="104542" cy="64370"/>
          </a:xfrm>
          <a:custGeom>
            <a:avLst/>
            <a:gdLst>
              <a:gd name="T0" fmla="*/ 59 w 160"/>
              <a:gd name="T1" fmla="*/ 88 h 99"/>
              <a:gd name="T2" fmla="*/ 0 w 160"/>
              <a:gd name="T3" fmla="*/ 6 h 99"/>
              <a:gd name="T4" fmla="*/ 3 w 160"/>
              <a:gd name="T5" fmla="*/ 1 h 99"/>
              <a:gd name="T6" fmla="*/ 8 w 160"/>
              <a:gd name="T7" fmla="*/ 4 h 99"/>
              <a:gd name="T8" fmla="*/ 68 w 160"/>
              <a:gd name="T9" fmla="*/ 82 h 99"/>
              <a:gd name="T10" fmla="*/ 151 w 160"/>
              <a:gd name="T11" fmla="*/ 37 h 99"/>
              <a:gd name="T12" fmla="*/ 157 w 160"/>
              <a:gd name="T13" fmla="*/ 35 h 99"/>
              <a:gd name="T14" fmla="*/ 159 w 160"/>
              <a:gd name="T15" fmla="*/ 40 h 99"/>
              <a:gd name="T16" fmla="*/ 66 w 160"/>
              <a:gd name="T17" fmla="*/ 90 h 99"/>
              <a:gd name="T18" fmla="*/ 59 w 160"/>
              <a:gd name="T19" fmla="*/ 88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0" h="99">
                <a:moveTo>
                  <a:pt x="59" y="88"/>
                </a:moveTo>
                <a:cubicBezTo>
                  <a:pt x="18" y="74"/>
                  <a:pt x="1" y="9"/>
                  <a:pt x="0" y="6"/>
                </a:cubicBezTo>
                <a:cubicBezTo>
                  <a:pt x="0" y="4"/>
                  <a:pt x="1" y="1"/>
                  <a:pt x="3" y="1"/>
                </a:cubicBezTo>
                <a:cubicBezTo>
                  <a:pt x="5" y="0"/>
                  <a:pt x="8" y="1"/>
                  <a:pt x="8" y="4"/>
                </a:cubicBezTo>
                <a:cubicBezTo>
                  <a:pt x="9" y="4"/>
                  <a:pt x="27" y="74"/>
                  <a:pt x="68" y="82"/>
                </a:cubicBezTo>
                <a:cubicBezTo>
                  <a:pt x="109" y="90"/>
                  <a:pt x="149" y="41"/>
                  <a:pt x="151" y="37"/>
                </a:cubicBezTo>
                <a:cubicBezTo>
                  <a:pt x="152" y="35"/>
                  <a:pt x="155" y="34"/>
                  <a:pt x="157" y="35"/>
                </a:cubicBezTo>
                <a:cubicBezTo>
                  <a:pt x="159" y="36"/>
                  <a:pt x="160" y="38"/>
                  <a:pt x="159" y="40"/>
                </a:cubicBezTo>
                <a:cubicBezTo>
                  <a:pt x="156" y="47"/>
                  <a:pt x="112" y="99"/>
                  <a:pt x="66" y="90"/>
                </a:cubicBezTo>
                <a:cubicBezTo>
                  <a:pt x="64" y="90"/>
                  <a:pt x="61" y="89"/>
                  <a:pt x="59" y="88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46" name="Freeform 90">
            <a:extLst>
              <a:ext uri="{FF2B5EF4-FFF2-40B4-BE49-F238E27FC236}">
                <a16:creationId xmlns:a16="http://schemas.microsoft.com/office/drawing/2014/main" id="{71E792C5-4604-4FE5-9124-C63710A654F9}"/>
              </a:ext>
            </a:extLst>
          </p:cNvPr>
          <p:cNvSpPr>
            <a:spLocks/>
          </p:cNvSpPr>
          <p:nvPr/>
        </p:nvSpPr>
        <p:spPr bwMode="auto">
          <a:xfrm>
            <a:off x="2546508" y="3183764"/>
            <a:ext cx="350891" cy="412841"/>
          </a:xfrm>
          <a:custGeom>
            <a:avLst/>
            <a:gdLst>
              <a:gd name="T0" fmla="*/ 537 w 537"/>
              <a:gd name="T1" fmla="*/ 410 h 631"/>
              <a:gd name="T2" fmla="*/ 0 w 537"/>
              <a:gd name="T3" fmla="*/ 185 h 631"/>
              <a:gd name="T4" fmla="*/ 537 w 537"/>
              <a:gd name="T5" fmla="*/ 410 h 6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37" h="631">
                <a:moveTo>
                  <a:pt x="537" y="410"/>
                </a:moveTo>
                <a:cubicBezTo>
                  <a:pt x="537" y="410"/>
                  <a:pt x="213" y="631"/>
                  <a:pt x="0" y="185"/>
                </a:cubicBezTo>
                <a:cubicBezTo>
                  <a:pt x="236" y="0"/>
                  <a:pt x="523" y="144"/>
                  <a:pt x="537" y="41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47" name="Freeform 91">
            <a:extLst>
              <a:ext uri="{FF2B5EF4-FFF2-40B4-BE49-F238E27FC236}">
                <a16:creationId xmlns:a16="http://schemas.microsoft.com/office/drawing/2014/main" id="{8ECB998F-39E8-45EB-8C4F-CF8AEC078F8C}"/>
              </a:ext>
            </a:extLst>
          </p:cNvPr>
          <p:cNvSpPr>
            <a:spLocks/>
          </p:cNvSpPr>
          <p:nvPr/>
        </p:nvSpPr>
        <p:spPr bwMode="auto">
          <a:xfrm>
            <a:off x="2557640" y="3301857"/>
            <a:ext cx="377511" cy="174236"/>
          </a:xfrm>
          <a:custGeom>
            <a:avLst/>
            <a:gdLst>
              <a:gd name="T0" fmla="*/ 577 w 577"/>
              <a:gd name="T1" fmla="*/ 258 h 266"/>
              <a:gd name="T2" fmla="*/ 571 w 577"/>
              <a:gd name="T3" fmla="*/ 266 h 266"/>
              <a:gd name="T4" fmla="*/ 0 w 577"/>
              <a:gd name="T5" fmla="*/ 10 h 266"/>
              <a:gd name="T6" fmla="*/ 1 w 577"/>
              <a:gd name="T7" fmla="*/ 0 h 266"/>
              <a:gd name="T8" fmla="*/ 577 w 577"/>
              <a:gd name="T9" fmla="*/ 258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7" h="266">
                <a:moveTo>
                  <a:pt x="577" y="258"/>
                </a:moveTo>
                <a:cubicBezTo>
                  <a:pt x="571" y="266"/>
                  <a:pt x="571" y="266"/>
                  <a:pt x="571" y="266"/>
                </a:cubicBezTo>
                <a:cubicBezTo>
                  <a:pt x="274" y="45"/>
                  <a:pt x="2" y="10"/>
                  <a:pt x="0" y="10"/>
                </a:cubicBezTo>
                <a:cubicBezTo>
                  <a:pt x="1" y="0"/>
                  <a:pt x="1" y="0"/>
                  <a:pt x="1" y="0"/>
                </a:cubicBezTo>
                <a:cubicBezTo>
                  <a:pt x="4" y="1"/>
                  <a:pt x="278" y="36"/>
                  <a:pt x="577" y="258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48" name="Freeform 92">
            <a:extLst>
              <a:ext uri="{FF2B5EF4-FFF2-40B4-BE49-F238E27FC236}">
                <a16:creationId xmlns:a16="http://schemas.microsoft.com/office/drawing/2014/main" id="{98E99838-00D1-4152-89D3-873EF68513B8}"/>
              </a:ext>
            </a:extLst>
          </p:cNvPr>
          <p:cNvSpPr>
            <a:spLocks/>
          </p:cNvSpPr>
          <p:nvPr/>
        </p:nvSpPr>
        <p:spPr bwMode="auto">
          <a:xfrm>
            <a:off x="2763334" y="3331380"/>
            <a:ext cx="93894" cy="135033"/>
          </a:xfrm>
          <a:custGeom>
            <a:avLst/>
            <a:gdLst>
              <a:gd name="T0" fmla="*/ 132 w 143"/>
              <a:gd name="T1" fmla="*/ 136 h 206"/>
              <a:gd name="T2" fmla="*/ 108 w 143"/>
              <a:gd name="T3" fmla="*/ 161 h 206"/>
              <a:gd name="T4" fmla="*/ 69 w 143"/>
              <a:gd name="T5" fmla="*/ 181 h 206"/>
              <a:gd name="T6" fmla="*/ 62 w 143"/>
              <a:gd name="T7" fmla="*/ 184 h 206"/>
              <a:gd name="T8" fmla="*/ 7 w 143"/>
              <a:gd name="T9" fmla="*/ 205 h 206"/>
              <a:gd name="T10" fmla="*/ 1 w 143"/>
              <a:gd name="T11" fmla="*/ 202 h 206"/>
              <a:gd name="T12" fmla="*/ 4 w 143"/>
              <a:gd name="T13" fmla="*/ 197 h 206"/>
              <a:gd name="T14" fmla="*/ 58 w 143"/>
              <a:gd name="T15" fmla="*/ 175 h 206"/>
              <a:gd name="T16" fmla="*/ 65 w 143"/>
              <a:gd name="T17" fmla="*/ 173 h 206"/>
              <a:gd name="T18" fmla="*/ 103 w 143"/>
              <a:gd name="T19" fmla="*/ 153 h 206"/>
              <a:gd name="T20" fmla="*/ 132 w 143"/>
              <a:gd name="T21" fmla="*/ 100 h 206"/>
              <a:gd name="T22" fmla="*/ 104 w 143"/>
              <a:gd name="T23" fmla="*/ 8 h 206"/>
              <a:gd name="T24" fmla="*/ 106 w 143"/>
              <a:gd name="T25" fmla="*/ 1 h 206"/>
              <a:gd name="T26" fmla="*/ 113 w 143"/>
              <a:gd name="T27" fmla="*/ 3 h 206"/>
              <a:gd name="T28" fmla="*/ 142 w 143"/>
              <a:gd name="T29" fmla="*/ 100 h 206"/>
              <a:gd name="T30" fmla="*/ 132 w 143"/>
              <a:gd name="T31" fmla="*/ 136 h 2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3" h="206">
                <a:moveTo>
                  <a:pt x="132" y="136"/>
                </a:moveTo>
                <a:cubicBezTo>
                  <a:pt x="126" y="145"/>
                  <a:pt x="118" y="154"/>
                  <a:pt x="108" y="161"/>
                </a:cubicBezTo>
                <a:cubicBezTo>
                  <a:pt x="96" y="169"/>
                  <a:pt x="82" y="175"/>
                  <a:pt x="69" y="181"/>
                </a:cubicBezTo>
                <a:cubicBezTo>
                  <a:pt x="62" y="184"/>
                  <a:pt x="62" y="184"/>
                  <a:pt x="62" y="184"/>
                </a:cubicBezTo>
                <a:cubicBezTo>
                  <a:pt x="44" y="192"/>
                  <a:pt x="25" y="199"/>
                  <a:pt x="7" y="205"/>
                </a:cubicBezTo>
                <a:cubicBezTo>
                  <a:pt x="5" y="206"/>
                  <a:pt x="2" y="205"/>
                  <a:pt x="1" y="202"/>
                </a:cubicBezTo>
                <a:cubicBezTo>
                  <a:pt x="0" y="200"/>
                  <a:pt x="2" y="197"/>
                  <a:pt x="4" y="197"/>
                </a:cubicBezTo>
                <a:cubicBezTo>
                  <a:pt x="22" y="190"/>
                  <a:pt x="40" y="183"/>
                  <a:pt x="58" y="175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78" y="167"/>
                  <a:pt x="91" y="161"/>
                  <a:pt x="103" y="153"/>
                </a:cubicBezTo>
                <a:cubicBezTo>
                  <a:pt x="122" y="140"/>
                  <a:pt x="132" y="121"/>
                  <a:pt x="132" y="100"/>
                </a:cubicBezTo>
                <a:cubicBezTo>
                  <a:pt x="133" y="68"/>
                  <a:pt x="119" y="37"/>
                  <a:pt x="104" y="8"/>
                </a:cubicBezTo>
                <a:cubicBezTo>
                  <a:pt x="103" y="5"/>
                  <a:pt x="104" y="2"/>
                  <a:pt x="106" y="1"/>
                </a:cubicBezTo>
                <a:cubicBezTo>
                  <a:pt x="109" y="0"/>
                  <a:pt x="111" y="1"/>
                  <a:pt x="113" y="3"/>
                </a:cubicBezTo>
                <a:cubicBezTo>
                  <a:pt x="128" y="34"/>
                  <a:pt x="143" y="66"/>
                  <a:pt x="142" y="100"/>
                </a:cubicBezTo>
                <a:cubicBezTo>
                  <a:pt x="142" y="113"/>
                  <a:pt x="138" y="125"/>
                  <a:pt x="132" y="136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49" name="Freeform 93">
            <a:extLst>
              <a:ext uri="{FF2B5EF4-FFF2-40B4-BE49-F238E27FC236}">
                <a16:creationId xmlns:a16="http://schemas.microsoft.com/office/drawing/2014/main" id="{F0FDBBFA-3635-4835-9DFD-6A7013745FFF}"/>
              </a:ext>
            </a:extLst>
          </p:cNvPr>
          <p:cNvSpPr>
            <a:spLocks/>
          </p:cNvSpPr>
          <p:nvPr/>
        </p:nvSpPr>
        <p:spPr bwMode="auto">
          <a:xfrm>
            <a:off x="2711064" y="3287822"/>
            <a:ext cx="109865" cy="161168"/>
          </a:xfrm>
          <a:custGeom>
            <a:avLst/>
            <a:gdLst>
              <a:gd name="T0" fmla="*/ 143 w 168"/>
              <a:gd name="T1" fmla="*/ 159 h 247"/>
              <a:gd name="T2" fmla="*/ 108 w 168"/>
              <a:gd name="T3" fmla="*/ 194 h 247"/>
              <a:gd name="T4" fmla="*/ 7 w 168"/>
              <a:gd name="T5" fmla="*/ 246 h 247"/>
              <a:gd name="T6" fmla="*/ 1 w 168"/>
              <a:gd name="T7" fmla="*/ 243 h 247"/>
              <a:gd name="T8" fmla="*/ 3 w 168"/>
              <a:gd name="T9" fmla="*/ 237 h 247"/>
              <a:gd name="T10" fmla="*/ 103 w 168"/>
              <a:gd name="T11" fmla="*/ 186 h 247"/>
              <a:gd name="T12" fmla="*/ 138 w 168"/>
              <a:gd name="T13" fmla="*/ 148 h 247"/>
              <a:gd name="T14" fmla="*/ 106 w 168"/>
              <a:gd name="T15" fmla="*/ 8 h 247"/>
              <a:gd name="T16" fmla="*/ 108 w 168"/>
              <a:gd name="T17" fmla="*/ 1 h 247"/>
              <a:gd name="T18" fmla="*/ 114 w 168"/>
              <a:gd name="T19" fmla="*/ 3 h 247"/>
              <a:gd name="T20" fmla="*/ 146 w 168"/>
              <a:gd name="T21" fmla="*/ 152 h 247"/>
              <a:gd name="T22" fmla="*/ 143 w 168"/>
              <a:gd name="T23" fmla="*/ 159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8" h="247">
                <a:moveTo>
                  <a:pt x="143" y="159"/>
                </a:moveTo>
                <a:cubicBezTo>
                  <a:pt x="136" y="171"/>
                  <a:pt x="124" y="183"/>
                  <a:pt x="108" y="194"/>
                </a:cubicBezTo>
                <a:cubicBezTo>
                  <a:pt x="77" y="215"/>
                  <a:pt x="41" y="231"/>
                  <a:pt x="7" y="246"/>
                </a:cubicBezTo>
                <a:cubicBezTo>
                  <a:pt x="5" y="247"/>
                  <a:pt x="2" y="246"/>
                  <a:pt x="1" y="243"/>
                </a:cubicBezTo>
                <a:cubicBezTo>
                  <a:pt x="0" y="241"/>
                  <a:pt x="1" y="238"/>
                  <a:pt x="3" y="237"/>
                </a:cubicBezTo>
                <a:cubicBezTo>
                  <a:pt x="37" y="223"/>
                  <a:pt x="72" y="206"/>
                  <a:pt x="103" y="186"/>
                </a:cubicBezTo>
                <a:cubicBezTo>
                  <a:pt x="120" y="175"/>
                  <a:pt x="132" y="162"/>
                  <a:pt x="138" y="148"/>
                </a:cubicBezTo>
                <a:cubicBezTo>
                  <a:pt x="157" y="106"/>
                  <a:pt x="133" y="53"/>
                  <a:pt x="106" y="8"/>
                </a:cubicBezTo>
                <a:cubicBezTo>
                  <a:pt x="105" y="5"/>
                  <a:pt x="106" y="2"/>
                  <a:pt x="108" y="1"/>
                </a:cubicBezTo>
                <a:cubicBezTo>
                  <a:pt x="110" y="0"/>
                  <a:pt x="113" y="1"/>
                  <a:pt x="114" y="3"/>
                </a:cubicBezTo>
                <a:cubicBezTo>
                  <a:pt x="142" y="51"/>
                  <a:pt x="168" y="106"/>
                  <a:pt x="146" y="152"/>
                </a:cubicBezTo>
                <a:cubicBezTo>
                  <a:pt x="145" y="154"/>
                  <a:pt x="144" y="157"/>
                  <a:pt x="143" y="159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50" name="Freeform 94">
            <a:extLst>
              <a:ext uri="{FF2B5EF4-FFF2-40B4-BE49-F238E27FC236}">
                <a16:creationId xmlns:a16="http://schemas.microsoft.com/office/drawing/2014/main" id="{D0A60161-9E5A-4581-AA2D-4BA97B076E82}"/>
              </a:ext>
            </a:extLst>
          </p:cNvPr>
          <p:cNvSpPr>
            <a:spLocks/>
          </p:cNvSpPr>
          <p:nvPr/>
        </p:nvSpPr>
        <p:spPr bwMode="auto">
          <a:xfrm>
            <a:off x="2662665" y="3268462"/>
            <a:ext cx="105993" cy="147133"/>
          </a:xfrm>
          <a:custGeom>
            <a:avLst/>
            <a:gdLst>
              <a:gd name="T0" fmla="*/ 134 w 162"/>
              <a:gd name="T1" fmla="*/ 164 h 225"/>
              <a:gd name="T2" fmla="*/ 5 w 162"/>
              <a:gd name="T3" fmla="*/ 225 h 225"/>
              <a:gd name="T4" fmla="*/ 0 w 162"/>
              <a:gd name="T5" fmla="*/ 221 h 225"/>
              <a:gd name="T6" fmla="*/ 4 w 162"/>
              <a:gd name="T7" fmla="*/ 216 h 225"/>
              <a:gd name="T8" fmla="*/ 133 w 162"/>
              <a:gd name="T9" fmla="*/ 145 h 225"/>
              <a:gd name="T10" fmla="*/ 93 w 162"/>
              <a:gd name="T11" fmla="*/ 9 h 225"/>
              <a:gd name="T12" fmla="*/ 93 w 162"/>
              <a:gd name="T13" fmla="*/ 2 h 225"/>
              <a:gd name="T14" fmla="*/ 100 w 162"/>
              <a:gd name="T15" fmla="*/ 2 h 225"/>
              <a:gd name="T16" fmla="*/ 142 w 162"/>
              <a:gd name="T17" fmla="*/ 149 h 225"/>
              <a:gd name="T18" fmla="*/ 134 w 162"/>
              <a:gd name="T19" fmla="*/ 164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2" h="225">
                <a:moveTo>
                  <a:pt x="134" y="164"/>
                </a:moveTo>
                <a:cubicBezTo>
                  <a:pt x="106" y="212"/>
                  <a:pt x="43" y="223"/>
                  <a:pt x="5" y="225"/>
                </a:cubicBezTo>
                <a:cubicBezTo>
                  <a:pt x="2" y="225"/>
                  <a:pt x="0" y="223"/>
                  <a:pt x="0" y="221"/>
                </a:cubicBezTo>
                <a:cubicBezTo>
                  <a:pt x="0" y="218"/>
                  <a:pt x="2" y="216"/>
                  <a:pt x="4" y="216"/>
                </a:cubicBezTo>
                <a:cubicBezTo>
                  <a:pt x="43" y="214"/>
                  <a:pt x="112" y="202"/>
                  <a:pt x="133" y="145"/>
                </a:cubicBezTo>
                <a:cubicBezTo>
                  <a:pt x="152" y="95"/>
                  <a:pt x="127" y="40"/>
                  <a:pt x="93" y="9"/>
                </a:cubicBezTo>
                <a:cubicBezTo>
                  <a:pt x="92" y="7"/>
                  <a:pt x="91" y="4"/>
                  <a:pt x="93" y="2"/>
                </a:cubicBezTo>
                <a:cubicBezTo>
                  <a:pt x="95" y="0"/>
                  <a:pt x="98" y="0"/>
                  <a:pt x="100" y="2"/>
                </a:cubicBezTo>
                <a:cubicBezTo>
                  <a:pt x="135" y="35"/>
                  <a:pt x="162" y="94"/>
                  <a:pt x="142" y="149"/>
                </a:cubicBezTo>
                <a:cubicBezTo>
                  <a:pt x="140" y="154"/>
                  <a:pt x="137" y="159"/>
                  <a:pt x="134" y="164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51" name="Freeform 95">
            <a:extLst>
              <a:ext uri="{FF2B5EF4-FFF2-40B4-BE49-F238E27FC236}">
                <a16:creationId xmlns:a16="http://schemas.microsoft.com/office/drawing/2014/main" id="{8BF7119E-5CF0-4ED5-8D6C-9481E5D1D32C}"/>
              </a:ext>
            </a:extLst>
          </p:cNvPr>
          <p:cNvSpPr>
            <a:spLocks/>
          </p:cNvSpPr>
          <p:nvPr/>
        </p:nvSpPr>
        <p:spPr bwMode="auto">
          <a:xfrm>
            <a:off x="2619106" y="3267978"/>
            <a:ext cx="85666" cy="111801"/>
          </a:xfrm>
          <a:custGeom>
            <a:avLst/>
            <a:gdLst>
              <a:gd name="T0" fmla="*/ 108 w 131"/>
              <a:gd name="T1" fmla="*/ 122 h 171"/>
              <a:gd name="T2" fmla="*/ 5 w 131"/>
              <a:gd name="T3" fmla="*/ 170 h 171"/>
              <a:gd name="T4" fmla="*/ 0 w 131"/>
              <a:gd name="T5" fmla="*/ 166 h 171"/>
              <a:gd name="T6" fmla="*/ 4 w 131"/>
              <a:gd name="T7" fmla="*/ 161 h 171"/>
              <a:gd name="T8" fmla="*/ 103 w 131"/>
              <a:gd name="T9" fmla="*/ 111 h 171"/>
              <a:gd name="T10" fmla="*/ 70 w 131"/>
              <a:gd name="T11" fmla="*/ 10 h 171"/>
              <a:gd name="T12" fmla="*/ 68 w 131"/>
              <a:gd name="T13" fmla="*/ 3 h 171"/>
              <a:gd name="T14" fmla="*/ 75 w 131"/>
              <a:gd name="T15" fmla="*/ 2 h 171"/>
              <a:gd name="T16" fmla="*/ 112 w 131"/>
              <a:gd name="T17" fmla="*/ 114 h 171"/>
              <a:gd name="T18" fmla="*/ 108 w 131"/>
              <a:gd name="T19" fmla="*/ 122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171">
                <a:moveTo>
                  <a:pt x="108" y="122"/>
                </a:moveTo>
                <a:cubicBezTo>
                  <a:pt x="84" y="164"/>
                  <a:pt x="8" y="170"/>
                  <a:pt x="5" y="170"/>
                </a:cubicBezTo>
                <a:cubicBezTo>
                  <a:pt x="2" y="171"/>
                  <a:pt x="0" y="169"/>
                  <a:pt x="0" y="166"/>
                </a:cubicBezTo>
                <a:cubicBezTo>
                  <a:pt x="0" y="164"/>
                  <a:pt x="2" y="161"/>
                  <a:pt x="4" y="161"/>
                </a:cubicBezTo>
                <a:cubicBezTo>
                  <a:pt x="5" y="161"/>
                  <a:pt x="86" y="154"/>
                  <a:pt x="103" y="111"/>
                </a:cubicBezTo>
                <a:cubicBezTo>
                  <a:pt x="120" y="67"/>
                  <a:pt x="74" y="12"/>
                  <a:pt x="70" y="10"/>
                </a:cubicBezTo>
                <a:cubicBezTo>
                  <a:pt x="68" y="8"/>
                  <a:pt x="67" y="5"/>
                  <a:pt x="68" y="3"/>
                </a:cubicBezTo>
                <a:cubicBezTo>
                  <a:pt x="70" y="1"/>
                  <a:pt x="72" y="0"/>
                  <a:pt x="75" y="2"/>
                </a:cubicBezTo>
                <a:cubicBezTo>
                  <a:pt x="82" y="6"/>
                  <a:pt x="131" y="66"/>
                  <a:pt x="112" y="114"/>
                </a:cubicBezTo>
                <a:cubicBezTo>
                  <a:pt x="111" y="117"/>
                  <a:pt x="109" y="120"/>
                  <a:pt x="108" y="122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52" name="Freeform 96">
            <a:extLst>
              <a:ext uri="{FF2B5EF4-FFF2-40B4-BE49-F238E27FC236}">
                <a16:creationId xmlns:a16="http://schemas.microsoft.com/office/drawing/2014/main" id="{BDCC9792-1293-4124-97DB-94E005FF1435}"/>
              </a:ext>
            </a:extLst>
          </p:cNvPr>
          <p:cNvSpPr>
            <a:spLocks/>
          </p:cNvSpPr>
          <p:nvPr/>
        </p:nvSpPr>
        <p:spPr bwMode="auto">
          <a:xfrm>
            <a:off x="3484475" y="3201672"/>
            <a:ext cx="412358" cy="351375"/>
          </a:xfrm>
          <a:custGeom>
            <a:avLst/>
            <a:gdLst>
              <a:gd name="T0" fmla="*/ 222 w 631"/>
              <a:gd name="T1" fmla="*/ 537 h 537"/>
              <a:gd name="T2" fmla="*/ 446 w 631"/>
              <a:gd name="T3" fmla="*/ 0 h 537"/>
              <a:gd name="T4" fmla="*/ 222 w 631"/>
              <a:gd name="T5" fmla="*/ 537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31" h="537">
                <a:moveTo>
                  <a:pt x="222" y="537"/>
                </a:moveTo>
                <a:cubicBezTo>
                  <a:pt x="222" y="537"/>
                  <a:pt x="0" y="214"/>
                  <a:pt x="446" y="0"/>
                </a:cubicBezTo>
                <a:cubicBezTo>
                  <a:pt x="631" y="235"/>
                  <a:pt x="487" y="523"/>
                  <a:pt x="222" y="537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53" name="Freeform 97">
            <a:extLst>
              <a:ext uri="{FF2B5EF4-FFF2-40B4-BE49-F238E27FC236}">
                <a16:creationId xmlns:a16="http://schemas.microsoft.com/office/drawing/2014/main" id="{A95808E4-F66B-4CE3-838F-C5B5C5D40DC3}"/>
              </a:ext>
            </a:extLst>
          </p:cNvPr>
          <p:cNvSpPr>
            <a:spLocks/>
          </p:cNvSpPr>
          <p:nvPr/>
        </p:nvSpPr>
        <p:spPr bwMode="auto">
          <a:xfrm>
            <a:off x="3605472" y="3212804"/>
            <a:ext cx="173268" cy="377511"/>
          </a:xfrm>
          <a:custGeom>
            <a:avLst/>
            <a:gdLst>
              <a:gd name="T0" fmla="*/ 8 w 265"/>
              <a:gd name="T1" fmla="*/ 577 h 577"/>
              <a:gd name="T2" fmla="*/ 0 w 265"/>
              <a:gd name="T3" fmla="*/ 571 h 577"/>
              <a:gd name="T4" fmla="*/ 255 w 265"/>
              <a:gd name="T5" fmla="*/ 0 h 577"/>
              <a:gd name="T6" fmla="*/ 265 w 265"/>
              <a:gd name="T7" fmla="*/ 1 h 577"/>
              <a:gd name="T8" fmla="*/ 8 w 265"/>
              <a:gd name="T9" fmla="*/ 577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5" h="577">
                <a:moveTo>
                  <a:pt x="8" y="577"/>
                </a:moveTo>
                <a:cubicBezTo>
                  <a:pt x="0" y="571"/>
                  <a:pt x="0" y="571"/>
                  <a:pt x="0" y="571"/>
                </a:cubicBezTo>
                <a:cubicBezTo>
                  <a:pt x="220" y="274"/>
                  <a:pt x="255" y="2"/>
                  <a:pt x="255" y="0"/>
                </a:cubicBezTo>
                <a:cubicBezTo>
                  <a:pt x="265" y="1"/>
                  <a:pt x="265" y="1"/>
                  <a:pt x="265" y="1"/>
                </a:cubicBezTo>
                <a:cubicBezTo>
                  <a:pt x="264" y="4"/>
                  <a:pt x="229" y="278"/>
                  <a:pt x="8" y="577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54" name="Freeform 98">
            <a:extLst>
              <a:ext uri="{FF2B5EF4-FFF2-40B4-BE49-F238E27FC236}">
                <a16:creationId xmlns:a16="http://schemas.microsoft.com/office/drawing/2014/main" id="{8858CA67-9919-48DC-A6F2-16141911F1F6}"/>
              </a:ext>
            </a:extLst>
          </p:cNvPr>
          <p:cNvSpPr>
            <a:spLocks/>
          </p:cNvSpPr>
          <p:nvPr/>
        </p:nvSpPr>
        <p:spPr bwMode="auto">
          <a:xfrm>
            <a:off x="3614184" y="3419951"/>
            <a:ext cx="135033" cy="92926"/>
          </a:xfrm>
          <a:custGeom>
            <a:avLst/>
            <a:gdLst>
              <a:gd name="T0" fmla="*/ 71 w 206"/>
              <a:gd name="T1" fmla="*/ 131 h 142"/>
              <a:gd name="T2" fmla="*/ 46 w 206"/>
              <a:gd name="T3" fmla="*/ 108 h 142"/>
              <a:gd name="T4" fmla="*/ 25 w 206"/>
              <a:gd name="T5" fmla="*/ 68 h 142"/>
              <a:gd name="T6" fmla="*/ 23 w 206"/>
              <a:gd name="T7" fmla="*/ 61 h 142"/>
              <a:gd name="T8" fmla="*/ 1 w 206"/>
              <a:gd name="T9" fmla="*/ 7 h 142"/>
              <a:gd name="T10" fmla="*/ 4 w 206"/>
              <a:gd name="T11" fmla="*/ 1 h 142"/>
              <a:gd name="T12" fmla="*/ 10 w 206"/>
              <a:gd name="T13" fmla="*/ 4 h 142"/>
              <a:gd name="T14" fmla="*/ 31 w 206"/>
              <a:gd name="T15" fmla="*/ 57 h 142"/>
              <a:gd name="T16" fmla="*/ 34 w 206"/>
              <a:gd name="T17" fmla="*/ 64 h 142"/>
              <a:gd name="T18" fmla="*/ 54 w 206"/>
              <a:gd name="T19" fmla="*/ 102 h 142"/>
              <a:gd name="T20" fmla="*/ 107 w 206"/>
              <a:gd name="T21" fmla="*/ 132 h 142"/>
              <a:gd name="T22" fmla="*/ 199 w 206"/>
              <a:gd name="T23" fmla="*/ 103 h 142"/>
              <a:gd name="T24" fmla="*/ 205 w 206"/>
              <a:gd name="T25" fmla="*/ 105 h 142"/>
              <a:gd name="T26" fmla="*/ 203 w 206"/>
              <a:gd name="T27" fmla="*/ 112 h 142"/>
              <a:gd name="T28" fmla="*/ 107 w 206"/>
              <a:gd name="T29" fmla="*/ 141 h 142"/>
              <a:gd name="T30" fmla="*/ 71 w 206"/>
              <a:gd name="T31" fmla="*/ 131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06" h="142">
                <a:moveTo>
                  <a:pt x="71" y="131"/>
                </a:moveTo>
                <a:cubicBezTo>
                  <a:pt x="61" y="125"/>
                  <a:pt x="53" y="117"/>
                  <a:pt x="46" y="108"/>
                </a:cubicBezTo>
                <a:cubicBezTo>
                  <a:pt x="37" y="95"/>
                  <a:pt x="31" y="81"/>
                  <a:pt x="25" y="68"/>
                </a:cubicBezTo>
                <a:cubicBezTo>
                  <a:pt x="23" y="61"/>
                  <a:pt x="23" y="61"/>
                  <a:pt x="23" y="61"/>
                </a:cubicBezTo>
                <a:cubicBezTo>
                  <a:pt x="15" y="43"/>
                  <a:pt x="7" y="25"/>
                  <a:pt x="1" y="7"/>
                </a:cubicBezTo>
                <a:cubicBezTo>
                  <a:pt x="0" y="4"/>
                  <a:pt x="2" y="1"/>
                  <a:pt x="4" y="1"/>
                </a:cubicBezTo>
                <a:cubicBezTo>
                  <a:pt x="6" y="0"/>
                  <a:pt x="9" y="1"/>
                  <a:pt x="10" y="4"/>
                </a:cubicBezTo>
                <a:cubicBezTo>
                  <a:pt x="16" y="21"/>
                  <a:pt x="23" y="39"/>
                  <a:pt x="31" y="57"/>
                </a:cubicBezTo>
                <a:cubicBezTo>
                  <a:pt x="34" y="64"/>
                  <a:pt x="34" y="64"/>
                  <a:pt x="34" y="64"/>
                </a:cubicBezTo>
                <a:cubicBezTo>
                  <a:pt x="40" y="77"/>
                  <a:pt x="46" y="91"/>
                  <a:pt x="54" y="102"/>
                </a:cubicBezTo>
                <a:cubicBezTo>
                  <a:pt x="66" y="121"/>
                  <a:pt x="85" y="131"/>
                  <a:pt x="107" y="132"/>
                </a:cubicBezTo>
                <a:cubicBezTo>
                  <a:pt x="138" y="132"/>
                  <a:pt x="170" y="118"/>
                  <a:pt x="199" y="103"/>
                </a:cubicBezTo>
                <a:cubicBezTo>
                  <a:pt x="201" y="102"/>
                  <a:pt x="204" y="103"/>
                  <a:pt x="205" y="105"/>
                </a:cubicBezTo>
                <a:cubicBezTo>
                  <a:pt x="206" y="108"/>
                  <a:pt x="206" y="110"/>
                  <a:pt x="203" y="112"/>
                </a:cubicBezTo>
                <a:cubicBezTo>
                  <a:pt x="173" y="127"/>
                  <a:pt x="140" y="142"/>
                  <a:pt x="107" y="141"/>
                </a:cubicBezTo>
                <a:cubicBezTo>
                  <a:pt x="94" y="141"/>
                  <a:pt x="82" y="137"/>
                  <a:pt x="71" y="131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55" name="Freeform 99">
            <a:extLst>
              <a:ext uri="{FF2B5EF4-FFF2-40B4-BE49-F238E27FC236}">
                <a16:creationId xmlns:a16="http://schemas.microsoft.com/office/drawing/2014/main" id="{51CE16BF-6382-4DE6-83D4-3585E2FE571B}"/>
              </a:ext>
            </a:extLst>
          </p:cNvPr>
          <p:cNvSpPr>
            <a:spLocks/>
          </p:cNvSpPr>
          <p:nvPr/>
        </p:nvSpPr>
        <p:spPr bwMode="auto">
          <a:xfrm>
            <a:off x="3632092" y="3366712"/>
            <a:ext cx="161652" cy="109865"/>
          </a:xfrm>
          <a:custGeom>
            <a:avLst/>
            <a:gdLst>
              <a:gd name="T0" fmla="*/ 88 w 247"/>
              <a:gd name="T1" fmla="*/ 143 h 168"/>
              <a:gd name="T2" fmla="*/ 53 w 247"/>
              <a:gd name="T3" fmla="*/ 108 h 168"/>
              <a:gd name="T4" fmla="*/ 1 w 247"/>
              <a:gd name="T5" fmla="*/ 7 h 168"/>
              <a:gd name="T6" fmla="*/ 3 w 247"/>
              <a:gd name="T7" fmla="*/ 1 h 168"/>
              <a:gd name="T8" fmla="*/ 9 w 247"/>
              <a:gd name="T9" fmla="*/ 4 h 168"/>
              <a:gd name="T10" fmla="*/ 61 w 247"/>
              <a:gd name="T11" fmla="*/ 103 h 168"/>
              <a:gd name="T12" fmla="*/ 98 w 247"/>
              <a:gd name="T13" fmla="*/ 138 h 168"/>
              <a:gd name="T14" fmla="*/ 239 w 247"/>
              <a:gd name="T15" fmla="*/ 106 h 168"/>
              <a:gd name="T16" fmla="*/ 245 w 247"/>
              <a:gd name="T17" fmla="*/ 108 h 168"/>
              <a:gd name="T18" fmla="*/ 244 w 247"/>
              <a:gd name="T19" fmla="*/ 114 h 168"/>
              <a:gd name="T20" fmla="*/ 94 w 247"/>
              <a:gd name="T21" fmla="*/ 147 h 168"/>
              <a:gd name="T22" fmla="*/ 88 w 247"/>
              <a:gd name="T23" fmla="*/ 143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7" h="168">
                <a:moveTo>
                  <a:pt x="88" y="143"/>
                </a:moveTo>
                <a:cubicBezTo>
                  <a:pt x="75" y="136"/>
                  <a:pt x="63" y="124"/>
                  <a:pt x="53" y="108"/>
                </a:cubicBezTo>
                <a:cubicBezTo>
                  <a:pt x="32" y="77"/>
                  <a:pt x="15" y="41"/>
                  <a:pt x="1" y="7"/>
                </a:cubicBezTo>
                <a:cubicBezTo>
                  <a:pt x="0" y="5"/>
                  <a:pt x="1" y="2"/>
                  <a:pt x="3" y="1"/>
                </a:cubicBezTo>
                <a:cubicBezTo>
                  <a:pt x="6" y="0"/>
                  <a:pt x="8" y="1"/>
                  <a:pt x="9" y="4"/>
                </a:cubicBezTo>
                <a:cubicBezTo>
                  <a:pt x="24" y="37"/>
                  <a:pt x="40" y="72"/>
                  <a:pt x="61" y="103"/>
                </a:cubicBezTo>
                <a:cubicBezTo>
                  <a:pt x="72" y="120"/>
                  <a:pt x="85" y="132"/>
                  <a:pt x="98" y="138"/>
                </a:cubicBezTo>
                <a:cubicBezTo>
                  <a:pt x="141" y="157"/>
                  <a:pt x="193" y="133"/>
                  <a:pt x="239" y="106"/>
                </a:cubicBezTo>
                <a:cubicBezTo>
                  <a:pt x="241" y="105"/>
                  <a:pt x="244" y="106"/>
                  <a:pt x="245" y="108"/>
                </a:cubicBezTo>
                <a:cubicBezTo>
                  <a:pt x="247" y="110"/>
                  <a:pt x="246" y="113"/>
                  <a:pt x="244" y="114"/>
                </a:cubicBezTo>
                <a:cubicBezTo>
                  <a:pt x="196" y="142"/>
                  <a:pt x="141" y="168"/>
                  <a:pt x="94" y="147"/>
                </a:cubicBezTo>
                <a:cubicBezTo>
                  <a:pt x="92" y="146"/>
                  <a:pt x="90" y="144"/>
                  <a:pt x="88" y="143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56" name="Freeform 100">
            <a:extLst>
              <a:ext uri="{FF2B5EF4-FFF2-40B4-BE49-F238E27FC236}">
                <a16:creationId xmlns:a16="http://schemas.microsoft.com/office/drawing/2014/main" id="{1EA11729-A7C8-48ED-86FB-16BAC276832D}"/>
              </a:ext>
            </a:extLst>
          </p:cNvPr>
          <p:cNvSpPr>
            <a:spLocks/>
          </p:cNvSpPr>
          <p:nvPr/>
        </p:nvSpPr>
        <p:spPr bwMode="auto">
          <a:xfrm>
            <a:off x="3665003" y="3318313"/>
            <a:ext cx="147133" cy="105993"/>
          </a:xfrm>
          <a:custGeom>
            <a:avLst/>
            <a:gdLst>
              <a:gd name="T0" fmla="*/ 62 w 225"/>
              <a:gd name="T1" fmla="*/ 134 h 162"/>
              <a:gd name="T2" fmla="*/ 0 w 225"/>
              <a:gd name="T3" fmla="*/ 5 h 162"/>
              <a:gd name="T4" fmla="*/ 4 w 225"/>
              <a:gd name="T5" fmla="*/ 0 h 162"/>
              <a:gd name="T6" fmla="*/ 9 w 225"/>
              <a:gd name="T7" fmla="*/ 5 h 162"/>
              <a:gd name="T8" fmla="*/ 80 w 225"/>
              <a:gd name="T9" fmla="*/ 133 h 162"/>
              <a:gd name="T10" fmla="*/ 217 w 225"/>
              <a:gd name="T11" fmla="*/ 93 h 162"/>
              <a:gd name="T12" fmla="*/ 223 w 225"/>
              <a:gd name="T13" fmla="*/ 93 h 162"/>
              <a:gd name="T14" fmla="*/ 224 w 225"/>
              <a:gd name="T15" fmla="*/ 100 h 162"/>
              <a:gd name="T16" fmla="*/ 77 w 225"/>
              <a:gd name="T17" fmla="*/ 142 h 162"/>
              <a:gd name="T18" fmla="*/ 62 w 225"/>
              <a:gd name="T19" fmla="*/ 134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5" h="162">
                <a:moveTo>
                  <a:pt x="62" y="134"/>
                </a:moveTo>
                <a:cubicBezTo>
                  <a:pt x="13" y="106"/>
                  <a:pt x="2" y="43"/>
                  <a:pt x="0" y="5"/>
                </a:cubicBezTo>
                <a:cubicBezTo>
                  <a:pt x="0" y="3"/>
                  <a:pt x="2" y="0"/>
                  <a:pt x="4" y="0"/>
                </a:cubicBezTo>
                <a:cubicBezTo>
                  <a:pt x="7" y="0"/>
                  <a:pt x="9" y="2"/>
                  <a:pt x="9" y="5"/>
                </a:cubicBezTo>
                <a:cubicBezTo>
                  <a:pt x="11" y="43"/>
                  <a:pt x="23" y="112"/>
                  <a:pt x="80" y="133"/>
                </a:cubicBezTo>
                <a:cubicBezTo>
                  <a:pt x="131" y="152"/>
                  <a:pt x="185" y="127"/>
                  <a:pt x="217" y="93"/>
                </a:cubicBezTo>
                <a:cubicBezTo>
                  <a:pt x="218" y="91"/>
                  <a:pt x="221" y="91"/>
                  <a:pt x="223" y="93"/>
                </a:cubicBezTo>
                <a:cubicBezTo>
                  <a:pt x="225" y="95"/>
                  <a:pt x="225" y="98"/>
                  <a:pt x="224" y="100"/>
                </a:cubicBezTo>
                <a:cubicBezTo>
                  <a:pt x="190" y="135"/>
                  <a:pt x="132" y="162"/>
                  <a:pt x="77" y="142"/>
                </a:cubicBezTo>
                <a:cubicBezTo>
                  <a:pt x="71" y="140"/>
                  <a:pt x="66" y="137"/>
                  <a:pt x="62" y="134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57" name="Freeform 101">
            <a:extLst>
              <a:ext uri="{FF2B5EF4-FFF2-40B4-BE49-F238E27FC236}">
                <a16:creationId xmlns:a16="http://schemas.microsoft.com/office/drawing/2014/main" id="{8AF8610F-5860-4F3E-B4E9-714209B34D6B}"/>
              </a:ext>
            </a:extLst>
          </p:cNvPr>
          <p:cNvSpPr>
            <a:spLocks/>
          </p:cNvSpPr>
          <p:nvPr/>
        </p:nvSpPr>
        <p:spPr bwMode="auto">
          <a:xfrm>
            <a:off x="3700818" y="3274754"/>
            <a:ext cx="111801" cy="84698"/>
          </a:xfrm>
          <a:custGeom>
            <a:avLst/>
            <a:gdLst>
              <a:gd name="T0" fmla="*/ 49 w 171"/>
              <a:gd name="T1" fmla="*/ 108 h 130"/>
              <a:gd name="T2" fmla="*/ 1 w 171"/>
              <a:gd name="T3" fmla="*/ 5 h 130"/>
              <a:gd name="T4" fmla="*/ 5 w 171"/>
              <a:gd name="T5" fmla="*/ 0 h 130"/>
              <a:gd name="T6" fmla="*/ 10 w 171"/>
              <a:gd name="T7" fmla="*/ 4 h 130"/>
              <a:gd name="T8" fmla="*/ 60 w 171"/>
              <a:gd name="T9" fmla="*/ 103 h 130"/>
              <a:gd name="T10" fmla="*/ 162 w 171"/>
              <a:gd name="T11" fmla="*/ 70 h 130"/>
              <a:gd name="T12" fmla="*/ 168 w 171"/>
              <a:gd name="T13" fmla="*/ 68 h 130"/>
              <a:gd name="T14" fmla="*/ 170 w 171"/>
              <a:gd name="T15" fmla="*/ 74 h 130"/>
              <a:gd name="T16" fmla="*/ 57 w 171"/>
              <a:gd name="T17" fmla="*/ 112 h 130"/>
              <a:gd name="T18" fmla="*/ 49 w 171"/>
              <a:gd name="T19" fmla="*/ 108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1" h="130">
                <a:moveTo>
                  <a:pt x="49" y="108"/>
                </a:moveTo>
                <a:cubicBezTo>
                  <a:pt x="7" y="84"/>
                  <a:pt x="1" y="8"/>
                  <a:pt x="1" y="5"/>
                </a:cubicBezTo>
                <a:cubicBezTo>
                  <a:pt x="0" y="2"/>
                  <a:pt x="2" y="0"/>
                  <a:pt x="5" y="0"/>
                </a:cubicBezTo>
                <a:cubicBezTo>
                  <a:pt x="8" y="0"/>
                  <a:pt x="10" y="2"/>
                  <a:pt x="10" y="4"/>
                </a:cubicBezTo>
                <a:cubicBezTo>
                  <a:pt x="10" y="5"/>
                  <a:pt x="17" y="86"/>
                  <a:pt x="60" y="103"/>
                </a:cubicBezTo>
                <a:cubicBezTo>
                  <a:pt x="104" y="120"/>
                  <a:pt x="159" y="73"/>
                  <a:pt x="162" y="70"/>
                </a:cubicBezTo>
                <a:cubicBezTo>
                  <a:pt x="163" y="68"/>
                  <a:pt x="166" y="67"/>
                  <a:pt x="168" y="68"/>
                </a:cubicBezTo>
                <a:cubicBezTo>
                  <a:pt x="170" y="70"/>
                  <a:pt x="171" y="72"/>
                  <a:pt x="170" y="74"/>
                </a:cubicBezTo>
                <a:cubicBezTo>
                  <a:pt x="166" y="81"/>
                  <a:pt x="106" y="130"/>
                  <a:pt x="57" y="112"/>
                </a:cubicBezTo>
                <a:cubicBezTo>
                  <a:pt x="54" y="111"/>
                  <a:pt x="52" y="109"/>
                  <a:pt x="49" y="108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58" name="Freeform 102">
            <a:extLst>
              <a:ext uri="{FF2B5EF4-FFF2-40B4-BE49-F238E27FC236}">
                <a16:creationId xmlns:a16="http://schemas.microsoft.com/office/drawing/2014/main" id="{9261D42B-7966-4890-A460-B3E4E5EDB37B}"/>
              </a:ext>
            </a:extLst>
          </p:cNvPr>
          <p:cNvSpPr>
            <a:spLocks/>
          </p:cNvSpPr>
          <p:nvPr/>
        </p:nvSpPr>
        <p:spPr bwMode="auto">
          <a:xfrm>
            <a:off x="3372675" y="3163921"/>
            <a:ext cx="377027" cy="377511"/>
          </a:xfrm>
          <a:custGeom>
            <a:avLst/>
            <a:gdLst>
              <a:gd name="T0" fmla="*/ 355 w 577"/>
              <a:gd name="T1" fmla="*/ 577 h 577"/>
              <a:gd name="T2" fmla="*/ 274 w 577"/>
              <a:gd name="T3" fmla="*/ 0 h 577"/>
              <a:gd name="T4" fmla="*/ 355 w 577"/>
              <a:gd name="T5" fmla="*/ 577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77" h="577">
                <a:moveTo>
                  <a:pt x="355" y="577"/>
                </a:moveTo>
                <a:cubicBezTo>
                  <a:pt x="355" y="577"/>
                  <a:pt x="0" y="411"/>
                  <a:pt x="274" y="0"/>
                </a:cubicBezTo>
                <a:cubicBezTo>
                  <a:pt x="554" y="109"/>
                  <a:pt x="577" y="429"/>
                  <a:pt x="355" y="577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59" name="Freeform 103">
            <a:extLst>
              <a:ext uri="{FF2B5EF4-FFF2-40B4-BE49-F238E27FC236}">
                <a16:creationId xmlns:a16="http://schemas.microsoft.com/office/drawing/2014/main" id="{9765830B-1BD4-41D6-BC1C-2AF443CA7400}"/>
              </a:ext>
            </a:extLst>
          </p:cNvPr>
          <p:cNvSpPr>
            <a:spLocks/>
          </p:cNvSpPr>
          <p:nvPr/>
        </p:nvSpPr>
        <p:spPr bwMode="auto">
          <a:xfrm>
            <a:off x="3555138" y="3173117"/>
            <a:ext cx="77438" cy="410422"/>
          </a:xfrm>
          <a:custGeom>
            <a:avLst/>
            <a:gdLst>
              <a:gd name="T0" fmla="*/ 80 w 119"/>
              <a:gd name="T1" fmla="*/ 627 h 627"/>
              <a:gd name="T2" fmla="*/ 71 w 119"/>
              <a:gd name="T3" fmla="*/ 626 h 627"/>
              <a:gd name="T4" fmla="*/ 0 w 119"/>
              <a:gd name="T5" fmla="*/ 4 h 627"/>
              <a:gd name="T6" fmla="*/ 8 w 119"/>
              <a:gd name="T7" fmla="*/ 0 h 627"/>
              <a:gd name="T8" fmla="*/ 80 w 119"/>
              <a:gd name="T9" fmla="*/ 627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9" h="627">
                <a:moveTo>
                  <a:pt x="80" y="627"/>
                </a:moveTo>
                <a:cubicBezTo>
                  <a:pt x="71" y="626"/>
                  <a:pt x="71" y="626"/>
                  <a:pt x="71" y="626"/>
                </a:cubicBezTo>
                <a:cubicBezTo>
                  <a:pt x="109" y="258"/>
                  <a:pt x="1" y="6"/>
                  <a:pt x="0" y="4"/>
                </a:cubicBezTo>
                <a:cubicBezTo>
                  <a:pt x="8" y="0"/>
                  <a:pt x="8" y="0"/>
                  <a:pt x="8" y="0"/>
                </a:cubicBezTo>
                <a:cubicBezTo>
                  <a:pt x="9" y="2"/>
                  <a:pt x="119" y="256"/>
                  <a:pt x="80" y="627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60" name="Freeform 104">
            <a:extLst>
              <a:ext uri="{FF2B5EF4-FFF2-40B4-BE49-F238E27FC236}">
                <a16:creationId xmlns:a16="http://schemas.microsoft.com/office/drawing/2014/main" id="{26AFE2C7-7AB8-4789-8C5C-042FC9B46C38}"/>
              </a:ext>
            </a:extLst>
          </p:cNvPr>
          <p:cNvSpPr>
            <a:spLocks/>
          </p:cNvSpPr>
          <p:nvPr/>
        </p:nvSpPr>
        <p:spPr bwMode="auto">
          <a:xfrm>
            <a:off x="3525614" y="3423822"/>
            <a:ext cx="151005" cy="60499"/>
          </a:xfrm>
          <a:custGeom>
            <a:avLst/>
            <a:gdLst>
              <a:gd name="T0" fmla="*/ 126 w 231"/>
              <a:gd name="T1" fmla="*/ 92 h 93"/>
              <a:gd name="T2" fmla="*/ 92 w 231"/>
              <a:gd name="T3" fmla="*/ 85 h 93"/>
              <a:gd name="T4" fmla="*/ 54 w 231"/>
              <a:gd name="T5" fmla="*/ 61 h 93"/>
              <a:gd name="T6" fmla="*/ 49 w 231"/>
              <a:gd name="T7" fmla="*/ 57 h 93"/>
              <a:gd name="T8" fmla="*/ 2 w 231"/>
              <a:gd name="T9" fmla="*/ 21 h 93"/>
              <a:gd name="T10" fmla="*/ 2 w 231"/>
              <a:gd name="T11" fmla="*/ 14 h 93"/>
              <a:gd name="T12" fmla="*/ 8 w 231"/>
              <a:gd name="T13" fmla="*/ 14 h 93"/>
              <a:gd name="T14" fmla="*/ 54 w 231"/>
              <a:gd name="T15" fmla="*/ 49 h 93"/>
              <a:gd name="T16" fmla="*/ 60 w 231"/>
              <a:gd name="T17" fmla="*/ 54 h 93"/>
              <a:gd name="T18" fmla="*/ 96 w 231"/>
              <a:gd name="T19" fmla="*/ 76 h 93"/>
              <a:gd name="T20" fmla="*/ 157 w 231"/>
              <a:gd name="T21" fmla="*/ 75 h 93"/>
              <a:gd name="T22" fmla="*/ 222 w 231"/>
              <a:gd name="T23" fmla="*/ 3 h 93"/>
              <a:gd name="T24" fmla="*/ 228 w 231"/>
              <a:gd name="T25" fmla="*/ 2 h 93"/>
              <a:gd name="T26" fmla="*/ 230 w 231"/>
              <a:gd name="T27" fmla="*/ 8 h 93"/>
              <a:gd name="T28" fmla="*/ 162 w 231"/>
              <a:gd name="T29" fmla="*/ 83 h 93"/>
              <a:gd name="T30" fmla="*/ 126 w 231"/>
              <a:gd name="T31" fmla="*/ 92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31" h="93">
                <a:moveTo>
                  <a:pt x="126" y="92"/>
                </a:moveTo>
                <a:cubicBezTo>
                  <a:pt x="115" y="93"/>
                  <a:pt x="103" y="90"/>
                  <a:pt x="92" y="85"/>
                </a:cubicBezTo>
                <a:cubicBezTo>
                  <a:pt x="79" y="79"/>
                  <a:pt x="66" y="70"/>
                  <a:pt x="54" y="61"/>
                </a:cubicBezTo>
                <a:cubicBezTo>
                  <a:pt x="49" y="57"/>
                  <a:pt x="49" y="57"/>
                  <a:pt x="49" y="57"/>
                </a:cubicBezTo>
                <a:cubicBezTo>
                  <a:pt x="32" y="45"/>
                  <a:pt x="17" y="33"/>
                  <a:pt x="2" y="21"/>
                </a:cubicBezTo>
                <a:cubicBezTo>
                  <a:pt x="0" y="19"/>
                  <a:pt x="0" y="16"/>
                  <a:pt x="2" y="14"/>
                </a:cubicBezTo>
                <a:cubicBezTo>
                  <a:pt x="3" y="12"/>
                  <a:pt x="6" y="12"/>
                  <a:pt x="8" y="14"/>
                </a:cubicBezTo>
                <a:cubicBezTo>
                  <a:pt x="23" y="26"/>
                  <a:pt x="38" y="38"/>
                  <a:pt x="54" y="49"/>
                </a:cubicBezTo>
                <a:cubicBezTo>
                  <a:pt x="60" y="54"/>
                  <a:pt x="60" y="54"/>
                  <a:pt x="60" y="54"/>
                </a:cubicBezTo>
                <a:cubicBezTo>
                  <a:pt x="71" y="62"/>
                  <a:pt x="83" y="71"/>
                  <a:pt x="96" y="76"/>
                </a:cubicBezTo>
                <a:cubicBezTo>
                  <a:pt x="116" y="86"/>
                  <a:pt x="138" y="85"/>
                  <a:pt x="157" y="75"/>
                </a:cubicBezTo>
                <a:cubicBezTo>
                  <a:pt x="184" y="59"/>
                  <a:pt x="204" y="31"/>
                  <a:pt x="222" y="3"/>
                </a:cubicBezTo>
                <a:cubicBezTo>
                  <a:pt x="223" y="1"/>
                  <a:pt x="226" y="0"/>
                  <a:pt x="228" y="2"/>
                </a:cubicBezTo>
                <a:cubicBezTo>
                  <a:pt x="230" y="3"/>
                  <a:pt x="231" y="6"/>
                  <a:pt x="230" y="8"/>
                </a:cubicBezTo>
                <a:cubicBezTo>
                  <a:pt x="211" y="37"/>
                  <a:pt x="191" y="66"/>
                  <a:pt x="162" y="83"/>
                </a:cubicBezTo>
                <a:cubicBezTo>
                  <a:pt x="150" y="89"/>
                  <a:pt x="138" y="92"/>
                  <a:pt x="126" y="92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61" name="Freeform 105">
            <a:extLst>
              <a:ext uri="{FF2B5EF4-FFF2-40B4-BE49-F238E27FC236}">
                <a16:creationId xmlns:a16="http://schemas.microsoft.com/office/drawing/2014/main" id="{C413EDAF-D842-4D01-AE52-DCA7F2A1193E}"/>
              </a:ext>
            </a:extLst>
          </p:cNvPr>
          <p:cNvSpPr>
            <a:spLocks/>
          </p:cNvSpPr>
          <p:nvPr/>
        </p:nvSpPr>
        <p:spPr bwMode="auto">
          <a:xfrm>
            <a:off x="3513514" y="3357516"/>
            <a:ext cx="174720" cy="73566"/>
          </a:xfrm>
          <a:custGeom>
            <a:avLst/>
            <a:gdLst>
              <a:gd name="T0" fmla="*/ 147 w 267"/>
              <a:gd name="T1" fmla="*/ 112 h 112"/>
              <a:gd name="T2" fmla="*/ 98 w 267"/>
              <a:gd name="T3" fmla="*/ 100 h 112"/>
              <a:gd name="T4" fmla="*/ 2 w 267"/>
              <a:gd name="T5" fmla="*/ 39 h 112"/>
              <a:gd name="T6" fmla="*/ 1 w 267"/>
              <a:gd name="T7" fmla="*/ 33 h 112"/>
              <a:gd name="T8" fmla="*/ 8 w 267"/>
              <a:gd name="T9" fmla="*/ 32 h 112"/>
              <a:gd name="T10" fmla="*/ 103 w 267"/>
              <a:gd name="T11" fmla="*/ 91 h 112"/>
              <a:gd name="T12" fmla="*/ 153 w 267"/>
              <a:gd name="T13" fmla="*/ 102 h 112"/>
              <a:gd name="T14" fmla="*/ 258 w 267"/>
              <a:gd name="T15" fmla="*/ 3 h 112"/>
              <a:gd name="T16" fmla="*/ 264 w 267"/>
              <a:gd name="T17" fmla="*/ 1 h 112"/>
              <a:gd name="T18" fmla="*/ 266 w 267"/>
              <a:gd name="T19" fmla="*/ 8 h 112"/>
              <a:gd name="T20" fmla="*/ 154 w 267"/>
              <a:gd name="T21" fmla="*/ 111 h 112"/>
              <a:gd name="T22" fmla="*/ 147 w 267"/>
              <a:gd name="T23" fmla="*/ 112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7" h="112">
                <a:moveTo>
                  <a:pt x="147" y="112"/>
                </a:moveTo>
                <a:cubicBezTo>
                  <a:pt x="132" y="112"/>
                  <a:pt x="116" y="108"/>
                  <a:pt x="98" y="100"/>
                </a:cubicBezTo>
                <a:cubicBezTo>
                  <a:pt x="64" y="83"/>
                  <a:pt x="32" y="61"/>
                  <a:pt x="2" y="39"/>
                </a:cubicBezTo>
                <a:cubicBezTo>
                  <a:pt x="0" y="38"/>
                  <a:pt x="0" y="35"/>
                  <a:pt x="1" y="33"/>
                </a:cubicBezTo>
                <a:cubicBezTo>
                  <a:pt x="3" y="31"/>
                  <a:pt x="6" y="30"/>
                  <a:pt x="8" y="32"/>
                </a:cubicBezTo>
                <a:cubicBezTo>
                  <a:pt x="37" y="53"/>
                  <a:pt x="69" y="75"/>
                  <a:pt x="103" y="91"/>
                </a:cubicBezTo>
                <a:cubicBezTo>
                  <a:pt x="121" y="100"/>
                  <a:pt x="138" y="104"/>
                  <a:pt x="153" y="102"/>
                </a:cubicBezTo>
                <a:cubicBezTo>
                  <a:pt x="199" y="97"/>
                  <a:pt x="232" y="49"/>
                  <a:pt x="258" y="3"/>
                </a:cubicBezTo>
                <a:cubicBezTo>
                  <a:pt x="259" y="1"/>
                  <a:pt x="262" y="0"/>
                  <a:pt x="264" y="1"/>
                </a:cubicBezTo>
                <a:cubicBezTo>
                  <a:pt x="266" y="2"/>
                  <a:pt x="267" y="5"/>
                  <a:pt x="266" y="8"/>
                </a:cubicBezTo>
                <a:cubicBezTo>
                  <a:pt x="239" y="56"/>
                  <a:pt x="204" y="106"/>
                  <a:pt x="154" y="111"/>
                </a:cubicBezTo>
                <a:cubicBezTo>
                  <a:pt x="151" y="112"/>
                  <a:pt x="149" y="112"/>
                  <a:pt x="147" y="112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62" name="Freeform 106">
            <a:extLst>
              <a:ext uri="{FF2B5EF4-FFF2-40B4-BE49-F238E27FC236}">
                <a16:creationId xmlns:a16="http://schemas.microsoft.com/office/drawing/2014/main" id="{85051DBB-EA67-480E-80DE-60E5BAD3C082}"/>
              </a:ext>
            </a:extLst>
          </p:cNvPr>
          <p:cNvSpPr>
            <a:spLocks/>
          </p:cNvSpPr>
          <p:nvPr/>
        </p:nvSpPr>
        <p:spPr bwMode="auto">
          <a:xfrm>
            <a:off x="3516903" y="3298953"/>
            <a:ext cx="158264" cy="77438"/>
          </a:xfrm>
          <a:custGeom>
            <a:avLst/>
            <a:gdLst>
              <a:gd name="T0" fmla="*/ 120 w 242"/>
              <a:gd name="T1" fmla="*/ 118 h 119"/>
              <a:gd name="T2" fmla="*/ 1 w 242"/>
              <a:gd name="T3" fmla="*/ 39 h 119"/>
              <a:gd name="T4" fmla="*/ 2 w 242"/>
              <a:gd name="T5" fmla="*/ 32 h 119"/>
              <a:gd name="T6" fmla="*/ 9 w 242"/>
              <a:gd name="T7" fmla="*/ 33 h 119"/>
              <a:gd name="T8" fmla="*/ 135 w 242"/>
              <a:gd name="T9" fmla="*/ 108 h 119"/>
              <a:gd name="T10" fmla="*/ 232 w 242"/>
              <a:gd name="T11" fmla="*/ 4 h 119"/>
              <a:gd name="T12" fmla="*/ 238 w 242"/>
              <a:gd name="T13" fmla="*/ 1 h 119"/>
              <a:gd name="T14" fmla="*/ 241 w 242"/>
              <a:gd name="T15" fmla="*/ 6 h 119"/>
              <a:gd name="T16" fmla="*/ 137 w 242"/>
              <a:gd name="T17" fmla="*/ 117 h 119"/>
              <a:gd name="T18" fmla="*/ 120 w 242"/>
              <a:gd name="T19" fmla="*/ 118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2" h="119">
                <a:moveTo>
                  <a:pt x="120" y="118"/>
                </a:moveTo>
                <a:cubicBezTo>
                  <a:pt x="64" y="119"/>
                  <a:pt x="22" y="70"/>
                  <a:pt x="1" y="39"/>
                </a:cubicBezTo>
                <a:cubicBezTo>
                  <a:pt x="0" y="36"/>
                  <a:pt x="0" y="34"/>
                  <a:pt x="2" y="32"/>
                </a:cubicBezTo>
                <a:cubicBezTo>
                  <a:pt x="4" y="31"/>
                  <a:pt x="7" y="31"/>
                  <a:pt x="9" y="33"/>
                </a:cubicBezTo>
                <a:cubicBezTo>
                  <a:pt x="30" y="66"/>
                  <a:pt x="75" y="118"/>
                  <a:pt x="135" y="108"/>
                </a:cubicBezTo>
                <a:cubicBezTo>
                  <a:pt x="188" y="98"/>
                  <a:pt x="222" y="49"/>
                  <a:pt x="232" y="4"/>
                </a:cubicBezTo>
                <a:cubicBezTo>
                  <a:pt x="233" y="2"/>
                  <a:pt x="235" y="0"/>
                  <a:pt x="238" y="1"/>
                </a:cubicBezTo>
                <a:cubicBezTo>
                  <a:pt x="240" y="1"/>
                  <a:pt x="242" y="4"/>
                  <a:pt x="241" y="6"/>
                </a:cubicBezTo>
                <a:cubicBezTo>
                  <a:pt x="231" y="54"/>
                  <a:pt x="194" y="106"/>
                  <a:pt x="137" y="117"/>
                </a:cubicBezTo>
                <a:cubicBezTo>
                  <a:pt x="131" y="118"/>
                  <a:pt x="125" y="118"/>
                  <a:pt x="120" y="118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63" name="Freeform 107">
            <a:extLst>
              <a:ext uri="{FF2B5EF4-FFF2-40B4-BE49-F238E27FC236}">
                <a16:creationId xmlns:a16="http://schemas.microsoft.com/office/drawing/2014/main" id="{A1F8F6CE-2287-4AA3-9305-4E650B104DFA}"/>
              </a:ext>
            </a:extLst>
          </p:cNvPr>
          <p:cNvSpPr>
            <a:spLocks/>
          </p:cNvSpPr>
          <p:nvPr/>
        </p:nvSpPr>
        <p:spPr bwMode="auto">
          <a:xfrm>
            <a:off x="3525615" y="3247167"/>
            <a:ext cx="119061" cy="62435"/>
          </a:xfrm>
          <a:custGeom>
            <a:avLst/>
            <a:gdLst>
              <a:gd name="T0" fmla="*/ 96 w 182"/>
              <a:gd name="T1" fmla="*/ 95 h 96"/>
              <a:gd name="T2" fmla="*/ 2 w 182"/>
              <a:gd name="T3" fmla="*/ 32 h 96"/>
              <a:gd name="T4" fmla="*/ 3 w 182"/>
              <a:gd name="T5" fmla="*/ 25 h 96"/>
              <a:gd name="T6" fmla="*/ 9 w 182"/>
              <a:gd name="T7" fmla="*/ 26 h 96"/>
              <a:gd name="T8" fmla="*/ 103 w 182"/>
              <a:gd name="T9" fmla="*/ 85 h 96"/>
              <a:gd name="T10" fmla="*/ 173 w 182"/>
              <a:gd name="T11" fmla="*/ 5 h 96"/>
              <a:gd name="T12" fmla="*/ 178 w 182"/>
              <a:gd name="T13" fmla="*/ 1 h 96"/>
              <a:gd name="T14" fmla="*/ 182 w 182"/>
              <a:gd name="T15" fmla="*/ 5 h 96"/>
              <a:gd name="T16" fmla="*/ 105 w 182"/>
              <a:gd name="T17" fmla="*/ 95 h 96"/>
              <a:gd name="T18" fmla="*/ 96 w 182"/>
              <a:gd name="T19" fmla="*/ 9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82" h="96">
                <a:moveTo>
                  <a:pt x="96" y="95"/>
                </a:moveTo>
                <a:cubicBezTo>
                  <a:pt x="48" y="96"/>
                  <a:pt x="4" y="34"/>
                  <a:pt x="2" y="32"/>
                </a:cubicBezTo>
                <a:cubicBezTo>
                  <a:pt x="0" y="29"/>
                  <a:pt x="1" y="26"/>
                  <a:pt x="3" y="25"/>
                </a:cubicBezTo>
                <a:cubicBezTo>
                  <a:pt x="5" y="23"/>
                  <a:pt x="8" y="24"/>
                  <a:pt x="9" y="26"/>
                </a:cubicBezTo>
                <a:cubicBezTo>
                  <a:pt x="10" y="27"/>
                  <a:pt x="57" y="93"/>
                  <a:pt x="103" y="85"/>
                </a:cubicBezTo>
                <a:cubicBezTo>
                  <a:pt x="149" y="78"/>
                  <a:pt x="173" y="10"/>
                  <a:pt x="173" y="5"/>
                </a:cubicBezTo>
                <a:cubicBezTo>
                  <a:pt x="173" y="3"/>
                  <a:pt x="175" y="0"/>
                  <a:pt x="178" y="1"/>
                </a:cubicBezTo>
                <a:cubicBezTo>
                  <a:pt x="180" y="1"/>
                  <a:pt x="182" y="3"/>
                  <a:pt x="182" y="5"/>
                </a:cubicBezTo>
                <a:cubicBezTo>
                  <a:pt x="182" y="13"/>
                  <a:pt x="156" y="86"/>
                  <a:pt x="105" y="95"/>
                </a:cubicBezTo>
                <a:cubicBezTo>
                  <a:pt x="102" y="95"/>
                  <a:pt x="99" y="95"/>
                  <a:pt x="96" y="95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64" name="Freeform 108">
            <a:extLst>
              <a:ext uri="{FF2B5EF4-FFF2-40B4-BE49-F238E27FC236}">
                <a16:creationId xmlns:a16="http://schemas.microsoft.com/office/drawing/2014/main" id="{D5CB72F4-1E13-4B72-8345-CD277B04883F}"/>
              </a:ext>
            </a:extLst>
          </p:cNvPr>
          <p:cNvSpPr>
            <a:spLocks/>
          </p:cNvSpPr>
          <p:nvPr/>
        </p:nvSpPr>
        <p:spPr bwMode="auto">
          <a:xfrm>
            <a:off x="3297656" y="3456249"/>
            <a:ext cx="291361" cy="286521"/>
          </a:xfrm>
          <a:custGeom>
            <a:avLst/>
            <a:gdLst>
              <a:gd name="T0" fmla="*/ 248 w 445"/>
              <a:gd name="T1" fmla="*/ 438 h 438"/>
              <a:gd name="T2" fmla="*/ 248 w 445"/>
              <a:gd name="T3" fmla="*/ 0 h 438"/>
              <a:gd name="T4" fmla="*/ 248 w 445"/>
              <a:gd name="T5" fmla="*/ 438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45" h="438">
                <a:moveTo>
                  <a:pt x="248" y="438"/>
                </a:moveTo>
                <a:cubicBezTo>
                  <a:pt x="248" y="438"/>
                  <a:pt x="0" y="278"/>
                  <a:pt x="248" y="0"/>
                </a:cubicBezTo>
                <a:cubicBezTo>
                  <a:pt x="445" y="110"/>
                  <a:pt x="428" y="351"/>
                  <a:pt x="248" y="438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65" name="Freeform 109">
            <a:extLst>
              <a:ext uri="{FF2B5EF4-FFF2-40B4-BE49-F238E27FC236}">
                <a16:creationId xmlns:a16="http://schemas.microsoft.com/office/drawing/2014/main" id="{E458DA4D-3E3D-450F-9DCA-1BC697F2B598}"/>
              </a:ext>
            </a:extLst>
          </p:cNvPr>
          <p:cNvSpPr>
            <a:spLocks/>
          </p:cNvSpPr>
          <p:nvPr/>
        </p:nvSpPr>
        <p:spPr bwMode="auto">
          <a:xfrm>
            <a:off x="3453016" y="3463510"/>
            <a:ext cx="48399" cy="310720"/>
          </a:xfrm>
          <a:custGeom>
            <a:avLst/>
            <a:gdLst>
              <a:gd name="T0" fmla="*/ 7 w 74"/>
              <a:gd name="T1" fmla="*/ 475 h 475"/>
              <a:gd name="T2" fmla="*/ 0 w 74"/>
              <a:gd name="T3" fmla="*/ 474 h 475"/>
              <a:gd name="T4" fmla="*/ 12 w 74"/>
              <a:gd name="T5" fmla="*/ 2 h 475"/>
              <a:gd name="T6" fmla="*/ 19 w 74"/>
              <a:gd name="T7" fmla="*/ 0 h 475"/>
              <a:gd name="T8" fmla="*/ 7 w 74"/>
              <a:gd name="T9" fmla="*/ 475 h 4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" h="475">
                <a:moveTo>
                  <a:pt x="7" y="475"/>
                </a:moveTo>
                <a:cubicBezTo>
                  <a:pt x="0" y="474"/>
                  <a:pt x="0" y="474"/>
                  <a:pt x="0" y="474"/>
                </a:cubicBezTo>
                <a:cubicBezTo>
                  <a:pt x="67" y="203"/>
                  <a:pt x="12" y="4"/>
                  <a:pt x="12" y="2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2"/>
                  <a:pt x="74" y="203"/>
                  <a:pt x="7" y="475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66" name="Freeform 110">
            <a:extLst>
              <a:ext uri="{FF2B5EF4-FFF2-40B4-BE49-F238E27FC236}">
                <a16:creationId xmlns:a16="http://schemas.microsoft.com/office/drawing/2014/main" id="{17C75D91-4CF2-4792-96E9-1A00ED83DFAB}"/>
              </a:ext>
            </a:extLst>
          </p:cNvPr>
          <p:cNvSpPr>
            <a:spLocks/>
          </p:cNvSpPr>
          <p:nvPr/>
        </p:nvSpPr>
        <p:spPr bwMode="auto">
          <a:xfrm>
            <a:off x="3411877" y="3653232"/>
            <a:ext cx="113737" cy="48399"/>
          </a:xfrm>
          <a:custGeom>
            <a:avLst/>
            <a:gdLst>
              <a:gd name="T0" fmla="*/ 86 w 174"/>
              <a:gd name="T1" fmla="*/ 73 h 74"/>
              <a:gd name="T2" fmla="*/ 62 w 174"/>
              <a:gd name="T3" fmla="*/ 64 h 74"/>
              <a:gd name="T4" fmla="*/ 36 w 174"/>
              <a:gd name="T5" fmla="*/ 42 h 74"/>
              <a:gd name="T6" fmla="*/ 32 w 174"/>
              <a:gd name="T7" fmla="*/ 38 h 74"/>
              <a:gd name="T8" fmla="*/ 2 w 174"/>
              <a:gd name="T9" fmla="*/ 6 h 74"/>
              <a:gd name="T10" fmla="*/ 2 w 174"/>
              <a:gd name="T11" fmla="*/ 1 h 74"/>
              <a:gd name="T12" fmla="*/ 7 w 174"/>
              <a:gd name="T13" fmla="*/ 2 h 74"/>
              <a:gd name="T14" fmla="*/ 37 w 174"/>
              <a:gd name="T15" fmla="*/ 33 h 74"/>
              <a:gd name="T16" fmla="*/ 41 w 174"/>
              <a:gd name="T17" fmla="*/ 37 h 74"/>
              <a:gd name="T18" fmla="*/ 66 w 174"/>
              <a:gd name="T19" fmla="*/ 58 h 74"/>
              <a:gd name="T20" fmla="*/ 111 w 174"/>
              <a:gd name="T21" fmla="*/ 63 h 74"/>
              <a:gd name="T22" fmla="*/ 167 w 174"/>
              <a:gd name="T23" fmla="*/ 16 h 74"/>
              <a:gd name="T24" fmla="*/ 172 w 174"/>
              <a:gd name="T25" fmla="*/ 16 h 74"/>
              <a:gd name="T26" fmla="*/ 173 w 174"/>
              <a:gd name="T27" fmla="*/ 21 h 74"/>
              <a:gd name="T28" fmla="*/ 114 w 174"/>
              <a:gd name="T29" fmla="*/ 69 h 74"/>
              <a:gd name="T30" fmla="*/ 86 w 174"/>
              <a:gd name="T31" fmla="*/ 73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4" h="74">
                <a:moveTo>
                  <a:pt x="86" y="73"/>
                </a:moveTo>
                <a:cubicBezTo>
                  <a:pt x="78" y="71"/>
                  <a:pt x="70" y="68"/>
                  <a:pt x="62" y="64"/>
                </a:cubicBezTo>
                <a:cubicBezTo>
                  <a:pt x="52" y="57"/>
                  <a:pt x="44" y="49"/>
                  <a:pt x="36" y="42"/>
                </a:cubicBezTo>
                <a:cubicBezTo>
                  <a:pt x="32" y="38"/>
                  <a:pt x="32" y="38"/>
                  <a:pt x="32" y="38"/>
                </a:cubicBezTo>
                <a:cubicBezTo>
                  <a:pt x="21" y="28"/>
                  <a:pt x="11" y="17"/>
                  <a:pt x="2" y="6"/>
                </a:cubicBezTo>
                <a:cubicBezTo>
                  <a:pt x="0" y="5"/>
                  <a:pt x="0" y="3"/>
                  <a:pt x="2" y="1"/>
                </a:cubicBezTo>
                <a:cubicBezTo>
                  <a:pt x="3" y="0"/>
                  <a:pt x="5" y="0"/>
                  <a:pt x="7" y="2"/>
                </a:cubicBezTo>
                <a:cubicBezTo>
                  <a:pt x="16" y="12"/>
                  <a:pt x="26" y="23"/>
                  <a:pt x="37" y="33"/>
                </a:cubicBezTo>
                <a:cubicBezTo>
                  <a:pt x="41" y="37"/>
                  <a:pt x="41" y="37"/>
                  <a:pt x="41" y="37"/>
                </a:cubicBezTo>
                <a:cubicBezTo>
                  <a:pt x="49" y="44"/>
                  <a:pt x="57" y="52"/>
                  <a:pt x="66" y="58"/>
                </a:cubicBezTo>
                <a:cubicBezTo>
                  <a:pt x="80" y="67"/>
                  <a:pt x="96" y="69"/>
                  <a:pt x="111" y="63"/>
                </a:cubicBezTo>
                <a:cubicBezTo>
                  <a:pt x="133" y="54"/>
                  <a:pt x="151" y="35"/>
                  <a:pt x="167" y="16"/>
                </a:cubicBezTo>
                <a:cubicBezTo>
                  <a:pt x="168" y="15"/>
                  <a:pt x="171" y="14"/>
                  <a:pt x="172" y="16"/>
                </a:cubicBezTo>
                <a:cubicBezTo>
                  <a:pt x="174" y="17"/>
                  <a:pt x="174" y="19"/>
                  <a:pt x="173" y="21"/>
                </a:cubicBezTo>
                <a:cubicBezTo>
                  <a:pt x="156" y="40"/>
                  <a:pt x="137" y="60"/>
                  <a:pt x="114" y="69"/>
                </a:cubicBezTo>
                <a:cubicBezTo>
                  <a:pt x="105" y="73"/>
                  <a:pt x="95" y="74"/>
                  <a:pt x="86" y="73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67" name="Freeform 111">
            <a:extLst>
              <a:ext uri="{FF2B5EF4-FFF2-40B4-BE49-F238E27FC236}">
                <a16:creationId xmlns:a16="http://schemas.microsoft.com/office/drawing/2014/main" id="{7571B96A-40BE-4268-BA92-632C66CA4F7F}"/>
              </a:ext>
            </a:extLst>
          </p:cNvPr>
          <p:cNvSpPr>
            <a:spLocks/>
          </p:cNvSpPr>
          <p:nvPr/>
        </p:nvSpPr>
        <p:spPr bwMode="auto">
          <a:xfrm>
            <a:off x="3408489" y="3611610"/>
            <a:ext cx="132613" cy="50819"/>
          </a:xfrm>
          <a:custGeom>
            <a:avLst/>
            <a:gdLst>
              <a:gd name="T0" fmla="*/ 102 w 203"/>
              <a:gd name="T1" fmla="*/ 76 h 78"/>
              <a:gd name="T2" fmla="*/ 67 w 203"/>
              <a:gd name="T3" fmla="*/ 62 h 78"/>
              <a:gd name="T4" fmla="*/ 2 w 203"/>
              <a:gd name="T5" fmla="*/ 7 h 78"/>
              <a:gd name="T6" fmla="*/ 2 w 203"/>
              <a:gd name="T7" fmla="*/ 2 h 78"/>
              <a:gd name="T8" fmla="*/ 7 w 203"/>
              <a:gd name="T9" fmla="*/ 2 h 78"/>
              <a:gd name="T10" fmla="*/ 71 w 203"/>
              <a:gd name="T11" fmla="*/ 56 h 78"/>
              <a:gd name="T12" fmla="*/ 107 w 203"/>
              <a:gd name="T13" fmla="*/ 69 h 78"/>
              <a:gd name="T14" fmla="*/ 196 w 203"/>
              <a:gd name="T15" fmla="*/ 6 h 78"/>
              <a:gd name="T16" fmla="*/ 201 w 203"/>
              <a:gd name="T17" fmla="*/ 6 h 78"/>
              <a:gd name="T18" fmla="*/ 202 w 203"/>
              <a:gd name="T19" fmla="*/ 11 h 78"/>
              <a:gd name="T20" fmla="*/ 107 w 203"/>
              <a:gd name="T21" fmla="*/ 76 h 78"/>
              <a:gd name="T22" fmla="*/ 102 w 203"/>
              <a:gd name="T23" fmla="*/ 76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03" h="78">
                <a:moveTo>
                  <a:pt x="102" y="76"/>
                </a:moveTo>
                <a:cubicBezTo>
                  <a:pt x="91" y="75"/>
                  <a:pt x="79" y="70"/>
                  <a:pt x="67" y="62"/>
                </a:cubicBezTo>
                <a:cubicBezTo>
                  <a:pt x="44" y="46"/>
                  <a:pt x="22" y="26"/>
                  <a:pt x="2" y="7"/>
                </a:cubicBezTo>
                <a:cubicBezTo>
                  <a:pt x="0" y="5"/>
                  <a:pt x="0" y="3"/>
                  <a:pt x="2" y="2"/>
                </a:cubicBezTo>
                <a:cubicBezTo>
                  <a:pt x="3" y="0"/>
                  <a:pt x="5" y="0"/>
                  <a:pt x="7" y="2"/>
                </a:cubicBezTo>
                <a:cubicBezTo>
                  <a:pt x="26" y="21"/>
                  <a:pt x="48" y="40"/>
                  <a:pt x="71" y="56"/>
                </a:cubicBezTo>
                <a:cubicBezTo>
                  <a:pt x="84" y="65"/>
                  <a:pt x="96" y="69"/>
                  <a:pt x="107" y="69"/>
                </a:cubicBezTo>
                <a:cubicBezTo>
                  <a:pt x="143" y="71"/>
                  <a:pt x="172" y="38"/>
                  <a:pt x="196" y="6"/>
                </a:cubicBezTo>
                <a:cubicBezTo>
                  <a:pt x="197" y="5"/>
                  <a:pt x="199" y="5"/>
                  <a:pt x="201" y="6"/>
                </a:cubicBezTo>
                <a:cubicBezTo>
                  <a:pt x="203" y="7"/>
                  <a:pt x="203" y="9"/>
                  <a:pt x="202" y="11"/>
                </a:cubicBezTo>
                <a:cubicBezTo>
                  <a:pt x="176" y="44"/>
                  <a:pt x="146" y="78"/>
                  <a:pt x="107" y="76"/>
                </a:cubicBezTo>
                <a:cubicBezTo>
                  <a:pt x="105" y="76"/>
                  <a:pt x="104" y="76"/>
                  <a:pt x="102" y="76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68" name="Freeform 112">
            <a:extLst>
              <a:ext uri="{FF2B5EF4-FFF2-40B4-BE49-F238E27FC236}">
                <a16:creationId xmlns:a16="http://schemas.microsoft.com/office/drawing/2014/main" id="{8509D938-34F4-43F8-94B2-100C9210E91A}"/>
              </a:ext>
            </a:extLst>
          </p:cNvPr>
          <p:cNvSpPr>
            <a:spLocks/>
          </p:cNvSpPr>
          <p:nvPr/>
        </p:nvSpPr>
        <p:spPr bwMode="auto">
          <a:xfrm>
            <a:off x="3416717" y="3568051"/>
            <a:ext cx="120513" cy="51303"/>
          </a:xfrm>
          <a:custGeom>
            <a:avLst/>
            <a:gdLst>
              <a:gd name="T0" fmla="*/ 81 w 184"/>
              <a:gd name="T1" fmla="*/ 78 h 78"/>
              <a:gd name="T2" fmla="*/ 1 w 184"/>
              <a:gd name="T3" fmla="*/ 6 h 78"/>
              <a:gd name="T4" fmla="*/ 3 w 184"/>
              <a:gd name="T5" fmla="*/ 1 h 78"/>
              <a:gd name="T6" fmla="*/ 7 w 184"/>
              <a:gd name="T7" fmla="*/ 2 h 78"/>
              <a:gd name="T8" fmla="*/ 94 w 184"/>
              <a:gd name="T9" fmla="*/ 71 h 78"/>
              <a:gd name="T10" fmla="*/ 177 w 184"/>
              <a:gd name="T11" fmla="*/ 4 h 78"/>
              <a:gd name="T12" fmla="*/ 182 w 184"/>
              <a:gd name="T13" fmla="*/ 2 h 78"/>
              <a:gd name="T14" fmla="*/ 184 w 184"/>
              <a:gd name="T15" fmla="*/ 6 h 78"/>
              <a:gd name="T16" fmla="*/ 94 w 184"/>
              <a:gd name="T17" fmla="*/ 78 h 78"/>
              <a:gd name="T18" fmla="*/ 81 w 184"/>
              <a:gd name="T19" fmla="*/ 7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84" h="78">
                <a:moveTo>
                  <a:pt x="81" y="78"/>
                </a:moveTo>
                <a:cubicBezTo>
                  <a:pt x="39" y="72"/>
                  <a:pt x="13" y="31"/>
                  <a:pt x="1" y="6"/>
                </a:cubicBezTo>
                <a:cubicBezTo>
                  <a:pt x="0" y="4"/>
                  <a:pt x="1" y="2"/>
                  <a:pt x="3" y="1"/>
                </a:cubicBezTo>
                <a:cubicBezTo>
                  <a:pt x="4" y="0"/>
                  <a:pt x="6" y="1"/>
                  <a:pt x="7" y="2"/>
                </a:cubicBezTo>
                <a:cubicBezTo>
                  <a:pt x="20" y="29"/>
                  <a:pt x="48" y="73"/>
                  <a:pt x="94" y="71"/>
                </a:cubicBezTo>
                <a:cubicBezTo>
                  <a:pt x="134" y="69"/>
                  <a:pt x="165" y="36"/>
                  <a:pt x="177" y="4"/>
                </a:cubicBezTo>
                <a:cubicBezTo>
                  <a:pt x="178" y="2"/>
                  <a:pt x="180" y="1"/>
                  <a:pt x="182" y="2"/>
                </a:cubicBezTo>
                <a:cubicBezTo>
                  <a:pt x="183" y="3"/>
                  <a:pt x="184" y="5"/>
                  <a:pt x="184" y="6"/>
                </a:cubicBezTo>
                <a:cubicBezTo>
                  <a:pt x="171" y="41"/>
                  <a:pt x="138" y="76"/>
                  <a:pt x="94" y="78"/>
                </a:cubicBezTo>
                <a:cubicBezTo>
                  <a:pt x="90" y="78"/>
                  <a:pt x="85" y="78"/>
                  <a:pt x="81" y="78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69" name="Freeform 113">
            <a:extLst>
              <a:ext uri="{FF2B5EF4-FFF2-40B4-BE49-F238E27FC236}">
                <a16:creationId xmlns:a16="http://schemas.microsoft.com/office/drawing/2014/main" id="{3ED5F94D-6F91-43F4-BEA6-9873B80C97AF}"/>
              </a:ext>
            </a:extLst>
          </p:cNvPr>
          <p:cNvSpPr>
            <a:spLocks/>
          </p:cNvSpPr>
          <p:nvPr/>
        </p:nvSpPr>
        <p:spPr bwMode="auto">
          <a:xfrm>
            <a:off x="3429301" y="3526912"/>
            <a:ext cx="90990" cy="42107"/>
          </a:xfrm>
          <a:custGeom>
            <a:avLst/>
            <a:gdLst>
              <a:gd name="T0" fmla="*/ 65 w 139"/>
              <a:gd name="T1" fmla="*/ 63 h 64"/>
              <a:gd name="T2" fmla="*/ 1 w 139"/>
              <a:gd name="T3" fmla="*/ 6 h 64"/>
              <a:gd name="T4" fmla="*/ 3 w 139"/>
              <a:gd name="T5" fmla="*/ 1 h 64"/>
              <a:gd name="T6" fmla="*/ 7 w 139"/>
              <a:gd name="T7" fmla="*/ 3 h 64"/>
              <a:gd name="T8" fmla="*/ 71 w 139"/>
              <a:gd name="T9" fmla="*/ 57 h 64"/>
              <a:gd name="T10" fmla="*/ 132 w 139"/>
              <a:gd name="T11" fmla="*/ 4 h 64"/>
              <a:gd name="T12" fmla="*/ 136 w 139"/>
              <a:gd name="T13" fmla="*/ 1 h 64"/>
              <a:gd name="T14" fmla="*/ 139 w 139"/>
              <a:gd name="T15" fmla="*/ 5 h 64"/>
              <a:gd name="T16" fmla="*/ 71 w 139"/>
              <a:gd name="T17" fmla="*/ 64 h 64"/>
              <a:gd name="T18" fmla="*/ 65 w 139"/>
              <a:gd name="T19" fmla="*/ 63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9" h="64">
                <a:moveTo>
                  <a:pt x="65" y="63"/>
                </a:moveTo>
                <a:cubicBezTo>
                  <a:pt x="29" y="59"/>
                  <a:pt x="2" y="8"/>
                  <a:pt x="1" y="6"/>
                </a:cubicBezTo>
                <a:cubicBezTo>
                  <a:pt x="0" y="4"/>
                  <a:pt x="1" y="2"/>
                  <a:pt x="3" y="1"/>
                </a:cubicBezTo>
                <a:cubicBezTo>
                  <a:pt x="4" y="0"/>
                  <a:pt x="7" y="1"/>
                  <a:pt x="7" y="3"/>
                </a:cubicBezTo>
                <a:cubicBezTo>
                  <a:pt x="8" y="3"/>
                  <a:pt x="36" y="58"/>
                  <a:pt x="71" y="57"/>
                </a:cubicBezTo>
                <a:cubicBezTo>
                  <a:pt x="106" y="56"/>
                  <a:pt x="131" y="7"/>
                  <a:pt x="132" y="4"/>
                </a:cubicBezTo>
                <a:cubicBezTo>
                  <a:pt x="132" y="2"/>
                  <a:pt x="134" y="1"/>
                  <a:pt x="136" y="1"/>
                </a:cubicBezTo>
                <a:cubicBezTo>
                  <a:pt x="138" y="1"/>
                  <a:pt x="139" y="3"/>
                  <a:pt x="139" y="5"/>
                </a:cubicBezTo>
                <a:cubicBezTo>
                  <a:pt x="138" y="11"/>
                  <a:pt x="110" y="62"/>
                  <a:pt x="71" y="64"/>
                </a:cubicBezTo>
                <a:cubicBezTo>
                  <a:pt x="69" y="64"/>
                  <a:pt x="67" y="64"/>
                  <a:pt x="65" y="63"/>
                </a:cubicBezTo>
                <a:close/>
              </a:path>
            </a:pathLst>
          </a:custGeom>
          <a:solidFill>
            <a:srgbClr val="62DF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70" name="Freeform 114">
            <a:extLst>
              <a:ext uri="{FF2B5EF4-FFF2-40B4-BE49-F238E27FC236}">
                <a16:creationId xmlns:a16="http://schemas.microsoft.com/office/drawing/2014/main" id="{84F5AD0B-8741-4681-A527-AA8EBE0AD89C}"/>
              </a:ext>
            </a:extLst>
          </p:cNvPr>
          <p:cNvSpPr>
            <a:spLocks/>
          </p:cNvSpPr>
          <p:nvPr/>
        </p:nvSpPr>
        <p:spPr bwMode="auto">
          <a:xfrm>
            <a:off x="2122535" y="3599510"/>
            <a:ext cx="400258" cy="339760"/>
          </a:xfrm>
          <a:custGeom>
            <a:avLst/>
            <a:gdLst>
              <a:gd name="T0" fmla="*/ 465 w 612"/>
              <a:gd name="T1" fmla="*/ 43 h 519"/>
              <a:gd name="T2" fmla="*/ 131 w 612"/>
              <a:gd name="T3" fmla="*/ 519 h 519"/>
              <a:gd name="T4" fmla="*/ 465 w 612"/>
              <a:gd name="T5" fmla="*/ 43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12" h="519">
                <a:moveTo>
                  <a:pt x="465" y="43"/>
                </a:moveTo>
                <a:cubicBezTo>
                  <a:pt x="465" y="43"/>
                  <a:pt x="612" y="406"/>
                  <a:pt x="131" y="519"/>
                </a:cubicBezTo>
                <a:cubicBezTo>
                  <a:pt x="0" y="250"/>
                  <a:pt x="202" y="0"/>
                  <a:pt x="465" y="43"/>
                </a:cubicBezTo>
                <a:close/>
              </a:path>
            </a:pathLst>
          </a:custGeom>
          <a:solidFill>
            <a:srgbClr val="1BA1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71" name="Freeform 115">
            <a:extLst>
              <a:ext uri="{FF2B5EF4-FFF2-40B4-BE49-F238E27FC236}">
                <a16:creationId xmlns:a16="http://schemas.microsoft.com/office/drawing/2014/main" id="{7C20FE3D-0FFE-412A-BA0E-045A456C377F}"/>
              </a:ext>
            </a:extLst>
          </p:cNvPr>
          <p:cNvSpPr>
            <a:spLocks/>
          </p:cNvSpPr>
          <p:nvPr/>
        </p:nvSpPr>
        <p:spPr bwMode="auto">
          <a:xfrm>
            <a:off x="2208200" y="3595154"/>
            <a:ext cx="249254" cy="334436"/>
          </a:xfrm>
          <a:custGeom>
            <a:avLst/>
            <a:gdLst>
              <a:gd name="T0" fmla="*/ 374 w 381"/>
              <a:gd name="T1" fmla="*/ 0 h 511"/>
              <a:gd name="T2" fmla="*/ 381 w 381"/>
              <a:gd name="T3" fmla="*/ 7 h 511"/>
              <a:gd name="T4" fmla="*/ 9 w 381"/>
              <a:gd name="T5" fmla="*/ 511 h 511"/>
              <a:gd name="T6" fmla="*/ 0 w 381"/>
              <a:gd name="T7" fmla="*/ 508 h 511"/>
              <a:gd name="T8" fmla="*/ 374 w 381"/>
              <a:gd name="T9" fmla="*/ 0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1" h="511">
                <a:moveTo>
                  <a:pt x="374" y="0"/>
                </a:moveTo>
                <a:cubicBezTo>
                  <a:pt x="381" y="7"/>
                  <a:pt x="381" y="7"/>
                  <a:pt x="381" y="7"/>
                </a:cubicBezTo>
                <a:cubicBezTo>
                  <a:pt x="102" y="251"/>
                  <a:pt x="10" y="508"/>
                  <a:pt x="9" y="511"/>
                </a:cubicBezTo>
                <a:cubicBezTo>
                  <a:pt x="0" y="508"/>
                  <a:pt x="0" y="508"/>
                  <a:pt x="0" y="508"/>
                </a:cubicBezTo>
                <a:cubicBezTo>
                  <a:pt x="1" y="505"/>
                  <a:pt x="94" y="245"/>
                  <a:pt x="374" y="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72" name="Freeform 116">
            <a:extLst>
              <a:ext uri="{FF2B5EF4-FFF2-40B4-BE49-F238E27FC236}">
                <a16:creationId xmlns:a16="http://schemas.microsoft.com/office/drawing/2014/main" id="{75EDAD35-0DC6-4911-9C2B-4921970B9A2B}"/>
              </a:ext>
            </a:extLst>
          </p:cNvPr>
          <p:cNvSpPr>
            <a:spLocks/>
          </p:cNvSpPr>
          <p:nvPr/>
        </p:nvSpPr>
        <p:spPr bwMode="auto">
          <a:xfrm>
            <a:off x="2295802" y="3650813"/>
            <a:ext cx="117125" cy="109865"/>
          </a:xfrm>
          <a:custGeom>
            <a:avLst/>
            <a:gdLst>
              <a:gd name="T0" fmla="*/ 137 w 179"/>
              <a:gd name="T1" fmla="*/ 26 h 168"/>
              <a:gd name="T2" fmla="*/ 157 w 179"/>
              <a:gd name="T3" fmla="*/ 54 h 168"/>
              <a:gd name="T4" fmla="*/ 168 w 179"/>
              <a:gd name="T5" fmla="*/ 97 h 168"/>
              <a:gd name="T6" fmla="*/ 169 w 179"/>
              <a:gd name="T7" fmla="*/ 104 h 168"/>
              <a:gd name="T8" fmla="*/ 179 w 179"/>
              <a:gd name="T9" fmla="*/ 162 h 168"/>
              <a:gd name="T10" fmla="*/ 175 w 179"/>
              <a:gd name="T11" fmla="*/ 167 h 168"/>
              <a:gd name="T12" fmla="*/ 169 w 179"/>
              <a:gd name="T13" fmla="*/ 163 h 168"/>
              <a:gd name="T14" fmla="*/ 160 w 179"/>
              <a:gd name="T15" fmla="*/ 106 h 168"/>
              <a:gd name="T16" fmla="*/ 159 w 179"/>
              <a:gd name="T17" fmla="*/ 99 h 168"/>
              <a:gd name="T18" fmla="*/ 148 w 179"/>
              <a:gd name="T19" fmla="*/ 57 h 168"/>
              <a:gd name="T20" fmla="*/ 102 w 179"/>
              <a:gd name="T21" fmla="*/ 17 h 168"/>
              <a:gd name="T22" fmla="*/ 6 w 179"/>
              <a:gd name="T23" fmla="*/ 25 h 168"/>
              <a:gd name="T24" fmla="*/ 0 w 179"/>
              <a:gd name="T25" fmla="*/ 22 h 168"/>
              <a:gd name="T26" fmla="*/ 4 w 179"/>
              <a:gd name="T27" fmla="*/ 16 h 168"/>
              <a:gd name="T28" fmla="*/ 104 w 179"/>
              <a:gd name="T29" fmla="*/ 8 h 168"/>
              <a:gd name="T30" fmla="*/ 137 w 179"/>
              <a:gd name="T31" fmla="*/ 26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9" h="168">
                <a:moveTo>
                  <a:pt x="137" y="26"/>
                </a:moveTo>
                <a:cubicBezTo>
                  <a:pt x="145" y="33"/>
                  <a:pt x="152" y="43"/>
                  <a:pt x="157" y="54"/>
                </a:cubicBezTo>
                <a:cubicBezTo>
                  <a:pt x="162" y="68"/>
                  <a:pt x="165" y="83"/>
                  <a:pt x="168" y="97"/>
                </a:cubicBezTo>
                <a:cubicBezTo>
                  <a:pt x="169" y="104"/>
                  <a:pt x="169" y="104"/>
                  <a:pt x="169" y="104"/>
                </a:cubicBezTo>
                <a:cubicBezTo>
                  <a:pt x="173" y="124"/>
                  <a:pt x="176" y="143"/>
                  <a:pt x="179" y="162"/>
                </a:cubicBezTo>
                <a:cubicBezTo>
                  <a:pt x="179" y="165"/>
                  <a:pt x="177" y="167"/>
                  <a:pt x="175" y="167"/>
                </a:cubicBezTo>
                <a:cubicBezTo>
                  <a:pt x="172" y="168"/>
                  <a:pt x="170" y="166"/>
                  <a:pt x="169" y="163"/>
                </a:cubicBezTo>
                <a:cubicBezTo>
                  <a:pt x="167" y="145"/>
                  <a:pt x="164" y="125"/>
                  <a:pt x="160" y="106"/>
                </a:cubicBezTo>
                <a:cubicBezTo>
                  <a:pt x="159" y="99"/>
                  <a:pt x="159" y="99"/>
                  <a:pt x="159" y="99"/>
                </a:cubicBezTo>
                <a:cubicBezTo>
                  <a:pt x="156" y="85"/>
                  <a:pt x="153" y="71"/>
                  <a:pt x="148" y="57"/>
                </a:cubicBezTo>
                <a:cubicBezTo>
                  <a:pt x="139" y="37"/>
                  <a:pt x="123" y="22"/>
                  <a:pt x="102" y="17"/>
                </a:cubicBezTo>
                <a:cubicBezTo>
                  <a:pt x="72" y="10"/>
                  <a:pt x="38" y="17"/>
                  <a:pt x="6" y="25"/>
                </a:cubicBezTo>
                <a:cubicBezTo>
                  <a:pt x="4" y="26"/>
                  <a:pt x="1" y="24"/>
                  <a:pt x="0" y="22"/>
                </a:cubicBezTo>
                <a:cubicBezTo>
                  <a:pt x="0" y="19"/>
                  <a:pt x="1" y="17"/>
                  <a:pt x="4" y="16"/>
                </a:cubicBezTo>
                <a:cubicBezTo>
                  <a:pt x="37" y="8"/>
                  <a:pt x="72" y="0"/>
                  <a:pt x="104" y="8"/>
                </a:cubicBezTo>
                <a:cubicBezTo>
                  <a:pt x="117" y="11"/>
                  <a:pt x="128" y="17"/>
                  <a:pt x="137" y="26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73" name="Freeform 117">
            <a:extLst>
              <a:ext uri="{FF2B5EF4-FFF2-40B4-BE49-F238E27FC236}">
                <a16:creationId xmlns:a16="http://schemas.microsoft.com/office/drawing/2014/main" id="{53130334-BB29-41D9-A64C-18F84E779BBB}"/>
              </a:ext>
            </a:extLst>
          </p:cNvPr>
          <p:cNvSpPr>
            <a:spLocks/>
          </p:cNvSpPr>
          <p:nvPr/>
        </p:nvSpPr>
        <p:spPr bwMode="auto">
          <a:xfrm>
            <a:off x="2241596" y="3682271"/>
            <a:ext cx="143261" cy="125837"/>
          </a:xfrm>
          <a:custGeom>
            <a:avLst/>
            <a:gdLst>
              <a:gd name="T0" fmla="*/ 162 w 219"/>
              <a:gd name="T1" fmla="*/ 35 h 193"/>
              <a:gd name="T2" fmla="*/ 189 w 219"/>
              <a:gd name="T3" fmla="*/ 77 h 193"/>
              <a:gd name="T4" fmla="*/ 218 w 219"/>
              <a:gd name="T5" fmla="*/ 187 h 193"/>
              <a:gd name="T6" fmla="*/ 215 w 219"/>
              <a:gd name="T7" fmla="*/ 192 h 193"/>
              <a:gd name="T8" fmla="*/ 209 w 219"/>
              <a:gd name="T9" fmla="*/ 189 h 193"/>
              <a:gd name="T10" fmla="*/ 181 w 219"/>
              <a:gd name="T11" fmla="*/ 81 h 193"/>
              <a:gd name="T12" fmla="*/ 151 w 219"/>
              <a:gd name="T13" fmla="*/ 38 h 193"/>
              <a:gd name="T14" fmla="*/ 7 w 219"/>
              <a:gd name="T15" fmla="*/ 39 h 193"/>
              <a:gd name="T16" fmla="*/ 1 w 219"/>
              <a:gd name="T17" fmla="*/ 36 h 193"/>
              <a:gd name="T18" fmla="*/ 4 w 219"/>
              <a:gd name="T19" fmla="*/ 30 h 193"/>
              <a:gd name="T20" fmla="*/ 157 w 219"/>
              <a:gd name="T21" fmla="*/ 31 h 193"/>
              <a:gd name="T22" fmla="*/ 162 w 219"/>
              <a:gd name="T23" fmla="*/ 35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19" h="193">
                <a:moveTo>
                  <a:pt x="162" y="35"/>
                </a:moveTo>
                <a:cubicBezTo>
                  <a:pt x="173" y="45"/>
                  <a:pt x="182" y="59"/>
                  <a:pt x="189" y="77"/>
                </a:cubicBezTo>
                <a:cubicBezTo>
                  <a:pt x="203" y="112"/>
                  <a:pt x="211" y="151"/>
                  <a:pt x="218" y="187"/>
                </a:cubicBezTo>
                <a:cubicBezTo>
                  <a:pt x="219" y="189"/>
                  <a:pt x="217" y="192"/>
                  <a:pt x="215" y="192"/>
                </a:cubicBezTo>
                <a:cubicBezTo>
                  <a:pt x="212" y="193"/>
                  <a:pt x="210" y="191"/>
                  <a:pt x="209" y="189"/>
                </a:cubicBezTo>
                <a:cubicBezTo>
                  <a:pt x="202" y="153"/>
                  <a:pt x="194" y="115"/>
                  <a:pt x="181" y="81"/>
                </a:cubicBezTo>
                <a:cubicBezTo>
                  <a:pt x="173" y="61"/>
                  <a:pt x="163" y="47"/>
                  <a:pt x="151" y="38"/>
                </a:cubicBezTo>
                <a:cubicBezTo>
                  <a:pt x="114" y="10"/>
                  <a:pt x="57" y="23"/>
                  <a:pt x="7" y="39"/>
                </a:cubicBezTo>
                <a:cubicBezTo>
                  <a:pt x="4" y="40"/>
                  <a:pt x="2" y="39"/>
                  <a:pt x="1" y="36"/>
                </a:cubicBezTo>
                <a:cubicBezTo>
                  <a:pt x="0" y="34"/>
                  <a:pt x="2" y="31"/>
                  <a:pt x="4" y="30"/>
                </a:cubicBezTo>
                <a:cubicBezTo>
                  <a:pt x="57" y="13"/>
                  <a:pt x="116" y="0"/>
                  <a:pt x="157" y="31"/>
                </a:cubicBezTo>
                <a:cubicBezTo>
                  <a:pt x="159" y="32"/>
                  <a:pt x="161" y="34"/>
                  <a:pt x="162" y="35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74" name="Freeform 118">
            <a:extLst>
              <a:ext uri="{FF2B5EF4-FFF2-40B4-BE49-F238E27FC236}">
                <a16:creationId xmlns:a16="http://schemas.microsoft.com/office/drawing/2014/main" id="{7FB92DA9-6781-4150-9719-10FE4A60D9DD}"/>
              </a:ext>
            </a:extLst>
          </p:cNvPr>
          <p:cNvSpPr>
            <a:spLocks/>
          </p:cNvSpPr>
          <p:nvPr/>
        </p:nvSpPr>
        <p:spPr bwMode="auto">
          <a:xfrm>
            <a:off x="2211104" y="3727283"/>
            <a:ext cx="136969" cy="121481"/>
          </a:xfrm>
          <a:custGeom>
            <a:avLst/>
            <a:gdLst>
              <a:gd name="T0" fmla="*/ 168 w 210"/>
              <a:gd name="T1" fmla="*/ 42 h 186"/>
              <a:gd name="T2" fmla="*/ 201 w 210"/>
              <a:gd name="T3" fmla="*/ 182 h 186"/>
              <a:gd name="T4" fmla="*/ 195 w 210"/>
              <a:gd name="T5" fmla="*/ 185 h 186"/>
              <a:gd name="T6" fmla="*/ 192 w 210"/>
              <a:gd name="T7" fmla="*/ 180 h 186"/>
              <a:gd name="T8" fmla="*/ 150 w 210"/>
              <a:gd name="T9" fmla="*/ 40 h 186"/>
              <a:gd name="T10" fmla="*/ 8 w 210"/>
              <a:gd name="T11" fmla="*/ 49 h 186"/>
              <a:gd name="T12" fmla="*/ 2 w 210"/>
              <a:gd name="T13" fmla="*/ 48 h 186"/>
              <a:gd name="T14" fmla="*/ 3 w 210"/>
              <a:gd name="T15" fmla="*/ 41 h 186"/>
              <a:gd name="T16" fmla="*/ 155 w 210"/>
              <a:gd name="T17" fmla="*/ 32 h 186"/>
              <a:gd name="T18" fmla="*/ 168 w 210"/>
              <a:gd name="T19" fmla="*/ 42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10" h="186">
                <a:moveTo>
                  <a:pt x="168" y="42"/>
                </a:moveTo>
                <a:cubicBezTo>
                  <a:pt x="210" y="80"/>
                  <a:pt x="207" y="145"/>
                  <a:pt x="201" y="182"/>
                </a:cubicBezTo>
                <a:cubicBezTo>
                  <a:pt x="200" y="184"/>
                  <a:pt x="198" y="186"/>
                  <a:pt x="195" y="185"/>
                </a:cubicBezTo>
                <a:cubicBezTo>
                  <a:pt x="193" y="185"/>
                  <a:pt x="191" y="183"/>
                  <a:pt x="192" y="180"/>
                </a:cubicBezTo>
                <a:cubicBezTo>
                  <a:pt x="198" y="142"/>
                  <a:pt x="201" y="73"/>
                  <a:pt x="150" y="40"/>
                </a:cubicBezTo>
                <a:cubicBezTo>
                  <a:pt x="104" y="10"/>
                  <a:pt x="46" y="23"/>
                  <a:pt x="8" y="49"/>
                </a:cubicBezTo>
                <a:cubicBezTo>
                  <a:pt x="6" y="51"/>
                  <a:pt x="3" y="50"/>
                  <a:pt x="2" y="48"/>
                </a:cubicBezTo>
                <a:cubicBezTo>
                  <a:pt x="0" y="46"/>
                  <a:pt x="1" y="43"/>
                  <a:pt x="3" y="41"/>
                </a:cubicBezTo>
                <a:cubicBezTo>
                  <a:pt x="43" y="14"/>
                  <a:pt x="106" y="0"/>
                  <a:pt x="155" y="32"/>
                </a:cubicBezTo>
                <a:cubicBezTo>
                  <a:pt x="160" y="35"/>
                  <a:pt x="164" y="38"/>
                  <a:pt x="168" y="42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75" name="Freeform 119">
            <a:extLst>
              <a:ext uri="{FF2B5EF4-FFF2-40B4-BE49-F238E27FC236}">
                <a16:creationId xmlns:a16="http://schemas.microsoft.com/office/drawing/2014/main" id="{3E2A2DCA-95A2-4CE3-94B9-0ED4F0059714}"/>
              </a:ext>
            </a:extLst>
          </p:cNvPr>
          <p:cNvSpPr>
            <a:spLocks/>
          </p:cNvSpPr>
          <p:nvPr/>
        </p:nvSpPr>
        <p:spPr bwMode="auto">
          <a:xfrm>
            <a:off x="2198037" y="3786329"/>
            <a:ext cx="105993" cy="97766"/>
          </a:xfrm>
          <a:custGeom>
            <a:avLst/>
            <a:gdLst>
              <a:gd name="T0" fmla="*/ 127 w 162"/>
              <a:gd name="T1" fmla="*/ 34 h 150"/>
              <a:gd name="T2" fmla="*/ 152 w 162"/>
              <a:gd name="T3" fmla="*/ 145 h 150"/>
              <a:gd name="T4" fmla="*/ 147 w 162"/>
              <a:gd name="T5" fmla="*/ 149 h 150"/>
              <a:gd name="T6" fmla="*/ 143 w 162"/>
              <a:gd name="T7" fmla="*/ 144 h 150"/>
              <a:gd name="T8" fmla="*/ 115 w 162"/>
              <a:gd name="T9" fmla="*/ 37 h 150"/>
              <a:gd name="T10" fmla="*/ 9 w 162"/>
              <a:gd name="T11" fmla="*/ 48 h 150"/>
              <a:gd name="T12" fmla="*/ 2 w 162"/>
              <a:gd name="T13" fmla="*/ 48 h 150"/>
              <a:gd name="T14" fmla="*/ 2 w 162"/>
              <a:gd name="T15" fmla="*/ 41 h 150"/>
              <a:gd name="T16" fmla="*/ 120 w 162"/>
              <a:gd name="T17" fmla="*/ 29 h 150"/>
              <a:gd name="T18" fmla="*/ 127 w 162"/>
              <a:gd name="T19" fmla="*/ 34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2" h="150">
                <a:moveTo>
                  <a:pt x="127" y="34"/>
                </a:moveTo>
                <a:cubicBezTo>
                  <a:pt x="162" y="67"/>
                  <a:pt x="153" y="142"/>
                  <a:pt x="152" y="145"/>
                </a:cubicBezTo>
                <a:cubicBezTo>
                  <a:pt x="152" y="148"/>
                  <a:pt x="149" y="150"/>
                  <a:pt x="147" y="149"/>
                </a:cubicBezTo>
                <a:cubicBezTo>
                  <a:pt x="144" y="149"/>
                  <a:pt x="142" y="147"/>
                  <a:pt x="143" y="144"/>
                </a:cubicBezTo>
                <a:cubicBezTo>
                  <a:pt x="143" y="143"/>
                  <a:pt x="154" y="62"/>
                  <a:pt x="115" y="37"/>
                </a:cubicBezTo>
                <a:cubicBezTo>
                  <a:pt x="76" y="11"/>
                  <a:pt x="12" y="44"/>
                  <a:pt x="9" y="48"/>
                </a:cubicBezTo>
                <a:cubicBezTo>
                  <a:pt x="7" y="49"/>
                  <a:pt x="4" y="49"/>
                  <a:pt x="2" y="48"/>
                </a:cubicBezTo>
                <a:cubicBezTo>
                  <a:pt x="0" y="46"/>
                  <a:pt x="0" y="43"/>
                  <a:pt x="2" y="41"/>
                </a:cubicBezTo>
                <a:cubicBezTo>
                  <a:pt x="7" y="35"/>
                  <a:pt x="77" y="0"/>
                  <a:pt x="120" y="29"/>
                </a:cubicBezTo>
                <a:cubicBezTo>
                  <a:pt x="122" y="30"/>
                  <a:pt x="125" y="32"/>
                  <a:pt x="127" y="34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76" name="Freeform 120">
            <a:extLst>
              <a:ext uri="{FF2B5EF4-FFF2-40B4-BE49-F238E27FC236}">
                <a16:creationId xmlns:a16="http://schemas.microsoft.com/office/drawing/2014/main" id="{77874139-8543-48FB-974D-A915B88BC690}"/>
              </a:ext>
            </a:extLst>
          </p:cNvPr>
          <p:cNvSpPr>
            <a:spLocks/>
          </p:cNvSpPr>
          <p:nvPr/>
        </p:nvSpPr>
        <p:spPr bwMode="auto">
          <a:xfrm>
            <a:off x="2717839" y="4513762"/>
            <a:ext cx="710010" cy="223119"/>
          </a:xfrm>
          <a:custGeom>
            <a:avLst/>
            <a:gdLst>
              <a:gd name="T0" fmla="*/ 177 w 1086"/>
              <a:gd name="T1" fmla="*/ 62 h 341"/>
              <a:gd name="T2" fmla="*/ 281 w 1086"/>
              <a:gd name="T3" fmla="*/ 88 h 341"/>
              <a:gd name="T4" fmla="*/ 446 w 1086"/>
              <a:gd name="T5" fmla="*/ 0 h 341"/>
              <a:gd name="T6" fmla="*/ 583 w 1086"/>
              <a:gd name="T7" fmla="*/ 51 h 341"/>
              <a:gd name="T8" fmla="*/ 709 w 1086"/>
              <a:gd name="T9" fmla="*/ 9 h 341"/>
              <a:gd name="T10" fmla="*/ 853 w 1086"/>
              <a:gd name="T11" fmla="*/ 67 h 341"/>
              <a:gd name="T12" fmla="*/ 908 w 1086"/>
              <a:gd name="T13" fmla="*/ 61 h 341"/>
              <a:gd name="T14" fmla="*/ 1086 w 1086"/>
              <a:gd name="T15" fmla="*/ 200 h 341"/>
              <a:gd name="T16" fmla="*/ 908 w 1086"/>
              <a:gd name="T17" fmla="*/ 340 h 341"/>
              <a:gd name="T18" fmla="*/ 764 w 1086"/>
              <a:gd name="T19" fmla="*/ 282 h 341"/>
              <a:gd name="T20" fmla="*/ 709 w 1086"/>
              <a:gd name="T21" fmla="*/ 289 h 341"/>
              <a:gd name="T22" fmla="*/ 572 w 1086"/>
              <a:gd name="T23" fmla="*/ 238 h 341"/>
              <a:gd name="T24" fmla="*/ 446 w 1086"/>
              <a:gd name="T25" fmla="*/ 279 h 341"/>
              <a:gd name="T26" fmla="*/ 342 w 1086"/>
              <a:gd name="T27" fmla="*/ 253 h 341"/>
              <a:gd name="T28" fmla="*/ 177 w 1086"/>
              <a:gd name="T29" fmla="*/ 341 h 341"/>
              <a:gd name="T30" fmla="*/ 0 w 1086"/>
              <a:gd name="T31" fmla="*/ 201 h 341"/>
              <a:gd name="T32" fmla="*/ 177 w 1086"/>
              <a:gd name="T33" fmla="*/ 62 h 3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86" h="341">
                <a:moveTo>
                  <a:pt x="177" y="62"/>
                </a:moveTo>
                <a:cubicBezTo>
                  <a:pt x="216" y="62"/>
                  <a:pt x="252" y="71"/>
                  <a:pt x="281" y="88"/>
                </a:cubicBezTo>
                <a:cubicBezTo>
                  <a:pt x="307" y="36"/>
                  <a:pt x="371" y="0"/>
                  <a:pt x="446" y="0"/>
                </a:cubicBezTo>
                <a:cubicBezTo>
                  <a:pt x="501" y="0"/>
                  <a:pt x="551" y="20"/>
                  <a:pt x="583" y="51"/>
                </a:cubicBezTo>
                <a:cubicBezTo>
                  <a:pt x="615" y="25"/>
                  <a:pt x="660" y="9"/>
                  <a:pt x="709" y="9"/>
                </a:cubicBezTo>
                <a:cubicBezTo>
                  <a:pt x="768" y="9"/>
                  <a:pt x="821" y="32"/>
                  <a:pt x="853" y="67"/>
                </a:cubicBezTo>
                <a:cubicBezTo>
                  <a:pt x="870" y="63"/>
                  <a:pt x="889" y="61"/>
                  <a:pt x="908" y="61"/>
                </a:cubicBezTo>
                <a:cubicBezTo>
                  <a:pt x="1006" y="61"/>
                  <a:pt x="1086" y="123"/>
                  <a:pt x="1086" y="200"/>
                </a:cubicBezTo>
                <a:cubicBezTo>
                  <a:pt x="1086" y="278"/>
                  <a:pt x="1006" y="340"/>
                  <a:pt x="908" y="340"/>
                </a:cubicBezTo>
                <a:cubicBezTo>
                  <a:pt x="849" y="340"/>
                  <a:pt x="797" y="317"/>
                  <a:pt x="764" y="282"/>
                </a:cubicBezTo>
                <a:cubicBezTo>
                  <a:pt x="747" y="287"/>
                  <a:pt x="728" y="289"/>
                  <a:pt x="709" y="289"/>
                </a:cubicBezTo>
                <a:cubicBezTo>
                  <a:pt x="654" y="289"/>
                  <a:pt x="605" y="269"/>
                  <a:pt x="572" y="238"/>
                </a:cubicBezTo>
                <a:cubicBezTo>
                  <a:pt x="540" y="264"/>
                  <a:pt x="495" y="279"/>
                  <a:pt x="446" y="279"/>
                </a:cubicBezTo>
                <a:cubicBezTo>
                  <a:pt x="407" y="279"/>
                  <a:pt x="372" y="270"/>
                  <a:pt x="342" y="253"/>
                </a:cubicBezTo>
                <a:cubicBezTo>
                  <a:pt x="316" y="305"/>
                  <a:pt x="252" y="341"/>
                  <a:pt x="177" y="341"/>
                </a:cubicBezTo>
                <a:cubicBezTo>
                  <a:pt x="79" y="341"/>
                  <a:pt x="0" y="279"/>
                  <a:pt x="0" y="201"/>
                </a:cubicBezTo>
                <a:cubicBezTo>
                  <a:pt x="0" y="124"/>
                  <a:pt x="79" y="62"/>
                  <a:pt x="177" y="62"/>
                </a:cubicBezTo>
              </a:path>
            </a:pathLst>
          </a:custGeom>
          <a:solidFill>
            <a:srgbClr val="825938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77" name="Freeform 121">
            <a:extLst>
              <a:ext uri="{FF2B5EF4-FFF2-40B4-BE49-F238E27FC236}">
                <a16:creationId xmlns:a16="http://schemas.microsoft.com/office/drawing/2014/main" id="{15C07253-6436-412F-95AF-27D098C8A840}"/>
              </a:ext>
            </a:extLst>
          </p:cNvPr>
          <p:cNvSpPr>
            <a:spLocks/>
          </p:cNvSpPr>
          <p:nvPr/>
        </p:nvSpPr>
        <p:spPr bwMode="auto">
          <a:xfrm>
            <a:off x="2162705" y="3293630"/>
            <a:ext cx="352827" cy="368799"/>
          </a:xfrm>
          <a:custGeom>
            <a:avLst/>
            <a:gdLst>
              <a:gd name="T0" fmla="*/ 540 w 540"/>
              <a:gd name="T1" fmla="*/ 180 h 564"/>
              <a:gd name="T2" fmla="*/ 0 w 540"/>
              <a:gd name="T3" fmla="*/ 397 h 564"/>
              <a:gd name="T4" fmla="*/ 540 w 540"/>
              <a:gd name="T5" fmla="*/ 180 h 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40" h="564">
                <a:moveTo>
                  <a:pt x="540" y="180"/>
                </a:moveTo>
                <a:cubicBezTo>
                  <a:pt x="540" y="180"/>
                  <a:pt x="465" y="564"/>
                  <a:pt x="0" y="397"/>
                </a:cubicBezTo>
                <a:cubicBezTo>
                  <a:pt x="38" y="99"/>
                  <a:pt x="344" y="0"/>
                  <a:pt x="540" y="180"/>
                </a:cubicBezTo>
                <a:close/>
              </a:path>
            </a:pathLst>
          </a:custGeom>
          <a:solidFill>
            <a:srgbClr val="1BA1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78" name="Freeform 122">
            <a:extLst>
              <a:ext uri="{FF2B5EF4-FFF2-40B4-BE49-F238E27FC236}">
                <a16:creationId xmlns:a16="http://schemas.microsoft.com/office/drawing/2014/main" id="{8DBDE7FA-5C1A-4FCF-B93F-F7E070E9409A}"/>
              </a:ext>
            </a:extLst>
          </p:cNvPr>
          <p:cNvSpPr>
            <a:spLocks/>
          </p:cNvSpPr>
          <p:nvPr/>
        </p:nvSpPr>
        <p:spPr bwMode="auto">
          <a:xfrm>
            <a:off x="2169966" y="3398171"/>
            <a:ext cx="386706" cy="150036"/>
          </a:xfrm>
          <a:custGeom>
            <a:avLst/>
            <a:gdLst>
              <a:gd name="T0" fmla="*/ 590 w 592"/>
              <a:gd name="T1" fmla="*/ 0 h 229"/>
              <a:gd name="T2" fmla="*/ 592 w 592"/>
              <a:gd name="T3" fmla="*/ 9 h 229"/>
              <a:gd name="T4" fmla="*/ 5 w 592"/>
              <a:gd name="T5" fmla="*/ 229 h 229"/>
              <a:gd name="T6" fmla="*/ 0 w 592"/>
              <a:gd name="T7" fmla="*/ 221 h 229"/>
              <a:gd name="T8" fmla="*/ 590 w 592"/>
              <a:gd name="T9" fmla="*/ 0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92" h="229">
                <a:moveTo>
                  <a:pt x="590" y="0"/>
                </a:moveTo>
                <a:cubicBezTo>
                  <a:pt x="592" y="9"/>
                  <a:pt x="592" y="9"/>
                  <a:pt x="592" y="9"/>
                </a:cubicBezTo>
                <a:cubicBezTo>
                  <a:pt x="225" y="61"/>
                  <a:pt x="7" y="227"/>
                  <a:pt x="5" y="229"/>
                </a:cubicBezTo>
                <a:cubicBezTo>
                  <a:pt x="0" y="221"/>
                  <a:pt x="0" y="221"/>
                  <a:pt x="0" y="221"/>
                </a:cubicBezTo>
                <a:cubicBezTo>
                  <a:pt x="2" y="220"/>
                  <a:pt x="222" y="52"/>
                  <a:pt x="590" y="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79" name="Freeform 123">
            <a:extLst>
              <a:ext uri="{FF2B5EF4-FFF2-40B4-BE49-F238E27FC236}">
                <a16:creationId xmlns:a16="http://schemas.microsoft.com/office/drawing/2014/main" id="{EC8BCF43-B036-461B-A33F-693AA2031888}"/>
              </a:ext>
            </a:extLst>
          </p:cNvPr>
          <p:cNvSpPr>
            <a:spLocks/>
          </p:cNvSpPr>
          <p:nvPr/>
        </p:nvSpPr>
        <p:spPr bwMode="auto">
          <a:xfrm>
            <a:off x="2385340" y="3368648"/>
            <a:ext cx="76954" cy="145196"/>
          </a:xfrm>
          <a:custGeom>
            <a:avLst/>
            <a:gdLst>
              <a:gd name="T0" fmla="*/ 114 w 117"/>
              <a:gd name="T1" fmla="*/ 81 h 222"/>
              <a:gd name="T2" fmla="*/ 114 w 117"/>
              <a:gd name="T3" fmla="*/ 116 h 222"/>
              <a:gd name="T4" fmla="*/ 100 w 117"/>
              <a:gd name="T5" fmla="*/ 158 h 222"/>
              <a:gd name="T6" fmla="*/ 98 w 117"/>
              <a:gd name="T7" fmla="*/ 165 h 222"/>
              <a:gd name="T8" fmla="*/ 74 w 117"/>
              <a:gd name="T9" fmla="*/ 218 h 222"/>
              <a:gd name="T10" fmla="*/ 68 w 117"/>
              <a:gd name="T11" fmla="*/ 220 h 222"/>
              <a:gd name="T12" fmla="*/ 66 w 117"/>
              <a:gd name="T13" fmla="*/ 214 h 222"/>
              <a:gd name="T14" fmla="*/ 89 w 117"/>
              <a:gd name="T15" fmla="*/ 161 h 222"/>
              <a:gd name="T16" fmla="*/ 92 w 117"/>
              <a:gd name="T17" fmla="*/ 155 h 222"/>
              <a:gd name="T18" fmla="*/ 105 w 117"/>
              <a:gd name="T19" fmla="*/ 114 h 222"/>
              <a:gd name="T20" fmla="*/ 89 w 117"/>
              <a:gd name="T21" fmla="*/ 55 h 222"/>
              <a:gd name="T22" fmla="*/ 4 w 117"/>
              <a:gd name="T23" fmla="*/ 10 h 222"/>
              <a:gd name="T24" fmla="*/ 1 w 117"/>
              <a:gd name="T25" fmla="*/ 4 h 222"/>
              <a:gd name="T26" fmla="*/ 7 w 117"/>
              <a:gd name="T27" fmla="*/ 1 h 222"/>
              <a:gd name="T28" fmla="*/ 96 w 117"/>
              <a:gd name="T29" fmla="*/ 49 h 222"/>
              <a:gd name="T30" fmla="*/ 114 w 117"/>
              <a:gd name="T31" fmla="*/ 81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7" h="222">
                <a:moveTo>
                  <a:pt x="114" y="81"/>
                </a:moveTo>
                <a:cubicBezTo>
                  <a:pt x="116" y="92"/>
                  <a:pt x="117" y="104"/>
                  <a:pt x="114" y="116"/>
                </a:cubicBezTo>
                <a:cubicBezTo>
                  <a:pt x="112" y="130"/>
                  <a:pt x="106" y="144"/>
                  <a:pt x="100" y="158"/>
                </a:cubicBezTo>
                <a:cubicBezTo>
                  <a:pt x="98" y="165"/>
                  <a:pt x="98" y="165"/>
                  <a:pt x="98" y="165"/>
                </a:cubicBezTo>
                <a:cubicBezTo>
                  <a:pt x="90" y="183"/>
                  <a:pt x="82" y="201"/>
                  <a:pt x="74" y="218"/>
                </a:cubicBezTo>
                <a:cubicBezTo>
                  <a:pt x="73" y="221"/>
                  <a:pt x="70" y="222"/>
                  <a:pt x="68" y="220"/>
                </a:cubicBezTo>
                <a:cubicBezTo>
                  <a:pt x="65" y="219"/>
                  <a:pt x="64" y="216"/>
                  <a:pt x="66" y="214"/>
                </a:cubicBezTo>
                <a:cubicBezTo>
                  <a:pt x="74" y="197"/>
                  <a:pt x="82" y="179"/>
                  <a:pt x="89" y="161"/>
                </a:cubicBezTo>
                <a:cubicBezTo>
                  <a:pt x="92" y="155"/>
                  <a:pt x="92" y="155"/>
                  <a:pt x="92" y="155"/>
                </a:cubicBezTo>
                <a:cubicBezTo>
                  <a:pt x="97" y="141"/>
                  <a:pt x="103" y="128"/>
                  <a:pt x="105" y="114"/>
                </a:cubicBezTo>
                <a:cubicBezTo>
                  <a:pt x="110" y="92"/>
                  <a:pt x="104" y="71"/>
                  <a:pt x="89" y="55"/>
                </a:cubicBezTo>
                <a:cubicBezTo>
                  <a:pt x="67" y="32"/>
                  <a:pt x="35" y="20"/>
                  <a:pt x="4" y="10"/>
                </a:cubicBezTo>
                <a:cubicBezTo>
                  <a:pt x="1" y="9"/>
                  <a:pt x="0" y="6"/>
                  <a:pt x="1" y="4"/>
                </a:cubicBezTo>
                <a:cubicBezTo>
                  <a:pt x="2" y="1"/>
                  <a:pt x="4" y="0"/>
                  <a:pt x="7" y="1"/>
                </a:cubicBezTo>
                <a:cubicBezTo>
                  <a:pt x="39" y="12"/>
                  <a:pt x="73" y="24"/>
                  <a:pt x="96" y="49"/>
                </a:cubicBezTo>
                <a:cubicBezTo>
                  <a:pt x="104" y="58"/>
                  <a:pt x="110" y="69"/>
                  <a:pt x="114" y="81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80" name="Freeform 124">
            <a:extLst>
              <a:ext uri="{FF2B5EF4-FFF2-40B4-BE49-F238E27FC236}">
                <a16:creationId xmlns:a16="http://schemas.microsoft.com/office/drawing/2014/main" id="{AEDA8B87-FFFD-4A89-B7C3-E1E01E2356C7}"/>
              </a:ext>
            </a:extLst>
          </p:cNvPr>
          <p:cNvSpPr>
            <a:spLocks/>
          </p:cNvSpPr>
          <p:nvPr/>
        </p:nvSpPr>
        <p:spPr bwMode="auto">
          <a:xfrm>
            <a:off x="2318066" y="3373488"/>
            <a:ext cx="91474" cy="164556"/>
          </a:xfrm>
          <a:custGeom>
            <a:avLst/>
            <a:gdLst>
              <a:gd name="T0" fmla="*/ 137 w 140"/>
              <a:gd name="T1" fmla="*/ 91 h 252"/>
              <a:gd name="T2" fmla="*/ 136 w 140"/>
              <a:gd name="T3" fmla="*/ 141 h 252"/>
              <a:gd name="T4" fmla="*/ 101 w 140"/>
              <a:gd name="T5" fmla="*/ 249 h 252"/>
              <a:gd name="T6" fmla="*/ 95 w 140"/>
              <a:gd name="T7" fmla="*/ 251 h 252"/>
              <a:gd name="T8" fmla="*/ 92 w 140"/>
              <a:gd name="T9" fmla="*/ 245 h 252"/>
              <a:gd name="T10" fmla="*/ 127 w 140"/>
              <a:gd name="T11" fmla="*/ 139 h 252"/>
              <a:gd name="T12" fmla="*/ 126 w 140"/>
              <a:gd name="T13" fmla="*/ 88 h 252"/>
              <a:gd name="T14" fmla="*/ 4 w 140"/>
              <a:gd name="T15" fmla="*/ 10 h 252"/>
              <a:gd name="T16" fmla="*/ 1 w 140"/>
              <a:gd name="T17" fmla="*/ 4 h 252"/>
              <a:gd name="T18" fmla="*/ 7 w 140"/>
              <a:gd name="T19" fmla="*/ 1 h 252"/>
              <a:gd name="T20" fmla="*/ 135 w 140"/>
              <a:gd name="T21" fmla="*/ 84 h 252"/>
              <a:gd name="T22" fmla="*/ 137 w 140"/>
              <a:gd name="T23" fmla="*/ 91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40" h="252">
                <a:moveTo>
                  <a:pt x="137" y="91"/>
                </a:moveTo>
                <a:cubicBezTo>
                  <a:pt x="140" y="105"/>
                  <a:pt x="140" y="122"/>
                  <a:pt x="136" y="141"/>
                </a:cubicBezTo>
                <a:cubicBezTo>
                  <a:pt x="129" y="178"/>
                  <a:pt x="115" y="214"/>
                  <a:pt x="101" y="249"/>
                </a:cubicBezTo>
                <a:cubicBezTo>
                  <a:pt x="100" y="251"/>
                  <a:pt x="97" y="252"/>
                  <a:pt x="95" y="251"/>
                </a:cubicBezTo>
                <a:cubicBezTo>
                  <a:pt x="92" y="250"/>
                  <a:pt x="91" y="248"/>
                  <a:pt x="92" y="245"/>
                </a:cubicBezTo>
                <a:cubicBezTo>
                  <a:pt x="106" y="211"/>
                  <a:pt x="120" y="175"/>
                  <a:pt x="127" y="139"/>
                </a:cubicBezTo>
                <a:cubicBezTo>
                  <a:pt x="131" y="119"/>
                  <a:pt x="131" y="102"/>
                  <a:pt x="126" y="88"/>
                </a:cubicBezTo>
                <a:cubicBezTo>
                  <a:pt x="110" y="44"/>
                  <a:pt x="55" y="24"/>
                  <a:pt x="4" y="10"/>
                </a:cubicBezTo>
                <a:cubicBezTo>
                  <a:pt x="2" y="9"/>
                  <a:pt x="0" y="6"/>
                  <a:pt x="1" y="4"/>
                </a:cubicBezTo>
                <a:cubicBezTo>
                  <a:pt x="2" y="1"/>
                  <a:pt x="4" y="0"/>
                  <a:pt x="7" y="1"/>
                </a:cubicBezTo>
                <a:cubicBezTo>
                  <a:pt x="60" y="15"/>
                  <a:pt x="117" y="36"/>
                  <a:pt x="135" y="84"/>
                </a:cubicBezTo>
                <a:cubicBezTo>
                  <a:pt x="135" y="87"/>
                  <a:pt x="136" y="89"/>
                  <a:pt x="137" y="91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81" name="Freeform 125">
            <a:extLst>
              <a:ext uri="{FF2B5EF4-FFF2-40B4-BE49-F238E27FC236}">
                <a16:creationId xmlns:a16="http://schemas.microsoft.com/office/drawing/2014/main" id="{88B8D18A-F109-43B6-9D3E-54D57A88EDC3}"/>
              </a:ext>
            </a:extLst>
          </p:cNvPr>
          <p:cNvSpPr>
            <a:spLocks/>
          </p:cNvSpPr>
          <p:nvPr/>
        </p:nvSpPr>
        <p:spPr bwMode="auto">
          <a:xfrm>
            <a:off x="2264343" y="3399623"/>
            <a:ext cx="103090" cy="149552"/>
          </a:xfrm>
          <a:custGeom>
            <a:avLst/>
            <a:gdLst>
              <a:gd name="T0" fmla="*/ 143 w 157"/>
              <a:gd name="T1" fmla="*/ 92 h 229"/>
              <a:gd name="T2" fmla="*/ 94 w 157"/>
              <a:gd name="T3" fmla="*/ 227 h 229"/>
              <a:gd name="T4" fmla="*/ 88 w 157"/>
              <a:gd name="T5" fmla="*/ 227 h 229"/>
              <a:gd name="T6" fmla="*/ 87 w 157"/>
              <a:gd name="T7" fmla="*/ 221 h 229"/>
              <a:gd name="T8" fmla="*/ 129 w 157"/>
              <a:gd name="T9" fmla="*/ 80 h 229"/>
              <a:gd name="T10" fmla="*/ 5 w 157"/>
              <a:gd name="T11" fmla="*/ 11 h 229"/>
              <a:gd name="T12" fmla="*/ 0 w 157"/>
              <a:gd name="T13" fmla="*/ 6 h 229"/>
              <a:gd name="T14" fmla="*/ 5 w 157"/>
              <a:gd name="T15" fmla="*/ 1 h 229"/>
              <a:gd name="T16" fmla="*/ 138 w 157"/>
              <a:gd name="T17" fmla="*/ 77 h 229"/>
              <a:gd name="T18" fmla="*/ 143 w 157"/>
              <a:gd name="T19" fmla="*/ 92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7" h="229">
                <a:moveTo>
                  <a:pt x="143" y="92"/>
                </a:moveTo>
                <a:cubicBezTo>
                  <a:pt x="157" y="147"/>
                  <a:pt x="120" y="199"/>
                  <a:pt x="94" y="227"/>
                </a:cubicBezTo>
                <a:cubicBezTo>
                  <a:pt x="92" y="229"/>
                  <a:pt x="89" y="229"/>
                  <a:pt x="88" y="227"/>
                </a:cubicBezTo>
                <a:cubicBezTo>
                  <a:pt x="86" y="226"/>
                  <a:pt x="86" y="223"/>
                  <a:pt x="87" y="221"/>
                </a:cubicBezTo>
                <a:cubicBezTo>
                  <a:pt x="113" y="192"/>
                  <a:pt x="154" y="136"/>
                  <a:pt x="129" y="80"/>
                </a:cubicBezTo>
                <a:cubicBezTo>
                  <a:pt x="107" y="31"/>
                  <a:pt x="51" y="10"/>
                  <a:pt x="5" y="11"/>
                </a:cubicBezTo>
                <a:cubicBezTo>
                  <a:pt x="2" y="11"/>
                  <a:pt x="0" y="9"/>
                  <a:pt x="0" y="6"/>
                </a:cubicBezTo>
                <a:cubicBezTo>
                  <a:pt x="0" y="4"/>
                  <a:pt x="2" y="1"/>
                  <a:pt x="5" y="1"/>
                </a:cubicBezTo>
                <a:cubicBezTo>
                  <a:pt x="54" y="0"/>
                  <a:pt x="114" y="23"/>
                  <a:pt x="138" y="77"/>
                </a:cubicBezTo>
                <a:cubicBezTo>
                  <a:pt x="140" y="82"/>
                  <a:pt x="142" y="87"/>
                  <a:pt x="143" y="92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82" name="Freeform 126">
            <a:extLst>
              <a:ext uri="{FF2B5EF4-FFF2-40B4-BE49-F238E27FC236}">
                <a16:creationId xmlns:a16="http://schemas.microsoft.com/office/drawing/2014/main" id="{0AC5A155-02A8-4F83-94CE-7BEC44676FE1}"/>
              </a:ext>
            </a:extLst>
          </p:cNvPr>
          <p:cNvSpPr>
            <a:spLocks/>
          </p:cNvSpPr>
          <p:nvPr/>
        </p:nvSpPr>
        <p:spPr bwMode="auto">
          <a:xfrm>
            <a:off x="2221268" y="3440762"/>
            <a:ext cx="81794" cy="113737"/>
          </a:xfrm>
          <a:custGeom>
            <a:avLst/>
            <a:gdLst>
              <a:gd name="T0" fmla="*/ 113 w 125"/>
              <a:gd name="T1" fmla="*/ 64 h 174"/>
              <a:gd name="T2" fmla="*/ 73 w 125"/>
              <a:gd name="T3" fmla="*/ 171 h 174"/>
              <a:gd name="T4" fmla="*/ 67 w 125"/>
              <a:gd name="T5" fmla="*/ 172 h 174"/>
              <a:gd name="T6" fmla="*/ 66 w 125"/>
              <a:gd name="T7" fmla="*/ 165 h 174"/>
              <a:gd name="T8" fmla="*/ 101 w 125"/>
              <a:gd name="T9" fmla="*/ 60 h 174"/>
              <a:gd name="T10" fmla="*/ 6 w 125"/>
              <a:gd name="T11" fmla="*/ 11 h 174"/>
              <a:gd name="T12" fmla="*/ 1 w 125"/>
              <a:gd name="T13" fmla="*/ 8 h 174"/>
              <a:gd name="T14" fmla="*/ 4 w 125"/>
              <a:gd name="T15" fmla="*/ 2 h 174"/>
              <a:gd name="T16" fmla="*/ 110 w 125"/>
              <a:gd name="T17" fmla="*/ 56 h 174"/>
              <a:gd name="T18" fmla="*/ 113 w 125"/>
              <a:gd name="T19" fmla="*/ 64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" h="174">
                <a:moveTo>
                  <a:pt x="113" y="64"/>
                </a:moveTo>
                <a:cubicBezTo>
                  <a:pt x="125" y="111"/>
                  <a:pt x="76" y="169"/>
                  <a:pt x="73" y="171"/>
                </a:cubicBezTo>
                <a:cubicBezTo>
                  <a:pt x="72" y="173"/>
                  <a:pt x="69" y="174"/>
                  <a:pt x="67" y="172"/>
                </a:cubicBezTo>
                <a:cubicBezTo>
                  <a:pt x="65" y="170"/>
                  <a:pt x="65" y="167"/>
                  <a:pt x="66" y="165"/>
                </a:cubicBezTo>
                <a:cubicBezTo>
                  <a:pt x="67" y="165"/>
                  <a:pt x="120" y="103"/>
                  <a:pt x="101" y="60"/>
                </a:cubicBezTo>
                <a:cubicBezTo>
                  <a:pt x="83" y="17"/>
                  <a:pt x="11" y="11"/>
                  <a:pt x="6" y="11"/>
                </a:cubicBezTo>
                <a:cubicBezTo>
                  <a:pt x="4" y="12"/>
                  <a:pt x="1" y="10"/>
                  <a:pt x="1" y="8"/>
                </a:cubicBezTo>
                <a:cubicBezTo>
                  <a:pt x="0" y="5"/>
                  <a:pt x="2" y="3"/>
                  <a:pt x="4" y="2"/>
                </a:cubicBezTo>
                <a:cubicBezTo>
                  <a:pt x="12" y="0"/>
                  <a:pt x="89" y="9"/>
                  <a:pt x="110" y="56"/>
                </a:cubicBezTo>
                <a:cubicBezTo>
                  <a:pt x="111" y="59"/>
                  <a:pt x="112" y="62"/>
                  <a:pt x="113" y="64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83" name="Freeform 127">
            <a:extLst>
              <a:ext uri="{FF2B5EF4-FFF2-40B4-BE49-F238E27FC236}">
                <a16:creationId xmlns:a16="http://schemas.microsoft.com/office/drawing/2014/main" id="{2B8AAB9A-6EAE-4803-A705-D69973CF9B36}"/>
              </a:ext>
            </a:extLst>
          </p:cNvPr>
          <p:cNvSpPr>
            <a:spLocks/>
          </p:cNvSpPr>
          <p:nvPr/>
        </p:nvSpPr>
        <p:spPr bwMode="auto">
          <a:xfrm>
            <a:off x="2411475" y="3516748"/>
            <a:ext cx="403646" cy="376058"/>
          </a:xfrm>
          <a:custGeom>
            <a:avLst/>
            <a:gdLst>
              <a:gd name="T0" fmla="*/ 323 w 617"/>
              <a:gd name="T1" fmla="*/ 0 h 575"/>
              <a:gd name="T2" fmla="*/ 237 w 617"/>
              <a:gd name="T3" fmla="*/ 575 h 575"/>
              <a:gd name="T4" fmla="*/ 323 w 617"/>
              <a:gd name="T5" fmla="*/ 0 h 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17" h="575">
                <a:moveTo>
                  <a:pt x="323" y="0"/>
                </a:moveTo>
                <a:cubicBezTo>
                  <a:pt x="323" y="0"/>
                  <a:pt x="617" y="259"/>
                  <a:pt x="237" y="575"/>
                </a:cubicBezTo>
                <a:cubicBezTo>
                  <a:pt x="0" y="392"/>
                  <a:pt x="69" y="79"/>
                  <a:pt x="323" y="0"/>
                </a:cubicBezTo>
                <a:close/>
              </a:path>
            </a:pathLst>
          </a:custGeom>
          <a:solidFill>
            <a:srgbClr val="1BA1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84" name="Freeform 128">
            <a:extLst>
              <a:ext uri="{FF2B5EF4-FFF2-40B4-BE49-F238E27FC236}">
                <a16:creationId xmlns:a16="http://schemas.microsoft.com/office/drawing/2014/main" id="{891BF452-F8F2-417B-9F74-767D0E95166C}"/>
              </a:ext>
            </a:extLst>
          </p:cNvPr>
          <p:cNvSpPr>
            <a:spLocks/>
          </p:cNvSpPr>
          <p:nvPr/>
        </p:nvSpPr>
        <p:spPr bwMode="auto">
          <a:xfrm>
            <a:off x="2539248" y="3475125"/>
            <a:ext cx="98250" cy="407034"/>
          </a:xfrm>
          <a:custGeom>
            <a:avLst/>
            <a:gdLst>
              <a:gd name="T0" fmla="*/ 142 w 150"/>
              <a:gd name="T1" fmla="*/ 0 h 622"/>
              <a:gd name="T2" fmla="*/ 150 w 150"/>
              <a:gd name="T3" fmla="*/ 4 h 622"/>
              <a:gd name="T4" fmla="*/ 43 w 150"/>
              <a:gd name="T5" fmla="*/ 620 h 622"/>
              <a:gd name="T6" fmla="*/ 34 w 150"/>
              <a:gd name="T7" fmla="*/ 622 h 622"/>
              <a:gd name="T8" fmla="*/ 142 w 150"/>
              <a:gd name="T9" fmla="*/ 0 h 6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0" h="622">
                <a:moveTo>
                  <a:pt x="142" y="0"/>
                </a:moveTo>
                <a:cubicBezTo>
                  <a:pt x="150" y="4"/>
                  <a:pt x="150" y="4"/>
                  <a:pt x="150" y="4"/>
                </a:cubicBezTo>
                <a:cubicBezTo>
                  <a:pt x="10" y="346"/>
                  <a:pt x="43" y="618"/>
                  <a:pt x="43" y="620"/>
                </a:cubicBezTo>
                <a:cubicBezTo>
                  <a:pt x="34" y="622"/>
                  <a:pt x="34" y="622"/>
                  <a:pt x="34" y="622"/>
                </a:cubicBezTo>
                <a:cubicBezTo>
                  <a:pt x="34" y="619"/>
                  <a:pt x="0" y="345"/>
                  <a:pt x="142" y="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85" name="Freeform 129">
            <a:extLst>
              <a:ext uri="{FF2B5EF4-FFF2-40B4-BE49-F238E27FC236}">
                <a16:creationId xmlns:a16="http://schemas.microsoft.com/office/drawing/2014/main" id="{810AA40D-702E-46C1-B3D9-FF305E017D1E}"/>
              </a:ext>
            </a:extLst>
          </p:cNvPr>
          <p:cNvSpPr>
            <a:spLocks/>
          </p:cNvSpPr>
          <p:nvPr/>
        </p:nvSpPr>
        <p:spPr bwMode="auto">
          <a:xfrm>
            <a:off x="2521340" y="3567566"/>
            <a:ext cx="147617" cy="75502"/>
          </a:xfrm>
          <a:custGeom>
            <a:avLst/>
            <a:gdLst>
              <a:gd name="T0" fmla="*/ 126 w 225"/>
              <a:gd name="T1" fmla="*/ 4 h 115"/>
              <a:gd name="T2" fmla="*/ 156 w 225"/>
              <a:gd name="T3" fmla="*/ 21 h 115"/>
              <a:gd name="T4" fmla="*/ 185 w 225"/>
              <a:gd name="T5" fmla="*/ 54 h 115"/>
              <a:gd name="T6" fmla="*/ 190 w 225"/>
              <a:gd name="T7" fmla="*/ 60 h 115"/>
              <a:gd name="T8" fmla="*/ 224 w 225"/>
              <a:gd name="T9" fmla="*/ 108 h 115"/>
              <a:gd name="T10" fmla="*/ 223 w 225"/>
              <a:gd name="T11" fmla="*/ 114 h 115"/>
              <a:gd name="T12" fmla="*/ 216 w 225"/>
              <a:gd name="T13" fmla="*/ 113 h 115"/>
              <a:gd name="T14" fmla="*/ 182 w 225"/>
              <a:gd name="T15" fmla="*/ 66 h 115"/>
              <a:gd name="T16" fmla="*/ 178 w 225"/>
              <a:gd name="T17" fmla="*/ 60 h 115"/>
              <a:gd name="T18" fmla="*/ 150 w 225"/>
              <a:gd name="T19" fmla="*/ 28 h 115"/>
              <a:gd name="T20" fmla="*/ 91 w 225"/>
              <a:gd name="T21" fmla="*/ 12 h 115"/>
              <a:gd name="T22" fmla="*/ 8 w 225"/>
              <a:gd name="T23" fmla="*/ 62 h 115"/>
              <a:gd name="T24" fmla="*/ 2 w 225"/>
              <a:gd name="T25" fmla="*/ 62 h 115"/>
              <a:gd name="T26" fmla="*/ 2 w 225"/>
              <a:gd name="T27" fmla="*/ 55 h 115"/>
              <a:gd name="T28" fmla="*/ 89 w 225"/>
              <a:gd name="T29" fmla="*/ 3 h 115"/>
              <a:gd name="T30" fmla="*/ 126 w 225"/>
              <a:gd name="T31" fmla="*/ 4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5" h="115">
                <a:moveTo>
                  <a:pt x="126" y="4"/>
                </a:moveTo>
                <a:cubicBezTo>
                  <a:pt x="137" y="7"/>
                  <a:pt x="147" y="13"/>
                  <a:pt x="156" y="21"/>
                </a:cubicBezTo>
                <a:cubicBezTo>
                  <a:pt x="167" y="31"/>
                  <a:pt x="176" y="43"/>
                  <a:pt x="185" y="54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202" y="76"/>
                  <a:pt x="213" y="92"/>
                  <a:pt x="224" y="108"/>
                </a:cubicBezTo>
                <a:cubicBezTo>
                  <a:pt x="225" y="110"/>
                  <a:pt x="225" y="113"/>
                  <a:pt x="223" y="114"/>
                </a:cubicBezTo>
                <a:cubicBezTo>
                  <a:pt x="220" y="115"/>
                  <a:pt x="218" y="115"/>
                  <a:pt x="216" y="113"/>
                </a:cubicBezTo>
                <a:cubicBezTo>
                  <a:pt x="206" y="97"/>
                  <a:pt x="194" y="81"/>
                  <a:pt x="182" y="66"/>
                </a:cubicBezTo>
                <a:cubicBezTo>
                  <a:pt x="178" y="60"/>
                  <a:pt x="178" y="60"/>
                  <a:pt x="178" y="60"/>
                </a:cubicBezTo>
                <a:cubicBezTo>
                  <a:pt x="169" y="49"/>
                  <a:pt x="160" y="37"/>
                  <a:pt x="150" y="28"/>
                </a:cubicBezTo>
                <a:cubicBezTo>
                  <a:pt x="133" y="13"/>
                  <a:pt x="112" y="7"/>
                  <a:pt x="91" y="12"/>
                </a:cubicBezTo>
                <a:cubicBezTo>
                  <a:pt x="60" y="19"/>
                  <a:pt x="33" y="41"/>
                  <a:pt x="8" y="62"/>
                </a:cubicBezTo>
                <a:cubicBezTo>
                  <a:pt x="6" y="64"/>
                  <a:pt x="3" y="64"/>
                  <a:pt x="2" y="62"/>
                </a:cubicBezTo>
                <a:cubicBezTo>
                  <a:pt x="0" y="60"/>
                  <a:pt x="0" y="57"/>
                  <a:pt x="2" y="55"/>
                </a:cubicBezTo>
                <a:cubicBezTo>
                  <a:pt x="28" y="33"/>
                  <a:pt x="56" y="11"/>
                  <a:pt x="89" y="3"/>
                </a:cubicBezTo>
                <a:cubicBezTo>
                  <a:pt x="101" y="0"/>
                  <a:pt x="114" y="1"/>
                  <a:pt x="126" y="4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86" name="Freeform 130">
            <a:extLst>
              <a:ext uri="{FF2B5EF4-FFF2-40B4-BE49-F238E27FC236}">
                <a16:creationId xmlns:a16="http://schemas.microsoft.com/office/drawing/2014/main" id="{F07DE274-C9A1-46CA-A660-AB00DA19BDC8}"/>
              </a:ext>
            </a:extLst>
          </p:cNvPr>
          <p:cNvSpPr>
            <a:spLocks/>
          </p:cNvSpPr>
          <p:nvPr/>
        </p:nvSpPr>
        <p:spPr bwMode="auto">
          <a:xfrm>
            <a:off x="2491333" y="3614029"/>
            <a:ext cx="173268" cy="84214"/>
          </a:xfrm>
          <a:custGeom>
            <a:avLst/>
            <a:gdLst>
              <a:gd name="T0" fmla="*/ 146 w 265"/>
              <a:gd name="T1" fmla="*/ 10 h 129"/>
              <a:gd name="T2" fmla="*/ 189 w 265"/>
              <a:gd name="T3" fmla="*/ 36 h 129"/>
              <a:gd name="T4" fmla="*/ 264 w 265"/>
              <a:gd name="T5" fmla="*/ 121 h 129"/>
              <a:gd name="T6" fmla="*/ 263 w 265"/>
              <a:gd name="T7" fmla="*/ 128 h 129"/>
              <a:gd name="T8" fmla="*/ 256 w 265"/>
              <a:gd name="T9" fmla="*/ 127 h 129"/>
              <a:gd name="T10" fmla="*/ 182 w 265"/>
              <a:gd name="T11" fmla="*/ 43 h 129"/>
              <a:gd name="T12" fmla="*/ 137 w 265"/>
              <a:gd name="T13" fmla="*/ 18 h 129"/>
              <a:gd name="T14" fmla="*/ 9 w 265"/>
              <a:gd name="T15" fmla="*/ 83 h 129"/>
              <a:gd name="T16" fmla="*/ 2 w 265"/>
              <a:gd name="T17" fmla="*/ 83 h 129"/>
              <a:gd name="T18" fmla="*/ 2 w 265"/>
              <a:gd name="T19" fmla="*/ 77 h 129"/>
              <a:gd name="T20" fmla="*/ 139 w 265"/>
              <a:gd name="T21" fmla="*/ 9 h 129"/>
              <a:gd name="T22" fmla="*/ 146 w 265"/>
              <a:gd name="T23" fmla="*/ 1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" h="129">
                <a:moveTo>
                  <a:pt x="146" y="10"/>
                </a:moveTo>
                <a:cubicBezTo>
                  <a:pt x="160" y="14"/>
                  <a:pt x="174" y="23"/>
                  <a:pt x="189" y="36"/>
                </a:cubicBezTo>
                <a:cubicBezTo>
                  <a:pt x="217" y="61"/>
                  <a:pt x="241" y="92"/>
                  <a:pt x="264" y="121"/>
                </a:cubicBezTo>
                <a:cubicBezTo>
                  <a:pt x="265" y="123"/>
                  <a:pt x="265" y="126"/>
                  <a:pt x="263" y="128"/>
                </a:cubicBezTo>
                <a:cubicBezTo>
                  <a:pt x="261" y="129"/>
                  <a:pt x="258" y="129"/>
                  <a:pt x="256" y="127"/>
                </a:cubicBezTo>
                <a:cubicBezTo>
                  <a:pt x="234" y="98"/>
                  <a:pt x="210" y="68"/>
                  <a:pt x="182" y="43"/>
                </a:cubicBezTo>
                <a:cubicBezTo>
                  <a:pt x="167" y="29"/>
                  <a:pt x="152" y="21"/>
                  <a:pt x="137" y="18"/>
                </a:cubicBezTo>
                <a:cubicBezTo>
                  <a:pt x="91" y="10"/>
                  <a:pt x="46" y="46"/>
                  <a:pt x="9" y="83"/>
                </a:cubicBezTo>
                <a:cubicBezTo>
                  <a:pt x="7" y="85"/>
                  <a:pt x="4" y="85"/>
                  <a:pt x="2" y="83"/>
                </a:cubicBezTo>
                <a:cubicBezTo>
                  <a:pt x="0" y="82"/>
                  <a:pt x="0" y="79"/>
                  <a:pt x="2" y="77"/>
                </a:cubicBezTo>
                <a:cubicBezTo>
                  <a:pt x="42" y="38"/>
                  <a:pt x="89" y="0"/>
                  <a:pt x="139" y="9"/>
                </a:cubicBezTo>
                <a:cubicBezTo>
                  <a:pt x="141" y="9"/>
                  <a:pt x="144" y="10"/>
                  <a:pt x="146" y="1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87" name="Freeform 131">
            <a:extLst>
              <a:ext uri="{FF2B5EF4-FFF2-40B4-BE49-F238E27FC236}">
                <a16:creationId xmlns:a16="http://schemas.microsoft.com/office/drawing/2014/main" id="{8687639F-D2D6-48F6-B7DB-C40784602A7E}"/>
              </a:ext>
            </a:extLst>
          </p:cNvPr>
          <p:cNvSpPr>
            <a:spLocks/>
          </p:cNvSpPr>
          <p:nvPr/>
        </p:nvSpPr>
        <p:spPr bwMode="auto">
          <a:xfrm>
            <a:off x="2487461" y="3671140"/>
            <a:ext cx="157780" cy="82278"/>
          </a:xfrm>
          <a:custGeom>
            <a:avLst/>
            <a:gdLst>
              <a:gd name="T0" fmla="*/ 149 w 241"/>
              <a:gd name="T1" fmla="*/ 10 h 126"/>
              <a:gd name="T2" fmla="*/ 241 w 241"/>
              <a:gd name="T3" fmla="*/ 120 h 126"/>
              <a:gd name="T4" fmla="*/ 238 w 241"/>
              <a:gd name="T5" fmla="*/ 126 h 126"/>
              <a:gd name="T6" fmla="*/ 232 w 241"/>
              <a:gd name="T7" fmla="*/ 123 h 126"/>
              <a:gd name="T8" fmla="*/ 132 w 241"/>
              <a:gd name="T9" fmla="*/ 16 h 126"/>
              <a:gd name="T10" fmla="*/ 9 w 241"/>
              <a:gd name="T11" fmla="*/ 87 h 126"/>
              <a:gd name="T12" fmla="*/ 3 w 241"/>
              <a:gd name="T13" fmla="*/ 89 h 126"/>
              <a:gd name="T14" fmla="*/ 1 w 241"/>
              <a:gd name="T15" fmla="*/ 83 h 126"/>
              <a:gd name="T16" fmla="*/ 133 w 241"/>
              <a:gd name="T17" fmla="*/ 6 h 126"/>
              <a:gd name="T18" fmla="*/ 149 w 241"/>
              <a:gd name="T19" fmla="*/ 1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1" h="126">
                <a:moveTo>
                  <a:pt x="149" y="10"/>
                </a:moveTo>
                <a:cubicBezTo>
                  <a:pt x="203" y="25"/>
                  <a:pt x="230" y="84"/>
                  <a:pt x="241" y="120"/>
                </a:cubicBezTo>
                <a:cubicBezTo>
                  <a:pt x="241" y="122"/>
                  <a:pt x="240" y="125"/>
                  <a:pt x="238" y="126"/>
                </a:cubicBezTo>
                <a:cubicBezTo>
                  <a:pt x="235" y="126"/>
                  <a:pt x="232" y="125"/>
                  <a:pt x="232" y="123"/>
                </a:cubicBezTo>
                <a:cubicBezTo>
                  <a:pt x="220" y="85"/>
                  <a:pt x="192" y="22"/>
                  <a:pt x="132" y="16"/>
                </a:cubicBezTo>
                <a:cubicBezTo>
                  <a:pt x="78" y="10"/>
                  <a:pt x="31" y="48"/>
                  <a:pt x="9" y="87"/>
                </a:cubicBezTo>
                <a:cubicBezTo>
                  <a:pt x="8" y="90"/>
                  <a:pt x="5" y="91"/>
                  <a:pt x="3" y="89"/>
                </a:cubicBezTo>
                <a:cubicBezTo>
                  <a:pt x="0" y="88"/>
                  <a:pt x="0" y="85"/>
                  <a:pt x="1" y="83"/>
                </a:cubicBezTo>
                <a:cubicBezTo>
                  <a:pt x="25" y="40"/>
                  <a:pt x="75" y="0"/>
                  <a:pt x="133" y="6"/>
                </a:cubicBezTo>
                <a:cubicBezTo>
                  <a:pt x="138" y="7"/>
                  <a:pt x="144" y="8"/>
                  <a:pt x="149" y="1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88" name="Freeform 132">
            <a:extLst>
              <a:ext uri="{FF2B5EF4-FFF2-40B4-BE49-F238E27FC236}">
                <a16:creationId xmlns:a16="http://schemas.microsoft.com/office/drawing/2014/main" id="{00FB4DB0-13B2-4B08-A642-8D3EF2D55664}"/>
              </a:ext>
            </a:extLst>
          </p:cNvPr>
          <p:cNvSpPr>
            <a:spLocks/>
          </p:cNvSpPr>
          <p:nvPr/>
        </p:nvSpPr>
        <p:spPr bwMode="auto">
          <a:xfrm>
            <a:off x="2501981" y="3738414"/>
            <a:ext cx="119061" cy="66791"/>
          </a:xfrm>
          <a:custGeom>
            <a:avLst/>
            <a:gdLst>
              <a:gd name="T0" fmla="*/ 109 w 182"/>
              <a:gd name="T1" fmla="*/ 8 h 102"/>
              <a:gd name="T2" fmla="*/ 181 w 182"/>
              <a:gd name="T3" fmla="*/ 95 h 102"/>
              <a:gd name="T4" fmla="*/ 178 w 182"/>
              <a:gd name="T5" fmla="*/ 101 h 102"/>
              <a:gd name="T6" fmla="*/ 172 w 182"/>
              <a:gd name="T7" fmla="*/ 99 h 102"/>
              <a:gd name="T8" fmla="*/ 99 w 182"/>
              <a:gd name="T9" fmla="*/ 15 h 102"/>
              <a:gd name="T10" fmla="*/ 9 w 182"/>
              <a:gd name="T11" fmla="*/ 72 h 102"/>
              <a:gd name="T12" fmla="*/ 3 w 182"/>
              <a:gd name="T13" fmla="*/ 75 h 102"/>
              <a:gd name="T14" fmla="*/ 0 w 182"/>
              <a:gd name="T15" fmla="*/ 70 h 102"/>
              <a:gd name="T16" fmla="*/ 100 w 182"/>
              <a:gd name="T17" fmla="*/ 6 h 102"/>
              <a:gd name="T18" fmla="*/ 109 w 182"/>
              <a:gd name="T19" fmla="*/ 8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82" h="102">
                <a:moveTo>
                  <a:pt x="109" y="8"/>
                </a:moveTo>
                <a:cubicBezTo>
                  <a:pt x="155" y="21"/>
                  <a:pt x="180" y="92"/>
                  <a:pt x="181" y="95"/>
                </a:cubicBezTo>
                <a:cubicBezTo>
                  <a:pt x="182" y="98"/>
                  <a:pt x="181" y="101"/>
                  <a:pt x="178" y="101"/>
                </a:cubicBezTo>
                <a:cubicBezTo>
                  <a:pt x="176" y="102"/>
                  <a:pt x="173" y="101"/>
                  <a:pt x="172" y="99"/>
                </a:cubicBezTo>
                <a:cubicBezTo>
                  <a:pt x="172" y="98"/>
                  <a:pt x="145" y="21"/>
                  <a:pt x="99" y="15"/>
                </a:cubicBezTo>
                <a:cubicBezTo>
                  <a:pt x="53" y="10"/>
                  <a:pt x="11" y="68"/>
                  <a:pt x="9" y="72"/>
                </a:cubicBezTo>
                <a:cubicBezTo>
                  <a:pt x="8" y="75"/>
                  <a:pt x="6" y="76"/>
                  <a:pt x="3" y="75"/>
                </a:cubicBezTo>
                <a:cubicBezTo>
                  <a:pt x="1" y="74"/>
                  <a:pt x="0" y="72"/>
                  <a:pt x="0" y="70"/>
                </a:cubicBezTo>
                <a:cubicBezTo>
                  <a:pt x="3" y="62"/>
                  <a:pt x="49" y="0"/>
                  <a:pt x="100" y="6"/>
                </a:cubicBezTo>
                <a:cubicBezTo>
                  <a:pt x="103" y="6"/>
                  <a:pt x="106" y="7"/>
                  <a:pt x="109" y="8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89" name="Freeform 133">
            <a:extLst>
              <a:ext uri="{FF2B5EF4-FFF2-40B4-BE49-F238E27FC236}">
                <a16:creationId xmlns:a16="http://schemas.microsoft.com/office/drawing/2014/main" id="{790FD51F-55B5-4380-880D-99EB609F9B14}"/>
              </a:ext>
            </a:extLst>
          </p:cNvPr>
          <p:cNvSpPr>
            <a:spLocks/>
          </p:cNvSpPr>
          <p:nvPr/>
        </p:nvSpPr>
        <p:spPr bwMode="auto">
          <a:xfrm>
            <a:off x="2491333" y="3708891"/>
            <a:ext cx="403646" cy="377027"/>
          </a:xfrm>
          <a:custGeom>
            <a:avLst/>
            <a:gdLst>
              <a:gd name="T0" fmla="*/ 323 w 617"/>
              <a:gd name="T1" fmla="*/ 0 h 576"/>
              <a:gd name="T2" fmla="*/ 238 w 617"/>
              <a:gd name="T3" fmla="*/ 576 h 576"/>
              <a:gd name="T4" fmla="*/ 323 w 617"/>
              <a:gd name="T5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17" h="576">
                <a:moveTo>
                  <a:pt x="323" y="0"/>
                </a:moveTo>
                <a:cubicBezTo>
                  <a:pt x="323" y="0"/>
                  <a:pt x="617" y="259"/>
                  <a:pt x="238" y="576"/>
                </a:cubicBezTo>
                <a:cubicBezTo>
                  <a:pt x="0" y="393"/>
                  <a:pt x="69" y="79"/>
                  <a:pt x="323" y="0"/>
                </a:cubicBezTo>
                <a:close/>
              </a:path>
            </a:pathLst>
          </a:custGeom>
          <a:solidFill>
            <a:srgbClr val="1BA1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90" name="Freeform 134">
            <a:extLst>
              <a:ext uri="{FF2B5EF4-FFF2-40B4-BE49-F238E27FC236}">
                <a16:creationId xmlns:a16="http://schemas.microsoft.com/office/drawing/2014/main" id="{66CBBF39-752E-4386-B8D7-4EB23D7C48FD}"/>
              </a:ext>
            </a:extLst>
          </p:cNvPr>
          <p:cNvSpPr>
            <a:spLocks/>
          </p:cNvSpPr>
          <p:nvPr/>
        </p:nvSpPr>
        <p:spPr bwMode="auto">
          <a:xfrm>
            <a:off x="2619590" y="3668236"/>
            <a:ext cx="98250" cy="406550"/>
          </a:xfrm>
          <a:custGeom>
            <a:avLst/>
            <a:gdLst>
              <a:gd name="T0" fmla="*/ 141 w 150"/>
              <a:gd name="T1" fmla="*/ 0 h 621"/>
              <a:gd name="T2" fmla="*/ 150 w 150"/>
              <a:gd name="T3" fmla="*/ 3 h 621"/>
              <a:gd name="T4" fmla="*/ 43 w 150"/>
              <a:gd name="T5" fmla="*/ 620 h 621"/>
              <a:gd name="T6" fmla="*/ 33 w 150"/>
              <a:gd name="T7" fmla="*/ 621 h 621"/>
              <a:gd name="T8" fmla="*/ 141 w 150"/>
              <a:gd name="T9" fmla="*/ 0 h 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0" h="621">
                <a:moveTo>
                  <a:pt x="141" y="0"/>
                </a:moveTo>
                <a:cubicBezTo>
                  <a:pt x="150" y="3"/>
                  <a:pt x="150" y="3"/>
                  <a:pt x="150" y="3"/>
                </a:cubicBezTo>
                <a:cubicBezTo>
                  <a:pt x="10" y="346"/>
                  <a:pt x="42" y="617"/>
                  <a:pt x="43" y="620"/>
                </a:cubicBezTo>
                <a:cubicBezTo>
                  <a:pt x="33" y="621"/>
                  <a:pt x="33" y="621"/>
                  <a:pt x="33" y="621"/>
                </a:cubicBezTo>
                <a:cubicBezTo>
                  <a:pt x="33" y="619"/>
                  <a:pt x="0" y="344"/>
                  <a:pt x="141" y="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91" name="Freeform 135">
            <a:extLst>
              <a:ext uri="{FF2B5EF4-FFF2-40B4-BE49-F238E27FC236}">
                <a16:creationId xmlns:a16="http://schemas.microsoft.com/office/drawing/2014/main" id="{423ACD10-D1CA-41C7-8651-091B42CB9283}"/>
              </a:ext>
            </a:extLst>
          </p:cNvPr>
          <p:cNvSpPr>
            <a:spLocks/>
          </p:cNvSpPr>
          <p:nvPr/>
        </p:nvSpPr>
        <p:spPr bwMode="auto">
          <a:xfrm>
            <a:off x="2602166" y="3760678"/>
            <a:ext cx="147133" cy="75018"/>
          </a:xfrm>
          <a:custGeom>
            <a:avLst/>
            <a:gdLst>
              <a:gd name="T0" fmla="*/ 125 w 225"/>
              <a:gd name="T1" fmla="*/ 4 h 115"/>
              <a:gd name="T2" fmla="*/ 155 w 225"/>
              <a:gd name="T3" fmla="*/ 20 h 115"/>
              <a:gd name="T4" fmla="*/ 185 w 225"/>
              <a:gd name="T5" fmla="*/ 54 h 115"/>
              <a:gd name="T6" fmla="*/ 189 w 225"/>
              <a:gd name="T7" fmla="*/ 60 h 115"/>
              <a:gd name="T8" fmla="*/ 223 w 225"/>
              <a:gd name="T9" fmla="*/ 107 h 115"/>
              <a:gd name="T10" fmla="*/ 222 w 225"/>
              <a:gd name="T11" fmla="*/ 114 h 115"/>
              <a:gd name="T12" fmla="*/ 216 w 225"/>
              <a:gd name="T13" fmla="*/ 112 h 115"/>
              <a:gd name="T14" fmla="*/ 182 w 225"/>
              <a:gd name="T15" fmla="*/ 65 h 115"/>
              <a:gd name="T16" fmla="*/ 177 w 225"/>
              <a:gd name="T17" fmla="*/ 60 h 115"/>
              <a:gd name="T18" fmla="*/ 149 w 225"/>
              <a:gd name="T19" fmla="*/ 27 h 115"/>
              <a:gd name="T20" fmla="*/ 90 w 225"/>
              <a:gd name="T21" fmla="*/ 12 h 115"/>
              <a:gd name="T22" fmla="*/ 8 w 225"/>
              <a:gd name="T23" fmla="*/ 62 h 115"/>
              <a:gd name="T24" fmla="*/ 1 w 225"/>
              <a:gd name="T25" fmla="*/ 62 h 115"/>
              <a:gd name="T26" fmla="*/ 2 w 225"/>
              <a:gd name="T27" fmla="*/ 55 h 115"/>
              <a:gd name="T28" fmla="*/ 88 w 225"/>
              <a:gd name="T29" fmla="*/ 3 h 115"/>
              <a:gd name="T30" fmla="*/ 125 w 225"/>
              <a:gd name="T31" fmla="*/ 4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5" h="115">
                <a:moveTo>
                  <a:pt x="125" y="4"/>
                </a:moveTo>
                <a:cubicBezTo>
                  <a:pt x="136" y="7"/>
                  <a:pt x="146" y="12"/>
                  <a:pt x="155" y="20"/>
                </a:cubicBezTo>
                <a:cubicBezTo>
                  <a:pt x="167" y="30"/>
                  <a:pt x="176" y="42"/>
                  <a:pt x="185" y="54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201" y="75"/>
                  <a:pt x="213" y="91"/>
                  <a:pt x="223" y="107"/>
                </a:cubicBezTo>
                <a:cubicBezTo>
                  <a:pt x="225" y="109"/>
                  <a:pt x="224" y="112"/>
                  <a:pt x="222" y="114"/>
                </a:cubicBezTo>
                <a:cubicBezTo>
                  <a:pt x="220" y="115"/>
                  <a:pt x="217" y="114"/>
                  <a:pt x="216" y="112"/>
                </a:cubicBezTo>
                <a:cubicBezTo>
                  <a:pt x="205" y="97"/>
                  <a:pt x="194" y="81"/>
                  <a:pt x="182" y="65"/>
                </a:cubicBezTo>
                <a:cubicBezTo>
                  <a:pt x="177" y="60"/>
                  <a:pt x="177" y="60"/>
                  <a:pt x="177" y="60"/>
                </a:cubicBezTo>
                <a:cubicBezTo>
                  <a:pt x="169" y="48"/>
                  <a:pt x="160" y="37"/>
                  <a:pt x="149" y="27"/>
                </a:cubicBezTo>
                <a:cubicBezTo>
                  <a:pt x="132" y="12"/>
                  <a:pt x="111" y="7"/>
                  <a:pt x="90" y="12"/>
                </a:cubicBezTo>
                <a:cubicBezTo>
                  <a:pt x="60" y="19"/>
                  <a:pt x="33" y="41"/>
                  <a:pt x="8" y="62"/>
                </a:cubicBezTo>
                <a:cubicBezTo>
                  <a:pt x="6" y="64"/>
                  <a:pt x="3" y="64"/>
                  <a:pt x="1" y="62"/>
                </a:cubicBezTo>
                <a:cubicBezTo>
                  <a:pt x="0" y="60"/>
                  <a:pt x="0" y="57"/>
                  <a:pt x="2" y="55"/>
                </a:cubicBezTo>
                <a:cubicBezTo>
                  <a:pt x="28" y="33"/>
                  <a:pt x="55" y="10"/>
                  <a:pt x="88" y="3"/>
                </a:cubicBezTo>
                <a:cubicBezTo>
                  <a:pt x="101" y="0"/>
                  <a:pt x="113" y="0"/>
                  <a:pt x="125" y="4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92" name="Freeform 136">
            <a:extLst>
              <a:ext uri="{FF2B5EF4-FFF2-40B4-BE49-F238E27FC236}">
                <a16:creationId xmlns:a16="http://schemas.microsoft.com/office/drawing/2014/main" id="{BE281926-240A-4710-9AAF-0100C3511F9C}"/>
              </a:ext>
            </a:extLst>
          </p:cNvPr>
          <p:cNvSpPr>
            <a:spLocks/>
          </p:cNvSpPr>
          <p:nvPr/>
        </p:nvSpPr>
        <p:spPr bwMode="auto">
          <a:xfrm>
            <a:off x="2572159" y="3806172"/>
            <a:ext cx="173268" cy="85182"/>
          </a:xfrm>
          <a:custGeom>
            <a:avLst/>
            <a:gdLst>
              <a:gd name="T0" fmla="*/ 145 w 265"/>
              <a:gd name="T1" fmla="*/ 11 h 130"/>
              <a:gd name="T2" fmla="*/ 188 w 265"/>
              <a:gd name="T3" fmla="*/ 36 h 130"/>
              <a:gd name="T4" fmla="*/ 263 w 265"/>
              <a:gd name="T5" fmla="*/ 122 h 130"/>
              <a:gd name="T6" fmla="*/ 262 w 265"/>
              <a:gd name="T7" fmla="*/ 128 h 130"/>
              <a:gd name="T8" fmla="*/ 256 w 265"/>
              <a:gd name="T9" fmla="*/ 127 h 130"/>
              <a:gd name="T10" fmla="*/ 182 w 265"/>
              <a:gd name="T11" fmla="*/ 43 h 130"/>
              <a:gd name="T12" fmla="*/ 137 w 265"/>
              <a:gd name="T13" fmla="*/ 19 h 130"/>
              <a:gd name="T14" fmla="*/ 8 w 265"/>
              <a:gd name="T15" fmla="*/ 84 h 130"/>
              <a:gd name="T16" fmla="*/ 2 w 265"/>
              <a:gd name="T17" fmla="*/ 84 h 130"/>
              <a:gd name="T18" fmla="*/ 2 w 265"/>
              <a:gd name="T19" fmla="*/ 77 h 130"/>
              <a:gd name="T20" fmla="*/ 139 w 265"/>
              <a:gd name="T21" fmla="*/ 9 h 130"/>
              <a:gd name="T22" fmla="*/ 145 w 265"/>
              <a:gd name="T23" fmla="*/ 11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" h="130">
                <a:moveTo>
                  <a:pt x="145" y="11"/>
                </a:moveTo>
                <a:cubicBezTo>
                  <a:pt x="160" y="15"/>
                  <a:pt x="174" y="24"/>
                  <a:pt x="188" y="36"/>
                </a:cubicBezTo>
                <a:cubicBezTo>
                  <a:pt x="216" y="62"/>
                  <a:pt x="241" y="92"/>
                  <a:pt x="263" y="122"/>
                </a:cubicBezTo>
                <a:cubicBezTo>
                  <a:pt x="265" y="124"/>
                  <a:pt x="264" y="127"/>
                  <a:pt x="262" y="128"/>
                </a:cubicBezTo>
                <a:cubicBezTo>
                  <a:pt x="260" y="130"/>
                  <a:pt x="257" y="129"/>
                  <a:pt x="256" y="127"/>
                </a:cubicBezTo>
                <a:cubicBezTo>
                  <a:pt x="234" y="98"/>
                  <a:pt x="209" y="68"/>
                  <a:pt x="182" y="43"/>
                </a:cubicBezTo>
                <a:cubicBezTo>
                  <a:pt x="167" y="30"/>
                  <a:pt x="152" y="21"/>
                  <a:pt x="137" y="19"/>
                </a:cubicBezTo>
                <a:cubicBezTo>
                  <a:pt x="91" y="10"/>
                  <a:pt x="46" y="47"/>
                  <a:pt x="8" y="84"/>
                </a:cubicBezTo>
                <a:cubicBezTo>
                  <a:pt x="6" y="86"/>
                  <a:pt x="3" y="86"/>
                  <a:pt x="2" y="84"/>
                </a:cubicBezTo>
                <a:cubicBezTo>
                  <a:pt x="0" y="82"/>
                  <a:pt x="0" y="79"/>
                  <a:pt x="2" y="77"/>
                </a:cubicBezTo>
                <a:cubicBezTo>
                  <a:pt x="41" y="39"/>
                  <a:pt x="88" y="0"/>
                  <a:pt x="139" y="9"/>
                </a:cubicBezTo>
                <a:cubicBezTo>
                  <a:pt x="141" y="10"/>
                  <a:pt x="143" y="10"/>
                  <a:pt x="145" y="11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93" name="Freeform 137">
            <a:extLst>
              <a:ext uri="{FF2B5EF4-FFF2-40B4-BE49-F238E27FC236}">
                <a16:creationId xmlns:a16="http://schemas.microsoft.com/office/drawing/2014/main" id="{84B0AE8D-20D4-4A8E-B0C4-4329C303BC2D}"/>
              </a:ext>
            </a:extLst>
          </p:cNvPr>
          <p:cNvSpPr>
            <a:spLocks/>
          </p:cNvSpPr>
          <p:nvPr/>
        </p:nvSpPr>
        <p:spPr bwMode="auto">
          <a:xfrm>
            <a:off x="2567319" y="3863767"/>
            <a:ext cx="158264" cy="82762"/>
          </a:xfrm>
          <a:custGeom>
            <a:avLst/>
            <a:gdLst>
              <a:gd name="T0" fmla="*/ 150 w 242"/>
              <a:gd name="T1" fmla="*/ 9 h 126"/>
              <a:gd name="T2" fmla="*/ 241 w 242"/>
              <a:gd name="T3" fmla="*/ 119 h 126"/>
              <a:gd name="T4" fmla="*/ 238 w 242"/>
              <a:gd name="T5" fmla="*/ 125 h 126"/>
              <a:gd name="T6" fmla="*/ 232 w 242"/>
              <a:gd name="T7" fmla="*/ 122 h 126"/>
              <a:gd name="T8" fmla="*/ 132 w 242"/>
              <a:gd name="T9" fmla="*/ 15 h 126"/>
              <a:gd name="T10" fmla="*/ 10 w 242"/>
              <a:gd name="T11" fmla="*/ 87 h 126"/>
              <a:gd name="T12" fmla="*/ 3 w 242"/>
              <a:gd name="T13" fmla="*/ 89 h 126"/>
              <a:gd name="T14" fmla="*/ 1 w 242"/>
              <a:gd name="T15" fmla="*/ 83 h 126"/>
              <a:gd name="T16" fmla="*/ 133 w 242"/>
              <a:gd name="T17" fmla="*/ 6 h 126"/>
              <a:gd name="T18" fmla="*/ 150 w 242"/>
              <a:gd name="T19" fmla="*/ 9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2" h="126">
                <a:moveTo>
                  <a:pt x="150" y="9"/>
                </a:moveTo>
                <a:cubicBezTo>
                  <a:pt x="204" y="25"/>
                  <a:pt x="230" y="84"/>
                  <a:pt x="241" y="119"/>
                </a:cubicBezTo>
                <a:cubicBezTo>
                  <a:pt x="242" y="122"/>
                  <a:pt x="241" y="125"/>
                  <a:pt x="238" y="125"/>
                </a:cubicBezTo>
                <a:cubicBezTo>
                  <a:pt x="236" y="126"/>
                  <a:pt x="233" y="125"/>
                  <a:pt x="232" y="122"/>
                </a:cubicBezTo>
                <a:cubicBezTo>
                  <a:pt x="221" y="85"/>
                  <a:pt x="192" y="22"/>
                  <a:pt x="132" y="15"/>
                </a:cubicBezTo>
                <a:cubicBezTo>
                  <a:pt x="78" y="10"/>
                  <a:pt x="32" y="47"/>
                  <a:pt x="10" y="87"/>
                </a:cubicBezTo>
                <a:cubicBezTo>
                  <a:pt x="8" y="89"/>
                  <a:pt x="5" y="90"/>
                  <a:pt x="3" y="89"/>
                </a:cubicBezTo>
                <a:cubicBezTo>
                  <a:pt x="1" y="88"/>
                  <a:pt x="0" y="85"/>
                  <a:pt x="1" y="83"/>
                </a:cubicBezTo>
                <a:cubicBezTo>
                  <a:pt x="25" y="40"/>
                  <a:pt x="75" y="0"/>
                  <a:pt x="133" y="6"/>
                </a:cubicBezTo>
                <a:cubicBezTo>
                  <a:pt x="139" y="7"/>
                  <a:pt x="144" y="8"/>
                  <a:pt x="150" y="9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94" name="Freeform 138">
            <a:extLst>
              <a:ext uri="{FF2B5EF4-FFF2-40B4-BE49-F238E27FC236}">
                <a16:creationId xmlns:a16="http://schemas.microsoft.com/office/drawing/2014/main" id="{862B0AFF-E201-4164-948F-999CDD21D8FF}"/>
              </a:ext>
            </a:extLst>
          </p:cNvPr>
          <p:cNvSpPr>
            <a:spLocks/>
          </p:cNvSpPr>
          <p:nvPr/>
        </p:nvSpPr>
        <p:spPr bwMode="auto">
          <a:xfrm>
            <a:off x="2581839" y="3930557"/>
            <a:ext cx="119545" cy="67274"/>
          </a:xfrm>
          <a:custGeom>
            <a:avLst/>
            <a:gdLst>
              <a:gd name="T0" fmla="*/ 109 w 183"/>
              <a:gd name="T1" fmla="*/ 8 h 103"/>
              <a:gd name="T2" fmla="*/ 182 w 183"/>
              <a:gd name="T3" fmla="*/ 96 h 103"/>
              <a:gd name="T4" fmla="*/ 179 w 183"/>
              <a:gd name="T5" fmla="*/ 102 h 103"/>
              <a:gd name="T6" fmla="*/ 173 w 183"/>
              <a:gd name="T7" fmla="*/ 99 h 103"/>
              <a:gd name="T8" fmla="*/ 100 w 183"/>
              <a:gd name="T9" fmla="*/ 16 h 103"/>
              <a:gd name="T10" fmla="*/ 10 w 183"/>
              <a:gd name="T11" fmla="*/ 73 h 103"/>
              <a:gd name="T12" fmla="*/ 4 w 183"/>
              <a:gd name="T13" fmla="*/ 76 h 103"/>
              <a:gd name="T14" fmla="*/ 1 w 183"/>
              <a:gd name="T15" fmla="*/ 70 h 103"/>
              <a:gd name="T16" fmla="*/ 101 w 183"/>
              <a:gd name="T17" fmla="*/ 6 h 103"/>
              <a:gd name="T18" fmla="*/ 109 w 183"/>
              <a:gd name="T19" fmla="*/ 8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83" h="103">
                <a:moveTo>
                  <a:pt x="109" y="8"/>
                </a:moveTo>
                <a:cubicBezTo>
                  <a:pt x="156" y="21"/>
                  <a:pt x="181" y="93"/>
                  <a:pt x="182" y="96"/>
                </a:cubicBezTo>
                <a:cubicBezTo>
                  <a:pt x="183" y="99"/>
                  <a:pt x="181" y="101"/>
                  <a:pt x="179" y="102"/>
                </a:cubicBezTo>
                <a:cubicBezTo>
                  <a:pt x="176" y="103"/>
                  <a:pt x="174" y="102"/>
                  <a:pt x="173" y="99"/>
                </a:cubicBezTo>
                <a:cubicBezTo>
                  <a:pt x="173" y="98"/>
                  <a:pt x="146" y="21"/>
                  <a:pt x="100" y="16"/>
                </a:cubicBezTo>
                <a:cubicBezTo>
                  <a:pt x="53" y="10"/>
                  <a:pt x="12" y="69"/>
                  <a:pt x="10" y="73"/>
                </a:cubicBezTo>
                <a:cubicBezTo>
                  <a:pt x="9" y="75"/>
                  <a:pt x="6" y="77"/>
                  <a:pt x="4" y="76"/>
                </a:cubicBezTo>
                <a:cubicBezTo>
                  <a:pt x="2" y="75"/>
                  <a:pt x="0" y="73"/>
                  <a:pt x="1" y="70"/>
                </a:cubicBezTo>
                <a:cubicBezTo>
                  <a:pt x="3" y="62"/>
                  <a:pt x="49" y="0"/>
                  <a:pt x="101" y="6"/>
                </a:cubicBezTo>
                <a:cubicBezTo>
                  <a:pt x="104" y="7"/>
                  <a:pt x="107" y="7"/>
                  <a:pt x="109" y="8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95" name="Freeform 139">
            <a:extLst>
              <a:ext uri="{FF2B5EF4-FFF2-40B4-BE49-F238E27FC236}">
                <a16:creationId xmlns:a16="http://schemas.microsoft.com/office/drawing/2014/main" id="{5674DC82-6678-454C-97F7-FBF9F6F80408}"/>
              </a:ext>
            </a:extLst>
          </p:cNvPr>
          <p:cNvSpPr>
            <a:spLocks/>
          </p:cNvSpPr>
          <p:nvPr/>
        </p:nvSpPr>
        <p:spPr bwMode="auto">
          <a:xfrm>
            <a:off x="3652419" y="3364776"/>
            <a:ext cx="379930" cy="392030"/>
          </a:xfrm>
          <a:custGeom>
            <a:avLst/>
            <a:gdLst>
              <a:gd name="T0" fmla="*/ 0 w 581"/>
              <a:gd name="T1" fmla="*/ 320 h 599"/>
              <a:gd name="T2" fmla="*/ 581 w 581"/>
              <a:gd name="T3" fmla="*/ 344 h 599"/>
              <a:gd name="T4" fmla="*/ 0 w 581"/>
              <a:gd name="T5" fmla="*/ 320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81" h="599">
                <a:moveTo>
                  <a:pt x="0" y="320"/>
                </a:moveTo>
                <a:cubicBezTo>
                  <a:pt x="0" y="320"/>
                  <a:pt x="226" y="0"/>
                  <a:pt x="581" y="344"/>
                </a:cubicBezTo>
                <a:cubicBezTo>
                  <a:pt x="425" y="599"/>
                  <a:pt x="105" y="564"/>
                  <a:pt x="0" y="320"/>
                </a:cubicBezTo>
                <a:close/>
              </a:path>
            </a:pathLst>
          </a:custGeom>
          <a:solidFill>
            <a:srgbClr val="1BA1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96" name="Freeform 140">
            <a:extLst>
              <a:ext uri="{FF2B5EF4-FFF2-40B4-BE49-F238E27FC236}">
                <a16:creationId xmlns:a16="http://schemas.microsoft.com/office/drawing/2014/main" id="{112B129E-33D3-4151-9100-B357F440B157}"/>
              </a:ext>
            </a:extLst>
          </p:cNvPr>
          <p:cNvSpPr>
            <a:spLocks/>
          </p:cNvSpPr>
          <p:nvPr/>
        </p:nvSpPr>
        <p:spPr bwMode="auto">
          <a:xfrm>
            <a:off x="3610312" y="3563211"/>
            <a:ext cx="412358" cy="74535"/>
          </a:xfrm>
          <a:custGeom>
            <a:avLst/>
            <a:gdLst>
              <a:gd name="T0" fmla="*/ 0 w 630"/>
              <a:gd name="T1" fmla="*/ 9 h 114"/>
              <a:gd name="T2" fmla="*/ 3 w 630"/>
              <a:gd name="T3" fmla="*/ 0 h 114"/>
              <a:gd name="T4" fmla="*/ 627 w 630"/>
              <a:gd name="T5" fmla="*/ 42 h 114"/>
              <a:gd name="T6" fmla="*/ 630 w 630"/>
              <a:gd name="T7" fmla="*/ 51 h 114"/>
              <a:gd name="T8" fmla="*/ 0 w 630"/>
              <a:gd name="T9" fmla="*/ 9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30" h="114">
                <a:moveTo>
                  <a:pt x="0" y="9"/>
                </a:moveTo>
                <a:cubicBezTo>
                  <a:pt x="3" y="0"/>
                  <a:pt x="3" y="0"/>
                  <a:pt x="3" y="0"/>
                </a:cubicBezTo>
                <a:cubicBezTo>
                  <a:pt x="358" y="104"/>
                  <a:pt x="625" y="42"/>
                  <a:pt x="627" y="42"/>
                </a:cubicBezTo>
                <a:cubicBezTo>
                  <a:pt x="630" y="51"/>
                  <a:pt x="630" y="51"/>
                  <a:pt x="630" y="51"/>
                </a:cubicBezTo>
                <a:cubicBezTo>
                  <a:pt x="627" y="52"/>
                  <a:pt x="358" y="114"/>
                  <a:pt x="0" y="9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97" name="Freeform 141">
            <a:extLst>
              <a:ext uri="{FF2B5EF4-FFF2-40B4-BE49-F238E27FC236}">
                <a16:creationId xmlns:a16="http://schemas.microsoft.com/office/drawing/2014/main" id="{5D1CCA36-4E2F-47E6-B9F8-3C06402F4C30}"/>
              </a:ext>
            </a:extLst>
          </p:cNvPr>
          <p:cNvSpPr>
            <a:spLocks/>
          </p:cNvSpPr>
          <p:nvPr/>
        </p:nvSpPr>
        <p:spPr bwMode="auto">
          <a:xfrm>
            <a:off x="3706626" y="3515296"/>
            <a:ext cx="67274" cy="149552"/>
          </a:xfrm>
          <a:custGeom>
            <a:avLst/>
            <a:gdLst>
              <a:gd name="T0" fmla="*/ 2 w 103"/>
              <a:gd name="T1" fmla="*/ 110 h 229"/>
              <a:gd name="T2" fmla="*/ 15 w 103"/>
              <a:gd name="T3" fmla="*/ 78 h 229"/>
              <a:gd name="T4" fmla="*/ 45 w 103"/>
              <a:gd name="T5" fmla="*/ 45 h 229"/>
              <a:gd name="T6" fmla="*/ 51 w 103"/>
              <a:gd name="T7" fmla="*/ 40 h 229"/>
              <a:gd name="T8" fmla="*/ 94 w 103"/>
              <a:gd name="T9" fmla="*/ 1 h 229"/>
              <a:gd name="T10" fmla="*/ 101 w 103"/>
              <a:gd name="T11" fmla="*/ 2 h 229"/>
              <a:gd name="T12" fmla="*/ 100 w 103"/>
              <a:gd name="T13" fmla="*/ 9 h 229"/>
              <a:gd name="T14" fmla="*/ 57 w 103"/>
              <a:gd name="T15" fmla="*/ 47 h 229"/>
              <a:gd name="T16" fmla="*/ 52 w 103"/>
              <a:gd name="T17" fmla="*/ 52 h 229"/>
              <a:gd name="T18" fmla="*/ 23 w 103"/>
              <a:gd name="T19" fmla="*/ 84 h 229"/>
              <a:gd name="T20" fmla="*/ 14 w 103"/>
              <a:gd name="T21" fmla="*/ 144 h 229"/>
              <a:gd name="T22" fmla="*/ 72 w 103"/>
              <a:gd name="T23" fmla="*/ 220 h 229"/>
              <a:gd name="T24" fmla="*/ 73 w 103"/>
              <a:gd name="T25" fmla="*/ 227 h 229"/>
              <a:gd name="T26" fmla="*/ 66 w 103"/>
              <a:gd name="T27" fmla="*/ 227 h 229"/>
              <a:gd name="T28" fmla="*/ 5 w 103"/>
              <a:gd name="T29" fmla="*/ 147 h 229"/>
              <a:gd name="T30" fmla="*/ 2 w 103"/>
              <a:gd name="T31" fmla="*/ 110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3" h="229">
                <a:moveTo>
                  <a:pt x="2" y="110"/>
                </a:moveTo>
                <a:cubicBezTo>
                  <a:pt x="4" y="99"/>
                  <a:pt x="8" y="88"/>
                  <a:pt x="15" y="78"/>
                </a:cubicBezTo>
                <a:cubicBezTo>
                  <a:pt x="24" y="66"/>
                  <a:pt x="35" y="55"/>
                  <a:pt x="45" y="45"/>
                </a:cubicBezTo>
                <a:cubicBezTo>
                  <a:pt x="51" y="40"/>
                  <a:pt x="51" y="40"/>
                  <a:pt x="51" y="40"/>
                </a:cubicBezTo>
                <a:cubicBezTo>
                  <a:pt x="65" y="27"/>
                  <a:pt x="80" y="13"/>
                  <a:pt x="94" y="1"/>
                </a:cubicBezTo>
                <a:cubicBezTo>
                  <a:pt x="96" y="0"/>
                  <a:pt x="99" y="0"/>
                  <a:pt x="101" y="2"/>
                </a:cubicBezTo>
                <a:cubicBezTo>
                  <a:pt x="103" y="4"/>
                  <a:pt x="102" y="7"/>
                  <a:pt x="100" y="9"/>
                </a:cubicBezTo>
                <a:cubicBezTo>
                  <a:pt x="86" y="20"/>
                  <a:pt x="71" y="33"/>
                  <a:pt x="57" y="47"/>
                </a:cubicBezTo>
                <a:cubicBezTo>
                  <a:pt x="52" y="52"/>
                  <a:pt x="52" y="52"/>
                  <a:pt x="52" y="52"/>
                </a:cubicBezTo>
                <a:cubicBezTo>
                  <a:pt x="42" y="62"/>
                  <a:pt x="31" y="72"/>
                  <a:pt x="23" y="84"/>
                </a:cubicBezTo>
                <a:cubicBezTo>
                  <a:pt x="10" y="102"/>
                  <a:pt x="7" y="123"/>
                  <a:pt x="14" y="144"/>
                </a:cubicBezTo>
                <a:cubicBezTo>
                  <a:pt x="24" y="174"/>
                  <a:pt x="48" y="198"/>
                  <a:pt x="72" y="220"/>
                </a:cubicBezTo>
                <a:cubicBezTo>
                  <a:pt x="74" y="222"/>
                  <a:pt x="74" y="225"/>
                  <a:pt x="73" y="227"/>
                </a:cubicBezTo>
                <a:cubicBezTo>
                  <a:pt x="71" y="229"/>
                  <a:pt x="68" y="229"/>
                  <a:pt x="66" y="227"/>
                </a:cubicBezTo>
                <a:cubicBezTo>
                  <a:pt x="41" y="204"/>
                  <a:pt x="16" y="179"/>
                  <a:pt x="5" y="147"/>
                </a:cubicBezTo>
                <a:cubicBezTo>
                  <a:pt x="1" y="135"/>
                  <a:pt x="0" y="122"/>
                  <a:pt x="2" y="11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98" name="Freeform 142">
            <a:extLst>
              <a:ext uri="{FF2B5EF4-FFF2-40B4-BE49-F238E27FC236}">
                <a16:creationId xmlns:a16="http://schemas.microsoft.com/office/drawing/2014/main" id="{424FF656-D307-425C-8547-3F3661C5AC08}"/>
              </a:ext>
            </a:extLst>
          </p:cNvPr>
          <p:cNvSpPr>
            <a:spLocks/>
          </p:cNvSpPr>
          <p:nvPr/>
        </p:nvSpPr>
        <p:spPr bwMode="auto">
          <a:xfrm>
            <a:off x="3756961" y="3513360"/>
            <a:ext cx="72114" cy="175204"/>
          </a:xfrm>
          <a:custGeom>
            <a:avLst/>
            <a:gdLst>
              <a:gd name="T0" fmla="*/ 5 w 110"/>
              <a:gd name="T1" fmla="*/ 130 h 268"/>
              <a:gd name="T2" fmla="*/ 25 w 110"/>
              <a:gd name="T3" fmla="*/ 85 h 268"/>
              <a:gd name="T4" fmla="*/ 102 w 110"/>
              <a:gd name="T5" fmla="*/ 2 h 268"/>
              <a:gd name="T6" fmla="*/ 109 w 110"/>
              <a:gd name="T7" fmla="*/ 2 h 268"/>
              <a:gd name="T8" fmla="*/ 108 w 110"/>
              <a:gd name="T9" fmla="*/ 8 h 268"/>
              <a:gd name="T10" fmla="*/ 33 w 110"/>
              <a:gd name="T11" fmla="*/ 91 h 268"/>
              <a:gd name="T12" fmla="*/ 13 w 110"/>
              <a:gd name="T13" fmla="*/ 138 h 268"/>
              <a:gd name="T14" fmla="*/ 92 w 110"/>
              <a:gd name="T15" fmla="*/ 259 h 268"/>
              <a:gd name="T16" fmla="*/ 92 w 110"/>
              <a:gd name="T17" fmla="*/ 266 h 268"/>
              <a:gd name="T18" fmla="*/ 86 w 110"/>
              <a:gd name="T19" fmla="*/ 266 h 268"/>
              <a:gd name="T20" fmla="*/ 4 w 110"/>
              <a:gd name="T21" fmla="*/ 137 h 268"/>
              <a:gd name="T22" fmla="*/ 5 w 110"/>
              <a:gd name="T23" fmla="*/ 130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0" h="268">
                <a:moveTo>
                  <a:pt x="5" y="130"/>
                </a:moveTo>
                <a:cubicBezTo>
                  <a:pt x="7" y="116"/>
                  <a:pt x="14" y="101"/>
                  <a:pt x="25" y="85"/>
                </a:cubicBezTo>
                <a:cubicBezTo>
                  <a:pt x="48" y="55"/>
                  <a:pt x="75" y="27"/>
                  <a:pt x="102" y="2"/>
                </a:cubicBezTo>
                <a:cubicBezTo>
                  <a:pt x="104" y="0"/>
                  <a:pt x="107" y="0"/>
                  <a:pt x="109" y="2"/>
                </a:cubicBezTo>
                <a:cubicBezTo>
                  <a:pt x="110" y="4"/>
                  <a:pt x="110" y="7"/>
                  <a:pt x="108" y="8"/>
                </a:cubicBezTo>
                <a:cubicBezTo>
                  <a:pt x="82" y="33"/>
                  <a:pt x="55" y="61"/>
                  <a:pt x="33" y="91"/>
                </a:cubicBezTo>
                <a:cubicBezTo>
                  <a:pt x="21" y="107"/>
                  <a:pt x="14" y="123"/>
                  <a:pt x="13" y="138"/>
                </a:cubicBezTo>
                <a:cubicBezTo>
                  <a:pt x="10" y="185"/>
                  <a:pt x="51" y="225"/>
                  <a:pt x="92" y="259"/>
                </a:cubicBezTo>
                <a:cubicBezTo>
                  <a:pt x="94" y="261"/>
                  <a:pt x="94" y="264"/>
                  <a:pt x="92" y="266"/>
                </a:cubicBezTo>
                <a:cubicBezTo>
                  <a:pt x="91" y="268"/>
                  <a:pt x="88" y="268"/>
                  <a:pt x="86" y="266"/>
                </a:cubicBezTo>
                <a:cubicBezTo>
                  <a:pt x="43" y="231"/>
                  <a:pt x="0" y="188"/>
                  <a:pt x="4" y="137"/>
                </a:cubicBezTo>
                <a:cubicBezTo>
                  <a:pt x="4" y="135"/>
                  <a:pt x="4" y="133"/>
                  <a:pt x="5" y="13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299" name="Freeform 143">
            <a:extLst>
              <a:ext uri="{FF2B5EF4-FFF2-40B4-BE49-F238E27FC236}">
                <a16:creationId xmlns:a16="http://schemas.microsoft.com/office/drawing/2014/main" id="{083B0DC0-842B-4D44-AFF4-61BD6FF7ACA4}"/>
              </a:ext>
            </a:extLst>
          </p:cNvPr>
          <p:cNvSpPr>
            <a:spLocks/>
          </p:cNvSpPr>
          <p:nvPr/>
        </p:nvSpPr>
        <p:spPr bwMode="auto">
          <a:xfrm>
            <a:off x="3815039" y="3526428"/>
            <a:ext cx="71630" cy="160200"/>
          </a:xfrm>
          <a:custGeom>
            <a:avLst/>
            <a:gdLst>
              <a:gd name="T0" fmla="*/ 1 w 109"/>
              <a:gd name="T1" fmla="*/ 104 h 245"/>
              <a:gd name="T2" fmla="*/ 101 w 109"/>
              <a:gd name="T3" fmla="*/ 1 h 245"/>
              <a:gd name="T4" fmla="*/ 108 w 109"/>
              <a:gd name="T5" fmla="*/ 4 h 245"/>
              <a:gd name="T6" fmla="*/ 105 w 109"/>
              <a:gd name="T7" fmla="*/ 10 h 245"/>
              <a:gd name="T8" fmla="*/ 9 w 109"/>
              <a:gd name="T9" fmla="*/ 121 h 245"/>
              <a:gd name="T10" fmla="*/ 94 w 109"/>
              <a:gd name="T11" fmla="*/ 235 h 245"/>
              <a:gd name="T12" fmla="*/ 96 w 109"/>
              <a:gd name="T13" fmla="*/ 241 h 245"/>
              <a:gd name="T14" fmla="*/ 90 w 109"/>
              <a:gd name="T15" fmla="*/ 244 h 245"/>
              <a:gd name="T16" fmla="*/ 0 w 109"/>
              <a:gd name="T17" fmla="*/ 121 h 245"/>
              <a:gd name="T18" fmla="*/ 1 w 109"/>
              <a:gd name="T19" fmla="*/ 10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9" h="245">
                <a:moveTo>
                  <a:pt x="1" y="104"/>
                </a:moveTo>
                <a:cubicBezTo>
                  <a:pt x="11" y="48"/>
                  <a:pt x="67" y="16"/>
                  <a:pt x="101" y="1"/>
                </a:cubicBezTo>
                <a:cubicBezTo>
                  <a:pt x="104" y="0"/>
                  <a:pt x="107" y="1"/>
                  <a:pt x="108" y="4"/>
                </a:cubicBezTo>
                <a:cubicBezTo>
                  <a:pt x="109" y="6"/>
                  <a:pt x="108" y="9"/>
                  <a:pt x="105" y="10"/>
                </a:cubicBezTo>
                <a:cubicBezTo>
                  <a:pt x="69" y="25"/>
                  <a:pt x="10" y="60"/>
                  <a:pt x="9" y="121"/>
                </a:cubicBezTo>
                <a:cubicBezTo>
                  <a:pt x="9" y="175"/>
                  <a:pt x="52" y="217"/>
                  <a:pt x="94" y="235"/>
                </a:cubicBezTo>
                <a:cubicBezTo>
                  <a:pt x="96" y="236"/>
                  <a:pt x="97" y="239"/>
                  <a:pt x="96" y="241"/>
                </a:cubicBezTo>
                <a:cubicBezTo>
                  <a:pt x="95" y="244"/>
                  <a:pt x="92" y="245"/>
                  <a:pt x="90" y="244"/>
                </a:cubicBezTo>
                <a:cubicBezTo>
                  <a:pt x="45" y="225"/>
                  <a:pt x="0" y="179"/>
                  <a:pt x="0" y="121"/>
                </a:cubicBezTo>
                <a:cubicBezTo>
                  <a:pt x="0" y="115"/>
                  <a:pt x="1" y="109"/>
                  <a:pt x="1" y="104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00" name="Freeform 144">
            <a:extLst>
              <a:ext uri="{FF2B5EF4-FFF2-40B4-BE49-F238E27FC236}">
                <a16:creationId xmlns:a16="http://schemas.microsoft.com/office/drawing/2014/main" id="{203626B1-1F7C-4428-A3B1-9CA72BF4935C}"/>
              </a:ext>
            </a:extLst>
          </p:cNvPr>
          <p:cNvSpPr>
            <a:spLocks/>
          </p:cNvSpPr>
          <p:nvPr/>
        </p:nvSpPr>
        <p:spPr bwMode="auto">
          <a:xfrm>
            <a:off x="3881829" y="3545303"/>
            <a:ext cx="58079" cy="120513"/>
          </a:xfrm>
          <a:custGeom>
            <a:avLst/>
            <a:gdLst>
              <a:gd name="T0" fmla="*/ 2 w 89"/>
              <a:gd name="T1" fmla="*/ 83 h 184"/>
              <a:gd name="T2" fmla="*/ 82 w 89"/>
              <a:gd name="T3" fmla="*/ 1 h 184"/>
              <a:gd name="T4" fmla="*/ 88 w 89"/>
              <a:gd name="T5" fmla="*/ 4 h 184"/>
              <a:gd name="T6" fmla="*/ 86 w 89"/>
              <a:gd name="T7" fmla="*/ 10 h 184"/>
              <a:gd name="T8" fmla="*/ 10 w 89"/>
              <a:gd name="T9" fmla="*/ 91 h 184"/>
              <a:gd name="T10" fmla="*/ 77 w 89"/>
              <a:gd name="T11" fmla="*/ 175 h 184"/>
              <a:gd name="T12" fmla="*/ 80 w 89"/>
              <a:gd name="T13" fmla="*/ 180 h 184"/>
              <a:gd name="T14" fmla="*/ 75 w 89"/>
              <a:gd name="T15" fmla="*/ 184 h 184"/>
              <a:gd name="T16" fmla="*/ 1 w 89"/>
              <a:gd name="T17" fmla="*/ 91 h 184"/>
              <a:gd name="T18" fmla="*/ 2 w 89"/>
              <a:gd name="T19" fmla="*/ 83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9" h="184">
                <a:moveTo>
                  <a:pt x="2" y="83"/>
                </a:moveTo>
                <a:cubicBezTo>
                  <a:pt x="10" y="35"/>
                  <a:pt x="79" y="3"/>
                  <a:pt x="82" y="1"/>
                </a:cubicBezTo>
                <a:cubicBezTo>
                  <a:pt x="84" y="0"/>
                  <a:pt x="87" y="1"/>
                  <a:pt x="88" y="4"/>
                </a:cubicBezTo>
                <a:cubicBezTo>
                  <a:pt x="89" y="6"/>
                  <a:pt x="88" y="9"/>
                  <a:pt x="86" y="10"/>
                </a:cubicBezTo>
                <a:cubicBezTo>
                  <a:pt x="85" y="10"/>
                  <a:pt x="11" y="45"/>
                  <a:pt x="10" y="91"/>
                </a:cubicBezTo>
                <a:cubicBezTo>
                  <a:pt x="10" y="138"/>
                  <a:pt x="72" y="173"/>
                  <a:pt x="77" y="175"/>
                </a:cubicBezTo>
                <a:cubicBezTo>
                  <a:pt x="79" y="175"/>
                  <a:pt x="81" y="178"/>
                  <a:pt x="80" y="180"/>
                </a:cubicBezTo>
                <a:cubicBezTo>
                  <a:pt x="80" y="183"/>
                  <a:pt x="78" y="184"/>
                  <a:pt x="75" y="184"/>
                </a:cubicBezTo>
                <a:cubicBezTo>
                  <a:pt x="67" y="182"/>
                  <a:pt x="0" y="143"/>
                  <a:pt x="1" y="91"/>
                </a:cubicBezTo>
                <a:cubicBezTo>
                  <a:pt x="1" y="88"/>
                  <a:pt x="1" y="85"/>
                  <a:pt x="2" y="83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01" name="Freeform 145">
            <a:extLst>
              <a:ext uri="{FF2B5EF4-FFF2-40B4-BE49-F238E27FC236}">
                <a16:creationId xmlns:a16="http://schemas.microsoft.com/office/drawing/2014/main" id="{233630EC-4FFE-4A40-9587-7E87CDE08AF1}"/>
              </a:ext>
            </a:extLst>
          </p:cNvPr>
          <p:cNvSpPr>
            <a:spLocks/>
          </p:cNvSpPr>
          <p:nvPr/>
        </p:nvSpPr>
        <p:spPr bwMode="auto">
          <a:xfrm>
            <a:off x="3450112" y="3779069"/>
            <a:ext cx="362023" cy="340727"/>
          </a:xfrm>
          <a:custGeom>
            <a:avLst/>
            <a:gdLst>
              <a:gd name="T0" fmla="*/ 164 w 553"/>
              <a:gd name="T1" fmla="*/ 0 h 521"/>
              <a:gd name="T2" fmla="*/ 423 w 553"/>
              <a:gd name="T3" fmla="*/ 521 h 521"/>
              <a:gd name="T4" fmla="*/ 164 w 553"/>
              <a:gd name="T5" fmla="*/ 0 h 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53" h="521">
                <a:moveTo>
                  <a:pt x="164" y="0"/>
                </a:moveTo>
                <a:cubicBezTo>
                  <a:pt x="164" y="0"/>
                  <a:pt x="553" y="45"/>
                  <a:pt x="423" y="521"/>
                </a:cubicBezTo>
                <a:cubicBezTo>
                  <a:pt x="123" y="507"/>
                  <a:pt x="0" y="210"/>
                  <a:pt x="164" y="0"/>
                </a:cubicBezTo>
                <a:close/>
              </a:path>
            </a:pathLst>
          </a:custGeom>
          <a:solidFill>
            <a:srgbClr val="1BA1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02" name="Freeform 146">
            <a:extLst>
              <a:ext uri="{FF2B5EF4-FFF2-40B4-BE49-F238E27FC236}">
                <a16:creationId xmlns:a16="http://schemas.microsoft.com/office/drawing/2014/main" id="{193E3776-2B4A-4C74-8E58-906BBCDCA9C9}"/>
              </a:ext>
            </a:extLst>
          </p:cNvPr>
          <p:cNvSpPr>
            <a:spLocks/>
          </p:cNvSpPr>
          <p:nvPr/>
        </p:nvSpPr>
        <p:spPr bwMode="auto">
          <a:xfrm>
            <a:off x="3541586" y="3738898"/>
            <a:ext cx="178591" cy="375090"/>
          </a:xfrm>
          <a:custGeom>
            <a:avLst/>
            <a:gdLst>
              <a:gd name="T0" fmla="*/ 0 w 273"/>
              <a:gd name="T1" fmla="*/ 2 h 573"/>
              <a:gd name="T2" fmla="*/ 9 w 273"/>
              <a:gd name="T3" fmla="*/ 0 h 573"/>
              <a:gd name="T4" fmla="*/ 273 w 273"/>
              <a:gd name="T5" fmla="*/ 567 h 573"/>
              <a:gd name="T6" fmla="*/ 266 w 273"/>
              <a:gd name="T7" fmla="*/ 573 h 573"/>
              <a:gd name="T8" fmla="*/ 0 w 273"/>
              <a:gd name="T9" fmla="*/ 2 h 5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" h="573">
                <a:moveTo>
                  <a:pt x="0" y="2"/>
                </a:moveTo>
                <a:cubicBezTo>
                  <a:pt x="9" y="0"/>
                  <a:pt x="9" y="0"/>
                  <a:pt x="9" y="0"/>
                </a:cubicBezTo>
                <a:cubicBezTo>
                  <a:pt x="89" y="361"/>
                  <a:pt x="271" y="565"/>
                  <a:pt x="273" y="567"/>
                </a:cubicBezTo>
                <a:cubicBezTo>
                  <a:pt x="266" y="573"/>
                  <a:pt x="266" y="573"/>
                  <a:pt x="266" y="573"/>
                </a:cubicBezTo>
                <a:cubicBezTo>
                  <a:pt x="264" y="571"/>
                  <a:pt x="81" y="365"/>
                  <a:pt x="0" y="2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03" name="Freeform 147">
            <a:extLst>
              <a:ext uri="{FF2B5EF4-FFF2-40B4-BE49-F238E27FC236}">
                <a16:creationId xmlns:a16="http://schemas.microsoft.com/office/drawing/2014/main" id="{3FC9C0E4-E19E-4464-9AD3-79963C67389E}"/>
              </a:ext>
            </a:extLst>
          </p:cNvPr>
          <p:cNvSpPr>
            <a:spLocks/>
          </p:cNvSpPr>
          <p:nvPr/>
        </p:nvSpPr>
        <p:spPr bwMode="auto">
          <a:xfrm>
            <a:off x="3525615" y="3830372"/>
            <a:ext cx="141324" cy="81310"/>
          </a:xfrm>
          <a:custGeom>
            <a:avLst/>
            <a:gdLst>
              <a:gd name="T0" fmla="*/ 72 w 216"/>
              <a:gd name="T1" fmla="*/ 5 h 124"/>
              <a:gd name="T2" fmla="*/ 106 w 216"/>
              <a:gd name="T3" fmla="*/ 2 h 124"/>
              <a:gd name="T4" fmla="*/ 150 w 216"/>
              <a:gd name="T5" fmla="*/ 12 h 124"/>
              <a:gd name="T6" fmla="*/ 157 w 216"/>
              <a:gd name="T7" fmla="*/ 14 h 124"/>
              <a:gd name="T8" fmla="*/ 212 w 216"/>
              <a:gd name="T9" fmla="*/ 34 h 124"/>
              <a:gd name="T10" fmla="*/ 215 w 216"/>
              <a:gd name="T11" fmla="*/ 40 h 124"/>
              <a:gd name="T12" fmla="*/ 208 w 216"/>
              <a:gd name="T13" fmla="*/ 43 h 124"/>
              <a:gd name="T14" fmla="*/ 154 w 216"/>
              <a:gd name="T15" fmla="*/ 23 h 124"/>
              <a:gd name="T16" fmla="*/ 147 w 216"/>
              <a:gd name="T17" fmla="*/ 21 h 124"/>
              <a:gd name="T18" fmla="*/ 105 w 216"/>
              <a:gd name="T19" fmla="*/ 11 h 124"/>
              <a:gd name="T20" fmla="*/ 48 w 216"/>
              <a:gd name="T21" fmla="*/ 32 h 124"/>
              <a:gd name="T22" fmla="*/ 9 w 216"/>
              <a:gd name="T23" fmla="*/ 120 h 124"/>
              <a:gd name="T24" fmla="*/ 4 w 216"/>
              <a:gd name="T25" fmla="*/ 123 h 124"/>
              <a:gd name="T26" fmla="*/ 0 w 216"/>
              <a:gd name="T27" fmla="*/ 118 h 124"/>
              <a:gd name="T28" fmla="*/ 41 w 216"/>
              <a:gd name="T29" fmla="*/ 26 h 124"/>
              <a:gd name="T30" fmla="*/ 72 w 216"/>
              <a:gd name="T31" fmla="*/ 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16" h="124">
                <a:moveTo>
                  <a:pt x="72" y="5"/>
                </a:moveTo>
                <a:cubicBezTo>
                  <a:pt x="83" y="1"/>
                  <a:pt x="94" y="0"/>
                  <a:pt x="106" y="2"/>
                </a:cubicBezTo>
                <a:cubicBezTo>
                  <a:pt x="121" y="3"/>
                  <a:pt x="136" y="8"/>
                  <a:pt x="150" y="12"/>
                </a:cubicBezTo>
                <a:cubicBezTo>
                  <a:pt x="157" y="14"/>
                  <a:pt x="157" y="14"/>
                  <a:pt x="157" y="14"/>
                </a:cubicBezTo>
                <a:cubicBezTo>
                  <a:pt x="176" y="20"/>
                  <a:pt x="194" y="27"/>
                  <a:pt x="212" y="34"/>
                </a:cubicBezTo>
                <a:cubicBezTo>
                  <a:pt x="214" y="35"/>
                  <a:pt x="216" y="38"/>
                  <a:pt x="215" y="40"/>
                </a:cubicBezTo>
                <a:cubicBezTo>
                  <a:pt x="214" y="42"/>
                  <a:pt x="211" y="44"/>
                  <a:pt x="208" y="43"/>
                </a:cubicBezTo>
                <a:cubicBezTo>
                  <a:pt x="191" y="36"/>
                  <a:pt x="173" y="29"/>
                  <a:pt x="154" y="23"/>
                </a:cubicBezTo>
                <a:cubicBezTo>
                  <a:pt x="147" y="21"/>
                  <a:pt x="147" y="21"/>
                  <a:pt x="147" y="21"/>
                </a:cubicBezTo>
                <a:cubicBezTo>
                  <a:pt x="133" y="17"/>
                  <a:pt x="119" y="12"/>
                  <a:pt x="105" y="11"/>
                </a:cubicBezTo>
                <a:cubicBezTo>
                  <a:pt x="83" y="8"/>
                  <a:pt x="63" y="16"/>
                  <a:pt x="48" y="32"/>
                </a:cubicBezTo>
                <a:cubicBezTo>
                  <a:pt x="27" y="55"/>
                  <a:pt x="17" y="88"/>
                  <a:pt x="9" y="120"/>
                </a:cubicBezTo>
                <a:cubicBezTo>
                  <a:pt x="9" y="123"/>
                  <a:pt x="6" y="124"/>
                  <a:pt x="4" y="123"/>
                </a:cubicBezTo>
                <a:cubicBezTo>
                  <a:pt x="1" y="123"/>
                  <a:pt x="0" y="120"/>
                  <a:pt x="0" y="118"/>
                </a:cubicBezTo>
                <a:cubicBezTo>
                  <a:pt x="9" y="85"/>
                  <a:pt x="19" y="50"/>
                  <a:pt x="41" y="26"/>
                </a:cubicBezTo>
                <a:cubicBezTo>
                  <a:pt x="50" y="16"/>
                  <a:pt x="60" y="9"/>
                  <a:pt x="72" y="5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04" name="Freeform 148">
            <a:extLst>
              <a:ext uri="{FF2B5EF4-FFF2-40B4-BE49-F238E27FC236}">
                <a16:creationId xmlns:a16="http://schemas.microsoft.com/office/drawing/2014/main" id="{F417B12A-E653-46F5-A5A7-E6999F73B113}"/>
              </a:ext>
            </a:extLst>
          </p:cNvPr>
          <p:cNvSpPr>
            <a:spLocks/>
          </p:cNvSpPr>
          <p:nvPr/>
        </p:nvSpPr>
        <p:spPr bwMode="auto">
          <a:xfrm>
            <a:off x="3535295" y="3881190"/>
            <a:ext cx="159716" cy="97282"/>
          </a:xfrm>
          <a:custGeom>
            <a:avLst/>
            <a:gdLst>
              <a:gd name="T0" fmla="*/ 80 w 244"/>
              <a:gd name="T1" fmla="*/ 6 h 149"/>
              <a:gd name="T2" fmla="*/ 130 w 244"/>
              <a:gd name="T3" fmla="*/ 3 h 149"/>
              <a:gd name="T4" fmla="*/ 240 w 244"/>
              <a:gd name="T5" fmla="*/ 30 h 149"/>
              <a:gd name="T6" fmla="*/ 243 w 244"/>
              <a:gd name="T7" fmla="*/ 36 h 149"/>
              <a:gd name="T8" fmla="*/ 237 w 244"/>
              <a:gd name="T9" fmla="*/ 39 h 149"/>
              <a:gd name="T10" fmla="*/ 129 w 244"/>
              <a:gd name="T11" fmla="*/ 12 h 149"/>
              <a:gd name="T12" fmla="*/ 78 w 244"/>
              <a:gd name="T13" fmla="*/ 18 h 149"/>
              <a:gd name="T14" fmla="*/ 9 w 244"/>
              <a:gd name="T15" fmla="*/ 145 h 149"/>
              <a:gd name="T16" fmla="*/ 4 w 244"/>
              <a:gd name="T17" fmla="*/ 148 h 149"/>
              <a:gd name="T18" fmla="*/ 0 w 244"/>
              <a:gd name="T19" fmla="*/ 143 h 149"/>
              <a:gd name="T20" fmla="*/ 74 w 244"/>
              <a:gd name="T21" fmla="*/ 9 h 149"/>
              <a:gd name="T22" fmla="*/ 80 w 244"/>
              <a:gd name="T23" fmla="*/ 6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4" h="149">
                <a:moveTo>
                  <a:pt x="80" y="6"/>
                </a:moveTo>
                <a:cubicBezTo>
                  <a:pt x="94" y="2"/>
                  <a:pt x="111" y="0"/>
                  <a:pt x="130" y="3"/>
                </a:cubicBezTo>
                <a:cubicBezTo>
                  <a:pt x="167" y="8"/>
                  <a:pt x="205" y="19"/>
                  <a:pt x="240" y="30"/>
                </a:cubicBezTo>
                <a:cubicBezTo>
                  <a:pt x="243" y="31"/>
                  <a:pt x="244" y="33"/>
                  <a:pt x="243" y="36"/>
                </a:cubicBezTo>
                <a:cubicBezTo>
                  <a:pt x="242" y="38"/>
                  <a:pt x="240" y="39"/>
                  <a:pt x="237" y="39"/>
                </a:cubicBezTo>
                <a:cubicBezTo>
                  <a:pt x="203" y="28"/>
                  <a:pt x="165" y="17"/>
                  <a:pt x="129" y="12"/>
                </a:cubicBezTo>
                <a:cubicBezTo>
                  <a:pt x="108" y="9"/>
                  <a:pt x="91" y="11"/>
                  <a:pt x="78" y="18"/>
                </a:cubicBezTo>
                <a:cubicBezTo>
                  <a:pt x="35" y="37"/>
                  <a:pt x="19" y="93"/>
                  <a:pt x="9" y="145"/>
                </a:cubicBezTo>
                <a:cubicBezTo>
                  <a:pt x="9" y="147"/>
                  <a:pt x="6" y="149"/>
                  <a:pt x="4" y="148"/>
                </a:cubicBezTo>
                <a:cubicBezTo>
                  <a:pt x="1" y="148"/>
                  <a:pt x="0" y="146"/>
                  <a:pt x="0" y="143"/>
                </a:cubicBezTo>
                <a:cubicBezTo>
                  <a:pt x="10" y="89"/>
                  <a:pt x="27" y="30"/>
                  <a:pt x="74" y="9"/>
                </a:cubicBezTo>
                <a:cubicBezTo>
                  <a:pt x="76" y="8"/>
                  <a:pt x="78" y="7"/>
                  <a:pt x="80" y="6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05" name="Freeform 149">
            <a:extLst>
              <a:ext uri="{FF2B5EF4-FFF2-40B4-BE49-F238E27FC236}">
                <a16:creationId xmlns:a16="http://schemas.microsoft.com/office/drawing/2014/main" id="{5C55A7D1-8CC7-44E4-BDBF-FC1CAA37C44B}"/>
              </a:ext>
            </a:extLst>
          </p:cNvPr>
          <p:cNvSpPr>
            <a:spLocks/>
          </p:cNvSpPr>
          <p:nvPr/>
        </p:nvSpPr>
        <p:spPr bwMode="auto">
          <a:xfrm>
            <a:off x="3563366" y="3920394"/>
            <a:ext cx="147133" cy="109865"/>
          </a:xfrm>
          <a:custGeom>
            <a:avLst/>
            <a:gdLst>
              <a:gd name="T0" fmla="*/ 84 w 225"/>
              <a:gd name="T1" fmla="*/ 19 h 168"/>
              <a:gd name="T2" fmla="*/ 222 w 225"/>
              <a:gd name="T3" fmla="*/ 57 h 168"/>
              <a:gd name="T4" fmla="*/ 223 w 225"/>
              <a:gd name="T5" fmla="*/ 63 h 168"/>
              <a:gd name="T6" fmla="*/ 217 w 225"/>
              <a:gd name="T7" fmla="*/ 64 h 168"/>
              <a:gd name="T8" fmla="*/ 73 w 225"/>
              <a:gd name="T9" fmla="*/ 34 h 168"/>
              <a:gd name="T10" fmla="*/ 14 w 225"/>
              <a:gd name="T11" fmla="*/ 163 h 168"/>
              <a:gd name="T12" fmla="*/ 9 w 225"/>
              <a:gd name="T13" fmla="*/ 168 h 168"/>
              <a:gd name="T14" fmla="*/ 4 w 225"/>
              <a:gd name="T15" fmla="*/ 164 h 168"/>
              <a:gd name="T16" fmla="*/ 69 w 225"/>
              <a:gd name="T17" fmla="*/ 25 h 168"/>
              <a:gd name="T18" fmla="*/ 84 w 225"/>
              <a:gd name="T19" fmla="*/ 19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5" h="168">
                <a:moveTo>
                  <a:pt x="84" y="19"/>
                </a:moveTo>
                <a:cubicBezTo>
                  <a:pt x="138" y="0"/>
                  <a:pt x="193" y="34"/>
                  <a:pt x="222" y="57"/>
                </a:cubicBezTo>
                <a:cubicBezTo>
                  <a:pt x="224" y="58"/>
                  <a:pt x="225" y="61"/>
                  <a:pt x="223" y="63"/>
                </a:cubicBezTo>
                <a:cubicBezTo>
                  <a:pt x="222" y="65"/>
                  <a:pt x="219" y="66"/>
                  <a:pt x="217" y="64"/>
                </a:cubicBezTo>
                <a:cubicBezTo>
                  <a:pt x="186" y="40"/>
                  <a:pt x="127" y="5"/>
                  <a:pt x="73" y="34"/>
                </a:cubicBezTo>
                <a:cubicBezTo>
                  <a:pt x="26" y="60"/>
                  <a:pt x="9" y="117"/>
                  <a:pt x="14" y="163"/>
                </a:cubicBezTo>
                <a:cubicBezTo>
                  <a:pt x="14" y="165"/>
                  <a:pt x="12" y="167"/>
                  <a:pt x="9" y="168"/>
                </a:cubicBezTo>
                <a:cubicBezTo>
                  <a:pt x="7" y="168"/>
                  <a:pt x="5" y="166"/>
                  <a:pt x="4" y="164"/>
                </a:cubicBezTo>
                <a:cubicBezTo>
                  <a:pt x="0" y="115"/>
                  <a:pt x="18" y="53"/>
                  <a:pt x="69" y="25"/>
                </a:cubicBezTo>
                <a:cubicBezTo>
                  <a:pt x="74" y="23"/>
                  <a:pt x="79" y="20"/>
                  <a:pt x="84" y="19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06" name="Freeform 150">
            <a:extLst>
              <a:ext uri="{FF2B5EF4-FFF2-40B4-BE49-F238E27FC236}">
                <a16:creationId xmlns:a16="http://schemas.microsoft.com/office/drawing/2014/main" id="{BD4383A9-4193-404E-BBE5-FB84E631834A}"/>
              </a:ext>
            </a:extLst>
          </p:cNvPr>
          <p:cNvSpPr>
            <a:spLocks/>
          </p:cNvSpPr>
          <p:nvPr/>
        </p:nvSpPr>
        <p:spPr bwMode="auto">
          <a:xfrm>
            <a:off x="3609828" y="3982828"/>
            <a:ext cx="109865" cy="86634"/>
          </a:xfrm>
          <a:custGeom>
            <a:avLst/>
            <a:gdLst>
              <a:gd name="T0" fmla="*/ 56 w 168"/>
              <a:gd name="T1" fmla="*/ 16 h 132"/>
              <a:gd name="T2" fmla="*/ 165 w 168"/>
              <a:gd name="T3" fmla="*/ 47 h 132"/>
              <a:gd name="T4" fmla="*/ 166 w 168"/>
              <a:gd name="T5" fmla="*/ 53 h 132"/>
              <a:gd name="T6" fmla="*/ 160 w 168"/>
              <a:gd name="T7" fmla="*/ 54 h 132"/>
              <a:gd name="T8" fmla="*/ 52 w 168"/>
              <a:gd name="T9" fmla="*/ 28 h 132"/>
              <a:gd name="T10" fmla="*/ 11 w 168"/>
              <a:gd name="T11" fmla="*/ 126 h 132"/>
              <a:gd name="T12" fmla="*/ 8 w 168"/>
              <a:gd name="T13" fmla="*/ 132 h 132"/>
              <a:gd name="T14" fmla="*/ 2 w 168"/>
              <a:gd name="T15" fmla="*/ 129 h 132"/>
              <a:gd name="T16" fmla="*/ 48 w 168"/>
              <a:gd name="T17" fmla="*/ 19 h 132"/>
              <a:gd name="T18" fmla="*/ 56 w 168"/>
              <a:gd name="T19" fmla="*/ 16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8" h="132">
                <a:moveTo>
                  <a:pt x="56" y="16"/>
                </a:moveTo>
                <a:cubicBezTo>
                  <a:pt x="102" y="0"/>
                  <a:pt x="163" y="45"/>
                  <a:pt x="165" y="47"/>
                </a:cubicBezTo>
                <a:cubicBezTo>
                  <a:pt x="168" y="48"/>
                  <a:pt x="168" y="51"/>
                  <a:pt x="166" y="53"/>
                </a:cubicBezTo>
                <a:cubicBezTo>
                  <a:pt x="165" y="55"/>
                  <a:pt x="162" y="56"/>
                  <a:pt x="160" y="54"/>
                </a:cubicBezTo>
                <a:cubicBezTo>
                  <a:pt x="159" y="54"/>
                  <a:pt x="93" y="6"/>
                  <a:pt x="52" y="28"/>
                </a:cubicBezTo>
                <a:cubicBezTo>
                  <a:pt x="11" y="50"/>
                  <a:pt x="10" y="121"/>
                  <a:pt x="11" y="126"/>
                </a:cubicBezTo>
                <a:cubicBezTo>
                  <a:pt x="12" y="128"/>
                  <a:pt x="10" y="131"/>
                  <a:pt x="8" y="132"/>
                </a:cubicBezTo>
                <a:cubicBezTo>
                  <a:pt x="6" y="132"/>
                  <a:pt x="3" y="131"/>
                  <a:pt x="2" y="129"/>
                </a:cubicBezTo>
                <a:cubicBezTo>
                  <a:pt x="0" y="121"/>
                  <a:pt x="2" y="44"/>
                  <a:pt x="48" y="19"/>
                </a:cubicBezTo>
                <a:cubicBezTo>
                  <a:pt x="50" y="18"/>
                  <a:pt x="53" y="17"/>
                  <a:pt x="56" y="16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07" name="Freeform 151">
            <a:extLst>
              <a:ext uri="{FF2B5EF4-FFF2-40B4-BE49-F238E27FC236}">
                <a16:creationId xmlns:a16="http://schemas.microsoft.com/office/drawing/2014/main" id="{BBE894B5-2DBC-4E5B-BEB1-D91223AC57A4}"/>
              </a:ext>
            </a:extLst>
          </p:cNvPr>
          <p:cNvSpPr>
            <a:spLocks/>
          </p:cNvSpPr>
          <p:nvPr/>
        </p:nvSpPr>
        <p:spPr bwMode="auto">
          <a:xfrm>
            <a:off x="3159720" y="3848763"/>
            <a:ext cx="403646" cy="376543"/>
          </a:xfrm>
          <a:custGeom>
            <a:avLst/>
            <a:gdLst>
              <a:gd name="T0" fmla="*/ 323 w 617"/>
              <a:gd name="T1" fmla="*/ 0 h 575"/>
              <a:gd name="T2" fmla="*/ 237 w 617"/>
              <a:gd name="T3" fmla="*/ 575 h 575"/>
              <a:gd name="T4" fmla="*/ 323 w 617"/>
              <a:gd name="T5" fmla="*/ 0 h 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17" h="575">
                <a:moveTo>
                  <a:pt x="323" y="0"/>
                </a:moveTo>
                <a:cubicBezTo>
                  <a:pt x="323" y="0"/>
                  <a:pt x="617" y="259"/>
                  <a:pt x="237" y="575"/>
                </a:cubicBezTo>
                <a:cubicBezTo>
                  <a:pt x="0" y="392"/>
                  <a:pt x="69" y="79"/>
                  <a:pt x="323" y="0"/>
                </a:cubicBezTo>
                <a:close/>
              </a:path>
            </a:pathLst>
          </a:custGeom>
          <a:solidFill>
            <a:srgbClr val="1BA1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08" name="Freeform 152">
            <a:extLst>
              <a:ext uri="{FF2B5EF4-FFF2-40B4-BE49-F238E27FC236}">
                <a16:creationId xmlns:a16="http://schemas.microsoft.com/office/drawing/2014/main" id="{91A728BD-1DE7-439B-A0F2-0F637C0A36C5}"/>
              </a:ext>
            </a:extLst>
          </p:cNvPr>
          <p:cNvSpPr>
            <a:spLocks/>
          </p:cNvSpPr>
          <p:nvPr/>
        </p:nvSpPr>
        <p:spPr bwMode="auto">
          <a:xfrm>
            <a:off x="3287493" y="3807624"/>
            <a:ext cx="98734" cy="407034"/>
          </a:xfrm>
          <a:custGeom>
            <a:avLst/>
            <a:gdLst>
              <a:gd name="T0" fmla="*/ 142 w 151"/>
              <a:gd name="T1" fmla="*/ 0 h 622"/>
              <a:gd name="T2" fmla="*/ 151 w 151"/>
              <a:gd name="T3" fmla="*/ 4 h 622"/>
              <a:gd name="T4" fmla="*/ 43 w 151"/>
              <a:gd name="T5" fmla="*/ 621 h 622"/>
              <a:gd name="T6" fmla="*/ 34 w 151"/>
              <a:gd name="T7" fmla="*/ 622 h 622"/>
              <a:gd name="T8" fmla="*/ 142 w 151"/>
              <a:gd name="T9" fmla="*/ 0 h 6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1" h="622">
                <a:moveTo>
                  <a:pt x="142" y="0"/>
                </a:moveTo>
                <a:cubicBezTo>
                  <a:pt x="151" y="4"/>
                  <a:pt x="151" y="4"/>
                  <a:pt x="151" y="4"/>
                </a:cubicBezTo>
                <a:cubicBezTo>
                  <a:pt x="10" y="346"/>
                  <a:pt x="43" y="618"/>
                  <a:pt x="43" y="621"/>
                </a:cubicBezTo>
                <a:cubicBezTo>
                  <a:pt x="34" y="622"/>
                  <a:pt x="34" y="622"/>
                  <a:pt x="34" y="622"/>
                </a:cubicBezTo>
                <a:cubicBezTo>
                  <a:pt x="34" y="619"/>
                  <a:pt x="0" y="345"/>
                  <a:pt x="142" y="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09" name="Freeform 153">
            <a:extLst>
              <a:ext uri="{FF2B5EF4-FFF2-40B4-BE49-F238E27FC236}">
                <a16:creationId xmlns:a16="http://schemas.microsoft.com/office/drawing/2014/main" id="{00CDADD3-FFA6-4EE8-AFCB-211355EEFB98}"/>
              </a:ext>
            </a:extLst>
          </p:cNvPr>
          <p:cNvSpPr>
            <a:spLocks/>
          </p:cNvSpPr>
          <p:nvPr/>
        </p:nvSpPr>
        <p:spPr bwMode="auto">
          <a:xfrm>
            <a:off x="3269585" y="3900066"/>
            <a:ext cx="147133" cy="75986"/>
          </a:xfrm>
          <a:custGeom>
            <a:avLst/>
            <a:gdLst>
              <a:gd name="T0" fmla="*/ 126 w 225"/>
              <a:gd name="T1" fmla="*/ 4 h 116"/>
              <a:gd name="T2" fmla="*/ 156 w 225"/>
              <a:gd name="T3" fmla="*/ 21 h 116"/>
              <a:gd name="T4" fmla="*/ 185 w 225"/>
              <a:gd name="T5" fmla="*/ 54 h 116"/>
              <a:gd name="T6" fmla="*/ 190 w 225"/>
              <a:gd name="T7" fmla="*/ 60 h 116"/>
              <a:gd name="T8" fmla="*/ 224 w 225"/>
              <a:gd name="T9" fmla="*/ 108 h 116"/>
              <a:gd name="T10" fmla="*/ 223 w 225"/>
              <a:gd name="T11" fmla="*/ 114 h 116"/>
              <a:gd name="T12" fmla="*/ 216 w 225"/>
              <a:gd name="T13" fmla="*/ 113 h 116"/>
              <a:gd name="T14" fmla="*/ 182 w 225"/>
              <a:gd name="T15" fmla="*/ 66 h 116"/>
              <a:gd name="T16" fmla="*/ 178 w 225"/>
              <a:gd name="T17" fmla="*/ 60 h 116"/>
              <a:gd name="T18" fmla="*/ 150 w 225"/>
              <a:gd name="T19" fmla="*/ 28 h 116"/>
              <a:gd name="T20" fmla="*/ 91 w 225"/>
              <a:gd name="T21" fmla="*/ 12 h 116"/>
              <a:gd name="T22" fmla="*/ 8 w 225"/>
              <a:gd name="T23" fmla="*/ 62 h 116"/>
              <a:gd name="T24" fmla="*/ 2 w 225"/>
              <a:gd name="T25" fmla="*/ 62 h 116"/>
              <a:gd name="T26" fmla="*/ 2 w 225"/>
              <a:gd name="T27" fmla="*/ 55 h 116"/>
              <a:gd name="T28" fmla="*/ 89 w 225"/>
              <a:gd name="T29" fmla="*/ 3 h 116"/>
              <a:gd name="T30" fmla="*/ 126 w 225"/>
              <a:gd name="T31" fmla="*/ 4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5" h="116">
                <a:moveTo>
                  <a:pt x="126" y="4"/>
                </a:moveTo>
                <a:cubicBezTo>
                  <a:pt x="137" y="7"/>
                  <a:pt x="147" y="13"/>
                  <a:pt x="156" y="21"/>
                </a:cubicBezTo>
                <a:cubicBezTo>
                  <a:pt x="167" y="31"/>
                  <a:pt x="176" y="43"/>
                  <a:pt x="185" y="54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202" y="76"/>
                  <a:pt x="214" y="92"/>
                  <a:pt x="224" y="108"/>
                </a:cubicBezTo>
                <a:cubicBezTo>
                  <a:pt x="225" y="110"/>
                  <a:pt x="225" y="113"/>
                  <a:pt x="223" y="114"/>
                </a:cubicBezTo>
                <a:cubicBezTo>
                  <a:pt x="221" y="116"/>
                  <a:pt x="218" y="115"/>
                  <a:pt x="216" y="113"/>
                </a:cubicBezTo>
                <a:cubicBezTo>
                  <a:pt x="206" y="97"/>
                  <a:pt x="195" y="81"/>
                  <a:pt x="182" y="66"/>
                </a:cubicBezTo>
                <a:cubicBezTo>
                  <a:pt x="178" y="60"/>
                  <a:pt x="178" y="60"/>
                  <a:pt x="178" y="60"/>
                </a:cubicBezTo>
                <a:cubicBezTo>
                  <a:pt x="169" y="49"/>
                  <a:pt x="160" y="37"/>
                  <a:pt x="150" y="28"/>
                </a:cubicBezTo>
                <a:cubicBezTo>
                  <a:pt x="133" y="13"/>
                  <a:pt x="112" y="7"/>
                  <a:pt x="91" y="12"/>
                </a:cubicBezTo>
                <a:cubicBezTo>
                  <a:pt x="60" y="19"/>
                  <a:pt x="33" y="41"/>
                  <a:pt x="8" y="62"/>
                </a:cubicBezTo>
                <a:cubicBezTo>
                  <a:pt x="7" y="64"/>
                  <a:pt x="4" y="64"/>
                  <a:pt x="2" y="62"/>
                </a:cubicBezTo>
                <a:cubicBezTo>
                  <a:pt x="0" y="60"/>
                  <a:pt x="0" y="57"/>
                  <a:pt x="2" y="55"/>
                </a:cubicBezTo>
                <a:cubicBezTo>
                  <a:pt x="28" y="33"/>
                  <a:pt x="56" y="11"/>
                  <a:pt x="89" y="3"/>
                </a:cubicBezTo>
                <a:cubicBezTo>
                  <a:pt x="101" y="0"/>
                  <a:pt x="114" y="1"/>
                  <a:pt x="126" y="4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10" name="Freeform 154">
            <a:extLst>
              <a:ext uri="{FF2B5EF4-FFF2-40B4-BE49-F238E27FC236}">
                <a16:creationId xmlns:a16="http://schemas.microsoft.com/office/drawing/2014/main" id="{95B3547F-1184-4466-A59E-B7AB7143E12D}"/>
              </a:ext>
            </a:extLst>
          </p:cNvPr>
          <p:cNvSpPr>
            <a:spLocks/>
          </p:cNvSpPr>
          <p:nvPr/>
        </p:nvSpPr>
        <p:spPr bwMode="auto">
          <a:xfrm>
            <a:off x="3239578" y="3946528"/>
            <a:ext cx="173268" cy="84214"/>
          </a:xfrm>
          <a:custGeom>
            <a:avLst/>
            <a:gdLst>
              <a:gd name="T0" fmla="*/ 146 w 265"/>
              <a:gd name="T1" fmla="*/ 10 h 129"/>
              <a:gd name="T2" fmla="*/ 189 w 265"/>
              <a:gd name="T3" fmla="*/ 36 h 129"/>
              <a:gd name="T4" fmla="*/ 264 w 265"/>
              <a:gd name="T5" fmla="*/ 121 h 129"/>
              <a:gd name="T6" fmla="*/ 263 w 265"/>
              <a:gd name="T7" fmla="*/ 128 h 129"/>
              <a:gd name="T8" fmla="*/ 256 w 265"/>
              <a:gd name="T9" fmla="*/ 127 h 129"/>
              <a:gd name="T10" fmla="*/ 182 w 265"/>
              <a:gd name="T11" fmla="*/ 43 h 129"/>
              <a:gd name="T12" fmla="*/ 137 w 265"/>
              <a:gd name="T13" fmla="*/ 18 h 129"/>
              <a:gd name="T14" fmla="*/ 9 w 265"/>
              <a:gd name="T15" fmla="*/ 84 h 129"/>
              <a:gd name="T16" fmla="*/ 2 w 265"/>
              <a:gd name="T17" fmla="*/ 83 h 129"/>
              <a:gd name="T18" fmla="*/ 2 w 265"/>
              <a:gd name="T19" fmla="*/ 77 h 129"/>
              <a:gd name="T20" fmla="*/ 139 w 265"/>
              <a:gd name="T21" fmla="*/ 9 h 129"/>
              <a:gd name="T22" fmla="*/ 146 w 265"/>
              <a:gd name="T23" fmla="*/ 1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5" h="129">
                <a:moveTo>
                  <a:pt x="146" y="10"/>
                </a:moveTo>
                <a:cubicBezTo>
                  <a:pt x="160" y="15"/>
                  <a:pt x="175" y="23"/>
                  <a:pt x="189" y="36"/>
                </a:cubicBezTo>
                <a:cubicBezTo>
                  <a:pt x="217" y="61"/>
                  <a:pt x="241" y="92"/>
                  <a:pt x="264" y="121"/>
                </a:cubicBezTo>
                <a:cubicBezTo>
                  <a:pt x="265" y="123"/>
                  <a:pt x="265" y="126"/>
                  <a:pt x="263" y="128"/>
                </a:cubicBezTo>
                <a:cubicBezTo>
                  <a:pt x="261" y="129"/>
                  <a:pt x="258" y="129"/>
                  <a:pt x="256" y="127"/>
                </a:cubicBezTo>
                <a:cubicBezTo>
                  <a:pt x="234" y="98"/>
                  <a:pt x="210" y="68"/>
                  <a:pt x="182" y="43"/>
                </a:cubicBezTo>
                <a:cubicBezTo>
                  <a:pt x="167" y="29"/>
                  <a:pt x="152" y="21"/>
                  <a:pt x="137" y="18"/>
                </a:cubicBezTo>
                <a:cubicBezTo>
                  <a:pt x="91" y="10"/>
                  <a:pt x="47" y="46"/>
                  <a:pt x="9" y="84"/>
                </a:cubicBezTo>
                <a:cubicBezTo>
                  <a:pt x="7" y="85"/>
                  <a:pt x="4" y="85"/>
                  <a:pt x="2" y="83"/>
                </a:cubicBezTo>
                <a:cubicBezTo>
                  <a:pt x="0" y="82"/>
                  <a:pt x="0" y="79"/>
                  <a:pt x="2" y="77"/>
                </a:cubicBezTo>
                <a:cubicBezTo>
                  <a:pt x="42" y="38"/>
                  <a:pt x="89" y="0"/>
                  <a:pt x="139" y="9"/>
                </a:cubicBezTo>
                <a:cubicBezTo>
                  <a:pt x="141" y="9"/>
                  <a:pt x="144" y="10"/>
                  <a:pt x="146" y="1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11" name="Freeform 155">
            <a:extLst>
              <a:ext uri="{FF2B5EF4-FFF2-40B4-BE49-F238E27FC236}">
                <a16:creationId xmlns:a16="http://schemas.microsoft.com/office/drawing/2014/main" id="{0F81E37B-B488-45EA-B053-51CC3F203C7C}"/>
              </a:ext>
            </a:extLst>
          </p:cNvPr>
          <p:cNvSpPr>
            <a:spLocks/>
          </p:cNvSpPr>
          <p:nvPr/>
        </p:nvSpPr>
        <p:spPr bwMode="auto">
          <a:xfrm>
            <a:off x="3235706" y="4003155"/>
            <a:ext cx="158264" cy="83246"/>
          </a:xfrm>
          <a:custGeom>
            <a:avLst/>
            <a:gdLst>
              <a:gd name="T0" fmla="*/ 149 w 242"/>
              <a:gd name="T1" fmla="*/ 10 h 127"/>
              <a:gd name="T2" fmla="*/ 241 w 242"/>
              <a:gd name="T3" fmla="*/ 120 h 127"/>
              <a:gd name="T4" fmla="*/ 238 w 242"/>
              <a:gd name="T5" fmla="*/ 126 h 127"/>
              <a:gd name="T6" fmla="*/ 232 w 242"/>
              <a:gd name="T7" fmla="*/ 123 h 127"/>
              <a:gd name="T8" fmla="*/ 132 w 242"/>
              <a:gd name="T9" fmla="*/ 16 h 127"/>
              <a:gd name="T10" fmla="*/ 9 w 242"/>
              <a:gd name="T11" fmla="*/ 88 h 127"/>
              <a:gd name="T12" fmla="*/ 3 w 242"/>
              <a:gd name="T13" fmla="*/ 89 h 127"/>
              <a:gd name="T14" fmla="*/ 1 w 242"/>
              <a:gd name="T15" fmla="*/ 83 h 127"/>
              <a:gd name="T16" fmla="*/ 133 w 242"/>
              <a:gd name="T17" fmla="*/ 6 h 127"/>
              <a:gd name="T18" fmla="*/ 149 w 242"/>
              <a:gd name="T19" fmla="*/ 1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2" h="127">
                <a:moveTo>
                  <a:pt x="149" y="10"/>
                </a:moveTo>
                <a:cubicBezTo>
                  <a:pt x="204" y="25"/>
                  <a:pt x="230" y="84"/>
                  <a:pt x="241" y="120"/>
                </a:cubicBezTo>
                <a:cubicBezTo>
                  <a:pt x="242" y="122"/>
                  <a:pt x="240" y="125"/>
                  <a:pt x="238" y="126"/>
                </a:cubicBezTo>
                <a:cubicBezTo>
                  <a:pt x="235" y="127"/>
                  <a:pt x="233" y="125"/>
                  <a:pt x="232" y="123"/>
                </a:cubicBezTo>
                <a:cubicBezTo>
                  <a:pt x="220" y="86"/>
                  <a:pt x="192" y="22"/>
                  <a:pt x="132" y="16"/>
                </a:cubicBezTo>
                <a:cubicBezTo>
                  <a:pt x="78" y="10"/>
                  <a:pt x="31" y="48"/>
                  <a:pt x="9" y="88"/>
                </a:cubicBezTo>
                <a:cubicBezTo>
                  <a:pt x="8" y="90"/>
                  <a:pt x="5" y="91"/>
                  <a:pt x="3" y="89"/>
                </a:cubicBezTo>
                <a:cubicBezTo>
                  <a:pt x="0" y="88"/>
                  <a:pt x="0" y="85"/>
                  <a:pt x="1" y="83"/>
                </a:cubicBezTo>
                <a:cubicBezTo>
                  <a:pt x="25" y="40"/>
                  <a:pt x="75" y="0"/>
                  <a:pt x="133" y="6"/>
                </a:cubicBezTo>
                <a:cubicBezTo>
                  <a:pt x="139" y="7"/>
                  <a:pt x="144" y="8"/>
                  <a:pt x="149" y="10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12" name="Freeform 156">
            <a:extLst>
              <a:ext uri="{FF2B5EF4-FFF2-40B4-BE49-F238E27FC236}">
                <a16:creationId xmlns:a16="http://schemas.microsoft.com/office/drawing/2014/main" id="{C7533403-1719-473B-8F10-5D06440BA76E}"/>
              </a:ext>
            </a:extLst>
          </p:cNvPr>
          <p:cNvSpPr>
            <a:spLocks/>
          </p:cNvSpPr>
          <p:nvPr/>
        </p:nvSpPr>
        <p:spPr bwMode="auto">
          <a:xfrm>
            <a:off x="3250226" y="4070913"/>
            <a:ext cx="119061" cy="66307"/>
          </a:xfrm>
          <a:custGeom>
            <a:avLst/>
            <a:gdLst>
              <a:gd name="T0" fmla="*/ 109 w 182"/>
              <a:gd name="T1" fmla="*/ 8 h 102"/>
              <a:gd name="T2" fmla="*/ 181 w 182"/>
              <a:gd name="T3" fmla="*/ 96 h 102"/>
              <a:gd name="T4" fmla="*/ 178 w 182"/>
              <a:gd name="T5" fmla="*/ 102 h 102"/>
              <a:gd name="T6" fmla="*/ 172 w 182"/>
              <a:gd name="T7" fmla="*/ 99 h 102"/>
              <a:gd name="T8" fmla="*/ 99 w 182"/>
              <a:gd name="T9" fmla="*/ 15 h 102"/>
              <a:gd name="T10" fmla="*/ 9 w 182"/>
              <a:gd name="T11" fmla="*/ 72 h 102"/>
              <a:gd name="T12" fmla="*/ 4 w 182"/>
              <a:gd name="T13" fmla="*/ 75 h 102"/>
              <a:gd name="T14" fmla="*/ 0 w 182"/>
              <a:gd name="T15" fmla="*/ 70 h 102"/>
              <a:gd name="T16" fmla="*/ 100 w 182"/>
              <a:gd name="T17" fmla="*/ 6 h 102"/>
              <a:gd name="T18" fmla="*/ 109 w 182"/>
              <a:gd name="T19" fmla="*/ 8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82" h="102">
                <a:moveTo>
                  <a:pt x="109" y="8"/>
                </a:moveTo>
                <a:cubicBezTo>
                  <a:pt x="155" y="21"/>
                  <a:pt x="180" y="92"/>
                  <a:pt x="181" y="96"/>
                </a:cubicBezTo>
                <a:cubicBezTo>
                  <a:pt x="182" y="98"/>
                  <a:pt x="181" y="101"/>
                  <a:pt x="178" y="102"/>
                </a:cubicBezTo>
                <a:cubicBezTo>
                  <a:pt x="176" y="102"/>
                  <a:pt x="173" y="101"/>
                  <a:pt x="172" y="99"/>
                </a:cubicBezTo>
                <a:cubicBezTo>
                  <a:pt x="172" y="98"/>
                  <a:pt x="146" y="21"/>
                  <a:pt x="99" y="15"/>
                </a:cubicBezTo>
                <a:cubicBezTo>
                  <a:pt x="53" y="10"/>
                  <a:pt x="11" y="68"/>
                  <a:pt x="9" y="72"/>
                </a:cubicBezTo>
                <a:cubicBezTo>
                  <a:pt x="9" y="75"/>
                  <a:pt x="6" y="76"/>
                  <a:pt x="4" y="75"/>
                </a:cubicBezTo>
                <a:cubicBezTo>
                  <a:pt x="1" y="75"/>
                  <a:pt x="0" y="72"/>
                  <a:pt x="0" y="70"/>
                </a:cubicBezTo>
                <a:cubicBezTo>
                  <a:pt x="3" y="62"/>
                  <a:pt x="49" y="0"/>
                  <a:pt x="100" y="6"/>
                </a:cubicBezTo>
                <a:cubicBezTo>
                  <a:pt x="103" y="6"/>
                  <a:pt x="106" y="7"/>
                  <a:pt x="109" y="8"/>
                </a:cubicBez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13" name="Freeform 157">
            <a:extLst>
              <a:ext uri="{FF2B5EF4-FFF2-40B4-BE49-F238E27FC236}">
                <a16:creationId xmlns:a16="http://schemas.microsoft.com/office/drawing/2014/main" id="{8F1B369C-72B4-4A6D-9F29-038DF0A6C7FC}"/>
              </a:ext>
            </a:extLst>
          </p:cNvPr>
          <p:cNvSpPr>
            <a:spLocks/>
          </p:cNvSpPr>
          <p:nvPr/>
        </p:nvSpPr>
        <p:spPr bwMode="auto">
          <a:xfrm>
            <a:off x="2651049" y="4599428"/>
            <a:ext cx="830039" cy="757441"/>
          </a:xfrm>
          <a:custGeom>
            <a:avLst/>
            <a:gdLst>
              <a:gd name="T0" fmla="*/ 1269 w 1269"/>
              <a:gd name="T1" fmla="*/ 0 h 1158"/>
              <a:gd name="T2" fmla="*/ 1269 w 1269"/>
              <a:gd name="T3" fmla="*/ 834 h 1158"/>
              <a:gd name="T4" fmla="*/ 944 w 1269"/>
              <a:gd name="T5" fmla="*/ 1158 h 1158"/>
              <a:gd name="T6" fmla="*/ 324 w 1269"/>
              <a:gd name="T7" fmla="*/ 1158 h 1158"/>
              <a:gd name="T8" fmla="*/ 0 w 1269"/>
              <a:gd name="T9" fmla="*/ 834 h 1158"/>
              <a:gd name="T10" fmla="*/ 0 w 1269"/>
              <a:gd name="T11" fmla="*/ 0 h 1158"/>
              <a:gd name="T12" fmla="*/ 1269 w 1269"/>
              <a:gd name="T13" fmla="*/ 0 h 1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69" h="1158">
                <a:moveTo>
                  <a:pt x="1269" y="0"/>
                </a:moveTo>
                <a:cubicBezTo>
                  <a:pt x="1269" y="834"/>
                  <a:pt x="1269" y="834"/>
                  <a:pt x="1269" y="834"/>
                </a:cubicBezTo>
                <a:cubicBezTo>
                  <a:pt x="1269" y="1013"/>
                  <a:pt x="1123" y="1158"/>
                  <a:pt x="944" y="1158"/>
                </a:cubicBezTo>
                <a:cubicBezTo>
                  <a:pt x="324" y="1158"/>
                  <a:pt x="324" y="1158"/>
                  <a:pt x="324" y="1158"/>
                </a:cubicBezTo>
                <a:cubicBezTo>
                  <a:pt x="145" y="1158"/>
                  <a:pt x="0" y="1013"/>
                  <a:pt x="0" y="834"/>
                </a:cubicBezTo>
                <a:cubicBezTo>
                  <a:pt x="0" y="0"/>
                  <a:pt x="0" y="0"/>
                  <a:pt x="0" y="0"/>
                </a:cubicBezTo>
                <a:cubicBezTo>
                  <a:pt x="1269" y="0"/>
                  <a:pt x="1269" y="0"/>
                  <a:pt x="1269" y="0"/>
                </a:cubicBezTo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14" name="Freeform 158">
            <a:extLst>
              <a:ext uri="{FF2B5EF4-FFF2-40B4-BE49-F238E27FC236}">
                <a16:creationId xmlns:a16="http://schemas.microsoft.com/office/drawing/2014/main" id="{DF8672F5-4880-410E-8BA0-88F7F3644351}"/>
              </a:ext>
            </a:extLst>
          </p:cNvPr>
          <p:cNvSpPr>
            <a:spLocks/>
          </p:cNvSpPr>
          <p:nvPr/>
        </p:nvSpPr>
        <p:spPr bwMode="auto">
          <a:xfrm>
            <a:off x="2535376" y="3392847"/>
            <a:ext cx="567717" cy="520287"/>
          </a:xfrm>
          <a:custGeom>
            <a:avLst/>
            <a:gdLst>
              <a:gd name="T0" fmla="*/ 770 w 868"/>
              <a:gd name="T1" fmla="*/ 791 h 795"/>
              <a:gd name="T2" fmla="*/ 771 w 868"/>
              <a:gd name="T3" fmla="*/ 789 h 795"/>
              <a:gd name="T4" fmla="*/ 771 w 868"/>
              <a:gd name="T5" fmla="*/ 780 h 795"/>
              <a:gd name="T6" fmla="*/ 772 w 868"/>
              <a:gd name="T7" fmla="*/ 745 h 795"/>
              <a:gd name="T8" fmla="*/ 755 w 868"/>
              <a:gd name="T9" fmla="*/ 619 h 795"/>
              <a:gd name="T10" fmla="*/ 727 w 868"/>
              <a:gd name="T11" fmla="*/ 538 h 795"/>
              <a:gd name="T12" fmla="*/ 679 w 868"/>
              <a:gd name="T13" fmla="*/ 454 h 795"/>
              <a:gd name="T14" fmla="*/ 610 w 868"/>
              <a:gd name="T15" fmla="*/ 377 h 795"/>
              <a:gd name="T16" fmla="*/ 522 w 868"/>
              <a:gd name="T17" fmla="*/ 315 h 795"/>
              <a:gd name="T18" fmla="*/ 473 w 868"/>
              <a:gd name="T19" fmla="*/ 290 h 795"/>
              <a:gd name="T20" fmla="*/ 447 w 868"/>
              <a:gd name="T21" fmla="*/ 279 h 795"/>
              <a:gd name="T22" fmla="*/ 435 w 868"/>
              <a:gd name="T23" fmla="*/ 274 h 795"/>
              <a:gd name="T24" fmla="*/ 421 w 868"/>
              <a:gd name="T25" fmla="*/ 269 h 795"/>
              <a:gd name="T26" fmla="*/ 370 w 868"/>
              <a:gd name="T27" fmla="*/ 249 h 795"/>
              <a:gd name="T28" fmla="*/ 320 w 868"/>
              <a:gd name="T29" fmla="*/ 228 h 795"/>
              <a:gd name="T30" fmla="*/ 272 w 868"/>
              <a:gd name="T31" fmla="*/ 207 h 795"/>
              <a:gd name="T32" fmla="*/ 249 w 868"/>
              <a:gd name="T33" fmla="*/ 197 h 795"/>
              <a:gd name="T34" fmla="*/ 227 w 868"/>
              <a:gd name="T35" fmla="*/ 185 h 795"/>
              <a:gd name="T36" fmla="*/ 205 w 868"/>
              <a:gd name="T37" fmla="*/ 175 h 795"/>
              <a:gd name="T38" fmla="*/ 184 w 868"/>
              <a:gd name="T39" fmla="*/ 163 h 795"/>
              <a:gd name="T40" fmla="*/ 164 w 868"/>
              <a:gd name="T41" fmla="*/ 153 h 795"/>
              <a:gd name="T42" fmla="*/ 145 w 868"/>
              <a:gd name="T43" fmla="*/ 141 h 795"/>
              <a:gd name="T44" fmla="*/ 127 w 868"/>
              <a:gd name="T45" fmla="*/ 130 h 795"/>
              <a:gd name="T46" fmla="*/ 111 w 868"/>
              <a:gd name="T47" fmla="*/ 119 h 795"/>
              <a:gd name="T48" fmla="*/ 80 w 868"/>
              <a:gd name="T49" fmla="*/ 97 h 795"/>
              <a:gd name="T50" fmla="*/ 55 w 868"/>
              <a:gd name="T51" fmla="*/ 77 h 795"/>
              <a:gd name="T52" fmla="*/ 34 w 868"/>
              <a:gd name="T53" fmla="*/ 57 h 795"/>
              <a:gd name="T54" fmla="*/ 8 w 868"/>
              <a:gd name="T55" fmla="*/ 25 h 795"/>
              <a:gd name="T56" fmla="*/ 0 w 868"/>
              <a:gd name="T57" fmla="*/ 9 h 795"/>
              <a:gd name="T58" fmla="*/ 31 w 868"/>
              <a:gd name="T59" fmla="*/ 1 h 795"/>
              <a:gd name="T60" fmla="*/ 34 w 868"/>
              <a:gd name="T61" fmla="*/ 9 h 795"/>
              <a:gd name="T62" fmla="*/ 55 w 868"/>
              <a:gd name="T63" fmla="*/ 38 h 795"/>
              <a:gd name="T64" fmla="*/ 73 w 868"/>
              <a:gd name="T65" fmla="*/ 57 h 795"/>
              <a:gd name="T66" fmla="*/ 96 w 868"/>
              <a:gd name="T67" fmla="*/ 78 h 795"/>
              <a:gd name="T68" fmla="*/ 125 w 868"/>
              <a:gd name="T69" fmla="*/ 99 h 795"/>
              <a:gd name="T70" fmla="*/ 140 w 868"/>
              <a:gd name="T71" fmla="*/ 110 h 795"/>
              <a:gd name="T72" fmla="*/ 158 w 868"/>
              <a:gd name="T73" fmla="*/ 121 h 795"/>
              <a:gd name="T74" fmla="*/ 176 w 868"/>
              <a:gd name="T75" fmla="*/ 132 h 795"/>
              <a:gd name="T76" fmla="*/ 196 w 868"/>
              <a:gd name="T77" fmla="*/ 143 h 795"/>
              <a:gd name="T78" fmla="*/ 216 w 868"/>
              <a:gd name="T79" fmla="*/ 154 h 795"/>
              <a:gd name="T80" fmla="*/ 237 w 868"/>
              <a:gd name="T81" fmla="*/ 164 h 795"/>
              <a:gd name="T82" fmla="*/ 282 w 868"/>
              <a:gd name="T83" fmla="*/ 185 h 795"/>
              <a:gd name="T84" fmla="*/ 330 w 868"/>
              <a:gd name="T85" fmla="*/ 204 h 795"/>
              <a:gd name="T86" fmla="*/ 380 w 868"/>
              <a:gd name="T87" fmla="*/ 223 h 795"/>
              <a:gd name="T88" fmla="*/ 432 w 868"/>
              <a:gd name="T89" fmla="*/ 240 h 795"/>
              <a:gd name="T90" fmla="*/ 486 w 868"/>
              <a:gd name="T91" fmla="*/ 258 h 795"/>
              <a:gd name="T92" fmla="*/ 539 w 868"/>
              <a:gd name="T93" fmla="*/ 282 h 795"/>
              <a:gd name="T94" fmla="*/ 638 w 868"/>
              <a:gd name="T95" fmla="*/ 342 h 795"/>
              <a:gd name="T96" fmla="*/ 721 w 868"/>
              <a:gd name="T97" fmla="*/ 421 h 795"/>
              <a:gd name="T98" fmla="*/ 824 w 868"/>
              <a:gd name="T99" fmla="*/ 596 h 795"/>
              <a:gd name="T100" fmla="*/ 862 w 868"/>
              <a:gd name="T101" fmla="*/ 737 h 795"/>
              <a:gd name="T102" fmla="*/ 867 w 868"/>
              <a:gd name="T103" fmla="*/ 779 h 795"/>
              <a:gd name="T104" fmla="*/ 867 w 868"/>
              <a:gd name="T105" fmla="*/ 790 h 795"/>
              <a:gd name="T106" fmla="*/ 868 w 868"/>
              <a:gd name="T107" fmla="*/ 795 h 795"/>
              <a:gd name="T108" fmla="*/ 770 w 868"/>
              <a:gd name="T109" fmla="*/ 791 h 7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68" h="795">
                <a:moveTo>
                  <a:pt x="770" y="791"/>
                </a:moveTo>
                <a:cubicBezTo>
                  <a:pt x="770" y="791"/>
                  <a:pt x="771" y="790"/>
                  <a:pt x="771" y="789"/>
                </a:cubicBezTo>
                <a:cubicBezTo>
                  <a:pt x="771" y="787"/>
                  <a:pt x="771" y="784"/>
                  <a:pt x="771" y="780"/>
                </a:cubicBezTo>
                <a:cubicBezTo>
                  <a:pt x="772" y="772"/>
                  <a:pt x="773" y="761"/>
                  <a:pt x="772" y="745"/>
                </a:cubicBezTo>
                <a:cubicBezTo>
                  <a:pt x="772" y="715"/>
                  <a:pt x="768" y="670"/>
                  <a:pt x="755" y="619"/>
                </a:cubicBezTo>
                <a:cubicBezTo>
                  <a:pt x="748" y="593"/>
                  <a:pt x="739" y="566"/>
                  <a:pt x="727" y="538"/>
                </a:cubicBezTo>
                <a:cubicBezTo>
                  <a:pt x="714" y="510"/>
                  <a:pt x="698" y="482"/>
                  <a:pt x="679" y="454"/>
                </a:cubicBezTo>
                <a:cubicBezTo>
                  <a:pt x="659" y="427"/>
                  <a:pt x="636" y="401"/>
                  <a:pt x="610" y="377"/>
                </a:cubicBezTo>
                <a:cubicBezTo>
                  <a:pt x="583" y="353"/>
                  <a:pt x="553" y="333"/>
                  <a:pt x="522" y="315"/>
                </a:cubicBezTo>
                <a:cubicBezTo>
                  <a:pt x="506" y="305"/>
                  <a:pt x="489" y="298"/>
                  <a:pt x="473" y="290"/>
                </a:cubicBezTo>
                <a:cubicBezTo>
                  <a:pt x="464" y="286"/>
                  <a:pt x="456" y="283"/>
                  <a:pt x="447" y="279"/>
                </a:cubicBezTo>
                <a:cubicBezTo>
                  <a:pt x="443" y="278"/>
                  <a:pt x="439" y="276"/>
                  <a:pt x="435" y="274"/>
                </a:cubicBezTo>
                <a:cubicBezTo>
                  <a:pt x="421" y="269"/>
                  <a:pt x="421" y="269"/>
                  <a:pt x="421" y="269"/>
                </a:cubicBezTo>
                <a:cubicBezTo>
                  <a:pt x="404" y="263"/>
                  <a:pt x="387" y="256"/>
                  <a:pt x="370" y="249"/>
                </a:cubicBezTo>
                <a:cubicBezTo>
                  <a:pt x="353" y="242"/>
                  <a:pt x="336" y="235"/>
                  <a:pt x="320" y="228"/>
                </a:cubicBezTo>
                <a:cubicBezTo>
                  <a:pt x="303" y="222"/>
                  <a:pt x="288" y="214"/>
                  <a:pt x="272" y="207"/>
                </a:cubicBezTo>
                <a:cubicBezTo>
                  <a:pt x="264" y="204"/>
                  <a:pt x="256" y="200"/>
                  <a:pt x="249" y="197"/>
                </a:cubicBezTo>
                <a:cubicBezTo>
                  <a:pt x="241" y="193"/>
                  <a:pt x="234" y="189"/>
                  <a:pt x="227" y="185"/>
                </a:cubicBezTo>
                <a:cubicBezTo>
                  <a:pt x="219" y="182"/>
                  <a:pt x="212" y="178"/>
                  <a:pt x="205" y="175"/>
                </a:cubicBezTo>
                <a:cubicBezTo>
                  <a:pt x="198" y="171"/>
                  <a:pt x="191" y="167"/>
                  <a:pt x="184" y="163"/>
                </a:cubicBezTo>
                <a:cubicBezTo>
                  <a:pt x="177" y="160"/>
                  <a:pt x="171" y="156"/>
                  <a:pt x="164" y="153"/>
                </a:cubicBezTo>
                <a:cubicBezTo>
                  <a:pt x="158" y="149"/>
                  <a:pt x="152" y="145"/>
                  <a:pt x="145" y="141"/>
                </a:cubicBezTo>
                <a:cubicBezTo>
                  <a:pt x="139" y="138"/>
                  <a:pt x="133" y="134"/>
                  <a:pt x="127" y="130"/>
                </a:cubicBezTo>
                <a:cubicBezTo>
                  <a:pt x="122" y="127"/>
                  <a:pt x="116" y="123"/>
                  <a:pt x="111" y="119"/>
                </a:cubicBezTo>
                <a:cubicBezTo>
                  <a:pt x="100" y="112"/>
                  <a:pt x="90" y="105"/>
                  <a:pt x="80" y="97"/>
                </a:cubicBezTo>
                <a:cubicBezTo>
                  <a:pt x="71" y="91"/>
                  <a:pt x="63" y="83"/>
                  <a:pt x="55" y="77"/>
                </a:cubicBezTo>
                <a:cubicBezTo>
                  <a:pt x="47" y="70"/>
                  <a:pt x="40" y="63"/>
                  <a:pt x="34" y="57"/>
                </a:cubicBezTo>
                <a:cubicBezTo>
                  <a:pt x="22" y="44"/>
                  <a:pt x="13" y="33"/>
                  <a:pt x="8" y="25"/>
                </a:cubicBezTo>
                <a:cubicBezTo>
                  <a:pt x="3" y="16"/>
                  <a:pt x="1" y="10"/>
                  <a:pt x="0" y="9"/>
                </a:cubicBezTo>
                <a:cubicBezTo>
                  <a:pt x="31" y="1"/>
                  <a:pt x="31" y="1"/>
                  <a:pt x="31" y="1"/>
                </a:cubicBezTo>
                <a:cubicBezTo>
                  <a:pt x="30" y="0"/>
                  <a:pt x="31" y="2"/>
                  <a:pt x="34" y="9"/>
                </a:cubicBezTo>
                <a:cubicBezTo>
                  <a:pt x="38" y="16"/>
                  <a:pt x="44" y="26"/>
                  <a:pt x="55" y="38"/>
                </a:cubicBezTo>
                <a:cubicBezTo>
                  <a:pt x="60" y="44"/>
                  <a:pt x="66" y="50"/>
                  <a:pt x="73" y="57"/>
                </a:cubicBezTo>
                <a:cubicBezTo>
                  <a:pt x="80" y="63"/>
                  <a:pt x="87" y="71"/>
                  <a:pt x="96" y="78"/>
                </a:cubicBezTo>
                <a:cubicBezTo>
                  <a:pt x="105" y="85"/>
                  <a:pt x="114" y="92"/>
                  <a:pt x="125" y="99"/>
                </a:cubicBezTo>
                <a:cubicBezTo>
                  <a:pt x="130" y="103"/>
                  <a:pt x="135" y="106"/>
                  <a:pt x="140" y="110"/>
                </a:cubicBezTo>
                <a:cubicBezTo>
                  <a:pt x="146" y="114"/>
                  <a:pt x="152" y="117"/>
                  <a:pt x="158" y="121"/>
                </a:cubicBezTo>
                <a:cubicBezTo>
                  <a:pt x="164" y="125"/>
                  <a:pt x="170" y="129"/>
                  <a:pt x="176" y="132"/>
                </a:cubicBezTo>
                <a:cubicBezTo>
                  <a:pt x="182" y="136"/>
                  <a:pt x="189" y="139"/>
                  <a:pt x="196" y="143"/>
                </a:cubicBezTo>
                <a:cubicBezTo>
                  <a:pt x="202" y="146"/>
                  <a:pt x="209" y="150"/>
                  <a:pt x="216" y="154"/>
                </a:cubicBezTo>
                <a:cubicBezTo>
                  <a:pt x="223" y="157"/>
                  <a:pt x="230" y="161"/>
                  <a:pt x="237" y="164"/>
                </a:cubicBezTo>
                <a:cubicBezTo>
                  <a:pt x="251" y="171"/>
                  <a:pt x="266" y="178"/>
                  <a:pt x="282" y="185"/>
                </a:cubicBezTo>
                <a:cubicBezTo>
                  <a:pt x="298" y="191"/>
                  <a:pt x="313" y="198"/>
                  <a:pt x="330" y="204"/>
                </a:cubicBezTo>
                <a:cubicBezTo>
                  <a:pt x="346" y="210"/>
                  <a:pt x="363" y="217"/>
                  <a:pt x="380" y="223"/>
                </a:cubicBezTo>
                <a:cubicBezTo>
                  <a:pt x="397" y="229"/>
                  <a:pt x="414" y="234"/>
                  <a:pt x="432" y="240"/>
                </a:cubicBezTo>
                <a:cubicBezTo>
                  <a:pt x="450" y="246"/>
                  <a:pt x="468" y="252"/>
                  <a:pt x="486" y="258"/>
                </a:cubicBezTo>
                <a:cubicBezTo>
                  <a:pt x="503" y="266"/>
                  <a:pt x="522" y="273"/>
                  <a:pt x="539" y="282"/>
                </a:cubicBezTo>
                <a:cubicBezTo>
                  <a:pt x="574" y="299"/>
                  <a:pt x="608" y="319"/>
                  <a:pt x="638" y="342"/>
                </a:cubicBezTo>
                <a:cubicBezTo>
                  <a:pt x="669" y="366"/>
                  <a:pt x="697" y="393"/>
                  <a:pt x="721" y="421"/>
                </a:cubicBezTo>
                <a:cubicBezTo>
                  <a:pt x="770" y="478"/>
                  <a:pt x="803" y="541"/>
                  <a:pt x="824" y="596"/>
                </a:cubicBezTo>
                <a:cubicBezTo>
                  <a:pt x="845" y="653"/>
                  <a:pt x="856" y="702"/>
                  <a:pt x="862" y="737"/>
                </a:cubicBezTo>
                <a:cubicBezTo>
                  <a:pt x="864" y="755"/>
                  <a:pt x="866" y="769"/>
                  <a:pt x="867" y="779"/>
                </a:cubicBezTo>
                <a:cubicBezTo>
                  <a:pt x="867" y="784"/>
                  <a:pt x="867" y="787"/>
                  <a:pt x="867" y="790"/>
                </a:cubicBezTo>
                <a:cubicBezTo>
                  <a:pt x="868" y="793"/>
                  <a:pt x="868" y="795"/>
                  <a:pt x="868" y="795"/>
                </a:cubicBezTo>
                <a:lnTo>
                  <a:pt x="770" y="791"/>
                </a:ln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15" name="Freeform 159">
            <a:extLst>
              <a:ext uri="{FF2B5EF4-FFF2-40B4-BE49-F238E27FC236}">
                <a16:creationId xmlns:a16="http://schemas.microsoft.com/office/drawing/2014/main" id="{AB18DF32-F939-490C-9C24-9BC05B44B5EB}"/>
              </a:ext>
            </a:extLst>
          </p:cNvPr>
          <p:cNvSpPr>
            <a:spLocks/>
          </p:cNvSpPr>
          <p:nvPr/>
        </p:nvSpPr>
        <p:spPr bwMode="auto">
          <a:xfrm>
            <a:off x="2814636" y="3135850"/>
            <a:ext cx="288941" cy="774380"/>
          </a:xfrm>
          <a:custGeom>
            <a:avLst/>
            <a:gdLst>
              <a:gd name="T0" fmla="*/ 343 w 442"/>
              <a:gd name="T1" fmla="*/ 1184 h 1184"/>
              <a:gd name="T2" fmla="*/ 339 w 442"/>
              <a:gd name="T3" fmla="*/ 1119 h 1184"/>
              <a:gd name="T4" fmla="*/ 345 w 442"/>
              <a:gd name="T5" fmla="*/ 1058 h 1184"/>
              <a:gd name="T6" fmla="*/ 350 w 442"/>
              <a:gd name="T7" fmla="*/ 981 h 1184"/>
              <a:gd name="T8" fmla="*/ 331 w 442"/>
              <a:gd name="T9" fmla="*/ 794 h 1184"/>
              <a:gd name="T10" fmla="*/ 292 w 442"/>
              <a:gd name="T11" fmla="*/ 698 h 1184"/>
              <a:gd name="T12" fmla="*/ 231 w 442"/>
              <a:gd name="T13" fmla="*/ 601 h 1184"/>
              <a:gd name="T14" fmla="*/ 166 w 442"/>
              <a:gd name="T15" fmla="*/ 502 h 1184"/>
              <a:gd name="T16" fmla="*/ 106 w 442"/>
              <a:gd name="T17" fmla="*/ 402 h 1184"/>
              <a:gd name="T18" fmla="*/ 65 w 442"/>
              <a:gd name="T19" fmla="*/ 297 h 1184"/>
              <a:gd name="T20" fmla="*/ 43 w 442"/>
              <a:gd name="T21" fmla="*/ 203 h 1184"/>
              <a:gd name="T22" fmla="*/ 0 w 442"/>
              <a:gd name="T23" fmla="*/ 11 h 1184"/>
              <a:gd name="T24" fmla="*/ 46 w 442"/>
              <a:gd name="T25" fmla="*/ 0 h 1184"/>
              <a:gd name="T26" fmla="*/ 97 w 442"/>
              <a:gd name="T27" fmla="*/ 190 h 1184"/>
              <a:gd name="T28" fmla="*/ 122 w 442"/>
              <a:gd name="T29" fmla="*/ 280 h 1184"/>
              <a:gd name="T30" fmla="*/ 162 w 442"/>
              <a:gd name="T31" fmla="*/ 372 h 1184"/>
              <a:gd name="T32" fmla="*/ 223 w 442"/>
              <a:gd name="T33" fmla="*/ 463 h 1184"/>
              <a:gd name="T34" fmla="*/ 291 w 442"/>
              <a:gd name="T35" fmla="*/ 559 h 1184"/>
              <a:gd name="T36" fmla="*/ 360 w 442"/>
              <a:gd name="T37" fmla="*/ 658 h 1184"/>
              <a:gd name="T38" fmla="*/ 411 w 442"/>
              <a:gd name="T39" fmla="*/ 770 h 1184"/>
              <a:gd name="T40" fmla="*/ 435 w 442"/>
              <a:gd name="T41" fmla="*/ 881 h 1184"/>
              <a:gd name="T42" fmla="*/ 442 w 442"/>
              <a:gd name="T43" fmla="*/ 982 h 1184"/>
              <a:gd name="T44" fmla="*/ 440 w 442"/>
              <a:gd name="T45" fmla="*/ 1065 h 1184"/>
              <a:gd name="T46" fmla="*/ 436 w 442"/>
              <a:gd name="T47" fmla="*/ 1128 h 1184"/>
              <a:gd name="T48" fmla="*/ 432 w 442"/>
              <a:gd name="T49" fmla="*/ 1183 h 1184"/>
              <a:gd name="T50" fmla="*/ 343 w 442"/>
              <a:gd name="T51" fmla="*/ 1184 h 1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42" h="1184">
                <a:moveTo>
                  <a:pt x="343" y="1184"/>
                </a:moveTo>
                <a:cubicBezTo>
                  <a:pt x="343" y="1184"/>
                  <a:pt x="334" y="1153"/>
                  <a:pt x="339" y="1119"/>
                </a:cubicBezTo>
                <a:cubicBezTo>
                  <a:pt x="341" y="1102"/>
                  <a:pt x="343" y="1082"/>
                  <a:pt x="345" y="1058"/>
                </a:cubicBezTo>
                <a:cubicBezTo>
                  <a:pt x="347" y="1035"/>
                  <a:pt x="349" y="1009"/>
                  <a:pt x="350" y="981"/>
                </a:cubicBezTo>
                <a:cubicBezTo>
                  <a:pt x="352" y="924"/>
                  <a:pt x="349" y="859"/>
                  <a:pt x="331" y="794"/>
                </a:cubicBezTo>
                <a:cubicBezTo>
                  <a:pt x="322" y="761"/>
                  <a:pt x="310" y="729"/>
                  <a:pt x="292" y="698"/>
                </a:cubicBezTo>
                <a:cubicBezTo>
                  <a:pt x="274" y="666"/>
                  <a:pt x="252" y="634"/>
                  <a:pt x="231" y="601"/>
                </a:cubicBezTo>
                <a:cubicBezTo>
                  <a:pt x="209" y="568"/>
                  <a:pt x="188" y="535"/>
                  <a:pt x="166" y="502"/>
                </a:cubicBezTo>
                <a:cubicBezTo>
                  <a:pt x="145" y="470"/>
                  <a:pt x="124" y="437"/>
                  <a:pt x="106" y="402"/>
                </a:cubicBezTo>
                <a:cubicBezTo>
                  <a:pt x="87" y="367"/>
                  <a:pt x="75" y="331"/>
                  <a:pt x="65" y="297"/>
                </a:cubicBezTo>
                <a:cubicBezTo>
                  <a:pt x="56" y="263"/>
                  <a:pt x="50" y="232"/>
                  <a:pt x="43" y="203"/>
                </a:cubicBezTo>
                <a:cubicBezTo>
                  <a:pt x="17" y="88"/>
                  <a:pt x="0" y="11"/>
                  <a:pt x="0" y="11"/>
                </a:cubicBezTo>
                <a:cubicBezTo>
                  <a:pt x="46" y="0"/>
                  <a:pt x="46" y="0"/>
                  <a:pt x="46" y="0"/>
                </a:cubicBezTo>
                <a:cubicBezTo>
                  <a:pt x="46" y="0"/>
                  <a:pt x="66" y="76"/>
                  <a:pt x="97" y="190"/>
                </a:cubicBezTo>
                <a:cubicBezTo>
                  <a:pt x="104" y="218"/>
                  <a:pt x="112" y="249"/>
                  <a:pt x="122" y="280"/>
                </a:cubicBezTo>
                <a:cubicBezTo>
                  <a:pt x="132" y="311"/>
                  <a:pt x="144" y="342"/>
                  <a:pt x="162" y="372"/>
                </a:cubicBezTo>
                <a:cubicBezTo>
                  <a:pt x="179" y="402"/>
                  <a:pt x="200" y="432"/>
                  <a:pt x="223" y="463"/>
                </a:cubicBezTo>
                <a:cubicBezTo>
                  <a:pt x="246" y="495"/>
                  <a:pt x="268" y="527"/>
                  <a:pt x="291" y="559"/>
                </a:cubicBezTo>
                <a:cubicBezTo>
                  <a:pt x="314" y="591"/>
                  <a:pt x="338" y="623"/>
                  <a:pt x="360" y="658"/>
                </a:cubicBezTo>
                <a:cubicBezTo>
                  <a:pt x="382" y="693"/>
                  <a:pt x="399" y="732"/>
                  <a:pt x="411" y="770"/>
                </a:cubicBezTo>
                <a:cubicBezTo>
                  <a:pt x="423" y="808"/>
                  <a:pt x="431" y="846"/>
                  <a:pt x="435" y="881"/>
                </a:cubicBezTo>
                <a:cubicBezTo>
                  <a:pt x="440" y="917"/>
                  <a:pt x="441" y="951"/>
                  <a:pt x="442" y="982"/>
                </a:cubicBezTo>
                <a:cubicBezTo>
                  <a:pt x="442" y="1012"/>
                  <a:pt x="441" y="1040"/>
                  <a:pt x="440" y="1065"/>
                </a:cubicBezTo>
                <a:cubicBezTo>
                  <a:pt x="439" y="1090"/>
                  <a:pt x="437" y="1111"/>
                  <a:pt x="436" y="1128"/>
                </a:cubicBezTo>
                <a:cubicBezTo>
                  <a:pt x="433" y="1163"/>
                  <a:pt x="432" y="1183"/>
                  <a:pt x="432" y="1183"/>
                </a:cubicBezTo>
                <a:lnTo>
                  <a:pt x="343" y="1184"/>
                </a:ln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16" name="Freeform 160">
            <a:extLst>
              <a:ext uri="{FF2B5EF4-FFF2-40B4-BE49-F238E27FC236}">
                <a16:creationId xmlns:a16="http://schemas.microsoft.com/office/drawing/2014/main" id="{755CC23F-F8D1-4B3E-A3F9-FD1136DEFE04}"/>
              </a:ext>
            </a:extLst>
          </p:cNvPr>
          <p:cNvSpPr>
            <a:spLocks/>
          </p:cNvSpPr>
          <p:nvPr/>
        </p:nvSpPr>
        <p:spPr bwMode="auto">
          <a:xfrm>
            <a:off x="3040659" y="3521588"/>
            <a:ext cx="598693" cy="454949"/>
          </a:xfrm>
          <a:custGeom>
            <a:avLst/>
            <a:gdLst>
              <a:gd name="T0" fmla="*/ 5 w 915"/>
              <a:gd name="T1" fmla="*/ 652 h 695"/>
              <a:gd name="T2" fmla="*/ 21 w 915"/>
              <a:gd name="T3" fmla="*/ 618 h 695"/>
              <a:gd name="T4" fmla="*/ 82 w 915"/>
              <a:gd name="T5" fmla="*/ 552 h 695"/>
              <a:gd name="T6" fmla="*/ 185 w 915"/>
              <a:gd name="T7" fmla="*/ 503 h 695"/>
              <a:gd name="T8" fmla="*/ 201 w 915"/>
              <a:gd name="T9" fmla="*/ 499 h 695"/>
              <a:gd name="T10" fmla="*/ 209 w 915"/>
              <a:gd name="T11" fmla="*/ 497 h 695"/>
              <a:gd name="T12" fmla="*/ 260 w 915"/>
              <a:gd name="T13" fmla="*/ 489 h 695"/>
              <a:gd name="T14" fmla="*/ 412 w 915"/>
              <a:gd name="T15" fmla="*/ 477 h 695"/>
              <a:gd name="T16" fmla="*/ 422 w 915"/>
              <a:gd name="T17" fmla="*/ 476 h 695"/>
              <a:gd name="T18" fmla="*/ 422 w 915"/>
              <a:gd name="T19" fmla="*/ 476 h 695"/>
              <a:gd name="T20" fmla="*/ 424 w 915"/>
              <a:gd name="T21" fmla="*/ 476 h 695"/>
              <a:gd name="T22" fmla="*/ 444 w 915"/>
              <a:gd name="T23" fmla="*/ 473 h 695"/>
              <a:gd name="T24" fmla="*/ 462 w 915"/>
              <a:gd name="T25" fmla="*/ 469 h 695"/>
              <a:gd name="T26" fmla="*/ 650 w 915"/>
              <a:gd name="T27" fmla="*/ 386 h 695"/>
              <a:gd name="T28" fmla="*/ 726 w 915"/>
              <a:gd name="T29" fmla="*/ 320 h 695"/>
              <a:gd name="T30" fmla="*/ 726 w 915"/>
              <a:gd name="T31" fmla="*/ 320 h 695"/>
              <a:gd name="T32" fmla="*/ 730 w 915"/>
              <a:gd name="T33" fmla="*/ 316 h 695"/>
              <a:gd name="T34" fmla="*/ 743 w 915"/>
              <a:gd name="T35" fmla="*/ 302 h 695"/>
              <a:gd name="T36" fmla="*/ 784 w 915"/>
              <a:gd name="T37" fmla="*/ 246 h 695"/>
              <a:gd name="T38" fmla="*/ 849 w 915"/>
              <a:gd name="T39" fmla="*/ 103 h 695"/>
              <a:gd name="T40" fmla="*/ 867 w 915"/>
              <a:gd name="T41" fmla="*/ 12 h 695"/>
              <a:gd name="T42" fmla="*/ 915 w 915"/>
              <a:gd name="T43" fmla="*/ 2 h 695"/>
              <a:gd name="T44" fmla="*/ 911 w 915"/>
              <a:gd name="T45" fmla="*/ 55 h 695"/>
              <a:gd name="T46" fmla="*/ 877 w 915"/>
              <a:gd name="T47" fmla="*/ 192 h 695"/>
              <a:gd name="T48" fmla="*/ 808 w 915"/>
              <a:gd name="T49" fmla="*/ 321 h 695"/>
              <a:gd name="T50" fmla="*/ 783 w 915"/>
              <a:gd name="T51" fmla="*/ 353 h 695"/>
              <a:gd name="T52" fmla="*/ 777 w 915"/>
              <a:gd name="T53" fmla="*/ 361 h 695"/>
              <a:gd name="T54" fmla="*/ 774 w 915"/>
              <a:gd name="T55" fmla="*/ 364 h 695"/>
              <a:gd name="T56" fmla="*/ 592 w 915"/>
              <a:gd name="T57" fmla="*/ 505 h 695"/>
              <a:gd name="T58" fmla="*/ 467 w 915"/>
              <a:gd name="T59" fmla="*/ 552 h 695"/>
              <a:gd name="T60" fmla="*/ 453 w 915"/>
              <a:gd name="T61" fmla="*/ 555 h 695"/>
              <a:gd name="T62" fmla="*/ 435 w 915"/>
              <a:gd name="T63" fmla="*/ 559 h 695"/>
              <a:gd name="T64" fmla="*/ 424 w 915"/>
              <a:gd name="T65" fmla="*/ 560 h 695"/>
              <a:gd name="T66" fmla="*/ 272 w 915"/>
              <a:gd name="T67" fmla="*/ 580 h 695"/>
              <a:gd name="T68" fmla="*/ 231 w 915"/>
              <a:gd name="T69" fmla="*/ 588 h 695"/>
              <a:gd name="T70" fmla="*/ 223 w 915"/>
              <a:gd name="T71" fmla="*/ 590 h 695"/>
              <a:gd name="T72" fmla="*/ 222 w 915"/>
              <a:gd name="T73" fmla="*/ 590 h 695"/>
              <a:gd name="T74" fmla="*/ 221 w 915"/>
              <a:gd name="T75" fmla="*/ 591 h 695"/>
              <a:gd name="T76" fmla="*/ 195 w 915"/>
              <a:gd name="T77" fmla="*/ 600 h 695"/>
              <a:gd name="T78" fmla="*/ 102 w 915"/>
              <a:gd name="T79" fmla="*/ 689 h 695"/>
              <a:gd name="T80" fmla="*/ 89 w 915"/>
              <a:gd name="T81" fmla="*/ 692 h 695"/>
              <a:gd name="T82" fmla="*/ 1 w 915"/>
              <a:gd name="T83" fmla="*/ 665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915" h="695">
                <a:moveTo>
                  <a:pt x="0" y="665"/>
                </a:moveTo>
                <a:cubicBezTo>
                  <a:pt x="0" y="665"/>
                  <a:pt x="2" y="660"/>
                  <a:pt x="5" y="652"/>
                </a:cubicBezTo>
                <a:cubicBezTo>
                  <a:pt x="7" y="646"/>
                  <a:pt x="10" y="638"/>
                  <a:pt x="14" y="630"/>
                </a:cubicBezTo>
                <a:cubicBezTo>
                  <a:pt x="16" y="626"/>
                  <a:pt x="19" y="622"/>
                  <a:pt x="21" y="618"/>
                </a:cubicBezTo>
                <a:cubicBezTo>
                  <a:pt x="23" y="614"/>
                  <a:pt x="26" y="610"/>
                  <a:pt x="29" y="605"/>
                </a:cubicBezTo>
                <a:cubicBezTo>
                  <a:pt x="42" y="588"/>
                  <a:pt x="59" y="569"/>
                  <a:pt x="82" y="552"/>
                </a:cubicBezTo>
                <a:cubicBezTo>
                  <a:pt x="104" y="536"/>
                  <a:pt x="131" y="521"/>
                  <a:pt x="161" y="510"/>
                </a:cubicBezTo>
                <a:cubicBezTo>
                  <a:pt x="169" y="507"/>
                  <a:pt x="177" y="505"/>
                  <a:pt x="185" y="503"/>
                </a:cubicBezTo>
                <a:cubicBezTo>
                  <a:pt x="189" y="502"/>
                  <a:pt x="193" y="501"/>
                  <a:pt x="197" y="500"/>
                </a:cubicBezTo>
                <a:cubicBezTo>
                  <a:pt x="201" y="499"/>
                  <a:pt x="201" y="499"/>
                  <a:pt x="201" y="499"/>
                </a:cubicBezTo>
                <a:cubicBezTo>
                  <a:pt x="204" y="498"/>
                  <a:pt x="204" y="498"/>
                  <a:pt x="204" y="498"/>
                </a:cubicBezTo>
                <a:cubicBezTo>
                  <a:pt x="209" y="497"/>
                  <a:pt x="209" y="497"/>
                  <a:pt x="209" y="497"/>
                </a:cubicBezTo>
                <a:cubicBezTo>
                  <a:pt x="216" y="495"/>
                  <a:pt x="226" y="494"/>
                  <a:pt x="234" y="492"/>
                </a:cubicBezTo>
                <a:cubicBezTo>
                  <a:pt x="243" y="491"/>
                  <a:pt x="251" y="490"/>
                  <a:pt x="260" y="489"/>
                </a:cubicBezTo>
                <a:cubicBezTo>
                  <a:pt x="293" y="485"/>
                  <a:pt x="328" y="484"/>
                  <a:pt x="362" y="482"/>
                </a:cubicBezTo>
                <a:cubicBezTo>
                  <a:pt x="379" y="481"/>
                  <a:pt x="396" y="479"/>
                  <a:pt x="412" y="477"/>
                </a:cubicBezTo>
                <a:cubicBezTo>
                  <a:pt x="419" y="477"/>
                  <a:pt x="419" y="477"/>
                  <a:pt x="419" y="477"/>
                </a:cubicBezTo>
                <a:cubicBezTo>
                  <a:pt x="422" y="476"/>
                  <a:pt x="422" y="476"/>
                  <a:pt x="422" y="476"/>
                </a:cubicBezTo>
                <a:cubicBezTo>
                  <a:pt x="423" y="476"/>
                  <a:pt x="421" y="476"/>
                  <a:pt x="421" y="476"/>
                </a:cubicBezTo>
                <a:cubicBezTo>
                  <a:pt x="422" y="476"/>
                  <a:pt x="422" y="476"/>
                  <a:pt x="422" y="476"/>
                </a:cubicBezTo>
                <a:cubicBezTo>
                  <a:pt x="422" y="476"/>
                  <a:pt x="422" y="476"/>
                  <a:pt x="422" y="476"/>
                </a:cubicBezTo>
                <a:cubicBezTo>
                  <a:pt x="424" y="476"/>
                  <a:pt x="424" y="476"/>
                  <a:pt x="424" y="476"/>
                </a:cubicBezTo>
                <a:cubicBezTo>
                  <a:pt x="437" y="474"/>
                  <a:pt x="437" y="474"/>
                  <a:pt x="437" y="474"/>
                </a:cubicBezTo>
                <a:cubicBezTo>
                  <a:pt x="444" y="473"/>
                  <a:pt x="444" y="473"/>
                  <a:pt x="444" y="473"/>
                </a:cubicBezTo>
                <a:cubicBezTo>
                  <a:pt x="450" y="471"/>
                  <a:pt x="450" y="471"/>
                  <a:pt x="450" y="471"/>
                </a:cubicBezTo>
                <a:cubicBezTo>
                  <a:pt x="462" y="469"/>
                  <a:pt x="462" y="469"/>
                  <a:pt x="462" y="469"/>
                </a:cubicBezTo>
                <a:cubicBezTo>
                  <a:pt x="495" y="462"/>
                  <a:pt x="528" y="451"/>
                  <a:pt x="560" y="437"/>
                </a:cubicBezTo>
                <a:cubicBezTo>
                  <a:pt x="591" y="423"/>
                  <a:pt x="622" y="406"/>
                  <a:pt x="650" y="386"/>
                </a:cubicBezTo>
                <a:cubicBezTo>
                  <a:pt x="678" y="366"/>
                  <a:pt x="703" y="344"/>
                  <a:pt x="726" y="320"/>
                </a:cubicBezTo>
                <a:cubicBezTo>
                  <a:pt x="726" y="320"/>
                  <a:pt x="726" y="320"/>
                  <a:pt x="726" y="320"/>
                </a:cubicBezTo>
                <a:cubicBezTo>
                  <a:pt x="727" y="319"/>
                  <a:pt x="727" y="319"/>
                  <a:pt x="727" y="319"/>
                </a:cubicBezTo>
                <a:cubicBezTo>
                  <a:pt x="727" y="319"/>
                  <a:pt x="726" y="320"/>
                  <a:pt x="726" y="320"/>
                </a:cubicBezTo>
                <a:cubicBezTo>
                  <a:pt x="728" y="318"/>
                  <a:pt x="728" y="318"/>
                  <a:pt x="728" y="318"/>
                </a:cubicBezTo>
                <a:cubicBezTo>
                  <a:pt x="730" y="316"/>
                  <a:pt x="730" y="316"/>
                  <a:pt x="730" y="316"/>
                </a:cubicBezTo>
                <a:cubicBezTo>
                  <a:pt x="734" y="311"/>
                  <a:pt x="734" y="311"/>
                  <a:pt x="734" y="311"/>
                </a:cubicBezTo>
                <a:cubicBezTo>
                  <a:pt x="743" y="302"/>
                  <a:pt x="743" y="302"/>
                  <a:pt x="743" y="302"/>
                </a:cubicBezTo>
                <a:cubicBezTo>
                  <a:pt x="748" y="295"/>
                  <a:pt x="753" y="290"/>
                  <a:pt x="757" y="284"/>
                </a:cubicBezTo>
                <a:cubicBezTo>
                  <a:pt x="767" y="271"/>
                  <a:pt x="776" y="258"/>
                  <a:pt x="784" y="246"/>
                </a:cubicBezTo>
                <a:cubicBezTo>
                  <a:pt x="801" y="220"/>
                  <a:pt x="814" y="195"/>
                  <a:pt x="825" y="171"/>
                </a:cubicBezTo>
                <a:cubicBezTo>
                  <a:pt x="835" y="146"/>
                  <a:pt x="843" y="123"/>
                  <a:pt x="849" y="103"/>
                </a:cubicBezTo>
                <a:cubicBezTo>
                  <a:pt x="855" y="82"/>
                  <a:pt x="859" y="63"/>
                  <a:pt x="862" y="48"/>
                </a:cubicBezTo>
                <a:cubicBezTo>
                  <a:pt x="864" y="33"/>
                  <a:pt x="866" y="21"/>
                  <a:pt x="867" y="12"/>
                </a:cubicBezTo>
                <a:cubicBezTo>
                  <a:pt x="867" y="4"/>
                  <a:pt x="868" y="0"/>
                  <a:pt x="868" y="0"/>
                </a:cubicBezTo>
                <a:cubicBezTo>
                  <a:pt x="915" y="2"/>
                  <a:pt x="915" y="2"/>
                  <a:pt x="915" y="2"/>
                </a:cubicBezTo>
                <a:cubicBezTo>
                  <a:pt x="915" y="2"/>
                  <a:pt x="914" y="7"/>
                  <a:pt x="914" y="16"/>
                </a:cubicBezTo>
                <a:cubicBezTo>
                  <a:pt x="914" y="25"/>
                  <a:pt x="913" y="38"/>
                  <a:pt x="911" y="55"/>
                </a:cubicBezTo>
                <a:cubicBezTo>
                  <a:pt x="908" y="72"/>
                  <a:pt x="905" y="93"/>
                  <a:pt x="900" y="116"/>
                </a:cubicBezTo>
                <a:cubicBezTo>
                  <a:pt x="894" y="139"/>
                  <a:pt x="887" y="165"/>
                  <a:pt x="877" y="192"/>
                </a:cubicBezTo>
                <a:cubicBezTo>
                  <a:pt x="866" y="219"/>
                  <a:pt x="853" y="248"/>
                  <a:pt x="836" y="277"/>
                </a:cubicBezTo>
                <a:cubicBezTo>
                  <a:pt x="827" y="292"/>
                  <a:pt x="818" y="306"/>
                  <a:pt x="808" y="321"/>
                </a:cubicBezTo>
                <a:cubicBezTo>
                  <a:pt x="803" y="328"/>
                  <a:pt x="797" y="336"/>
                  <a:pt x="791" y="343"/>
                </a:cubicBezTo>
                <a:cubicBezTo>
                  <a:pt x="789" y="346"/>
                  <a:pt x="786" y="350"/>
                  <a:pt x="783" y="353"/>
                </a:cubicBezTo>
                <a:cubicBezTo>
                  <a:pt x="779" y="358"/>
                  <a:pt x="779" y="358"/>
                  <a:pt x="779" y="358"/>
                </a:cubicBezTo>
                <a:cubicBezTo>
                  <a:pt x="777" y="361"/>
                  <a:pt x="777" y="361"/>
                  <a:pt x="777" y="361"/>
                </a:cubicBezTo>
                <a:cubicBezTo>
                  <a:pt x="776" y="362"/>
                  <a:pt x="776" y="362"/>
                  <a:pt x="776" y="362"/>
                </a:cubicBezTo>
                <a:cubicBezTo>
                  <a:pt x="774" y="364"/>
                  <a:pt x="774" y="364"/>
                  <a:pt x="774" y="364"/>
                </a:cubicBezTo>
                <a:cubicBezTo>
                  <a:pt x="750" y="392"/>
                  <a:pt x="722" y="418"/>
                  <a:pt x="692" y="442"/>
                </a:cubicBezTo>
                <a:cubicBezTo>
                  <a:pt x="661" y="466"/>
                  <a:pt x="628" y="488"/>
                  <a:pt x="592" y="505"/>
                </a:cubicBezTo>
                <a:cubicBezTo>
                  <a:pt x="557" y="523"/>
                  <a:pt x="520" y="538"/>
                  <a:pt x="481" y="548"/>
                </a:cubicBezTo>
                <a:cubicBezTo>
                  <a:pt x="467" y="552"/>
                  <a:pt x="467" y="552"/>
                  <a:pt x="467" y="552"/>
                </a:cubicBezTo>
                <a:cubicBezTo>
                  <a:pt x="459" y="554"/>
                  <a:pt x="459" y="554"/>
                  <a:pt x="459" y="554"/>
                </a:cubicBezTo>
                <a:cubicBezTo>
                  <a:pt x="453" y="555"/>
                  <a:pt x="453" y="555"/>
                  <a:pt x="453" y="555"/>
                </a:cubicBezTo>
                <a:cubicBezTo>
                  <a:pt x="439" y="558"/>
                  <a:pt x="439" y="558"/>
                  <a:pt x="439" y="558"/>
                </a:cubicBezTo>
                <a:cubicBezTo>
                  <a:pt x="435" y="559"/>
                  <a:pt x="435" y="559"/>
                  <a:pt x="435" y="559"/>
                </a:cubicBezTo>
                <a:cubicBezTo>
                  <a:pt x="432" y="559"/>
                  <a:pt x="432" y="559"/>
                  <a:pt x="432" y="559"/>
                </a:cubicBezTo>
                <a:cubicBezTo>
                  <a:pt x="424" y="560"/>
                  <a:pt x="424" y="560"/>
                  <a:pt x="424" y="560"/>
                </a:cubicBezTo>
                <a:cubicBezTo>
                  <a:pt x="406" y="564"/>
                  <a:pt x="387" y="566"/>
                  <a:pt x="369" y="568"/>
                </a:cubicBezTo>
                <a:cubicBezTo>
                  <a:pt x="334" y="572"/>
                  <a:pt x="301" y="575"/>
                  <a:pt x="272" y="580"/>
                </a:cubicBezTo>
                <a:cubicBezTo>
                  <a:pt x="265" y="581"/>
                  <a:pt x="257" y="582"/>
                  <a:pt x="251" y="584"/>
                </a:cubicBezTo>
                <a:cubicBezTo>
                  <a:pt x="243" y="585"/>
                  <a:pt x="238" y="586"/>
                  <a:pt x="231" y="588"/>
                </a:cubicBezTo>
                <a:cubicBezTo>
                  <a:pt x="225" y="590"/>
                  <a:pt x="225" y="590"/>
                  <a:pt x="225" y="590"/>
                </a:cubicBezTo>
                <a:cubicBezTo>
                  <a:pt x="223" y="590"/>
                  <a:pt x="223" y="590"/>
                  <a:pt x="223" y="590"/>
                </a:cubicBezTo>
                <a:cubicBezTo>
                  <a:pt x="222" y="590"/>
                  <a:pt x="222" y="590"/>
                  <a:pt x="222" y="590"/>
                </a:cubicBezTo>
                <a:cubicBezTo>
                  <a:pt x="222" y="590"/>
                  <a:pt x="222" y="590"/>
                  <a:pt x="222" y="590"/>
                </a:cubicBezTo>
                <a:cubicBezTo>
                  <a:pt x="221" y="591"/>
                  <a:pt x="222" y="590"/>
                  <a:pt x="222" y="590"/>
                </a:cubicBezTo>
                <a:cubicBezTo>
                  <a:pt x="221" y="591"/>
                  <a:pt x="221" y="591"/>
                  <a:pt x="221" y="591"/>
                </a:cubicBezTo>
                <a:cubicBezTo>
                  <a:pt x="218" y="592"/>
                  <a:pt x="215" y="593"/>
                  <a:pt x="212" y="594"/>
                </a:cubicBezTo>
                <a:cubicBezTo>
                  <a:pt x="206" y="596"/>
                  <a:pt x="201" y="597"/>
                  <a:pt x="195" y="600"/>
                </a:cubicBezTo>
                <a:cubicBezTo>
                  <a:pt x="159" y="615"/>
                  <a:pt x="125" y="638"/>
                  <a:pt x="108" y="674"/>
                </a:cubicBezTo>
                <a:cubicBezTo>
                  <a:pt x="106" y="679"/>
                  <a:pt x="104" y="684"/>
                  <a:pt x="102" y="689"/>
                </a:cubicBezTo>
                <a:cubicBezTo>
                  <a:pt x="101" y="693"/>
                  <a:pt x="102" y="695"/>
                  <a:pt x="98" y="695"/>
                </a:cubicBezTo>
                <a:cubicBezTo>
                  <a:pt x="96" y="695"/>
                  <a:pt x="92" y="693"/>
                  <a:pt x="89" y="692"/>
                </a:cubicBezTo>
                <a:cubicBezTo>
                  <a:pt x="78" y="689"/>
                  <a:pt x="68" y="685"/>
                  <a:pt x="57" y="682"/>
                </a:cubicBezTo>
                <a:cubicBezTo>
                  <a:pt x="38" y="676"/>
                  <a:pt x="20" y="671"/>
                  <a:pt x="1" y="665"/>
                </a:cubicBezTo>
                <a:lnTo>
                  <a:pt x="0" y="665"/>
                </a:lnTo>
                <a:close/>
              </a:path>
            </a:pathLst>
          </a:custGeom>
          <a:solidFill>
            <a:srgbClr val="21C4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17" name="Freeform 161">
            <a:extLst>
              <a:ext uri="{FF2B5EF4-FFF2-40B4-BE49-F238E27FC236}">
                <a16:creationId xmlns:a16="http://schemas.microsoft.com/office/drawing/2014/main" id="{FCBCA0C3-222C-4CD6-A07F-44FFEA7CDB76}"/>
              </a:ext>
            </a:extLst>
          </p:cNvPr>
          <p:cNvSpPr>
            <a:spLocks/>
          </p:cNvSpPr>
          <p:nvPr/>
        </p:nvSpPr>
        <p:spPr bwMode="auto">
          <a:xfrm>
            <a:off x="2513597" y="2753984"/>
            <a:ext cx="521255" cy="521255"/>
          </a:xfrm>
          <a:custGeom>
            <a:avLst/>
            <a:gdLst>
              <a:gd name="T0" fmla="*/ 270 w 797"/>
              <a:gd name="T1" fmla="*/ 71 h 797"/>
              <a:gd name="T2" fmla="*/ 726 w 797"/>
              <a:gd name="T3" fmla="*/ 270 h 797"/>
              <a:gd name="T4" fmla="*/ 528 w 797"/>
              <a:gd name="T5" fmla="*/ 726 h 797"/>
              <a:gd name="T6" fmla="*/ 71 w 797"/>
              <a:gd name="T7" fmla="*/ 528 h 797"/>
              <a:gd name="T8" fmla="*/ 270 w 797"/>
              <a:gd name="T9" fmla="*/ 71 h 7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97" h="797">
                <a:moveTo>
                  <a:pt x="270" y="71"/>
                </a:moveTo>
                <a:cubicBezTo>
                  <a:pt x="451" y="0"/>
                  <a:pt x="655" y="89"/>
                  <a:pt x="726" y="270"/>
                </a:cubicBezTo>
                <a:cubicBezTo>
                  <a:pt x="797" y="451"/>
                  <a:pt x="709" y="655"/>
                  <a:pt x="528" y="726"/>
                </a:cubicBezTo>
                <a:cubicBezTo>
                  <a:pt x="347" y="797"/>
                  <a:pt x="143" y="708"/>
                  <a:pt x="71" y="528"/>
                </a:cubicBezTo>
                <a:cubicBezTo>
                  <a:pt x="0" y="347"/>
                  <a:pt x="89" y="142"/>
                  <a:pt x="270" y="71"/>
                </a:cubicBezTo>
                <a:close/>
              </a:path>
            </a:pathLst>
          </a:custGeom>
          <a:solidFill>
            <a:srgbClr val="FFE3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18" name="Freeform 162">
            <a:extLst>
              <a:ext uri="{FF2B5EF4-FFF2-40B4-BE49-F238E27FC236}">
                <a16:creationId xmlns:a16="http://schemas.microsoft.com/office/drawing/2014/main" id="{68989C7E-ABD2-4431-A934-3C767E895A5D}"/>
              </a:ext>
            </a:extLst>
          </p:cNvPr>
          <p:cNvSpPr>
            <a:spLocks/>
          </p:cNvSpPr>
          <p:nvPr/>
        </p:nvSpPr>
        <p:spPr bwMode="auto">
          <a:xfrm>
            <a:off x="2530052" y="2769955"/>
            <a:ext cx="489312" cy="488828"/>
          </a:xfrm>
          <a:custGeom>
            <a:avLst/>
            <a:gdLst>
              <a:gd name="T0" fmla="*/ 253 w 748"/>
              <a:gd name="T1" fmla="*/ 67 h 747"/>
              <a:gd name="T2" fmla="*/ 681 w 748"/>
              <a:gd name="T3" fmla="*/ 253 h 747"/>
              <a:gd name="T4" fmla="*/ 495 w 748"/>
              <a:gd name="T5" fmla="*/ 681 h 747"/>
              <a:gd name="T6" fmla="*/ 67 w 748"/>
              <a:gd name="T7" fmla="*/ 494 h 747"/>
              <a:gd name="T8" fmla="*/ 253 w 748"/>
              <a:gd name="T9" fmla="*/ 67 h 7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8" h="747">
                <a:moveTo>
                  <a:pt x="253" y="67"/>
                </a:moveTo>
                <a:cubicBezTo>
                  <a:pt x="423" y="0"/>
                  <a:pt x="614" y="83"/>
                  <a:pt x="681" y="253"/>
                </a:cubicBezTo>
                <a:cubicBezTo>
                  <a:pt x="748" y="422"/>
                  <a:pt x="664" y="614"/>
                  <a:pt x="495" y="681"/>
                </a:cubicBezTo>
                <a:cubicBezTo>
                  <a:pt x="325" y="747"/>
                  <a:pt x="134" y="664"/>
                  <a:pt x="67" y="494"/>
                </a:cubicBezTo>
                <a:cubicBezTo>
                  <a:pt x="0" y="325"/>
                  <a:pt x="83" y="133"/>
                  <a:pt x="253" y="67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19" name="Freeform 163">
            <a:extLst>
              <a:ext uri="{FF2B5EF4-FFF2-40B4-BE49-F238E27FC236}">
                <a16:creationId xmlns:a16="http://schemas.microsoft.com/office/drawing/2014/main" id="{D9CFB8A5-2EFE-499B-B475-50F737F16DC3}"/>
              </a:ext>
            </a:extLst>
          </p:cNvPr>
          <p:cNvSpPr>
            <a:spLocks/>
          </p:cNvSpPr>
          <p:nvPr/>
        </p:nvSpPr>
        <p:spPr bwMode="auto">
          <a:xfrm>
            <a:off x="2590067" y="2830454"/>
            <a:ext cx="369283" cy="368799"/>
          </a:xfrm>
          <a:custGeom>
            <a:avLst/>
            <a:gdLst>
              <a:gd name="T0" fmla="*/ 191 w 564"/>
              <a:gd name="T1" fmla="*/ 50 h 564"/>
              <a:gd name="T2" fmla="*/ 513 w 564"/>
              <a:gd name="T3" fmla="*/ 190 h 564"/>
              <a:gd name="T4" fmla="*/ 373 w 564"/>
              <a:gd name="T5" fmla="*/ 513 h 564"/>
              <a:gd name="T6" fmla="*/ 50 w 564"/>
              <a:gd name="T7" fmla="*/ 373 h 564"/>
              <a:gd name="T8" fmla="*/ 191 w 564"/>
              <a:gd name="T9" fmla="*/ 50 h 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4" h="564">
                <a:moveTo>
                  <a:pt x="191" y="50"/>
                </a:moveTo>
                <a:cubicBezTo>
                  <a:pt x="319" y="0"/>
                  <a:pt x="463" y="63"/>
                  <a:pt x="513" y="190"/>
                </a:cubicBezTo>
                <a:cubicBezTo>
                  <a:pt x="564" y="318"/>
                  <a:pt x="501" y="463"/>
                  <a:pt x="373" y="513"/>
                </a:cubicBezTo>
                <a:cubicBezTo>
                  <a:pt x="245" y="564"/>
                  <a:pt x="101" y="501"/>
                  <a:pt x="50" y="373"/>
                </a:cubicBezTo>
                <a:cubicBezTo>
                  <a:pt x="0" y="245"/>
                  <a:pt x="63" y="100"/>
                  <a:pt x="191" y="50"/>
                </a:cubicBezTo>
                <a:close/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20" name="Freeform 164">
            <a:extLst>
              <a:ext uri="{FF2B5EF4-FFF2-40B4-BE49-F238E27FC236}">
                <a16:creationId xmlns:a16="http://schemas.microsoft.com/office/drawing/2014/main" id="{673D6F97-CDFC-428D-A089-960C994A083F}"/>
              </a:ext>
            </a:extLst>
          </p:cNvPr>
          <p:cNvSpPr>
            <a:spLocks/>
          </p:cNvSpPr>
          <p:nvPr/>
        </p:nvSpPr>
        <p:spPr bwMode="auto">
          <a:xfrm>
            <a:off x="2695092" y="2897244"/>
            <a:ext cx="161168" cy="241994"/>
          </a:xfrm>
          <a:custGeom>
            <a:avLst/>
            <a:gdLst>
              <a:gd name="T0" fmla="*/ 233 w 247"/>
              <a:gd name="T1" fmla="*/ 197 h 370"/>
              <a:gd name="T2" fmla="*/ 133 w 247"/>
              <a:gd name="T3" fmla="*/ 147 h 370"/>
              <a:gd name="T4" fmla="*/ 77 w 247"/>
              <a:gd name="T5" fmla="*/ 135 h 370"/>
              <a:gd name="T6" fmla="*/ 97 w 247"/>
              <a:gd name="T7" fmla="*/ 104 h 370"/>
              <a:gd name="T8" fmla="*/ 156 w 247"/>
              <a:gd name="T9" fmla="*/ 103 h 370"/>
              <a:gd name="T10" fmla="*/ 171 w 247"/>
              <a:gd name="T11" fmla="*/ 59 h 370"/>
              <a:gd name="T12" fmla="*/ 100 w 247"/>
              <a:gd name="T13" fmla="*/ 53 h 370"/>
              <a:gd name="T14" fmla="*/ 79 w 247"/>
              <a:gd name="T15" fmla="*/ 0 h 370"/>
              <a:gd name="T16" fmla="*/ 35 w 247"/>
              <a:gd name="T17" fmla="*/ 17 h 370"/>
              <a:gd name="T18" fmla="*/ 55 w 247"/>
              <a:gd name="T19" fmla="*/ 70 h 370"/>
              <a:gd name="T20" fmla="*/ 15 w 247"/>
              <a:gd name="T21" fmla="*/ 165 h 370"/>
              <a:gd name="T22" fmla="*/ 116 w 247"/>
              <a:gd name="T23" fmla="*/ 211 h 370"/>
              <a:gd name="T24" fmla="*/ 169 w 247"/>
              <a:gd name="T25" fmla="*/ 228 h 370"/>
              <a:gd name="T26" fmla="*/ 146 w 247"/>
              <a:gd name="T27" fmla="*/ 266 h 370"/>
              <a:gd name="T28" fmla="*/ 79 w 247"/>
              <a:gd name="T29" fmla="*/ 266 h 370"/>
              <a:gd name="T30" fmla="*/ 61 w 247"/>
              <a:gd name="T31" fmla="*/ 312 h 370"/>
              <a:gd name="T32" fmla="*/ 152 w 247"/>
              <a:gd name="T33" fmla="*/ 315 h 370"/>
              <a:gd name="T34" fmla="*/ 174 w 247"/>
              <a:gd name="T35" fmla="*/ 370 h 370"/>
              <a:gd name="T36" fmla="*/ 218 w 247"/>
              <a:gd name="T37" fmla="*/ 353 h 370"/>
              <a:gd name="T38" fmla="*/ 195 w 247"/>
              <a:gd name="T39" fmla="*/ 296 h 370"/>
              <a:gd name="T40" fmla="*/ 233 w 247"/>
              <a:gd name="T41" fmla="*/ 197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47" h="370">
                <a:moveTo>
                  <a:pt x="233" y="197"/>
                </a:moveTo>
                <a:cubicBezTo>
                  <a:pt x="216" y="154"/>
                  <a:pt x="184" y="144"/>
                  <a:pt x="133" y="147"/>
                </a:cubicBezTo>
                <a:cubicBezTo>
                  <a:pt x="93" y="150"/>
                  <a:pt x="82" y="148"/>
                  <a:pt x="77" y="135"/>
                </a:cubicBezTo>
                <a:cubicBezTo>
                  <a:pt x="72" y="122"/>
                  <a:pt x="79" y="111"/>
                  <a:pt x="97" y="104"/>
                </a:cubicBezTo>
                <a:cubicBezTo>
                  <a:pt x="116" y="96"/>
                  <a:pt x="135" y="96"/>
                  <a:pt x="156" y="103"/>
                </a:cubicBezTo>
                <a:cubicBezTo>
                  <a:pt x="171" y="59"/>
                  <a:pt x="171" y="59"/>
                  <a:pt x="171" y="59"/>
                </a:cubicBezTo>
                <a:cubicBezTo>
                  <a:pt x="149" y="49"/>
                  <a:pt x="126" y="47"/>
                  <a:pt x="100" y="53"/>
                </a:cubicBezTo>
                <a:cubicBezTo>
                  <a:pt x="79" y="0"/>
                  <a:pt x="79" y="0"/>
                  <a:pt x="79" y="0"/>
                </a:cubicBezTo>
                <a:cubicBezTo>
                  <a:pt x="35" y="17"/>
                  <a:pt x="35" y="17"/>
                  <a:pt x="35" y="17"/>
                </a:cubicBezTo>
                <a:cubicBezTo>
                  <a:pt x="55" y="70"/>
                  <a:pt x="55" y="70"/>
                  <a:pt x="55" y="70"/>
                </a:cubicBezTo>
                <a:cubicBezTo>
                  <a:pt x="18" y="92"/>
                  <a:pt x="0" y="128"/>
                  <a:pt x="15" y="165"/>
                </a:cubicBezTo>
                <a:cubicBezTo>
                  <a:pt x="28" y="199"/>
                  <a:pt x="55" y="216"/>
                  <a:pt x="116" y="211"/>
                </a:cubicBezTo>
                <a:cubicBezTo>
                  <a:pt x="152" y="208"/>
                  <a:pt x="163" y="212"/>
                  <a:pt x="169" y="228"/>
                </a:cubicBezTo>
                <a:cubicBezTo>
                  <a:pt x="175" y="243"/>
                  <a:pt x="168" y="257"/>
                  <a:pt x="146" y="266"/>
                </a:cubicBezTo>
                <a:cubicBezTo>
                  <a:pt x="124" y="274"/>
                  <a:pt x="101" y="274"/>
                  <a:pt x="79" y="266"/>
                </a:cubicBezTo>
                <a:cubicBezTo>
                  <a:pt x="61" y="312"/>
                  <a:pt x="61" y="312"/>
                  <a:pt x="61" y="312"/>
                </a:cubicBezTo>
                <a:cubicBezTo>
                  <a:pt x="84" y="322"/>
                  <a:pt x="116" y="326"/>
                  <a:pt x="152" y="315"/>
                </a:cubicBezTo>
                <a:cubicBezTo>
                  <a:pt x="174" y="370"/>
                  <a:pt x="174" y="370"/>
                  <a:pt x="174" y="370"/>
                </a:cubicBezTo>
                <a:cubicBezTo>
                  <a:pt x="218" y="353"/>
                  <a:pt x="218" y="353"/>
                  <a:pt x="218" y="353"/>
                </a:cubicBezTo>
                <a:cubicBezTo>
                  <a:pt x="195" y="296"/>
                  <a:pt x="195" y="296"/>
                  <a:pt x="195" y="296"/>
                </a:cubicBezTo>
                <a:cubicBezTo>
                  <a:pt x="234" y="270"/>
                  <a:pt x="247" y="233"/>
                  <a:pt x="233" y="197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21" name="Freeform 165">
            <a:extLst>
              <a:ext uri="{FF2B5EF4-FFF2-40B4-BE49-F238E27FC236}">
                <a16:creationId xmlns:a16="http://schemas.microsoft.com/office/drawing/2014/main" id="{B7E5F4CF-9F91-4F9E-8FCA-7EF5E7B5200B}"/>
              </a:ext>
            </a:extLst>
          </p:cNvPr>
          <p:cNvSpPr>
            <a:spLocks/>
          </p:cNvSpPr>
          <p:nvPr/>
        </p:nvSpPr>
        <p:spPr bwMode="auto">
          <a:xfrm>
            <a:off x="2311774" y="3345900"/>
            <a:ext cx="359603" cy="359603"/>
          </a:xfrm>
          <a:custGeom>
            <a:avLst/>
            <a:gdLst>
              <a:gd name="T0" fmla="*/ 186 w 550"/>
              <a:gd name="T1" fmla="*/ 49 h 550"/>
              <a:gd name="T2" fmla="*/ 501 w 550"/>
              <a:gd name="T3" fmla="*/ 186 h 550"/>
              <a:gd name="T4" fmla="*/ 364 w 550"/>
              <a:gd name="T5" fmla="*/ 501 h 550"/>
              <a:gd name="T6" fmla="*/ 50 w 550"/>
              <a:gd name="T7" fmla="*/ 364 h 550"/>
              <a:gd name="T8" fmla="*/ 186 w 550"/>
              <a:gd name="T9" fmla="*/ 49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" h="550">
                <a:moveTo>
                  <a:pt x="186" y="49"/>
                </a:moveTo>
                <a:cubicBezTo>
                  <a:pt x="311" y="0"/>
                  <a:pt x="452" y="61"/>
                  <a:pt x="501" y="186"/>
                </a:cubicBezTo>
                <a:cubicBezTo>
                  <a:pt x="550" y="311"/>
                  <a:pt x="489" y="451"/>
                  <a:pt x="364" y="501"/>
                </a:cubicBezTo>
                <a:cubicBezTo>
                  <a:pt x="239" y="550"/>
                  <a:pt x="99" y="488"/>
                  <a:pt x="50" y="364"/>
                </a:cubicBezTo>
                <a:cubicBezTo>
                  <a:pt x="0" y="239"/>
                  <a:pt x="62" y="98"/>
                  <a:pt x="186" y="49"/>
                </a:cubicBezTo>
                <a:close/>
              </a:path>
            </a:pathLst>
          </a:custGeom>
          <a:solidFill>
            <a:srgbClr val="FFE3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22" name="Freeform 166">
            <a:extLst>
              <a:ext uri="{FF2B5EF4-FFF2-40B4-BE49-F238E27FC236}">
                <a16:creationId xmlns:a16="http://schemas.microsoft.com/office/drawing/2014/main" id="{D07F6D87-3E5E-4117-B9E3-39DB097891B7}"/>
              </a:ext>
            </a:extLst>
          </p:cNvPr>
          <p:cNvSpPr>
            <a:spLocks/>
          </p:cNvSpPr>
          <p:nvPr/>
        </p:nvSpPr>
        <p:spPr bwMode="auto">
          <a:xfrm>
            <a:off x="2323390" y="3357032"/>
            <a:ext cx="336855" cy="336855"/>
          </a:xfrm>
          <a:custGeom>
            <a:avLst/>
            <a:gdLst>
              <a:gd name="T0" fmla="*/ 174 w 515"/>
              <a:gd name="T1" fmla="*/ 46 h 515"/>
              <a:gd name="T2" fmla="*/ 469 w 515"/>
              <a:gd name="T3" fmla="*/ 175 h 515"/>
              <a:gd name="T4" fmla="*/ 341 w 515"/>
              <a:gd name="T5" fmla="*/ 469 h 515"/>
              <a:gd name="T6" fmla="*/ 46 w 515"/>
              <a:gd name="T7" fmla="*/ 341 h 515"/>
              <a:gd name="T8" fmla="*/ 174 w 515"/>
              <a:gd name="T9" fmla="*/ 46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515">
                <a:moveTo>
                  <a:pt x="174" y="46"/>
                </a:moveTo>
                <a:cubicBezTo>
                  <a:pt x="291" y="0"/>
                  <a:pt x="423" y="58"/>
                  <a:pt x="469" y="175"/>
                </a:cubicBezTo>
                <a:cubicBezTo>
                  <a:pt x="515" y="291"/>
                  <a:pt x="457" y="423"/>
                  <a:pt x="341" y="469"/>
                </a:cubicBezTo>
                <a:cubicBezTo>
                  <a:pt x="224" y="515"/>
                  <a:pt x="92" y="458"/>
                  <a:pt x="46" y="341"/>
                </a:cubicBezTo>
                <a:cubicBezTo>
                  <a:pt x="0" y="224"/>
                  <a:pt x="57" y="92"/>
                  <a:pt x="174" y="46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23" name="Freeform 167">
            <a:extLst>
              <a:ext uri="{FF2B5EF4-FFF2-40B4-BE49-F238E27FC236}">
                <a16:creationId xmlns:a16="http://schemas.microsoft.com/office/drawing/2014/main" id="{38F8088B-4E21-4CEB-8FC7-F6D4DF44ED5C}"/>
              </a:ext>
            </a:extLst>
          </p:cNvPr>
          <p:cNvSpPr>
            <a:spLocks/>
          </p:cNvSpPr>
          <p:nvPr/>
        </p:nvSpPr>
        <p:spPr bwMode="auto">
          <a:xfrm>
            <a:off x="2364529" y="3398655"/>
            <a:ext cx="254578" cy="254094"/>
          </a:xfrm>
          <a:custGeom>
            <a:avLst/>
            <a:gdLst>
              <a:gd name="T0" fmla="*/ 131 w 389"/>
              <a:gd name="T1" fmla="*/ 34 h 388"/>
              <a:gd name="T2" fmla="*/ 354 w 389"/>
              <a:gd name="T3" fmla="*/ 131 h 388"/>
              <a:gd name="T4" fmla="*/ 257 w 389"/>
              <a:gd name="T5" fmla="*/ 353 h 388"/>
              <a:gd name="T6" fmla="*/ 35 w 389"/>
              <a:gd name="T7" fmla="*/ 257 h 388"/>
              <a:gd name="T8" fmla="*/ 131 w 389"/>
              <a:gd name="T9" fmla="*/ 34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9" h="388">
                <a:moveTo>
                  <a:pt x="131" y="34"/>
                </a:moveTo>
                <a:cubicBezTo>
                  <a:pt x="220" y="0"/>
                  <a:pt x="319" y="43"/>
                  <a:pt x="354" y="131"/>
                </a:cubicBezTo>
                <a:cubicBezTo>
                  <a:pt x="389" y="219"/>
                  <a:pt x="345" y="319"/>
                  <a:pt x="257" y="353"/>
                </a:cubicBezTo>
                <a:cubicBezTo>
                  <a:pt x="169" y="388"/>
                  <a:pt x="69" y="345"/>
                  <a:pt x="35" y="257"/>
                </a:cubicBezTo>
                <a:cubicBezTo>
                  <a:pt x="0" y="169"/>
                  <a:pt x="43" y="69"/>
                  <a:pt x="131" y="34"/>
                </a:cubicBezTo>
                <a:close/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24" name="Freeform 168">
            <a:extLst>
              <a:ext uri="{FF2B5EF4-FFF2-40B4-BE49-F238E27FC236}">
                <a16:creationId xmlns:a16="http://schemas.microsoft.com/office/drawing/2014/main" id="{DCDB0691-C21A-46B2-9310-F899D263C73E}"/>
              </a:ext>
            </a:extLst>
          </p:cNvPr>
          <p:cNvSpPr>
            <a:spLocks/>
          </p:cNvSpPr>
          <p:nvPr/>
        </p:nvSpPr>
        <p:spPr bwMode="auto">
          <a:xfrm>
            <a:off x="2436643" y="3444634"/>
            <a:ext cx="111801" cy="166976"/>
          </a:xfrm>
          <a:custGeom>
            <a:avLst/>
            <a:gdLst>
              <a:gd name="T0" fmla="*/ 161 w 171"/>
              <a:gd name="T1" fmla="*/ 136 h 255"/>
              <a:gd name="T2" fmla="*/ 92 w 171"/>
              <a:gd name="T3" fmla="*/ 102 h 255"/>
              <a:gd name="T4" fmla="*/ 53 w 171"/>
              <a:gd name="T5" fmla="*/ 93 h 255"/>
              <a:gd name="T6" fmla="*/ 67 w 171"/>
              <a:gd name="T7" fmla="*/ 72 h 255"/>
              <a:gd name="T8" fmla="*/ 108 w 171"/>
              <a:gd name="T9" fmla="*/ 71 h 255"/>
              <a:gd name="T10" fmla="*/ 118 w 171"/>
              <a:gd name="T11" fmla="*/ 41 h 255"/>
              <a:gd name="T12" fmla="*/ 69 w 171"/>
              <a:gd name="T13" fmla="*/ 36 h 255"/>
              <a:gd name="T14" fmla="*/ 55 w 171"/>
              <a:gd name="T15" fmla="*/ 0 h 255"/>
              <a:gd name="T16" fmla="*/ 24 w 171"/>
              <a:gd name="T17" fmla="*/ 12 h 255"/>
              <a:gd name="T18" fmla="*/ 38 w 171"/>
              <a:gd name="T19" fmla="*/ 48 h 255"/>
              <a:gd name="T20" fmla="*/ 10 w 171"/>
              <a:gd name="T21" fmla="*/ 114 h 255"/>
              <a:gd name="T22" fmla="*/ 80 w 171"/>
              <a:gd name="T23" fmla="*/ 145 h 255"/>
              <a:gd name="T24" fmla="*/ 117 w 171"/>
              <a:gd name="T25" fmla="*/ 157 h 255"/>
              <a:gd name="T26" fmla="*/ 101 w 171"/>
              <a:gd name="T27" fmla="*/ 183 h 255"/>
              <a:gd name="T28" fmla="*/ 54 w 171"/>
              <a:gd name="T29" fmla="*/ 183 h 255"/>
              <a:gd name="T30" fmla="*/ 42 w 171"/>
              <a:gd name="T31" fmla="*/ 215 h 255"/>
              <a:gd name="T32" fmla="*/ 105 w 171"/>
              <a:gd name="T33" fmla="*/ 217 h 255"/>
              <a:gd name="T34" fmla="*/ 120 w 171"/>
              <a:gd name="T35" fmla="*/ 255 h 255"/>
              <a:gd name="T36" fmla="*/ 150 w 171"/>
              <a:gd name="T37" fmla="*/ 243 h 255"/>
              <a:gd name="T38" fmla="*/ 135 w 171"/>
              <a:gd name="T39" fmla="*/ 204 h 255"/>
              <a:gd name="T40" fmla="*/ 161 w 171"/>
              <a:gd name="T41" fmla="*/ 136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71" h="255">
                <a:moveTo>
                  <a:pt x="161" y="136"/>
                </a:moveTo>
                <a:cubicBezTo>
                  <a:pt x="149" y="106"/>
                  <a:pt x="127" y="99"/>
                  <a:pt x="92" y="102"/>
                </a:cubicBezTo>
                <a:cubicBezTo>
                  <a:pt x="64" y="103"/>
                  <a:pt x="57" y="102"/>
                  <a:pt x="53" y="93"/>
                </a:cubicBezTo>
                <a:cubicBezTo>
                  <a:pt x="50" y="84"/>
                  <a:pt x="55" y="76"/>
                  <a:pt x="67" y="72"/>
                </a:cubicBezTo>
                <a:cubicBezTo>
                  <a:pt x="80" y="66"/>
                  <a:pt x="93" y="66"/>
                  <a:pt x="108" y="71"/>
                </a:cubicBezTo>
                <a:cubicBezTo>
                  <a:pt x="118" y="41"/>
                  <a:pt x="118" y="41"/>
                  <a:pt x="118" y="41"/>
                </a:cubicBezTo>
                <a:cubicBezTo>
                  <a:pt x="103" y="34"/>
                  <a:pt x="87" y="32"/>
                  <a:pt x="69" y="36"/>
                </a:cubicBezTo>
                <a:cubicBezTo>
                  <a:pt x="55" y="0"/>
                  <a:pt x="55" y="0"/>
                  <a:pt x="55" y="0"/>
                </a:cubicBezTo>
                <a:cubicBezTo>
                  <a:pt x="24" y="12"/>
                  <a:pt x="24" y="12"/>
                  <a:pt x="24" y="12"/>
                </a:cubicBezTo>
                <a:cubicBezTo>
                  <a:pt x="38" y="48"/>
                  <a:pt x="38" y="48"/>
                  <a:pt x="38" y="48"/>
                </a:cubicBezTo>
                <a:cubicBezTo>
                  <a:pt x="13" y="63"/>
                  <a:pt x="0" y="88"/>
                  <a:pt x="10" y="114"/>
                </a:cubicBezTo>
                <a:cubicBezTo>
                  <a:pt x="20" y="137"/>
                  <a:pt x="38" y="149"/>
                  <a:pt x="80" y="145"/>
                </a:cubicBezTo>
                <a:cubicBezTo>
                  <a:pt x="105" y="144"/>
                  <a:pt x="113" y="146"/>
                  <a:pt x="117" y="157"/>
                </a:cubicBezTo>
                <a:cubicBezTo>
                  <a:pt x="121" y="167"/>
                  <a:pt x="116" y="177"/>
                  <a:pt x="101" y="183"/>
                </a:cubicBezTo>
                <a:cubicBezTo>
                  <a:pt x="85" y="189"/>
                  <a:pt x="70" y="189"/>
                  <a:pt x="54" y="183"/>
                </a:cubicBezTo>
                <a:cubicBezTo>
                  <a:pt x="42" y="215"/>
                  <a:pt x="42" y="215"/>
                  <a:pt x="42" y="215"/>
                </a:cubicBezTo>
                <a:cubicBezTo>
                  <a:pt x="58" y="222"/>
                  <a:pt x="80" y="225"/>
                  <a:pt x="105" y="217"/>
                </a:cubicBezTo>
                <a:cubicBezTo>
                  <a:pt x="120" y="255"/>
                  <a:pt x="120" y="255"/>
                  <a:pt x="120" y="255"/>
                </a:cubicBezTo>
                <a:cubicBezTo>
                  <a:pt x="150" y="243"/>
                  <a:pt x="150" y="243"/>
                  <a:pt x="150" y="243"/>
                </a:cubicBezTo>
                <a:cubicBezTo>
                  <a:pt x="135" y="204"/>
                  <a:pt x="135" y="204"/>
                  <a:pt x="135" y="204"/>
                </a:cubicBezTo>
                <a:cubicBezTo>
                  <a:pt x="161" y="186"/>
                  <a:pt x="171" y="161"/>
                  <a:pt x="161" y="136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25" name="Freeform 169">
            <a:extLst>
              <a:ext uri="{FF2B5EF4-FFF2-40B4-BE49-F238E27FC236}">
                <a16:creationId xmlns:a16="http://schemas.microsoft.com/office/drawing/2014/main" id="{9D2CF73D-F493-452A-8BAE-BB43963945AA}"/>
              </a:ext>
            </a:extLst>
          </p:cNvPr>
          <p:cNvSpPr>
            <a:spLocks/>
          </p:cNvSpPr>
          <p:nvPr/>
        </p:nvSpPr>
        <p:spPr bwMode="auto">
          <a:xfrm>
            <a:off x="2607490" y="3517716"/>
            <a:ext cx="253610" cy="253126"/>
          </a:xfrm>
          <a:custGeom>
            <a:avLst/>
            <a:gdLst>
              <a:gd name="T0" fmla="*/ 221 w 388"/>
              <a:gd name="T1" fmla="*/ 14 h 387"/>
              <a:gd name="T2" fmla="*/ 373 w 388"/>
              <a:gd name="T3" fmla="*/ 220 h 387"/>
              <a:gd name="T4" fmla="*/ 167 w 388"/>
              <a:gd name="T5" fmla="*/ 373 h 387"/>
              <a:gd name="T6" fmla="*/ 15 w 388"/>
              <a:gd name="T7" fmla="*/ 167 h 387"/>
              <a:gd name="T8" fmla="*/ 221 w 388"/>
              <a:gd name="T9" fmla="*/ 14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8" h="387">
                <a:moveTo>
                  <a:pt x="221" y="14"/>
                </a:moveTo>
                <a:cubicBezTo>
                  <a:pt x="320" y="29"/>
                  <a:pt x="388" y="122"/>
                  <a:pt x="373" y="220"/>
                </a:cubicBezTo>
                <a:cubicBezTo>
                  <a:pt x="358" y="319"/>
                  <a:pt x="266" y="387"/>
                  <a:pt x="167" y="373"/>
                </a:cubicBezTo>
                <a:cubicBezTo>
                  <a:pt x="68" y="358"/>
                  <a:pt x="0" y="266"/>
                  <a:pt x="15" y="167"/>
                </a:cubicBezTo>
                <a:cubicBezTo>
                  <a:pt x="30" y="68"/>
                  <a:pt x="122" y="0"/>
                  <a:pt x="221" y="14"/>
                </a:cubicBezTo>
                <a:close/>
              </a:path>
            </a:pathLst>
          </a:custGeom>
          <a:solidFill>
            <a:srgbClr val="FFE3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26" name="Freeform 170">
            <a:extLst>
              <a:ext uri="{FF2B5EF4-FFF2-40B4-BE49-F238E27FC236}">
                <a16:creationId xmlns:a16="http://schemas.microsoft.com/office/drawing/2014/main" id="{0CB382E5-0DEF-4DD9-A9F5-B70EC7F187C8}"/>
              </a:ext>
            </a:extLst>
          </p:cNvPr>
          <p:cNvSpPr>
            <a:spLocks/>
          </p:cNvSpPr>
          <p:nvPr/>
        </p:nvSpPr>
        <p:spPr bwMode="auto">
          <a:xfrm>
            <a:off x="2615234" y="3525944"/>
            <a:ext cx="238122" cy="237154"/>
          </a:xfrm>
          <a:custGeom>
            <a:avLst/>
            <a:gdLst>
              <a:gd name="T0" fmla="*/ 207 w 364"/>
              <a:gd name="T1" fmla="*/ 14 h 363"/>
              <a:gd name="T2" fmla="*/ 350 w 364"/>
              <a:gd name="T3" fmla="*/ 207 h 363"/>
              <a:gd name="T4" fmla="*/ 157 w 364"/>
              <a:gd name="T5" fmla="*/ 349 h 363"/>
              <a:gd name="T6" fmla="*/ 14 w 364"/>
              <a:gd name="T7" fmla="*/ 156 h 363"/>
              <a:gd name="T8" fmla="*/ 207 w 364"/>
              <a:gd name="T9" fmla="*/ 14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4" h="363">
                <a:moveTo>
                  <a:pt x="207" y="14"/>
                </a:moveTo>
                <a:cubicBezTo>
                  <a:pt x="300" y="28"/>
                  <a:pt x="364" y="114"/>
                  <a:pt x="350" y="207"/>
                </a:cubicBezTo>
                <a:cubicBezTo>
                  <a:pt x="336" y="299"/>
                  <a:pt x="250" y="363"/>
                  <a:pt x="157" y="349"/>
                </a:cubicBezTo>
                <a:cubicBezTo>
                  <a:pt x="64" y="336"/>
                  <a:pt x="0" y="249"/>
                  <a:pt x="14" y="156"/>
                </a:cubicBezTo>
                <a:cubicBezTo>
                  <a:pt x="28" y="64"/>
                  <a:pt x="115" y="0"/>
                  <a:pt x="207" y="14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27" name="Freeform 171">
            <a:extLst>
              <a:ext uri="{FF2B5EF4-FFF2-40B4-BE49-F238E27FC236}">
                <a16:creationId xmlns:a16="http://schemas.microsoft.com/office/drawing/2014/main" id="{5C632C8A-FE60-41ED-B547-8C826F0E05AD}"/>
              </a:ext>
            </a:extLst>
          </p:cNvPr>
          <p:cNvSpPr>
            <a:spLocks/>
          </p:cNvSpPr>
          <p:nvPr/>
        </p:nvSpPr>
        <p:spPr bwMode="auto">
          <a:xfrm>
            <a:off x="2644757" y="3554499"/>
            <a:ext cx="179075" cy="180044"/>
          </a:xfrm>
          <a:custGeom>
            <a:avLst/>
            <a:gdLst>
              <a:gd name="T0" fmla="*/ 156 w 274"/>
              <a:gd name="T1" fmla="*/ 11 h 275"/>
              <a:gd name="T2" fmla="*/ 264 w 274"/>
              <a:gd name="T3" fmla="*/ 157 h 275"/>
              <a:gd name="T4" fmla="*/ 118 w 274"/>
              <a:gd name="T5" fmla="*/ 264 h 275"/>
              <a:gd name="T6" fmla="*/ 10 w 274"/>
              <a:gd name="T7" fmla="*/ 119 h 275"/>
              <a:gd name="T8" fmla="*/ 156 w 274"/>
              <a:gd name="T9" fmla="*/ 11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4" h="275">
                <a:moveTo>
                  <a:pt x="156" y="11"/>
                </a:moveTo>
                <a:cubicBezTo>
                  <a:pt x="226" y="21"/>
                  <a:pt x="274" y="87"/>
                  <a:pt x="264" y="157"/>
                </a:cubicBezTo>
                <a:cubicBezTo>
                  <a:pt x="253" y="226"/>
                  <a:pt x="188" y="275"/>
                  <a:pt x="118" y="264"/>
                </a:cubicBezTo>
                <a:cubicBezTo>
                  <a:pt x="48" y="254"/>
                  <a:pt x="0" y="188"/>
                  <a:pt x="10" y="119"/>
                </a:cubicBezTo>
                <a:cubicBezTo>
                  <a:pt x="21" y="49"/>
                  <a:pt x="86" y="0"/>
                  <a:pt x="156" y="11"/>
                </a:cubicBezTo>
                <a:close/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28" name="Freeform 172">
            <a:extLst>
              <a:ext uri="{FF2B5EF4-FFF2-40B4-BE49-F238E27FC236}">
                <a16:creationId xmlns:a16="http://schemas.microsoft.com/office/drawing/2014/main" id="{5FE0441A-D01A-4C6F-8610-C6723488845F}"/>
              </a:ext>
            </a:extLst>
          </p:cNvPr>
          <p:cNvSpPr>
            <a:spLocks/>
          </p:cNvSpPr>
          <p:nvPr/>
        </p:nvSpPr>
        <p:spPr bwMode="auto">
          <a:xfrm>
            <a:off x="2694124" y="3582570"/>
            <a:ext cx="74535" cy="128257"/>
          </a:xfrm>
          <a:custGeom>
            <a:avLst/>
            <a:gdLst>
              <a:gd name="T0" fmla="*/ 106 w 114"/>
              <a:gd name="T1" fmla="*/ 131 h 196"/>
              <a:gd name="T2" fmla="*/ 74 w 114"/>
              <a:gd name="T3" fmla="*/ 83 h 196"/>
              <a:gd name="T4" fmla="*/ 53 w 114"/>
              <a:gd name="T5" fmla="*/ 63 h 196"/>
              <a:gd name="T6" fmla="*/ 70 w 114"/>
              <a:gd name="T7" fmla="*/ 54 h 196"/>
              <a:gd name="T8" fmla="*/ 96 w 114"/>
              <a:gd name="T9" fmla="*/ 69 h 196"/>
              <a:gd name="T10" fmla="*/ 114 w 114"/>
              <a:gd name="T11" fmla="*/ 53 h 196"/>
              <a:gd name="T12" fmla="*/ 84 w 114"/>
              <a:gd name="T13" fmla="*/ 32 h 196"/>
              <a:gd name="T14" fmla="*/ 88 w 114"/>
              <a:gd name="T15" fmla="*/ 3 h 196"/>
              <a:gd name="T16" fmla="*/ 64 w 114"/>
              <a:gd name="T17" fmla="*/ 0 h 196"/>
              <a:gd name="T18" fmla="*/ 60 w 114"/>
              <a:gd name="T19" fmla="*/ 29 h 196"/>
              <a:gd name="T20" fmla="*/ 17 w 114"/>
              <a:gd name="T21" fmla="*/ 60 h 196"/>
              <a:gd name="T22" fmla="*/ 51 w 114"/>
              <a:gd name="T23" fmla="*/ 107 h 196"/>
              <a:gd name="T24" fmla="*/ 70 w 114"/>
              <a:gd name="T25" fmla="*/ 128 h 196"/>
              <a:gd name="T26" fmla="*/ 50 w 114"/>
              <a:gd name="T27" fmla="*/ 139 h 196"/>
              <a:gd name="T28" fmla="*/ 20 w 114"/>
              <a:gd name="T29" fmla="*/ 122 h 196"/>
              <a:gd name="T30" fmla="*/ 0 w 114"/>
              <a:gd name="T31" fmla="*/ 138 h 196"/>
              <a:gd name="T32" fmla="*/ 40 w 114"/>
              <a:gd name="T33" fmla="*/ 163 h 196"/>
              <a:gd name="T34" fmla="*/ 35 w 114"/>
              <a:gd name="T35" fmla="*/ 193 h 196"/>
              <a:gd name="T36" fmla="*/ 59 w 114"/>
              <a:gd name="T37" fmla="*/ 196 h 196"/>
              <a:gd name="T38" fmla="*/ 64 w 114"/>
              <a:gd name="T39" fmla="*/ 165 h 196"/>
              <a:gd name="T40" fmla="*/ 106 w 114"/>
              <a:gd name="T41" fmla="*/ 131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4" h="196">
                <a:moveTo>
                  <a:pt x="106" y="131"/>
                </a:moveTo>
                <a:cubicBezTo>
                  <a:pt x="110" y="107"/>
                  <a:pt x="98" y="95"/>
                  <a:pt x="74" y="83"/>
                </a:cubicBezTo>
                <a:cubicBezTo>
                  <a:pt x="56" y="74"/>
                  <a:pt x="51" y="70"/>
                  <a:pt x="53" y="63"/>
                </a:cubicBezTo>
                <a:cubicBezTo>
                  <a:pt x="54" y="56"/>
                  <a:pt x="60" y="53"/>
                  <a:pt x="70" y="54"/>
                </a:cubicBezTo>
                <a:cubicBezTo>
                  <a:pt x="80" y="56"/>
                  <a:pt x="88" y="61"/>
                  <a:pt x="96" y="69"/>
                </a:cubicBezTo>
                <a:cubicBezTo>
                  <a:pt x="114" y="53"/>
                  <a:pt x="114" y="53"/>
                  <a:pt x="114" y="53"/>
                </a:cubicBezTo>
                <a:cubicBezTo>
                  <a:pt x="107" y="44"/>
                  <a:pt x="97" y="37"/>
                  <a:pt x="84" y="32"/>
                </a:cubicBezTo>
                <a:cubicBezTo>
                  <a:pt x="88" y="3"/>
                  <a:pt x="88" y="3"/>
                  <a:pt x="88" y="3"/>
                </a:cubicBezTo>
                <a:cubicBezTo>
                  <a:pt x="64" y="0"/>
                  <a:pt x="64" y="0"/>
                  <a:pt x="64" y="0"/>
                </a:cubicBezTo>
                <a:cubicBezTo>
                  <a:pt x="60" y="29"/>
                  <a:pt x="60" y="29"/>
                  <a:pt x="60" y="29"/>
                </a:cubicBezTo>
                <a:cubicBezTo>
                  <a:pt x="37" y="29"/>
                  <a:pt x="20" y="40"/>
                  <a:pt x="17" y="60"/>
                </a:cubicBezTo>
                <a:cubicBezTo>
                  <a:pt x="14" y="79"/>
                  <a:pt x="22" y="93"/>
                  <a:pt x="51" y="107"/>
                </a:cubicBezTo>
                <a:cubicBezTo>
                  <a:pt x="67" y="115"/>
                  <a:pt x="71" y="120"/>
                  <a:pt x="70" y="128"/>
                </a:cubicBezTo>
                <a:cubicBezTo>
                  <a:pt x="69" y="136"/>
                  <a:pt x="62" y="141"/>
                  <a:pt x="50" y="139"/>
                </a:cubicBezTo>
                <a:cubicBezTo>
                  <a:pt x="37" y="137"/>
                  <a:pt x="28" y="131"/>
                  <a:pt x="20" y="122"/>
                </a:cubicBezTo>
                <a:cubicBezTo>
                  <a:pt x="0" y="138"/>
                  <a:pt x="0" y="138"/>
                  <a:pt x="0" y="138"/>
                </a:cubicBezTo>
                <a:cubicBezTo>
                  <a:pt x="8" y="148"/>
                  <a:pt x="21" y="158"/>
                  <a:pt x="40" y="163"/>
                </a:cubicBezTo>
                <a:cubicBezTo>
                  <a:pt x="35" y="193"/>
                  <a:pt x="35" y="193"/>
                  <a:pt x="35" y="193"/>
                </a:cubicBezTo>
                <a:cubicBezTo>
                  <a:pt x="59" y="196"/>
                  <a:pt x="59" y="196"/>
                  <a:pt x="59" y="196"/>
                </a:cubicBezTo>
                <a:cubicBezTo>
                  <a:pt x="64" y="165"/>
                  <a:pt x="64" y="165"/>
                  <a:pt x="64" y="165"/>
                </a:cubicBezTo>
                <a:cubicBezTo>
                  <a:pt x="88" y="164"/>
                  <a:pt x="103" y="151"/>
                  <a:pt x="106" y="131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29" name="Freeform 173">
            <a:extLst>
              <a:ext uri="{FF2B5EF4-FFF2-40B4-BE49-F238E27FC236}">
                <a16:creationId xmlns:a16="http://schemas.microsoft.com/office/drawing/2014/main" id="{AC8A017F-84BC-4733-BC4F-5C01A07BB3ED}"/>
              </a:ext>
            </a:extLst>
          </p:cNvPr>
          <p:cNvSpPr>
            <a:spLocks/>
          </p:cNvSpPr>
          <p:nvPr/>
        </p:nvSpPr>
        <p:spPr bwMode="auto">
          <a:xfrm>
            <a:off x="3257486" y="3644037"/>
            <a:ext cx="339276" cy="340243"/>
          </a:xfrm>
          <a:custGeom>
            <a:avLst/>
            <a:gdLst>
              <a:gd name="T0" fmla="*/ 295 w 519"/>
              <a:gd name="T1" fmla="*/ 20 h 520"/>
              <a:gd name="T2" fmla="*/ 499 w 519"/>
              <a:gd name="T3" fmla="*/ 296 h 520"/>
              <a:gd name="T4" fmla="*/ 223 w 519"/>
              <a:gd name="T5" fmla="*/ 500 h 520"/>
              <a:gd name="T6" fmla="*/ 19 w 519"/>
              <a:gd name="T7" fmla="*/ 224 h 520"/>
              <a:gd name="T8" fmla="*/ 295 w 519"/>
              <a:gd name="T9" fmla="*/ 20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9" h="520">
                <a:moveTo>
                  <a:pt x="295" y="20"/>
                </a:moveTo>
                <a:cubicBezTo>
                  <a:pt x="428" y="40"/>
                  <a:pt x="519" y="164"/>
                  <a:pt x="499" y="296"/>
                </a:cubicBezTo>
                <a:cubicBezTo>
                  <a:pt x="479" y="429"/>
                  <a:pt x="356" y="520"/>
                  <a:pt x="223" y="500"/>
                </a:cubicBezTo>
                <a:cubicBezTo>
                  <a:pt x="91" y="480"/>
                  <a:pt x="0" y="356"/>
                  <a:pt x="19" y="224"/>
                </a:cubicBezTo>
                <a:cubicBezTo>
                  <a:pt x="39" y="92"/>
                  <a:pt x="163" y="0"/>
                  <a:pt x="295" y="20"/>
                </a:cubicBezTo>
                <a:close/>
              </a:path>
            </a:pathLst>
          </a:custGeom>
          <a:solidFill>
            <a:srgbClr val="FFE3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30" name="Freeform 174">
            <a:extLst>
              <a:ext uri="{FF2B5EF4-FFF2-40B4-BE49-F238E27FC236}">
                <a16:creationId xmlns:a16="http://schemas.microsoft.com/office/drawing/2014/main" id="{EB1BF50B-0C03-444D-86FD-73D9C398E777}"/>
              </a:ext>
            </a:extLst>
          </p:cNvPr>
          <p:cNvSpPr>
            <a:spLocks/>
          </p:cNvSpPr>
          <p:nvPr/>
        </p:nvSpPr>
        <p:spPr bwMode="auto">
          <a:xfrm>
            <a:off x="3267649" y="3655168"/>
            <a:ext cx="318464" cy="318464"/>
          </a:xfrm>
          <a:custGeom>
            <a:avLst/>
            <a:gdLst>
              <a:gd name="T0" fmla="*/ 277 w 487"/>
              <a:gd name="T1" fmla="*/ 18 h 487"/>
              <a:gd name="T2" fmla="*/ 468 w 487"/>
              <a:gd name="T3" fmla="*/ 277 h 487"/>
              <a:gd name="T4" fmla="*/ 210 w 487"/>
              <a:gd name="T5" fmla="*/ 468 h 487"/>
              <a:gd name="T6" fmla="*/ 18 w 487"/>
              <a:gd name="T7" fmla="*/ 209 h 487"/>
              <a:gd name="T8" fmla="*/ 277 w 487"/>
              <a:gd name="T9" fmla="*/ 18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7" h="487">
                <a:moveTo>
                  <a:pt x="277" y="18"/>
                </a:moveTo>
                <a:cubicBezTo>
                  <a:pt x="401" y="37"/>
                  <a:pt x="487" y="153"/>
                  <a:pt x="468" y="277"/>
                </a:cubicBezTo>
                <a:cubicBezTo>
                  <a:pt x="450" y="401"/>
                  <a:pt x="334" y="487"/>
                  <a:pt x="210" y="468"/>
                </a:cubicBezTo>
                <a:cubicBezTo>
                  <a:pt x="85" y="449"/>
                  <a:pt x="0" y="333"/>
                  <a:pt x="18" y="209"/>
                </a:cubicBezTo>
                <a:cubicBezTo>
                  <a:pt x="37" y="85"/>
                  <a:pt x="153" y="0"/>
                  <a:pt x="277" y="18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31" name="Freeform 175">
            <a:extLst>
              <a:ext uri="{FF2B5EF4-FFF2-40B4-BE49-F238E27FC236}">
                <a16:creationId xmlns:a16="http://schemas.microsoft.com/office/drawing/2014/main" id="{957637AF-4125-41B8-914B-298786336FB2}"/>
              </a:ext>
            </a:extLst>
          </p:cNvPr>
          <p:cNvSpPr>
            <a:spLocks/>
          </p:cNvSpPr>
          <p:nvPr/>
        </p:nvSpPr>
        <p:spPr bwMode="auto">
          <a:xfrm>
            <a:off x="3306852" y="3693887"/>
            <a:ext cx="240058" cy="240542"/>
          </a:xfrm>
          <a:custGeom>
            <a:avLst/>
            <a:gdLst>
              <a:gd name="T0" fmla="*/ 209 w 367"/>
              <a:gd name="T1" fmla="*/ 14 h 368"/>
              <a:gd name="T2" fmla="*/ 353 w 367"/>
              <a:gd name="T3" fmla="*/ 210 h 368"/>
              <a:gd name="T4" fmla="*/ 158 w 367"/>
              <a:gd name="T5" fmla="*/ 354 h 368"/>
              <a:gd name="T6" fmla="*/ 14 w 367"/>
              <a:gd name="T7" fmla="*/ 159 h 368"/>
              <a:gd name="T8" fmla="*/ 209 w 367"/>
              <a:gd name="T9" fmla="*/ 14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7" h="368">
                <a:moveTo>
                  <a:pt x="209" y="14"/>
                </a:moveTo>
                <a:cubicBezTo>
                  <a:pt x="302" y="29"/>
                  <a:pt x="367" y="116"/>
                  <a:pt x="353" y="210"/>
                </a:cubicBezTo>
                <a:cubicBezTo>
                  <a:pt x="339" y="303"/>
                  <a:pt x="252" y="368"/>
                  <a:pt x="158" y="354"/>
                </a:cubicBezTo>
                <a:cubicBezTo>
                  <a:pt x="64" y="340"/>
                  <a:pt x="0" y="252"/>
                  <a:pt x="14" y="159"/>
                </a:cubicBezTo>
                <a:cubicBezTo>
                  <a:pt x="28" y="65"/>
                  <a:pt x="115" y="0"/>
                  <a:pt x="209" y="14"/>
                </a:cubicBezTo>
                <a:close/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32" name="Freeform 176">
            <a:extLst>
              <a:ext uri="{FF2B5EF4-FFF2-40B4-BE49-F238E27FC236}">
                <a16:creationId xmlns:a16="http://schemas.microsoft.com/office/drawing/2014/main" id="{51E20B2A-B1FA-4FB0-8B62-E83E8440F1F9}"/>
              </a:ext>
            </a:extLst>
          </p:cNvPr>
          <p:cNvSpPr>
            <a:spLocks/>
          </p:cNvSpPr>
          <p:nvPr/>
        </p:nvSpPr>
        <p:spPr bwMode="auto">
          <a:xfrm>
            <a:off x="3373159" y="3731154"/>
            <a:ext cx="100186" cy="172784"/>
          </a:xfrm>
          <a:custGeom>
            <a:avLst/>
            <a:gdLst>
              <a:gd name="T0" fmla="*/ 143 w 153"/>
              <a:gd name="T1" fmla="*/ 175 h 264"/>
              <a:gd name="T2" fmla="*/ 100 w 153"/>
              <a:gd name="T3" fmla="*/ 111 h 264"/>
              <a:gd name="T4" fmla="*/ 71 w 153"/>
              <a:gd name="T5" fmla="*/ 85 h 264"/>
              <a:gd name="T6" fmla="*/ 94 w 153"/>
              <a:gd name="T7" fmla="*/ 73 h 264"/>
              <a:gd name="T8" fmla="*/ 129 w 153"/>
              <a:gd name="T9" fmla="*/ 93 h 264"/>
              <a:gd name="T10" fmla="*/ 153 w 153"/>
              <a:gd name="T11" fmla="*/ 72 h 264"/>
              <a:gd name="T12" fmla="*/ 113 w 153"/>
              <a:gd name="T13" fmla="*/ 44 h 264"/>
              <a:gd name="T14" fmla="*/ 119 w 153"/>
              <a:gd name="T15" fmla="*/ 5 h 264"/>
              <a:gd name="T16" fmla="*/ 86 w 153"/>
              <a:gd name="T17" fmla="*/ 0 h 264"/>
              <a:gd name="T18" fmla="*/ 81 w 153"/>
              <a:gd name="T19" fmla="*/ 39 h 264"/>
              <a:gd name="T20" fmla="*/ 23 w 153"/>
              <a:gd name="T21" fmla="*/ 81 h 264"/>
              <a:gd name="T22" fmla="*/ 68 w 153"/>
              <a:gd name="T23" fmla="*/ 144 h 264"/>
              <a:gd name="T24" fmla="*/ 94 w 153"/>
              <a:gd name="T25" fmla="*/ 172 h 264"/>
              <a:gd name="T26" fmla="*/ 67 w 153"/>
              <a:gd name="T27" fmla="*/ 187 h 264"/>
              <a:gd name="T28" fmla="*/ 27 w 153"/>
              <a:gd name="T29" fmla="*/ 163 h 264"/>
              <a:gd name="T30" fmla="*/ 0 w 153"/>
              <a:gd name="T31" fmla="*/ 185 h 264"/>
              <a:gd name="T32" fmla="*/ 54 w 153"/>
              <a:gd name="T33" fmla="*/ 218 h 264"/>
              <a:gd name="T34" fmla="*/ 47 w 153"/>
              <a:gd name="T35" fmla="*/ 259 h 264"/>
              <a:gd name="T36" fmla="*/ 80 w 153"/>
              <a:gd name="T37" fmla="*/ 264 h 264"/>
              <a:gd name="T38" fmla="*/ 86 w 153"/>
              <a:gd name="T39" fmla="*/ 222 h 264"/>
              <a:gd name="T40" fmla="*/ 143 w 153"/>
              <a:gd name="T41" fmla="*/ 175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3" h="264">
                <a:moveTo>
                  <a:pt x="143" y="175"/>
                </a:moveTo>
                <a:cubicBezTo>
                  <a:pt x="147" y="144"/>
                  <a:pt x="132" y="127"/>
                  <a:pt x="100" y="111"/>
                </a:cubicBezTo>
                <a:cubicBezTo>
                  <a:pt x="75" y="99"/>
                  <a:pt x="69" y="95"/>
                  <a:pt x="71" y="85"/>
                </a:cubicBezTo>
                <a:cubicBezTo>
                  <a:pt x="72" y="75"/>
                  <a:pt x="81" y="71"/>
                  <a:pt x="94" y="73"/>
                </a:cubicBezTo>
                <a:cubicBezTo>
                  <a:pt x="108" y="75"/>
                  <a:pt x="119" y="82"/>
                  <a:pt x="129" y="93"/>
                </a:cubicBezTo>
                <a:cubicBezTo>
                  <a:pt x="153" y="72"/>
                  <a:pt x="153" y="72"/>
                  <a:pt x="153" y="72"/>
                </a:cubicBezTo>
                <a:cubicBezTo>
                  <a:pt x="144" y="59"/>
                  <a:pt x="130" y="49"/>
                  <a:pt x="113" y="44"/>
                </a:cubicBezTo>
                <a:cubicBezTo>
                  <a:pt x="119" y="5"/>
                  <a:pt x="119" y="5"/>
                  <a:pt x="119" y="5"/>
                </a:cubicBezTo>
                <a:cubicBezTo>
                  <a:pt x="86" y="0"/>
                  <a:pt x="86" y="0"/>
                  <a:pt x="86" y="0"/>
                </a:cubicBezTo>
                <a:cubicBezTo>
                  <a:pt x="81" y="39"/>
                  <a:pt x="81" y="39"/>
                  <a:pt x="81" y="39"/>
                </a:cubicBezTo>
                <a:cubicBezTo>
                  <a:pt x="50" y="39"/>
                  <a:pt x="27" y="54"/>
                  <a:pt x="23" y="81"/>
                </a:cubicBezTo>
                <a:cubicBezTo>
                  <a:pt x="20" y="107"/>
                  <a:pt x="30" y="125"/>
                  <a:pt x="68" y="144"/>
                </a:cubicBezTo>
                <a:cubicBezTo>
                  <a:pt x="91" y="155"/>
                  <a:pt x="96" y="161"/>
                  <a:pt x="94" y="172"/>
                </a:cubicBezTo>
                <a:cubicBezTo>
                  <a:pt x="93" y="183"/>
                  <a:pt x="83" y="189"/>
                  <a:pt x="67" y="187"/>
                </a:cubicBezTo>
                <a:cubicBezTo>
                  <a:pt x="51" y="184"/>
                  <a:pt x="38" y="176"/>
                  <a:pt x="27" y="163"/>
                </a:cubicBezTo>
                <a:cubicBezTo>
                  <a:pt x="0" y="185"/>
                  <a:pt x="0" y="185"/>
                  <a:pt x="0" y="185"/>
                </a:cubicBezTo>
                <a:cubicBezTo>
                  <a:pt x="11" y="199"/>
                  <a:pt x="28" y="212"/>
                  <a:pt x="54" y="218"/>
                </a:cubicBezTo>
                <a:cubicBezTo>
                  <a:pt x="47" y="259"/>
                  <a:pt x="47" y="259"/>
                  <a:pt x="47" y="259"/>
                </a:cubicBezTo>
                <a:cubicBezTo>
                  <a:pt x="80" y="264"/>
                  <a:pt x="80" y="264"/>
                  <a:pt x="80" y="264"/>
                </a:cubicBezTo>
                <a:cubicBezTo>
                  <a:pt x="86" y="222"/>
                  <a:pt x="86" y="222"/>
                  <a:pt x="86" y="222"/>
                </a:cubicBezTo>
                <a:cubicBezTo>
                  <a:pt x="118" y="220"/>
                  <a:pt x="139" y="202"/>
                  <a:pt x="143" y="175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33" name="Freeform 177">
            <a:extLst>
              <a:ext uri="{FF2B5EF4-FFF2-40B4-BE49-F238E27FC236}">
                <a16:creationId xmlns:a16="http://schemas.microsoft.com/office/drawing/2014/main" id="{59D584ED-94D0-45AE-BA89-834D8ABBB792}"/>
              </a:ext>
            </a:extLst>
          </p:cNvPr>
          <p:cNvSpPr>
            <a:spLocks/>
          </p:cNvSpPr>
          <p:nvPr/>
        </p:nvSpPr>
        <p:spPr bwMode="auto">
          <a:xfrm>
            <a:off x="3773416" y="3626613"/>
            <a:ext cx="510607" cy="214891"/>
          </a:xfrm>
          <a:custGeom>
            <a:avLst/>
            <a:gdLst>
              <a:gd name="T0" fmla="*/ 216 w 781"/>
              <a:gd name="T1" fmla="*/ 252 h 329"/>
              <a:gd name="T2" fmla="*/ 601 w 781"/>
              <a:gd name="T3" fmla="*/ 312 h 329"/>
              <a:gd name="T4" fmla="*/ 647 w 781"/>
              <a:gd name="T5" fmla="*/ 304 h 329"/>
              <a:gd name="T6" fmla="*/ 648 w 781"/>
              <a:gd name="T7" fmla="*/ 304 h 329"/>
              <a:gd name="T8" fmla="*/ 685 w 781"/>
              <a:gd name="T9" fmla="*/ 291 h 329"/>
              <a:gd name="T10" fmla="*/ 745 w 781"/>
              <a:gd name="T11" fmla="*/ 99 h 329"/>
              <a:gd name="T12" fmla="*/ 556 w 781"/>
              <a:gd name="T13" fmla="*/ 36 h 329"/>
              <a:gd name="T14" fmla="*/ 553 w 781"/>
              <a:gd name="T15" fmla="*/ 38 h 329"/>
              <a:gd name="T16" fmla="*/ 323 w 781"/>
              <a:gd name="T17" fmla="*/ 84 h 329"/>
              <a:gd name="T18" fmla="*/ 38 w 781"/>
              <a:gd name="T19" fmla="*/ 27 h 329"/>
              <a:gd name="T20" fmla="*/ 9 w 781"/>
              <a:gd name="T21" fmla="*/ 74 h 329"/>
              <a:gd name="T22" fmla="*/ 216 w 781"/>
              <a:gd name="T23" fmla="*/ 252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81" h="329">
                <a:moveTo>
                  <a:pt x="216" y="252"/>
                </a:moveTo>
                <a:cubicBezTo>
                  <a:pt x="331" y="315"/>
                  <a:pt x="468" y="329"/>
                  <a:pt x="601" y="312"/>
                </a:cubicBezTo>
                <a:cubicBezTo>
                  <a:pt x="616" y="310"/>
                  <a:pt x="632" y="307"/>
                  <a:pt x="647" y="304"/>
                </a:cubicBezTo>
                <a:cubicBezTo>
                  <a:pt x="648" y="304"/>
                  <a:pt x="648" y="304"/>
                  <a:pt x="648" y="304"/>
                </a:cubicBezTo>
                <a:cubicBezTo>
                  <a:pt x="660" y="301"/>
                  <a:pt x="673" y="297"/>
                  <a:pt x="685" y="291"/>
                </a:cubicBezTo>
                <a:cubicBezTo>
                  <a:pt x="756" y="255"/>
                  <a:pt x="781" y="170"/>
                  <a:pt x="745" y="99"/>
                </a:cubicBezTo>
                <a:cubicBezTo>
                  <a:pt x="709" y="29"/>
                  <a:pt x="627" y="0"/>
                  <a:pt x="556" y="36"/>
                </a:cubicBezTo>
                <a:cubicBezTo>
                  <a:pt x="556" y="36"/>
                  <a:pt x="554" y="38"/>
                  <a:pt x="553" y="38"/>
                </a:cubicBezTo>
                <a:cubicBezTo>
                  <a:pt x="489" y="78"/>
                  <a:pt x="397" y="87"/>
                  <a:pt x="323" y="84"/>
                </a:cubicBezTo>
                <a:cubicBezTo>
                  <a:pt x="200" y="80"/>
                  <a:pt x="148" y="90"/>
                  <a:pt x="38" y="27"/>
                </a:cubicBezTo>
                <a:cubicBezTo>
                  <a:pt x="36" y="26"/>
                  <a:pt x="0" y="70"/>
                  <a:pt x="9" y="74"/>
                </a:cubicBezTo>
                <a:cubicBezTo>
                  <a:pt x="20" y="77"/>
                  <a:pt x="127" y="204"/>
                  <a:pt x="216" y="252"/>
                </a:cubicBezTo>
                <a:close/>
              </a:path>
            </a:pathLst>
          </a:custGeom>
          <a:solidFill>
            <a:srgbClr val="9F9F9F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34" name="Freeform 178">
            <a:extLst>
              <a:ext uri="{FF2B5EF4-FFF2-40B4-BE49-F238E27FC236}">
                <a16:creationId xmlns:a16="http://schemas.microsoft.com/office/drawing/2014/main" id="{BF278B70-87A2-4F50-B142-C1BB1793DB15}"/>
              </a:ext>
            </a:extLst>
          </p:cNvPr>
          <p:cNvSpPr>
            <a:spLocks/>
          </p:cNvSpPr>
          <p:nvPr/>
        </p:nvSpPr>
        <p:spPr bwMode="auto">
          <a:xfrm>
            <a:off x="3501899" y="3260718"/>
            <a:ext cx="492700" cy="492700"/>
          </a:xfrm>
          <a:custGeom>
            <a:avLst/>
            <a:gdLst>
              <a:gd name="T0" fmla="*/ 429 w 753"/>
              <a:gd name="T1" fmla="*/ 29 h 753"/>
              <a:gd name="T2" fmla="*/ 724 w 753"/>
              <a:gd name="T3" fmla="*/ 429 h 753"/>
              <a:gd name="T4" fmla="*/ 324 w 753"/>
              <a:gd name="T5" fmla="*/ 724 h 753"/>
              <a:gd name="T6" fmla="*/ 28 w 753"/>
              <a:gd name="T7" fmla="*/ 324 h 753"/>
              <a:gd name="T8" fmla="*/ 429 w 753"/>
              <a:gd name="T9" fmla="*/ 29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3" h="753">
                <a:moveTo>
                  <a:pt x="429" y="29"/>
                </a:moveTo>
                <a:cubicBezTo>
                  <a:pt x="621" y="57"/>
                  <a:pt x="753" y="237"/>
                  <a:pt x="724" y="429"/>
                </a:cubicBezTo>
                <a:cubicBezTo>
                  <a:pt x="695" y="621"/>
                  <a:pt x="516" y="753"/>
                  <a:pt x="324" y="724"/>
                </a:cubicBezTo>
                <a:cubicBezTo>
                  <a:pt x="132" y="695"/>
                  <a:pt x="0" y="516"/>
                  <a:pt x="28" y="324"/>
                </a:cubicBezTo>
                <a:cubicBezTo>
                  <a:pt x="57" y="132"/>
                  <a:pt x="236" y="0"/>
                  <a:pt x="429" y="29"/>
                </a:cubicBezTo>
                <a:close/>
              </a:path>
            </a:pathLst>
          </a:custGeom>
          <a:solidFill>
            <a:srgbClr val="FFE3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35" name="Freeform 179">
            <a:extLst>
              <a:ext uri="{FF2B5EF4-FFF2-40B4-BE49-F238E27FC236}">
                <a16:creationId xmlns:a16="http://schemas.microsoft.com/office/drawing/2014/main" id="{79E7D9BF-D1D8-4D99-BA0B-8AEC5C823A74}"/>
              </a:ext>
            </a:extLst>
          </p:cNvPr>
          <p:cNvSpPr>
            <a:spLocks/>
          </p:cNvSpPr>
          <p:nvPr/>
        </p:nvSpPr>
        <p:spPr bwMode="auto">
          <a:xfrm>
            <a:off x="3516903" y="3275722"/>
            <a:ext cx="461724" cy="462693"/>
          </a:xfrm>
          <a:custGeom>
            <a:avLst/>
            <a:gdLst>
              <a:gd name="T0" fmla="*/ 402 w 706"/>
              <a:gd name="T1" fmla="*/ 27 h 707"/>
              <a:gd name="T2" fmla="*/ 679 w 706"/>
              <a:gd name="T3" fmla="*/ 402 h 707"/>
              <a:gd name="T4" fmla="*/ 304 w 706"/>
              <a:gd name="T5" fmla="*/ 680 h 707"/>
              <a:gd name="T6" fmla="*/ 27 w 706"/>
              <a:gd name="T7" fmla="*/ 304 h 707"/>
              <a:gd name="T8" fmla="*/ 402 w 706"/>
              <a:gd name="T9" fmla="*/ 27 h 7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06" h="707">
                <a:moveTo>
                  <a:pt x="402" y="27"/>
                </a:moveTo>
                <a:cubicBezTo>
                  <a:pt x="582" y="54"/>
                  <a:pt x="706" y="222"/>
                  <a:pt x="679" y="402"/>
                </a:cubicBezTo>
                <a:cubicBezTo>
                  <a:pt x="652" y="583"/>
                  <a:pt x="484" y="707"/>
                  <a:pt x="304" y="680"/>
                </a:cubicBezTo>
                <a:cubicBezTo>
                  <a:pt x="124" y="652"/>
                  <a:pt x="0" y="485"/>
                  <a:pt x="27" y="304"/>
                </a:cubicBezTo>
                <a:cubicBezTo>
                  <a:pt x="54" y="124"/>
                  <a:pt x="222" y="0"/>
                  <a:pt x="402" y="27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36" name="Freeform 180">
            <a:extLst>
              <a:ext uri="{FF2B5EF4-FFF2-40B4-BE49-F238E27FC236}">
                <a16:creationId xmlns:a16="http://schemas.microsoft.com/office/drawing/2014/main" id="{ECB4817F-2CB6-4286-A4D0-F6FC4DFA54DE}"/>
              </a:ext>
            </a:extLst>
          </p:cNvPr>
          <p:cNvSpPr>
            <a:spLocks/>
          </p:cNvSpPr>
          <p:nvPr/>
        </p:nvSpPr>
        <p:spPr bwMode="auto">
          <a:xfrm>
            <a:off x="3574013" y="3332833"/>
            <a:ext cx="348471" cy="348471"/>
          </a:xfrm>
          <a:custGeom>
            <a:avLst/>
            <a:gdLst>
              <a:gd name="T0" fmla="*/ 303 w 533"/>
              <a:gd name="T1" fmla="*/ 20 h 533"/>
              <a:gd name="T2" fmla="*/ 512 w 533"/>
              <a:gd name="T3" fmla="*/ 303 h 533"/>
              <a:gd name="T4" fmla="*/ 229 w 533"/>
              <a:gd name="T5" fmla="*/ 512 h 533"/>
              <a:gd name="T6" fmla="*/ 20 w 533"/>
              <a:gd name="T7" fmla="*/ 229 h 533"/>
              <a:gd name="T8" fmla="*/ 303 w 533"/>
              <a:gd name="T9" fmla="*/ 20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3" h="533">
                <a:moveTo>
                  <a:pt x="303" y="20"/>
                </a:moveTo>
                <a:cubicBezTo>
                  <a:pt x="439" y="41"/>
                  <a:pt x="533" y="168"/>
                  <a:pt x="512" y="303"/>
                </a:cubicBezTo>
                <a:cubicBezTo>
                  <a:pt x="492" y="439"/>
                  <a:pt x="365" y="533"/>
                  <a:pt x="229" y="512"/>
                </a:cubicBezTo>
                <a:cubicBezTo>
                  <a:pt x="93" y="492"/>
                  <a:pt x="0" y="365"/>
                  <a:pt x="20" y="229"/>
                </a:cubicBezTo>
                <a:cubicBezTo>
                  <a:pt x="41" y="94"/>
                  <a:pt x="167" y="0"/>
                  <a:pt x="303" y="20"/>
                </a:cubicBezTo>
                <a:close/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37" name="Freeform 181">
            <a:extLst>
              <a:ext uri="{FF2B5EF4-FFF2-40B4-BE49-F238E27FC236}">
                <a16:creationId xmlns:a16="http://schemas.microsoft.com/office/drawing/2014/main" id="{67DB83EA-43F4-47E3-ADED-61E7E838CE89}"/>
              </a:ext>
            </a:extLst>
          </p:cNvPr>
          <p:cNvSpPr>
            <a:spLocks/>
          </p:cNvSpPr>
          <p:nvPr/>
        </p:nvSpPr>
        <p:spPr bwMode="auto">
          <a:xfrm>
            <a:off x="3669843" y="3387039"/>
            <a:ext cx="145196" cy="249254"/>
          </a:xfrm>
          <a:custGeom>
            <a:avLst/>
            <a:gdLst>
              <a:gd name="T0" fmla="*/ 207 w 222"/>
              <a:gd name="T1" fmla="*/ 254 h 381"/>
              <a:gd name="T2" fmla="*/ 145 w 222"/>
              <a:gd name="T3" fmla="*/ 161 h 381"/>
              <a:gd name="T4" fmla="*/ 103 w 222"/>
              <a:gd name="T5" fmla="*/ 122 h 381"/>
              <a:gd name="T6" fmla="*/ 136 w 222"/>
              <a:gd name="T7" fmla="*/ 106 h 381"/>
              <a:gd name="T8" fmla="*/ 187 w 222"/>
              <a:gd name="T9" fmla="*/ 134 h 381"/>
              <a:gd name="T10" fmla="*/ 222 w 222"/>
              <a:gd name="T11" fmla="*/ 103 h 381"/>
              <a:gd name="T12" fmla="*/ 164 w 222"/>
              <a:gd name="T13" fmla="*/ 63 h 381"/>
              <a:gd name="T14" fmla="*/ 172 w 222"/>
              <a:gd name="T15" fmla="*/ 7 h 381"/>
              <a:gd name="T16" fmla="*/ 125 w 222"/>
              <a:gd name="T17" fmla="*/ 0 h 381"/>
              <a:gd name="T18" fmla="*/ 117 w 222"/>
              <a:gd name="T19" fmla="*/ 55 h 381"/>
              <a:gd name="T20" fmla="*/ 34 w 222"/>
              <a:gd name="T21" fmla="*/ 117 h 381"/>
              <a:gd name="T22" fmla="*/ 99 w 222"/>
              <a:gd name="T23" fmla="*/ 208 h 381"/>
              <a:gd name="T24" fmla="*/ 136 w 222"/>
              <a:gd name="T25" fmla="*/ 249 h 381"/>
              <a:gd name="T26" fmla="*/ 97 w 222"/>
              <a:gd name="T27" fmla="*/ 270 h 381"/>
              <a:gd name="T28" fmla="*/ 39 w 222"/>
              <a:gd name="T29" fmla="*/ 236 h 381"/>
              <a:gd name="T30" fmla="*/ 0 w 222"/>
              <a:gd name="T31" fmla="*/ 267 h 381"/>
              <a:gd name="T32" fmla="*/ 77 w 222"/>
              <a:gd name="T33" fmla="*/ 316 h 381"/>
              <a:gd name="T34" fmla="*/ 69 w 222"/>
              <a:gd name="T35" fmla="*/ 374 h 381"/>
              <a:gd name="T36" fmla="*/ 116 w 222"/>
              <a:gd name="T37" fmla="*/ 381 h 381"/>
              <a:gd name="T38" fmla="*/ 125 w 222"/>
              <a:gd name="T39" fmla="*/ 321 h 381"/>
              <a:gd name="T40" fmla="*/ 207 w 222"/>
              <a:gd name="T41" fmla="*/ 254 h 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2" h="381">
                <a:moveTo>
                  <a:pt x="207" y="254"/>
                </a:moveTo>
                <a:cubicBezTo>
                  <a:pt x="213" y="208"/>
                  <a:pt x="191" y="184"/>
                  <a:pt x="145" y="161"/>
                </a:cubicBezTo>
                <a:cubicBezTo>
                  <a:pt x="109" y="143"/>
                  <a:pt x="101" y="136"/>
                  <a:pt x="103" y="122"/>
                </a:cubicBezTo>
                <a:cubicBezTo>
                  <a:pt x="105" y="109"/>
                  <a:pt x="117" y="103"/>
                  <a:pt x="136" y="106"/>
                </a:cubicBezTo>
                <a:cubicBezTo>
                  <a:pt x="156" y="109"/>
                  <a:pt x="172" y="118"/>
                  <a:pt x="187" y="134"/>
                </a:cubicBezTo>
                <a:cubicBezTo>
                  <a:pt x="222" y="103"/>
                  <a:pt x="222" y="103"/>
                  <a:pt x="222" y="103"/>
                </a:cubicBezTo>
                <a:cubicBezTo>
                  <a:pt x="208" y="84"/>
                  <a:pt x="189" y="71"/>
                  <a:pt x="164" y="63"/>
                </a:cubicBezTo>
                <a:cubicBezTo>
                  <a:pt x="172" y="7"/>
                  <a:pt x="172" y="7"/>
                  <a:pt x="172" y="7"/>
                </a:cubicBezTo>
                <a:cubicBezTo>
                  <a:pt x="125" y="0"/>
                  <a:pt x="125" y="0"/>
                  <a:pt x="125" y="0"/>
                </a:cubicBezTo>
                <a:cubicBezTo>
                  <a:pt x="117" y="55"/>
                  <a:pt x="117" y="55"/>
                  <a:pt x="117" y="55"/>
                </a:cubicBezTo>
                <a:cubicBezTo>
                  <a:pt x="73" y="56"/>
                  <a:pt x="40" y="78"/>
                  <a:pt x="34" y="117"/>
                </a:cubicBezTo>
                <a:cubicBezTo>
                  <a:pt x="28" y="154"/>
                  <a:pt x="43" y="181"/>
                  <a:pt x="99" y="208"/>
                </a:cubicBezTo>
                <a:cubicBezTo>
                  <a:pt x="131" y="223"/>
                  <a:pt x="139" y="232"/>
                  <a:pt x="136" y="249"/>
                </a:cubicBezTo>
                <a:cubicBezTo>
                  <a:pt x="134" y="265"/>
                  <a:pt x="120" y="273"/>
                  <a:pt x="97" y="270"/>
                </a:cubicBezTo>
                <a:cubicBezTo>
                  <a:pt x="73" y="266"/>
                  <a:pt x="54" y="254"/>
                  <a:pt x="39" y="236"/>
                </a:cubicBezTo>
                <a:cubicBezTo>
                  <a:pt x="0" y="267"/>
                  <a:pt x="0" y="267"/>
                  <a:pt x="0" y="267"/>
                </a:cubicBezTo>
                <a:cubicBezTo>
                  <a:pt x="16" y="288"/>
                  <a:pt x="41" y="307"/>
                  <a:pt x="77" y="316"/>
                </a:cubicBezTo>
                <a:cubicBezTo>
                  <a:pt x="69" y="374"/>
                  <a:pt x="69" y="374"/>
                  <a:pt x="69" y="374"/>
                </a:cubicBezTo>
                <a:cubicBezTo>
                  <a:pt x="116" y="381"/>
                  <a:pt x="116" y="381"/>
                  <a:pt x="116" y="381"/>
                </a:cubicBezTo>
                <a:cubicBezTo>
                  <a:pt x="125" y="321"/>
                  <a:pt x="125" y="321"/>
                  <a:pt x="125" y="321"/>
                </a:cubicBezTo>
                <a:cubicBezTo>
                  <a:pt x="171" y="318"/>
                  <a:pt x="201" y="292"/>
                  <a:pt x="207" y="254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38" name="Freeform 182">
            <a:extLst>
              <a:ext uri="{FF2B5EF4-FFF2-40B4-BE49-F238E27FC236}">
                <a16:creationId xmlns:a16="http://schemas.microsoft.com/office/drawing/2014/main" id="{302ACBE3-2BCE-4605-8A2C-1D1CAA3112C6}"/>
              </a:ext>
            </a:extLst>
          </p:cNvPr>
          <p:cNvSpPr>
            <a:spLocks/>
          </p:cNvSpPr>
          <p:nvPr/>
        </p:nvSpPr>
        <p:spPr bwMode="auto">
          <a:xfrm>
            <a:off x="4154798" y="3552079"/>
            <a:ext cx="65339" cy="138421"/>
          </a:xfrm>
          <a:custGeom>
            <a:avLst/>
            <a:gdLst>
              <a:gd name="T0" fmla="*/ 37 w 100"/>
              <a:gd name="T1" fmla="*/ 210 h 212"/>
              <a:gd name="T2" fmla="*/ 83 w 100"/>
              <a:gd name="T3" fmla="*/ 166 h 212"/>
              <a:gd name="T4" fmla="*/ 97 w 100"/>
              <a:gd name="T5" fmla="*/ 56 h 212"/>
              <a:gd name="T6" fmla="*/ 63 w 100"/>
              <a:gd name="T7" fmla="*/ 3 h 212"/>
              <a:gd name="T8" fmla="*/ 17 w 100"/>
              <a:gd name="T9" fmla="*/ 46 h 212"/>
              <a:gd name="T10" fmla="*/ 3 w 100"/>
              <a:gd name="T11" fmla="*/ 156 h 212"/>
              <a:gd name="T12" fmla="*/ 37 w 100"/>
              <a:gd name="T13" fmla="*/ 210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0" h="212">
                <a:moveTo>
                  <a:pt x="37" y="210"/>
                </a:moveTo>
                <a:cubicBezTo>
                  <a:pt x="59" y="212"/>
                  <a:pt x="80" y="193"/>
                  <a:pt x="83" y="166"/>
                </a:cubicBezTo>
                <a:cubicBezTo>
                  <a:pt x="97" y="56"/>
                  <a:pt x="97" y="56"/>
                  <a:pt x="97" y="56"/>
                </a:cubicBezTo>
                <a:cubicBezTo>
                  <a:pt x="100" y="30"/>
                  <a:pt x="85" y="6"/>
                  <a:pt x="63" y="3"/>
                </a:cubicBezTo>
                <a:cubicBezTo>
                  <a:pt x="41" y="0"/>
                  <a:pt x="20" y="20"/>
                  <a:pt x="17" y="46"/>
                </a:cubicBezTo>
                <a:cubicBezTo>
                  <a:pt x="3" y="156"/>
                  <a:pt x="3" y="156"/>
                  <a:pt x="3" y="156"/>
                </a:cubicBezTo>
                <a:cubicBezTo>
                  <a:pt x="0" y="183"/>
                  <a:pt x="15" y="207"/>
                  <a:pt x="37" y="210"/>
                </a:cubicBezTo>
                <a:close/>
              </a:path>
            </a:pathLst>
          </a:custGeom>
          <a:solidFill>
            <a:srgbClr val="F29E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39" name="Freeform 183">
            <a:extLst>
              <a:ext uri="{FF2B5EF4-FFF2-40B4-BE49-F238E27FC236}">
                <a16:creationId xmlns:a16="http://schemas.microsoft.com/office/drawing/2014/main" id="{22B74D1C-F5C3-4C67-AE86-8B2D28E06EA2}"/>
              </a:ext>
            </a:extLst>
          </p:cNvPr>
          <p:cNvSpPr>
            <a:spLocks/>
          </p:cNvSpPr>
          <p:nvPr/>
        </p:nvSpPr>
        <p:spPr bwMode="auto">
          <a:xfrm>
            <a:off x="4134955" y="3465445"/>
            <a:ext cx="107930" cy="132129"/>
          </a:xfrm>
          <a:custGeom>
            <a:avLst/>
            <a:gdLst>
              <a:gd name="T0" fmla="*/ 158 w 165"/>
              <a:gd name="T1" fmla="*/ 116 h 202"/>
              <a:gd name="T2" fmla="*/ 70 w 165"/>
              <a:gd name="T3" fmla="*/ 201 h 202"/>
              <a:gd name="T4" fmla="*/ 7 w 165"/>
              <a:gd name="T5" fmla="*/ 90 h 202"/>
              <a:gd name="T6" fmla="*/ 96 w 165"/>
              <a:gd name="T7" fmla="*/ 6 h 202"/>
              <a:gd name="T8" fmla="*/ 158 w 165"/>
              <a:gd name="T9" fmla="*/ 116 h 2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5" h="202">
                <a:moveTo>
                  <a:pt x="158" y="116"/>
                </a:moveTo>
                <a:cubicBezTo>
                  <a:pt x="152" y="171"/>
                  <a:pt x="118" y="202"/>
                  <a:pt x="70" y="201"/>
                </a:cubicBezTo>
                <a:cubicBezTo>
                  <a:pt x="0" y="200"/>
                  <a:pt x="0" y="146"/>
                  <a:pt x="7" y="90"/>
                </a:cubicBezTo>
                <a:cubicBezTo>
                  <a:pt x="14" y="35"/>
                  <a:pt x="49" y="0"/>
                  <a:pt x="96" y="6"/>
                </a:cubicBezTo>
                <a:cubicBezTo>
                  <a:pt x="143" y="12"/>
                  <a:pt x="165" y="60"/>
                  <a:pt x="158" y="116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40" name="Freeform 184">
            <a:extLst>
              <a:ext uri="{FF2B5EF4-FFF2-40B4-BE49-F238E27FC236}">
                <a16:creationId xmlns:a16="http://schemas.microsoft.com/office/drawing/2014/main" id="{DD5F1883-9D67-4ABB-9891-E56A6075510F}"/>
              </a:ext>
            </a:extLst>
          </p:cNvPr>
          <p:cNvSpPr>
            <a:spLocks/>
          </p:cNvSpPr>
          <p:nvPr/>
        </p:nvSpPr>
        <p:spPr bwMode="auto">
          <a:xfrm>
            <a:off x="4140762" y="3457702"/>
            <a:ext cx="126321" cy="128257"/>
          </a:xfrm>
          <a:custGeom>
            <a:avLst/>
            <a:gdLst>
              <a:gd name="T0" fmla="*/ 28 w 193"/>
              <a:gd name="T1" fmla="*/ 80 h 196"/>
              <a:gd name="T2" fmla="*/ 42 w 193"/>
              <a:gd name="T3" fmla="*/ 80 h 196"/>
              <a:gd name="T4" fmla="*/ 96 w 193"/>
              <a:gd name="T5" fmla="*/ 83 h 196"/>
              <a:gd name="T6" fmla="*/ 101 w 193"/>
              <a:gd name="T7" fmla="*/ 103 h 196"/>
              <a:gd name="T8" fmla="*/ 100 w 193"/>
              <a:gd name="T9" fmla="*/ 120 h 196"/>
              <a:gd name="T10" fmla="*/ 113 w 193"/>
              <a:gd name="T11" fmla="*/ 113 h 196"/>
              <a:gd name="T12" fmla="*/ 117 w 193"/>
              <a:gd name="T13" fmla="*/ 194 h 196"/>
              <a:gd name="T14" fmla="*/ 117 w 193"/>
              <a:gd name="T15" fmla="*/ 196 h 196"/>
              <a:gd name="T16" fmla="*/ 144 w 193"/>
              <a:gd name="T17" fmla="*/ 159 h 196"/>
              <a:gd name="T18" fmla="*/ 152 w 193"/>
              <a:gd name="T19" fmla="*/ 22 h 196"/>
              <a:gd name="T20" fmla="*/ 111 w 193"/>
              <a:gd name="T21" fmla="*/ 6 h 196"/>
              <a:gd name="T22" fmla="*/ 57 w 193"/>
              <a:gd name="T23" fmla="*/ 3 h 196"/>
              <a:gd name="T24" fmla="*/ 1 w 193"/>
              <a:gd name="T25" fmla="*/ 61 h 196"/>
              <a:gd name="T26" fmla="*/ 5 w 193"/>
              <a:gd name="T27" fmla="*/ 75 h 196"/>
              <a:gd name="T28" fmla="*/ 28 w 193"/>
              <a:gd name="T29" fmla="*/ 80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3" h="196">
                <a:moveTo>
                  <a:pt x="28" y="80"/>
                </a:moveTo>
                <a:cubicBezTo>
                  <a:pt x="33" y="80"/>
                  <a:pt x="38" y="80"/>
                  <a:pt x="42" y="80"/>
                </a:cubicBezTo>
                <a:cubicBezTo>
                  <a:pt x="60" y="81"/>
                  <a:pt x="78" y="82"/>
                  <a:pt x="96" y="83"/>
                </a:cubicBezTo>
                <a:cubicBezTo>
                  <a:pt x="103" y="83"/>
                  <a:pt x="101" y="97"/>
                  <a:pt x="101" y="103"/>
                </a:cubicBezTo>
                <a:cubicBezTo>
                  <a:pt x="101" y="107"/>
                  <a:pt x="97" y="117"/>
                  <a:pt x="100" y="120"/>
                </a:cubicBezTo>
                <a:cubicBezTo>
                  <a:pt x="102" y="122"/>
                  <a:pt x="108" y="112"/>
                  <a:pt x="113" y="113"/>
                </a:cubicBezTo>
                <a:cubicBezTo>
                  <a:pt x="129" y="115"/>
                  <a:pt x="123" y="173"/>
                  <a:pt x="117" y="194"/>
                </a:cubicBezTo>
                <a:cubicBezTo>
                  <a:pt x="117" y="195"/>
                  <a:pt x="117" y="195"/>
                  <a:pt x="117" y="196"/>
                </a:cubicBezTo>
                <a:cubicBezTo>
                  <a:pt x="129" y="187"/>
                  <a:pt x="137" y="172"/>
                  <a:pt x="144" y="159"/>
                </a:cubicBezTo>
                <a:cubicBezTo>
                  <a:pt x="164" y="123"/>
                  <a:pt x="193" y="56"/>
                  <a:pt x="152" y="22"/>
                </a:cubicBezTo>
                <a:cubicBezTo>
                  <a:pt x="141" y="13"/>
                  <a:pt x="126" y="9"/>
                  <a:pt x="111" y="6"/>
                </a:cubicBezTo>
                <a:cubicBezTo>
                  <a:pt x="93" y="3"/>
                  <a:pt x="75" y="0"/>
                  <a:pt x="57" y="3"/>
                </a:cubicBezTo>
                <a:cubicBezTo>
                  <a:pt x="30" y="8"/>
                  <a:pt x="3" y="33"/>
                  <a:pt x="1" y="61"/>
                </a:cubicBezTo>
                <a:cubicBezTo>
                  <a:pt x="0" y="66"/>
                  <a:pt x="1" y="72"/>
                  <a:pt x="5" y="75"/>
                </a:cubicBezTo>
                <a:cubicBezTo>
                  <a:pt x="11" y="81"/>
                  <a:pt x="20" y="81"/>
                  <a:pt x="28" y="80"/>
                </a:cubicBezTo>
                <a:close/>
              </a:path>
            </a:pathLst>
          </a:custGeom>
          <a:solidFill>
            <a:srgbClr val="283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41" name="Freeform 185">
            <a:extLst>
              <a:ext uri="{FF2B5EF4-FFF2-40B4-BE49-F238E27FC236}">
                <a16:creationId xmlns:a16="http://schemas.microsoft.com/office/drawing/2014/main" id="{5D42D094-9073-4E81-B2BB-B5615BEF9259}"/>
              </a:ext>
            </a:extLst>
          </p:cNvPr>
          <p:cNvSpPr>
            <a:spLocks/>
          </p:cNvSpPr>
          <p:nvPr/>
        </p:nvSpPr>
        <p:spPr bwMode="auto">
          <a:xfrm>
            <a:off x="3987822" y="4609108"/>
            <a:ext cx="237638" cy="507219"/>
          </a:xfrm>
          <a:custGeom>
            <a:avLst/>
            <a:gdLst>
              <a:gd name="T0" fmla="*/ 0 w 363"/>
              <a:gd name="T1" fmla="*/ 0 h 775"/>
              <a:gd name="T2" fmla="*/ 204 w 363"/>
              <a:gd name="T3" fmla="*/ 42 h 775"/>
              <a:gd name="T4" fmla="*/ 363 w 363"/>
              <a:gd name="T5" fmla="*/ 754 h 775"/>
              <a:gd name="T6" fmla="*/ 284 w 363"/>
              <a:gd name="T7" fmla="*/ 758 h 775"/>
              <a:gd name="T8" fmla="*/ 0 w 363"/>
              <a:gd name="T9" fmla="*/ 0 h 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3" h="775">
                <a:moveTo>
                  <a:pt x="0" y="0"/>
                </a:moveTo>
                <a:cubicBezTo>
                  <a:pt x="204" y="42"/>
                  <a:pt x="204" y="42"/>
                  <a:pt x="204" y="42"/>
                </a:cubicBezTo>
                <a:cubicBezTo>
                  <a:pt x="355" y="198"/>
                  <a:pt x="332" y="528"/>
                  <a:pt x="363" y="754"/>
                </a:cubicBezTo>
                <a:cubicBezTo>
                  <a:pt x="338" y="769"/>
                  <a:pt x="305" y="775"/>
                  <a:pt x="284" y="758"/>
                </a:cubicBezTo>
                <a:cubicBezTo>
                  <a:pt x="172" y="519"/>
                  <a:pt x="69" y="246"/>
                  <a:pt x="0" y="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42" name="Freeform 186">
            <a:extLst>
              <a:ext uri="{FF2B5EF4-FFF2-40B4-BE49-F238E27FC236}">
                <a16:creationId xmlns:a16="http://schemas.microsoft.com/office/drawing/2014/main" id="{92D8275F-0342-4501-9D86-0A3847ECD4BC}"/>
              </a:ext>
            </a:extLst>
          </p:cNvPr>
          <p:cNvSpPr>
            <a:spLocks/>
          </p:cNvSpPr>
          <p:nvPr/>
        </p:nvSpPr>
        <p:spPr bwMode="auto">
          <a:xfrm>
            <a:off x="3987822" y="4140608"/>
            <a:ext cx="344115" cy="529482"/>
          </a:xfrm>
          <a:custGeom>
            <a:avLst/>
            <a:gdLst>
              <a:gd name="T0" fmla="*/ 185 w 526"/>
              <a:gd name="T1" fmla="*/ 809 h 809"/>
              <a:gd name="T2" fmla="*/ 0 w 526"/>
              <a:gd name="T3" fmla="*/ 716 h 809"/>
              <a:gd name="T4" fmla="*/ 316 w 526"/>
              <a:gd name="T5" fmla="*/ 0 h 809"/>
              <a:gd name="T6" fmla="*/ 526 w 526"/>
              <a:gd name="T7" fmla="*/ 73 h 809"/>
              <a:gd name="T8" fmla="*/ 185 w 526"/>
              <a:gd name="T9" fmla="*/ 809 h 8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6" h="809">
                <a:moveTo>
                  <a:pt x="185" y="809"/>
                </a:moveTo>
                <a:cubicBezTo>
                  <a:pt x="0" y="716"/>
                  <a:pt x="0" y="716"/>
                  <a:pt x="0" y="716"/>
                </a:cubicBezTo>
                <a:cubicBezTo>
                  <a:pt x="138" y="128"/>
                  <a:pt x="316" y="0"/>
                  <a:pt x="316" y="0"/>
                </a:cubicBezTo>
                <a:cubicBezTo>
                  <a:pt x="526" y="73"/>
                  <a:pt x="526" y="73"/>
                  <a:pt x="526" y="73"/>
                </a:cubicBezTo>
                <a:cubicBezTo>
                  <a:pt x="489" y="224"/>
                  <a:pt x="439" y="478"/>
                  <a:pt x="185" y="809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43" name="Freeform 187">
            <a:extLst>
              <a:ext uri="{FF2B5EF4-FFF2-40B4-BE49-F238E27FC236}">
                <a16:creationId xmlns:a16="http://schemas.microsoft.com/office/drawing/2014/main" id="{E9D3E3A7-DF94-41C3-83B3-A53C14AA18E9}"/>
              </a:ext>
            </a:extLst>
          </p:cNvPr>
          <p:cNvSpPr>
            <a:spLocks/>
          </p:cNvSpPr>
          <p:nvPr/>
        </p:nvSpPr>
        <p:spPr bwMode="auto">
          <a:xfrm>
            <a:off x="4086072" y="5138590"/>
            <a:ext cx="147133" cy="26620"/>
          </a:xfrm>
          <a:custGeom>
            <a:avLst/>
            <a:gdLst>
              <a:gd name="T0" fmla="*/ 221 w 225"/>
              <a:gd name="T1" fmla="*/ 0 h 41"/>
              <a:gd name="T2" fmla="*/ 207 w 225"/>
              <a:gd name="T3" fmla="*/ 25 h 41"/>
              <a:gd name="T4" fmla="*/ 66 w 225"/>
              <a:gd name="T5" fmla="*/ 40 h 41"/>
              <a:gd name="T6" fmla="*/ 48 w 225"/>
              <a:gd name="T7" fmla="*/ 39 h 41"/>
              <a:gd name="T8" fmla="*/ 0 w 225"/>
              <a:gd name="T9" fmla="*/ 18 h 41"/>
              <a:gd name="T10" fmla="*/ 221 w 225"/>
              <a:gd name="T11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5" h="41">
                <a:moveTo>
                  <a:pt x="221" y="0"/>
                </a:moveTo>
                <a:cubicBezTo>
                  <a:pt x="223" y="5"/>
                  <a:pt x="225" y="21"/>
                  <a:pt x="207" y="25"/>
                </a:cubicBezTo>
                <a:cubicBezTo>
                  <a:pt x="188" y="30"/>
                  <a:pt x="95" y="38"/>
                  <a:pt x="66" y="40"/>
                </a:cubicBezTo>
                <a:cubicBezTo>
                  <a:pt x="60" y="41"/>
                  <a:pt x="54" y="40"/>
                  <a:pt x="48" y="39"/>
                </a:cubicBezTo>
                <a:cubicBezTo>
                  <a:pt x="33" y="35"/>
                  <a:pt x="5" y="28"/>
                  <a:pt x="0" y="18"/>
                </a:cubicBezTo>
                <a:cubicBezTo>
                  <a:pt x="40" y="34"/>
                  <a:pt x="187" y="7"/>
                  <a:pt x="221" y="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44" name="Freeform 188">
            <a:extLst>
              <a:ext uri="{FF2B5EF4-FFF2-40B4-BE49-F238E27FC236}">
                <a16:creationId xmlns:a16="http://schemas.microsoft.com/office/drawing/2014/main" id="{BF7077B0-BE31-4745-BA61-37BAAFFF0C5F}"/>
              </a:ext>
            </a:extLst>
          </p:cNvPr>
          <p:cNvSpPr>
            <a:spLocks/>
          </p:cNvSpPr>
          <p:nvPr/>
        </p:nvSpPr>
        <p:spPr bwMode="auto">
          <a:xfrm>
            <a:off x="4084136" y="5096483"/>
            <a:ext cx="146164" cy="63886"/>
          </a:xfrm>
          <a:custGeom>
            <a:avLst/>
            <a:gdLst>
              <a:gd name="T0" fmla="*/ 14 w 224"/>
              <a:gd name="T1" fmla="*/ 59 h 98"/>
              <a:gd name="T2" fmla="*/ 131 w 224"/>
              <a:gd name="T3" fmla="*/ 7 h 98"/>
              <a:gd name="T4" fmla="*/ 136 w 224"/>
              <a:gd name="T5" fmla="*/ 7 h 98"/>
              <a:gd name="T6" fmla="*/ 209 w 224"/>
              <a:gd name="T7" fmla="*/ 4 h 98"/>
              <a:gd name="T8" fmla="*/ 218 w 224"/>
              <a:gd name="T9" fmla="*/ 1 h 98"/>
              <a:gd name="T10" fmla="*/ 224 w 224"/>
              <a:gd name="T11" fmla="*/ 62 h 98"/>
              <a:gd name="T12" fmla="*/ 224 w 224"/>
              <a:gd name="T13" fmla="*/ 64 h 98"/>
              <a:gd name="T14" fmla="*/ 3 w 224"/>
              <a:gd name="T15" fmla="*/ 82 h 98"/>
              <a:gd name="T16" fmla="*/ 2 w 224"/>
              <a:gd name="T17" fmla="*/ 79 h 98"/>
              <a:gd name="T18" fmla="*/ 14 w 224"/>
              <a:gd name="T19" fmla="*/ 59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4" h="98">
                <a:moveTo>
                  <a:pt x="14" y="59"/>
                </a:moveTo>
                <a:cubicBezTo>
                  <a:pt x="22" y="57"/>
                  <a:pt x="82" y="47"/>
                  <a:pt x="131" y="7"/>
                </a:cubicBezTo>
                <a:cubicBezTo>
                  <a:pt x="132" y="6"/>
                  <a:pt x="135" y="6"/>
                  <a:pt x="136" y="7"/>
                </a:cubicBezTo>
                <a:cubicBezTo>
                  <a:pt x="147" y="23"/>
                  <a:pt x="185" y="24"/>
                  <a:pt x="209" y="4"/>
                </a:cubicBezTo>
                <a:cubicBezTo>
                  <a:pt x="211" y="1"/>
                  <a:pt x="214" y="0"/>
                  <a:pt x="218" y="1"/>
                </a:cubicBezTo>
                <a:cubicBezTo>
                  <a:pt x="218" y="1"/>
                  <a:pt x="214" y="15"/>
                  <a:pt x="224" y="62"/>
                </a:cubicBezTo>
                <a:cubicBezTo>
                  <a:pt x="224" y="62"/>
                  <a:pt x="224" y="63"/>
                  <a:pt x="224" y="64"/>
                </a:cubicBezTo>
                <a:cubicBezTo>
                  <a:pt x="190" y="71"/>
                  <a:pt x="43" y="98"/>
                  <a:pt x="3" y="82"/>
                </a:cubicBezTo>
                <a:cubicBezTo>
                  <a:pt x="2" y="81"/>
                  <a:pt x="2" y="80"/>
                  <a:pt x="2" y="79"/>
                </a:cubicBezTo>
                <a:cubicBezTo>
                  <a:pt x="0" y="64"/>
                  <a:pt x="7" y="61"/>
                  <a:pt x="14" y="59"/>
                </a:cubicBezTo>
                <a:close/>
              </a:path>
            </a:pathLst>
          </a:custGeom>
          <a:solidFill>
            <a:srgbClr val="7F7F7F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45" name="Freeform 189">
            <a:extLst>
              <a:ext uri="{FF2B5EF4-FFF2-40B4-BE49-F238E27FC236}">
                <a16:creationId xmlns:a16="http://schemas.microsoft.com/office/drawing/2014/main" id="{9CFAB008-37C9-4E9D-9D6D-E897A345317D}"/>
              </a:ext>
            </a:extLst>
          </p:cNvPr>
          <p:cNvSpPr>
            <a:spLocks/>
          </p:cNvSpPr>
          <p:nvPr/>
        </p:nvSpPr>
        <p:spPr bwMode="auto">
          <a:xfrm>
            <a:off x="3898769" y="4117860"/>
            <a:ext cx="468500" cy="563361"/>
          </a:xfrm>
          <a:custGeom>
            <a:avLst/>
            <a:gdLst>
              <a:gd name="T0" fmla="*/ 194 w 716"/>
              <a:gd name="T1" fmla="*/ 826 h 861"/>
              <a:gd name="T2" fmla="*/ 0 w 716"/>
              <a:gd name="T3" fmla="*/ 756 h 861"/>
              <a:gd name="T4" fmla="*/ 195 w 716"/>
              <a:gd name="T5" fmla="*/ 0 h 861"/>
              <a:gd name="T6" fmla="*/ 654 w 716"/>
              <a:gd name="T7" fmla="*/ 7 h 861"/>
              <a:gd name="T8" fmla="*/ 194 w 716"/>
              <a:gd name="T9" fmla="*/ 826 h 8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16" h="861">
                <a:moveTo>
                  <a:pt x="194" y="826"/>
                </a:moveTo>
                <a:cubicBezTo>
                  <a:pt x="156" y="861"/>
                  <a:pt x="0" y="756"/>
                  <a:pt x="0" y="756"/>
                </a:cubicBezTo>
                <a:cubicBezTo>
                  <a:pt x="66" y="156"/>
                  <a:pt x="195" y="0"/>
                  <a:pt x="195" y="0"/>
                </a:cubicBezTo>
                <a:cubicBezTo>
                  <a:pt x="654" y="7"/>
                  <a:pt x="654" y="7"/>
                  <a:pt x="654" y="7"/>
                </a:cubicBezTo>
                <a:cubicBezTo>
                  <a:pt x="716" y="217"/>
                  <a:pt x="468" y="540"/>
                  <a:pt x="194" y="826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46" name="Freeform 190">
            <a:extLst>
              <a:ext uri="{FF2B5EF4-FFF2-40B4-BE49-F238E27FC236}">
                <a16:creationId xmlns:a16="http://schemas.microsoft.com/office/drawing/2014/main" id="{B017B1AB-5B18-49C9-974D-61E159F66E75}"/>
              </a:ext>
            </a:extLst>
          </p:cNvPr>
          <p:cNvSpPr>
            <a:spLocks/>
          </p:cNvSpPr>
          <p:nvPr/>
        </p:nvSpPr>
        <p:spPr bwMode="auto">
          <a:xfrm>
            <a:off x="3880377" y="4611043"/>
            <a:ext cx="178108" cy="509155"/>
          </a:xfrm>
          <a:custGeom>
            <a:avLst/>
            <a:gdLst>
              <a:gd name="T0" fmla="*/ 29 w 272"/>
              <a:gd name="T1" fmla="*/ 0 h 778"/>
              <a:gd name="T2" fmla="*/ 222 w 272"/>
              <a:gd name="T3" fmla="*/ 72 h 778"/>
              <a:gd name="T4" fmla="*/ 100 w 272"/>
              <a:gd name="T5" fmla="*/ 773 h 778"/>
              <a:gd name="T6" fmla="*/ 29 w 272"/>
              <a:gd name="T7" fmla="*/ 759 h 778"/>
              <a:gd name="T8" fmla="*/ 29 w 272"/>
              <a:gd name="T9" fmla="*/ 0 h 7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2" h="778">
                <a:moveTo>
                  <a:pt x="29" y="0"/>
                </a:moveTo>
                <a:cubicBezTo>
                  <a:pt x="222" y="72"/>
                  <a:pt x="222" y="72"/>
                  <a:pt x="222" y="72"/>
                </a:cubicBezTo>
                <a:cubicBezTo>
                  <a:pt x="272" y="257"/>
                  <a:pt x="155" y="552"/>
                  <a:pt x="100" y="773"/>
                </a:cubicBezTo>
                <a:cubicBezTo>
                  <a:pt x="70" y="778"/>
                  <a:pt x="52" y="775"/>
                  <a:pt x="29" y="759"/>
                </a:cubicBezTo>
                <a:cubicBezTo>
                  <a:pt x="14" y="496"/>
                  <a:pt x="0" y="255"/>
                  <a:pt x="29" y="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47" name="Freeform 191">
            <a:extLst>
              <a:ext uri="{FF2B5EF4-FFF2-40B4-BE49-F238E27FC236}">
                <a16:creationId xmlns:a16="http://schemas.microsoft.com/office/drawing/2014/main" id="{684A420E-39A8-4098-A1B8-156BD64D4ABE}"/>
              </a:ext>
            </a:extLst>
          </p:cNvPr>
          <p:cNvSpPr>
            <a:spLocks/>
          </p:cNvSpPr>
          <p:nvPr/>
        </p:nvSpPr>
        <p:spPr bwMode="auto">
          <a:xfrm>
            <a:off x="3807779" y="5139558"/>
            <a:ext cx="147617" cy="18392"/>
          </a:xfrm>
          <a:custGeom>
            <a:avLst/>
            <a:gdLst>
              <a:gd name="T0" fmla="*/ 223 w 225"/>
              <a:gd name="T1" fmla="*/ 0 h 28"/>
              <a:gd name="T2" fmla="*/ 206 w 225"/>
              <a:gd name="T3" fmla="*/ 25 h 28"/>
              <a:gd name="T4" fmla="*/ 65 w 225"/>
              <a:gd name="T5" fmla="*/ 28 h 28"/>
              <a:gd name="T6" fmla="*/ 47 w 225"/>
              <a:gd name="T7" fmla="*/ 25 h 28"/>
              <a:gd name="T8" fmla="*/ 0 w 225"/>
              <a:gd name="T9" fmla="*/ 0 h 28"/>
              <a:gd name="T10" fmla="*/ 223 w 225"/>
              <a:gd name="T11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5" h="28">
                <a:moveTo>
                  <a:pt x="223" y="0"/>
                </a:moveTo>
                <a:cubicBezTo>
                  <a:pt x="224" y="6"/>
                  <a:pt x="225" y="22"/>
                  <a:pt x="206" y="25"/>
                </a:cubicBezTo>
                <a:cubicBezTo>
                  <a:pt x="187" y="28"/>
                  <a:pt x="94" y="28"/>
                  <a:pt x="65" y="28"/>
                </a:cubicBezTo>
                <a:cubicBezTo>
                  <a:pt x="58" y="28"/>
                  <a:pt x="52" y="27"/>
                  <a:pt x="47" y="25"/>
                </a:cubicBezTo>
                <a:cubicBezTo>
                  <a:pt x="32" y="21"/>
                  <a:pt x="5" y="11"/>
                  <a:pt x="0" y="0"/>
                </a:cubicBezTo>
                <a:cubicBezTo>
                  <a:pt x="40" y="20"/>
                  <a:pt x="188" y="4"/>
                  <a:pt x="223" y="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48" name="Freeform 192">
            <a:extLst>
              <a:ext uri="{FF2B5EF4-FFF2-40B4-BE49-F238E27FC236}">
                <a16:creationId xmlns:a16="http://schemas.microsoft.com/office/drawing/2014/main" id="{F5D180CF-FA5A-4B73-80D1-2CC579DD34F2}"/>
              </a:ext>
            </a:extLst>
          </p:cNvPr>
          <p:cNvSpPr>
            <a:spLocks/>
          </p:cNvSpPr>
          <p:nvPr/>
        </p:nvSpPr>
        <p:spPr bwMode="auto">
          <a:xfrm>
            <a:off x="3807295" y="5096966"/>
            <a:ext cx="146649" cy="55659"/>
          </a:xfrm>
          <a:custGeom>
            <a:avLst/>
            <a:gdLst>
              <a:gd name="T0" fmla="*/ 15 w 224"/>
              <a:gd name="T1" fmla="*/ 43 h 85"/>
              <a:gd name="T2" fmla="*/ 135 w 224"/>
              <a:gd name="T3" fmla="*/ 1 h 85"/>
              <a:gd name="T4" fmla="*/ 140 w 224"/>
              <a:gd name="T5" fmla="*/ 2 h 85"/>
              <a:gd name="T6" fmla="*/ 213 w 224"/>
              <a:gd name="T7" fmla="*/ 4 h 85"/>
              <a:gd name="T8" fmla="*/ 223 w 224"/>
              <a:gd name="T9" fmla="*/ 3 h 85"/>
              <a:gd name="T10" fmla="*/ 223 w 224"/>
              <a:gd name="T11" fmla="*/ 64 h 85"/>
              <a:gd name="T12" fmla="*/ 224 w 224"/>
              <a:gd name="T13" fmla="*/ 65 h 85"/>
              <a:gd name="T14" fmla="*/ 1 w 224"/>
              <a:gd name="T15" fmla="*/ 65 h 85"/>
              <a:gd name="T16" fmla="*/ 1 w 224"/>
              <a:gd name="T17" fmla="*/ 63 h 85"/>
              <a:gd name="T18" fmla="*/ 15 w 224"/>
              <a:gd name="T19" fmla="*/ 43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4" h="85">
                <a:moveTo>
                  <a:pt x="15" y="43"/>
                </a:moveTo>
                <a:cubicBezTo>
                  <a:pt x="22" y="42"/>
                  <a:pt x="83" y="37"/>
                  <a:pt x="135" y="1"/>
                </a:cubicBezTo>
                <a:cubicBezTo>
                  <a:pt x="137" y="0"/>
                  <a:pt x="139" y="0"/>
                  <a:pt x="140" y="2"/>
                </a:cubicBezTo>
                <a:cubicBezTo>
                  <a:pt x="150" y="18"/>
                  <a:pt x="188" y="23"/>
                  <a:pt x="213" y="4"/>
                </a:cubicBezTo>
                <a:cubicBezTo>
                  <a:pt x="216" y="2"/>
                  <a:pt x="219" y="1"/>
                  <a:pt x="223" y="3"/>
                </a:cubicBezTo>
                <a:cubicBezTo>
                  <a:pt x="223" y="3"/>
                  <a:pt x="217" y="16"/>
                  <a:pt x="223" y="64"/>
                </a:cubicBezTo>
                <a:cubicBezTo>
                  <a:pt x="223" y="64"/>
                  <a:pt x="224" y="64"/>
                  <a:pt x="224" y="65"/>
                </a:cubicBezTo>
                <a:cubicBezTo>
                  <a:pt x="189" y="69"/>
                  <a:pt x="41" y="85"/>
                  <a:pt x="1" y="65"/>
                </a:cubicBezTo>
                <a:cubicBezTo>
                  <a:pt x="1" y="64"/>
                  <a:pt x="1" y="64"/>
                  <a:pt x="1" y="63"/>
                </a:cubicBezTo>
                <a:cubicBezTo>
                  <a:pt x="0" y="47"/>
                  <a:pt x="7" y="45"/>
                  <a:pt x="15" y="43"/>
                </a:cubicBezTo>
                <a:close/>
              </a:path>
            </a:pathLst>
          </a:custGeom>
          <a:solidFill>
            <a:srgbClr val="7F7F7F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49" name="Freeform 193">
            <a:extLst>
              <a:ext uri="{FF2B5EF4-FFF2-40B4-BE49-F238E27FC236}">
                <a16:creationId xmlns:a16="http://schemas.microsoft.com/office/drawing/2014/main" id="{5F49AB88-77DF-4450-9CBA-794C7BF1CCDB}"/>
              </a:ext>
            </a:extLst>
          </p:cNvPr>
          <p:cNvSpPr>
            <a:spLocks/>
          </p:cNvSpPr>
          <p:nvPr/>
        </p:nvSpPr>
        <p:spPr bwMode="auto">
          <a:xfrm>
            <a:off x="3993146" y="3614029"/>
            <a:ext cx="409938" cy="573526"/>
          </a:xfrm>
          <a:custGeom>
            <a:avLst/>
            <a:gdLst>
              <a:gd name="T0" fmla="*/ 534 w 627"/>
              <a:gd name="T1" fmla="*/ 845 h 877"/>
              <a:gd name="T2" fmla="*/ 0 w 627"/>
              <a:gd name="T3" fmla="*/ 774 h 877"/>
              <a:gd name="T4" fmla="*/ 98 w 627"/>
              <a:gd name="T5" fmla="*/ 216 h 877"/>
              <a:gd name="T6" fmla="*/ 129 w 627"/>
              <a:gd name="T7" fmla="*/ 135 h 877"/>
              <a:gd name="T8" fmla="*/ 256 w 627"/>
              <a:gd name="T9" fmla="*/ 14 h 877"/>
              <a:gd name="T10" fmla="*/ 339 w 627"/>
              <a:gd name="T11" fmla="*/ 0 h 877"/>
              <a:gd name="T12" fmla="*/ 534 w 627"/>
              <a:gd name="T13" fmla="*/ 845 h 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7" h="877">
                <a:moveTo>
                  <a:pt x="534" y="845"/>
                </a:moveTo>
                <a:cubicBezTo>
                  <a:pt x="338" y="877"/>
                  <a:pt x="162" y="853"/>
                  <a:pt x="0" y="774"/>
                </a:cubicBezTo>
                <a:cubicBezTo>
                  <a:pt x="98" y="216"/>
                  <a:pt x="98" y="216"/>
                  <a:pt x="98" y="216"/>
                </a:cubicBezTo>
                <a:cubicBezTo>
                  <a:pt x="104" y="188"/>
                  <a:pt x="114" y="160"/>
                  <a:pt x="129" y="135"/>
                </a:cubicBezTo>
                <a:cubicBezTo>
                  <a:pt x="151" y="98"/>
                  <a:pt x="204" y="53"/>
                  <a:pt x="256" y="14"/>
                </a:cubicBezTo>
                <a:cubicBezTo>
                  <a:pt x="289" y="25"/>
                  <a:pt x="298" y="20"/>
                  <a:pt x="339" y="0"/>
                </a:cubicBezTo>
                <a:cubicBezTo>
                  <a:pt x="627" y="61"/>
                  <a:pt x="534" y="845"/>
                  <a:pt x="534" y="84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50" name="Freeform 194">
            <a:extLst>
              <a:ext uri="{FF2B5EF4-FFF2-40B4-BE49-F238E27FC236}">
                <a16:creationId xmlns:a16="http://schemas.microsoft.com/office/drawing/2014/main" id="{48714FC5-B981-433C-8963-F30BCCFEBF2C}"/>
              </a:ext>
            </a:extLst>
          </p:cNvPr>
          <p:cNvSpPr>
            <a:spLocks/>
          </p:cNvSpPr>
          <p:nvPr/>
        </p:nvSpPr>
        <p:spPr bwMode="auto">
          <a:xfrm>
            <a:off x="3836818" y="3525944"/>
            <a:ext cx="460272" cy="309752"/>
          </a:xfrm>
          <a:custGeom>
            <a:avLst/>
            <a:gdLst>
              <a:gd name="T0" fmla="*/ 144 w 704"/>
              <a:gd name="T1" fmla="*/ 281 h 474"/>
              <a:gd name="T2" fmla="*/ 487 w 704"/>
              <a:gd name="T3" fmla="*/ 464 h 474"/>
              <a:gd name="T4" fmla="*/ 534 w 704"/>
              <a:gd name="T5" fmla="*/ 472 h 474"/>
              <a:gd name="T6" fmla="*/ 534 w 704"/>
              <a:gd name="T7" fmla="*/ 472 h 474"/>
              <a:gd name="T8" fmla="*/ 574 w 704"/>
              <a:gd name="T9" fmla="*/ 472 h 474"/>
              <a:gd name="T10" fmla="*/ 694 w 704"/>
              <a:gd name="T11" fmla="*/ 311 h 474"/>
              <a:gd name="T12" fmla="*/ 536 w 704"/>
              <a:gd name="T13" fmla="*/ 189 h 474"/>
              <a:gd name="T14" fmla="*/ 533 w 704"/>
              <a:gd name="T15" fmla="*/ 190 h 474"/>
              <a:gd name="T16" fmla="*/ 300 w 704"/>
              <a:gd name="T17" fmla="*/ 157 h 474"/>
              <a:gd name="T18" fmla="*/ 43 w 704"/>
              <a:gd name="T19" fmla="*/ 2 h 474"/>
              <a:gd name="T20" fmla="*/ 8 w 704"/>
              <a:gd name="T21" fmla="*/ 44 h 474"/>
              <a:gd name="T22" fmla="*/ 144 w 704"/>
              <a:gd name="T23" fmla="*/ 281 h 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04" h="474">
                <a:moveTo>
                  <a:pt x="144" y="281"/>
                </a:moveTo>
                <a:cubicBezTo>
                  <a:pt x="232" y="378"/>
                  <a:pt x="357" y="436"/>
                  <a:pt x="487" y="464"/>
                </a:cubicBezTo>
                <a:cubicBezTo>
                  <a:pt x="502" y="467"/>
                  <a:pt x="518" y="469"/>
                  <a:pt x="534" y="472"/>
                </a:cubicBezTo>
                <a:cubicBezTo>
                  <a:pt x="534" y="472"/>
                  <a:pt x="534" y="472"/>
                  <a:pt x="534" y="472"/>
                </a:cubicBezTo>
                <a:cubicBezTo>
                  <a:pt x="547" y="474"/>
                  <a:pt x="561" y="474"/>
                  <a:pt x="574" y="472"/>
                </a:cubicBezTo>
                <a:cubicBezTo>
                  <a:pt x="652" y="462"/>
                  <a:pt x="704" y="389"/>
                  <a:pt x="694" y="311"/>
                </a:cubicBezTo>
                <a:cubicBezTo>
                  <a:pt x="683" y="232"/>
                  <a:pt x="615" y="178"/>
                  <a:pt x="536" y="189"/>
                </a:cubicBezTo>
                <a:cubicBezTo>
                  <a:pt x="536" y="189"/>
                  <a:pt x="534" y="190"/>
                  <a:pt x="533" y="190"/>
                </a:cubicBezTo>
                <a:cubicBezTo>
                  <a:pt x="459" y="206"/>
                  <a:pt x="369" y="184"/>
                  <a:pt x="300" y="157"/>
                </a:cubicBezTo>
                <a:cubicBezTo>
                  <a:pt x="185" y="112"/>
                  <a:pt x="125" y="98"/>
                  <a:pt x="43" y="2"/>
                </a:cubicBezTo>
                <a:cubicBezTo>
                  <a:pt x="41" y="0"/>
                  <a:pt x="0" y="38"/>
                  <a:pt x="8" y="44"/>
                </a:cubicBezTo>
                <a:cubicBezTo>
                  <a:pt x="17" y="51"/>
                  <a:pt x="76" y="206"/>
                  <a:pt x="144" y="281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51" name="Freeform 195">
            <a:extLst>
              <a:ext uri="{FF2B5EF4-FFF2-40B4-BE49-F238E27FC236}">
                <a16:creationId xmlns:a16="http://schemas.microsoft.com/office/drawing/2014/main" id="{ECDADFA3-5224-4C84-8364-E0CE75E66AD3}"/>
              </a:ext>
            </a:extLst>
          </p:cNvPr>
          <p:cNvSpPr>
            <a:spLocks/>
          </p:cNvSpPr>
          <p:nvPr/>
        </p:nvSpPr>
        <p:spPr bwMode="auto">
          <a:xfrm>
            <a:off x="3783096" y="3459637"/>
            <a:ext cx="87118" cy="97282"/>
          </a:xfrm>
          <a:custGeom>
            <a:avLst/>
            <a:gdLst>
              <a:gd name="T0" fmla="*/ 128 w 133"/>
              <a:gd name="T1" fmla="*/ 107 h 149"/>
              <a:gd name="T2" fmla="*/ 116 w 133"/>
              <a:gd name="T3" fmla="*/ 92 h 149"/>
              <a:gd name="T4" fmla="*/ 107 w 133"/>
              <a:gd name="T5" fmla="*/ 23 h 149"/>
              <a:gd name="T6" fmla="*/ 96 w 133"/>
              <a:gd name="T7" fmla="*/ 24 h 149"/>
              <a:gd name="T8" fmla="*/ 97 w 133"/>
              <a:gd name="T9" fmla="*/ 50 h 149"/>
              <a:gd name="T10" fmla="*/ 96 w 133"/>
              <a:gd name="T11" fmla="*/ 54 h 149"/>
              <a:gd name="T12" fmla="*/ 68 w 133"/>
              <a:gd name="T13" fmla="*/ 33 h 149"/>
              <a:gd name="T14" fmla="*/ 52 w 133"/>
              <a:gd name="T15" fmla="*/ 11 h 149"/>
              <a:gd name="T16" fmla="*/ 44 w 133"/>
              <a:gd name="T17" fmla="*/ 2 h 149"/>
              <a:gd name="T18" fmla="*/ 35 w 133"/>
              <a:gd name="T19" fmla="*/ 7 h 149"/>
              <a:gd name="T20" fmla="*/ 43 w 133"/>
              <a:gd name="T21" fmla="*/ 18 h 149"/>
              <a:gd name="T22" fmla="*/ 51 w 133"/>
              <a:gd name="T23" fmla="*/ 30 h 149"/>
              <a:gd name="T24" fmla="*/ 60 w 133"/>
              <a:gd name="T25" fmla="*/ 47 h 149"/>
              <a:gd name="T26" fmla="*/ 58 w 133"/>
              <a:gd name="T27" fmla="*/ 49 h 149"/>
              <a:gd name="T28" fmla="*/ 57 w 133"/>
              <a:gd name="T29" fmla="*/ 48 h 149"/>
              <a:gd name="T30" fmla="*/ 38 w 133"/>
              <a:gd name="T31" fmla="*/ 24 h 149"/>
              <a:gd name="T32" fmla="*/ 18 w 133"/>
              <a:gd name="T33" fmla="*/ 7 h 149"/>
              <a:gd name="T34" fmla="*/ 24 w 133"/>
              <a:gd name="T35" fmla="*/ 29 h 149"/>
              <a:gd name="T36" fmla="*/ 43 w 133"/>
              <a:gd name="T37" fmla="*/ 51 h 149"/>
              <a:gd name="T38" fmla="*/ 45 w 133"/>
              <a:gd name="T39" fmla="*/ 55 h 149"/>
              <a:gd name="T40" fmla="*/ 37 w 133"/>
              <a:gd name="T41" fmla="*/ 52 h 149"/>
              <a:gd name="T42" fmla="*/ 19 w 133"/>
              <a:gd name="T43" fmla="*/ 30 h 149"/>
              <a:gd name="T44" fmla="*/ 12 w 133"/>
              <a:gd name="T45" fmla="*/ 25 h 149"/>
              <a:gd name="T46" fmla="*/ 4 w 133"/>
              <a:gd name="T47" fmla="*/ 27 h 149"/>
              <a:gd name="T48" fmla="*/ 4 w 133"/>
              <a:gd name="T49" fmla="*/ 32 h 149"/>
              <a:gd name="T50" fmla="*/ 11 w 133"/>
              <a:gd name="T51" fmla="*/ 41 h 149"/>
              <a:gd name="T52" fmla="*/ 23 w 133"/>
              <a:gd name="T53" fmla="*/ 54 h 149"/>
              <a:gd name="T54" fmla="*/ 36 w 133"/>
              <a:gd name="T55" fmla="*/ 70 h 149"/>
              <a:gd name="T56" fmla="*/ 37 w 133"/>
              <a:gd name="T57" fmla="*/ 71 h 149"/>
              <a:gd name="T58" fmla="*/ 35 w 133"/>
              <a:gd name="T59" fmla="*/ 73 h 149"/>
              <a:gd name="T60" fmla="*/ 32 w 133"/>
              <a:gd name="T61" fmla="*/ 71 h 149"/>
              <a:gd name="T62" fmla="*/ 11 w 133"/>
              <a:gd name="T63" fmla="*/ 47 h 149"/>
              <a:gd name="T64" fmla="*/ 8 w 133"/>
              <a:gd name="T65" fmla="*/ 45 h 149"/>
              <a:gd name="T66" fmla="*/ 0 w 133"/>
              <a:gd name="T67" fmla="*/ 51 h 149"/>
              <a:gd name="T68" fmla="*/ 15 w 133"/>
              <a:gd name="T69" fmla="*/ 71 h 149"/>
              <a:gd name="T70" fmla="*/ 35 w 133"/>
              <a:gd name="T71" fmla="*/ 91 h 149"/>
              <a:gd name="T72" fmla="*/ 73 w 133"/>
              <a:gd name="T73" fmla="*/ 125 h 149"/>
              <a:gd name="T74" fmla="*/ 94 w 133"/>
              <a:gd name="T75" fmla="*/ 149 h 149"/>
              <a:gd name="T76" fmla="*/ 133 w 133"/>
              <a:gd name="T77" fmla="*/ 115 h 149"/>
              <a:gd name="T78" fmla="*/ 128 w 133"/>
              <a:gd name="T79" fmla="*/ 107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33" h="149">
                <a:moveTo>
                  <a:pt x="128" y="107"/>
                </a:moveTo>
                <a:cubicBezTo>
                  <a:pt x="116" y="92"/>
                  <a:pt x="116" y="92"/>
                  <a:pt x="116" y="92"/>
                </a:cubicBezTo>
                <a:cubicBezTo>
                  <a:pt x="116" y="92"/>
                  <a:pt x="117" y="44"/>
                  <a:pt x="107" y="23"/>
                </a:cubicBezTo>
                <a:cubicBezTo>
                  <a:pt x="105" y="18"/>
                  <a:pt x="98" y="19"/>
                  <a:pt x="96" y="24"/>
                </a:cubicBezTo>
                <a:cubicBezTo>
                  <a:pt x="94" y="33"/>
                  <a:pt x="96" y="42"/>
                  <a:pt x="97" y="50"/>
                </a:cubicBezTo>
                <a:cubicBezTo>
                  <a:pt x="97" y="52"/>
                  <a:pt x="97" y="53"/>
                  <a:pt x="96" y="54"/>
                </a:cubicBezTo>
                <a:cubicBezTo>
                  <a:pt x="90" y="61"/>
                  <a:pt x="72" y="37"/>
                  <a:pt x="68" y="33"/>
                </a:cubicBezTo>
                <a:cubicBezTo>
                  <a:pt x="63" y="25"/>
                  <a:pt x="58" y="18"/>
                  <a:pt x="52" y="11"/>
                </a:cubicBezTo>
                <a:cubicBezTo>
                  <a:pt x="50" y="8"/>
                  <a:pt x="47" y="4"/>
                  <a:pt x="44" y="2"/>
                </a:cubicBezTo>
                <a:cubicBezTo>
                  <a:pt x="40" y="0"/>
                  <a:pt x="34" y="1"/>
                  <a:pt x="35" y="7"/>
                </a:cubicBezTo>
                <a:cubicBezTo>
                  <a:pt x="36" y="11"/>
                  <a:pt x="40" y="15"/>
                  <a:pt x="43" y="18"/>
                </a:cubicBezTo>
                <a:cubicBezTo>
                  <a:pt x="45" y="22"/>
                  <a:pt x="48" y="26"/>
                  <a:pt x="51" y="30"/>
                </a:cubicBezTo>
                <a:cubicBezTo>
                  <a:pt x="53" y="35"/>
                  <a:pt x="60" y="41"/>
                  <a:pt x="60" y="47"/>
                </a:cubicBezTo>
                <a:cubicBezTo>
                  <a:pt x="60" y="48"/>
                  <a:pt x="60" y="49"/>
                  <a:pt x="58" y="49"/>
                </a:cubicBezTo>
                <a:cubicBezTo>
                  <a:pt x="58" y="49"/>
                  <a:pt x="58" y="48"/>
                  <a:pt x="57" y="48"/>
                </a:cubicBezTo>
                <a:cubicBezTo>
                  <a:pt x="51" y="39"/>
                  <a:pt x="45" y="31"/>
                  <a:pt x="38" y="24"/>
                </a:cubicBezTo>
                <a:cubicBezTo>
                  <a:pt x="33" y="17"/>
                  <a:pt x="27" y="6"/>
                  <a:pt x="18" y="7"/>
                </a:cubicBezTo>
                <a:cubicBezTo>
                  <a:pt x="7" y="8"/>
                  <a:pt x="21" y="25"/>
                  <a:pt x="24" y="29"/>
                </a:cubicBezTo>
                <a:cubicBezTo>
                  <a:pt x="30" y="36"/>
                  <a:pt x="36" y="45"/>
                  <a:pt x="43" y="51"/>
                </a:cubicBezTo>
                <a:cubicBezTo>
                  <a:pt x="44" y="53"/>
                  <a:pt x="45" y="54"/>
                  <a:pt x="45" y="55"/>
                </a:cubicBezTo>
                <a:cubicBezTo>
                  <a:pt x="46" y="62"/>
                  <a:pt x="38" y="53"/>
                  <a:pt x="37" y="52"/>
                </a:cubicBezTo>
                <a:cubicBezTo>
                  <a:pt x="31" y="45"/>
                  <a:pt x="25" y="37"/>
                  <a:pt x="19" y="30"/>
                </a:cubicBezTo>
                <a:cubicBezTo>
                  <a:pt x="17" y="28"/>
                  <a:pt x="15" y="26"/>
                  <a:pt x="12" y="25"/>
                </a:cubicBezTo>
                <a:cubicBezTo>
                  <a:pt x="9" y="23"/>
                  <a:pt x="6" y="24"/>
                  <a:pt x="4" y="27"/>
                </a:cubicBezTo>
                <a:cubicBezTo>
                  <a:pt x="3" y="28"/>
                  <a:pt x="3" y="30"/>
                  <a:pt x="4" y="32"/>
                </a:cubicBezTo>
                <a:cubicBezTo>
                  <a:pt x="6" y="36"/>
                  <a:pt x="9" y="38"/>
                  <a:pt x="11" y="41"/>
                </a:cubicBezTo>
                <a:cubicBezTo>
                  <a:pt x="15" y="45"/>
                  <a:pt x="19" y="50"/>
                  <a:pt x="23" y="54"/>
                </a:cubicBezTo>
                <a:cubicBezTo>
                  <a:pt x="28" y="60"/>
                  <a:pt x="32" y="65"/>
                  <a:pt x="36" y="70"/>
                </a:cubicBezTo>
                <a:cubicBezTo>
                  <a:pt x="37" y="70"/>
                  <a:pt x="37" y="71"/>
                  <a:pt x="37" y="71"/>
                </a:cubicBezTo>
                <a:cubicBezTo>
                  <a:pt x="37" y="72"/>
                  <a:pt x="36" y="73"/>
                  <a:pt x="35" y="73"/>
                </a:cubicBezTo>
                <a:cubicBezTo>
                  <a:pt x="34" y="73"/>
                  <a:pt x="33" y="72"/>
                  <a:pt x="32" y="71"/>
                </a:cubicBezTo>
                <a:cubicBezTo>
                  <a:pt x="26" y="63"/>
                  <a:pt x="19" y="55"/>
                  <a:pt x="11" y="47"/>
                </a:cubicBezTo>
                <a:cubicBezTo>
                  <a:pt x="10" y="46"/>
                  <a:pt x="9" y="45"/>
                  <a:pt x="8" y="45"/>
                </a:cubicBezTo>
                <a:cubicBezTo>
                  <a:pt x="4" y="42"/>
                  <a:pt x="0" y="47"/>
                  <a:pt x="0" y="51"/>
                </a:cubicBezTo>
                <a:cubicBezTo>
                  <a:pt x="1" y="58"/>
                  <a:pt x="10" y="66"/>
                  <a:pt x="15" y="71"/>
                </a:cubicBezTo>
                <a:cubicBezTo>
                  <a:pt x="22" y="78"/>
                  <a:pt x="28" y="85"/>
                  <a:pt x="35" y="91"/>
                </a:cubicBezTo>
                <a:cubicBezTo>
                  <a:pt x="47" y="103"/>
                  <a:pt x="60" y="113"/>
                  <a:pt x="73" y="125"/>
                </a:cubicBezTo>
                <a:cubicBezTo>
                  <a:pt x="81" y="132"/>
                  <a:pt x="87" y="140"/>
                  <a:pt x="94" y="149"/>
                </a:cubicBezTo>
                <a:cubicBezTo>
                  <a:pt x="133" y="115"/>
                  <a:pt x="133" y="115"/>
                  <a:pt x="133" y="115"/>
                </a:cubicBezTo>
                <a:lnTo>
                  <a:pt x="128" y="107"/>
                </a:ln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52" name="Rectangle 196">
            <a:extLst>
              <a:ext uri="{FF2B5EF4-FFF2-40B4-BE49-F238E27FC236}">
                <a16:creationId xmlns:a16="http://schemas.microsoft.com/office/drawing/2014/main" id="{A195DC62-1AAA-4097-9E87-C2C29C22E8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75352" y="5245551"/>
            <a:ext cx="510607" cy="30007"/>
          </a:xfrm>
          <a:prstGeom prst="rect">
            <a:avLst/>
          </a:prstGeom>
          <a:solidFill>
            <a:srgbClr val="8F63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53" name="Freeform 197">
            <a:extLst>
              <a:ext uri="{FF2B5EF4-FFF2-40B4-BE49-F238E27FC236}">
                <a16:creationId xmlns:a16="http://schemas.microsoft.com/office/drawing/2014/main" id="{CCA5E0EB-A893-493C-9869-785A17687607}"/>
              </a:ext>
            </a:extLst>
          </p:cNvPr>
          <p:cNvSpPr>
            <a:spLocks noEditPoints="1"/>
          </p:cNvSpPr>
          <p:nvPr/>
        </p:nvSpPr>
        <p:spPr bwMode="auto">
          <a:xfrm>
            <a:off x="3757444" y="5195700"/>
            <a:ext cx="546422" cy="160684"/>
          </a:xfrm>
          <a:custGeom>
            <a:avLst/>
            <a:gdLst>
              <a:gd name="T0" fmla="*/ 1049 w 1129"/>
              <a:gd name="T1" fmla="*/ 0 h 332"/>
              <a:gd name="T2" fmla="*/ 1129 w 1129"/>
              <a:gd name="T3" fmla="*/ 0 h 332"/>
              <a:gd name="T4" fmla="*/ 1129 w 1129"/>
              <a:gd name="T5" fmla="*/ 332 h 332"/>
              <a:gd name="T6" fmla="*/ 1049 w 1129"/>
              <a:gd name="T7" fmla="*/ 332 h 332"/>
              <a:gd name="T8" fmla="*/ 1049 w 1129"/>
              <a:gd name="T9" fmla="*/ 0 h 332"/>
              <a:gd name="T10" fmla="*/ 0 w 1129"/>
              <a:gd name="T11" fmla="*/ 0 h 332"/>
              <a:gd name="T12" fmla="*/ 80 w 1129"/>
              <a:gd name="T13" fmla="*/ 0 h 332"/>
              <a:gd name="T14" fmla="*/ 80 w 1129"/>
              <a:gd name="T15" fmla="*/ 332 h 332"/>
              <a:gd name="T16" fmla="*/ 0 w 1129"/>
              <a:gd name="T17" fmla="*/ 332 h 332"/>
              <a:gd name="T18" fmla="*/ 0 w 1129"/>
              <a:gd name="T19" fmla="*/ 0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29" h="332">
                <a:moveTo>
                  <a:pt x="1049" y="0"/>
                </a:moveTo>
                <a:lnTo>
                  <a:pt x="1129" y="0"/>
                </a:lnTo>
                <a:lnTo>
                  <a:pt x="1129" y="332"/>
                </a:lnTo>
                <a:lnTo>
                  <a:pt x="1049" y="332"/>
                </a:lnTo>
                <a:lnTo>
                  <a:pt x="1049" y="0"/>
                </a:lnTo>
                <a:close/>
                <a:moveTo>
                  <a:pt x="0" y="0"/>
                </a:moveTo>
                <a:lnTo>
                  <a:pt x="80" y="0"/>
                </a:lnTo>
                <a:lnTo>
                  <a:pt x="80" y="332"/>
                </a:lnTo>
                <a:lnTo>
                  <a:pt x="0" y="332"/>
                </a:lnTo>
                <a:lnTo>
                  <a:pt x="0" y="0"/>
                </a:lnTo>
                <a:close/>
              </a:path>
            </a:pathLst>
          </a:custGeom>
          <a:solidFill>
            <a:srgbClr val="8259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54" name="Freeform 198">
            <a:extLst>
              <a:ext uri="{FF2B5EF4-FFF2-40B4-BE49-F238E27FC236}">
                <a16:creationId xmlns:a16="http://schemas.microsoft.com/office/drawing/2014/main" id="{B962B369-EF17-48F2-AFAB-8BC06D94CB70}"/>
              </a:ext>
            </a:extLst>
          </p:cNvPr>
          <p:cNvSpPr>
            <a:spLocks/>
          </p:cNvSpPr>
          <p:nvPr/>
        </p:nvSpPr>
        <p:spPr bwMode="auto">
          <a:xfrm>
            <a:off x="3704690" y="5154561"/>
            <a:ext cx="651931" cy="59530"/>
          </a:xfrm>
          <a:custGeom>
            <a:avLst/>
            <a:gdLst>
              <a:gd name="T0" fmla="*/ 45 w 997"/>
              <a:gd name="T1" fmla="*/ 0 h 91"/>
              <a:gd name="T2" fmla="*/ 952 w 997"/>
              <a:gd name="T3" fmla="*/ 0 h 91"/>
              <a:gd name="T4" fmla="*/ 997 w 997"/>
              <a:gd name="T5" fmla="*/ 46 h 91"/>
              <a:gd name="T6" fmla="*/ 952 w 997"/>
              <a:gd name="T7" fmla="*/ 91 h 91"/>
              <a:gd name="T8" fmla="*/ 45 w 997"/>
              <a:gd name="T9" fmla="*/ 91 h 91"/>
              <a:gd name="T10" fmla="*/ 0 w 997"/>
              <a:gd name="T11" fmla="*/ 46 h 91"/>
              <a:gd name="T12" fmla="*/ 45 w 997"/>
              <a:gd name="T13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7" h="91">
                <a:moveTo>
                  <a:pt x="45" y="0"/>
                </a:moveTo>
                <a:cubicBezTo>
                  <a:pt x="952" y="0"/>
                  <a:pt x="952" y="0"/>
                  <a:pt x="952" y="0"/>
                </a:cubicBezTo>
                <a:cubicBezTo>
                  <a:pt x="977" y="0"/>
                  <a:pt x="997" y="21"/>
                  <a:pt x="997" y="46"/>
                </a:cubicBezTo>
                <a:cubicBezTo>
                  <a:pt x="997" y="70"/>
                  <a:pt x="977" y="91"/>
                  <a:pt x="952" y="91"/>
                </a:cubicBezTo>
                <a:cubicBezTo>
                  <a:pt x="45" y="91"/>
                  <a:pt x="45" y="91"/>
                  <a:pt x="45" y="91"/>
                </a:cubicBezTo>
                <a:cubicBezTo>
                  <a:pt x="20" y="91"/>
                  <a:pt x="0" y="70"/>
                  <a:pt x="0" y="46"/>
                </a:cubicBezTo>
                <a:cubicBezTo>
                  <a:pt x="0" y="21"/>
                  <a:pt x="20" y="0"/>
                  <a:pt x="4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47" name="Freeform 249">
            <a:extLst>
              <a:ext uri="{FF2B5EF4-FFF2-40B4-BE49-F238E27FC236}">
                <a16:creationId xmlns:a16="http://schemas.microsoft.com/office/drawing/2014/main" id="{2C60A401-94EE-4748-8CA7-73C8FDB4DB8F}"/>
              </a:ext>
            </a:extLst>
          </p:cNvPr>
          <p:cNvSpPr>
            <a:spLocks/>
          </p:cNvSpPr>
          <p:nvPr/>
        </p:nvSpPr>
        <p:spPr bwMode="auto">
          <a:xfrm>
            <a:off x="748010" y="4331783"/>
            <a:ext cx="236186" cy="479632"/>
          </a:xfrm>
          <a:custGeom>
            <a:avLst/>
            <a:gdLst>
              <a:gd name="T0" fmla="*/ 38 w 361"/>
              <a:gd name="T1" fmla="*/ 725 h 733"/>
              <a:gd name="T2" fmla="*/ 249 w 361"/>
              <a:gd name="T3" fmla="*/ 733 h 733"/>
              <a:gd name="T4" fmla="*/ 303 w 361"/>
              <a:gd name="T5" fmla="*/ 16 h 733"/>
              <a:gd name="T6" fmla="*/ 41 w 361"/>
              <a:gd name="T7" fmla="*/ 0 h 733"/>
              <a:gd name="T8" fmla="*/ 38 w 361"/>
              <a:gd name="T9" fmla="*/ 725 h 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1" h="733">
                <a:moveTo>
                  <a:pt x="38" y="725"/>
                </a:moveTo>
                <a:cubicBezTo>
                  <a:pt x="249" y="733"/>
                  <a:pt x="249" y="733"/>
                  <a:pt x="249" y="733"/>
                </a:cubicBezTo>
                <a:cubicBezTo>
                  <a:pt x="283" y="487"/>
                  <a:pt x="361" y="192"/>
                  <a:pt x="303" y="16"/>
                </a:cubicBezTo>
                <a:cubicBezTo>
                  <a:pt x="41" y="0"/>
                  <a:pt x="41" y="0"/>
                  <a:pt x="41" y="0"/>
                </a:cubicBezTo>
                <a:cubicBezTo>
                  <a:pt x="14" y="90"/>
                  <a:pt x="0" y="344"/>
                  <a:pt x="38" y="725"/>
                </a:cubicBezTo>
                <a:close/>
              </a:path>
            </a:pathLst>
          </a:custGeom>
          <a:solidFill>
            <a:srgbClr val="7E46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48" name="Freeform 250">
            <a:extLst>
              <a:ext uri="{FF2B5EF4-FFF2-40B4-BE49-F238E27FC236}">
                <a16:creationId xmlns:a16="http://schemas.microsoft.com/office/drawing/2014/main" id="{8F9CE691-0A4D-4192-AFF5-C81340A20A0F}"/>
              </a:ext>
            </a:extLst>
          </p:cNvPr>
          <p:cNvSpPr>
            <a:spLocks/>
          </p:cNvSpPr>
          <p:nvPr/>
        </p:nvSpPr>
        <p:spPr bwMode="auto">
          <a:xfrm>
            <a:off x="774146" y="4789635"/>
            <a:ext cx="137453" cy="509155"/>
          </a:xfrm>
          <a:custGeom>
            <a:avLst/>
            <a:gdLst>
              <a:gd name="T0" fmla="*/ 210 w 210"/>
              <a:gd name="T1" fmla="*/ 0 h 778"/>
              <a:gd name="T2" fmla="*/ 0 w 210"/>
              <a:gd name="T3" fmla="*/ 7 h 778"/>
              <a:gd name="T4" fmla="*/ 73 w 210"/>
              <a:gd name="T5" fmla="*/ 778 h 778"/>
              <a:gd name="T6" fmla="*/ 137 w 210"/>
              <a:gd name="T7" fmla="*/ 775 h 778"/>
              <a:gd name="T8" fmla="*/ 210 w 210"/>
              <a:gd name="T9" fmla="*/ 0 h 7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0" h="778">
                <a:moveTo>
                  <a:pt x="210" y="0"/>
                </a:moveTo>
                <a:cubicBezTo>
                  <a:pt x="210" y="0"/>
                  <a:pt x="0" y="7"/>
                  <a:pt x="0" y="7"/>
                </a:cubicBezTo>
                <a:cubicBezTo>
                  <a:pt x="1" y="135"/>
                  <a:pt x="30" y="492"/>
                  <a:pt x="73" y="778"/>
                </a:cubicBezTo>
                <a:cubicBezTo>
                  <a:pt x="137" y="775"/>
                  <a:pt x="137" y="775"/>
                  <a:pt x="137" y="775"/>
                </a:cubicBezTo>
                <a:cubicBezTo>
                  <a:pt x="188" y="499"/>
                  <a:pt x="210" y="149"/>
                  <a:pt x="210" y="0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49" name="Freeform 251">
            <a:extLst>
              <a:ext uri="{FF2B5EF4-FFF2-40B4-BE49-F238E27FC236}">
                <a16:creationId xmlns:a16="http://schemas.microsoft.com/office/drawing/2014/main" id="{8225E5F6-B5AF-4D61-9581-375A14007A38}"/>
              </a:ext>
            </a:extLst>
          </p:cNvPr>
          <p:cNvSpPr>
            <a:spLocks/>
          </p:cNvSpPr>
          <p:nvPr/>
        </p:nvSpPr>
        <p:spPr bwMode="auto">
          <a:xfrm>
            <a:off x="903371" y="4339042"/>
            <a:ext cx="185368" cy="480116"/>
          </a:xfrm>
          <a:custGeom>
            <a:avLst/>
            <a:gdLst>
              <a:gd name="T0" fmla="*/ 38 w 283"/>
              <a:gd name="T1" fmla="*/ 726 h 734"/>
              <a:gd name="T2" fmla="*/ 248 w 283"/>
              <a:gd name="T3" fmla="*/ 734 h 734"/>
              <a:gd name="T4" fmla="*/ 249 w 283"/>
              <a:gd name="T5" fmla="*/ 4 h 734"/>
              <a:gd name="T6" fmla="*/ 40 w 283"/>
              <a:gd name="T7" fmla="*/ 0 h 734"/>
              <a:gd name="T8" fmla="*/ 38 w 283"/>
              <a:gd name="T9" fmla="*/ 726 h 7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" h="734">
                <a:moveTo>
                  <a:pt x="38" y="726"/>
                </a:moveTo>
                <a:cubicBezTo>
                  <a:pt x="248" y="734"/>
                  <a:pt x="248" y="734"/>
                  <a:pt x="248" y="734"/>
                </a:cubicBezTo>
                <a:cubicBezTo>
                  <a:pt x="283" y="488"/>
                  <a:pt x="227" y="171"/>
                  <a:pt x="249" y="4"/>
                </a:cubicBezTo>
                <a:cubicBezTo>
                  <a:pt x="40" y="0"/>
                  <a:pt x="40" y="0"/>
                  <a:pt x="40" y="0"/>
                </a:cubicBezTo>
                <a:cubicBezTo>
                  <a:pt x="14" y="90"/>
                  <a:pt x="0" y="344"/>
                  <a:pt x="38" y="726"/>
                </a:cubicBezTo>
                <a:close/>
              </a:path>
            </a:pathLst>
          </a:custGeom>
          <a:solidFill>
            <a:srgbClr val="7E46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50" name="Freeform 252">
            <a:extLst>
              <a:ext uri="{FF2B5EF4-FFF2-40B4-BE49-F238E27FC236}">
                <a16:creationId xmlns:a16="http://schemas.microsoft.com/office/drawing/2014/main" id="{013C585A-0E40-4E73-92AC-205ABAC6C007}"/>
              </a:ext>
            </a:extLst>
          </p:cNvPr>
          <p:cNvSpPr>
            <a:spLocks/>
          </p:cNvSpPr>
          <p:nvPr/>
        </p:nvSpPr>
        <p:spPr bwMode="auto">
          <a:xfrm>
            <a:off x="929022" y="4797379"/>
            <a:ext cx="137937" cy="499959"/>
          </a:xfrm>
          <a:custGeom>
            <a:avLst/>
            <a:gdLst>
              <a:gd name="T0" fmla="*/ 210 w 211"/>
              <a:gd name="T1" fmla="*/ 0 h 764"/>
              <a:gd name="T2" fmla="*/ 0 w 211"/>
              <a:gd name="T3" fmla="*/ 7 h 764"/>
              <a:gd name="T4" fmla="*/ 73 w 211"/>
              <a:gd name="T5" fmla="*/ 764 h 764"/>
              <a:gd name="T6" fmla="*/ 138 w 211"/>
              <a:gd name="T7" fmla="*/ 764 h 764"/>
              <a:gd name="T8" fmla="*/ 210 w 211"/>
              <a:gd name="T9" fmla="*/ 0 h 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1" h="764">
                <a:moveTo>
                  <a:pt x="210" y="0"/>
                </a:moveTo>
                <a:cubicBezTo>
                  <a:pt x="210" y="0"/>
                  <a:pt x="0" y="6"/>
                  <a:pt x="0" y="7"/>
                </a:cubicBezTo>
                <a:cubicBezTo>
                  <a:pt x="2" y="134"/>
                  <a:pt x="30" y="478"/>
                  <a:pt x="73" y="764"/>
                </a:cubicBezTo>
                <a:cubicBezTo>
                  <a:pt x="138" y="764"/>
                  <a:pt x="138" y="764"/>
                  <a:pt x="138" y="764"/>
                </a:cubicBezTo>
                <a:cubicBezTo>
                  <a:pt x="189" y="488"/>
                  <a:pt x="211" y="149"/>
                  <a:pt x="210" y="0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51" name="Freeform 253">
            <a:extLst>
              <a:ext uri="{FF2B5EF4-FFF2-40B4-BE49-F238E27FC236}">
                <a16:creationId xmlns:a16="http://schemas.microsoft.com/office/drawing/2014/main" id="{6E813C3D-5866-4F1C-BEE0-32EAB7FCA0A6}"/>
              </a:ext>
            </a:extLst>
          </p:cNvPr>
          <p:cNvSpPr>
            <a:spLocks/>
          </p:cNvSpPr>
          <p:nvPr/>
        </p:nvSpPr>
        <p:spPr bwMode="auto">
          <a:xfrm>
            <a:off x="975001" y="5292014"/>
            <a:ext cx="147617" cy="67274"/>
          </a:xfrm>
          <a:custGeom>
            <a:avLst/>
            <a:gdLst>
              <a:gd name="T0" fmla="*/ 2 w 226"/>
              <a:gd name="T1" fmla="*/ 0 h 103"/>
              <a:gd name="T2" fmla="*/ 0 w 226"/>
              <a:gd name="T3" fmla="*/ 77 h 103"/>
              <a:gd name="T4" fmla="*/ 26 w 226"/>
              <a:gd name="T5" fmla="*/ 100 h 103"/>
              <a:gd name="T6" fmla="*/ 208 w 226"/>
              <a:gd name="T7" fmla="*/ 103 h 103"/>
              <a:gd name="T8" fmla="*/ 223 w 226"/>
              <a:gd name="T9" fmla="*/ 84 h 103"/>
              <a:gd name="T10" fmla="*/ 168 w 226"/>
              <a:gd name="T11" fmla="*/ 54 h 103"/>
              <a:gd name="T12" fmla="*/ 113 w 226"/>
              <a:gd name="T13" fmla="*/ 36 h 103"/>
              <a:gd name="T14" fmla="*/ 70 w 226"/>
              <a:gd name="T15" fmla="*/ 1 h 103"/>
              <a:gd name="T16" fmla="*/ 2 w 226"/>
              <a:gd name="T17" fmla="*/ 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26" h="103">
                <a:moveTo>
                  <a:pt x="2" y="0"/>
                </a:moveTo>
                <a:cubicBezTo>
                  <a:pt x="0" y="77"/>
                  <a:pt x="0" y="77"/>
                  <a:pt x="0" y="77"/>
                </a:cubicBezTo>
                <a:cubicBezTo>
                  <a:pt x="1" y="90"/>
                  <a:pt x="12" y="100"/>
                  <a:pt x="26" y="100"/>
                </a:cubicBezTo>
                <a:cubicBezTo>
                  <a:pt x="208" y="103"/>
                  <a:pt x="208" y="103"/>
                  <a:pt x="208" y="103"/>
                </a:cubicBezTo>
                <a:cubicBezTo>
                  <a:pt x="218" y="103"/>
                  <a:pt x="226" y="93"/>
                  <a:pt x="223" y="84"/>
                </a:cubicBezTo>
                <a:cubicBezTo>
                  <a:pt x="215" y="59"/>
                  <a:pt x="189" y="58"/>
                  <a:pt x="168" y="54"/>
                </a:cubicBezTo>
                <a:cubicBezTo>
                  <a:pt x="149" y="50"/>
                  <a:pt x="130" y="45"/>
                  <a:pt x="113" y="36"/>
                </a:cubicBezTo>
                <a:cubicBezTo>
                  <a:pt x="99" y="28"/>
                  <a:pt x="70" y="1"/>
                  <a:pt x="70" y="1"/>
                </a:cubicBezTo>
                <a:cubicBezTo>
                  <a:pt x="70" y="1"/>
                  <a:pt x="46" y="4"/>
                  <a:pt x="2" y="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52" name="Freeform 254">
            <a:extLst>
              <a:ext uri="{FF2B5EF4-FFF2-40B4-BE49-F238E27FC236}">
                <a16:creationId xmlns:a16="http://schemas.microsoft.com/office/drawing/2014/main" id="{CB44BFF7-2CBE-4A5D-BDEF-FC8AFD84390A}"/>
              </a:ext>
            </a:extLst>
          </p:cNvPr>
          <p:cNvSpPr>
            <a:spLocks/>
          </p:cNvSpPr>
          <p:nvPr/>
        </p:nvSpPr>
        <p:spPr bwMode="auto">
          <a:xfrm>
            <a:off x="819640" y="5292014"/>
            <a:ext cx="147133" cy="67274"/>
          </a:xfrm>
          <a:custGeom>
            <a:avLst/>
            <a:gdLst>
              <a:gd name="T0" fmla="*/ 2 w 225"/>
              <a:gd name="T1" fmla="*/ 0 h 103"/>
              <a:gd name="T2" fmla="*/ 0 w 225"/>
              <a:gd name="T3" fmla="*/ 77 h 103"/>
              <a:gd name="T4" fmla="*/ 25 w 225"/>
              <a:gd name="T5" fmla="*/ 100 h 103"/>
              <a:gd name="T6" fmla="*/ 208 w 225"/>
              <a:gd name="T7" fmla="*/ 103 h 103"/>
              <a:gd name="T8" fmla="*/ 222 w 225"/>
              <a:gd name="T9" fmla="*/ 84 h 103"/>
              <a:gd name="T10" fmla="*/ 168 w 225"/>
              <a:gd name="T11" fmla="*/ 54 h 103"/>
              <a:gd name="T12" fmla="*/ 113 w 225"/>
              <a:gd name="T13" fmla="*/ 36 h 103"/>
              <a:gd name="T14" fmla="*/ 69 w 225"/>
              <a:gd name="T15" fmla="*/ 1 h 103"/>
              <a:gd name="T16" fmla="*/ 2 w 225"/>
              <a:gd name="T17" fmla="*/ 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25" h="103">
                <a:moveTo>
                  <a:pt x="2" y="0"/>
                </a:moveTo>
                <a:cubicBezTo>
                  <a:pt x="0" y="77"/>
                  <a:pt x="0" y="77"/>
                  <a:pt x="0" y="77"/>
                </a:cubicBezTo>
                <a:cubicBezTo>
                  <a:pt x="1" y="90"/>
                  <a:pt x="12" y="100"/>
                  <a:pt x="25" y="100"/>
                </a:cubicBezTo>
                <a:cubicBezTo>
                  <a:pt x="208" y="103"/>
                  <a:pt x="208" y="103"/>
                  <a:pt x="208" y="103"/>
                </a:cubicBezTo>
                <a:cubicBezTo>
                  <a:pt x="217" y="103"/>
                  <a:pt x="225" y="93"/>
                  <a:pt x="222" y="84"/>
                </a:cubicBezTo>
                <a:cubicBezTo>
                  <a:pt x="215" y="59"/>
                  <a:pt x="188" y="58"/>
                  <a:pt x="168" y="54"/>
                </a:cubicBezTo>
                <a:cubicBezTo>
                  <a:pt x="149" y="50"/>
                  <a:pt x="130" y="45"/>
                  <a:pt x="113" y="36"/>
                </a:cubicBezTo>
                <a:cubicBezTo>
                  <a:pt x="99" y="28"/>
                  <a:pt x="69" y="1"/>
                  <a:pt x="69" y="1"/>
                </a:cubicBezTo>
                <a:cubicBezTo>
                  <a:pt x="69" y="1"/>
                  <a:pt x="46" y="4"/>
                  <a:pt x="2" y="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53" name="Freeform 255">
            <a:extLst>
              <a:ext uri="{FF2B5EF4-FFF2-40B4-BE49-F238E27FC236}">
                <a16:creationId xmlns:a16="http://schemas.microsoft.com/office/drawing/2014/main" id="{59E068E2-7EB5-4F4A-8384-9239A1C76A1E}"/>
              </a:ext>
            </a:extLst>
          </p:cNvPr>
          <p:cNvSpPr>
            <a:spLocks/>
          </p:cNvSpPr>
          <p:nvPr/>
        </p:nvSpPr>
        <p:spPr bwMode="auto">
          <a:xfrm>
            <a:off x="850616" y="3741802"/>
            <a:ext cx="145680" cy="190691"/>
          </a:xfrm>
          <a:custGeom>
            <a:avLst/>
            <a:gdLst>
              <a:gd name="T0" fmla="*/ 39 w 223"/>
              <a:gd name="T1" fmla="*/ 104 h 292"/>
              <a:gd name="T2" fmla="*/ 66 w 223"/>
              <a:gd name="T3" fmla="*/ 77 h 292"/>
              <a:gd name="T4" fmla="*/ 67 w 223"/>
              <a:gd name="T5" fmla="*/ 46 h 292"/>
              <a:gd name="T6" fmla="*/ 113 w 223"/>
              <a:gd name="T7" fmla="*/ 0 h 292"/>
              <a:gd name="T8" fmla="*/ 159 w 223"/>
              <a:gd name="T9" fmla="*/ 46 h 292"/>
              <a:gd name="T10" fmla="*/ 161 w 223"/>
              <a:gd name="T11" fmla="*/ 77 h 292"/>
              <a:gd name="T12" fmla="*/ 189 w 223"/>
              <a:gd name="T13" fmla="*/ 104 h 292"/>
              <a:gd name="T14" fmla="*/ 223 w 223"/>
              <a:gd name="T15" fmla="*/ 108 h 292"/>
              <a:gd name="T16" fmla="*/ 0 w 223"/>
              <a:gd name="T17" fmla="*/ 109 h 292"/>
              <a:gd name="T18" fmla="*/ 39 w 223"/>
              <a:gd name="T19" fmla="*/ 104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3" h="292">
                <a:moveTo>
                  <a:pt x="39" y="104"/>
                </a:moveTo>
                <a:cubicBezTo>
                  <a:pt x="53" y="103"/>
                  <a:pt x="65" y="91"/>
                  <a:pt x="66" y="77"/>
                </a:cubicBezTo>
                <a:cubicBezTo>
                  <a:pt x="67" y="60"/>
                  <a:pt x="67" y="46"/>
                  <a:pt x="67" y="46"/>
                </a:cubicBezTo>
                <a:cubicBezTo>
                  <a:pt x="67" y="20"/>
                  <a:pt x="88" y="0"/>
                  <a:pt x="113" y="0"/>
                </a:cubicBezTo>
                <a:cubicBezTo>
                  <a:pt x="139" y="0"/>
                  <a:pt x="159" y="20"/>
                  <a:pt x="159" y="46"/>
                </a:cubicBezTo>
                <a:cubicBezTo>
                  <a:pt x="159" y="46"/>
                  <a:pt x="160" y="61"/>
                  <a:pt x="161" y="77"/>
                </a:cubicBezTo>
                <a:cubicBezTo>
                  <a:pt x="162" y="92"/>
                  <a:pt x="174" y="104"/>
                  <a:pt x="189" y="104"/>
                </a:cubicBezTo>
                <a:cubicBezTo>
                  <a:pt x="200" y="105"/>
                  <a:pt x="212" y="108"/>
                  <a:pt x="223" y="108"/>
                </a:cubicBezTo>
                <a:cubicBezTo>
                  <a:pt x="92" y="292"/>
                  <a:pt x="10" y="131"/>
                  <a:pt x="0" y="109"/>
                </a:cubicBezTo>
                <a:cubicBezTo>
                  <a:pt x="12" y="107"/>
                  <a:pt x="25" y="105"/>
                  <a:pt x="39" y="104"/>
                </a:cubicBezTo>
              </a:path>
            </a:pathLst>
          </a:custGeom>
          <a:solidFill>
            <a:srgbClr val="F29E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54" name="Freeform 256">
            <a:extLst>
              <a:ext uri="{FF2B5EF4-FFF2-40B4-BE49-F238E27FC236}">
                <a16:creationId xmlns:a16="http://schemas.microsoft.com/office/drawing/2014/main" id="{1AB18BEC-EEFB-4415-8C05-2396169600E6}"/>
              </a:ext>
            </a:extLst>
          </p:cNvPr>
          <p:cNvSpPr>
            <a:spLocks/>
          </p:cNvSpPr>
          <p:nvPr/>
        </p:nvSpPr>
        <p:spPr bwMode="auto">
          <a:xfrm>
            <a:off x="881107" y="3641617"/>
            <a:ext cx="112770" cy="144712"/>
          </a:xfrm>
          <a:custGeom>
            <a:avLst/>
            <a:gdLst>
              <a:gd name="T0" fmla="*/ 6 w 172"/>
              <a:gd name="T1" fmla="*/ 118 h 221"/>
              <a:gd name="T2" fmla="*/ 96 w 172"/>
              <a:gd name="T3" fmla="*/ 216 h 221"/>
              <a:gd name="T4" fmla="*/ 166 w 172"/>
              <a:gd name="T5" fmla="*/ 95 h 221"/>
              <a:gd name="T6" fmla="*/ 74 w 172"/>
              <a:gd name="T7" fmla="*/ 5 h 221"/>
              <a:gd name="T8" fmla="*/ 6 w 172"/>
              <a:gd name="T9" fmla="*/ 118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2" h="221">
                <a:moveTo>
                  <a:pt x="6" y="118"/>
                </a:moveTo>
                <a:cubicBezTo>
                  <a:pt x="12" y="177"/>
                  <a:pt x="46" y="221"/>
                  <a:pt x="96" y="216"/>
                </a:cubicBezTo>
                <a:cubicBezTo>
                  <a:pt x="145" y="211"/>
                  <a:pt x="172" y="154"/>
                  <a:pt x="166" y="95"/>
                </a:cubicBezTo>
                <a:cubicBezTo>
                  <a:pt x="160" y="37"/>
                  <a:pt x="124" y="0"/>
                  <a:pt x="74" y="5"/>
                </a:cubicBezTo>
                <a:cubicBezTo>
                  <a:pt x="25" y="10"/>
                  <a:pt x="0" y="60"/>
                  <a:pt x="6" y="118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55" name="Freeform 257">
            <a:extLst>
              <a:ext uri="{FF2B5EF4-FFF2-40B4-BE49-F238E27FC236}">
                <a16:creationId xmlns:a16="http://schemas.microsoft.com/office/drawing/2014/main" id="{5130CFCD-7F74-4669-90DB-D85EA1542956}"/>
              </a:ext>
            </a:extLst>
          </p:cNvPr>
          <p:cNvSpPr>
            <a:spLocks/>
          </p:cNvSpPr>
          <p:nvPr/>
        </p:nvSpPr>
        <p:spPr bwMode="auto">
          <a:xfrm>
            <a:off x="714615" y="4140608"/>
            <a:ext cx="421553" cy="688715"/>
          </a:xfrm>
          <a:custGeom>
            <a:avLst/>
            <a:gdLst>
              <a:gd name="T0" fmla="*/ 639 w 645"/>
              <a:gd name="T1" fmla="*/ 437 h 1053"/>
              <a:gd name="T2" fmla="*/ 563 w 645"/>
              <a:gd name="T3" fmla="*/ 1053 h 1053"/>
              <a:gd name="T4" fmla="*/ 83 w 645"/>
              <a:gd name="T5" fmla="*/ 1053 h 1053"/>
              <a:gd name="T6" fmla="*/ 31 w 645"/>
              <a:gd name="T7" fmla="*/ 805 h 1053"/>
              <a:gd name="T8" fmla="*/ 5 w 645"/>
              <a:gd name="T9" fmla="*/ 449 h 1053"/>
              <a:gd name="T10" fmla="*/ 76 w 645"/>
              <a:gd name="T11" fmla="*/ 97 h 1053"/>
              <a:gd name="T12" fmla="*/ 115 w 645"/>
              <a:gd name="T13" fmla="*/ 0 h 1053"/>
              <a:gd name="T14" fmla="*/ 538 w 645"/>
              <a:gd name="T15" fmla="*/ 0 h 1053"/>
              <a:gd name="T16" fmla="*/ 585 w 645"/>
              <a:gd name="T17" fmla="*/ 118 h 1053"/>
              <a:gd name="T18" fmla="*/ 639 w 645"/>
              <a:gd name="T19" fmla="*/ 437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45" h="1053">
                <a:moveTo>
                  <a:pt x="639" y="437"/>
                </a:moveTo>
                <a:cubicBezTo>
                  <a:pt x="631" y="621"/>
                  <a:pt x="584" y="869"/>
                  <a:pt x="563" y="1053"/>
                </a:cubicBezTo>
                <a:cubicBezTo>
                  <a:pt x="83" y="1053"/>
                  <a:pt x="83" y="1053"/>
                  <a:pt x="83" y="1053"/>
                </a:cubicBezTo>
                <a:cubicBezTo>
                  <a:pt x="63" y="1053"/>
                  <a:pt x="35" y="827"/>
                  <a:pt x="31" y="805"/>
                </a:cubicBezTo>
                <a:cubicBezTo>
                  <a:pt x="11" y="687"/>
                  <a:pt x="0" y="568"/>
                  <a:pt x="5" y="449"/>
                </a:cubicBezTo>
                <a:cubicBezTo>
                  <a:pt x="10" y="329"/>
                  <a:pt x="31" y="209"/>
                  <a:pt x="76" y="97"/>
                </a:cubicBezTo>
                <a:cubicBezTo>
                  <a:pt x="88" y="67"/>
                  <a:pt x="102" y="34"/>
                  <a:pt x="115" y="0"/>
                </a:cubicBezTo>
                <a:cubicBezTo>
                  <a:pt x="538" y="0"/>
                  <a:pt x="538" y="0"/>
                  <a:pt x="538" y="0"/>
                </a:cubicBezTo>
                <a:cubicBezTo>
                  <a:pt x="552" y="40"/>
                  <a:pt x="569" y="80"/>
                  <a:pt x="585" y="118"/>
                </a:cubicBezTo>
                <a:cubicBezTo>
                  <a:pt x="635" y="238"/>
                  <a:pt x="645" y="308"/>
                  <a:pt x="639" y="437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56" name="Freeform 258">
            <a:extLst>
              <a:ext uri="{FF2B5EF4-FFF2-40B4-BE49-F238E27FC236}">
                <a16:creationId xmlns:a16="http://schemas.microsoft.com/office/drawing/2014/main" id="{5C3B9BC1-ED8A-4750-A8C2-F972F58AD6A9}"/>
              </a:ext>
            </a:extLst>
          </p:cNvPr>
          <p:cNvSpPr>
            <a:spLocks/>
          </p:cNvSpPr>
          <p:nvPr/>
        </p:nvSpPr>
        <p:spPr bwMode="auto">
          <a:xfrm>
            <a:off x="760110" y="3806172"/>
            <a:ext cx="343148" cy="403646"/>
          </a:xfrm>
          <a:custGeom>
            <a:avLst/>
            <a:gdLst>
              <a:gd name="T0" fmla="*/ 507 w 524"/>
              <a:gd name="T1" fmla="*/ 588 h 617"/>
              <a:gd name="T2" fmla="*/ 12 w 524"/>
              <a:gd name="T3" fmla="*/ 587 h 617"/>
              <a:gd name="T4" fmla="*/ 90 w 524"/>
              <a:gd name="T5" fmla="*/ 293 h 617"/>
              <a:gd name="T6" fmla="*/ 0 w 524"/>
              <a:gd name="T7" fmla="*/ 48 h 617"/>
              <a:gd name="T8" fmla="*/ 175 w 524"/>
              <a:gd name="T9" fmla="*/ 5 h 617"/>
              <a:gd name="T10" fmla="*/ 334 w 524"/>
              <a:gd name="T11" fmla="*/ 6 h 617"/>
              <a:gd name="T12" fmla="*/ 524 w 524"/>
              <a:gd name="T13" fmla="*/ 56 h 617"/>
              <a:gd name="T14" fmla="*/ 442 w 524"/>
              <a:gd name="T15" fmla="*/ 297 h 617"/>
              <a:gd name="T16" fmla="*/ 507 w 524"/>
              <a:gd name="T17" fmla="*/ 588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4" h="617">
                <a:moveTo>
                  <a:pt x="507" y="588"/>
                </a:moveTo>
                <a:cubicBezTo>
                  <a:pt x="366" y="617"/>
                  <a:pt x="153" y="616"/>
                  <a:pt x="12" y="587"/>
                </a:cubicBezTo>
                <a:cubicBezTo>
                  <a:pt x="39" y="516"/>
                  <a:pt x="96" y="363"/>
                  <a:pt x="90" y="293"/>
                </a:cubicBezTo>
                <a:cubicBezTo>
                  <a:pt x="0" y="48"/>
                  <a:pt x="0" y="48"/>
                  <a:pt x="0" y="48"/>
                </a:cubicBezTo>
                <a:cubicBezTo>
                  <a:pt x="22" y="24"/>
                  <a:pt x="140" y="0"/>
                  <a:pt x="175" y="5"/>
                </a:cubicBezTo>
                <a:cubicBezTo>
                  <a:pt x="249" y="106"/>
                  <a:pt x="329" y="32"/>
                  <a:pt x="334" y="6"/>
                </a:cubicBezTo>
                <a:cubicBezTo>
                  <a:pt x="371" y="4"/>
                  <a:pt x="508" y="36"/>
                  <a:pt x="524" y="56"/>
                </a:cubicBezTo>
                <a:cubicBezTo>
                  <a:pt x="442" y="297"/>
                  <a:pt x="442" y="297"/>
                  <a:pt x="442" y="297"/>
                </a:cubicBezTo>
                <a:cubicBezTo>
                  <a:pt x="429" y="367"/>
                  <a:pt x="483" y="517"/>
                  <a:pt x="507" y="588"/>
                </a:cubicBezTo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57" name="Freeform 259">
            <a:extLst>
              <a:ext uri="{FF2B5EF4-FFF2-40B4-BE49-F238E27FC236}">
                <a16:creationId xmlns:a16="http://schemas.microsoft.com/office/drawing/2014/main" id="{A915F39A-F94C-459D-87DD-50E1D232B767}"/>
              </a:ext>
            </a:extLst>
          </p:cNvPr>
          <p:cNvSpPr>
            <a:spLocks/>
          </p:cNvSpPr>
          <p:nvPr/>
        </p:nvSpPr>
        <p:spPr bwMode="auto">
          <a:xfrm>
            <a:off x="1457052" y="3611609"/>
            <a:ext cx="56143" cy="76954"/>
          </a:xfrm>
          <a:custGeom>
            <a:avLst/>
            <a:gdLst>
              <a:gd name="T0" fmla="*/ 86 w 86"/>
              <a:gd name="T1" fmla="*/ 67 h 118"/>
              <a:gd name="T2" fmla="*/ 77 w 86"/>
              <a:gd name="T3" fmla="*/ 60 h 118"/>
              <a:gd name="T4" fmla="*/ 71 w 86"/>
              <a:gd name="T5" fmla="*/ 51 h 118"/>
              <a:gd name="T6" fmla="*/ 71 w 86"/>
              <a:gd name="T7" fmla="*/ 50 h 118"/>
              <a:gd name="T8" fmla="*/ 69 w 86"/>
              <a:gd name="T9" fmla="*/ 48 h 118"/>
              <a:gd name="T10" fmla="*/ 51 w 86"/>
              <a:gd name="T11" fmla="*/ 30 h 118"/>
              <a:gd name="T12" fmla="*/ 49 w 86"/>
              <a:gd name="T13" fmla="*/ 26 h 118"/>
              <a:gd name="T14" fmla="*/ 34 w 86"/>
              <a:gd name="T15" fmla="*/ 33 h 118"/>
              <a:gd name="T16" fmla="*/ 34 w 86"/>
              <a:gd name="T17" fmla="*/ 30 h 118"/>
              <a:gd name="T18" fmla="*/ 35 w 86"/>
              <a:gd name="T19" fmla="*/ 6 h 118"/>
              <a:gd name="T20" fmla="*/ 25 w 86"/>
              <a:gd name="T21" fmla="*/ 4 h 118"/>
              <a:gd name="T22" fmla="*/ 16 w 86"/>
              <a:gd name="T23" fmla="*/ 66 h 118"/>
              <a:gd name="T24" fmla="*/ 6 w 86"/>
              <a:gd name="T25" fmla="*/ 80 h 118"/>
              <a:gd name="T26" fmla="*/ 0 w 86"/>
              <a:gd name="T27" fmla="*/ 87 h 118"/>
              <a:gd name="T28" fmla="*/ 35 w 86"/>
              <a:gd name="T29" fmla="*/ 118 h 118"/>
              <a:gd name="T30" fmla="*/ 55 w 86"/>
              <a:gd name="T31" fmla="*/ 97 h 118"/>
              <a:gd name="T32" fmla="*/ 86 w 86"/>
              <a:gd name="T33" fmla="*/ 67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6" h="118">
                <a:moveTo>
                  <a:pt x="86" y="67"/>
                </a:moveTo>
                <a:cubicBezTo>
                  <a:pt x="82" y="64"/>
                  <a:pt x="80" y="63"/>
                  <a:pt x="77" y="60"/>
                </a:cubicBezTo>
                <a:cubicBezTo>
                  <a:pt x="75" y="57"/>
                  <a:pt x="73" y="54"/>
                  <a:pt x="71" y="51"/>
                </a:cubicBezTo>
                <a:cubicBezTo>
                  <a:pt x="71" y="50"/>
                  <a:pt x="71" y="50"/>
                  <a:pt x="71" y="50"/>
                </a:cubicBezTo>
                <a:cubicBezTo>
                  <a:pt x="70" y="49"/>
                  <a:pt x="69" y="49"/>
                  <a:pt x="69" y="48"/>
                </a:cubicBezTo>
                <a:cubicBezTo>
                  <a:pt x="62" y="44"/>
                  <a:pt x="55" y="37"/>
                  <a:pt x="51" y="30"/>
                </a:cubicBezTo>
                <a:cubicBezTo>
                  <a:pt x="51" y="29"/>
                  <a:pt x="50" y="28"/>
                  <a:pt x="49" y="26"/>
                </a:cubicBezTo>
                <a:cubicBezTo>
                  <a:pt x="44" y="32"/>
                  <a:pt x="38" y="37"/>
                  <a:pt x="34" y="33"/>
                </a:cubicBezTo>
                <a:cubicBezTo>
                  <a:pt x="34" y="32"/>
                  <a:pt x="34" y="31"/>
                  <a:pt x="34" y="30"/>
                </a:cubicBezTo>
                <a:cubicBezTo>
                  <a:pt x="35" y="22"/>
                  <a:pt x="37" y="13"/>
                  <a:pt x="35" y="6"/>
                </a:cubicBezTo>
                <a:cubicBezTo>
                  <a:pt x="34" y="1"/>
                  <a:pt x="27" y="0"/>
                  <a:pt x="25" y="4"/>
                </a:cubicBezTo>
                <a:cubicBezTo>
                  <a:pt x="16" y="23"/>
                  <a:pt x="16" y="66"/>
                  <a:pt x="16" y="66"/>
                </a:cubicBezTo>
                <a:cubicBezTo>
                  <a:pt x="6" y="80"/>
                  <a:pt x="6" y="80"/>
                  <a:pt x="6" y="80"/>
                </a:cubicBezTo>
                <a:cubicBezTo>
                  <a:pt x="0" y="87"/>
                  <a:pt x="0" y="87"/>
                  <a:pt x="0" y="87"/>
                </a:cubicBezTo>
                <a:cubicBezTo>
                  <a:pt x="35" y="118"/>
                  <a:pt x="35" y="118"/>
                  <a:pt x="35" y="118"/>
                </a:cubicBezTo>
                <a:cubicBezTo>
                  <a:pt x="42" y="111"/>
                  <a:pt x="47" y="103"/>
                  <a:pt x="55" y="97"/>
                </a:cubicBezTo>
                <a:cubicBezTo>
                  <a:pt x="65" y="87"/>
                  <a:pt x="76" y="79"/>
                  <a:pt x="86" y="67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58" name="Freeform 260">
            <a:extLst>
              <a:ext uri="{FF2B5EF4-FFF2-40B4-BE49-F238E27FC236}">
                <a16:creationId xmlns:a16="http://schemas.microsoft.com/office/drawing/2014/main" id="{5D9A9169-A17E-4428-B595-7556694EDE6A}"/>
              </a:ext>
            </a:extLst>
          </p:cNvPr>
          <p:cNvSpPr>
            <a:spLocks/>
          </p:cNvSpPr>
          <p:nvPr/>
        </p:nvSpPr>
        <p:spPr bwMode="auto">
          <a:xfrm>
            <a:off x="1486091" y="3600477"/>
            <a:ext cx="35331" cy="37751"/>
          </a:xfrm>
          <a:custGeom>
            <a:avLst/>
            <a:gdLst>
              <a:gd name="T0" fmla="*/ 50 w 54"/>
              <a:gd name="T1" fmla="*/ 3 h 58"/>
              <a:gd name="T2" fmla="*/ 41 w 54"/>
              <a:gd name="T3" fmla="*/ 3 h 58"/>
              <a:gd name="T4" fmla="*/ 3 w 54"/>
              <a:gd name="T5" fmla="*/ 45 h 58"/>
              <a:gd name="T6" fmla="*/ 4 w 54"/>
              <a:gd name="T7" fmla="*/ 55 h 58"/>
              <a:gd name="T8" fmla="*/ 14 w 54"/>
              <a:gd name="T9" fmla="*/ 54 h 58"/>
              <a:gd name="T10" fmla="*/ 51 w 54"/>
              <a:gd name="T11" fmla="*/ 13 h 58"/>
              <a:gd name="T12" fmla="*/ 50 w 54"/>
              <a:gd name="T13" fmla="*/ 3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4" h="58">
                <a:moveTo>
                  <a:pt x="50" y="3"/>
                </a:moveTo>
                <a:cubicBezTo>
                  <a:pt x="48" y="0"/>
                  <a:pt x="43" y="0"/>
                  <a:pt x="41" y="3"/>
                </a:cubicBezTo>
                <a:cubicBezTo>
                  <a:pt x="3" y="45"/>
                  <a:pt x="3" y="45"/>
                  <a:pt x="3" y="45"/>
                </a:cubicBezTo>
                <a:cubicBezTo>
                  <a:pt x="0" y="48"/>
                  <a:pt x="1" y="53"/>
                  <a:pt x="4" y="55"/>
                </a:cubicBezTo>
                <a:cubicBezTo>
                  <a:pt x="7" y="58"/>
                  <a:pt x="11" y="57"/>
                  <a:pt x="14" y="54"/>
                </a:cubicBezTo>
                <a:cubicBezTo>
                  <a:pt x="51" y="13"/>
                  <a:pt x="51" y="13"/>
                  <a:pt x="51" y="13"/>
                </a:cubicBezTo>
                <a:cubicBezTo>
                  <a:pt x="54" y="10"/>
                  <a:pt x="53" y="5"/>
                  <a:pt x="50" y="3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59" name="Freeform 261">
            <a:extLst>
              <a:ext uri="{FF2B5EF4-FFF2-40B4-BE49-F238E27FC236}">
                <a16:creationId xmlns:a16="http://schemas.microsoft.com/office/drawing/2014/main" id="{9B277B42-9764-4FB8-A0D4-1F2D02A82D12}"/>
              </a:ext>
            </a:extLst>
          </p:cNvPr>
          <p:cNvSpPr>
            <a:spLocks/>
          </p:cNvSpPr>
          <p:nvPr/>
        </p:nvSpPr>
        <p:spPr bwMode="auto">
          <a:xfrm>
            <a:off x="1492383" y="3627097"/>
            <a:ext cx="17908" cy="18392"/>
          </a:xfrm>
          <a:custGeom>
            <a:avLst/>
            <a:gdLst>
              <a:gd name="T0" fmla="*/ 24 w 28"/>
              <a:gd name="T1" fmla="*/ 3 h 28"/>
              <a:gd name="T2" fmla="*/ 15 w 28"/>
              <a:gd name="T3" fmla="*/ 2 h 28"/>
              <a:gd name="T4" fmla="*/ 2 w 28"/>
              <a:gd name="T5" fmla="*/ 16 h 28"/>
              <a:gd name="T6" fmla="*/ 4 w 28"/>
              <a:gd name="T7" fmla="*/ 25 h 28"/>
              <a:gd name="T8" fmla="*/ 13 w 28"/>
              <a:gd name="T9" fmla="*/ 26 h 28"/>
              <a:gd name="T10" fmla="*/ 26 w 28"/>
              <a:gd name="T11" fmla="*/ 11 h 28"/>
              <a:gd name="T12" fmla="*/ 24 w 28"/>
              <a:gd name="T13" fmla="*/ 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" h="28">
                <a:moveTo>
                  <a:pt x="24" y="3"/>
                </a:moveTo>
                <a:cubicBezTo>
                  <a:pt x="21" y="0"/>
                  <a:pt x="17" y="0"/>
                  <a:pt x="15" y="2"/>
                </a:cubicBezTo>
                <a:cubicBezTo>
                  <a:pt x="2" y="16"/>
                  <a:pt x="2" y="16"/>
                  <a:pt x="2" y="16"/>
                </a:cubicBezTo>
                <a:cubicBezTo>
                  <a:pt x="0" y="18"/>
                  <a:pt x="1" y="22"/>
                  <a:pt x="4" y="25"/>
                </a:cubicBezTo>
                <a:cubicBezTo>
                  <a:pt x="7" y="27"/>
                  <a:pt x="11" y="28"/>
                  <a:pt x="13" y="26"/>
                </a:cubicBezTo>
                <a:cubicBezTo>
                  <a:pt x="26" y="11"/>
                  <a:pt x="26" y="11"/>
                  <a:pt x="26" y="11"/>
                </a:cubicBezTo>
                <a:cubicBezTo>
                  <a:pt x="28" y="10"/>
                  <a:pt x="27" y="6"/>
                  <a:pt x="24" y="3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60" name="Freeform 262">
            <a:extLst>
              <a:ext uri="{FF2B5EF4-FFF2-40B4-BE49-F238E27FC236}">
                <a16:creationId xmlns:a16="http://schemas.microsoft.com/office/drawing/2014/main" id="{DEBBB111-30FF-43F1-B439-8BFDF28BEC12}"/>
              </a:ext>
            </a:extLst>
          </p:cNvPr>
          <p:cNvSpPr>
            <a:spLocks/>
          </p:cNvSpPr>
          <p:nvPr/>
        </p:nvSpPr>
        <p:spPr bwMode="auto">
          <a:xfrm>
            <a:off x="1497223" y="3635809"/>
            <a:ext cx="17908" cy="17424"/>
          </a:xfrm>
          <a:custGeom>
            <a:avLst/>
            <a:gdLst>
              <a:gd name="T0" fmla="*/ 23 w 27"/>
              <a:gd name="T1" fmla="*/ 3 h 27"/>
              <a:gd name="T2" fmla="*/ 15 w 27"/>
              <a:gd name="T3" fmla="*/ 1 h 27"/>
              <a:gd name="T4" fmla="*/ 2 w 27"/>
              <a:gd name="T5" fmla="*/ 16 h 27"/>
              <a:gd name="T6" fmla="*/ 4 w 27"/>
              <a:gd name="T7" fmla="*/ 24 h 27"/>
              <a:gd name="T8" fmla="*/ 12 w 27"/>
              <a:gd name="T9" fmla="*/ 26 h 27"/>
              <a:gd name="T10" fmla="*/ 26 w 27"/>
              <a:gd name="T11" fmla="*/ 11 h 27"/>
              <a:gd name="T12" fmla="*/ 23 w 27"/>
              <a:gd name="T13" fmla="*/ 3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27">
                <a:moveTo>
                  <a:pt x="23" y="3"/>
                </a:moveTo>
                <a:cubicBezTo>
                  <a:pt x="20" y="0"/>
                  <a:pt x="17" y="0"/>
                  <a:pt x="15" y="1"/>
                </a:cubicBezTo>
                <a:cubicBezTo>
                  <a:pt x="2" y="16"/>
                  <a:pt x="2" y="16"/>
                  <a:pt x="2" y="16"/>
                </a:cubicBezTo>
                <a:cubicBezTo>
                  <a:pt x="0" y="18"/>
                  <a:pt x="1" y="22"/>
                  <a:pt x="4" y="24"/>
                </a:cubicBezTo>
                <a:cubicBezTo>
                  <a:pt x="7" y="27"/>
                  <a:pt x="10" y="27"/>
                  <a:pt x="12" y="26"/>
                </a:cubicBezTo>
                <a:cubicBezTo>
                  <a:pt x="26" y="11"/>
                  <a:pt x="26" y="11"/>
                  <a:pt x="26" y="11"/>
                </a:cubicBezTo>
                <a:cubicBezTo>
                  <a:pt x="27" y="9"/>
                  <a:pt x="26" y="5"/>
                  <a:pt x="23" y="3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61" name="Freeform 263">
            <a:extLst>
              <a:ext uri="{FF2B5EF4-FFF2-40B4-BE49-F238E27FC236}">
                <a16:creationId xmlns:a16="http://schemas.microsoft.com/office/drawing/2014/main" id="{550B42A0-220F-43BE-8A20-8EBDD084C800}"/>
              </a:ext>
            </a:extLst>
          </p:cNvPr>
          <p:cNvSpPr>
            <a:spLocks/>
          </p:cNvSpPr>
          <p:nvPr/>
        </p:nvSpPr>
        <p:spPr bwMode="auto">
          <a:xfrm>
            <a:off x="1502063" y="3642101"/>
            <a:ext cx="17424" cy="18392"/>
          </a:xfrm>
          <a:custGeom>
            <a:avLst/>
            <a:gdLst>
              <a:gd name="T0" fmla="*/ 23 w 27"/>
              <a:gd name="T1" fmla="*/ 3 h 28"/>
              <a:gd name="T2" fmla="*/ 16 w 27"/>
              <a:gd name="T3" fmla="*/ 2 h 28"/>
              <a:gd name="T4" fmla="*/ 1 w 27"/>
              <a:gd name="T5" fmla="*/ 18 h 28"/>
              <a:gd name="T6" fmla="*/ 4 w 27"/>
              <a:gd name="T7" fmla="*/ 25 h 28"/>
              <a:gd name="T8" fmla="*/ 11 w 27"/>
              <a:gd name="T9" fmla="*/ 26 h 28"/>
              <a:gd name="T10" fmla="*/ 26 w 27"/>
              <a:gd name="T11" fmla="*/ 11 h 28"/>
              <a:gd name="T12" fmla="*/ 23 w 27"/>
              <a:gd name="T13" fmla="*/ 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28">
                <a:moveTo>
                  <a:pt x="23" y="3"/>
                </a:moveTo>
                <a:cubicBezTo>
                  <a:pt x="21" y="1"/>
                  <a:pt x="17" y="0"/>
                  <a:pt x="16" y="2"/>
                </a:cubicBezTo>
                <a:cubicBezTo>
                  <a:pt x="1" y="18"/>
                  <a:pt x="1" y="18"/>
                  <a:pt x="1" y="18"/>
                </a:cubicBezTo>
                <a:cubicBezTo>
                  <a:pt x="0" y="19"/>
                  <a:pt x="1" y="22"/>
                  <a:pt x="4" y="25"/>
                </a:cubicBezTo>
                <a:cubicBezTo>
                  <a:pt x="6" y="27"/>
                  <a:pt x="10" y="28"/>
                  <a:pt x="11" y="26"/>
                </a:cubicBezTo>
                <a:cubicBezTo>
                  <a:pt x="26" y="11"/>
                  <a:pt x="26" y="11"/>
                  <a:pt x="26" y="11"/>
                </a:cubicBezTo>
                <a:cubicBezTo>
                  <a:pt x="27" y="9"/>
                  <a:pt x="26" y="6"/>
                  <a:pt x="23" y="3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62" name="Freeform 264">
            <a:extLst>
              <a:ext uri="{FF2B5EF4-FFF2-40B4-BE49-F238E27FC236}">
                <a16:creationId xmlns:a16="http://schemas.microsoft.com/office/drawing/2014/main" id="{F51FDE53-215A-4565-98A6-52076510F9DD}"/>
              </a:ext>
            </a:extLst>
          </p:cNvPr>
          <p:cNvSpPr>
            <a:spLocks/>
          </p:cNvSpPr>
          <p:nvPr/>
        </p:nvSpPr>
        <p:spPr bwMode="auto">
          <a:xfrm>
            <a:off x="968224" y="3657104"/>
            <a:ext cx="517383" cy="350891"/>
          </a:xfrm>
          <a:custGeom>
            <a:avLst/>
            <a:gdLst>
              <a:gd name="T0" fmla="*/ 790 w 791"/>
              <a:gd name="T1" fmla="*/ 40 h 536"/>
              <a:gd name="T2" fmla="*/ 167 w 791"/>
              <a:gd name="T3" fmla="*/ 466 h 536"/>
              <a:gd name="T4" fmla="*/ 109 w 791"/>
              <a:gd name="T5" fmla="*/ 509 h 536"/>
              <a:gd name="T6" fmla="*/ 5 w 791"/>
              <a:gd name="T7" fmla="*/ 319 h 536"/>
              <a:gd name="T8" fmla="*/ 16 w 791"/>
              <a:gd name="T9" fmla="*/ 234 h 536"/>
              <a:gd name="T10" fmla="*/ 114 w 791"/>
              <a:gd name="T11" fmla="*/ 232 h 536"/>
              <a:gd name="T12" fmla="*/ 158 w 791"/>
              <a:gd name="T13" fmla="*/ 232 h 536"/>
              <a:gd name="T14" fmla="*/ 498 w 791"/>
              <a:gd name="T15" fmla="*/ 169 h 536"/>
              <a:gd name="T16" fmla="*/ 615 w 791"/>
              <a:gd name="T17" fmla="*/ 108 h 536"/>
              <a:gd name="T18" fmla="*/ 760 w 791"/>
              <a:gd name="T19" fmla="*/ 0 h 536"/>
              <a:gd name="T20" fmla="*/ 790 w 791"/>
              <a:gd name="T21" fmla="*/ 40 h 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91" h="536">
                <a:moveTo>
                  <a:pt x="790" y="40"/>
                </a:moveTo>
                <a:cubicBezTo>
                  <a:pt x="718" y="294"/>
                  <a:pt x="425" y="446"/>
                  <a:pt x="167" y="466"/>
                </a:cubicBezTo>
                <a:cubicBezTo>
                  <a:pt x="129" y="470"/>
                  <a:pt x="136" y="536"/>
                  <a:pt x="109" y="509"/>
                </a:cubicBezTo>
                <a:cubicBezTo>
                  <a:pt x="54" y="452"/>
                  <a:pt x="13" y="381"/>
                  <a:pt x="5" y="319"/>
                </a:cubicBezTo>
                <a:cubicBezTo>
                  <a:pt x="0" y="268"/>
                  <a:pt x="39" y="266"/>
                  <a:pt x="16" y="234"/>
                </a:cubicBezTo>
                <a:cubicBezTo>
                  <a:pt x="41" y="231"/>
                  <a:pt x="81" y="232"/>
                  <a:pt x="114" y="232"/>
                </a:cubicBezTo>
                <a:cubicBezTo>
                  <a:pt x="132" y="232"/>
                  <a:pt x="148" y="232"/>
                  <a:pt x="158" y="232"/>
                </a:cubicBezTo>
                <a:cubicBezTo>
                  <a:pt x="272" y="228"/>
                  <a:pt x="392" y="212"/>
                  <a:pt x="498" y="169"/>
                </a:cubicBezTo>
                <a:cubicBezTo>
                  <a:pt x="539" y="152"/>
                  <a:pt x="578" y="132"/>
                  <a:pt x="615" y="108"/>
                </a:cubicBezTo>
                <a:cubicBezTo>
                  <a:pt x="640" y="92"/>
                  <a:pt x="758" y="6"/>
                  <a:pt x="760" y="0"/>
                </a:cubicBezTo>
                <a:cubicBezTo>
                  <a:pt x="764" y="8"/>
                  <a:pt x="791" y="35"/>
                  <a:pt x="790" y="40"/>
                </a:cubicBezTo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63" name="Freeform 265">
            <a:extLst>
              <a:ext uri="{FF2B5EF4-FFF2-40B4-BE49-F238E27FC236}">
                <a16:creationId xmlns:a16="http://schemas.microsoft.com/office/drawing/2014/main" id="{5CE8B70F-35E2-413A-9822-4828632FFAA0}"/>
              </a:ext>
            </a:extLst>
          </p:cNvPr>
          <p:cNvSpPr>
            <a:spLocks/>
          </p:cNvSpPr>
          <p:nvPr/>
        </p:nvSpPr>
        <p:spPr bwMode="auto">
          <a:xfrm>
            <a:off x="818672" y="4001219"/>
            <a:ext cx="968" cy="16456"/>
          </a:xfrm>
          <a:custGeom>
            <a:avLst/>
            <a:gdLst>
              <a:gd name="T0" fmla="*/ 2 w 2"/>
              <a:gd name="T1" fmla="*/ 0 h 25"/>
              <a:gd name="T2" fmla="*/ 0 w 2"/>
              <a:gd name="T3" fmla="*/ 3 h 25"/>
              <a:gd name="T4" fmla="*/ 1 w 2"/>
              <a:gd name="T5" fmla="*/ 25 h 25"/>
              <a:gd name="T6" fmla="*/ 2 w 2"/>
              <a:gd name="T7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25">
                <a:moveTo>
                  <a:pt x="2" y="0"/>
                </a:moveTo>
                <a:cubicBezTo>
                  <a:pt x="1" y="1"/>
                  <a:pt x="1" y="2"/>
                  <a:pt x="0" y="3"/>
                </a:cubicBezTo>
                <a:cubicBezTo>
                  <a:pt x="0" y="8"/>
                  <a:pt x="1" y="16"/>
                  <a:pt x="1" y="25"/>
                </a:cubicBezTo>
                <a:cubicBezTo>
                  <a:pt x="2" y="16"/>
                  <a:pt x="2" y="8"/>
                  <a:pt x="2" y="0"/>
                </a:cubicBezTo>
              </a:path>
            </a:pathLst>
          </a:custGeom>
          <a:solidFill>
            <a:srgbClr val="E7E7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64" name="Freeform 266">
            <a:extLst>
              <a:ext uri="{FF2B5EF4-FFF2-40B4-BE49-F238E27FC236}">
                <a16:creationId xmlns:a16="http://schemas.microsoft.com/office/drawing/2014/main" id="{B3576520-5BD1-469C-84DC-2C02DB92FBA2}"/>
              </a:ext>
            </a:extLst>
          </p:cNvPr>
          <p:cNvSpPr>
            <a:spLocks/>
          </p:cNvSpPr>
          <p:nvPr/>
        </p:nvSpPr>
        <p:spPr bwMode="auto">
          <a:xfrm>
            <a:off x="813833" y="3990088"/>
            <a:ext cx="249254" cy="109865"/>
          </a:xfrm>
          <a:custGeom>
            <a:avLst/>
            <a:gdLst>
              <a:gd name="T0" fmla="*/ 364 w 381"/>
              <a:gd name="T1" fmla="*/ 0 h 168"/>
              <a:gd name="T2" fmla="*/ 356 w 381"/>
              <a:gd name="T3" fmla="*/ 6 h 168"/>
              <a:gd name="T4" fmla="*/ 348 w 381"/>
              <a:gd name="T5" fmla="*/ 3 h 168"/>
              <a:gd name="T6" fmla="*/ 156 w 381"/>
              <a:gd name="T7" fmla="*/ 38 h 168"/>
              <a:gd name="T8" fmla="*/ 9 w 381"/>
              <a:gd name="T9" fmla="*/ 17 h 168"/>
              <a:gd name="T10" fmla="*/ 9 w 381"/>
              <a:gd name="T11" fmla="*/ 17 h 168"/>
              <a:gd name="T12" fmla="*/ 8 w 381"/>
              <a:gd name="T13" fmla="*/ 42 h 168"/>
              <a:gd name="T14" fmla="*/ 0 w 381"/>
              <a:gd name="T15" fmla="*/ 92 h 168"/>
              <a:gd name="T16" fmla="*/ 4 w 381"/>
              <a:gd name="T17" fmla="*/ 92 h 168"/>
              <a:gd name="T18" fmla="*/ 45 w 381"/>
              <a:gd name="T19" fmla="*/ 90 h 168"/>
              <a:gd name="T20" fmla="*/ 116 w 381"/>
              <a:gd name="T21" fmla="*/ 88 h 168"/>
              <a:gd name="T22" fmla="*/ 381 w 381"/>
              <a:gd name="T23" fmla="*/ 168 h 168"/>
              <a:gd name="T24" fmla="*/ 364 w 381"/>
              <a:gd name="T25" fmla="*/ 0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81" h="168">
                <a:moveTo>
                  <a:pt x="364" y="0"/>
                </a:moveTo>
                <a:cubicBezTo>
                  <a:pt x="362" y="4"/>
                  <a:pt x="360" y="6"/>
                  <a:pt x="356" y="6"/>
                </a:cubicBezTo>
                <a:cubicBezTo>
                  <a:pt x="354" y="6"/>
                  <a:pt x="351" y="5"/>
                  <a:pt x="348" y="3"/>
                </a:cubicBezTo>
                <a:cubicBezTo>
                  <a:pt x="284" y="30"/>
                  <a:pt x="215" y="38"/>
                  <a:pt x="156" y="38"/>
                </a:cubicBezTo>
                <a:cubicBezTo>
                  <a:pt x="80" y="38"/>
                  <a:pt x="21" y="24"/>
                  <a:pt x="9" y="17"/>
                </a:cubicBezTo>
                <a:cubicBezTo>
                  <a:pt x="9" y="17"/>
                  <a:pt x="9" y="17"/>
                  <a:pt x="9" y="17"/>
                </a:cubicBezTo>
                <a:cubicBezTo>
                  <a:pt x="9" y="25"/>
                  <a:pt x="9" y="33"/>
                  <a:pt x="8" y="42"/>
                </a:cubicBezTo>
                <a:cubicBezTo>
                  <a:pt x="8" y="57"/>
                  <a:pt x="6" y="76"/>
                  <a:pt x="0" y="92"/>
                </a:cubicBezTo>
                <a:cubicBezTo>
                  <a:pt x="1" y="92"/>
                  <a:pt x="2" y="92"/>
                  <a:pt x="4" y="92"/>
                </a:cubicBezTo>
                <a:cubicBezTo>
                  <a:pt x="11" y="92"/>
                  <a:pt x="25" y="91"/>
                  <a:pt x="45" y="90"/>
                </a:cubicBezTo>
                <a:cubicBezTo>
                  <a:pt x="65" y="89"/>
                  <a:pt x="89" y="88"/>
                  <a:pt x="116" y="88"/>
                </a:cubicBezTo>
                <a:cubicBezTo>
                  <a:pt x="209" y="88"/>
                  <a:pt x="332" y="100"/>
                  <a:pt x="381" y="168"/>
                </a:cubicBezTo>
                <a:cubicBezTo>
                  <a:pt x="361" y="97"/>
                  <a:pt x="348" y="39"/>
                  <a:pt x="364" y="0"/>
                </a:cubicBezTo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65" name="Freeform 267">
            <a:extLst>
              <a:ext uri="{FF2B5EF4-FFF2-40B4-BE49-F238E27FC236}">
                <a16:creationId xmlns:a16="http://schemas.microsoft.com/office/drawing/2014/main" id="{76AFBFA7-C3EB-450E-B0C2-A2896AF85361}"/>
              </a:ext>
            </a:extLst>
          </p:cNvPr>
          <p:cNvSpPr>
            <a:spLocks/>
          </p:cNvSpPr>
          <p:nvPr/>
        </p:nvSpPr>
        <p:spPr bwMode="auto">
          <a:xfrm>
            <a:off x="1041791" y="3986216"/>
            <a:ext cx="13068" cy="7744"/>
          </a:xfrm>
          <a:custGeom>
            <a:avLst/>
            <a:gdLst>
              <a:gd name="T0" fmla="*/ 20 w 20"/>
              <a:gd name="T1" fmla="*/ 0 h 12"/>
              <a:gd name="T2" fmla="*/ 0 w 20"/>
              <a:gd name="T3" fmla="*/ 9 h 12"/>
              <a:gd name="T4" fmla="*/ 8 w 20"/>
              <a:gd name="T5" fmla="*/ 12 h 12"/>
              <a:gd name="T6" fmla="*/ 16 w 20"/>
              <a:gd name="T7" fmla="*/ 6 h 12"/>
              <a:gd name="T8" fmla="*/ 20 w 20"/>
              <a:gd name="T9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12">
                <a:moveTo>
                  <a:pt x="20" y="0"/>
                </a:moveTo>
                <a:cubicBezTo>
                  <a:pt x="13" y="3"/>
                  <a:pt x="7" y="6"/>
                  <a:pt x="0" y="9"/>
                </a:cubicBezTo>
                <a:cubicBezTo>
                  <a:pt x="3" y="11"/>
                  <a:pt x="6" y="12"/>
                  <a:pt x="8" y="12"/>
                </a:cubicBezTo>
                <a:cubicBezTo>
                  <a:pt x="12" y="12"/>
                  <a:pt x="14" y="10"/>
                  <a:pt x="16" y="6"/>
                </a:cubicBezTo>
                <a:cubicBezTo>
                  <a:pt x="17" y="4"/>
                  <a:pt x="19" y="2"/>
                  <a:pt x="20" y="0"/>
                </a:cubicBezTo>
              </a:path>
            </a:pathLst>
          </a:custGeom>
          <a:solidFill>
            <a:srgbClr val="E76B9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66" name="Freeform 268">
            <a:extLst>
              <a:ext uri="{FF2B5EF4-FFF2-40B4-BE49-F238E27FC236}">
                <a16:creationId xmlns:a16="http://schemas.microsoft.com/office/drawing/2014/main" id="{8F828325-3FD6-4BC1-8660-6A720EA3A74C}"/>
              </a:ext>
            </a:extLst>
          </p:cNvPr>
          <p:cNvSpPr>
            <a:spLocks/>
          </p:cNvSpPr>
          <p:nvPr/>
        </p:nvSpPr>
        <p:spPr bwMode="auto">
          <a:xfrm>
            <a:off x="854003" y="4220950"/>
            <a:ext cx="105993" cy="77922"/>
          </a:xfrm>
          <a:custGeom>
            <a:avLst/>
            <a:gdLst>
              <a:gd name="T0" fmla="*/ 33 w 162"/>
              <a:gd name="T1" fmla="*/ 6 h 119"/>
              <a:gd name="T2" fmla="*/ 51 w 162"/>
              <a:gd name="T3" fmla="*/ 13 h 119"/>
              <a:gd name="T4" fmla="*/ 122 w 162"/>
              <a:gd name="T5" fmla="*/ 5 h 119"/>
              <a:gd name="T6" fmla="*/ 123 w 162"/>
              <a:gd name="T7" fmla="*/ 16 h 119"/>
              <a:gd name="T8" fmla="*/ 97 w 162"/>
              <a:gd name="T9" fmla="*/ 22 h 119"/>
              <a:gd name="T10" fmla="*/ 93 w 162"/>
              <a:gd name="T11" fmla="*/ 23 h 119"/>
              <a:gd name="T12" fmla="*/ 122 w 162"/>
              <a:gd name="T13" fmla="*/ 46 h 119"/>
              <a:gd name="T14" fmla="*/ 147 w 162"/>
              <a:gd name="T15" fmla="*/ 57 h 119"/>
              <a:gd name="T16" fmla="*/ 158 w 162"/>
              <a:gd name="T17" fmla="*/ 62 h 119"/>
              <a:gd name="T18" fmla="*/ 156 w 162"/>
              <a:gd name="T19" fmla="*/ 72 h 119"/>
              <a:gd name="T20" fmla="*/ 143 w 162"/>
              <a:gd name="T21" fmla="*/ 68 h 119"/>
              <a:gd name="T22" fmla="*/ 128 w 162"/>
              <a:gd name="T23" fmla="*/ 63 h 119"/>
              <a:gd name="T24" fmla="*/ 110 w 162"/>
              <a:gd name="T25" fmla="*/ 58 h 119"/>
              <a:gd name="T26" fmla="*/ 108 w 162"/>
              <a:gd name="T27" fmla="*/ 60 h 119"/>
              <a:gd name="T28" fmla="*/ 110 w 162"/>
              <a:gd name="T29" fmla="*/ 61 h 119"/>
              <a:gd name="T30" fmla="*/ 138 w 162"/>
              <a:gd name="T31" fmla="*/ 73 h 119"/>
              <a:gd name="T32" fmla="*/ 160 w 162"/>
              <a:gd name="T33" fmla="*/ 89 h 119"/>
              <a:gd name="T34" fmla="*/ 137 w 162"/>
              <a:gd name="T35" fmla="*/ 89 h 119"/>
              <a:gd name="T36" fmla="*/ 110 w 162"/>
              <a:gd name="T37" fmla="*/ 76 h 119"/>
              <a:gd name="T38" fmla="*/ 105 w 162"/>
              <a:gd name="T39" fmla="*/ 74 h 119"/>
              <a:gd name="T40" fmla="*/ 111 w 162"/>
              <a:gd name="T41" fmla="*/ 82 h 119"/>
              <a:gd name="T42" fmla="*/ 137 w 162"/>
              <a:gd name="T43" fmla="*/ 95 h 119"/>
              <a:gd name="T44" fmla="*/ 144 w 162"/>
              <a:gd name="T45" fmla="*/ 100 h 119"/>
              <a:gd name="T46" fmla="*/ 144 w 162"/>
              <a:gd name="T47" fmla="*/ 108 h 119"/>
              <a:gd name="T48" fmla="*/ 139 w 162"/>
              <a:gd name="T49" fmla="*/ 109 h 119"/>
              <a:gd name="T50" fmla="*/ 128 w 162"/>
              <a:gd name="T51" fmla="*/ 104 h 119"/>
              <a:gd name="T52" fmla="*/ 112 w 162"/>
              <a:gd name="T53" fmla="*/ 96 h 119"/>
              <a:gd name="T54" fmla="*/ 93 w 162"/>
              <a:gd name="T55" fmla="*/ 87 h 119"/>
              <a:gd name="T56" fmla="*/ 91 w 162"/>
              <a:gd name="T57" fmla="*/ 87 h 119"/>
              <a:gd name="T58" fmla="*/ 90 w 162"/>
              <a:gd name="T59" fmla="*/ 90 h 119"/>
              <a:gd name="T60" fmla="*/ 93 w 162"/>
              <a:gd name="T61" fmla="*/ 91 h 119"/>
              <a:gd name="T62" fmla="*/ 122 w 162"/>
              <a:gd name="T63" fmla="*/ 106 h 119"/>
              <a:gd name="T64" fmla="*/ 125 w 162"/>
              <a:gd name="T65" fmla="*/ 109 h 119"/>
              <a:gd name="T66" fmla="*/ 121 w 162"/>
              <a:gd name="T67" fmla="*/ 118 h 119"/>
              <a:gd name="T68" fmla="*/ 97 w 162"/>
              <a:gd name="T69" fmla="*/ 109 h 119"/>
              <a:gd name="T70" fmla="*/ 72 w 162"/>
              <a:gd name="T71" fmla="*/ 94 h 119"/>
              <a:gd name="T72" fmla="*/ 29 w 162"/>
              <a:gd name="T73" fmla="*/ 65 h 119"/>
              <a:gd name="T74" fmla="*/ 0 w 162"/>
              <a:gd name="T75" fmla="*/ 50 h 119"/>
              <a:gd name="T76" fmla="*/ 23 w 162"/>
              <a:gd name="T77" fmla="*/ 2 h 119"/>
              <a:gd name="T78" fmla="*/ 33 w 162"/>
              <a:gd name="T79" fmla="*/ 6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2" h="119">
                <a:moveTo>
                  <a:pt x="33" y="6"/>
                </a:moveTo>
                <a:cubicBezTo>
                  <a:pt x="51" y="13"/>
                  <a:pt x="51" y="13"/>
                  <a:pt x="51" y="13"/>
                </a:cubicBezTo>
                <a:cubicBezTo>
                  <a:pt x="51" y="13"/>
                  <a:pt x="98" y="0"/>
                  <a:pt x="122" y="5"/>
                </a:cubicBezTo>
                <a:cubicBezTo>
                  <a:pt x="127" y="6"/>
                  <a:pt x="128" y="13"/>
                  <a:pt x="123" y="16"/>
                </a:cubicBezTo>
                <a:cubicBezTo>
                  <a:pt x="115" y="20"/>
                  <a:pt x="106" y="20"/>
                  <a:pt x="97" y="22"/>
                </a:cubicBezTo>
                <a:cubicBezTo>
                  <a:pt x="95" y="22"/>
                  <a:pt x="94" y="22"/>
                  <a:pt x="93" y="23"/>
                </a:cubicBezTo>
                <a:cubicBezTo>
                  <a:pt x="88" y="32"/>
                  <a:pt x="117" y="44"/>
                  <a:pt x="122" y="46"/>
                </a:cubicBezTo>
                <a:cubicBezTo>
                  <a:pt x="130" y="49"/>
                  <a:pt x="139" y="53"/>
                  <a:pt x="147" y="57"/>
                </a:cubicBezTo>
                <a:cubicBezTo>
                  <a:pt x="151" y="58"/>
                  <a:pt x="155" y="59"/>
                  <a:pt x="158" y="62"/>
                </a:cubicBezTo>
                <a:cubicBezTo>
                  <a:pt x="162" y="66"/>
                  <a:pt x="162" y="72"/>
                  <a:pt x="156" y="72"/>
                </a:cubicBezTo>
                <a:cubicBezTo>
                  <a:pt x="152" y="72"/>
                  <a:pt x="147" y="69"/>
                  <a:pt x="143" y="68"/>
                </a:cubicBezTo>
                <a:cubicBezTo>
                  <a:pt x="138" y="66"/>
                  <a:pt x="133" y="64"/>
                  <a:pt x="128" y="63"/>
                </a:cubicBezTo>
                <a:cubicBezTo>
                  <a:pt x="124" y="61"/>
                  <a:pt x="115" y="57"/>
                  <a:pt x="110" y="58"/>
                </a:cubicBezTo>
                <a:cubicBezTo>
                  <a:pt x="109" y="58"/>
                  <a:pt x="108" y="59"/>
                  <a:pt x="108" y="60"/>
                </a:cubicBezTo>
                <a:cubicBezTo>
                  <a:pt x="108" y="60"/>
                  <a:pt x="109" y="61"/>
                  <a:pt x="110" y="61"/>
                </a:cubicBezTo>
                <a:cubicBezTo>
                  <a:pt x="120" y="64"/>
                  <a:pt x="129" y="68"/>
                  <a:pt x="138" y="73"/>
                </a:cubicBezTo>
                <a:cubicBezTo>
                  <a:pt x="146" y="77"/>
                  <a:pt x="159" y="80"/>
                  <a:pt x="160" y="89"/>
                </a:cubicBezTo>
                <a:cubicBezTo>
                  <a:pt x="162" y="101"/>
                  <a:pt x="141" y="91"/>
                  <a:pt x="137" y="89"/>
                </a:cubicBezTo>
                <a:cubicBezTo>
                  <a:pt x="128" y="85"/>
                  <a:pt x="118" y="82"/>
                  <a:pt x="110" y="76"/>
                </a:cubicBezTo>
                <a:cubicBezTo>
                  <a:pt x="108" y="75"/>
                  <a:pt x="107" y="74"/>
                  <a:pt x="105" y="74"/>
                </a:cubicBezTo>
                <a:cubicBezTo>
                  <a:pt x="99" y="76"/>
                  <a:pt x="109" y="81"/>
                  <a:pt x="111" y="82"/>
                </a:cubicBezTo>
                <a:cubicBezTo>
                  <a:pt x="120" y="86"/>
                  <a:pt x="128" y="91"/>
                  <a:pt x="137" y="95"/>
                </a:cubicBezTo>
                <a:cubicBezTo>
                  <a:pt x="140" y="96"/>
                  <a:pt x="142" y="97"/>
                  <a:pt x="144" y="100"/>
                </a:cubicBezTo>
                <a:cubicBezTo>
                  <a:pt x="146" y="102"/>
                  <a:pt x="146" y="106"/>
                  <a:pt x="144" y="108"/>
                </a:cubicBezTo>
                <a:cubicBezTo>
                  <a:pt x="143" y="109"/>
                  <a:pt x="141" y="110"/>
                  <a:pt x="139" y="109"/>
                </a:cubicBezTo>
                <a:cubicBezTo>
                  <a:pt x="135" y="109"/>
                  <a:pt x="132" y="106"/>
                  <a:pt x="128" y="104"/>
                </a:cubicBezTo>
                <a:cubicBezTo>
                  <a:pt x="123" y="102"/>
                  <a:pt x="117" y="99"/>
                  <a:pt x="112" y="96"/>
                </a:cubicBezTo>
                <a:cubicBezTo>
                  <a:pt x="105" y="93"/>
                  <a:pt x="99" y="90"/>
                  <a:pt x="93" y="87"/>
                </a:cubicBezTo>
                <a:cubicBezTo>
                  <a:pt x="92" y="87"/>
                  <a:pt x="92" y="87"/>
                  <a:pt x="91" y="87"/>
                </a:cubicBezTo>
                <a:cubicBezTo>
                  <a:pt x="90" y="87"/>
                  <a:pt x="90" y="89"/>
                  <a:pt x="90" y="90"/>
                </a:cubicBezTo>
                <a:cubicBezTo>
                  <a:pt x="91" y="91"/>
                  <a:pt x="92" y="91"/>
                  <a:pt x="93" y="91"/>
                </a:cubicBezTo>
                <a:cubicBezTo>
                  <a:pt x="103" y="96"/>
                  <a:pt x="112" y="101"/>
                  <a:pt x="122" y="106"/>
                </a:cubicBezTo>
                <a:cubicBezTo>
                  <a:pt x="123" y="107"/>
                  <a:pt x="124" y="108"/>
                  <a:pt x="125" y="109"/>
                </a:cubicBezTo>
                <a:cubicBezTo>
                  <a:pt x="129" y="113"/>
                  <a:pt x="125" y="117"/>
                  <a:pt x="121" y="118"/>
                </a:cubicBezTo>
                <a:cubicBezTo>
                  <a:pt x="113" y="119"/>
                  <a:pt x="103" y="112"/>
                  <a:pt x="97" y="109"/>
                </a:cubicBezTo>
                <a:cubicBezTo>
                  <a:pt x="88" y="104"/>
                  <a:pt x="80" y="99"/>
                  <a:pt x="72" y="94"/>
                </a:cubicBezTo>
                <a:cubicBezTo>
                  <a:pt x="57" y="85"/>
                  <a:pt x="44" y="74"/>
                  <a:pt x="29" y="65"/>
                </a:cubicBezTo>
                <a:cubicBezTo>
                  <a:pt x="20" y="59"/>
                  <a:pt x="10" y="55"/>
                  <a:pt x="0" y="50"/>
                </a:cubicBezTo>
                <a:cubicBezTo>
                  <a:pt x="23" y="2"/>
                  <a:pt x="23" y="2"/>
                  <a:pt x="23" y="2"/>
                </a:cubicBezTo>
                <a:lnTo>
                  <a:pt x="33" y="6"/>
                </a:ln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67" name="Freeform 269">
            <a:extLst>
              <a:ext uri="{FF2B5EF4-FFF2-40B4-BE49-F238E27FC236}">
                <a16:creationId xmlns:a16="http://schemas.microsoft.com/office/drawing/2014/main" id="{EBC89F06-6476-49B4-A947-AB8534EF7598}"/>
              </a:ext>
            </a:extLst>
          </p:cNvPr>
          <p:cNvSpPr>
            <a:spLocks/>
          </p:cNvSpPr>
          <p:nvPr/>
        </p:nvSpPr>
        <p:spPr bwMode="auto">
          <a:xfrm>
            <a:off x="619270" y="3793105"/>
            <a:ext cx="301524" cy="469468"/>
          </a:xfrm>
          <a:custGeom>
            <a:avLst/>
            <a:gdLst>
              <a:gd name="T0" fmla="*/ 410 w 461"/>
              <a:gd name="T1" fmla="*/ 667 h 717"/>
              <a:gd name="T2" fmla="*/ 293 w 461"/>
              <a:gd name="T3" fmla="*/ 582 h 717"/>
              <a:gd name="T4" fmla="*/ 193 w 461"/>
              <a:gd name="T5" fmla="*/ 511 h 717"/>
              <a:gd name="T6" fmla="*/ 188 w 461"/>
              <a:gd name="T7" fmla="*/ 507 h 717"/>
              <a:gd name="T8" fmla="*/ 185 w 461"/>
              <a:gd name="T9" fmla="*/ 487 h 717"/>
              <a:gd name="T10" fmla="*/ 359 w 461"/>
              <a:gd name="T11" fmla="*/ 216 h 717"/>
              <a:gd name="T12" fmla="*/ 392 w 461"/>
              <a:gd name="T13" fmla="*/ 213 h 717"/>
              <a:gd name="T14" fmla="*/ 428 w 461"/>
              <a:gd name="T15" fmla="*/ 209 h 717"/>
              <a:gd name="T16" fmla="*/ 368 w 461"/>
              <a:gd name="T17" fmla="*/ 31 h 717"/>
              <a:gd name="T18" fmla="*/ 194 w 461"/>
              <a:gd name="T19" fmla="*/ 92 h 717"/>
              <a:gd name="T20" fmla="*/ 20 w 461"/>
              <a:gd name="T21" fmla="*/ 429 h 717"/>
              <a:gd name="T22" fmla="*/ 20 w 461"/>
              <a:gd name="T23" fmla="*/ 430 h 717"/>
              <a:gd name="T24" fmla="*/ 17 w 461"/>
              <a:gd name="T25" fmla="*/ 434 h 717"/>
              <a:gd name="T26" fmla="*/ 17 w 461"/>
              <a:gd name="T27" fmla="*/ 434 h 717"/>
              <a:gd name="T28" fmla="*/ 17 w 461"/>
              <a:gd name="T29" fmla="*/ 434 h 717"/>
              <a:gd name="T30" fmla="*/ 17 w 461"/>
              <a:gd name="T31" fmla="*/ 435 h 717"/>
              <a:gd name="T32" fmla="*/ 16 w 461"/>
              <a:gd name="T33" fmla="*/ 437 h 717"/>
              <a:gd name="T34" fmla="*/ 15 w 461"/>
              <a:gd name="T35" fmla="*/ 438 h 717"/>
              <a:gd name="T36" fmla="*/ 13 w 461"/>
              <a:gd name="T37" fmla="*/ 442 h 717"/>
              <a:gd name="T38" fmla="*/ 10 w 461"/>
              <a:gd name="T39" fmla="*/ 450 h 717"/>
              <a:gd name="T40" fmla="*/ 8 w 461"/>
              <a:gd name="T41" fmla="*/ 454 h 717"/>
              <a:gd name="T42" fmla="*/ 7 w 461"/>
              <a:gd name="T43" fmla="*/ 457 h 717"/>
              <a:gd name="T44" fmla="*/ 5 w 461"/>
              <a:gd name="T45" fmla="*/ 464 h 717"/>
              <a:gd name="T46" fmla="*/ 2 w 461"/>
              <a:gd name="T47" fmla="*/ 477 h 717"/>
              <a:gd name="T48" fmla="*/ 6 w 461"/>
              <a:gd name="T49" fmla="*/ 529 h 717"/>
              <a:gd name="T50" fmla="*/ 31 w 461"/>
              <a:gd name="T51" fmla="*/ 573 h 717"/>
              <a:gd name="T52" fmla="*/ 40 w 461"/>
              <a:gd name="T53" fmla="*/ 582 h 717"/>
              <a:gd name="T54" fmla="*/ 50 w 461"/>
              <a:gd name="T55" fmla="*/ 589 h 717"/>
              <a:gd name="T56" fmla="*/ 61 w 461"/>
              <a:gd name="T57" fmla="*/ 596 h 717"/>
              <a:gd name="T58" fmla="*/ 66 w 461"/>
              <a:gd name="T59" fmla="*/ 599 h 717"/>
              <a:gd name="T60" fmla="*/ 67 w 461"/>
              <a:gd name="T61" fmla="*/ 599 h 717"/>
              <a:gd name="T62" fmla="*/ 68 w 461"/>
              <a:gd name="T63" fmla="*/ 599 h 717"/>
              <a:gd name="T64" fmla="*/ 69 w 461"/>
              <a:gd name="T65" fmla="*/ 600 h 717"/>
              <a:gd name="T66" fmla="*/ 133 w 461"/>
              <a:gd name="T67" fmla="*/ 624 h 717"/>
              <a:gd name="T68" fmla="*/ 248 w 461"/>
              <a:gd name="T69" fmla="*/ 667 h 717"/>
              <a:gd name="T70" fmla="*/ 384 w 461"/>
              <a:gd name="T71" fmla="*/ 717 h 717"/>
              <a:gd name="T72" fmla="*/ 410 w 461"/>
              <a:gd name="T73" fmla="*/ 667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61" h="717">
                <a:moveTo>
                  <a:pt x="410" y="667"/>
                </a:moveTo>
                <a:cubicBezTo>
                  <a:pt x="397" y="658"/>
                  <a:pt x="338" y="613"/>
                  <a:pt x="293" y="582"/>
                </a:cubicBezTo>
                <a:cubicBezTo>
                  <a:pt x="264" y="561"/>
                  <a:pt x="230" y="537"/>
                  <a:pt x="193" y="511"/>
                </a:cubicBezTo>
                <a:cubicBezTo>
                  <a:pt x="191" y="510"/>
                  <a:pt x="190" y="508"/>
                  <a:pt x="188" y="507"/>
                </a:cubicBezTo>
                <a:cubicBezTo>
                  <a:pt x="181" y="503"/>
                  <a:pt x="180" y="493"/>
                  <a:pt x="185" y="487"/>
                </a:cubicBezTo>
                <a:cubicBezTo>
                  <a:pt x="302" y="357"/>
                  <a:pt x="359" y="216"/>
                  <a:pt x="359" y="216"/>
                </a:cubicBezTo>
                <a:cubicBezTo>
                  <a:pt x="362" y="212"/>
                  <a:pt x="377" y="212"/>
                  <a:pt x="392" y="213"/>
                </a:cubicBezTo>
                <a:cubicBezTo>
                  <a:pt x="408" y="214"/>
                  <a:pt x="425" y="214"/>
                  <a:pt x="428" y="209"/>
                </a:cubicBezTo>
                <a:cubicBezTo>
                  <a:pt x="461" y="144"/>
                  <a:pt x="435" y="63"/>
                  <a:pt x="368" y="31"/>
                </a:cubicBezTo>
                <a:cubicBezTo>
                  <a:pt x="304" y="0"/>
                  <a:pt x="226" y="28"/>
                  <a:pt x="194" y="92"/>
                </a:cubicBezTo>
                <a:cubicBezTo>
                  <a:pt x="20" y="429"/>
                  <a:pt x="20" y="429"/>
                  <a:pt x="20" y="429"/>
                </a:cubicBezTo>
                <a:cubicBezTo>
                  <a:pt x="20" y="430"/>
                  <a:pt x="20" y="430"/>
                  <a:pt x="20" y="430"/>
                </a:cubicBezTo>
                <a:cubicBezTo>
                  <a:pt x="16" y="435"/>
                  <a:pt x="17" y="435"/>
                  <a:pt x="17" y="434"/>
                </a:cubicBezTo>
                <a:cubicBezTo>
                  <a:pt x="17" y="434"/>
                  <a:pt x="17" y="434"/>
                  <a:pt x="17" y="434"/>
                </a:cubicBezTo>
                <a:cubicBezTo>
                  <a:pt x="17" y="434"/>
                  <a:pt x="17" y="434"/>
                  <a:pt x="17" y="434"/>
                </a:cubicBezTo>
                <a:cubicBezTo>
                  <a:pt x="17" y="435"/>
                  <a:pt x="17" y="435"/>
                  <a:pt x="17" y="435"/>
                </a:cubicBezTo>
                <a:cubicBezTo>
                  <a:pt x="16" y="437"/>
                  <a:pt x="16" y="437"/>
                  <a:pt x="16" y="437"/>
                </a:cubicBezTo>
                <a:cubicBezTo>
                  <a:pt x="15" y="438"/>
                  <a:pt x="15" y="438"/>
                  <a:pt x="15" y="438"/>
                </a:cubicBezTo>
                <a:cubicBezTo>
                  <a:pt x="13" y="442"/>
                  <a:pt x="13" y="442"/>
                  <a:pt x="13" y="442"/>
                </a:cubicBezTo>
                <a:cubicBezTo>
                  <a:pt x="12" y="445"/>
                  <a:pt x="11" y="447"/>
                  <a:pt x="10" y="450"/>
                </a:cubicBezTo>
                <a:cubicBezTo>
                  <a:pt x="8" y="454"/>
                  <a:pt x="8" y="454"/>
                  <a:pt x="8" y="454"/>
                </a:cubicBezTo>
                <a:cubicBezTo>
                  <a:pt x="7" y="457"/>
                  <a:pt x="7" y="457"/>
                  <a:pt x="7" y="457"/>
                </a:cubicBezTo>
                <a:cubicBezTo>
                  <a:pt x="6" y="460"/>
                  <a:pt x="6" y="462"/>
                  <a:pt x="5" y="464"/>
                </a:cubicBezTo>
                <a:cubicBezTo>
                  <a:pt x="4" y="468"/>
                  <a:pt x="3" y="473"/>
                  <a:pt x="2" y="477"/>
                </a:cubicBezTo>
                <a:cubicBezTo>
                  <a:pt x="0" y="495"/>
                  <a:pt x="1" y="512"/>
                  <a:pt x="6" y="529"/>
                </a:cubicBezTo>
                <a:cubicBezTo>
                  <a:pt x="11" y="545"/>
                  <a:pt x="20" y="560"/>
                  <a:pt x="31" y="573"/>
                </a:cubicBezTo>
                <a:cubicBezTo>
                  <a:pt x="34" y="576"/>
                  <a:pt x="37" y="579"/>
                  <a:pt x="40" y="582"/>
                </a:cubicBezTo>
                <a:cubicBezTo>
                  <a:pt x="44" y="585"/>
                  <a:pt x="47" y="587"/>
                  <a:pt x="50" y="589"/>
                </a:cubicBezTo>
                <a:cubicBezTo>
                  <a:pt x="54" y="592"/>
                  <a:pt x="57" y="594"/>
                  <a:pt x="61" y="596"/>
                </a:cubicBezTo>
                <a:cubicBezTo>
                  <a:pt x="66" y="599"/>
                  <a:pt x="66" y="599"/>
                  <a:pt x="66" y="599"/>
                </a:cubicBezTo>
                <a:cubicBezTo>
                  <a:pt x="67" y="599"/>
                  <a:pt x="67" y="599"/>
                  <a:pt x="67" y="599"/>
                </a:cubicBezTo>
                <a:cubicBezTo>
                  <a:pt x="68" y="599"/>
                  <a:pt x="68" y="599"/>
                  <a:pt x="68" y="599"/>
                </a:cubicBezTo>
                <a:cubicBezTo>
                  <a:pt x="69" y="600"/>
                  <a:pt x="69" y="600"/>
                  <a:pt x="69" y="600"/>
                </a:cubicBezTo>
                <a:cubicBezTo>
                  <a:pt x="91" y="608"/>
                  <a:pt x="112" y="616"/>
                  <a:pt x="133" y="624"/>
                </a:cubicBezTo>
                <a:cubicBezTo>
                  <a:pt x="175" y="640"/>
                  <a:pt x="214" y="655"/>
                  <a:pt x="248" y="667"/>
                </a:cubicBezTo>
                <a:cubicBezTo>
                  <a:pt x="305" y="689"/>
                  <a:pt x="373" y="713"/>
                  <a:pt x="384" y="717"/>
                </a:cubicBezTo>
                <a:cubicBezTo>
                  <a:pt x="410" y="667"/>
                  <a:pt x="410" y="667"/>
                  <a:pt x="410" y="667"/>
                </a:cubicBezTo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68" name="Freeform 270">
            <a:extLst>
              <a:ext uri="{FF2B5EF4-FFF2-40B4-BE49-F238E27FC236}">
                <a16:creationId xmlns:a16="http://schemas.microsoft.com/office/drawing/2014/main" id="{CE98328A-1180-4E4E-AD0D-FF8D55B42B0F}"/>
              </a:ext>
            </a:extLst>
          </p:cNvPr>
          <p:cNvSpPr>
            <a:spLocks/>
          </p:cNvSpPr>
          <p:nvPr/>
        </p:nvSpPr>
        <p:spPr bwMode="auto">
          <a:xfrm>
            <a:off x="726231" y="3793105"/>
            <a:ext cx="194563" cy="173752"/>
          </a:xfrm>
          <a:custGeom>
            <a:avLst/>
            <a:gdLst>
              <a:gd name="T0" fmla="*/ 264 w 297"/>
              <a:gd name="T1" fmla="*/ 209 h 265"/>
              <a:gd name="T2" fmla="*/ 245 w 297"/>
              <a:gd name="T3" fmla="*/ 236 h 265"/>
              <a:gd name="T4" fmla="*/ 219 w 297"/>
              <a:gd name="T5" fmla="*/ 265 h 265"/>
              <a:gd name="T6" fmla="*/ 0 w 297"/>
              <a:gd name="T7" fmla="*/ 150 h 265"/>
              <a:gd name="T8" fmla="*/ 30 w 297"/>
              <a:gd name="T9" fmla="*/ 92 h 265"/>
              <a:gd name="T10" fmla="*/ 204 w 297"/>
              <a:gd name="T11" fmla="*/ 31 h 265"/>
              <a:gd name="T12" fmla="*/ 264 w 297"/>
              <a:gd name="T13" fmla="*/ 209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7" h="265">
                <a:moveTo>
                  <a:pt x="264" y="209"/>
                </a:moveTo>
                <a:cubicBezTo>
                  <a:pt x="259" y="219"/>
                  <a:pt x="252" y="228"/>
                  <a:pt x="245" y="236"/>
                </a:cubicBezTo>
                <a:cubicBezTo>
                  <a:pt x="245" y="236"/>
                  <a:pt x="236" y="247"/>
                  <a:pt x="219" y="265"/>
                </a:cubicBezTo>
                <a:cubicBezTo>
                  <a:pt x="184" y="120"/>
                  <a:pt x="37" y="142"/>
                  <a:pt x="0" y="150"/>
                </a:cubicBezTo>
                <a:cubicBezTo>
                  <a:pt x="30" y="92"/>
                  <a:pt x="30" y="92"/>
                  <a:pt x="30" y="92"/>
                </a:cubicBezTo>
                <a:cubicBezTo>
                  <a:pt x="62" y="28"/>
                  <a:pt x="140" y="0"/>
                  <a:pt x="204" y="31"/>
                </a:cubicBezTo>
                <a:cubicBezTo>
                  <a:pt x="271" y="63"/>
                  <a:pt x="297" y="144"/>
                  <a:pt x="264" y="209"/>
                </a:cubicBezTo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69" name="Freeform 271">
            <a:extLst>
              <a:ext uri="{FF2B5EF4-FFF2-40B4-BE49-F238E27FC236}">
                <a16:creationId xmlns:a16="http://schemas.microsoft.com/office/drawing/2014/main" id="{F56113B6-EB8D-4FD4-90F2-182119556C41}"/>
              </a:ext>
            </a:extLst>
          </p:cNvPr>
          <p:cNvSpPr>
            <a:spLocks/>
          </p:cNvSpPr>
          <p:nvPr/>
        </p:nvSpPr>
        <p:spPr bwMode="auto">
          <a:xfrm>
            <a:off x="765434" y="3636777"/>
            <a:ext cx="231830" cy="274905"/>
          </a:xfrm>
          <a:custGeom>
            <a:avLst/>
            <a:gdLst>
              <a:gd name="T0" fmla="*/ 324 w 354"/>
              <a:gd name="T1" fmla="*/ 81 h 420"/>
              <a:gd name="T2" fmla="*/ 339 w 354"/>
              <a:gd name="T3" fmla="*/ 149 h 420"/>
              <a:gd name="T4" fmla="*/ 347 w 354"/>
              <a:gd name="T5" fmla="*/ 82 h 420"/>
              <a:gd name="T6" fmla="*/ 318 w 354"/>
              <a:gd name="T7" fmla="*/ 22 h 420"/>
              <a:gd name="T8" fmla="*/ 250 w 354"/>
              <a:gd name="T9" fmla="*/ 2 h 420"/>
              <a:gd name="T10" fmla="*/ 152 w 354"/>
              <a:gd name="T11" fmla="*/ 88 h 420"/>
              <a:gd name="T12" fmla="*/ 141 w 354"/>
              <a:gd name="T13" fmla="*/ 132 h 420"/>
              <a:gd name="T14" fmla="*/ 123 w 354"/>
              <a:gd name="T15" fmla="*/ 177 h 420"/>
              <a:gd name="T16" fmla="*/ 83 w 354"/>
              <a:gd name="T17" fmla="*/ 225 h 420"/>
              <a:gd name="T18" fmla="*/ 32 w 354"/>
              <a:gd name="T19" fmla="*/ 252 h 420"/>
              <a:gd name="T20" fmla="*/ 10 w 354"/>
              <a:gd name="T21" fmla="*/ 335 h 420"/>
              <a:gd name="T22" fmla="*/ 90 w 354"/>
              <a:gd name="T23" fmla="*/ 413 h 420"/>
              <a:gd name="T24" fmla="*/ 139 w 354"/>
              <a:gd name="T25" fmla="*/ 415 h 420"/>
              <a:gd name="T26" fmla="*/ 200 w 354"/>
              <a:gd name="T27" fmla="*/ 366 h 420"/>
              <a:gd name="T28" fmla="*/ 231 w 354"/>
              <a:gd name="T29" fmla="*/ 237 h 420"/>
              <a:gd name="T30" fmla="*/ 209 w 354"/>
              <a:gd name="T31" fmla="*/ 131 h 420"/>
              <a:gd name="T32" fmla="*/ 324 w 354"/>
              <a:gd name="T33" fmla="*/ 81 h 4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54" h="420">
                <a:moveTo>
                  <a:pt x="324" y="81"/>
                </a:moveTo>
                <a:cubicBezTo>
                  <a:pt x="336" y="92"/>
                  <a:pt x="342" y="116"/>
                  <a:pt x="339" y="149"/>
                </a:cubicBezTo>
                <a:cubicBezTo>
                  <a:pt x="337" y="170"/>
                  <a:pt x="354" y="138"/>
                  <a:pt x="347" y="82"/>
                </a:cubicBezTo>
                <a:cubicBezTo>
                  <a:pt x="344" y="57"/>
                  <a:pt x="339" y="37"/>
                  <a:pt x="318" y="22"/>
                </a:cubicBezTo>
                <a:cubicBezTo>
                  <a:pt x="299" y="7"/>
                  <a:pt x="274" y="0"/>
                  <a:pt x="250" y="2"/>
                </a:cubicBezTo>
                <a:cubicBezTo>
                  <a:pt x="203" y="7"/>
                  <a:pt x="167" y="46"/>
                  <a:pt x="152" y="88"/>
                </a:cubicBezTo>
                <a:cubicBezTo>
                  <a:pt x="147" y="103"/>
                  <a:pt x="146" y="118"/>
                  <a:pt x="141" y="132"/>
                </a:cubicBezTo>
                <a:cubicBezTo>
                  <a:pt x="137" y="148"/>
                  <a:pt x="131" y="163"/>
                  <a:pt x="123" y="177"/>
                </a:cubicBezTo>
                <a:cubicBezTo>
                  <a:pt x="112" y="195"/>
                  <a:pt x="99" y="212"/>
                  <a:pt x="83" y="225"/>
                </a:cubicBezTo>
                <a:cubicBezTo>
                  <a:pt x="67" y="237"/>
                  <a:pt x="47" y="241"/>
                  <a:pt x="32" y="252"/>
                </a:cubicBezTo>
                <a:cubicBezTo>
                  <a:pt x="6" y="272"/>
                  <a:pt x="0" y="306"/>
                  <a:pt x="10" y="335"/>
                </a:cubicBezTo>
                <a:cubicBezTo>
                  <a:pt x="21" y="371"/>
                  <a:pt x="55" y="401"/>
                  <a:pt x="90" y="413"/>
                </a:cubicBezTo>
                <a:cubicBezTo>
                  <a:pt x="106" y="418"/>
                  <a:pt x="123" y="420"/>
                  <a:pt x="139" y="415"/>
                </a:cubicBezTo>
                <a:cubicBezTo>
                  <a:pt x="165" y="408"/>
                  <a:pt x="184" y="387"/>
                  <a:pt x="200" y="366"/>
                </a:cubicBezTo>
                <a:cubicBezTo>
                  <a:pt x="230" y="329"/>
                  <a:pt x="250" y="284"/>
                  <a:pt x="231" y="237"/>
                </a:cubicBezTo>
                <a:cubicBezTo>
                  <a:pt x="217" y="203"/>
                  <a:pt x="206" y="168"/>
                  <a:pt x="209" y="131"/>
                </a:cubicBezTo>
                <a:cubicBezTo>
                  <a:pt x="213" y="84"/>
                  <a:pt x="295" y="55"/>
                  <a:pt x="324" y="81"/>
                </a:cubicBezTo>
              </a:path>
            </a:pathLst>
          </a:custGeom>
          <a:solidFill>
            <a:srgbClr val="283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70" name="Freeform 272">
            <a:extLst>
              <a:ext uri="{FF2B5EF4-FFF2-40B4-BE49-F238E27FC236}">
                <a16:creationId xmlns:a16="http://schemas.microsoft.com/office/drawing/2014/main" id="{40F5B0FD-860F-4FC2-8EC2-6B6B34D0104D}"/>
              </a:ext>
            </a:extLst>
          </p:cNvPr>
          <p:cNvSpPr>
            <a:spLocks noEditPoints="1"/>
          </p:cNvSpPr>
          <p:nvPr/>
        </p:nvSpPr>
        <p:spPr bwMode="auto">
          <a:xfrm>
            <a:off x="784310" y="3794557"/>
            <a:ext cx="15488" cy="9196"/>
          </a:xfrm>
          <a:custGeom>
            <a:avLst/>
            <a:gdLst>
              <a:gd name="T0" fmla="*/ 0 w 23"/>
              <a:gd name="T1" fmla="*/ 14 h 14"/>
              <a:gd name="T2" fmla="*/ 0 w 23"/>
              <a:gd name="T3" fmla="*/ 14 h 14"/>
              <a:gd name="T4" fmla="*/ 0 w 23"/>
              <a:gd name="T5" fmla="*/ 14 h 14"/>
              <a:gd name="T6" fmla="*/ 23 w 23"/>
              <a:gd name="T7" fmla="*/ 0 h 14"/>
              <a:gd name="T8" fmla="*/ 3 w 23"/>
              <a:gd name="T9" fmla="*/ 11 h 14"/>
              <a:gd name="T10" fmla="*/ 0 w 23"/>
              <a:gd name="T11" fmla="*/ 13 h 14"/>
              <a:gd name="T12" fmla="*/ 3 w 23"/>
              <a:gd name="T13" fmla="*/ 11 h 14"/>
              <a:gd name="T14" fmla="*/ 23 w 23"/>
              <a:gd name="T15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3" h="14">
                <a:moveTo>
                  <a:pt x="0" y="14"/>
                </a:moveTo>
                <a:cubicBezTo>
                  <a:pt x="0" y="14"/>
                  <a:pt x="0" y="14"/>
                  <a:pt x="0" y="14"/>
                </a:cubicBezTo>
                <a:cubicBezTo>
                  <a:pt x="0" y="14"/>
                  <a:pt x="0" y="14"/>
                  <a:pt x="0" y="14"/>
                </a:cubicBezTo>
                <a:moveTo>
                  <a:pt x="23" y="0"/>
                </a:moveTo>
                <a:cubicBezTo>
                  <a:pt x="16" y="3"/>
                  <a:pt x="9" y="7"/>
                  <a:pt x="3" y="11"/>
                </a:cubicBezTo>
                <a:cubicBezTo>
                  <a:pt x="2" y="12"/>
                  <a:pt x="1" y="13"/>
                  <a:pt x="0" y="13"/>
                </a:cubicBezTo>
                <a:cubicBezTo>
                  <a:pt x="1" y="13"/>
                  <a:pt x="2" y="12"/>
                  <a:pt x="3" y="11"/>
                </a:cubicBezTo>
                <a:cubicBezTo>
                  <a:pt x="9" y="7"/>
                  <a:pt x="16" y="3"/>
                  <a:pt x="23" y="0"/>
                </a:cubicBezTo>
              </a:path>
            </a:pathLst>
          </a:custGeom>
          <a:solidFill>
            <a:srgbClr val="91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71" name="Freeform 273">
            <a:extLst>
              <a:ext uri="{FF2B5EF4-FFF2-40B4-BE49-F238E27FC236}">
                <a16:creationId xmlns:a16="http://schemas.microsoft.com/office/drawing/2014/main" id="{024AE14A-D5F0-4CA8-8EC2-923C0A8D7543}"/>
              </a:ext>
            </a:extLst>
          </p:cNvPr>
          <p:cNvSpPr>
            <a:spLocks/>
          </p:cNvSpPr>
          <p:nvPr/>
        </p:nvSpPr>
        <p:spPr bwMode="auto">
          <a:xfrm>
            <a:off x="904338" y="3852635"/>
            <a:ext cx="7744" cy="13068"/>
          </a:xfrm>
          <a:custGeom>
            <a:avLst/>
            <a:gdLst>
              <a:gd name="T0" fmla="*/ 12 w 12"/>
              <a:gd name="T1" fmla="*/ 0 h 20"/>
              <a:gd name="T2" fmla="*/ 0 w 12"/>
              <a:gd name="T3" fmla="*/ 20 h 20"/>
              <a:gd name="T4" fmla="*/ 0 w 12"/>
              <a:gd name="T5" fmla="*/ 20 h 20"/>
              <a:gd name="T6" fmla="*/ 12 w 12"/>
              <a:gd name="T7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20">
                <a:moveTo>
                  <a:pt x="12" y="0"/>
                </a:moveTo>
                <a:cubicBezTo>
                  <a:pt x="9" y="7"/>
                  <a:pt x="5" y="13"/>
                  <a:pt x="0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5" y="13"/>
                  <a:pt x="9" y="7"/>
                  <a:pt x="12" y="0"/>
                </a:cubicBezTo>
              </a:path>
            </a:pathLst>
          </a:custGeom>
          <a:solidFill>
            <a:srgbClr val="914A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72" name="Freeform 274">
            <a:extLst>
              <a:ext uri="{FF2B5EF4-FFF2-40B4-BE49-F238E27FC236}">
                <a16:creationId xmlns:a16="http://schemas.microsoft.com/office/drawing/2014/main" id="{FFD662AB-8ECC-4B02-8D59-1F8D083577CA}"/>
              </a:ext>
            </a:extLst>
          </p:cNvPr>
          <p:cNvSpPr>
            <a:spLocks/>
          </p:cNvSpPr>
          <p:nvPr/>
        </p:nvSpPr>
        <p:spPr bwMode="auto">
          <a:xfrm>
            <a:off x="891271" y="3865703"/>
            <a:ext cx="13068" cy="17424"/>
          </a:xfrm>
          <a:custGeom>
            <a:avLst/>
            <a:gdLst>
              <a:gd name="T0" fmla="*/ 20 w 20"/>
              <a:gd name="T1" fmla="*/ 0 h 26"/>
              <a:gd name="T2" fmla="*/ 8 w 20"/>
              <a:gd name="T3" fmla="*/ 16 h 26"/>
              <a:gd name="T4" fmla="*/ 0 w 20"/>
              <a:gd name="T5" fmla="*/ 26 h 26"/>
              <a:gd name="T6" fmla="*/ 8 w 20"/>
              <a:gd name="T7" fmla="*/ 16 h 26"/>
              <a:gd name="T8" fmla="*/ 20 w 20"/>
              <a:gd name="T9" fmla="*/ 0 h 26"/>
              <a:gd name="T10" fmla="*/ 20 w 20"/>
              <a:gd name="T11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" h="26">
                <a:moveTo>
                  <a:pt x="20" y="0"/>
                </a:moveTo>
                <a:cubicBezTo>
                  <a:pt x="17" y="5"/>
                  <a:pt x="12" y="11"/>
                  <a:pt x="8" y="16"/>
                </a:cubicBezTo>
                <a:cubicBezTo>
                  <a:pt x="5" y="20"/>
                  <a:pt x="3" y="23"/>
                  <a:pt x="0" y="26"/>
                </a:cubicBezTo>
                <a:cubicBezTo>
                  <a:pt x="3" y="23"/>
                  <a:pt x="5" y="20"/>
                  <a:pt x="8" y="16"/>
                </a:cubicBezTo>
                <a:cubicBezTo>
                  <a:pt x="12" y="11"/>
                  <a:pt x="17" y="5"/>
                  <a:pt x="20" y="0"/>
                </a:cubicBezTo>
                <a:cubicBezTo>
                  <a:pt x="20" y="0"/>
                  <a:pt x="20" y="0"/>
                  <a:pt x="20" y="0"/>
                </a:cubicBezTo>
              </a:path>
            </a:pathLst>
          </a:custGeom>
          <a:solidFill>
            <a:srgbClr val="914A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73" name="Freeform 275">
            <a:extLst>
              <a:ext uri="{FF2B5EF4-FFF2-40B4-BE49-F238E27FC236}">
                <a16:creationId xmlns:a16="http://schemas.microsoft.com/office/drawing/2014/main" id="{4ED0438F-49C1-4B7E-985A-C5F3B2E69EF2}"/>
              </a:ext>
            </a:extLst>
          </p:cNvPr>
          <p:cNvSpPr>
            <a:spLocks/>
          </p:cNvSpPr>
          <p:nvPr/>
        </p:nvSpPr>
        <p:spPr bwMode="auto">
          <a:xfrm>
            <a:off x="835612" y="3909746"/>
            <a:ext cx="484" cy="0"/>
          </a:xfrm>
          <a:custGeom>
            <a:avLst/>
            <a:gdLst>
              <a:gd name="T0" fmla="*/ 0 w 1"/>
              <a:gd name="T1" fmla="*/ 1 w 1"/>
              <a:gd name="T2" fmla="*/ 1 w 1"/>
              <a:gd name="T3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1">
                <a:moveTo>
                  <a:pt x="0" y="0"/>
                </a:moveTo>
                <a:cubicBezTo>
                  <a:pt x="0" y="0"/>
                  <a:pt x="0" y="0"/>
                  <a:pt x="1" y="0"/>
                </a:cubicBezTo>
                <a:cubicBezTo>
                  <a:pt x="1" y="0"/>
                  <a:pt x="1" y="0"/>
                  <a:pt x="1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914A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74" name="Freeform 276">
            <a:extLst>
              <a:ext uri="{FF2B5EF4-FFF2-40B4-BE49-F238E27FC236}">
                <a16:creationId xmlns:a16="http://schemas.microsoft.com/office/drawing/2014/main" id="{95292F2F-D9C0-4D1A-8FB4-F00E41B7A55A}"/>
              </a:ext>
            </a:extLst>
          </p:cNvPr>
          <p:cNvSpPr>
            <a:spLocks/>
          </p:cNvSpPr>
          <p:nvPr/>
        </p:nvSpPr>
        <p:spPr bwMode="auto">
          <a:xfrm>
            <a:off x="836096" y="3892322"/>
            <a:ext cx="46463" cy="17908"/>
          </a:xfrm>
          <a:custGeom>
            <a:avLst/>
            <a:gdLst>
              <a:gd name="T0" fmla="*/ 71 w 71"/>
              <a:gd name="T1" fmla="*/ 0 h 28"/>
              <a:gd name="T2" fmla="*/ 31 w 71"/>
              <a:gd name="T3" fmla="*/ 25 h 28"/>
              <a:gd name="T4" fmla="*/ 12 w 71"/>
              <a:gd name="T5" fmla="*/ 28 h 28"/>
              <a:gd name="T6" fmla="*/ 0 w 71"/>
              <a:gd name="T7" fmla="*/ 27 h 28"/>
              <a:gd name="T8" fmla="*/ 0 w 71"/>
              <a:gd name="T9" fmla="*/ 27 h 28"/>
              <a:gd name="T10" fmla="*/ 12 w 71"/>
              <a:gd name="T11" fmla="*/ 28 h 28"/>
              <a:gd name="T12" fmla="*/ 31 w 71"/>
              <a:gd name="T13" fmla="*/ 25 h 28"/>
              <a:gd name="T14" fmla="*/ 71 w 71"/>
              <a:gd name="T15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" h="28">
                <a:moveTo>
                  <a:pt x="71" y="0"/>
                </a:moveTo>
                <a:cubicBezTo>
                  <a:pt x="60" y="11"/>
                  <a:pt x="47" y="21"/>
                  <a:pt x="31" y="25"/>
                </a:cubicBezTo>
                <a:cubicBezTo>
                  <a:pt x="25" y="27"/>
                  <a:pt x="18" y="28"/>
                  <a:pt x="12" y="28"/>
                </a:cubicBezTo>
                <a:cubicBezTo>
                  <a:pt x="8" y="28"/>
                  <a:pt x="4" y="27"/>
                  <a:pt x="0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4" y="27"/>
                  <a:pt x="8" y="28"/>
                  <a:pt x="12" y="28"/>
                </a:cubicBezTo>
                <a:cubicBezTo>
                  <a:pt x="18" y="28"/>
                  <a:pt x="25" y="27"/>
                  <a:pt x="31" y="25"/>
                </a:cubicBezTo>
                <a:cubicBezTo>
                  <a:pt x="47" y="21"/>
                  <a:pt x="60" y="11"/>
                  <a:pt x="71" y="0"/>
                </a:cubicBezTo>
              </a:path>
            </a:pathLst>
          </a:custGeom>
          <a:solidFill>
            <a:srgbClr val="914A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75" name="Freeform 277">
            <a:extLst>
              <a:ext uri="{FF2B5EF4-FFF2-40B4-BE49-F238E27FC236}">
                <a16:creationId xmlns:a16="http://schemas.microsoft.com/office/drawing/2014/main" id="{CC8CE6F6-545D-470B-9C33-7B916E34B35E}"/>
              </a:ext>
            </a:extLst>
          </p:cNvPr>
          <p:cNvSpPr>
            <a:spLocks/>
          </p:cNvSpPr>
          <p:nvPr/>
        </p:nvSpPr>
        <p:spPr bwMode="auto">
          <a:xfrm>
            <a:off x="766402" y="3778101"/>
            <a:ext cx="155360" cy="132129"/>
          </a:xfrm>
          <a:custGeom>
            <a:avLst/>
            <a:gdLst>
              <a:gd name="T0" fmla="*/ 92 w 238"/>
              <a:gd name="T1" fmla="*/ 0 h 202"/>
              <a:gd name="T2" fmla="*/ 82 w 238"/>
              <a:gd name="T3" fmla="*/ 9 h 202"/>
              <a:gd name="T4" fmla="*/ 51 w 238"/>
              <a:gd name="T5" fmla="*/ 25 h 202"/>
              <a:gd name="T6" fmla="*/ 31 w 238"/>
              <a:gd name="T7" fmla="*/ 36 h 202"/>
              <a:gd name="T8" fmla="*/ 28 w 238"/>
              <a:gd name="T9" fmla="*/ 38 h 202"/>
              <a:gd name="T10" fmla="*/ 28 w 238"/>
              <a:gd name="T11" fmla="*/ 39 h 202"/>
              <a:gd name="T12" fmla="*/ 28 w 238"/>
              <a:gd name="T13" fmla="*/ 39 h 202"/>
              <a:gd name="T14" fmla="*/ 9 w 238"/>
              <a:gd name="T15" fmla="*/ 119 h 202"/>
              <a:gd name="T16" fmla="*/ 89 w 238"/>
              <a:gd name="T17" fmla="*/ 197 h 202"/>
              <a:gd name="T18" fmla="*/ 106 w 238"/>
              <a:gd name="T19" fmla="*/ 201 h 202"/>
              <a:gd name="T20" fmla="*/ 107 w 238"/>
              <a:gd name="T21" fmla="*/ 201 h 202"/>
              <a:gd name="T22" fmla="*/ 119 w 238"/>
              <a:gd name="T23" fmla="*/ 202 h 202"/>
              <a:gd name="T24" fmla="*/ 138 w 238"/>
              <a:gd name="T25" fmla="*/ 199 h 202"/>
              <a:gd name="T26" fmla="*/ 178 w 238"/>
              <a:gd name="T27" fmla="*/ 174 h 202"/>
              <a:gd name="T28" fmla="*/ 191 w 238"/>
              <a:gd name="T29" fmla="*/ 160 h 202"/>
              <a:gd name="T30" fmla="*/ 199 w 238"/>
              <a:gd name="T31" fmla="*/ 150 h 202"/>
              <a:gd name="T32" fmla="*/ 211 w 238"/>
              <a:gd name="T33" fmla="*/ 134 h 202"/>
              <a:gd name="T34" fmla="*/ 223 w 238"/>
              <a:gd name="T35" fmla="*/ 114 h 202"/>
              <a:gd name="T36" fmla="*/ 237 w 238"/>
              <a:gd name="T37" fmla="*/ 54 h 202"/>
              <a:gd name="T38" fmla="*/ 175 w 238"/>
              <a:gd name="T39" fmla="*/ 66 h 202"/>
              <a:gd name="T40" fmla="*/ 92 w 238"/>
              <a:gd name="T41" fmla="*/ 0 h 2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38" h="202">
                <a:moveTo>
                  <a:pt x="92" y="0"/>
                </a:moveTo>
                <a:cubicBezTo>
                  <a:pt x="89" y="3"/>
                  <a:pt x="85" y="6"/>
                  <a:pt x="82" y="9"/>
                </a:cubicBezTo>
                <a:cubicBezTo>
                  <a:pt x="72" y="16"/>
                  <a:pt x="62" y="20"/>
                  <a:pt x="51" y="25"/>
                </a:cubicBezTo>
                <a:cubicBezTo>
                  <a:pt x="44" y="28"/>
                  <a:pt x="37" y="32"/>
                  <a:pt x="31" y="36"/>
                </a:cubicBezTo>
                <a:cubicBezTo>
                  <a:pt x="30" y="37"/>
                  <a:pt x="29" y="38"/>
                  <a:pt x="28" y="38"/>
                </a:cubicBezTo>
                <a:cubicBezTo>
                  <a:pt x="28" y="38"/>
                  <a:pt x="28" y="38"/>
                  <a:pt x="28" y="39"/>
                </a:cubicBezTo>
                <a:cubicBezTo>
                  <a:pt x="28" y="39"/>
                  <a:pt x="28" y="39"/>
                  <a:pt x="28" y="39"/>
                </a:cubicBezTo>
                <a:cubicBezTo>
                  <a:pt x="5" y="58"/>
                  <a:pt x="0" y="91"/>
                  <a:pt x="9" y="119"/>
                </a:cubicBezTo>
                <a:cubicBezTo>
                  <a:pt x="20" y="155"/>
                  <a:pt x="54" y="185"/>
                  <a:pt x="89" y="197"/>
                </a:cubicBezTo>
                <a:cubicBezTo>
                  <a:pt x="95" y="199"/>
                  <a:pt x="100" y="200"/>
                  <a:pt x="106" y="201"/>
                </a:cubicBezTo>
                <a:cubicBezTo>
                  <a:pt x="106" y="201"/>
                  <a:pt x="106" y="201"/>
                  <a:pt x="107" y="201"/>
                </a:cubicBezTo>
                <a:cubicBezTo>
                  <a:pt x="111" y="201"/>
                  <a:pt x="115" y="202"/>
                  <a:pt x="119" y="202"/>
                </a:cubicBezTo>
                <a:cubicBezTo>
                  <a:pt x="125" y="202"/>
                  <a:pt x="132" y="201"/>
                  <a:pt x="138" y="199"/>
                </a:cubicBezTo>
                <a:cubicBezTo>
                  <a:pt x="154" y="195"/>
                  <a:pt x="167" y="185"/>
                  <a:pt x="178" y="174"/>
                </a:cubicBezTo>
                <a:cubicBezTo>
                  <a:pt x="183" y="170"/>
                  <a:pt x="187" y="165"/>
                  <a:pt x="191" y="160"/>
                </a:cubicBezTo>
                <a:cubicBezTo>
                  <a:pt x="194" y="157"/>
                  <a:pt x="196" y="154"/>
                  <a:pt x="199" y="150"/>
                </a:cubicBezTo>
                <a:cubicBezTo>
                  <a:pt x="203" y="145"/>
                  <a:pt x="208" y="139"/>
                  <a:pt x="211" y="134"/>
                </a:cubicBezTo>
                <a:cubicBezTo>
                  <a:pt x="216" y="127"/>
                  <a:pt x="220" y="121"/>
                  <a:pt x="223" y="114"/>
                </a:cubicBezTo>
                <a:cubicBezTo>
                  <a:pt x="233" y="95"/>
                  <a:pt x="238" y="75"/>
                  <a:pt x="237" y="54"/>
                </a:cubicBezTo>
                <a:cubicBezTo>
                  <a:pt x="220" y="60"/>
                  <a:pt x="198" y="66"/>
                  <a:pt x="175" y="66"/>
                </a:cubicBezTo>
                <a:cubicBezTo>
                  <a:pt x="140" y="66"/>
                  <a:pt x="104" y="52"/>
                  <a:pt x="92" y="0"/>
                </a:cubicBezTo>
              </a:path>
            </a:pathLst>
          </a:custGeom>
          <a:solidFill>
            <a:srgbClr val="25283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76" name="Freeform 278">
            <a:extLst>
              <a:ext uri="{FF2B5EF4-FFF2-40B4-BE49-F238E27FC236}">
                <a16:creationId xmlns:a16="http://schemas.microsoft.com/office/drawing/2014/main" id="{6CA3409C-F9F2-4637-99A4-AAE0F0E4A682}"/>
              </a:ext>
            </a:extLst>
          </p:cNvPr>
          <p:cNvSpPr>
            <a:spLocks/>
          </p:cNvSpPr>
          <p:nvPr/>
        </p:nvSpPr>
        <p:spPr bwMode="auto">
          <a:xfrm>
            <a:off x="894659" y="3707439"/>
            <a:ext cx="17424" cy="22264"/>
          </a:xfrm>
          <a:custGeom>
            <a:avLst/>
            <a:gdLst>
              <a:gd name="T0" fmla="*/ 24 w 27"/>
              <a:gd name="T1" fmla="*/ 14 h 34"/>
              <a:gd name="T2" fmla="*/ 18 w 27"/>
              <a:gd name="T3" fmla="*/ 32 h 34"/>
              <a:gd name="T4" fmla="*/ 3 w 27"/>
              <a:gd name="T5" fmla="*/ 21 h 34"/>
              <a:gd name="T6" fmla="*/ 9 w 27"/>
              <a:gd name="T7" fmla="*/ 2 h 34"/>
              <a:gd name="T8" fmla="*/ 24 w 27"/>
              <a:gd name="T9" fmla="*/ 1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34">
                <a:moveTo>
                  <a:pt x="24" y="14"/>
                </a:moveTo>
                <a:cubicBezTo>
                  <a:pt x="27" y="22"/>
                  <a:pt x="24" y="30"/>
                  <a:pt x="18" y="32"/>
                </a:cubicBezTo>
                <a:cubicBezTo>
                  <a:pt x="12" y="34"/>
                  <a:pt x="5" y="29"/>
                  <a:pt x="3" y="21"/>
                </a:cubicBezTo>
                <a:cubicBezTo>
                  <a:pt x="0" y="12"/>
                  <a:pt x="3" y="4"/>
                  <a:pt x="9" y="2"/>
                </a:cubicBezTo>
                <a:cubicBezTo>
                  <a:pt x="14" y="0"/>
                  <a:pt x="21" y="5"/>
                  <a:pt x="24" y="14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77" name="Freeform 279">
            <a:extLst>
              <a:ext uri="{FF2B5EF4-FFF2-40B4-BE49-F238E27FC236}">
                <a16:creationId xmlns:a16="http://schemas.microsoft.com/office/drawing/2014/main" id="{9F534414-8E9D-42E8-B840-B53E41A8D277}"/>
              </a:ext>
            </a:extLst>
          </p:cNvPr>
          <p:cNvSpPr>
            <a:spLocks/>
          </p:cNvSpPr>
          <p:nvPr/>
        </p:nvSpPr>
        <p:spPr bwMode="auto">
          <a:xfrm>
            <a:off x="2243531" y="3956209"/>
            <a:ext cx="85182" cy="102121"/>
          </a:xfrm>
          <a:custGeom>
            <a:avLst/>
            <a:gdLst>
              <a:gd name="T0" fmla="*/ 0 w 130"/>
              <a:gd name="T1" fmla="*/ 107 h 156"/>
              <a:gd name="T2" fmla="*/ 58 w 130"/>
              <a:gd name="T3" fmla="*/ 5 h 156"/>
              <a:gd name="T4" fmla="*/ 95 w 130"/>
              <a:gd name="T5" fmla="*/ 8 h 156"/>
              <a:gd name="T6" fmla="*/ 124 w 130"/>
              <a:gd name="T7" fmla="*/ 7 h 156"/>
              <a:gd name="T8" fmla="*/ 122 w 130"/>
              <a:gd name="T9" fmla="*/ 33 h 156"/>
              <a:gd name="T10" fmla="*/ 109 w 130"/>
              <a:gd name="T11" fmla="*/ 91 h 156"/>
              <a:gd name="T12" fmla="*/ 67 w 130"/>
              <a:gd name="T13" fmla="*/ 116 h 156"/>
              <a:gd name="T14" fmla="*/ 44 w 130"/>
              <a:gd name="T15" fmla="*/ 156 h 156"/>
              <a:gd name="T16" fmla="*/ 0 w 130"/>
              <a:gd name="T17" fmla="*/ 10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0" h="156">
                <a:moveTo>
                  <a:pt x="0" y="107"/>
                </a:moveTo>
                <a:cubicBezTo>
                  <a:pt x="0" y="107"/>
                  <a:pt x="50" y="10"/>
                  <a:pt x="58" y="5"/>
                </a:cubicBezTo>
                <a:cubicBezTo>
                  <a:pt x="66" y="1"/>
                  <a:pt x="79" y="0"/>
                  <a:pt x="95" y="8"/>
                </a:cubicBezTo>
                <a:cubicBezTo>
                  <a:pt x="100" y="10"/>
                  <a:pt x="121" y="3"/>
                  <a:pt x="124" y="7"/>
                </a:cubicBezTo>
                <a:cubicBezTo>
                  <a:pt x="128" y="13"/>
                  <a:pt x="125" y="23"/>
                  <a:pt x="122" y="33"/>
                </a:cubicBezTo>
                <a:cubicBezTo>
                  <a:pt x="115" y="57"/>
                  <a:pt x="130" y="77"/>
                  <a:pt x="109" y="91"/>
                </a:cubicBezTo>
                <a:cubicBezTo>
                  <a:pt x="95" y="100"/>
                  <a:pt x="68" y="115"/>
                  <a:pt x="67" y="116"/>
                </a:cubicBezTo>
                <a:cubicBezTo>
                  <a:pt x="65" y="116"/>
                  <a:pt x="44" y="156"/>
                  <a:pt x="44" y="156"/>
                </a:cubicBezTo>
                <a:lnTo>
                  <a:pt x="0" y="107"/>
                </a:lnTo>
                <a:close/>
              </a:path>
            </a:pathLst>
          </a:custGeom>
          <a:solidFill>
            <a:srgbClr val="F29E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78" name="Freeform 280">
            <a:extLst>
              <a:ext uri="{FF2B5EF4-FFF2-40B4-BE49-F238E27FC236}">
                <a16:creationId xmlns:a16="http://schemas.microsoft.com/office/drawing/2014/main" id="{5085FD4A-B477-4CDD-82B2-7BF61CC3249D}"/>
              </a:ext>
            </a:extLst>
          </p:cNvPr>
          <p:cNvSpPr>
            <a:spLocks/>
          </p:cNvSpPr>
          <p:nvPr/>
        </p:nvSpPr>
        <p:spPr bwMode="auto">
          <a:xfrm>
            <a:off x="2146734" y="3998799"/>
            <a:ext cx="147133" cy="234734"/>
          </a:xfrm>
          <a:custGeom>
            <a:avLst/>
            <a:gdLst>
              <a:gd name="T0" fmla="*/ 170 w 225"/>
              <a:gd name="T1" fmla="*/ 0 h 359"/>
              <a:gd name="T2" fmla="*/ 72 w 225"/>
              <a:gd name="T3" fmla="*/ 114 h 359"/>
              <a:gd name="T4" fmla="*/ 7 w 225"/>
              <a:gd name="T5" fmla="*/ 189 h 359"/>
              <a:gd name="T6" fmla="*/ 3 w 225"/>
              <a:gd name="T7" fmla="*/ 194 h 359"/>
              <a:gd name="T8" fmla="*/ 0 w 225"/>
              <a:gd name="T9" fmla="*/ 196 h 359"/>
              <a:gd name="T10" fmla="*/ 27 w 225"/>
              <a:gd name="T11" fmla="*/ 359 h 359"/>
              <a:gd name="T12" fmla="*/ 45 w 225"/>
              <a:gd name="T13" fmla="*/ 349 h 359"/>
              <a:gd name="T14" fmla="*/ 54 w 225"/>
              <a:gd name="T15" fmla="*/ 342 h 359"/>
              <a:gd name="T16" fmla="*/ 63 w 225"/>
              <a:gd name="T17" fmla="*/ 334 h 359"/>
              <a:gd name="T18" fmla="*/ 70 w 225"/>
              <a:gd name="T19" fmla="*/ 325 h 359"/>
              <a:gd name="T20" fmla="*/ 74 w 225"/>
              <a:gd name="T21" fmla="*/ 320 h 359"/>
              <a:gd name="T22" fmla="*/ 74 w 225"/>
              <a:gd name="T23" fmla="*/ 319 h 359"/>
              <a:gd name="T24" fmla="*/ 74 w 225"/>
              <a:gd name="T25" fmla="*/ 319 h 359"/>
              <a:gd name="T26" fmla="*/ 75 w 225"/>
              <a:gd name="T27" fmla="*/ 318 h 359"/>
              <a:gd name="T28" fmla="*/ 106 w 225"/>
              <a:gd name="T29" fmla="*/ 260 h 359"/>
              <a:gd name="T30" fmla="*/ 161 w 225"/>
              <a:gd name="T31" fmla="*/ 158 h 359"/>
              <a:gd name="T32" fmla="*/ 225 w 225"/>
              <a:gd name="T33" fmla="*/ 35 h 359"/>
              <a:gd name="T34" fmla="*/ 170 w 225"/>
              <a:gd name="T35" fmla="*/ 0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5" h="359">
                <a:moveTo>
                  <a:pt x="170" y="0"/>
                </a:moveTo>
                <a:cubicBezTo>
                  <a:pt x="160" y="11"/>
                  <a:pt x="108" y="76"/>
                  <a:pt x="72" y="114"/>
                </a:cubicBezTo>
                <a:cubicBezTo>
                  <a:pt x="49" y="139"/>
                  <a:pt x="36" y="158"/>
                  <a:pt x="7" y="189"/>
                </a:cubicBezTo>
                <a:cubicBezTo>
                  <a:pt x="6" y="191"/>
                  <a:pt x="4" y="192"/>
                  <a:pt x="3" y="194"/>
                </a:cubicBezTo>
                <a:cubicBezTo>
                  <a:pt x="2" y="195"/>
                  <a:pt x="1" y="195"/>
                  <a:pt x="0" y="196"/>
                </a:cubicBezTo>
                <a:cubicBezTo>
                  <a:pt x="27" y="359"/>
                  <a:pt x="27" y="359"/>
                  <a:pt x="27" y="359"/>
                </a:cubicBezTo>
                <a:cubicBezTo>
                  <a:pt x="33" y="356"/>
                  <a:pt x="39" y="353"/>
                  <a:pt x="45" y="349"/>
                </a:cubicBezTo>
                <a:cubicBezTo>
                  <a:pt x="48" y="347"/>
                  <a:pt x="51" y="345"/>
                  <a:pt x="54" y="342"/>
                </a:cubicBezTo>
                <a:cubicBezTo>
                  <a:pt x="57" y="339"/>
                  <a:pt x="60" y="337"/>
                  <a:pt x="63" y="334"/>
                </a:cubicBezTo>
                <a:cubicBezTo>
                  <a:pt x="65" y="331"/>
                  <a:pt x="68" y="328"/>
                  <a:pt x="70" y="325"/>
                </a:cubicBezTo>
                <a:cubicBezTo>
                  <a:pt x="74" y="320"/>
                  <a:pt x="74" y="320"/>
                  <a:pt x="74" y="320"/>
                </a:cubicBezTo>
                <a:cubicBezTo>
                  <a:pt x="74" y="319"/>
                  <a:pt x="74" y="319"/>
                  <a:pt x="74" y="319"/>
                </a:cubicBezTo>
                <a:cubicBezTo>
                  <a:pt x="74" y="319"/>
                  <a:pt x="74" y="319"/>
                  <a:pt x="74" y="319"/>
                </a:cubicBezTo>
                <a:cubicBezTo>
                  <a:pt x="75" y="318"/>
                  <a:pt x="75" y="318"/>
                  <a:pt x="75" y="318"/>
                </a:cubicBezTo>
                <a:cubicBezTo>
                  <a:pt x="85" y="298"/>
                  <a:pt x="96" y="279"/>
                  <a:pt x="106" y="260"/>
                </a:cubicBezTo>
                <a:cubicBezTo>
                  <a:pt x="126" y="222"/>
                  <a:pt x="145" y="188"/>
                  <a:pt x="161" y="158"/>
                </a:cubicBezTo>
                <a:cubicBezTo>
                  <a:pt x="189" y="106"/>
                  <a:pt x="219" y="45"/>
                  <a:pt x="225" y="35"/>
                </a:cubicBezTo>
                <a:lnTo>
                  <a:pt x="170" y="0"/>
                </a:lnTo>
                <a:close/>
              </a:path>
            </a:pathLst>
          </a:custGeom>
          <a:solidFill>
            <a:srgbClr val="F29E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79" name="Freeform 281">
            <a:extLst>
              <a:ext uri="{FF2B5EF4-FFF2-40B4-BE49-F238E27FC236}">
                <a16:creationId xmlns:a16="http://schemas.microsoft.com/office/drawing/2014/main" id="{FF2AC223-804A-476E-8E81-BC0331511A4A}"/>
              </a:ext>
            </a:extLst>
          </p:cNvPr>
          <p:cNvSpPr>
            <a:spLocks/>
          </p:cNvSpPr>
          <p:nvPr/>
        </p:nvSpPr>
        <p:spPr bwMode="auto">
          <a:xfrm>
            <a:off x="1704854" y="5187472"/>
            <a:ext cx="107930" cy="131645"/>
          </a:xfrm>
          <a:custGeom>
            <a:avLst/>
            <a:gdLst>
              <a:gd name="T0" fmla="*/ 43 w 165"/>
              <a:gd name="T1" fmla="*/ 0 h 201"/>
              <a:gd name="T2" fmla="*/ 8 w 165"/>
              <a:gd name="T3" fmla="*/ 47 h 201"/>
              <a:gd name="T4" fmla="*/ 10 w 165"/>
              <a:gd name="T5" fmla="*/ 79 h 201"/>
              <a:gd name="T6" fmla="*/ 133 w 165"/>
              <a:gd name="T7" fmla="*/ 195 h 201"/>
              <a:gd name="T8" fmla="*/ 155 w 165"/>
              <a:gd name="T9" fmla="*/ 191 h 201"/>
              <a:gd name="T10" fmla="*/ 136 w 165"/>
              <a:gd name="T11" fmla="*/ 137 h 201"/>
              <a:gd name="T12" fmla="*/ 110 w 165"/>
              <a:gd name="T13" fmla="*/ 90 h 201"/>
              <a:gd name="T14" fmla="*/ 105 w 165"/>
              <a:gd name="T15" fmla="*/ 45 h 201"/>
              <a:gd name="T16" fmla="*/ 106 w 165"/>
              <a:gd name="T17" fmla="*/ 44 h 201"/>
              <a:gd name="T18" fmla="*/ 43 w 165"/>
              <a:gd name="T19" fmla="*/ 0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5" h="201">
                <a:moveTo>
                  <a:pt x="43" y="0"/>
                </a:moveTo>
                <a:cubicBezTo>
                  <a:pt x="8" y="47"/>
                  <a:pt x="8" y="47"/>
                  <a:pt x="8" y="47"/>
                </a:cubicBezTo>
                <a:cubicBezTo>
                  <a:pt x="0" y="57"/>
                  <a:pt x="1" y="71"/>
                  <a:pt x="10" y="79"/>
                </a:cubicBezTo>
                <a:cubicBezTo>
                  <a:pt x="133" y="195"/>
                  <a:pt x="133" y="195"/>
                  <a:pt x="133" y="195"/>
                </a:cubicBezTo>
                <a:cubicBezTo>
                  <a:pt x="140" y="201"/>
                  <a:pt x="151" y="199"/>
                  <a:pt x="155" y="191"/>
                </a:cubicBezTo>
                <a:cubicBezTo>
                  <a:pt x="165" y="170"/>
                  <a:pt x="148" y="153"/>
                  <a:pt x="136" y="137"/>
                </a:cubicBezTo>
                <a:cubicBezTo>
                  <a:pt x="126" y="122"/>
                  <a:pt x="116" y="107"/>
                  <a:pt x="110" y="90"/>
                </a:cubicBezTo>
                <a:cubicBezTo>
                  <a:pt x="105" y="76"/>
                  <a:pt x="101" y="59"/>
                  <a:pt x="105" y="45"/>
                </a:cubicBezTo>
                <a:cubicBezTo>
                  <a:pt x="106" y="44"/>
                  <a:pt x="106" y="44"/>
                  <a:pt x="106" y="44"/>
                </a:cubicBezTo>
                <a:cubicBezTo>
                  <a:pt x="106" y="44"/>
                  <a:pt x="71" y="31"/>
                  <a:pt x="43" y="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80" name="Freeform 282">
            <a:extLst>
              <a:ext uri="{FF2B5EF4-FFF2-40B4-BE49-F238E27FC236}">
                <a16:creationId xmlns:a16="http://schemas.microsoft.com/office/drawing/2014/main" id="{05A518DB-013E-43A2-8AEC-77188BF756B2}"/>
              </a:ext>
            </a:extLst>
          </p:cNvPr>
          <p:cNvSpPr>
            <a:spLocks/>
          </p:cNvSpPr>
          <p:nvPr/>
        </p:nvSpPr>
        <p:spPr bwMode="auto">
          <a:xfrm>
            <a:off x="1915872" y="4365662"/>
            <a:ext cx="332499" cy="509155"/>
          </a:xfrm>
          <a:custGeom>
            <a:avLst/>
            <a:gdLst>
              <a:gd name="T0" fmla="*/ 120 w 508"/>
              <a:gd name="T1" fmla="*/ 764 h 778"/>
              <a:gd name="T2" fmla="*/ 326 w 508"/>
              <a:gd name="T3" fmla="*/ 778 h 778"/>
              <a:gd name="T4" fmla="*/ 421 w 508"/>
              <a:gd name="T5" fmla="*/ 0 h 778"/>
              <a:gd name="T6" fmla="*/ 20 w 508"/>
              <a:gd name="T7" fmla="*/ 72 h 778"/>
              <a:gd name="T8" fmla="*/ 120 w 508"/>
              <a:gd name="T9" fmla="*/ 764 h 7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8" h="778">
                <a:moveTo>
                  <a:pt x="120" y="764"/>
                </a:moveTo>
                <a:cubicBezTo>
                  <a:pt x="326" y="778"/>
                  <a:pt x="326" y="778"/>
                  <a:pt x="326" y="778"/>
                </a:cubicBezTo>
                <a:cubicBezTo>
                  <a:pt x="508" y="201"/>
                  <a:pt x="421" y="0"/>
                  <a:pt x="421" y="0"/>
                </a:cubicBezTo>
                <a:cubicBezTo>
                  <a:pt x="20" y="72"/>
                  <a:pt x="20" y="72"/>
                  <a:pt x="20" y="72"/>
                </a:cubicBezTo>
                <a:cubicBezTo>
                  <a:pt x="0" y="211"/>
                  <a:pt x="0" y="429"/>
                  <a:pt x="120" y="764"/>
                </a:cubicBezTo>
                <a:close/>
              </a:path>
            </a:pathLst>
          </a:custGeom>
          <a:solidFill>
            <a:srgbClr val="FFC1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81" name="Freeform 283">
            <a:extLst>
              <a:ext uri="{FF2B5EF4-FFF2-40B4-BE49-F238E27FC236}">
                <a16:creationId xmlns:a16="http://schemas.microsoft.com/office/drawing/2014/main" id="{D2B60A06-CADB-4E03-B712-D6C045B2F65A}"/>
              </a:ext>
            </a:extLst>
          </p:cNvPr>
          <p:cNvSpPr>
            <a:spLocks/>
          </p:cNvSpPr>
          <p:nvPr/>
        </p:nvSpPr>
        <p:spPr bwMode="auto">
          <a:xfrm>
            <a:off x="1730989" y="4815770"/>
            <a:ext cx="398322" cy="403646"/>
          </a:xfrm>
          <a:custGeom>
            <a:avLst/>
            <a:gdLst>
              <a:gd name="T0" fmla="*/ 609 w 609"/>
              <a:gd name="T1" fmla="*/ 90 h 617"/>
              <a:gd name="T2" fmla="*/ 422 w 609"/>
              <a:gd name="T3" fmla="*/ 0 h 617"/>
              <a:gd name="T4" fmla="*/ 0 w 609"/>
              <a:gd name="T5" fmla="*/ 573 h 617"/>
              <a:gd name="T6" fmla="*/ 63 w 609"/>
              <a:gd name="T7" fmla="*/ 617 h 617"/>
              <a:gd name="T8" fmla="*/ 609 w 609"/>
              <a:gd name="T9" fmla="*/ 9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09" h="617">
                <a:moveTo>
                  <a:pt x="609" y="90"/>
                </a:moveTo>
                <a:cubicBezTo>
                  <a:pt x="422" y="0"/>
                  <a:pt x="422" y="0"/>
                  <a:pt x="422" y="0"/>
                </a:cubicBezTo>
                <a:cubicBezTo>
                  <a:pt x="255" y="93"/>
                  <a:pt x="121" y="379"/>
                  <a:pt x="0" y="573"/>
                </a:cubicBezTo>
                <a:cubicBezTo>
                  <a:pt x="16" y="597"/>
                  <a:pt x="37" y="612"/>
                  <a:pt x="63" y="617"/>
                </a:cubicBezTo>
                <a:cubicBezTo>
                  <a:pt x="264" y="444"/>
                  <a:pt x="445" y="287"/>
                  <a:pt x="609" y="90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82" name="Freeform 284">
            <a:extLst>
              <a:ext uri="{FF2B5EF4-FFF2-40B4-BE49-F238E27FC236}">
                <a16:creationId xmlns:a16="http://schemas.microsoft.com/office/drawing/2014/main" id="{B85F66C7-5C3E-4584-A164-C003462BBDFB}"/>
              </a:ext>
            </a:extLst>
          </p:cNvPr>
          <p:cNvSpPr>
            <a:spLocks/>
          </p:cNvSpPr>
          <p:nvPr/>
        </p:nvSpPr>
        <p:spPr bwMode="auto">
          <a:xfrm>
            <a:off x="2331134" y="5295886"/>
            <a:ext cx="145196" cy="63402"/>
          </a:xfrm>
          <a:custGeom>
            <a:avLst/>
            <a:gdLst>
              <a:gd name="T0" fmla="*/ 0 w 222"/>
              <a:gd name="T1" fmla="*/ 20 h 97"/>
              <a:gd name="T2" fmla="*/ 14 w 222"/>
              <a:gd name="T3" fmla="*/ 77 h 97"/>
              <a:gd name="T4" fmla="*/ 40 w 222"/>
              <a:gd name="T5" fmla="*/ 95 h 97"/>
              <a:gd name="T6" fmla="*/ 207 w 222"/>
              <a:gd name="T7" fmla="*/ 75 h 97"/>
              <a:gd name="T8" fmla="*/ 219 w 222"/>
              <a:gd name="T9" fmla="*/ 56 h 97"/>
              <a:gd name="T10" fmla="*/ 165 w 222"/>
              <a:gd name="T11" fmla="*/ 36 h 97"/>
              <a:gd name="T12" fmla="*/ 112 w 222"/>
              <a:gd name="T13" fmla="*/ 26 h 97"/>
              <a:gd name="T14" fmla="*/ 74 w 222"/>
              <a:gd name="T15" fmla="*/ 0 h 97"/>
              <a:gd name="T16" fmla="*/ 74 w 222"/>
              <a:gd name="T17" fmla="*/ 0 h 97"/>
              <a:gd name="T18" fmla="*/ 0 w 222"/>
              <a:gd name="T19" fmla="*/ 2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2" h="97">
                <a:moveTo>
                  <a:pt x="0" y="20"/>
                </a:moveTo>
                <a:cubicBezTo>
                  <a:pt x="14" y="77"/>
                  <a:pt x="14" y="77"/>
                  <a:pt x="14" y="77"/>
                </a:cubicBezTo>
                <a:cubicBezTo>
                  <a:pt x="16" y="89"/>
                  <a:pt x="28" y="97"/>
                  <a:pt x="40" y="95"/>
                </a:cubicBezTo>
                <a:cubicBezTo>
                  <a:pt x="207" y="75"/>
                  <a:pt x="207" y="75"/>
                  <a:pt x="207" y="75"/>
                </a:cubicBezTo>
                <a:cubicBezTo>
                  <a:pt x="216" y="74"/>
                  <a:pt x="222" y="65"/>
                  <a:pt x="219" y="56"/>
                </a:cubicBezTo>
                <a:cubicBezTo>
                  <a:pt x="209" y="35"/>
                  <a:pt x="184" y="37"/>
                  <a:pt x="165" y="36"/>
                </a:cubicBezTo>
                <a:cubicBezTo>
                  <a:pt x="147" y="34"/>
                  <a:pt x="129" y="32"/>
                  <a:pt x="112" y="26"/>
                </a:cubicBezTo>
                <a:cubicBezTo>
                  <a:pt x="98" y="21"/>
                  <a:pt x="83" y="13"/>
                  <a:pt x="7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4" y="0"/>
                  <a:pt x="41" y="18"/>
                  <a:pt x="0" y="2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83" name="Freeform 285">
            <a:extLst>
              <a:ext uri="{FF2B5EF4-FFF2-40B4-BE49-F238E27FC236}">
                <a16:creationId xmlns:a16="http://schemas.microsoft.com/office/drawing/2014/main" id="{177A1AA2-1D58-43A8-A8AB-785CF7766629}"/>
              </a:ext>
            </a:extLst>
          </p:cNvPr>
          <p:cNvSpPr>
            <a:spLocks/>
          </p:cNvSpPr>
          <p:nvPr/>
        </p:nvSpPr>
        <p:spPr bwMode="auto">
          <a:xfrm>
            <a:off x="1898448" y="4344366"/>
            <a:ext cx="452528" cy="541582"/>
          </a:xfrm>
          <a:custGeom>
            <a:avLst/>
            <a:gdLst>
              <a:gd name="T0" fmla="*/ 497 w 692"/>
              <a:gd name="T1" fmla="*/ 828 h 828"/>
              <a:gd name="T2" fmla="*/ 692 w 692"/>
              <a:gd name="T3" fmla="*/ 757 h 828"/>
              <a:gd name="T4" fmla="*/ 497 w 692"/>
              <a:gd name="T5" fmla="*/ 0 h 828"/>
              <a:gd name="T6" fmla="*/ 77 w 692"/>
              <a:gd name="T7" fmla="*/ 12 h 828"/>
              <a:gd name="T8" fmla="*/ 161 w 692"/>
              <a:gd name="T9" fmla="*/ 385 h 828"/>
              <a:gd name="T10" fmla="*/ 497 w 692"/>
              <a:gd name="T11" fmla="*/ 828 h 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92" h="828">
                <a:moveTo>
                  <a:pt x="497" y="828"/>
                </a:moveTo>
                <a:cubicBezTo>
                  <a:pt x="692" y="757"/>
                  <a:pt x="692" y="757"/>
                  <a:pt x="692" y="757"/>
                </a:cubicBezTo>
                <a:cubicBezTo>
                  <a:pt x="626" y="156"/>
                  <a:pt x="497" y="0"/>
                  <a:pt x="497" y="0"/>
                </a:cubicBezTo>
                <a:cubicBezTo>
                  <a:pt x="77" y="12"/>
                  <a:pt x="77" y="12"/>
                  <a:pt x="77" y="12"/>
                </a:cubicBezTo>
                <a:cubicBezTo>
                  <a:pt x="0" y="145"/>
                  <a:pt x="86" y="291"/>
                  <a:pt x="161" y="385"/>
                </a:cubicBezTo>
                <a:cubicBezTo>
                  <a:pt x="257" y="548"/>
                  <a:pt x="364" y="688"/>
                  <a:pt x="497" y="828"/>
                </a:cubicBezTo>
                <a:close/>
              </a:path>
            </a:pathLst>
          </a:custGeom>
          <a:solidFill>
            <a:srgbClr val="FFC1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84" name="Freeform 286">
            <a:extLst>
              <a:ext uri="{FF2B5EF4-FFF2-40B4-BE49-F238E27FC236}">
                <a16:creationId xmlns:a16="http://schemas.microsoft.com/office/drawing/2014/main" id="{309C4277-E033-4CBD-8A4E-9C16CA98CEB9}"/>
              </a:ext>
            </a:extLst>
          </p:cNvPr>
          <p:cNvSpPr>
            <a:spLocks/>
          </p:cNvSpPr>
          <p:nvPr/>
        </p:nvSpPr>
        <p:spPr bwMode="auto">
          <a:xfrm>
            <a:off x="2198521" y="4804154"/>
            <a:ext cx="184399" cy="510123"/>
          </a:xfrm>
          <a:custGeom>
            <a:avLst/>
            <a:gdLst>
              <a:gd name="T0" fmla="*/ 224 w 282"/>
              <a:gd name="T1" fmla="*/ 0 h 780"/>
              <a:gd name="T2" fmla="*/ 35 w 282"/>
              <a:gd name="T3" fmla="*/ 86 h 780"/>
              <a:gd name="T4" fmla="*/ 205 w 282"/>
              <a:gd name="T5" fmla="*/ 777 h 780"/>
              <a:gd name="T6" fmla="*/ 282 w 282"/>
              <a:gd name="T7" fmla="*/ 758 h 780"/>
              <a:gd name="T8" fmla="*/ 224 w 282"/>
              <a:gd name="T9" fmla="*/ 0 h 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2" h="780">
                <a:moveTo>
                  <a:pt x="224" y="0"/>
                </a:moveTo>
                <a:cubicBezTo>
                  <a:pt x="35" y="86"/>
                  <a:pt x="35" y="86"/>
                  <a:pt x="35" y="86"/>
                </a:cubicBezTo>
                <a:cubicBezTo>
                  <a:pt x="0" y="274"/>
                  <a:pt x="134" y="560"/>
                  <a:pt x="205" y="777"/>
                </a:cubicBezTo>
                <a:cubicBezTo>
                  <a:pt x="235" y="780"/>
                  <a:pt x="261" y="775"/>
                  <a:pt x="282" y="758"/>
                </a:cubicBezTo>
                <a:cubicBezTo>
                  <a:pt x="278" y="494"/>
                  <a:pt x="271" y="252"/>
                  <a:pt x="224" y="0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85" name="Freeform 287">
            <a:extLst>
              <a:ext uri="{FF2B5EF4-FFF2-40B4-BE49-F238E27FC236}">
                <a16:creationId xmlns:a16="http://schemas.microsoft.com/office/drawing/2014/main" id="{50BD5F6B-AB7D-4165-813C-77A96B1AEB25}"/>
              </a:ext>
            </a:extLst>
          </p:cNvPr>
          <p:cNvSpPr>
            <a:spLocks/>
          </p:cNvSpPr>
          <p:nvPr/>
        </p:nvSpPr>
        <p:spPr bwMode="auto">
          <a:xfrm>
            <a:off x="1876669" y="4318715"/>
            <a:ext cx="498991" cy="746793"/>
          </a:xfrm>
          <a:custGeom>
            <a:avLst/>
            <a:gdLst>
              <a:gd name="T0" fmla="*/ 0 w 763"/>
              <a:gd name="T1" fmla="*/ 878 h 1142"/>
              <a:gd name="T2" fmla="*/ 763 w 763"/>
              <a:gd name="T3" fmla="*/ 837 h 1142"/>
              <a:gd name="T4" fmla="*/ 537 w 763"/>
              <a:gd name="T5" fmla="*/ 0 h 1142"/>
              <a:gd name="T6" fmla="*/ 110 w 763"/>
              <a:gd name="T7" fmla="*/ 33 h 1142"/>
              <a:gd name="T8" fmla="*/ 9 w 763"/>
              <a:gd name="T9" fmla="*/ 542 h 1142"/>
              <a:gd name="T10" fmla="*/ 0 w 763"/>
              <a:gd name="T11" fmla="*/ 878 h 1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63" h="1142">
                <a:moveTo>
                  <a:pt x="0" y="878"/>
                </a:moveTo>
                <a:cubicBezTo>
                  <a:pt x="0" y="878"/>
                  <a:pt x="377" y="1142"/>
                  <a:pt x="763" y="837"/>
                </a:cubicBezTo>
                <a:cubicBezTo>
                  <a:pt x="731" y="480"/>
                  <a:pt x="537" y="0"/>
                  <a:pt x="537" y="0"/>
                </a:cubicBezTo>
                <a:cubicBezTo>
                  <a:pt x="110" y="33"/>
                  <a:pt x="110" y="33"/>
                  <a:pt x="110" y="33"/>
                </a:cubicBezTo>
                <a:cubicBezTo>
                  <a:pt x="110" y="33"/>
                  <a:pt x="1" y="161"/>
                  <a:pt x="9" y="542"/>
                </a:cubicBezTo>
                <a:cubicBezTo>
                  <a:pt x="16" y="869"/>
                  <a:pt x="0" y="878"/>
                  <a:pt x="0" y="87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86" name="Freeform 288">
            <a:extLst>
              <a:ext uri="{FF2B5EF4-FFF2-40B4-BE49-F238E27FC236}">
                <a16:creationId xmlns:a16="http://schemas.microsoft.com/office/drawing/2014/main" id="{582080F9-1A78-4CD4-8F81-818A25EAB274}"/>
              </a:ext>
            </a:extLst>
          </p:cNvPr>
          <p:cNvSpPr>
            <a:spLocks/>
          </p:cNvSpPr>
          <p:nvPr/>
        </p:nvSpPr>
        <p:spPr bwMode="auto">
          <a:xfrm>
            <a:off x="2016541" y="3775197"/>
            <a:ext cx="65339" cy="134065"/>
          </a:xfrm>
          <a:custGeom>
            <a:avLst/>
            <a:gdLst>
              <a:gd name="T0" fmla="*/ 66 w 100"/>
              <a:gd name="T1" fmla="*/ 202 h 205"/>
              <a:gd name="T2" fmla="*/ 21 w 100"/>
              <a:gd name="T3" fmla="*/ 161 h 205"/>
              <a:gd name="T4" fmla="*/ 4 w 100"/>
              <a:gd name="T5" fmla="*/ 56 h 205"/>
              <a:gd name="T6" fmla="*/ 34 w 100"/>
              <a:gd name="T7" fmla="*/ 3 h 205"/>
              <a:gd name="T8" fmla="*/ 79 w 100"/>
              <a:gd name="T9" fmla="*/ 44 h 205"/>
              <a:gd name="T10" fmla="*/ 95 w 100"/>
              <a:gd name="T11" fmla="*/ 149 h 205"/>
              <a:gd name="T12" fmla="*/ 66 w 100"/>
              <a:gd name="T13" fmla="*/ 202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0" h="205">
                <a:moveTo>
                  <a:pt x="66" y="202"/>
                </a:moveTo>
                <a:cubicBezTo>
                  <a:pt x="45" y="205"/>
                  <a:pt x="25" y="187"/>
                  <a:pt x="21" y="161"/>
                </a:cubicBezTo>
                <a:cubicBezTo>
                  <a:pt x="4" y="56"/>
                  <a:pt x="4" y="56"/>
                  <a:pt x="4" y="56"/>
                </a:cubicBezTo>
                <a:cubicBezTo>
                  <a:pt x="0" y="30"/>
                  <a:pt x="14" y="7"/>
                  <a:pt x="34" y="3"/>
                </a:cubicBezTo>
                <a:cubicBezTo>
                  <a:pt x="54" y="0"/>
                  <a:pt x="74" y="18"/>
                  <a:pt x="79" y="44"/>
                </a:cubicBezTo>
                <a:cubicBezTo>
                  <a:pt x="95" y="149"/>
                  <a:pt x="95" y="149"/>
                  <a:pt x="95" y="149"/>
                </a:cubicBezTo>
                <a:cubicBezTo>
                  <a:pt x="100" y="175"/>
                  <a:pt x="86" y="199"/>
                  <a:pt x="66" y="202"/>
                </a:cubicBezTo>
                <a:close/>
              </a:path>
            </a:pathLst>
          </a:custGeom>
          <a:solidFill>
            <a:srgbClr val="F29E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87" name="Freeform 289">
            <a:extLst>
              <a:ext uri="{FF2B5EF4-FFF2-40B4-BE49-F238E27FC236}">
                <a16:creationId xmlns:a16="http://schemas.microsoft.com/office/drawing/2014/main" id="{5254E248-148C-49DD-88D1-FFF80AEBAC08}"/>
              </a:ext>
            </a:extLst>
          </p:cNvPr>
          <p:cNvSpPr>
            <a:spLocks/>
          </p:cNvSpPr>
          <p:nvPr/>
        </p:nvSpPr>
        <p:spPr bwMode="auto">
          <a:xfrm>
            <a:off x="1993310" y="3683240"/>
            <a:ext cx="116157" cy="142293"/>
          </a:xfrm>
          <a:custGeom>
            <a:avLst/>
            <a:gdLst>
              <a:gd name="T0" fmla="*/ 164 w 178"/>
              <a:gd name="T1" fmla="*/ 91 h 217"/>
              <a:gd name="T2" fmla="*/ 130 w 178"/>
              <a:gd name="T3" fmla="*/ 206 h 217"/>
              <a:gd name="T4" fmla="*/ 14 w 178"/>
              <a:gd name="T5" fmla="*/ 123 h 217"/>
              <a:gd name="T6" fmla="*/ 66 w 178"/>
              <a:gd name="T7" fmla="*/ 12 h 217"/>
              <a:gd name="T8" fmla="*/ 164 w 178"/>
              <a:gd name="T9" fmla="*/ 91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8" h="217">
                <a:moveTo>
                  <a:pt x="164" y="91"/>
                </a:moveTo>
                <a:cubicBezTo>
                  <a:pt x="178" y="145"/>
                  <a:pt x="176" y="194"/>
                  <a:pt x="130" y="206"/>
                </a:cubicBezTo>
                <a:cubicBezTo>
                  <a:pt x="84" y="217"/>
                  <a:pt x="27" y="177"/>
                  <a:pt x="14" y="123"/>
                </a:cubicBezTo>
                <a:cubicBezTo>
                  <a:pt x="0" y="69"/>
                  <a:pt x="20" y="23"/>
                  <a:pt x="66" y="12"/>
                </a:cubicBezTo>
                <a:cubicBezTo>
                  <a:pt x="112" y="0"/>
                  <a:pt x="151" y="37"/>
                  <a:pt x="164" y="91"/>
                </a:cubicBezTo>
                <a:close/>
              </a:path>
            </a:pathLst>
          </a:custGeom>
          <a:solidFill>
            <a:srgbClr val="FFC1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88" name="Freeform 290">
            <a:extLst>
              <a:ext uri="{FF2B5EF4-FFF2-40B4-BE49-F238E27FC236}">
                <a16:creationId xmlns:a16="http://schemas.microsoft.com/office/drawing/2014/main" id="{21F791A9-F2B8-4F41-91BE-62761D570856}"/>
              </a:ext>
            </a:extLst>
          </p:cNvPr>
          <p:cNvSpPr>
            <a:spLocks/>
          </p:cNvSpPr>
          <p:nvPr/>
        </p:nvSpPr>
        <p:spPr bwMode="auto">
          <a:xfrm>
            <a:off x="1842306" y="3841504"/>
            <a:ext cx="388158" cy="561426"/>
          </a:xfrm>
          <a:custGeom>
            <a:avLst/>
            <a:gdLst>
              <a:gd name="T0" fmla="*/ 256 w 594"/>
              <a:gd name="T1" fmla="*/ 0 h 858"/>
              <a:gd name="T2" fmla="*/ 144 w 594"/>
              <a:gd name="T3" fmla="*/ 775 h 858"/>
              <a:gd name="T4" fmla="*/ 590 w 594"/>
              <a:gd name="T5" fmla="*/ 729 h 858"/>
              <a:gd name="T6" fmla="*/ 556 w 594"/>
              <a:gd name="T7" fmla="*/ 363 h 858"/>
              <a:gd name="T8" fmla="*/ 356 w 594"/>
              <a:gd name="T9" fmla="*/ 9 h 858"/>
              <a:gd name="T10" fmla="*/ 256 w 594"/>
              <a:gd name="T11" fmla="*/ 0 h 8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94" h="858">
                <a:moveTo>
                  <a:pt x="256" y="0"/>
                </a:moveTo>
                <a:cubicBezTo>
                  <a:pt x="256" y="0"/>
                  <a:pt x="0" y="157"/>
                  <a:pt x="144" y="775"/>
                </a:cubicBezTo>
                <a:cubicBezTo>
                  <a:pt x="421" y="858"/>
                  <a:pt x="590" y="729"/>
                  <a:pt x="590" y="729"/>
                </a:cubicBezTo>
                <a:cubicBezTo>
                  <a:pt x="590" y="729"/>
                  <a:pt x="525" y="476"/>
                  <a:pt x="556" y="363"/>
                </a:cubicBezTo>
                <a:cubicBezTo>
                  <a:pt x="566" y="289"/>
                  <a:pt x="594" y="176"/>
                  <a:pt x="356" y="9"/>
                </a:cubicBezTo>
                <a:cubicBezTo>
                  <a:pt x="309" y="25"/>
                  <a:pt x="256" y="0"/>
                  <a:pt x="256" y="0"/>
                </a:cubicBezTo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89" name="Freeform 291">
            <a:extLst>
              <a:ext uri="{FF2B5EF4-FFF2-40B4-BE49-F238E27FC236}">
                <a16:creationId xmlns:a16="http://schemas.microsoft.com/office/drawing/2014/main" id="{0DF4BE9F-194D-45CE-A8DD-CE70EF7FDE80}"/>
              </a:ext>
            </a:extLst>
          </p:cNvPr>
          <p:cNvSpPr>
            <a:spLocks/>
          </p:cNvSpPr>
          <p:nvPr/>
        </p:nvSpPr>
        <p:spPr bwMode="auto">
          <a:xfrm>
            <a:off x="2537312" y="4066558"/>
            <a:ext cx="363475" cy="224571"/>
          </a:xfrm>
          <a:custGeom>
            <a:avLst/>
            <a:gdLst>
              <a:gd name="T0" fmla="*/ 100 w 556"/>
              <a:gd name="T1" fmla="*/ 170 h 343"/>
              <a:gd name="T2" fmla="*/ 127 w 556"/>
              <a:gd name="T3" fmla="*/ 179 h 343"/>
              <a:gd name="T4" fmla="*/ 426 w 556"/>
              <a:gd name="T5" fmla="*/ 44 h 343"/>
              <a:gd name="T6" fmla="*/ 541 w 556"/>
              <a:gd name="T7" fmla="*/ 16 h 343"/>
              <a:gd name="T8" fmla="*/ 552 w 556"/>
              <a:gd name="T9" fmla="*/ 33 h 343"/>
              <a:gd name="T10" fmla="*/ 511 w 556"/>
              <a:gd name="T11" fmla="*/ 53 h 343"/>
              <a:gd name="T12" fmla="*/ 47 w 556"/>
              <a:gd name="T13" fmla="*/ 335 h 343"/>
              <a:gd name="T14" fmla="*/ 0 w 556"/>
              <a:gd name="T15" fmla="*/ 333 h 343"/>
              <a:gd name="T16" fmla="*/ 100 w 556"/>
              <a:gd name="T17" fmla="*/ 170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56" h="343">
                <a:moveTo>
                  <a:pt x="100" y="170"/>
                </a:moveTo>
                <a:cubicBezTo>
                  <a:pt x="100" y="170"/>
                  <a:pt x="106" y="182"/>
                  <a:pt x="127" y="179"/>
                </a:cubicBezTo>
                <a:cubicBezTo>
                  <a:pt x="143" y="177"/>
                  <a:pt x="327" y="89"/>
                  <a:pt x="426" y="44"/>
                </a:cubicBezTo>
                <a:cubicBezTo>
                  <a:pt x="447" y="35"/>
                  <a:pt x="511" y="0"/>
                  <a:pt x="541" y="16"/>
                </a:cubicBezTo>
                <a:cubicBezTo>
                  <a:pt x="547" y="18"/>
                  <a:pt x="549" y="27"/>
                  <a:pt x="552" y="33"/>
                </a:cubicBezTo>
                <a:cubicBezTo>
                  <a:pt x="556" y="47"/>
                  <a:pt x="537" y="46"/>
                  <a:pt x="511" y="53"/>
                </a:cubicBezTo>
                <a:cubicBezTo>
                  <a:pt x="391" y="86"/>
                  <a:pt x="168" y="304"/>
                  <a:pt x="47" y="335"/>
                </a:cubicBezTo>
                <a:cubicBezTo>
                  <a:pt x="17" y="343"/>
                  <a:pt x="0" y="333"/>
                  <a:pt x="0" y="333"/>
                </a:cubicBezTo>
                <a:cubicBezTo>
                  <a:pt x="33" y="278"/>
                  <a:pt x="67" y="224"/>
                  <a:pt x="100" y="17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90" name="Freeform 292">
            <a:extLst>
              <a:ext uri="{FF2B5EF4-FFF2-40B4-BE49-F238E27FC236}">
                <a16:creationId xmlns:a16="http://schemas.microsoft.com/office/drawing/2014/main" id="{28A0C929-D865-47D0-B277-04EB607BAAD3}"/>
              </a:ext>
            </a:extLst>
          </p:cNvPr>
          <p:cNvSpPr>
            <a:spLocks/>
          </p:cNvSpPr>
          <p:nvPr/>
        </p:nvSpPr>
        <p:spPr bwMode="auto">
          <a:xfrm>
            <a:off x="2560059" y="4087853"/>
            <a:ext cx="340727" cy="199403"/>
          </a:xfrm>
          <a:custGeom>
            <a:avLst/>
            <a:gdLst>
              <a:gd name="T0" fmla="*/ 517 w 521"/>
              <a:gd name="T1" fmla="*/ 0 h 305"/>
              <a:gd name="T2" fmla="*/ 517 w 521"/>
              <a:gd name="T3" fmla="*/ 1 h 305"/>
              <a:gd name="T4" fmla="*/ 476 w 521"/>
              <a:gd name="T5" fmla="*/ 21 h 305"/>
              <a:gd name="T6" fmla="*/ 12 w 521"/>
              <a:gd name="T7" fmla="*/ 303 h 305"/>
              <a:gd name="T8" fmla="*/ 0 w 521"/>
              <a:gd name="T9" fmla="*/ 305 h 305"/>
              <a:gd name="T10" fmla="*/ 8 w 521"/>
              <a:gd name="T11" fmla="*/ 242 h 305"/>
              <a:gd name="T12" fmla="*/ 67 w 521"/>
              <a:gd name="T13" fmla="*/ 237 h 305"/>
              <a:gd name="T14" fmla="*/ 213 w 521"/>
              <a:gd name="T15" fmla="*/ 156 h 305"/>
              <a:gd name="T16" fmla="*/ 405 w 521"/>
              <a:gd name="T17" fmla="*/ 34 h 305"/>
              <a:gd name="T18" fmla="*/ 517 w 521"/>
              <a:gd name="T19" fmla="*/ 0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21" h="305">
                <a:moveTo>
                  <a:pt x="517" y="0"/>
                </a:moveTo>
                <a:cubicBezTo>
                  <a:pt x="517" y="1"/>
                  <a:pt x="517" y="1"/>
                  <a:pt x="517" y="1"/>
                </a:cubicBezTo>
                <a:cubicBezTo>
                  <a:pt x="521" y="15"/>
                  <a:pt x="502" y="14"/>
                  <a:pt x="476" y="21"/>
                </a:cubicBezTo>
                <a:cubicBezTo>
                  <a:pt x="356" y="54"/>
                  <a:pt x="133" y="272"/>
                  <a:pt x="12" y="303"/>
                </a:cubicBezTo>
                <a:cubicBezTo>
                  <a:pt x="8" y="304"/>
                  <a:pt x="4" y="305"/>
                  <a:pt x="0" y="305"/>
                </a:cubicBezTo>
                <a:cubicBezTo>
                  <a:pt x="8" y="242"/>
                  <a:pt x="8" y="242"/>
                  <a:pt x="8" y="242"/>
                </a:cubicBezTo>
                <a:cubicBezTo>
                  <a:pt x="26" y="246"/>
                  <a:pt x="46" y="243"/>
                  <a:pt x="67" y="237"/>
                </a:cubicBezTo>
                <a:cubicBezTo>
                  <a:pt x="120" y="220"/>
                  <a:pt x="177" y="180"/>
                  <a:pt x="213" y="156"/>
                </a:cubicBezTo>
                <a:cubicBezTo>
                  <a:pt x="254" y="128"/>
                  <a:pt x="347" y="67"/>
                  <a:pt x="405" y="34"/>
                </a:cubicBezTo>
                <a:cubicBezTo>
                  <a:pt x="442" y="12"/>
                  <a:pt x="489" y="3"/>
                  <a:pt x="517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91" name="Freeform 293">
            <a:extLst>
              <a:ext uri="{FF2B5EF4-FFF2-40B4-BE49-F238E27FC236}">
                <a16:creationId xmlns:a16="http://schemas.microsoft.com/office/drawing/2014/main" id="{06ECC39C-9117-4670-82D5-5967D91E0C6F}"/>
              </a:ext>
            </a:extLst>
          </p:cNvPr>
          <p:cNvSpPr>
            <a:spLocks/>
          </p:cNvSpPr>
          <p:nvPr/>
        </p:nvSpPr>
        <p:spPr bwMode="auto">
          <a:xfrm>
            <a:off x="2279831" y="3935881"/>
            <a:ext cx="367347" cy="397838"/>
          </a:xfrm>
          <a:custGeom>
            <a:avLst/>
            <a:gdLst>
              <a:gd name="T0" fmla="*/ 283 w 562"/>
              <a:gd name="T1" fmla="*/ 18 h 608"/>
              <a:gd name="T2" fmla="*/ 504 w 562"/>
              <a:gd name="T3" fmla="*/ 113 h 608"/>
              <a:gd name="T4" fmla="*/ 547 w 562"/>
              <a:gd name="T5" fmla="*/ 220 h 608"/>
              <a:gd name="T6" fmla="*/ 435 w 562"/>
              <a:gd name="T7" fmla="*/ 547 h 608"/>
              <a:gd name="T8" fmla="*/ 328 w 562"/>
              <a:gd name="T9" fmla="*/ 590 h 608"/>
              <a:gd name="T10" fmla="*/ 63 w 562"/>
              <a:gd name="T11" fmla="*/ 477 h 608"/>
              <a:gd name="T12" fmla="*/ 20 w 562"/>
              <a:gd name="T13" fmla="*/ 370 h 608"/>
              <a:gd name="T14" fmla="*/ 175 w 562"/>
              <a:gd name="T15" fmla="*/ 60 h 608"/>
              <a:gd name="T16" fmla="*/ 283 w 562"/>
              <a:gd name="T17" fmla="*/ 18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608">
                <a:moveTo>
                  <a:pt x="283" y="18"/>
                </a:moveTo>
                <a:cubicBezTo>
                  <a:pt x="504" y="113"/>
                  <a:pt x="504" y="113"/>
                  <a:pt x="504" y="113"/>
                </a:cubicBezTo>
                <a:cubicBezTo>
                  <a:pt x="546" y="130"/>
                  <a:pt x="562" y="178"/>
                  <a:pt x="547" y="220"/>
                </a:cubicBezTo>
                <a:cubicBezTo>
                  <a:pt x="435" y="547"/>
                  <a:pt x="435" y="547"/>
                  <a:pt x="435" y="547"/>
                </a:cubicBezTo>
                <a:cubicBezTo>
                  <a:pt x="421" y="590"/>
                  <a:pt x="369" y="608"/>
                  <a:pt x="328" y="590"/>
                </a:cubicBezTo>
                <a:cubicBezTo>
                  <a:pt x="63" y="477"/>
                  <a:pt x="63" y="477"/>
                  <a:pt x="63" y="477"/>
                </a:cubicBezTo>
                <a:cubicBezTo>
                  <a:pt x="22" y="459"/>
                  <a:pt x="0" y="410"/>
                  <a:pt x="20" y="370"/>
                </a:cubicBezTo>
                <a:cubicBezTo>
                  <a:pt x="175" y="60"/>
                  <a:pt x="175" y="60"/>
                  <a:pt x="175" y="60"/>
                </a:cubicBezTo>
                <a:cubicBezTo>
                  <a:pt x="195" y="20"/>
                  <a:pt x="241" y="0"/>
                  <a:pt x="283" y="18"/>
                </a:cubicBezTo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92" name="Freeform 294">
            <a:extLst>
              <a:ext uri="{FF2B5EF4-FFF2-40B4-BE49-F238E27FC236}">
                <a16:creationId xmlns:a16="http://schemas.microsoft.com/office/drawing/2014/main" id="{247C3FEB-10AF-4063-8087-B065C0F74FF7}"/>
              </a:ext>
            </a:extLst>
          </p:cNvPr>
          <p:cNvSpPr>
            <a:spLocks/>
          </p:cNvSpPr>
          <p:nvPr/>
        </p:nvSpPr>
        <p:spPr bwMode="auto">
          <a:xfrm>
            <a:off x="2280315" y="4177875"/>
            <a:ext cx="275873" cy="153908"/>
          </a:xfrm>
          <a:custGeom>
            <a:avLst/>
            <a:gdLst>
              <a:gd name="T0" fmla="*/ 422 w 422"/>
              <a:gd name="T1" fmla="*/ 199 h 235"/>
              <a:gd name="T2" fmla="*/ 327 w 422"/>
              <a:gd name="T3" fmla="*/ 220 h 235"/>
              <a:gd name="T4" fmla="*/ 62 w 422"/>
              <a:gd name="T5" fmla="*/ 107 h 235"/>
              <a:gd name="T6" fmla="*/ 19 w 422"/>
              <a:gd name="T7" fmla="*/ 0 h 235"/>
              <a:gd name="T8" fmla="*/ 149 w 422"/>
              <a:gd name="T9" fmla="*/ 95 h 235"/>
              <a:gd name="T10" fmla="*/ 422 w 422"/>
              <a:gd name="T11" fmla="*/ 199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2" h="235">
                <a:moveTo>
                  <a:pt x="422" y="199"/>
                </a:moveTo>
                <a:cubicBezTo>
                  <a:pt x="400" y="226"/>
                  <a:pt x="360" y="235"/>
                  <a:pt x="327" y="220"/>
                </a:cubicBezTo>
                <a:cubicBezTo>
                  <a:pt x="62" y="107"/>
                  <a:pt x="62" y="107"/>
                  <a:pt x="62" y="107"/>
                </a:cubicBezTo>
                <a:cubicBezTo>
                  <a:pt x="21" y="89"/>
                  <a:pt x="0" y="40"/>
                  <a:pt x="19" y="0"/>
                </a:cubicBezTo>
                <a:cubicBezTo>
                  <a:pt x="38" y="26"/>
                  <a:pt x="75" y="59"/>
                  <a:pt x="149" y="95"/>
                </a:cubicBezTo>
                <a:cubicBezTo>
                  <a:pt x="272" y="155"/>
                  <a:pt x="365" y="191"/>
                  <a:pt x="422" y="199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93" name="Freeform 295">
            <a:extLst>
              <a:ext uri="{FF2B5EF4-FFF2-40B4-BE49-F238E27FC236}">
                <a16:creationId xmlns:a16="http://schemas.microsoft.com/office/drawing/2014/main" id="{608A2FAA-A531-4C38-8304-0B2A8F44C1CC}"/>
              </a:ext>
            </a:extLst>
          </p:cNvPr>
          <p:cNvSpPr>
            <a:spLocks/>
          </p:cNvSpPr>
          <p:nvPr/>
        </p:nvSpPr>
        <p:spPr bwMode="auto">
          <a:xfrm>
            <a:off x="2365981" y="4008963"/>
            <a:ext cx="259417" cy="131161"/>
          </a:xfrm>
          <a:custGeom>
            <a:avLst/>
            <a:gdLst>
              <a:gd name="T0" fmla="*/ 536 w 536"/>
              <a:gd name="T1" fmla="*/ 219 h 271"/>
              <a:gd name="T2" fmla="*/ 519 w 536"/>
              <a:gd name="T3" fmla="*/ 271 h 271"/>
              <a:gd name="T4" fmla="*/ 0 w 536"/>
              <a:gd name="T5" fmla="*/ 48 h 271"/>
              <a:gd name="T6" fmla="*/ 23 w 536"/>
              <a:gd name="T7" fmla="*/ 0 h 271"/>
              <a:gd name="T8" fmla="*/ 536 w 536"/>
              <a:gd name="T9" fmla="*/ 219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6" h="271">
                <a:moveTo>
                  <a:pt x="536" y="219"/>
                </a:moveTo>
                <a:lnTo>
                  <a:pt x="519" y="271"/>
                </a:lnTo>
                <a:lnTo>
                  <a:pt x="0" y="48"/>
                </a:lnTo>
                <a:lnTo>
                  <a:pt x="23" y="0"/>
                </a:lnTo>
                <a:lnTo>
                  <a:pt x="536" y="219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94" name="Freeform 296">
            <a:extLst>
              <a:ext uri="{FF2B5EF4-FFF2-40B4-BE49-F238E27FC236}">
                <a16:creationId xmlns:a16="http://schemas.microsoft.com/office/drawing/2014/main" id="{13D2934E-338C-4DA4-96ED-FBAE7CB62881}"/>
              </a:ext>
            </a:extLst>
          </p:cNvPr>
          <p:cNvSpPr>
            <a:spLocks/>
          </p:cNvSpPr>
          <p:nvPr/>
        </p:nvSpPr>
        <p:spPr bwMode="auto">
          <a:xfrm>
            <a:off x="2265795" y="3858927"/>
            <a:ext cx="379446" cy="245866"/>
          </a:xfrm>
          <a:custGeom>
            <a:avLst/>
            <a:gdLst>
              <a:gd name="T0" fmla="*/ 379 w 580"/>
              <a:gd name="T1" fmla="*/ 38 h 376"/>
              <a:gd name="T2" fmla="*/ 539 w 580"/>
              <a:gd name="T3" fmla="*/ 167 h 376"/>
              <a:gd name="T4" fmla="*/ 573 w 580"/>
              <a:gd name="T5" fmla="*/ 300 h 376"/>
              <a:gd name="T6" fmla="*/ 525 w 580"/>
              <a:gd name="T7" fmla="*/ 231 h 376"/>
              <a:gd name="T8" fmla="*/ 497 w 580"/>
              <a:gd name="T9" fmla="*/ 219 h 376"/>
              <a:gd name="T10" fmla="*/ 94 w 580"/>
              <a:gd name="T11" fmla="*/ 136 h 376"/>
              <a:gd name="T12" fmla="*/ 113 w 580"/>
              <a:gd name="T13" fmla="*/ 247 h 376"/>
              <a:gd name="T14" fmla="*/ 143 w 580"/>
              <a:gd name="T15" fmla="*/ 285 h 376"/>
              <a:gd name="T16" fmla="*/ 97 w 580"/>
              <a:gd name="T17" fmla="*/ 376 h 376"/>
              <a:gd name="T18" fmla="*/ 36 w 580"/>
              <a:gd name="T19" fmla="*/ 111 h 376"/>
              <a:gd name="T20" fmla="*/ 176 w 580"/>
              <a:gd name="T21" fmla="*/ 11 h 376"/>
              <a:gd name="T22" fmla="*/ 379 w 580"/>
              <a:gd name="T23" fmla="*/ 38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80" h="376">
                <a:moveTo>
                  <a:pt x="379" y="38"/>
                </a:moveTo>
                <a:cubicBezTo>
                  <a:pt x="450" y="68"/>
                  <a:pt x="506" y="115"/>
                  <a:pt x="539" y="167"/>
                </a:cubicBezTo>
                <a:cubicBezTo>
                  <a:pt x="567" y="210"/>
                  <a:pt x="580" y="257"/>
                  <a:pt x="573" y="300"/>
                </a:cubicBezTo>
                <a:cubicBezTo>
                  <a:pt x="571" y="271"/>
                  <a:pt x="555" y="243"/>
                  <a:pt x="525" y="231"/>
                </a:cubicBezTo>
                <a:cubicBezTo>
                  <a:pt x="497" y="219"/>
                  <a:pt x="497" y="219"/>
                  <a:pt x="497" y="219"/>
                </a:cubicBezTo>
                <a:cubicBezTo>
                  <a:pt x="458" y="58"/>
                  <a:pt x="150" y="5"/>
                  <a:pt x="94" y="136"/>
                </a:cubicBezTo>
                <a:cubicBezTo>
                  <a:pt x="80" y="169"/>
                  <a:pt x="88" y="209"/>
                  <a:pt x="113" y="247"/>
                </a:cubicBezTo>
                <a:cubicBezTo>
                  <a:pt x="121" y="260"/>
                  <a:pt x="131" y="273"/>
                  <a:pt x="143" y="285"/>
                </a:cubicBezTo>
                <a:cubicBezTo>
                  <a:pt x="97" y="376"/>
                  <a:pt x="97" y="376"/>
                  <a:pt x="97" y="376"/>
                </a:cubicBezTo>
                <a:cubicBezTo>
                  <a:pt x="34" y="319"/>
                  <a:pt x="0" y="196"/>
                  <a:pt x="36" y="111"/>
                </a:cubicBezTo>
                <a:cubicBezTo>
                  <a:pt x="59" y="58"/>
                  <a:pt x="111" y="23"/>
                  <a:pt x="176" y="11"/>
                </a:cubicBezTo>
                <a:cubicBezTo>
                  <a:pt x="236" y="0"/>
                  <a:pt x="309" y="8"/>
                  <a:pt x="379" y="3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95" name="Freeform 297">
            <a:extLst>
              <a:ext uri="{FF2B5EF4-FFF2-40B4-BE49-F238E27FC236}">
                <a16:creationId xmlns:a16="http://schemas.microsoft.com/office/drawing/2014/main" id="{FFF86595-4868-4216-B33F-4FB4376C662A}"/>
              </a:ext>
            </a:extLst>
          </p:cNvPr>
          <p:cNvSpPr>
            <a:spLocks/>
          </p:cNvSpPr>
          <p:nvPr/>
        </p:nvSpPr>
        <p:spPr bwMode="auto">
          <a:xfrm>
            <a:off x="2363077" y="3980408"/>
            <a:ext cx="284585" cy="151004"/>
          </a:xfrm>
          <a:custGeom>
            <a:avLst/>
            <a:gdLst>
              <a:gd name="T0" fmla="*/ 51 w 435"/>
              <a:gd name="T1" fmla="*/ 8 h 231"/>
              <a:gd name="T2" fmla="*/ 411 w 435"/>
              <a:gd name="T3" fmla="*/ 162 h 231"/>
              <a:gd name="T4" fmla="*/ 428 w 435"/>
              <a:gd name="T5" fmla="*/ 206 h 231"/>
              <a:gd name="T6" fmla="*/ 384 w 435"/>
              <a:gd name="T7" fmla="*/ 223 h 231"/>
              <a:gd name="T8" fmla="*/ 25 w 435"/>
              <a:gd name="T9" fmla="*/ 69 h 231"/>
              <a:gd name="T10" fmla="*/ 7 w 435"/>
              <a:gd name="T11" fmla="*/ 25 h 231"/>
              <a:gd name="T12" fmla="*/ 51 w 435"/>
              <a:gd name="T13" fmla="*/ 8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5" h="231">
                <a:moveTo>
                  <a:pt x="51" y="8"/>
                </a:moveTo>
                <a:cubicBezTo>
                  <a:pt x="411" y="162"/>
                  <a:pt x="411" y="162"/>
                  <a:pt x="411" y="162"/>
                </a:cubicBezTo>
                <a:cubicBezTo>
                  <a:pt x="427" y="169"/>
                  <a:pt x="435" y="189"/>
                  <a:pt x="428" y="206"/>
                </a:cubicBezTo>
                <a:cubicBezTo>
                  <a:pt x="421" y="223"/>
                  <a:pt x="401" y="231"/>
                  <a:pt x="384" y="223"/>
                </a:cubicBezTo>
                <a:cubicBezTo>
                  <a:pt x="25" y="69"/>
                  <a:pt x="25" y="69"/>
                  <a:pt x="25" y="69"/>
                </a:cubicBezTo>
                <a:cubicBezTo>
                  <a:pt x="8" y="62"/>
                  <a:pt x="0" y="42"/>
                  <a:pt x="7" y="25"/>
                </a:cubicBezTo>
                <a:cubicBezTo>
                  <a:pt x="15" y="8"/>
                  <a:pt x="34" y="0"/>
                  <a:pt x="51" y="8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97" name="Freeform 299">
            <a:extLst>
              <a:ext uri="{FF2B5EF4-FFF2-40B4-BE49-F238E27FC236}">
                <a16:creationId xmlns:a16="http://schemas.microsoft.com/office/drawing/2014/main" id="{85F24CA5-931C-4B80-99C9-42EC3573DE4F}"/>
              </a:ext>
            </a:extLst>
          </p:cNvPr>
          <p:cNvSpPr>
            <a:spLocks/>
          </p:cNvSpPr>
          <p:nvPr/>
        </p:nvSpPr>
        <p:spPr bwMode="auto">
          <a:xfrm>
            <a:off x="1943944" y="3872479"/>
            <a:ext cx="414778" cy="415262"/>
          </a:xfrm>
          <a:custGeom>
            <a:avLst/>
            <a:gdLst>
              <a:gd name="T0" fmla="*/ 258 w 634"/>
              <a:gd name="T1" fmla="*/ 102 h 635"/>
              <a:gd name="T2" fmla="*/ 244 w 634"/>
              <a:gd name="T3" fmla="*/ 74 h 635"/>
              <a:gd name="T4" fmla="*/ 69 w 634"/>
              <a:gd name="T5" fmla="*/ 40 h 635"/>
              <a:gd name="T6" fmla="*/ 37 w 634"/>
              <a:gd name="T7" fmla="*/ 213 h 635"/>
              <a:gd name="T8" fmla="*/ 235 w 634"/>
              <a:gd name="T9" fmla="*/ 514 h 635"/>
              <a:gd name="T10" fmla="*/ 265 w 634"/>
              <a:gd name="T11" fmla="*/ 547 h 635"/>
              <a:gd name="T12" fmla="*/ 285 w 634"/>
              <a:gd name="T13" fmla="*/ 560 h 635"/>
              <a:gd name="T14" fmla="*/ 368 w 634"/>
              <a:gd name="T15" fmla="*/ 582 h 635"/>
              <a:gd name="T16" fmla="*/ 482 w 634"/>
              <a:gd name="T17" fmla="*/ 607 h 635"/>
              <a:gd name="T18" fmla="*/ 617 w 634"/>
              <a:gd name="T19" fmla="*/ 635 h 635"/>
              <a:gd name="T20" fmla="*/ 634 w 634"/>
              <a:gd name="T21" fmla="*/ 585 h 635"/>
              <a:gd name="T22" fmla="*/ 380 w 634"/>
              <a:gd name="T23" fmla="*/ 447 h 635"/>
              <a:gd name="T24" fmla="*/ 369 w 634"/>
              <a:gd name="T25" fmla="*/ 431 h 635"/>
              <a:gd name="T26" fmla="*/ 258 w 634"/>
              <a:gd name="T27" fmla="*/ 102 h 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34" h="635">
                <a:moveTo>
                  <a:pt x="258" y="102"/>
                </a:moveTo>
                <a:cubicBezTo>
                  <a:pt x="254" y="93"/>
                  <a:pt x="250" y="83"/>
                  <a:pt x="244" y="74"/>
                </a:cubicBezTo>
                <a:cubicBezTo>
                  <a:pt x="206" y="16"/>
                  <a:pt x="127" y="0"/>
                  <a:pt x="69" y="40"/>
                </a:cubicBezTo>
                <a:cubicBezTo>
                  <a:pt x="13" y="79"/>
                  <a:pt x="0" y="156"/>
                  <a:pt x="37" y="213"/>
                </a:cubicBezTo>
                <a:cubicBezTo>
                  <a:pt x="102" y="310"/>
                  <a:pt x="166" y="421"/>
                  <a:pt x="235" y="514"/>
                </a:cubicBezTo>
                <a:cubicBezTo>
                  <a:pt x="242" y="527"/>
                  <a:pt x="254" y="538"/>
                  <a:pt x="265" y="547"/>
                </a:cubicBezTo>
                <a:cubicBezTo>
                  <a:pt x="271" y="552"/>
                  <a:pt x="278" y="557"/>
                  <a:pt x="285" y="560"/>
                </a:cubicBezTo>
                <a:cubicBezTo>
                  <a:pt x="309" y="572"/>
                  <a:pt x="345" y="577"/>
                  <a:pt x="368" y="582"/>
                </a:cubicBezTo>
                <a:cubicBezTo>
                  <a:pt x="410" y="591"/>
                  <a:pt x="448" y="600"/>
                  <a:pt x="482" y="607"/>
                </a:cubicBezTo>
                <a:cubicBezTo>
                  <a:pt x="538" y="619"/>
                  <a:pt x="606" y="632"/>
                  <a:pt x="617" y="635"/>
                </a:cubicBezTo>
                <a:cubicBezTo>
                  <a:pt x="634" y="585"/>
                  <a:pt x="634" y="585"/>
                  <a:pt x="634" y="585"/>
                </a:cubicBezTo>
                <a:cubicBezTo>
                  <a:pt x="570" y="553"/>
                  <a:pt x="420" y="486"/>
                  <a:pt x="380" y="447"/>
                </a:cubicBezTo>
                <a:cubicBezTo>
                  <a:pt x="376" y="444"/>
                  <a:pt x="373" y="438"/>
                  <a:pt x="369" y="431"/>
                </a:cubicBezTo>
                <a:cubicBezTo>
                  <a:pt x="348" y="402"/>
                  <a:pt x="272" y="143"/>
                  <a:pt x="258" y="102"/>
                </a:cubicBezTo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98" name="Freeform 300">
            <a:extLst>
              <a:ext uri="{FF2B5EF4-FFF2-40B4-BE49-F238E27FC236}">
                <a16:creationId xmlns:a16="http://schemas.microsoft.com/office/drawing/2014/main" id="{62488482-A04D-471B-A1CA-7556853D7130}"/>
              </a:ext>
            </a:extLst>
          </p:cNvPr>
          <p:cNvSpPr>
            <a:spLocks/>
          </p:cNvSpPr>
          <p:nvPr/>
        </p:nvSpPr>
        <p:spPr bwMode="auto">
          <a:xfrm>
            <a:off x="1937651" y="3865703"/>
            <a:ext cx="188271" cy="185368"/>
          </a:xfrm>
          <a:custGeom>
            <a:avLst/>
            <a:gdLst>
              <a:gd name="T0" fmla="*/ 261 w 288"/>
              <a:gd name="T1" fmla="*/ 79 h 283"/>
              <a:gd name="T2" fmla="*/ 276 w 288"/>
              <a:gd name="T3" fmla="*/ 109 h 283"/>
              <a:gd name="T4" fmla="*/ 288 w 288"/>
              <a:gd name="T5" fmla="*/ 146 h 283"/>
              <a:gd name="T6" fmla="*/ 76 w 288"/>
              <a:gd name="T7" fmla="*/ 283 h 283"/>
              <a:gd name="T8" fmla="*/ 40 w 288"/>
              <a:gd name="T9" fmla="*/ 228 h 283"/>
              <a:gd name="T10" fmla="*/ 74 w 288"/>
              <a:gd name="T11" fmla="*/ 43 h 283"/>
              <a:gd name="T12" fmla="*/ 261 w 288"/>
              <a:gd name="T13" fmla="*/ 79 h 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8" h="283">
                <a:moveTo>
                  <a:pt x="261" y="79"/>
                </a:moveTo>
                <a:cubicBezTo>
                  <a:pt x="267" y="89"/>
                  <a:pt x="272" y="99"/>
                  <a:pt x="276" y="109"/>
                </a:cubicBezTo>
                <a:cubicBezTo>
                  <a:pt x="276" y="109"/>
                  <a:pt x="280" y="123"/>
                  <a:pt x="288" y="146"/>
                </a:cubicBezTo>
                <a:cubicBezTo>
                  <a:pt x="142" y="105"/>
                  <a:pt x="88" y="247"/>
                  <a:pt x="76" y="283"/>
                </a:cubicBezTo>
                <a:cubicBezTo>
                  <a:pt x="40" y="228"/>
                  <a:pt x="40" y="228"/>
                  <a:pt x="40" y="228"/>
                </a:cubicBezTo>
                <a:cubicBezTo>
                  <a:pt x="0" y="167"/>
                  <a:pt x="14" y="85"/>
                  <a:pt x="74" y="43"/>
                </a:cubicBezTo>
                <a:cubicBezTo>
                  <a:pt x="135" y="0"/>
                  <a:pt x="220" y="17"/>
                  <a:pt x="261" y="79"/>
                </a:cubicBezTo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99" name="Freeform 301">
            <a:extLst>
              <a:ext uri="{FF2B5EF4-FFF2-40B4-BE49-F238E27FC236}">
                <a16:creationId xmlns:a16="http://schemas.microsoft.com/office/drawing/2014/main" id="{0570DF85-6740-485B-8282-F09E2A033BC6}"/>
              </a:ext>
            </a:extLst>
          </p:cNvPr>
          <p:cNvSpPr>
            <a:spLocks/>
          </p:cNvSpPr>
          <p:nvPr/>
        </p:nvSpPr>
        <p:spPr bwMode="auto">
          <a:xfrm>
            <a:off x="2332102" y="4248053"/>
            <a:ext cx="111801" cy="73082"/>
          </a:xfrm>
          <a:custGeom>
            <a:avLst/>
            <a:gdLst>
              <a:gd name="T0" fmla="*/ 0 w 171"/>
              <a:gd name="T1" fmla="*/ 55 h 112"/>
              <a:gd name="T2" fmla="*/ 44 w 171"/>
              <a:gd name="T3" fmla="*/ 73 h 112"/>
              <a:gd name="T4" fmla="*/ 106 w 171"/>
              <a:gd name="T5" fmla="*/ 109 h 112"/>
              <a:gd name="T6" fmla="*/ 150 w 171"/>
              <a:gd name="T7" fmla="*/ 92 h 112"/>
              <a:gd name="T8" fmla="*/ 167 w 171"/>
              <a:gd name="T9" fmla="*/ 68 h 112"/>
              <a:gd name="T10" fmla="*/ 110 w 171"/>
              <a:gd name="T11" fmla="*/ 42 h 112"/>
              <a:gd name="T12" fmla="*/ 156 w 171"/>
              <a:gd name="T13" fmla="*/ 45 h 112"/>
              <a:gd name="T14" fmla="*/ 150 w 171"/>
              <a:gd name="T15" fmla="*/ 24 h 112"/>
              <a:gd name="T16" fmla="*/ 86 w 171"/>
              <a:gd name="T17" fmla="*/ 9 h 112"/>
              <a:gd name="T18" fmla="*/ 45 w 171"/>
              <a:gd name="T19" fmla="*/ 11 h 112"/>
              <a:gd name="T20" fmla="*/ 20 w 171"/>
              <a:gd name="T21" fmla="*/ 0 h 112"/>
              <a:gd name="T22" fmla="*/ 0 w 171"/>
              <a:gd name="T23" fmla="*/ 55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1" h="112">
                <a:moveTo>
                  <a:pt x="0" y="55"/>
                </a:moveTo>
                <a:cubicBezTo>
                  <a:pt x="0" y="55"/>
                  <a:pt x="28" y="61"/>
                  <a:pt x="44" y="73"/>
                </a:cubicBezTo>
                <a:cubicBezTo>
                  <a:pt x="61" y="85"/>
                  <a:pt x="84" y="112"/>
                  <a:pt x="106" y="109"/>
                </a:cubicBezTo>
                <a:cubicBezTo>
                  <a:pt x="128" y="106"/>
                  <a:pt x="148" y="93"/>
                  <a:pt x="150" y="92"/>
                </a:cubicBezTo>
                <a:cubicBezTo>
                  <a:pt x="152" y="91"/>
                  <a:pt x="171" y="78"/>
                  <a:pt x="167" y="68"/>
                </a:cubicBezTo>
                <a:cubicBezTo>
                  <a:pt x="163" y="57"/>
                  <a:pt x="108" y="49"/>
                  <a:pt x="110" y="42"/>
                </a:cubicBezTo>
                <a:cubicBezTo>
                  <a:pt x="112" y="39"/>
                  <a:pt x="142" y="53"/>
                  <a:pt x="156" y="45"/>
                </a:cubicBezTo>
                <a:cubicBezTo>
                  <a:pt x="170" y="37"/>
                  <a:pt x="161" y="29"/>
                  <a:pt x="150" y="24"/>
                </a:cubicBezTo>
                <a:cubicBezTo>
                  <a:pt x="140" y="18"/>
                  <a:pt x="96" y="14"/>
                  <a:pt x="86" y="9"/>
                </a:cubicBezTo>
                <a:cubicBezTo>
                  <a:pt x="76" y="5"/>
                  <a:pt x="57" y="13"/>
                  <a:pt x="45" y="11"/>
                </a:cubicBezTo>
                <a:cubicBezTo>
                  <a:pt x="34" y="9"/>
                  <a:pt x="20" y="0"/>
                  <a:pt x="20" y="0"/>
                </a:cubicBezTo>
                <a:cubicBezTo>
                  <a:pt x="13" y="18"/>
                  <a:pt x="7" y="37"/>
                  <a:pt x="0" y="55"/>
                </a:cubicBezTo>
                <a:close/>
              </a:path>
            </a:pathLst>
          </a:custGeom>
          <a:solidFill>
            <a:srgbClr val="FFB5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00" name="Freeform 302">
            <a:extLst>
              <a:ext uri="{FF2B5EF4-FFF2-40B4-BE49-F238E27FC236}">
                <a16:creationId xmlns:a16="http://schemas.microsoft.com/office/drawing/2014/main" id="{346EAB0B-7688-4215-95F7-2D1F54404D33}"/>
              </a:ext>
            </a:extLst>
          </p:cNvPr>
          <p:cNvSpPr>
            <a:spLocks/>
          </p:cNvSpPr>
          <p:nvPr/>
        </p:nvSpPr>
        <p:spPr bwMode="auto">
          <a:xfrm>
            <a:off x="1754220" y="3645972"/>
            <a:ext cx="355247" cy="323788"/>
          </a:xfrm>
          <a:custGeom>
            <a:avLst/>
            <a:gdLst>
              <a:gd name="T0" fmla="*/ 440 w 543"/>
              <a:gd name="T1" fmla="*/ 232 h 495"/>
              <a:gd name="T2" fmla="*/ 442 w 543"/>
              <a:gd name="T3" fmla="*/ 257 h 495"/>
              <a:gd name="T4" fmla="*/ 415 w 543"/>
              <a:gd name="T5" fmla="*/ 341 h 495"/>
              <a:gd name="T6" fmla="*/ 325 w 543"/>
              <a:gd name="T7" fmla="*/ 405 h 495"/>
              <a:gd name="T8" fmla="*/ 245 w 543"/>
              <a:gd name="T9" fmla="*/ 416 h 495"/>
              <a:gd name="T10" fmla="*/ 176 w 543"/>
              <a:gd name="T11" fmla="*/ 452 h 495"/>
              <a:gd name="T12" fmla="*/ 59 w 543"/>
              <a:gd name="T13" fmla="*/ 480 h 495"/>
              <a:gd name="T14" fmla="*/ 23 w 543"/>
              <a:gd name="T15" fmla="*/ 452 h 495"/>
              <a:gd name="T16" fmla="*/ 60 w 543"/>
              <a:gd name="T17" fmla="*/ 349 h 495"/>
              <a:gd name="T18" fmla="*/ 93 w 543"/>
              <a:gd name="T19" fmla="*/ 287 h 495"/>
              <a:gd name="T20" fmla="*/ 147 w 543"/>
              <a:gd name="T21" fmla="*/ 173 h 495"/>
              <a:gd name="T22" fmla="*/ 308 w 543"/>
              <a:gd name="T23" fmla="*/ 111 h 495"/>
              <a:gd name="T24" fmla="*/ 523 w 543"/>
              <a:gd name="T25" fmla="*/ 68 h 495"/>
              <a:gd name="T26" fmla="*/ 541 w 543"/>
              <a:gd name="T27" fmla="*/ 112 h 495"/>
              <a:gd name="T28" fmla="*/ 532 w 543"/>
              <a:gd name="T29" fmla="*/ 128 h 495"/>
              <a:gd name="T30" fmla="*/ 516 w 543"/>
              <a:gd name="T31" fmla="*/ 135 h 495"/>
              <a:gd name="T32" fmla="*/ 488 w 543"/>
              <a:gd name="T33" fmla="*/ 132 h 495"/>
              <a:gd name="T34" fmla="*/ 461 w 543"/>
              <a:gd name="T35" fmla="*/ 130 h 495"/>
              <a:gd name="T36" fmla="*/ 444 w 543"/>
              <a:gd name="T37" fmla="*/ 142 h 495"/>
              <a:gd name="T38" fmla="*/ 435 w 543"/>
              <a:gd name="T39" fmla="*/ 167 h 495"/>
              <a:gd name="T40" fmla="*/ 440 w 543"/>
              <a:gd name="T41" fmla="*/ 232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43" h="495">
                <a:moveTo>
                  <a:pt x="440" y="232"/>
                </a:moveTo>
                <a:cubicBezTo>
                  <a:pt x="441" y="240"/>
                  <a:pt x="442" y="249"/>
                  <a:pt x="442" y="257"/>
                </a:cubicBezTo>
                <a:cubicBezTo>
                  <a:pt x="441" y="287"/>
                  <a:pt x="432" y="316"/>
                  <a:pt x="415" y="341"/>
                </a:cubicBezTo>
                <a:cubicBezTo>
                  <a:pt x="394" y="372"/>
                  <a:pt x="361" y="395"/>
                  <a:pt x="325" y="405"/>
                </a:cubicBezTo>
                <a:cubicBezTo>
                  <a:pt x="299" y="412"/>
                  <a:pt x="272" y="412"/>
                  <a:pt x="245" y="416"/>
                </a:cubicBezTo>
                <a:cubicBezTo>
                  <a:pt x="218" y="421"/>
                  <a:pt x="195" y="432"/>
                  <a:pt x="176" y="452"/>
                </a:cubicBezTo>
                <a:cubicBezTo>
                  <a:pt x="146" y="486"/>
                  <a:pt x="101" y="495"/>
                  <a:pt x="59" y="480"/>
                </a:cubicBezTo>
                <a:cubicBezTo>
                  <a:pt x="45" y="474"/>
                  <a:pt x="31" y="465"/>
                  <a:pt x="23" y="452"/>
                </a:cubicBezTo>
                <a:cubicBezTo>
                  <a:pt x="0" y="415"/>
                  <a:pt x="37" y="375"/>
                  <a:pt x="60" y="349"/>
                </a:cubicBezTo>
                <a:cubicBezTo>
                  <a:pt x="76" y="331"/>
                  <a:pt x="85" y="309"/>
                  <a:pt x="93" y="287"/>
                </a:cubicBezTo>
                <a:cubicBezTo>
                  <a:pt x="106" y="247"/>
                  <a:pt x="115" y="202"/>
                  <a:pt x="147" y="173"/>
                </a:cubicBezTo>
                <a:cubicBezTo>
                  <a:pt x="191" y="133"/>
                  <a:pt x="257" y="139"/>
                  <a:pt x="308" y="111"/>
                </a:cubicBezTo>
                <a:cubicBezTo>
                  <a:pt x="371" y="76"/>
                  <a:pt x="454" y="0"/>
                  <a:pt x="523" y="68"/>
                </a:cubicBezTo>
                <a:cubicBezTo>
                  <a:pt x="535" y="79"/>
                  <a:pt x="543" y="96"/>
                  <a:pt x="541" y="112"/>
                </a:cubicBezTo>
                <a:cubicBezTo>
                  <a:pt x="540" y="118"/>
                  <a:pt x="537" y="124"/>
                  <a:pt x="532" y="128"/>
                </a:cubicBezTo>
                <a:cubicBezTo>
                  <a:pt x="528" y="132"/>
                  <a:pt x="522" y="134"/>
                  <a:pt x="516" y="135"/>
                </a:cubicBezTo>
                <a:cubicBezTo>
                  <a:pt x="506" y="136"/>
                  <a:pt x="497" y="136"/>
                  <a:pt x="488" y="132"/>
                </a:cubicBezTo>
                <a:cubicBezTo>
                  <a:pt x="479" y="127"/>
                  <a:pt x="471" y="126"/>
                  <a:pt x="461" y="130"/>
                </a:cubicBezTo>
                <a:cubicBezTo>
                  <a:pt x="455" y="133"/>
                  <a:pt x="448" y="136"/>
                  <a:pt x="444" y="142"/>
                </a:cubicBezTo>
                <a:cubicBezTo>
                  <a:pt x="438" y="149"/>
                  <a:pt x="436" y="158"/>
                  <a:pt x="435" y="167"/>
                </a:cubicBezTo>
                <a:cubicBezTo>
                  <a:pt x="433" y="189"/>
                  <a:pt x="438" y="210"/>
                  <a:pt x="440" y="232"/>
                </a:cubicBezTo>
              </a:path>
            </a:pathLst>
          </a:custGeom>
          <a:solidFill>
            <a:srgbClr val="283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01" name="Freeform 303">
            <a:extLst>
              <a:ext uri="{FF2B5EF4-FFF2-40B4-BE49-F238E27FC236}">
                <a16:creationId xmlns:a16="http://schemas.microsoft.com/office/drawing/2014/main" id="{FCA92995-31A6-4779-8FCA-AB02EFE36500}"/>
              </a:ext>
            </a:extLst>
          </p:cNvPr>
          <p:cNvSpPr>
            <a:spLocks noEditPoints="1"/>
          </p:cNvSpPr>
          <p:nvPr/>
        </p:nvSpPr>
        <p:spPr bwMode="auto">
          <a:xfrm>
            <a:off x="1760996" y="3837148"/>
            <a:ext cx="189724" cy="100186"/>
          </a:xfrm>
          <a:custGeom>
            <a:avLst/>
            <a:gdLst>
              <a:gd name="T0" fmla="*/ 290 w 290"/>
              <a:gd name="T1" fmla="*/ 118 h 153"/>
              <a:gd name="T2" fmla="*/ 256 w 290"/>
              <a:gd name="T3" fmla="*/ 122 h 153"/>
              <a:gd name="T4" fmla="*/ 290 w 290"/>
              <a:gd name="T5" fmla="*/ 118 h 153"/>
              <a:gd name="T6" fmla="*/ 290 w 290"/>
              <a:gd name="T7" fmla="*/ 118 h 153"/>
              <a:gd name="T8" fmla="*/ 25 w 290"/>
              <a:gd name="T9" fmla="*/ 88 h 153"/>
              <a:gd name="T10" fmla="*/ 9 w 290"/>
              <a:gd name="T11" fmla="*/ 153 h 153"/>
              <a:gd name="T12" fmla="*/ 25 w 290"/>
              <a:gd name="T13" fmla="*/ 88 h 153"/>
              <a:gd name="T14" fmla="*/ 81 w 290"/>
              <a:gd name="T15" fmla="*/ 0 h 153"/>
              <a:gd name="T16" fmla="*/ 50 w 290"/>
              <a:gd name="T17" fmla="*/ 57 h 153"/>
              <a:gd name="T18" fmla="*/ 31 w 290"/>
              <a:gd name="T19" fmla="*/ 80 h 153"/>
              <a:gd name="T20" fmla="*/ 50 w 290"/>
              <a:gd name="T21" fmla="*/ 57 h 153"/>
              <a:gd name="T22" fmla="*/ 81 w 290"/>
              <a:gd name="T23" fmla="*/ 0 h 153"/>
              <a:gd name="T24" fmla="*/ 81 w 290"/>
              <a:gd name="T25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90" h="153">
                <a:moveTo>
                  <a:pt x="290" y="118"/>
                </a:moveTo>
                <a:cubicBezTo>
                  <a:pt x="279" y="119"/>
                  <a:pt x="267" y="120"/>
                  <a:pt x="256" y="122"/>
                </a:cubicBezTo>
                <a:cubicBezTo>
                  <a:pt x="267" y="120"/>
                  <a:pt x="279" y="119"/>
                  <a:pt x="290" y="118"/>
                </a:cubicBezTo>
                <a:cubicBezTo>
                  <a:pt x="290" y="118"/>
                  <a:pt x="290" y="118"/>
                  <a:pt x="290" y="118"/>
                </a:cubicBezTo>
                <a:moveTo>
                  <a:pt x="25" y="88"/>
                </a:moveTo>
                <a:cubicBezTo>
                  <a:pt x="10" y="108"/>
                  <a:pt x="0" y="131"/>
                  <a:pt x="9" y="153"/>
                </a:cubicBezTo>
                <a:cubicBezTo>
                  <a:pt x="0" y="131"/>
                  <a:pt x="10" y="108"/>
                  <a:pt x="25" y="88"/>
                </a:cubicBezTo>
                <a:moveTo>
                  <a:pt x="81" y="0"/>
                </a:moveTo>
                <a:cubicBezTo>
                  <a:pt x="74" y="20"/>
                  <a:pt x="65" y="41"/>
                  <a:pt x="50" y="57"/>
                </a:cubicBezTo>
                <a:cubicBezTo>
                  <a:pt x="44" y="64"/>
                  <a:pt x="37" y="72"/>
                  <a:pt x="31" y="80"/>
                </a:cubicBezTo>
                <a:cubicBezTo>
                  <a:pt x="37" y="72"/>
                  <a:pt x="44" y="64"/>
                  <a:pt x="50" y="57"/>
                </a:cubicBezTo>
                <a:cubicBezTo>
                  <a:pt x="65" y="41"/>
                  <a:pt x="74" y="20"/>
                  <a:pt x="81" y="0"/>
                </a:cubicBezTo>
                <a:cubicBezTo>
                  <a:pt x="81" y="0"/>
                  <a:pt x="81" y="0"/>
                  <a:pt x="81" y="0"/>
                </a:cubicBezTo>
              </a:path>
            </a:pathLst>
          </a:custGeom>
          <a:solidFill>
            <a:srgbClr val="91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02" name="Freeform 304">
            <a:extLst>
              <a:ext uri="{FF2B5EF4-FFF2-40B4-BE49-F238E27FC236}">
                <a16:creationId xmlns:a16="http://schemas.microsoft.com/office/drawing/2014/main" id="{BF311EC9-C2BE-4095-8249-8F6AF9008C91}"/>
              </a:ext>
            </a:extLst>
          </p:cNvPr>
          <p:cNvSpPr>
            <a:spLocks/>
          </p:cNvSpPr>
          <p:nvPr/>
        </p:nvSpPr>
        <p:spPr bwMode="auto">
          <a:xfrm>
            <a:off x="1950719" y="3912165"/>
            <a:ext cx="10164" cy="1936"/>
          </a:xfrm>
          <a:custGeom>
            <a:avLst/>
            <a:gdLst>
              <a:gd name="T0" fmla="*/ 16 w 16"/>
              <a:gd name="T1" fmla="*/ 0 h 3"/>
              <a:gd name="T2" fmla="*/ 0 w 16"/>
              <a:gd name="T3" fmla="*/ 3 h 3"/>
              <a:gd name="T4" fmla="*/ 0 w 16"/>
              <a:gd name="T5" fmla="*/ 3 h 3"/>
              <a:gd name="T6" fmla="*/ 16 w 16"/>
              <a:gd name="T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" h="3">
                <a:moveTo>
                  <a:pt x="16" y="0"/>
                </a:moveTo>
                <a:cubicBezTo>
                  <a:pt x="10" y="1"/>
                  <a:pt x="5" y="2"/>
                  <a:pt x="0" y="3"/>
                </a:cubicBezTo>
                <a:cubicBezTo>
                  <a:pt x="0" y="3"/>
                  <a:pt x="0" y="3"/>
                  <a:pt x="0" y="3"/>
                </a:cubicBezTo>
                <a:cubicBezTo>
                  <a:pt x="5" y="2"/>
                  <a:pt x="10" y="1"/>
                  <a:pt x="16" y="0"/>
                </a:cubicBezTo>
              </a:path>
            </a:pathLst>
          </a:custGeom>
          <a:solidFill>
            <a:srgbClr val="5844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03" name="Freeform 305">
            <a:extLst>
              <a:ext uri="{FF2B5EF4-FFF2-40B4-BE49-F238E27FC236}">
                <a16:creationId xmlns:a16="http://schemas.microsoft.com/office/drawing/2014/main" id="{BD36A930-FF6F-43FB-9F8B-EC92C06F8049}"/>
              </a:ext>
            </a:extLst>
          </p:cNvPr>
          <p:cNvSpPr>
            <a:spLocks noEditPoints="1"/>
          </p:cNvSpPr>
          <p:nvPr/>
        </p:nvSpPr>
        <p:spPr bwMode="auto">
          <a:xfrm>
            <a:off x="1770676" y="3920877"/>
            <a:ext cx="133097" cy="44043"/>
          </a:xfrm>
          <a:custGeom>
            <a:avLst/>
            <a:gdLst>
              <a:gd name="T0" fmla="*/ 118 w 203"/>
              <a:gd name="T1" fmla="*/ 57 h 67"/>
              <a:gd name="T2" fmla="*/ 74 w 203"/>
              <a:gd name="T3" fmla="*/ 67 h 67"/>
              <a:gd name="T4" fmla="*/ 34 w 203"/>
              <a:gd name="T5" fmla="*/ 60 h 67"/>
              <a:gd name="T6" fmla="*/ 30 w 203"/>
              <a:gd name="T7" fmla="*/ 58 h 67"/>
              <a:gd name="T8" fmla="*/ 34 w 203"/>
              <a:gd name="T9" fmla="*/ 60 h 67"/>
              <a:gd name="T10" fmla="*/ 74 w 203"/>
              <a:gd name="T11" fmla="*/ 67 h 67"/>
              <a:gd name="T12" fmla="*/ 118 w 203"/>
              <a:gd name="T13" fmla="*/ 57 h 67"/>
              <a:gd name="T14" fmla="*/ 0 w 203"/>
              <a:gd name="T15" fmla="*/ 35 h 67"/>
              <a:gd name="T16" fmla="*/ 18 w 203"/>
              <a:gd name="T17" fmla="*/ 52 h 67"/>
              <a:gd name="T18" fmla="*/ 0 w 203"/>
              <a:gd name="T19" fmla="*/ 35 h 67"/>
              <a:gd name="T20" fmla="*/ 203 w 203"/>
              <a:gd name="T21" fmla="*/ 0 h 67"/>
              <a:gd name="T22" fmla="*/ 168 w 203"/>
              <a:gd name="T23" fmla="*/ 17 h 67"/>
              <a:gd name="T24" fmla="*/ 203 w 203"/>
              <a:gd name="T25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3" h="67">
                <a:moveTo>
                  <a:pt x="118" y="57"/>
                </a:moveTo>
                <a:cubicBezTo>
                  <a:pt x="104" y="64"/>
                  <a:pt x="89" y="67"/>
                  <a:pt x="74" y="67"/>
                </a:cubicBezTo>
                <a:cubicBezTo>
                  <a:pt x="61" y="67"/>
                  <a:pt x="47" y="65"/>
                  <a:pt x="34" y="60"/>
                </a:cubicBezTo>
                <a:cubicBezTo>
                  <a:pt x="33" y="59"/>
                  <a:pt x="31" y="59"/>
                  <a:pt x="30" y="58"/>
                </a:cubicBezTo>
                <a:cubicBezTo>
                  <a:pt x="31" y="59"/>
                  <a:pt x="33" y="59"/>
                  <a:pt x="34" y="60"/>
                </a:cubicBezTo>
                <a:cubicBezTo>
                  <a:pt x="47" y="65"/>
                  <a:pt x="61" y="67"/>
                  <a:pt x="74" y="67"/>
                </a:cubicBezTo>
                <a:cubicBezTo>
                  <a:pt x="89" y="67"/>
                  <a:pt x="104" y="64"/>
                  <a:pt x="118" y="57"/>
                </a:cubicBezTo>
                <a:moveTo>
                  <a:pt x="0" y="35"/>
                </a:moveTo>
                <a:cubicBezTo>
                  <a:pt x="5" y="42"/>
                  <a:pt x="11" y="47"/>
                  <a:pt x="18" y="52"/>
                </a:cubicBezTo>
                <a:cubicBezTo>
                  <a:pt x="11" y="47"/>
                  <a:pt x="5" y="42"/>
                  <a:pt x="0" y="35"/>
                </a:cubicBezTo>
                <a:moveTo>
                  <a:pt x="203" y="0"/>
                </a:moveTo>
                <a:cubicBezTo>
                  <a:pt x="191" y="4"/>
                  <a:pt x="179" y="9"/>
                  <a:pt x="168" y="17"/>
                </a:cubicBezTo>
                <a:cubicBezTo>
                  <a:pt x="179" y="9"/>
                  <a:pt x="191" y="4"/>
                  <a:pt x="203" y="0"/>
                </a:cubicBezTo>
              </a:path>
            </a:pathLst>
          </a:custGeom>
          <a:solidFill>
            <a:srgbClr val="91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04" name="Freeform 306">
            <a:extLst>
              <a:ext uri="{FF2B5EF4-FFF2-40B4-BE49-F238E27FC236}">
                <a16:creationId xmlns:a16="http://schemas.microsoft.com/office/drawing/2014/main" id="{4A5B7BC3-5DA0-49E0-9E23-F417C8FB9253}"/>
              </a:ext>
            </a:extLst>
          </p:cNvPr>
          <p:cNvSpPr>
            <a:spLocks/>
          </p:cNvSpPr>
          <p:nvPr/>
        </p:nvSpPr>
        <p:spPr bwMode="auto">
          <a:xfrm>
            <a:off x="1760996" y="3837148"/>
            <a:ext cx="245382" cy="127773"/>
          </a:xfrm>
          <a:custGeom>
            <a:avLst/>
            <a:gdLst>
              <a:gd name="T0" fmla="*/ 81 w 375"/>
              <a:gd name="T1" fmla="*/ 0 h 195"/>
              <a:gd name="T2" fmla="*/ 50 w 375"/>
              <a:gd name="T3" fmla="*/ 57 h 195"/>
              <a:gd name="T4" fmla="*/ 31 w 375"/>
              <a:gd name="T5" fmla="*/ 80 h 195"/>
              <a:gd name="T6" fmla="*/ 25 w 375"/>
              <a:gd name="T7" fmla="*/ 88 h 195"/>
              <a:gd name="T8" fmla="*/ 9 w 375"/>
              <a:gd name="T9" fmla="*/ 153 h 195"/>
              <a:gd name="T10" fmla="*/ 13 w 375"/>
              <a:gd name="T11" fmla="*/ 160 h 195"/>
              <a:gd name="T12" fmla="*/ 15 w 375"/>
              <a:gd name="T13" fmla="*/ 163 h 195"/>
              <a:gd name="T14" fmla="*/ 33 w 375"/>
              <a:gd name="T15" fmla="*/ 180 h 195"/>
              <a:gd name="T16" fmla="*/ 45 w 375"/>
              <a:gd name="T17" fmla="*/ 186 h 195"/>
              <a:gd name="T18" fmla="*/ 49 w 375"/>
              <a:gd name="T19" fmla="*/ 188 h 195"/>
              <a:gd name="T20" fmla="*/ 89 w 375"/>
              <a:gd name="T21" fmla="*/ 195 h 195"/>
              <a:gd name="T22" fmla="*/ 133 w 375"/>
              <a:gd name="T23" fmla="*/ 185 h 195"/>
              <a:gd name="T24" fmla="*/ 166 w 375"/>
              <a:gd name="T25" fmla="*/ 160 h 195"/>
              <a:gd name="T26" fmla="*/ 183 w 375"/>
              <a:gd name="T27" fmla="*/ 145 h 195"/>
              <a:gd name="T28" fmla="*/ 218 w 375"/>
              <a:gd name="T29" fmla="*/ 128 h 195"/>
              <a:gd name="T30" fmla="*/ 235 w 375"/>
              <a:gd name="T31" fmla="*/ 124 h 195"/>
              <a:gd name="T32" fmla="*/ 256 w 375"/>
              <a:gd name="T33" fmla="*/ 122 h 195"/>
              <a:gd name="T34" fmla="*/ 290 w 375"/>
              <a:gd name="T35" fmla="*/ 118 h 195"/>
              <a:gd name="T36" fmla="*/ 306 w 375"/>
              <a:gd name="T37" fmla="*/ 115 h 195"/>
              <a:gd name="T38" fmla="*/ 315 w 375"/>
              <a:gd name="T39" fmla="*/ 113 h 195"/>
              <a:gd name="T40" fmla="*/ 375 w 375"/>
              <a:gd name="T41" fmla="*/ 82 h 195"/>
              <a:gd name="T42" fmla="*/ 318 w 375"/>
              <a:gd name="T43" fmla="*/ 84 h 195"/>
              <a:gd name="T44" fmla="*/ 81 w 375"/>
              <a:gd name="T45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75" h="195">
                <a:moveTo>
                  <a:pt x="81" y="0"/>
                </a:moveTo>
                <a:cubicBezTo>
                  <a:pt x="74" y="20"/>
                  <a:pt x="65" y="41"/>
                  <a:pt x="50" y="57"/>
                </a:cubicBezTo>
                <a:cubicBezTo>
                  <a:pt x="44" y="64"/>
                  <a:pt x="37" y="72"/>
                  <a:pt x="31" y="80"/>
                </a:cubicBezTo>
                <a:cubicBezTo>
                  <a:pt x="29" y="82"/>
                  <a:pt x="27" y="85"/>
                  <a:pt x="25" y="88"/>
                </a:cubicBezTo>
                <a:cubicBezTo>
                  <a:pt x="10" y="108"/>
                  <a:pt x="0" y="131"/>
                  <a:pt x="9" y="153"/>
                </a:cubicBezTo>
                <a:cubicBezTo>
                  <a:pt x="10" y="155"/>
                  <a:pt x="11" y="157"/>
                  <a:pt x="13" y="160"/>
                </a:cubicBezTo>
                <a:cubicBezTo>
                  <a:pt x="14" y="161"/>
                  <a:pt x="14" y="162"/>
                  <a:pt x="15" y="163"/>
                </a:cubicBezTo>
                <a:cubicBezTo>
                  <a:pt x="20" y="170"/>
                  <a:pt x="26" y="175"/>
                  <a:pt x="33" y="180"/>
                </a:cubicBezTo>
                <a:cubicBezTo>
                  <a:pt x="37" y="182"/>
                  <a:pt x="41" y="184"/>
                  <a:pt x="45" y="186"/>
                </a:cubicBezTo>
                <a:cubicBezTo>
                  <a:pt x="46" y="187"/>
                  <a:pt x="48" y="187"/>
                  <a:pt x="49" y="188"/>
                </a:cubicBezTo>
                <a:cubicBezTo>
                  <a:pt x="62" y="193"/>
                  <a:pt x="76" y="195"/>
                  <a:pt x="89" y="195"/>
                </a:cubicBezTo>
                <a:cubicBezTo>
                  <a:pt x="104" y="195"/>
                  <a:pt x="119" y="192"/>
                  <a:pt x="133" y="185"/>
                </a:cubicBezTo>
                <a:cubicBezTo>
                  <a:pt x="145" y="179"/>
                  <a:pt x="156" y="171"/>
                  <a:pt x="166" y="160"/>
                </a:cubicBezTo>
                <a:cubicBezTo>
                  <a:pt x="171" y="154"/>
                  <a:pt x="177" y="149"/>
                  <a:pt x="183" y="145"/>
                </a:cubicBezTo>
                <a:cubicBezTo>
                  <a:pt x="194" y="137"/>
                  <a:pt x="206" y="132"/>
                  <a:pt x="218" y="128"/>
                </a:cubicBezTo>
                <a:cubicBezTo>
                  <a:pt x="224" y="127"/>
                  <a:pt x="229" y="125"/>
                  <a:pt x="235" y="124"/>
                </a:cubicBezTo>
                <a:cubicBezTo>
                  <a:pt x="242" y="123"/>
                  <a:pt x="249" y="122"/>
                  <a:pt x="256" y="122"/>
                </a:cubicBezTo>
                <a:cubicBezTo>
                  <a:pt x="267" y="120"/>
                  <a:pt x="279" y="119"/>
                  <a:pt x="290" y="118"/>
                </a:cubicBezTo>
                <a:cubicBezTo>
                  <a:pt x="295" y="117"/>
                  <a:pt x="300" y="116"/>
                  <a:pt x="306" y="115"/>
                </a:cubicBezTo>
                <a:cubicBezTo>
                  <a:pt x="309" y="115"/>
                  <a:pt x="312" y="114"/>
                  <a:pt x="315" y="113"/>
                </a:cubicBezTo>
                <a:cubicBezTo>
                  <a:pt x="337" y="107"/>
                  <a:pt x="358" y="97"/>
                  <a:pt x="375" y="82"/>
                </a:cubicBezTo>
                <a:cubicBezTo>
                  <a:pt x="360" y="83"/>
                  <a:pt x="340" y="84"/>
                  <a:pt x="318" y="84"/>
                </a:cubicBezTo>
                <a:cubicBezTo>
                  <a:pt x="233" y="84"/>
                  <a:pt x="112" y="71"/>
                  <a:pt x="81" y="0"/>
                </a:cubicBezTo>
              </a:path>
            </a:pathLst>
          </a:custGeom>
          <a:solidFill>
            <a:srgbClr val="25283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05" name="Freeform 307">
            <a:extLst>
              <a:ext uri="{FF2B5EF4-FFF2-40B4-BE49-F238E27FC236}">
                <a16:creationId xmlns:a16="http://schemas.microsoft.com/office/drawing/2014/main" id="{B3056B9A-26EC-4026-851F-642ACD18A780}"/>
              </a:ext>
            </a:extLst>
          </p:cNvPr>
          <p:cNvSpPr>
            <a:spLocks/>
          </p:cNvSpPr>
          <p:nvPr/>
        </p:nvSpPr>
        <p:spPr bwMode="auto">
          <a:xfrm>
            <a:off x="2027189" y="3759710"/>
            <a:ext cx="22264" cy="24200"/>
          </a:xfrm>
          <a:custGeom>
            <a:avLst/>
            <a:gdLst>
              <a:gd name="T0" fmla="*/ 7 w 34"/>
              <a:gd name="T1" fmla="*/ 26 h 37"/>
              <a:gd name="T2" fmla="*/ 29 w 34"/>
              <a:gd name="T3" fmla="*/ 33 h 37"/>
              <a:gd name="T4" fmla="*/ 26 w 34"/>
              <a:gd name="T5" fmla="*/ 11 h 37"/>
              <a:gd name="T6" fmla="*/ 5 w 34"/>
              <a:gd name="T7" fmla="*/ 4 h 37"/>
              <a:gd name="T8" fmla="*/ 7 w 34"/>
              <a:gd name="T9" fmla="*/ 26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" h="37">
                <a:moveTo>
                  <a:pt x="7" y="26"/>
                </a:moveTo>
                <a:cubicBezTo>
                  <a:pt x="14" y="34"/>
                  <a:pt x="23" y="37"/>
                  <a:pt x="29" y="33"/>
                </a:cubicBezTo>
                <a:cubicBezTo>
                  <a:pt x="34" y="29"/>
                  <a:pt x="33" y="19"/>
                  <a:pt x="26" y="11"/>
                </a:cubicBezTo>
                <a:cubicBezTo>
                  <a:pt x="20" y="3"/>
                  <a:pt x="10" y="0"/>
                  <a:pt x="5" y="4"/>
                </a:cubicBezTo>
                <a:cubicBezTo>
                  <a:pt x="0" y="8"/>
                  <a:pt x="1" y="18"/>
                  <a:pt x="7" y="26"/>
                </a:cubicBezTo>
                <a:close/>
              </a:path>
            </a:pathLst>
          </a:custGeom>
          <a:solidFill>
            <a:srgbClr val="FFC1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06" name="Freeform 308">
            <a:extLst>
              <a:ext uri="{FF2B5EF4-FFF2-40B4-BE49-F238E27FC236}">
                <a16:creationId xmlns:a16="http://schemas.microsoft.com/office/drawing/2014/main" id="{76056618-5CE1-4817-B3FF-6FCFE2822D42}"/>
              </a:ext>
            </a:extLst>
          </p:cNvPr>
          <p:cNvSpPr>
            <a:spLocks/>
          </p:cNvSpPr>
          <p:nvPr/>
        </p:nvSpPr>
        <p:spPr bwMode="auto">
          <a:xfrm>
            <a:off x="2267731" y="3945560"/>
            <a:ext cx="59530" cy="47915"/>
          </a:xfrm>
          <a:custGeom>
            <a:avLst/>
            <a:gdLst>
              <a:gd name="T0" fmla="*/ 20 w 91"/>
              <a:gd name="T1" fmla="*/ 73 h 73"/>
              <a:gd name="T2" fmla="*/ 46 w 91"/>
              <a:gd name="T3" fmla="*/ 60 h 73"/>
              <a:gd name="T4" fmla="*/ 54 w 91"/>
              <a:gd name="T5" fmla="*/ 26 h 73"/>
              <a:gd name="T6" fmla="*/ 81 w 91"/>
              <a:gd name="T7" fmla="*/ 24 h 73"/>
              <a:gd name="T8" fmla="*/ 73 w 91"/>
              <a:gd name="T9" fmla="*/ 5 h 73"/>
              <a:gd name="T10" fmla="*/ 35 w 91"/>
              <a:gd name="T11" fmla="*/ 2 h 73"/>
              <a:gd name="T12" fmla="*/ 10 w 91"/>
              <a:gd name="T13" fmla="*/ 27 h 73"/>
              <a:gd name="T14" fmla="*/ 0 w 91"/>
              <a:gd name="T15" fmla="*/ 60 h 73"/>
              <a:gd name="T16" fmla="*/ 20 w 91"/>
              <a:gd name="T17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1" h="73">
                <a:moveTo>
                  <a:pt x="20" y="73"/>
                </a:moveTo>
                <a:cubicBezTo>
                  <a:pt x="20" y="73"/>
                  <a:pt x="36" y="72"/>
                  <a:pt x="46" y="60"/>
                </a:cubicBezTo>
                <a:cubicBezTo>
                  <a:pt x="56" y="48"/>
                  <a:pt x="54" y="26"/>
                  <a:pt x="54" y="26"/>
                </a:cubicBezTo>
                <a:cubicBezTo>
                  <a:pt x="54" y="26"/>
                  <a:pt x="71" y="31"/>
                  <a:pt x="81" y="24"/>
                </a:cubicBezTo>
                <a:cubicBezTo>
                  <a:pt x="91" y="17"/>
                  <a:pt x="85" y="9"/>
                  <a:pt x="73" y="5"/>
                </a:cubicBezTo>
                <a:cubicBezTo>
                  <a:pt x="62" y="1"/>
                  <a:pt x="43" y="0"/>
                  <a:pt x="35" y="2"/>
                </a:cubicBezTo>
                <a:cubicBezTo>
                  <a:pt x="26" y="5"/>
                  <a:pt x="13" y="21"/>
                  <a:pt x="10" y="27"/>
                </a:cubicBezTo>
                <a:cubicBezTo>
                  <a:pt x="7" y="34"/>
                  <a:pt x="0" y="60"/>
                  <a:pt x="0" y="60"/>
                </a:cubicBezTo>
                <a:lnTo>
                  <a:pt x="20" y="73"/>
                </a:lnTo>
                <a:close/>
              </a:path>
            </a:pathLst>
          </a:custGeom>
          <a:solidFill>
            <a:srgbClr val="F29E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07" name="Freeform 309">
            <a:extLst>
              <a:ext uri="{FF2B5EF4-FFF2-40B4-BE49-F238E27FC236}">
                <a16:creationId xmlns:a16="http://schemas.microsoft.com/office/drawing/2014/main" id="{93002F0C-E05A-4F92-B90C-4B1AB5DC1703}"/>
              </a:ext>
            </a:extLst>
          </p:cNvPr>
          <p:cNvSpPr>
            <a:spLocks/>
          </p:cNvSpPr>
          <p:nvPr/>
        </p:nvSpPr>
        <p:spPr bwMode="auto">
          <a:xfrm>
            <a:off x="2308386" y="3991540"/>
            <a:ext cx="31460" cy="18392"/>
          </a:xfrm>
          <a:custGeom>
            <a:avLst/>
            <a:gdLst>
              <a:gd name="T0" fmla="*/ 7 w 48"/>
              <a:gd name="T1" fmla="*/ 17 h 28"/>
              <a:gd name="T2" fmla="*/ 45 w 48"/>
              <a:gd name="T3" fmla="*/ 18 h 28"/>
              <a:gd name="T4" fmla="*/ 34 w 48"/>
              <a:gd name="T5" fmla="*/ 0 h 28"/>
              <a:gd name="T6" fmla="*/ 14 w 48"/>
              <a:gd name="T7" fmla="*/ 0 h 28"/>
              <a:gd name="T8" fmla="*/ 7 w 48"/>
              <a:gd name="T9" fmla="*/ 17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28">
                <a:moveTo>
                  <a:pt x="7" y="17"/>
                </a:moveTo>
                <a:cubicBezTo>
                  <a:pt x="16" y="22"/>
                  <a:pt x="44" y="28"/>
                  <a:pt x="45" y="18"/>
                </a:cubicBezTo>
                <a:cubicBezTo>
                  <a:pt x="46" y="8"/>
                  <a:pt x="48" y="1"/>
                  <a:pt x="34" y="0"/>
                </a:cubicBezTo>
                <a:cubicBezTo>
                  <a:pt x="27" y="0"/>
                  <a:pt x="20" y="0"/>
                  <a:pt x="14" y="0"/>
                </a:cubicBezTo>
                <a:cubicBezTo>
                  <a:pt x="0" y="1"/>
                  <a:pt x="0" y="13"/>
                  <a:pt x="7" y="17"/>
                </a:cubicBezTo>
                <a:close/>
              </a:path>
            </a:pathLst>
          </a:custGeom>
          <a:solidFill>
            <a:srgbClr val="F29E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08" name="Freeform 310">
            <a:extLst>
              <a:ext uri="{FF2B5EF4-FFF2-40B4-BE49-F238E27FC236}">
                <a16:creationId xmlns:a16="http://schemas.microsoft.com/office/drawing/2014/main" id="{8BE6CDCD-34FE-4C3E-A5FC-601487B3A852}"/>
              </a:ext>
            </a:extLst>
          </p:cNvPr>
          <p:cNvSpPr>
            <a:spLocks/>
          </p:cNvSpPr>
          <p:nvPr/>
        </p:nvSpPr>
        <p:spPr bwMode="auto">
          <a:xfrm>
            <a:off x="2312742" y="3978956"/>
            <a:ext cx="32428" cy="18392"/>
          </a:xfrm>
          <a:custGeom>
            <a:avLst/>
            <a:gdLst>
              <a:gd name="T0" fmla="*/ 8 w 49"/>
              <a:gd name="T1" fmla="*/ 17 h 28"/>
              <a:gd name="T2" fmla="*/ 46 w 49"/>
              <a:gd name="T3" fmla="*/ 18 h 28"/>
              <a:gd name="T4" fmla="*/ 35 w 49"/>
              <a:gd name="T5" fmla="*/ 0 h 28"/>
              <a:gd name="T6" fmla="*/ 15 w 49"/>
              <a:gd name="T7" fmla="*/ 0 h 28"/>
              <a:gd name="T8" fmla="*/ 8 w 49"/>
              <a:gd name="T9" fmla="*/ 17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28">
                <a:moveTo>
                  <a:pt x="8" y="17"/>
                </a:moveTo>
                <a:cubicBezTo>
                  <a:pt x="17" y="22"/>
                  <a:pt x="45" y="28"/>
                  <a:pt x="46" y="18"/>
                </a:cubicBezTo>
                <a:cubicBezTo>
                  <a:pt x="47" y="8"/>
                  <a:pt x="49" y="1"/>
                  <a:pt x="35" y="0"/>
                </a:cubicBezTo>
                <a:cubicBezTo>
                  <a:pt x="28" y="0"/>
                  <a:pt x="20" y="0"/>
                  <a:pt x="15" y="0"/>
                </a:cubicBezTo>
                <a:cubicBezTo>
                  <a:pt x="1" y="1"/>
                  <a:pt x="0" y="12"/>
                  <a:pt x="8" y="17"/>
                </a:cubicBezTo>
                <a:close/>
              </a:path>
            </a:pathLst>
          </a:custGeom>
          <a:solidFill>
            <a:srgbClr val="F29E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09" name="Freeform 311">
            <a:extLst>
              <a:ext uri="{FF2B5EF4-FFF2-40B4-BE49-F238E27FC236}">
                <a16:creationId xmlns:a16="http://schemas.microsoft.com/office/drawing/2014/main" id="{E9D5BF9A-AA7F-4C1F-81E6-49A11BC2B511}"/>
              </a:ext>
            </a:extLst>
          </p:cNvPr>
          <p:cNvSpPr>
            <a:spLocks/>
          </p:cNvSpPr>
          <p:nvPr/>
        </p:nvSpPr>
        <p:spPr bwMode="auto">
          <a:xfrm>
            <a:off x="2312742" y="3969760"/>
            <a:ext cx="32428" cy="18392"/>
          </a:xfrm>
          <a:custGeom>
            <a:avLst/>
            <a:gdLst>
              <a:gd name="T0" fmla="*/ 7 w 49"/>
              <a:gd name="T1" fmla="*/ 17 h 28"/>
              <a:gd name="T2" fmla="*/ 45 w 49"/>
              <a:gd name="T3" fmla="*/ 18 h 28"/>
              <a:gd name="T4" fmla="*/ 35 w 49"/>
              <a:gd name="T5" fmla="*/ 0 h 28"/>
              <a:gd name="T6" fmla="*/ 15 w 49"/>
              <a:gd name="T7" fmla="*/ 0 h 28"/>
              <a:gd name="T8" fmla="*/ 7 w 49"/>
              <a:gd name="T9" fmla="*/ 17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28">
                <a:moveTo>
                  <a:pt x="7" y="17"/>
                </a:moveTo>
                <a:cubicBezTo>
                  <a:pt x="16" y="22"/>
                  <a:pt x="44" y="28"/>
                  <a:pt x="45" y="18"/>
                </a:cubicBezTo>
                <a:cubicBezTo>
                  <a:pt x="46" y="8"/>
                  <a:pt x="49" y="1"/>
                  <a:pt x="35" y="0"/>
                </a:cubicBezTo>
                <a:cubicBezTo>
                  <a:pt x="27" y="0"/>
                  <a:pt x="20" y="0"/>
                  <a:pt x="15" y="0"/>
                </a:cubicBezTo>
                <a:cubicBezTo>
                  <a:pt x="0" y="1"/>
                  <a:pt x="0" y="13"/>
                  <a:pt x="7" y="17"/>
                </a:cubicBezTo>
                <a:close/>
              </a:path>
            </a:pathLst>
          </a:custGeom>
          <a:solidFill>
            <a:srgbClr val="F29E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10" name="Freeform 312">
            <a:extLst>
              <a:ext uri="{FF2B5EF4-FFF2-40B4-BE49-F238E27FC236}">
                <a16:creationId xmlns:a16="http://schemas.microsoft.com/office/drawing/2014/main" id="{F0EB84E1-B625-4FAB-BEF6-16B1BCE1E877}"/>
              </a:ext>
            </a:extLst>
          </p:cNvPr>
          <p:cNvSpPr>
            <a:spLocks/>
          </p:cNvSpPr>
          <p:nvPr/>
        </p:nvSpPr>
        <p:spPr bwMode="auto">
          <a:xfrm>
            <a:off x="2313710" y="3957660"/>
            <a:ext cx="31944" cy="18392"/>
          </a:xfrm>
          <a:custGeom>
            <a:avLst/>
            <a:gdLst>
              <a:gd name="T0" fmla="*/ 7 w 49"/>
              <a:gd name="T1" fmla="*/ 17 h 28"/>
              <a:gd name="T2" fmla="*/ 45 w 49"/>
              <a:gd name="T3" fmla="*/ 18 h 28"/>
              <a:gd name="T4" fmla="*/ 35 w 49"/>
              <a:gd name="T5" fmla="*/ 0 h 28"/>
              <a:gd name="T6" fmla="*/ 15 w 49"/>
              <a:gd name="T7" fmla="*/ 0 h 28"/>
              <a:gd name="T8" fmla="*/ 7 w 49"/>
              <a:gd name="T9" fmla="*/ 17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28">
                <a:moveTo>
                  <a:pt x="7" y="17"/>
                </a:moveTo>
                <a:cubicBezTo>
                  <a:pt x="16" y="22"/>
                  <a:pt x="44" y="28"/>
                  <a:pt x="45" y="18"/>
                </a:cubicBezTo>
                <a:cubicBezTo>
                  <a:pt x="47" y="7"/>
                  <a:pt x="49" y="1"/>
                  <a:pt x="35" y="0"/>
                </a:cubicBezTo>
                <a:cubicBezTo>
                  <a:pt x="27" y="0"/>
                  <a:pt x="20" y="0"/>
                  <a:pt x="15" y="0"/>
                </a:cubicBezTo>
                <a:cubicBezTo>
                  <a:pt x="0" y="1"/>
                  <a:pt x="0" y="12"/>
                  <a:pt x="7" y="17"/>
                </a:cubicBezTo>
                <a:close/>
              </a:path>
            </a:pathLst>
          </a:custGeom>
          <a:solidFill>
            <a:srgbClr val="F29E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11" name="Freeform 313">
            <a:extLst>
              <a:ext uri="{FF2B5EF4-FFF2-40B4-BE49-F238E27FC236}">
                <a16:creationId xmlns:a16="http://schemas.microsoft.com/office/drawing/2014/main" id="{D3E989A8-BD9F-4E86-8EE2-D39E187DAF90}"/>
              </a:ext>
            </a:extLst>
          </p:cNvPr>
          <p:cNvSpPr>
            <a:spLocks/>
          </p:cNvSpPr>
          <p:nvPr/>
        </p:nvSpPr>
        <p:spPr bwMode="auto">
          <a:xfrm>
            <a:off x="3768576" y="1884742"/>
            <a:ext cx="1555536" cy="596757"/>
          </a:xfrm>
          <a:custGeom>
            <a:avLst/>
            <a:gdLst>
              <a:gd name="T0" fmla="*/ 2288 w 2378"/>
              <a:gd name="T1" fmla="*/ 0 h 912"/>
              <a:gd name="T2" fmla="*/ 90 w 2378"/>
              <a:gd name="T3" fmla="*/ 0 h 912"/>
              <a:gd name="T4" fmla="*/ 0 w 2378"/>
              <a:gd name="T5" fmla="*/ 90 h 912"/>
              <a:gd name="T6" fmla="*/ 0 w 2378"/>
              <a:gd name="T7" fmla="*/ 822 h 912"/>
              <a:gd name="T8" fmla="*/ 90 w 2378"/>
              <a:gd name="T9" fmla="*/ 912 h 912"/>
              <a:gd name="T10" fmla="*/ 2288 w 2378"/>
              <a:gd name="T11" fmla="*/ 912 h 912"/>
              <a:gd name="T12" fmla="*/ 2378 w 2378"/>
              <a:gd name="T13" fmla="*/ 822 h 912"/>
              <a:gd name="T14" fmla="*/ 2378 w 2378"/>
              <a:gd name="T15" fmla="*/ 90 h 912"/>
              <a:gd name="T16" fmla="*/ 2288 w 2378"/>
              <a:gd name="T17" fmla="*/ 0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78" h="912">
                <a:moveTo>
                  <a:pt x="2288" y="0"/>
                </a:moveTo>
                <a:cubicBezTo>
                  <a:pt x="90" y="0"/>
                  <a:pt x="90" y="0"/>
                  <a:pt x="90" y="0"/>
                </a:cubicBezTo>
                <a:cubicBezTo>
                  <a:pt x="40" y="0"/>
                  <a:pt x="0" y="40"/>
                  <a:pt x="0" y="90"/>
                </a:cubicBezTo>
                <a:cubicBezTo>
                  <a:pt x="0" y="822"/>
                  <a:pt x="0" y="822"/>
                  <a:pt x="0" y="822"/>
                </a:cubicBezTo>
                <a:cubicBezTo>
                  <a:pt x="0" y="872"/>
                  <a:pt x="40" y="912"/>
                  <a:pt x="90" y="912"/>
                </a:cubicBezTo>
                <a:cubicBezTo>
                  <a:pt x="2288" y="912"/>
                  <a:pt x="2288" y="912"/>
                  <a:pt x="2288" y="912"/>
                </a:cubicBezTo>
                <a:cubicBezTo>
                  <a:pt x="2338" y="912"/>
                  <a:pt x="2378" y="872"/>
                  <a:pt x="2378" y="822"/>
                </a:cubicBezTo>
                <a:cubicBezTo>
                  <a:pt x="2378" y="90"/>
                  <a:pt x="2378" y="90"/>
                  <a:pt x="2378" y="90"/>
                </a:cubicBezTo>
                <a:cubicBezTo>
                  <a:pt x="2378" y="40"/>
                  <a:pt x="2338" y="0"/>
                  <a:pt x="2288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12" name="Freeform 314">
            <a:extLst>
              <a:ext uri="{FF2B5EF4-FFF2-40B4-BE49-F238E27FC236}">
                <a16:creationId xmlns:a16="http://schemas.microsoft.com/office/drawing/2014/main" id="{ACD6BE32-C62B-4761-A542-F61FC80D6C83}"/>
              </a:ext>
            </a:extLst>
          </p:cNvPr>
          <p:cNvSpPr>
            <a:spLocks/>
          </p:cNvSpPr>
          <p:nvPr/>
        </p:nvSpPr>
        <p:spPr bwMode="auto">
          <a:xfrm>
            <a:off x="3842626" y="1959760"/>
            <a:ext cx="457368" cy="456884"/>
          </a:xfrm>
          <a:custGeom>
            <a:avLst/>
            <a:gdLst>
              <a:gd name="T0" fmla="*/ 362 w 699"/>
              <a:gd name="T1" fmla="*/ 7 h 699"/>
              <a:gd name="T2" fmla="*/ 692 w 699"/>
              <a:gd name="T3" fmla="*/ 362 h 699"/>
              <a:gd name="T4" fmla="*/ 337 w 699"/>
              <a:gd name="T5" fmla="*/ 692 h 699"/>
              <a:gd name="T6" fmla="*/ 7 w 699"/>
              <a:gd name="T7" fmla="*/ 337 h 699"/>
              <a:gd name="T8" fmla="*/ 362 w 699"/>
              <a:gd name="T9" fmla="*/ 7 h 6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99" h="699">
                <a:moveTo>
                  <a:pt x="362" y="7"/>
                </a:moveTo>
                <a:cubicBezTo>
                  <a:pt x="551" y="13"/>
                  <a:pt x="699" y="172"/>
                  <a:pt x="692" y="362"/>
                </a:cubicBezTo>
                <a:cubicBezTo>
                  <a:pt x="685" y="551"/>
                  <a:pt x="526" y="699"/>
                  <a:pt x="337" y="692"/>
                </a:cubicBezTo>
                <a:cubicBezTo>
                  <a:pt x="148" y="685"/>
                  <a:pt x="0" y="526"/>
                  <a:pt x="7" y="337"/>
                </a:cubicBezTo>
                <a:cubicBezTo>
                  <a:pt x="14" y="148"/>
                  <a:pt x="173" y="0"/>
                  <a:pt x="362" y="7"/>
                </a:cubicBezTo>
                <a:close/>
              </a:path>
            </a:pathLst>
          </a:custGeom>
          <a:solidFill>
            <a:srgbClr val="FFE3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13" name="Freeform 315">
            <a:extLst>
              <a:ext uri="{FF2B5EF4-FFF2-40B4-BE49-F238E27FC236}">
                <a16:creationId xmlns:a16="http://schemas.microsoft.com/office/drawing/2014/main" id="{FC0223B6-27A9-4CC7-942A-E583A696510C}"/>
              </a:ext>
            </a:extLst>
          </p:cNvPr>
          <p:cNvSpPr>
            <a:spLocks/>
          </p:cNvSpPr>
          <p:nvPr/>
        </p:nvSpPr>
        <p:spPr bwMode="auto">
          <a:xfrm>
            <a:off x="3857146" y="1973796"/>
            <a:ext cx="428329" cy="428813"/>
          </a:xfrm>
          <a:custGeom>
            <a:avLst/>
            <a:gdLst>
              <a:gd name="T0" fmla="*/ 339 w 655"/>
              <a:gd name="T1" fmla="*/ 6 h 655"/>
              <a:gd name="T2" fmla="*/ 649 w 655"/>
              <a:gd name="T3" fmla="*/ 339 h 655"/>
              <a:gd name="T4" fmla="*/ 316 w 655"/>
              <a:gd name="T5" fmla="*/ 649 h 655"/>
              <a:gd name="T6" fmla="*/ 6 w 655"/>
              <a:gd name="T7" fmla="*/ 316 h 655"/>
              <a:gd name="T8" fmla="*/ 339 w 655"/>
              <a:gd name="T9" fmla="*/ 6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5" h="655">
                <a:moveTo>
                  <a:pt x="339" y="6"/>
                </a:moveTo>
                <a:cubicBezTo>
                  <a:pt x="516" y="12"/>
                  <a:pt x="655" y="161"/>
                  <a:pt x="649" y="339"/>
                </a:cubicBezTo>
                <a:cubicBezTo>
                  <a:pt x="642" y="516"/>
                  <a:pt x="493" y="655"/>
                  <a:pt x="316" y="649"/>
                </a:cubicBezTo>
                <a:cubicBezTo>
                  <a:pt x="138" y="642"/>
                  <a:pt x="0" y="493"/>
                  <a:pt x="6" y="316"/>
                </a:cubicBezTo>
                <a:cubicBezTo>
                  <a:pt x="12" y="138"/>
                  <a:pt x="162" y="0"/>
                  <a:pt x="339" y="6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14" name="Freeform 316">
            <a:extLst>
              <a:ext uri="{FF2B5EF4-FFF2-40B4-BE49-F238E27FC236}">
                <a16:creationId xmlns:a16="http://schemas.microsoft.com/office/drawing/2014/main" id="{13218C9B-EC11-43C1-92B3-EE3394BE160C}"/>
              </a:ext>
            </a:extLst>
          </p:cNvPr>
          <p:cNvSpPr>
            <a:spLocks/>
          </p:cNvSpPr>
          <p:nvPr/>
        </p:nvSpPr>
        <p:spPr bwMode="auto">
          <a:xfrm>
            <a:off x="3909416" y="2026067"/>
            <a:ext cx="323788" cy="323304"/>
          </a:xfrm>
          <a:custGeom>
            <a:avLst/>
            <a:gdLst>
              <a:gd name="T0" fmla="*/ 256 w 495"/>
              <a:gd name="T1" fmla="*/ 5 h 494"/>
              <a:gd name="T2" fmla="*/ 490 w 495"/>
              <a:gd name="T3" fmla="*/ 256 h 494"/>
              <a:gd name="T4" fmla="*/ 239 w 495"/>
              <a:gd name="T5" fmla="*/ 490 h 494"/>
              <a:gd name="T6" fmla="*/ 5 w 495"/>
              <a:gd name="T7" fmla="*/ 238 h 494"/>
              <a:gd name="T8" fmla="*/ 256 w 495"/>
              <a:gd name="T9" fmla="*/ 5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5" h="494">
                <a:moveTo>
                  <a:pt x="256" y="5"/>
                </a:moveTo>
                <a:cubicBezTo>
                  <a:pt x="390" y="10"/>
                  <a:pt x="495" y="122"/>
                  <a:pt x="490" y="256"/>
                </a:cubicBezTo>
                <a:cubicBezTo>
                  <a:pt x="485" y="390"/>
                  <a:pt x="372" y="494"/>
                  <a:pt x="239" y="490"/>
                </a:cubicBezTo>
                <a:cubicBezTo>
                  <a:pt x="105" y="485"/>
                  <a:pt x="0" y="372"/>
                  <a:pt x="5" y="238"/>
                </a:cubicBezTo>
                <a:cubicBezTo>
                  <a:pt x="10" y="105"/>
                  <a:pt x="122" y="0"/>
                  <a:pt x="256" y="5"/>
                </a:cubicBezTo>
                <a:close/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15" name="Freeform 317">
            <a:extLst>
              <a:ext uri="{FF2B5EF4-FFF2-40B4-BE49-F238E27FC236}">
                <a16:creationId xmlns:a16="http://schemas.microsoft.com/office/drawing/2014/main" id="{BDD2CB32-751D-4E30-9B23-EBD9F12DD28D}"/>
              </a:ext>
            </a:extLst>
          </p:cNvPr>
          <p:cNvSpPr>
            <a:spLocks/>
          </p:cNvSpPr>
          <p:nvPr/>
        </p:nvSpPr>
        <p:spPr bwMode="auto">
          <a:xfrm>
            <a:off x="4001374" y="2070593"/>
            <a:ext cx="131161" cy="242962"/>
          </a:xfrm>
          <a:custGeom>
            <a:avLst/>
            <a:gdLst>
              <a:gd name="T0" fmla="*/ 199 w 200"/>
              <a:gd name="T1" fmla="*/ 238 h 371"/>
              <a:gd name="T2" fmla="*/ 128 w 200"/>
              <a:gd name="T3" fmla="*/ 155 h 371"/>
              <a:gd name="T4" fmla="*/ 84 w 200"/>
              <a:gd name="T5" fmla="*/ 122 h 371"/>
              <a:gd name="T6" fmla="*/ 114 w 200"/>
              <a:gd name="T7" fmla="*/ 102 h 371"/>
              <a:gd name="T8" fmla="*/ 166 w 200"/>
              <a:gd name="T9" fmla="*/ 124 h 371"/>
              <a:gd name="T10" fmla="*/ 197 w 200"/>
              <a:gd name="T11" fmla="*/ 90 h 371"/>
              <a:gd name="T12" fmla="*/ 136 w 200"/>
              <a:gd name="T13" fmla="*/ 57 h 371"/>
              <a:gd name="T14" fmla="*/ 138 w 200"/>
              <a:gd name="T15" fmla="*/ 2 h 371"/>
              <a:gd name="T16" fmla="*/ 92 w 200"/>
              <a:gd name="T17" fmla="*/ 0 h 371"/>
              <a:gd name="T18" fmla="*/ 90 w 200"/>
              <a:gd name="T19" fmla="*/ 55 h 371"/>
              <a:gd name="T20" fmla="*/ 16 w 200"/>
              <a:gd name="T21" fmla="*/ 124 h 371"/>
              <a:gd name="T22" fmla="*/ 89 w 200"/>
              <a:gd name="T23" fmla="*/ 205 h 371"/>
              <a:gd name="T24" fmla="*/ 130 w 200"/>
              <a:gd name="T25" fmla="*/ 241 h 371"/>
              <a:gd name="T26" fmla="*/ 94 w 200"/>
              <a:gd name="T27" fmla="*/ 266 h 371"/>
              <a:gd name="T28" fmla="*/ 34 w 200"/>
              <a:gd name="T29" fmla="*/ 239 h 371"/>
              <a:gd name="T30" fmla="*/ 0 w 200"/>
              <a:gd name="T31" fmla="*/ 274 h 371"/>
              <a:gd name="T32" fmla="*/ 80 w 200"/>
              <a:gd name="T33" fmla="*/ 312 h 371"/>
              <a:gd name="T34" fmla="*/ 78 w 200"/>
              <a:gd name="T35" fmla="*/ 370 h 371"/>
              <a:gd name="T36" fmla="*/ 125 w 200"/>
              <a:gd name="T37" fmla="*/ 371 h 371"/>
              <a:gd name="T38" fmla="*/ 127 w 200"/>
              <a:gd name="T39" fmla="*/ 312 h 371"/>
              <a:gd name="T40" fmla="*/ 199 w 200"/>
              <a:gd name="T41" fmla="*/ 238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00" h="371">
                <a:moveTo>
                  <a:pt x="199" y="238"/>
                </a:moveTo>
                <a:cubicBezTo>
                  <a:pt x="200" y="193"/>
                  <a:pt x="176" y="171"/>
                  <a:pt x="128" y="155"/>
                </a:cubicBezTo>
                <a:cubicBezTo>
                  <a:pt x="92" y="141"/>
                  <a:pt x="83" y="136"/>
                  <a:pt x="84" y="122"/>
                </a:cubicBezTo>
                <a:cubicBezTo>
                  <a:pt x="84" y="108"/>
                  <a:pt x="95" y="101"/>
                  <a:pt x="114" y="102"/>
                </a:cubicBezTo>
                <a:cubicBezTo>
                  <a:pt x="134" y="103"/>
                  <a:pt x="151" y="110"/>
                  <a:pt x="166" y="124"/>
                </a:cubicBezTo>
                <a:cubicBezTo>
                  <a:pt x="197" y="90"/>
                  <a:pt x="197" y="90"/>
                  <a:pt x="197" y="90"/>
                </a:cubicBezTo>
                <a:cubicBezTo>
                  <a:pt x="182" y="74"/>
                  <a:pt x="162" y="62"/>
                  <a:pt x="136" y="57"/>
                </a:cubicBezTo>
                <a:cubicBezTo>
                  <a:pt x="138" y="2"/>
                  <a:pt x="138" y="2"/>
                  <a:pt x="138" y="2"/>
                </a:cubicBezTo>
                <a:cubicBezTo>
                  <a:pt x="92" y="0"/>
                  <a:pt x="92" y="0"/>
                  <a:pt x="92" y="0"/>
                </a:cubicBezTo>
                <a:cubicBezTo>
                  <a:pt x="90" y="55"/>
                  <a:pt x="90" y="55"/>
                  <a:pt x="90" y="55"/>
                </a:cubicBezTo>
                <a:cubicBezTo>
                  <a:pt x="48" y="61"/>
                  <a:pt x="18" y="86"/>
                  <a:pt x="16" y="124"/>
                </a:cubicBezTo>
                <a:cubicBezTo>
                  <a:pt x="15" y="160"/>
                  <a:pt x="33" y="185"/>
                  <a:pt x="89" y="205"/>
                </a:cubicBezTo>
                <a:cubicBezTo>
                  <a:pt x="123" y="217"/>
                  <a:pt x="131" y="224"/>
                  <a:pt x="130" y="241"/>
                </a:cubicBezTo>
                <a:cubicBezTo>
                  <a:pt x="130" y="256"/>
                  <a:pt x="117" y="266"/>
                  <a:pt x="94" y="266"/>
                </a:cubicBezTo>
                <a:cubicBezTo>
                  <a:pt x="71" y="265"/>
                  <a:pt x="51" y="255"/>
                  <a:pt x="34" y="239"/>
                </a:cubicBezTo>
                <a:cubicBezTo>
                  <a:pt x="0" y="274"/>
                  <a:pt x="0" y="274"/>
                  <a:pt x="0" y="274"/>
                </a:cubicBezTo>
                <a:cubicBezTo>
                  <a:pt x="18" y="292"/>
                  <a:pt x="44" y="308"/>
                  <a:pt x="80" y="312"/>
                </a:cubicBezTo>
                <a:cubicBezTo>
                  <a:pt x="78" y="370"/>
                  <a:pt x="78" y="370"/>
                  <a:pt x="78" y="370"/>
                </a:cubicBezTo>
                <a:cubicBezTo>
                  <a:pt x="125" y="371"/>
                  <a:pt x="125" y="371"/>
                  <a:pt x="125" y="371"/>
                </a:cubicBezTo>
                <a:cubicBezTo>
                  <a:pt x="127" y="312"/>
                  <a:pt x="127" y="312"/>
                  <a:pt x="127" y="312"/>
                </a:cubicBezTo>
                <a:cubicBezTo>
                  <a:pt x="171" y="304"/>
                  <a:pt x="197" y="276"/>
                  <a:pt x="199" y="238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16" name="Freeform 318">
            <a:extLst>
              <a:ext uri="{FF2B5EF4-FFF2-40B4-BE49-F238E27FC236}">
                <a16:creationId xmlns:a16="http://schemas.microsoft.com/office/drawing/2014/main" id="{E291DF02-E800-460D-B180-5F887DAEC138}"/>
              </a:ext>
            </a:extLst>
          </p:cNvPr>
          <p:cNvSpPr>
            <a:spLocks/>
          </p:cNvSpPr>
          <p:nvPr/>
        </p:nvSpPr>
        <p:spPr bwMode="auto">
          <a:xfrm>
            <a:off x="4353233" y="1987831"/>
            <a:ext cx="876018" cy="28072"/>
          </a:xfrm>
          <a:custGeom>
            <a:avLst/>
            <a:gdLst>
              <a:gd name="T0" fmla="*/ 1318 w 1339"/>
              <a:gd name="T1" fmla="*/ 43 h 43"/>
              <a:gd name="T2" fmla="*/ 21 w 1339"/>
              <a:gd name="T3" fmla="*/ 43 h 43"/>
              <a:gd name="T4" fmla="*/ 0 w 1339"/>
              <a:gd name="T5" fmla="*/ 22 h 43"/>
              <a:gd name="T6" fmla="*/ 21 w 1339"/>
              <a:gd name="T7" fmla="*/ 0 h 43"/>
              <a:gd name="T8" fmla="*/ 1318 w 1339"/>
              <a:gd name="T9" fmla="*/ 0 h 43"/>
              <a:gd name="T10" fmla="*/ 1339 w 1339"/>
              <a:gd name="T11" fmla="*/ 22 h 43"/>
              <a:gd name="T12" fmla="*/ 1318 w 1339"/>
              <a:gd name="T13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9" h="43">
                <a:moveTo>
                  <a:pt x="1318" y="43"/>
                </a:moveTo>
                <a:cubicBezTo>
                  <a:pt x="21" y="43"/>
                  <a:pt x="21" y="43"/>
                  <a:pt x="21" y="43"/>
                </a:cubicBezTo>
                <a:cubicBezTo>
                  <a:pt x="10" y="43"/>
                  <a:pt x="0" y="33"/>
                  <a:pt x="0" y="22"/>
                </a:cubicBezTo>
                <a:cubicBezTo>
                  <a:pt x="0" y="10"/>
                  <a:pt x="10" y="0"/>
                  <a:pt x="21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330" y="0"/>
                  <a:pt x="1339" y="10"/>
                  <a:pt x="1339" y="22"/>
                </a:cubicBezTo>
                <a:cubicBezTo>
                  <a:pt x="1339" y="33"/>
                  <a:pt x="1330" y="43"/>
                  <a:pt x="1318" y="4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17" name="Freeform 319">
            <a:extLst>
              <a:ext uri="{FF2B5EF4-FFF2-40B4-BE49-F238E27FC236}">
                <a16:creationId xmlns:a16="http://schemas.microsoft.com/office/drawing/2014/main" id="{3C6EB7C9-3BFD-421C-AFE6-EA75A4C41350}"/>
              </a:ext>
            </a:extLst>
          </p:cNvPr>
          <p:cNvSpPr>
            <a:spLocks/>
          </p:cNvSpPr>
          <p:nvPr/>
        </p:nvSpPr>
        <p:spPr bwMode="auto">
          <a:xfrm>
            <a:off x="4353233" y="2147547"/>
            <a:ext cx="876018" cy="27104"/>
          </a:xfrm>
          <a:custGeom>
            <a:avLst/>
            <a:gdLst>
              <a:gd name="T0" fmla="*/ 1318 w 1339"/>
              <a:gd name="T1" fmla="*/ 42 h 42"/>
              <a:gd name="T2" fmla="*/ 21 w 1339"/>
              <a:gd name="T3" fmla="*/ 42 h 42"/>
              <a:gd name="T4" fmla="*/ 0 w 1339"/>
              <a:gd name="T5" fmla="*/ 21 h 42"/>
              <a:gd name="T6" fmla="*/ 21 w 1339"/>
              <a:gd name="T7" fmla="*/ 0 h 42"/>
              <a:gd name="T8" fmla="*/ 1318 w 1339"/>
              <a:gd name="T9" fmla="*/ 0 h 42"/>
              <a:gd name="T10" fmla="*/ 1339 w 1339"/>
              <a:gd name="T11" fmla="*/ 21 h 42"/>
              <a:gd name="T12" fmla="*/ 1318 w 1339"/>
              <a:gd name="T13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9" h="42">
                <a:moveTo>
                  <a:pt x="1318" y="42"/>
                </a:moveTo>
                <a:cubicBezTo>
                  <a:pt x="21" y="42"/>
                  <a:pt x="21" y="42"/>
                  <a:pt x="21" y="42"/>
                </a:cubicBezTo>
                <a:cubicBezTo>
                  <a:pt x="10" y="42"/>
                  <a:pt x="0" y="32"/>
                  <a:pt x="0" y="21"/>
                </a:cubicBezTo>
                <a:cubicBezTo>
                  <a:pt x="0" y="9"/>
                  <a:pt x="10" y="0"/>
                  <a:pt x="21" y="0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330" y="0"/>
                  <a:pt x="1339" y="9"/>
                  <a:pt x="1339" y="21"/>
                </a:cubicBezTo>
                <a:cubicBezTo>
                  <a:pt x="1339" y="32"/>
                  <a:pt x="1330" y="42"/>
                  <a:pt x="1318" y="42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18" name="Freeform 320">
            <a:extLst>
              <a:ext uri="{FF2B5EF4-FFF2-40B4-BE49-F238E27FC236}">
                <a16:creationId xmlns:a16="http://schemas.microsoft.com/office/drawing/2014/main" id="{357032E4-6A58-4773-968D-C54E4AA7064B}"/>
              </a:ext>
            </a:extLst>
          </p:cNvPr>
          <p:cNvSpPr>
            <a:spLocks/>
          </p:cNvSpPr>
          <p:nvPr/>
        </p:nvSpPr>
        <p:spPr bwMode="auto">
          <a:xfrm>
            <a:off x="4353233" y="2306295"/>
            <a:ext cx="450109" cy="27588"/>
          </a:xfrm>
          <a:custGeom>
            <a:avLst/>
            <a:gdLst>
              <a:gd name="T0" fmla="*/ 677 w 688"/>
              <a:gd name="T1" fmla="*/ 42 h 42"/>
              <a:gd name="T2" fmla="*/ 11 w 688"/>
              <a:gd name="T3" fmla="*/ 42 h 42"/>
              <a:gd name="T4" fmla="*/ 0 w 688"/>
              <a:gd name="T5" fmla="*/ 21 h 42"/>
              <a:gd name="T6" fmla="*/ 11 w 688"/>
              <a:gd name="T7" fmla="*/ 0 h 42"/>
              <a:gd name="T8" fmla="*/ 677 w 688"/>
              <a:gd name="T9" fmla="*/ 0 h 42"/>
              <a:gd name="T10" fmla="*/ 688 w 688"/>
              <a:gd name="T11" fmla="*/ 21 h 42"/>
              <a:gd name="T12" fmla="*/ 677 w 688"/>
              <a:gd name="T13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88" h="42">
                <a:moveTo>
                  <a:pt x="677" y="42"/>
                </a:moveTo>
                <a:cubicBezTo>
                  <a:pt x="11" y="42"/>
                  <a:pt x="11" y="42"/>
                  <a:pt x="11" y="42"/>
                </a:cubicBezTo>
                <a:cubicBezTo>
                  <a:pt x="5" y="42"/>
                  <a:pt x="0" y="32"/>
                  <a:pt x="0" y="21"/>
                </a:cubicBezTo>
                <a:cubicBezTo>
                  <a:pt x="0" y="9"/>
                  <a:pt x="5" y="0"/>
                  <a:pt x="11" y="0"/>
                </a:cubicBezTo>
                <a:cubicBezTo>
                  <a:pt x="677" y="0"/>
                  <a:pt x="677" y="0"/>
                  <a:pt x="677" y="0"/>
                </a:cubicBezTo>
                <a:cubicBezTo>
                  <a:pt x="683" y="0"/>
                  <a:pt x="688" y="9"/>
                  <a:pt x="688" y="21"/>
                </a:cubicBezTo>
                <a:cubicBezTo>
                  <a:pt x="688" y="32"/>
                  <a:pt x="683" y="42"/>
                  <a:pt x="677" y="42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19" name="Freeform 321">
            <a:extLst>
              <a:ext uri="{FF2B5EF4-FFF2-40B4-BE49-F238E27FC236}">
                <a16:creationId xmlns:a16="http://schemas.microsoft.com/office/drawing/2014/main" id="{99BE87C5-B2D1-4091-98E2-D51681A23066}"/>
              </a:ext>
            </a:extLst>
          </p:cNvPr>
          <p:cNvSpPr>
            <a:spLocks noEditPoints="1"/>
          </p:cNvSpPr>
          <p:nvPr/>
        </p:nvSpPr>
        <p:spPr bwMode="auto">
          <a:xfrm>
            <a:off x="3877957" y="2602012"/>
            <a:ext cx="995563" cy="398322"/>
          </a:xfrm>
          <a:custGeom>
            <a:avLst/>
            <a:gdLst>
              <a:gd name="T0" fmla="*/ 1460 w 1522"/>
              <a:gd name="T1" fmla="*/ 591 h 609"/>
              <a:gd name="T2" fmla="*/ 1504 w 1522"/>
              <a:gd name="T3" fmla="*/ 562 h 609"/>
              <a:gd name="T4" fmla="*/ 1504 w 1522"/>
              <a:gd name="T5" fmla="*/ 609 h 609"/>
              <a:gd name="T6" fmla="*/ 1365 w 1522"/>
              <a:gd name="T7" fmla="*/ 609 h 609"/>
              <a:gd name="T8" fmla="*/ 1403 w 1522"/>
              <a:gd name="T9" fmla="*/ 573 h 609"/>
              <a:gd name="T10" fmla="*/ 1290 w 1522"/>
              <a:gd name="T11" fmla="*/ 609 h 609"/>
              <a:gd name="T12" fmla="*/ 1235 w 1522"/>
              <a:gd name="T13" fmla="*/ 591 h 609"/>
              <a:gd name="T14" fmla="*/ 1309 w 1522"/>
              <a:gd name="T15" fmla="*/ 591 h 609"/>
              <a:gd name="T16" fmla="*/ 1178 w 1522"/>
              <a:gd name="T17" fmla="*/ 609 h 609"/>
              <a:gd name="T18" fmla="*/ 1141 w 1522"/>
              <a:gd name="T19" fmla="*/ 573 h 609"/>
              <a:gd name="T20" fmla="*/ 1178 w 1522"/>
              <a:gd name="T21" fmla="*/ 609 h 609"/>
              <a:gd name="T22" fmla="*/ 1028 w 1522"/>
              <a:gd name="T23" fmla="*/ 609 h 609"/>
              <a:gd name="T24" fmla="*/ 1066 w 1522"/>
              <a:gd name="T25" fmla="*/ 573 h 609"/>
              <a:gd name="T26" fmla="*/ 953 w 1522"/>
              <a:gd name="T27" fmla="*/ 609 h 609"/>
              <a:gd name="T28" fmla="*/ 898 w 1522"/>
              <a:gd name="T29" fmla="*/ 591 h 609"/>
              <a:gd name="T30" fmla="*/ 972 w 1522"/>
              <a:gd name="T31" fmla="*/ 591 h 609"/>
              <a:gd name="T32" fmla="*/ 841 w 1522"/>
              <a:gd name="T33" fmla="*/ 609 h 609"/>
              <a:gd name="T34" fmla="*/ 804 w 1522"/>
              <a:gd name="T35" fmla="*/ 573 h 609"/>
              <a:gd name="T36" fmla="*/ 841 w 1522"/>
              <a:gd name="T37" fmla="*/ 609 h 609"/>
              <a:gd name="T38" fmla="*/ 691 w 1522"/>
              <a:gd name="T39" fmla="*/ 609 h 609"/>
              <a:gd name="T40" fmla="*/ 729 w 1522"/>
              <a:gd name="T41" fmla="*/ 573 h 609"/>
              <a:gd name="T42" fmla="*/ 616 w 1522"/>
              <a:gd name="T43" fmla="*/ 609 h 609"/>
              <a:gd name="T44" fmla="*/ 561 w 1522"/>
              <a:gd name="T45" fmla="*/ 591 h 609"/>
              <a:gd name="T46" fmla="*/ 634 w 1522"/>
              <a:gd name="T47" fmla="*/ 591 h 609"/>
              <a:gd name="T48" fmla="*/ 504 w 1522"/>
              <a:gd name="T49" fmla="*/ 609 h 609"/>
              <a:gd name="T50" fmla="*/ 466 w 1522"/>
              <a:gd name="T51" fmla="*/ 573 h 609"/>
              <a:gd name="T52" fmla="*/ 504 w 1522"/>
              <a:gd name="T53" fmla="*/ 609 h 609"/>
              <a:gd name="T54" fmla="*/ 354 w 1522"/>
              <a:gd name="T55" fmla="*/ 609 h 609"/>
              <a:gd name="T56" fmla="*/ 391 w 1522"/>
              <a:gd name="T57" fmla="*/ 573 h 609"/>
              <a:gd name="T58" fmla="*/ 279 w 1522"/>
              <a:gd name="T59" fmla="*/ 609 h 609"/>
              <a:gd name="T60" fmla="*/ 223 w 1522"/>
              <a:gd name="T61" fmla="*/ 591 h 609"/>
              <a:gd name="T62" fmla="*/ 297 w 1522"/>
              <a:gd name="T63" fmla="*/ 591 h 609"/>
              <a:gd name="T64" fmla="*/ 167 w 1522"/>
              <a:gd name="T65" fmla="*/ 609 h 609"/>
              <a:gd name="T66" fmla="*/ 129 w 1522"/>
              <a:gd name="T67" fmla="*/ 573 h 609"/>
              <a:gd name="T68" fmla="*/ 167 w 1522"/>
              <a:gd name="T69" fmla="*/ 609 h 609"/>
              <a:gd name="T70" fmla="*/ 19 w 1522"/>
              <a:gd name="T71" fmla="*/ 609 h 609"/>
              <a:gd name="T72" fmla="*/ 19 w 1522"/>
              <a:gd name="T73" fmla="*/ 571 h 609"/>
              <a:gd name="T74" fmla="*/ 73 w 1522"/>
              <a:gd name="T75" fmla="*/ 591 h 609"/>
              <a:gd name="T76" fmla="*/ 19 w 1522"/>
              <a:gd name="T77" fmla="*/ 533 h 609"/>
              <a:gd name="T78" fmla="*/ 19 w 1522"/>
              <a:gd name="T79" fmla="*/ 459 h 609"/>
              <a:gd name="T80" fmla="*/ 19 w 1522"/>
              <a:gd name="T81" fmla="*/ 533 h 609"/>
              <a:gd name="T82" fmla="*/ 1486 w 1522"/>
              <a:gd name="T83" fmla="*/ 505 h 609"/>
              <a:gd name="T84" fmla="*/ 1522 w 1522"/>
              <a:gd name="T85" fmla="*/ 467 h 609"/>
              <a:gd name="T86" fmla="*/ 1504 w 1522"/>
              <a:gd name="T87" fmla="*/ 411 h 609"/>
              <a:gd name="T88" fmla="*/ 1486 w 1522"/>
              <a:gd name="T89" fmla="*/ 355 h 609"/>
              <a:gd name="T90" fmla="*/ 1522 w 1522"/>
              <a:gd name="T91" fmla="*/ 392 h 609"/>
              <a:gd name="T92" fmla="*/ 1504 w 1522"/>
              <a:gd name="T93" fmla="*/ 298 h 609"/>
              <a:gd name="T94" fmla="*/ 1504 w 1522"/>
              <a:gd name="T95" fmla="*/ 224 h 609"/>
              <a:gd name="T96" fmla="*/ 1504 w 1522"/>
              <a:gd name="T97" fmla="*/ 298 h 609"/>
              <a:gd name="T98" fmla="*/ 1486 w 1522"/>
              <a:gd name="T99" fmla="*/ 168 h 609"/>
              <a:gd name="T100" fmla="*/ 1522 w 1522"/>
              <a:gd name="T101" fmla="*/ 130 h 609"/>
              <a:gd name="T102" fmla="*/ 1504 w 1522"/>
              <a:gd name="T103" fmla="*/ 74 h 609"/>
              <a:gd name="T104" fmla="*/ 1486 w 1522"/>
              <a:gd name="T105" fmla="*/ 18 h 609"/>
              <a:gd name="T106" fmla="*/ 1522 w 1522"/>
              <a:gd name="T107" fmla="*/ 55 h 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22" h="609">
                <a:moveTo>
                  <a:pt x="1504" y="609"/>
                </a:moveTo>
                <a:cubicBezTo>
                  <a:pt x="1478" y="609"/>
                  <a:pt x="1478" y="609"/>
                  <a:pt x="1478" y="609"/>
                </a:cubicBezTo>
                <a:cubicBezTo>
                  <a:pt x="1468" y="609"/>
                  <a:pt x="1460" y="601"/>
                  <a:pt x="1460" y="591"/>
                </a:cubicBezTo>
                <a:cubicBezTo>
                  <a:pt x="1460" y="581"/>
                  <a:pt x="1468" y="573"/>
                  <a:pt x="1478" y="573"/>
                </a:cubicBezTo>
                <a:cubicBezTo>
                  <a:pt x="1487" y="573"/>
                  <a:pt x="1487" y="573"/>
                  <a:pt x="1487" y="573"/>
                </a:cubicBezTo>
                <a:cubicBezTo>
                  <a:pt x="1490" y="566"/>
                  <a:pt x="1496" y="562"/>
                  <a:pt x="1504" y="562"/>
                </a:cubicBezTo>
                <a:cubicBezTo>
                  <a:pt x="1514" y="562"/>
                  <a:pt x="1522" y="570"/>
                  <a:pt x="1522" y="580"/>
                </a:cubicBezTo>
                <a:cubicBezTo>
                  <a:pt x="1522" y="591"/>
                  <a:pt x="1522" y="591"/>
                  <a:pt x="1522" y="591"/>
                </a:cubicBezTo>
                <a:cubicBezTo>
                  <a:pt x="1522" y="601"/>
                  <a:pt x="1514" y="609"/>
                  <a:pt x="1504" y="609"/>
                </a:cubicBezTo>
                <a:close/>
                <a:moveTo>
                  <a:pt x="1403" y="609"/>
                </a:moveTo>
                <a:cubicBezTo>
                  <a:pt x="1403" y="609"/>
                  <a:pt x="1403" y="609"/>
                  <a:pt x="1403" y="609"/>
                </a:cubicBezTo>
                <a:cubicBezTo>
                  <a:pt x="1365" y="609"/>
                  <a:pt x="1365" y="609"/>
                  <a:pt x="1365" y="609"/>
                </a:cubicBezTo>
                <a:cubicBezTo>
                  <a:pt x="1355" y="609"/>
                  <a:pt x="1347" y="601"/>
                  <a:pt x="1347" y="591"/>
                </a:cubicBezTo>
                <a:cubicBezTo>
                  <a:pt x="1347" y="581"/>
                  <a:pt x="1355" y="573"/>
                  <a:pt x="1365" y="573"/>
                </a:cubicBezTo>
                <a:cubicBezTo>
                  <a:pt x="1403" y="573"/>
                  <a:pt x="1403" y="573"/>
                  <a:pt x="1403" y="573"/>
                </a:cubicBezTo>
                <a:cubicBezTo>
                  <a:pt x="1413" y="573"/>
                  <a:pt x="1421" y="581"/>
                  <a:pt x="1421" y="591"/>
                </a:cubicBezTo>
                <a:cubicBezTo>
                  <a:pt x="1421" y="601"/>
                  <a:pt x="1413" y="609"/>
                  <a:pt x="1403" y="609"/>
                </a:cubicBezTo>
                <a:close/>
                <a:moveTo>
                  <a:pt x="1290" y="609"/>
                </a:moveTo>
                <a:cubicBezTo>
                  <a:pt x="1290" y="609"/>
                  <a:pt x="1290" y="609"/>
                  <a:pt x="1290" y="609"/>
                </a:cubicBezTo>
                <a:cubicBezTo>
                  <a:pt x="1253" y="609"/>
                  <a:pt x="1253" y="609"/>
                  <a:pt x="1253" y="609"/>
                </a:cubicBezTo>
                <a:cubicBezTo>
                  <a:pt x="1243" y="609"/>
                  <a:pt x="1235" y="601"/>
                  <a:pt x="1235" y="591"/>
                </a:cubicBezTo>
                <a:cubicBezTo>
                  <a:pt x="1235" y="581"/>
                  <a:pt x="1243" y="573"/>
                  <a:pt x="1253" y="573"/>
                </a:cubicBezTo>
                <a:cubicBezTo>
                  <a:pt x="1290" y="573"/>
                  <a:pt x="1290" y="573"/>
                  <a:pt x="1290" y="573"/>
                </a:cubicBezTo>
                <a:cubicBezTo>
                  <a:pt x="1301" y="573"/>
                  <a:pt x="1309" y="581"/>
                  <a:pt x="1309" y="591"/>
                </a:cubicBezTo>
                <a:cubicBezTo>
                  <a:pt x="1309" y="601"/>
                  <a:pt x="1301" y="609"/>
                  <a:pt x="1290" y="609"/>
                </a:cubicBezTo>
                <a:close/>
                <a:moveTo>
                  <a:pt x="1178" y="609"/>
                </a:moveTo>
                <a:cubicBezTo>
                  <a:pt x="1178" y="609"/>
                  <a:pt x="1178" y="609"/>
                  <a:pt x="1178" y="609"/>
                </a:cubicBezTo>
                <a:cubicBezTo>
                  <a:pt x="1141" y="609"/>
                  <a:pt x="1141" y="609"/>
                  <a:pt x="1141" y="609"/>
                </a:cubicBezTo>
                <a:cubicBezTo>
                  <a:pt x="1131" y="609"/>
                  <a:pt x="1122" y="601"/>
                  <a:pt x="1122" y="591"/>
                </a:cubicBezTo>
                <a:cubicBezTo>
                  <a:pt x="1122" y="581"/>
                  <a:pt x="1131" y="573"/>
                  <a:pt x="1141" y="573"/>
                </a:cubicBezTo>
                <a:cubicBezTo>
                  <a:pt x="1178" y="573"/>
                  <a:pt x="1178" y="573"/>
                  <a:pt x="1178" y="573"/>
                </a:cubicBezTo>
                <a:cubicBezTo>
                  <a:pt x="1188" y="573"/>
                  <a:pt x="1196" y="581"/>
                  <a:pt x="1196" y="591"/>
                </a:cubicBezTo>
                <a:cubicBezTo>
                  <a:pt x="1196" y="601"/>
                  <a:pt x="1188" y="609"/>
                  <a:pt x="1178" y="609"/>
                </a:cubicBezTo>
                <a:close/>
                <a:moveTo>
                  <a:pt x="1066" y="609"/>
                </a:moveTo>
                <a:cubicBezTo>
                  <a:pt x="1066" y="609"/>
                  <a:pt x="1066" y="609"/>
                  <a:pt x="1066" y="609"/>
                </a:cubicBezTo>
                <a:cubicBezTo>
                  <a:pt x="1028" y="609"/>
                  <a:pt x="1028" y="609"/>
                  <a:pt x="1028" y="609"/>
                </a:cubicBezTo>
                <a:cubicBezTo>
                  <a:pt x="1018" y="609"/>
                  <a:pt x="1010" y="601"/>
                  <a:pt x="1010" y="591"/>
                </a:cubicBezTo>
                <a:cubicBezTo>
                  <a:pt x="1010" y="581"/>
                  <a:pt x="1018" y="573"/>
                  <a:pt x="1028" y="573"/>
                </a:cubicBezTo>
                <a:cubicBezTo>
                  <a:pt x="1066" y="573"/>
                  <a:pt x="1066" y="573"/>
                  <a:pt x="1066" y="573"/>
                </a:cubicBezTo>
                <a:cubicBezTo>
                  <a:pt x="1076" y="573"/>
                  <a:pt x="1084" y="581"/>
                  <a:pt x="1084" y="591"/>
                </a:cubicBezTo>
                <a:cubicBezTo>
                  <a:pt x="1084" y="601"/>
                  <a:pt x="1076" y="609"/>
                  <a:pt x="1066" y="609"/>
                </a:cubicBezTo>
                <a:close/>
                <a:moveTo>
                  <a:pt x="953" y="609"/>
                </a:moveTo>
                <a:cubicBezTo>
                  <a:pt x="953" y="609"/>
                  <a:pt x="953" y="609"/>
                  <a:pt x="953" y="609"/>
                </a:cubicBezTo>
                <a:cubicBezTo>
                  <a:pt x="916" y="609"/>
                  <a:pt x="916" y="609"/>
                  <a:pt x="916" y="609"/>
                </a:cubicBezTo>
                <a:cubicBezTo>
                  <a:pt x="906" y="609"/>
                  <a:pt x="898" y="601"/>
                  <a:pt x="898" y="591"/>
                </a:cubicBezTo>
                <a:cubicBezTo>
                  <a:pt x="898" y="581"/>
                  <a:pt x="906" y="573"/>
                  <a:pt x="916" y="573"/>
                </a:cubicBezTo>
                <a:cubicBezTo>
                  <a:pt x="953" y="573"/>
                  <a:pt x="953" y="573"/>
                  <a:pt x="953" y="573"/>
                </a:cubicBezTo>
                <a:cubicBezTo>
                  <a:pt x="963" y="573"/>
                  <a:pt x="972" y="581"/>
                  <a:pt x="972" y="591"/>
                </a:cubicBezTo>
                <a:cubicBezTo>
                  <a:pt x="972" y="601"/>
                  <a:pt x="963" y="609"/>
                  <a:pt x="953" y="609"/>
                </a:cubicBezTo>
                <a:close/>
                <a:moveTo>
                  <a:pt x="841" y="609"/>
                </a:moveTo>
                <a:cubicBezTo>
                  <a:pt x="841" y="609"/>
                  <a:pt x="841" y="609"/>
                  <a:pt x="841" y="609"/>
                </a:cubicBezTo>
                <a:cubicBezTo>
                  <a:pt x="804" y="609"/>
                  <a:pt x="804" y="609"/>
                  <a:pt x="804" y="609"/>
                </a:cubicBezTo>
                <a:cubicBezTo>
                  <a:pt x="793" y="609"/>
                  <a:pt x="785" y="601"/>
                  <a:pt x="785" y="591"/>
                </a:cubicBezTo>
                <a:cubicBezTo>
                  <a:pt x="785" y="581"/>
                  <a:pt x="793" y="573"/>
                  <a:pt x="804" y="573"/>
                </a:cubicBezTo>
                <a:cubicBezTo>
                  <a:pt x="841" y="573"/>
                  <a:pt x="841" y="573"/>
                  <a:pt x="841" y="573"/>
                </a:cubicBezTo>
                <a:cubicBezTo>
                  <a:pt x="851" y="573"/>
                  <a:pt x="859" y="581"/>
                  <a:pt x="859" y="591"/>
                </a:cubicBezTo>
                <a:cubicBezTo>
                  <a:pt x="859" y="601"/>
                  <a:pt x="851" y="609"/>
                  <a:pt x="841" y="609"/>
                </a:cubicBezTo>
                <a:close/>
                <a:moveTo>
                  <a:pt x="729" y="609"/>
                </a:moveTo>
                <a:cubicBezTo>
                  <a:pt x="729" y="609"/>
                  <a:pt x="729" y="609"/>
                  <a:pt x="729" y="609"/>
                </a:cubicBezTo>
                <a:cubicBezTo>
                  <a:pt x="691" y="609"/>
                  <a:pt x="691" y="609"/>
                  <a:pt x="691" y="609"/>
                </a:cubicBezTo>
                <a:cubicBezTo>
                  <a:pt x="681" y="609"/>
                  <a:pt x="673" y="601"/>
                  <a:pt x="673" y="591"/>
                </a:cubicBezTo>
                <a:cubicBezTo>
                  <a:pt x="673" y="581"/>
                  <a:pt x="681" y="573"/>
                  <a:pt x="691" y="573"/>
                </a:cubicBezTo>
                <a:cubicBezTo>
                  <a:pt x="729" y="573"/>
                  <a:pt x="729" y="573"/>
                  <a:pt x="729" y="573"/>
                </a:cubicBezTo>
                <a:cubicBezTo>
                  <a:pt x="739" y="573"/>
                  <a:pt x="747" y="581"/>
                  <a:pt x="747" y="591"/>
                </a:cubicBezTo>
                <a:cubicBezTo>
                  <a:pt x="747" y="601"/>
                  <a:pt x="739" y="609"/>
                  <a:pt x="729" y="609"/>
                </a:cubicBezTo>
                <a:close/>
                <a:moveTo>
                  <a:pt x="616" y="609"/>
                </a:moveTo>
                <a:cubicBezTo>
                  <a:pt x="616" y="609"/>
                  <a:pt x="616" y="609"/>
                  <a:pt x="616" y="609"/>
                </a:cubicBezTo>
                <a:cubicBezTo>
                  <a:pt x="579" y="609"/>
                  <a:pt x="579" y="609"/>
                  <a:pt x="579" y="609"/>
                </a:cubicBezTo>
                <a:cubicBezTo>
                  <a:pt x="569" y="609"/>
                  <a:pt x="561" y="601"/>
                  <a:pt x="561" y="591"/>
                </a:cubicBezTo>
                <a:cubicBezTo>
                  <a:pt x="561" y="581"/>
                  <a:pt x="569" y="573"/>
                  <a:pt x="579" y="573"/>
                </a:cubicBezTo>
                <a:cubicBezTo>
                  <a:pt x="616" y="573"/>
                  <a:pt x="616" y="573"/>
                  <a:pt x="616" y="573"/>
                </a:cubicBezTo>
                <a:cubicBezTo>
                  <a:pt x="626" y="573"/>
                  <a:pt x="634" y="581"/>
                  <a:pt x="634" y="591"/>
                </a:cubicBezTo>
                <a:cubicBezTo>
                  <a:pt x="634" y="601"/>
                  <a:pt x="626" y="609"/>
                  <a:pt x="616" y="609"/>
                </a:cubicBezTo>
                <a:close/>
                <a:moveTo>
                  <a:pt x="504" y="609"/>
                </a:moveTo>
                <a:cubicBezTo>
                  <a:pt x="504" y="609"/>
                  <a:pt x="504" y="609"/>
                  <a:pt x="504" y="609"/>
                </a:cubicBezTo>
                <a:cubicBezTo>
                  <a:pt x="466" y="609"/>
                  <a:pt x="466" y="609"/>
                  <a:pt x="466" y="609"/>
                </a:cubicBezTo>
                <a:cubicBezTo>
                  <a:pt x="456" y="609"/>
                  <a:pt x="448" y="601"/>
                  <a:pt x="448" y="591"/>
                </a:cubicBezTo>
                <a:cubicBezTo>
                  <a:pt x="448" y="581"/>
                  <a:pt x="456" y="573"/>
                  <a:pt x="466" y="573"/>
                </a:cubicBezTo>
                <a:cubicBezTo>
                  <a:pt x="504" y="573"/>
                  <a:pt x="504" y="573"/>
                  <a:pt x="504" y="573"/>
                </a:cubicBezTo>
                <a:cubicBezTo>
                  <a:pt x="514" y="573"/>
                  <a:pt x="522" y="581"/>
                  <a:pt x="522" y="591"/>
                </a:cubicBezTo>
                <a:cubicBezTo>
                  <a:pt x="522" y="601"/>
                  <a:pt x="514" y="609"/>
                  <a:pt x="504" y="609"/>
                </a:cubicBezTo>
                <a:close/>
                <a:moveTo>
                  <a:pt x="391" y="609"/>
                </a:moveTo>
                <a:cubicBezTo>
                  <a:pt x="391" y="609"/>
                  <a:pt x="391" y="609"/>
                  <a:pt x="391" y="609"/>
                </a:cubicBezTo>
                <a:cubicBezTo>
                  <a:pt x="354" y="609"/>
                  <a:pt x="354" y="609"/>
                  <a:pt x="354" y="609"/>
                </a:cubicBezTo>
                <a:cubicBezTo>
                  <a:pt x="344" y="609"/>
                  <a:pt x="336" y="601"/>
                  <a:pt x="336" y="591"/>
                </a:cubicBezTo>
                <a:cubicBezTo>
                  <a:pt x="336" y="581"/>
                  <a:pt x="344" y="573"/>
                  <a:pt x="354" y="573"/>
                </a:cubicBezTo>
                <a:cubicBezTo>
                  <a:pt x="391" y="573"/>
                  <a:pt x="391" y="573"/>
                  <a:pt x="391" y="573"/>
                </a:cubicBezTo>
                <a:cubicBezTo>
                  <a:pt x="402" y="573"/>
                  <a:pt x="410" y="581"/>
                  <a:pt x="410" y="591"/>
                </a:cubicBezTo>
                <a:cubicBezTo>
                  <a:pt x="410" y="601"/>
                  <a:pt x="402" y="609"/>
                  <a:pt x="391" y="609"/>
                </a:cubicBezTo>
                <a:close/>
                <a:moveTo>
                  <a:pt x="279" y="609"/>
                </a:moveTo>
                <a:cubicBezTo>
                  <a:pt x="279" y="609"/>
                  <a:pt x="279" y="609"/>
                  <a:pt x="279" y="609"/>
                </a:cubicBezTo>
                <a:cubicBezTo>
                  <a:pt x="242" y="609"/>
                  <a:pt x="242" y="609"/>
                  <a:pt x="242" y="609"/>
                </a:cubicBezTo>
                <a:cubicBezTo>
                  <a:pt x="232" y="609"/>
                  <a:pt x="223" y="601"/>
                  <a:pt x="223" y="591"/>
                </a:cubicBezTo>
                <a:cubicBezTo>
                  <a:pt x="223" y="581"/>
                  <a:pt x="232" y="573"/>
                  <a:pt x="242" y="573"/>
                </a:cubicBezTo>
                <a:cubicBezTo>
                  <a:pt x="279" y="573"/>
                  <a:pt x="279" y="573"/>
                  <a:pt x="279" y="573"/>
                </a:cubicBezTo>
                <a:cubicBezTo>
                  <a:pt x="289" y="573"/>
                  <a:pt x="297" y="581"/>
                  <a:pt x="297" y="591"/>
                </a:cubicBezTo>
                <a:cubicBezTo>
                  <a:pt x="297" y="601"/>
                  <a:pt x="289" y="609"/>
                  <a:pt x="279" y="609"/>
                </a:cubicBezTo>
                <a:close/>
                <a:moveTo>
                  <a:pt x="167" y="609"/>
                </a:moveTo>
                <a:cubicBezTo>
                  <a:pt x="167" y="609"/>
                  <a:pt x="167" y="609"/>
                  <a:pt x="167" y="609"/>
                </a:cubicBezTo>
                <a:cubicBezTo>
                  <a:pt x="129" y="609"/>
                  <a:pt x="129" y="609"/>
                  <a:pt x="129" y="609"/>
                </a:cubicBezTo>
                <a:cubicBezTo>
                  <a:pt x="119" y="609"/>
                  <a:pt x="111" y="601"/>
                  <a:pt x="111" y="591"/>
                </a:cubicBezTo>
                <a:cubicBezTo>
                  <a:pt x="111" y="581"/>
                  <a:pt x="119" y="573"/>
                  <a:pt x="129" y="573"/>
                </a:cubicBezTo>
                <a:cubicBezTo>
                  <a:pt x="167" y="573"/>
                  <a:pt x="167" y="573"/>
                  <a:pt x="167" y="573"/>
                </a:cubicBezTo>
                <a:cubicBezTo>
                  <a:pt x="177" y="573"/>
                  <a:pt x="185" y="581"/>
                  <a:pt x="185" y="591"/>
                </a:cubicBezTo>
                <a:cubicBezTo>
                  <a:pt x="185" y="601"/>
                  <a:pt x="177" y="609"/>
                  <a:pt x="167" y="609"/>
                </a:cubicBezTo>
                <a:close/>
                <a:moveTo>
                  <a:pt x="54" y="609"/>
                </a:moveTo>
                <a:cubicBezTo>
                  <a:pt x="54" y="609"/>
                  <a:pt x="54" y="609"/>
                  <a:pt x="54" y="609"/>
                </a:cubicBezTo>
                <a:cubicBezTo>
                  <a:pt x="19" y="609"/>
                  <a:pt x="19" y="609"/>
                  <a:pt x="19" y="609"/>
                </a:cubicBezTo>
                <a:cubicBezTo>
                  <a:pt x="9" y="609"/>
                  <a:pt x="0" y="601"/>
                  <a:pt x="0" y="591"/>
                </a:cubicBezTo>
                <a:cubicBezTo>
                  <a:pt x="0" y="589"/>
                  <a:pt x="0" y="589"/>
                  <a:pt x="0" y="589"/>
                </a:cubicBezTo>
                <a:cubicBezTo>
                  <a:pt x="0" y="579"/>
                  <a:pt x="9" y="571"/>
                  <a:pt x="19" y="571"/>
                </a:cubicBezTo>
                <a:cubicBezTo>
                  <a:pt x="21" y="571"/>
                  <a:pt x="24" y="572"/>
                  <a:pt x="26" y="573"/>
                </a:cubicBezTo>
                <a:cubicBezTo>
                  <a:pt x="54" y="573"/>
                  <a:pt x="54" y="573"/>
                  <a:pt x="54" y="573"/>
                </a:cubicBezTo>
                <a:cubicBezTo>
                  <a:pt x="64" y="573"/>
                  <a:pt x="73" y="581"/>
                  <a:pt x="73" y="591"/>
                </a:cubicBezTo>
                <a:cubicBezTo>
                  <a:pt x="73" y="601"/>
                  <a:pt x="64" y="609"/>
                  <a:pt x="54" y="609"/>
                </a:cubicBezTo>
                <a:close/>
                <a:moveTo>
                  <a:pt x="19" y="533"/>
                </a:moveTo>
                <a:cubicBezTo>
                  <a:pt x="19" y="533"/>
                  <a:pt x="19" y="533"/>
                  <a:pt x="19" y="533"/>
                </a:cubicBezTo>
                <a:cubicBezTo>
                  <a:pt x="9" y="533"/>
                  <a:pt x="0" y="524"/>
                  <a:pt x="0" y="514"/>
                </a:cubicBezTo>
                <a:cubicBezTo>
                  <a:pt x="0" y="477"/>
                  <a:pt x="0" y="477"/>
                  <a:pt x="0" y="477"/>
                </a:cubicBezTo>
                <a:cubicBezTo>
                  <a:pt x="0" y="467"/>
                  <a:pt x="9" y="459"/>
                  <a:pt x="19" y="459"/>
                </a:cubicBezTo>
                <a:cubicBezTo>
                  <a:pt x="29" y="459"/>
                  <a:pt x="37" y="467"/>
                  <a:pt x="37" y="477"/>
                </a:cubicBezTo>
                <a:cubicBezTo>
                  <a:pt x="37" y="514"/>
                  <a:pt x="37" y="514"/>
                  <a:pt x="37" y="514"/>
                </a:cubicBezTo>
                <a:cubicBezTo>
                  <a:pt x="37" y="524"/>
                  <a:pt x="29" y="533"/>
                  <a:pt x="19" y="533"/>
                </a:cubicBezTo>
                <a:close/>
                <a:moveTo>
                  <a:pt x="1504" y="523"/>
                </a:moveTo>
                <a:cubicBezTo>
                  <a:pt x="1504" y="523"/>
                  <a:pt x="1504" y="523"/>
                  <a:pt x="1504" y="523"/>
                </a:cubicBezTo>
                <a:cubicBezTo>
                  <a:pt x="1494" y="523"/>
                  <a:pt x="1486" y="515"/>
                  <a:pt x="1486" y="505"/>
                </a:cubicBezTo>
                <a:cubicBezTo>
                  <a:pt x="1486" y="467"/>
                  <a:pt x="1486" y="467"/>
                  <a:pt x="1486" y="467"/>
                </a:cubicBezTo>
                <a:cubicBezTo>
                  <a:pt x="1486" y="457"/>
                  <a:pt x="1494" y="449"/>
                  <a:pt x="1504" y="449"/>
                </a:cubicBezTo>
                <a:cubicBezTo>
                  <a:pt x="1514" y="449"/>
                  <a:pt x="1522" y="457"/>
                  <a:pt x="1522" y="467"/>
                </a:cubicBezTo>
                <a:cubicBezTo>
                  <a:pt x="1522" y="505"/>
                  <a:pt x="1522" y="505"/>
                  <a:pt x="1522" y="505"/>
                </a:cubicBezTo>
                <a:cubicBezTo>
                  <a:pt x="1522" y="515"/>
                  <a:pt x="1514" y="523"/>
                  <a:pt x="1504" y="523"/>
                </a:cubicBezTo>
                <a:close/>
                <a:moveTo>
                  <a:pt x="1504" y="411"/>
                </a:moveTo>
                <a:cubicBezTo>
                  <a:pt x="1504" y="411"/>
                  <a:pt x="1504" y="411"/>
                  <a:pt x="1504" y="411"/>
                </a:cubicBezTo>
                <a:cubicBezTo>
                  <a:pt x="1494" y="411"/>
                  <a:pt x="1486" y="403"/>
                  <a:pt x="1486" y="392"/>
                </a:cubicBezTo>
                <a:cubicBezTo>
                  <a:pt x="1486" y="355"/>
                  <a:pt x="1486" y="355"/>
                  <a:pt x="1486" y="355"/>
                </a:cubicBezTo>
                <a:cubicBezTo>
                  <a:pt x="1486" y="345"/>
                  <a:pt x="1494" y="337"/>
                  <a:pt x="1504" y="337"/>
                </a:cubicBezTo>
                <a:cubicBezTo>
                  <a:pt x="1514" y="337"/>
                  <a:pt x="1522" y="345"/>
                  <a:pt x="1522" y="355"/>
                </a:cubicBezTo>
                <a:cubicBezTo>
                  <a:pt x="1522" y="392"/>
                  <a:pt x="1522" y="392"/>
                  <a:pt x="1522" y="392"/>
                </a:cubicBezTo>
                <a:cubicBezTo>
                  <a:pt x="1522" y="403"/>
                  <a:pt x="1514" y="411"/>
                  <a:pt x="1504" y="411"/>
                </a:cubicBezTo>
                <a:close/>
                <a:moveTo>
                  <a:pt x="1504" y="298"/>
                </a:moveTo>
                <a:cubicBezTo>
                  <a:pt x="1504" y="298"/>
                  <a:pt x="1504" y="298"/>
                  <a:pt x="1504" y="298"/>
                </a:cubicBezTo>
                <a:cubicBezTo>
                  <a:pt x="1494" y="298"/>
                  <a:pt x="1486" y="290"/>
                  <a:pt x="1486" y="280"/>
                </a:cubicBezTo>
                <a:cubicBezTo>
                  <a:pt x="1486" y="243"/>
                  <a:pt x="1486" y="243"/>
                  <a:pt x="1486" y="243"/>
                </a:cubicBezTo>
                <a:cubicBezTo>
                  <a:pt x="1486" y="233"/>
                  <a:pt x="1494" y="224"/>
                  <a:pt x="1504" y="224"/>
                </a:cubicBezTo>
                <a:cubicBezTo>
                  <a:pt x="1514" y="224"/>
                  <a:pt x="1522" y="233"/>
                  <a:pt x="1522" y="243"/>
                </a:cubicBezTo>
                <a:cubicBezTo>
                  <a:pt x="1522" y="280"/>
                  <a:pt x="1522" y="280"/>
                  <a:pt x="1522" y="280"/>
                </a:cubicBezTo>
                <a:cubicBezTo>
                  <a:pt x="1522" y="290"/>
                  <a:pt x="1514" y="298"/>
                  <a:pt x="1504" y="298"/>
                </a:cubicBezTo>
                <a:close/>
                <a:moveTo>
                  <a:pt x="1504" y="186"/>
                </a:moveTo>
                <a:cubicBezTo>
                  <a:pt x="1504" y="186"/>
                  <a:pt x="1504" y="186"/>
                  <a:pt x="1504" y="186"/>
                </a:cubicBezTo>
                <a:cubicBezTo>
                  <a:pt x="1494" y="186"/>
                  <a:pt x="1486" y="178"/>
                  <a:pt x="1486" y="168"/>
                </a:cubicBezTo>
                <a:cubicBezTo>
                  <a:pt x="1486" y="130"/>
                  <a:pt x="1486" y="130"/>
                  <a:pt x="1486" y="130"/>
                </a:cubicBezTo>
                <a:cubicBezTo>
                  <a:pt x="1486" y="120"/>
                  <a:pt x="1494" y="112"/>
                  <a:pt x="1504" y="112"/>
                </a:cubicBezTo>
                <a:cubicBezTo>
                  <a:pt x="1514" y="112"/>
                  <a:pt x="1522" y="120"/>
                  <a:pt x="1522" y="130"/>
                </a:cubicBezTo>
                <a:cubicBezTo>
                  <a:pt x="1522" y="168"/>
                  <a:pt x="1522" y="168"/>
                  <a:pt x="1522" y="168"/>
                </a:cubicBezTo>
                <a:cubicBezTo>
                  <a:pt x="1522" y="178"/>
                  <a:pt x="1514" y="186"/>
                  <a:pt x="1504" y="186"/>
                </a:cubicBezTo>
                <a:close/>
                <a:moveTo>
                  <a:pt x="1504" y="74"/>
                </a:moveTo>
                <a:cubicBezTo>
                  <a:pt x="1504" y="74"/>
                  <a:pt x="1504" y="74"/>
                  <a:pt x="1504" y="74"/>
                </a:cubicBezTo>
                <a:cubicBezTo>
                  <a:pt x="1494" y="74"/>
                  <a:pt x="1486" y="65"/>
                  <a:pt x="1486" y="55"/>
                </a:cubicBezTo>
                <a:cubicBezTo>
                  <a:pt x="1486" y="18"/>
                  <a:pt x="1486" y="18"/>
                  <a:pt x="1486" y="18"/>
                </a:cubicBezTo>
                <a:cubicBezTo>
                  <a:pt x="1486" y="8"/>
                  <a:pt x="1494" y="0"/>
                  <a:pt x="1504" y="0"/>
                </a:cubicBezTo>
                <a:cubicBezTo>
                  <a:pt x="1514" y="0"/>
                  <a:pt x="1522" y="8"/>
                  <a:pt x="1522" y="18"/>
                </a:cubicBezTo>
                <a:cubicBezTo>
                  <a:pt x="1522" y="55"/>
                  <a:pt x="1522" y="55"/>
                  <a:pt x="1522" y="55"/>
                </a:cubicBezTo>
                <a:cubicBezTo>
                  <a:pt x="1522" y="65"/>
                  <a:pt x="1514" y="74"/>
                  <a:pt x="1504" y="7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20" name="Freeform 322">
            <a:extLst>
              <a:ext uri="{FF2B5EF4-FFF2-40B4-BE49-F238E27FC236}">
                <a16:creationId xmlns:a16="http://schemas.microsoft.com/office/drawing/2014/main" id="{DF2736AE-F63E-43C6-B6BD-5702C72B69C1}"/>
              </a:ext>
            </a:extLst>
          </p:cNvPr>
          <p:cNvSpPr>
            <a:spLocks noEditPoints="1"/>
          </p:cNvSpPr>
          <p:nvPr/>
        </p:nvSpPr>
        <p:spPr bwMode="auto">
          <a:xfrm>
            <a:off x="3518354" y="1723574"/>
            <a:ext cx="967007" cy="612245"/>
          </a:xfrm>
          <a:custGeom>
            <a:avLst/>
            <a:gdLst>
              <a:gd name="T0" fmla="*/ 0 w 1479"/>
              <a:gd name="T1" fmla="*/ 881 h 936"/>
              <a:gd name="T2" fmla="*/ 36 w 1479"/>
              <a:gd name="T3" fmla="*/ 918 h 936"/>
              <a:gd name="T4" fmla="*/ 18 w 1479"/>
              <a:gd name="T5" fmla="*/ 824 h 936"/>
              <a:gd name="T6" fmla="*/ 18 w 1479"/>
              <a:gd name="T7" fmla="*/ 750 h 936"/>
              <a:gd name="T8" fmla="*/ 18 w 1479"/>
              <a:gd name="T9" fmla="*/ 824 h 936"/>
              <a:gd name="T10" fmla="*/ 0 w 1479"/>
              <a:gd name="T11" fmla="*/ 693 h 936"/>
              <a:gd name="T12" fmla="*/ 36 w 1479"/>
              <a:gd name="T13" fmla="*/ 656 h 936"/>
              <a:gd name="T14" fmla="*/ 18 w 1479"/>
              <a:gd name="T15" fmla="*/ 599 h 936"/>
              <a:gd name="T16" fmla="*/ 0 w 1479"/>
              <a:gd name="T17" fmla="*/ 544 h 936"/>
              <a:gd name="T18" fmla="*/ 36 w 1479"/>
              <a:gd name="T19" fmla="*/ 581 h 936"/>
              <a:gd name="T20" fmla="*/ 18 w 1479"/>
              <a:gd name="T21" fmla="*/ 487 h 936"/>
              <a:gd name="T22" fmla="*/ 18 w 1479"/>
              <a:gd name="T23" fmla="*/ 413 h 936"/>
              <a:gd name="T24" fmla="*/ 18 w 1479"/>
              <a:gd name="T25" fmla="*/ 487 h 936"/>
              <a:gd name="T26" fmla="*/ 0 w 1479"/>
              <a:gd name="T27" fmla="*/ 356 h 936"/>
              <a:gd name="T28" fmla="*/ 36 w 1479"/>
              <a:gd name="T29" fmla="*/ 319 h 936"/>
              <a:gd name="T30" fmla="*/ 18 w 1479"/>
              <a:gd name="T31" fmla="*/ 262 h 936"/>
              <a:gd name="T32" fmla="*/ 0 w 1479"/>
              <a:gd name="T33" fmla="*/ 206 h 936"/>
              <a:gd name="T34" fmla="*/ 36 w 1479"/>
              <a:gd name="T35" fmla="*/ 244 h 936"/>
              <a:gd name="T36" fmla="*/ 1460 w 1479"/>
              <a:gd name="T37" fmla="*/ 193 h 936"/>
              <a:gd name="T38" fmla="*/ 1460 w 1479"/>
              <a:gd name="T39" fmla="*/ 130 h 936"/>
              <a:gd name="T40" fmla="*/ 1460 w 1479"/>
              <a:gd name="T41" fmla="*/ 193 h 936"/>
              <a:gd name="T42" fmla="*/ 0 w 1479"/>
              <a:gd name="T43" fmla="*/ 132 h 936"/>
              <a:gd name="T44" fmla="*/ 36 w 1479"/>
              <a:gd name="T45" fmla="*/ 94 h 936"/>
              <a:gd name="T46" fmla="*/ 1460 w 1479"/>
              <a:gd name="T47" fmla="*/ 92 h 936"/>
              <a:gd name="T48" fmla="*/ 1442 w 1479"/>
              <a:gd name="T49" fmla="*/ 36 h 936"/>
              <a:gd name="T50" fmla="*/ 1479 w 1479"/>
              <a:gd name="T51" fmla="*/ 74 h 936"/>
              <a:gd name="T52" fmla="*/ 18 w 1479"/>
              <a:gd name="T53" fmla="*/ 37 h 936"/>
              <a:gd name="T54" fmla="*/ 18 w 1479"/>
              <a:gd name="T55" fmla="*/ 0 h 936"/>
              <a:gd name="T56" fmla="*/ 55 w 1479"/>
              <a:gd name="T57" fmla="*/ 37 h 936"/>
              <a:gd name="T58" fmla="*/ 1403 w 1479"/>
              <a:gd name="T59" fmla="*/ 37 h 936"/>
              <a:gd name="T60" fmla="*/ 1348 w 1479"/>
              <a:gd name="T61" fmla="*/ 18 h 936"/>
              <a:gd name="T62" fmla="*/ 1422 w 1479"/>
              <a:gd name="T63" fmla="*/ 18 h 936"/>
              <a:gd name="T64" fmla="*/ 1291 w 1479"/>
              <a:gd name="T65" fmla="*/ 37 h 936"/>
              <a:gd name="T66" fmla="*/ 1253 w 1479"/>
              <a:gd name="T67" fmla="*/ 0 h 936"/>
              <a:gd name="T68" fmla="*/ 1291 w 1479"/>
              <a:gd name="T69" fmla="*/ 37 h 936"/>
              <a:gd name="T70" fmla="*/ 1141 w 1479"/>
              <a:gd name="T71" fmla="*/ 37 h 936"/>
              <a:gd name="T72" fmla="*/ 1179 w 1479"/>
              <a:gd name="T73" fmla="*/ 0 h 936"/>
              <a:gd name="T74" fmla="*/ 1066 w 1479"/>
              <a:gd name="T75" fmla="*/ 37 h 936"/>
              <a:gd name="T76" fmla="*/ 1011 w 1479"/>
              <a:gd name="T77" fmla="*/ 18 h 936"/>
              <a:gd name="T78" fmla="*/ 1084 w 1479"/>
              <a:gd name="T79" fmla="*/ 18 h 936"/>
              <a:gd name="T80" fmla="*/ 954 w 1479"/>
              <a:gd name="T81" fmla="*/ 37 h 936"/>
              <a:gd name="T82" fmla="*/ 916 w 1479"/>
              <a:gd name="T83" fmla="*/ 0 h 936"/>
              <a:gd name="T84" fmla="*/ 954 w 1479"/>
              <a:gd name="T85" fmla="*/ 37 h 936"/>
              <a:gd name="T86" fmla="*/ 804 w 1479"/>
              <a:gd name="T87" fmla="*/ 37 h 936"/>
              <a:gd name="T88" fmla="*/ 841 w 1479"/>
              <a:gd name="T89" fmla="*/ 0 h 936"/>
              <a:gd name="T90" fmla="*/ 729 w 1479"/>
              <a:gd name="T91" fmla="*/ 37 h 936"/>
              <a:gd name="T92" fmla="*/ 673 w 1479"/>
              <a:gd name="T93" fmla="*/ 18 h 936"/>
              <a:gd name="T94" fmla="*/ 747 w 1479"/>
              <a:gd name="T95" fmla="*/ 18 h 936"/>
              <a:gd name="T96" fmla="*/ 617 w 1479"/>
              <a:gd name="T97" fmla="*/ 37 h 936"/>
              <a:gd name="T98" fmla="*/ 579 w 1479"/>
              <a:gd name="T99" fmla="*/ 0 h 936"/>
              <a:gd name="T100" fmla="*/ 617 w 1479"/>
              <a:gd name="T101" fmla="*/ 37 h 936"/>
              <a:gd name="T102" fmla="*/ 467 w 1479"/>
              <a:gd name="T103" fmla="*/ 37 h 936"/>
              <a:gd name="T104" fmla="*/ 504 w 1479"/>
              <a:gd name="T105" fmla="*/ 0 h 936"/>
              <a:gd name="T106" fmla="*/ 392 w 1479"/>
              <a:gd name="T107" fmla="*/ 37 h 936"/>
              <a:gd name="T108" fmla="*/ 336 w 1479"/>
              <a:gd name="T109" fmla="*/ 18 h 936"/>
              <a:gd name="T110" fmla="*/ 410 w 1479"/>
              <a:gd name="T111" fmla="*/ 18 h 936"/>
              <a:gd name="T112" fmla="*/ 280 w 1479"/>
              <a:gd name="T113" fmla="*/ 37 h 936"/>
              <a:gd name="T114" fmla="*/ 242 w 1479"/>
              <a:gd name="T115" fmla="*/ 0 h 936"/>
              <a:gd name="T116" fmla="*/ 280 w 1479"/>
              <a:gd name="T117" fmla="*/ 37 h 936"/>
              <a:gd name="T118" fmla="*/ 130 w 1479"/>
              <a:gd name="T119" fmla="*/ 37 h 936"/>
              <a:gd name="T120" fmla="*/ 167 w 1479"/>
              <a:gd name="T121" fmla="*/ 0 h 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79" h="936">
                <a:moveTo>
                  <a:pt x="18" y="936"/>
                </a:moveTo>
                <a:cubicBezTo>
                  <a:pt x="8" y="936"/>
                  <a:pt x="0" y="928"/>
                  <a:pt x="0" y="918"/>
                </a:cubicBezTo>
                <a:cubicBezTo>
                  <a:pt x="0" y="881"/>
                  <a:pt x="0" y="881"/>
                  <a:pt x="0" y="881"/>
                </a:cubicBezTo>
                <a:cubicBezTo>
                  <a:pt x="0" y="871"/>
                  <a:pt x="8" y="862"/>
                  <a:pt x="18" y="862"/>
                </a:cubicBezTo>
                <a:cubicBezTo>
                  <a:pt x="28" y="862"/>
                  <a:pt x="36" y="871"/>
                  <a:pt x="36" y="881"/>
                </a:cubicBezTo>
                <a:cubicBezTo>
                  <a:pt x="36" y="918"/>
                  <a:pt x="36" y="918"/>
                  <a:pt x="36" y="918"/>
                </a:cubicBezTo>
                <a:cubicBezTo>
                  <a:pt x="36" y="928"/>
                  <a:pt x="28" y="936"/>
                  <a:pt x="18" y="936"/>
                </a:cubicBezTo>
                <a:close/>
                <a:moveTo>
                  <a:pt x="18" y="824"/>
                </a:moveTo>
                <a:cubicBezTo>
                  <a:pt x="18" y="824"/>
                  <a:pt x="18" y="824"/>
                  <a:pt x="18" y="824"/>
                </a:cubicBezTo>
                <a:cubicBezTo>
                  <a:pt x="8" y="824"/>
                  <a:pt x="0" y="816"/>
                  <a:pt x="0" y="806"/>
                </a:cubicBezTo>
                <a:cubicBezTo>
                  <a:pt x="0" y="768"/>
                  <a:pt x="0" y="768"/>
                  <a:pt x="0" y="768"/>
                </a:cubicBezTo>
                <a:cubicBezTo>
                  <a:pt x="0" y="758"/>
                  <a:pt x="8" y="750"/>
                  <a:pt x="18" y="750"/>
                </a:cubicBezTo>
                <a:cubicBezTo>
                  <a:pt x="28" y="750"/>
                  <a:pt x="36" y="758"/>
                  <a:pt x="36" y="768"/>
                </a:cubicBezTo>
                <a:cubicBezTo>
                  <a:pt x="36" y="806"/>
                  <a:pt x="36" y="806"/>
                  <a:pt x="36" y="806"/>
                </a:cubicBezTo>
                <a:cubicBezTo>
                  <a:pt x="36" y="816"/>
                  <a:pt x="28" y="824"/>
                  <a:pt x="18" y="824"/>
                </a:cubicBezTo>
                <a:close/>
                <a:moveTo>
                  <a:pt x="18" y="712"/>
                </a:moveTo>
                <a:cubicBezTo>
                  <a:pt x="18" y="712"/>
                  <a:pt x="18" y="712"/>
                  <a:pt x="18" y="712"/>
                </a:cubicBezTo>
                <a:cubicBezTo>
                  <a:pt x="8" y="712"/>
                  <a:pt x="0" y="703"/>
                  <a:pt x="0" y="693"/>
                </a:cubicBezTo>
                <a:cubicBezTo>
                  <a:pt x="0" y="656"/>
                  <a:pt x="0" y="656"/>
                  <a:pt x="0" y="656"/>
                </a:cubicBezTo>
                <a:cubicBezTo>
                  <a:pt x="0" y="646"/>
                  <a:pt x="8" y="638"/>
                  <a:pt x="18" y="638"/>
                </a:cubicBezTo>
                <a:cubicBezTo>
                  <a:pt x="28" y="638"/>
                  <a:pt x="36" y="646"/>
                  <a:pt x="36" y="656"/>
                </a:cubicBezTo>
                <a:cubicBezTo>
                  <a:pt x="36" y="693"/>
                  <a:pt x="36" y="693"/>
                  <a:pt x="36" y="693"/>
                </a:cubicBezTo>
                <a:cubicBezTo>
                  <a:pt x="36" y="703"/>
                  <a:pt x="28" y="712"/>
                  <a:pt x="18" y="712"/>
                </a:cubicBezTo>
                <a:close/>
                <a:moveTo>
                  <a:pt x="18" y="599"/>
                </a:moveTo>
                <a:cubicBezTo>
                  <a:pt x="18" y="599"/>
                  <a:pt x="18" y="599"/>
                  <a:pt x="18" y="599"/>
                </a:cubicBezTo>
                <a:cubicBezTo>
                  <a:pt x="8" y="599"/>
                  <a:pt x="0" y="591"/>
                  <a:pt x="0" y="581"/>
                </a:cubicBezTo>
                <a:cubicBezTo>
                  <a:pt x="0" y="544"/>
                  <a:pt x="0" y="544"/>
                  <a:pt x="0" y="544"/>
                </a:cubicBezTo>
                <a:cubicBezTo>
                  <a:pt x="0" y="534"/>
                  <a:pt x="8" y="525"/>
                  <a:pt x="18" y="525"/>
                </a:cubicBezTo>
                <a:cubicBezTo>
                  <a:pt x="28" y="525"/>
                  <a:pt x="36" y="534"/>
                  <a:pt x="36" y="544"/>
                </a:cubicBezTo>
                <a:cubicBezTo>
                  <a:pt x="36" y="581"/>
                  <a:pt x="36" y="581"/>
                  <a:pt x="36" y="581"/>
                </a:cubicBezTo>
                <a:cubicBezTo>
                  <a:pt x="36" y="591"/>
                  <a:pt x="28" y="599"/>
                  <a:pt x="18" y="599"/>
                </a:cubicBezTo>
                <a:close/>
                <a:moveTo>
                  <a:pt x="18" y="487"/>
                </a:moveTo>
                <a:cubicBezTo>
                  <a:pt x="18" y="487"/>
                  <a:pt x="18" y="487"/>
                  <a:pt x="18" y="487"/>
                </a:cubicBezTo>
                <a:cubicBezTo>
                  <a:pt x="8" y="487"/>
                  <a:pt x="0" y="479"/>
                  <a:pt x="0" y="469"/>
                </a:cubicBezTo>
                <a:cubicBezTo>
                  <a:pt x="0" y="431"/>
                  <a:pt x="0" y="431"/>
                  <a:pt x="0" y="431"/>
                </a:cubicBezTo>
                <a:cubicBezTo>
                  <a:pt x="0" y="421"/>
                  <a:pt x="8" y="413"/>
                  <a:pt x="18" y="413"/>
                </a:cubicBezTo>
                <a:cubicBezTo>
                  <a:pt x="28" y="413"/>
                  <a:pt x="36" y="421"/>
                  <a:pt x="36" y="431"/>
                </a:cubicBezTo>
                <a:cubicBezTo>
                  <a:pt x="36" y="469"/>
                  <a:pt x="36" y="469"/>
                  <a:pt x="36" y="469"/>
                </a:cubicBezTo>
                <a:cubicBezTo>
                  <a:pt x="36" y="479"/>
                  <a:pt x="28" y="487"/>
                  <a:pt x="18" y="487"/>
                </a:cubicBezTo>
                <a:close/>
                <a:moveTo>
                  <a:pt x="18" y="374"/>
                </a:moveTo>
                <a:cubicBezTo>
                  <a:pt x="18" y="374"/>
                  <a:pt x="18" y="374"/>
                  <a:pt x="18" y="374"/>
                </a:cubicBezTo>
                <a:cubicBezTo>
                  <a:pt x="8" y="374"/>
                  <a:pt x="0" y="366"/>
                  <a:pt x="0" y="356"/>
                </a:cubicBezTo>
                <a:cubicBezTo>
                  <a:pt x="0" y="319"/>
                  <a:pt x="0" y="319"/>
                  <a:pt x="0" y="319"/>
                </a:cubicBezTo>
                <a:cubicBezTo>
                  <a:pt x="0" y="309"/>
                  <a:pt x="8" y="301"/>
                  <a:pt x="18" y="301"/>
                </a:cubicBezTo>
                <a:cubicBezTo>
                  <a:pt x="28" y="301"/>
                  <a:pt x="36" y="309"/>
                  <a:pt x="36" y="319"/>
                </a:cubicBezTo>
                <a:cubicBezTo>
                  <a:pt x="36" y="356"/>
                  <a:pt x="36" y="356"/>
                  <a:pt x="36" y="356"/>
                </a:cubicBezTo>
                <a:cubicBezTo>
                  <a:pt x="36" y="366"/>
                  <a:pt x="28" y="374"/>
                  <a:pt x="18" y="374"/>
                </a:cubicBezTo>
                <a:close/>
                <a:moveTo>
                  <a:pt x="18" y="262"/>
                </a:moveTo>
                <a:cubicBezTo>
                  <a:pt x="18" y="262"/>
                  <a:pt x="18" y="262"/>
                  <a:pt x="18" y="262"/>
                </a:cubicBezTo>
                <a:cubicBezTo>
                  <a:pt x="8" y="262"/>
                  <a:pt x="0" y="254"/>
                  <a:pt x="0" y="244"/>
                </a:cubicBezTo>
                <a:cubicBezTo>
                  <a:pt x="0" y="206"/>
                  <a:pt x="0" y="206"/>
                  <a:pt x="0" y="206"/>
                </a:cubicBezTo>
                <a:cubicBezTo>
                  <a:pt x="0" y="196"/>
                  <a:pt x="8" y="188"/>
                  <a:pt x="18" y="188"/>
                </a:cubicBezTo>
                <a:cubicBezTo>
                  <a:pt x="28" y="188"/>
                  <a:pt x="36" y="196"/>
                  <a:pt x="36" y="206"/>
                </a:cubicBezTo>
                <a:cubicBezTo>
                  <a:pt x="36" y="244"/>
                  <a:pt x="36" y="244"/>
                  <a:pt x="36" y="244"/>
                </a:cubicBezTo>
                <a:cubicBezTo>
                  <a:pt x="36" y="254"/>
                  <a:pt x="28" y="262"/>
                  <a:pt x="18" y="262"/>
                </a:cubicBezTo>
                <a:close/>
                <a:moveTo>
                  <a:pt x="1460" y="193"/>
                </a:moveTo>
                <a:cubicBezTo>
                  <a:pt x="1460" y="193"/>
                  <a:pt x="1460" y="193"/>
                  <a:pt x="1460" y="193"/>
                </a:cubicBezTo>
                <a:cubicBezTo>
                  <a:pt x="1450" y="193"/>
                  <a:pt x="1442" y="184"/>
                  <a:pt x="1442" y="174"/>
                </a:cubicBezTo>
                <a:cubicBezTo>
                  <a:pt x="1442" y="148"/>
                  <a:pt x="1442" y="148"/>
                  <a:pt x="1442" y="148"/>
                </a:cubicBezTo>
                <a:cubicBezTo>
                  <a:pt x="1442" y="138"/>
                  <a:pt x="1450" y="130"/>
                  <a:pt x="1460" y="130"/>
                </a:cubicBezTo>
                <a:cubicBezTo>
                  <a:pt x="1471" y="130"/>
                  <a:pt x="1479" y="138"/>
                  <a:pt x="1479" y="148"/>
                </a:cubicBezTo>
                <a:cubicBezTo>
                  <a:pt x="1479" y="174"/>
                  <a:pt x="1479" y="174"/>
                  <a:pt x="1479" y="174"/>
                </a:cubicBezTo>
                <a:cubicBezTo>
                  <a:pt x="1479" y="184"/>
                  <a:pt x="1471" y="193"/>
                  <a:pt x="1460" y="193"/>
                </a:cubicBezTo>
                <a:close/>
                <a:moveTo>
                  <a:pt x="18" y="150"/>
                </a:moveTo>
                <a:cubicBezTo>
                  <a:pt x="18" y="150"/>
                  <a:pt x="18" y="150"/>
                  <a:pt x="18" y="150"/>
                </a:cubicBezTo>
                <a:cubicBezTo>
                  <a:pt x="8" y="150"/>
                  <a:pt x="0" y="142"/>
                  <a:pt x="0" y="13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84"/>
                  <a:pt x="8" y="76"/>
                  <a:pt x="18" y="76"/>
                </a:cubicBezTo>
                <a:cubicBezTo>
                  <a:pt x="28" y="76"/>
                  <a:pt x="36" y="84"/>
                  <a:pt x="36" y="94"/>
                </a:cubicBezTo>
                <a:cubicBezTo>
                  <a:pt x="36" y="132"/>
                  <a:pt x="36" y="132"/>
                  <a:pt x="36" y="132"/>
                </a:cubicBezTo>
                <a:cubicBezTo>
                  <a:pt x="36" y="142"/>
                  <a:pt x="28" y="150"/>
                  <a:pt x="18" y="150"/>
                </a:cubicBezTo>
                <a:close/>
                <a:moveTo>
                  <a:pt x="1460" y="92"/>
                </a:moveTo>
                <a:cubicBezTo>
                  <a:pt x="1460" y="92"/>
                  <a:pt x="1460" y="92"/>
                  <a:pt x="1460" y="92"/>
                </a:cubicBezTo>
                <a:cubicBezTo>
                  <a:pt x="1450" y="92"/>
                  <a:pt x="1442" y="84"/>
                  <a:pt x="1442" y="74"/>
                </a:cubicBezTo>
                <a:cubicBezTo>
                  <a:pt x="1442" y="36"/>
                  <a:pt x="1442" y="36"/>
                  <a:pt x="1442" y="36"/>
                </a:cubicBezTo>
                <a:cubicBezTo>
                  <a:pt x="1442" y="26"/>
                  <a:pt x="1450" y="18"/>
                  <a:pt x="1460" y="18"/>
                </a:cubicBezTo>
                <a:cubicBezTo>
                  <a:pt x="1471" y="18"/>
                  <a:pt x="1479" y="26"/>
                  <a:pt x="1479" y="36"/>
                </a:cubicBezTo>
                <a:cubicBezTo>
                  <a:pt x="1479" y="74"/>
                  <a:pt x="1479" y="74"/>
                  <a:pt x="1479" y="74"/>
                </a:cubicBezTo>
                <a:cubicBezTo>
                  <a:pt x="1479" y="84"/>
                  <a:pt x="1471" y="92"/>
                  <a:pt x="1460" y="92"/>
                </a:cubicBezTo>
                <a:close/>
                <a:moveTo>
                  <a:pt x="18" y="37"/>
                </a:moveTo>
                <a:cubicBezTo>
                  <a:pt x="18" y="37"/>
                  <a:pt x="18" y="37"/>
                  <a:pt x="18" y="37"/>
                </a:cubicBezTo>
                <a:cubicBezTo>
                  <a:pt x="8" y="37"/>
                  <a:pt x="0" y="29"/>
                  <a:pt x="0" y="1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8"/>
                  <a:pt x="8" y="0"/>
                  <a:pt x="18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65" y="0"/>
                  <a:pt x="73" y="8"/>
                  <a:pt x="73" y="18"/>
                </a:cubicBezTo>
                <a:cubicBezTo>
                  <a:pt x="73" y="28"/>
                  <a:pt x="65" y="37"/>
                  <a:pt x="55" y="37"/>
                </a:cubicBezTo>
                <a:cubicBezTo>
                  <a:pt x="22" y="37"/>
                  <a:pt x="22" y="37"/>
                  <a:pt x="22" y="37"/>
                </a:cubicBezTo>
                <a:cubicBezTo>
                  <a:pt x="21" y="37"/>
                  <a:pt x="19" y="37"/>
                  <a:pt x="18" y="37"/>
                </a:cubicBezTo>
                <a:close/>
                <a:moveTo>
                  <a:pt x="1403" y="37"/>
                </a:moveTo>
                <a:cubicBezTo>
                  <a:pt x="1403" y="37"/>
                  <a:pt x="1403" y="37"/>
                  <a:pt x="1403" y="37"/>
                </a:cubicBezTo>
                <a:cubicBezTo>
                  <a:pt x="1366" y="37"/>
                  <a:pt x="1366" y="37"/>
                  <a:pt x="1366" y="37"/>
                </a:cubicBezTo>
                <a:cubicBezTo>
                  <a:pt x="1356" y="37"/>
                  <a:pt x="1348" y="28"/>
                  <a:pt x="1348" y="18"/>
                </a:cubicBezTo>
                <a:cubicBezTo>
                  <a:pt x="1348" y="8"/>
                  <a:pt x="1356" y="0"/>
                  <a:pt x="1366" y="0"/>
                </a:cubicBezTo>
                <a:cubicBezTo>
                  <a:pt x="1403" y="0"/>
                  <a:pt x="1403" y="0"/>
                  <a:pt x="1403" y="0"/>
                </a:cubicBezTo>
                <a:cubicBezTo>
                  <a:pt x="1413" y="0"/>
                  <a:pt x="1422" y="8"/>
                  <a:pt x="1422" y="18"/>
                </a:cubicBezTo>
                <a:cubicBezTo>
                  <a:pt x="1422" y="28"/>
                  <a:pt x="1413" y="37"/>
                  <a:pt x="1403" y="37"/>
                </a:cubicBezTo>
                <a:close/>
                <a:moveTo>
                  <a:pt x="1291" y="37"/>
                </a:moveTo>
                <a:cubicBezTo>
                  <a:pt x="1291" y="37"/>
                  <a:pt x="1291" y="37"/>
                  <a:pt x="1291" y="37"/>
                </a:cubicBezTo>
                <a:cubicBezTo>
                  <a:pt x="1253" y="37"/>
                  <a:pt x="1253" y="37"/>
                  <a:pt x="1253" y="37"/>
                </a:cubicBezTo>
                <a:cubicBezTo>
                  <a:pt x="1243" y="37"/>
                  <a:pt x="1235" y="28"/>
                  <a:pt x="1235" y="18"/>
                </a:cubicBezTo>
                <a:cubicBezTo>
                  <a:pt x="1235" y="8"/>
                  <a:pt x="1243" y="0"/>
                  <a:pt x="1253" y="0"/>
                </a:cubicBezTo>
                <a:cubicBezTo>
                  <a:pt x="1291" y="0"/>
                  <a:pt x="1291" y="0"/>
                  <a:pt x="1291" y="0"/>
                </a:cubicBezTo>
                <a:cubicBezTo>
                  <a:pt x="1301" y="0"/>
                  <a:pt x="1309" y="8"/>
                  <a:pt x="1309" y="18"/>
                </a:cubicBezTo>
                <a:cubicBezTo>
                  <a:pt x="1309" y="28"/>
                  <a:pt x="1301" y="37"/>
                  <a:pt x="1291" y="37"/>
                </a:cubicBezTo>
                <a:close/>
                <a:moveTo>
                  <a:pt x="1179" y="37"/>
                </a:moveTo>
                <a:cubicBezTo>
                  <a:pt x="1179" y="37"/>
                  <a:pt x="1179" y="37"/>
                  <a:pt x="1179" y="37"/>
                </a:cubicBezTo>
                <a:cubicBezTo>
                  <a:pt x="1141" y="37"/>
                  <a:pt x="1141" y="37"/>
                  <a:pt x="1141" y="37"/>
                </a:cubicBezTo>
                <a:cubicBezTo>
                  <a:pt x="1131" y="37"/>
                  <a:pt x="1123" y="28"/>
                  <a:pt x="1123" y="18"/>
                </a:cubicBezTo>
                <a:cubicBezTo>
                  <a:pt x="1123" y="8"/>
                  <a:pt x="1131" y="0"/>
                  <a:pt x="1141" y="0"/>
                </a:cubicBezTo>
                <a:cubicBezTo>
                  <a:pt x="1179" y="0"/>
                  <a:pt x="1179" y="0"/>
                  <a:pt x="1179" y="0"/>
                </a:cubicBezTo>
                <a:cubicBezTo>
                  <a:pt x="1189" y="0"/>
                  <a:pt x="1197" y="8"/>
                  <a:pt x="1197" y="18"/>
                </a:cubicBezTo>
                <a:cubicBezTo>
                  <a:pt x="1197" y="28"/>
                  <a:pt x="1189" y="37"/>
                  <a:pt x="1179" y="37"/>
                </a:cubicBezTo>
                <a:close/>
                <a:moveTo>
                  <a:pt x="1066" y="37"/>
                </a:moveTo>
                <a:cubicBezTo>
                  <a:pt x="1066" y="37"/>
                  <a:pt x="1066" y="37"/>
                  <a:pt x="1066" y="37"/>
                </a:cubicBezTo>
                <a:cubicBezTo>
                  <a:pt x="1029" y="37"/>
                  <a:pt x="1029" y="37"/>
                  <a:pt x="1029" y="37"/>
                </a:cubicBezTo>
                <a:cubicBezTo>
                  <a:pt x="1019" y="37"/>
                  <a:pt x="1011" y="28"/>
                  <a:pt x="1011" y="18"/>
                </a:cubicBezTo>
                <a:cubicBezTo>
                  <a:pt x="1011" y="8"/>
                  <a:pt x="1019" y="0"/>
                  <a:pt x="1029" y="0"/>
                </a:cubicBezTo>
                <a:cubicBezTo>
                  <a:pt x="1066" y="0"/>
                  <a:pt x="1066" y="0"/>
                  <a:pt x="1066" y="0"/>
                </a:cubicBezTo>
                <a:cubicBezTo>
                  <a:pt x="1076" y="0"/>
                  <a:pt x="1084" y="8"/>
                  <a:pt x="1084" y="18"/>
                </a:cubicBezTo>
                <a:cubicBezTo>
                  <a:pt x="1084" y="28"/>
                  <a:pt x="1076" y="37"/>
                  <a:pt x="1066" y="37"/>
                </a:cubicBezTo>
                <a:close/>
                <a:moveTo>
                  <a:pt x="954" y="37"/>
                </a:moveTo>
                <a:cubicBezTo>
                  <a:pt x="954" y="37"/>
                  <a:pt x="954" y="37"/>
                  <a:pt x="954" y="37"/>
                </a:cubicBezTo>
                <a:cubicBezTo>
                  <a:pt x="916" y="37"/>
                  <a:pt x="916" y="37"/>
                  <a:pt x="916" y="37"/>
                </a:cubicBezTo>
                <a:cubicBezTo>
                  <a:pt x="906" y="37"/>
                  <a:pt x="898" y="28"/>
                  <a:pt x="898" y="18"/>
                </a:cubicBezTo>
                <a:cubicBezTo>
                  <a:pt x="898" y="8"/>
                  <a:pt x="906" y="0"/>
                  <a:pt x="916" y="0"/>
                </a:cubicBezTo>
                <a:cubicBezTo>
                  <a:pt x="954" y="0"/>
                  <a:pt x="954" y="0"/>
                  <a:pt x="954" y="0"/>
                </a:cubicBezTo>
                <a:cubicBezTo>
                  <a:pt x="964" y="0"/>
                  <a:pt x="972" y="8"/>
                  <a:pt x="972" y="18"/>
                </a:cubicBezTo>
                <a:cubicBezTo>
                  <a:pt x="972" y="28"/>
                  <a:pt x="964" y="37"/>
                  <a:pt x="954" y="37"/>
                </a:cubicBezTo>
                <a:close/>
                <a:moveTo>
                  <a:pt x="841" y="37"/>
                </a:moveTo>
                <a:cubicBezTo>
                  <a:pt x="841" y="37"/>
                  <a:pt x="841" y="37"/>
                  <a:pt x="841" y="37"/>
                </a:cubicBezTo>
                <a:cubicBezTo>
                  <a:pt x="804" y="37"/>
                  <a:pt x="804" y="37"/>
                  <a:pt x="804" y="37"/>
                </a:cubicBezTo>
                <a:cubicBezTo>
                  <a:pt x="794" y="37"/>
                  <a:pt x="786" y="28"/>
                  <a:pt x="786" y="18"/>
                </a:cubicBezTo>
                <a:cubicBezTo>
                  <a:pt x="786" y="8"/>
                  <a:pt x="794" y="0"/>
                  <a:pt x="804" y="0"/>
                </a:cubicBezTo>
                <a:cubicBezTo>
                  <a:pt x="841" y="0"/>
                  <a:pt x="841" y="0"/>
                  <a:pt x="841" y="0"/>
                </a:cubicBezTo>
                <a:cubicBezTo>
                  <a:pt x="852" y="0"/>
                  <a:pt x="860" y="8"/>
                  <a:pt x="860" y="18"/>
                </a:cubicBezTo>
                <a:cubicBezTo>
                  <a:pt x="860" y="28"/>
                  <a:pt x="852" y="37"/>
                  <a:pt x="841" y="37"/>
                </a:cubicBezTo>
                <a:close/>
                <a:moveTo>
                  <a:pt x="729" y="37"/>
                </a:moveTo>
                <a:cubicBezTo>
                  <a:pt x="729" y="37"/>
                  <a:pt x="729" y="37"/>
                  <a:pt x="729" y="37"/>
                </a:cubicBezTo>
                <a:cubicBezTo>
                  <a:pt x="692" y="37"/>
                  <a:pt x="692" y="37"/>
                  <a:pt x="692" y="37"/>
                </a:cubicBezTo>
                <a:cubicBezTo>
                  <a:pt x="682" y="37"/>
                  <a:pt x="673" y="28"/>
                  <a:pt x="673" y="18"/>
                </a:cubicBezTo>
                <a:cubicBezTo>
                  <a:pt x="673" y="8"/>
                  <a:pt x="682" y="0"/>
                  <a:pt x="692" y="0"/>
                </a:cubicBezTo>
                <a:cubicBezTo>
                  <a:pt x="729" y="0"/>
                  <a:pt x="729" y="0"/>
                  <a:pt x="729" y="0"/>
                </a:cubicBezTo>
                <a:cubicBezTo>
                  <a:pt x="739" y="0"/>
                  <a:pt x="747" y="8"/>
                  <a:pt x="747" y="18"/>
                </a:cubicBezTo>
                <a:cubicBezTo>
                  <a:pt x="747" y="28"/>
                  <a:pt x="739" y="37"/>
                  <a:pt x="729" y="37"/>
                </a:cubicBezTo>
                <a:close/>
                <a:moveTo>
                  <a:pt x="617" y="37"/>
                </a:moveTo>
                <a:cubicBezTo>
                  <a:pt x="617" y="37"/>
                  <a:pt x="617" y="37"/>
                  <a:pt x="617" y="37"/>
                </a:cubicBezTo>
                <a:cubicBezTo>
                  <a:pt x="579" y="37"/>
                  <a:pt x="579" y="37"/>
                  <a:pt x="579" y="37"/>
                </a:cubicBezTo>
                <a:cubicBezTo>
                  <a:pt x="569" y="37"/>
                  <a:pt x="561" y="28"/>
                  <a:pt x="561" y="18"/>
                </a:cubicBezTo>
                <a:cubicBezTo>
                  <a:pt x="561" y="8"/>
                  <a:pt x="569" y="0"/>
                  <a:pt x="579" y="0"/>
                </a:cubicBezTo>
                <a:cubicBezTo>
                  <a:pt x="617" y="0"/>
                  <a:pt x="617" y="0"/>
                  <a:pt x="617" y="0"/>
                </a:cubicBezTo>
                <a:cubicBezTo>
                  <a:pt x="627" y="0"/>
                  <a:pt x="635" y="8"/>
                  <a:pt x="635" y="18"/>
                </a:cubicBezTo>
                <a:cubicBezTo>
                  <a:pt x="635" y="28"/>
                  <a:pt x="627" y="37"/>
                  <a:pt x="617" y="37"/>
                </a:cubicBezTo>
                <a:close/>
                <a:moveTo>
                  <a:pt x="504" y="37"/>
                </a:moveTo>
                <a:cubicBezTo>
                  <a:pt x="504" y="37"/>
                  <a:pt x="504" y="37"/>
                  <a:pt x="504" y="37"/>
                </a:cubicBezTo>
                <a:cubicBezTo>
                  <a:pt x="467" y="37"/>
                  <a:pt x="467" y="37"/>
                  <a:pt x="467" y="37"/>
                </a:cubicBezTo>
                <a:cubicBezTo>
                  <a:pt x="457" y="37"/>
                  <a:pt x="449" y="28"/>
                  <a:pt x="449" y="18"/>
                </a:cubicBezTo>
                <a:cubicBezTo>
                  <a:pt x="449" y="8"/>
                  <a:pt x="457" y="0"/>
                  <a:pt x="467" y="0"/>
                </a:cubicBezTo>
                <a:cubicBezTo>
                  <a:pt x="504" y="0"/>
                  <a:pt x="504" y="0"/>
                  <a:pt x="504" y="0"/>
                </a:cubicBezTo>
                <a:cubicBezTo>
                  <a:pt x="514" y="0"/>
                  <a:pt x="523" y="8"/>
                  <a:pt x="523" y="18"/>
                </a:cubicBezTo>
                <a:cubicBezTo>
                  <a:pt x="523" y="28"/>
                  <a:pt x="514" y="37"/>
                  <a:pt x="504" y="37"/>
                </a:cubicBezTo>
                <a:close/>
                <a:moveTo>
                  <a:pt x="392" y="37"/>
                </a:moveTo>
                <a:cubicBezTo>
                  <a:pt x="392" y="37"/>
                  <a:pt x="392" y="37"/>
                  <a:pt x="392" y="37"/>
                </a:cubicBezTo>
                <a:cubicBezTo>
                  <a:pt x="354" y="37"/>
                  <a:pt x="354" y="37"/>
                  <a:pt x="354" y="37"/>
                </a:cubicBezTo>
                <a:cubicBezTo>
                  <a:pt x="344" y="37"/>
                  <a:pt x="336" y="28"/>
                  <a:pt x="336" y="18"/>
                </a:cubicBezTo>
                <a:cubicBezTo>
                  <a:pt x="336" y="8"/>
                  <a:pt x="344" y="0"/>
                  <a:pt x="354" y="0"/>
                </a:cubicBezTo>
                <a:cubicBezTo>
                  <a:pt x="392" y="0"/>
                  <a:pt x="392" y="0"/>
                  <a:pt x="392" y="0"/>
                </a:cubicBezTo>
                <a:cubicBezTo>
                  <a:pt x="402" y="0"/>
                  <a:pt x="410" y="8"/>
                  <a:pt x="410" y="18"/>
                </a:cubicBezTo>
                <a:cubicBezTo>
                  <a:pt x="410" y="28"/>
                  <a:pt x="402" y="37"/>
                  <a:pt x="392" y="37"/>
                </a:cubicBezTo>
                <a:close/>
                <a:moveTo>
                  <a:pt x="280" y="37"/>
                </a:moveTo>
                <a:cubicBezTo>
                  <a:pt x="280" y="37"/>
                  <a:pt x="280" y="37"/>
                  <a:pt x="280" y="37"/>
                </a:cubicBezTo>
                <a:cubicBezTo>
                  <a:pt x="242" y="37"/>
                  <a:pt x="242" y="37"/>
                  <a:pt x="242" y="37"/>
                </a:cubicBezTo>
                <a:cubicBezTo>
                  <a:pt x="232" y="37"/>
                  <a:pt x="224" y="28"/>
                  <a:pt x="224" y="18"/>
                </a:cubicBezTo>
                <a:cubicBezTo>
                  <a:pt x="224" y="8"/>
                  <a:pt x="232" y="0"/>
                  <a:pt x="242" y="0"/>
                </a:cubicBezTo>
                <a:cubicBezTo>
                  <a:pt x="280" y="0"/>
                  <a:pt x="280" y="0"/>
                  <a:pt x="280" y="0"/>
                </a:cubicBezTo>
                <a:cubicBezTo>
                  <a:pt x="290" y="0"/>
                  <a:pt x="298" y="8"/>
                  <a:pt x="298" y="18"/>
                </a:cubicBezTo>
                <a:cubicBezTo>
                  <a:pt x="298" y="28"/>
                  <a:pt x="290" y="37"/>
                  <a:pt x="280" y="37"/>
                </a:cubicBezTo>
                <a:close/>
                <a:moveTo>
                  <a:pt x="167" y="37"/>
                </a:moveTo>
                <a:cubicBezTo>
                  <a:pt x="167" y="37"/>
                  <a:pt x="167" y="37"/>
                  <a:pt x="167" y="37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20" y="37"/>
                  <a:pt x="112" y="28"/>
                  <a:pt x="112" y="18"/>
                </a:cubicBezTo>
                <a:cubicBezTo>
                  <a:pt x="112" y="8"/>
                  <a:pt x="120" y="0"/>
                  <a:pt x="130" y="0"/>
                </a:cubicBezTo>
                <a:cubicBezTo>
                  <a:pt x="167" y="0"/>
                  <a:pt x="167" y="0"/>
                  <a:pt x="167" y="0"/>
                </a:cubicBezTo>
                <a:cubicBezTo>
                  <a:pt x="177" y="0"/>
                  <a:pt x="185" y="8"/>
                  <a:pt x="185" y="18"/>
                </a:cubicBezTo>
                <a:cubicBezTo>
                  <a:pt x="185" y="28"/>
                  <a:pt x="177" y="37"/>
                  <a:pt x="167" y="3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21" name="Freeform 323">
            <a:extLst>
              <a:ext uri="{FF2B5EF4-FFF2-40B4-BE49-F238E27FC236}">
                <a16:creationId xmlns:a16="http://schemas.microsoft.com/office/drawing/2014/main" id="{72AD99AB-A602-4AB6-9B1A-9708464DA5AA}"/>
              </a:ext>
            </a:extLst>
          </p:cNvPr>
          <p:cNvSpPr>
            <a:spLocks/>
          </p:cNvSpPr>
          <p:nvPr/>
        </p:nvSpPr>
        <p:spPr bwMode="auto">
          <a:xfrm>
            <a:off x="3339763" y="2389541"/>
            <a:ext cx="1118495" cy="429781"/>
          </a:xfrm>
          <a:custGeom>
            <a:avLst/>
            <a:gdLst>
              <a:gd name="T0" fmla="*/ 1645 w 1710"/>
              <a:gd name="T1" fmla="*/ 657 h 657"/>
              <a:gd name="T2" fmla="*/ 64 w 1710"/>
              <a:gd name="T3" fmla="*/ 657 h 657"/>
              <a:gd name="T4" fmla="*/ 0 w 1710"/>
              <a:gd name="T5" fmla="*/ 592 h 657"/>
              <a:gd name="T6" fmla="*/ 0 w 1710"/>
              <a:gd name="T7" fmla="*/ 65 h 657"/>
              <a:gd name="T8" fmla="*/ 64 w 1710"/>
              <a:gd name="T9" fmla="*/ 0 h 657"/>
              <a:gd name="T10" fmla="*/ 1645 w 1710"/>
              <a:gd name="T11" fmla="*/ 0 h 657"/>
              <a:gd name="T12" fmla="*/ 1710 w 1710"/>
              <a:gd name="T13" fmla="*/ 65 h 657"/>
              <a:gd name="T14" fmla="*/ 1710 w 1710"/>
              <a:gd name="T15" fmla="*/ 592 h 657"/>
              <a:gd name="T16" fmla="*/ 1645 w 1710"/>
              <a:gd name="T17" fmla="*/ 657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10" h="657">
                <a:moveTo>
                  <a:pt x="1645" y="657"/>
                </a:moveTo>
                <a:cubicBezTo>
                  <a:pt x="64" y="657"/>
                  <a:pt x="64" y="657"/>
                  <a:pt x="64" y="657"/>
                </a:cubicBezTo>
                <a:cubicBezTo>
                  <a:pt x="29" y="657"/>
                  <a:pt x="0" y="627"/>
                  <a:pt x="0" y="592"/>
                </a:cubicBezTo>
                <a:cubicBezTo>
                  <a:pt x="0" y="65"/>
                  <a:pt x="0" y="65"/>
                  <a:pt x="0" y="65"/>
                </a:cubicBezTo>
                <a:cubicBezTo>
                  <a:pt x="0" y="29"/>
                  <a:pt x="29" y="0"/>
                  <a:pt x="64" y="0"/>
                </a:cubicBezTo>
                <a:cubicBezTo>
                  <a:pt x="1645" y="0"/>
                  <a:pt x="1645" y="0"/>
                  <a:pt x="1645" y="0"/>
                </a:cubicBezTo>
                <a:cubicBezTo>
                  <a:pt x="1681" y="0"/>
                  <a:pt x="1710" y="29"/>
                  <a:pt x="1710" y="65"/>
                </a:cubicBezTo>
                <a:cubicBezTo>
                  <a:pt x="1710" y="592"/>
                  <a:pt x="1710" y="592"/>
                  <a:pt x="1710" y="592"/>
                </a:cubicBezTo>
                <a:cubicBezTo>
                  <a:pt x="1710" y="627"/>
                  <a:pt x="1681" y="657"/>
                  <a:pt x="1645" y="657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22" name="Freeform 324">
            <a:extLst>
              <a:ext uri="{FF2B5EF4-FFF2-40B4-BE49-F238E27FC236}">
                <a16:creationId xmlns:a16="http://schemas.microsoft.com/office/drawing/2014/main" id="{B6FA4C29-AD8B-4724-A711-2BA1E755090E}"/>
              </a:ext>
            </a:extLst>
          </p:cNvPr>
          <p:cNvSpPr>
            <a:spLocks/>
          </p:cNvSpPr>
          <p:nvPr/>
        </p:nvSpPr>
        <p:spPr bwMode="auto">
          <a:xfrm>
            <a:off x="3760349" y="2464075"/>
            <a:ext cx="629668" cy="19360"/>
          </a:xfrm>
          <a:custGeom>
            <a:avLst/>
            <a:gdLst>
              <a:gd name="T0" fmla="*/ 948 w 963"/>
              <a:gd name="T1" fmla="*/ 30 h 30"/>
              <a:gd name="T2" fmla="*/ 15 w 963"/>
              <a:gd name="T3" fmla="*/ 30 h 30"/>
              <a:gd name="T4" fmla="*/ 0 w 963"/>
              <a:gd name="T5" fmla="*/ 15 h 30"/>
              <a:gd name="T6" fmla="*/ 15 w 963"/>
              <a:gd name="T7" fmla="*/ 0 h 30"/>
              <a:gd name="T8" fmla="*/ 948 w 963"/>
              <a:gd name="T9" fmla="*/ 0 h 30"/>
              <a:gd name="T10" fmla="*/ 963 w 963"/>
              <a:gd name="T11" fmla="*/ 15 h 30"/>
              <a:gd name="T12" fmla="*/ 948 w 963"/>
              <a:gd name="T13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63" h="30">
                <a:moveTo>
                  <a:pt x="948" y="30"/>
                </a:moveTo>
                <a:cubicBezTo>
                  <a:pt x="15" y="30"/>
                  <a:pt x="15" y="30"/>
                  <a:pt x="15" y="30"/>
                </a:cubicBezTo>
                <a:cubicBezTo>
                  <a:pt x="7" y="30"/>
                  <a:pt x="0" y="23"/>
                  <a:pt x="0" y="15"/>
                </a:cubicBezTo>
                <a:cubicBezTo>
                  <a:pt x="0" y="6"/>
                  <a:pt x="7" y="0"/>
                  <a:pt x="15" y="0"/>
                </a:cubicBezTo>
                <a:cubicBezTo>
                  <a:pt x="948" y="0"/>
                  <a:pt x="948" y="0"/>
                  <a:pt x="948" y="0"/>
                </a:cubicBezTo>
                <a:cubicBezTo>
                  <a:pt x="956" y="0"/>
                  <a:pt x="963" y="6"/>
                  <a:pt x="963" y="15"/>
                </a:cubicBezTo>
                <a:cubicBezTo>
                  <a:pt x="963" y="23"/>
                  <a:pt x="956" y="30"/>
                  <a:pt x="948" y="3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23" name="Freeform 325">
            <a:extLst>
              <a:ext uri="{FF2B5EF4-FFF2-40B4-BE49-F238E27FC236}">
                <a16:creationId xmlns:a16="http://schemas.microsoft.com/office/drawing/2014/main" id="{2F5F59F9-A2F2-45A2-AAFC-E9DD3079B94C}"/>
              </a:ext>
            </a:extLst>
          </p:cNvPr>
          <p:cNvSpPr>
            <a:spLocks/>
          </p:cNvSpPr>
          <p:nvPr/>
        </p:nvSpPr>
        <p:spPr bwMode="auto">
          <a:xfrm>
            <a:off x="3760349" y="2578296"/>
            <a:ext cx="629668" cy="19844"/>
          </a:xfrm>
          <a:custGeom>
            <a:avLst/>
            <a:gdLst>
              <a:gd name="T0" fmla="*/ 948 w 963"/>
              <a:gd name="T1" fmla="*/ 30 h 30"/>
              <a:gd name="T2" fmla="*/ 15 w 963"/>
              <a:gd name="T3" fmla="*/ 30 h 30"/>
              <a:gd name="T4" fmla="*/ 0 w 963"/>
              <a:gd name="T5" fmla="*/ 15 h 30"/>
              <a:gd name="T6" fmla="*/ 15 w 963"/>
              <a:gd name="T7" fmla="*/ 0 h 30"/>
              <a:gd name="T8" fmla="*/ 948 w 963"/>
              <a:gd name="T9" fmla="*/ 0 h 30"/>
              <a:gd name="T10" fmla="*/ 963 w 963"/>
              <a:gd name="T11" fmla="*/ 15 h 30"/>
              <a:gd name="T12" fmla="*/ 948 w 963"/>
              <a:gd name="T13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63" h="30">
                <a:moveTo>
                  <a:pt x="948" y="30"/>
                </a:moveTo>
                <a:cubicBezTo>
                  <a:pt x="15" y="30"/>
                  <a:pt x="15" y="30"/>
                  <a:pt x="15" y="30"/>
                </a:cubicBezTo>
                <a:cubicBezTo>
                  <a:pt x="7" y="30"/>
                  <a:pt x="0" y="23"/>
                  <a:pt x="0" y="15"/>
                </a:cubicBezTo>
                <a:cubicBezTo>
                  <a:pt x="0" y="6"/>
                  <a:pt x="7" y="0"/>
                  <a:pt x="15" y="0"/>
                </a:cubicBezTo>
                <a:cubicBezTo>
                  <a:pt x="948" y="0"/>
                  <a:pt x="948" y="0"/>
                  <a:pt x="948" y="0"/>
                </a:cubicBezTo>
                <a:cubicBezTo>
                  <a:pt x="956" y="0"/>
                  <a:pt x="963" y="6"/>
                  <a:pt x="963" y="15"/>
                </a:cubicBezTo>
                <a:cubicBezTo>
                  <a:pt x="963" y="23"/>
                  <a:pt x="956" y="30"/>
                  <a:pt x="948" y="3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24" name="Freeform 326">
            <a:extLst>
              <a:ext uri="{FF2B5EF4-FFF2-40B4-BE49-F238E27FC236}">
                <a16:creationId xmlns:a16="http://schemas.microsoft.com/office/drawing/2014/main" id="{8AE7ABB3-E1DB-4467-B306-571508B73F81}"/>
              </a:ext>
            </a:extLst>
          </p:cNvPr>
          <p:cNvSpPr>
            <a:spLocks/>
          </p:cNvSpPr>
          <p:nvPr/>
        </p:nvSpPr>
        <p:spPr bwMode="auto">
          <a:xfrm>
            <a:off x="3760349" y="2692033"/>
            <a:ext cx="322820" cy="20328"/>
          </a:xfrm>
          <a:custGeom>
            <a:avLst/>
            <a:gdLst>
              <a:gd name="T0" fmla="*/ 486 w 494"/>
              <a:gd name="T1" fmla="*/ 31 h 31"/>
              <a:gd name="T2" fmla="*/ 8 w 494"/>
              <a:gd name="T3" fmla="*/ 31 h 31"/>
              <a:gd name="T4" fmla="*/ 0 w 494"/>
              <a:gd name="T5" fmla="*/ 16 h 31"/>
              <a:gd name="T6" fmla="*/ 8 w 494"/>
              <a:gd name="T7" fmla="*/ 0 h 31"/>
              <a:gd name="T8" fmla="*/ 486 w 494"/>
              <a:gd name="T9" fmla="*/ 0 h 31"/>
              <a:gd name="T10" fmla="*/ 494 w 494"/>
              <a:gd name="T11" fmla="*/ 16 h 31"/>
              <a:gd name="T12" fmla="*/ 486 w 494"/>
              <a:gd name="T13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94" h="31">
                <a:moveTo>
                  <a:pt x="486" y="31"/>
                </a:moveTo>
                <a:cubicBezTo>
                  <a:pt x="8" y="31"/>
                  <a:pt x="8" y="31"/>
                  <a:pt x="8" y="31"/>
                </a:cubicBezTo>
                <a:cubicBezTo>
                  <a:pt x="3" y="31"/>
                  <a:pt x="0" y="24"/>
                  <a:pt x="0" y="16"/>
                </a:cubicBezTo>
                <a:cubicBezTo>
                  <a:pt x="0" y="7"/>
                  <a:pt x="3" y="0"/>
                  <a:pt x="8" y="0"/>
                </a:cubicBezTo>
                <a:cubicBezTo>
                  <a:pt x="486" y="0"/>
                  <a:pt x="486" y="0"/>
                  <a:pt x="486" y="0"/>
                </a:cubicBezTo>
                <a:cubicBezTo>
                  <a:pt x="491" y="0"/>
                  <a:pt x="494" y="7"/>
                  <a:pt x="494" y="16"/>
                </a:cubicBezTo>
                <a:cubicBezTo>
                  <a:pt x="494" y="24"/>
                  <a:pt x="491" y="31"/>
                  <a:pt x="486" y="3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25" name="Freeform 327">
            <a:extLst>
              <a:ext uri="{FF2B5EF4-FFF2-40B4-BE49-F238E27FC236}">
                <a16:creationId xmlns:a16="http://schemas.microsoft.com/office/drawing/2014/main" id="{4EA4494F-264E-4D81-8DE7-063730064E06}"/>
              </a:ext>
            </a:extLst>
          </p:cNvPr>
          <p:cNvSpPr>
            <a:spLocks/>
          </p:cNvSpPr>
          <p:nvPr/>
        </p:nvSpPr>
        <p:spPr bwMode="auto">
          <a:xfrm>
            <a:off x="3412361" y="2438424"/>
            <a:ext cx="302976" cy="302976"/>
          </a:xfrm>
          <a:custGeom>
            <a:avLst/>
            <a:gdLst>
              <a:gd name="T0" fmla="*/ 240 w 463"/>
              <a:gd name="T1" fmla="*/ 4 h 463"/>
              <a:gd name="T2" fmla="*/ 459 w 463"/>
              <a:gd name="T3" fmla="*/ 239 h 463"/>
              <a:gd name="T4" fmla="*/ 224 w 463"/>
              <a:gd name="T5" fmla="*/ 458 h 463"/>
              <a:gd name="T6" fmla="*/ 5 w 463"/>
              <a:gd name="T7" fmla="*/ 223 h 463"/>
              <a:gd name="T8" fmla="*/ 240 w 463"/>
              <a:gd name="T9" fmla="*/ 4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3" h="463">
                <a:moveTo>
                  <a:pt x="240" y="4"/>
                </a:moveTo>
                <a:cubicBezTo>
                  <a:pt x="365" y="9"/>
                  <a:pt x="463" y="114"/>
                  <a:pt x="459" y="239"/>
                </a:cubicBezTo>
                <a:cubicBezTo>
                  <a:pt x="454" y="365"/>
                  <a:pt x="349" y="463"/>
                  <a:pt x="224" y="458"/>
                </a:cubicBezTo>
                <a:cubicBezTo>
                  <a:pt x="98" y="453"/>
                  <a:pt x="0" y="348"/>
                  <a:pt x="5" y="223"/>
                </a:cubicBezTo>
                <a:cubicBezTo>
                  <a:pt x="10" y="98"/>
                  <a:pt x="115" y="0"/>
                  <a:pt x="240" y="4"/>
                </a:cubicBezTo>
                <a:close/>
              </a:path>
            </a:pathLst>
          </a:custGeom>
          <a:solidFill>
            <a:srgbClr val="FFE3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26" name="Freeform 328">
            <a:extLst>
              <a:ext uri="{FF2B5EF4-FFF2-40B4-BE49-F238E27FC236}">
                <a16:creationId xmlns:a16="http://schemas.microsoft.com/office/drawing/2014/main" id="{CC8D7BB8-8251-48B6-8B25-A9122FEED5D6}"/>
              </a:ext>
            </a:extLst>
          </p:cNvPr>
          <p:cNvSpPr>
            <a:spLocks/>
          </p:cNvSpPr>
          <p:nvPr/>
        </p:nvSpPr>
        <p:spPr bwMode="auto">
          <a:xfrm>
            <a:off x="3422041" y="2447620"/>
            <a:ext cx="284101" cy="284101"/>
          </a:xfrm>
          <a:custGeom>
            <a:avLst/>
            <a:gdLst>
              <a:gd name="T0" fmla="*/ 225 w 434"/>
              <a:gd name="T1" fmla="*/ 4 h 434"/>
              <a:gd name="T2" fmla="*/ 430 w 434"/>
              <a:gd name="T3" fmla="*/ 225 h 434"/>
              <a:gd name="T4" fmla="*/ 209 w 434"/>
              <a:gd name="T5" fmla="*/ 430 h 434"/>
              <a:gd name="T6" fmla="*/ 4 w 434"/>
              <a:gd name="T7" fmla="*/ 209 h 434"/>
              <a:gd name="T8" fmla="*/ 225 w 434"/>
              <a:gd name="T9" fmla="*/ 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4" h="434">
                <a:moveTo>
                  <a:pt x="225" y="4"/>
                </a:moveTo>
                <a:cubicBezTo>
                  <a:pt x="342" y="9"/>
                  <a:pt x="434" y="107"/>
                  <a:pt x="430" y="225"/>
                </a:cubicBezTo>
                <a:cubicBezTo>
                  <a:pt x="425" y="342"/>
                  <a:pt x="327" y="434"/>
                  <a:pt x="209" y="430"/>
                </a:cubicBezTo>
                <a:cubicBezTo>
                  <a:pt x="92" y="426"/>
                  <a:pt x="0" y="327"/>
                  <a:pt x="4" y="209"/>
                </a:cubicBezTo>
                <a:cubicBezTo>
                  <a:pt x="8" y="92"/>
                  <a:pt x="107" y="0"/>
                  <a:pt x="225" y="4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27" name="Freeform 329">
            <a:extLst>
              <a:ext uri="{FF2B5EF4-FFF2-40B4-BE49-F238E27FC236}">
                <a16:creationId xmlns:a16="http://schemas.microsoft.com/office/drawing/2014/main" id="{BA4C4D62-3B7B-40F9-B6BC-7BCDCDD81874}"/>
              </a:ext>
            </a:extLst>
          </p:cNvPr>
          <p:cNvSpPr>
            <a:spLocks/>
          </p:cNvSpPr>
          <p:nvPr/>
        </p:nvSpPr>
        <p:spPr bwMode="auto">
          <a:xfrm>
            <a:off x="3456888" y="2482467"/>
            <a:ext cx="214407" cy="214407"/>
          </a:xfrm>
          <a:custGeom>
            <a:avLst/>
            <a:gdLst>
              <a:gd name="T0" fmla="*/ 170 w 328"/>
              <a:gd name="T1" fmla="*/ 4 h 328"/>
              <a:gd name="T2" fmla="*/ 324 w 328"/>
              <a:gd name="T3" fmla="*/ 170 h 328"/>
              <a:gd name="T4" fmla="*/ 158 w 328"/>
              <a:gd name="T5" fmla="*/ 325 h 328"/>
              <a:gd name="T6" fmla="*/ 3 w 328"/>
              <a:gd name="T7" fmla="*/ 158 h 328"/>
              <a:gd name="T8" fmla="*/ 170 w 328"/>
              <a:gd name="T9" fmla="*/ 4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8" h="328">
                <a:moveTo>
                  <a:pt x="170" y="4"/>
                </a:moveTo>
                <a:cubicBezTo>
                  <a:pt x="258" y="7"/>
                  <a:pt x="328" y="81"/>
                  <a:pt x="324" y="170"/>
                </a:cubicBezTo>
                <a:cubicBezTo>
                  <a:pt x="321" y="259"/>
                  <a:pt x="247" y="328"/>
                  <a:pt x="158" y="325"/>
                </a:cubicBezTo>
                <a:cubicBezTo>
                  <a:pt x="69" y="321"/>
                  <a:pt x="0" y="247"/>
                  <a:pt x="3" y="158"/>
                </a:cubicBezTo>
                <a:cubicBezTo>
                  <a:pt x="7" y="70"/>
                  <a:pt x="81" y="0"/>
                  <a:pt x="170" y="4"/>
                </a:cubicBezTo>
                <a:close/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28" name="Freeform 330">
            <a:extLst>
              <a:ext uri="{FF2B5EF4-FFF2-40B4-BE49-F238E27FC236}">
                <a16:creationId xmlns:a16="http://schemas.microsoft.com/office/drawing/2014/main" id="{BF428A9A-4A50-464A-8C28-7394113C66AE}"/>
              </a:ext>
            </a:extLst>
          </p:cNvPr>
          <p:cNvSpPr>
            <a:spLocks/>
          </p:cNvSpPr>
          <p:nvPr/>
        </p:nvSpPr>
        <p:spPr bwMode="auto">
          <a:xfrm>
            <a:off x="3518354" y="2512474"/>
            <a:ext cx="86150" cy="160200"/>
          </a:xfrm>
          <a:custGeom>
            <a:avLst/>
            <a:gdLst>
              <a:gd name="T0" fmla="*/ 131 w 132"/>
              <a:gd name="T1" fmla="*/ 157 h 245"/>
              <a:gd name="T2" fmla="*/ 85 w 132"/>
              <a:gd name="T3" fmla="*/ 102 h 245"/>
              <a:gd name="T4" fmla="*/ 55 w 132"/>
              <a:gd name="T5" fmla="*/ 80 h 245"/>
              <a:gd name="T6" fmla="*/ 75 w 132"/>
              <a:gd name="T7" fmla="*/ 67 h 245"/>
              <a:gd name="T8" fmla="*/ 110 w 132"/>
              <a:gd name="T9" fmla="*/ 81 h 245"/>
              <a:gd name="T10" fmla="*/ 130 w 132"/>
              <a:gd name="T11" fmla="*/ 59 h 245"/>
              <a:gd name="T12" fmla="*/ 90 w 132"/>
              <a:gd name="T13" fmla="*/ 37 h 245"/>
              <a:gd name="T14" fmla="*/ 91 w 132"/>
              <a:gd name="T15" fmla="*/ 1 h 245"/>
              <a:gd name="T16" fmla="*/ 60 w 132"/>
              <a:gd name="T17" fmla="*/ 0 h 245"/>
              <a:gd name="T18" fmla="*/ 59 w 132"/>
              <a:gd name="T19" fmla="*/ 36 h 245"/>
              <a:gd name="T20" fmla="*/ 10 w 132"/>
              <a:gd name="T21" fmla="*/ 82 h 245"/>
              <a:gd name="T22" fmla="*/ 58 w 132"/>
              <a:gd name="T23" fmla="*/ 135 h 245"/>
              <a:gd name="T24" fmla="*/ 86 w 132"/>
              <a:gd name="T25" fmla="*/ 159 h 245"/>
              <a:gd name="T26" fmla="*/ 62 w 132"/>
              <a:gd name="T27" fmla="*/ 175 h 245"/>
              <a:gd name="T28" fmla="*/ 22 w 132"/>
              <a:gd name="T29" fmla="*/ 158 h 245"/>
              <a:gd name="T30" fmla="*/ 0 w 132"/>
              <a:gd name="T31" fmla="*/ 181 h 245"/>
              <a:gd name="T32" fmla="*/ 53 w 132"/>
              <a:gd name="T33" fmla="*/ 206 h 245"/>
              <a:gd name="T34" fmla="*/ 51 w 132"/>
              <a:gd name="T35" fmla="*/ 244 h 245"/>
              <a:gd name="T36" fmla="*/ 82 w 132"/>
              <a:gd name="T37" fmla="*/ 245 h 245"/>
              <a:gd name="T38" fmla="*/ 83 w 132"/>
              <a:gd name="T39" fmla="*/ 206 h 245"/>
              <a:gd name="T40" fmla="*/ 131 w 132"/>
              <a:gd name="T41" fmla="*/ 157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32" h="245">
                <a:moveTo>
                  <a:pt x="131" y="157"/>
                </a:moveTo>
                <a:cubicBezTo>
                  <a:pt x="132" y="127"/>
                  <a:pt x="116" y="113"/>
                  <a:pt x="85" y="102"/>
                </a:cubicBezTo>
                <a:cubicBezTo>
                  <a:pt x="61" y="93"/>
                  <a:pt x="54" y="89"/>
                  <a:pt x="55" y="80"/>
                </a:cubicBezTo>
                <a:cubicBezTo>
                  <a:pt x="55" y="71"/>
                  <a:pt x="62" y="66"/>
                  <a:pt x="75" y="67"/>
                </a:cubicBezTo>
                <a:cubicBezTo>
                  <a:pt x="88" y="67"/>
                  <a:pt x="99" y="72"/>
                  <a:pt x="110" y="81"/>
                </a:cubicBezTo>
                <a:cubicBezTo>
                  <a:pt x="130" y="59"/>
                  <a:pt x="130" y="59"/>
                  <a:pt x="130" y="59"/>
                </a:cubicBezTo>
                <a:cubicBezTo>
                  <a:pt x="120" y="48"/>
                  <a:pt x="106" y="41"/>
                  <a:pt x="90" y="37"/>
                </a:cubicBezTo>
                <a:cubicBezTo>
                  <a:pt x="91" y="1"/>
                  <a:pt x="91" y="1"/>
                  <a:pt x="91" y="1"/>
                </a:cubicBezTo>
                <a:cubicBezTo>
                  <a:pt x="60" y="0"/>
                  <a:pt x="60" y="0"/>
                  <a:pt x="60" y="0"/>
                </a:cubicBezTo>
                <a:cubicBezTo>
                  <a:pt x="59" y="36"/>
                  <a:pt x="59" y="36"/>
                  <a:pt x="59" y="36"/>
                </a:cubicBezTo>
                <a:cubicBezTo>
                  <a:pt x="31" y="39"/>
                  <a:pt x="11" y="56"/>
                  <a:pt x="10" y="82"/>
                </a:cubicBezTo>
                <a:cubicBezTo>
                  <a:pt x="9" y="106"/>
                  <a:pt x="21" y="122"/>
                  <a:pt x="58" y="135"/>
                </a:cubicBezTo>
                <a:cubicBezTo>
                  <a:pt x="81" y="143"/>
                  <a:pt x="86" y="148"/>
                  <a:pt x="86" y="159"/>
                </a:cubicBezTo>
                <a:cubicBezTo>
                  <a:pt x="85" y="169"/>
                  <a:pt x="77" y="176"/>
                  <a:pt x="62" y="175"/>
                </a:cubicBezTo>
                <a:cubicBezTo>
                  <a:pt x="46" y="175"/>
                  <a:pt x="33" y="168"/>
                  <a:pt x="22" y="158"/>
                </a:cubicBezTo>
                <a:cubicBezTo>
                  <a:pt x="0" y="181"/>
                  <a:pt x="0" y="181"/>
                  <a:pt x="0" y="181"/>
                </a:cubicBezTo>
                <a:cubicBezTo>
                  <a:pt x="11" y="193"/>
                  <a:pt x="28" y="203"/>
                  <a:pt x="53" y="206"/>
                </a:cubicBezTo>
                <a:cubicBezTo>
                  <a:pt x="51" y="244"/>
                  <a:pt x="51" y="244"/>
                  <a:pt x="51" y="244"/>
                </a:cubicBezTo>
                <a:cubicBezTo>
                  <a:pt x="82" y="245"/>
                  <a:pt x="82" y="245"/>
                  <a:pt x="82" y="245"/>
                </a:cubicBezTo>
                <a:cubicBezTo>
                  <a:pt x="83" y="206"/>
                  <a:pt x="83" y="206"/>
                  <a:pt x="83" y="206"/>
                </a:cubicBezTo>
                <a:cubicBezTo>
                  <a:pt x="113" y="201"/>
                  <a:pt x="130" y="182"/>
                  <a:pt x="131" y="157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29" name="Freeform 331">
            <a:extLst>
              <a:ext uri="{FF2B5EF4-FFF2-40B4-BE49-F238E27FC236}">
                <a16:creationId xmlns:a16="http://schemas.microsoft.com/office/drawing/2014/main" id="{3D5D987F-AC56-4509-995A-443EE4EEF4F9}"/>
              </a:ext>
            </a:extLst>
          </p:cNvPr>
          <p:cNvSpPr>
            <a:spLocks/>
          </p:cNvSpPr>
          <p:nvPr/>
        </p:nvSpPr>
        <p:spPr bwMode="auto">
          <a:xfrm>
            <a:off x="4493589" y="5280882"/>
            <a:ext cx="604017" cy="98249"/>
          </a:xfrm>
          <a:custGeom>
            <a:avLst/>
            <a:gdLst>
              <a:gd name="T0" fmla="*/ 55 w 924"/>
              <a:gd name="T1" fmla="*/ 0 h 150"/>
              <a:gd name="T2" fmla="*/ 870 w 924"/>
              <a:gd name="T3" fmla="*/ 0 h 150"/>
              <a:gd name="T4" fmla="*/ 924 w 924"/>
              <a:gd name="T5" fmla="*/ 55 h 150"/>
              <a:gd name="T6" fmla="*/ 924 w 924"/>
              <a:gd name="T7" fmla="*/ 96 h 150"/>
              <a:gd name="T8" fmla="*/ 870 w 924"/>
              <a:gd name="T9" fmla="*/ 150 h 150"/>
              <a:gd name="T10" fmla="*/ 55 w 924"/>
              <a:gd name="T11" fmla="*/ 150 h 150"/>
              <a:gd name="T12" fmla="*/ 0 w 924"/>
              <a:gd name="T13" fmla="*/ 96 h 150"/>
              <a:gd name="T14" fmla="*/ 0 w 924"/>
              <a:gd name="T15" fmla="*/ 55 h 150"/>
              <a:gd name="T16" fmla="*/ 55 w 924"/>
              <a:gd name="T17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24" h="150">
                <a:moveTo>
                  <a:pt x="55" y="0"/>
                </a:moveTo>
                <a:cubicBezTo>
                  <a:pt x="870" y="0"/>
                  <a:pt x="870" y="0"/>
                  <a:pt x="870" y="0"/>
                </a:cubicBezTo>
                <a:cubicBezTo>
                  <a:pt x="900" y="0"/>
                  <a:pt x="924" y="25"/>
                  <a:pt x="924" y="55"/>
                </a:cubicBezTo>
                <a:cubicBezTo>
                  <a:pt x="924" y="96"/>
                  <a:pt x="924" y="96"/>
                  <a:pt x="924" y="96"/>
                </a:cubicBezTo>
                <a:cubicBezTo>
                  <a:pt x="924" y="126"/>
                  <a:pt x="900" y="150"/>
                  <a:pt x="870" y="150"/>
                </a:cubicBezTo>
                <a:cubicBezTo>
                  <a:pt x="55" y="150"/>
                  <a:pt x="55" y="150"/>
                  <a:pt x="55" y="150"/>
                </a:cubicBezTo>
                <a:cubicBezTo>
                  <a:pt x="25" y="150"/>
                  <a:pt x="0" y="126"/>
                  <a:pt x="0" y="96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25"/>
                  <a:pt x="25" y="0"/>
                  <a:pt x="55" y="0"/>
                </a:cubicBezTo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30" name="Freeform 332">
            <a:extLst>
              <a:ext uri="{FF2B5EF4-FFF2-40B4-BE49-F238E27FC236}">
                <a16:creationId xmlns:a16="http://schemas.microsoft.com/office/drawing/2014/main" id="{73AA9871-273B-4647-B668-F416BC15C58A}"/>
              </a:ext>
            </a:extLst>
          </p:cNvPr>
          <p:cNvSpPr>
            <a:spLocks/>
          </p:cNvSpPr>
          <p:nvPr/>
        </p:nvSpPr>
        <p:spPr bwMode="auto">
          <a:xfrm>
            <a:off x="4493589" y="5308954"/>
            <a:ext cx="604017" cy="42591"/>
          </a:xfrm>
          <a:custGeom>
            <a:avLst/>
            <a:gdLst>
              <a:gd name="T0" fmla="*/ 923 w 924"/>
              <a:gd name="T1" fmla="*/ 0 h 65"/>
              <a:gd name="T2" fmla="*/ 924 w 924"/>
              <a:gd name="T3" fmla="*/ 12 h 65"/>
              <a:gd name="T4" fmla="*/ 924 w 924"/>
              <a:gd name="T5" fmla="*/ 53 h 65"/>
              <a:gd name="T6" fmla="*/ 923 w 924"/>
              <a:gd name="T7" fmla="*/ 65 h 65"/>
              <a:gd name="T8" fmla="*/ 2 w 924"/>
              <a:gd name="T9" fmla="*/ 65 h 65"/>
              <a:gd name="T10" fmla="*/ 0 w 924"/>
              <a:gd name="T11" fmla="*/ 53 h 65"/>
              <a:gd name="T12" fmla="*/ 0 w 924"/>
              <a:gd name="T13" fmla="*/ 12 h 65"/>
              <a:gd name="T14" fmla="*/ 2 w 924"/>
              <a:gd name="T15" fmla="*/ 0 h 65"/>
              <a:gd name="T16" fmla="*/ 923 w 924"/>
              <a:gd name="T1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24" h="65">
                <a:moveTo>
                  <a:pt x="923" y="0"/>
                </a:moveTo>
                <a:cubicBezTo>
                  <a:pt x="924" y="4"/>
                  <a:pt x="924" y="7"/>
                  <a:pt x="924" y="12"/>
                </a:cubicBezTo>
                <a:cubicBezTo>
                  <a:pt x="924" y="53"/>
                  <a:pt x="924" y="53"/>
                  <a:pt x="924" y="53"/>
                </a:cubicBezTo>
                <a:cubicBezTo>
                  <a:pt x="924" y="57"/>
                  <a:pt x="924" y="61"/>
                  <a:pt x="923" y="65"/>
                </a:cubicBezTo>
                <a:cubicBezTo>
                  <a:pt x="2" y="65"/>
                  <a:pt x="2" y="65"/>
                  <a:pt x="2" y="65"/>
                </a:cubicBezTo>
                <a:cubicBezTo>
                  <a:pt x="1" y="61"/>
                  <a:pt x="0" y="57"/>
                  <a:pt x="0" y="53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7"/>
                  <a:pt x="1" y="4"/>
                  <a:pt x="2" y="0"/>
                </a:cubicBezTo>
                <a:cubicBezTo>
                  <a:pt x="923" y="0"/>
                  <a:pt x="923" y="0"/>
                  <a:pt x="923" y="0"/>
                </a:cubicBezTo>
              </a:path>
            </a:pathLst>
          </a:custGeom>
          <a:solidFill>
            <a:srgbClr val="FFE22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31" name="Rectangle 333">
            <a:extLst>
              <a:ext uri="{FF2B5EF4-FFF2-40B4-BE49-F238E27FC236}">
                <a16:creationId xmlns:a16="http://schemas.microsoft.com/office/drawing/2014/main" id="{463DEA10-EAC9-4764-AC69-F009D6C15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7953" y="5280882"/>
            <a:ext cx="551262" cy="4840"/>
          </a:xfrm>
          <a:prstGeom prst="rect">
            <a:avLst/>
          </a:prstGeom>
          <a:solidFill>
            <a:srgbClr val="D2DA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32" name="Freeform 334">
            <a:extLst>
              <a:ext uri="{FF2B5EF4-FFF2-40B4-BE49-F238E27FC236}">
                <a16:creationId xmlns:a16="http://schemas.microsoft.com/office/drawing/2014/main" id="{E2D2CE64-5F44-444B-B30C-A3E2E9B4D83D}"/>
              </a:ext>
            </a:extLst>
          </p:cNvPr>
          <p:cNvSpPr>
            <a:spLocks/>
          </p:cNvSpPr>
          <p:nvPr/>
        </p:nvSpPr>
        <p:spPr bwMode="auto">
          <a:xfrm>
            <a:off x="4494557" y="5280882"/>
            <a:ext cx="602565" cy="28072"/>
          </a:xfrm>
          <a:custGeom>
            <a:avLst/>
            <a:gdLst>
              <a:gd name="T0" fmla="*/ 53 w 921"/>
              <a:gd name="T1" fmla="*/ 0 h 43"/>
              <a:gd name="T2" fmla="*/ 53 w 921"/>
              <a:gd name="T3" fmla="*/ 0 h 43"/>
              <a:gd name="T4" fmla="*/ 52 w 921"/>
              <a:gd name="T5" fmla="*/ 0 h 43"/>
              <a:gd name="T6" fmla="*/ 52 w 921"/>
              <a:gd name="T7" fmla="*/ 0 h 43"/>
              <a:gd name="T8" fmla="*/ 52 w 921"/>
              <a:gd name="T9" fmla="*/ 0 h 43"/>
              <a:gd name="T10" fmla="*/ 51 w 921"/>
              <a:gd name="T11" fmla="*/ 0 h 43"/>
              <a:gd name="T12" fmla="*/ 921 w 921"/>
              <a:gd name="T13" fmla="*/ 43 h 43"/>
              <a:gd name="T14" fmla="*/ 894 w 921"/>
              <a:gd name="T15" fmla="*/ 7 h 43"/>
              <a:gd name="T16" fmla="*/ 894 w 921"/>
              <a:gd name="T17" fmla="*/ 7 h 43"/>
              <a:gd name="T18" fmla="*/ 894 w 921"/>
              <a:gd name="T19" fmla="*/ 7 h 43"/>
              <a:gd name="T20" fmla="*/ 893 w 921"/>
              <a:gd name="T21" fmla="*/ 6 h 43"/>
              <a:gd name="T22" fmla="*/ 893 w 921"/>
              <a:gd name="T23" fmla="*/ 6 h 43"/>
              <a:gd name="T24" fmla="*/ 893 w 921"/>
              <a:gd name="T25" fmla="*/ 6 h 43"/>
              <a:gd name="T26" fmla="*/ 892 w 921"/>
              <a:gd name="T27" fmla="*/ 6 h 43"/>
              <a:gd name="T28" fmla="*/ 892 w 921"/>
              <a:gd name="T29" fmla="*/ 6 h 43"/>
              <a:gd name="T30" fmla="*/ 892 w 921"/>
              <a:gd name="T31" fmla="*/ 6 h 43"/>
              <a:gd name="T32" fmla="*/ 892 w 921"/>
              <a:gd name="T33" fmla="*/ 5 h 43"/>
              <a:gd name="T34" fmla="*/ 876 w 921"/>
              <a:gd name="T35" fmla="*/ 1 h 43"/>
              <a:gd name="T36" fmla="*/ 876 w 921"/>
              <a:gd name="T37" fmla="*/ 1 h 43"/>
              <a:gd name="T38" fmla="*/ 874 w 921"/>
              <a:gd name="T39" fmla="*/ 0 h 43"/>
              <a:gd name="T40" fmla="*/ 873 w 921"/>
              <a:gd name="T41" fmla="*/ 0 h 43"/>
              <a:gd name="T42" fmla="*/ 873 w 921"/>
              <a:gd name="T43" fmla="*/ 0 h 43"/>
              <a:gd name="T44" fmla="*/ 873 w 921"/>
              <a:gd name="T45" fmla="*/ 0 h 43"/>
              <a:gd name="T46" fmla="*/ 872 w 921"/>
              <a:gd name="T47" fmla="*/ 0 h 43"/>
              <a:gd name="T48" fmla="*/ 872 w 921"/>
              <a:gd name="T49" fmla="*/ 0 h 43"/>
              <a:gd name="T50" fmla="*/ 871 w 921"/>
              <a:gd name="T51" fmla="*/ 0 h 43"/>
              <a:gd name="T52" fmla="*/ 871 w 921"/>
              <a:gd name="T53" fmla="*/ 0 h 43"/>
              <a:gd name="T54" fmla="*/ 871 w 921"/>
              <a:gd name="T55" fmla="*/ 0 h 43"/>
              <a:gd name="T56" fmla="*/ 870 w 921"/>
              <a:gd name="T57" fmla="*/ 0 h 43"/>
              <a:gd name="T58" fmla="*/ 870 w 921"/>
              <a:gd name="T59" fmla="*/ 0 h 43"/>
              <a:gd name="T60" fmla="*/ 870 w 921"/>
              <a:gd name="T61" fmla="*/ 0 h 43"/>
              <a:gd name="T62" fmla="*/ 869 w 921"/>
              <a:gd name="T63" fmla="*/ 0 h 43"/>
              <a:gd name="T64" fmla="*/ 869 w 921"/>
              <a:gd name="T65" fmla="*/ 0 h 43"/>
              <a:gd name="T66" fmla="*/ 869 w 921"/>
              <a:gd name="T67" fmla="*/ 0 h 43"/>
              <a:gd name="T68" fmla="*/ 868 w 921"/>
              <a:gd name="T69" fmla="*/ 0 h 43"/>
              <a:gd name="T70" fmla="*/ 868 w 921"/>
              <a:gd name="T71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21" h="43">
                <a:moveTo>
                  <a:pt x="868" y="0"/>
                </a:move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26" y="1"/>
                  <a:pt x="5" y="19"/>
                  <a:pt x="0" y="43"/>
                </a:cubicBezTo>
                <a:cubicBezTo>
                  <a:pt x="921" y="43"/>
                  <a:pt x="921" y="43"/>
                  <a:pt x="921" y="43"/>
                </a:cubicBezTo>
                <a:cubicBezTo>
                  <a:pt x="918" y="27"/>
                  <a:pt x="908" y="14"/>
                  <a:pt x="894" y="7"/>
                </a:cubicBezTo>
                <a:cubicBezTo>
                  <a:pt x="894" y="7"/>
                  <a:pt x="894" y="7"/>
                  <a:pt x="894" y="7"/>
                </a:cubicBezTo>
                <a:cubicBezTo>
                  <a:pt x="894" y="7"/>
                  <a:pt x="894" y="7"/>
                  <a:pt x="894" y="7"/>
                </a:cubicBezTo>
                <a:cubicBezTo>
                  <a:pt x="894" y="7"/>
                  <a:pt x="894" y="7"/>
                  <a:pt x="894" y="7"/>
                </a:cubicBezTo>
                <a:cubicBezTo>
                  <a:pt x="894" y="7"/>
                  <a:pt x="894" y="7"/>
                  <a:pt x="894" y="7"/>
                </a:cubicBezTo>
                <a:cubicBezTo>
                  <a:pt x="894" y="7"/>
                  <a:pt x="894" y="7"/>
                  <a:pt x="894" y="7"/>
                </a:cubicBezTo>
                <a:cubicBezTo>
                  <a:pt x="894" y="6"/>
                  <a:pt x="894" y="6"/>
                  <a:pt x="894" y="6"/>
                </a:cubicBezTo>
                <a:cubicBezTo>
                  <a:pt x="893" y="6"/>
                  <a:pt x="893" y="6"/>
                  <a:pt x="893" y="6"/>
                </a:cubicBezTo>
                <a:cubicBezTo>
                  <a:pt x="893" y="6"/>
                  <a:pt x="893" y="6"/>
                  <a:pt x="893" y="6"/>
                </a:cubicBezTo>
                <a:cubicBezTo>
                  <a:pt x="893" y="6"/>
                  <a:pt x="893" y="6"/>
                  <a:pt x="893" y="6"/>
                </a:cubicBezTo>
                <a:cubicBezTo>
                  <a:pt x="893" y="6"/>
                  <a:pt x="893" y="6"/>
                  <a:pt x="893" y="6"/>
                </a:cubicBezTo>
                <a:cubicBezTo>
                  <a:pt x="893" y="6"/>
                  <a:pt x="893" y="6"/>
                  <a:pt x="893" y="6"/>
                </a:cubicBezTo>
                <a:cubicBezTo>
                  <a:pt x="893" y="6"/>
                  <a:pt x="893" y="6"/>
                  <a:pt x="893" y="6"/>
                </a:cubicBezTo>
                <a:cubicBezTo>
                  <a:pt x="893" y="6"/>
                  <a:pt x="892" y="6"/>
                  <a:pt x="892" y="6"/>
                </a:cubicBezTo>
                <a:cubicBezTo>
                  <a:pt x="892" y="6"/>
                  <a:pt x="892" y="6"/>
                  <a:pt x="892" y="6"/>
                </a:cubicBezTo>
                <a:cubicBezTo>
                  <a:pt x="892" y="6"/>
                  <a:pt x="892" y="6"/>
                  <a:pt x="892" y="6"/>
                </a:cubicBezTo>
                <a:cubicBezTo>
                  <a:pt x="892" y="6"/>
                  <a:pt x="892" y="6"/>
                  <a:pt x="892" y="6"/>
                </a:cubicBezTo>
                <a:cubicBezTo>
                  <a:pt x="892" y="6"/>
                  <a:pt x="892" y="6"/>
                  <a:pt x="892" y="6"/>
                </a:cubicBezTo>
                <a:cubicBezTo>
                  <a:pt x="892" y="6"/>
                  <a:pt x="892" y="6"/>
                  <a:pt x="892" y="6"/>
                </a:cubicBezTo>
                <a:cubicBezTo>
                  <a:pt x="892" y="5"/>
                  <a:pt x="892" y="5"/>
                  <a:pt x="892" y="5"/>
                </a:cubicBezTo>
                <a:cubicBezTo>
                  <a:pt x="892" y="5"/>
                  <a:pt x="892" y="5"/>
                  <a:pt x="891" y="5"/>
                </a:cubicBezTo>
                <a:cubicBezTo>
                  <a:pt x="887" y="3"/>
                  <a:pt x="881" y="1"/>
                  <a:pt x="876" y="1"/>
                </a:cubicBezTo>
                <a:cubicBezTo>
                  <a:pt x="876" y="1"/>
                  <a:pt x="876" y="1"/>
                  <a:pt x="876" y="1"/>
                </a:cubicBezTo>
                <a:cubicBezTo>
                  <a:pt x="876" y="1"/>
                  <a:pt x="876" y="1"/>
                  <a:pt x="876" y="1"/>
                </a:cubicBezTo>
                <a:cubicBezTo>
                  <a:pt x="876" y="1"/>
                  <a:pt x="876" y="1"/>
                  <a:pt x="876" y="1"/>
                </a:cubicBezTo>
                <a:cubicBezTo>
                  <a:pt x="875" y="0"/>
                  <a:pt x="874" y="0"/>
                  <a:pt x="874" y="0"/>
                </a:cubicBezTo>
                <a:cubicBezTo>
                  <a:pt x="874" y="0"/>
                  <a:pt x="874" y="0"/>
                  <a:pt x="874" y="0"/>
                </a:cubicBezTo>
                <a:cubicBezTo>
                  <a:pt x="874" y="0"/>
                  <a:pt x="874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2" y="0"/>
                  <a:pt x="872" y="0"/>
                </a:cubicBezTo>
                <a:cubicBezTo>
                  <a:pt x="872" y="0"/>
                  <a:pt x="872" y="0"/>
                  <a:pt x="872" y="0"/>
                </a:cubicBezTo>
                <a:cubicBezTo>
                  <a:pt x="872" y="0"/>
                  <a:pt x="872" y="0"/>
                  <a:pt x="872" y="0"/>
                </a:cubicBezTo>
                <a:cubicBezTo>
                  <a:pt x="872" y="0"/>
                  <a:pt x="872" y="0"/>
                  <a:pt x="872" y="0"/>
                </a:cubicBezTo>
                <a:cubicBezTo>
                  <a:pt x="872" y="0"/>
                  <a:pt x="872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8" y="0"/>
                  <a:pt x="868" y="0"/>
                  <a:pt x="868" y="0"/>
                </a:cubicBezTo>
                <a:cubicBezTo>
                  <a:pt x="868" y="0"/>
                  <a:pt x="868" y="0"/>
                  <a:pt x="868" y="0"/>
                </a:cubicBezTo>
                <a:cubicBezTo>
                  <a:pt x="868" y="0"/>
                  <a:pt x="868" y="0"/>
                  <a:pt x="868" y="0"/>
                </a:cubicBezTo>
              </a:path>
            </a:pathLst>
          </a:custGeom>
          <a:solidFill>
            <a:srgbClr val="E1AD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33" name="Freeform 335">
            <a:extLst>
              <a:ext uri="{FF2B5EF4-FFF2-40B4-BE49-F238E27FC236}">
                <a16:creationId xmlns:a16="http://schemas.microsoft.com/office/drawing/2014/main" id="{33AD4913-9E8A-4206-8C8E-835C63E1B3C8}"/>
              </a:ext>
            </a:extLst>
          </p:cNvPr>
          <p:cNvSpPr>
            <a:spLocks/>
          </p:cNvSpPr>
          <p:nvPr/>
        </p:nvSpPr>
        <p:spPr bwMode="auto">
          <a:xfrm>
            <a:off x="4493589" y="5182633"/>
            <a:ext cx="604017" cy="98249"/>
          </a:xfrm>
          <a:custGeom>
            <a:avLst/>
            <a:gdLst>
              <a:gd name="T0" fmla="*/ 55 w 924"/>
              <a:gd name="T1" fmla="*/ 0 h 150"/>
              <a:gd name="T2" fmla="*/ 870 w 924"/>
              <a:gd name="T3" fmla="*/ 0 h 150"/>
              <a:gd name="T4" fmla="*/ 924 w 924"/>
              <a:gd name="T5" fmla="*/ 54 h 150"/>
              <a:gd name="T6" fmla="*/ 924 w 924"/>
              <a:gd name="T7" fmla="*/ 95 h 150"/>
              <a:gd name="T8" fmla="*/ 870 w 924"/>
              <a:gd name="T9" fmla="*/ 150 h 150"/>
              <a:gd name="T10" fmla="*/ 55 w 924"/>
              <a:gd name="T11" fmla="*/ 150 h 150"/>
              <a:gd name="T12" fmla="*/ 0 w 924"/>
              <a:gd name="T13" fmla="*/ 95 h 150"/>
              <a:gd name="T14" fmla="*/ 0 w 924"/>
              <a:gd name="T15" fmla="*/ 54 h 150"/>
              <a:gd name="T16" fmla="*/ 55 w 924"/>
              <a:gd name="T17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24" h="150">
                <a:moveTo>
                  <a:pt x="55" y="0"/>
                </a:moveTo>
                <a:cubicBezTo>
                  <a:pt x="870" y="0"/>
                  <a:pt x="870" y="0"/>
                  <a:pt x="870" y="0"/>
                </a:cubicBezTo>
                <a:cubicBezTo>
                  <a:pt x="900" y="0"/>
                  <a:pt x="924" y="24"/>
                  <a:pt x="924" y="54"/>
                </a:cubicBezTo>
                <a:cubicBezTo>
                  <a:pt x="924" y="95"/>
                  <a:pt x="924" y="95"/>
                  <a:pt x="924" y="95"/>
                </a:cubicBezTo>
                <a:cubicBezTo>
                  <a:pt x="924" y="125"/>
                  <a:pt x="900" y="150"/>
                  <a:pt x="870" y="150"/>
                </a:cubicBezTo>
                <a:cubicBezTo>
                  <a:pt x="55" y="150"/>
                  <a:pt x="55" y="150"/>
                  <a:pt x="55" y="150"/>
                </a:cubicBezTo>
                <a:cubicBezTo>
                  <a:pt x="25" y="150"/>
                  <a:pt x="0" y="125"/>
                  <a:pt x="0" y="95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24"/>
                  <a:pt x="25" y="0"/>
                  <a:pt x="55" y="0"/>
                </a:cubicBezTo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34" name="Freeform 336">
            <a:extLst>
              <a:ext uri="{FF2B5EF4-FFF2-40B4-BE49-F238E27FC236}">
                <a16:creationId xmlns:a16="http://schemas.microsoft.com/office/drawing/2014/main" id="{A0199BA1-E6F1-40A4-ABD2-94C10F31E49F}"/>
              </a:ext>
            </a:extLst>
          </p:cNvPr>
          <p:cNvSpPr>
            <a:spLocks/>
          </p:cNvSpPr>
          <p:nvPr/>
        </p:nvSpPr>
        <p:spPr bwMode="auto">
          <a:xfrm>
            <a:off x="4493589" y="5210220"/>
            <a:ext cx="604017" cy="42591"/>
          </a:xfrm>
          <a:custGeom>
            <a:avLst/>
            <a:gdLst>
              <a:gd name="T0" fmla="*/ 923 w 924"/>
              <a:gd name="T1" fmla="*/ 0 h 65"/>
              <a:gd name="T2" fmla="*/ 924 w 924"/>
              <a:gd name="T3" fmla="*/ 12 h 65"/>
              <a:gd name="T4" fmla="*/ 924 w 924"/>
              <a:gd name="T5" fmla="*/ 53 h 65"/>
              <a:gd name="T6" fmla="*/ 923 w 924"/>
              <a:gd name="T7" fmla="*/ 65 h 65"/>
              <a:gd name="T8" fmla="*/ 2 w 924"/>
              <a:gd name="T9" fmla="*/ 65 h 65"/>
              <a:gd name="T10" fmla="*/ 0 w 924"/>
              <a:gd name="T11" fmla="*/ 53 h 65"/>
              <a:gd name="T12" fmla="*/ 0 w 924"/>
              <a:gd name="T13" fmla="*/ 12 h 65"/>
              <a:gd name="T14" fmla="*/ 2 w 924"/>
              <a:gd name="T15" fmla="*/ 0 h 65"/>
              <a:gd name="T16" fmla="*/ 923 w 924"/>
              <a:gd name="T1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24" h="65">
                <a:moveTo>
                  <a:pt x="923" y="0"/>
                </a:moveTo>
                <a:cubicBezTo>
                  <a:pt x="924" y="4"/>
                  <a:pt x="924" y="8"/>
                  <a:pt x="924" y="12"/>
                </a:cubicBezTo>
                <a:cubicBezTo>
                  <a:pt x="924" y="53"/>
                  <a:pt x="924" y="53"/>
                  <a:pt x="924" y="53"/>
                </a:cubicBezTo>
                <a:cubicBezTo>
                  <a:pt x="924" y="57"/>
                  <a:pt x="924" y="61"/>
                  <a:pt x="923" y="65"/>
                </a:cubicBezTo>
                <a:cubicBezTo>
                  <a:pt x="2" y="65"/>
                  <a:pt x="2" y="65"/>
                  <a:pt x="2" y="65"/>
                </a:cubicBezTo>
                <a:cubicBezTo>
                  <a:pt x="1" y="61"/>
                  <a:pt x="0" y="57"/>
                  <a:pt x="0" y="53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8"/>
                  <a:pt x="1" y="4"/>
                  <a:pt x="2" y="0"/>
                </a:cubicBezTo>
                <a:cubicBezTo>
                  <a:pt x="923" y="0"/>
                  <a:pt x="923" y="0"/>
                  <a:pt x="923" y="0"/>
                </a:cubicBezTo>
              </a:path>
            </a:pathLst>
          </a:custGeom>
          <a:solidFill>
            <a:srgbClr val="FFE22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35" name="Freeform 337">
            <a:extLst>
              <a:ext uri="{FF2B5EF4-FFF2-40B4-BE49-F238E27FC236}">
                <a16:creationId xmlns:a16="http://schemas.microsoft.com/office/drawing/2014/main" id="{F98F7FDA-E0C6-4FAC-9AD4-E2B3A264550C}"/>
              </a:ext>
            </a:extLst>
          </p:cNvPr>
          <p:cNvSpPr>
            <a:spLocks noEditPoints="1"/>
          </p:cNvSpPr>
          <p:nvPr/>
        </p:nvSpPr>
        <p:spPr bwMode="auto">
          <a:xfrm>
            <a:off x="4527953" y="5182633"/>
            <a:ext cx="547390" cy="2904"/>
          </a:xfrm>
          <a:custGeom>
            <a:avLst/>
            <a:gdLst>
              <a:gd name="T0" fmla="*/ 837 w 837"/>
              <a:gd name="T1" fmla="*/ 4 h 4"/>
              <a:gd name="T2" fmla="*/ 837 w 837"/>
              <a:gd name="T3" fmla="*/ 4 h 4"/>
              <a:gd name="T4" fmla="*/ 837 w 837"/>
              <a:gd name="T5" fmla="*/ 4 h 4"/>
              <a:gd name="T6" fmla="*/ 836 w 837"/>
              <a:gd name="T7" fmla="*/ 3 h 4"/>
              <a:gd name="T8" fmla="*/ 836 w 837"/>
              <a:gd name="T9" fmla="*/ 3 h 4"/>
              <a:gd name="T10" fmla="*/ 835 w 837"/>
              <a:gd name="T11" fmla="*/ 3 h 4"/>
              <a:gd name="T12" fmla="*/ 835 w 837"/>
              <a:gd name="T13" fmla="*/ 3 h 4"/>
              <a:gd name="T14" fmla="*/ 835 w 837"/>
              <a:gd name="T15" fmla="*/ 3 h 4"/>
              <a:gd name="T16" fmla="*/ 834 w 837"/>
              <a:gd name="T17" fmla="*/ 3 h 4"/>
              <a:gd name="T18" fmla="*/ 834 w 837"/>
              <a:gd name="T19" fmla="*/ 3 h 4"/>
              <a:gd name="T20" fmla="*/ 834 w 837"/>
              <a:gd name="T21" fmla="*/ 2 h 4"/>
              <a:gd name="T22" fmla="*/ 833 w 837"/>
              <a:gd name="T23" fmla="*/ 2 h 4"/>
              <a:gd name="T24" fmla="*/ 833 w 837"/>
              <a:gd name="T25" fmla="*/ 2 h 4"/>
              <a:gd name="T26" fmla="*/ 833 w 837"/>
              <a:gd name="T27" fmla="*/ 2 h 4"/>
              <a:gd name="T28" fmla="*/ 832 w 837"/>
              <a:gd name="T29" fmla="*/ 2 h 4"/>
              <a:gd name="T30" fmla="*/ 831 w 837"/>
              <a:gd name="T31" fmla="*/ 2 h 4"/>
              <a:gd name="T32" fmla="*/ 831 w 837"/>
              <a:gd name="T33" fmla="*/ 2 h 4"/>
              <a:gd name="T34" fmla="*/ 831 w 837"/>
              <a:gd name="T35" fmla="*/ 2 h 4"/>
              <a:gd name="T36" fmla="*/ 831 w 837"/>
              <a:gd name="T37" fmla="*/ 2 h 4"/>
              <a:gd name="T38" fmla="*/ 830 w 837"/>
              <a:gd name="T39" fmla="*/ 1 h 4"/>
              <a:gd name="T40" fmla="*/ 829 w 837"/>
              <a:gd name="T41" fmla="*/ 1 h 4"/>
              <a:gd name="T42" fmla="*/ 829 w 837"/>
              <a:gd name="T43" fmla="*/ 1 h 4"/>
              <a:gd name="T44" fmla="*/ 829 w 837"/>
              <a:gd name="T45" fmla="*/ 1 h 4"/>
              <a:gd name="T46" fmla="*/ 827 w 837"/>
              <a:gd name="T47" fmla="*/ 1 h 4"/>
              <a:gd name="T48" fmla="*/ 827 w 837"/>
              <a:gd name="T49" fmla="*/ 1 h 4"/>
              <a:gd name="T50" fmla="*/ 827 w 837"/>
              <a:gd name="T51" fmla="*/ 1 h 4"/>
              <a:gd name="T52" fmla="*/ 826 w 837"/>
              <a:gd name="T53" fmla="*/ 1 h 4"/>
              <a:gd name="T54" fmla="*/ 825 w 837"/>
              <a:gd name="T55" fmla="*/ 0 h 4"/>
              <a:gd name="T56" fmla="*/ 825 w 837"/>
              <a:gd name="T57" fmla="*/ 0 h 4"/>
              <a:gd name="T58" fmla="*/ 825 w 837"/>
              <a:gd name="T59" fmla="*/ 0 h 4"/>
              <a:gd name="T60" fmla="*/ 824 w 837"/>
              <a:gd name="T61" fmla="*/ 0 h 4"/>
              <a:gd name="T62" fmla="*/ 824 w 837"/>
              <a:gd name="T63" fmla="*/ 0 h 4"/>
              <a:gd name="T64" fmla="*/ 823 w 837"/>
              <a:gd name="T65" fmla="*/ 0 h 4"/>
              <a:gd name="T66" fmla="*/ 823 w 837"/>
              <a:gd name="T67" fmla="*/ 0 h 4"/>
              <a:gd name="T68" fmla="*/ 822 w 837"/>
              <a:gd name="T69" fmla="*/ 0 h 4"/>
              <a:gd name="T70" fmla="*/ 822 w 837"/>
              <a:gd name="T71" fmla="*/ 0 h 4"/>
              <a:gd name="T72" fmla="*/ 822 w 837"/>
              <a:gd name="T73" fmla="*/ 0 h 4"/>
              <a:gd name="T74" fmla="*/ 821 w 837"/>
              <a:gd name="T75" fmla="*/ 0 h 4"/>
              <a:gd name="T76" fmla="*/ 821 w 837"/>
              <a:gd name="T77" fmla="*/ 0 h 4"/>
              <a:gd name="T78" fmla="*/ 820 w 837"/>
              <a:gd name="T79" fmla="*/ 0 h 4"/>
              <a:gd name="T80" fmla="*/ 820 w 837"/>
              <a:gd name="T81" fmla="*/ 0 h 4"/>
              <a:gd name="T82" fmla="*/ 820 w 837"/>
              <a:gd name="T83" fmla="*/ 0 h 4"/>
              <a:gd name="T84" fmla="*/ 819 w 837"/>
              <a:gd name="T85" fmla="*/ 0 h 4"/>
              <a:gd name="T86" fmla="*/ 819 w 837"/>
              <a:gd name="T87" fmla="*/ 0 h 4"/>
              <a:gd name="T88" fmla="*/ 819 w 837"/>
              <a:gd name="T89" fmla="*/ 0 h 4"/>
              <a:gd name="T90" fmla="*/ 0 w 837"/>
              <a:gd name="T91" fmla="*/ 0 h 4"/>
              <a:gd name="T92" fmla="*/ 818 w 837"/>
              <a:gd name="T93" fmla="*/ 0 h 4"/>
              <a:gd name="T94" fmla="*/ 1 w 837"/>
              <a:gd name="T95" fmla="*/ 0 h 4"/>
              <a:gd name="T96" fmla="*/ 818 w 837"/>
              <a:gd name="T97" fmla="*/ 0 h 4"/>
              <a:gd name="T98" fmla="*/ 1 w 837"/>
              <a:gd name="T99" fmla="*/ 0 h 4"/>
              <a:gd name="T100" fmla="*/ 818 w 837"/>
              <a:gd name="T101" fmla="*/ 0 h 4"/>
              <a:gd name="T102" fmla="*/ 1 w 837"/>
              <a:gd name="T103" fmla="*/ 0 h 4"/>
              <a:gd name="T104" fmla="*/ 817 w 837"/>
              <a:gd name="T105" fmla="*/ 0 h 4"/>
              <a:gd name="T106" fmla="*/ 2 w 837"/>
              <a:gd name="T107" fmla="*/ 0 h 4"/>
              <a:gd name="T108" fmla="*/ 2 w 837"/>
              <a:gd name="T109" fmla="*/ 0 h 4"/>
              <a:gd name="T110" fmla="*/ 817 w 837"/>
              <a:gd name="T1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37" h="4">
                <a:moveTo>
                  <a:pt x="837" y="4"/>
                </a:moveTo>
                <a:cubicBezTo>
                  <a:pt x="837" y="4"/>
                  <a:pt x="837" y="4"/>
                  <a:pt x="837" y="4"/>
                </a:cubicBezTo>
                <a:cubicBezTo>
                  <a:pt x="837" y="4"/>
                  <a:pt x="837" y="4"/>
                  <a:pt x="837" y="4"/>
                </a:cubicBezTo>
                <a:moveTo>
                  <a:pt x="837" y="4"/>
                </a:moveTo>
                <a:cubicBezTo>
                  <a:pt x="837" y="4"/>
                  <a:pt x="837" y="4"/>
                  <a:pt x="837" y="4"/>
                </a:cubicBezTo>
                <a:cubicBezTo>
                  <a:pt x="837" y="4"/>
                  <a:pt x="837" y="4"/>
                  <a:pt x="837" y="4"/>
                </a:cubicBezTo>
                <a:moveTo>
                  <a:pt x="837" y="4"/>
                </a:moveTo>
                <a:cubicBezTo>
                  <a:pt x="837" y="4"/>
                  <a:pt x="837" y="4"/>
                  <a:pt x="837" y="4"/>
                </a:cubicBezTo>
                <a:cubicBezTo>
                  <a:pt x="837" y="4"/>
                  <a:pt x="837" y="4"/>
                  <a:pt x="837" y="4"/>
                </a:cubicBezTo>
                <a:moveTo>
                  <a:pt x="836" y="3"/>
                </a:moveTo>
                <a:cubicBezTo>
                  <a:pt x="836" y="3"/>
                  <a:pt x="836" y="3"/>
                  <a:pt x="836" y="3"/>
                </a:cubicBezTo>
                <a:cubicBezTo>
                  <a:pt x="836" y="3"/>
                  <a:pt x="836" y="3"/>
                  <a:pt x="836" y="3"/>
                </a:cubicBezTo>
                <a:moveTo>
                  <a:pt x="836" y="3"/>
                </a:moveTo>
                <a:cubicBezTo>
                  <a:pt x="836" y="3"/>
                  <a:pt x="836" y="3"/>
                  <a:pt x="836" y="3"/>
                </a:cubicBezTo>
                <a:cubicBezTo>
                  <a:pt x="836" y="3"/>
                  <a:pt x="836" y="3"/>
                  <a:pt x="836" y="3"/>
                </a:cubicBezTo>
                <a:moveTo>
                  <a:pt x="835" y="3"/>
                </a:moveTo>
                <a:cubicBezTo>
                  <a:pt x="835" y="3"/>
                  <a:pt x="835" y="3"/>
                  <a:pt x="835" y="3"/>
                </a:cubicBezTo>
                <a:cubicBezTo>
                  <a:pt x="835" y="3"/>
                  <a:pt x="835" y="3"/>
                  <a:pt x="835" y="3"/>
                </a:cubicBezTo>
                <a:moveTo>
                  <a:pt x="835" y="3"/>
                </a:moveTo>
                <a:cubicBezTo>
                  <a:pt x="835" y="3"/>
                  <a:pt x="835" y="3"/>
                  <a:pt x="835" y="3"/>
                </a:cubicBezTo>
                <a:cubicBezTo>
                  <a:pt x="835" y="3"/>
                  <a:pt x="835" y="3"/>
                  <a:pt x="835" y="3"/>
                </a:cubicBezTo>
                <a:moveTo>
                  <a:pt x="835" y="3"/>
                </a:moveTo>
                <a:cubicBezTo>
                  <a:pt x="835" y="3"/>
                  <a:pt x="835" y="3"/>
                  <a:pt x="835" y="3"/>
                </a:cubicBezTo>
                <a:cubicBezTo>
                  <a:pt x="835" y="3"/>
                  <a:pt x="835" y="3"/>
                  <a:pt x="835" y="3"/>
                </a:cubicBezTo>
                <a:moveTo>
                  <a:pt x="834" y="3"/>
                </a:moveTo>
                <a:cubicBezTo>
                  <a:pt x="835" y="3"/>
                  <a:pt x="835" y="3"/>
                  <a:pt x="835" y="3"/>
                </a:cubicBezTo>
                <a:cubicBezTo>
                  <a:pt x="835" y="3"/>
                  <a:pt x="835" y="3"/>
                  <a:pt x="834" y="3"/>
                </a:cubicBezTo>
                <a:moveTo>
                  <a:pt x="834" y="3"/>
                </a:moveTo>
                <a:cubicBezTo>
                  <a:pt x="834" y="3"/>
                  <a:pt x="834" y="3"/>
                  <a:pt x="834" y="3"/>
                </a:cubicBezTo>
                <a:cubicBezTo>
                  <a:pt x="834" y="3"/>
                  <a:pt x="834" y="3"/>
                  <a:pt x="834" y="3"/>
                </a:cubicBezTo>
                <a:moveTo>
                  <a:pt x="834" y="2"/>
                </a:moveTo>
                <a:cubicBezTo>
                  <a:pt x="834" y="2"/>
                  <a:pt x="834" y="3"/>
                  <a:pt x="834" y="3"/>
                </a:cubicBezTo>
                <a:cubicBezTo>
                  <a:pt x="834" y="3"/>
                  <a:pt x="834" y="2"/>
                  <a:pt x="834" y="2"/>
                </a:cubicBezTo>
                <a:moveTo>
                  <a:pt x="833" y="2"/>
                </a:moveTo>
                <a:cubicBezTo>
                  <a:pt x="834" y="2"/>
                  <a:pt x="834" y="2"/>
                  <a:pt x="834" y="2"/>
                </a:cubicBezTo>
                <a:cubicBezTo>
                  <a:pt x="834" y="2"/>
                  <a:pt x="834" y="2"/>
                  <a:pt x="833" y="2"/>
                </a:cubicBezTo>
                <a:moveTo>
                  <a:pt x="833" y="2"/>
                </a:moveTo>
                <a:cubicBezTo>
                  <a:pt x="833" y="2"/>
                  <a:pt x="833" y="2"/>
                  <a:pt x="833" y="2"/>
                </a:cubicBezTo>
                <a:cubicBezTo>
                  <a:pt x="833" y="2"/>
                  <a:pt x="833" y="2"/>
                  <a:pt x="833" y="2"/>
                </a:cubicBezTo>
                <a:moveTo>
                  <a:pt x="833" y="2"/>
                </a:moveTo>
                <a:cubicBezTo>
                  <a:pt x="833" y="2"/>
                  <a:pt x="833" y="2"/>
                  <a:pt x="833" y="2"/>
                </a:cubicBezTo>
                <a:cubicBezTo>
                  <a:pt x="833" y="2"/>
                  <a:pt x="833" y="2"/>
                  <a:pt x="833" y="2"/>
                </a:cubicBezTo>
                <a:moveTo>
                  <a:pt x="832" y="2"/>
                </a:moveTo>
                <a:cubicBezTo>
                  <a:pt x="833" y="2"/>
                  <a:pt x="833" y="2"/>
                  <a:pt x="833" y="2"/>
                </a:cubicBezTo>
                <a:cubicBezTo>
                  <a:pt x="833" y="2"/>
                  <a:pt x="833" y="2"/>
                  <a:pt x="832" y="2"/>
                </a:cubicBezTo>
                <a:moveTo>
                  <a:pt x="831" y="2"/>
                </a:moveTo>
                <a:cubicBezTo>
                  <a:pt x="832" y="2"/>
                  <a:pt x="832" y="2"/>
                  <a:pt x="832" y="2"/>
                </a:cubicBezTo>
                <a:cubicBezTo>
                  <a:pt x="832" y="2"/>
                  <a:pt x="832" y="2"/>
                  <a:pt x="831" y="2"/>
                </a:cubicBezTo>
                <a:moveTo>
                  <a:pt x="831" y="2"/>
                </a:moveTo>
                <a:cubicBezTo>
                  <a:pt x="831" y="2"/>
                  <a:pt x="831" y="2"/>
                  <a:pt x="831" y="2"/>
                </a:cubicBezTo>
                <a:cubicBezTo>
                  <a:pt x="831" y="2"/>
                  <a:pt x="831" y="2"/>
                  <a:pt x="831" y="2"/>
                </a:cubicBezTo>
                <a:moveTo>
                  <a:pt x="831" y="2"/>
                </a:moveTo>
                <a:cubicBezTo>
                  <a:pt x="831" y="2"/>
                  <a:pt x="831" y="2"/>
                  <a:pt x="831" y="2"/>
                </a:cubicBezTo>
                <a:cubicBezTo>
                  <a:pt x="831" y="2"/>
                  <a:pt x="831" y="2"/>
                  <a:pt x="831" y="2"/>
                </a:cubicBezTo>
                <a:moveTo>
                  <a:pt x="831" y="2"/>
                </a:moveTo>
                <a:cubicBezTo>
                  <a:pt x="831" y="2"/>
                  <a:pt x="831" y="2"/>
                  <a:pt x="831" y="2"/>
                </a:cubicBezTo>
                <a:cubicBezTo>
                  <a:pt x="831" y="2"/>
                  <a:pt x="831" y="2"/>
                  <a:pt x="831" y="2"/>
                </a:cubicBezTo>
                <a:moveTo>
                  <a:pt x="830" y="1"/>
                </a:moveTo>
                <a:cubicBezTo>
                  <a:pt x="830" y="1"/>
                  <a:pt x="830" y="1"/>
                  <a:pt x="830" y="2"/>
                </a:cubicBezTo>
                <a:cubicBezTo>
                  <a:pt x="830" y="1"/>
                  <a:pt x="830" y="1"/>
                  <a:pt x="830" y="1"/>
                </a:cubicBezTo>
                <a:moveTo>
                  <a:pt x="829" y="1"/>
                </a:moveTo>
                <a:cubicBezTo>
                  <a:pt x="829" y="1"/>
                  <a:pt x="829" y="1"/>
                  <a:pt x="830" y="1"/>
                </a:cubicBezTo>
                <a:cubicBezTo>
                  <a:pt x="829" y="1"/>
                  <a:pt x="829" y="1"/>
                  <a:pt x="829" y="1"/>
                </a:cubicBezTo>
                <a:moveTo>
                  <a:pt x="829" y="1"/>
                </a:moveTo>
                <a:cubicBezTo>
                  <a:pt x="829" y="1"/>
                  <a:pt x="829" y="1"/>
                  <a:pt x="829" y="1"/>
                </a:cubicBezTo>
                <a:cubicBezTo>
                  <a:pt x="829" y="1"/>
                  <a:pt x="829" y="1"/>
                  <a:pt x="829" y="1"/>
                </a:cubicBezTo>
                <a:moveTo>
                  <a:pt x="829" y="1"/>
                </a:moveTo>
                <a:cubicBezTo>
                  <a:pt x="829" y="1"/>
                  <a:pt x="829" y="1"/>
                  <a:pt x="829" y="1"/>
                </a:cubicBezTo>
                <a:cubicBezTo>
                  <a:pt x="829" y="1"/>
                  <a:pt x="829" y="1"/>
                  <a:pt x="829" y="1"/>
                </a:cubicBezTo>
                <a:moveTo>
                  <a:pt x="827" y="1"/>
                </a:moveTo>
                <a:cubicBezTo>
                  <a:pt x="828" y="1"/>
                  <a:pt x="828" y="1"/>
                  <a:pt x="829" y="1"/>
                </a:cubicBezTo>
                <a:cubicBezTo>
                  <a:pt x="828" y="1"/>
                  <a:pt x="828" y="1"/>
                  <a:pt x="827" y="1"/>
                </a:cubicBezTo>
                <a:moveTo>
                  <a:pt x="827" y="1"/>
                </a:moveTo>
                <a:cubicBezTo>
                  <a:pt x="827" y="1"/>
                  <a:pt x="827" y="1"/>
                  <a:pt x="827" y="1"/>
                </a:cubicBezTo>
                <a:cubicBezTo>
                  <a:pt x="827" y="1"/>
                  <a:pt x="827" y="1"/>
                  <a:pt x="827" y="1"/>
                </a:cubicBezTo>
                <a:moveTo>
                  <a:pt x="827" y="1"/>
                </a:moveTo>
                <a:cubicBezTo>
                  <a:pt x="827" y="1"/>
                  <a:pt x="827" y="1"/>
                  <a:pt x="827" y="1"/>
                </a:cubicBezTo>
                <a:cubicBezTo>
                  <a:pt x="827" y="1"/>
                  <a:pt x="827" y="1"/>
                  <a:pt x="827" y="1"/>
                </a:cubicBezTo>
                <a:moveTo>
                  <a:pt x="826" y="1"/>
                </a:moveTo>
                <a:cubicBezTo>
                  <a:pt x="826" y="1"/>
                  <a:pt x="826" y="1"/>
                  <a:pt x="827" y="1"/>
                </a:cubicBezTo>
                <a:cubicBezTo>
                  <a:pt x="826" y="1"/>
                  <a:pt x="826" y="1"/>
                  <a:pt x="826" y="1"/>
                </a:cubicBezTo>
                <a:moveTo>
                  <a:pt x="825" y="0"/>
                </a:moveTo>
                <a:cubicBezTo>
                  <a:pt x="826" y="0"/>
                  <a:pt x="826" y="1"/>
                  <a:pt x="826" y="1"/>
                </a:cubicBezTo>
                <a:cubicBezTo>
                  <a:pt x="826" y="1"/>
                  <a:pt x="826" y="0"/>
                  <a:pt x="825" y="0"/>
                </a:cubicBezTo>
                <a:moveTo>
                  <a:pt x="825" y="0"/>
                </a:moveTo>
                <a:cubicBezTo>
                  <a:pt x="825" y="0"/>
                  <a:pt x="825" y="0"/>
                  <a:pt x="825" y="0"/>
                </a:cubicBezTo>
                <a:cubicBezTo>
                  <a:pt x="825" y="0"/>
                  <a:pt x="825" y="0"/>
                  <a:pt x="825" y="0"/>
                </a:cubicBezTo>
                <a:moveTo>
                  <a:pt x="825" y="0"/>
                </a:moveTo>
                <a:cubicBezTo>
                  <a:pt x="825" y="0"/>
                  <a:pt x="825" y="0"/>
                  <a:pt x="825" y="0"/>
                </a:cubicBezTo>
                <a:cubicBezTo>
                  <a:pt x="825" y="0"/>
                  <a:pt x="825" y="0"/>
                  <a:pt x="825" y="0"/>
                </a:cubicBezTo>
                <a:moveTo>
                  <a:pt x="824" y="0"/>
                </a:moveTo>
                <a:cubicBezTo>
                  <a:pt x="824" y="0"/>
                  <a:pt x="824" y="0"/>
                  <a:pt x="824" y="0"/>
                </a:cubicBezTo>
                <a:cubicBezTo>
                  <a:pt x="824" y="0"/>
                  <a:pt x="824" y="0"/>
                  <a:pt x="824" y="0"/>
                </a:cubicBezTo>
                <a:moveTo>
                  <a:pt x="824" y="0"/>
                </a:moveTo>
                <a:cubicBezTo>
                  <a:pt x="824" y="0"/>
                  <a:pt x="824" y="0"/>
                  <a:pt x="824" y="0"/>
                </a:cubicBezTo>
                <a:cubicBezTo>
                  <a:pt x="824" y="0"/>
                  <a:pt x="824" y="0"/>
                  <a:pt x="824" y="0"/>
                </a:cubicBezTo>
                <a:moveTo>
                  <a:pt x="823" y="0"/>
                </a:moveTo>
                <a:cubicBezTo>
                  <a:pt x="823" y="0"/>
                  <a:pt x="824" y="0"/>
                  <a:pt x="824" y="0"/>
                </a:cubicBezTo>
                <a:cubicBezTo>
                  <a:pt x="824" y="0"/>
                  <a:pt x="823" y="0"/>
                  <a:pt x="823" y="0"/>
                </a:cubicBezTo>
                <a:moveTo>
                  <a:pt x="823" y="0"/>
                </a:moveTo>
                <a:cubicBezTo>
                  <a:pt x="823" y="0"/>
                  <a:pt x="823" y="0"/>
                  <a:pt x="823" y="0"/>
                </a:cubicBezTo>
                <a:cubicBezTo>
                  <a:pt x="823" y="0"/>
                  <a:pt x="823" y="0"/>
                  <a:pt x="823" y="0"/>
                </a:cubicBezTo>
                <a:moveTo>
                  <a:pt x="822" y="0"/>
                </a:moveTo>
                <a:cubicBezTo>
                  <a:pt x="823" y="0"/>
                  <a:pt x="823" y="0"/>
                  <a:pt x="823" y="0"/>
                </a:cubicBezTo>
                <a:cubicBezTo>
                  <a:pt x="823" y="0"/>
                  <a:pt x="823" y="0"/>
                  <a:pt x="822" y="0"/>
                </a:cubicBezTo>
                <a:moveTo>
                  <a:pt x="822" y="0"/>
                </a:moveTo>
                <a:cubicBezTo>
                  <a:pt x="822" y="0"/>
                  <a:pt x="822" y="0"/>
                  <a:pt x="822" y="0"/>
                </a:cubicBezTo>
                <a:cubicBezTo>
                  <a:pt x="822" y="0"/>
                  <a:pt x="822" y="0"/>
                  <a:pt x="822" y="0"/>
                </a:cubicBezTo>
                <a:moveTo>
                  <a:pt x="822" y="0"/>
                </a:moveTo>
                <a:cubicBezTo>
                  <a:pt x="822" y="0"/>
                  <a:pt x="822" y="0"/>
                  <a:pt x="822" y="0"/>
                </a:cubicBezTo>
                <a:cubicBezTo>
                  <a:pt x="822" y="0"/>
                  <a:pt x="822" y="0"/>
                  <a:pt x="822" y="0"/>
                </a:cubicBezTo>
                <a:moveTo>
                  <a:pt x="821" y="0"/>
                </a:moveTo>
                <a:cubicBezTo>
                  <a:pt x="821" y="0"/>
                  <a:pt x="822" y="0"/>
                  <a:pt x="822" y="0"/>
                </a:cubicBezTo>
                <a:cubicBezTo>
                  <a:pt x="822" y="0"/>
                  <a:pt x="821" y="0"/>
                  <a:pt x="821" y="0"/>
                </a:cubicBezTo>
                <a:moveTo>
                  <a:pt x="821" y="0"/>
                </a:moveTo>
                <a:cubicBezTo>
                  <a:pt x="821" y="0"/>
                  <a:pt x="821" y="0"/>
                  <a:pt x="821" y="0"/>
                </a:cubicBezTo>
                <a:cubicBezTo>
                  <a:pt x="821" y="0"/>
                  <a:pt x="821" y="0"/>
                  <a:pt x="821" y="0"/>
                </a:cubicBezTo>
                <a:moveTo>
                  <a:pt x="820" y="0"/>
                </a:moveTo>
                <a:cubicBezTo>
                  <a:pt x="821" y="0"/>
                  <a:pt x="821" y="0"/>
                  <a:pt x="821" y="0"/>
                </a:cubicBezTo>
                <a:cubicBezTo>
                  <a:pt x="821" y="0"/>
                  <a:pt x="821" y="0"/>
                  <a:pt x="820" y="0"/>
                </a:cubicBezTo>
                <a:moveTo>
                  <a:pt x="820" y="0"/>
                </a:moveTo>
                <a:cubicBezTo>
                  <a:pt x="820" y="0"/>
                  <a:pt x="820" y="0"/>
                  <a:pt x="820" y="0"/>
                </a:cubicBezTo>
                <a:cubicBezTo>
                  <a:pt x="820" y="0"/>
                  <a:pt x="820" y="0"/>
                  <a:pt x="820" y="0"/>
                </a:cubicBezTo>
                <a:moveTo>
                  <a:pt x="820" y="0"/>
                </a:moveTo>
                <a:cubicBezTo>
                  <a:pt x="820" y="0"/>
                  <a:pt x="820" y="0"/>
                  <a:pt x="820" y="0"/>
                </a:cubicBezTo>
                <a:cubicBezTo>
                  <a:pt x="820" y="0"/>
                  <a:pt x="820" y="0"/>
                  <a:pt x="820" y="0"/>
                </a:cubicBezTo>
                <a:moveTo>
                  <a:pt x="819" y="0"/>
                </a:moveTo>
                <a:cubicBezTo>
                  <a:pt x="819" y="0"/>
                  <a:pt x="820" y="0"/>
                  <a:pt x="820" y="0"/>
                </a:cubicBezTo>
                <a:cubicBezTo>
                  <a:pt x="820" y="0"/>
                  <a:pt x="819" y="0"/>
                  <a:pt x="819" y="0"/>
                </a:cubicBezTo>
                <a:moveTo>
                  <a:pt x="819" y="0"/>
                </a:moveTo>
                <a:cubicBezTo>
                  <a:pt x="819" y="0"/>
                  <a:pt x="819" y="0"/>
                  <a:pt x="819" y="0"/>
                </a:cubicBezTo>
                <a:cubicBezTo>
                  <a:pt x="819" y="0"/>
                  <a:pt x="819" y="0"/>
                  <a:pt x="819" y="0"/>
                </a:cubicBezTo>
                <a:moveTo>
                  <a:pt x="819" y="0"/>
                </a:moveTo>
                <a:cubicBezTo>
                  <a:pt x="819" y="0"/>
                  <a:pt x="819" y="0"/>
                  <a:pt x="819" y="0"/>
                </a:cubicBezTo>
                <a:cubicBezTo>
                  <a:pt x="819" y="0"/>
                  <a:pt x="819" y="0"/>
                  <a:pt x="819" y="0"/>
                </a:cubicBezTo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moveTo>
                  <a:pt x="818" y="0"/>
                </a:moveTo>
                <a:cubicBezTo>
                  <a:pt x="818" y="0"/>
                  <a:pt x="818" y="0"/>
                  <a:pt x="819" y="0"/>
                </a:cubicBezTo>
                <a:cubicBezTo>
                  <a:pt x="818" y="0"/>
                  <a:pt x="818" y="0"/>
                  <a:pt x="818" y="0"/>
                </a:cubicBezTo>
                <a:moveTo>
                  <a:pt x="1" y="0"/>
                </a:move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0"/>
                  <a:pt x="1" y="0"/>
                </a:cubicBezTo>
                <a:moveTo>
                  <a:pt x="818" y="0"/>
                </a:moveTo>
                <a:cubicBezTo>
                  <a:pt x="818" y="0"/>
                  <a:pt x="818" y="0"/>
                  <a:pt x="818" y="0"/>
                </a:cubicBezTo>
                <a:cubicBezTo>
                  <a:pt x="818" y="0"/>
                  <a:pt x="818" y="0"/>
                  <a:pt x="818" y="0"/>
                </a:cubicBezTo>
                <a:moveTo>
                  <a:pt x="1" y="0"/>
                </a:move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0"/>
                  <a:pt x="1" y="0"/>
                </a:cubicBezTo>
                <a:moveTo>
                  <a:pt x="818" y="0"/>
                </a:moveTo>
                <a:cubicBezTo>
                  <a:pt x="818" y="0"/>
                  <a:pt x="818" y="0"/>
                  <a:pt x="818" y="0"/>
                </a:cubicBezTo>
                <a:cubicBezTo>
                  <a:pt x="818" y="0"/>
                  <a:pt x="818" y="0"/>
                  <a:pt x="818" y="0"/>
                </a:cubicBezTo>
                <a:moveTo>
                  <a:pt x="1" y="0"/>
                </a:move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0"/>
                  <a:pt x="1" y="0"/>
                </a:cubicBezTo>
                <a:moveTo>
                  <a:pt x="817" y="0"/>
                </a:moveTo>
                <a:cubicBezTo>
                  <a:pt x="817" y="0"/>
                  <a:pt x="817" y="0"/>
                  <a:pt x="818" y="0"/>
                </a:cubicBezTo>
                <a:cubicBezTo>
                  <a:pt x="817" y="0"/>
                  <a:pt x="817" y="0"/>
                  <a:pt x="817" y="0"/>
                </a:cubicBezTo>
                <a:moveTo>
                  <a:pt x="2" y="0"/>
                </a:moveTo>
                <a:cubicBezTo>
                  <a:pt x="2" y="0"/>
                  <a:pt x="2" y="0"/>
                  <a:pt x="2" y="0"/>
                </a:cubicBezTo>
                <a:cubicBezTo>
                  <a:pt x="2" y="0"/>
                  <a:pt x="2" y="0"/>
                  <a:pt x="2" y="0"/>
                </a:cubicBezTo>
                <a:moveTo>
                  <a:pt x="817" y="0"/>
                </a:moveTo>
                <a:cubicBezTo>
                  <a:pt x="2" y="0"/>
                  <a:pt x="2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817" y="0"/>
                  <a:pt x="817" y="0"/>
                  <a:pt x="817" y="0"/>
                </a:cubicBezTo>
                <a:cubicBezTo>
                  <a:pt x="817" y="0"/>
                  <a:pt x="817" y="0"/>
                  <a:pt x="817" y="0"/>
                </a:cubicBezTo>
                <a:cubicBezTo>
                  <a:pt x="817" y="0"/>
                  <a:pt x="817" y="0"/>
                  <a:pt x="817" y="0"/>
                </a:cubicBezTo>
              </a:path>
            </a:pathLst>
          </a:custGeom>
          <a:solidFill>
            <a:srgbClr val="D2DA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36" name="Freeform 338">
            <a:extLst>
              <a:ext uri="{FF2B5EF4-FFF2-40B4-BE49-F238E27FC236}">
                <a16:creationId xmlns:a16="http://schemas.microsoft.com/office/drawing/2014/main" id="{AF2B3163-0C46-4214-8824-573066983CF4}"/>
              </a:ext>
            </a:extLst>
          </p:cNvPr>
          <p:cNvSpPr>
            <a:spLocks/>
          </p:cNvSpPr>
          <p:nvPr/>
        </p:nvSpPr>
        <p:spPr bwMode="auto">
          <a:xfrm>
            <a:off x="4494557" y="5182632"/>
            <a:ext cx="602565" cy="27588"/>
          </a:xfrm>
          <a:custGeom>
            <a:avLst/>
            <a:gdLst>
              <a:gd name="T0" fmla="*/ 53 w 921"/>
              <a:gd name="T1" fmla="*/ 0 h 42"/>
              <a:gd name="T2" fmla="*/ 53 w 921"/>
              <a:gd name="T3" fmla="*/ 0 h 42"/>
              <a:gd name="T4" fmla="*/ 52 w 921"/>
              <a:gd name="T5" fmla="*/ 0 h 42"/>
              <a:gd name="T6" fmla="*/ 52 w 921"/>
              <a:gd name="T7" fmla="*/ 0 h 42"/>
              <a:gd name="T8" fmla="*/ 52 w 921"/>
              <a:gd name="T9" fmla="*/ 0 h 42"/>
              <a:gd name="T10" fmla="*/ 51 w 921"/>
              <a:gd name="T11" fmla="*/ 0 h 42"/>
              <a:gd name="T12" fmla="*/ 921 w 921"/>
              <a:gd name="T13" fmla="*/ 42 h 42"/>
              <a:gd name="T14" fmla="*/ 888 w 921"/>
              <a:gd name="T15" fmla="*/ 4 h 42"/>
              <a:gd name="T16" fmla="*/ 888 w 921"/>
              <a:gd name="T17" fmla="*/ 4 h 42"/>
              <a:gd name="T18" fmla="*/ 888 w 921"/>
              <a:gd name="T19" fmla="*/ 4 h 42"/>
              <a:gd name="T20" fmla="*/ 887 w 921"/>
              <a:gd name="T21" fmla="*/ 3 h 42"/>
              <a:gd name="T22" fmla="*/ 887 w 921"/>
              <a:gd name="T23" fmla="*/ 3 h 42"/>
              <a:gd name="T24" fmla="*/ 886 w 921"/>
              <a:gd name="T25" fmla="*/ 3 h 42"/>
              <a:gd name="T26" fmla="*/ 886 w 921"/>
              <a:gd name="T27" fmla="*/ 3 h 42"/>
              <a:gd name="T28" fmla="*/ 886 w 921"/>
              <a:gd name="T29" fmla="*/ 3 h 42"/>
              <a:gd name="T30" fmla="*/ 885 w 921"/>
              <a:gd name="T31" fmla="*/ 3 h 42"/>
              <a:gd name="T32" fmla="*/ 885 w 921"/>
              <a:gd name="T33" fmla="*/ 3 h 42"/>
              <a:gd name="T34" fmla="*/ 885 w 921"/>
              <a:gd name="T35" fmla="*/ 2 h 42"/>
              <a:gd name="T36" fmla="*/ 884 w 921"/>
              <a:gd name="T37" fmla="*/ 2 h 42"/>
              <a:gd name="T38" fmla="*/ 884 w 921"/>
              <a:gd name="T39" fmla="*/ 2 h 42"/>
              <a:gd name="T40" fmla="*/ 884 w 921"/>
              <a:gd name="T41" fmla="*/ 2 h 42"/>
              <a:gd name="T42" fmla="*/ 883 w 921"/>
              <a:gd name="T43" fmla="*/ 2 h 42"/>
              <a:gd name="T44" fmla="*/ 882 w 921"/>
              <a:gd name="T45" fmla="*/ 2 h 42"/>
              <a:gd name="T46" fmla="*/ 882 w 921"/>
              <a:gd name="T47" fmla="*/ 2 h 42"/>
              <a:gd name="T48" fmla="*/ 882 w 921"/>
              <a:gd name="T49" fmla="*/ 2 h 42"/>
              <a:gd name="T50" fmla="*/ 882 w 921"/>
              <a:gd name="T51" fmla="*/ 2 h 42"/>
              <a:gd name="T52" fmla="*/ 881 w 921"/>
              <a:gd name="T53" fmla="*/ 1 h 42"/>
              <a:gd name="T54" fmla="*/ 880 w 921"/>
              <a:gd name="T55" fmla="*/ 1 h 42"/>
              <a:gd name="T56" fmla="*/ 880 w 921"/>
              <a:gd name="T57" fmla="*/ 1 h 42"/>
              <a:gd name="T58" fmla="*/ 880 w 921"/>
              <a:gd name="T59" fmla="*/ 1 h 42"/>
              <a:gd name="T60" fmla="*/ 878 w 921"/>
              <a:gd name="T61" fmla="*/ 1 h 42"/>
              <a:gd name="T62" fmla="*/ 878 w 921"/>
              <a:gd name="T63" fmla="*/ 1 h 42"/>
              <a:gd name="T64" fmla="*/ 878 w 921"/>
              <a:gd name="T65" fmla="*/ 1 h 42"/>
              <a:gd name="T66" fmla="*/ 877 w 921"/>
              <a:gd name="T67" fmla="*/ 1 h 42"/>
              <a:gd name="T68" fmla="*/ 876 w 921"/>
              <a:gd name="T69" fmla="*/ 0 h 42"/>
              <a:gd name="T70" fmla="*/ 876 w 921"/>
              <a:gd name="T71" fmla="*/ 0 h 42"/>
              <a:gd name="T72" fmla="*/ 876 w 921"/>
              <a:gd name="T73" fmla="*/ 0 h 42"/>
              <a:gd name="T74" fmla="*/ 875 w 921"/>
              <a:gd name="T75" fmla="*/ 0 h 42"/>
              <a:gd name="T76" fmla="*/ 875 w 921"/>
              <a:gd name="T77" fmla="*/ 0 h 42"/>
              <a:gd name="T78" fmla="*/ 874 w 921"/>
              <a:gd name="T79" fmla="*/ 0 h 42"/>
              <a:gd name="T80" fmla="*/ 874 w 921"/>
              <a:gd name="T81" fmla="*/ 0 h 42"/>
              <a:gd name="T82" fmla="*/ 873 w 921"/>
              <a:gd name="T83" fmla="*/ 0 h 42"/>
              <a:gd name="T84" fmla="*/ 873 w 921"/>
              <a:gd name="T85" fmla="*/ 0 h 42"/>
              <a:gd name="T86" fmla="*/ 873 w 921"/>
              <a:gd name="T87" fmla="*/ 0 h 42"/>
              <a:gd name="T88" fmla="*/ 872 w 921"/>
              <a:gd name="T89" fmla="*/ 0 h 42"/>
              <a:gd name="T90" fmla="*/ 872 w 921"/>
              <a:gd name="T91" fmla="*/ 0 h 42"/>
              <a:gd name="T92" fmla="*/ 871 w 921"/>
              <a:gd name="T93" fmla="*/ 0 h 42"/>
              <a:gd name="T94" fmla="*/ 871 w 921"/>
              <a:gd name="T95" fmla="*/ 0 h 42"/>
              <a:gd name="T96" fmla="*/ 871 w 921"/>
              <a:gd name="T97" fmla="*/ 0 h 42"/>
              <a:gd name="T98" fmla="*/ 870 w 921"/>
              <a:gd name="T99" fmla="*/ 0 h 42"/>
              <a:gd name="T100" fmla="*/ 870 w 921"/>
              <a:gd name="T101" fmla="*/ 0 h 42"/>
              <a:gd name="T102" fmla="*/ 870 w 921"/>
              <a:gd name="T103" fmla="*/ 0 h 42"/>
              <a:gd name="T104" fmla="*/ 869 w 921"/>
              <a:gd name="T105" fmla="*/ 0 h 42"/>
              <a:gd name="T106" fmla="*/ 869 w 921"/>
              <a:gd name="T107" fmla="*/ 0 h 42"/>
              <a:gd name="T108" fmla="*/ 869 w 921"/>
              <a:gd name="T109" fmla="*/ 0 h 42"/>
              <a:gd name="T110" fmla="*/ 868 w 921"/>
              <a:gd name="T111" fmla="*/ 0 h 42"/>
              <a:gd name="T112" fmla="*/ 868 w 921"/>
              <a:gd name="T113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21" h="42">
                <a:moveTo>
                  <a:pt x="868" y="0"/>
                </a:move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26" y="1"/>
                  <a:pt x="5" y="19"/>
                  <a:pt x="0" y="42"/>
                </a:cubicBezTo>
                <a:cubicBezTo>
                  <a:pt x="921" y="42"/>
                  <a:pt x="921" y="42"/>
                  <a:pt x="921" y="42"/>
                </a:cubicBezTo>
                <a:cubicBezTo>
                  <a:pt x="917" y="25"/>
                  <a:pt x="905" y="10"/>
                  <a:pt x="888" y="4"/>
                </a:cubicBezTo>
                <a:cubicBezTo>
                  <a:pt x="888" y="4"/>
                  <a:pt x="888" y="4"/>
                  <a:pt x="888" y="4"/>
                </a:cubicBezTo>
                <a:cubicBezTo>
                  <a:pt x="888" y="4"/>
                  <a:pt x="888" y="4"/>
                  <a:pt x="888" y="4"/>
                </a:cubicBezTo>
                <a:cubicBezTo>
                  <a:pt x="888" y="4"/>
                  <a:pt x="888" y="4"/>
                  <a:pt x="888" y="4"/>
                </a:cubicBezTo>
                <a:cubicBezTo>
                  <a:pt x="888" y="4"/>
                  <a:pt x="888" y="4"/>
                  <a:pt x="888" y="4"/>
                </a:cubicBezTo>
                <a:cubicBezTo>
                  <a:pt x="888" y="4"/>
                  <a:pt x="888" y="4"/>
                  <a:pt x="888" y="4"/>
                </a:cubicBezTo>
                <a:cubicBezTo>
                  <a:pt x="888" y="3"/>
                  <a:pt x="888" y="3"/>
                  <a:pt x="887" y="3"/>
                </a:cubicBezTo>
                <a:cubicBezTo>
                  <a:pt x="887" y="3"/>
                  <a:pt x="887" y="3"/>
                  <a:pt x="887" y="3"/>
                </a:cubicBezTo>
                <a:cubicBezTo>
                  <a:pt x="887" y="3"/>
                  <a:pt x="887" y="3"/>
                  <a:pt x="887" y="3"/>
                </a:cubicBezTo>
                <a:cubicBezTo>
                  <a:pt x="887" y="3"/>
                  <a:pt x="887" y="3"/>
                  <a:pt x="887" y="3"/>
                </a:cubicBezTo>
                <a:cubicBezTo>
                  <a:pt x="887" y="3"/>
                  <a:pt x="887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5" y="3"/>
                </a:cubicBezTo>
                <a:cubicBezTo>
                  <a:pt x="885" y="3"/>
                  <a:pt x="885" y="3"/>
                  <a:pt x="885" y="3"/>
                </a:cubicBezTo>
                <a:cubicBezTo>
                  <a:pt x="885" y="3"/>
                  <a:pt x="885" y="3"/>
                  <a:pt x="885" y="3"/>
                </a:cubicBezTo>
                <a:cubicBezTo>
                  <a:pt x="885" y="3"/>
                  <a:pt x="885" y="3"/>
                  <a:pt x="885" y="3"/>
                </a:cubicBezTo>
                <a:cubicBezTo>
                  <a:pt x="885" y="3"/>
                  <a:pt x="885" y="2"/>
                  <a:pt x="885" y="2"/>
                </a:cubicBezTo>
                <a:cubicBezTo>
                  <a:pt x="885" y="2"/>
                  <a:pt x="885" y="2"/>
                  <a:pt x="885" y="2"/>
                </a:cubicBezTo>
                <a:cubicBezTo>
                  <a:pt x="885" y="2"/>
                  <a:pt x="885" y="2"/>
                  <a:pt x="884" y="2"/>
                </a:cubicBezTo>
                <a:cubicBezTo>
                  <a:pt x="884" y="2"/>
                  <a:pt x="884" y="2"/>
                  <a:pt x="884" y="2"/>
                </a:cubicBezTo>
                <a:cubicBezTo>
                  <a:pt x="884" y="2"/>
                  <a:pt x="884" y="2"/>
                  <a:pt x="884" y="2"/>
                </a:cubicBezTo>
                <a:cubicBezTo>
                  <a:pt x="884" y="2"/>
                  <a:pt x="884" y="2"/>
                  <a:pt x="884" y="2"/>
                </a:cubicBezTo>
                <a:cubicBezTo>
                  <a:pt x="884" y="2"/>
                  <a:pt x="884" y="2"/>
                  <a:pt x="884" y="2"/>
                </a:cubicBezTo>
                <a:cubicBezTo>
                  <a:pt x="884" y="2"/>
                  <a:pt x="884" y="2"/>
                  <a:pt x="884" y="2"/>
                </a:cubicBezTo>
                <a:cubicBezTo>
                  <a:pt x="884" y="2"/>
                  <a:pt x="884" y="2"/>
                  <a:pt x="883" y="2"/>
                </a:cubicBezTo>
                <a:cubicBezTo>
                  <a:pt x="883" y="2"/>
                  <a:pt x="883" y="2"/>
                  <a:pt x="883" y="2"/>
                </a:cubicBezTo>
                <a:cubicBezTo>
                  <a:pt x="883" y="2"/>
                  <a:pt x="883" y="2"/>
                  <a:pt x="882" y="2"/>
                </a:cubicBezTo>
                <a:cubicBezTo>
                  <a:pt x="882" y="2"/>
                  <a:pt x="882" y="2"/>
                  <a:pt x="882" y="2"/>
                </a:cubicBezTo>
                <a:cubicBezTo>
                  <a:pt x="882" y="2"/>
                  <a:pt x="882" y="2"/>
                  <a:pt x="882" y="2"/>
                </a:cubicBezTo>
                <a:cubicBezTo>
                  <a:pt x="882" y="2"/>
                  <a:pt x="882" y="2"/>
                  <a:pt x="882" y="2"/>
                </a:cubicBezTo>
                <a:cubicBezTo>
                  <a:pt x="882" y="2"/>
                  <a:pt x="882" y="2"/>
                  <a:pt x="882" y="2"/>
                </a:cubicBezTo>
                <a:cubicBezTo>
                  <a:pt x="882" y="2"/>
                  <a:pt x="882" y="2"/>
                  <a:pt x="882" y="2"/>
                </a:cubicBezTo>
                <a:cubicBezTo>
                  <a:pt x="882" y="2"/>
                  <a:pt x="882" y="2"/>
                  <a:pt x="882" y="2"/>
                </a:cubicBezTo>
                <a:cubicBezTo>
                  <a:pt x="882" y="2"/>
                  <a:pt x="881" y="2"/>
                  <a:pt x="881" y="2"/>
                </a:cubicBezTo>
                <a:cubicBezTo>
                  <a:pt x="881" y="1"/>
                  <a:pt x="881" y="1"/>
                  <a:pt x="881" y="1"/>
                </a:cubicBezTo>
                <a:cubicBezTo>
                  <a:pt x="881" y="1"/>
                  <a:pt x="881" y="1"/>
                  <a:pt x="881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79" y="1"/>
                  <a:pt x="879" y="1"/>
                  <a:pt x="878" y="1"/>
                </a:cubicBezTo>
                <a:cubicBezTo>
                  <a:pt x="878" y="1"/>
                  <a:pt x="878" y="1"/>
                  <a:pt x="878" y="1"/>
                </a:cubicBezTo>
                <a:cubicBezTo>
                  <a:pt x="878" y="1"/>
                  <a:pt x="878" y="1"/>
                  <a:pt x="878" y="1"/>
                </a:cubicBezTo>
                <a:cubicBezTo>
                  <a:pt x="878" y="1"/>
                  <a:pt x="878" y="1"/>
                  <a:pt x="878" y="1"/>
                </a:cubicBezTo>
                <a:cubicBezTo>
                  <a:pt x="878" y="1"/>
                  <a:pt x="878" y="1"/>
                  <a:pt x="878" y="1"/>
                </a:cubicBezTo>
                <a:cubicBezTo>
                  <a:pt x="878" y="1"/>
                  <a:pt x="878" y="1"/>
                  <a:pt x="878" y="1"/>
                </a:cubicBezTo>
                <a:cubicBezTo>
                  <a:pt x="877" y="1"/>
                  <a:pt x="877" y="1"/>
                  <a:pt x="877" y="1"/>
                </a:cubicBezTo>
                <a:cubicBezTo>
                  <a:pt x="877" y="1"/>
                  <a:pt x="877" y="1"/>
                  <a:pt x="877" y="1"/>
                </a:cubicBezTo>
                <a:cubicBezTo>
                  <a:pt x="877" y="1"/>
                  <a:pt x="877" y="0"/>
                  <a:pt x="876" y="0"/>
                </a:cubicBezTo>
                <a:cubicBezTo>
                  <a:pt x="876" y="0"/>
                  <a:pt x="876" y="0"/>
                  <a:pt x="876" y="0"/>
                </a:cubicBezTo>
                <a:cubicBezTo>
                  <a:pt x="876" y="0"/>
                  <a:pt x="876" y="0"/>
                  <a:pt x="876" y="0"/>
                </a:cubicBezTo>
                <a:cubicBezTo>
                  <a:pt x="876" y="0"/>
                  <a:pt x="876" y="0"/>
                  <a:pt x="876" y="0"/>
                </a:cubicBezTo>
                <a:cubicBezTo>
                  <a:pt x="876" y="0"/>
                  <a:pt x="876" y="0"/>
                  <a:pt x="876" y="0"/>
                </a:cubicBezTo>
                <a:cubicBezTo>
                  <a:pt x="876" y="0"/>
                  <a:pt x="875" y="0"/>
                  <a:pt x="875" y="0"/>
                </a:cubicBezTo>
                <a:cubicBezTo>
                  <a:pt x="875" y="0"/>
                  <a:pt x="875" y="0"/>
                  <a:pt x="875" y="0"/>
                </a:cubicBezTo>
                <a:cubicBezTo>
                  <a:pt x="875" y="0"/>
                  <a:pt x="875" y="0"/>
                  <a:pt x="875" y="0"/>
                </a:cubicBezTo>
                <a:cubicBezTo>
                  <a:pt x="875" y="0"/>
                  <a:pt x="875" y="0"/>
                  <a:pt x="875" y="0"/>
                </a:cubicBezTo>
                <a:cubicBezTo>
                  <a:pt x="875" y="0"/>
                  <a:pt x="875" y="0"/>
                  <a:pt x="875" y="0"/>
                </a:cubicBezTo>
                <a:cubicBezTo>
                  <a:pt x="875" y="0"/>
                  <a:pt x="874" y="0"/>
                  <a:pt x="874" y="0"/>
                </a:cubicBezTo>
                <a:cubicBezTo>
                  <a:pt x="874" y="0"/>
                  <a:pt x="874" y="0"/>
                  <a:pt x="874" y="0"/>
                </a:cubicBezTo>
                <a:cubicBezTo>
                  <a:pt x="874" y="0"/>
                  <a:pt x="874" y="0"/>
                  <a:pt x="874" y="0"/>
                </a:cubicBezTo>
                <a:cubicBezTo>
                  <a:pt x="874" y="0"/>
                  <a:pt x="874" y="0"/>
                  <a:pt x="874" y="0"/>
                </a:cubicBezTo>
                <a:cubicBezTo>
                  <a:pt x="874" y="0"/>
                  <a:pt x="874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2" y="0"/>
                  <a:pt x="872" y="0"/>
                </a:cubicBezTo>
                <a:cubicBezTo>
                  <a:pt x="872" y="0"/>
                  <a:pt x="872" y="0"/>
                  <a:pt x="872" y="0"/>
                </a:cubicBezTo>
                <a:cubicBezTo>
                  <a:pt x="872" y="0"/>
                  <a:pt x="872" y="0"/>
                  <a:pt x="872" y="0"/>
                </a:cubicBezTo>
                <a:cubicBezTo>
                  <a:pt x="872" y="0"/>
                  <a:pt x="872" y="0"/>
                  <a:pt x="872" y="0"/>
                </a:cubicBezTo>
                <a:cubicBezTo>
                  <a:pt x="872" y="0"/>
                  <a:pt x="872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8" y="0"/>
                  <a:pt x="868" y="0"/>
                  <a:pt x="868" y="0"/>
                </a:cubicBezTo>
                <a:cubicBezTo>
                  <a:pt x="868" y="0"/>
                  <a:pt x="868" y="0"/>
                  <a:pt x="868" y="0"/>
                </a:cubicBezTo>
                <a:cubicBezTo>
                  <a:pt x="868" y="0"/>
                  <a:pt x="868" y="0"/>
                  <a:pt x="868" y="0"/>
                </a:cubicBezTo>
              </a:path>
            </a:pathLst>
          </a:custGeom>
          <a:solidFill>
            <a:srgbClr val="E1AD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37" name="Freeform 339">
            <a:extLst>
              <a:ext uri="{FF2B5EF4-FFF2-40B4-BE49-F238E27FC236}">
                <a16:creationId xmlns:a16="http://schemas.microsoft.com/office/drawing/2014/main" id="{E1E05C48-9A99-4E84-83FF-13E3B272BF4A}"/>
              </a:ext>
            </a:extLst>
          </p:cNvPr>
          <p:cNvSpPr>
            <a:spLocks/>
          </p:cNvSpPr>
          <p:nvPr/>
        </p:nvSpPr>
        <p:spPr bwMode="auto">
          <a:xfrm>
            <a:off x="4493589" y="5084867"/>
            <a:ext cx="604017" cy="97766"/>
          </a:xfrm>
          <a:custGeom>
            <a:avLst/>
            <a:gdLst>
              <a:gd name="T0" fmla="*/ 55 w 924"/>
              <a:gd name="T1" fmla="*/ 0 h 150"/>
              <a:gd name="T2" fmla="*/ 870 w 924"/>
              <a:gd name="T3" fmla="*/ 0 h 150"/>
              <a:gd name="T4" fmla="*/ 924 w 924"/>
              <a:gd name="T5" fmla="*/ 54 h 150"/>
              <a:gd name="T6" fmla="*/ 924 w 924"/>
              <a:gd name="T7" fmla="*/ 95 h 150"/>
              <a:gd name="T8" fmla="*/ 870 w 924"/>
              <a:gd name="T9" fmla="*/ 150 h 150"/>
              <a:gd name="T10" fmla="*/ 55 w 924"/>
              <a:gd name="T11" fmla="*/ 150 h 150"/>
              <a:gd name="T12" fmla="*/ 0 w 924"/>
              <a:gd name="T13" fmla="*/ 95 h 150"/>
              <a:gd name="T14" fmla="*/ 0 w 924"/>
              <a:gd name="T15" fmla="*/ 54 h 150"/>
              <a:gd name="T16" fmla="*/ 55 w 924"/>
              <a:gd name="T17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24" h="150">
                <a:moveTo>
                  <a:pt x="55" y="0"/>
                </a:moveTo>
                <a:cubicBezTo>
                  <a:pt x="870" y="0"/>
                  <a:pt x="870" y="0"/>
                  <a:pt x="870" y="0"/>
                </a:cubicBezTo>
                <a:cubicBezTo>
                  <a:pt x="900" y="0"/>
                  <a:pt x="924" y="24"/>
                  <a:pt x="924" y="54"/>
                </a:cubicBezTo>
                <a:cubicBezTo>
                  <a:pt x="924" y="95"/>
                  <a:pt x="924" y="95"/>
                  <a:pt x="924" y="95"/>
                </a:cubicBezTo>
                <a:cubicBezTo>
                  <a:pt x="924" y="125"/>
                  <a:pt x="900" y="150"/>
                  <a:pt x="870" y="150"/>
                </a:cubicBezTo>
                <a:cubicBezTo>
                  <a:pt x="55" y="150"/>
                  <a:pt x="55" y="150"/>
                  <a:pt x="55" y="150"/>
                </a:cubicBezTo>
                <a:cubicBezTo>
                  <a:pt x="25" y="150"/>
                  <a:pt x="0" y="125"/>
                  <a:pt x="0" y="95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24"/>
                  <a:pt x="25" y="0"/>
                  <a:pt x="55" y="0"/>
                </a:cubicBezTo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38" name="Freeform 340">
            <a:extLst>
              <a:ext uri="{FF2B5EF4-FFF2-40B4-BE49-F238E27FC236}">
                <a16:creationId xmlns:a16="http://schemas.microsoft.com/office/drawing/2014/main" id="{3EA8F352-88A2-49E6-A581-0BE63C2D91D0}"/>
              </a:ext>
            </a:extLst>
          </p:cNvPr>
          <p:cNvSpPr>
            <a:spLocks/>
          </p:cNvSpPr>
          <p:nvPr/>
        </p:nvSpPr>
        <p:spPr bwMode="auto">
          <a:xfrm>
            <a:off x="4493589" y="5111971"/>
            <a:ext cx="604017" cy="42591"/>
          </a:xfrm>
          <a:custGeom>
            <a:avLst/>
            <a:gdLst>
              <a:gd name="T0" fmla="*/ 923 w 924"/>
              <a:gd name="T1" fmla="*/ 0 h 65"/>
              <a:gd name="T2" fmla="*/ 924 w 924"/>
              <a:gd name="T3" fmla="*/ 12 h 65"/>
              <a:gd name="T4" fmla="*/ 924 w 924"/>
              <a:gd name="T5" fmla="*/ 53 h 65"/>
              <a:gd name="T6" fmla="*/ 923 w 924"/>
              <a:gd name="T7" fmla="*/ 65 h 65"/>
              <a:gd name="T8" fmla="*/ 2 w 924"/>
              <a:gd name="T9" fmla="*/ 65 h 65"/>
              <a:gd name="T10" fmla="*/ 0 w 924"/>
              <a:gd name="T11" fmla="*/ 53 h 65"/>
              <a:gd name="T12" fmla="*/ 0 w 924"/>
              <a:gd name="T13" fmla="*/ 12 h 65"/>
              <a:gd name="T14" fmla="*/ 2 w 924"/>
              <a:gd name="T15" fmla="*/ 0 h 65"/>
              <a:gd name="T16" fmla="*/ 923 w 924"/>
              <a:gd name="T1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24" h="65">
                <a:moveTo>
                  <a:pt x="923" y="0"/>
                </a:moveTo>
                <a:cubicBezTo>
                  <a:pt x="924" y="4"/>
                  <a:pt x="924" y="8"/>
                  <a:pt x="924" y="12"/>
                </a:cubicBezTo>
                <a:cubicBezTo>
                  <a:pt x="924" y="53"/>
                  <a:pt x="924" y="53"/>
                  <a:pt x="924" y="53"/>
                </a:cubicBezTo>
                <a:cubicBezTo>
                  <a:pt x="924" y="57"/>
                  <a:pt x="924" y="61"/>
                  <a:pt x="923" y="65"/>
                </a:cubicBezTo>
                <a:cubicBezTo>
                  <a:pt x="2" y="65"/>
                  <a:pt x="2" y="65"/>
                  <a:pt x="2" y="65"/>
                </a:cubicBezTo>
                <a:cubicBezTo>
                  <a:pt x="1" y="61"/>
                  <a:pt x="0" y="57"/>
                  <a:pt x="0" y="53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8"/>
                  <a:pt x="1" y="4"/>
                  <a:pt x="2" y="0"/>
                </a:cubicBezTo>
                <a:cubicBezTo>
                  <a:pt x="923" y="0"/>
                  <a:pt x="923" y="0"/>
                  <a:pt x="923" y="0"/>
                </a:cubicBezTo>
              </a:path>
            </a:pathLst>
          </a:custGeom>
          <a:solidFill>
            <a:srgbClr val="FFE22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39" name="Freeform 341">
            <a:extLst>
              <a:ext uri="{FF2B5EF4-FFF2-40B4-BE49-F238E27FC236}">
                <a16:creationId xmlns:a16="http://schemas.microsoft.com/office/drawing/2014/main" id="{1D343AAB-5662-4B34-A05E-ACAB0C4AE0E0}"/>
              </a:ext>
            </a:extLst>
          </p:cNvPr>
          <p:cNvSpPr>
            <a:spLocks noEditPoints="1"/>
          </p:cNvSpPr>
          <p:nvPr/>
        </p:nvSpPr>
        <p:spPr bwMode="auto">
          <a:xfrm>
            <a:off x="4527953" y="5084867"/>
            <a:ext cx="547390" cy="1936"/>
          </a:xfrm>
          <a:custGeom>
            <a:avLst/>
            <a:gdLst>
              <a:gd name="T0" fmla="*/ 837 w 837"/>
              <a:gd name="T1" fmla="*/ 3 h 3"/>
              <a:gd name="T2" fmla="*/ 836 w 837"/>
              <a:gd name="T3" fmla="*/ 3 h 3"/>
              <a:gd name="T4" fmla="*/ 835 w 837"/>
              <a:gd name="T5" fmla="*/ 3 h 3"/>
              <a:gd name="T6" fmla="*/ 835 w 837"/>
              <a:gd name="T7" fmla="*/ 3 h 3"/>
              <a:gd name="T8" fmla="*/ 835 w 837"/>
              <a:gd name="T9" fmla="*/ 3 h 3"/>
              <a:gd name="T10" fmla="*/ 834 w 837"/>
              <a:gd name="T11" fmla="*/ 2 h 3"/>
              <a:gd name="T12" fmla="*/ 834 w 837"/>
              <a:gd name="T13" fmla="*/ 2 h 3"/>
              <a:gd name="T14" fmla="*/ 834 w 837"/>
              <a:gd name="T15" fmla="*/ 2 h 3"/>
              <a:gd name="T16" fmla="*/ 833 w 837"/>
              <a:gd name="T17" fmla="*/ 2 h 3"/>
              <a:gd name="T18" fmla="*/ 833 w 837"/>
              <a:gd name="T19" fmla="*/ 2 h 3"/>
              <a:gd name="T20" fmla="*/ 833 w 837"/>
              <a:gd name="T21" fmla="*/ 2 h 3"/>
              <a:gd name="T22" fmla="*/ 833 w 837"/>
              <a:gd name="T23" fmla="*/ 2 h 3"/>
              <a:gd name="T24" fmla="*/ 832 w 837"/>
              <a:gd name="T25" fmla="*/ 2 h 3"/>
              <a:gd name="T26" fmla="*/ 832 w 837"/>
              <a:gd name="T27" fmla="*/ 2 h 3"/>
              <a:gd name="T28" fmla="*/ 831 w 837"/>
              <a:gd name="T29" fmla="*/ 2 h 3"/>
              <a:gd name="T30" fmla="*/ 831 w 837"/>
              <a:gd name="T31" fmla="*/ 1 h 3"/>
              <a:gd name="T32" fmla="*/ 831 w 837"/>
              <a:gd name="T33" fmla="*/ 1 h 3"/>
              <a:gd name="T34" fmla="*/ 831 w 837"/>
              <a:gd name="T35" fmla="*/ 1 h 3"/>
              <a:gd name="T36" fmla="*/ 830 w 837"/>
              <a:gd name="T37" fmla="*/ 1 h 3"/>
              <a:gd name="T38" fmla="*/ 829 w 837"/>
              <a:gd name="T39" fmla="*/ 1 h 3"/>
              <a:gd name="T40" fmla="*/ 829 w 837"/>
              <a:gd name="T41" fmla="*/ 1 h 3"/>
              <a:gd name="T42" fmla="*/ 829 w 837"/>
              <a:gd name="T43" fmla="*/ 1 h 3"/>
              <a:gd name="T44" fmla="*/ 827 w 837"/>
              <a:gd name="T45" fmla="*/ 1 h 3"/>
              <a:gd name="T46" fmla="*/ 827 w 837"/>
              <a:gd name="T47" fmla="*/ 0 h 3"/>
              <a:gd name="T48" fmla="*/ 827 w 837"/>
              <a:gd name="T49" fmla="*/ 0 h 3"/>
              <a:gd name="T50" fmla="*/ 826 w 837"/>
              <a:gd name="T51" fmla="*/ 0 h 3"/>
              <a:gd name="T52" fmla="*/ 825 w 837"/>
              <a:gd name="T53" fmla="*/ 0 h 3"/>
              <a:gd name="T54" fmla="*/ 825 w 837"/>
              <a:gd name="T55" fmla="*/ 0 h 3"/>
              <a:gd name="T56" fmla="*/ 825 w 837"/>
              <a:gd name="T57" fmla="*/ 0 h 3"/>
              <a:gd name="T58" fmla="*/ 824 w 837"/>
              <a:gd name="T59" fmla="*/ 0 h 3"/>
              <a:gd name="T60" fmla="*/ 824 w 837"/>
              <a:gd name="T61" fmla="*/ 0 h 3"/>
              <a:gd name="T62" fmla="*/ 823 w 837"/>
              <a:gd name="T63" fmla="*/ 0 h 3"/>
              <a:gd name="T64" fmla="*/ 823 w 837"/>
              <a:gd name="T65" fmla="*/ 0 h 3"/>
              <a:gd name="T66" fmla="*/ 822 w 837"/>
              <a:gd name="T67" fmla="*/ 0 h 3"/>
              <a:gd name="T68" fmla="*/ 822 w 837"/>
              <a:gd name="T69" fmla="*/ 0 h 3"/>
              <a:gd name="T70" fmla="*/ 822 w 837"/>
              <a:gd name="T71" fmla="*/ 0 h 3"/>
              <a:gd name="T72" fmla="*/ 821 w 837"/>
              <a:gd name="T73" fmla="*/ 0 h 3"/>
              <a:gd name="T74" fmla="*/ 821 w 837"/>
              <a:gd name="T75" fmla="*/ 0 h 3"/>
              <a:gd name="T76" fmla="*/ 820 w 837"/>
              <a:gd name="T77" fmla="*/ 0 h 3"/>
              <a:gd name="T78" fmla="*/ 820 w 837"/>
              <a:gd name="T79" fmla="*/ 0 h 3"/>
              <a:gd name="T80" fmla="*/ 820 w 837"/>
              <a:gd name="T81" fmla="*/ 0 h 3"/>
              <a:gd name="T82" fmla="*/ 819 w 837"/>
              <a:gd name="T83" fmla="*/ 0 h 3"/>
              <a:gd name="T84" fmla="*/ 819 w 837"/>
              <a:gd name="T85" fmla="*/ 0 h 3"/>
              <a:gd name="T86" fmla="*/ 819 w 837"/>
              <a:gd name="T87" fmla="*/ 0 h 3"/>
              <a:gd name="T88" fmla="*/ 0 w 837"/>
              <a:gd name="T89" fmla="*/ 0 h 3"/>
              <a:gd name="T90" fmla="*/ 818 w 837"/>
              <a:gd name="T91" fmla="*/ 0 h 3"/>
              <a:gd name="T92" fmla="*/ 1 w 837"/>
              <a:gd name="T93" fmla="*/ 0 h 3"/>
              <a:gd name="T94" fmla="*/ 818 w 837"/>
              <a:gd name="T95" fmla="*/ 0 h 3"/>
              <a:gd name="T96" fmla="*/ 1 w 837"/>
              <a:gd name="T97" fmla="*/ 0 h 3"/>
              <a:gd name="T98" fmla="*/ 818 w 837"/>
              <a:gd name="T99" fmla="*/ 0 h 3"/>
              <a:gd name="T100" fmla="*/ 1 w 837"/>
              <a:gd name="T101" fmla="*/ 0 h 3"/>
              <a:gd name="T102" fmla="*/ 817 w 837"/>
              <a:gd name="T103" fmla="*/ 0 h 3"/>
              <a:gd name="T104" fmla="*/ 2 w 837"/>
              <a:gd name="T105" fmla="*/ 0 h 3"/>
              <a:gd name="T106" fmla="*/ 2 w 837"/>
              <a:gd name="T107" fmla="*/ 0 h 3"/>
              <a:gd name="T108" fmla="*/ 817 w 837"/>
              <a:gd name="T10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37" h="3">
                <a:moveTo>
                  <a:pt x="837" y="3"/>
                </a:moveTo>
                <a:cubicBezTo>
                  <a:pt x="837" y="3"/>
                  <a:pt x="837" y="3"/>
                  <a:pt x="837" y="3"/>
                </a:cubicBezTo>
                <a:cubicBezTo>
                  <a:pt x="837" y="3"/>
                  <a:pt x="837" y="3"/>
                  <a:pt x="837" y="3"/>
                </a:cubicBezTo>
                <a:moveTo>
                  <a:pt x="836" y="3"/>
                </a:moveTo>
                <a:cubicBezTo>
                  <a:pt x="836" y="3"/>
                  <a:pt x="836" y="3"/>
                  <a:pt x="836" y="3"/>
                </a:cubicBezTo>
                <a:cubicBezTo>
                  <a:pt x="836" y="3"/>
                  <a:pt x="836" y="3"/>
                  <a:pt x="836" y="3"/>
                </a:cubicBezTo>
                <a:moveTo>
                  <a:pt x="835" y="3"/>
                </a:moveTo>
                <a:cubicBezTo>
                  <a:pt x="835" y="3"/>
                  <a:pt x="835" y="3"/>
                  <a:pt x="835" y="3"/>
                </a:cubicBezTo>
                <a:cubicBezTo>
                  <a:pt x="835" y="3"/>
                  <a:pt x="835" y="3"/>
                  <a:pt x="835" y="3"/>
                </a:cubicBezTo>
                <a:moveTo>
                  <a:pt x="835" y="3"/>
                </a:moveTo>
                <a:cubicBezTo>
                  <a:pt x="835" y="3"/>
                  <a:pt x="835" y="3"/>
                  <a:pt x="835" y="3"/>
                </a:cubicBezTo>
                <a:cubicBezTo>
                  <a:pt x="835" y="3"/>
                  <a:pt x="835" y="3"/>
                  <a:pt x="835" y="3"/>
                </a:cubicBezTo>
                <a:moveTo>
                  <a:pt x="835" y="3"/>
                </a:moveTo>
                <a:cubicBezTo>
                  <a:pt x="835" y="3"/>
                  <a:pt x="835" y="3"/>
                  <a:pt x="835" y="3"/>
                </a:cubicBezTo>
                <a:cubicBezTo>
                  <a:pt x="835" y="3"/>
                  <a:pt x="835" y="3"/>
                  <a:pt x="835" y="3"/>
                </a:cubicBezTo>
                <a:moveTo>
                  <a:pt x="834" y="2"/>
                </a:moveTo>
                <a:cubicBezTo>
                  <a:pt x="835" y="3"/>
                  <a:pt x="835" y="3"/>
                  <a:pt x="835" y="3"/>
                </a:cubicBezTo>
                <a:cubicBezTo>
                  <a:pt x="835" y="3"/>
                  <a:pt x="835" y="3"/>
                  <a:pt x="834" y="2"/>
                </a:cubicBezTo>
                <a:moveTo>
                  <a:pt x="834" y="2"/>
                </a:moveTo>
                <a:cubicBezTo>
                  <a:pt x="834" y="2"/>
                  <a:pt x="834" y="2"/>
                  <a:pt x="834" y="2"/>
                </a:cubicBezTo>
                <a:cubicBezTo>
                  <a:pt x="834" y="2"/>
                  <a:pt x="834" y="2"/>
                  <a:pt x="834" y="2"/>
                </a:cubicBezTo>
                <a:moveTo>
                  <a:pt x="834" y="2"/>
                </a:moveTo>
                <a:cubicBezTo>
                  <a:pt x="834" y="2"/>
                  <a:pt x="834" y="2"/>
                  <a:pt x="834" y="2"/>
                </a:cubicBezTo>
                <a:cubicBezTo>
                  <a:pt x="834" y="2"/>
                  <a:pt x="834" y="2"/>
                  <a:pt x="834" y="2"/>
                </a:cubicBezTo>
                <a:moveTo>
                  <a:pt x="833" y="2"/>
                </a:moveTo>
                <a:cubicBezTo>
                  <a:pt x="834" y="2"/>
                  <a:pt x="834" y="2"/>
                  <a:pt x="834" y="2"/>
                </a:cubicBezTo>
                <a:cubicBezTo>
                  <a:pt x="834" y="2"/>
                  <a:pt x="834" y="2"/>
                  <a:pt x="833" y="2"/>
                </a:cubicBezTo>
                <a:moveTo>
                  <a:pt x="833" y="2"/>
                </a:moveTo>
                <a:cubicBezTo>
                  <a:pt x="833" y="2"/>
                  <a:pt x="833" y="2"/>
                  <a:pt x="833" y="2"/>
                </a:cubicBezTo>
                <a:cubicBezTo>
                  <a:pt x="833" y="2"/>
                  <a:pt x="833" y="2"/>
                  <a:pt x="833" y="2"/>
                </a:cubicBezTo>
                <a:moveTo>
                  <a:pt x="833" y="2"/>
                </a:moveTo>
                <a:cubicBezTo>
                  <a:pt x="833" y="2"/>
                  <a:pt x="833" y="2"/>
                  <a:pt x="833" y="2"/>
                </a:cubicBezTo>
                <a:cubicBezTo>
                  <a:pt x="833" y="2"/>
                  <a:pt x="833" y="2"/>
                  <a:pt x="833" y="2"/>
                </a:cubicBezTo>
                <a:moveTo>
                  <a:pt x="833" y="2"/>
                </a:moveTo>
                <a:cubicBezTo>
                  <a:pt x="833" y="2"/>
                  <a:pt x="833" y="2"/>
                  <a:pt x="833" y="2"/>
                </a:cubicBezTo>
                <a:cubicBezTo>
                  <a:pt x="833" y="2"/>
                  <a:pt x="833" y="2"/>
                  <a:pt x="833" y="2"/>
                </a:cubicBezTo>
                <a:moveTo>
                  <a:pt x="832" y="2"/>
                </a:moveTo>
                <a:cubicBezTo>
                  <a:pt x="832" y="2"/>
                  <a:pt x="832" y="2"/>
                  <a:pt x="832" y="2"/>
                </a:cubicBezTo>
                <a:cubicBezTo>
                  <a:pt x="832" y="2"/>
                  <a:pt x="832" y="2"/>
                  <a:pt x="832" y="2"/>
                </a:cubicBezTo>
                <a:moveTo>
                  <a:pt x="832" y="2"/>
                </a:moveTo>
                <a:cubicBezTo>
                  <a:pt x="832" y="2"/>
                  <a:pt x="832" y="2"/>
                  <a:pt x="832" y="2"/>
                </a:cubicBezTo>
                <a:cubicBezTo>
                  <a:pt x="832" y="2"/>
                  <a:pt x="832" y="2"/>
                  <a:pt x="832" y="2"/>
                </a:cubicBezTo>
                <a:moveTo>
                  <a:pt x="831" y="2"/>
                </a:moveTo>
                <a:cubicBezTo>
                  <a:pt x="832" y="2"/>
                  <a:pt x="832" y="2"/>
                  <a:pt x="832" y="2"/>
                </a:cubicBezTo>
                <a:cubicBezTo>
                  <a:pt x="832" y="2"/>
                  <a:pt x="832" y="2"/>
                  <a:pt x="831" y="2"/>
                </a:cubicBezTo>
                <a:moveTo>
                  <a:pt x="831" y="1"/>
                </a:moveTo>
                <a:cubicBezTo>
                  <a:pt x="831" y="1"/>
                  <a:pt x="831" y="2"/>
                  <a:pt x="831" y="2"/>
                </a:cubicBezTo>
                <a:cubicBezTo>
                  <a:pt x="831" y="2"/>
                  <a:pt x="831" y="1"/>
                  <a:pt x="831" y="1"/>
                </a:cubicBezTo>
                <a:moveTo>
                  <a:pt x="831" y="1"/>
                </a:moveTo>
                <a:cubicBezTo>
                  <a:pt x="831" y="1"/>
                  <a:pt x="831" y="1"/>
                  <a:pt x="831" y="1"/>
                </a:cubicBezTo>
                <a:cubicBezTo>
                  <a:pt x="831" y="1"/>
                  <a:pt x="831" y="1"/>
                  <a:pt x="831" y="1"/>
                </a:cubicBezTo>
                <a:moveTo>
                  <a:pt x="831" y="1"/>
                </a:moveTo>
                <a:cubicBezTo>
                  <a:pt x="831" y="1"/>
                  <a:pt x="831" y="1"/>
                  <a:pt x="831" y="1"/>
                </a:cubicBezTo>
                <a:cubicBezTo>
                  <a:pt x="831" y="1"/>
                  <a:pt x="831" y="1"/>
                  <a:pt x="831" y="1"/>
                </a:cubicBezTo>
                <a:moveTo>
                  <a:pt x="830" y="1"/>
                </a:moveTo>
                <a:cubicBezTo>
                  <a:pt x="830" y="1"/>
                  <a:pt x="830" y="1"/>
                  <a:pt x="830" y="1"/>
                </a:cubicBezTo>
                <a:cubicBezTo>
                  <a:pt x="830" y="1"/>
                  <a:pt x="830" y="1"/>
                  <a:pt x="830" y="1"/>
                </a:cubicBezTo>
                <a:moveTo>
                  <a:pt x="829" y="1"/>
                </a:moveTo>
                <a:cubicBezTo>
                  <a:pt x="829" y="1"/>
                  <a:pt x="829" y="1"/>
                  <a:pt x="830" y="1"/>
                </a:cubicBezTo>
                <a:cubicBezTo>
                  <a:pt x="829" y="1"/>
                  <a:pt x="829" y="1"/>
                  <a:pt x="829" y="1"/>
                </a:cubicBezTo>
                <a:moveTo>
                  <a:pt x="829" y="1"/>
                </a:moveTo>
                <a:cubicBezTo>
                  <a:pt x="829" y="1"/>
                  <a:pt x="829" y="1"/>
                  <a:pt x="829" y="1"/>
                </a:cubicBezTo>
                <a:cubicBezTo>
                  <a:pt x="829" y="1"/>
                  <a:pt x="829" y="1"/>
                  <a:pt x="829" y="1"/>
                </a:cubicBezTo>
                <a:moveTo>
                  <a:pt x="829" y="1"/>
                </a:moveTo>
                <a:cubicBezTo>
                  <a:pt x="829" y="1"/>
                  <a:pt x="829" y="1"/>
                  <a:pt x="829" y="1"/>
                </a:cubicBezTo>
                <a:cubicBezTo>
                  <a:pt x="829" y="1"/>
                  <a:pt x="829" y="1"/>
                  <a:pt x="829" y="1"/>
                </a:cubicBezTo>
                <a:moveTo>
                  <a:pt x="827" y="1"/>
                </a:moveTo>
                <a:cubicBezTo>
                  <a:pt x="828" y="1"/>
                  <a:pt x="828" y="1"/>
                  <a:pt x="829" y="1"/>
                </a:cubicBezTo>
                <a:cubicBezTo>
                  <a:pt x="828" y="1"/>
                  <a:pt x="828" y="1"/>
                  <a:pt x="827" y="1"/>
                </a:cubicBezTo>
                <a:moveTo>
                  <a:pt x="827" y="0"/>
                </a:moveTo>
                <a:cubicBezTo>
                  <a:pt x="827" y="1"/>
                  <a:pt x="827" y="1"/>
                  <a:pt x="827" y="1"/>
                </a:cubicBezTo>
                <a:cubicBezTo>
                  <a:pt x="827" y="1"/>
                  <a:pt x="827" y="1"/>
                  <a:pt x="827" y="0"/>
                </a:cubicBezTo>
                <a:moveTo>
                  <a:pt x="827" y="0"/>
                </a:moveTo>
                <a:cubicBezTo>
                  <a:pt x="827" y="0"/>
                  <a:pt x="827" y="0"/>
                  <a:pt x="827" y="0"/>
                </a:cubicBezTo>
                <a:cubicBezTo>
                  <a:pt x="827" y="0"/>
                  <a:pt x="827" y="0"/>
                  <a:pt x="827" y="0"/>
                </a:cubicBezTo>
                <a:moveTo>
                  <a:pt x="826" y="0"/>
                </a:moveTo>
                <a:cubicBezTo>
                  <a:pt x="826" y="0"/>
                  <a:pt x="826" y="0"/>
                  <a:pt x="827" y="0"/>
                </a:cubicBezTo>
                <a:cubicBezTo>
                  <a:pt x="826" y="0"/>
                  <a:pt x="826" y="0"/>
                  <a:pt x="826" y="0"/>
                </a:cubicBezTo>
                <a:moveTo>
                  <a:pt x="825" y="0"/>
                </a:moveTo>
                <a:cubicBezTo>
                  <a:pt x="826" y="0"/>
                  <a:pt x="826" y="0"/>
                  <a:pt x="826" y="0"/>
                </a:cubicBezTo>
                <a:cubicBezTo>
                  <a:pt x="826" y="0"/>
                  <a:pt x="826" y="0"/>
                  <a:pt x="825" y="0"/>
                </a:cubicBezTo>
                <a:moveTo>
                  <a:pt x="825" y="0"/>
                </a:moveTo>
                <a:cubicBezTo>
                  <a:pt x="825" y="0"/>
                  <a:pt x="825" y="0"/>
                  <a:pt x="825" y="0"/>
                </a:cubicBezTo>
                <a:cubicBezTo>
                  <a:pt x="825" y="0"/>
                  <a:pt x="825" y="0"/>
                  <a:pt x="825" y="0"/>
                </a:cubicBezTo>
                <a:moveTo>
                  <a:pt x="825" y="0"/>
                </a:moveTo>
                <a:cubicBezTo>
                  <a:pt x="825" y="0"/>
                  <a:pt x="825" y="0"/>
                  <a:pt x="825" y="0"/>
                </a:cubicBezTo>
                <a:cubicBezTo>
                  <a:pt x="825" y="0"/>
                  <a:pt x="825" y="0"/>
                  <a:pt x="825" y="0"/>
                </a:cubicBezTo>
                <a:moveTo>
                  <a:pt x="824" y="0"/>
                </a:moveTo>
                <a:cubicBezTo>
                  <a:pt x="824" y="0"/>
                  <a:pt x="824" y="0"/>
                  <a:pt x="824" y="0"/>
                </a:cubicBezTo>
                <a:cubicBezTo>
                  <a:pt x="824" y="0"/>
                  <a:pt x="824" y="0"/>
                  <a:pt x="824" y="0"/>
                </a:cubicBezTo>
                <a:moveTo>
                  <a:pt x="824" y="0"/>
                </a:moveTo>
                <a:cubicBezTo>
                  <a:pt x="824" y="0"/>
                  <a:pt x="824" y="0"/>
                  <a:pt x="824" y="0"/>
                </a:cubicBezTo>
                <a:cubicBezTo>
                  <a:pt x="824" y="0"/>
                  <a:pt x="824" y="0"/>
                  <a:pt x="824" y="0"/>
                </a:cubicBezTo>
                <a:moveTo>
                  <a:pt x="823" y="0"/>
                </a:moveTo>
                <a:cubicBezTo>
                  <a:pt x="823" y="0"/>
                  <a:pt x="824" y="0"/>
                  <a:pt x="824" y="0"/>
                </a:cubicBezTo>
                <a:cubicBezTo>
                  <a:pt x="824" y="0"/>
                  <a:pt x="823" y="0"/>
                  <a:pt x="823" y="0"/>
                </a:cubicBezTo>
                <a:moveTo>
                  <a:pt x="823" y="0"/>
                </a:moveTo>
                <a:cubicBezTo>
                  <a:pt x="823" y="0"/>
                  <a:pt x="823" y="0"/>
                  <a:pt x="823" y="0"/>
                </a:cubicBezTo>
                <a:cubicBezTo>
                  <a:pt x="823" y="0"/>
                  <a:pt x="823" y="0"/>
                  <a:pt x="823" y="0"/>
                </a:cubicBezTo>
                <a:moveTo>
                  <a:pt x="822" y="0"/>
                </a:moveTo>
                <a:cubicBezTo>
                  <a:pt x="823" y="0"/>
                  <a:pt x="823" y="0"/>
                  <a:pt x="823" y="0"/>
                </a:cubicBezTo>
                <a:cubicBezTo>
                  <a:pt x="823" y="0"/>
                  <a:pt x="823" y="0"/>
                  <a:pt x="822" y="0"/>
                </a:cubicBezTo>
                <a:moveTo>
                  <a:pt x="822" y="0"/>
                </a:moveTo>
                <a:cubicBezTo>
                  <a:pt x="822" y="0"/>
                  <a:pt x="822" y="0"/>
                  <a:pt x="822" y="0"/>
                </a:cubicBezTo>
                <a:cubicBezTo>
                  <a:pt x="822" y="0"/>
                  <a:pt x="822" y="0"/>
                  <a:pt x="822" y="0"/>
                </a:cubicBezTo>
                <a:moveTo>
                  <a:pt x="822" y="0"/>
                </a:moveTo>
                <a:cubicBezTo>
                  <a:pt x="822" y="0"/>
                  <a:pt x="822" y="0"/>
                  <a:pt x="822" y="0"/>
                </a:cubicBezTo>
                <a:cubicBezTo>
                  <a:pt x="822" y="0"/>
                  <a:pt x="822" y="0"/>
                  <a:pt x="822" y="0"/>
                </a:cubicBezTo>
                <a:moveTo>
                  <a:pt x="821" y="0"/>
                </a:moveTo>
                <a:cubicBezTo>
                  <a:pt x="821" y="0"/>
                  <a:pt x="822" y="0"/>
                  <a:pt x="822" y="0"/>
                </a:cubicBezTo>
                <a:cubicBezTo>
                  <a:pt x="822" y="0"/>
                  <a:pt x="821" y="0"/>
                  <a:pt x="821" y="0"/>
                </a:cubicBezTo>
                <a:moveTo>
                  <a:pt x="821" y="0"/>
                </a:moveTo>
                <a:cubicBezTo>
                  <a:pt x="821" y="0"/>
                  <a:pt x="821" y="0"/>
                  <a:pt x="821" y="0"/>
                </a:cubicBezTo>
                <a:cubicBezTo>
                  <a:pt x="821" y="0"/>
                  <a:pt x="821" y="0"/>
                  <a:pt x="821" y="0"/>
                </a:cubicBezTo>
                <a:moveTo>
                  <a:pt x="820" y="0"/>
                </a:moveTo>
                <a:cubicBezTo>
                  <a:pt x="821" y="0"/>
                  <a:pt x="821" y="0"/>
                  <a:pt x="821" y="0"/>
                </a:cubicBezTo>
                <a:cubicBezTo>
                  <a:pt x="821" y="0"/>
                  <a:pt x="821" y="0"/>
                  <a:pt x="820" y="0"/>
                </a:cubicBezTo>
                <a:moveTo>
                  <a:pt x="820" y="0"/>
                </a:moveTo>
                <a:cubicBezTo>
                  <a:pt x="820" y="0"/>
                  <a:pt x="820" y="0"/>
                  <a:pt x="820" y="0"/>
                </a:cubicBezTo>
                <a:cubicBezTo>
                  <a:pt x="820" y="0"/>
                  <a:pt x="820" y="0"/>
                  <a:pt x="820" y="0"/>
                </a:cubicBezTo>
                <a:moveTo>
                  <a:pt x="820" y="0"/>
                </a:moveTo>
                <a:cubicBezTo>
                  <a:pt x="820" y="0"/>
                  <a:pt x="820" y="0"/>
                  <a:pt x="820" y="0"/>
                </a:cubicBezTo>
                <a:cubicBezTo>
                  <a:pt x="820" y="0"/>
                  <a:pt x="820" y="0"/>
                  <a:pt x="820" y="0"/>
                </a:cubicBezTo>
                <a:moveTo>
                  <a:pt x="819" y="0"/>
                </a:moveTo>
                <a:cubicBezTo>
                  <a:pt x="819" y="0"/>
                  <a:pt x="820" y="0"/>
                  <a:pt x="820" y="0"/>
                </a:cubicBezTo>
                <a:cubicBezTo>
                  <a:pt x="820" y="0"/>
                  <a:pt x="819" y="0"/>
                  <a:pt x="819" y="0"/>
                </a:cubicBezTo>
                <a:moveTo>
                  <a:pt x="819" y="0"/>
                </a:moveTo>
                <a:cubicBezTo>
                  <a:pt x="819" y="0"/>
                  <a:pt x="819" y="0"/>
                  <a:pt x="819" y="0"/>
                </a:cubicBezTo>
                <a:cubicBezTo>
                  <a:pt x="819" y="0"/>
                  <a:pt x="819" y="0"/>
                  <a:pt x="819" y="0"/>
                </a:cubicBezTo>
                <a:moveTo>
                  <a:pt x="819" y="0"/>
                </a:moveTo>
                <a:cubicBezTo>
                  <a:pt x="819" y="0"/>
                  <a:pt x="819" y="0"/>
                  <a:pt x="819" y="0"/>
                </a:cubicBezTo>
                <a:cubicBezTo>
                  <a:pt x="819" y="0"/>
                  <a:pt x="819" y="0"/>
                  <a:pt x="819" y="0"/>
                </a:cubicBezTo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moveTo>
                  <a:pt x="818" y="0"/>
                </a:moveTo>
                <a:cubicBezTo>
                  <a:pt x="818" y="0"/>
                  <a:pt x="818" y="0"/>
                  <a:pt x="819" y="0"/>
                </a:cubicBezTo>
                <a:cubicBezTo>
                  <a:pt x="818" y="0"/>
                  <a:pt x="818" y="0"/>
                  <a:pt x="818" y="0"/>
                </a:cubicBezTo>
                <a:moveTo>
                  <a:pt x="1" y="0"/>
                </a:move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0"/>
                  <a:pt x="1" y="0"/>
                </a:cubicBezTo>
                <a:moveTo>
                  <a:pt x="818" y="0"/>
                </a:moveTo>
                <a:cubicBezTo>
                  <a:pt x="818" y="0"/>
                  <a:pt x="818" y="0"/>
                  <a:pt x="818" y="0"/>
                </a:cubicBezTo>
                <a:cubicBezTo>
                  <a:pt x="818" y="0"/>
                  <a:pt x="818" y="0"/>
                  <a:pt x="818" y="0"/>
                </a:cubicBezTo>
                <a:moveTo>
                  <a:pt x="1" y="0"/>
                </a:move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0"/>
                  <a:pt x="1" y="0"/>
                </a:cubicBezTo>
                <a:moveTo>
                  <a:pt x="818" y="0"/>
                </a:moveTo>
                <a:cubicBezTo>
                  <a:pt x="818" y="0"/>
                  <a:pt x="818" y="0"/>
                  <a:pt x="818" y="0"/>
                </a:cubicBezTo>
                <a:cubicBezTo>
                  <a:pt x="818" y="0"/>
                  <a:pt x="818" y="0"/>
                  <a:pt x="818" y="0"/>
                </a:cubicBezTo>
                <a:moveTo>
                  <a:pt x="1" y="0"/>
                </a:move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0"/>
                  <a:pt x="1" y="0"/>
                </a:cubicBezTo>
                <a:moveTo>
                  <a:pt x="817" y="0"/>
                </a:moveTo>
                <a:cubicBezTo>
                  <a:pt x="817" y="0"/>
                  <a:pt x="817" y="0"/>
                  <a:pt x="818" y="0"/>
                </a:cubicBezTo>
                <a:cubicBezTo>
                  <a:pt x="817" y="0"/>
                  <a:pt x="817" y="0"/>
                  <a:pt x="817" y="0"/>
                </a:cubicBezTo>
                <a:moveTo>
                  <a:pt x="2" y="0"/>
                </a:moveTo>
                <a:cubicBezTo>
                  <a:pt x="2" y="0"/>
                  <a:pt x="2" y="0"/>
                  <a:pt x="2" y="0"/>
                </a:cubicBezTo>
                <a:cubicBezTo>
                  <a:pt x="2" y="0"/>
                  <a:pt x="2" y="0"/>
                  <a:pt x="2" y="0"/>
                </a:cubicBezTo>
                <a:moveTo>
                  <a:pt x="817" y="0"/>
                </a:moveTo>
                <a:cubicBezTo>
                  <a:pt x="2" y="0"/>
                  <a:pt x="2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817" y="0"/>
                  <a:pt x="817" y="0"/>
                  <a:pt x="817" y="0"/>
                </a:cubicBezTo>
                <a:cubicBezTo>
                  <a:pt x="817" y="0"/>
                  <a:pt x="817" y="0"/>
                  <a:pt x="817" y="0"/>
                </a:cubicBezTo>
                <a:cubicBezTo>
                  <a:pt x="817" y="0"/>
                  <a:pt x="817" y="0"/>
                  <a:pt x="817" y="0"/>
                </a:cubicBezTo>
              </a:path>
            </a:pathLst>
          </a:custGeom>
          <a:solidFill>
            <a:srgbClr val="D2DA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40" name="Freeform 342">
            <a:extLst>
              <a:ext uri="{FF2B5EF4-FFF2-40B4-BE49-F238E27FC236}">
                <a16:creationId xmlns:a16="http://schemas.microsoft.com/office/drawing/2014/main" id="{8A57A25C-08E1-4684-9585-EE9932F16CED}"/>
              </a:ext>
            </a:extLst>
          </p:cNvPr>
          <p:cNvSpPr>
            <a:spLocks/>
          </p:cNvSpPr>
          <p:nvPr/>
        </p:nvSpPr>
        <p:spPr bwMode="auto">
          <a:xfrm>
            <a:off x="4494557" y="5084867"/>
            <a:ext cx="602565" cy="27104"/>
          </a:xfrm>
          <a:custGeom>
            <a:avLst/>
            <a:gdLst>
              <a:gd name="T0" fmla="*/ 53 w 921"/>
              <a:gd name="T1" fmla="*/ 0 h 42"/>
              <a:gd name="T2" fmla="*/ 53 w 921"/>
              <a:gd name="T3" fmla="*/ 0 h 42"/>
              <a:gd name="T4" fmla="*/ 52 w 921"/>
              <a:gd name="T5" fmla="*/ 0 h 42"/>
              <a:gd name="T6" fmla="*/ 52 w 921"/>
              <a:gd name="T7" fmla="*/ 0 h 42"/>
              <a:gd name="T8" fmla="*/ 52 w 921"/>
              <a:gd name="T9" fmla="*/ 0 h 42"/>
              <a:gd name="T10" fmla="*/ 51 w 921"/>
              <a:gd name="T11" fmla="*/ 0 h 42"/>
              <a:gd name="T12" fmla="*/ 921 w 921"/>
              <a:gd name="T13" fmla="*/ 42 h 42"/>
              <a:gd name="T14" fmla="*/ 888 w 921"/>
              <a:gd name="T15" fmla="*/ 3 h 42"/>
              <a:gd name="T16" fmla="*/ 887 w 921"/>
              <a:gd name="T17" fmla="*/ 3 h 42"/>
              <a:gd name="T18" fmla="*/ 886 w 921"/>
              <a:gd name="T19" fmla="*/ 3 h 42"/>
              <a:gd name="T20" fmla="*/ 886 w 921"/>
              <a:gd name="T21" fmla="*/ 3 h 42"/>
              <a:gd name="T22" fmla="*/ 886 w 921"/>
              <a:gd name="T23" fmla="*/ 3 h 42"/>
              <a:gd name="T24" fmla="*/ 885 w 921"/>
              <a:gd name="T25" fmla="*/ 2 h 42"/>
              <a:gd name="T26" fmla="*/ 885 w 921"/>
              <a:gd name="T27" fmla="*/ 2 h 42"/>
              <a:gd name="T28" fmla="*/ 885 w 921"/>
              <a:gd name="T29" fmla="*/ 2 h 42"/>
              <a:gd name="T30" fmla="*/ 884 w 921"/>
              <a:gd name="T31" fmla="*/ 2 h 42"/>
              <a:gd name="T32" fmla="*/ 884 w 921"/>
              <a:gd name="T33" fmla="*/ 2 h 42"/>
              <a:gd name="T34" fmla="*/ 884 w 921"/>
              <a:gd name="T35" fmla="*/ 2 h 42"/>
              <a:gd name="T36" fmla="*/ 884 w 921"/>
              <a:gd name="T37" fmla="*/ 2 h 42"/>
              <a:gd name="T38" fmla="*/ 883 w 921"/>
              <a:gd name="T39" fmla="*/ 2 h 42"/>
              <a:gd name="T40" fmla="*/ 883 w 921"/>
              <a:gd name="T41" fmla="*/ 2 h 42"/>
              <a:gd name="T42" fmla="*/ 882 w 921"/>
              <a:gd name="T43" fmla="*/ 2 h 42"/>
              <a:gd name="T44" fmla="*/ 882 w 921"/>
              <a:gd name="T45" fmla="*/ 1 h 42"/>
              <a:gd name="T46" fmla="*/ 882 w 921"/>
              <a:gd name="T47" fmla="*/ 1 h 42"/>
              <a:gd name="T48" fmla="*/ 882 w 921"/>
              <a:gd name="T49" fmla="*/ 1 h 42"/>
              <a:gd name="T50" fmla="*/ 881 w 921"/>
              <a:gd name="T51" fmla="*/ 1 h 42"/>
              <a:gd name="T52" fmla="*/ 880 w 921"/>
              <a:gd name="T53" fmla="*/ 1 h 42"/>
              <a:gd name="T54" fmla="*/ 880 w 921"/>
              <a:gd name="T55" fmla="*/ 1 h 42"/>
              <a:gd name="T56" fmla="*/ 880 w 921"/>
              <a:gd name="T57" fmla="*/ 1 h 42"/>
              <a:gd name="T58" fmla="*/ 878 w 921"/>
              <a:gd name="T59" fmla="*/ 1 h 42"/>
              <a:gd name="T60" fmla="*/ 878 w 921"/>
              <a:gd name="T61" fmla="*/ 0 h 42"/>
              <a:gd name="T62" fmla="*/ 878 w 921"/>
              <a:gd name="T63" fmla="*/ 0 h 42"/>
              <a:gd name="T64" fmla="*/ 877 w 921"/>
              <a:gd name="T65" fmla="*/ 0 h 42"/>
              <a:gd name="T66" fmla="*/ 876 w 921"/>
              <a:gd name="T67" fmla="*/ 0 h 42"/>
              <a:gd name="T68" fmla="*/ 876 w 921"/>
              <a:gd name="T69" fmla="*/ 0 h 42"/>
              <a:gd name="T70" fmla="*/ 876 w 921"/>
              <a:gd name="T71" fmla="*/ 0 h 42"/>
              <a:gd name="T72" fmla="*/ 875 w 921"/>
              <a:gd name="T73" fmla="*/ 0 h 42"/>
              <a:gd name="T74" fmla="*/ 875 w 921"/>
              <a:gd name="T75" fmla="*/ 0 h 42"/>
              <a:gd name="T76" fmla="*/ 874 w 921"/>
              <a:gd name="T77" fmla="*/ 0 h 42"/>
              <a:gd name="T78" fmla="*/ 874 w 921"/>
              <a:gd name="T79" fmla="*/ 0 h 42"/>
              <a:gd name="T80" fmla="*/ 873 w 921"/>
              <a:gd name="T81" fmla="*/ 0 h 42"/>
              <a:gd name="T82" fmla="*/ 873 w 921"/>
              <a:gd name="T83" fmla="*/ 0 h 42"/>
              <a:gd name="T84" fmla="*/ 873 w 921"/>
              <a:gd name="T85" fmla="*/ 0 h 42"/>
              <a:gd name="T86" fmla="*/ 872 w 921"/>
              <a:gd name="T87" fmla="*/ 0 h 42"/>
              <a:gd name="T88" fmla="*/ 872 w 921"/>
              <a:gd name="T89" fmla="*/ 0 h 42"/>
              <a:gd name="T90" fmla="*/ 871 w 921"/>
              <a:gd name="T91" fmla="*/ 0 h 42"/>
              <a:gd name="T92" fmla="*/ 871 w 921"/>
              <a:gd name="T93" fmla="*/ 0 h 42"/>
              <a:gd name="T94" fmla="*/ 871 w 921"/>
              <a:gd name="T95" fmla="*/ 0 h 42"/>
              <a:gd name="T96" fmla="*/ 870 w 921"/>
              <a:gd name="T97" fmla="*/ 0 h 42"/>
              <a:gd name="T98" fmla="*/ 870 w 921"/>
              <a:gd name="T99" fmla="*/ 0 h 42"/>
              <a:gd name="T100" fmla="*/ 870 w 921"/>
              <a:gd name="T101" fmla="*/ 0 h 42"/>
              <a:gd name="T102" fmla="*/ 869 w 921"/>
              <a:gd name="T103" fmla="*/ 0 h 42"/>
              <a:gd name="T104" fmla="*/ 869 w 921"/>
              <a:gd name="T105" fmla="*/ 0 h 42"/>
              <a:gd name="T106" fmla="*/ 869 w 921"/>
              <a:gd name="T107" fmla="*/ 0 h 42"/>
              <a:gd name="T108" fmla="*/ 868 w 921"/>
              <a:gd name="T109" fmla="*/ 0 h 42"/>
              <a:gd name="T110" fmla="*/ 868 w 921"/>
              <a:gd name="T111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21" h="42">
                <a:moveTo>
                  <a:pt x="868" y="0"/>
                </a:move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26" y="0"/>
                  <a:pt x="5" y="18"/>
                  <a:pt x="0" y="42"/>
                </a:cubicBezTo>
                <a:cubicBezTo>
                  <a:pt x="921" y="42"/>
                  <a:pt x="921" y="42"/>
                  <a:pt x="921" y="42"/>
                </a:cubicBezTo>
                <a:cubicBezTo>
                  <a:pt x="917" y="25"/>
                  <a:pt x="905" y="10"/>
                  <a:pt x="888" y="3"/>
                </a:cubicBezTo>
                <a:cubicBezTo>
                  <a:pt x="888" y="3"/>
                  <a:pt x="888" y="3"/>
                  <a:pt x="888" y="3"/>
                </a:cubicBezTo>
                <a:cubicBezTo>
                  <a:pt x="888" y="3"/>
                  <a:pt x="887" y="3"/>
                  <a:pt x="887" y="3"/>
                </a:cubicBezTo>
                <a:cubicBezTo>
                  <a:pt x="887" y="3"/>
                  <a:pt x="887" y="3"/>
                  <a:pt x="887" y="3"/>
                </a:cubicBezTo>
                <a:cubicBezTo>
                  <a:pt x="887" y="3"/>
                  <a:pt x="887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6" y="3"/>
                </a:cubicBezTo>
                <a:cubicBezTo>
                  <a:pt x="886" y="3"/>
                  <a:pt x="886" y="3"/>
                  <a:pt x="885" y="2"/>
                </a:cubicBezTo>
                <a:cubicBezTo>
                  <a:pt x="885" y="2"/>
                  <a:pt x="885" y="2"/>
                  <a:pt x="885" y="2"/>
                </a:cubicBezTo>
                <a:cubicBezTo>
                  <a:pt x="885" y="2"/>
                  <a:pt x="885" y="2"/>
                  <a:pt x="885" y="2"/>
                </a:cubicBezTo>
                <a:cubicBezTo>
                  <a:pt x="885" y="2"/>
                  <a:pt x="885" y="2"/>
                  <a:pt x="885" y="2"/>
                </a:cubicBezTo>
                <a:cubicBezTo>
                  <a:pt x="885" y="2"/>
                  <a:pt x="885" y="2"/>
                  <a:pt x="885" y="2"/>
                </a:cubicBezTo>
                <a:cubicBezTo>
                  <a:pt x="885" y="2"/>
                  <a:pt x="885" y="2"/>
                  <a:pt x="885" y="2"/>
                </a:cubicBezTo>
                <a:cubicBezTo>
                  <a:pt x="885" y="2"/>
                  <a:pt x="885" y="2"/>
                  <a:pt x="884" y="2"/>
                </a:cubicBezTo>
                <a:cubicBezTo>
                  <a:pt x="884" y="2"/>
                  <a:pt x="884" y="2"/>
                  <a:pt x="884" y="2"/>
                </a:cubicBezTo>
                <a:cubicBezTo>
                  <a:pt x="884" y="2"/>
                  <a:pt x="884" y="2"/>
                  <a:pt x="884" y="2"/>
                </a:cubicBezTo>
                <a:cubicBezTo>
                  <a:pt x="884" y="2"/>
                  <a:pt x="884" y="2"/>
                  <a:pt x="884" y="2"/>
                </a:cubicBezTo>
                <a:cubicBezTo>
                  <a:pt x="884" y="2"/>
                  <a:pt x="884" y="2"/>
                  <a:pt x="884" y="2"/>
                </a:cubicBezTo>
                <a:cubicBezTo>
                  <a:pt x="884" y="2"/>
                  <a:pt x="884" y="2"/>
                  <a:pt x="884" y="2"/>
                </a:cubicBezTo>
                <a:cubicBezTo>
                  <a:pt x="884" y="2"/>
                  <a:pt x="884" y="2"/>
                  <a:pt x="884" y="2"/>
                </a:cubicBezTo>
                <a:cubicBezTo>
                  <a:pt x="883" y="2"/>
                  <a:pt x="883" y="2"/>
                  <a:pt x="883" y="2"/>
                </a:cubicBezTo>
                <a:cubicBezTo>
                  <a:pt x="883" y="2"/>
                  <a:pt x="883" y="2"/>
                  <a:pt x="883" y="2"/>
                </a:cubicBezTo>
                <a:cubicBezTo>
                  <a:pt x="883" y="2"/>
                  <a:pt x="883" y="2"/>
                  <a:pt x="883" y="2"/>
                </a:cubicBezTo>
                <a:cubicBezTo>
                  <a:pt x="883" y="2"/>
                  <a:pt x="883" y="2"/>
                  <a:pt x="883" y="2"/>
                </a:cubicBezTo>
                <a:cubicBezTo>
                  <a:pt x="883" y="2"/>
                  <a:pt x="883" y="2"/>
                  <a:pt x="883" y="2"/>
                </a:cubicBezTo>
                <a:cubicBezTo>
                  <a:pt x="883" y="2"/>
                  <a:pt x="883" y="2"/>
                  <a:pt x="882" y="2"/>
                </a:cubicBezTo>
                <a:cubicBezTo>
                  <a:pt x="882" y="2"/>
                  <a:pt x="882" y="2"/>
                  <a:pt x="882" y="2"/>
                </a:cubicBezTo>
                <a:cubicBezTo>
                  <a:pt x="882" y="2"/>
                  <a:pt x="882" y="1"/>
                  <a:pt x="882" y="1"/>
                </a:cubicBezTo>
                <a:cubicBezTo>
                  <a:pt x="882" y="1"/>
                  <a:pt x="882" y="1"/>
                  <a:pt x="882" y="1"/>
                </a:cubicBezTo>
                <a:cubicBezTo>
                  <a:pt x="882" y="1"/>
                  <a:pt x="882" y="1"/>
                  <a:pt x="882" y="1"/>
                </a:cubicBezTo>
                <a:cubicBezTo>
                  <a:pt x="882" y="1"/>
                  <a:pt x="882" y="1"/>
                  <a:pt x="882" y="1"/>
                </a:cubicBezTo>
                <a:cubicBezTo>
                  <a:pt x="882" y="1"/>
                  <a:pt x="882" y="1"/>
                  <a:pt x="882" y="1"/>
                </a:cubicBezTo>
                <a:cubicBezTo>
                  <a:pt x="882" y="1"/>
                  <a:pt x="881" y="1"/>
                  <a:pt x="881" y="1"/>
                </a:cubicBezTo>
                <a:cubicBezTo>
                  <a:pt x="881" y="1"/>
                  <a:pt x="881" y="1"/>
                  <a:pt x="881" y="1"/>
                </a:cubicBezTo>
                <a:cubicBezTo>
                  <a:pt x="881" y="1"/>
                  <a:pt x="881" y="1"/>
                  <a:pt x="881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80" y="1"/>
                  <a:pt x="880" y="1"/>
                  <a:pt x="880" y="1"/>
                </a:cubicBezTo>
                <a:cubicBezTo>
                  <a:pt x="879" y="1"/>
                  <a:pt x="879" y="1"/>
                  <a:pt x="878" y="1"/>
                </a:cubicBezTo>
                <a:cubicBezTo>
                  <a:pt x="878" y="1"/>
                  <a:pt x="878" y="1"/>
                  <a:pt x="878" y="1"/>
                </a:cubicBezTo>
                <a:cubicBezTo>
                  <a:pt x="878" y="1"/>
                  <a:pt x="878" y="1"/>
                  <a:pt x="878" y="0"/>
                </a:cubicBezTo>
                <a:cubicBezTo>
                  <a:pt x="878" y="0"/>
                  <a:pt x="878" y="0"/>
                  <a:pt x="878" y="0"/>
                </a:cubicBezTo>
                <a:cubicBezTo>
                  <a:pt x="878" y="0"/>
                  <a:pt x="878" y="0"/>
                  <a:pt x="878" y="0"/>
                </a:cubicBezTo>
                <a:cubicBezTo>
                  <a:pt x="878" y="0"/>
                  <a:pt x="878" y="0"/>
                  <a:pt x="878" y="0"/>
                </a:cubicBezTo>
                <a:cubicBezTo>
                  <a:pt x="877" y="0"/>
                  <a:pt x="877" y="0"/>
                  <a:pt x="877" y="0"/>
                </a:cubicBezTo>
                <a:cubicBezTo>
                  <a:pt x="877" y="0"/>
                  <a:pt x="877" y="0"/>
                  <a:pt x="877" y="0"/>
                </a:cubicBezTo>
                <a:cubicBezTo>
                  <a:pt x="877" y="0"/>
                  <a:pt x="877" y="0"/>
                  <a:pt x="876" y="0"/>
                </a:cubicBezTo>
                <a:cubicBezTo>
                  <a:pt x="876" y="0"/>
                  <a:pt x="876" y="0"/>
                  <a:pt x="876" y="0"/>
                </a:cubicBezTo>
                <a:cubicBezTo>
                  <a:pt x="876" y="0"/>
                  <a:pt x="876" y="0"/>
                  <a:pt x="876" y="0"/>
                </a:cubicBezTo>
                <a:cubicBezTo>
                  <a:pt x="876" y="0"/>
                  <a:pt x="876" y="0"/>
                  <a:pt x="876" y="0"/>
                </a:cubicBezTo>
                <a:cubicBezTo>
                  <a:pt x="876" y="0"/>
                  <a:pt x="876" y="0"/>
                  <a:pt x="876" y="0"/>
                </a:cubicBezTo>
                <a:cubicBezTo>
                  <a:pt x="876" y="0"/>
                  <a:pt x="875" y="0"/>
                  <a:pt x="875" y="0"/>
                </a:cubicBezTo>
                <a:cubicBezTo>
                  <a:pt x="875" y="0"/>
                  <a:pt x="875" y="0"/>
                  <a:pt x="875" y="0"/>
                </a:cubicBezTo>
                <a:cubicBezTo>
                  <a:pt x="875" y="0"/>
                  <a:pt x="875" y="0"/>
                  <a:pt x="875" y="0"/>
                </a:cubicBezTo>
                <a:cubicBezTo>
                  <a:pt x="875" y="0"/>
                  <a:pt x="875" y="0"/>
                  <a:pt x="875" y="0"/>
                </a:cubicBezTo>
                <a:cubicBezTo>
                  <a:pt x="875" y="0"/>
                  <a:pt x="875" y="0"/>
                  <a:pt x="875" y="0"/>
                </a:cubicBezTo>
                <a:cubicBezTo>
                  <a:pt x="875" y="0"/>
                  <a:pt x="874" y="0"/>
                  <a:pt x="874" y="0"/>
                </a:cubicBezTo>
                <a:cubicBezTo>
                  <a:pt x="874" y="0"/>
                  <a:pt x="874" y="0"/>
                  <a:pt x="874" y="0"/>
                </a:cubicBezTo>
                <a:cubicBezTo>
                  <a:pt x="874" y="0"/>
                  <a:pt x="874" y="0"/>
                  <a:pt x="874" y="0"/>
                </a:cubicBezTo>
                <a:cubicBezTo>
                  <a:pt x="874" y="0"/>
                  <a:pt x="874" y="0"/>
                  <a:pt x="874" y="0"/>
                </a:cubicBezTo>
                <a:cubicBezTo>
                  <a:pt x="874" y="0"/>
                  <a:pt x="874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3" y="0"/>
                  <a:pt x="873" y="0"/>
                </a:cubicBezTo>
                <a:cubicBezTo>
                  <a:pt x="873" y="0"/>
                  <a:pt x="872" y="0"/>
                  <a:pt x="872" y="0"/>
                </a:cubicBezTo>
                <a:cubicBezTo>
                  <a:pt x="872" y="0"/>
                  <a:pt x="872" y="0"/>
                  <a:pt x="872" y="0"/>
                </a:cubicBezTo>
                <a:cubicBezTo>
                  <a:pt x="872" y="0"/>
                  <a:pt x="872" y="0"/>
                  <a:pt x="872" y="0"/>
                </a:cubicBezTo>
                <a:cubicBezTo>
                  <a:pt x="872" y="0"/>
                  <a:pt x="872" y="0"/>
                  <a:pt x="872" y="0"/>
                </a:cubicBezTo>
                <a:cubicBezTo>
                  <a:pt x="872" y="0"/>
                  <a:pt x="872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8" y="0"/>
                  <a:pt x="868" y="0"/>
                  <a:pt x="868" y="0"/>
                </a:cubicBezTo>
                <a:cubicBezTo>
                  <a:pt x="868" y="0"/>
                  <a:pt x="868" y="0"/>
                  <a:pt x="868" y="0"/>
                </a:cubicBezTo>
                <a:cubicBezTo>
                  <a:pt x="868" y="0"/>
                  <a:pt x="868" y="0"/>
                  <a:pt x="868" y="0"/>
                </a:cubicBezTo>
              </a:path>
            </a:pathLst>
          </a:custGeom>
          <a:solidFill>
            <a:srgbClr val="E1AD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41" name="Freeform 343">
            <a:extLst>
              <a:ext uri="{FF2B5EF4-FFF2-40B4-BE49-F238E27FC236}">
                <a16:creationId xmlns:a16="http://schemas.microsoft.com/office/drawing/2014/main" id="{72C6CCC3-3923-446C-8D72-237A18C51307}"/>
              </a:ext>
            </a:extLst>
          </p:cNvPr>
          <p:cNvSpPr>
            <a:spLocks/>
          </p:cNvSpPr>
          <p:nvPr/>
        </p:nvSpPr>
        <p:spPr bwMode="auto">
          <a:xfrm>
            <a:off x="4493589" y="4986134"/>
            <a:ext cx="604017" cy="98734"/>
          </a:xfrm>
          <a:custGeom>
            <a:avLst/>
            <a:gdLst>
              <a:gd name="T0" fmla="*/ 55 w 924"/>
              <a:gd name="T1" fmla="*/ 0 h 151"/>
              <a:gd name="T2" fmla="*/ 870 w 924"/>
              <a:gd name="T3" fmla="*/ 0 h 151"/>
              <a:gd name="T4" fmla="*/ 924 w 924"/>
              <a:gd name="T5" fmla="*/ 55 h 151"/>
              <a:gd name="T6" fmla="*/ 924 w 924"/>
              <a:gd name="T7" fmla="*/ 96 h 151"/>
              <a:gd name="T8" fmla="*/ 870 w 924"/>
              <a:gd name="T9" fmla="*/ 151 h 151"/>
              <a:gd name="T10" fmla="*/ 55 w 924"/>
              <a:gd name="T11" fmla="*/ 151 h 151"/>
              <a:gd name="T12" fmla="*/ 0 w 924"/>
              <a:gd name="T13" fmla="*/ 96 h 151"/>
              <a:gd name="T14" fmla="*/ 0 w 924"/>
              <a:gd name="T15" fmla="*/ 55 h 151"/>
              <a:gd name="T16" fmla="*/ 55 w 924"/>
              <a:gd name="T17" fmla="*/ 0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24" h="151">
                <a:moveTo>
                  <a:pt x="55" y="0"/>
                </a:moveTo>
                <a:cubicBezTo>
                  <a:pt x="870" y="0"/>
                  <a:pt x="870" y="0"/>
                  <a:pt x="870" y="0"/>
                </a:cubicBezTo>
                <a:cubicBezTo>
                  <a:pt x="900" y="0"/>
                  <a:pt x="924" y="25"/>
                  <a:pt x="924" y="55"/>
                </a:cubicBezTo>
                <a:cubicBezTo>
                  <a:pt x="924" y="96"/>
                  <a:pt x="924" y="96"/>
                  <a:pt x="924" y="96"/>
                </a:cubicBezTo>
                <a:cubicBezTo>
                  <a:pt x="924" y="126"/>
                  <a:pt x="900" y="151"/>
                  <a:pt x="870" y="151"/>
                </a:cubicBezTo>
                <a:cubicBezTo>
                  <a:pt x="55" y="151"/>
                  <a:pt x="55" y="151"/>
                  <a:pt x="55" y="151"/>
                </a:cubicBezTo>
                <a:cubicBezTo>
                  <a:pt x="25" y="151"/>
                  <a:pt x="0" y="126"/>
                  <a:pt x="0" y="96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25"/>
                  <a:pt x="25" y="0"/>
                  <a:pt x="55" y="0"/>
                </a:cubicBezTo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42" name="Freeform 344">
            <a:extLst>
              <a:ext uri="{FF2B5EF4-FFF2-40B4-BE49-F238E27FC236}">
                <a16:creationId xmlns:a16="http://schemas.microsoft.com/office/drawing/2014/main" id="{7CBF692C-96AF-44D4-8631-23B9CB2013FD}"/>
              </a:ext>
            </a:extLst>
          </p:cNvPr>
          <p:cNvSpPr>
            <a:spLocks/>
          </p:cNvSpPr>
          <p:nvPr/>
        </p:nvSpPr>
        <p:spPr bwMode="auto">
          <a:xfrm>
            <a:off x="4493589" y="5014205"/>
            <a:ext cx="604017" cy="42591"/>
          </a:xfrm>
          <a:custGeom>
            <a:avLst/>
            <a:gdLst>
              <a:gd name="T0" fmla="*/ 923 w 924"/>
              <a:gd name="T1" fmla="*/ 0 h 65"/>
              <a:gd name="T2" fmla="*/ 924 w 924"/>
              <a:gd name="T3" fmla="*/ 12 h 65"/>
              <a:gd name="T4" fmla="*/ 924 w 924"/>
              <a:gd name="T5" fmla="*/ 53 h 65"/>
              <a:gd name="T6" fmla="*/ 923 w 924"/>
              <a:gd name="T7" fmla="*/ 65 h 65"/>
              <a:gd name="T8" fmla="*/ 2 w 924"/>
              <a:gd name="T9" fmla="*/ 65 h 65"/>
              <a:gd name="T10" fmla="*/ 0 w 924"/>
              <a:gd name="T11" fmla="*/ 53 h 65"/>
              <a:gd name="T12" fmla="*/ 0 w 924"/>
              <a:gd name="T13" fmla="*/ 12 h 65"/>
              <a:gd name="T14" fmla="*/ 2 w 924"/>
              <a:gd name="T15" fmla="*/ 0 h 65"/>
              <a:gd name="T16" fmla="*/ 923 w 924"/>
              <a:gd name="T1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24" h="65">
                <a:moveTo>
                  <a:pt x="923" y="0"/>
                </a:moveTo>
                <a:cubicBezTo>
                  <a:pt x="924" y="4"/>
                  <a:pt x="924" y="8"/>
                  <a:pt x="924" y="12"/>
                </a:cubicBezTo>
                <a:cubicBezTo>
                  <a:pt x="924" y="53"/>
                  <a:pt x="924" y="53"/>
                  <a:pt x="924" y="53"/>
                </a:cubicBezTo>
                <a:cubicBezTo>
                  <a:pt x="924" y="57"/>
                  <a:pt x="924" y="61"/>
                  <a:pt x="923" y="65"/>
                </a:cubicBezTo>
                <a:cubicBezTo>
                  <a:pt x="2" y="65"/>
                  <a:pt x="2" y="65"/>
                  <a:pt x="2" y="65"/>
                </a:cubicBezTo>
                <a:cubicBezTo>
                  <a:pt x="1" y="61"/>
                  <a:pt x="0" y="57"/>
                  <a:pt x="0" y="53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8"/>
                  <a:pt x="1" y="4"/>
                  <a:pt x="2" y="0"/>
                </a:cubicBezTo>
                <a:cubicBezTo>
                  <a:pt x="923" y="0"/>
                  <a:pt x="923" y="0"/>
                  <a:pt x="923" y="0"/>
                </a:cubicBezTo>
              </a:path>
            </a:pathLst>
          </a:custGeom>
          <a:solidFill>
            <a:srgbClr val="FFE22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43" name="Freeform 345">
            <a:extLst>
              <a:ext uri="{FF2B5EF4-FFF2-40B4-BE49-F238E27FC236}">
                <a16:creationId xmlns:a16="http://schemas.microsoft.com/office/drawing/2014/main" id="{E08DCB84-C3D8-4738-88A3-4EC7C8EA169A}"/>
              </a:ext>
            </a:extLst>
          </p:cNvPr>
          <p:cNvSpPr>
            <a:spLocks/>
          </p:cNvSpPr>
          <p:nvPr/>
        </p:nvSpPr>
        <p:spPr bwMode="auto">
          <a:xfrm>
            <a:off x="4553603" y="4986133"/>
            <a:ext cx="508671" cy="0"/>
          </a:xfrm>
          <a:custGeom>
            <a:avLst/>
            <a:gdLst>
              <a:gd name="T0" fmla="*/ 778 w 778"/>
              <a:gd name="T1" fmla="*/ 0 w 778"/>
              <a:gd name="T2" fmla="*/ 778 w 778"/>
              <a:gd name="T3" fmla="*/ 778 w 778"/>
              <a:gd name="T4" fmla="*/ 778 w 778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778">
                <a:moveTo>
                  <a:pt x="778" y="0"/>
                </a:moveTo>
                <a:cubicBezTo>
                  <a:pt x="0" y="0"/>
                  <a:pt x="0" y="0"/>
                  <a:pt x="0" y="0"/>
                </a:cubicBezTo>
                <a:cubicBezTo>
                  <a:pt x="778" y="0"/>
                  <a:pt x="778" y="0"/>
                  <a:pt x="778" y="0"/>
                </a:cubicBezTo>
                <a:cubicBezTo>
                  <a:pt x="778" y="0"/>
                  <a:pt x="778" y="0"/>
                  <a:pt x="778" y="0"/>
                </a:cubicBezTo>
                <a:cubicBezTo>
                  <a:pt x="778" y="0"/>
                  <a:pt x="778" y="0"/>
                  <a:pt x="778" y="0"/>
                </a:cubicBezTo>
              </a:path>
            </a:pathLst>
          </a:custGeom>
          <a:solidFill>
            <a:srgbClr val="BDB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44" name="Freeform 346">
            <a:extLst>
              <a:ext uri="{FF2B5EF4-FFF2-40B4-BE49-F238E27FC236}">
                <a16:creationId xmlns:a16="http://schemas.microsoft.com/office/drawing/2014/main" id="{92919884-FC74-4D9A-8313-608363CDBB76}"/>
              </a:ext>
            </a:extLst>
          </p:cNvPr>
          <p:cNvSpPr>
            <a:spLocks/>
          </p:cNvSpPr>
          <p:nvPr/>
        </p:nvSpPr>
        <p:spPr bwMode="auto">
          <a:xfrm>
            <a:off x="4529404" y="4986133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D2DA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45" name="Freeform 347">
            <a:extLst>
              <a:ext uri="{FF2B5EF4-FFF2-40B4-BE49-F238E27FC236}">
                <a16:creationId xmlns:a16="http://schemas.microsoft.com/office/drawing/2014/main" id="{DA317FA7-AA61-437C-A1C9-C35331D14024}"/>
              </a:ext>
            </a:extLst>
          </p:cNvPr>
          <p:cNvSpPr>
            <a:spLocks/>
          </p:cNvSpPr>
          <p:nvPr/>
        </p:nvSpPr>
        <p:spPr bwMode="auto">
          <a:xfrm>
            <a:off x="5062274" y="4986133"/>
            <a:ext cx="968" cy="0"/>
          </a:xfrm>
          <a:custGeom>
            <a:avLst/>
            <a:gdLst>
              <a:gd name="T0" fmla="*/ 0 w 1"/>
              <a:gd name="T1" fmla="*/ 1 w 1"/>
              <a:gd name="T2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">
                <a:moveTo>
                  <a:pt x="0" y="0"/>
                </a:moveTo>
                <a:cubicBezTo>
                  <a:pt x="0" y="0"/>
                  <a:pt x="0" y="0"/>
                  <a:pt x="1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BDB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46" name="Freeform 348">
            <a:extLst>
              <a:ext uri="{FF2B5EF4-FFF2-40B4-BE49-F238E27FC236}">
                <a16:creationId xmlns:a16="http://schemas.microsoft.com/office/drawing/2014/main" id="{3D6C4DB8-69AD-464B-BEEE-04F2DD48A980}"/>
              </a:ext>
            </a:extLst>
          </p:cNvPr>
          <p:cNvSpPr>
            <a:spLocks/>
          </p:cNvSpPr>
          <p:nvPr/>
        </p:nvSpPr>
        <p:spPr bwMode="auto">
          <a:xfrm>
            <a:off x="4528920" y="4986133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D2DA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47" name="Freeform 349">
            <a:extLst>
              <a:ext uri="{FF2B5EF4-FFF2-40B4-BE49-F238E27FC236}">
                <a16:creationId xmlns:a16="http://schemas.microsoft.com/office/drawing/2014/main" id="{16B92E47-DB65-46BF-A319-A6D4ED1433B9}"/>
              </a:ext>
            </a:extLst>
          </p:cNvPr>
          <p:cNvSpPr>
            <a:spLocks/>
          </p:cNvSpPr>
          <p:nvPr/>
        </p:nvSpPr>
        <p:spPr bwMode="auto">
          <a:xfrm>
            <a:off x="4528920" y="4986133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D2DA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48" name="Freeform 350">
            <a:extLst>
              <a:ext uri="{FF2B5EF4-FFF2-40B4-BE49-F238E27FC236}">
                <a16:creationId xmlns:a16="http://schemas.microsoft.com/office/drawing/2014/main" id="{97151B85-F184-4300-928E-3A54CC535468}"/>
              </a:ext>
            </a:extLst>
          </p:cNvPr>
          <p:cNvSpPr>
            <a:spLocks/>
          </p:cNvSpPr>
          <p:nvPr/>
        </p:nvSpPr>
        <p:spPr bwMode="auto">
          <a:xfrm>
            <a:off x="4528920" y="4986133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D2DA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49" name="Freeform 351">
            <a:extLst>
              <a:ext uri="{FF2B5EF4-FFF2-40B4-BE49-F238E27FC236}">
                <a16:creationId xmlns:a16="http://schemas.microsoft.com/office/drawing/2014/main" id="{919BC57E-FC2F-4232-890A-CA98F5F8329A}"/>
              </a:ext>
            </a:extLst>
          </p:cNvPr>
          <p:cNvSpPr>
            <a:spLocks/>
          </p:cNvSpPr>
          <p:nvPr/>
        </p:nvSpPr>
        <p:spPr bwMode="auto">
          <a:xfrm>
            <a:off x="5063243" y="4986133"/>
            <a:ext cx="484" cy="0"/>
          </a:xfrm>
          <a:custGeom>
            <a:avLst/>
            <a:gdLst>
              <a:gd name="T0" fmla="*/ 0 w 1"/>
              <a:gd name="T1" fmla="*/ 1 w 1"/>
              <a:gd name="T2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">
                <a:moveTo>
                  <a:pt x="0" y="0"/>
                </a:moveTo>
                <a:cubicBezTo>
                  <a:pt x="0" y="0"/>
                  <a:pt x="0" y="0"/>
                  <a:pt x="1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BDB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50" name="Freeform 352">
            <a:extLst>
              <a:ext uri="{FF2B5EF4-FFF2-40B4-BE49-F238E27FC236}">
                <a16:creationId xmlns:a16="http://schemas.microsoft.com/office/drawing/2014/main" id="{428CB445-E370-46AD-AD26-A2A83AE0F6D7}"/>
              </a:ext>
            </a:extLst>
          </p:cNvPr>
          <p:cNvSpPr>
            <a:spLocks noEditPoints="1"/>
          </p:cNvSpPr>
          <p:nvPr/>
        </p:nvSpPr>
        <p:spPr bwMode="auto">
          <a:xfrm>
            <a:off x="5063727" y="4986134"/>
            <a:ext cx="14520" cy="3872"/>
          </a:xfrm>
          <a:custGeom>
            <a:avLst/>
            <a:gdLst>
              <a:gd name="T0" fmla="*/ 22 w 22"/>
              <a:gd name="T1" fmla="*/ 6 h 6"/>
              <a:gd name="T2" fmla="*/ 22 w 22"/>
              <a:gd name="T3" fmla="*/ 6 h 6"/>
              <a:gd name="T4" fmla="*/ 22 w 22"/>
              <a:gd name="T5" fmla="*/ 6 h 6"/>
              <a:gd name="T6" fmla="*/ 21 w 22"/>
              <a:gd name="T7" fmla="*/ 6 h 6"/>
              <a:gd name="T8" fmla="*/ 21 w 22"/>
              <a:gd name="T9" fmla="*/ 5 h 6"/>
              <a:gd name="T10" fmla="*/ 21 w 22"/>
              <a:gd name="T11" fmla="*/ 5 h 6"/>
              <a:gd name="T12" fmla="*/ 20 w 22"/>
              <a:gd name="T13" fmla="*/ 5 h 6"/>
              <a:gd name="T14" fmla="*/ 20 w 22"/>
              <a:gd name="T15" fmla="*/ 5 h 6"/>
              <a:gd name="T16" fmla="*/ 20 w 22"/>
              <a:gd name="T17" fmla="*/ 5 h 6"/>
              <a:gd name="T18" fmla="*/ 20 w 22"/>
              <a:gd name="T19" fmla="*/ 5 h 6"/>
              <a:gd name="T20" fmla="*/ 19 w 22"/>
              <a:gd name="T21" fmla="*/ 5 h 6"/>
              <a:gd name="T22" fmla="*/ 19 w 22"/>
              <a:gd name="T23" fmla="*/ 5 h 6"/>
              <a:gd name="T24" fmla="*/ 19 w 22"/>
              <a:gd name="T25" fmla="*/ 5 h 6"/>
              <a:gd name="T26" fmla="*/ 18 w 22"/>
              <a:gd name="T27" fmla="*/ 4 h 6"/>
              <a:gd name="T28" fmla="*/ 18 w 22"/>
              <a:gd name="T29" fmla="*/ 4 h 6"/>
              <a:gd name="T30" fmla="*/ 18 w 22"/>
              <a:gd name="T31" fmla="*/ 4 h 6"/>
              <a:gd name="T32" fmla="*/ 18 w 22"/>
              <a:gd name="T33" fmla="*/ 4 h 6"/>
              <a:gd name="T34" fmla="*/ 18 w 22"/>
              <a:gd name="T35" fmla="*/ 4 h 6"/>
              <a:gd name="T36" fmla="*/ 18 w 22"/>
              <a:gd name="T37" fmla="*/ 4 h 6"/>
              <a:gd name="T38" fmla="*/ 6 w 22"/>
              <a:gd name="T39" fmla="*/ 1 h 6"/>
              <a:gd name="T40" fmla="*/ 6 w 22"/>
              <a:gd name="T41" fmla="*/ 1 h 6"/>
              <a:gd name="T42" fmla="*/ 5 w 22"/>
              <a:gd name="T43" fmla="*/ 1 h 6"/>
              <a:gd name="T44" fmla="*/ 4 w 22"/>
              <a:gd name="T45" fmla="*/ 1 h 6"/>
              <a:gd name="T46" fmla="*/ 4 w 22"/>
              <a:gd name="T47" fmla="*/ 1 h 6"/>
              <a:gd name="T48" fmla="*/ 4 w 22"/>
              <a:gd name="T49" fmla="*/ 1 h 6"/>
              <a:gd name="T50" fmla="*/ 3 w 22"/>
              <a:gd name="T51" fmla="*/ 1 h 6"/>
              <a:gd name="T52" fmla="*/ 3 w 22"/>
              <a:gd name="T53" fmla="*/ 1 h 6"/>
              <a:gd name="T54" fmla="*/ 3 w 22"/>
              <a:gd name="T55" fmla="*/ 1 h 6"/>
              <a:gd name="T56" fmla="*/ 2 w 22"/>
              <a:gd name="T57" fmla="*/ 1 h 6"/>
              <a:gd name="T58" fmla="*/ 2 w 22"/>
              <a:gd name="T59" fmla="*/ 1 h 6"/>
              <a:gd name="T60" fmla="*/ 2 w 22"/>
              <a:gd name="T61" fmla="*/ 1 h 6"/>
              <a:gd name="T62" fmla="*/ 1 w 22"/>
              <a:gd name="T63" fmla="*/ 0 h 6"/>
              <a:gd name="T64" fmla="*/ 1 w 22"/>
              <a:gd name="T65" fmla="*/ 0 h 6"/>
              <a:gd name="T66" fmla="*/ 1 w 22"/>
              <a:gd name="T67" fmla="*/ 0 h 6"/>
              <a:gd name="T68" fmla="*/ 1 w 22"/>
              <a:gd name="T69" fmla="*/ 0 h 6"/>
              <a:gd name="T70" fmla="*/ 1 w 22"/>
              <a:gd name="T71" fmla="*/ 0 h 6"/>
              <a:gd name="T72" fmla="*/ 1 w 22"/>
              <a:gd name="T73" fmla="*/ 0 h 6"/>
              <a:gd name="T74" fmla="*/ 0 w 22"/>
              <a:gd name="T75" fmla="*/ 0 h 6"/>
              <a:gd name="T76" fmla="*/ 0 w 22"/>
              <a:gd name="T77" fmla="*/ 0 h 6"/>
              <a:gd name="T78" fmla="*/ 0 w 22"/>
              <a:gd name="T7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2" h="6">
                <a:moveTo>
                  <a:pt x="22" y="6"/>
                </a:moveTo>
                <a:cubicBezTo>
                  <a:pt x="22" y="6"/>
                  <a:pt x="22" y="6"/>
                  <a:pt x="22" y="6"/>
                </a:cubicBezTo>
                <a:cubicBezTo>
                  <a:pt x="22" y="6"/>
                  <a:pt x="22" y="6"/>
                  <a:pt x="22" y="6"/>
                </a:cubicBezTo>
                <a:moveTo>
                  <a:pt x="22" y="6"/>
                </a:moveTo>
                <a:cubicBezTo>
                  <a:pt x="22" y="6"/>
                  <a:pt x="22" y="6"/>
                  <a:pt x="22" y="6"/>
                </a:cubicBezTo>
                <a:cubicBezTo>
                  <a:pt x="22" y="6"/>
                  <a:pt x="22" y="6"/>
                  <a:pt x="22" y="6"/>
                </a:cubicBezTo>
                <a:moveTo>
                  <a:pt x="21" y="6"/>
                </a:moveTo>
                <a:cubicBezTo>
                  <a:pt x="21" y="6"/>
                  <a:pt x="21" y="6"/>
                  <a:pt x="21" y="6"/>
                </a:cubicBezTo>
                <a:cubicBezTo>
                  <a:pt x="21" y="6"/>
                  <a:pt x="21" y="6"/>
                  <a:pt x="21" y="6"/>
                </a:cubicBezTo>
                <a:moveTo>
                  <a:pt x="21" y="5"/>
                </a:moveTo>
                <a:cubicBezTo>
                  <a:pt x="21" y="5"/>
                  <a:pt x="21" y="5"/>
                  <a:pt x="21" y="5"/>
                </a:cubicBezTo>
                <a:cubicBezTo>
                  <a:pt x="21" y="5"/>
                  <a:pt x="21" y="5"/>
                  <a:pt x="21" y="5"/>
                </a:cubicBezTo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ubicBezTo>
                  <a:pt x="20" y="5"/>
                  <a:pt x="20" y="5"/>
                  <a:pt x="20" y="5"/>
                </a:cubicBezTo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ubicBezTo>
                  <a:pt x="20" y="5"/>
                  <a:pt x="20" y="5"/>
                  <a:pt x="20" y="5"/>
                </a:cubicBezTo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ubicBezTo>
                  <a:pt x="20" y="5"/>
                  <a:pt x="20" y="5"/>
                  <a:pt x="20" y="5"/>
                </a:cubicBezTo>
                <a:moveTo>
                  <a:pt x="19" y="5"/>
                </a:moveTo>
                <a:cubicBezTo>
                  <a:pt x="20" y="5"/>
                  <a:pt x="20" y="5"/>
                  <a:pt x="20" y="5"/>
                </a:cubicBezTo>
                <a:cubicBezTo>
                  <a:pt x="20" y="5"/>
                  <a:pt x="20" y="5"/>
                  <a:pt x="19" y="5"/>
                </a:cubicBezTo>
                <a:moveTo>
                  <a:pt x="19" y="5"/>
                </a:moveTo>
                <a:cubicBezTo>
                  <a:pt x="19" y="5"/>
                  <a:pt x="19" y="5"/>
                  <a:pt x="19" y="5"/>
                </a:cubicBezTo>
                <a:cubicBezTo>
                  <a:pt x="19" y="5"/>
                  <a:pt x="19" y="5"/>
                  <a:pt x="19" y="5"/>
                </a:cubicBezTo>
                <a:moveTo>
                  <a:pt x="18" y="4"/>
                </a:moveTo>
                <a:cubicBezTo>
                  <a:pt x="19" y="4"/>
                  <a:pt x="19" y="4"/>
                  <a:pt x="19" y="5"/>
                </a:cubicBezTo>
                <a:cubicBezTo>
                  <a:pt x="19" y="4"/>
                  <a:pt x="19" y="4"/>
                  <a:pt x="18" y="4"/>
                </a:cubicBezTo>
                <a:moveTo>
                  <a:pt x="18" y="4"/>
                </a:moveTo>
                <a:cubicBezTo>
                  <a:pt x="18" y="4"/>
                  <a:pt x="18" y="4"/>
                  <a:pt x="18" y="4"/>
                </a:cubicBezTo>
                <a:cubicBezTo>
                  <a:pt x="18" y="4"/>
                  <a:pt x="18" y="4"/>
                  <a:pt x="18" y="4"/>
                </a:cubicBezTo>
                <a:moveTo>
                  <a:pt x="18" y="4"/>
                </a:moveTo>
                <a:cubicBezTo>
                  <a:pt x="18" y="4"/>
                  <a:pt x="18" y="4"/>
                  <a:pt x="18" y="4"/>
                </a:cubicBezTo>
                <a:cubicBezTo>
                  <a:pt x="18" y="4"/>
                  <a:pt x="18" y="4"/>
                  <a:pt x="18" y="4"/>
                </a:cubicBezTo>
                <a:moveTo>
                  <a:pt x="6" y="1"/>
                </a:moveTo>
                <a:cubicBezTo>
                  <a:pt x="10" y="2"/>
                  <a:pt x="14" y="3"/>
                  <a:pt x="18" y="4"/>
                </a:cubicBezTo>
                <a:cubicBezTo>
                  <a:pt x="14" y="3"/>
                  <a:pt x="10" y="2"/>
                  <a:pt x="6" y="1"/>
                </a:cubicBezTo>
                <a:moveTo>
                  <a:pt x="6" y="1"/>
                </a:moveTo>
                <a:cubicBezTo>
                  <a:pt x="6" y="1"/>
                  <a:pt x="6" y="1"/>
                  <a:pt x="6" y="1"/>
                </a:cubicBezTo>
                <a:cubicBezTo>
                  <a:pt x="6" y="1"/>
                  <a:pt x="6" y="1"/>
                  <a:pt x="6" y="1"/>
                </a:cubicBezTo>
                <a:moveTo>
                  <a:pt x="5" y="1"/>
                </a:moveTo>
                <a:cubicBezTo>
                  <a:pt x="5" y="1"/>
                  <a:pt x="5" y="1"/>
                  <a:pt x="5" y="1"/>
                </a:cubicBezTo>
                <a:cubicBezTo>
                  <a:pt x="5" y="1"/>
                  <a:pt x="5" y="1"/>
                  <a:pt x="5" y="1"/>
                </a:cubicBezTo>
                <a:moveTo>
                  <a:pt x="4" y="1"/>
                </a:moveTo>
                <a:cubicBezTo>
                  <a:pt x="4" y="1"/>
                  <a:pt x="5" y="1"/>
                  <a:pt x="5" y="1"/>
                </a:cubicBezTo>
                <a:cubicBezTo>
                  <a:pt x="5" y="1"/>
                  <a:pt x="4" y="1"/>
                  <a:pt x="4" y="1"/>
                </a:cubicBezTo>
                <a:moveTo>
                  <a:pt x="3" y="1"/>
                </a:moveTo>
                <a:cubicBezTo>
                  <a:pt x="4" y="1"/>
                  <a:pt x="4" y="1"/>
                  <a:pt x="4" y="1"/>
                </a:cubicBezTo>
                <a:cubicBezTo>
                  <a:pt x="4" y="1"/>
                  <a:pt x="4" y="1"/>
                  <a:pt x="3" y="1"/>
                </a:cubicBezTo>
                <a:moveTo>
                  <a:pt x="3" y="1"/>
                </a:moveTo>
                <a:cubicBezTo>
                  <a:pt x="3" y="1"/>
                  <a:pt x="3" y="1"/>
                  <a:pt x="3" y="1"/>
                </a:cubicBezTo>
                <a:cubicBezTo>
                  <a:pt x="3" y="1"/>
                  <a:pt x="3" y="1"/>
                  <a:pt x="3" y="1"/>
                </a:cubicBezTo>
                <a:moveTo>
                  <a:pt x="3" y="1"/>
                </a:moveTo>
                <a:cubicBezTo>
                  <a:pt x="3" y="1"/>
                  <a:pt x="3" y="1"/>
                  <a:pt x="3" y="1"/>
                </a:cubicBezTo>
                <a:cubicBezTo>
                  <a:pt x="3" y="1"/>
                  <a:pt x="3" y="1"/>
                  <a:pt x="3" y="1"/>
                </a:cubicBezTo>
                <a:moveTo>
                  <a:pt x="2" y="1"/>
                </a:moveTo>
                <a:cubicBezTo>
                  <a:pt x="2" y="1"/>
                  <a:pt x="3" y="1"/>
                  <a:pt x="3" y="1"/>
                </a:cubicBezTo>
                <a:cubicBezTo>
                  <a:pt x="3" y="1"/>
                  <a:pt x="2" y="1"/>
                  <a:pt x="2" y="1"/>
                </a:cubicBezTo>
                <a:moveTo>
                  <a:pt x="2" y="0"/>
                </a:moveTo>
                <a:cubicBezTo>
                  <a:pt x="2" y="0"/>
                  <a:pt x="2" y="1"/>
                  <a:pt x="2" y="1"/>
                </a:cubicBezTo>
                <a:cubicBezTo>
                  <a:pt x="2" y="1"/>
                  <a:pt x="2" y="0"/>
                  <a:pt x="2" y="0"/>
                </a:cubicBezTo>
                <a:moveTo>
                  <a:pt x="1" y="0"/>
                </a:moveTo>
                <a:cubicBezTo>
                  <a:pt x="2" y="0"/>
                  <a:pt x="2" y="0"/>
                  <a:pt x="2" y="0"/>
                </a:cubicBezTo>
                <a:cubicBezTo>
                  <a:pt x="2" y="0"/>
                  <a:pt x="2" y="0"/>
                  <a:pt x="1" y="0"/>
                </a:cubicBezTo>
                <a:moveTo>
                  <a:pt x="1" y="0"/>
                </a:move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0"/>
                  <a:pt x="1" y="0"/>
                </a:cubicBezTo>
                <a:moveTo>
                  <a:pt x="1" y="0"/>
                </a:move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0"/>
                  <a:pt x="1" y="0"/>
                </a:cubicBezTo>
                <a:moveTo>
                  <a:pt x="0" y="0"/>
                </a:moveTo>
                <a:cubicBezTo>
                  <a:pt x="0" y="0"/>
                  <a:pt x="1" y="0"/>
                  <a:pt x="1" y="0"/>
                </a:cubicBezTo>
                <a:cubicBezTo>
                  <a:pt x="1" y="0"/>
                  <a:pt x="0" y="0"/>
                  <a:pt x="0" y="0"/>
                </a:cubicBezTo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BDB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51" name="Freeform 353">
            <a:extLst>
              <a:ext uri="{FF2B5EF4-FFF2-40B4-BE49-F238E27FC236}">
                <a16:creationId xmlns:a16="http://schemas.microsoft.com/office/drawing/2014/main" id="{FB859D32-5E66-4A51-B654-BB18E2B7DEA1}"/>
              </a:ext>
            </a:extLst>
          </p:cNvPr>
          <p:cNvSpPr>
            <a:spLocks/>
          </p:cNvSpPr>
          <p:nvPr/>
        </p:nvSpPr>
        <p:spPr bwMode="auto">
          <a:xfrm>
            <a:off x="4494557" y="4986133"/>
            <a:ext cx="602565" cy="28072"/>
          </a:xfrm>
          <a:custGeom>
            <a:avLst/>
            <a:gdLst>
              <a:gd name="T0" fmla="*/ 90 w 921"/>
              <a:gd name="T1" fmla="*/ 0 h 43"/>
              <a:gd name="T2" fmla="*/ 53 w 921"/>
              <a:gd name="T3" fmla="*/ 0 h 43"/>
              <a:gd name="T4" fmla="*/ 52 w 921"/>
              <a:gd name="T5" fmla="*/ 0 h 43"/>
              <a:gd name="T6" fmla="*/ 52 w 921"/>
              <a:gd name="T7" fmla="*/ 0 h 43"/>
              <a:gd name="T8" fmla="*/ 52 w 921"/>
              <a:gd name="T9" fmla="*/ 0 h 43"/>
              <a:gd name="T10" fmla="*/ 51 w 921"/>
              <a:gd name="T11" fmla="*/ 0 h 43"/>
              <a:gd name="T12" fmla="*/ 0 w 921"/>
              <a:gd name="T13" fmla="*/ 43 h 43"/>
              <a:gd name="T14" fmla="*/ 892 w 921"/>
              <a:gd name="T15" fmla="*/ 6 h 43"/>
              <a:gd name="T16" fmla="*/ 892 w 921"/>
              <a:gd name="T17" fmla="*/ 6 h 43"/>
              <a:gd name="T18" fmla="*/ 891 w 921"/>
              <a:gd name="T19" fmla="*/ 6 h 43"/>
              <a:gd name="T20" fmla="*/ 891 w 921"/>
              <a:gd name="T21" fmla="*/ 5 h 43"/>
              <a:gd name="T22" fmla="*/ 890 w 921"/>
              <a:gd name="T23" fmla="*/ 5 h 43"/>
              <a:gd name="T24" fmla="*/ 890 w 921"/>
              <a:gd name="T25" fmla="*/ 5 h 43"/>
              <a:gd name="T26" fmla="*/ 890 w 921"/>
              <a:gd name="T27" fmla="*/ 5 h 43"/>
              <a:gd name="T28" fmla="*/ 890 w 921"/>
              <a:gd name="T29" fmla="*/ 5 h 43"/>
              <a:gd name="T30" fmla="*/ 889 w 921"/>
              <a:gd name="T31" fmla="*/ 5 h 43"/>
              <a:gd name="T32" fmla="*/ 889 w 921"/>
              <a:gd name="T33" fmla="*/ 5 h 43"/>
              <a:gd name="T34" fmla="*/ 888 w 921"/>
              <a:gd name="T35" fmla="*/ 4 h 43"/>
              <a:gd name="T36" fmla="*/ 888 w 921"/>
              <a:gd name="T37" fmla="*/ 4 h 43"/>
              <a:gd name="T38" fmla="*/ 888 w 921"/>
              <a:gd name="T39" fmla="*/ 4 h 43"/>
              <a:gd name="T40" fmla="*/ 876 w 921"/>
              <a:gd name="T41" fmla="*/ 1 h 43"/>
              <a:gd name="T42" fmla="*/ 875 w 921"/>
              <a:gd name="T43" fmla="*/ 1 h 43"/>
              <a:gd name="T44" fmla="*/ 875 w 921"/>
              <a:gd name="T45" fmla="*/ 1 h 43"/>
              <a:gd name="T46" fmla="*/ 874 w 921"/>
              <a:gd name="T47" fmla="*/ 1 h 43"/>
              <a:gd name="T48" fmla="*/ 873 w 921"/>
              <a:gd name="T49" fmla="*/ 1 h 43"/>
              <a:gd name="T50" fmla="*/ 873 w 921"/>
              <a:gd name="T51" fmla="*/ 1 h 43"/>
              <a:gd name="T52" fmla="*/ 873 w 921"/>
              <a:gd name="T53" fmla="*/ 1 h 43"/>
              <a:gd name="T54" fmla="*/ 872 w 921"/>
              <a:gd name="T55" fmla="*/ 1 h 43"/>
              <a:gd name="T56" fmla="*/ 872 w 921"/>
              <a:gd name="T57" fmla="*/ 0 h 43"/>
              <a:gd name="T58" fmla="*/ 871 w 921"/>
              <a:gd name="T59" fmla="*/ 0 h 43"/>
              <a:gd name="T60" fmla="*/ 871 w 921"/>
              <a:gd name="T61" fmla="*/ 0 h 43"/>
              <a:gd name="T62" fmla="*/ 871 w 921"/>
              <a:gd name="T63" fmla="*/ 0 h 43"/>
              <a:gd name="T64" fmla="*/ 870 w 921"/>
              <a:gd name="T65" fmla="*/ 0 h 43"/>
              <a:gd name="T66" fmla="*/ 870 w 921"/>
              <a:gd name="T67" fmla="*/ 0 h 43"/>
              <a:gd name="T68" fmla="*/ 870 w 921"/>
              <a:gd name="T69" fmla="*/ 0 h 43"/>
              <a:gd name="T70" fmla="*/ 869 w 921"/>
              <a:gd name="T71" fmla="*/ 0 h 43"/>
              <a:gd name="T72" fmla="*/ 869 w 921"/>
              <a:gd name="T73" fmla="*/ 0 h 43"/>
              <a:gd name="T74" fmla="*/ 869 w 921"/>
              <a:gd name="T75" fmla="*/ 0 h 43"/>
              <a:gd name="T76" fmla="*/ 868 w 921"/>
              <a:gd name="T7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21" h="43">
                <a:moveTo>
                  <a:pt x="868" y="0"/>
                </a:moveTo>
                <a:cubicBezTo>
                  <a:pt x="90" y="0"/>
                  <a:pt x="90" y="0"/>
                  <a:pt x="90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53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26" y="1"/>
                  <a:pt x="5" y="19"/>
                  <a:pt x="0" y="43"/>
                </a:cubicBezTo>
                <a:cubicBezTo>
                  <a:pt x="921" y="43"/>
                  <a:pt x="921" y="43"/>
                  <a:pt x="921" y="43"/>
                </a:cubicBezTo>
                <a:cubicBezTo>
                  <a:pt x="918" y="27"/>
                  <a:pt x="907" y="13"/>
                  <a:pt x="892" y="6"/>
                </a:cubicBezTo>
                <a:cubicBezTo>
                  <a:pt x="892" y="6"/>
                  <a:pt x="892" y="6"/>
                  <a:pt x="892" y="6"/>
                </a:cubicBezTo>
                <a:cubicBezTo>
                  <a:pt x="892" y="6"/>
                  <a:pt x="892" y="6"/>
                  <a:pt x="892" y="6"/>
                </a:cubicBezTo>
                <a:cubicBezTo>
                  <a:pt x="892" y="6"/>
                  <a:pt x="892" y="6"/>
                  <a:pt x="892" y="6"/>
                </a:cubicBezTo>
                <a:cubicBezTo>
                  <a:pt x="892" y="6"/>
                  <a:pt x="892" y="6"/>
                  <a:pt x="891" y="6"/>
                </a:cubicBezTo>
                <a:cubicBezTo>
                  <a:pt x="891" y="6"/>
                  <a:pt x="891" y="6"/>
                  <a:pt x="891" y="6"/>
                </a:cubicBezTo>
                <a:cubicBezTo>
                  <a:pt x="891" y="6"/>
                  <a:pt x="891" y="5"/>
                  <a:pt x="891" y="5"/>
                </a:cubicBezTo>
                <a:cubicBezTo>
                  <a:pt x="891" y="5"/>
                  <a:pt x="891" y="5"/>
                  <a:pt x="891" y="5"/>
                </a:cubicBezTo>
                <a:cubicBezTo>
                  <a:pt x="891" y="5"/>
                  <a:pt x="891" y="5"/>
                  <a:pt x="890" y="5"/>
                </a:cubicBezTo>
                <a:cubicBezTo>
                  <a:pt x="890" y="5"/>
                  <a:pt x="890" y="5"/>
                  <a:pt x="890" y="5"/>
                </a:cubicBezTo>
                <a:cubicBezTo>
                  <a:pt x="890" y="5"/>
                  <a:pt x="890" y="5"/>
                  <a:pt x="890" y="5"/>
                </a:cubicBezTo>
                <a:cubicBezTo>
                  <a:pt x="890" y="5"/>
                  <a:pt x="890" y="5"/>
                  <a:pt x="890" y="5"/>
                </a:cubicBezTo>
                <a:cubicBezTo>
                  <a:pt x="890" y="5"/>
                  <a:pt x="890" y="5"/>
                  <a:pt x="890" y="5"/>
                </a:cubicBezTo>
                <a:cubicBezTo>
                  <a:pt x="890" y="5"/>
                  <a:pt x="890" y="5"/>
                  <a:pt x="890" y="5"/>
                </a:cubicBezTo>
                <a:cubicBezTo>
                  <a:pt x="890" y="5"/>
                  <a:pt x="890" y="5"/>
                  <a:pt x="890" y="5"/>
                </a:cubicBezTo>
                <a:cubicBezTo>
                  <a:pt x="890" y="5"/>
                  <a:pt x="890" y="5"/>
                  <a:pt x="889" y="5"/>
                </a:cubicBezTo>
                <a:cubicBezTo>
                  <a:pt x="889" y="5"/>
                  <a:pt x="889" y="5"/>
                  <a:pt x="889" y="5"/>
                </a:cubicBezTo>
                <a:cubicBezTo>
                  <a:pt x="889" y="5"/>
                  <a:pt x="889" y="5"/>
                  <a:pt x="889" y="5"/>
                </a:cubicBezTo>
                <a:cubicBezTo>
                  <a:pt x="889" y="5"/>
                  <a:pt x="889" y="5"/>
                  <a:pt x="889" y="5"/>
                </a:cubicBezTo>
                <a:cubicBezTo>
                  <a:pt x="889" y="4"/>
                  <a:pt x="889" y="4"/>
                  <a:pt x="888" y="4"/>
                </a:cubicBezTo>
                <a:cubicBezTo>
                  <a:pt x="888" y="4"/>
                  <a:pt x="888" y="4"/>
                  <a:pt x="888" y="4"/>
                </a:cubicBezTo>
                <a:cubicBezTo>
                  <a:pt x="888" y="4"/>
                  <a:pt x="888" y="4"/>
                  <a:pt x="888" y="4"/>
                </a:cubicBezTo>
                <a:cubicBezTo>
                  <a:pt x="888" y="4"/>
                  <a:pt x="888" y="4"/>
                  <a:pt x="888" y="4"/>
                </a:cubicBezTo>
                <a:cubicBezTo>
                  <a:pt x="888" y="4"/>
                  <a:pt x="888" y="4"/>
                  <a:pt x="888" y="4"/>
                </a:cubicBezTo>
                <a:cubicBezTo>
                  <a:pt x="888" y="4"/>
                  <a:pt x="888" y="4"/>
                  <a:pt x="888" y="4"/>
                </a:cubicBezTo>
                <a:cubicBezTo>
                  <a:pt x="884" y="3"/>
                  <a:pt x="880" y="2"/>
                  <a:pt x="876" y="1"/>
                </a:cubicBezTo>
                <a:cubicBezTo>
                  <a:pt x="876" y="1"/>
                  <a:pt x="876" y="1"/>
                  <a:pt x="876" y="1"/>
                </a:cubicBezTo>
                <a:cubicBezTo>
                  <a:pt x="876" y="1"/>
                  <a:pt x="876" y="1"/>
                  <a:pt x="876" y="1"/>
                </a:cubicBezTo>
                <a:cubicBezTo>
                  <a:pt x="876" y="1"/>
                  <a:pt x="876" y="1"/>
                  <a:pt x="875" y="1"/>
                </a:cubicBezTo>
                <a:cubicBezTo>
                  <a:pt x="875" y="1"/>
                  <a:pt x="875" y="1"/>
                  <a:pt x="875" y="1"/>
                </a:cubicBezTo>
                <a:cubicBezTo>
                  <a:pt x="875" y="1"/>
                  <a:pt x="875" y="1"/>
                  <a:pt x="875" y="1"/>
                </a:cubicBezTo>
                <a:cubicBezTo>
                  <a:pt x="875" y="1"/>
                  <a:pt x="874" y="1"/>
                  <a:pt x="874" y="1"/>
                </a:cubicBezTo>
                <a:cubicBezTo>
                  <a:pt x="874" y="1"/>
                  <a:pt x="874" y="1"/>
                  <a:pt x="874" y="1"/>
                </a:cubicBezTo>
                <a:cubicBezTo>
                  <a:pt x="874" y="1"/>
                  <a:pt x="874" y="1"/>
                  <a:pt x="873" y="1"/>
                </a:cubicBezTo>
                <a:cubicBezTo>
                  <a:pt x="873" y="1"/>
                  <a:pt x="873" y="1"/>
                  <a:pt x="873" y="1"/>
                </a:cubicBezTo>
                <a:cubicBezTo>
                  <a:pt x="873" y="1"/>
                  <a:pt x="873" y="1"/>
                  <a:pt x="873" y="1"/>
                </a:cubicBezTo>
                <a:cubicBezTo>
                  <a:pt x="873" y="1"/>
                  <a:pt x="873" y="1"/>
                  <a:pt x="873" y="1"/>
                </a:cubicBezTo>
                <a:cubicBezTo>
                  <a:pt x="873" y="1"/>
                  <a:pt x="873" y="1"/>
                  <a:pt x="873" y="1"/>
                </a:cubicBezTo>
                <a:cubicBezTo>
                  <a:pt x="873" y="1"/>
                  <a:pt x="873" y="1"/>
                  <a:pt x="873" y="1"/>
                </a:cubicBezTo>
                <a:cubicBezTo>
                  <a:pt x="873" y="1"/>
                  <a:pt x="872" y="1"/>
                  <a:pt x="872" y="1"/>
                </a:cubicBezTo>
                <a:cubicBezTo>
                  <a:pt x="872" y="1"/>
                  <a:pt x="872" y="1"/>
                  <a:pt x="872" y="1"/>
                </a:cubicBezTo>
                <a:cubicBezTo>
                  <a:pt x="872" y="1"/>
                  <a:pt x="872" y="0"/>
                  <a:pt x="872" y="0"/>
                </a:cubicBezTo>
                <a:cubicBezTo>
                  <a:pt x="872" y="0"/>
                  <a:pt x="872" y="0"/>
                  <a:pt x="872" y="0"/>
                </a:cubicBezTo>
                <a:cubicBezTo>
                  <a:pt x="872" y="0"/>
                  <a:pt x="872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70" y="0"/>
                  <a:pt x="870" y="0"/>
                  <a:pt x="870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9" y="0"/>
                  <a:pt x="869" y="0"/>
                  <a:pt x="869" y="0"/>
                </a:cubicBezTo>
                <a:cubicBezTo>
                  <a:pt x="868" y="0"/>
                  <a:pt x="868" y="0"/>
                  <a:pt x="868" y="0"/>
                </a:cubicBezTo>
                <a:cubicBezTo>
                  <a:pt x="868" y="0"/>
                  <a:pt x="868" y="0"/>
                  <a:pt x="868" y="0"/>
                </a:cubicBezTo>
                <a:cubicBezTo>
                  <a:pt x="868" y="0"/>
                  <a:pt x="868" y="0"/>
                  <a:pt x="868" y="0"/>
                </a:cubicBezTo>
              </a:path>
            </a:pathLst>
          </a:custGeom>
          <a:solidFill>
            <a:srgbClr val="E1AD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52" name="Freeform 354">
            <a:extLst>
              <a:ext uri="{FF2B5EF4-FFF2-40B4-BE49-F238E27FC236}">
                <a16:creationId xmlns:a16="http://schemas.microsoft.com/office/drawing/2014/main" id="{745E9831-36C2-4D31-9B3D-88F51DE8A4D0}"/>
              </a:ext>
            </a:extLst>
          </p:cNvPr>
          <p:cNvSpPr>
            <a:spLocks/>
          </p:cNvSpPr>
          <p:nvPr/>
        </p:nvSpPr>
        <p:spPr bwMode="auto">
          <a:xfrm>
            <a:off x="4493589" y="4888368"/>
            <a:ext cx="604017" cy="98249"/>
          </a:xfrm>
          <a:custGeom>
            <a:avLst/>
            <a:gdLst>
              <a:gd name="T0" fmla="*/ 55 w 924"/>
              <a:gd name="T1" fmla="*/ 0 h 150"/>
              <a:gd name="T2" fmla="*/ 870 w 924"/>
              <a:gd name="T3" fmla="*/ 0 h 150"/>
              <a:gd name="T4" fmla="*/ 924 w 924"/>
              <a:gd name="T5" fmla="*/ 55 h 150"/>
              <a:gd name="T6" fmla="*/ 924 w 924"/>
              <a:gd name="T7" fmla="*/ 96 h 150"/>
              <a:gd name="T8" fmla="*/ 870 w 924"/>
              <a:gd name="T9" fmla="*/ 150 h 150"/>
              <a:gd name="T10" fmla="*/ 55 w 924"/>
              <a:gd name="T11" fmla="*/ 150 h 150"/>
              <a:gd name="T12" fmla="*/ 0 w 924"/>
              <a:gd name="T13" fmla="*/ 96 h 150"/>
              <a:gd name="T14" fmla="*/ 0 w 924"/>
              <a:gd name="T15" fmla="*/ 55 h 150"/>
              <a:gd name="T16" fmla="*/ 55 w 924"/>
              <a:gd name="T17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24" h="150">
                <a:moveTo>
                  <a:pt x="55" y="0"/>
                </a:moveTo>
                <a:cubicBezTo>
                  <a:pt x="870" y="0"/>
                  <a:pt x="870" y="0"/>
                  <a:pt x="870" y="0"/>
                </a:cubicBezTo>
                <a:cubicBezTo>
                  <a:pt x="900" y="0"/>
                  <a:pt x="924" y="25"/>
                  <a:pt x="924" y="55"/>
                </a:cubicBezTo>
                <a:cubicBezTo>
                  <a:pt x="924" y="96"/>
                  <a:pt x="924" y="96"/>
                  <a:pt x="924" y="96"/>
                </a:cubicBezTo>
                <a:cubicBezTo>
                  <a:pt x="924" y="126"/>
                  <a:pt x="900" y="150"/>
                  <a:pt x="870" y="150"/>
                </a:cubicBezTo>
                <a:cubicBezTo>
                  <a:pt x="55" y="150"/>
                  <a:pt x="55" y="150"/>
                  <a:pt x="55" y="150"/>
                </a:cubicBezTo>
                <a:cubicBezTo>
                  <a:pt x="25" y="150"/>
                  <a:pt x="0" y="126"/>
                  <a:pt x="0" y="96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25"/>
                  <a:pt x="25" y="0"/>
                  <a:pt x="55" y="0"/>
                </a:cubicBezTo>
                <a:close/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53" name="Freeform 355">
            <a:extLst>
              <a:ext uri="{FF2B5EF4-FFF2-40B4-BE49-F238E27FC236}">
                <a16:creationId xmlns:a16="http://schemas.microsoft.com/office/drawing/2014/main" id="{6B0AB798-44F0-4A45-8BE6-1ADEBABB2C23}"/>
              </a:ext>
            </a:extLst>
          </p:cNvPr>
          <p:cNvSpPr>
            <a:spLocks/>
          </p:cNvSpPr>
          <p:nvPr/>
        </p:nvSpPr>
        <p:spPr bwMode="auto">
          <a:xfrm>
            <a:off x="4493589" y="4916440"/>
            <a:ext cx="604017" cy="42591"/>
          </a:xfrm>
          <a:custGeom>
            <a:avLst/>
            <a:gdLst>
              <a:gd name="T0" fmla="*/ 923 w 924"/>
              <a:gd name="T1" fmla="*/ 0 h 65"/>
              <a:gd name="T2" fmla="*/ 924 w 924"/>
              <a:gd name="T3" fmla="*/ 12 h 65"/>
              <a:gd name="T4" fmla="*/ 924 w 924"/>
              <a:gd name="T5" fmla="*/ 53 h 65"/>
              <a:gd name="T6" fmla="*/ 923 w 924"/>
              <a:gd name="T7" fmla="*/ 65 h 65"/>
              <a:gd name="T8" fmla="*/ 2 w 924"/>
              <a:gd name="T9" fmla="*/ 65 h 65"/>
              <a:gd name="T10" fmla="*/ 0 w 924"/>
              <a:gd name="T11" fmla="*/ 53 h 65"/>
              <a:gd name="T12" fmla="*/ 0 w 924"/>
              <a:gd name="T13" fmla="*/ 12 h 65"/>
              <a:gd name="T14" fmla="*/ 2 w 924"/>
              <a:gd name="T15" fmla="*/ 0 h 65"/>
              <a:gd name="T16" fmla="*/ 923 w 924"/>
              <a:gd name="T1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24" h="65">
                <a:moveTo>
                  <a:pt x="923" y="0"/>
                </a:moveTo>
                <a:cubicBezTo>
                  <a:pt x="924" y="4"/>
                  <a:pt x="924" y="8"/>
                  <a:pt x="924" y="12"/>
                </a:cubicBezTo>
                <a:cubicBezTo>
                  <a:pt x="924" y="53"/>
                  <a:pt x="924" y="53"/>
                  <a:pt x="924" y="53"/>
                </a:cubicBezTo>
                <a:cubicBezTo>
                  <a:pt x="924" y="57"/>
                  <a:pt x="924" y="61"/>
                  <a:pt x="923" y="65"/>
                </a:cubicBezTo>
                <a:cubicBezTo>
                  <a:pt x="2" y="65"/>
                  <a:pt x="2" y="65"/>
                  <a:pt x="2" y="65"/>
                </a:cubicBezTo>
                <a:cubicBezTo>
                  <a:pt x="1" y="61"/>
                  <a:pt x="0" y="57"/>
                  <a:pt x="0" y="53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8"/>
                  <a:pt x="1" y="4"/>
                  <a:pt x="2" y="0"/>
                </a:cubicBezTo>
                <a:lnTo>
                  <a:pt x="923" y="0"/>
                </a:lnTo>
                <a:close/>
              </a:path>
            </a:pathLst>
          </a:custGeom>
          <a:solidFill>
            <a:srgbClr val="FFE22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54" name="Freeform 356">
            <a:extLst>
              <a:ext uri="{FF2B5EF4-FFF2-40B4-BE49-F238E27FC236}">
                <a16:creationId xmlns:a16="http://schemas.microsoft.com/office/drawing/2014/main" id="{E4630AB8-E67A-4F7E-9F18-47A91C699B57}"/>
              </a:ext>
            </a:extLst>
          </p:cNvPr>
          <p:cNvSpPr>
            <a:spLocks/>
          </p:cNvSpPr>
          <p:nvPr/>
        </p:nvSpPr>
        <p:spPr bwMode="auto">
          <a:xfrm>
            <a:off x="4775754" y="4883044"/>
            <a:ext cx="527063" cy="527547"/>
          </a:xfrm>
          <a:custGeom>
            <a:avLst/>
            <a:gdLst>
              <a:gd name="T0" fmla="*/ 390 w 806"/>
              <a:gd name="T1" fmla="*/ 7 h 806"/>
              <a:gd name="T2" fmla="*/ 799 w 806"/>
              <a:gd name="T3" fmla="*/ 390 h 806"/>
              <a:gd name="T4" fmla="*/ 416 w 806"/>
              <a:gd name="T5" fmla="*/ 799 h 806"/>
              <a:gd name="T6" fmla="*/ 7 w 806"/>
              <a:gd name="T7" fmla="*/ 416 h 806"/>
              <a:gd name="T8" fmla="*/ 390 w 806"/>
              <a:gd name="T9" fmla="*/ 7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06" h="806">
                <a:moveTo>
                  <a:pt x="390" y="7"/>
                </a:moveTo>
                <a:cubicBezTo>
                  <a:pt x="609" y="0"/>
                  <a:pt x="792" y="171"/>
                  <a:pt x="799" y="390"/>
                </a:cubicBezTo>
                <a:cubicBezTo>
                  <a:pt x="806" y="609"/>
                  <a:pt x="634" y="792"/>
                  <a:pt x="416" y="799"/>
                </a:cubicBezTo>
                <a:cubicBezTo>
                  <a:pt x="197" y="806"/>
                  <a:pt x="14" y="635"/>
                  <a:pt x="7" y="416"/>
                </a:cubicBezTo>
                <a:cubicBezTo>
                  <a:pt x="0" y="197"/>
                  <a:pt x="171" y="14"/>
                  <a:pt x="390" y="7"/>
                </a:cubicBezTo>
                <a:close/>
              </a:path>
            </a:pathLst>
          </a:custGeom>
          <a:solidFill>
            <a:srgbClr val="FFE3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55" name="Freeform 357">
            <a:extLst>
              <a:ext uri="{FF2B5EF4-FFF2-40B4-BE49-F238E27FC236}">
                <a16:creationId xmlns:a16="http://schemas.microsoft.com/office/drawing/2014/main" id="{B95D2407-694C-4388-952E-18C2E8305D0E}"/>
              </a:ext>
            </a:extLst>
          </p:cNvPr>
          <p:cNvSpPr>
            <a:spLocks/>
          </p:cNvSpPr>
          <p:nvPr/>
        </p:nvSpPr>
        <p:spPr bwMode="auto">
          <a:xfrm>
            <a:off x="4792210" y="4899500"/>
            <a:ext cx="494635" cy="494635"/>
          </a:xfrm>
          <a:custGeom>
            <a:avLst/>
            <a:gdLst>
              <a:gd name="T0" fmla="*/ 366 w 756"/>
              <a:gd name="T1" fmla="*/ 7 h 756"/>
              <a:gd name="T2" fmla="*/ 749 w 756"/>
              <a:gd name="T3" fmla="*/ 366 h 756"/>
              <a:gd name="T4" fmla="*/ 390 w 756"/>
              <a:gd name="T5" fmla="*/ 749 h 756"/>
              <a:gd name="T6" fmla="*/ 7 w 756"/>
              <a:gd name="T7" fmla="*/ 390 h 756"/>
              <a:gd name="T8" fmla="*/ 366 w 756"/>
              <a:gd name="T9" fmla="*/ 7 h 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6" h="756">
                <a:moveTo>
                  <a:pt x="366" y="7"/>
                </a:moveTo>
                <a:cubicBezTo>
                  <a:pt x="571" y="0"/>
                  <a:pt x="742" y="161"/>
                  <a:pt x="749" y="366"/>
                </a:cubicBezTo>
                <a:cubicBezTo>
                  <a:pt x="756" y="571"/>
                  <a:pt x="595" y="743"/>
                  <a:pt x="390" y="749"/>
                </a:cubicBezTo>
                <a:cubicBezTo>
                  <a:pt x="185" y="756"/>
                  <a:pt x="13" y="595"/>
                  <a:pt x="7" y="390"/>
                </a:cubicBezTo>
                <a:cubicBezTo>
                  <a:pt x="0" y="185"/>
                  <a:pt x="161" y="13"/>
                  <a:pt x="366" y="7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56" name="Freeform 358">
            <a:extLst>
              <a:ext uri="{FF2B5EF4-FFF2-40B4-BE49-F238E27FC236}">
                <a16:creationId xmlns:a16="http://schemas.microsoft.com/office/drawing/2014/main" id="{2F03C033-4752-4FB2-91F6-6E44E819A073}"/>
              </a:ext>
            </a:extLst>
          </p:cNvPr>
          <p:cNvSpPr>
            <a:spLocks/>
          </p:cNvSpPr>
          <p:nvPr/>
        </p:nvSpPr>
        <p:spPr bwMode="auto">
          <a:xfrm>
            <a:off x="4853192" y="4960482"/>
            <a:ext cx="372671" cy="372671"/>
          </a:xfrm>
          <a:custGeom>
            <a:avLst/>
            <a:gdLst>
              <a:gd name="T0" fmla="*/ 276 w 570"/>
              <a:gd name="T1" fmla="*/ 5 h 570"/>
              <a:gd name="T2" fmla="*/ 565 w 570"/>
              <a:gd name="T3" fmla="*/ 276 h 570"/>
              <a:gd name="T4" fmla="*/ 294 w 570"/>
              <a:gd name="T5" fmla="*/ 565 h 570"/>
              <a:gd name="T6" fmla="*/ 5 w 570"/>
              <a:gd name="T7" fmla="*/ 294 h 570"/>
              <a:gd name="T8" fmla="*/ 276 w 570"/>
              <a:gd name="T9" fmla="*/ 5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0" h="570">
                <a:moveTo>
                  <a:pt x="276" y="5"/>
                </a:moveTo>
                <a:cubicBezTo>
                  <a:pt x="430" y="0"/>
                  <a:pt x="560" y="121"/>
                  <a:pt x="565" y="276"/>
                </a:cubicBezTo>
                <a:cubicBezTo>
                  <a:pt x="570" y="430"/>
                  <a:pt x="449" y="560"/>
                  <a:pt x="294" y="565"/>
                </a:cubicBezTo>
                <a:cubicBezTo>
                  <a:pt x="139" y="570"/>
                  <a:pt x="10" y="449"/>
                  <a:pt x="5" y="294"/>
                </a:cubicBezTo>
                <a:cubicBezTo>
                  <a:pt x="0" y="139"/>
                  <a:pt x="121" y="10"/>
                  <a:pt x="276" y="5"/>
                </a:cubicBezTo>
                <a:close/>
              </a:path>
            </a:pathLst>
          </a:custGeom>
          <a:solidFill>
            <a:srgbClr val="FBC1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57" name="Freeform 359">
            <a:extLst>
              <a:ext uri="{FF2B5EF4-FFF2-40B4-BE49-F238E27FC236}">
                <a16:creationId xmlns:a16="http://schemas.microsoft.com/office/drawing/2014/main" id="{F3C0EB3C-2219-4A85-BA21-88042A1FE4A9}"/>
              </a:ext>
            </a:extLst>
          </p:cNvPr>
          <p:cNvSpPr>
            <a:spLocks/>
          </p:cNvSpPr>
          <p:nvPr/>
        </p:nvSpPr>
        <p:spPr bwMode="auto">
          <a:xfrm>
            <a:off x="4964509" y="5011301"/>
            <a:ext cx="148100" cy="280713"/>
          </a:xfrm>
          <a:custGeom>
            <a:avLst/>
            <a:gdLst>
              <a:gd name="T0" fmla="*/ 226 w 227"/>
              <a:gd name="T1" fmla="*/ 267 h 429"/>
              <a:gd name="T2" fmla="*/ 138 w 227"/>
              <a:gd name="T3" fmla="*/ 177 h 429"/>
              <a:gd name="T4" fmla="*/ 84 w 227"/>
              <a:gd name="T5" fmla="*/ 142 h 429"/>
              <a:gd name="T6" fmla="*/ 118 w 227"/>
              <a:gd name="T7" fmla="*/ 117 h 429"/>
              <a:gd name="T8" fmla="*/ 180 w 227"/>
              <a:gd name="T9" fmla="*/ 138 h 429"/>
              <a:gd name="T10" fmla="*/ 213 w 227"/>
              <a:gd name="T11" fmla="*/ 97 h 429"/>
              <a:gd name="T12" fmla="*/ 139 w 227"/>
              <a:gd name="T13" fmla="*/ 64 h 429"/>
              <a:gd name="T14" fmla="*/ 137 w 227"/>
              <a:gd name="T15" fmla="*/ 0 h 429"/>
              <a:gd name="T16" fmla="*/ 84 w 227"/>
              <a:gd name="T17" fmla="*/ 2 h 429"/>
              <a:gd name="T18" fmla="*/ 86 w 227"/>
              <a:gd name="T19" fmla="*/ 66 h 429"/>
              <a:gd name="T20" fmla="*/ 7 w 227"/>
              <a:gd name="T21" fmla="*/ 151 h 429"/>
              <a:gd name="T22" fmla="*/ 97 w 227"/>
              <a:gd name="T23" fmla="*/ 238 h 429"/>
              <a:gd name="T24" fmla="*/ 147 w 227"/>
              <a:gd name="T25" fmla="*/ 276 h 429"/>
              <a:gd name="T26" fmla="*/ 108 w 227"/>
              <a:gd name="T27" fmla="*/ 307 h 429"/>
              <a:gd name="T28" fmla="*/ 37 w 227"/>
              <a:gd name="T29" fmla="*/ 282 h 429"/>
              <a:gd name="T30" fmla="*/ 0 w 227"/>
              <a:gd name="T31" fmla="*/ 324 h 429"/>
              <a:gd name="T32" fmla="*/ 95 w 227"/>
              <a:gd name="T33" fmla="*/ 362 h 429"/>
              <a:gd name="T34" fmla="*/ 98 w 227"/>
              <a:gd name="T35" fmla="*/ 429 h 429"/>
              <a:gd name="T36" fmla="*/ 151 w 227"/>
              <a:gd name="T37" fmla="*/ 427 h 429"/>
              <a:gd name="T38" fmla="*/ 149 w 227"/>
              <a:gd name="T39" fmla="*/ 358 h 429"/>
              <a:gd name="T40" fmla="*/ 226 w 227"/>
              <a:gd name="T41" fmla="*/ 267 h 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7" h="429">
                <a:moveTo>
                  <a:pt x="226" y="267"/>
                </a:moveTo>
                <a:cubicBezTo>
                  <a:pt x="224" y="216"/>
                  <a:pt x="195" y="192"/>
                  <a:pt x="138" y="177"/>
                </a:cubicBezTo>
                <a:cubicBezTo>
                  <a:pt x="95" y="164"/>
                  <a:pt x="85" y="159"/>
                  <a:pt x="84" y="142"/>
                </a:cubicBezTo>
                <a:cubicBezTo>
                  <a:pt x="84" y="127"/>
                  <a:pt x="96" y="118"/>
                  <a:pt x="118" y="117"/>
                </a:cubicBezTo>
                <a:cubicBezTo>
                  <a:pt x="140" y="117"/>
                  <a:pt x="160" y="124"/>
                  <a:pt x="180" y="138"/>
                </a:cubicBezTo>
                <a:cubicBezTo>
                  <a:pt x="213" y="97"/>
                  <a:pt x="213" y="97"/>
                  <a:pt x="213" y="97"/>
                </a:cubicBezTo>
                <a:cubicBezTo>
                  <a:pt x="193" y="79"/>
                  <a:pt x="169" y="68"/>
                  <a:pt x="139" y="64"/>
                </a:cubicBezTo>
                <a:cubicBezTo>
                  <a:pt x="137" y="0"/>
                  <a:pt x="137" y="0"/>
                  <a:pt x="137" y="0"/>
                </a:cubicBezTo>
                <a:cubicBezTo>
                  <a:pt x="84" y="2"/>
                  <a:pt x="84" y="2"/>
                  <a:pt x="84" y="2"/>
                </a:cubicBezTo>
                <a:cubicBezTo>
                  <a:pt x="86" y="66"/>
                  <a:pt x="86" y="66"/>
                  <a:pt x="86" y="66"/>
                </a:cubicBezTo>
                <a:cubicBezTo>
                  <a:pt x="38" y="75"/>
                  <a:pt x="5" y="106"/>
                  <a:pt x="7" y="151"/>
                </a:cubicBezTo>
                <a:cubicBezTo>
                  <a:pt x="8" y="193"/>
                  <a:pt x="30" y="220"/>
                  <a:pt x="97" y="238"/>
                </a:cubicBezTo>
                <a:cubicBezTo>
                  <a:pt x="136" y="249"/>
                  <a:pt x="147" y="257"/>
                  <a:pt x="147" y="276"/>
                </a:cubicBezTo>
                <a:cubicBezTo>
                  <a:pt x="148" y="294"/>
                  <a:pt x="134" y="306"/>
                  <a:pt x="108" y="307"/>
                </a:cubicBezTo>
                <a:cubicBezTo>
                  <a:pt x="81" y="308"/>
                  <a:pt x="57" y="299"/>
                  <a:pt x="37" y="282"/>
                </a:cubicBezTo>
                <a:cubicBezTo>
                  <a:pt x="0" y="324"/>
                  <a:pt x="0" y="324"/>
                  <a:pt x="0" y="324"/>
                </a:cubicBezTo>
                <a:cubicBezTo>
                  <a:pt x="21" y="344"/>
                  <a:pt x="53" y="360"/>
                  <a:pt x="95" y="362"/>
                </a:cubicBezTo>
                <a:cubicBezTo>
                  <a:pt x="98" y="429"/>
                  <a:pt x="98" y="429"/>
                  <a:pt x="98" y="429"/>
                </a:cubicBezTo>
                <a:cubicBezTo>
                  <a:pt x="151" y="427"/>
                  <a:pt x="151" y="427"/>
                  <a:pt x="151" y="427"/>
                </a:cubicBezTo>
                <a:cubicBezTo>
                  <a:pt x="149" y="358"/>
                  <a:pt x="149" y="358"/>
                  <a:pt x="149" y="358"/>
                </a:cubicBezTo>
                <a:cubicBezTo>
                  <a:pt x="199" y="346"/>
                  <a:pt x="227" y="311"/>
                  <a:pt x="226" y="267"/>
                </a:cubicBezTo>
                <a:close/>
              </a:path>
            </a:pathLst>
          </a:custGeom>
          <a:solidFill>
            <a:srgbClr val="FBD8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58" name="Freeform 360">
            <a:extLst>
              <a:ext uri="{FF2B5EF4-FFF2-40B4-BE49-F238E27FC236}">
                <a16:creationId xmlns:a16="http://schemas.microsoft.com/office/drawing/2014/main" id="{9052F697-2AB6-4848-8818-E346DEE384CD}"/>
              </a:ext>
            </a:extLst>
          </p:cNvPr>
          <p:cNvSpPr>
            <a:spLocks/>
          </p:cNvSpPr>
          <p:nvPr/>
        </p:nvSpPr>
        <p:spPr bwMode="auto">
          <a:xfrm>
            <a:off x="2725099" y="5306050"/>
            <a:ext cx="441881" cy="50819"/>
          </a:xfrm>
          <a:custGeom>
            <a:avLst/>
            <a:gdLst>
              <a:gd name="T0" fmla="*/ 0 w 676"/>
              <a:gd name="T1" fmla="*/ 0 h 78"/>
              <a:gd name="T2" fmla="*/ 211 w 676"/>
              <a:gd name="T3" fmla="*/ 78 h 78"/>
              <a:gd name="T4" fmla="*/ 676 w 676"/>
              <a:gd name="T5" fmla="*/ 78 h 78"/>
              <a:gd name="T6" fmla="*/ 676 w 676"/>
              <a:gd name="T7" fmla="*/ 78 h 78"/>
              <a:gd name="T8" fmla="*/ 211 w 676"/>
              <a:gd name="T9" fmla="*/ 78 h 78"/>
              <a:gd name="T10" fmla="*/ 0 w 676"/>
              <a:gd name="T11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76" h="78">
                <a:moveTo>
                  <a:pt x="0" y="0"/>
                </a:moveTo>
                <a:cubicBezTo>
                  <a:pt x="57" y="49"/>
                  <a:pt x="131" y="78"/>
                  <a:pt x="211" y="78"/>
                </a:cubicBezTo>
                <a:cubicBezTo>
                  <a:pt x="676" y="78"/>
                  <a:pt x="676" y="78"/>
                  <a:pt x="676" y="78"/>
                </a:cubicBezTo>
                <a:cubicBezTo>
                  <a:pt x="676" y="78"/>
                  <a:pt x="676" y="78"/>
                  <a:pt x="676" y="78"/>
                </a:cubicBezTo>
                <a:cubicBezTo>
                  <a:pt x="211" y="78"/>
                  <a:pt x="211" y="78"/>
                  <a:pt x="211" y="78"/>
                </a:cubicBezTo>
                <a:cubicBezTo>
                  <a:pt x="131" y="78"/>
                  <a:pt x="57" y="49"/>
                  <a:pt x="0" y="0"/>
                </a:cubicBezTo>
              </a:path>
            </a:pathLst>
          </a:custGeom>
          <a:solidFill>
            <a:srgbClr val="C7CF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59" name="Freeform 361">
            <a:extLst>
              <a:ext uri="{FF2B5EF4-FFF2-40B4-BE49-F238E27FC236}">
                <a16:creationId xmlns:a16="http://schemas.microsoft.com/office/drawing/2014/main" id="{9819656B-D6CF-49C9-A3E2-1B4EB28B04FF}"/>
              </a:ext>
            </a:extLst>
          </p:cNvPr>
          <p:cNvSpPr>
            <a:spLocks/>
          </p:cNvSpPr>
          <p:nvPr/>
        </p:nvSpPr>
        <p:spPr bwMode="auto">
          <a:xfrm>
            <a:off x="2651049" y="4599428"/>
            <a:ext cx="830039" cy="757441"/>
          </a:xfrm>
          <a:custGeom>
            <a:avLst/>
            <a:gdLst>
              <a:gd name="T0" fmla="*/ 193 w 1269"/>
              <a:gd name="T1" fmla="*/ 0 h 1158"/>
              <a:gd name="T2" fmla="*/ 0 w 1269"/>
              <a:gd name="T3" fmla="*/ 0 h 1158"/>
              <a:gd name="T4" fmla="*/ 0 w 1269"/>
              <a:gd name="T5" fmla="*/ 164 h 1158"/>
              <a:gd name="T6" fmla="*/ 0 w 1269"/>
              <a:gd name="T7" fmla="*/ 164 h 1158"/>
              <a:gd name="T8" fmla="*/ 0 w 1269"/>
              <a:gd name="T9" fmla="*/ 241 h 1158"/>
              <a:gd name="T10" fmla="*/ 0 w 1269"/>
              <a:gd name="T11" fmla="*/ 241 h 1158"/>
              <a:gd name="T12" fmla="*/ 0 w 1269"/>
              <a:gd name="T13" fmla="*/ 834 h 1158"/>
              <a:gd name="T14" fmla="*/ 113 w 1269"/>
              <a:gd name="T15" fmla="*/ 1080 h 1158"/>
              <a:gd name="T16" fmla="*/ 324 w 1269"/>
              <a:gd name="T17" fmla="*/ 1158 h 1158"/>
              <a:gd name="T18" fmla="*/ 789 w 1269"/>
              <a:gd name="T19" fmla="*/ 1158 h 1158"/>
              <a:gd name="T20" fmla="*/ 437 w 1269"/>
              <a:gd name="T21" fmla="*/ 851 h 1158"/>
              <a:gd name="T22" fmla="*/ 210 w 1269"/>
              <a:gd name="T23" fmla="*/ 241 h 1158"/>
              <a:gd name="T24" fmla="*/ 1269 w 1269"/>
              <a:gd name="T25" fmla="*/ 241 h 1158"/>
              <a:gd name="T26" fmla="*/ 1269 w 1269"/>
              <a:gd name="T27" fmla="*/ 164 h 1158"/>
              <a:gd name="T28" fmla="*/ 202 w 1269"/>
              <a:gd name="T29" fmla="*/ 164 h 1158"/>
              <a:gd name="T30" fmla="*/ 193 w 1269"/>
              <a:gd name="T31" fmla="*/ 0 h 1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69" h="1158">
                <a:moveTo>
                  <a:pt x="193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64"/>
                  <a:pt x="0" y="164"/>
                  <a:pt x="0" y="164"/>
                </a:cubicBezTo>
                <a:cubicBezTo>
                  <a:pt x="0" y="164"/>
                  <a:pt x="0" y="164"/>
                  <a:pt x="0" y="164"/>
                </a:cubicBezTo>
                <a:cubicBezTo>
                  <a:pt x="0" y="241"/>
                  <a:pt x="0" y="241"/>
                  <a:pt x="0" y="241"/>
                </a:cubicBezTo>
                <a:cubicBezTo>
                  <a:pt x="0" y="241"/>
                  <a:pt x="0" y="241"/>
                  <a:pt x="0" y="241"/>
                </a:cubicBezTo>
                <a:cubicBezTo>
                  <a:pt x="0" y="834"/>
                  <a:pt x="0" y="834"/>
                  <a:pt x="0" y="834"/>
                </a:cubicBezTo>
                <a:cubicBezTo>
                  <a:pt x="0" y="933"/>
                  <a:pt x="44" y="1021"/>
                  <a:pt x="113" y="1080"/>
                </a:cubicBezTo>
                <a:cubicBezTo>
                  <a:pt x="170" y="1129"/>
                  <a:pt x="244" y="1158"/>
                  <a:pt x="324" y="1158"/>
                </a:cubicBezTo>
                <a:cubicBezTo>
                  <a:pt x="789" y="1158"/>
                  <a:pt x="789" y="1158"/>
                  <a:pt x="789" y="1158"/>
                </a:cubicBezTo>
                <a:cubicBezTo>
                  <a:pt x="647" y="1074"/>
                  <a:pt x="521" y="961"/>
                  <a:pt x="437" y="851"/>
                </a:cubicBezTo>
                <a:cubicBezTo>
                  <a:pt x="291" y="662"/>
                  <a:pt x="235" y="457"/>
                  <a:pt x="210" y="241"/>
                </a:cubicBezTo>
                <a:cubicBezTo>
                  <a:pt x="1269" y="241"/>
                  <a:pt x="1269" y="241"/>
                  <a:pt x="1269" y="241"/>
                </a:cubicBezTo>
                <a:cubicBezTo>
                  <a:pt x="1269" y="164"/>
                  <a:pt x="1269" y="164"/>
                  <a:pt x="1269" y="164"/>
                </a:cubicBezTo>
                <a:cubicBezTo>
                  <a:pt x="202" y="164"/>
                  <a:pt x="202" y="164"/>
                  <a:pt x="202" y="164"/>
                </a:cubicBezTo>
                <a:cubicBezTo>
                  <a:pt x="198" y="110"/>
                  <a:pt x="195" y="55"/>
                  <a:pt x="193" y="0"/>
                </a:cubicBezTo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160" name="Rectangle 362">
            <a:extLst>
              <a:ext uri="{FF2B5EF4-FFF2-40B4-BE49-F238E27FC236}">
                <a16:creationId xmlns:a16="http://schemas.microsoft.com/office/drawing/2014/main" id="{4FDD7E4F-2416-4282-BF77-EF5945B790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02166" y="4599428"/>
            <a:ext cx="950068" cy="10696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defTabSz="228600">
              <a:defRPr/>
            </a:pPr>
            <a:endParaRPr lang="en-US" sz="900">
              <a:solidFill>
                <a:srgbClr val="272E3A"/>
              </a:solidFill>
              <a:latin typeface="Montserrat Light"/>
            </a:endParaRPr>
          </a:p>
        </p:txBody>
      </p:sp>
      <p:sp>
        <p:nvSpPr>
          <p:cNvPr id="366" name="Rectangle 365">
            <a:extLst>
              <a:ext uri="{FF2B5EF4-FFF2-40B4-BE49-F238E27FC236}">
                <a16:creationId xmlns:a16="http://schemas.microsoft.com/office/drawing/2014/main" id="{611AD2CF-4722-4DF1-8326-9A08EF199F00}"/>
              </a:ext>
            </a:extLst>
          </p:cNvPr>
          <p:cNvSpPr/>
          <p:nvPr/>
        </p:nvSpPr>
        <p:spPr>
          <a:xfrm>
            <a:off x="7050453" y="1467108"/>
            <a:ext cx="563341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39"/>
            <a:r>
              <a:rPr lang="en-US" sz="4000" dirty="0">
                <a:solidFill>
                  <a:srgbClr val="25292F"/>
                </a:solidFill>
                <a:latin typeface="Montserrat SemiBold" panose="00000700000000000000" pitchFamily="2" charset="0"/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Inventory Velocity</a:t>
            </a:r>
          </a:p>
        </p:txBody>
      </p:sp>
    </p:spTree>
    <p:extLst>
      <p:ext uri="{BB962C8B-B14F-4D97-AF65-F5344CB8AC3E}">
        <p14:creationId xmlns:p14="http://schemas.microsoft.com/office/powerpoint/2010/main" val="14690810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CF9A0E-EFB6-0749-47D5-AA9758FFC5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DFE886-C1FF-5BBC-8F65-F77B18B70F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914400"/>
            <a:ext cx="4437869" cy="5943600"/>
          </a:xfrm>
          <a:prstGeom prst="rect">
            <a:avLst/>
          </a:prstGeom>
        </p:spPr>
      </p:pic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7C2FFC8C-B488-7227-6824-AA39C5BC90A2}"/>
                  </a:ext>
                </a:extLst>
              </p:cNvPr>
              <p:cNvGraphicFramePr/>
              <p:nvPr/>
            </p:nvGraphicFramePr>
            <p:xfrm>
              <a:off x="4437868" y="914400"/>
              <a:ext cx="7754132" cy="59436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7C2FFC8C-B488-7227-6824-AA39C5BC90A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437868" y="914400"/>
                <a:ext cx="7754132" cy="59436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Pareto Chart Free SKU CP (Cont.) (Breakup of 29.35 Cr.)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C2915E8-6DF7-6D70-6E6A-72F836FDF77C}"/>
              </a:ext>
            </a:extLst>
          </p:cNvPr>
          <p:cNvSpPr/>
          <p:nvPr/>
        </p:nvSpPr>
        <p:spPr>
          <a:xfrm>
            <a:off x="4991725" y="1344838"/>
            <a:ext cx="2158583" cy="4598762"/>
          </a:xfrm>
          <a:prstGeom prst="ellipse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  <a:prstDash val="dash"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BA7F11B-4FF8-FCF9-FAB5-2330E1053125}"/>
              </a:ext>
            </a:extLst>
          </p:cNvPr>
          <p:cNvSpPr/>
          <p:nvPr/>
        </p:nvSpPr>
        <p:spPr>
          <a:xfrm>
            <a:off x="2675481" y="1344838"/>
            <a:ext cx="2166342" cy="1533273"/>
          </a:xfrm>
          <a:prstGeom prst="ellipse">
            <a:avLst/>
          </a:prstGeom>
          <a:noFill/>
          <a:ln cmpd="sng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8686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E29F93-3A92-11C6-4254-DB461436DC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92749371-BF1E-1710-050A-47F890025463}"/>
                  </a:ext>
                </a:extLst>
              </p:cNvPr>
              <p:cNvGraphicFramePr/>
              <p:nvPr/>
            </p:nvGraphicFramePr>
            <p:xfrm>
              <a:off x="4512039" y="929390"/>
              <a:ext cx="7679961" cy="592860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3" name="Chart 2">
                <a:extLst>
                  <a:ext uri="{FF2B5EF4-FFF2-40B4-BE49-F238E27FC236}">
                    <a16:creationId xmlns:a16="http://schemas.microsoft.com/office/drawing/2014/main" id="{92749371-BF1E-1710-050A-47F89002546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512039" y="929390"/>
                <a:ext cx="7679961" cy="5928609"/>
              </a:xfrm>
              <a:prstGeom prst="rect">
                <a:avLst/>
              </a:prstGeom>
            </p:spPr>
          </p:pic>
        </mc:Fallback>
      </mc:AlternateContent>
      <p:pic>
        <p:nvPicPr>
          <p:cNvPr id="6" name="Picture 5">
            <a:extLst>
              <a:ext uri="{FF2B5EF4-FFF2-40B4-BE49-F238E27FC236}">
                <a16:creationId xmlns:a16="http://schemas.microsoft.com/office/drawing/2014/main" id="{37B2101A-A55C-1918-C444-658A79A6CE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29390"/>
            <a:ext cx="4512039" cy="5928610"/>
          </a:xfrm>
          <a:prstGeom prst="rect">
            <a:avLst/>
          </a:prstGeom>
        </p:spPr>
      </p:pic>
      <p:sp>
        <p:nvSpPr>
          <p:cNvPr id="5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Pareto Chart Free SKU SW (</a:t>
            </a:r>
            <a:r>
              <a:rPr kumimoji="0" lang="en-IN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Discont</a:t>
            </a: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.) (Breakup of 16.88 Cr.)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87F3B0E-12A6-B501-8E39-34D9B5C63B6C}"/>
              </a:ext>
            </a:extLst>
          </p:cNvPr>
          <p:cNvSpPr/>
          <p:nvPr/>
        </p:nvSpPr>
        <p:spPr>
          <a:xfrm>
            <a:off x="5096657" y="1329848"/>
            <a:ext cx="1424064" cy="4598762"/>
          </a:xfrm>
          <a:prstGeom prst="ellipse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  <a:prstDash val="dash"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B6F476E-68D7-CC85-4E05-FEC95BEA34D1}"/>
              </a:ext>
            </a:extLst>
          </p:cNvPr>
          <p:cNvSpPr/>
          <p:nvPr/>
        </p:nvSpPr>
        <p:spPr>
          <a:xfrm>
            <a:off x="2671601" y="1454046"/>
            <a:ext cx="2166342" cy="445428"/>
          </a:xfrm>
          <a:prstGeom prst="ellipse">
            <a:avLst/>
          </a:prstGeom>
          <a:noFill/>
          <a:ln cmpd="sng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194067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3F63B9D-5197-75BC-CB3B-192C509B0F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29390"/>
            <a:ext cx="4344006" cy="5928609"/>
          </a:xfrm>
          <a:prstGeom prst="rect">
            <a:avLst/>
          </a:prstGeom>
        </p:spPr>
      </p:pic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AC84B113-0773-4466-CFE1-5862A07723FB}"/>
                  </a:ext>
                </a:extLst>
              </p:cNvPr>
              <p:cNvGraphicFramePr/>
              <p:nvPr/>
            </p:nvGraphicFramePr>
            <p:xfrm>
              <a:off x="4344006" y="929390"/>
              <a:ext cx="7847994" cy="592861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AC84B113-0773-4466-CFE1-5862A07723F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44006" y="929390"/>
                <a:ext cx="7847994" cy="592861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Pareto Chart Free SKU CP (</a:t>
            </a:r>
            <a:r>
              <a:rPr kumimoji="0" lang="en-IN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Discont</a:t>
            </a: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.) (Breakup of 19.14 Cr.)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A84C853-EF59-82AC-980E-7136B15728DD}"/>
              </a:ext>
            </a:extLst>
          </p:cNvPr>
          <p:cNvSpPr/>
          <p:nvPr/>
        </p:nvSpPr>
        <p:spPr>
          <a:xfrm>
            <a:off x="5096658" y="1129618"/>
            <a:ext cx="1199212" cy="5522795"/>
          </a:xfrm>
          <a:prstGeom prst="ellipse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  <a:prstDash val="dash"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DA93616-8779-EDA6-4179-5F021CBFF9BC}"/>
              </a:ext>
            </a:extLst>
          </p:cNvPr>
          <p:cNvSpPr/>
          <p:nvPr/>
        </p:nvSpPr>
        <p:spPr>
          <a:xfrm>
            <a:off x="2863121" y="1334124"/>
            <a:ext cx="1828799" cy="719527"/>
          </a:xfrm>
          <a:prstGeom prst="ellipse">
            <a:avLst/>
          </a:prstGeom>
          <a:noFill/>
          <a:ln cmpd="sng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284209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EB4EF3-92A2-2B4E-A0E4-08A283EE11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F70DE59-BEF8-9E3D-E485-B1FE6BE8F833}"/>
              </a:ext>
            </a:extLst>
          </p:cNvPr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KPIs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9803884-9B79-8626-9C11-721014C704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7287229"/>
              </p:ext>
            </p:extLst>
          </p:nvPr>
        </p:nvGraphicFramePr>
        <p:xfrm>
          <a:off x="367362" y="1735112"/>
          <a:ext cx="11457275" cy="4274758"/>
        </p:xfrm>
        <a:graphic>
          <a:graphicData uri="http://schemas.openxmlformats.org/drawingml/2006/table">
            <a:tbl>
              <a:tblPr/>
              <a:tblGrid>
                <a:gridCol w="1293236">
                  <a:extLst>
                    <a:ext uri="{9D8B030D-6E8A-4147-A177-3AD203B41FA5}">
                      <a16:colId xmlns:a16="http://schemas.microsoft.com/office/drawing/2014/main" val="2115469625"/>
                    </a:ext>
                  </a:extLst>
                </a:gridCol>
                <a:gridCol w="4506124">
                  <a:extLst>
                    <a:ext uri="{9D8B030D-6E8A-4147-A177-3AD203B41FA5}">
                      <a16:colId xmlns:a16="http://schemas.microsoft.com/office/drawing/2014/main" val="514023821"/>
                    </a:ext>
                  </a:extLst>
                </a:gridCol>
                <a:gridCol w="1697375">
                  <a:extLst>
                    <a:ext uri="{9D8B030D-6E8A-4147-A177-3AD203B41FA5}">
                      <a16:colId xmlns:a16="http://schemas.microsoft.com/office/drawing/2014/main" val="3248456464"/>
                    </a:ext>
                  </a:extLst>
                </a:gridCol>
                <a:gridCol w="1697375">
                  <a:extLst>
                    <a:ext uri="{9D8B030D-6E8A-4147-A177-3AD203B41FA5}">
                      <a16:colId xmlns:a16="http://schemas.microsoft.com/office/drawing/2014/main" val="1893218683"/>
                    </a:ext>
                  </a:extLst>
                </a:gridCol>
                <a:gridCol w="2263165">
                  <a:extLst>
                    <a:ext uri="{9D8B030D-6E8A-4147-A177-3AD203B41FA5}">
                      <a16:colId xmlns:a16="http://schemas.microsoft.com/office/drawing/2014/main" val="919190148"/>
                    </a:ext>
                  </a:extLst>
                </a:gridCol>
              </a:tblGrid>
              <a:tr h="45120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. 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escrip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ctual Valu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arget Valu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arg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8159604"/>
                  </a:ext>
                </a:extLst>
              </a:tr>
              <a:tr h="45120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geing of the stock (Imported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.10 Cr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.0 Cr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&lt; 10% of total inventory for 2 Year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253818"/>
                  </a:ext>
                </a:extLst>
              </a:tr>
              <a:tr h="45120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geing of the stock (Domestic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3.14 Cr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8.0 Cr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&lt; 20% of total inventory for 1 Ye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6649830"/>
                  </a:ext>
                </a:extLst>
              </a:tr>
              <a:tr h="45120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otal Inventory Valu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43 Cr.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0 Cr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 30% of base li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8129314"/>
                  </a:ext>
                </a:extLst>
              </a:tr>
              <a:tr h="45120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ventory Turnover Rati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5 Days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1 Day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1 Days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601112"/>
                  </a:ext>
                </a:extLst>
              </a:tr>
              <a:tr h="45120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% Slow / Non-Moving Inventor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% (56 Cr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&lt;5% (12 Cr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&lt; 5% of total inventor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572776"/>
                  </a:ext>
                </a:extLst>
              </a:tr>
              <a:tr h="45120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% SKU &gt;180 Days inventor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7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&lt;2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&lt; 20%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0129455"/>
                  </a:ext>
                </a:extLst>
              </a:tr>
              <a:tr h="45120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orking Capital Lock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43 Cr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0 Cr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240 Cr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976398"/>
                  </a:ext>
                </a:extLst>
              </a:tr>
              <a:tr h="45120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% of SKUs with 0 Sales in 90 Day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4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&lt;1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&lt; 15%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0848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26935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1932555"/>
              </p:ext>
            </p:extLst>
          </p:nvPr>
        </p:nvGraphicFramePr>
        <p:xfrm>
          <a:off x="391885" y="1240969"/>
          <a:ext cx="11570265" cy="4695135"/>
        </p:xfrm>
        <a:graphic>
          <a:graphicData uri="http://schemas.openxmlformats.org/drawingml/2006/table">
            <a:tbl>
              <a:tblPr/>
              <a:tblGrid>
                <a:gridCol w="632571">
                  <a:extLst>
                    <a:ext uri="{9D8B030D-6E8A-4147-A177-3AD203B41FA5}">
                      <a16:colId xmlns:a16="http://schemas.microsoft.com/office/drawing/2014/main" val="3283283646"/>
                    </a:ext>
                  </a:extLst>
                </a:gridCol>
                <a:gridCol w="1713213">
                  <a:extLst>
                    <a:ext uri="{9D8B030D-6E8A-4147-A177-3AD203B41FA5}">
                      <a16:colId xmlns:a16="http://schemas.microsoft.com/office/drawing/2014/main" val="3304923630"/>
                    </a:ext>
                  </a:extLst>
                </a:gridCol>
                <a:gridCol w="2733741">
                  <a:extLst>
                    <a:ext uri="{9D8B030D-6E8A-4147-A177-3AD203B41FA5}">
                      <a16:colId xmlns:a16="http://schemas.microsoft.com/office/drawing/2014/main" val="635440188"/>
                    </a:ext>
                  </a:extLst>
                </a:gridCol>
                <a:gridCol w="1643011">
                  <a:extLst>
                    <a:ext uri="{9D8B030D-6E8A-4147-A177-3AD203B41FA5}">
                      <a16:colId xmlns:a16="http://schemas.microsoft.com/office/drawing/2014/main" val="4221559470"/>
                    </a:ext>
                  </a:extLst>
                </a:gridCol>
                <a:gridCol w="4847729">
                  <a:extLst>
                    <a:ext uri="{9D8B030D-6E8A-4147-A177-3AD203B41FA5}">
                      <a16:colId xmlns:a16="http://schemas.microsoft.com/office/drawing/2014/main" val="1150724390"/>
                    </a:ext>
                  </a:extLst>
                </a:gridCol>
              </a:tblGrid>
              <a:tr h="93902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. No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ble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su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 on Inventory Build U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TQ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026905"/>
                  </a:ext>
                </a:extLst>
              </a:tr>
              <a:tr h="93902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urate Inventory Track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accurate Demand Forecast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ntory accuracy more than 6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3293294"/>
                  </a:ext>
                </a:extLst>
              </a:tr>
              <a:tr h="93902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ck of Product Life Cycle- SO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carry more than 20 Lac in stock value for discontinued product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5660422"/>
                  </a:ext>
                </a:extLst>
              </a:tr>
              <a:tr h="93902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ficient Code Manageme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parency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 production when a SKU is flagged in D-Chain as TSL and Discontinued (Total Stop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5297670"/>
                  </a:ext>
                </a:extLst>
              </a:tr>
              <a:tr h="93902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rrect SAP / CAT Code Mapp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ero Order Deviati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066530"/>
                  </a:ext>
                </a:extLst>
              </a:tr>
            </a:tbl>
          </a:graphicData>
        </a:graphic>
      </p:graphicFrame>
      <p:sp>
        <p:nvSpPr>
          <p:cNvPr id="4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Critical-to-Quality (CTQ)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762135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10"/>
          <p:cNvSpPr>
            <a:spLocks noGrp="1"/>
          </p:cNvSpPr>
          <p:nvPr>
            <p:ph type="title"/>
          </p:nvPr>
        </p:nvSpPr>
        <p:spPr>
          <a:xfrm>
            <a:off x="800856" y="441057"/>
            <a:ext cx="10623042" cy="82798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 dirty="0"/>
              <a:t>Fishbone Diagram</a:t>
            </a:r>
            <a:endParaRPr lang="ru-RU" b="1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320AA412-9086-BB48-9308-92B24E60180C}"/>
              </a:ext>
            </a:extLst>
          </p:cNvPr>
          <p:cNvGrpSpPr/>
          <p:nvPr/>
        </p:nvGrpSpPr>
        <p:grpSpPr>
          <a:xfrm>
            <a:off x="0" y="2241023"/>
            <a:ext cx="12192000" cy="3249886"/>
            <a:chOff x="672308" y="4482530"/>
            <a:chExt cx="23042559" cy="6500619"/>
          </a:xfrm>
        </p:grpSpPr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8710108A-C00C-2843-BEE4-B1FC7E6D1A79}"/>
                </a:ext>
              </a:extLst>
            </p:cNvPr>
            <p:cNvGrpSpPr/>
            <p:nvPr/>
          </p:nvGrpSpPr>
          <p:grpSpPr>
            <a:xfrm>
              <a:off x="672308" y="4482530"/>
              <a:ext cx="4190916" cy="6500619"/>
              <a:chOff x="1464395" y="4338514"/>
              <a:chExt cx="5229338" cy="6500619"/>
            </a:xfrm>
          </p:grpSpPr>
          <p:sp>
            <p:nvSpPr>
              <p:cNvPr id="9" name="Freeform 238">
                <a:extLst>
                  <a:ext uri="{FF2B5EF4-FFF2-40B4-BE49-F238E27FC236}">
                    <a16:creationId xmlns:a16="http://schemas.microsoft.com/office/drawing/2014/main" id="{3D44FA5F-306F-7D4A-AAB6-1B01899B9D1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464395" y="4338514"/>
                <a:ext cx="3369769" cy="6500619"/>
              </a:xfrm>
              <a:custGeom>
                <a:avLst/>
                <a:gdLst>
                  <a:gd name="T0" fmla="*/ 313 w 383"/>
                  <a:gd name="T1" fmla="*/ 0 h 739"/>
                  <a:gd name="T2" fmla="*/ 15 w 383"/>
                  <a:gd name="T3" fmla="*/ 275 h 739"/>
                  <a:gd name="T4" fmla="*/ 0 w 383"/>
                  <a:gd name="T5" fmla="*/ 350 h 739"/>
                  <a:gd name="T6" fmla="*/ 383 w 383"/>
                  <a:gd name="T7" fmla="*/ 739 h 739"/>
                  <a:gd name="T8" fmla="*/ 313 w 383"/>
                  <a:gd name="T9" fmla="*/ 0 h 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3" h="739">
                    <a:moveTo>
                      <a:pt x="313" y="0"/>
                    </a:moveTo>
                    <a:cubicBezTo>
                      <a:pt x="107" y="75"/>
                      <a:pt x="15" y="275"/>
                      <a:pt x="15" y="275"/>
                    </a:cubicBezTo>
                    <a:cubicBezTo>
                      <a:pt x="0" y="350"/>
                      <a:pt x="0" y="350"/>
                      <a:pt x="0" y="350"/>
                    </a:cubicBezTo>
                    <a:cubicBezTo>
                      <a:pt x="0" y="448"/>
                      <a:pt x="188" y="667"/>
                      <a:pt x="383" y="739"/>
                    </a:cubicBezTo>
                    <a:cubicBezTo>
                      <a:pt x="54" y="349"/>
                      <a:pt x="135" y="244"/>
                      <a:pt x="313" y="0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accent1">
                      <a:lumMod val="75000"/>
                    </a:schemeClr>
                  </a:gs>
                  <a:gs pos="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" name="Freeform 239">
                <a:extLst>
                  <a:ext uri="{FF2B5EF4-FFF2-40B4-BE49-F238E27FC236}">
                    <a16:creationId xmlns:a16="http://schemas.microsoft.com/office/drawing/2014/main" id="{C3534091-D3C6-C742-921E-C0DD2815A4F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777228" y="6167774"/>
                <a:ext cx="2136321" cy="2036949"/>
              </a:xfrm>
              <a:custGeom>
                <a:avLst/>
                <a:gdLst>
                  <a:gd name="T0" fmla="*/ 14 w 365"/>
                  <a:gd name="T1" fmla="*/ 0 h 235"/>
                  <a:gd name="T2" fmla="*/ 246 w 365"/>
                  <a:gd name="T3" fmla="*/ 67 h 235"/>
                  <a:gd name="T4" fmla="*/ 351 w 365"/>
                  <a:gd name="T5" fmla="*/ 113 h 235"/>
                  <a:gd name="T6" fmla="*/ 231 w 365"/>
                  <a:gd name="T7" fmla="*/ 142 h 235"/>
                  <a:gd name="T8" fmla="*/ 0 w 365"/>
                  <a:gd name="T9" fmla="*/ 235 h 235"/>
                  <a:gd name="T10" fmla="*/ 14 w 365"/>
                  <a:gd name="T11" fmla="*/ 0 h 235"/>
                  <a:gd name="connsiteX0" fmla="*/ 34 w 9267"/>
                  <a:gd name="connsiteY0" fmla="*/ 0 h 9849"/>
                  <a:gd name="connsiteX1" fmla="*/ 6390 w 9267"/>
                  <a:gd name="connsiteY1" fmla="*/ 2851 h 9849"/>
                  <a:gd name="connsiteX2" fmla="*/ 9266 w 9267"/>
                  <a:gd name="connsiteY2" fmla="*/ 4809 h 9849"/>
                  <a:gd name="connsiteX3" fmla="*/ 5979 w 9267"/>
                  <a:gd name="connsiteY3" fmla="*/ 6043 h 9849"/>
                  <a:gd name="connsiteX4" fmla="*/ 71 w 9267"/>
                  <a:gd name="connsiteY4" fmla="*/ 9849 h 9849"/>
                  <a:gd name="connsiteX5" fmla="*/ 34 w 9267"/>
                  <a:gd name="connsiteY5" fmla="*/ 0 h 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67" h="9849">
                    <a:moveTo>
                      <a:pt x="34" y="0"/>
                    </a:moveTo>
                    <a:cubicBezTo>
                      <a:pt x="34" y="0"/>
                      <a:pt x="3129" y="2213"/>
                      <a:pt x="6390" y="2851"/>
                    </a:cubicBezTo>
                    <a:cubicBezTo>
                      <a:pt x="9650" y="3489"/>
                      <a:pt x="9212" y="4000"/>
                      <a:pt x="9266" y="4809"/>
                    </a:cubicBezTo>
                    <a:cubicBezTo>
                      <a:pt x="9321" y="5574"/>
                      <a:pt x="7568" y="5319"/>
                      <a:pt x="5979" y="6043"/>
                    </a:cubicBezTo>
                    <a:cubicBezTo>
                      <a:pt x="4417" y="6766"/>
                      <a:pt x="71" y="9849"/>
                      <a:pt x="71" y="9849"/>
                    </a:cubicBezTo>
                    <a:cubicBezTo>
                      <a:pt x="199" y="6516"/>
                      <a:pt x="-94" y="3333"/>
                      <a:pt x="34" y="0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accent1">
                      <a:lumMod val="75000"/>
                    </a:schemeClr>
                  </a:gs>
                  <a:gs pos="0">
                    <a:schemeClr val="accent1"/>
                  </a:gs>
                </a:gsLst>
                <a:lin ang="27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Freeform 240">
                <a:extLst>
                  <a:ext uri="{FF2B5EF4-FFF2-40B4-BE49-F238E27FC236}">
                    <a16:creationId xmlns:a16="http://schemas.microsoft.com/office/drawing/2014/main" id="{42CD76BF-8934-D64C-95ED-2D5BF3A8DBA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867049" y="6164802"/>
                <a:ext cx="826684" cy="2068179"/>
              </a:xfrm>
              <a:custGeom>
                <a:avLst/>
                <a:gdLst>
                  <a:gd name="T0" fmla="*/ 47 w 94"/>
                  <a:gd name="T1" fmla="*/ 0 h 235"/>
                  <a:gd name="T2" fmla="*/ 47 w 94"/>
                  <a:gd name="T3" fmla="*/ 0 h 235"/>
                  <a:gd name="T4" fmla="*/ 0 w 94"/>
                  <a:gd name="T5" fmla="*/ 117 h 235"/>
                  <a:gd name="T6" fmla="*/ 0 w 94"/>
                  <a:gd name="T7" fmla="*/ 117 h 235"/>
                  <a:gd name="T8" fmla="*/ 47 w 94"/>
                  <a:gd name="T9" fmla="*/ 235 h 235"/>
                  <a:gd name="T10" fmla="*/ 47 w 94"/>
                  <a:gd name="T11" fmla="*/ 235 h 235"/>
                  <a:gd name="T12" fmla="*/ 94 w 94"/>
                  <a:gd name="T13" fmla="*/ 117 h 235"/>
                  <a:gd name="T14" fmla="*/ 94 w 94"/>
                  <a:gd name="T15" fmla="*/ 117 h 235"/>
                  <a:gd name="T16" fmla="*/ 47 w 94"/>
                  <a:gd name="T17" fmla="*/ 0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4" h="235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21" y="0"/>
                      <a:pt x="0" y="52"/>
                      <a:pt x="0" y="117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82"/>
                      <a:pt x="21" y="235"/>
                      <a:pt x="47" y="235"/>
                    </a:cubicBezTo>
                    <a:cubicBezTo>
                      <a:pt x="47" y="235"/>
                      <a:pt x="47" y="235"/>
                      <a:pt x="47" y="235"/>
                    </a:cubicBezTo>
                    <a:cubicBezTo>
                      <a:pt x="73" y="235"/>
                      <a:pt x="94" y="182"/>
                      <a:pt x="94" y="117"/>
                    </a:cubicBezTo>
                    <a:cubicBezTo>
                      <a:pt x="94" y="117"/>
                      <a:pt x="94" y="117"/>
                      <a:pt x="94" y="117"/>
                    </a:cubicBezTo>
                    <a:cubicBezTo>
                      <a:pt x="94" y="52"/>
                      <a:pt x="73" y="0"/>
                      <a:pt x="47" y="0"/>
                    </a:cubicBezTo>
                    <a:close/>
                  </a:path>
                </a:pathLst>
              </a:custGeom>
              <a:gradFill>
                <a:gsLst>
                  <a:gs pos="99000">
                    <a:schemeClr val="accent1">
                      <a:lumMod val="75000"/>
                    </a:schemeClr>
                  </a:gs>
                  <a:gs pos="3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" name="Rectangle 188">
              <a:extLst>
                <a:ext uri="{FF2B5EF4-FFF2-40B4-BE49-F238E27FC236}">
                  <a16:creationId xmlns:a16="http://schemas.microsoft.com/office/drawing/2014/main" id="{E1D2FBD1-4D5A-1D4E-8A8D-F9FA8331A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7966" y="7169290"/>
              <a:ext cx="15948509" cy="393301"/>
            </a:xfrm>
            <a:prstGeom prst="rect">
              <a:avLst/>
            </a:prstGeom>
            <a:gradFill>
              <a:gsLst>
                <a:gs pos="99000">
                  <a:schemeClr val="accent2"/>
                </a:gs>
                <a:gs pos="0">
                  <a:schemeClr val="accent1"/>
                </a:gs>
              </a:gsLst>
              <a:lin ang="270000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srgbClr val="2A28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D91565CD-FE7F-4F43-89D4-856C3FC5F56A}"/>
                </a:ext>
              </a:extLst>
            </p:cNvPr>
            <p:cNvGrpSpPr/>
            <p:nvPr/>
          </p:nvGrpSpPr>
          <p:grpSpPr>
            <a:xfrm>
              <a:off x="19317605" y="5490642"/>
              <a:ext cx="4397262" cy="3659988"/>
              <a:chOff x="18098243" y="5346626"/>
              <a:chExt cx="4397262" cy="3659988"/>
            </a:xfrm>
          </p:grpSpPr>
          <p:sp>
            <p:nvSpPr>
              <p:cNvPr id="12" name="Freeform 241">
                <a:extLst>
                  <a:ext uri="{FF2B5EF4-FFF2-40B4-BE49-F238E27FC236}">
                    <a16:creationId xmlns:a16="http://schemas.microsoft.com/office/drawing/2014/main" id="{EC7A3178-966B-D349-89C7-3EE278C279A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8098243" y="5346626"/>
                <a:ext cx="4397262" cy="3659988"/>
              </a:xfrm>
              <a:custGeom>
                <a:avLst/>
                <a:gdLst>
                  <a:gd name="T0" fmla="*/ 383 w 500"/>
                  <a:gd name="T1" fmla="*/ 0 h 416"/>
                  <a:gd name="T2" fmla="*/ 383 w 500"/>
                  <a:gd name="T3" fmla="*/ 416 h 416"/>
                  <a:gd name="T4" fmla="*/ 0 w 500"/>
                  <a:gd name="T5" fmla="*/ 269 h 416"/>
                  <a:gd name="T6" fmla="*/ 106 w 500"/>
                  <a:gd name="T7" fmla="*/ 249 h 416"/>
                  <a:gd name="T8" fmla="*/ 39 w 500"/>
                  <a:gd name="T9" fmla="*/ 165 h 416"/>
                  <a:gd name="T10" fmla="*/ 383 w 500"/>
                  <a:gd name="T11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0" h="416">
                    <a:moveTo>
                      <a:pt x="383" y="0"/>
                    </a:moveTo>
                    <a:cubicBezTo>
                      <a:pt x="383" y="0"/>
                      <a:pt x="500" y="162"/>
                      <a:pt x="383" y="416"/>
                    </a:cubicBezTo>
                    <a:cubicBezTo>
                      <a:pt x="184" y="397"/>
                      <a:pt x="0" y="269"/>
                      <a:pt x="0" y="269"/>
                    </a:cubicBezTo>
                    <a:cubicBezTo>
                      <a:pt x="106" y="249"/>
                      <a:pt x="106" y="249"/>
                      <a:pt x="106" y="249"/>
                    </a:cubicBezTo>
                    <a:cubicBezTo>
                      <a:pt x="39" y="165"/>
                      <a:pt x="39" y="165"/>
                      <a:pt x="39" y="165"/>
                    </a:cubicBezTo>
                    <a:cubicBezTo>
                      <a:pt x="39" y="165"/>
                      <a:pt x="183" y="48"/>
                      <a:pt x="383" y="0"/>
                    </a:cubicBezTo>
                    <a:close/>
                  </a:path>
                </a:pathLst>
              </a:custGeom>
              <a:gradFill>
                <a:gsLst>
                  <a:gs pos="99000">
                    <a:schemeClr val="accent2">
                      <a:lumMod val="75000"/>
                    </a:schemeClr>
                  </a:gs>
                  <a:gs pos="0">
                    <a:schemeClr val="accent2"/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Freeform 242">
                <a:extLst>
                  <a:ext uri="{FF2B5EF4-FFF2-40B4-BE49-F238E27FC236}">
                    <a16:creationId xmlns:a16="http://schemas.microsoft.com/office/drawing/2014/main" id="{5B78A727-5779-F54C-9E4E-153D5602D1D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9100819" y="6199694"/>
                <a:ext cx="474904" cy="2094563"/>
              </a:xfrm>
              <a:custGeom>
                <a:avLst/>
                <a:gdLst>
                  <a:gd name="T0" fmla="*/ 2 w 54"/>
                  <a:gd name="T1" fmla="*/ 0 h 238"/>
                  <a:gd name="T2" fmla="*/ 0 w 54"/>
                  <a:gd name="T3" fmla="*/ 238 h 238"/>
                  <a:gd name="T4" fmla="*/ 2 w 54"/>
                  <a:gd name="T5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4" h="238">
                    <a:moveTo>
                      <a:pt x="2" y="0"/>
                    </a:moveTo>
                    <a:cubicBezTo>
                      <a:pt x="2" y="0"/>
                      <a:pt x="6" y="148"/>
                      <a:pt x="0" y="238"/>
                    </a:cubicBezTo>
                    <a:cubicBezTo>
                      <a:pt x="54" y="122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Freeform 243">
                <a:extLst>
                  <a:ext uri="{FF2B5EF4-FFF2-40B4-BE49-F238E27FC236}">
                    <a16:creationId xmlns:a16="http://schemas.microsoft.com/office/drawing/2014/main" id="{FA416A92-AB75-474D-9873-7D93A0C906F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279285" y="6322818"/>
                <a:ext cx="800302" cy="800302"/>
              </a:xfrm>
              <a:custGeom>
                <a:avLst/>
                <a:gdLst>
                  <a:gd name="T0" fmla="*/ 45 w 91"/>
                  <a:gd name="T1" fmla="*/ 91 h 91"/>
                  <a:gd name="T2" fmla="*/ 45 w 91"/>
                  <a:gd name="T3" fmla="*/ 91 h 91"/>
                  <a:gd name="T4" fmla="*/ 0 w 91"/>
                  <a:gd name="T5" fmla="*/ 45 h 91"/>
                  <a:gd name="T6" fmla="*/ 0 w 91"/>
                  <a:gd name="T7" fmla="*/ 45 h 91"/>
                  <a:gd name="T8" fmla="*/ 45 w 91"/>
                  <a:gd name="T9" fmla="*/ 0 h 91"/>
                  <a:gd name="T10" fmla="*/ 45 w 91"/>
                  <a:gd name="T11" fmla="*/ 0 h 91"/>
                  <a:gd name="T12" fmla="*/ 91 w 91"/>
                  <a:gd name="T13" fmla="*/ 45 h 91"/>
                  <a:gd name="T14" fmla="*/ 91 w 91"/>
                  <a:gd name="T15" fmla="*/ 45 h 91"/>
                  <a:gd name="T16" fmla="*/ 45 w 91"/>
                  <a:gd name="T17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91">
                    <a:moveTo>
                      <a:pt x="45" y="91"/>
                    </a:moveTo>
                    <a:cubicBezTo>
                      <a:pt x="45" y="91"/>
                      <a:pt x="45" y="91"/>
                      <a:pt x="45" y="91"/>
                    </a:cubicBezTo>
                    <a:cubicBezTo>
                      <a:pt x="20" y="91"/>
                      <a:pt x="0" y="70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21"/>
                      <a:pt x="20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70" y="0"/>
                      <a:pt x="91" y="21"/>
                      <a:pt x="91" y="45"/>
                    </a:cubicBezTo>
                    <a:cubicBezTo>
                      <a:pt x="91" y="45"/>
                      <a:pt x="91" y="45"/>
                      <a:pt x="91" y="45"/>
                    </a:cubicBezTo>
                    <a:cubicBezTo>
                      <a:pt x="91" y="70"/>
                      <a:pt x="70" y="91"/>
                      <a:pt x="45" y="91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Freeform 244">
                <a:extLst>
                  <a:ext uri="{FF2B5EF4-FFF2-40B4-BE49-F238E27FC236}">
                    <a16:creationId xmlns:a16="http://schemas.microsoft.com/office/drawing/2014/main" id="{9BE11669-D180-604D-9728-44601FA56EF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411203" y="6454735"/>
                <a:ext cx="536466" cy="536466"/>
              </a:xfrm>
              <a:custGeom>
                <a:avLst/>
                <a:gdLst>
                  <a:gd name="T0" fmla="*/ 30 w 61"/>
                  <a:gd name="T1" fmla="*/ 61 h 61"/>
                  <a:gd name="T2" fmla="*/ 30 w 61"/>
                  <a:gd name="T3" fmla="*/ 61 h 61"/>
                  <a:gd name="T4" fmla="*/ 0 w 61"/>
                  <a:gd name="T5" fmla="*/ 30 h 61"/>
                  <a:gd name="T6" fmla="*/ 0 w 61"/>
                  <a:gd name="T7" fmla="*/ 30 h 61"/>
                  <a:gd name="T8" fmla="*/ 30 w 61"/>
                  <a:gd name="T9" fmla="*/ 0 h 61"/>
                  <a:gd name="T10" fmla="*/ 30 w 61"/>
                  <a:gd name="T11" fmla="*/ 0 h 61"/>
                  <a:gd name="T12" fmla="*/ 61 w 61"/>
                  <a:gd name="T13" fmla="*/ 30 h 61"/>
                  <a:gd name="T14" fmla="*/ 61 w 61"/>
                  <a:gd name="T15" fmla="*/ 30 h 61"/>
                  <a:gd name="T16" fmla="*/ 30 w 61"/>
                  <a:gd name="T17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61">
                    <a:moveTo>
                      <a:pt x="30" y="61"/>
                    </a:moveTo>
                    <a:cubicBezTo>
                      <a:pt x="30" y="61"/>
                      <a:pt x="30" y="61"/>
                      <a:pt x="30" y="61"/>
                    </a:cubicBezTo>
                    <a:cubicBezTo>
                      <a:pt x="14" y="61"/>
                      <a:pt x="0" y="47"/>
                      <a:pt x="0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4"/>
                      <a:pt x="14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47" y="0"/>
                      <a:pt x="61" y="14"/>
                      <a:pt x="61" y="30"/>
                    </a:cubicBezTo>
                    <a:cubicBezTo>
                      <a:pt x="61" y="30"/>
                      <a:pt x="61" y="30"/>
                      <a:pt x="61" y="30"/>
                    </a:cubicBezTo>
                    <a:cubicBezTo>
                      <a:pt x="61" y="47"/>
                      <a:pt x="47" y="61"/>
                      <a:pt x="30" y="6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AECE283F-1009-B845-B376-C147C9D00CA4}"/>
              </a:ext>
            </a:extLst>
          </p:cNvPr>
          <p:cNvGrpSpPr/>
          <p:nvPr/>
        </p:nvGrpSpPr>
        <p:grpSpPr>
          <a:xfrm>
            <a:off x="1725173" y="3448316"/>
            <a:ext cx="2677031" cy="1799966"/>
            <a:chOff x="5712865" y="6691129"/>
            <a:chExt cx="5354759" cy="3600400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328BA082-F0B1-DA4F-B1B6-8DE9DB248AE9}"/>
                </a:ext>
              </a:extLst>
            </p:cNvPr>
            <p:cNvGrpSpPr/>
            <p:nvPr/>
          </p:nvGrpSpPr>
          <p:grpSpPr>
            <a:xfrm>
              <a:off x="7225035" y="6691129"/>
              <a:ext cx="992081" cy="992081"/>
              <a:chOff x="8089131" y="6714778"/>
              <a:chExt cx="992081" cy="992081"/>
            </a:xfrm>
          </p:grpSpPr>
          <p:sp>
            <p:nvSpPr>
              <p:cNvPr id="2" name="Овал 1">
                <a:extLst>
                  <a:ext uri="{FF2B5EF4-FFF2-40B4-BE49-F238E27FC236}">
                    <a16:creationId xmlns:a16="http://schemas.microsoft.com/office/drawing/2014/main" id="{070B48FA-FBCA-354E-B0D1-5337B746CE5D}"/>
                  </a:ext>
                </a:extLst>
              </p:cNvPr>
              <p:cNvSpPr/>
              <p:nvPr/>
            </p:nvSpPr>
            <p:spPr>
              <a:xfrm>
                <a:off x="8089131" y="6714778"/>
                <a:ext cx="992081" cy="99208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dist="38100" dir="2700000" algn="tl" rotWithShape="0">
                  <a:prstClr val="black">
                    <a:alpha val="12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9BF078C3-F624-C040-8082-B54E164400C8}"/>
                  </a:ext>
                </a:extLst>
              </p:cNvPr>
              <p:cNvSpPr/>
              <p:nvPr/>
            </p:nvSpPr>
            <p:spPr>
              <a:xfrm>
                <a:off x="8353764" y="6979411"/>
                <a:ext cx="462814" cy="4628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9" name="Текст 2">
              <a:extLst>
                <a:ext uri="{FF2B5EF4-FFF2-40B4-BE49-F238E27FC236}">
                  <a16:creationId xmlns:a16="http://schemas.microsoft.com/office/drawing/2014/main" id="{32DAAAFB-A041-1E48-B490-2D57E7F6F582}"/>
                </a:ext>
              </a:extLst>
            </p:cNvPr>
            <p:cNvSpPr txBox="1">
              <a:spLocks/>
            </p:cNvSpPr>
            <p:nvPr/>
          </p:nvSpPr>
          <p:spPr>
            <a:xfrm>
              <a:off x="5712865" y="7915264"/>
              <a:ext cx="5354759" cy="2376265"/>
            </a:xfrm>
            <a:prstGeom prst="rect">
              <a:avLst/>
            </a:prstGeom>
          </p:spPr>
          <p:txBody>
            <a:bodyPr/>
            <a:lstStyle>
              <a:lvl1pPr marL="914492" indent="-914492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8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81398" indent="-762077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7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48305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64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6762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86948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706271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92559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914491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36423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other nature</a:t>
              </a:r>
            </a:p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Seasonal demand fluctuations.</a:t>
              </a:r>
            </a:p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en-US" sz="1300" b="1" dirty="0">
                  <a:ea typeface="Tahoma" panose="020B0604030504040204" pitchFamily="34" charset="0"/>
                  <a:cs typeface="Tahoma" panose="020B0604030504040204" pitchFamily="34" charset="0"/>
                </a:rPr>
                <a:t>Market Unpredictability.</a:t>
              </a:r>
              <a:endParaRPr kumimoji="0" lang="ru-RU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4CAEEAEB-1DDE-BF44-8D4F-98FA51C7AF87}"/>
              </a:ext>
            </a:extLst>
          </p:cNvPr>
          <p:cNvGrpSpPr/>
          <p:nvPr/>
        </p:nvGrpSpPr>
        <p:grpSpPr>
          <a:xfrm>
            <a:off x="3048484" y="1956170"/>
            <a:ext cx="2524810" cy="1964408"/>
            <a:chOff x="8019585" y="3753882"/>
            <a:chExt cx="4582319" cy="3929328"/>
          </a:xfrm>
        </p:grpSpPr>
        <p:grpSp>
          <p:nvGrpSpPr>
            <p:cNvPr id="24" name="Группа 23">
              <a:extLst>
                <a:ext uri="{FF2B5EF4-FFF2-40B4-BE49-F238E27FC236}">
                  <a16:creationId xmlns:a16="http://schemas.microsoft.com/office/drawing/2014/main" id="{5784087C-76E8-674F-965D-065A6FC027D4}"/>
                </a:ext>
              </a:extLst>
            </p:cNvPr>
            <p:cNvGrpSpPr/>
            <p:nvPr/>
          </p:nvGrpSpPr>
          <p:grpSpPr>
            <a:xfrm>
              <a:off x="9583297" y="6691129"/>
              <a:ext cx="992081" cy="992081"/>
              <a:chOff x="8089131" y="6714778"/>
              <a:chExt cx="992081" cy="992081"/>
            </a:xfrm>
          </p:grpSpPr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3500A4C2-0BCE-FC42-822A-29340F3D3F65}"/>
                  </a:ext>
                </a:extLst>
              </p:cNvPr>
              <p:cNvSpPr/>
              <p:nvPr/>
            </p:nvSpPr>
            <p:spPr>
              <a:xfrm>
                <a:off x="8089131" y="6714778"/>
                <a:ext cx="992081" cy="99208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dist="38100" dir="2700000" algn="tl" rotWithShape="0">
                  <a:prstClr val="black">
                    <a:alpha val="12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34493288-EE27-E644-8EF5-2EAB746A2595}"/>
                  </a:ext>
                </a:extLst>
              </p:cNvPr>
              <p:cNvSpPr/>
              <p:nvPr/>
            </p:nvSpPr>
            <p:spPr>
              <a:xfrm>
                <a:off x="8353764" y="6979411"/>
                <a:ext cx="462814" cy="4628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5" name="Текст 2">
              <a:extLst>
                <a:ext uri="{FF2B5EF4-FFF2-40B4-BE49-F238E27FC236}">
                  <a16:creationId xmlns:a16="http://schemas.microsoft.com/office/drawing/2014/main" id="{4A8DAC79-3A80-C347-B4E3-A5952E70FFCE}"/>
                </a:ext>
              </a:extLst>
            </p:cNvPr>
            <p:cNvSpPr txBox="1">
              <a:spLocks/>
            </p:cNvSpPr>
            <p:nvPr/>
          </p:nvSpPr>
          <p:spPr>
            <a:xfrm>
              <a:off x="8019585" y="3753882"/>
              <a:ext cx="4582319" cy="2376263"/>
            </a:xfrm>
            <a:prstGeom prst="rect">
              <a:avLst/>
            </a:prstGeom>
          </p:spPr>
          <p:txBody>
            <a:bodyPr/>
            <a:lstStyle>
              <a:lvl1pPr marL="914492" indent="-914492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8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81398" indent="-762077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7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48305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64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6762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86948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706271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92559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914491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36423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n</a:t>
              </a:r>
            </a:p>
            <a:p>
              <a:pPr marL="342900" indent="-342900" defTabSz="1219079">
                <a:lnSpc>
                  <a:spcPct val="150000"/>
                </a:lnSpc>
                <a:buFont typeface="+mj-lt"/>
                <a:buAutoNum type="arabicPeriod"/>
              </a:pPr>
              <a:r>
                <a:rPr lang="en-US" sz="1300" b="1" dirty="0">
                  <a:solidFill>
                    <a:srgbClr val="2A2833"/>
                  </a:solidFill>
                  <a:ea typeface="Tahoma" panose="020B0604030504040204" pitchFamily="34" charset="0"/>
                  <a:cs typeface="Times New Roman" panose="02020603050405020304" pitchFamily="18" charset="0"/>
                </a:rPr>
                <a:t>Manual SAP Error</a:t>
              </a:r>
            </a:p>
            <a:p>
              <a:pPr marL="342900" indent="-342900" defTabSz="1219079">
                <a:lnSpc>
                  <a:spcPct val="150000"/>
                </a:lnSpc>
                <a:buFont typeface="+mj-lt"/>
                <a:buAutoNum type="arabicPeriod"/>
              </a:pPr>
              <a:r>
                <a:rPr lang="en-US" sz="1300" b="1" dirty="0">
                  <a:solidFill>
                    <a:srgbClr val="2A2833"/>
                  </a:solidFill>
                  <a:ea typeface="Tahoma" panose="020B0604030504040204" pitchFamily="34" charset="0"/>
                  <a:cs typeface="Times New Roman" panose="02020603050405020304" pitchFamily="18" charset="0"/>
                </a:rPr>
                <a:t>Poor inter team coordination</a:t>
              </a:r>
            </a:p>
            <a:p>
              <a:pPr marL="342900" indent="-342900" defTabSz="1219079">
                <a:lnSpc>
                  <a:spcPct val="150000"/>
                </a:lnSpc>
                <a:buFont typeface="+mj-lt"/>
                <a:buAutoNum type="arabicPeriod"/>
              </a:pPr>
              <a:r>
                <a:rPr lang="en-US" sz="1300" b="1" dirty="0">
                  <a:solidFill>
                    <a:srgbClr val="2A2833"/>
                  </a:solidFill>
                  <a:ea typeface="Tahoma" panose="020B0604030504040204" pitchFamily="34" charset="0"/>
                  <a:cs typeface="Times New Roman" panose="02020603050405020304" pitchFamily="18" charset="0"/>
                </a:rPr>
                <a:t>Weak Adherence to SOP</a:t>
              </a:r>
            </a:p>
            <a:p>
              <a:pPr marL="0" marR="0" lvl="0" indent="0" algn="just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lang="en-US" sz="1300" b="1" dirty="0">
                <a:solidFill>
                  <a:srgbClr val="2A2833"/>
                </a:solidFill>
                <a:ea typeface="Tahom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8AEFBFC6-0FC3-6A45-BE8A-ADA4CC322A16}"/>
              </a:ext>
            </a:extLst>
          </p:cNvPr>
          <p:cNvGrpSpPr/>
          <p:nvPr/>
        </p:nvGrpSpPr>
        <p:grpSpPr>
          <a:xfrm>
            <a:off x="4402203" y="3464233"/>
            <a:ext cx="2809581" cy="1799965"/>
            <a:chOff x="10429389" y="6691129"/>
            <a:chExt cx="5619894" cy="3600398"/>
          </a:xfrm>
        </p:grpSpPr>
        <p:grpSp>
          <p:nvGrpSpPr>
            <p:cNvPr id="29" name="Группа 28">
              <a:extLst>
                <a:ext uri="{FF2B5EF4-FFF2-40B4-BE49-F238E27FC236}">
                  <a16:creationId xmlns:a16="http://schemas.microsoft.com/office/drawing/2014/main" id="{D7619B11-CA83-C64B-BF5E-4ADDD831C1BA}"/>
                </a:ext>
              </a:extLst>
            </p:cNvPr>
            <p:cNvGrpSpPr/>
            <p:nvPr/>
          </p:nvGrpSpPr>
          <p:grpSpPr>
            <a:xfrm>
              <a:off x="11941559" y="6691129"/>
              <a:ext cx="992081" cy="992081"/>
              <a:chOff x="8089131" y="6714778"/>
              <a:chExt cx="992081" cy="992081"/>
            </a:xfrm>
          </p:grpSpPr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F1B49B0E-F6E6-AA40-8C64-D7209CF23DF6}"/>
                  </a:ext>
                </a:extLst>
              </p:cNvPr>
              <p:cNvSpPr/>
              <p:nvPr/>
            </p:nvSpPr>
            <p:spPr>
              <a:xfrm>
                <a:off x="8089131" y="6714778"/>
                <a:ext cx="992081" cy="99208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dist="38100" dir="2700000" algn="tl" rotWithShape="0">
                  <a:prstClr val="black">
                    <a:alpha val="12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Овал 31">
                <a:extLst>
                  <a:ext uri="{FF2B5EF4-FFF2-40B4-BE49-F238E27FC236}">
                    <a16:creationId xmlns:a16="http://schemas.microsoft.com/office/drawing/2014/main" id="{480189A7-13B4-C64A-B843-80FDEBC4325C}"/>
                  </a:ext>
                </a:extLst>
              </p:cNvPr>
              <p:cNvSpPr/>
              <p:nvPr/>
            </p:nvSpPr>
            <p:spPr>
              <a:xfrm>
                <a:off x="8353764" y="6979411"/>
                <a:ext cx="462814" cy="4628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0" name="Текст 2">
              <a:extLst>
                <a:ext uri="{FF2B5EF4-FFF2-40B4-BE49-F238E27FC236}">
                  <a16:creationId xmlns:a16="http://schemas.microsoft.com/office/drawing/2014/main" id="{8ED8C346-2AE5-BD48-8392-75964B22DAD2}"/>
                </a:ext>
              </a:extLst>
            </p:cNvPr>
            <p:cNvSpPr txBox="1">
              <a:spLocks/>
            </p:cNvSpPr>
            <p:nvPr/>
          </p:nvSpPr>
          <p:spPr>
            <a:xfrm>
              <a:off x="10429389" y="8461435"/>
              <a:ext cx="5619894" cy="1830092"/>
            </a:xfrm>
            <a:prstGeom prst="rect">
              <a:avLst/>
            </a:prstGeom>
          </p:spPr>
          <p:txBody>
            <a:bodyPr/>
            <a:lstStyle>
              <a:lvl1pPr marL="914492" indent="-914492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8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81398" indent="-762077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7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48305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64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6762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86948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706271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92559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914491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36423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en-US" sz="1300" b="1" dirty="0">
                  <a:solidFill>
                    <a:srgbClr val="2A2833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Inaccurate inventory date</a:t>
              </a:r>
            </a:p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Lack of standardized SAP codes</a:t>
              </a:r>
            </a:p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en-US" sz="1300" b="1" dirty="0">
                  <a:solidFill>
                    <a:srgbClr val="2A2833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Weak coordination KPIs</a:t>
              </a:r>
              <a:endPara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2A2833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lvl="0" indent="0" algn="ctr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A2833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55CCFC04-64CB-8243-9E47-DE25F8B42EC0}"/>
              </a:ext>
            </a:extLst>
          </p:cNvPr>
          <p:cNvGrpSpPr/>
          <p:nvPr/>
        </p:nvGrpSpPr>
        <p:grpSpPr>
          <a:xfrm>
            <a:off x="7211784" y="3458148"/>
            <a:ext cx="3113315" cy="1799966"/>
            <a:chOff x="15145913" y="6691129"/>
            <a:chExt cx="6227441" cy="3600400"/>
          </a:xfrm>
        </p:grpSpPr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00651C8D-EF82-AC4E-AFDB-4CA7C7397EB4}"/>
                </a:ext>
              </a:extLst>
            </p:cNvPr>
            <p:cNvGrpSpPr/>
            <p:nvPr/>
          </p:nvGrpSpPr>
          <p:grpSpPr>
            <a:xfrm>
              <a:off x="16658083" y="6691129"/>
              <a:ext cx="992081" cy="992081"/>
              <a:chOff x="8089131" y="6714778"/>
              <a:chExt cx="992081" cy="992081"/>
            </a:xfrm>
          </p:grpSpPr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73559A49-53CD-FA43-A6A3-E9C10AE73571}"/>
                  </a:ext>
                </a:extLst>
              </p:cNvPr>
              <p:cNvSpPr/>
              <p:nvPr/>
            </p:nvSpPr>
            <p:spPr>
              <a:xfrm>
                <a:off x="8089131" y="6714778"/>
                <a:ext cx="992081" cy="99208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ffectLst>
                <a:outerShdw dist="38100" dir="2700000" algn="tl" rotWithShape="0">
                  <a:prstClr val="black">
                    <a:alpha val="12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E7E0ECED-DA86-304C-A0E2-7D6B6256A9B9}"/>
                  </a:ext>
                </a:extLst>
              </p:cNvPr>
              <p:cNvSpPr/>
              <p:nvPr/>
            </p:nvSpPr>
            <p:spPr>
              <a:xfrm>
                <a:off x="8353764" y="6979411"/>
                <a:ext cx="462814" cy="4628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5" name="Текст 2">
              <a:extLst>
                <a:ext uri="{FF2B5EF4-FFF2-40B4-BE49-F238E27FC236}">
                  <a16:creationId xmlns:a16="http://schemas.microsoft.com/office/drawing/2014/main" id="{EA749BF4-C5B7-1149-9EDF-56B061D6C0A9}"/>
                </a:ext>
              </a:extLst>
            </p:cNvPr>
            <p:cNvSpPr txBox="1">
              <a:spLocks/>
            </p:cNvSpPr>
            <p:nvPr/>
          </p:nvSpPr>
          <p:spPr>
            <a:xfrm>
              <a:off x="15145913" y="7915264"/>
              <a:ext cx="6227441" cy="2376265"/>
            </a:xfrm>
            <a:prstGeom prst="rect">
              <a:avLst/>
            </a:prstGeom>
          </p:spPr>
          <p:txBody>
            <a:bodyPr/>
            <a:lstStyle>
              <a:lvl1pPr marL="914492" indent="-914492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8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81398" indent="-762077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7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48305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64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6762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86948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706271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92559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914491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36423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ethod</a:t>
              </a:r>
            </a:p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Inaccurate forecasting</a:t>
              </a:r>
            </a:p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en-US" sz="1300" b="1" dirty="0">
                  <a:ea typeface="Tahoma" panose="020B0604030504040204" pitchFamily="34" charset="0"/>
                  <a:cs typeface="Tahoma" panose="020B0604030504040204" pitchFamily="34" charset="0"/>
                </a:rPr>
                <a:t>Poor production-product lifecycle alignment.</a:t>
              </a:r>
            </a:p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Non-Standardized SAP process</a:t>
              </a:r>
            </a:p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en-US" sz="1300" b="1" dirty="0">
                  <a:ea typeface="Tahoma" panose="020B0604030504040204" pitchFamily="34" charset="0"/>
                  <a:cs typeface="Tahoma" panose="020B0604030504040204" pitchFamily="34" charset="0"/>
                </a:rPr>
                <a:t>Inefficient warehouse flow</a:t>
              </a:r>
              <a:endParaRPr kumimoji="0" lang="ru-RU" sz="13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97DF60D7-E854-884A-B9A6-6E139584C387}"/>
              </a:ext>
            </a:extLst>
          </p:cNvPr>
          <p:cNvGrpSpPr/>
          <p:nvPr/>
        </p:nvGrpSpPr>
        <p:grpSpPr>
          <a:xfrm>
            <a:off x="5829007" y="2169024"/>
            <a:ext cx="2355531" cy="1744129"/>
            <a:chOff x="12787651" y="4194498"/>
            <a:chExt cx="4711676" cy="3488712"/>
          </a:xfrm>
        </p:grpSpPr>
        <p:grpSp>
          <p:nvGrpSpPr>
            <p:cNvPr id="39" name="Группа 38">
              <a:extLst>
                <a:ext uri="{FF2B5EF4-FFF2-40B4-BE49-F238E27FC236}">
                  <a16:creationId xmlns:a16="http://schemas.microsoft.com/office/drawing/2014/main" id="{B15AFB4F-2521-764F-9B11-981320741BCF}"/>
                </a:ext>
              </a:extLst>
            </p:cNvPr>
            <p:cNvGrpSpPr/>
            <p:nvPr/>
          </p:nvGrpSpPr>
          <p:grpSpPr>
            <a:xfrm>
              <a:off x="14299821" y="6691129"/>
              <a:ext cx="992081" cy="992081"/>
              <a:chOff x="8089131" y="6714778"/>
              <a:chExt cx="992081" cy="992081"/>
            </a:xfrm>
          </p:grpSpPr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52898C26-5627-BE4C-BC08-BF115EA9D93B}"/>
                  </a:ext>
                </a:extLst>
              </p:cNvPr>
              <p:cNvSpPr/>
              <p:nvPr/>
            </p:nvSpPr>
            <p:spPr>
              <a:xfrm>
                <a:off x="8089131" y="6714778"/>
                <a:ext cx="992081" cy="99208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>
                <a:outerShdw dist="38100" dir="2700000" algn="tl" rotWithShape="0">
                  <a:prstClr val="black">
                    <a:alpha val="12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53E048DE-4840-6E44-ACFE-9E1D916ADBE8}"/>
                  </a:ext>
                </a:extLst>
              </p:cNvPr>
              <p:cNvSpPr/>
              <p:nvPr/>
            </p:nvSpPr>
            <p:spPr>
              <a:xfrm>
                <a:off x="8353764" y="6979411"/>
                <a:ext cx="462814" cy="4628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0" name="Текст 2">
              <a:extLst>
                <a:ext uri="{FF2B5EF4-FFF2-40B4-BE49-F238E27FC236}">
                  <a16:creationId xmlns:a16="http://schemas.microsoft.com/office/drawing/2014/main" id="{A8269D72-D291-3344-9187-57EE6613ADFD}"/>
                </a:ext>
              </a:extLst>
            </p:cNvPr>
            <p:cNvSpPr txBox="1">
              <a:spLocks/>
            </p:cNvSpPr>
            <p:nvPr/>
          </p:nvSpPr>
          <p:spPr>
            <a:xfrm>
              <a:off x="12787651" y="4194498"/>
              <a:ext cx="4711676" cy="2376263"/>
            </a:xfrm>
            <a:prstGeom prst="rect">
              <a:avLst/>
            </a:prstGeom>
          </p:spPr>
          <p:txBody>
            <a:bodyPr/>
            <a:lstStyle>
              <a:lvl1pPr marL="914492" indent="-914492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8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81398" indent="-762077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7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48305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64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6762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86948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706271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92559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914491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36423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chine</a:t>
              </a:r>
            </a:p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en-US" sz="1300" b="1" dirty="0">
                  <a:solidFill>
                    <a:srgbClr val="2A2833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Outdated forecasting tool.</a:t>
              </a:r>
            </a:p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Manual SAP dependency</a:t>
              </a:r>
            </a:p>
          </p:txBody>
        </p:sp>
      </p:grpSp>
      <p:grpSp>
        <p:nvGrpSpPr>
          <p:cNvPr id="4" name="Группа 48">
            <a:extLst>
              <a:ext uri="{FF2B5EF4-FFF2-40B4-BE49-F238E27FC236}">
                <a16:creationId xmlns:a16="http://schemas.microsoft.com/office/drawing/2014/main" id="{0943B211-C126-8D16-AC62-C7FFC8AB58CB}"/>
              </a:ext>
            </a:extLst>
          </p:cNvPr>
          <p:cNvGrpSpPr/>
          <p:nvPr/>
        </p:nvGrpSpPr>
        <p:grpSpPr>
          <a:xfrm>
            <a:off x="8438647" y="2065038"/>
            <a:ext cx="2650532" cy="1848115"/>
            <a:chOff x="12787807" y="3986499"/>
            <a:chExt cx="5301754" cy="3696711"/>
          </a:xfrm>
        </p:grpSpPr>
        <p:grpSp>
          <p:nvGrpSpPr>
            <p:cNvPr id="5" name="Группа 38">
              <a:extLst>
                <a:ext uri="{FF2B5EF4-FFF2-40B4-BE49-F238E27FC236}">
                  <a16:creationId xmlns:a16="http://schemas.microsoft.com/office/drawing/2014/main" id="{4C2A6FCB-1E55-D9E2-2222-A9B4CB33BBC8}"/>
                </a:ext>
              </a:extLst>
            </p:cNvPr>
            <p:cNvGrpSpPr/>
            <p:nvPr/>
          </p:nvGrpSpPr>
          <p:grpSpPr>
            <a:xfrm>
              <a:off x="14299821" y="6691129"/>
              <a:ext cx="992081" cy="992081"/>
              <a:chOff x="8089131" y="6714778"/>
              <a:chExt cx="992081" cy="992081"/>
            </a:xfrm>
          </p:grpSpPr>
          <p:sp>
            <p:nvSpPr>
              <p:cNvPr id="8" name="Овал 40">
                <a:extLst>
                  <a:ext uri="{FF2B5EF4-FFF2-40B4-BE49-F238E27FC236}">
                    <a16:creationId xmlns:a16="http://schemas.microsoft.com/office/drawing/2014/main" id="{A61DAFF4-15AE-2047-305F-7FEDF049470F}"/>
                  </a:ext>
                </a:extLst>
              </p:cNvPr>
              <p:cNvSpPr/>
              <p:nvPr/>
            </p:nvSpPr>
            <p:spPr>
              <a:xfrm>
                <a:off x="8089131" y="6714778"/>
                <a:ext cx="992081" cy="99208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>
                <a:outerShdw dist="38100" dir="2700000" algn="tl" rotWithShape="0">
                  <a:prstClr val="black">
                    <a:alpha val="12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" name="Овал 41">
                <a:extLst>
                  <a:ext uri="{FF2B5EF4-FFF2-40B4-BE49-F238E27FC236}">
                    <a16:creationId xmlns:a16="http://schemas.microsoft.com/office/drawing/2014/main" id="{1A2F6BE9-22DB-3CD1-0B27-700D348DA7FC}"/>
                  </a:ext>
                </a:extLst>
              </p:cNvPr>
              <p:cNvSpPr/>
              <p:nvPr/>
            </p:nvSpPr>
            <p:spPr>
              <a:xfrm>
                <a:off x="8353764" y="6979411"/>
                <a:ext cx="462814" cy="4628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45714" tIns="22857" rIns="45714" bIns="2285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" name="Текст 2">
              <a:extLst>
                <a:ext uri="{FF2B5EF4-FFF2-40B4-BE49-F238E27FC236}">
                  <a16:creationId xmlns:a16="http://schemas.microsoft.com/office/drawing/2014/main" id="{D164E2CA-1DD6-0B13-FCE6-0F49BC3DCACB}"/>
                </a:ext>
              </a:extLst>
            </p:cNvPr>
            <p:cNvSpPr txBox="1">
              <a:spLocks/>
            </p:cNvSpPr>
            <p:nvPr/>
          </p:nvSpPr>
          <p:spPr>
            <a:xfrm>
              <a:off x="12787807" y="3986499"/>
              <a:ext cx="5301754" cy="2376263"/>
            </a:xfrm>
            <a:prstGeom prst="rect">
              <a:avLst/>
            </a:prstGeom>
          </p:spPr>
          <p:txBody>
            <a:bodyPr/>
            <a:lstStyle>
              <a:lvl1pPr marL="914492" indent="-914492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8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81398" indent="-762077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75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48305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64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26762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86948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706271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92559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9144913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364236" indent="-609660" algn="l" defTabSz="243864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53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terial</a:t>
              </a:r>
            </a:p>
            <a:p>
              <a:pPr marL="342900" marR="0" lvl="0" indent="-342900" defTabSz="1219079" rtl="0" eaLnBrk="1" fontAlgn="auto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2A2833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Excess inventory accumulation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896504FC-3B97-8585-D6B5-C88E4E4328EF}"/>
              </a:ext>
            </a:extLst>
          </p:cNvPr>
          <p:cNvSpPr txBox="1"/>
          <p:nvPr/>
        </p:nvSpPr>
        <p:spPr>
          <a:xfrm>
            <a:off x="4871037" y="3967141"/>
            <a:ext cx="6100916" cy="464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1219079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A2833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Measurement</a:t>
            </a:r>
          </a:p>
        </p:txBody>
      </p:sp>
    </p:spTree>
    <p:extLst>
      <p:ext uri="{BB962C8B-B14F-4D97-AF65-F5344CB8AC3E}">
        <p14:creationId xmlns:p14="http://schemas.microsoft.com/office/powerpoint/2010/main" val="26851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8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downLeft)">
                                          <p:cBhvr>
                                            <p:cTn id="7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4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4" presetID="2" presetClass="entr" presetSubtype="4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7" dur="5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9" presetID="2" presetClass="entr" presetSubtype="4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2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4" presetID="2" presetClass="entr" presetSubtype="4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6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7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8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9" presetID="2" presetClass="entr" presetSubtype="4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1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2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34" presetID="2" presetClass="entr" presetSubtype="4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6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8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downLeft)">
                                          <p:cBhvr>
                                            <p:cTn id="7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4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9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2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4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6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7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8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9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34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6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78"/>
          <p:cNvSpPr/>
          <p:nvPr/>
        </p:nvSpPr>
        <p:spPr>
          <a:xfrm>
            <a:off x="1588" y="1296612"/>
            <a:ext cx="12188825" cy="675016"/>
          </a:xfrm>
          <a:prstGeom prst="rect">
            <a:avLst/>
          </a:prstGeom>
          <a:solidFill>
            <a:schemeClr val="bg1">
              <a:lumMod val="85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Rectangle 6"/>
          <p:cNvSpPr/>
          <p:nvPr/>
        </p:nvSpPr>
        <p:spPr>
          <a:xfrm flipH="1" flipV="1">
            <a:off x="1776025" y="1817425"/>
            <a:ext cx="8285378" cy="1675219"/>
          </a:xfrm>
          <a:custGeom>
            <a:avLst/>
            <a:gdLst>
              <a:gd name="connsiteX0" fmla="*/ 0 w 6324600"/>
              <a:gd name="connsiteY0" fmla="*/ 0 h 3505200"/>
              <a:gd name="connsiteX1" fmla="*/ 6324600 w 6324600"/>
              <a:gd name="connsiteY1" fmla="*/ 0 h 3505200"/>
              <a:gd name="connsiteX2" fmla="*/ 6324600 w 6324600"/>
              <a:gd name="connsiteY2" fmla="*/ 3505200 h 3505200"/>
              <a:gd name="connsiteX3" fmla="*/ 0 w 6324600"/>
              <a:gd name="connsiteY3" fmla="*/ 3505200 h 3505200"/>
              <a:gd name="connsiteX4" fmla="*/ 0 w 6324600"/>
              <a:gd name="connsiteY4" fmla="*/ 0 h 3505200"/>
              <a:gd name="connsiteX0" fmla="*/ 0 w 6324600"/>
              <a:gd name="connsiteY0" fmla="*/ 0 h 3505200"/>
              <a:gd name="connsiteX1" fmla="*/ 6324600 w 6324600"/>
              <a:gd name="connsiteY1" fmla="*/ 0 h 3505200"/>
              <a:gd name="connsiteX2" fmla="*/ 6324600 w 6324600"/>
              <a:gd name="connsiteY2" fmla="*/ 3505200 h 3505200"/>
              <a:gd name="connsiteX3" fmla="*/ 0 w 6324600"/>
              <a:gd name="connsiteY3" fmla="*/ 0 h 3505200"/>
              <a:gd name="connsiteX0" fmla="*/ 6324600 w 6416040"/>
              <a:gd name="connsiteY0" fmla="*/ 3505200 h 3596640"/>
              <a:gd name="connsiteX1" fmla="*/ 0 w 6416040"/>
              <a:gd name="connsiteY1" fmla="*/ 0 h 3596640"/>
              <a:gd name="connsiteX2" fmla="*/ 6324600 w 6416040"/>
              <a:gd name="connsiteY2" fmla="*/ 0 h 3596640"/>
              <a:gd name="connsiteX3" fmla="*/ 6416040 w 6416040"/>
              <a:gd name="connsiteY3" fmla="*/ 3596640 h 3596640"/>
              <a:gd name="connsiteX0" fmla="*/ 2327787 w 6416040"/>
              <a:gd name="connsiteY0" fmla="*/ 1941871 h 3596640"/>
              <a:gd name="connsiteX1" fmla="*/ 0 w 6416040"/>
              <a:gd name="connsiteY1" fmla="*/ 0 h 3596640"/>
              <a:gd name="connsiteX2" fmla="*/ 6324600 w 6416040"/>
              <a:gd name="connsiteY2" fmla="*/ 0 h 3596640"/>
              <a:gd name="connsiteX3" fmla="*/ 6416040 w 6416040"/>
              <a:gd name="connsiteY3" fmla="*/ 3596640 h 3596640"/>
              <a:gd name="connsiteX0" fmla="*/ 0 w 6416040"/>
              <a:gd name="connsiteY0" fmla="*/ 0 h 3596640"/>
              <a:gd name="connsiteX1" fmla="*/ 6324600 w 6416040"/>
              <a:gd name="connsiteY1" fmla="*/ 0 h 3596640"/>
              <a:gd name="connsiteX2" fmla="*/ 6416040 w 6416040"/>
              <a:gd name="connsiteY2" fmla="*/ 3596640 h 3596640"/>
              <a:gd name="connsiteX0" fmla="*/ 0 w 6416040"/>
              <a:gd name="connsiteY0" fmla="*/ 0 h 3596640"/>
              <a:gd name="connsiteX1" fmla="*/ 6324600 w 6416040"/>
              <a:gd name="connsiteY1" fmla="*/ 0 h 3596640"/>
              <a:gd name="connsiteX2" fmla="*/ 6416040 w 6416040"/>
              <a:gd name="connsiteY2" fmla="*/ 3596640 h 3596640"/>
              <a:gd name="connsiteX3" fmla="*/ 0 w 6416040"/>
              <a:gd name="connsiteY3" fmla="*/ 0 h 3596640"/>
              <a:gd name="connsiteX0" fmla="*/ 6416040 w 6507480"/>
              <a:gd name="connsiteY0" fmla="*/ 3596640 h 3688080"/>
              <a:gd name="connsiteX1" fmla="*/ 0 w 6507480"/>
              <a:gd name="connsiteY1" fmla="*/ 0 h 3688080"/>
              <a:gd name="connsiteX2" fmla="*/ 6324600 w 6507480"/>
              <a:gd name="connsiteY2" fmla="*/ 0 h 3688080"/>
              <a:gd name="connsiteX3" fmla="*/ 6507480 w 6507480"/>
              <a:gd name="connsiteY3" fmla="*/ 3688080 h 3688080"/>
              <a:gd name="connsiteX0" fmla="*/ 1563821 w 6507480"/>
              <a:gd name="connsiteY0" fmla="*/ 3050950 h 3688080"/>
              <a:gd name="connsiteX1" fmla="*/ 0 w 6507480"/>
              <a:gd name="connsiteY1" fmla="*/ 0 h 3688080"/>
              <a:gd name="connsiteX2" fmla="*/ 6324600 w 6507480"/>
              <a:gd name="connsiteY2" fmla="*/ 0 h 3688080"/>
              <a:gd name="connsiteX3" fmla="*/ 6507480 w 6507480"/>
              <a:gd name="connsiteY3" fmla="*/ 3688080 h 3688080"/>
              <a:gd name="connsiteX0" fmla="*/ 0 w 6507480"/>
              <a:gd name="connsiteY0" fmla="*/ 0 h 3688080"/>
              <a:gd name="connsiteX1" fmla="*/ 6324600 w 6507480"/>
              <a:gd name="connsiteY1" fmla="*/ 0 h 3688080"/>
              <a:gd name="connsiteX2" fmla="*/ 6507480 w 6507480"/>
              <a:gd name="connsiteY2" fmla="*/ 3688080 h 3688080"/>
              <a:gd name="connsiteX0" fmla="*/ 0 w 6324600"/>
              <a:gd name="connsiteY0" fmla="*/ 0 h 2168996"/>
              <a:gd name="connsiteX1" fmla="*/ 6324600 w 6324600"/>
              <a:gd name="connsiteY1" fmla="*/ 0 h 2168996"/>
              <a:gd name="connsiteX2" fmla="*/ 6242009 w 6324600"/>
              <a:gd name="connsiteY2" fmla="*/ 2168996 h 2168996"/>
              <a:gd name="connsiteX0" fmla="*/ 0 w 6522228"/>
              <a:gd name="connsiteY0" fmla="*/ 0 h 2404970"/>
              <a:gd name="connsiteX1" fmla="*/ 6324600 w 6522228"/>
              <a:gd name="connsiteY1" fmla="*/ 0 h 2404970"/>
              <a:gd name="connsiteX2" fmla="*/ 6522228 w 6522228"/>
              <a:gd name="connsiteY2" fmla="*/ 2404970 h 2404970"/>
              <a:gd name="connsiteX0" fmla="*/ 0 w 7057136"/>
              <a:gd name="connsiteY0" fmla="*/ 0 h 2589105"/>
              <a:gd name="connsiteX1" fmla="*/ 6324600 w 7057136"/>
              <a:gd name="connsiteY1" fmla="*/ 0 h 2589105"/>
              <a:gd name="connsiteX2" fmla="*/ 6522228 w 7057136"/>
              <a:gd name="connsiteY2" fmla="*/ 2404970 h 2589105"/>
              <a:gd name="connsiteX0" fmla="*/ 0 w 6522228"/>
              <a:gd name="connsiteY0" fmla="*/ 0 h 2884378"/>
              <a:gd name="connsiteX1" fmla="*/ 6324600 w 6522228"/>
              <a:gd name="connsiteY1" fmla="*/ 0 h 2884378"/>
              <a:gd name="connsiteX2" fmla="*/ 6522228 w 6522228"/>
              <a:gd name="connsiteY2" fmla="*/ 2404970 h 2884378"/>
              <a:gd name="connsiteX0" fmla="*/ 0 w 6959565"/>
              <a:gd name="connsiteY0" fmla="*/ 0 h 2629590"/>
              <a:gd name="connsiteX1" fmla="*/ 6324600 w 6959565"/>
              <a:gd name="connsiteY1" fmla="*/ 0 h 2629590"/>
              <a:gd name="connsiteX2" fmla="*/ 6522228 w 6959565"/>
              <a:gd name="connsiteY2" fmla="*/ 2404970 h 2629590"/>
              <a:gd name="connsiteX0" fmla="*/ 0 w 6959565"/>
              <a:gd name="connsiteY0" fmla="*/ 0 h 2629590"/>
              <a:gd name="connsiteX1" fmla="*/ 6324600 w 6959565"/>
              <a:gd name="connsiteY1" fmla="*/ 0 h 2629590"/>
              <a:gd name="connsiteX2" fmla="*/ 6522228 w 6959565"/>
              <a:gd name="connsiteY2" fmla="*/ 2404970 h 2629590"/>
              <a:gd name="connsiteX0" fmla="*/ 0 w 6522228"/>
              <a:gd name="connsiteY0" fmla="*/ 0 h 2404970"/>
              <a:gd name="connsiteX1" fmla="*/ 6324600 w 6522228"/>
              <a:gd name="connsiteY1" fmla="*/ 0 h 2404970"/>
              <a:gd name="connsiteX2" fmla="*/ 6522228 w 6522228"/>
              <a:gd name="connsiteY2" fmla="*/ 2404970 h 2404970"/>
              <a:gd name="connsiteX0" fmla="*/ 0 w 6839285"/>
              <a:gd name="connsiteY0" fmla="*/ 178145 h 2583115"/>
              <a:gd name="connsiteX1" fmla="*/ 6324600 w 6839285"/>
              <a:gd name="connsiteY1" fmla="*/ 178145 h 2583115"/>
              <a:gd name="connsiteX2" fmla="*/ 6522228 w 6839285"/>
              <a:gd name="connsiteY2" fmla="*/ 2583115 h 2583115"/>
              <a:gd name="connsiteX0" fmla="*/ 0 w 6522228"/>
              <a:gd name="connsiteY0" fmla="*/ 0 h 2404970"/>
              <a:gd name="connsiteX1" fmla="*/ 3699387 w 6522228"/>
              <a:gd name="connsiteY1" fmla="*/ 575187 h 2404970"/>
              <a:gd name="connsiteX2" fmla="*/ 6522228 w 6522228"/>
              <a:gd name="connsiteY2" fmla="*/ 2404970 h 2404970"/>
              <a:gd name="connsiteX0" fmla="*/ 0 w 6522228"/>
              <a:gd name="connsiteY0" fmla="*/ 5635 h 2410605"/>
              <a:gd name="connsiteX1" fmla="*/ 3699387 w 6522228"/>
              <a:gd name="connsiteY1" fmla="*/ 580822 h 2410605"/>
              <a:gd name="connsiteX2" fmla="*/ 6522228 w 6522228"/>
              <a:gd name="connsiteY2" fmla="*/ 2410605 h 2410605"/>
              <a:gd name="connsiteX0" fmla="*/ 0 w 6522228"/>
              <a:gd name="connsiteY0" fmla="*/ 5635 h 2410605"/>
              <a:gd name="connsiteX1" fmla="*/ 3699387 w 6522228"/>
              <a:gd name="connsiteY1" fmla="*/ 580822 h 2410605"/>
              <a:gd name="connsiteX2" fmla="*/ 6522228 w 6522228"/>
              <a:gd name="connsiteY2" fmla="*/ 2410605 h 2410605"/>
              <a:gd name="connsiteX0" fmla="*/ 0 w 6522228"/>
              <a:gd name="connsiteY0" fmla="*/ 6310 h 2411280"/>
              <a:gd name="connsiteX1" fmla="*/ 4628535 w 6522228"/>
              <a:gd name="connsiteY1" fmla="*/ 552000 h 2411280"/>
              <a:gd name="connsiteX2" fmla="*/ 6522228 w 6522228"/>
              <a:gd name="connsiteY2" fmla="*/ 2411280 h 2411280"/>
              <a:gd name="connsiteX0" fmla="*/ 0 w 6522228"/>
              <a:gd name="connsiteY0" fmla="*/ 5347 h 2410317"/>
              <a:gd name="connsiteX1" fmla="*/ 4023851 w 6522228"/>
              <a:gd name="connsiteY1" fmla="*/ 595282 h 2410317"/>
              <a:gd name="connsiteX2" fmla="*/ 6522228 w 6522228"/>
              <a:gd name="connsiteY2" fmla="*/ 2410317 h 2410317"/>
              <a:gd name="connsiteX0" fmla="*/ 0 w 6509203"/>
              <a:gd name="connsiteY0" fmla="*/ 163951 h 1949489"/>
              <a:gd name="connsiteX1" fmla="*/ 4010826 w 6509203"/>
              <a:gd name="connsiteY1" fmla="*/ 134454 h 1949489"/>
              <a:gd name="connsiteX2" fmla="*/ 6509203 w 6509203"/>
              <a:gd name="connsiteY2" fmla="*/ 1949489 h 1949489"/>
              <a:gd name="connsiteX0" fmla="*/ 0 w 6535251"/>
              <a:gd name="connsiteY0" fmla="*/ 155212 h 1822763"/>
              <a:gd name="connsiteX1" fmla="*/ 4010826 w 6535251"/>
              <a:gd name="connsiteY1" fmla="*/ 125715 h 1822763"/>
              <a:gd name="connsiteX2" fmla="*/ 6535251 w 6535251"/>
              <a:gd name="connsiteY2" fmla="*/ 1822763 h 1822763"/>
              <a:gd name="connsiteX0" fmla="*/ 0 w 6535251"/>
              <a:gd name="connsiteY0" fmla="*/ 155212 h 1822763"/>
              <a:gd name="connsiteX1" fmla="*/ 4010826 w 6535251"/>
              <a:gd name="connsiteY1" fmla="*/ 125715 h 1822763"/>
              <a:gd name="connsiteX2" fmla="*/ 6535251 w 6535251"/>
              <a:gd name="connsiteY2" fmla="*/ 1822763 h 1822763"/>
              <a:gd name="connsiteX0" fmla="*/ 0 w 6535251"/>
              <a:gd name="connsiteY0" fmla="*/ 10655 h 1678206"/>
              <a:gd name="connsiteX1" fmla="*/ 4062921 w 6535251"/>
              <a:gd name="connsiteY1" fmla="*/ 335120 h 1678206"/>
              <a:gd name="connsiteX2" fmla="*/ 6535251 w 6535251"/>
              <a:gd name="connsiteY2" fmla="*/ 1678206 h 1678206"/>
              <a:gd name="connsiteX0" fmla="*/ 0 w 6535251"/>
              <a:gd name="connsiteY0" fmla="*/ 3375 h 1670926"/>
              <a:gd name="connsiteX1" fmla="*/ 4128041 w 6535251"/>
              <a:gd name="connsiteY1" fmla="*/ 637556 h 1670926"/>
              <a:gd name="connsiteX2" fmla="*/ 6535251 w 6535251"/>
              <a:gd name="connsiteY2" fmla="*/ 1670926 h 1670926"/>
              <a:gd name="connsiteX0" fmla="*/ 0 w 6535251"/>
              <a:gd name="connsiteY0" fmla="*/ 7668 h 1675219"/>
              <a:gd name="connsiteX1" fmla="*/ 4023848 w 6535251"/>
              <a:gd name="connsiteY1" fmla="*/ 391126 h 1675219"/>
              <a:gd name="connsiteX2" fmla="*/ 6535251 w 6535251"/>
              <a:gd name="connsiteY2" fmla="*/ 1675219 h 1675219"/>
              <a:gd name="connsiteX0" fmla="*/ 0 w 6535251"/>
              <a:gd name="connsiteY0" fmla="*/ 7668 h 1675219"/>
              <a:gd name="connsiteX1" fmla="*/ 4023848 w 6535251"/>
              <a:gd name="connsiteY1" fmla="*/ 391126 h 1675219"/>
              <a:gd name="connsiteX2" fmla="*/ 6535251 w 6535251"/>
              <a:gd name="connsiteY2" fmla="*/ 1675219 h 1675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35251" h="1675219">
                <a:moveTo>
                  <a:pt x="0" y="7668"/>
                </a:moveTo>
                <a:cubicBezTo>
                  <a:pt x="618613" y="-36578"/>
                  <a:pt x="2934640" y="113201"/>
                  <a:pt x="4023848" y="391126"/>
                </a:cubicBezTo>
                <a:cubicBezTo>
                  <a:pt x="5113057" y="669051"/>
                  <a:pt x="6017867" y="1075450"/>
                  <a:pt x="6535251" y="1675219"/>
                </a:cubicBezTo>
              </a:path>
            </a:pathLst>
          </a:cu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2" name="Rectangle 6"/>
          <p:cNvSpPr/>
          <p:nvPr/>
        </p:nvSpPr>
        <p:spPr>
          <a:xfrm flipH="1">
            <a:off x="1776025" y="3909242"/>
            <a:ext cx="8285378" cy="1675219"/>
          </a:xfrm>
          <a:custGeom>
            <a:avLst/>
            <a:gdLst>
              <a:gd name="connsiteX0" fmla="*/ 0 w 6324600"/>
              <a:gd name="connsiteY0" fmla="*/ 0 h 3505200"/>
              <a:gd name="connsiteX1" fmla="*/ 6324600 w 6324600"/>
              <a:gd name="connsiteY1" fmla="*/ 0 h 3505200"/>
              <a:gd name="connsiteX2" fmla="*/ 6324600 w 6324600"/>
              <a:gd name="connsiteY2" fmla="*/ 3505200 h 3505200"/>
              <a:gd name="connsiteX3" fmla="*/ 0 w 6324600"/>
              <a:gd name="connsiteY3" fmla="*/ 3505200 h 3505200"/>
              <a:gd name="connsiteX4" fmla="*/ 0 w 6324600"/>
              <a:gd name="connsiteY4" fmla="*/ 0 h 3505200"/>
              <a:gd name="connsiteX0" fmla="*/ 0 w 6324600"/>
              <a:gd name="connsiteY0" fmla="*/ 0 h 3505200"/>
              <a:gd name="connsiteX1" fmla="*/ 6324600 w 6324600"/>
              <a:gd name="connsiteY1" fmla="*/ 0 h 3505200"/>
              <a:gd name="connsiteX2" fmla="*/ 6324600 w 6324600"/>
              <a:gd name="connsiteY2" fmla="*/ 3505200 h 3505200"/>
              <a:gd name="connsiteX3" fmla="*/ 0 w 6324600"/>
              <a:gd name="connsiteY3" fmla="*/ 0 h 3505200"/>
              <a:gd name="connsiteX0" fmla="*/ 6324600 w 6416040"/>
              <a:gd name="connsiteY0" fmla="*/ 3505200 h 3596640"/>
              <a:gd name="connsiteX1" fmla="*/ 0 w 6416040"/>
              <a:gd name="connsiteY1" fmla="*/ 0 h 3596640"/>
              <a:gd name="connsiteX2" fmla="*/ 6324600 w 6416040"/>
              <a:gd name="connsiteY2" fmla="*/ 0 h 3596640"/>
              <a:gd name="connsiteX3" fmla="*/ 6416040 w 6416040"/>
              <a:gd name="connsiteY3" fmla="*/ 3596640 h 3596640"/>
              <a:gd name="connsiteX0" fmla="*/ 2327787 w 6416040"/>
              <a:gd name="connsiteY0" fmla="*/ 1941871 h 3596640"/>
              <a:gd name="connsiteX1" fmla="*/ 0 w 6416040"/>
              <a:gd name="connsiteY1" fmla="*/ 0 h 3596640"/>
              <a:gd name="connsiteX2" fmla="*/ 6324600 w 6416040"/>
              <a:gd name="connsiteY2" fmla="*/ 0 h 3596640"/>
              <a:gd name="connsiteX3" fmla="*/ 6416040 w 6416040"/>
              <a:gd name="connsiteY3" fmla="*/ 3596640 h 3596640"/>
              <a:gd name="connsiteX0" fmla="*/ 0 w 6416040"/>
              <a:gd name="connsiteY0" fmla="*/ 0 h 3596640"/>
              <a:gd name="connsiteX1" fmla="*/ 6324600 w 6416040"/>
              <a:gd name="connsiteY1" fmla="*/ 0 h 3596640"/>
              <a:gd name="connsiteX2" fmla="*/ 6416040 w 6416040"/>
              <a:gd name="connsiteY2" fmla="*/ 3596640 h 3596640"/>
              <a:gd name="connsiteX0" fmla="*/ 0 w 6416040"/>
              <a:gd name="connsiteY0" fmla="*/ 0 h 3596640"/>
              <a:gd name="connsiteX1" fmla="*/ 6324600 w 6416040"/>
              <a:gd name="connsiteY1" fmla="*/ 0 h 3596640"/>
              <a:gd name="connsiteX2" fmla="*/ 6416040 w 6416040"/>
              <a:gd name="connsiteY2" fmla="*/ 3596640 h 3596640"/>
              <a:gd name="connsiteX3" fmla="*/ 0 w 6416040"/>
              <a:gd name="connsiteY3" fmla="*/ 0 h 3596640"/>
              <a:gd name="connsiteX0" fmla="*/ 6416040 w 6507480"/>
              <a:gd name="connsiteY0" fmla="*/ 3596640 h 3688080"/>
              <a:gd name="connsiteX1" fmla="*/ 0 w 6507480"/>
              <a:gd name="connsiteY1" fmla="*/ 0 h 3688080"/>
              <a:gd name="connsiteX2" fmla="*/ 6324600 w 6507480"/>
              <a:gd name="connsiteY2" fmla="*/ 0 h 3688080"/>
              <a:gd name="connsiteX3" fmla="*/ 6507480 w 6507480"/>
              <a:gd name="connsiteY3" fmla="*/ 3688080 h 3688080"/>
              <a:gd name="connsiteX0" fmla="*/ 1563821 w 6507480"/>
              <a:gd name="connsiteY0" fmla="*/ 3050950 h 3688080"/>
              <a:gd name="connsiteX1" fmla="*/ 0 w 6507480"/>
              <a:gd name="connsiteY1" fmla="*/ 0 h 3688080"/>
              <a:gd name="connsiteX2" fmla="*/ 6324600 w 6507480"/>
              <a:gd name="connsiteY2" fmla="*/ 0 h 3688080"/>
              <a:gd name="connsiteX3" fmla="*/ 6507480 w 6507480"/>
              <a:gd name="connsiteY3" fmla="*/ 3688080 h 3688080"/>
              <a:gd name="connsiteX0" fmla="*/ 0 w 6507480"/>
              <a:gd name="connsiteY0" fmla="*/ 0 h 3688080"/>
              <a:gd name="connsiteX1" fmla="*/ 6324600 w 6507480"/>
              <a:gd name="connsiteY1" fmla="*/ 0 h 3688080"/>
              <a:gd name="connsiteX2" fmla="*/ 6507480 w 6507480"/>
              <a:gd name="connsiteY2" fmla="*/ 3688080 h 3688080"/>
              <a:gd name="connsiteX0" fmla="*/ 0 w 6324600"/>
              <a:gd name="connsiteY0" fmla="*/ 0 h 2168996"/>
              <a:gd name="connsiteX1" fmla="*/ 6324600 w 6324600"/>
              <a:gd name="connsiteY1" fmla="*/ 0 h 2168996"/>
              <a:gd name="connsiteX2" fmla="*/ 6242009 w 6324600"/>
              <a:gd name="connsiteY2" fmla="*/ 2168996 h 2168996"/>
              <a:gd name="connsiteX0" fmla="*/ 0 w 6522228"/>
              <a:gd name="connsiteY0" fmla="*/ 0 h 2404970"/>
              <a:gd name="connsiteX1" fmla="*/ 6324600 w 6522228"/>
              <a:gd name="connsiteY1" fmla="*/ 0 h 2404970"/>
              <a:gd name="connsiteX2" fmla="*/ 6522228 w 6522228"/>
              <a:gd name="connsiteY2" fmla="*/ 2404970 h 2404970"/>
              <a:gd name="connsiteX0" fmla="*/ 0 w 7057136"/>
              <a:gd name="connsiteY0" fmla="*/ 0 h 2589105"/>
              <a:gd name="connsiteX1" fmla="*/ 6324600 w 7057136"/>
              <a:gd name="connsiteY1" fmla="*/ 0 h 2589105"/>
              <a:gd name="connsiteX2" fmla="*/ 6522228 w 7057136"/>
              <a:gd name="connsiteY2" fmla="*/ 2404970 h 2589105"/>
              <a:gd name="connsiteX0" fmla="*/ 0 w 6522228"/>
              <a:gd name="connsiteY0" fmla="*/ 0 h 2884378"/>
              <a:gd name="connsiteX1" fmla="*/ 6324600 w 6522228"/>
              <a:gd name="connsiteY1" fmla="*/ 0 h 2884378"/>
              <a:gd name="connsiteX2" fmla="*/ 6522228 w 6522228"/>
              <a:gd name="connsiteY2" fmla="*/ 2404970 h 2884378"/>
              <a:gd name="connsiteX0" fmla="*/ 0 w 6959565"/>
              <a:gd name="connsiteY0" fmla="*/ 0 h 2629590"/>
              <a:gd name="connsiteX1" fmla="*/ 6324600 w 6959565"/>
              <a:gd name="connsiteY1" fmla="*/ 0 h 2629590"/>
              <a:gd name="connsiteX2" fmla="*/ 6522228 w 6959565"/>
              <a:gd name="connsiteY2" fmla="*/ 2404970 h 2629590"/>
              <a:gd name="connsiteX0" fmla="*/ 0 w 6959565"/>
              <a:gd name="connsiteY0" fmla="*/ 0 h 2629590"/>
              <a:gd name="connsiteX1" fmla="*/ 6324600 w 6959565"/>
              <a:gd name="connsiteY1" fmla="*/ 0 h 2629590"/>
              <a:gd name="connsiteX2" fmla="*/ 6522228 w 6959565"/>
              <a:gd name="connsiteY2" fmla="*/ 2404970 h 2629590"/>
              <a:gd name="connsiteX0" fmla="*/ 0 w 6522228"/>
              <a:gd name="connsiteY0" fmla="*/ 0 h 2404970"/>
              <a:gd name="connsiteX1" fmla="*/ 6324600 w 6522228"/>
              <a:gd name="connsiteY1" fmla="*/ 0 h 2404970"/>
              <a:gd name="connsiteX2" fmla="*/ 6522228 w 6522228"/>
              <a:gd name="connsiteY2" fmla="*/ 2404970 h 2404970"/>
              <a:gd name="connsiteX0" fmla="*/ 0 w 6839285"/>
              <a:gd name="connsiteY0" fmla="*/ 178145 h 2583115"/>
              <a:gd name="connsiteX1" fmla="*/ 6324600 w 6839285"/>
              <a:gd name="connsiteY1" fmla="*/ 178145 h 2583115"/>
              <a:gd name="connsiteX2" fmla="*/ 6522228 w 6839285"/>
              <a:gd name="connsiteY2" fmla="*/ 2583115 h 2583115"/>
              <a:gd name="connsiteX0" fmla="*/ 0 w 6522228"/>
              <a:gd name="connsiteY0" fmla="*/ 0 h 2404970"/>
              <a:gd name="connsiteX1" fmla="*/ 3699387 w 6522228"/>
              <a:gd name="connsiteY1" fmla="*/ 575187 h 2404970"/>
              <a:gd name="connsiteX2" fmla="*/ 6522228 w 6522228"/>
              <a:gd name="connsiteY2" fmla="*/ 2404970 h 2404970"/>
              <a:gd name="connsiteX0" fmla="*/ 0 w 6522228"/>
              <a:gd name="connsiteY0" fmla="*/ 5635 h 2410605"/>
              <a:gd name="connsiteX1" fmla="*/ 3699387 w 6522228"/>
              <a:gd name="connsiteY1" fmla="*/ 580822 h 2410605"/>
              <a:gd name="connsiteX2" fmla="*/ 6522228 w 6522228"/>
              <a:gd name="connsiteY2" fmla="*/ 2410605 h 2410605"/>
              <a:gd name="connsiteX0" fmla="*/ 0 w 6522228"/>
              <a:gd name="connsiteY0" fmla="*/ 5635 h 2410605"/>
              <a:gd name="connsiteX1" fmla="*/ 3699387 w 6522228"/>
              <a:gd name="connsiteY1" fmla="*/ 580822 h 2410605"/>
              <a:gd name="connsiteX2" fmla="*/ 6522228 w 6522228"/>
              <a:gd name="connsiteY2" fmla="*/ 2410605 h 2410605"/>
              <a:gd name="connsiteX0" fmla="*/ 0 w 6522228"/>
              <a:gd name="connsiteY0" fmla="*/ 6310 h 2411280"/>
              <a:gd name="connsiteX1" fmla="*/ 4628535 w 6522228"/>
              <a:gd name="connsiteY1" fmla="*/ 552000 h 2411280"/>
              <a:gd name="connsiteX2" fmla="*/ 6522228 w 6522228"/>
              <a:gd name="connsiteY2" fmla="*/ 2411280 h 2411280"/>
              <a:gd name="connsiteX0" fmla="*/ 0 w 6522228"/>
              <a:gd name="connsiteY0" fmla="*/ 5347 h 2410317"/>
              <a:gd name="connsiteX1" fmla="*/ 4023851 w 6522228"/>
              <a:gd name="connsiteY1" fmla="*/ 595282 h 2410317"/>
              <a:gd name="connsiteX2" fmla="*/ 6522228 w 6522228"/>
              <a:gd name="connsiteY2" fmla="*/ 2410317 h 2410317"/>
              <a:gd name="connsiteX0" fmla="*/ 0 w 6509203"/>
              <a:gd name="connsiteY0" fmla="*/ 163951 h 1949489"/>
              <a:gd name="connsiteX1" fmla="*/ 4010826 w 6509203"/>
              <a:gd name="connsiteY1" fmla="*/ 134454 h 1949489"/>
              <a:gd name="connsiteX2" fmla="*/ 6509203 w 6509203"/>
              <a:gd name="connsiteY2" fmla="*/ 1949489 h 1949489"/>
              <a:gd name="connsiteX0" fmla="*/ 0 w 6535251"/>
              <a:gd name="connsiteY0" fmla="*/ 155212 h 1822763"/>
              <a:gd name="connsiteX1" fmla="*/ 4010826 w 6535251"/>
              <a:gd name="connsiteY1" fmla="*/ 125715 h 1822763"/>
              <a:gd name="connsiteX2" fmla="*/ 6535251 w 6535251"/>
              <a:gd name="connsiteY2" fmla="*/ 1822763 h 1822763"/>
              <a:gd name="connsiteX0" fmla="*/ 0 w 6535251"/>
              <a:gd name="connsiteY0" fmla="*/ 155212 h 1822763"/>
              <a:gd name="connsiteX1" fmla="*/ 4010826 w 6535251"/>
              <a:gd name="connsiteY1" fmla="*/ 125715 h 1822763"/>
              <a:gd name="connsiteX2" fmla="*/ 6535251 w 6535251"/>
              <a:gd name="connsiteY2" fmla="*/ 1822763 h 1822763"/>
              <a:gd name="connsiteX0" fmla="*/ 0 w 6535251"/>
              <a:gd name="connsiteY0" fmla="*/ 10655 h 1678206"/>
              <a:gd name="connsiteX1" fmla="*/ 4062921 w 6535251"/>
              <a:gd name="connsiteY1" fmla="*/ 335120 h 1678206"/>
              <a:gd name="connsiteX2" fmla="*/ 6535251 w 6535251"/>
              <a:gd name="connsiteY2" fmla="*/ 1678206 h 1678206"/>
              <a:gd name="connsiteX0" fmla="*/ 0 w 6535251"/>
              <a:gd name="connsiteY0" fmla="*/ 3375 h 1670926"/>
              <a:gd name="connsiteX1" fmla="*/ 4128041 w 6535251"/>
              <a:gd name="connsiteY1" fmla="*/ 637556 h 1670926"/>
              <a:gd name="connsiteX2" fmla="*/ 6535251 w 6535251"/>
              <a:gd name="connsiteY2" fmla="*/ 1670926 h 1670926"/>
              <a:gd name="connsiteX0" fmla="*/ 0 w 6535251"/>
              <a:gd name="connsiteY0" fmla="*/ 7668 h 1675219"/>
              <a:gd name="connsiteX1" fmla="*/ 4023848 w 6535251"/>
              <a:gd name="connsiteY1" fmla="*/ 391126 h 1675219"/>
              <a:gd name="connsiteX2" fmla="*/ 6535251 w 6535251"/>
              <a:gd name="connsiteY2" fmla="*/ 1675219 h 1675219"/>
              <a:gd name="connsiteX0" fmla="*/ 0 w 6535251"/>
              <a:gd name="connsiteY0" fmla="*/ 7668 h 1675219"/>
              <a:gd name="connsiteX1" fmla="*/ 4023848 w 6535251"/>
              <a:gd name="connsiteY1" fmla="*/ 391126 h 1675219"/>
              <a:gd name="connsiteX2" fmla="*/ 6535251 w 6535251"/>
              <a:gd name="connsiteY2" fmla="*/ 1675219 h 1675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35251" h="1675219">
                <a:moveTo>
                  <a:pt x="0" y="7668"/>
                </a:moveTo>
                <a:cubicBezTo>
                  <a:pt x="618613" y="-36578"/>
                  <a:pt x="2934640" y="113201"/>
                  <a:pt x="4023848" y="391126"/>
                </a:cubicBezTo>
                <a:cubicBezTo>
                  <a:pt x="5113057" y="669051"/>
                  <a:pt x="6017867" y="1075450"/>
                  <a:pt x="6535251" y="1675219"/>
                </a:cubicBezTo>
              </a:path>
            </a:pathLst>
          </a:cu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 Bottleneck</a:t>
            </a:r>
          </a:p>
        </p:txBody>
      </p:sp>
      <p:sp>
        <p:nvSpPr>
          <p:cNvPr id="4" name="Oval 3"/>
          <p:cNvSpPr>
            <a:spLocks noChangeAspect="1"/>
          </p:cNvSpPr>
          <p:nvPr/>
        </p:nvSpPr>
        <p:spPr>
          <a:xfrm>
            <a:off x="2708747" y="2651044"/>
            <a:ext cx="403269" cy="403269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val 4"/>
          <p:cNvSpPr>
            <a:spLocks noChangeAspect="1"/>
          </p:cNvSpPr>
          <p:nvPr/>
        </p:nvSpPr>
        <p:spPr>
          <a:xfrm>
            <a:off x="2375839" y="3352800"/>
            <a:ext cx="366608" cy="366608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val 5"/>
          <p:cNvSpPr>
            <a:spLocks noChangeAspect="1"/>
          </p:cNvSpPr>
          <p:nvPr/>
        </p:nvSpPr>
        <p:spPr>
          <a:xfrm>
            <a:off x="2910211" y="3989792"/>
            <a:ext cx="403269" cy="403269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/>
          <p:cNvSpPr>
            <a:spLocks noChangeAspect="1"/>
          </p:cNvSpPr>
          <p:nvPr/>
        </p:nvSpPr>
        <p:spPr>
          <a:xfrm>
            <a:off x="3080278" y="3122892"/>
            <a:ext cx="187484" cy="18748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3125118" y="4455609"/>
            <a:ext cx="187484" cy="187484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val 9"/>
          <p:cNvSpPr>
            <a:spLocks noChangeAspect="1"/>
          </p:cNvSpPr>
          <p:nvPr/>
        </p:nvSpPr>
        <p:spPr>
          <a:xfrm>
            <a:off x="3635261" y="3994093"/>
            <a:ext cx="403269" cy="403269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val 10"/>
          <p:cNvSpPr>
            <a:spLocks noChangeAspect="1"/>
          </p:cNvSpPr>
          <p:nvPr/>
        </p:nvSpPr>
        <p:spPr>
          <a:xfrm>
            <a:off x="4149918" y="3305321"/>
            <a:ext cx="366608" cy="366608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val 12"/>
          <p:cNvSpPr>
            <a:spLocks noChangeAspect="1"/>
          </p:cNvSpPr>
          <p:nvPr/>
        </p:nvSpPr>
        <p:spPr>
          <a:xfrm>
            <a:off x="3482436" y="3001177"/>
            <a:ext cx="366608" cy="366608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/>
          <p:cNvSpPr>
            <a:spLocks noChangeAspect="1"/>
          </p:cNvSpPr>
          <p:nvPr/>
        </p:nvSpPr>
        <p:spPr>
          <a:xfrm>
            <a:off x="4769987" y="3276601"/>
            <a:ext cx="274321" cy="274321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val 16"/>
          <p:cNvSpPr>
            <a:spLocks noChangeAspect="1"/>
          </p:cNvSpPr>
          <p:nvPr/>
        </p:nvSpPr>
        <p:spPr>
          <a:xfrm>
            <a:off x="4881427" y="3650087"/>
            <a:ext cx="137160" cy="137160"/>
          </a:xfrm>
          <a:prstGeom prst="ellipse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val 17"/>
          <p:cNvSpPr>
            <a:spLocks noChangeAspect="1"/>
          </p:cNvSpPr>
          <p:nvPr/>
        </p:nvSpPr>
        <p:spPr>
          <a:xfrm>
            <a:off x="3982327" y="3801397"/>
            <a:ext cx="137160" cy="137160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val 18"/>
          <p:cNvSpPr>
            <a:spLocks noChangeAspect="1"/>
          </p:cNvSpPr>
          <p:nvPr/>
        </p:nvSpPr>
        <p:spPr>
          <a:xfrm>
            <a:off x="4812846" y="4058566"/>
            <a:ext cx="137160" cy="137160"/>
          </a:xfrm>
          <a:prstGeom prst="ellipse">
            <a:avLst/>
          </a:prstGeom>
          <a:solidFill>
            <a:schemeClr val="accent3"/>
          </a:solidFill>
          <a:ln w="3175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val 19"/>
          <p:cNvSpPr>
            <a:spLocks noChangeAspect="1"/>
          </p:cNvSpPr>
          <p:nvPr/>
        </p:nvSpPr>
        <p:spPr>
          <a:xfrm>
            <a:off x="3950448" y="2982343"/>
            <a:ext cx="137160" cy="137160"/>
          </a:xfrm>
          <a:prstGeom prst="ellipse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val 20"/>
          <p:cNvSpPr>
            <a:spLocks noChangeAspect="1"/>
          </p:cNvSpPr>
          <p:nvPr/>
        </p:nvSpPr>
        <p:spPr>
          <a:xfrm>
            <a:off x="3493993" y="3856932"/>
            <a:ext cx="137160" cy="137160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val 21"/>
          <p:cNvSpPr>
            <a:spLocks noChangeAspect="1"/>
          </p:cNvSpPr>
          <p:nvPr/>
        </p:nvSpPr>
        <p:spPr>
          <a:xfrm>
            <a:off x="4526113" y="3678879"/>
            <a:ext cx="137160" cy="137160"/>
          </a:xfrm>
          <a:prstGeom prst="ellipse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val 22"/>
          <p:cNvSpPr>
            <a:spLocks noChangeAspect="1"/>
          </p:cNvSpPr>
          <p:nvPr/>
        </p:nvSpPr>
        <p:spPr>
          <a:xfrm>
            <a:off x="3913747" y="3398128"/>
            <a:ext cx="137160" cy="137160"/>
          </a:xfrm>
          <a:prstGeom prst="ellipse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>
          <a:xfrm>
            <a:off x="4132924" y="4236461"/>
            <a:ext cx="137160" cy="137160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4259226" y="3054312"/>
            <a:ext cx="137160" cy="137160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Oval 27"/>
          <p:cNvSpPr>
            <a:spLocks noChangeAspect="1"/>
          </p:cNvSpPr>
          <p:nvPr/>
        </p:nvSpPr>
        <p:spPr>
          <a:xfrm>
            <a:off x="3159491" y="3459480"/>
            <a:ext cx="274321" cy="274321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val 29"/>
          <p:cNvSpPr>
            <a:spLocks noChangeAspect="1"/>
          </p:cNvSpPr>
          <p:nvPr/>
        </p:nvSpPr>
        <p:spPr>
          <a:xfrm>
            <a:off x="2382251" y="2348869"/>
            <a:ext cx="137160" cy="137160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val 30"/>
          <p:cNvSpPr>
            <a:spLocks noChangeAspect="1"/>
          </p:cNvSpPr>
          <p:nvPr/>
        </p:nvSpPr>
        <p:spPr>
          <a:xfrm>
            <a:off x="2433165" y="3909619"/>
            <a:ext cx="274321" cy="274321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Oval 31"/>
          <p:cNvSpPr>
            <a:spLocks noChangeAspect="1"/>
          </p:cNvSpPr>
          <p:nvPr/>
        </p:nvSpPr>
        <p:spPr>
          <a:xfrm>
            <a:off x="2231531" y="2808100"/>
            <a:ext cx="403269" cy="403269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val 32"/>
          <p:cNvSpPr>
            <a:spLocks noChangeAspect="1"/>
          </p:cNvSpPr>
          <p:nvPr/>
        </p:nvSpPr>
        <p:spPr>
          <a:xfrm>
            <a:off x="1922572" y="2628446"/>
            <a:ext cx="187484" cy="187484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Oval 36"/>
          <p:cNvSpPr>
            <a:spLocks noChangeAspect="1"/>
          </p:cNvSpPr>
          <p:nvPr/>
        </p:nvSpPr>
        <p:spPr>
          <a:xfrm>
            <a:off x="1831389" y="3322847"/>
            <a:ext cx="274321" cy="274321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Oval 37"/>
          <p:cNvSpPr>
            <a:spLocks noChangeAspect="1"/>
          </p:cNvSpPr>
          <p:nvPr/>
        </p:nvSpPr>
        <p:spPr>
          <a:xfrm>
            <a:off x="2080541" y="4288819"/>
            <a:ext cx="366608" cy="366608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Oval 39"/>
          <p:cNvSpPr>
            <a:spLocks noChangeAspect="1"/>
          </p:cNvSpPr>
          <p:nvPr/>
        </p:nvSpPr>
        <p:spPr>
          <a:xfrm>
            <a:off x="1780094" y="4334964"/>
            <a:ext cx="137160" cy="137160"/>
          </a:xfrm>
          <a:prstGeom prst="ellipse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Oval 41"/>
          <p:cNvSpPr>
            <a:spLocks noChangeAspect="1"/>
          </p:cNvSpPr>
          <p:nvPr/>
        </p:nvSpPr>
        <p:spPr>
          <a:xfrm>
            <a:off x="2784037" y="4574240"/>
            <a:ext cx="274321" cy="274321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Oval 42"/>
          <p:cNvSpPr>
            <a:spLocks noChangeAspect="1"/>
          </p:cNvSpPr>
          <p:nvPr/>
        </p:nvSpPr>
        <p:spPr>
          <a:xfrm>
            <a:off x="1798350" y="4081648"/>
            <a:ext cx="187484" cy="18748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Oval 43"/>
          <p:cNvSpPr>
            <a:spLocks noChangeAspect="1"/>
          </p:cNvSpPr>
          <p:nvPr/>
        </p:nvSpPr>
        <p:spPr>
          <a:xfrm>
            <a:off x="2008693" y="4800601"/>
            <a:ext cx="274321" cy="274321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Oval 44"/>
          <p:cNvSpPr>
            <a:spLocks noChangeAspect="1"/>
          </p:cNvSpPr>
          <p:nvPr/>
        </p:nvSpPr>
        <p:spPr>
          <a:xfrm>
            <a:off x="1848674" y="5156731"/>
            <a:ext cx="137160" cy="137160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Oval 46"/>
          <p:cNvSpPr>
            <a:spLocks noChangeAspect="1"/>
          </p:cNvSpPr>
          <p:nvPr/>
        </p:nvSpPr>
        <p:spPr>
          <a:xfrm>
            <a:off x="6095914" y="3376577"/>
            <a:ext cx="333280" cy="33328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Oval 47"/>
          <p:cNvSpPr>
            <a:spLocks noChangeAspect="1"/>
          </p:cNvSpPr>
          <p:nvPr/>
        </p:nvSpPr>
        <p:spPr>
          <a:xfrm>
            <a:off x="6675327" y="3398553"/>
            <a:ext cx="187484" cy="18748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Oval 48"/>
          <p:cNvSpPr>
            <a:spLocks noChangeAspect="1"/>
          </p:cNvSpPr>
          <p:nvPr/>
        </p:nvSpPr>
        <p:spPr>
          <a:xfrm>
            <a:off x="6549512" y="3779873"/>
            <a:ext cx="226712" cy="226712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Oval 50"/>
          <p:cNvSpPr>
            <a:spLocks noChangeAspect="1"/>
          </p:cNvSpPr>
          <p:nvPr/>
        </p:nvSpPr>
        <p:spPr>
          <a:xfrm>
            <a:off x="5715538" y="3706838"/>
            <a:ext cx="403269" cy="403269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Oval 51"/>
          <p:cNvSpPr>
            <a:spLocks noChangeAspect="1"/>
          </p:cNvSpPr>
          <p:nvPr/>
        </p:nvSpPr>
        <p:spPr>
          <a:xfrm>
            <a:off x="5528053" y="3606112"/>
            <a:ext cx="187484" cy="187484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Oval 54"/>
          <p:cNvSpPr>
            <a:spLocks noChangeAspect="1"/>
          </p:cNvSpPr>
          <p:nvPr/>
        </p:nvSpPr>
        <p:spPr>
          <a:xfrm>
            <a:off x="5352329" y="3893230"/>
            <a:ext cx="274321" cy="274321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Oval 56"/>
          <p:cNvSpPr>
            <a:spLocks noChangeAspect="1"/>
          </p:cNvSpPr>
          <p:nvPr/>
        </p:nvSpPr>
        <p:spPr>
          <a:xfrm>
            <a:off x="5427966" y="3363437"/>
            <a:ext cx="187484" cy="18748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Oval 57"/>
          <p:cNvSpPr>
            <a:spLocks noChangeAspect="1"/>
          </p:cNvSpPr>
          <p:nvPr/>
        </p:nvSpPr>
        <p:spPr>
          <a:xfrm>
            <a:off x="5201731" y="3215962"/>
            <a:ext cx="137160" cy="137160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Oval 58"/>
          <p:cNvSpPr>
            <a:spLocks noChangeAspect="1"/>
          </p:cNvSpPr>
          <p:nvPr/>
        </p:nvSpPr>
        <p:spPr>
          <a:xfrm>
            <a:off x="5243281" y="3391426"/>
            <a:ext cx="137160" cy="137160"/>
          </a:xfrm>
          <a:prstGeom prst="ellipse">
            <a:avLst/>
          </a:prstGeom>
          <a:solidFill>
            <a:schemeClr val="accent3"/>
          </a:solidFill>
          <a:ln w="3175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Oval 59"/>
          <p:cNvSpPr>
            <a:spLocks noChangeAspect="1"/>
          </p:cNvSpPr>
          <p:nvPr/>
        </p:nvSpPr>
        <p:spPr>
          <a:xfrm>
            <a:off x="7520131" y="3492380"/>
            <a:ext cx="333280" cy="333280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Oval 60"/>
          <p:cNvSpPr>
            <a:spLocks noChangeAspect="1"/>
          </p:cNvSpPr>
          <p:nvPr/>
        </p:nvSpPr>
        <p:spPr>
          <a:xfrm>
            <a:off x="8176888" y="3487399"/>
            <a:ext cx="187484" cy="18748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Oval 61"/>
          <p:cNvSpPr>
            <a:spLocks noChangeAspect="1"/>
          </p:cNvSpPr>
          <p:nvPr/>
        </p:nvSpPr>
        <p:spPr>
          <a:xfrm>
            <a:off x="8417291" y="3658746"/>
            <a:ext cx="274321" cy="274321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Oval 63"/>
          <p:cNvSpPr>
            <a:spLocks noChangeAspect="1"/>
          </p:cNvSpPr>
          <p:nvPr/>
        </p:nvSpPr>
        <p:spPr>
          <a:xfrm>
            <a:off x="7223441" y="3721801"/>
            <a:ext cx="226712" cy="226712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Oval 65"/>
          <p:cNvSpPr>
            <a:spLocks noChangeAspect="1"/>
          </p:cNvSpPr>
          <p:nvPr/>
        </p:nvSpPr>
        <p:spPr>
          <a:xfrm>
            <a:off x="7930751" y="3482341"/>
            <a:ext cx="137160" cy="137160"/>
          </a:xfrm>
          <a:prstGeom prst="ellipse">
            <a:avLst/>
          </a:prstGeom>
          <a:solidFill>
            <a:schemeClr val="accent3"/>
          </a:solidFill>
          <a:ln w="3175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Oval 66"/>
          <p:cNvSpPr>
            <a:spLocks noChangeAspect="1"/>
          </p:cNvSpPr>
          <p:nvPr/>
        </p:nvSpPr>
        <p:spPr>
          <a:xfrm>
            <a:off x="7291937" y="3437814"/>
            <a:ext cx="187484" cy="18748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Oval 68"/>
          <p:cNvSpPr>
            <a:spLocks noChangeAspect="1"/>
          </p:cNvSpPr>
          <p:nvPr/>
        </p:nvSpPr>
        <p:spPr>
          <a:xfrm>
            <a:off x="6862811" y="3784532"/>
            <a:ext cx="187484" cy="187484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Oval 69"/>
          <p:cNvSpPr>
            <a:spLocks noChangeAspect="1"/>
          </p:cNvSpPr>
          <p:nvPr/>
        </p:nvSpPr>
        <p:spPr>
          <a:xfrm>
            <a:off x="9637753" y="3575049"/>
            <a:ext cx="273058" cy="273058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Oval 70"/>
          <p:cNvSpPr>
            <a:spLocks noChangeAspect="1"/>
          </p:cNvSpPr>
          <p:nvPr/>
        </p:nvSpPr>
        <p:spPr>
          <a:xfrm>
            <a:off x="8743799" y="3546378"/>
            <a:ext cx="330400" cy="330400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4" name="Group 73"/>
          <p:cNvGrpSpPr/>
          <p:nvPr/>
        </p:nvGrpSpPr>
        <p:grpSpPr>
          <a:xfrm>
            <a:off x="1688063" y="2147236"/>
            <a:ext cx="7828318" cy="2840849"/>
            <a:chOff x="1686475" y="2147235"/>
            <a:chExt cx="7828318" cy="2840849"/>
          </a:xfrm>
        </p:grpSpPr>
        <p:sp>
          <p:nvSpPr>
            <p:cNvPr id="3" name="Oval 2"/>
            <p:cNvSpPr>
              <a:spLocks noChangeAspect="1"/>
            </p:cNvSpPr>
            <p:nvPr/>
          </p:nvSpPr>
          <p:spPr>
            <a:xfrm>
              <a:off x="1827212" y="2147235"/>
              <a:ext cx="403269" cy="403269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Oval 6"/>
            <p:cNvSpPr>
              <a:spLocks noChangeAspect="1"/>
            </p:cNvSpPr>
            <p:nvPr/>
          </p:nvSpPr>
          <p:spPr>
            <a:xfrm>
              <a:off x="2939939" y="3741416"/>
              <a:ext cx="187484" cy="187484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Oval 11"/>
            <p:cNvSpPr>
              <a:spLocks noChangeAspect="1"/>
            </p:cNvSpPr>
            <p:nvPr/>
          </p:nvSpPr>
          <p:spPr>
            <a:xfrm>
              <a:off x="4297610" y="3900857"/>
              <a:ext cx="333280" cy="33328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Oval 13"/>
            <p:cNvSpPr>
              <a:spLocks noChangeAspect="1"/>
            </p:cNvSpPr>
            <p:nvPr/>
          </p:nvSpPr>
          <p:spPr>
            <a:xfrm>
              <a:off x="3584789" y="3442988"/>
              <a:ext cx="226712" cy="226712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val 15"/>
            <p:cNvSpPr>
              <a:spLocks noChangeAspect="1"/>
            </p:cNvSpPr>
            <p:nvPr/>
          </p:nvSpPr>
          <p:spPr>
            <a:xfrm>
              <a:off x="3526992" y="4455609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Oval 24"/>
            <p:cNvSpPr>
              <a:spLocks noChangeAspect="1"/>
            </p:cNvSpPr>
            <p:nvPr/>
          </p:nvSpPr>
          <p:spPr>
            <a:xfrm>
              <a:off x="4533122" y="3103958"/>
              <a:ext cx="226712" cy="226712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Oval 26"/>
            <p:cNvSpPr>
              <a:spLocks noChangeAspect="1"/>
            </p:cNvSpPr>
            <p:nvPr/>
          </p:nvSpPr>
          <p:spPr>
            <a:xfrm>
              <a:off x="1962154" y="3657600"/>
              <a:ext cx="403269" cy="403269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758493" y="3175540"/>
              <a:ext cx="274321" cy="274321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Oval 33"/>
            <p:cNvSpPr>
              <a:spLocks noChangeAspect="1"/>
            </p:cNvSpPr>
            <p:nvPr/>
          </p:nvSpPr>
          <p:spPr>
            <a:xfrm>
              <a:off x="1755823" y="2942993"/>
              <a:ext cx="274321" cy="274321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3154733" y="2722188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Oval 35"/>
            <p:cNvSpPr>
              <a:spLocks noChangeAspect="1"/>
            </p:cNvSpPr>
            <p:nvPr/>
          </p:nvSpPr>
          <p:spPr>
            <a:xfrm>
              <a:off x="2441623" y="2606040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Oval 38"/>
            <p:cNvSpPr>
              <a:spLocks noChangeAspect="1"/>
            </p:cNvSpPr>
            <p:nvPr/>
          </p:nvSpPr>
          <p:spPr>
            <a:xfrm>
              <a:off x="2439240" y="4800600"/>
              <a:ext cx="187484" cy="187484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Oval 40"/>
            <p:cNvSpPr>
              <a:spLocks noChangeAspect="1"/>
            </p:cNvSpPr>
            <p:nvPr/>
          </p:nvSpPr>
          <p:spPr>
            <a:xfrm>
              <a:off x="2609904" y="4249401"/>
              <a:ext cx="274321" cy="274321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Oval 45"/>
            <p:cNvSpPr>
              <a:spLocks noChangeAspect="1"/>
            </p:cNvSpPr>
            <p:nvPr/>
          </p:nvSpPr>
          <p:spPr>
            <a:xfrm>
              <a:off x="1686475" y="4684290"/>
              <a:ext cx="274321" cy="274321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6188280" y="3794759"/>
              <a:ext cx="274321" cy="274321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5737753" y="3359782"/>
              <a:ext cx="226712" cy="226712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6496847" y="3581141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Oval 55"/>
            <p:cNvSpPr>
              <a:spLocks noChangeAspect="1"/>
            </p:cNvSpPr>
            <p:nvPr/>
          </p:nvSpPr>
          <p:spPr>
            <a:xfrm>
              <a:off x="5196917" y="3613909"/>
              <a:ext cx="226712" cy="226712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Oval 62"/>
            <p:cNvSpPr>
              <a:spLocks noChangeAspect="1"/>
            </p:cNvSpPr>
            <p:nvPr/>
          </p:nvSpPr>
          <p:spPr>
            <a:xfrm>
              <a:off x="7958502" y="3688079"/>
              <a:ext cx="274321" cy="274321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Oval 64"/>
            <p:cNvSpPr>
              <a:spLocks noChangeAspect="1"/>
            </p:cNvSpPr>
            <p:nvPr/>
          </p:nvSpPr>
          <p:spPr>
            <a:xfrm>
              <a:off x="8406202" y="3494065"/>
              <a:ext cx="137160" cy="13716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Oval 67"/>
            <p:cNvSpPr>
              <a:spLocks noChangeAspect="1"/>
            </p:cNvSpPr>
            <p:nvPr/>
          </p:nvSpPr>
          <p:spPr>
            <a:xfrm>
              <a:off x="6923728" y="3400562"/>
              <a:ext cx="274321" cy="274321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Oval 71"/>
            <p:cNvSpPr>
              <a:spLocks noChangeAspect="1"/>
            </p:cNvSpPr>
            <p:nvPr/>
          </p:nvSpPr>
          <p:spPr>
            <a:xfrm>
              <a:off x="9214429" y="3561396"/>
              <a:ext cx="300364" cy="300364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3" name="Oval 72"/>
          <p:cNvSpPr>
            <a:spLocks noChangeAspect="1"/>
          </p:cNvSpPr>
          <p:nvPr/>
        </p:nvSpPr>
        <p:spPr>
          <a:xfrm>
            <a:off x="5043599" y="3893890"/>
            <a:ext cx="226712" cy="226712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985834" y="1315614"/>
            <a:ext cx="1816010" cy="66573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3923128" y="1330645"/>
            <a:ext cx="1749637" cy="66573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Plann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8303681" y="1271857"/>
            <a:ext cx="1727538" cy="66573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 Code Process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0035890" y="1315614"/>
            <a:ext cx="2154522" cy="66573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ordination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1746563" y="5561388"/>
            <a:ext cx="1816010" cy="112112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68275" marR="0" lvl="0" indent="-168275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accurate forecasting due to limited data.</a:t>
            </a:r>
          </a:p>
          <a:p>
            <a:pPr marL="168275" marR="0" lvl="0" indent="-168275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Lack of advanced analytical tools.(E.g. Multivariate Analysis)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6043776" y="4269306"/>
            <a:ext cx="1816010" cy="112112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68275" marR="0" lvl="0" indent="-168275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efficient product in and out process.</a:t>
            </a:r>
          </a:p>
          <a:p>
            <a:pPr marL="168275" marR="0" lvl="0" indent="-168275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Inadequate product lifecycle policy implementation.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7958998" y="4252088"/>
            <a:ext cx="2308869" cy="112112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342900" marR="0" lvl="0" indent="-34290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Incorrect SAP code processing due to manual errors.</a:t>
            </a:r>
          </a:p>
          <a:p>
            <a:pPr marL="342900" marR="0" lvl="0" indent="-34290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Lack of standardized category code-driven processes.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7" name="Right Arrow 96"/>
          <p:cNvSpPr/>
          <p:nvPr/>
        </p:nvSpPr>
        <p:spPr>
          <a:xfrm>
            <a:off x="190327" y="3037419"/>
            <a:ext cx="1507402" cy="1282920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Right Arrow 97"/>
          <p:cNvSpPr/>
          <p:nvPr/>
        </p:nvSpPr>
        <p:spPr>
          <a:xfrm>
            <a:off x="10343444" y="3037419"/>
            <a:ext cx="1507402" cy="1282920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C952B16-499C-6A21-7822-371BF307AF8A}"/>
              </a:ext>
            </a:extLst>
          </p:cNvPr>
          <p:cNvSpPr txBox="1"/>
          <p:nvPr/>
        </p:nvSpPr>
        <p:spPr>
          <a:xfrm>
            <a:off x="6112920" y="1321318"/>
            <a:ext cx="1816010" cy="66573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Managemen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18159D3-C7DD-B6DF-E73C-999A43588A64}"/>
              </a:ext>
            </a:extLst>
          </p:cNvPr>
          <p:cNvSpPr txBox="1"/>
          <p:nvPr/>
        </p:nvSpPr>
        <p:spPr>
          <a:xfrm>
            <a:off x="3904840" y="4812652"/>
            <a:ext cx="2138935" cy="112112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68275" marR="0" lvl="0" indent="-168275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Unplanned/ Not required production leading to excess inventory.</a:t>
            </a:r>
          </a:p>
          <a:p>
            <a:pPr marL="168275" marR="0" lvl="0" indent="-168275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Misalignment with product life cycle stages.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D79FD2D-50E7-B4CA-21B2-CE20E82C9387}"/>
              </a:ext>
            </a:extLst>
          </p:cNvPr>
          <p:cNvSpPr txBox="1"/>
          <p:nvPr/>
        </p:nvSpPr>
        <p:spPr>
          <a:xfrm>
            <a:off x="10233047" y="4269132"/>
            <a:ext cx="1816010" cy="112112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68275" marR="0" lvl="0" indent="-168275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sues due to lack of integrated tools.</a:t>
            </a:r>
          </a:p>
          <a:p>
            <a:pPr marL="168275" marR="0" lvl="0" indent="-168275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nsufficient use of D-Chain technology for coordination.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9834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000"/>
                            </p:stCondLst>
                            <p:childTnLst>
                              <p:par>
                                <p:cTn id="4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000"/>
                            </p:stCondLst>
                            <p:childTnLst>
                              <p:par>
                                <p:cTn id="53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9000"/>
                            </p:stCondLst>
                            <p:childTnLst>
                              <p:par>
                                <p:cTn id="5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0000"/>
                            </p:stCondLst>
                            <p:childTnLst>
                              <p:par>
                                <p:cTn id="6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1000"/>
                            </p:stCondLst>
                            <p:childTnLst>
                              <p:par>
                                <p:cTn id="7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2000"/>
                            </p:stCondLst>
                            <p:childTnLst>
                              <p:par>
                                <p:cTn id="7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3000"/>
                            </p:stCondLst>
                            <p:childTnLst>
                              <p:par>
                                <p:cTn id="83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4000"/>
                            </p:stCondLst>
                            <p:childTnLst>
                              <p:par>
                                <p:cTn id="8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5000"/>
                            </p:stCondLst>
                            <p:childTnLst>
                              <p:par>
                                <p:cTn id="9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6000"/>
                            </p:stCondLst>
                            <p:childTnLst>
                              <p:par>
                                <p:cTn id="10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7000"/>
                            </p:stCondLst>
                            <p:childTnLst>
                              <p:par>
                                <p:cTn id="10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8000"/>
                            </p:stCondLst>
                            <p:childTnLst>
                              <p:par>
                                <p:cTn id="113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9000"/>
                            </p:stCondLst>
                            <p:childTnLst>
                              <p:par>
                                <p:cTn id="11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20000"/>
                            </p:stCondLst>
                            <p:childTnLst>
                              <p:par>
                                <p:cTn id="12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21000"/>
                            </p:stCondLst>
                            <p:childTnLst>
                              <p:par>
                                <p:cTn id="13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22000"/>
                            </p:stCondLst>
                            <p:childTnLst>
                              <p:par>
                                <p:cTn id="13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23000"/>
                            </p:stCondLst>
                            <p:childTnLst>
                              <p:par>
                                <p:cTn id="143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24000"/>
                            </p:stCondLst>
                            <p:childTnLst>
                              <p:par>
                                <p:cTn id="14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25000"/>
                            </p:stCondLst>
                            <p:childTnLst>
                              <p:par>
                                <p:cTn id="15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26000"/>
                            </p:stCondLst>
                            <p:childTnLst>
                              <p:par>
                                <p:cTn id="16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6" fill="hold">
                            <p:stCondLst>
                              <p:cond delay="27000"/>
                            </p:stCondLst>
                            <p:childTnLst>
                              <p:par>
                                <p:cTn id="16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0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28000"/>
                            </p:stCondLst>
                            <p:childTnLst>
                              <p:par>
                                <p:cTn id="173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6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8" fill="hold">
                            <p:stCondLst>
                              <p:cond delay="29000"/>
                            </p:stCondLst>
                            <p:childTnLst>
                              <p:par>
                                <p:cTn id="17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2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30000"/>
                            </p:stCondLst>
                            <p:childTnLst>
                              <p:par>
                                <p:cTn id="18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31000"/>
                            </p:stCondLst>
                            <p:childTnLst>
                              <p:par>
                                <p:cTn id="19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3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32000"/>
                            </p:stCondLst>
                            <p:childTnLst>
                              <p:par>
                                <p:cTn id="19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1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2" fill="hold">
                            <p:stCondLst>
                              <p:cond delay="33000"/>
                            </p:stCondLst>
                            <p:childTnLst>
                              <p:par>
                                <p:cTn id="203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6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7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34000"/>
                            </p:stCondLst>
                            <p:childTnLst>
                              <p:par>
                                <p:cTn id="20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1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>
                            <p:stCondLst>
                              <p:cond delay="35000"/>
                            </p:stCondLst>
                            <p:childTnLst>
                              <p:par>
                                <p:cTn id="21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36000"/>
                            </p:stCondLst>
                            <p:childTnLst>
                              <p:par>
                                <p:cTn id="22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4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5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6" fill="hold">
                            <p:stCondLst>
                              <p:cond delay="37000"/>
                            </p:stCondLst>
                            <p:childTnLst>
                              <p:par>
                                <p:cTn id="22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9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0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2" fill="hold">
                            <p:stCondLst>
                              <p:cond delay="38000"/>
                            </p:stCondLst>
                            <p:childTnLst>
                              <p:par>
                                <p:cTn id="233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5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6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7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8" fill="hold">
                            <p:stCondLst>
                              <p:cond delay="39000"/>
                            </p:stCondLst>
                            <p:childTnLst>
                              <p:par>
                                <p:cTn id="23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1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2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3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4" fill="hold">
                            <p:stCondLst>
                              <p:cond delay="40000"/>
                            </p:stCondLst>
                            <p:childTnLst>
                              <p:par>
                                <p:cTn id="24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7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8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9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0" fill="hold">
                            <p:stCondLst>
                              <p:cond delay="41000"/>
                            </p:stCondLst>
                            <p:childTnLst>
                              <p:par>
                                <p:cTn id="25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3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4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5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6" fill="hold">
                            <p:stCondLst>
                              <p:cond delay="42000"/>
                            </p:stCondLst>
                            <p:childTnLst>
                              <p:par>
                                <p:cTn id="257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9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0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1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2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4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5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6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7" fill="hold">
                            <p:stCondLst>
                              <p:cond delay="43000"/>
                            </p:stCondLst>
                            <p:childTnLst>
                              <p:par>
                                <p:cTn id="268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0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1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2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3" fill="hold">
                            <p:stCondLst>
                              <p:cond delay="44000"/>
                            </p:stCondLst>
                            <p:childTnLst>
                              <p:par>
                                <p:cTn id="274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6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7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8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9" fill="hold">
                            <p:stCondLst>
                              <p:cond delay="45000"/>
                            </p:stCondLst>
                            <p:childTnLst>
                              <p:par>
                                <p:cTn id="280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2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4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6" dur="1000" tmFilter="0, 0; .2, .5; .8, .5; 1, 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7" dur="500" autoRev="1" fill="hold"/>
                                        <p:tgtEl>
                                          <p:spTgt spid="7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3" grpId="0" animBg="1"/>
      <p:bldP spid="15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6" grpId="0" animBg="1"/>
      <p:bldP spid="28" grpId="0" animBg="1"/>
      <p:bldP spid="30" grpId="0" animBg="1"/>
      <p:bldP spid="31" grpId="0" animBg="1"/>
      <p:bldP spid="32" grpId="0" animBg="1"/>
      <p:bldP spid="33" grpId="0" animBg="1"/>
      <p:bldP spid="37" grpId="0" animBg="1"/>
      <p:bldP spid="38" grpId="0" animBg="1"/>
      <p:bldP spid="40" grpId="0" animBg="1"/>
      <p:bldP spid="42" grpId="0" animBg="1"/>
      <p:bldP spid="43" grpId="0" animBg="1"/>
      <p:bldP spid="47" grpId="0" animBg="1"/>
      <p:bldP spid="48" grpId="0" animBg="1"/>
      <p:bldP spid="49" grpId="0" animBg="1"/>
      <p:bldP spid="51" grpId="0" animBg="1"/>
      <p:bldP spid="52" grpId="0" animBg="1"/>
      <p:bldP spid="55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4" grpId="0" animBg="1"/>
      <p:bldP spid="66" grpId="0" animBg="1"/>
      <p:bldP spid="67" grpId="0" animBg="1"/>
      <p:bldP spid="69" grpId="0" animBg="1"/>
      <p:bldP spid="70" grpId="0" animBg="1"/>
      <p:bldP spid="71" grpId="0" animBg="1"/>
      <p:bldP spid="7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58F25E8-A9D8-26D0-4726-B9F566BE4E47}"/>
              </a:ext>
            </a:extLst>
          </p:cNvPr>
          <p:cNvSpPr txBox="1"/>
          <p:nvPr/>
        </p:nvSpPr>
        <p:spPr>
          <a:xfrm>
            <a:off x="2307879" y="4705049"/>
            <a:ext cx="7812652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BC Classification Rules: (Note: Sales column are volume of SKU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tegory A (High Value SKUs): Top 70 - 80% of cumulative sa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tegory B (Moderate Value SKUs): Next 15 -20% of cumulative sa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tegory C (Low-Value SKUs): Bottom 5 – 10% of cumulative sales.</a:t>
            </a:r>
          </a:p>
        </p:txBody>
      </p:sp>
      <p:sp>
        <p:nvSpPr>
          <p:cNvPr id="7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ABC Analysis for SKU Classification (Cont.)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EBEF5B-9321-BCEE-A02D-0A00A72757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701" y="1305847"/>
            <a:ext cx="11440598" cy="3000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3861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Failure Mode &amp; Effect Analysis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3E14CA7-88EB-6F8E-C891-E8D3B9B015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194974"/>
              </p:ext>
            </p:extLst>
          </p:nvPr>
        </p:nvGraphicFramePr>
        <p:xfrm>
          <a:off x="550605" y="1373386"/>
          <a:ext cx="11176543" cy="4477521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1303222">
                  <a:extLst>
                    <a:ext uri="{9D8B030D-6E8A-4147-A177-3AD203B41FA5}">
                      <a16:colId xmlns:a16="http://schemas.microsoft.com/office/drawing/2014/main" val="1395282201"/>
                    </a:ext>
                  </a:extLst>
                </a:gridCol>
                <a:gridCol w="1459041">
                  <a:extLst>
                    <a:ext uri="{9D8B030D-6E8A-4147-A177-3AD203B41FA5}">
                      <a16:colId xmlns:a16="http://schemas.microsoft.com/office/drawing/2014/main" val="32270525"/>
                    </a:ext>
                  </a:extLst>
                </a:gridCol>
                <a:gridCol w="893017">
                  <a:extLst>
                    <a:ext uri="{9D8B030D-6E8A-4147-A177-3AD203B41FA5}">
                      <a16:colId xmlns:a16="http://schemas.microsoft.com/office/drawing/2014/main" val="2521361246"/>
                    </a:ext>
                  </a:extLst>
                </a:gridCol>
                <a:gridCol w="877664">
                  <a:extLst>
                    <a:ext uri="{9D8B030D-6E8A-4147-A177-3AD203B41FA5}">
                      <a16:colId xmlns:a16="http://schemas.microsoft.com/office/drawing/2014/main" val="3260861817"/>
                    </a:ext>
                  </a:extLst>
                </a:gridCol>
                <a:gridCol w="991581">
                  <a:extLst>
                    <a:ext uri="{9D8B030D-6E8A-4147-A177-3AD203B41FA5}">
                      <a16:colId xmlns:a16="http://schemas.microsoft.com/office/drawing/2014/main" val="1359036116"/>
                    </a:ext>
                  </a:extLst>
                </a:gridCol>
                <a:gridCol w="1049595">
                  <a:extLst>
                    <a:ext uri="{9D8B030D-6E8A-4147-A177-3AD203B41FA5}">
                      <a16:colId xmlns:a16="http://schemas.microsoft.com/office/drawing/2014/main" val="645180572"/>
                    </a:ext>
                  </a:extLst>
                </a:gridCol>
                <a:gridCol w="1202712">
                  <a:extLst>
                    <a:ext uri="{9D8B030D-6E8A-4147-A177-3AD203B41FA5}">
                      <a16:colId xmlns:a16="http://schemas.microsoft.com/office/drawing/2014/main" val="4154010137"/>
                    </a:ext>
                  </a:extLst>
                </a:gridCol>
                <a:gridCol w="1048244">
                  <a:extLst>
                    <a:ext uri="{9D8B030D-6E8A-4147-A177-3AD203B41FA5}">
                      <a16:colId xmlns:a16="http://schemas.microsoft.com/office/drawing/2014/main" val="1182481063"/>
                    </a:ext>
                  </a:extLst>
                </a:gridCol>
                <a:gridCol w="467461">
                  <a:extLst>
                    <a:ext uri="{9D8B030D-6E8A-4147-A177-3AD203B41FA5}">
                      <a16:colId xmlns:a16="http://schemas.microsoft.com/office/drawing/2014/main" val="1394510876"/>
                    </a:ext>
                  </a:extLst>
                </a:gridCol>
                <a:gridCol w="1884006">
                  <a:extLst>
                    <a:ext uri="{9D8B030D-6E8A-4147-A177-3AD203B41FA5}">
                      <a16:colId xmlns:a16="http://schemas.microsoft.com/office/drawing/2014/main" val="2733814597"/>
                    </a:ext>
                  </a:extLst>
                </a:gridCol>
              </a:tblGrid>
              <a:tr h="901547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5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cess </a:t>
                      </a:r>
                    </a:p>
                    <a:p>
                      <a:pPr algn="ctr" latinLnBrk="1"/>
                      <a:r>
                        <a:rPr lang="en-IN" sz="15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ep</a:t>
                      </a:r>
                    </a:p>
                  </a:txBody>
                  <a:tcPr marL="13222" marR="13222" marT="6319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tential </a:t>
                      </a:r>
                    </a:p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ailure</a:t>
                      </a:r>
                    </a:p>
                  </a:txBody>
                  <a:tcPr marL="13222" marR="13222" marT="6319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tential</a:t>
                      </a:r>
                      <a:r>
                        <a:rPr lang="en-IN" sz="15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ailure </a:t>
                      </a:r>
                    </a:p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ffect</a:t>
                      </a:r>
                    </a:p>
                  </a:txBody>
                  <a:tcPr marL="13222" marR="13222" marT="6319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verity</a:t>
                      </a:r>
                      <a:r>
                        <a:rPr lang="en-IN" sz="15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latinLnBrk="1"/>
                      <a:r>
                        <a:rPr lang="en-IN" sz="15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S)</a:t>
                      </a:r>
                    </a:p>
                  </a:txBody>
                  <a:tcPr marL="13222" marR="13222" marT="6319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tential </a:t>
                      </a:r>
                    </a:p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ause</a:t>
                      </a:r>
                    </a:p>
                  </a:txBody>
                  <a:tcPr marL="13222" marR="13222" marT="6319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0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ccurrences</a:t>
                      </a:r>
                      <a:r>
                        <a:rPr lang="en-IN" sz="15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latinLnBrk="1"/>
                      <a:r>
                        <a:rPr lang="en-IN" sz="15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O)</a:t>
                      </a:r>
                    </a:p>
                  </a:txBody>
                  <a:tcPr marL="13222" marR="13222" marT="6319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urrent </a:t>
                      </a:r>
                    </a:p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ntrol</a:t>
                      </a:r>
                    </a:p>
                  </a:txBody>
                  <a:tcPr marL="13222" marR="13222" marT="6319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tection</a:t>
                      </a:r>
                    </a:p>
                    <a:p>
                      <a:pPr algn="ctr" latinLnBrk="1"/>
                      <a:r>
                        <a:rPr lang="en-IN" sz="15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D)</a:t>
                      </a:r>
                    </a:p>
                  </a:txBody>
                  <a:tcPr marL="13222" marR="13222" marT="6319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2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RPN)</a:t>
                      </a:r>
                    </a:p>
                  </a:txBody>
                  <a:tcPr marL="13222" marR="13222" marT="6319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5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</a:p>
                    <a:p>
                      <a:pPr algn="ctr" latinLnBrk="1"/>
                      <a:r>
                        <a:rPr lang="en-IN" sz="1500" b="1" cap="all" spc="6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Action</a:t>
                      </a:r>
                    </a:p>
                  </a:txBody>
                  <a:tcPr marL="13222" marR="13222" marT="6319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780148"/>
                  </a:ext>
                </a:extLst>
              </a:tr>
              <a:tr h="709894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b="1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mand Forecasting</a:t>
                      </a:r>
                      <a:endParaRPr lang="en-IN" sz="11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accurate demand </a:t>
                      </a:r>
                    </a:p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diction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verstocking or stockout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sufficient data 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r outdated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model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nual adjustment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80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mplement advanced forecasting 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ools (e.g., AI/ML)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151799"/>
                  </a:ext>
                </a:extLst>
              </a:tr>
              <a:tr h="709894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b="1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duction Planning</a:t>
                      </a:r>
                      <a:endParaRPr lang="en-IN" sz="11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nplanned/Not Required </a:t>
                      </a:r>
                    </a:p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duction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cess inventory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isalignment 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ith product life  cycle stage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iodic review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8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lign production with product life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ycle (D-Chain)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6415033"/>
                  </a:ext>
                </a:extLst>
              </a:tr>
              <a:tr h="709894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b="1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duct Management</a:t>
                      </a:r>
                      <a:endParaRPr lang="en-IN" sz="11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efficient product in and 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ut processe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cess stock of 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w-moving 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KU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adequate 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duct life cycle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olicy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nual audit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10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stablish a robust product life 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ycle policy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5202839"/>
                  </a:ext>
                </a:extLst>
              </a:tr>
              <a:tr h="709894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b="1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AP Code Processing</a:t>
                      </a:r>
                      <a:endParaRPr lang="en-IN" sz="11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correct SAP Code</a:t>
                      </a:r>
                    </a:p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rocessing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KU</a:t>
                      </a:r>
                    </a:p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isclassification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nual error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nual reconciliation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0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mplement category code-driven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business processe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906410"/>
                  </a:ext>
                </a:extLst>
              </a:tr>
              <a:tr h="709894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b="1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ordination</a:t>
                      </a:r>
                      <a:endParaRPr lang="en-IN" sz="11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ordination issue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duced</a:t>
                      </a:r>
                    </a:p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operational </a:t>
                      </a:r>
                    </a:p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fficiency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ack of integrated tools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nual monitoring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0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verage D-Chain technology for</a:t>
                      </a:r>
                    </a:p>
                    <a:p>
                      <a:pPr algn="ctr" latinLnBrk="1"/>
                      <a:r>
                        <a:rPr lang="en-US" sz="1100" cap="none" spc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improved coordination</a:t>
                      </a:r>
                    </a:p>
                  </a:txBody>
                  <a:tcPr marL="13222" marR="13222" marT="2644" marB="63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488417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6BFB21F3-B592-4C61-D6B8-1C2973EF0483}"/>
              </a:ext>
            </a:extLst>
          </p:cNvPr>
          <p:cNvSpPr txBox="1"/>
          <p:nvPr/>
        </p:nvSpPr>
        <p:spPr>
          <a:xfrm>
            <a:off x="8649168" y="1004054"/>
            <a:ext cx="30779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Risk Priority Number = RPN</a:t>
            </a:r>
          </a:p>
        </p:txBody>
      </p:sp>
    </p:spTree>
    <p:extLst>
      <p:ext uri="{BB962C8B-B14F-4D97-AF65-F5344CB8AC3E}">
        <p14:creationId xmlns:p14="http://schemas.microsoft.com/office/powerpoint/2010/main" val="41441852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Action Plan – Step 1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342506"/>
              </p:ext>
            </p:extLst>
          </p:nvPr>
        </p:nvGraphicFramePr>
        <p:xfrm>
          <a:off x="589935" y="1194315"/>
          <a:ext cx="11130117" cy="4567854"/>
        </p:xfrm>
        <a:graphic>
          <a:graphicData uri="http://schemas.openxmlformats.org/drawingml/2006/table">
            <a:tbl>
              <a:tblPr/>
              <a:tblGrid>
                <a:gridCol w="822702">
                  <a:extLst>
                    <a:ext uri="{9D8B030D-6E8A-4147-A177-3AD203B41FA5}">
                      <a16:colId xmlns:a16="http://schemas.microsoft.com/office/drawing/2014/main" val="3777078664"/>
                    </a:ext>
                  </a:extLst>
                </a:gridCol>
                <a:gridCol w="1839296">
                  <a:extLst>
                    <a:ext uri="{9D8B030D-6E8A-4147-A177-3AD203B41FA5}">
                      <a16:colId xmlns:a16="http://schemas.microsoft.com/office/drawing/2014/main" val="2912372817"/>
                    </a:ext>
                  </a:extLst>
                </a:gridCol>
                <a:gridCol w="1952699">
                  <a:extLst>
                    <a:ext uri="{9D8B030D-6E8A-4147-A177-3AD203B41FA5}">
                      <a16:colId xmlns:a16="http://schemas.microsoft.com/office/drawing/2014/main" val="2916814617"/>
                    </a:ext>
                  </a:extLst>
                </a:gridCol>
                <a:gridCol w="2241154">
                  <a:extLst>
                    <a:ext uri="{9D8B030D-6E8A-4147-A177-3AD203B41FA5}">
                      <a16:colId xmlns:a16="http://schemas.microsoft.com/office/drawing/2014/main" val="1059493125"/>
                    </a:ext>
                  </a:extLst>
                </a:gridCol>
                <a:gridCol w="1503559">
                  <a:extLst>
                    <a:ext uri="{9D8B030D-6E8A-4147-A177-3AD203B41FA5}">
                      <a16:colId xmlns:a16="http://schemas.microsoft.com/office/drawing/2014/main" val="104619724"/>
                    </a:ext>
                  </a:extLst>
                </a:gridCol>
                <a:gridCol w="1563372">
                  <a:extLst>
                    <a:ext uri="{9D8B030D-6E8A-4147-A177-3AD203B41FA5}">
                      <a16:colId xmlns:a16="http://schemas.microsoft.com/office/drawing/2014/main" val="2116961480"/>
                    </a:ext>
                  </a:extLst>
                </a:gridCol>
                <a:gridCol w="1207335">
                  <a:extLst>
                    <a:ext uri="{9D8B030D-6E8A-4147-A177-3AD203B41FA5}">
                      <a16:colId xmlns:a16="http://schemas.microsoft.com/office/drawing/2014/main" val="3851145494"/>
                    </a:ext>
                  </a:extLst>
                </a:gridCol>
              </a:tblGrid>
              <a:tr h="64394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. No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uti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ility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rget D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8041549"/>
                  </a:ext>
                </a:extLst>
              </a:tr>
              <a:tr h="73826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oduction without deman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dirty="0">
                          <a:solidFill>
                            <a:srgbClr val="242424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mplement D-Chain for better coordination</a:t>
                      </a:r>
                      <a:endParaRPr lang="en-IN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uces overproduction , improves inventory management and optimize resources.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 team/ IT Team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30/05/20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cussion on progres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4353467"/>
                  </a:ext>
                </a:extLst>
              </a:tr>
              <a:tr h="73826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ack of product lifecycle SOP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mplementation</a:t>
                      </a:r>
                      <a:r>
                        <a:rPr kumimoji="0" lang="en-US" sz="1200" b="0" i="0" u="none" strike="noStrike" kern="1200" cap="none" spc="0" normalizeH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of proper product in and out SOP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Ensures better product tracking, reduces waste and enhances operational efficiency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 team </a:t>
                      </a: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30/04/20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Progress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571769"/>
                  </a:ext>
                </a:extLst>
              </a:tr>
              <a:tr h="146641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Deviations on sales pla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nfusion </a:t>
                      </a:r>
                      <a:r>
                        <a:rPr lang="en-US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 CAT code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or product to be solved through </a:t>
                      </a:r>
                      <a:r>
                        <a:rPr lang="en-US" sz="1200" b="0" noProof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en-US" sz="12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plementation</a:t>
                      </a:r>
                      <a:r>
                        <a:rPr lang="en-US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of standardized</a:t>
                      </a:r>
                      <a:r>
                        <a:rPr lang="en-US" sz="1200" b="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T code-driven business processes</a:t>
                      </a: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roves sales data accuracy, reduces miscommunication and streamlines product categorization.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es team/ Product team/ IT tea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30/04/20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Progress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638181"/>
                  </a:ext>
                </a:extLst>
              </a:tr>
              <a:tr h="98097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accurate univariate forecast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se of Multi-variate</a:t>
                      </a:r>
                      <a:r>
                        <a:rPr kumimoji="0" lang="en-US" sz="1200" b="0" i="0" u="none" strike="noStrike" kern="1200" cap="none" spc="0" normalizeH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analysis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hances forecasting accuracy, improves demand planning and optimizes stock levels.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planning team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Y input and commercial negotiation in progress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47458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4999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6853738"/>
              </p:ext>
            </p:extLst>
          </p:nvPr>
        </p:nvGraphicFramePr>
        <p:xfrm>
          <a:off x="64911" y="975114"/>
          <a:ext cx="12089766" cy="5793713"/>
        </p:xfrm>
        <a:graphic>
          <a:graphicData uri="http://schemas.openxmlformats.org/drawingml/2006/table">
            <a:tbl>
              <a:tblPr/>
              <a:tblGrid>
                <a:gridCol w="1881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764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154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92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92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399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163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61869">
                  <a:extLst>
                    <a:ext uri="{9D8B030D-6E8A-4147-A177-3AD203B41FA5}">
                      <a16:colId xmlns:a16="http://schemas.microsoft.com/office/drawing/2014/main" val="37599514"/>
                    </a:ext>
                  </a:extLst>
                </a:gridCol>
              </a:tblGrid>
              <a:tr h="534450">
                <a:tc>
                  <a:txBody>
                    <a:bodyPr/>
                    <a:lstStyle/>
                    <a:p>
                      <a:pPr algn="l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Project Title / Code Name: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Reduction in Inventory of SW &amp; Faucets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Project ID: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Process Owner: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Project Sponsor: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151">
                <a:tc gridSpan="2">
                  <a:txBody>
                    <a:bodyPr/>
                    <a:lstStyle/>
                    <a:p>
                      <a:pPr algn="l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Business Case: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100" b="1" i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Mr. Gaurav Srivastava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Mr. Sanjay Gaur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IN"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898">
                <a:tc rowSpan="4" gridSpan="2">
                  <a:txBody>
                    <a:bodyPr/>
                    <a:lstStyle/>
                    <a:p>
                      <a:pPr algn="l" fontAlgn="t"/>
                      <a:r>
                        <a:rPr lang="en-IN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Excessive inventory of SW &amp; Faucet is leading to increased carrying cost, blocking working capital, space constraints, wastage &amp; cash flow inefficiencies.</a:t>
                      </a:r>
                    </a:p>
                  </a:txBody>
                  <a:tcPr marL="7937" marR="7937" marT="7937" marB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rowSpan="4"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sz="1100" b="1" i="0" dirty="0" err="1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Ananualized</a:t>
                      </a:r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 Financial Impact / Benefit: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1490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en-IN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Carrying Cost saving of 9.8 Cr. / Annum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IN" sz="1100" b="1" i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898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Goal Statement: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Project Scope: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5" gridSpan="2">
                  <a:txBody>
                    <a:bodyPr/>
                    <a:lstStyle/>
                    <a:p>
                      <a:pPr algn="l" fontAlgn="t"/>
                      <a:r>
                        <a:rPr lang="en-IN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Inventory reduction for SW &amp; Faucet by 30% (from 343 Cr. to 240 Cr.)</a:t>
                      </a:r>
                    </a:p>
                    <a:p>
                      <a:pPr algn="l" fontAlgn="t"/>
                      <a:endParaRPr lang="en-US" sz="1100" b="1" i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  <a:p>
                      <a:pPr algn="l" fontAlgn="t"/>
                      <a:r>
                        <a:rPr lang="en-US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Total inventory</a:t>
                      </a:r>
                      <a:r>
                        <a:rPr lang="en-US" sz="1100" b="1" i="0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 reduction</a:t>
                      </a:r>
                      <a:r>
                        <a:rPr lang="en-US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 of </a:t>
                      </a:r>
                      <a:r>
                        <a:rPr lang="en-US" sz="1100" b="1" i="0" dirty="0" err="1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Rs</a:t>
                      </a:r>
                      <a:r>
                        <a:rPr lang="en-US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. 103 Cr.:</a:t>
                      </a:r>
                    </a:p>
                    <a:p>
                      <a:pPr algn="l" fontAlgn="t"/>
                      <a:r>
                        <a:rPr lang="en-US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35 Cr.</a:t>
                      </a:r>
                      <a:r>
                        <a:rPr lang="en-US" sz="1100" b="1" i="0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 till 31</a:t>
                      </a:r>
                      <a:r>
                        <a:rPr lang="en-US" sz="1100" b="1" i="0" baseline="3000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st</a:t>
                      </a:r>
                      <a:r>
                        <a:rPr lang="en-US" sz="1100" b="1" i="0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 March 2025</a:t>
                      </a:r>
                    </a:p>
                    <a:p>
                      <a:pPr algn="l" fontAlgn="t"/>
                      <a:r>
                        <a:rPr lang="en-US" sz="1100" b="1" i="0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Next 35 Cr. till 30</a:t>
                      </a:r>
                      <a:r>
                        <a:rPr lang="en-US" sz="1100" b="1" i="0" baseline="3000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th</a:t>
                      </a:r>
                      <a:r>
                        <a:rPr lang="en-US" sz="1100" b="1" i="0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 April 2025</a:t>
                      </a:r>
                    </a:p>
                    <a:p>
                      <a:pPr algn="l" fontAlgn="t"/>
                      <a:r>
                        <a:rPr lang="en-US" sz="1100" b="1" i="0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Next 35 Cr. till 31</a:t>
                      </a:r>
                      <a:r>
                        <a:rPr lang="en-US" sz="1100" b="1" i="0" baseline="3000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st</a:t>
                      </a:r>
                      <a:r>
                        <a:rPr lang="en-US" sz="1100" b="1" i="0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 May 2025</a:t>
                      </a:r>
                    </a:p>
                    <a:p>
                      <a:pPr algn="l" fontAlgn="t"/>
                      <a:endParaRPr lang="en-US" sz="1100" b="1" i="0" baseline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  <a:p>
                      <a:pPr algn="l" fontAlgn="t"/>
                      <a:r>
                        <a:rPr lang="en-US" sz="1100" b="1" i="0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Potential inventory reduction of 70 Cr. By 31</a:t>
                      </a:r>
                      <a:r>
                        <a:rPr lang="en-US" sz="1100" b="1" i="0" baseline="3000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st</a:t>
                      </a:r>
                      <a:r>
                        <a:rPr lang="en-US" sz="1100" b="1" i="0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 July 2025</a:t>
                      </a:r>
                      <a:endParaRPr lang="en-IN" sz="1100" b="1" i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rowSpan="5"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rowSpan="3" gridSpan="4">
                  <a:txBody>
                    <a:bodyPr/>
                    <a:lstStyle/>
                    <a:p>
                      <a:pPr algn="l" fontAlgn="t"/>
                      <a:r>
                        <a:rPr lang="en-IN" sz="1100" b="1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  <a:sym typeface="+mn-ea"/>
                        </a:rPr>
                        <a:t>All Non-Moving Inventory &amp; Dead Stocks across all W/H (only for Hindware / Italian</a:t>
                      </a:r>
                      <a:r>
                        <a:rPr lang="en-IN" sz="1100" b="1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  <a:sym typeface="+mn-ea"/>
                        </a:rPr>
                        <a:t> brand)</a:t>
                      </a:r>
                      <a:endParaRPr lang="en-IN" sz="1100" b="1" i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rowSpan="3" hMerge="1">
                  <a:txBody>
                    <a:bodyPr/>
                    <a:lstStyle/>
                    <a:p>
                      <a:pPr algn="l" fontAlgn="t"/>
                      <a:endParaRPr lang="en-IN" sz="1100" b="1" i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9898">
                <a:tc gridSpan="2">
                  <a:txBody>
                    <a:bodyPr/>
                    <a:lstStyle/>
                    <a:p>
                      <a:pPr algn="l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Problem Statement: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70234">
                <a:tc rowSpan="3" gridSpan="2">
                  <a:txBody>
                    <a:bodyPr/>
                    <a:lstStyle/>
                    <a:p>
                      <a:pPr algn="l" fontAlgn="t"/>
                      <a:r>
                        <a:rPr lang="en-IN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Current inventory level is exceeding demand by 20% to 25% which is leading to Non-Moving Inventory &amp; Dead stocks. Also, the inventory turnover is lower than industrial benchmark.</a:t>
                      </a:r>
                    </a:p>
                  </a:txBody>
                  <a:tcPr marL="7937" marR="7937" marT="7937" marB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9898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Start Date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End Date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0586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1st Jan 2025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31</a:t>
                      </a:r>
                      <a:r>
                        <a:rPr lang="en-US" sz="1100" b="1" i="0" baseline="3000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st</a:t>
                      </a:r>
                      <a:r>
                        <a:rPr lang="en-US" sz="1100" b="1" i="0" baseline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 May 2025</a:t>
                      </a:r>
                      <a:endParaRPr lang="en-IN" sz="1100" b="1" i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9898">
                <a:tc gridSpan="3">
                  <a:txBody>
                    <a:bodyPr/>
                    <a:lstStyle/>
                    <a:p>
                      <a:pPr algn="l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Time Schedule / Milestones: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Team (Roles):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sz="1100" b="1" i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4728">
                <a:tc rowSpan="4" gridSpan="3">
                  <a:txBody>
                    <a:bodyPr/>
                    <a:lstStyle/>
                    <a:p>
                      <a:endParaRPr b="1" dirty="0"/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rowSpan="4"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 rowSpan="4"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Function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Name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r>
                        <a:rPr sz="1100" b="1" i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Sign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Sign</a:t>
                      </a:r>
                      <a:endParaRPr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03860"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Project Leader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Mr. Supratim Sarkar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sz="1100" b="1" i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03860"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sz="1100" b="1" i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MBB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Mr. Narendra Madan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sz="1100" b="1" i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007143"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Team Members</a:t>
                      </a:r>
                    </a:p>
                  </a:txBody>
                  <a:tcPr marL="7937" marR="7937" marT="7937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endParaRPr lang="en-IN" sz="900" b="1" i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  <a:p>
                      <a:pPr algn="ctr" fontAlgn="ctr"/>
                      <a:r>
                        <a:rPr lang="en-IN" sz="12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Mr. Sounak Majumder</a:t>
                      </a:r>
                    </a:p>
                    <a:p>
                      <a:pPr algn="ctr" fontAlgn="ctr"/>
                      <a:r>
                        <a:rPr lang="en-IN" sz="1200" b="1" i="0" dirty="0">
                          <a:solidFill>
                            <a:srgbClr val="000000"/>
                          </a:solidFill>
                          <a:latin typeface="Calibri" panose="020F0502020204030204"/>
                          <a:ea typeface="Calibri" panose="020F0502020204030204"/>
                        </a:rPr>
                        <a:t>Mr. Karan Sethi</a:t>
                      </a:r>
                    </a:p>
                    <a:p>
                      <a:pPr algn="ctr" fontAlgn="ctr"/>
                      <a:endParaRPr lang="en-IN" sz="1200" b="1" i="0" dirty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sz="1100" b="1" i="0">
                        <a:solidFill>
                          <a:srgbClr val="000000"/>
                        </a:solidFill>
                        <a:latin typeface="Calibri" panose="020F0502020204030204"/>
                        <a:ea typeface="Calibri" panose="020F0502020204030204"/>
                      </a:endParaRP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5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3200" b="1" dirty="0"/>
              <a:t>Project Charter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79"/>
          <p:cNvSpPr>
            <a:spLocks/>
          </p:cNvSpPr>
          <p:nvPr/>
        </p:nvSpPr>
        <p:spPr bwMode="auto">
          <a:xfrm>
            <a:off x="7857377" y="1214438"/>
            <a:ext cx="3445623" cy="5005386"/>
          </a:xfrm>
          <a:custGeom>
            <a:avLst/>
            <a:gdLst>
              <a:gd name="T0" fmla="*/ 3616669 w 868"/>
              <a:gd name="T1" fmla="*/ 5090272 h 1263"/>
              <a:gd name="T2" fmla="*/ 738616 w 868"/>
              <a:gd name="T3" fmla="*/ 114436 h 1263"/>
              <a:gd name="T4" fmla="*/ 437226 w 868"/>
              <a:gd name="T5" fmla="*/ 114436 h 1263"/>
              <a:gd name="T6" fmla="*/ 0 w 868"/>
              <a:gd name="T7" fmla="*/ 873102 h 1263"/>
              <a:gd name="T8" fmla="*/ 50939 w 868"/>
              <a:gd name="T9" fmla="*/ 868864 h 1263"/>
              <a:gd name="T10" fmla="*/ 50939 w 868"/>
              <a:gd name="T11" fmla="*/ 868864 h 1263"/>
              <a:gd name="T12" fmla="*/ 280165 w 868"/>
              <a:gd name="T13" fmla="*/ 1000253 h 1263"/>
              <a:gd name="T14" fmla="*/ 2619114 w 868"/>
              <a:gd name="T15" fmla="*/ 5043650 h 1263"/>
              <a:gd name="T16" fmla="*/ 2619114 w 868"/>
              <a:gd name="T17" fmla="*/ 5310666 h 1263"/>
              <a:gd name="T18" fmla="*/ 2589399 w 868"/>
              <a:gd name="T19" fmla="*/ 5353050 h 1263"/>
              <a:gd name="T20" fmla="*/ 3463852 w 868"/>
              <a:gd name="T21" fmla="*/ 5353050 h 1263"/>
              <a:gd name="T22" fmla="*/ 3616669 w 868"/>
              <a:gd name="T23" fmla="*/ 5090272 h 12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868" h="1263">
                <a:moveTo>
                  <a:pt x="852" y="1201"/>
                </a:moveTo>
                <a:cubicBezTo>
                  <a:pt x="174" y="27"/>
                  <a:pt x="174" y="27"/>
                  <a:pt x="174" y="27"/>
                </a:cubicBezTo>
                <a:cubicBezTo>
                  <a:pt x="158" y="0"/>
                  <a:pt x="119" y="0"/>
                  <a:pt x="103" y="27"/>
                </a:cubicBezTo>
                <a:cubicBezTo>
                  <a:pt x="0" y="206"/>
                  <a:pt x="0" y="206"/>
                  <a:pt x="0" y="206"/>
                </a:cubicBezTo>
                <a:cubicBezTo>
                  <a:pt x="4" y="205"/>
                  <a:pt x="8" y="205"/>
                  <a:pt x="12" y="205"/>
                </a:cubicBezTo>
                <a:cubicBezTo>
                  <a:pt x="12" y="205"/>
                  <a:pt x="12" y="205"/>
                  <a:pt x="12" y="205"/>
                </a:cubicBezTo>
                <a:cubicBezTo>
                  <a:pt x="35" y="205"/>
                  <a:pt x="55" y="216"/>
                  <a:pt x="66" y="236"/>
                </a:cubicBezTo>
                <a:cubicBezTo>
                  <a:pt x="617" y="1190"/>
                  <a:pt x="617" y="1190"/>
                  <a:pt x="617" y="1190"/>
                </a:cubicBezTo>
                <a:cubicBezTo>
                  <a:pt x="628" y="1210"/>
                  <a:pt x="628" y="1233"/>
                  <a:pt x="617" y="1253"/>
                </a:cubicBezTo>
                <a:cubicBezTo>
                  <a:pt x="615" y="1256"/>
                  <a:pt x="613" y="1260"/>
                  <a:pt x="610" y="1263"/>
                </a:cubicBezTo>
                <a:cubicBezTo>
                  <a:pt x="816" y="1263"/>
                  <a:pt x="816" y="1263"/>
                  <a:pt x="816" y="1263"/>
                </a:cubicBezTo>
                <a:cubicBezTo>
                  <a:pt x="848" y="1263"/>
                  <a:pt x="868" y="1228"/>
                  <a:pt x="852" y="120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4" name="Freeform 80"/>
          <p:cNvSpPr>
            <a:spLocks/>
          </p:cNvSpPr>
          <p:nvPr/>
        </p:nvSpPr>
        <p:spPr bwMode="auto">
          <a:xfrm>
            <a:off x="7325911" y="2082811"/>
            <a:ext cx="2969085" cy="4137014"/>
          </a:xfrm>
          <a:custGeom>
            <a:avLst/>
            <a:gdLst>
              <a:gd name="T0" fmla="*/ 3107086 w 748"/>
              <a:gd name="T1" fmla="*/ 4161613 h 1044"/>
              <a:gd name="T2" fmla="*/ 772527 w 748"/>
              <a:gd name="T3" fmla="*/ 118661 h 1044"/>
              <a:gd name="T4" fmla="*/ 466912 w 748"/>
              <a:gd name="T5" fmla="*/ 118661 h 1044"/>
              <a:gd name="T6" fmla="*/ 0 w 748"/>
              <a:gd name="T7" fmla="*/ 928099 h 1044"/>
              <a:gd name="T8" fmla="*/ 50936 w 748"/>
              <a:gd name="T9" fmla="*/ 919623 h 1044"/>
              <a:gd name="T10" fmla="*/ 280147 w 748"/>
              <a:gd name="T11" fmla="*/ 1055236 h 1044"/>
              <a:gd name="T12" fmla="*/ 2050167 w 748"/>
              <a:gd name="T13" fmla="*/ 4114997 h 1044"/>
              <a:gd name="T14" fmla="*/ 2050167 w 748"/>
              <a:gd name="T15" fmla="*/ 4381984 h 1044"/>
              <a:gd name="T16" fmla="*/ 2020455 w 748"/>
              <a:gd name="T17" fmla="*/ 4424363 h 1044"/>
              <a:gd name="T18" fmla="*/ 2958523 w 748"/>
              <a:gd name="T19" fmla="*/ 4424363 h 1044"/>
              <a:gd name="T20" fmla="*/ 3107086 w 748"/>
              <a:gd name="T21" fmla="*/ 4161613 h 104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748" h="1044">
                <a:moveTo>
                  <a:pt x="732" y="982"/>
                </a:moveTo>
                <a:cubicBezTo>
                  <a:pt x="182" y="28"/>
                  <a:pt x="182" y="28"/>
                  <a:pt x="182" y="28"/>
                </a:cubicBezTo>
                <a:cubicBezTo>
                  <a:pt x="166" y="0"/>
                  <a:pt x="126" y="0"/>
                  <a:pt x="110" y="28"/>
                </a:cubicBezTo>
                <a:cubicBezTo>
                  <a:pt x="0" y="219"/>
                  <a:pt x="0" y="219"/>
                  <a:pt x="0" y="219"/>
                </a:cubicBezTo>
                <a:cubicBezTo>
                  <a:pt x="4" y="218"/>
                  <a:pt x="8" y="217"/>
                  <a:pt x="12" y="217"/>
                </a:cubicBezTo>
                <a:cubicBezTo>
                  <a:pt x="35" y="217"/>
                  <a:pt x="55" y="229"/>
                  <a:pt x="66" y="249"/>
                </a:cubicBezTo>
                <a:cubicBezTo>
                  <a:pt x="483" y="971"/>
                  <a:pt x="483" y="971"/>
                  <a:pt x="483" y="971"/>
                </a:cubicBezTo>
                <a:cubicBezTo>
                  <a:pt x="495" y="991"/>
                  <a:pt x="495" y="1014"/>
                  <a:pt x="483" y="1034"/>
                </a:cubicBezTo>
                <a:cubicBezTo>
                  <a:pt x="481" y="1037"/>
                  <a:pt x="479" y="1041"/>
                  <a:pt x="476" y="1044"/>
                </a:cubicBezTo>
                <a:cubicBezTo>
                  <a:pt x="697" y="1044"/>
                  <a:pt x="697" y="1044"/>
                  <a:pt x="697" y="1044"/>
                </a:cubicBezTo>
                <a:cubicBezTo>
                  <a:pt x="728" y="1044"/>
                  <a:pt x="748" y="1009"/>
                  <a:pt x="732" y="98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Freeform 81"/>
          <p:cNvSpPr>
            <a:spLocks/>
          </p:cNvSpPr>
          <p:nvPr/>
        </p:nvSpPr>
        <p:spPr bwMode="auto">
          <a:xfrm>
            <a:off x="6778115" y="3001652"/>
            <a:ext cx="2456918" cy="3218172"/>
          </a:xfrm>
          <a:custGeom>
            <a:avLst/>
            <a:gdLst>
              <a:gd name="T0" fmla="*/ 2559402 w 619"/>
              <a:gd name="T1" fmla="*/ 3178910 h 812"/>
              <a:gd name="T2" fmla="*/ 789467 w 619"/>
              <a:gd name="T3" fmla="*/ 118679 h 812"/>
              <a:gd name="T4" fmla="*/ 483867 w 619"/>
              <a:gd name="T5" fmla="*/ 118679 h 812"/>
              <a:gd name="T6" fmla="*/ 0 w 619"/>
              <a:gd name="T7" fmla="*/ 957912 h 812"/>
              <a:gd name="T8" fmla="*/ 50933 w 619"/>
              <a:gd name="T9" fmla="*/ 953673 h 812"/>
              <a:gd name="T10" fmla="*/ 280134 w 619"/>
              <a:gd name="T11" fmla="*/ 1085068 h 812"/>
              <a:gd name="T12" fmla="*/ 1464334 w 619"/>
              <a:gd name="T13" fmla="*/ 3132286 h 812"/>
              <a:gd name="T14" fmla="*/ 1464334 w 619"/>
              <a:gd name="T15" fmla="*/ 3399315 h 812"/>
              <a:gd name="T16" fmla="*/ 1434623 w 619"/>
              <a:gd name="T17" fmla="*/ 3441700 h 812"/>
              <a:gd name="T18" fmla="*/ 2406602 w 619"/>
              <a:gd name="T19" fmla="*/ 3441700 h 812"/>
              <a:gd name="T20" fmla="*/ 2559402 w 619"/>
              <a:gd name="T21" fmla="*/ 3178910 h 8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619" h="812">
                <a:moveTo>
                  <a:pt x="603" y="750"/>
                </a:moveTo>
                <a:cubicBezTo>
                  <a:pt x="186" y="28"/>
                  <a:pt x="186" y="28"/>
                  <a:pt x="186" y="28"/>
                </a:cubicBezTo>
                <a:cubicBezTo>
                  <a:pt x="170" y="0"/>
                  <a:pt x="130" y="0"/>
                  <a:pt x="114" y="28"/>
                </a:cubicBezTo>
                <a:cubicBezTo>
                  <a:pt x="0" y="226"/>
                  <a:pt x="0" y="226"/>
                  <a:pt x="0" y="226"/>
                </a:cubicBezTo>
                <a:cubicBezTo>
                  <a:pt x="4" y="225"/>
                  <a:pt x="8" y="225"/>
                  <a:pt x="12" y="225"/>
                </a:cubicBezTo>
                <a:cubicBezTo>
                  <a:pt x="35" y="225"/>
                  <a:pt x="55" y="236"/>
                  <a:pt x="66" y="256"/>
                </a:cubicBezTo>
                <a:cubicBezTo>
                  <a:pt x="345" y="739"/>
                  <a:pt x="345" y="739"/>
                  <a:pt x="345" y="739"/>
                </a:cubicBezTo>
                <a:cubicBezTo>
                  <a:pt x="357" y="759"/>
                  <a:pt x="357" y="782"/>
                  <a:pt x="345" y="802"/>
                </a:cubicBezTo>
                <a:cubicBezTo>
                  <a:pt x="343" y="805"/>
                  <a:pt x="341" y="809"/>
                  <a:pt x="338" y="812"/>
                </a:cubicBezTo>
                <a:cubicBezTo>
                  <a:pt x="567" y="812"/>
                  <a:pt x="567" y="812"/>
                  <a:pt x="567" y="812"/>
                </a:cubicBezTo>
                <a:cubicBezTo>
                  <a:pt x="599" y="812"/>
                  <a:pt x="619" y="777"/>
                  <a:pt x="603" y="7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6" name="Freeform 82"/>
          <p:cNvSpPr>
            <a:spLocks/>
          </p:cNvSpPr>
          <p:nvPr/>
        </p:nvSpPr>
        <p:spPr bwMode="auto">
          <a:xfrm>
            <a:off x="5511800" y="3948697"/>
            <a:ext cx="2623187" cy="2271127"/>
          </a:xfrm>
          <a:custGeom>
            <a:avLst/>
            <a:gdLst>
              <a:gd name="T0" fmla="*/ 67900 w 661"/>
              <a:gd name="T1" fmla="*/ 2166065 h 573"/>
              <a:gd name="T2" fmla="*/ 1251904 w 661"/>
              <a:gd name="T3" fmla="*/ 118688 h 573"/>
              <a:gd name="T4" fmla="*/ 1557453 w 661"/>
              <a:gd name="T5" fmla="*/ 118688 h 573"/>
              <a:gd name="T6" fmla="*/ 2737213 w 661"/>
              <a:gd name="T7" fmla="*/ 2166065 h 573"/>
              <a:gd name="T8" fmla="*/ 2588682 w 661"/>
              <a:gd name="T9" fmla="*/ 2428875 h 573"/>
              <a:gd name="T10" fmla="*/ 220675 w 661"/>
              <a:gd name="T11" fmla="*/ 2428875 h 573"/>
              <a:gd name="T12" fmla="*/ 67900 w 661"/>
              <a:gd name="T13" fmla="*/ 2166065 h 57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61" h="573">
                <a:moveTo>
                  <a:pt x="16" y="511"/>
                </a:moveTo>
                <a:cubicBezTo>
                  <a:pt x="295" y="28"/>
                  <a:pt x="295" y="28"/>
                  <a:pt x="295" y="28"/>
                </a:cubicBezTo>
                <a:cubicBezTo>
                  <a:pt x="311" y="0"/>
                  <a:pt x="351" y="0"/>
                  <a:pt x="367" y="28"/>
                </a:cubicBezTo>
                <a:cubicBezTo>
                  <a:pt x="645" y="511"/>
                  <a:pt x="645" y="511"/>
                  <a:pt x="645" y="511"/>
                </a:cubicBezTo>
                <a:cubicBezTo>
                  <a:pt x="661" y="538"/>
                  <a:pt x="642" y="573"/>
                  <a:pt x="610" y="573"/>
                </a:cubicBezTo>
                <a:cubicBezTo>
                  <a:pt x="52" y="573"/>
                  <a:pt x="52" y="573"/>
                  <a:pt x="52" y="573"/>
                </a:cubicBezTo>
                <a:cubicBezTo>
                  <a:pt x="20" y="573"/>
                  <a:pt x="0" y="538"/>
                  <a:pt x="16" y="51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8" name="Rectangle 75"/>
          <p:cNvSpPr>
            <a:spLocks noChangeArrowheads="1"/>
          </p:cNvSpPr>
          <p:nvPr/>
        </p:nvSpPr>
        <p:spPr bwMode="auto">
          <a:xfrm rot="3600000">
            <a:off x="6978231" y="3488012"/>
            <a:ext cx="509748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en-IN" sz="2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accurate univariate forecas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800" b="1" i="0" u="none" strike="noStrike" kern="1200" cap="none" spc="0" normalizeH="0" baseline="0" noProof="0" dirty="0">
              <a:ln>
                <a:noFill/>
              </a:ln>
              <a:solidFill>
                <a:srgbClr val="065381">
                  <a:lumMod val="75000"/>
                </a:srgb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9" name="Rectangle 75"/>
          <p:cNvSpPr>
            <a:spLocks noChangeArrowheads="1"/>
          </p:cNvSpPr>
          <p:nvPr/>
        </p:nvSpPr>
        <p:spPr bwMode="auto">
          <a:xfrm rot="3600000">
            <a:off x="6980534" y="4055169"/>
            <a:ext cx="366126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defRPr/>
            </a:pPr>
            <a:r>
              <a:rPr lang="en-IN" sz="2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iations on sales plan</a:t>
            </a:r>
            <a:endParaRPr kumimoji="0" lang="ru-RU" altLang="ru-RU" sz="2700" b="1" i="0" u="none" strike="noStrike" kern="1200" cap="none" spc="0" normalizeH="0" baseline="0" noProof="0" dirty="0">
              <a:ln>
                <a:noFill/>
              </a:ln>
              <a:solidFill>
                <a:srgbClr val="03A9F4">
                  <a:lumMod val="75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0" name="Rectangle 75"/>
          <p:cNvSpPr>
            <a:spLocks noChangeArrowheads="1"/>
          </p:cNvSpPr>
          <p:nvPr/>
        </p:nvSpPr>
        <p:spPr bwMode="auto">
          <a:xfrm rot="3600000">
            <a:off x="6361347" y="4487179"/>
            <a:ext cx="331866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en-IN" sz="20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ck of product lifecycle SOP </a:t>
            </a:r>
          </a:p>
          <a:p>
            <a:pPr>
              <a:defRPr/>
            </a:pP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rgbClr val="00CEE8">
                  <a:lumMod val="75000"/>
                </a:srgb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1" name="Rectangle 90"/>
          <p:cNvSpPr>
            <a:spLocks noChangeArrowheads="1"/>
          </p:cNvSpPr>
          <p:nvPr/>
        </p:nvSpPr>
        <p:spPr bwMode="auto">
          <a:xfrm rot="3593988">
            <a:off x="6151473" y="5029491"/>
            <a:ext cx="239010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ctr"/>
            <a:r>
              <a:rPr lang="en-IN" sz="15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duction without demand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D2B8714-6B8E-97A2-32C1-C2E0B51F130A}"/>
              </a:ext>
            </a:extLst>
          </p:cNvPr>
          <p:cNvGrpSpPr/>
          <p:nvPr/>
        </p:nvGrpSpPr>
        <p:grpSpPr>
          <a:xfrm>
            <a:off x="1394715" y="4941092"/>
            <a:ext cx="4099725" cy="917792"/>
            <a:chOff x="1450975" y="1277721"/>
            <a:chExt cx="4099725" cy="917792"/>
          </a:xfrm>
        </p:grpSpPr>
        <p:sp>
          <p:nvSpPr>
            <p:cNvPr id="6" name="Freeform 71"/>
            <p:cNvSpPr>
              <a:spLocks/>
            </p:cNvSpPr>
            <p:nvPr/>
          </p:nvSpPr>
          <p:spPr bwMode="auto">
            <a:xfrm>
              <a:off x="1450975" y="1568450"/>
              <a:ext cx="544513" cy="627063"/>
            </a:xfrm>
            <a:custGeom>
              <a:avLst/>
              <a:gdLst>
                <a:gd name="T0" fmla="*/ 0 w 343"/>
                <a:gd name="T1" fmla="*/ 0 h 395"/>
                <a:gd name="T2" fmla="*/ 544513 w 343"/>
                <a:gd name="T3" fmla="*/ 315913 h 395"/>
                <a:gd name="T4" fmla="*/ 0 w 343"/>
                <a:gd name="T5" fmla="*/ 627063 h 395"/>
                <a:gd name="T6" fmla="*/ 0 w 343"/>
                <a:gd name="T7" fmla="*/ 0 h 3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43" h="395">
                  <a:moveTo>
                    <a:pt x="0" y="0"/>
                  </a:moveTo>
                  <a:lnTo>
                    <a:pt x="343" y="199"/>
                  </a:lnTo>
                  <a:lnTo>
                    <a:pt x="0" y="3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11A716E-3D1B-00B9-F1B0-EE55E1EF5BD9}"/>
                </a:ext>
              </a:extLst>
            </p:cNvPr>
            <p:cNvGrpSpPr/>
            <p:nvPr/>
          </p:nvGrpSpPr>
          <p:grpSpPr>
            <a:xfrm>
              <a:off x="2103438" y="1277721"/>
              <a:ext cx="3447262" cy="801865"/>
              <a:chOff x="2103438" y="1277721"/>
              <a:chExt cx="3447262" cy="801865"/>
            </a:xfrm>
          </p:grpSpPr>
          <p:sp>
            <p:nvSpPr>
              <p:cNvPr id="11" name="Rectangle 75"/>
              <p:cNvSpPr>
                <a:spLocks noChangeArrowheads="1"/>
              </p:cNvSpPr>
              <p:nvPr/>
            </p:nvSpPr>
            <p:spPr bwMode="auto">
              <a:xfrm>
                <a:off x="2171220" y="1277721"/>
                <a:ext cx="907300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IN" altLang="ru-RU" b="1" noProof="0" dirty="0">
                    <a:solidFill>
                      <a:srgbClr val="FE2635"/>
                    </a:solidFill>
                    <a:latin typeface="Open Sans"/>
                  </a:rPr>
                  <a:t>D-Chain</a:t>
                </a:r>
                <a:endParaRPr kumimoji="0" lang="ru-RU" alt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E263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23" name="TextBox 102"/>
              <p:cNvSpPr txBox="1">
                <a:spLocks noChangeArrowheads="1"/>
              </p:cNvSpPr>
              <p:nvPr/>
            </p:nvSpPr>
            <p:spPr bwMode="auto">
              <a:xfrm>
                <a:off x="2103438" y="1525588"/>
                <a:ext cx="3447262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285750" lvl="0" indent="-285750" fontAlgn="ctr">
                  <a:buFont typeface="Arial" panose="020B0604020202020204" pitchFamily="34" charset="0"/>
                  <a:buChar char="•"/>
                  <a:defRPr/>
                </a:pPr>
                <a:r>
                  <a:rPr lang="en-IN" sz="1500" b="1" dirty="0">
                    <a:solidFill>
                      <a:srgbClr val="242424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% production for Till Stock Last (TSL) and Discontinued SKUs.</a:t>
                </a:r>
                <a:endParaRPr lang="en-IN" sz="15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36AB06D-130D-2B9F-7AED-26F0DC50F474}"/>
              </a:ext>
            </a:extLst>
          </p:cNvPr>
          <p:cNvGrpSpPr/>
          <p:nvPr/>
        </p:nvGrpSpPr>
        <p:grpSpPr>
          <a:xfrm>
            <a:off x="1416576" y="3794994"/>
            <a:ext cx="4475768" cy="917791"/>
            <a:chOff x="1450975" y="2511209"/>
            <a:chExt cx="4475768" cy="917791"/>
          </a:xfrm>
        </p:grpSpPr>
        <p:sp>
          <p:nvSpPr>
            <p:cNvPr id="5" name="Freeform 70"/>
            <p:cNvSpPr>
              <a:spLocks/>
            </p:cNvSpPr>
            <p:nvPr/>
          </p:nvSpPr>
          <p:spPr bwMode="auto">
            <a:xfrm>
              <a:off x="1450975" y="2800350"/>
              <a:ext cx="544513" cy="628650"/>
            </a:xfrm>
            <a:custGeom>
              <a:avLst/>
              <a:gdLst>
                <a:gd name="T0" fmla="*/ 0 w 343"/>
                <a:gd name="T1" fmla="*/ 0 h 396"/>
                <a:gd name="T2" fmla="*/ 544513 w 343"/>
                <a:gd name="T3" fmla="*/ 315913 h 396"/>
                <a:gd name="T4" fmla="*/ 0 w 343"/>
                <a:gd name="T5" fmla="*/ 628650 h 396"/>
                <a:gd name="T6" fmla="*/ 0 w 343"/>
                <a:gd name="T7" fmla="*/ 0 h 39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43" h="396">
                  <a:moveTo>
                    <a:pt x="0" y="0"/>
                  </a:moveTo>
                  <a:lnTo>
                    <a:pt x="343" y="199"/>
                  </a:lnTo>
                  <a:lnTo>
                    <a:pt x="0" y="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" name="Rectangle 74"/>
            <p:cNvSpPr>
              <a:spLocks noChangeArrowheads="1"/>
            </p:cNvSpPr>
            <p:nvPr/>
          </p:nvSpPr>
          <p:spPr bwMode="auto">
            <a:xfrm>
              <a:off x="2171220" y="2511209"/>
              <a:ext cx="2480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IN" altLang="ru-RU" b="1" dirty="0">
                  <a:solidFill>
                    <a:srgbClr val="00CEE8"/>
                  </a:solidFill>
                  <a:latin typeface="Open Sans"/>
                </a:rPr>
                <a:t>Product Lifecycle SOP</a:t>
              </a: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CEE8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TextBox 102"/>
            <p:cNvSpPr txBox="1">
              <a:spLocks noChangeArrowheads="1"/>
            </p:cNvSpPr>
            <p:nvPr/>
          </p:nvSpPr>
          <p:spPr bwMode="auto">
            <a:xfrm>
              <a:off x="2103438" y="2768909"/>
              <a:ext cx="3823305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lvl="0" indent="-285750" fontAlgn="ctr">
                <a:buFont typeface="Arial" panose="020B0604020202020204" pitchFamily="34" charset="0"/>
                <a:buChar char="•"/>
                <a:defRPr/>
              </a:pPr>
              <a:r>
                <a:rPr lang="en-US" sz="1500" b="1" dirty="0">
                  <a:solidFill>
                    <a:schemeClr val="tx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liminate classification errors.</a:t>
              </a:r>
            </a:p>
            <a:p>
              <a:pPr marL="285750" lvl="0" indent="-285750" fontAlgn="ctr">
                <a:buFont typeface="Arial" panose="020B0604020202020204" pitchFamily="34" charset="0"/>
                <a:buChar char="•"/>
                <a:defRPr/>
              </a:pPr>
              <a:r>
                <a:rPr lang="en-US" sz="1500" b="1" dirty="0">
                  <a:solidFill>
                    <a:schemeClr val="tx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chieve zero order deviation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276437B-3ACB-FF76-325A-9C6AC4F818FC}"/>
              </a:ext>
            </a:extLst>
          </p:cNvPr>
          <p:cNvGrpSpPr/>
          <p:nvPr/>
        </p:nvGrpSpPr>
        <p:grpSpPr>
          <a:xfrm>
            <a:off x="1380161" y="2676097"/>
            <a:ext cx="4945203" cy="914617"/>
            <a:chOff x="1450975" y="3746284"/>
            <a:chExt cx="4945203" cy="914617"/>
          </a:xfrm>
        </p:grpSpPr>
        <p:sp>
          <p:nvSpPr>
            <p:cNvPr id="4" name="Freeform 69"/>
            <p:cNvSpPr>
              <a:spLocks/>
            </p:cNvSpPr>
            <p:nvPr/>
          </p:nvSpPr>
          <p:spPr bwMode="auto">
            <a:xfrm>
              <a:off x="1450975" y="4033838"/>
              <a:ext cx="544513" cy="627063"/>
            </a:xfrm>
            <a:custGeom>
              <a:avLst/>
              <a:gdLst>
                <a:gd name="T0" fmla="*/ 0 w 343"/>
                <a:gd name="T1" fmla="*/ 0 h 395"/>
                <a:gd name="T2" fmla="*/ 544513 w 343"/>
                <a:gd name="T3" fmla="*/ 315913 h 395"/>
                <a:gd name="T4" fmla="*/ 0 w 343"/>
                <a:gd name="T5" fmla="*/ 627063 h 395"/>
                <a:gd name="T6" fmla="*/ 0 w 343"/>
                <a:gd name="T7" fmla="*/ 0 h 3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43" h="395">
                  <a:moveTo>
                    <a:pt x="0" y="0"/>
                  </a:moveTo>
                  <a:lnTo>
                    <a:pt x="343" y="199"/>
                  </a:lnTo>
                  <a:lnTo>
                    <a:pt x="0" y="3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" name="Rectangle 73"/>
            <p:cNvSpPr>
              <a:spLocks noChangeArrowheads="1"/>
            </p:cNvSpPr>
            <p:nvPr/>
          </p:nvSpPr>
          <p:spPr bwMode="auto">
            <a:xfrm>
              <a:off x="2171220" y="3746284"/>
              <a:ext cx="262584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IN" altLang="ru-RU" b="1" noProof="0" dirty="0">
                  <a:solidFill>
                    <a:srgbClr val="03A9F4"/>
                  </a:solidFill>
                  <a:latin typeface="Open Sans"/>
                </a:rPr>
                <a:t>Standardized CAT Code</a:t>
              </a: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3A9F4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TextBox 102"/>
            <p:cNvSpPr txBox="1">
              <a:spLocks noChangeArrowheads="1"/>
            </p:cNvSpPr>
            <p:nvPr/>
          </p:nvSpPr>
          <p:spPr bwMode="auto">
            <a:xfrm>
              <a:off x="2103438" y="4038544"/>
              <a:ext cx="4292740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defRPr/>
              </a:pPr>
              <a:r>
                <a:rPr lang="en-US" sz="1500" b="1" dirty="0">
                  <a:solidFill>
                    <a:schemeClr val="tx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% Order deviation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5B3ABD5-74FC-4BB7-AA5E-9DB51785F6D4}"/>
              </a:ext>
            </a:extLst>
          </p:cNvPr>
          <p:cNvGrpSpPr/>
          <p:nvPr/>
        </p:nvGrpSpPr>
        <p:grpSpPr>
          <a:xfrm>
            <a:off x="1400751" y="1293857"/>
            <a:ext cx="6258294" cy="1109834"/>
            <a:chOff x="1450975" y="4976596"/>
            <a:chExt cx="6258294" cy="1109834"/>
          </a:xfrm>
        </p:grpSpPr>
        <p:sp>
          <p:nvSpPr>
            <p:cNvPr id="3" name="Freeform 68"/>
            <p:cNvSpPr>
              <a:spLocks/>
            </p:cNvSpPr>
            <p:nvPr/>
          </p:nvSpPr>
          <p:spPr bwMode="auto">
            <a:xfrm>
              <a:off x="1450975" y="5265738"/>
              <a:ext cx="544513" cy="628650"/>
            </a:xfrm>
            <a:custGeom>
              <a:avLst/>
              <a:gdLst>
                <a:gd name="T0" fmla="*/ 0 w 343"/>
                <a:gd name="T1" fmla="*/ 0 h 396"/>
                <a:gd name="T2" fmla="*/ 544513 w 343"/>
                <a:gd name="T3" fmla="*/ 315913 h 396"/>
                <a:gd name="T4" fmla="*/ 0 w 343"/>
                <a:gd name="T5" fmla="*/ 628650 h 396"/>
                <a:gd name="T6" fmla="*/ 0 w 343"/>
                <a:gd name="T7" fmla="*/ 0 h 39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43" h="396">
                  <a:moveTo>
                    <a:pt x="0" y="0"/>
                  </a:moveTo>
                  <a:lnTo>
                    <a:pt x="343" y="199"/>
                  </a:lnTo>
                  <a:lnTo>
                    <a:pt x="0" y="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" name="Rectangle 72"/>
            <p:cNvSpPr>
              <a:spLocks noChangeArrowheads="1"/>
            </p:cNvSpPr>
            <p:nvPr/>
          </p:nvSpPr>
          <p:spPr bwMode="auto">
            <a:xfrm>
              <a:off x="2171220" y="4976596"/>
              <a:ext cx="253614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65381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ulti-Variate Analysis</a:t>
              </a: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65381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TextBox 102"/>
            <p:cNvSpPr txBox="1">
              <a:spLocks noChangeArrowheads="1"/>
            </p:cNvSpPr>
            <p:nvPr/>
          </p:nvSpPr>
          <p:spPr bwMode="auto">
            <a:xfrm>
              <a:off x="2103438" y="5301600"/>
              <a:ext cx="5605831" cy="784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lvl="0" indent="-285750" fontAlgn="ctr">
                <a:buFont typeface="Arial" panose="020B0604020202020204" pitchFamily="34" charset="0"/>
                <a:buChar char="•"/>
                <a:defRPr/>
              </a:pPr>
              <a:r>
                <a:rPr lang="en-US" sz="1500" b="1" dirty="0">
                  <a:solidFill>
                    <a:schemeClr val="tx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.15% increase in prediction accuracy</a:t>
              </a:r>
            </a:p>
            <a:p>
              <a:pPr marL="285750" lvl="0" indent="-285750" fontAlgn="ctr">
                <a:buFont typeface="Arial" panose="020B0604020202020204" pitchFamily="34" charset="0"/>
                <a:buChar char="•"/>
                <a:defRPr/>
              </a:pPr>
              <a:r>
                <a:rPr lang="en-US" sz="1500" b="1" dirty="0">
                  <a:solidFill>
                    <a:schemeClr val="tx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3.9 Cr. reduction in annual holding cost.</a:t>
              </a:r>
            </a:p>
            <a:p>
              <a:pPr marL="285750" lvl="0" indent="-285750" fontAlgn="ctr">
                <a:buFont typeface="Arial" panose="020B0604020202020204" pitchFamily="34" charset="0"/>
                <a:buChar char="•"/>
                <a:defRPr/>
              </a:pPr>
              <a:r>
                <a:rPr lang="en-US" sz="1500" b="1" dirty="0">
                  <a:solidFill>
                    <a:schemeClr val="tx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2 Cr. reduction in current stock value (9 lac less SKUs).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D6B35ED-8998-6C0B-D790-E9ED88ECF37D}"/>
              </a:ext>
            </a:extLst>
          </p:cNvPr>
          <p:cNvSpPr txBox="1"/>
          <p:nvPr/>
        </p:nvSpPr>
        <p:spPr>
          <a:xfrm>
            <a:off x="7950625" y="680723"/>
            <a:ext cx="1016625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500" b="1" dirty="0"/>
              <a:t>GAP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952DE5E-A92F-C62E-F5E3-F2B10059A8FC}"/>
              </a:ext>
            </a:extLst>
          </p:cNvPr>
          <p:cNvSpPr txBox="1"/>
          <p:nvPr/>
        </p:nvSpPr>
        <p:spPr>
          <a:xfrm>
            <a:off x="3977233" y="158247"/>
            <a:ext cx="3732036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Action Plan – Step 1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95931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8" grpId="0"/>
      <p:bldP spid="19" grpId="0"/>
      <p:bldP spid="20" grpId="0"/>
      <p:bldP spid="2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56585" y="3755630"/>
            <a:ext cx="2460286" cy="777842"/>
            <a:chOff x="1389063" y="2754313"/>
            <a:chExt cx="2033588" cy="642938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2863851" y="2757488"/>
              <a:ext cx="558800" cy="639763"/>
            </a:xfrm>
            <a:custGeom>
              <a:avLst/>
              <a:gdLst>
                <a:gd name="T0" fmla="*/ 337 w 352"/>
                <a:gd name="T1" fmla="*/ 0 h 403"/>
                <a:gd name="T2" fmla="*/ 352 w 352"/>
                <a:gd name="T3" fmla="*/ 83 h 403"/>
                <a:gd name="T4" fmla="*/ 22 w 352"/>
                <a:gd name="T5" fmla="*/ 403 h 403"/>
                <a:gd name="T6" fmla="*/ 0 w 352"/>
                <a:gd name="T7" fmla="*/ 306 h 403"/>
                <a:gd name="T8" fmla="*/ 337 w 352"/>
                <a:gd name="T9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2" h="403">
                  <a:moveTo>
                    <a:pt x="337" y="0"/>
                  </a:moveTo>
                  <a:lnTo>
                    <a:pt x="352" y="83"/>
                  </a:lnTo>
                  <a:lnTo>
                    <a:pt x="22" y="403"/>
                  </a:lnTo>
                  <a:lnTo>
                    <a:pt x="0" y="306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389063" y="3243263"/>
              <a:ext cx="1509713" cy="153988"/>
            </a:xfrm>
            <a:custGeom>
              <a:avLst/>
              <a:gdLst>
                <a:gd name="T0" fmla="*/ 929 w 951"/>
                <a:gd name="T1" fmla="*/ 0 h 97"/>
                <a:gd name="T2" fmla="*/ 951 w 951"/>
                <a:gd name="T3" fmla="*/ 97 h 97"/>
                <a:gd name="T4" fmla="*/ 30 w 951"/>
                <a:gd name="T5" fmla="*/ 97 h 97"/>
                <a:gd name="T6" fmla="*/ 0 w 951"/>
                <a:gd name="T7" fmla="*/ 0 h 97"/>
                <a:gd name="T8" fmla="*/ 929 w 951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1" h="97">
                  <a:moveTo>
                    <a:pt x="929" y="0"/>
                  </a:moveTo>
                  <a:lnTo>
                    <a:pt x="951" y="97"/>
                  </a:lnTo>
                  <a:lnTo>
                    <a:pt x="30" y="97"/>
                  </a:lnTo>
                  <a:lnTo>
                    <a:pt x="0" y="0"/>
                  </a:lnTo>
                  <a:lnTo>
                    <a:pt x="929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1389063" y="2754313"/>
              <a:ext cx="2009775" cy="488950"/>
            </a:xfrm>
            <a:custGeom>
              <a:avLst/>
              <a:gdLst>
                <a:gd name="T0" fmla="*/ 1266 w 1266"/>
                <a:gd name="T1" fmla="*/ 2 h 308"/>
                <a:gd name="T2" fmla="*/ 929 w 1266"/>
                <a:gd name="T3" fmla="*/ 308 h 308"/>
                <a:gd name="T4" fmla="*/ 0 w 1266"/>
                <a:gd name="T5" fmla="*/ 308 h 308"/>
                <a:gd name="T6" fmla="*/ 495 w 1266"/>
                <a:gd name="T7" fmla="*/ 0 h 308"/>
                <a:gd name="T8" fmla="*/ 1266 w 1266"/>
                <a:gd name="T9" fmla="*/ 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6" h="308">
                  <a:moveTo>
                    <a:pt x="1266" y="2"/>
                  </a:moveTo>
                  <a:lnTo>
                    <a:pt x="929" y="308"/>
                  </a:lnTo>
                  <a:lnTo>
                    <a:pt x="0" y="308"/>
                  </a:lnTo>
                  <a:lnTo>
                    <a:pt x="495" y="0"/>
                  </a:lnTo>
                  <a:lnTo>
                    <a:pt x="1266" y="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375598" y="4115803"/>
            <a:ext cx="2208688" cy="883474"/>
            <a:chOff x="3192463" y="2930526"/>
            <a:chExt cx="1825626" cy="730250"/>
          </a:xfrm>
        </p:grpSpPr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4781551" y="2930526"/>
              <a:ext cx="236538" cy="727075"/>
            </a:xfrm>
            <a:custGeom>
              <a:avLst/>
              <a:gdLst>
                <a:gd name="T0" fmla="*/ 143 w 149"/>
                <a:gd name="T1" fmla="*/ 0 h 458"/>
                <a:gd name="T2" fmla="*/ 149 w 149"/>
                <a:gd name="T3" fmla="*/ 87 h 458"/>
                <a:gd name="T4" fmla="*/ 8 w 149"/>
                <a:gd name="T5" fmla="*/ 458 h 458"/>
                <a:gd name="T6" fmla="*/ 0 w 149"/>
                <a:gd name="T7" fmla="*/ 356 h 458"/>
                <a:gd name="T8" fmla="*/ 143 w 149"/>
                <a:gd name="T9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458">
                  <a:moveTo>
                    <a:pt x="143" y="0"/>
                  </a:moveTo>
                  <a:lnTo>
                    <a:pt x="149" y="87"/>
                  </a:lnTo>
                  <a:lnTo>
                    <a:pt x="8" y="458"/>
                  </a:lnTo>
                  <a:lnTo>
                    <a:pt x="0" y="356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192463" y="3495676"/>
              <a:ext cx="1601788" cy="165100"/>
            </a:xfrm>
            <a:custGeom>
              <a:avLst/>
              <a:gdLst>
                <a:gd name="T0" fmla="*/ 1001 w 1009"/>
                <a:gd name="T1" fmla="*/ 0 h 104"/>
                <a:gd name="T2" fmla="*/ 1009 w 1009"/>
                <a:gd name="T3" fmla="*/ 102 h 104"/>
                <a:gd name="T4" fmla="*/ 20 w 1009"/>
                <a:gd name="T5" fmla="*/ 104 h 104"/>
                <a:gd name="T6" fmla="*/ 0 w 1009"/>
                <a:gd name="T7" fmla="*/ 0 h 104"/>
                <a:gd name="T8" fmla="*/ 1001 w 1009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9" h="104">
                  <a:moveTo>
                    <a:pt x="1001" y="0"/>
                  </a:moveTo>
                  <a:lnTo>
                    <a:pt x="1009" y="102"/>
                  </a:lnTo>
                  <a:lnTo>
                    <a:pt x="20" y="104"/>
                  </a:lnTo>
                  <a:lnTo>
                    <a:pt x="0" y="0"/>
                  </a:lnTo>
                  <a:lnTo>
                    <a:pt x="1001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3192463" y="2930526"/>
              <a:ext cx="1816100" cy="565150"/>
            </a:xfrm>
            <a:custGeom>
              <a:avLst/>
              <a:gdLst>
                <a:gd name="T0" fmla="*/ 1144 w 1144"/>
                <a:gd name="T1" fmla="*/ 0 h 356"/>
                <a:gd name="T2" fmla="*/ 1001 w 1144"/>
                <a:gd name="T3" fmla="*/ 356 h 356"/>
                <a:gd name="T4" fmla="*/ 0 w 1144"/>
                <a:gd name="T5" fmla="*/ 356 h 356"/>
                <a:gd name="T6" fmla="*/ 323 w 1144"/>
                <a:gd name="T7" fmla="*/ 0 h 356"/>
                <a:gd name="T8" fmla="*/ 1144 w 1144"/>
                <a:gd name="T9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4" h="356">
                  <a:moveTo>
                    <a:pt x="1144" y="0"/>
                  </a:moveTo>
                  <a:lnTo>
                    <a:pt x="1001" y="356"/>
                  </a:lnTo>
                  <a:lnTo>
                    <a:pt x="0" y="356"/>
                  </a:lnTo>
                  <a:lnTo>
                    <a:pt x="323" y="0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9401782" y="3811430"/>
            <a:ext cx="2412271" cy="762478"/>
            <a:chOff x="8815388" y="2763838"/>
            <a:chExt cx="1993901" cy="630238"/>
          </a:xfrm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9359901" y="3243263"/>
              <a:ext cx="1449388" cy="150813"/>
            </a:xfrm>
            <a:custGeom>
              <a:avLst/>
              <a:gdLst>
                <a:gd name="T0" fmla="*/ 913 w 913"/>
                <a:gd name="T1" fmla="*/ 0 h 95"/>
                <a:gd name="T2" fmla="*/ 883 w 913"/>
                <a:gd name="T3" fmla="*/ 95 h 95"/>
                <a:gd name="T4" fmla="*/ 0 w 913"/>
                <a:gd name="T5" fmla="*/ 95 h 95"/>
                <a:gd name="T6" fmla="*/ 23 w 913"/>
                <a:gd name="T7" fmla="*/ 0 h 95"/>
                <a:gd name="T8" fmla="*/ 913 w 913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3" h="95">
                  <a:moveTo>
                    <a:pt x="913" y="0"/>
                  </a:moveTo>
                  <a:lnTo>
                    <a:pt x="883" y="95"/>
                  </a:lnTo>
                  <a:lnTo>
                    <a:pt x="0" y="95"/>
                  </a:lnTo>
                  <a:lnTo>
                    <a:pt x="23" y="0"/>
                  </a:lnTo>
                  <a:lnTo>
                    <a:pt x="913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8815388" y="2763838"/>
              <a:ext cx="581025" cy="630238"/>
            </a:xfrm>
            <a:custGeom>
              <a:avLst/>
              <a:gdLst>
                <a:gd name="T0" fmla="*/ 366 w 366"/>
                <a:gd name="T1" fmla="*/ 302 h 397"/>
                <a:gd name="T2" fmla="*/ 343 w 366"/>
                <a:gd name="T3" fmla="*/ 397 h 397"/>
                <a:gd name="T4" fmla="*/ 0 w 366"/>
                <a:gd name="T5" fmla="*/ 83 h 397"/>
                <a:gd name="T6" fmla="*/ 16 w 366"/>
                <a:gd name="T7" fmla="*/ 0 h 397"/>
                <a:gd name="T8" fmla="*/ 366 w 366"/>
                <a:gd name="T9" fmla="*/ 302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6" h="397">
                  <a:moveTo>
                    <a:pt x="366" y="302"/>
                  </a:moveTo>
                  <a:lnTo>
                    <a:pt x="343" y="397"/>
                  </a:lnTo>
                  <a:lnTo>
                    <a:pt x="0" y="83"/>
                  </a:lnTo>
                  <a:lnTo>
                    <a:pt x="16" y="0"/>
                  </a:lnTo>
                  <a:lnTo>
                    <a:pt x="366" y="302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8840788" y="2763838"/>
              <a:ext cx="1968500" cy="479425"/>
            </a:xfrm>
            <a:custGeom>
              <a:avLst/>
              <a:gdLst>
                <a:gd name="T0" fmla="*/ 744 w 1240"/>
                <a:gd name="T1" fmla="*/ 2 h 302"/>
                <a:gd name="T2" fmla="*/ 1240 w 1240"/>
                <a:gd name="T3" fmla="*/ 302 h 302"/>
                <a:gd name="T4" fmla="*/ 350 w 1240"/>
                <a:gd name="T5" fmla="*/ 302 h 302"/>
                <a:gd name="T6" fmla="*/ 0 w 1240"/>
                <a:gd name="T7" fmla="*/ 0 h 302"/>
                <a:gd name="T8" fmla="*/ 744 w 1240"/>
                <a:gd name="T9" fmla="*/ 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0" h="302">
                  <a:moveTo>
                    <a:pt x="744" y="2"/>
                  </a:moveTo>
                  <a:lnTo>
                    <a:pt x="1240" y="302"/>
                  </a:lnTo>
                  <a:lnTo>
                    <a:pt x="350" y="302"/>
                  </a:lnTo>
                  <a:lnTo>
                    <a:pt x="0" y="0"/>
                  </a:lnTo>
                  <a:lnTo>
                    <a:pt x="744" y="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543934" y="3993289"/>
            <a:ext cx="2158752" cy="1073615"/>
            <a:chOff x="5291138" y="3213101"/>
            <a:chExt cx="1784350" cy="887413"/>
          </a:xfrm>
        </p:grpSpPr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5291138" y="3917951"/>
              <a:ext cx="1784350" cy="182563"/>
            </a:xfrm>
            <a:custGeom>
              <a:avLst/>
              <a:gdLst>
                <a:gd name="T0" fmla="*/ 1124 w 1124"/>
                <a:gd name="T1" fmla="*/ 0 h 115"/>
                <a:gd name="T2" fmla="*/ 1114 w 1124"/>
                <a:gd name="T3" fmla="*/ 113 h 115"/>
                <a:gd name="T4" fmla="*/ 6 w 1124"/>
                <a:gd name="T5" fmla="*/ 115 h 115"/>
                <a:gd name="T6" fmla="*/ 0 w 1124"/>
                <a:gd name="T7" fmla="*/ 2 h 115"/>
                <a:gd name="T8" fmla="*/ 1124 w 1124"/>
                <a:gd name="T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4" h="115">
                  <a:moveTo>
                    <a:pt x="1124" y="0"/>
                  </a:moveTo>
                  <a:lnTo>
                    <a:pt x="1114" y="113"/>
                  </a:lnTo>
                  <a:lnTo>
                    <a:pt x="6" y="115"/>
                  </a:lnTo>
                  <a:lnTo>
                    <a:pt x="0" y="2"/>
                  </a:lnTo>
                  <a:lnTo>
                    <a:pt x="1124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291138" y="3213101"/>
              <a:ext cx="1784350" cy="708025"/>
            </a:xfrm>
            <a:custGeom>
              <a:avLst/>
              <a:gdLst>
                <a:gd name="T0" fmla="*/ 995 w 1124"/>
                <a:gd name="T1" fmla="*/ 0 h 446"/>
                <a:gd name="T2" fmla="*/ 1124 w 1124"/>
                <a:gd name="T3" fmla="*/ 444 h 446"/>
                <a:gd name="T4" fmla="*/ 0 w 1124"/>
                <a:gd name="T5" fmla="*/ 446 h 446"/>
                <a:gd name="T6" fmla="*/ 95 w 1124"/>
                <a:gd name="T7" fmla="*/ 0 h 446"/>
                <a:gd name="T8" fmla="*/ 995 w 1124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4" h="446">
                  <a:moveTo>
                    <a:pt x="995" y="0"/>
                  </a:moveTo>
                  <a:lnTo>
                    <a:pt x="1124" y="444"/>
                  </a:lnTo>
                  <a:lnTo>
                    <a:pt x="0" y="446"/>
                  </a:lnTo>
                  <a:lnTo>
                    <a:pt x="95" y="0"/>
                  </a:lnTo>
                  <a:lnTo>
                    <a:pt x="99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27" tIns="45714" rIns="91427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</p:grpSp>
      <p:cxnSp>
        <p:nvCxnSpPr>
          <p:cNvPr id="25" name="Straight Arrow Connector 24"/>
          <p:cNvCxnSpPr/>
          <p:nvPr/>
        </p:nvCxnSpPr>
        <p:spPr>
          <a:xfrm>
            <a:off x="1773543" y="2883584"/>
            <a:ext cx="0" cy="1085233"/>
          </a:xfrm>
          <a:prstGeom prst="straightConnector1">
            <a:avLst/>
          </a:prstGeom>
          <a:ln>
            <a:solidFill>
              <a:schemeClr val="tx1"/>
            </a:solidFill>
            <a:tailEnd type="oval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4481530" y="3359999"/>
            <a:ext cx="0" cy="1085233"/>
          </a:xfrm>
          <a:prstGeom prst="straightConnector1">
            <a:avLst/>
          </a:prstGeom>
          <a:ln>
            <a:solidFill>
              <a:schemeClr val="tx1"/>
            </a:solidFill>
            <a:tailEnd type="oval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10462588" y="2927862"/>
            <a:ext cx="0" cy="1085233"/>
          </a:xfrm>
          <a:prstGeom prst="straightConnector1">
            <a:avLst/>
          </a:prstGeom>
          <a:ln>
            <a:solidFill>
              <a:schemeClr val="tx1"/>
            </a:solidFill>
            <a:tailEnd type="oval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7623310" y="3344031"/>
            <a:ext cx="0" cy="1085233"/>
          </a:xfrm>
          <a:prstGeom prst="straightConnector1">
            <a:avLst/>
          </a:prstGeom>
          <a:ln>
            <a:solidFill>
              <a:schemeClr val="tx1"/>
            </a:solidFill>
            <a:tailEnd type="oval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/>
          <p:cNvSpPr/>
          <p:nvPr/>
        </p:nvSpPr>
        <p:spPr>
          <a:xfrm>
            <a:off x="1037621" y="2240958"/>
            <a:ext cx="1519970" cy="6869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1427" rtlCol="0" anchor="ctr"/>
          <a:lstStyle/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999" dirty="0">
                <a:solidFill>
                  <a:srgbClr val="FFFFFF"/>
                </a:solidFill>
                <a:latin typeface="dt-line-business-01" panose="02000509000000000000" pitchFamily="49" charset="0"/>
                <a:cs typeface="Arial" panose="020B0604020202020204" pitchFamily="34" charset="0"/>
              </a:rPr>
              <a:t>Trade</a:t>
            </a:r>
            <a:endParaRPr kumimoji="0" lang="en-US" sz="2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t-line-business-01" panose="02000509000000000000" pitchFamily="49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3394805" y="2671175"/>
            <a:ext cx="2158747" cy="68690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1427" rtlCol="0" anchor="ctr"/>
          <a:lstStyle/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999" dirty="0">
                <a:solidFill>
                  <a:srgbClr val="FFFFFF"/>
                </a:solidFill>
                <a:latin typeface="dt-line-business-01" panose="02000509000000000000" pitchFamily="49" charset="0"/>
                <a:cs typeface="Arial" panose="020B0604020202020204" pitchFamily="34" charset="0"/>
              </a:rPr>
              <a:t>E-Comm</a:t>
            </a:r>
            <a:endParaRPr kumimoji="0" lang="en-US" sz="2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t-line-business-01" panose="02000509000000000000" pitchFamily="49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6120800" y="2715453"/>
            <a:ext cx="2982330" cy="68690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1427" rtlCol="0" anchor="ctr"/>
          <a:lstStyle/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999" dirty="0">
                <a:solidFill>
                  <a:srgbClr val="FFFFFF"/>
                </a:solidFill>
                <a:latin typeface="dt-line-business-01" panose="02000509000000000000" pitchFamily="49" charset="0"/>
                <a:cs typeface="Arial" panose="020B0604020202020204" pitchFamily="34" charset="0"/>
              </a:rPr>
              <a:t>Institutional</a:t>
            </a:r>
            <a:endParaRPr kumimoji="0" lang="en-US" sz="2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t-line-business-01" panose="02000509000000000000" pitchFamily="49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9511100" y="2240958"/>
            <a:ext cx="1902975" cy="68690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1427" rtlCol="0" anchor="ctr"/>
          <a:lstStyle/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999" dirty="0">
                <a:solidFill>
                  <a:srgbClr val="FFFFFF"/>
                </a:solidFill>
                <a:latin typeface="dt-line-business-01" panose="02000509000000000000" pitchFamily="49" charset="0"/>
                <a:cs typeface="Arial" panose="020B0604020202020204" pitchFamily="34" charset="0"/>
              </a:rPr>
              <a:t>Service</a:t>
            </a:r>
            <a:endParaRPr kumimoji="0" lang="en-US" sz="2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t-line-business-01" panose="02000509000000000000" pitchFamily="49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-14636" y="4744082"/>
            <a:ext cx="3064552" cy="1783813"/>
          </a:xfrm>
          <a:prstGeom prst="rect">
            <a:avLst/>
          </a:prstGeom>
        </p:spPr>
        <p:txBody>
          <a:bodyPr wrap="square" lIns="243805" rIns="243805" bIns="60951" anchor="ctr">
            <a:spAutoFit/>
          </a:bodyPr>
          <a:lstStyle/>
          <a:p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inued: </a:t>
            </a:r>
          </a:p>
          <a:p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)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ecalibrate production/purchase</a:t>
            </a:r>
          </a:p>
          <a:p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)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arget 45-day stock by April 1</a:t>
            </a:r>
          </a:p>
          <a:p>
            <a:pPr marL="0" marR="0" lvl="0" indent="0" defTabSz="228554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continued: </a:t>
            </a:r>
          </a:p>
          <a:p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) 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are list with ZMs.</a:t>
            </a:r>
          </a:p>
          <a:p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)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ase-by-case discount decisions.</a:t>
            </a:r>
          </a:p>
          <a:p>
            <a:pPr marL="0" marR="0" lvl="0" indent="0" defTabSz="228554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739F2-FBAB-4E65-AD03-9EAB55A8B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99" b="1" dirty="0"/>
              <a:t>Action Plan -Step 2 (Liquidation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4BD00D-4D59-AADF-B8D8-B9EB26F86A7A}"/>
              </a:ext>
            </a:extLst>
          </p:cNvPr>
          <p:cNvSpPr txBox="1"/>
          <p:nvPr/>
        </p:nvSpPr>
        <p:spPr>
          <a:xfrm>
            <a:off x="0" y="3193763"/>
            <a:ext cx="19149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3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inued: 57.22 Cr</a:t>
            </a:r>
          </a:p>
          <a:p>
            <a:r>
              <a:rPr lang="en-IN" sz="13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continued: 24.56 C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FC80E8-14FF-BA10-2281-306BEAFA2D77}"/>
              </a:ext>
            </a:extLst>
          </p:cNvPr>
          <p:cNvSpPr txBox="1"/>
          <p:nvPr/>
        </p:nvSpPr>
        <p:spPr>
          <a:xfrm>
            <a:off x="2803620" y="3376442"/>
            <a:ext cx="19149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3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inued: --</a:t>
            </a:r>
          </a:p>
          <a:p>
            <a:r>
              <a:rPr lang="en-IN" sz="13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continued: 2.52 C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827295-61E7-5FB1-C130-828A7E4A8A68}"/>
              </a:ext>
            </a:extLst>
          </p:cNvPr>
          <p:cNvSpPr txBox="1"/>
          <p:nvPr/>
        </p:nvSpPr>
        <p:spPr>
          <a:xfrm>
            <a:off x="5869293" y="3485831"/>
            <a:ext cx="19149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3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inued: 93.75 Cr</a:t>
            </a:r>
          </a:p>
          <a:p>
            <a:r>
              <a:rPr lang="en-IN" sz="13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continued: 10.04 C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D723E2F-AACD-B72E-EC3E-AD28812BF0CF}"/>
              </a:ext>
            </a:extLst>
          </p:cNvPr>
          <p:cNvSpPr txBox="1"/>
          <p:nvPr/>
        </p:nvSpPr>
        <p:spPr>
          <a:xfrm>
            <a:off x="8885549" y="3179978"/>
            <a:ext cx="19149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3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inued: --</a:t>
            </a:r>
          </a:p>
          <a:p>
            <a:r>
              <a:rPr lang="en-IN" sz="13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continued: 5.21 Cr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43430EC-9084-C7EC-C2A0-1A352DDF44A6}"/>
              </a:ext>
            </a:extLst>
          </p:cNvPr>
          <p:cNvSpPr/>
          <p:nvPr/>
        </p:nvSpPr>
        <p:spPr>
          <a:xfrm>
            <a:off x="3077328" y="5128964"/>
            <a:ext cx="2808404" cy="1783813"/>
          </a:xfrm>
          <a:prstGeom prst="rect">
            <a:avLst/>
          </a:prstGeom>
        </p:spPr>
        <p:txBody>
          <a:bodyPr wrap="square" lIns="243805" rIns="243805" bIns="60951" anchor="ctr">
            <a:spAutoFit/>
          </a:bodyPr>
          <a:lstStyle/>
          <a:p>
            <a:pPr marL="0" marR="0" lvl="0" indent="0" defTabSz="228554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inued: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t Applicable.</a:t>
            </a:r>
          </a:p>
          <a:p>
            <a:pPr marL="0" marR="0" lvl="0" indent="0" defTabSz="228554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continued:</a:t>
            </a:r>
          </a:p>
          <a:p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)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iquidate 1.89 Cr. by E-comm team</a:t>
            </a:r>
          </a:p>
          <a:p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)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iscuss remaining 0.63 lac SKUs</a:t>
            </a:r>
          </a:p>
          <a:p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72E3A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DB89EB4-3766-C922-3810-FD9947ACDCEF}"/>
              </a:ext>
            </a:extLst>
          </p:cNvPr>
          <p:cNvSpPr/>
          <p:nvPr/>
        </p:nvSpPr>
        <p:spPr>
          <a:xfrm>
            <a:off x="6262242" y="5199312"/>
            <a:ext cx="2808404" cy="1376650"/>
          </a:xfrm>
          <a:prstGeom prst="rect">
            <a:avLst/>
          </a:prstGeom>
        </p:spPr>
        <p:txBody>
          <a:bodyPr wrap="square" lIns="243805" rIns="243805" bIns="60951" anchor="ctr">
            <a:spAutoFit/>
          </a:bodyPr>
          <a:lstStyle/>
          <a:p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Continued</a:t>
            </a:r>
            <a:r>
              <a:rPr kumimoji="0" lang="en-US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+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continued): </a:t>
            </a:r>
          </a:p>
          <a:p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) 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mal stock push beyond monthly consumption</a:t>
            </a:r>
          </a:p>
          <a:p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)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n for 90-day consumption pending</a:t>
            </a:r>
          </a:p>
          <a:p>
            <a:pPr lvl="0" defTabSz="228554">
              <a:lnSpc>
                <a:spcPct val="89000"/>
              </a:lnSpc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A13BB39-1570-BA34-E58E-6C0F9714AF66}"/>
              </a:ext>
            </a:extLst>
          </p:cNvPr>
          <p:cNvSpPr/>
          <p:nvPr/>
        </p:nvSpPr>
        <p:spPr>
          <a:xfrm>
            <a:off x="9396328" y="5006974"/>
            <a:ext cx="2808404" cy="1258028"/>
          </a:xfrm>
          <a:prstGeom prst="rect">
            <a:avLst/>
          </a:prstGeom>
        </p:spPr>
        <p:txBody>
          <a:bodyPr wrap="square" lIns="243805" rIns="243805" bIns="60951" anchor="ctr">
            <a:spAutoFit/>
          </a:bodyPr>
          <a:lstStyle/>
          <a:p>
            <a:pPr marL="0" marR="0" lvl="0" indent="0" defTabSz="228554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inued: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t Applicable.</a:t>
            </a:r>
          </a:p>
          <a:p>
            <a:pPr marL="0" marR="0" lvl="0" indent="0" defTabSz="228554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defTabSz="228554">
              <a:lnSpc>
                <a:spcPct val="89000"/>
              </a:lnSpc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continued:</a:t>
            </a:r>
          </a:p>
          <a:p>
            <a:pPr defTabSz="228554">
              <a:lnSpc>
                <a:spcPct val="89000"/>
              </a:lnSpc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) 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ume as per natural consumption pattern</a:t>
            </a:r>
          </a:p>
          <a:p>
            <a:pPr lvl="0" defTabSz="228554">
              <a:lnSpc>
                <a:spcPct val="89000"/>
              </a:lnSpc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72E3A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515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 p14:presetBounceEnd="7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7" dur="1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8" dur="1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 p14:presetBounceEnd="73333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1" dur="1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12" dur="1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 p14:presetBounceEnd="73333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5" dur="1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16" dur="1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nodeType="withEffect" p14:presetBounceEnd="73333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9" dur="1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20" dur="1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2" presetClass="entr" presetSubtype="4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3" dur="3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22" presetClass="entr" presetSubtype="4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6" dur="3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22" presetClass="entr" presetSubtype="4" fill="hold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9" dur="3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22" presetClass="entr" presetSubtype="4" fill="hold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2" dur="3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49" presetClass="entr" presetSubtype="0" decel="10000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5" dur="3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3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3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3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49" presetClass="entr" presetSubtype="0" decel="10000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1" dur="3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3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3" dur="3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4" dur="3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49" presetClass="entr" presetSubtype="0" decel="10000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3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3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3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0" dur="3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49" presetClass="entr" presetSubtype="0" decel="10000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3" dur="3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4" dur="3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5" dur="3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6" dur="3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9" dur="3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2" dur="3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5" dur="3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6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8" dur="3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0" grpId="0" animBg="1"/>
          <p:bldP spid="31" grpId="0" animBg="1"/>
          <p:bldP spid="32" grpId="0" animBg="1"/>
          <p:bldP spid="34" grpId="0" animBg="1"/>
          <p:bldP spid="35" grpId="0"/>
          <p:bldP spid="41" grpId="0"/>
          <p:bldP spid="42" grpId="0"/>
          <p:bldP spid="43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2" presetClass="entr" presetSubtype="4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3" dur="3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22" presetClass="entr" presetSubtype="4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6" dur="3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22" presetClass="entr" presetSubtype="4" fill="hold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9" dur="3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22" presetClass="entr" presetSubtype="4" fill="hold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2" dur="3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49" presetClass="entr" presetSubtype="0" decel="10000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5" dur="3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3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3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3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49" presetClass="entr" presetSubtype="0" decel="10000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1" dur="3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3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3" dur="3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4" dur="3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49" presetClass="entr" presetSubtype="0" decel="10000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3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3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3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0" dur="3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49" presetClass="entr" presetSubtype="0" decel="10000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3" dur="3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4" dur="3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5" dur="3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6" dur="3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9" dur="3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2" dur="3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5" dur="3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6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8" dur="3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0" grpId="0" animBg="1"/>
          <p:bldP spid="31" grpId="0" animBg="1"/>
          <p:bldP spid="32" grpId="0" animBg="1"/>
          <p:bldP spid="34" grpId="0" animBg="1"/>
          <p:bldP spid="35" grpId="0"/>
          <p:bldP spid="41" grpId="0"/>
          <p:bldP spid="42" grpId="0"/>
          <p:bldP spid="43" grpId="0"/>
        </p:bldLst>
      </p:timing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12D5E55-AB05-A044-D78D-0201868120E9}"/>
              </a:ext>
            </a:extLst>
          </p:cNvPr>
          <p:cNvSpPr txBox="1"/>
          <p:nvPr/>
        </p:nvSpPr>
        <p:spPr>
          <a:xfrm>
            <a:off x="3862791" y="-132678"/>
            <a:ext cx="4466416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5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duct life SOP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A3A370A-43E4-C879-48DE-8F04EEA159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673646"/>
              </p:ext>
            </p:extLst>
          </p:nvPr>
        </p:nvGraphicFramePr>
        <p:xfrm>
          <a:off x="570271" y="655271"/>
          <a:ext cx="11110452" cy="5299935"/>
        </p:xfrm>
        <a:graphic>
          <a:graphicData uri="http://schemas.openxmlformats.org/drawingml/2006/table">
            <a:tbl>
              <a:tblPr firstRow="1" firstCol="1" bandRow="1"/>
              <a:tblGrid>
                <a:gridCol w="3237061">
                  <a:extLst>
                    <a:ext uri="{9D8B030D-6E8A-4147-A177-3AD203B41FA5}">
                      <a16:colId xmlns:a16="http://schemas.microsoft.com/office/drawing/2014/main" val="2416055185"/>
                    </a:ext>
                  </a:extLst>
                </a:gridCol>
                <a:gridCol w="3237061">
                  <a:extLst>
                    <a:ext uri="{9D8B030D-6E8A-4147-A177-3AD203B41FA5}">
                      <a16:colId xmlns:a16="http://schemas.microsoft.com/office/drawing/2014/main" val="2184884949"/>
                    </a:ext>
                  </a:extLst>
                </a:gridCol>
                <a:gridCol w="2170777">
                  <a:extLst>
                    <a:ext uri="{9D8B030D-6E8A-4147-A177-3AD203B41FA5}">
                      <a16:colId xmlns:a16="http://schemas.microsoft.com/office/drawing/2014/main" val="2525413127"/>
                    </a:ext>
                  </a:extLst>
                </a:gridCol>
                <a:gridCol w="2465553">
                  <a:extLst>
                    <a:ext uri="{9D8B030D-6E8A-4147-A177-3AD203B41FA5}">
                      <a16:colId xmlns:a16="http://schemas.microsoft.com/office/drawing/2014/main" val="421703810"/>
                    </a:ext>
                  </a:extLst>
                </a:gridCol>
              </a:tblGrid>
              <a:tr h="399767">
                <a:tc>
                  <a:txBody>
                    <a:bodyPr/>
                    <a:lstStyle/>
                    <a:p>
                      <a:pPr algn="ctr"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b="1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ge</a:t>
                      </a:r>
                      <a:endParaRPr lang="en-IN" sz="14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b="1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ey Activities</a:t>
                      </a:r>
                      <a:endParaRPr lang="en-IN" sz="14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b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sponsible Functions</a:t>
                      </a:r>
                      <a:endParaRPr lang="en-IN" sz="14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b="1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PIs</a:t>
                      </a:r>
                      <a:endParaRPr lang="en-IN" sz="14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896841"/>
                  </a:ext>
                </a:extLst>
              </a:tr>
              <a:tr h="1084468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b="1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dea Generation</a:t>
                      </a:r>
                      <a:endParaRPr lang="en-IN" sz="14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etition Analysis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ternal Brainstorming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rket Demand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Gap analysis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ustomer feedback</a:t>
                      </a:r>
                      <a:endParaRPr lang="en-IN" sz="14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Team , Sales Team , R&amp;D </a:t>
                      </a:r>
                      <a:endParaRPr lang="en-IN" sz="14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rket Demand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etitor Benchmarking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rket First initiative </a:t>
                      </a:r>
                      <a:endParaRPr lang="en-IN" sz="14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257677"/>
                  </a:ext>
                </a:extLst>
              </a:tr>
              <a:tr h="1303588">
                <a:tc rowSpan="2"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b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cept Development ,  </a:t>
                      </a:r>
                      <a:br>
                        <a:rPr lang="en-IN" sz="1400" b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b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totyping </a:t>
                      </a:r>
                      <a:endParaRPr lang="en-IN" sz="14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b="1" u="sng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nufacturing :</a:t>
                      </a:r>
                      <a:b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sign Finalization </a:t>
                      </a:r>
                      <a:b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reate Prototype</a:t>
                      </a:r>
                      <a:b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liance Check</a:t>
                      </a:r>
                      <a:b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st estimation , Cost negotiation </a:t>
                      </a:r>
                      <a:endParaRPr lang="en-IN" sz="14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&amp;D Team ,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gineering ,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Team ,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lant Team for Cost ,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lant Team for Production (Manuf capacity check)</a:t>
                      </a:r>
                      <a:endParaRPr lang="en-IN" sz="14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totype Success rate </a:t>
                      </a:r>
                      <a:b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st Viability </a:t>
                      </a:r>
                      <a:endParaRPr lang="en-IN" sz="14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879649"/>
                  </a:ext>
                </a:extLst>
              </a:tr>
              <a:tr h="108446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b="1" u="sng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rading : </a:t>
                      </a:r>
                      <a:br>
                        <a:rPr lang="en-IN" sz="1400" b="1" u="sng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sign concept  send to Sourcing </a:t>
                      </a:r>
                      <a:b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sign selection from different supplier proposal</a:t>
                      </a:r>
                      <a:b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selection &amp; Cost negotiation </a:t>
                      </a:r>
                      <a:endParaRPr lang="en-IN" sz="14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&amp;D Team ,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Engineering ,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Team ,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urcing Team</a:t>
                      </a:r>
                      <a:endParaRPr lang="en-IN" sz="14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7813539"/>
                  </a:ext>
                </a:extLst>
              </a:tr>
              <a:tr h="865348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b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Validation &amp; Testing </a:t>
                      </a:r>
                      <a:endParaRPr lang="en-IN" sz="14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duct Testing &amp; Validation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fining the design based on feedback </a:t>
                      </a:r>
                      <a:endParaRPr lang="en-IN" sz="14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&amp;D</a:t>
                      </a:r>
                      <a:b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Designer Team</a:t>
                      </a:r>
                      <a:b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team </a:t>
                      </a:r>
                      <a:b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uality Team</a:t>
                      </a:r>
                      <a:endParaRPr lang="en-IN" sz="14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fect Rate </a:t>
                      </a:r>
                      <a:b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liance adherence</a:t>
                      </a:r>
                      <a:endParaRPr lang="en-IN" sz="14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86" marR="653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0798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20263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4532C0C-A242-09FA-F0F9-ACF75DB0C2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8616746"/>
              </p:ext>
            </p:extLst>
          </p:nvPr>
        </p:nvGraphicFramePr>
        <p:xfrm>
          <a:off x="0" y="0"/>
          <a:ext cx="12192001" cy="6858000"/>
        </p:xfrm>
        <a:graphic>
          <a:graphicData uri="http://schemas.openxmlformats.org/drawingml/2006/table">
            <a:tbl>
              <a:tblPr firstRow="1" firstCol="1" bandRow="1"/>
              <a:tblGrid>
                <a:gridCol w="2100219">
                  <a:extLst>
                    <a:ext uri="{9D8B030D-6E8A-4147-A177-3AD203B41FA5}">
                      <a16:colId xmlns:a16="http://schemas.microsoft.com/office/drawing/2014/main" val="3963307801"/>
                    </a:ext>
                  </a:extLst>
                </a:gridCol>
                <a:gridCol w="4149128">
                  <a:extLst>
                    <a:ext uri="{9D8B030D-6E8A-4147-A177-3AD203B41FA5}">
                      <a16:colId xmlns:a16="http://schemas.microsoft.com/office/drawing/2014/main" val="3120866736"/>
                    </a:ext>
                  </a:extLst>
                </a:gridCol>
                <a:gridCol w="2782412">
                  <a:extLst>
                    <a:ext uri="{9D8B030D-6E8A-4147-A177-3AD203B41FA5}">
                      <a16:colId xmlns:a16="http://schemas.microsoft.com/office/drawing/2014/main" val="1764130157"/>
                    </a:ext>
                  </a:extLst>
                </a:gridCol>
                <a:gridCol w="3160242">
                  <a:extLst>
                    <a:ext uri="{9D8B030D-6E8A-4147-A177-3AD203B41FA5}">
                      <a16:colId xmlns:a16="http://schemas.microsoft.com/office/drawing/2014/main" val="4176362079"/>
                    </a:ext>
                  </a:extLst>
                </a:gridCol>
              </a:tblGrid>
              <a:tr h="902821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b="1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nufacturing &amp;Supply chain readiness</a:t>
                      </a:r>
                      <a:endParaRPr lang="en-IN" sz="12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ion Planning through Demand Planning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upplier final selection (in case of Traded Business)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st finalization </a:t>
                      </a:r>
                      <a:endParaRPr lang="en-IN" sz="10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upply Chain </a:t>
                      </a:r>
                      <a:b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curement </a:t>
                      </a:r>
                      <a:b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st Operation (Product &amp; SC)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ion efficiency</a:t>
                      </a:r>
                      <a:b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st per unit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004521"/>
                  </a:ext>
                </a:extLst>
              </a:tr>
              <a:tr h="1313716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aunch Preparation (Product Prospective)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000" b="1" u="sng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pStick</a:t>
                      </a:r>
                      <a:r>
                        <a:rPr lang="en-IN" sz="1000" b="1" u="sng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nalysis - (Targeting Top Dealers , Top Architects and Key Builders)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fine Objective &amp; scope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dentify and segment target audience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epare Test material and Questionnaires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a collection , Feedback analysis and summarize</a:t>
                      </a:r>
                      <a:endParaRPr lang="en-IN" sz="10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Team</a:t>
                      </a:r>
                      <a:b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les Team</a:t>
                      </a:r>
                      <a:b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rketing Team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uick and affordable insights before launch 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834301"/>
                  </a:ext>
                </a:extLst>
              </a:tr>
              <a:tr h="1313716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king for Production 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000" b="1" u="sng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mercially Viable</a:t>
                      </a:r>
                      <a:r>
                        <a:rPr lang="en-IN" sz="1000" u="sng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Cost re-analysis before taking into commercialization , to achieve expected GM and Profit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b="1" u="sng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olume Scalability</a:t>
                      </a: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-Check Production demand with Respect to Market demand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b="1" u="sng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ion Lead time</a:t>
                      </a: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- Manufacturing Timeline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validate QA- after Production </a:t>
                      </a:r>
                      <a:endParaRPr lang="en-IN" sz="10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Team</a:t>
                      </a:r>
                      <a:b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lant Team(In case of own </a:t>
                      </a:r>
                      <a:r>
                        <a:rPr lang="en-IN" sz="1200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nuf</a:t>
                      </a: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b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curement Team(In case of Trade)</a:t>
                      </a:r>
                      <a:b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uality</a:t>
                      </a:r>
                      <a:endParaRPr lang="en-IN" sz="12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e launch Profitability Check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660403"/>
                  </a:ext>
                </a:extLst>
              </a:tr>
              <a:tr h="986060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Launch 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inalizing Marketing &amp; Sales Plan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stribution and Channel Management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TM Strategy (Branding , Marketing campaigns , pricing Strategy , Sales force training )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l India launch or Region wise launch</a:t>
                      </a:r>
                      <a:endParaRPr lang="en-IN" sz="10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Team </a:t>
                      </a:r>
                      <a:b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les Team</a:t>
                      </a:r>
                      <a:b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rketing Team</a:t>
                      </a:r>
                      <a:endParaRPr lang="en-IN" sz="12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maturity stage in market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8007195"/>
                  </a:ext>
                </a:extLst>
              </a:tr>
              <a:tr h="1027971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rowth and Maturity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tinuous Market tracking to understand market capture report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ustomer feedback loops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work if any of above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cing restructuring if required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chemes If needed </a:t>
                      </a:r>
                      <a:endParaRPr lang="en-IN" sz="10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Team </a:t>
                      </a:r>
                      <a:b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inance </a:t>
                      </a:r>
                      <a:b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les </a:t>
                      </a:r>
                      <a:endParaRPr lang="en-IN" sz="12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fit margin , Product Lifespan extension</a:t>
                      </a:r>
                      <a:endParaRPr lang="en-IN" sz="12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4317296"/>
                  </a:ext>
                </a:extLst>
              </a:tr>
              <a:tr h="1313716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b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hasing Out Plan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sessment and Decision Making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ROI Tracking : Profitability evaluation for phase in/phase out decisions .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ventory Management &amp; Liquidation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keholder communication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inal approval &amp; Execution </a:t>
                      </a:r>
                      <a:b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0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ystem &amp; Process integration </a:t>
                      </a:r>
                      <a:endParaRPr lang="en-IN" sz="10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Management </a:t>
                      </a:r>
                      <a:b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upply chain </a:t>
                      </a:r>
                      <a:b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inance </a:t>
                      </a:r>
                      <a:b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les (Both Retail &amp; Project )</a:t>
                      </a:r>
                      <a:b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IN" sz="120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ventory management </a:t>
                      </a:r>
                      <a:endParaRPr lang="en-IN" sz="120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it cost analysis , Residual sales analysis </a:t>
                      </a:r>
                      <a:endParaRPr lang="en-IN" sz="1200" dirty="0">
                        <a:effectLst/>
                        <a:latin typeface="Aptos" panose="020B00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339" marR="4033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3454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07850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9588259" y="3639650"/>
            <a:ext cx="2610698" cy="2853223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3836" tIns="243836" rIns="243836" bIns="243836" numCol="1" spcCol="1270" anchor="t" anchorCtr="0">
            <a:noAutofit/>
          </a:bodyPr>
          <a:lstStyle/>
          <a:p>
            <a:pPr lvl="0" defTabSz="888889">
              <a:lnSpc>
                <a:spcPct val="150000"/>
              </a:lnSpc>
              <a:spcBef>
                <a:spcPct val="0"/>
              </a:spcBef>
              <a:spcAft>
                <a:spcPts val="267"/>
              </a:spcAft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lvl="0" defTabSz="888889">
              <a:lnSpc>
                <a:spcPct val="15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Decline and retirement</a:t>
            </a:r>
          </a:p>
        </p:txBody>
      </p:sp>
      <p:sp>
        <p:nvSpPr>
          <p:cNvPr id="36" name="Rectangle 35"/>
          <p:cNvSpPr/>
          <p:nvPr/>
        </p:nvSpPr>
        <p:spPr>
          <a:xfrm>
            <a:off x="9588259" y="2615200"/>
            <a:ext cx="2670009" cy="1097215"/>
          </a:xfrm>
          <a:prstGeom prst="rect">
            <a:avLst/>
          </a:prstGeom>
          <a:gradFill>
            <a:gsLst>
              <a:gs pos="0">
                <a:schemeClr val="accent5">
                  <a:lumMod val="75000"/>
                </a:schemeClr>
              </a:gs>
              <a:gs pos="32000">
                <a:schemeClr val="accent5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755" tIns="304796" rIns="243836" bIns="304796" numCol="1" spcCol="1270" anchor="t" anchorCtr="0">
            <a:spAutoFit/>
          </a:bodyPr>
          <a:lstStyle/>
          <a:p>
            <a:pPr lvl="0" defTabSz="888889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SLD</a:t>
            </a:r>
          </a:p>
          <a:p>
            <a:pPr defTabSz="888889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CONTINUED</a:t>
            </a:r>
          </a:p>
        </p:txBody>
      </p:sp>
      <p:sp>
        <p:nvSpPr>
          <p:cNvPr id="37" name="Rectangle 36"/>
          <p:cNvSpPr/>
          <p:nvPr/>
        </p:nvSpPr>
        <p:spPr>
          <a:xfrm>
            <a:off x="9588259" y="5914261"/>
            <a:ext cx="2610698" cy="578612"/>
          </a:xfrm>
          <a:prstGeom prst="rect">
            <a:avLst/>
          </a:prstGeom>
          <a:solidFill>
            <a:schemeClr val="tx1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918" tIns="121918" rIns="121918" bIns="121918" numCol="1" spcCol="1270" anchor="ctr" anchorCtr="0">
            <a:noAutofit/>
          </a:bodyPr>
          <a:lstStyle/>
          <a:p>
            <a:pPr marL="0" marR="0" lvl="0" indent="0" algn="r" defTabSz="8888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Montserrat Light "/>
              <a:ea typeface="+mn-ea"/>
              <a:cs typeface="+mn-cs"/>
            </a:endParaRPr>
          </a:p>
        </p:txBody>
      </p:sp>
      <p:sp>
        <p:nvSpPr>
          <p:cNvPr id="41" name="Parallelogram 40"/>
          <p:cNvSpPr/>
          <p:nvPr/>
        </p:nvSpPr>
        <p:spPr>
          <a:xfrm rot="5400000" flipV="1">
            <a:off x="9196975" y="2827531"/>
            <a:ext cx="1052384" cy="269813"/>
          </a:xfrm>
          <a:prstGeom prst="parallelogram">
            <a:avLst>
              <a:gd name="adj" fmla="val 66077"/>
            </a:avLst>
          </a:prstGeom>
          <a:solidFill>
            <a:schemeClr val="accent4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 "/>
              <a:ea typeface="+mn-ea"/>
              <a:cs typeface="+mn-cs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9706997" y="5996343"/>
            <a:ext cx="414450" cy="414447"/>
            <a:chOff x="6564979" y="4358506"/>
            <a:chExt cx="674638" cy="674638"/>
          </a:xfrm>
        </p:grpSpPr>
        <p:sp>
          <p:nvSpPr>
            <p:cNvPr id="43" name="Oval 42"/>
            <p:cNvSpPr/>
            <p:nvPr/>
          </p:nvSpPr>
          <p:spPr>
            <a:xfrm>
              <a:off x="6564979" y="4358506"/>
              <a:ext cx="674638" cy="67463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9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 "/>
                <a:ea typeface="+mn-ea"/>
                <a:cs typeface="+mn-cs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auto">
            <a:xfrm>
              <a:off x="6709217" y="4527690"/>
              <a:ext cx="386162" cy="336270"/>
            </a:xfrm>
            <a:custGeom>
              <a:avLst/>
              <a:gdLst>
                <a:gd name="T0" fmla="*/ 326 w 577"/>
                <a:gd name="T1" fmla="*/ 502 h 502"/>
                <a:gd name="T2" fmla="*/ 299 w 577"/>
                <a:gd name="T3" fmla="*/ 491 h 502"/>
                <a:gd name="T4" fmla="*/ 299 w 577"/>
                <a:gd name="T5" fmla="*/ 436 h 502"/>
                <a:gd name="T6" fmla="*/ 445 w 577"/>
                <a:gd name="T7" fmla="*/ 289 h 502"/>
                <a:gd name="T8" fmla="*/ 39 w 577"/>
                <a:gd name="T9" fmla="*/ 289 h 502"/>
                <a:gd name="T10" fmla="*/ 0 w 577"/>
                <a:gd name="T11" fmla="*/ 251 h 502"/>
                <a:gd name="T12" fmla="*/ 39 w 577"/>
                <a:gd name="T13" fmla="*/ 212 h 502"/>
                <a:gd name="T14" fmla="*/ 445 w 577"/>
                <a:gd name="T15" fmla="*/ 212 h 502"/>
                <a:gd name="T16" fmla="*/ 299 w 577"/>
                <a:gd name="T17" fmla="*/ 65 h 502"/>
                <a:gd name="T18" fmla="*/ 299 w 577"/>
                <a:gd name="T19" fmla="*/ 11 h 502"/>
                <a:gd name="T20" fmla="*/ 326 w 577"/>
                <a:gd name="T21" fmla="*/ 0 h 502"/>
                <a:gd name="T22" fmla="*/ 353 w 577"/>
                <a:gd name="T23" fmla="*/ 11 h 502"/>
                <a:gd name="T24" fmla="*/ 566 w 577"/>
                <a:gd name="T25" fmla="*/ 224 h 502"/>
                <a:gd name="T26" fmla="*/ 571 w 577"/>
                <a:gd name="T27" fmla="*/ 229 h 502"/>
                <a:gd name="T28" fmla="*/ 571 w 577"/>
                <a:gd name="T29" fmla="*/ 230 h 502"/>
                <a:gd name="T30" fmla="*/ 572 w 577"/>
                <a:gd name="T31" fmla="*/ 231 h 502"/>
                <a:gd name="T32" fmla="*/ 574 w 577"/>
                <a:gd name="T33" fmla="*/ 236 h 502"/>
                <a:gd name="T34" fmla="*/ 575 w 577"/>
                <a:gd name="T35" fmla="*/ 238 h 502"/>
                <a:gd name="T36" fmla="*/ 576 w 577"/>
                <a:gd name="T37" fmla="*/ 243 h 502"/>
                <a:gd name="T38" fmla="*/ 577 w 577"/>
                <a:gd name="T39" fmla="*/ 251 h 502"/>
                <a:gd name="T40" fmla="*/ 576 w 577"/>
                <a:gd name="T41" fmla="*/ 258 h 502"/>
                <a:gd name="T42" fmla="*/ 575 w 577"/>
                <a:gd name="T43" fmla="*/ 263 h 502"/>
                <a:gd name="T44" fmla="*/ 574 w 577"/>
                <a:gd name="T45" fmla="*/ 266 h 502"/>
                <a:gd name="T46" fmla="*/ 572 w 577"/>
                <a:gd name="T47" fmla="*/ 271 h 502"/>
                <a:gd name="T48" fmla="*/ 571 w 577"/>
                <a:gd name="T49" fmla="*/ 272 h 502"/>
                <a:gd name="T50" fmla="*/ 566 w 577"/>
                <a:gd name="T51" fmla="*/ 278 h 502"/>
                <a:gd name="T52" fmla="*/ 353 w 577"/>
                <a:gd name="T53" fmla="*/ 491 h 502"/>
                <a:gd name="T54" fmla="*/ 326 w 577"/>
                <a:gd name="T55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77" h="502">
                  <a:moveTo>
                    <a:pt x="326" y="502"/>
                  </a:moveTo>
                  <a:cubicBezTo>
                    <a:pt x="316" y="502"/>
                    <a:pt x="306" y="498"/>
                    <a:pt x="299" y="491"/>
                  </a:cubicBezTo>
                  <a:cubicBezTo>
                    <a:pt x="284" y="476"/>
                    <a:pt x="284" y="451"/>
                    <a:pt x="299" y="436"/>
                  </a:cubicBezTo>
                  <a:cubicBezTo>
                    <a:pt x="445" y="289"/>
                    <a:pt x="445" y="289"/>
                    <a:pt x="445" y="289"/>
                  </a:cubicBezTo>
                  <a:cubicBezTo>
                    <a:pt x="39" y="289"/>
                    <a:pt x="39" y="289"/>
                    <a:pt x="39" y="289"/>
                  </a:cubicBezTo>
                  <a:cubicBezTo>
                    <a:pt x="17" y="289"/>
                    <a:pt x="0" y="272"/>
                    <a:pt x="0" y="251"/>
                  </a:cubicBezTo>
                  <a:cubicBezTo>
                    <a:pt x="0" y="230"/>
                    <a:pt x="17" y="212"/>
                    <a:pt x="39" y="212"/>
                  </a:cubicBezTo>
                  <a:cubicBezTo>
                    <a:pt x="445" y="212"/>
                    <a:pt x="445" y="212"/>
                    <a:pt x="445" y="212"/>
                  </a:cubicBezTo>
                  <a:cubicBezTo>
                    <a:pt x="299" y="65"/>
                    <a:pt x="299" y="65"/>
                    <a:pt x="299" y="65"/>
                  </a:cubicBezTo>
                  <a:cubicBezTo>
                    <a:pt x="284" y="50"/>
                    <a:pt x="284" y="26"/>
                    <a:pt x="299" y="11"/>
                  </a:cubicBezTo>
                  <a:cubicBezTo>
                    <a:pt x="306" y="4"/>
                    <a:pt x="316" y="0"/>
                    <a:pt x="326" y="0"/>
                  </a:cubicBezTo>
                  <a:cubicBezTo>
                    <a:pt x="336" y="0"/>
                    <a:pt x="346" y="4"/>
                    <a:pt x="353" y="11"/>
                  </a:cubicBezTo>
                  <a:cubicBezTo>
                    <a:pt x="566" y="224"/>
                    <a:pt x="566" y="224"/>
                    <a:pt x="566" y="224"/>
                  </a:cubicBezTo>
                  <a:cubicBezTo>
                    <a:pt x="568" y="225"/>
                    <a:pt x="569" y="227"/>
                    <a:pt x="571" y="229"/>
                  </a:cubicBezTo>
                  <a:cubicBezTo>
                    <a:pt x="571" y="230"/>
                    <a:pt x="571" y="230"/>
                    <a:pt x="571" y="230"/>
                  </a:cubicBezTo>
                  <a:cubicBezTo>
                    <a:pt x="572" y="231"/>
                    <a:pt x="572" y="231"/>
                    <a:pt x="572" y="231"/>
                  </a:cubicBezTo>
                  <a:cubicBezTo>
                    <a:pt x="572" y="232"/>
                    <a:pt x="573" y="234"/>
                    <a:pt x="574" y="236"/>
                  </a:cubicBezTo>
                  <a:cubicBezTo>
                    <a:pt x="574" y="237"/>
                    <a:pt x="575" y="238"/>
                    <a:pt x="575" y="238"/>
                  </a:cubicBezTo>
                  <a:cubicBezTo>
                    <a:pt x="575" y="240"/>
                    <a:pt x="576" y="241"/>
                    <a:pt x="576" y="243"/>
                  </a:cubicBezTo>
                  <a:cubicBezTo>
                    <a:pt x="577" y="246"/>
                    <a:pt x="577" y="248"/>
                    <a:pt x="577" y="251"/>
                  </a:cubicBezTo>
                  <a:cubicBezTo>
                    <a:pt x="577" y="253"/>
                    <a:pt x="577" y="256"/>
                    <a:pt x="576" y="258"/>
                  </a:cubicBezTo>
                  <a:cubicBezTo>
                    <a:pt x="576" y="260"/>
                    <a:pt x="575" y="262"/>
                    <a:pt x="575" y="263"/>
                  </a:cubicBezTo>
                  <a:cubicBezTo>
                    <a:pt x="575" y="264"/>
                    <a:pt x="575" y="265"/>
                    <a:pt x="574" y="266"/>
                  </a:cubicBezTo>
                  <a:cubicBezTo>
                    <a:pt x="573" y="267"/>
                    <a:pt x="573" y="269"/>
                    <a:pt x="572" y="271"/>
                  </a:cubicBezTo>
                  <a:cubicBezTo>
                    <a:pt x="571" y="271"/>
                    <a:pt x="571" y="272"/>
                    <a:pt x="571" y="272"/>
                  </a:cubicBezTo>
                  <a:cubicBezTo>
                    <a:pt x="569" y="274"/>
                    <a:pt x="568" y="276"/>
                    <a:pt x="566" y="278"/>
                  </a:cubicBezTo>
                  <a:cubicBezTo>
                    <a:pt x="353" y="491"/>
                    <a:pt x="353" y="491"/>
                    <a:pt x="353" y="491"/>
                  </a:cubicBezTo>
                  <a:cubicBezTo>
                    <a:pt x="346" y="498"/>
                    <a:pt x="336" y="502"/>
                    <a:pt x="326" y="5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8" tIns="60959" rIns="121918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999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Montserrat Light "/>
                <a:ea typeface="+mn-ea"/>
                <a:cs typeface="+mn-cs"/>
              </a:endParaRPr>
            </a:p>
          </p:txBody>
        </p:sp>
      </p:grpSp>
      <p:sp>
        <p:nvSpPr>
          <p:cNvPr id="6" name="Rectangle 5"/>
          <p:cNvSpPr/>
          <p:nvPr/>
        </p:nvSpPr>
        <p:spPr>
          <a:xfrm>
            <a:off x="7190102" y="3204776"/>
            <a:ext cx="2369900" cy="3114835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3836" tIns="243836" rIns="243836" bIns="243836" numCol="1" spcCol="1270" anchor="t" anchorCtr="0">
            <a:noAutofit/>
          </a:bodyPr>
          <a:lstStyle/>
          <a:p>
            <a:pPr lvl="0" defTabSz="888889">
              <a:lnSpc>
                <a:spcPct val="150000"/>
              </a:lnSpc>
              <a:spcBef>
                <a:spcPct val="0"/>
              </a:spcBef>
              <a:spcAft>
                <a:spcPts val="267"/>
              </a:spcAft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lvl="0" algn="ctr" defTabSz="888889">
              <a:lnSpc>
                <a:spcPct val="15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Decline and retirement</a:t>
            </a:r>
          </a:p>
        </p:txBody>
      </p:sp>
      <p:sp>
        <p:nvSpPr>
          <p:cNvPr id="10" name="Rectangle 9"/>
          <p:cNvSpPr/>
          <p:nvPr/>
        </p:nvSpPr>
        <p:spPr>
          <a:xfrm>
            <a:off x="7192977" y="2434763"/>
            <a:ext cx="2670009" cy="837144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32000">
                <a:schemeClr val="accent4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755" tIns="304796" rIns="243836" bIns="304796" numCol="1" spcCol="1270" anchor="t" anchorCtr="0">
            <a:spAutoFit/>
          </a:bodyPr>
          <a:lstStyle/>
          <a:p>
            <a:pPr lvl="0" defTabSz="888889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SLALL (Till stock last)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190102" y="5740999"/>
            <a:ext cx="2316446" cy="578612"/>
          </a:xfrm>
          <a:prstGeom prst="rect">
            <a:avLst/>
          </a:prstGeom>
          <a:solidFill>
            <a:schemeClr val="tx1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918" tIns="121918" rIns="121918" bIns="121918" numCol="1" spcCol="1270" anchor="ctr" anchorCtr="0">
            <a:noAutofit/>
          </a:bodyPr>
          <a:lstStyle/>
          <a:p>
            <a:pPr marL="0" marR="0" lvl="0" indent="0" algn="r" defTabSz="8888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Montserrat Light "/>
              <a:ea typeface="+mn-ea"/>
              <a:cs typeface="+mn-cs"/>
            </a:endParaRPr>
          </a:p>
        </p:txBody>
      </p:sp>
      <p:sp>
        <p:nvSpPr>
          <p:cNvPr id="53" name="Parallelogram 52"/>
          <p:cNvSpPr/>
          <p:nvPr/>
        </p:nvSpPr>
        <p:spPr>
          <a:xfrm rot="5400000" flipV="1">
            <a:off x="6798817" y="2646494"/>
            <a:ext cx="1052384" cy="269813"/>
          </a:xfrm>
          <a:prstGeom prst="parallelogram">
            <a:avLst>
              <a:gd name="adj" fmla="val 66077"/>
            </a:avLst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 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797469" y="3307593"/>
            <a:ext cx="2316446" cy="2838756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3836" tIns="243836" rIns="243836" bIns="243836" numCol="1" spcCol="1270" anchor="t" anchorCtr="0">
            <a:noAutofit/>
          </a:bodyPr>
          <a:lstStyle/>
          <a:p>
            <a:pPr lvl="0" defTabSz="888889">
              <a:lnSpc>
                <a:spcPct val="15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Growth and maturity</a:t>
            </a:r>
          </a:p>
          <a:p>
            <a:pPr lvl="0" defTabSz="888889">
              <a:lnSpc>
                <a:spcPct val="15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Product establishment in market.</a:t>
            </a:r>
          </a:p>
        </p:txBody>
      </p:sp>
      <p:sp>
        <p:nvSpPr>
          <p:cNvPr id="9" name="Rectangle 8"/>
          <p:cNvSpPr/>
          <p:nvPr/>
        </p:nvSpPr>
        <p:spPr>
          <a:xfrm>
            <a:off x="4797696" y="2254327"/>
            <a:ext cx="2670009" cy="1097215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32000">
                <a:schemeClr val="accent3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755" tIns="304796" rIns="243836" bIns="304796" numCol="1" spcCol="1270" anchor="t" anchorCtr="0">
            <a:spAutoFit/>
          </a:bodyPr>
          <a:lstStyle/>
          <a:p>
            <a:pPr lvl="0" defTabSz="888889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2S (Stock to sale)</a:t>
            </a:r>
          </a:p>
          <a:p>
            <a:pPr defTabSz="888889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2SALL (order to sale)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797469" y="5561958"/>
            <a:ext cx="2316446" cy="578612"/>
          </a:xfrm>
          <a:prstGeom prst="rect">
            <a:avLst/>
          </a:prstGeom>
          <a:solidFill>
            <a:schemeClr val="tx1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918" tIns="121918" rIns="121918" bIns="121918" numCol="1" spcCol="1270" anchor="ctr" anchorCtr="0">
            <a:noAutofit/>
          </a:bodyPr>
          <a:lstStyle/>
          <a:p>
            <a:pPr marL="0" marR="0" lvl="0" indent="0" algn="r" defTabSz="8888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Montserrat Light "/>
              <a:ea typeface="+mn-ea"/>
              <a:cs typeface="+mn-cs"/>
            </a:endParaRPr>
          </a:p>
        </p:txBody>
      </p:sp>
      <p:sp>
        <p:nvSpPr>
          <p:cNvPr id="52" name="Parallelogram 51"/>
          <p:cNvSpPr/>
          <p:nvPr/>
        </p:nvSpPr>
        <p:spPr>
          <a:xfrm rot="5400000" flipV="1">
            <a:off x="4406185" y="2465400"/>
            <a:ext cx="1052384" cy="269813"/>
          </a:xfrm>
          <a:prstGeom prst="parallelogram">
            <a:avLst>
              <a:gd name="adj" fmla="val 66077"/>
            </a:avLst>
          </a:pr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 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07032" y="2858251"/>
            <a:ext cx="2316446" cy="3114835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3836" tIns="243836" rIns="243836" bIns="243836" numCol="1" spcCol="1270" anchor="t" anchorCtr="0">
            <a:noAutofit/>
          </a:bodyPr>
          <a:lstStyle/>
          <a:p>
            <a:pPr lvl="0" defTabSz="888889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r>
              <a:rPr lang="en-US" sz="1600" b="1" dirty="0">
                <a:solidFill>
                  <a:srgbClr val="57565A"/>
                </a:solidFill>
              </a:rPr>
              <a:t> </a:t>
            </a:r>
          </a:p>
          <a:p>
            <a:pPr lvl="0" defTabSz="888889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endParaRPr lang="en-US" sz="1600" b="1" dirty="0">
              <a:solidFill>
                <a:srgbClr val="57565A"/>
              </a:solidFill>
            </a:endParaRPr>
          </a:p>
          <a:p>
            <a:pPr lvl="0" algn="ctr" defTabSz="888889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r>
              <a:rPr lang="en-US" sz="1600" b="1" dirty="0">
                <a:solidFill>
                  <a:schemeClr val="tx1"/>
                </a:solidFill>
              </a:rPr>
              <a:t>Launch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Montserrat Light 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402415" y="2073891"/>
            <a:ext cx="2670009" cy="83714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32000">
                <a:schemeClr val="accent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755" tIns="304796" rIns="243836" bIns="304796" numCol="1" spcCol="1270" anchor="t" anchorCtr="0">
            <a:spAutoFit/>
          </a:bodyPr>
          <a:lstStyle/>
          <a:p>
            <a:pPr lvl="0" defTabSz="888889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PALL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407032" y="5394473"/>
            <a:ext cx="2316446" cy="578612"/>
          </a:xfrm>
          <a:prstGeom prst="rect">
            <a:avLst/>
          </a:prstGeom>
          <a:solidFill>
            <a:schemeClr val="tx1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918" tIns="121918" rIns="121918" bIns="121918" numCol="1" spcCol="1270" anchor="ctr" anchorCtr="0">
            <a:noAutofit/>
          </a:bodyPr>
          <a:lstStyle/>
          <a:p>
            <a:pPr marL="0" marR="0" lvl="0" indent="0" algn="r" defTabSz="8888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Montserrat Light 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-Chain</a:t>
            </a:r>
          </a:p>
        </p:txBody>
      </p:sp>
      <p:sp>
        <p:nvSpPr>
          <p:cNvPr id="3" name="Rectangle 2"/>
          <p:cNvSpPr/>
          <p:nvPr/>
        </p:nvSpPr>
        <p:spPr>
          <a:xfrm>
            <a:off x="-81476" y="2689246"/>
            <a:ext cx="2399815" cy="3110431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3836" tIns="243836" rIns="243836" bIns="243836" numCol="1" spcCol="1270" anchor="t" anchorCtr="0">
            <a:noAutofit/>
          </a:bodyPr>
          <a:lstStyle/>
          <a:p>
            <a:pPr lvl="0" defTabSz="888889">
              <a:lnSpc>
                <a:spcPct val="15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Concept/ Ideation</a:t>
            </a:r>
          </a:p>
          <a:p>
            <a:pPr lvl="0" defTabSz="888889">
              <a:lnSpc>
                <a:spcPct val="15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Design Development and Produc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Montserrat Light "/>
            </a:endParaRPr>
          </a:p>
        </p:txBody>
      </p:sp>
      <p:sp>
        <p:nvSpPr>
          <p:cNvPr id="34" name="Rectangle 33">
            <a:hlinkClick r:id="" action="ppaction://noaction"/>
          </p:cNvPr>
          <p:cNvSpPr/>
          <p:nvPr/>
        </p:nvSpPr>
        <p:spPr>
          <a:xfrm>
            <a:off x="1893" y="5221064"/>
            <a:ext cx="2316446" cy="578612"/>
          </a:xfrm>
          <a:prstGeom prst="rect">
            <a:avLst/>
          </a:prstGeom>
          <a:solidFill>
            <a:schemeClr val="tx1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918" tIns="121918" rIns="121918" bIns="121918" numCol="1" spcCol="1270" anchor="ctr" anchorCtr="0">
            <a:noAutofit/>
          </a:bodyPr>
          <a:lstStyle/>
          <a:p>
            <a:pPr marL="0" marR="0" lvl="0" indent="0" algn="r" defTabSz="8888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Montserrat Light "/>
              <a:ea typeface="+mn-ea"/>
              <a:cs typeface="+mn-cs"/>
            </a:endParaRPr>
          </a:p>
        </p:txBody>
      </p:sp>
      <p:sp>
        <p:nvSpPr>
          <p:cNvPr id="51" name="Parallelogram 50"/>
          <p:cNvSpPr/>
          <p:nvPr/>
        </p:nvSpPr>
        <p:spPr>
          <a:xfrm rot="5400000" flipV="1">
            <a:off x="2015748" y="2284856"/>
            <a:ext cx="1052384" cy="269813"/>
          </a:xfrm>
          <a:prstGeom prst="parallelogram">
            <a:avLst>
              <a:gd name="adj" fmla="val 66077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 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133" y="1893455"/>
            <a:ext cx="2670009" cy="8371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3836" tIns="304796" rIns="243836" bIns="304796" numCol="1" spcCol="1270" anchor="t" anchorCtr="0">
            <a:spAutoFit/>
          </a:bodyPr>
          <a:lstStyle/>
          <a:p>
            <a:pPr lvl="0" defTabSz="888889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P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102465" y="5303146"/>
            <a:ext cx="414450" cy="414447"/>
            <a:chOff x="6564979" y="4358506"/>
            <a:chExt cx="674638" cy="674638"/>
          </a:xfrm>
        </p:grpSpPr>
        <p:sp>
          <p:nvSpPr>
            <p:cNvPr id="32" name="Oval 31"/>
            <p:cNvSpPr/>
            <p:nvPr/>
          </p:nvSpPr>
          <p:spPr>
            <a:xfrm>
              <a:off x="6564979" y="4358506"/>
              <a:ext cx="674638" cy="67463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9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 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>
              <a:off x="6709217" y="4527690"/>
              <a:ext cx="386162" cy="336270"/>
            </a:xfrm>
            <a:custGeom>
              <a:avLst/>
              <a:gdLst>
                <a:gd name="T0" fmla="*/ 326 w 577"/>
                <a:gd name="T1" fmla="*/ 502 h 502"/>
                <a:gd name="T2" fmla="*/ 299 w 577"/>
                <a:gd name="T3" fmla="*/ 491 h 502"/>
                <a:gd name="T4" fmla="*/ 299 w 577"/>
                <a:gd name="T5" fmla="*/ 436 h 502"/>
                <a:gd name="T6" fmla="*/ 445 w 577"/>
                <a:gd name="T7" fmla="*/ 289 h 502"/>
                <a:gd name="T8" fmla="*/ 39 w 577"/>
                <a:gd name="T9" fmla="*/ 289 h 502"/>
                <a:gd name="T10" fmla="*/ 0 w 577"/>
                <a:gd name="T11" fmla="*/ 251 h 502"/>
                <a:gd name="T12" fmla="*/ 39 w 577"/>
                <a:gd name="T13" fmla="*/ 212 h 502"/>
                <a:gd name="T14" fmla="*/ 445 w 577"/>
                <a:gd name="T15" fmla="*/ 212 h 502"/>
                <a:gd name="T16" fmla="*/ 299 w 577"/>
                <a:gd name="T17" fmla="*/ 65 h 502"/>
                <a:gd name="T18" fmla="*/ 299 w 577"/>
                <a:gd name="T19" fmla="*/ 11 h 502"/>
                <a:gd name="T20" fmla="*/ 326 w 577"/>
                <a:gd name="T21" fmla="*/ 0 h 502"/>
                <a:gd name="T22" fmla="*/ 353 w 577"/>
                <a:gd name="T23" fmla="*/ 11 h 502"/>
                <a:gd name="T24" fmla="*/ 566 w 577"/>
                <a:gd name="T25" fmla="*/ 224 h 502"/>
                <a:gd name="T26" fmla="*/ 571 w 577"/>
                <a:gd name="T27" fmla="*/ 229 h 502"/>
                <a:gd name="T28" fmla="*/ 571 w 577"/>
                <a:gd name="T29" fmla="*/ 230 h 502"/>
                <a:gd name="T30" fmla="*/ 572 w 577"/>
                <a:gd name="T31" fmla="*/ 231 h 502"/>
                <a:gd name="T32" fmla="*/ 574 w 577"/>
                <a:gd name="T33" fmla="*/ 236 h 502"/>
                <a:gd name="T34" fmla="*/ 575 w 577"/>
                <a:gd name="T35" fmla="*/ 238 h 502"/>
                <a:gd name="T36" fmla="*/ 576 w 577"/>
                <a:gd name="T37" fmla="*/ 243 h 502"/>
                <a:gd name="T38" fmla="*/ 577 w 577"/>
                <a:gd name="T39" fmla="*/ 251 h 502"/>
                <a:gd name="T40" fmla="*/ 576 w 577"/>
                <a:gd name="T41" fmla="*/ 258 h 502"/>
                <a:gd name="T42" fmla="*/ 575 w 577"/>
                <a:gd name="T43" fmla="*/ 263 h 502"/>
                <a:gd name="T44" fmla="*/ 574 w 577"/>
                <a:gd name="T45" fmla="*/ 266 h 502"/>
                <a:gd name="T46" fmla="*/ 572 w 577"/>
                <a:gd name="T47" fmla="*/ 271 h 502"/>
                <a:gd name="T48" fmla="*/ 571 w 577"/>
                <a:gd name="T49" fmla="*/ 272 h 502"/>
                <a:gd name="T50" fmla="*/ 566 w 577"/>
                <a:gd name="T51" fmla="*/ 278 h 502"/>
                <a:gd name="T52" fmla="*/ 353 w 577"/>
                <a:gd name="T53" fmla="*/ 491 h 502"/>
                <a:gd name="T54" fmla="*/ 326 w 577"/>
                <a:gd name="T55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77" h="502">
                  <a:moveTo>
                    <a:pt x="326" y="502"/>
                  </a:moveTo>
                  <a:cubicBezTo>
                    <a:pt x="316" y="502"/>
                    <a:pt x="306" y="498"/>
                    <a:pt x="299" y="491"/>
                  </a:cubicBezTo>
                  <a:cubicBezTo>
                    <a:pt x="284" y="476"/>
                    <a:pt x="284" y="451"/>
                    <a:pt x="299" y="436"/>
                  </a:cubicBezTo>
                  <a:cubicBezTo>
                    <a:pt x="445" y="289"/>
                    <a:pt x="445" y="289"/>
                    <a:pt x="445" y="289"/>
                  </a:cubicBezTo>
                  <a:cubicBezTo>
                    <a:pt x="39" y="289"/>
                    <a:pt x="39" y="289"/>
                    <a:pt x="39" y="289"/>
                  </a:cubicBezTo>
                  <a:cubicBezTo>
                    <a:pt x="17" y="289"/>
                    <a:pt x="0" y="272"/>
                    <a:pt x="0" y="251"/>
                  </a:cubicBezTo>
                  <a:cubicBezTo>
                    <a:pt x="0" y="230"/>
                    <a:pt x="17" y="212"/>
                    <a:pt x="39" y="212"/>
                  </a:cubicBezTo>
                  <a:cubicBezTo>
                    <a:pt x="445" y="212"/>
                    <a:pt x="445" y="212"/>
                    <a:pt x="445" y="212"/>
                  </a:cubicBezTo>
                  <a:cubicBezTo>
                    <a:pt x="299" y="65"/>
                    <a:pt x="299" y="65"/>
                    <a:pt x="299" y="65"/>
                  </a:cubicBezTo>
                  <a:cubicBezTo>
                    <a:pt x="284" y="50"/>
                    <a:pt x="284" y="26"/>
                    <a:pt x="299" y="11"/>
                  </a:cubicBezTo>
                  <a:cubicBezTo>
                    <a:pt x="306" y="4"/>
                    <a:pt x="316" y="0"/>
                    <a:pt x="326" y="0"/>
                  </a:cubicBezTo>
                  <a:cubicBezTo>
                    <a:pt x="336" y="0"/>
                    <a:pt x="346" y="4"/>
                    <a:pt x="353" y="11"/>
                  </a:cubicBezTo>
                  <a:cubicBezTo>
                    <a:pt x="566" y="224"/>
                    <a:pt x="566" y="224"/>
                    <a:pt x="566" y="224"/>
                  </a:cubicBezTo>
                  <a:cubicBezTo>
                    <a:pt x="568" y="225"/>
                    <a:pt x="569" y="227"/>
                    <a:pt x="571" y="229"/>
                  </a:cubicBezTo>
                  <a:cubicBezTo>
                    <a:pt x="571" y="230"/>
                    <a:pt x="571" y="230"/>
                    <a:pt x="571" y="230"/>
                  </a:cubicBezTo>
                  <a:cubicBezTo>
                    <a:pt x="572" y="231"/>
                    <a:pt x="572" y="231"/>
                    <a:pt x="572" y="231"/>
                  </a:cubicBezTo>
                  <a:cubicBezTo>
                    <a:pt x="572" y="232"/>
                    <a:pt x="573" y="234"/>
                    <a:pt x="574" y="236"/>
                  </a:cubicBezTo>
                  <a:cubicBezTo>
                    <a:pt x="574" y="237"/>
                    <a:pt x="575" y="238"/>
                    <a:pt x="575" y="238"/>
                  </a:cubicBezTo>
                  <a:cubicBezTo>
                    <a:pt x="575" y="240"/>
                    <a:pt x="576" y="241"/>
                    <a:pt x="576" y="243"/>
                  </a:cubicBezTo>
                  <a:cubicBezTo>
                    <a:pt x="577" y="246"/>
                    <a:pt x="577" y="248"/>
                    <a:pt x="577" y="251"/>
                  </a:cubicBezTo>
                  <a:cubicBezTo>
                    <a:pt x="577" y="253"/>
                    <a:pt x="577" y="256"/>
                    <a:pt x="576" y="258"/>
                  </a:cubicBezTo>
                  <a:cubicBezTo>
                    <a:pt x="576" y="260"/>
                    <a:pt x="575" y="262"/>
                    <a:pt x="575" y="263"/>
                  </a:cubicBezTo>
                  <a:cubicBezTo>
                    <a:pt x="575" y="264"/>
                    <a:pt x="575" y="265"/>
                    <a:pt x="574" y="266"/>
                  </a:cubicBezTo>
                  <a:cubicBezTo>
                    <a:pt x="573" y="267"/>
                    <a:pt x="573" y="269"/>
                    <a:pt x="572" y="271"/>
                  </a:cubicBezTo>
                  <a:cubicBezTo>
                    <a:pt x="571" y="271"/>
                    <a:pt x="571" y="272"/>
                    <a:pt x="571" y="272"/>
                  </a:cubicBezTo>
                  <a:cubicBezTo>
                    <a:pt x="569" y="274"/>
                    <a:pt x="568" y="276"/>
                    <a:pt x="566" y="278"/>
                  </a:cubicBezTo>
                  <a:cubicBezTo>
                    <a:pt x="353" y="491"/>
                    <a:pt x="353" y="491"/>
                    <a:pt x="353" y="491"/>
                  </a:cubicBezTo>
                  <a:cubicBezTo>
                    <a:pt x="346" y="498"/>
                    <a:pt x="336" y="502"/>
                    <a:pt x="326" y="5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8" tIns="60959" rIns="121918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999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Montserrat Light "/>
                <a:ea typeface="+mn-ea"/>
                <a:cs typeface="+mn-cs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2514833" y="5476556"/>
            <a:ext cx="414450" cy="414447"/>
            <a:chOff x="6564979" y="4358506"/>
            <a:chExt cx="674638" cy="674638"/>
          </a:xfrm>
        </p:grpSpPr>
        <p:sp>
          <p:nvSpPr>
            <p:cNvPr id="56" name="Oval 55"/>
            <p:cNvSpPr/>
            <p:nvPr/>
          </p:nvSpPr>
          <p:spPr>
            <a:xfrm>
              <a:off x="6564979" y="4358506"/>
              <a:ext cx="674638" cy="67463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9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 "/>
                <a:ea typeface="+mn-ea"/>
                <a:cs typeface="+mn-cs"/>
              </a:endParaRPr>
            </a:p>
          </p:txBody>
        </p:sp>
        <p:sp>
          <p:nvSpPr>
            <p:cNvPr id="57" name="Freeform 13"/>
            <p:cNvSpPr>
              <a:spLocks/>
            </p:cNvSpPr>
            <p:nvPr/>
          </p:nvSpPr>
          <p:spPr bwMode="auto">
            <a:xfrm>
              <a:off x="6709217" y="4527690"/>
              <a:ext cx="386162" cy="336270"/>
            </a:xfrm>
            <a:custGeom>
              <a:avLst/>
              <a:gdLst>
                <a:gd name="T0" fmla="*/ 326 w 577"/>
                <a:gd name="T1" fmla="*/ 502 h 502"/>
                <a:gd name="T2" fmla="*/ 299 w 577"/>
                <a:gd name="T3" fmla="*/ 491 h 502"/>
                <a:gd name="T4" fmla="*/ 299 w 577"/>
                <a:gd name="T5" fmla="*/ 436 h 502"/>
                <a:gd name="T6" fmla="*/ 445 w 577"/>
                <a:gd name="T7" fmla="*/ 289 h 502"/>
                <a:gd name="T8" fmla="*/ 39 w 577"/>
                <a:gd name="T9" fmla="*/ 289 h 502"/>
                <a:gd name="T10" fmla="*/ 0 w 577"/>
                <a:gd name="T11" fmla="*/ 251 h 502"/>
                <a:gd name="T12" fmla="*/ 39 w 577"/>
                <a:gd name="T13" fmla="*/ 212 h 502"/>
                <a:gd name="T14" fmla="*/ 445 w 577"/>
                <a:gd name="T15" fmla="*/ 212 h 502"/>
                <a:gd name="T16" fmla="*/ 299 w 577"/>
                <a:gd name="T17" fmla="*/ 65 h 502"/>
                <a:gd name="T18" fmla="*/ 299 w 577"/>
                <a:gd name="T19" fmla="*/ 11 h 502"/>
                <a:gd name="T20" fmla="*/ 326 w 577"/>
                <a:gd name="T21" fmla="*/ 0 h 502"/>
                <a:gd name="T22" fmla="*/ 353 w 577"/>
                <a:gd name="T23" fmla="*/ 11 h 502"/>
                <a:gd name="T24" fmla="*/ 566 w 577"/>
                <a:gd name="T25" fmla="*/ 224 h 502"/>
                <a:gd name="T26" fmla="*/ 571 w 577"/>
                <a:gd name="T27" fmla="*/ 229 h 502"/>
                <a:gd name="T28" fmla="*/ 571 w 577"/>
                <a:gd name="T29" fmla="*/ 230 h 502"/>
                <a:gd name="T30" fmla="*/ 572 w 577"/>
                <a:gd name="T31" fmla="*/ 231 h 502"/>
                <a:gd name="T32" fmla="*/ 574 w 577"/>
                <a:gd name="T33" fmla="*/ 236 h 502"/>
                <a:gd name="T34" fmla="*/ 575 w 577"/>
                <a:gd name="T35" fmla="*/ 238 h 502"/>
                <a:gd name="T36" fmla="*/ 576 w 577"/>
                <a:gd name="T37" fmla="*/ 243 h 502"/>
                <a:gd name="T38" fmla="*/ 577 w 577"/>
                <a:gd name="T39" fmla="*/ 251 h 502"/>
                <a:gd name="T40" fmla="*/ 576 w 577"/>
                <a:gd name="T41" fmla="*/ 258 h 502"/>
                <a:gd name="T42" fmla="*/ 575 w 577"/>
                <a:gd name="T43" fmla="*/ 263 h 502"/>
                <a:gd name="T44" fmla="*/ 574 w 577"/>
                <a:gd name="T45" fmla="*/ 266 h 502"/>
                <a:gd name="T46" fmla="*/ 572 w 577"/>
                <a:gd name="T47" fmla="*/ 271 h 502"/>
                <a:gd name="T48" fmla="*/ 571 w 577"/>
                <a:gd name="T49" fmla="*/ 272 h 502"/>
                <a:gd name="T50" fmla="*/ 566 w 577"/>
                <a:gd name="T51" fmla="*/ 278 h 502"/>
                <a:gd name="T52" fmla="*/ 353 w 577"/>
                <a:gd name="T53" fmla="*/ 491 h 502"/>
                <a:gd name="T54" fmla="*/ 326 w 577"/>
                <a:gd name="T55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77" h="502">
                  <a:moveTo>
                    <a:pt x="326" y="502"/>
                  </a:moveTo>
                  <a:cubicBezTo>
                    <a:pt x="316" y="502"/>
                    <a:pt x="306" y="498"/>
                    <a:pt x="299" y="491"/>
                  </a:cubicBezTo>
                  <a:cubicBezTo>
                    <a:pt x="284" y="476"/>
                    <a:pt x="284" y="451"/>
                    <a:pt x="299" y="436"/>
                  </a:cubicBezTo>
                  <a:cubicBezTo>
                    <a:pt x="445" y="289"/>
                    <a:pt x="445" y="289"/>
                    <a:pt x="445" y="289"/>
                  </a:cubicBezTo>
                  <a:cubicBezTo>
                    <a:pt x="39" y="289"/>
                    <a:pt x="39" y="289"/>
                    <a:pt x="39" y="289"/>
                  </a:cubicBezTo>
                  <a:cubicBezTo>
                    <a:pt x="17" y="289"/>
                    <a:pt x="0" y="272"/>
                    <a:pt x="0" y="251"/>
                  </a:cubicBezTo>
                  <a:cubicBezTo>
                    <a:pt x="0" y="230"/>
                    <a:pt x="17" y="212"/>
                    <a:pt x="39" y="212"/>
                  </a:cubicBezTo>
                  <a:cubicBezTo>
                    <a:pt x="445" y="212"/>
                    <a:pt x="445" y="212"/>
                    <a:pt x="445" y="212"/>
                  </a:cubicBezTo>
                  <a:cubicBezTo>
                    <a:pt x="299" y="65"/>
                    <a:pt x="299" y="65"/>
                    <a:pt x="299" y="65"/>
                  </a:cubicBezTo>
                  <a:cubicBezTo>
                    <a:pt x="284" y="50"/>
                    <a:pt x="284" y="26"/>
                    <a:pt x="299" y="11"/>
                  </a:cubicBezTo>
                  <a:cubicBezTo>
                    <a:pt x="306" y="4"/>
                    <a:pt x="316" y="0"/>
                    <a:pt x="326" y="0"/>
                  </a:cubicBezTo>
                  <a:cubicBezTo>
                    <a:pt x="336" y="0"/>
                    <a:pt x="346" y="4"/>
                    <a:pt x="353" y="11"/>
                  </a:cubicBezTo>
                  <a:cubicBezTo>
                    <a:pt x="566" y="224"/>
                    <a:pt x="566" y="224"/>
                    <a:pt x="566" y="224"/>
                  </a:cubicBezTo>
                  <a:cubicBezTo>
                    <a:pt x="568" y="225"/>
                    <a:pt x="569" y="227"/>
                    <a:pt x="571" y="229"/>
                  </a:cubicBezTo>
                  <a:cubicBezTo>
                    <a:pt x="571" y="230"/>
                    <a:pt x="571" y="230"/>
                    <a:pt x="571" y="230"/>
                  </a:cubicBezTo>
                  <a:cubicBezTo>
                    <a:pt x="572" y="231"/>
                    <a:pt x="572" y="231"/>
                    <a:pt x="572" y="231"/>
                  </a:cubicBezTo>
                  <a:cubicBezTo>
                    <a:pt x="572" y="232"/>
                    <a:pt x="573" y="234"/>
                    <a:pt x="574" y="236"/>
                  </a:cubicBezTo>
                  <a:cubicBezTo>
                    <a:pt x="574" y="237"/>
                    <a:pt x="575" y="238"/>
                    <a:pt x="575" y="238"/>
                  </a:cubicBezTo>
                  <a:cubicBezTo>
                    <a:pt x="575" y="240"/>
                    <a:pt x="576" y="241"/>
                    <a:pt x="576" y="243"/>
                  </a:cubicBezTo>
                  <a:cubicBezTo>
                    <a:pt x="577" y="246"/>
                    <a:pt x="577" y="248"/>
                    <a:pt x="577" y="251"/>
                  </a:cubicBezTo>
                  <a:cubicBezTo>
                    <a:pt x="577" y="253"/>
                    <a:pt x="577" y="256"/>
                    <a:pt x="576" y="258"/>
                  </a:cubicBezTo>
                  <a:cubicBezTo>
                    <a:pt x="576" y="260"/>
                    <a:pt x="575" y="262"/>
                    <a:pt x="575" y="263"/>
                  </a:cubicBezTo>
                  <a:cubicBezTo>
                    <a:pt x="575" y="264"/>
                    <a:pt x="575" y="265"/>
                    <a:pt x="574" y="266"/>
                  </a:cubicBezTo>
                  <a:cubicBezTo>
                    <a:pt x="573" y="267"/>
                    <a:pt x="573" y="269"/>
                    <a:pt x="572" y="271"/>
                  </a:cubicBezTo>
                  <a:cubicBezTo>
                    <a:pt x="571" y="271"/>
                    <a:pt x="571" y="272"/>
                    <a:pt x="571" y="272"/>
                  </a:cubicBezTo>
                  <a:cubicBezTo>
                    <a:pt x="569" y="274"/>
                    <a:pt x="568" y="276"/>
                    <a:pt x="566" y="278"/>
                  </a:cubicBezTo>
                  <a:cubicBezTo>
                    <a:pt x="353" y="491"/>
                    <a:pt x="353" y="491"/>
                    <a:pt x="353" y="491"/>
                  </a:cubicBezTo>
                  <a:cubicBezTo>
                    <a:pt x="346" y="498"/>
                    <a:pt x="336" y="502"/>
                    <a:pt x="326" y="5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8" tIns="60959" rIns="121918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999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Montserrat Light "/>
                <a:ea typeface="+mn-ea"/>
                <a:cs typeface="+mn-cs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4893978" y="5644041"/>
            <a:ext cx="414450" cy="414447"/>
            <a:chOff x="6564979" y="4358506"/>
            <a:chExt cx="674638" cy="674638"/>
          </a:xfrm>
        </p:grpSpPr>
        <p:sp>
          <p:nvSpPr>
            <p:cNvPr id="59" name="Oval 58"/>
            <p:cNvSpPr/>
            <p:nvPr/>
          </p:nvSpPr>
          <p:spPr>
            <a:xfrm>
              <a:off x="6564979" y="4358506"/>
              <a:ext cx="674638" cy="67463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9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 "/>
                <a:ea typeface="+mn-ea"/>
                <a:cs typeface="+mn-cs"/>
              </a:endParaRPr>
            </a:p>
          </p:txBody>
        </p:sp>
        <p:sp>
          <p:nvSpPr>
            <p:cNvPr id="60" name="Freeform 13"/>
            <p:cNvSpPr>
              <a:spLocks/>
            </p:cNvSpPr>
            <p:nvPr/>
          </p:nvSpPr>
          <p:spPr bwMode="auto">
            <a:xfrm>
              <a:off x="6709217" y="4527690"/>
              <a:ext cx="386162" cy="336270"/>
            </a:xfrm>
            <a:custGeom>
              <a:avLst/>
              <a:gdLst>
                <a:gd name="T0" fmla="*/ 326 w 577"/>
                <a:gd name="T1" fmla="*/ 502 h 502"/>
                <a:gd name="T2" fmla="*/ 299 w 577"/>
                <a:gd name="T3" fmla="*/ 491 h 502"/>
                <a:gd name="T4" fmla="*/ 299 w 577"/>
                <a:gd name="T5" fmla="*/ 436 h 502"/>
                <a:gd name="T6" fmla="*/ 445 w 577"/>
                <a:gd name="T7" fmla="*/ 289 h 502"/>
                <a:gd name="T8" fmla="*/ 39 w 577"/>
                <a:gd name="T9" fmla="*/ 289 h 502"/>
                <a:gd name="T10" fmla="*/ 0 w 577"/>
                <a:gd name="T11" fmla="*/ 251 h 502"/>
                <a:gd name="T12" fmla="*/ 39 w 577"/>
                <a:gd name="T13" fmla="*/ 212 h 502"/>
                <a:gd name="T14" fmla="*/ 445 w 577"/>
                <a:gd name="T15" fmla="*/ 212 h 502"/>
                <a:gd name="T16" fmla="*/ 299 w 577"/>
                <a:gd name="T17" fmla="*/ 65 h 502"/>
                <a:gd name="T18" fmla="*/ 299 w 577"/>
                <a:gd name="T19" fmla="*/ 11 h 502"/>
                <a:gd name="T20" fmla="*/ 326 w 577"/>
                <a:gd name="T21" fmla="*/ 0 h 502"/>
                <a:gd name="T22" fmla="*/ 353 w 577"/>
                <a:gd name="T23" fmla="*/ 11 h 502"/>
                <a:gd name="T24" fmla="*/ 566 w 577"/>
                <a:gd name="T25" fmla="*/ 224 h 502"/>
                <a:gd name="T26" fmla="*/ 571 w 577"/>
                <a:gd name="T27" fmla="*/ 229 h 502"/>
                <a:gd name="T28" fmla="*/ 571 w 577"/>
                <a:gd name="T29" fmla="*/ 230 h 502"/>
                <a:gd name="T30" fmla="*/ 572 w 577"/>
                <a:gd name="T31" fmla="*/ 231 h 502"/>
                <a:gd name="T32" fmla="*/ 574 w 577"/>
                <a:gd name="T33" fmla="*/ 236 h 502"/>
                <a:gd name="T34" fmla="*/ 575 w 577"/>
                <a:gd name="T35" fmla="*/ 238 h 502"/>
                <a:gd name="T36" fmla="*/ 576 w 577"/>
                <a:gd name="T37" fmla="*/ 243 h 502"/>
                <a:gd name="T38" fmla="*/ 577 w 577"/>
                <a:gd name="T39" fmla="*/ 251 h 502"/>
                <a:gd name="T40" fmla="*/ 576 w 577"/>
                <a:gd name="T41" fmla="*/ 258 h 502"/>
                <a:gd name="T42" fmla="*/ 575 w 577"/>
                <a:gd name="T43" fmla="*/ 263 h 502"/>
                <a:gd name="T44" fmla="*/ 574 w 577"/>
                <a:gd name="T45" fmla="*/ 266 h 502"/>
                <a:gd name="T46" fmla="*/ 572 w 577"/>
                <a:gd name="T47" fmla="*/ 271 h 502"/>
                <a:gd name="T48" fmla="*/ 571 w 577"/>
                <a:gd name="T49" fmla="*/ 272 h 502"/>
                <a:gd name="T50" fmla="*/ 566 w 577"/>
                <a:gd name="T51" fmla="*/ 278 h 502"/>
                <a:gd name="T52" fmla="*/ 353 w 577"/>
                <a:gd name="T53" fmla="*/ 491 h 502"/>
                <a:gd name="T54" fmla="*/ 326 w 577"/>
                <a:gd name="T55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77" h="502">
                  <a:moveTo>
                    <a:pt x="326" y="502"/>
                  </a:moveTo>
                  <a:cubicBezTo>
                    <a:pt x="316" y="502"/>
                    <a:pt x="306" y="498"/>
                    <a:pt x="299" y="491"/>
                  </a:cubicBezTo>
                  <a:cubicBezTo>
                    <a:pt x="284" y="476"/>
                    <a:pt x="284" y="451"/>
                    <a:pt x="299" y="436"/>
                  </a:cubicBezTo>
                  <a:cubicBezTo>
                    <a:pt x="445" y="289"/>
                    <a:pt x="445" y="289"/>
                    <a:pt x="445" y="289"/>
                  </a:cubicBezTo>
                  <a:cubicBezTo>
                    <a:pt x="39" y="289"/>
                    <a:pt x="39" y="289"/>
                    <a:pt x="39" y="289"/>
                  </a:cubicBezTo>
                  <a:cubicBezTo>
                    <a:pt x="17" y="289"/>
                    <a:pt x="0" y="272"/>
                    <a:pt x="0" y="251"/>
                  </a:cubicBezTo>
                  <a:cubicBezTo>
                    <a:pt x="0" y="230"/>
                    <a:pt x="17" y="212"/>
                    <a:pt x="39" y="212"/>
                  </a:cubicBezTo>
                  <a:cubicBezTo>
                    <a:pt x="445" y="212"/>
                    <a:pt x="445" y="212"/>
                    <a:pt x="445" y="212"/>
                  </a:cubicBezTo>
                  <a:cubicBezTo>
                    <a:pt x="299" y="65"/>
                    <a:pt x="299" y="65"/>
                    <a:pt x="299" y="65"/>
                  </a:cubicBezTo>
                  <a:cubicBezTo>
                    <a:pt x="284" y="50"/>
                    <a:pt x="284" y="26"/>
                    <a:pt x="299" y="11"/>
                  </a:cubicBezTo>
                  <a:cubicBezTo>
                    <a:pt x="306" y="4"/>
                    <a:pt x="316" y="0"/>
                    <a:pt x="326" y="0"/>
                  </a:cubicBezTo>
                  <a:cubicBezTo>
                    <a:pt x="336" y="0"/>
                    <a:pt x="346" y="4"/>
                    <a:pt x="353" y="11"/>
                  </a:cubicBezTo>
                  <a:cubicBezTo>
                    <a:pt x="566" y="224"/>
                    <a:pt x="566" y="224"/>
                    <a:pt x="566" y="224"/>
                  </a:cubicBezTo>
                  <a:cubicBezTo>
                    <a:pt x="568" y="225"/>
                    <a:pt x="569" y="227"/>
                    <a:pt x="571" y="229"/>
                  </a:cubicBezTo>
                  <a:cubicBezTo>
                    <a:pt x="571" y="230"/>
                    <a:pt x="571" y="230"/>
                    <a:pt x="571" y="230"/>
                  </a:cubicBezTo>
                  <a:cubicBezTo>
                    <a:pt x="572" y="231"/>
                    <a:pt x="572" y="231"/>
                    <a:pt x="572" y="231"/>
                  </a:cubicBezTo>
                  <a:cubicBezTo>
                    <a:pt x="572" y="232"/>
                    <a:pt x="573" y="234"/>
                    <a:pt x="574" y="236"/>
                  </a:cubicBezTo>
                  <a:cubicBezTo>
                    <a:pt x="574" y="237"/>
                    <a:pt x="575" y="238"/>
                    <a:pt x="575" y="238"/>
                  </a:cubicBezTo>
                  <a:cubicBezTo>
                    <a:pt x="575" y="240"/>
                    <a:pt x="576" y="241"/>
                    <a:pt x="576" y="243"/>
                  </a:cubicBezTo>
                  <a:cubicBezTo>
                    <a:pt x="577" y="246"/>
                    <a:pt x="577" y="248"/>
                    <a:pt x="577" y="251"/>
                  </a:cubicBezTo>
                  <a:cubicBezTo>
                    <a:pt x="577" y="253"/>
                    <a:pt x="577" y="256"/>
                    <a:pt x="576" y="258"/>
                  </a:cubicBezTo>
                  <a:cubicBezTo>
                    <a:pt x="576" y="260"/>
                    <a:pt x="575" y="262"/>
                    <a:pt x="575" y="263"/>
                  </a:cubicBezTo>
                  <a:cubicBezTo>
                    <a:pt x="575" y="264"/>
                    <a:pt x="575" y="265"/>
                    <a:pt x="574" y="266"/>
                  </a:cubicBezTo>
                  <a:cubicBezTo>
                    <a:pt x="573" y="267"/>
                    <a:pt x="573" y="269"/>
                    <a:pt x="572" y="271"/>
                  </a:cubicBezTo>
                  <a:cubicBezTo>
                    <a:pt x="571" y="271"/>
                    <a:pt x="571" y="272"/>
                    <a:pt x="571" y="272"/>
                  </a:cubicBezTo>
                  <a:cubicBezTo>
                    <a:pt x="569" y="274"/>
                    <a:pt x="568" y="276"/>
                    <a:pt x="566" y="278"/>
                  </a:cubicBezTo>
                  <a:cubicBezTo>
                    <a:pt x="353" y="491"/>
                    <a:pt x="353" y="491"/>
                    <a:pt x="353" y="491"/>
                  </a:cubicBezTo>
                  <a:cubicBezTo>
                    <a:pt x="346" y="498"/>
                    <a:pt x="336" y="502"/>
                    <a:pt x="326" y="5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8" tIns="60959" rIns="121918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999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Montserrat Light "/>
                <a:ea typeface="+mn-ea"/>
                <a:cs typeface="+mn-cs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7286979" y="5823082"/>
            <a:ext cx="414450" cy="414447"/>
            <a:chOff x="6564979" y="4358506"/>
            <a:chExt cx="674638" cy="674638"/>
          </a:xfrm>
        </p:grpSpPr>
        <p:sp>
          <p:nvSpPr>
            <p:cNvPr id="62" name="Oval 61"/>
            <p:cNvSpPr/>
            <p:nvPr/>
          </p:nvSpPr>
          <p:spPr>
            <a:xfrm>
              <a:off x="6564979" y="4358506"/>
              <a:ext cx="674638" cy="67463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9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 "/>
                <a:ea typeface="+mn-ea"/>
                <a:cs typeface="+mn-cs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auto">
            <a:xfrm>
              <a:off x="6709217" y="4527690"/>
              <a:ext cx="386162" cy="336270"/>
            </a:xfrm>
            <a:custGeom>
              <a:avLst/>
              <a:gdLst>
                <a:gd name="T0" fmla="*/ 326 w 577"/>
                <a:gd name="T1" fmla="*/ 502 h 502"/>
                <a:gd name="T2" fmla="*/ 299 w 577"/>
                <a:gd name="T3" fmla="*/ 491 h 502"/>
                <a:gd name="T4" fmla="*/ 299 w 577"/>
                <a:gd name="T5" fmla="*/ 436 h 502"/>
                <a:gd name="T6" fmla="*/ 445 w 577"/>
                <a:gd name="T7" fmla="*/ 289 h 502"/>
                <a:gd name="T8" fmla="*/ 39 w 577"/>
                <a:gd name="T9" fmla="*/ 289 h 502"/>
                <a:gd name="T10" fmla="*/ 0 w 577"/>
                <a:gd name="T11" fmla="*/ 251 h 502"/>
                <a:gd name="T12" fmla="*/ 39 w 577"/>
                <a:gd name="T13" fmla="*/ 212 h 502"/>
                <a:gd name="T14" fmla="*/ 445 w 577"/>
                <a:gd name="T15" fmla="*/ 212 h 502"/>
                <a:gd name="T16" fmla="*/ 299 w 577"/>
                <a:gd name="T17" fmla="*/ 65 h 502"/>
                <a:gd name="T18" fmla="*/ 299 w 577"/>
                <a:gd name="T19" fmla="*/ 11 h 502"/>
                <a:gd name="T20" fmla="*/ 326 w 577"/>
                <a:gd name="T21" fmla="*/ 0 h 502"/>
                <a:gd name="T22" fmla="*/ 353 w 577"/>
                <a:gd name="T23" fmla="*/ 11 h 502"/>
                <a:gd name="T24" fmla="*/ 566 w 577"/>
                <a:gd name="T25" fmla="*/ 224 h 502"/>
                <a:gd name="T26" fmla="*/ 571 w 577"/>
                <a:gd name="T27" fmla="*/ 229 h 502"/>
                <a:gd name="T28" fmla="*/ 571 w 577"/>
                <a:gd name="T29" fmla="*/ 230 h 502"/>
                <a:gd name="T30" fmla="*/ 572 w 577"/>
                <a:gd name="T31" fmla="*/ 231 h 502"/>
                <a:gd name="T32" fmla="*/ 574 w 577"/>
                <a:gd name="T33" fmla="*/ 236 h 502"/>
                <a:gd name="T34" fmla="*/ 575 w 577"/>
                <a:gd name="T35" fmla="*/ 238 h 502"/>
                <a:gd name="T36" fmla="*/ 576 w 577"/>
                <a:gd name="T37" fmla="*/ 243 h 502"/>
                <a:gd name="T38" fmla="*/ 577 w 577"/>
                <a:gd name="T39" fmla="*/ 251 h 502"/>
                <a:gd name="T40" fmla="*/ 576 w 577"/>
                <a:gd name="T41" fmla="*/ 258 h 502"/>
                <a:gd name="T42" fmla="*/ 575 w 577"/>
                <a:gd name="T43" fmla="*/ 263 h 502"/>
                <a:gd name="T44" fmla="*/ 574 w 577"/>
                <a:gd name="T45" fmla="*/ 266 h 502"/>
                <a:gd name="T46" fmla="*/ 572 w 577"/>
                <a:gd name="T47" fmla="*/ 271 h 502"/>
                <a:gd name="T48" fmla="*/ 571 w 577"/>
                <a:gd name="T49" fmla="*/ 272 h 502"/>
                <a:gd name="T50" fmla="*/ 566 w 577"/>
                <a:gd name="T51" fmla="*/ 278 h 502"/>
                <a:gd name="T52" fmla="*/ 353 w 577"/>
                <a:gd name="T53" fmla="*/ 491 h 502"/>
                <a:gd name="T54" fmla="*/ 326 w 577"/>
                <a:gd name="T55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77" h="502">
                  <a:moveTo>
                    <a:pt x="326" y="502"/>
                  </a:moveTo>
                  <a:cubicBezTo>
                    <a:pt x="316" y="502"/>
                    <a:pt x="306" y="498"/>
                    <a:pt x="299" y="491"/>
                  </a:cubicBezTo>
                  <a:cubicBezTo>
                    <a:pt x="284" y="476"/>
                    <a:pt x="284" y="451"/>
                    <a:pt x="299" y="436"/>
                  </a:cubicBezTo>
                  <a:cubicBezTo>
                    <a:pt x="445" y="289"/>
                    <a:pt x="445" y="289"/>
                    <a:pt x="445" y="289"/>
                  </a:cubicBezTo>
                  <a:cubicBezTo>
                    <a:pt x="39" y="289"/>
                    <a:pt x="39" y="289"/>
                    <a:pt x="39" y="289"/>
                  </a:cubicBezTo>
                  <a:cubicBezTo>
                    <a:pt x="17" y="289"/>
                    <a:pt x="0" y="272"/>
                    <a:pt x="0" y="251"/>
                  </a:cubicBezTo>
                  <a:cubicBezTo>
                    <a:pt x="0" y="230"/>
                    <a:pt x="17" y="212"/>
                    <a:pt x="39" y="212"/>
                  </a:cubicBezTo>
                  <a:cubicBezTo>
                    <a:pt x="445" y="212"/>
                    <a:pt x="445" y="212"/>
                    <a:pt x="445" y="212"/>
                  </a:cubicBezTo>
                  <a:cubicBezTo>
                    <a:pt x="299" y="65"/>
                    <a:pt x="299" y="65"/>
                    <a:pt x="299" y="65"/>
                  </a:cubicBezTo>
                  <a:cubicBezTo>
                    <a:pt x="284" y="50"/>
                    <a:pt x="284" y="26"/>
                    <a:pt x="299" y="11"/>
                  </a:cubicBezTo>
                  <a:cubicBezTo>
                    <a:pt x="306" y="4"/>
                    <a:pt x="316" y="0"/>
                    <a:pt x="326" y="0"/>
                  </a:cubicBezTo>
                  <a:cubicBezTo>
                    <a:pt x="336" y="0"/>
                    <a:pt x="346" y="4"/>
                    <a:pt x="353" y="11"/>
                  </a:cubicBezTo>
                  <a:cubicBezTo>
                    <a:pt x="566" y="224"/>
                    <a:pt x="566" y="224"/>
                    <a:pt x="566" y="224"/>
                  </a:cubicBezTo>
                  <a:cubicBezTo>
                    <a:pt x="568" y="225"/>
                    <a:pt x="569" y="227"/>
                    <a:pt x="571" y="229"/>
                  </a:cubicBezTo>
                  <a:cubicBezTo>
                    <a:pt x="571" y="230"/>
                    <a:pt x="571" y="230"/>
                    <a:pt x="571" y="230"/>
                  </a:cubicBezTo>
                  <a:cubicBezTo>
                    <a:pt x="572" y="231"/>
                    <a:pt x="572" y="231"/>
                    <a:pt x="572" y="231"/>
                  </a:cubicBezTo>
                  <a:cubicBezTo>
                    <a:pt x="572" y="232"/>
                    <a:pt x="573" y="234"/>
                    <a:pt x="574" y="236"/>
                  </a:cubicBezTo>
                  <a:cubicBezTo>
                    <a:pt x="574" y="237"/>
                    <a:pt x="575" y="238"/>
                    <a:pt x="575" y="238"/>
                  </a:cubicBezTo>
                  <a:cubicBezTo>
                    <a:pt x="575" y="240"/>
                    <a:pt x="576" y="241"/>
                    <a:pt x="576" y="243"/>
                  </a:cubicBezTo>
                  <a:cubicBezTo>
                    <a:pt x="577" y="246"/>
                    <a:pt x="577" y="248"/>
                    <a:pt x="577" y="251"/>
                  </a:cubicBezTo>
                  <a:cubicBezTo>
                    <a:pt x="577" y="253"/>
                    <a:pt x="577" y="256"/>
                    <a:pt x="576" y="258"/>
                  </a:cubicBezTo>
                  <a:cubicBezTo>
                    <a:pt x="576" y="260"/>
                    <a:pt x="575" y="262"/>
                    <a:pt x="575" y="263"/>
                  </a:cubicBezTo>
                  <a:cubicBezTo>
                    <a:pt x="575" y="264"/>
                    <a:pt x="575" y="265"/>
                    <a:pt x="574" y="266"/>
                  </a:cubicBezTo>
                  <a:cubicBezTo>
                    <a:pt x="573" y="267"/>
                    <a:pt x="573" y="269"/>
                    <a:pt x="572" y="271"/>
                  </a:cubicBezTo>
                  <a:cubicBezTo>
                    <a:pt x="571" y="271"/>
                    <a:pt x="571" y="272"/>
                    <a:pt x="571" y="272"/>
                  </a:cubicBezTo>
                  <a:cubicBezTo>
                    <a:pt x="569" y="274"/>
                    <a:pt x="568" y="276"/>
                    <a:pt x="566" y="278"/>
                  </a:cubicBezTo>
                  <a:cubicBezTo>
                    <a:pt x="353" y="491"/>
                    <a:pt x="353" y="491"/>
                    <a:pt x="353" y="491"/>
                  </a:cubicBezTo>
                  <a:cubicBezTo>
                    <a:pt x="346" y="498"/>
                    <a:pt x="336" y="502"/>
                    <a:pt x="326" y="5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18" tIns="60959" rIns="121918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999" b="0" i="0" u="none" strike="noStrike" kern="1200" cap="none" spc="0" normalizeH="0" baseline="0" noProof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Montserrat Light "/>
                <a:ea typeface="+mn-ea"/>
                <a:cs typeface="+mn-cs"/>
              </a:endParaRPr>
            </a:p>
          </p:txBody>
        </p:sp>
      </p:grpSp>
      <p:pic>
        <p:nvPicPr>
          <p:cNvPr id="17" name="Graphic 16" descr="Flag with solid fill">
            <a:extLst>
              <a:ext uri="{FF2B5EF4-FFF2-40B4-BE49-F238E27FC236}">
                <a16:creationId xmlns:a16="http://schemas.microsoft.com/office/drawing/2014/main" id="{9D7C2C2B-E19F-B545-09CE-EFEBBB758E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49908" y="2106649"/>
            <a:ext cx="487752" cy="487752"/>
          </a:xfrm>
          <a:prstGeom prst="rect">
            <a:avLst/>
          </a:prstGeom>
        </p:spPr>
      </p:pic>
      <p:pic>
        <p:nvPicPr>
          <p:cNvPr id="18" name="Graphic 17" descr="Flag with solid fill">
            <a:extLst>
              <a:ext uri="{FF2B5EF4-FFF2-40B4-BE49-F238E27FC236}">
                <a16:creationId xmlns:a16="http://schemas.microsoft.com/office/drawing/2014/main" id="{FAC4D239-2164-929C-3D64-F5E53AA134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3085" y="2248587"/>
            <a:ext cx="487752" cy="487752"/>
          </a:xfrm>
          <a:prstGeom prst="rect">
            <a:avLst/>
          </a:prstGeom>
        </p:spPr>
      </p:pic>
      <p:pic>
        <p:nvPicPr>
          <p:cNvPr id="19" name="Graphic 18" descr="Flag with solid fill">
            <a:extLst>
              <a:ext uri="{FF2B5EF4-FFF2-40B4-BE49-F238E27FC236}">
                <a16:creationId xmlns:a16="http://schemas.microsoft.com/office/drawing/2014/main" id="{C8F8FF58-0CCF-297D-CB5B-E50CFFD3B8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08211" y="2437631"/>
            <a:ext cx="487752" cy="487752"/>
          </a:xfrm>
          <a:prstGeom prst="rect">
            <a:avLst/>
          </a:prstGeom>
        </p:spPr>
      </p:pic>
      <p:pic>
        <p:nvPicPr>
          <p:cNvPr id="20" name="Graphic 19" descr="Flag with solid fill">
            <a:extLst>
              <a:ext uri="{FF2B5EF4-FFF2-40B4-BE49-F238E27FC236}">
                <a16:creationId xmlns:a16="http://schemas.microsoft.com/office/drawing/2014/main" id="{24DF45A4-86BE-07DC-6564-42250BD55F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31750" y="2668449"/>
            <a:ext cx="487752" cy="487752"/>
          </a:xfrm>
          <a:prstGeom prst="rect">
            <a:avLst/>
          </a:prstGeom>
        </p:spPr>
      </p:pic>
      <p:pic>
        <p:nvPicPr>
          <p:cNvPr id="21" name="Graphic 20" descr="Flag with solid fill">
            <a:extLst>
              <a:ext uri="{FF2B5EF4-FFF2-40B4-BE49-F238E27FC236}">
                <a16:creationId xmlns:a16="http://schemas.microsoft.com/office/drawing/2014/main" id="{4A75ECF9-AEF5-BF6C-BFFC-E1C7B43CBC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772972" y="2730599"/>
            <a:ext cx="487752" cy="4877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69988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2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00"/>
                            </p:stCondLst>
                            <p:childTnLst>
                              <p:par>
                                <p:cTn id="3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2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8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2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2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2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400"/>
                            </p:stCondLst>
                            <p:childTnLst>
                              <p:par>
                                <p:cTn id="6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1" dur="2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60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2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2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41" grpId="0" animBg="1"/>
      <p:bldP spid="6" grpId="0" animBg="1"/>
      <p:bldP spid="10" grpId="0" animBg="1"/>
      <p:bldP spid="40" grpId="0" animBg="1"/>
      <p:bldP spid="53" grpId="0" animBg="1"/>
      <p:bldP spid="5" grpId="0" animBg="1"/>
      <p:bldP spid="9" grpId="0" animBg="1"/>
      <p:bldP spid="39" grpId="0" animBg="1"/>
      <p:bldP spid="52" grpId="0" animBg="1"/>
      <p:bldP spid="4" grpId="0" animBg="1"/>
      <p:bldP spid="8" grpId="0" animBg="1"/>
      <p:bldP spid="38" grpId="0" animBg="1"/>
      <p:bldP spid="3" grpId="0" animBg="1"/>
      <p:bldP spid="34" grpId="0" animBg="1"/>
      <p:bldP spid="51" grpId="0" animBg="1"/>
      <p:bldP spid="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 shot of a computer&#10;&#10;Description automatically generated">
            <a:extLst>
              <a:ext uri="{FF2B5EF4-FFF2-40B4-BE49-F238E27FC236}">
                <a16:creationId xmlns:a16="http://schemas.microsoft.com/office/drawing/2014/main" id="{2429B51A-B812-07A3-7175-F4CE1B1584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691" y="1115087"/>
            <a:ext cx="4705350" cy="5471618"/>
          </a:xfrm>
          <a:prstGeom prst="rect">
            <a:avLst/>
          </a:prstGeom>
        </p:spPr>
      </p:pic>
      <p:pic>
        <p:nvPicPr>
          <p:cNvPr id="7" name="Picture 6" descr="A computer screen with a white screen&#10;&#10;Description automatically generated">
            <a:extLst>
              <a:ext uri="{FF2B5EF4-FFF2-40B4-BE49-F238E27FC236}">
                <a16:creationId xmlns:a16="http://schemas.microsoft.com/office/drawing/2014/main" id="{3EE457A1-DA8C-907B-6F09-3773195870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7960" y="1094282"/>
            <a:ext cx="4279988" cy="54924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B8C5B97-6521-6814-5DD3-4AF78769F506}"/>
              </a:ext>
            </a:extLst>
          </p:cNvPr>
          <p:cNvSpPr txBox="1"/>
          <p:nvPr/>
        </p:nvSpPr>
        <p:spPr>
          <a:xfrm>
            <a:off x="268638" y="112210"/>
            <a:ext cx="115527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golian Baiti" panose="03000500000000000000" pitchFamily="66" charset="0"/>
                <a:ea typeface="Roboto Black" panose="02000000000000000000" pitchFamily="2" charset="0"/>
                <a:cs typeface="Mongolian Baiti" panose="03000500000000000000" pitchFamily="66" charset="0"/>
              </a:rPr>
              <a:t>SAP Integration and D-Chain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Mongolian Baiti" panose="030005000000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6747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Multi-Variate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72B06E-19B4-A7F1-FE8B-6CA0AE088AFB}"/>
              </a:ext>
            </a:extLst>
          </p:cNvPr>
          <p:cNvSpPr txBox="1"/>
          <p:nvPr/>
        </p:nvSpPr>
        <p:spPr>
          <a:xfrm>
            <a:off x="348520" y="1169845"/>
            <a:ext cx="11568659" cy="1025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What is it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ultivariate Analysi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: A method to study how different factors (like price, season, and trends) affect something together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0C9A4A-91BF-9BDC-9CF1-0AF4287AF597}"/>
              </a:ext>
            </a:extLst>
          </p:cNvPr>
          <p:cNvSpPr txBox="1"/>
          <p:nvPr/>
        </p:nvSpPr>
        <p:spPr>
          <a:xfrm>
            <a:off x="348520" y="3067659"/>
            <a:ext cx="7626247" cy="19902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Why is it useful for the Sanitaryware Industry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omplete Pictu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: Looks at all important factors (like construction rates, consumer preferences) to predict deman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Better Prediction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: Helps avoid having too much or too little stock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Flexibl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: Adjusts to market changes quickly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4A7FB57-E838-CDD4-6776-06242B3896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4767" y="2123412"/>
            <a:ext cx="3477110" cy="463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0697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26E74F4-2BC8-6A67-00DD-0C8755D0D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831" y="288069"/>
            <a:ext cx="10493950" cy="567338"/>
          </a:xfrm>
        </p:spPr>
        <p:txBody>
          <a:bodyPr>
            <a:normAutofit/>
          </a:bodyPr>
          <a:lstStyle/>
          <a:p>
            <a:r>
              <a:rPr lang="en-US" sz="2800" b="1" dirty="0"/>
              <a:t>T</a:t>
            </a:r>
            <a:r>
              <a:rPr lang="en-IN" sz="2800" b="1" dirty="0"/>
              <a:t>ypes of methodologie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E6BABD86-6DB6-F0E8-DD15-2ECDB794E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002652"/>
              </p:ext>
            </p:extLst>
          </p:nvPr>
        </p:nvGraphicFramePr>
        <p:xfrm>
          <a:off x="357092" y="2515463"/>
          <a:ext cx="7886700" cy="30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F43C5EA-F2C7-145A-8473-3AA490421EC9}"/>
              </a:ext>
            </a:extLst>
          </p:cNvPr>
          <p:cNvSpPr/>
          <p:nvPr/>
        </p:nvSpPr>
        <p:spPr>
          <a:xfrm>
            <a:off x="8526178" y="1676165"/>
            <a:ext cx="330873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tailed approach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processing of data would involve enriching the data continuity by plugging in gaps of month for which data doesn’t exist with previous week’s valu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would then be prepared at a granularity of level of week and missing values would be imputed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ogenous variable which would largely comprise of macroeconomic variables and global/local events would also be prepared at a week leve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segregation of 32 months to be done by 88-12 rule with 88% of data to be used for training the model and validating the same on the remaining 12% of data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 parameters to be fine tuned with each iteration for determining the best model with minimum error rate (MAPE). </a:t>
            </a:r>
          </a:p>
        </p:txBody>
      </p:sp>
    </p:spTree>
    <p:extLst>
      <p:ext uri="{BB962C8B-B14F-4D97-AF65-F5344CB8AC3E}">
        <p14:creationId xmlns:p14="http://schemas.microsoft.com/office/powerpoint/2010/main" val="12314666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5200B7-2E4C-CDBB-7BDF-2BBD99F403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71A7163-3E14-F792-D93A-05BC1CF4A6B7}"/>
              </a:ext>
            </a:extLst>
          </p:cNvPr>
          <p:cNvGraphicFramePr/>
          <p:nvPr/>
        </p:nvGraphicFramePr>
        <p:xfrm>
          <a:off x="598054" y="677491"/>
          <a:ext cx="5497945" cy="2952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D96060A-13D0-7585-8F1D-F4A8133BB886}"/>
              </a:ext>
            </a:extLst>
          </p:cNvPr>
          <p:cNvGraphicFramePr/>
          <p:nvPr/>
        </p:nvGraphicFramePr>
        <p:xfrm>
          <a:off x="6358153" y="3722380"/>
          <a:ext cx="5497945" cy="2952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8BABC52-E65C-AF70-2ADC-C9CDC363A308}"/>
              </a:ext>
            </a:extLst>
          </p:cNvPr>
          <p:cNvGraphicFramePr/>
          <p:nvPr/>
        </p:nvGraphicFramePr>
        <p:xfrm>
          <a:off x="598053" y="3722380"/>
          <a:ext cx="5497945" cy="2952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D14A35B-F023-1372-F87F-3C7A55BD1505}"/>
              </a:ext>
            </a:extLst>
          </p:cNvPr>
          <p:cNvGraphicFramePr/>
          <p:nvPr/>
        </p:nvGraphicFramePr>
        <p:xfrm>
          <a:off x="6358153" y="677491"/>
          <a:ext cx="5497945" cy="2952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D34D6B83-1B14-CB5C-0F40-CC513EE100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053" y="243718"/>
            <a:ext cx="10375640" cy="264367"/>
          </a:xfrm>
        </p:spPr>
        <p:txBody>
          <a:bodyPr>
            <a:noAutofit/>
          </a:bodyPr>
          <a:lstStyle/>
          <a:p>
            <a:r>
              <a:rPr lang="en-US" sz="2800" dirty="0"/>
              <a:t>EWC 1Pc [Trap type]</a:t>
            </a:r>
            <a:endParaRPr lang="en-IN" sz="2800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B0B9DF9-190C-1EA0-9D17-57BDAFB97D47}"/>
              </a:ext>
            </a:extLst>
          </p:cNvPr>
          <p:cNvCxnSpPr>
            <a:cxnSpLocks/>
          </p:cNvCxnSpPr>
          <p:nvPr/>
        </p:nvCxnSpPr>
        <p:spPr>
          <a:xfrm>
            <a:off x="1252107" y="1371478"/>
            <a:ext cx="396370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1D91BB-AB09-9B54-F9DD-28171EF5854A}"/>
              </a:ext>
            </a:extLst>
          </p:cNvPr>
          <p:cNvCxnSpPr>
            <a:cxnSpLocks/>
          </p:cNvCxnSpPr>
          <p:nvPr/>
        </p:nvCxnSpPr>
        <p:spPr>
          <a:xfrm>
            <a:off x="5542384" y="1360406"/>
            <a:ext cx="0" cy="118640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A65607C-3F27-947E-1B59-95C0CF4BBEF6}"/>
              </a:ext>
            </a:extLst>
          </p:cNvPr>
          <p:cNvCxnSpPr>
            <a:cxnSpLocks/>
          </p:cNvCxnSpPr>
          <p:nvPr/>
        </p:nvCxnSpPr>
        <p:spPr>
          <a:xfrm>
            <a:off x="5542384" y="1390017"/>
            <a:ext cx="488302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1608A40E-9F2E-2815-ACD3-7D510E7DC427}"/>
              </a:ext>
            </a:extLst>
          </p:cNvPr>
          <p:cNvSpPr txBox="1"/>
          <p:nvPr/>
        </p:nvSpPr>
        <p:spPr>
          <a:xfrm>
            <a:off x="2921381" y="1129574"/>
            <a:ext cx="10610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ining window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9FC820-21CB-0F30-339B-AE0896BEA859}"/>
              </a:ext>
            </a:extLst>
          </p:cNvPr>
          <p:cNvCxnSpPr>
            <a:cxnSpLocks/>
          </p:cNvCxnSpPr>
          <p:nvPr/>
        </p:nvCxnSpPr>
        <p:spPr>
          <a:xfrm>
            <a:off x="5542384" y="4366361"/>
            <a:ext cx="0" cy="1245745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352F8F2-13F6-AE97-54B1-CAED1022822F}"/>
              </a:ext>
            </a:extLst>
          </p:cNvPr>
          <p:cNvCxnSpPr>
            <a:cxnSpLocks/>
          </p:cNvCxnSpPr>
          <p:nvPr/>
        </p:nvCxnSpPr>
        <p:spPr>
          <a:xfrm flipH="1">
            <a:off x="11296261" y="1360406"/>
            <a:ext cx="0" cy="1197479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E839D0D-253B-50C4-5F04-68E070298FA1}"/>
              </a:ext>
            </a:extLst>
          </p:cNvPr>
          <p:cNvCxnSpPr>
            <a:cxnSpLocks/>
          </p:cNvCxnSpPr>
          <p:nvPr/>
        </p:nvCxnSpPr>
        <p:spPr>
          <a:xfrm flipH="1">
            <a:off x="11282357" y="4217123"/>
            <a:ext cx="16669" cy="135206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FC4648B-9368-8835-E844-78E2C8C7B368}"/>
              </a:ext>
            </a:extLst>
          </p:cNvPr>
          <p:cNvCxnSpPr>
            <a:cxnSpLocks/>
          </p:cNvCxnSpPr>
          <p:nvPr/>
        </p:nvCxnSpPr>
        <p:spPr>
          <a:xfrm>
            <a:off x="1401397" y="4369715"/>
            <a:ext cx="396370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976EA78-A2DD-E106-86A2-255E433CD3BA}"/>
              </a:ext>
            </a:extLst>
          </p:cNvPr>
          <p:cNvCxnSpPr>
            <a:cxnSpLocks/>
          </p:cNvCxnSpPr>
          <p:nvPr/>
        </p:nvCxnSpPr>
        <p:spPr>
          <a:xfrm>
            <a:off x="7125271" y="1342870"/>
            <a:ext cx="396370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11F8B3F-6088-5545-3153-B5BFFCED4C86}"/>
              </a:ext>
            </a:extLst>
          </p:cNvPr>
          <p:cNvCxnSpPr>
            <a:cxnSpLocks/>
          </p:cNvCxnSpPr>
          <p:nvPr/>
        </p:nvCxnSpPr>
        <p:spPr>
          <a:xfrm>
            <a:off x="7125272" y="4378924"/>
            <a:ext cx="396370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F4B755C1-3319-2D29-990A-1A682E52C088}"/>
              </a:ext>
            </a:extLst>
          </p:cNvPr>
          <p:cNvSpPr txBox="1"/>
          <p:nvPr/>
        </p:nvSpPr>
        <p:spPr>
          <a:xfrm>
            <a:off x="2921381" y="4107399"/>
            <a:ext cx="10610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ining window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2789E2-AEA7-A815-B527-144F6B03AB2D}"/>
              </a:ext>
            </a:extLst>
          </p:cNvPr>
          <p:cNvSpPr txBox="1"/>
          <p:nvPr/>
        </p:nvSpPr>
        <p:spPr>
          <a:xfrm>
            <a:off x="8740107" y="1134652"/>
            <a:ext cx="10610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ining window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DE31CB-2551-63B5-C268-9865D175A9B7}"/>
              </a:ext>
            </a:extLst>
          </p:cNvPr>
          <p:cNvSpPr txBox="1"/>
          <p:nvPr/>
        </p:nvSpPr>
        <p:spPr>
          <a:xfrm>
            <a:off x="8697442" y="4101707"/>
            <a:ext cx="10610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ining window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2C6741DE-DE6F-1700-3553-123A3CA60334}"/>
              </a:ext>
            </a:extLst>
          </p:cNvPr>
          <p:cNvCxnSpPr>
            <a:cxnSpLocks/>
          </p:cNvCxnSpPr>
          <p:nvPr/>
        </p:nvCxnSpPr>
        <p:spPr>
          <a:xfrm>
            <a:off x="11329057" y="1395095"/>
            <a:ext cx="488302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02FA1B8-DDA5-A3BF-F929-4BA9FF838B8E}"/>
              </a:ext>
            </a:extLst>
          </p:cNvPr>
          <p:cNvCxnSpPr>
            <a:cxnSpLocks/>
          </p:cNvCxnSpPr>
          <p:nvPr/>
        </p:nvCxnSpPr>
        <p:spPr>
          <a:xfrm>
            <a:off x="5564319" y="4373281"/>
            <a:ext cx="488302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9CE70C03-83CB-011F-F359-17E55A6224AE}"/>
              </a:ext>
            </a:extLst>
          </p:cNvPr>
          <p:cNvCxnSpPr>
            <a:cxnSpLocks/>
          </p:cNvCxnSpPr>
          <p:nvPr/>
        </p:nvCxnSpPr>
        <p:spPr>
          <a:xfrm>
            <a:off x="11329244" y="4373281"/>
            <a:ext cx="488302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5452DFE-BCCD-116F-D3F4-2981593E6A00}"/>
              </a:ext>
            </a:extLst>
          </p:cNvPr>
          <p:cNvSpPr txBox="1"/>
          <p:nvPr/>
        </p:nvSpPr>
        <p:spPr>
          <a:xfrm>
            <a:off x="5480177" y="1121962"/>
            <a:ext cx="6158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ecast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061A2A-500C-1A98-6D97-67DDCA5EADD0}"/>
              </a:ext>
            </a:extLst>
          </p:cNvPr>
          <p:cNvSpPr txBox="1"/>
          <p:nvPr/>
        </p:nvSpPr>
        <p:spPr>
          <a:xfrm>
            <a:off x="11265297" y="1099918"/>
            <a:ext cx="6158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ecast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775B7E-FBA5-CD7E-D879-71DA3A0EB566}"/>
              </a:ext>
            </a:extLst>
          </p:cNvPr>
          <p:cNvSpPr txBox="1"/>
          <p:nvPr/>
        </p:nvSpPr>
        <p:spPr>
          <a:xfrm>
            <a:off x="5525937" y="4135529"/>
            <a:ext cx="6158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ecast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82B991-856E-F669-14DC-DA5DC7961AB3}"/>
              </a:ext>
            </a:extLst>
          </p:cNvPr>
          <p:cNvSpPr txBox="1"/>
          <p:nvPr/>
        </p:nvSpPr>
        <p:spPr>
          <a:xfrm>
            <a:off x="11290691" y="4101707"/>
            <a:ext cx="6158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ecast</a:t>
            </a:r>
            <a:endParaRPr kumimoji="0" lang="en-IN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58467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8BC60D7E-E26D-43FF-25DB-278A8BC63BD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0753783"/>
              </p:ext>
            </p:extLst>
          </p:nvPr>
        </p:nvGraphicFramePr>
        <p:xfrm>
          <a:off x="309674" y="1350988"/>
          <a:ext cx="11572651" cy="51397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8372612" imgH="2895635" progId="Excel.Sheet.12">
                  <p:embed/>
                </p:oleObj>
              </mc:Choice>
              <mc:Fallback>
                <p:oleObj name="Worksheet" r:id="rId2" imgW="8372612" imgH="2895635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8BC60D7E-E26D-43FF-25DB-278A8BC63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09674" y="1350988"/>
                        <a:ext cx="11572651" cy="51397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00C24655-1959-3E65-AFD2-027EB561C9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831" y="288069"/>
            <a:ext cx="10493950" cy="567338"/>
          </a:xfrm>
        </p:spPr>
        <p:txBody>
          <a:bodyPr>
            <a:normAutofit/>
          </a:bodyPr>
          <a:lstStyle/>
          <a:p>
            <a:r>
              <a:rPr lang="en-US" sz="2800" b="1" dirty="0"/>
              <a:t>Prediction Accuracy Comparison</a:t>
            </a:r>
            <a:endParaRPr lang="en-IN" sz="2800" b="1" dirty="0"/>
          </a:p>
        </p:txBody>
      </p:sp>
    </p:spTree>
    <p:extLst>
      <p:ext uri="{BB962C8B-B14F-4D97-AF65-F5344CB8AC3E}">
        <p14:creationId xmlns:p14="http://schemas.microsoft.com/office/powerpoint/2010/main" val="1191605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9744FEA-5CB9-5A97-2276-54678FECA2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304158"/>
              </p:ext>
            </p:extLst>
          </p:nvPr>
        </p:nvGraphicFramePr>
        <p:xfrm>
          <a:off x="270848" y="1091674"/>
          <a:ext cx="11650304" cy="5560734"/>
        </p:xfrm>
        <a:graphic>
          <a:graphicData uri="http://schemas.openxmlformats.org/drawingml/2006/table">
            <a:tbl>
              <a:tblPr/>
              <a:tblGrid>
                <a:gridCol w="1253650">
                  <a:extLst>
                    <a:ext uri="{9D8B030D-6E8A-4147-A177-3AD203B41FA5}">
                      <a16:colId xmlns:a16="http://schemas.microsoft.com/office/drawing/2014/main" val="127791674"/>
                    </a:ext>
                  </a:extLst>
                </a:gridCol>
                <a:gridCol w="4571970">
                  <a:extLst>
                    <a:ext uri="{9D8B030D-6E8A-4147-A177-3AD203B41FA5}">
                      <a16:colId xmlns:a16="http://schemas.microsoft.com/office/drawing/2014/main" val="3167531442"/>
                    </a:ext>
                  </a:extLst>
                </a:gridCol>
                <a:gridCol w="3230924">
                  <a:extLst>
                    <a:ext uri="{9D8B030D-6E8A-4147-A177-3AD203B41FA5}">
                      <a16:colId xmlns:a16="http://schemas.microsoft.com/office/drawing/2014/main" val="3758153185"/>
                    </a:ext>
                  </a:extLst>
                </a:gridCol>
                <a:gridCol w="1599485">
                  <a:extLst>
                    <a:ext uri="{9D8B030D-6E8A-4147-A177-3AD203B41FA5}">
                      <a16:colId xmlns:a16="http://schemas.microsoft.com/office/drawing/2014/main" val="1873177888"/>
                    </a:ext>
                  </a:extLst>
                </a:gridCol>
                <a:gridCol w="994275">
                  <a:extLst>
                    <a:ext uri="{9D8B030D-6E8A-4147-A177-3AD203B41FA5}">
                      <a16:colId xmlns:a16="http://schemas.microsoft.com/office/drawing/2014/main" val="1324402751"/>
                    </a:ext>
                  </a:extLst>
                </a:gridCol>
              </a:tblGrid>
              <a:tr h="244825"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masis MT Pro Black"/>
                        </a:rPr>
                        <a:t>Project Plan </a:t>
                      </a:r>
                    </a:p>
                  </a:txBody>
                  <a:tcPr marL="6408" marR="6408" marT="640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366532"/>
                  </a:ext>
                </a:extLst>
              </a:tr>
              <a:tr h="2350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se</a:t>
                      </a:r>
                    </a:p>
                  </a:txBody>
                  <a:tcPr marL="6408" marR="6408" marT="640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lestone</a:t>
                      </a:r>
                    </a:p>
                  </a:txBody>
                  <a:tcPr marL="6408" marR="6408" marT="64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sk </a:t>
                      </a:r>
                    </a:p>
                  </a:txBody>
                  <a:tcPr marL="6408" marR="6408" marT="64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6408" marR="6408" marT="64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</a:t>
                      </a:r>
                    </a:p>
                  </a:txBody>
                  <a:tcPr marL="6408" marR="6408" marT="64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6742111"/>
                  </a:ext>
                </a:extLst>
              </a:tr>
              <a:tr h="235033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ine</a:t>
                      </a:r>
                    </a:p>
                  </a:txBody>
                  <a:tcPr marL="6408" marR="6408" marT="640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Charter</a:t>
                      </a:r>
                    </a:p>
                  </a:txBody>
                  <a:tcPr marL="6408" marR="6408" marT="64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am Formation </a:t>
                      </a:r>
                    </a:p>
                  </a:txBody>
                  <a:tcPr marL="6408" marR="6408" marT="64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/02/2025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Completed</a:t>
                      </a:r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9705447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Plan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ting Goals for W/H, Category, SKUs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0429092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 benefit sheet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2705128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TQ/KPI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ntory Dashboard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4855662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sibility Study Sheet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860959"/>
                  </a:ext>
                </a:extLst>
              </a:tr>
              <a:tr h="235033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asure</a:t>
                      </a:r>
                    </a:p>
                  </a:txBody>
                  <a:tcPr marL="6408" marR="6408" marT="640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Collection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 Classification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/02/2025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Completed</a:t>
                      </a:r>
                      <a:r>
                        <a:rPr lang="en-IN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9077625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eto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391837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ss capabilities study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9839792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storical trends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5730322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rrent trend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178259"/>
                  </a:ext>
                </a:extLst>
              </a:tr>
              <a:tr h="235033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lyze</a:t>
                      </a:r>
                    </a:p>
                  </a:txBody>
                  <a:tcPr marL="6408" marR="6408" marT="640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use &amp; Effect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sh Bone Diagram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03/2025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Completed </a:t>
                      </a:r>
                    </a:p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074899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WHY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8622544"/>
                  </a:ext>
                </a:extLst>
              </a:tr>
              <a:tr h="37042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ol Impact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9649623"/>
                  </a:ext>
                </a:extLst>
              </a:tr>
              <a:tr h="23503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rove</a:t>
                      </a:r>
                    </a:p>
                  </a:txBody>
                  <a:tcPr marL="6408" marR="6408" marT="640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rovement Plan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unching Liquidation Scheme for Trade &amp; Project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/03/2025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323312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lti-</a:t>
                      </a:r>
                      <a:r>
                        <a:rPr lang="en-IN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ient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alysis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 rationalization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6393074"/>
                  </a:ext>
                </a:extLst>
              </a:tr>
              <a:tr h="235033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ol</a:t>
                      </a:r>
                    </a:p>
                  </a:txBody>
                  <a:tcPr marL="6408" marR="6408" marT="640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ol Chart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/03/2025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rtl="0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Completed</a:t>
                      </a:r>
                    </a:p>
                    <a:p>
                      <a:pPr algn="ctr" rtl="0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7794114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ol Plan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6903049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P’s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286988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eck sheet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istribute SKU across W/H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9638533"/>
                  </a:ext>
                </a:extLst>
              </a:tr>
              <a:tr h="23503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inings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ld the Purchase if Avg. Sale &gt; 51 Days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9138693"/>
                  </a:ext>
                </a:extLst>
              </a:tr>
              <a:tr h="244825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Closure submission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08" marR="6408" marT="64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IN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8" marR="6408" marT="64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IN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8" marR="6408" marT="64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350430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DC0FC55-1FF3-F4C7-4913-E66B92734F99}"/>
              </a:ext>
            </a:extLst>
          </p:cNvPr>
          <p:cNvSpPr txBox="1"/>
          <p:nvPr/>
        </p:nvSpPr>
        <p:spPr>
          <a:xfrm>
            <a:off x="363895" y="205592"/>
            <a:ext cx="25142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30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ject Plan</a:t>
            </a:r>
            <a:endParaRPr lang="en-IN" sz="3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5716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950203" y="195589"/>
            <a:ext cx="629159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mand and SKU tracking Dashboard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240" y="914400"/>
            <a:ext cx="12012760" cy="5943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5"/>
          <p:cNvSpPr/>
          <p:nvPr/>
        </p:nvSpPr>
        <p:spPr>
          <a:xfrm rot="16200000">
            <a:off x="-3316459" y="3316457"/>
            <a:ext cx="6858003" cy="225086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13856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/>
          <p:nvPr/>
        </p:nvSpPr>
        <p:spPr>
          <a:xfrm>
            <a:off x="495810" y="16894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Hindware / Italian Focus Inventory Summary</a:t>
            </a:r>
          </a:p>
        </p:txBody>
      </p:sp>
      <p:sp>
        <p:nvSpPr>
          <p:cNvPr id="3" name="Rectangle 2"/>
          <p:cNvSpPr/>
          <p:nvPr/>
        </p:nvSpPr>
        <p:spPr>
          <a:xfrm>
            <a:off x="275764" y="2569193"/>
            <a:ext cx="1595535" cy="5256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/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27.87 Cr.)</a:t>
            </a:r>
          </a:p>
        </p:txBody>
      </p:sp>
      <p:sp>
        <p:nvSpPr>
          <p:cNvPr id="4" name="Rectangle 3"/>
          <p:cNvSpPr/>
          <p:nvPr/>
        </p:nvSpPr>
        <p:spPr>
          <a:xfrm>
            <a:off x="3561686" y="2571113"/>
            <a:ext cx="1595535" cy="5256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29.35 Cr.)</a:t>
            </a:r>
          </a:p>
        </p:txBody>
      </p:sp>
      <p:sp>
        <p:nvSpPr>
          <p:cNvPr id="5" name="Rectangle 4"/>
          <p:cNvSpPr/>
          <p:nvPr/>
        </p:nvSpPr>
        <p:spPr>
          <a:xfrm>
            <a:off x="6645471" y="2569193"/>
            <a:ext cx="1595535" cy="5256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/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16.88 Cr.)</a:t>
            </a:r>
          </a:p>
        </p:txBody>
      </p:sp>
      <p:sp>
        <p:nvSpPr>
          <p:cNvPr id="6" name="Rectangle 5"/>
          <p:cNvSpPr/>
          <p:nvPr/>
        </p:nvSpPr>
        <p:spPr>
          <a:xfrm>
            <a:off x="9918942" y="2569193"/>
            <a:ext cx="1595535" cy="5256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19.14 Cr.)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561686" y="3094817"/>
            <a:ext cx="0" cy="25584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61686" y="3497943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3992467" y="3235131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P Trad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7.53 Cr.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548459" y="4322136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3979240" y="4059324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D Trad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10.23 Cr.)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3561686" y="5292531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3992467" y="5029719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F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11.59 Cr.)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280420" y="3094817"/>
            <a:ext cx="0" cy="25584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280420" y="3497943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711201" y="3235131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P Trad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7.97 Cr.)</a:t>
            </a: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267193" y="4322136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697974" y="4059324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D Trad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2.77 Cr.)</a:t>
            </a:r>
          </a:p>
        </p:txBody>
      </p:sp>
      <p:cxnSp>
        <p:nvCxnSpPr>
          <p:cNvPr id="34" name="Straight Arrow Connector 33"/>
          <p:cNvCxnSpPr/>
          <p:nvPr/>
        </p:nvCxnSpPr>
        <p:spPr>
          <a:xfrm>
            <a:off x="280420" y="5292531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711201" y="5029719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F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17.12 Cr.)</a:t>
            </a:r>
          </a:p>
        </p:txBody>
      </p:sp>
      <p:cxnSp>
        <p:nvCxnSpPr>
          <p:cNvPr id="36" name="Straight Connector 35"/>
          <p:cNvCxnSpPr/>
          <p:nvPr/>
        </p:nvCxnSpPr>
        <p:spPr>
          <a:xfrm>
            <a:off x="6643899" y="3094817"/>
            <a:ext cx="0" cy="25584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6643899" y="3497943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7074680" y="3235131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P Trad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7.02 Cr.)</a:t>
            </a:r>
          </a:p>
        </p:txBody>
      </p:sp>
      <p:cxnSp>
        <p:nvCxnSpPr>
          <p:cNvPr id="39" name="Straight Arrow Connector 38"/>
          <p:cNvCxnSpPr/>
          <p:nvPr/>
        </p:nvCxnSpPr>
        <p:spPr>
          <a:xfrm>
            <a:off x="6630672" y="4322136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7061453" y="4059324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D Trad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2.70 Cr.)</a:t>
            </a:r>
          </a:p>
        </p:txBody>
      </p:sp>
      <p:cxnSp>
        <p:nvCxnSpPr>
          <p:cNvPr id="41" name="Straight Arrow Connector 40"/>
          <p:cNvCxnSpPr/>
          <p:nvPr/>
        </p:nvCxnSpPr>
        <p:spPr>
          <a:xfrm>
            <a:off x="6643899" y="5292531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/>
        </p:nvSpPr>
        <p:spPr>
          <a:xfrm>
            <a:off x="7074680" y="5029719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F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7.15 Cr.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9918942" y="3094817"/>
            <a:ext cx="0" cy="25584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>
            <a:off x="9918942" y="3497943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10349723" y="3235131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MP Trad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7.58 Cr.)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>
            <a:off x="9905715" y="4322136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>
            <a:off x="10336496" y="4059324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D Trad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7.61 Cr.)</a:t>
            </a:r>
          </a:p>
        </p:txBody>
      </p:sp>
      <p:cxnSp>
        <p:nvCxnSpPr>
          <p:cNvPr id="48" name="Straight Arrow Connector 47"/>
          <p:cNvCxnSpPr/>
          <p:nvPr/>
        </p:nvCxnSpPr>
        <p:spPr>
          <a:xfrm>
            <a:off x="9918942" y="5292531"/>
            <a:ext cx="4307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10349723" y="5029719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F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3.95 Cr.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374647-9418-474D-CB25-F0B790BB4006}"/>
              </a:ext>
            </a:extLst>
          </p:cNvPr>
          <p:cNvSpPr/>
          <p:nvPr/>
        </p:nvSpPr>
        <p:spPr>
          <a:xfrm>
            <a:off x="1966151" y="1698930"/>
            <a:ext cx="1595535" cy="551852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tinued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BFA82E-7AB5-EAD7-D2A6-B98ACBBACED2}"/>
              </a:ext>
            </a:extLst>
          </p:cNvPr>
          <p:cNvCxnSpPr>
            <a:cxnSpLocks/>
          </p:cNvCxnSpPr>
          <p:nvPr/>
        </p:nvCxnSpPr>
        <p:spPr>
          <a:xfrm>
            <a:off x="2768585" y="2224288"/>
            <a:ext cx="0" cy="16295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3465A0B-C626-AC77-0621-CC397FF966D4}"/>
              </a:ext>
            </a:extLst>
          </p:cNvPr>
          <p:cNvCxnSpPr>
            <a:cxnSpLocks/>
          </p:cNvCxnSpPr>
          <p:nvPr/>
        </p:nvCxnSpPr>
        <p:spPr>
          <a:xfrm>
            <a:off x="1950600" y="2387243"/>
            <a:ext cx="172149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1FD4881-2A61-721D-61D6-412764B21574}"/>
              </a:ext>
            </a:extLst>
          </p:cNvPr>
          <p:cNvCxnSpPr>
            <a:cxnSpLocks/>
          </p:cNvCxnSpPr>
          <p:nvPr/>
        </p:nvCxnSpPr>
        <p:spPr>
          <a:xfrm flipH="1">
            <a:off x="1470458" y="2387243"/>
            <a:ext cx="495693" cy="1595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93BFADC-58E8-9A0B-0F11-19974B29D212}"/>
              </a:ext>
            </a:extLst>
          </p:cNvPr>
          <p:cNvCxnSpPr>
            <a:cxnSpLocks/>
          </p:cNvCxnSpPr>
          <p:nvPr/>
        </p:nvCxnSpPr>
        <p:spPr>
          <a:xfrm>
            <a:off x="3672097" y="2387243"/>
            <a:ext cx="480142" cy="16362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E93EA6EB-8563-9BF3-659F-23170D5B3D0C}"/>
              </a:ext>
            </a:extLst>
          </p:cNvPr>
          <p:cNvSpPr/>
          <p:nvPr/>
        </p:nvSpPr>
        <p:spPr>
          <a:xfrm>
            <a:off x="8310180" y="1713450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scontinued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53EA791-EAA7-5896-8C22-3058197CA9F3}"/>
              </a:ext>
            </a:extLst>
          </p:cNvPr>
          <p:cNvCxnSpPr>
            <a:cxnSpLocks/>
          </p:cNvCxnSpPr>
          <p:nvPr/>
        </p:nvCxnSpPr>
        <p:spPr>
          <a:xfrm>
            <a:off x="9112614" y="2212580"/>
            <a:ext cx="0" cy="16295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ADA669A-EB13-B41D-7DF1-C061F3BDC09B}"/>
              </a:ext>
            </a:extLst>
          </p:cNvPr>
          <p:cNvCxnSpPr>
            <a:cxnSpLocks/>
          </p:cNvCxnSpPr>
          <p:nvPr/>
        </p:nvCxnSpPr>
        <p:spPr>
          <a:xfrm>
            <a:off x="8294629" y="2375535"/>
            <a:ext cx="172149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6247B5C9-EDDB-5E06-47BD-E1F485B9225B}"/>
              </a:ext>
            </a:extLst>
          </p:cNvPr>
          <p:cNvCxnSpPr>
            <a:cxnSpLocks/>
          </p:cNvCxnSpPr>
          <p:nvPr/>
        </p:nvCxnSpPr>
        <p:spPr>
          <a:xfrm flipH="1">
            <a:off x="7814487" y="2375535"/>
            <a:ext cx="495693" cy="1595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23492630-1CB3-A2F9-207C-8DBBE04C4B51}"/>
              </a:ext>
            </a:extLst>
          </p:cNvPr>
          <p:cNvCxnSpPr>
            <a:cxnSpLocks/>
          </p:cNvCxnSpPr>
          <p:nvPr/>
        </p:nvCxnSpPr>
        <p:spPr>
          <a:xfrm>
            <a:off x="10016126" y="2375535"/>
            <a:ext cx="480142" cy="16362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530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158BF4B-79BF-3B51-E04D-1EE49FDAE4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9DEDFA7-7769-1AE5-EB8E-19D52CB19FAF}"/>
              </a:ext>
            </a:extLst>
          </p:cNvPr>
          <p:cNvSpPr txBox="1"/>
          <p:nvPr/>
        </p:nvSpPr>
        <p:spPr>
          <a:xfrm>
            <a:off x="174171" y="213011"/>
            <a:ext cx="9013372" cy="5384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Failure Mode &amp; Effects Analysis (Calculation Logic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B5D030-CABE-A67E-BFF2-9B51A51A3D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77916"/>
            <a:ext cx="6096000" cy="45021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32C333D-B620-8AE5-CC24-BD2C7076B4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177916"/>
            <a:ext cx="6096000" cy="4502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3237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AD6AD88-37D4-9B15-76DF-1F242DECF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4405061-84C6-649B-3C2E-D1A86527342D}"/>
              </a:ext>
            </a:extLst>
          </p:cNvPr>
          <p:cNvSpPr txBox="1"/>
          <p:nvPr/>
        </p:nvSpPr>
        <p:spPr>
          <a:xfrm>
            <a:off x="174171" y="213011"/>
            <a:ext cx="9013372" cy="5384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Failure Mode &amp; Effects Analysis (Calculation Logic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5A0BF9-016F-7084-8361-B8CCE685C7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170" y="1308432"/>
            <a:ext cx="5832479" cy="43811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FA268D0-683F-6903-7686-8EC2E4621A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6744" y="2800262"/>
            <a:ext cx="4263142" cy="1492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5199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Current Process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3821795-7E80-7409-A34A-21888BC27C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6923203"/>
              </p:ext>
            </p:extLst>
          </p:nvPr>
        </p:nvGraphicFramePr>
        <p:xfrm>
          <a:off x="284623" y="1234080"/>
          <a:ext cx="11622754" cy="5124559"/>
        </p:xfrm>
        <a:graphic>
          <a:graphicData uri="http://schemas.openxmlformats.org/drawingml/2006/table">
            <a:tbl>
              <a:tblPr/>
              <a:tblGrid>
                <a:gridCol w="1930145">
                  <a:extLst>
                    <a:ext uri="{9D8B030D-6E8A-4147-A177-3AD203B41FA5}">
                      <a16:colId xmlns:a16="http://schemas.microsoft.com/office/drawing/2014/main" val="1055475119"/>
                    </a:ext>
                  </a:extLst>
                </a:gridCol>
                <a:gridCol w="3284812">
                  <a:extLst>
                    <a:ext uri="{9D8B030D-6E8A-4147-A177-3AD203B41FA5}">
                      <a16:colId xmlns:a16="http://schemas.microsoft.com/office/drawing/2014/main" val="3852712730"/>
                    </a:ext>
                  </a:extLst>
                </a:gridCol>
                <a:gridCol w="839178">
                  <a:extLst>
                    <a:ext uri="{9D8B030D-6E8A-4147-A177-3AD203B41FA5}">
                      <a16:colId xmlns:a16="http://schemas.microsoft.com/office/drawing/2014/main" val="3827328971"/>
                    </a:ext>
                  </a:extLst>
                </a:gridCol>
                <a:gridCol w="1968683">
                  <a:extLst>
                    <a:ext uri="{9D8B030D-6E8A-4147-A177-3AD203B41FA5}">
                      <a16:colId xmlns:a16="http://schemas.microsoft.com/office/drawing/2014/main" val="272960440"/>
                    </a:ext>
                  </a:extLst>
                </a:gridCol>
                <a:gridCol w="3599936">
                  <a:extLst>
                    <a:ext uri="{9D8B030D-6E8A-4147-A177-3AD203B41FA5}">
                      <a16:colId xmlns:a16="http://schemas.microsoft.com/office/drawing/2014/main" val="3764215605"/>
                    </a:ext>
                  </a:extLst>
                </a:gridCol>
              </a:tblGrid>
              <a:tr h="921883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cess Step</a:t>
                      </a:r>
                      <a:endParaRPr lang="en-IN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tivity Description</a:t>
                      </a:r>
                      <a:endParaRPr lang="en-IN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98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ycle </a:t>
                      </a:r>
                    </a:p>
                    <a:p>
                      <a:pPr algn="ctr" latinLnBrk="1"/>
                      <a:r>
                        <a:rPr lang="en-IN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ime </a:t>
                      </a:r>
                    </a:p>
                    <a:p>
                      <a:pPr algn="ctr" latinLnBrk="1"/>
                      <a:r>
                        <a:rPr lang="en-IN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CT)</a:t>
                      </a:r>
                      <a:endParaRPr lang="en-IN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lue Added (VA) or</a:t>
                      </a:r>
                    </a:p>
                    <a:p>
                      <a:pPr algn="ctr" latinLnBrk="1"/>
                      <a:r>
                        <a:rPr lang="en-US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Non-Value Added </a:t>
                      </a:r>
                    </a:p>
                    <a:p>
                      <a:pPr algn="ctr" latinLnBrk="1"/>
                      <a:r>
                        <a:rPr lang="en-US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NVA)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IN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9314593"/>
                  </a:ext>
                </a:extLst>
              </a:tr>
              <a:tr h="599026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mand Forecasting</a:t>
                      </a:r>
                      <a:endParaRPr lang="en-IN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dicting future demand using historical data   and market trend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98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day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VA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orecasting inaccuracies lead to overstocking or        shortages, causing inefficiencies.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768706"/>
                  </a:ext>
                </a:extLst>
              </a:tr>
              <a:tr h="867078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duction Planning</a:t>
                      </a:r>
                      <a:endParaRPr lang="en-IN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veloping a production schedule that aligns</a:t>
                      </a:r>
                    </a:p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with demand forecasts and inventory level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 day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VA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lays due to frequent changes in demand trends,    leading to rework.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8896788"/>
                  </a:ext>
                </a:extLst>
              </a:tr>
              <a:tr h="997932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duct Management</a:t>
                      </a:r>
                      <a:endParaRPr lang="en-IN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verseeing the movement of products in and </a:t>
                      </a:r>
                    </a:p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ut of inventory, ensuring accurate tracking        and categorization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D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day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3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3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racking ensures proper inventory management, but occasional errors cause delays.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269735"/>
                  </a:ext>
                </a:extLst>
              </a:tr>
              <a:tr h="863261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AP Code Processing</a:t>
                      </a:r>
                      <a:endParaRPr lang="en-IN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nsuring products are processed with the </a:t>
                      </a:r>
                    </a:p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rrect SAP codes and categorized </a:t>
                      </a:r>
                    </a:p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ppropriately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3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day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08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VA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108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rrors in SAP coding led to misclassification and        confusion in the supply chain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696840"/>
                  </a:ext>
                </a:extLst>
              </a:tr>
              <a:tr h="875379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ordination</a:t>
                      </a:r>
                      <a:endParaRPr lang="en-IN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1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acilitating effective communication and              coordination between departments to                  streamline operation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3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day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B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VA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08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or coordination causes delays in approvals and     miscommunication among teams.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108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3604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276180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Proposed Process VSM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BD69331-B3E6-B9BD-DBA6-3B4A71CA92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86924"/>
              </p:ext>
            </p:extLst>
          </p:nvPr>
        </p:nvGraphicFramePr>
        <p:xfrm>
          <a:off x="457011" y="1279051"/>
          <a:ext cx="11277978" cy="5124559"/>
        </p:xfrm>
        <a:graphic>
          <a:graphicData uri="http://schemas.openxmlformats.org/drawingml/2006/table">
            <a:tbl>
              <a:tblPr/>
              <a:tblGrid>
                <a:gridCol w="1872890">
                  <a:extLst>
                    <a:ext uri="{9D8B030D-6E8A-4147-A177-3AD203B41FA5}">
                      <a16:colId xmlns:a16="http://schemas.microsoft.com/office/drawing/2014/main" val="1055475119"/>
                    </a:ext>
                  </a:extLst>
                </a:gridCol>
                <a:gridCol w="3187371">
                  <a:extLst>
                    <a:ext uri="{9D8B030D-6E8A-4147-A177-3AD203B41FA5}">
                      <a16:colId xmlns:a16="http://schemas.microsoft.com/office/drawing/2014/main" val="3852712730"/>
                    </a:ext>
                  </a:extLst>
                </a:gridCol>
                <a:gridCol w="814284">
                  <a:extLst>
                    <a:ext uri="{9D8B030D-6E8A-4147-A177-3AD203B41FA5}">
                      <a16:colId xmlns:a16="http://schemas.microsoft.com/office/drawing/2014/main" val="3827328971"/>
                    </a:ext>
                  </a:extLst>
                </a:gridCol>
                <a:gridCol w="1781577">
                  <a:extLst>
                    <a:ext uri="{9D8B030D-6E8A-4147-A177-3AD203B41FA5}">
                      <a16:colId xmlns:a16="http://schemas.microsoft.com/office/drawing/2014/main" val="272960440"/>
                    </a:ext>
                  </a:extLst>
                </a:gridCol>
                <a:gridCol w="3621856">
                  <a:extLst>
                    <a:ext uri="{9D8B030D-6E8A-4147-A177-3AD203B41FA5}">
                      <a16:colId xmlns:a16="http://schemas.microsoft.com/office/drawing/2014/main" val="3764215605"/>
                    </a:ext>
                  </a:extLst>
                </a:gridCol>
              </a:tblGrid>
              <a:tr h="921883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cess Step</a:t>
                      </a:r>
                      <a:endParaRPr lang="en-IN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tivity Description</a:t>
                      </a:r>
                      <a:endParaRPr lang="en-IN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98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ycle </a:t>
                      </a:r>
                    </a:p>
                    <a:p>
                      <a:pPr algn="ctr" latinLnBrk="1"/>
                      <a:r>
                        <a:rPr lang="en-IN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ime </a:t>
                      </a:r>
                    </a:p>
                    <a:p>
                      <a:pPr algn="ctr" latinLnBrk="1"/>
                      <a:r>
                        <a:rPr lang="en-IN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CT)</a:t>
                      </a:r>
                      <a:endParaRPr lang="en-IN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lue Added (VA) or</a:t>
                      </a:r>
                    </a:p>
                    <a:p>
                      <a:pPr algn="ctr" latinLnBrk="1"/>
                      <a:r>
                        <a:rPr lang="en-US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Non-Value Added </a:t>
                      </a:r>
                    </a:p>
                    <a:p>
                      <a:pPr algn="ctr" latinLnBrk="1"/>
                      <a:r>
                        <a:rPr lang="en-US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NVA)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ationale</a:t>
                      </a:r>
                      <a:endParaRPr lang="en-IN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9314593"/>
                  </a:ext>
                </a:extLst>
              </a:tr>
              <a:tr h="599026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mand Forecasting</a:t>
                      </a:r>
                      <a:endParaRPr lang="en-IN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dicting future demand using historical data   and market trend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98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day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elps ensure right products are available when         needed.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768706"/>
                  </a:ext>
                </a:extLst>
              </a:tr>
              <a:tr h="867078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duction Planning</a:t>
                      </a:r>
                      <a:endParaRPr lang="en-IN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veloping a production schedule that aligns</a:t>
                      </a:r>
                    </a:p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with demand forecasts and inventory level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 day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f planning is inaccurate then it leads to  overstock    and it adds waste rather than value.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8896788"/>
                  </a:ext>
                </a:extLst>
              </a:tr>
              <a:tr h="997932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duct Management</a:t>
                      </a:r>
                      <a:endParaRPr lang="en-IN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verseeing the movement of products in and </a:t>
                      </a:r>
                    </a:p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ut of inventory, ensuring accurate tracking        and categorization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D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day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3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3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nsures accurate tracking and movement critical  for product availability.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269735"/>
                  </a:ext>
                </a:extLst>
              </a:tr>
              <a:tr h="863261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AP Code Processing</a:t>
                      </a:r>
                      <a:endParaRPr lang="en-IN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8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nsuring products are processed with the </a:t>
                      </a:r>
                    </a:p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rrect SAP codes and categorized </a:t>
                      </a:r>
                    </a:p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ppropriately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3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day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08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108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AP/ CAT code confusion will lead to confusion in    market leading to frustration from customer. 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696840"/>
                  </a:ext>
                </a:extLst>
              </a:tr>
              <a:tr h="875379"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ordination</a:t>
                      </a:r>
                      <a:endParaRPr lang="en-IN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109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acilitating effective communication and              coordination between departments to                  streamline operations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309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IN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day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B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08C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108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08D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or coordination adds confusion in the market.</a:t>
                      </a:r>
                    </a:p>
                    <a:p>
                      <a:pPr algn="ctr" latinLnBrk="1"/>
                      <a:r>
                        <a:rPr lang="en-US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his directly impacts the end consumer.</a:t>
                      </a:r>
                    </a:p>
                  </a:txBody>
                  <a:tcPr marL="23306" marR="23306" marT="4661" marB="4661" anchor="ctr">
                    <a:lnL w="9525" cap="flat" cmpd="sng" algn="ctr">
                      <a:solidFill>
                        <a:srgbClr val="1083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9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85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092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3604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626322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76922C-52B6-4DCD-6108-379213FA78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>
            <a:extLst>
              <a:ext uri="{FF2B5EF4-FFF2-40B4-BE49-F238E27FC236}">
                <a16:creationId xmlns:a16="http://schemas.microsoft.com/office/drawing/2014/main" id="{4714F350-E830-508F-5CAE-B70C346D62EF}"/>
              </a:ext>
            </a:extLst>
          </p:cNvPr>
          <p:cNvSpPr>
            <a:spLocks/>
          </p:cNvSpPr>
          <p:nvPr/>
        </p:nvSpPr>
        <p:spPr bwMode="auto">
          <a:xfrm>
            <a:off x="6483350" y="4772026"/>
            <a:ext cx="1398588" cy="236538"/>
          </a:xfrm>
          <a:custGeom>
            <a:avLst/>
            <a:gdLst>
              <a:gd name="T0" fmla="*/ 0 w 367"/>
              <a:gd name="T1" fmla="*/ 54 h 62"/>
              <a:gd name="T2" fmla="*/ 366 w 367"/>
              <a:gd name="T3" fmla="*/ 62 h 62"/>
              <a:gd name="T4" fmla="*/ 364 w 367"/>
              <a:gd name="T5" fmla="*/ 38 h 62"/>
              <a:gd name="T6" fmla="*/ 367 w 367"/>
              <a:gd name="T7" fmla="*/ 8 h 62"/>
              <a:gd name="T8" fmla="*/ 1 w 367"/>
              <a:gd name="T9" fmla="*/ 0 h 62"/>
              <a:gd name="T10" fmla="*/ 4 w 367"/>
              <a:gd name="T11" fmla="*/ 25 h 62"/>
              <a:gd name="T12" fmla="*/ 4 w 367"/>
              <a:gd name="T13" fmla="*/ 27 h 62"/>
              <a:gd name="T14" fmla="*/ 0 w 367"/>
              <a:gd name="T15" fmla="*/ 54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67" h="62">
                <a:moveTo>
                  <a:pt x="0" y="54"/>
                </a:moveTo>
                <a:cubicBezTo>
                  <a:pt x="366" y="62"/>
                  <a:pt x="366" y="62"/>
                  <a:pt x="366" y="62"/>
                </a:cubicBezTo>
                <a:cubicBezTo>
                  <a:pt x="364" y="54"/>
                  <a:pt x="364" y="46"/>
                  <a:pt x="364" y="38"/>
                </a:cubicBezTo>
                <a:cubicBezTo>
                  <a:pt x="364" y="28"/>
                  <a:pt x="365" y="18"/>
                  <a:pt x="367" y="8"/>
                </a:cubicBezTo>
                <a:cubicBezTo>
                  <a:pt x="1" y="0"/>
                  <a:pt x="1" y="0"/>
                  <a:pt x="1" y="0"/>
                </a:cubicBezTo>
                <a:cubicBezTo>
                  <a:pt x="3" y="8"/>
                  <a:pt x="4" y="17"/>
                  <a:pt x="4" y="25"/>
                </a:cubicBezTo>
                <a:cubicBezTo>
                  <a:pt x="4" y="26"/>
                  <a:pt x="4" y="27"/>
                  <a:pt x="4" y="27"/>
                </a:cubicBezTo>
                <a:cubicBezTo>
                  <a:pt x="3" y="37"/>
                  <a:pt x="2" y="46"/>
                  <a:pt x="0" y="5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1DBAE3D-C98F-15A4-C37D-5FF28C19E4F0}"/>
              </a:ext>
            </a:extLst>
          </p:cNvPr>
          <p:cNvGrpSpPr/>
          <p:nvPr/>
        </p:nvGrpSpPr>
        <p:grpSpPr>
          <a:xfrm>
            <a:off x="7870825" y="4357688"/>
            <a:ext cx="1119188" cy="1123950"/>
            <a:chOff x="7870825" y="4357688"/>
            <a:chExt cx="1119188" cy="1123950"/>
          </a:xfrm>
        </p:grpSpPr>
        <p:sp>
          <p:nvSpPr>
            <p:cNvPr id="10" name="Oval 10">
              <a:extLst>
                <a:ext uri="{FF2B5EF4-FFF2-40B4-BE49-F238E27FC236}">
                  <a16:creationId xmlns:a16="http://schemas.microsoft.com/office/drawing/2014/main" id="{A11E0E42-8564-9BDD-06B7-2EB8ECB5AE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0825" y="4357688"/>
              <a:ext cx="1119188" cy="112395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Oval 11">
              <a:extLst>
                <a:ext uri="{FF2B5EF4-FFF2-40B4-BE49-F238E27FC236}">
                  <a16:creationId xmlns:a16="http://schemas.microsoft.com/office/drawing/2014/main" id="{0F1E4F7B-1AE2-4B7D-701C-569E813241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6238" y="4483101"/>
              <a:ext cx="868363" cy="86836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8" name="Freeform 12">
            <a:extLst>
              <a:ext uri="{FF2B5EF4-FFF2-40B4-BE49-F238E27FC236}">
                <a16:creationId xmlns:a16="http://schemas.microsoft.com/office/drawing/2014/main" id="{BD85FFDF-E7BA-253E-46BE-7B56ABAB4DF2}"/>
              </a:ext>
            </a:extLst>
          </p:cNvPr>
          <p:cNvSpPr>
            <a:spLocks/>
          </p:cNvSpPr>
          <p:nvPr/>
        </p:nvSpPr>
        <p:spPr bwMode="auto">
          <a:xfrm>
            <a:off x="6292850" y="3443288"/>
            <a:ext cx="1211263" cy="1219200"/>
          </a:xfrm>
          <a:custGeom>
            <a:avLst/>
            <a:gdLst>
              <a:gd name="T0" fmla="*/ 279 w 318"/>
              <a:gd name="T1" fmla="*/ 0 h 320"/>
              <a:gd name="T2" fmla="*/ 0 w 318"/>
              <a:gd name="T3" fmla="*/ 281 h 320"/>
              <a:gd name="T4" fmla="*/ 22 w 318"/>
              <a:gd name="T5" fmla="*/ 298 h 320"/>
              <a:gd name="T6" fmla="*/ 39 w 318"/>
              <a:gd name="T7" fmla="*/ 320 h 320"/>
              <a:gd name="T8" fmla="*/ 318 w 318"/>
              <a:gd name="T9" fmla="*/ 38 h 320"/>
              <a:gd name="T10" fmla="*/ 279 w 318"/>
              <a:gd name="T11" fmla="*/ 0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" h="320">
                <a:moveTo>
                  <a:pt x="279" y="0"/>
                </a:moveTo>
                <a:cubicBezTo>
                  <a:pt x="0" y="281"/>
                  <a:pt x="0" y="281"/>
                  <a:pt x="0" y="281"/>
                </a:cubicBezTo>
                <a:cubicBezTo>
                  <a:pt x="8" y="286"/>
                  <a:pt x="16" y="292"/>
                  <a:pt x="22" y="298"/>
                </a:cubicBezTo>
                <a:cubicBezTo>
                  <a:pt x="28" y="304"/>
                  <a:pt x="34" y="312"/>
                  <a:pt x="39" y="320"/>
                </a:cubicBezTo>
                <a:cubicBezTo>
                  <a:pt x="318" y="38"/>
                  <a:pt x="318" y="38"/>
                  <a:pt x="318" y="38"/>
                </a:cubicBezTo>
                <a:cubicBezTo>
                  <a:pt x="303" y="28"/>
                  <a:pt x="290" y="15"/>
                  <a:pt x="279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3E2D328-CE6C-9FF2-34D0-A712A5743E1E}"/>
              </a:ext>
            </a:extLst>
          </p:cNvPr>
          <p:cNvGrpSpPr/>
          <p:nvPr/>
        </p:nvGrpSpPr>
        <p:grpSpPr>
          <a:xfrm>
            <a:off x="7256463" y="2562226"/>
            <a:ext cx="1123950" cy="1123950"/>
            <a:chOff x="7256463" y="2562226"/>
            <a:chExt cx="1123950" cy="1123950"/>
          </a:xfrm>
        </p:grpSpPr>
        <p:sp>
          <p:nvSpPr>
            <p:cNvPr id="30" name="Oval 13">
              <a:extLst>
                <a:ext uri="{FF2B5EF4-FFF2-40B4-BE49-F238E27FC236}">
                  <a16:creationId xmlns:a16="http://schemas.microsoft.com/office/drawing/2014/main" id="{BE27E7AD-F887-E306-10F2-8D937BDB1A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6463" y="2562226"/>
              <a:ext cx="1123950" cy="112395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Oval 14">
              <a:extLst>
                <a:ext uri="{FF2B5EF4-FFF2-40B4-BE49-F238E27FC236}">
                  <a16:creationId xmlns:a16="http://schemas.microsoft.com/office/drawing/2014/main" id="{BFD54463-AA65-16CD-3C15-AF3FCB60D8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3463" y="2687638"/>
              <a:ext cx="866775" cy="86995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3" name="Freeform 15">
            <a:extLst>
              <a:ext uri="{FF2B5EF4-FFF2-40B4-BE49-F238E27FC236}">
                <a16:creationId xmlns:a16="http://schemas.microsoft.com/office/drawing/2014/main" id="{2A2F21C1-E928-1A4E-217A-3FA7224903A7}"/>
              </a:ext>
            </a:extLst>
          </p:cNvPr>
          <p:cNvSpPr>
            <a:spLocks/>
          </p:cNvSpPr>
          <p:nvPr/>
        </p:nvSpPr>
        <p:spPr bwMode="auto">
          <a:xfrm>
            <a:off x="5973763" y="3046413"/>
            <a:ext cx="217488" cy="1428750"/>
          </a:xfrm>
          <a:custGeom>
            <a:avLst/>
            <a:gdLst>
              <a:gd name="T0" fmla="*/ 26 w 57"/>
              <a:gd name="T1" fmla="*/ 3 h 375"/>
              <a:gd name="T2" fmla="*/ 0 w 57"/>
              <a:gd name="T3" fmla="*/ 1 h 375"/>
              <a:gd name="T4" fmla="*/ 3 w 57"/>
              <a:gd name="T5" fmla="*/ 375 h 375"/>
              <a:gd name="T6" fmla="*/ 30 w 57"/>
              <a:gd name="T7" fmla="*/ 371 h 375"/>
              <a:gd name="T8" fmla="*/ 31 w 57"/>
              <a:gd name="T9" fmla="*/ 371 h 375"/>
              <a:gd name="T10" fmla="*/ 57 w 57"/>
              <a:gd name="T11" fmla="*/ 374 h 375"/>
              <a:gd name="T12" fmla="*/ 54 w 57"/>
              <a:gd name="T13" fmla="*/ 0 h 375"/>
              <a:gd name="T14" fmla="*/ 26 w 57"/>
              <a:gd name="T15" fmla="*/ 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375">
                <a:moveTo>
                  <a:pt x="26" y="3"/>
                </a:moveTo>
                <a:cubicBezTo>
                  <a:pt x="17" y="3"/>
                  <a:pt x="9" y="2"/>
                  <a:pt x="0" y="1"/>
                </a:cubicBezTo>
                <a:cubicBezTo>
                  <a:pt x="3" y="375"/>
                  <a:pt x="3" y="375"/>
                  <a:pt x="3" y="375"/>
                </a:cubicBezTo>
                <a:cubicBezTo>
                  <a:pt x="12" y="372"/>
                  <a:pt x="21" y="371"/>
                  <a:pt x="30" y="371"/>
                </a:cubicBezTo>
                <a:cubicBezTo>
                  <a:pt x="31" y="371"/>
                  <a:pt x="31" y="371"/>
                  <a:pt x="31" y="371"/>
                </a:cubicBezTo>
                <a:cubicBezTo>
                  <a:pt x="40" y="371"/>
                  <a:pt x="48" y="372"/>
                  <a:pt x="57" y="374"/>
                </a:cubicBezTo>
                <a:cubicBezTo>
                  <a:pt x="54" y="0"/>
                  <a:pt x="54" y="0"/>
                  <a:pt x="54" y="0"/>
                </a:cubicBezTo>
                <a:cubicBezTo>
                  <a:pt x="45" y="2"/>
                  <a:pt x="36" y="3"/>
                  <a:pt x="26" y="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F7A2DDC-4B16-CE12-5915-8690C1EAB539}"/>
              </a:ext>
            </a:extLst>
          </p:cNvPr>
          <p:cNvGrpSpPr/>
          <p:nvPr/>
        </p:nvGrpSpPr>
        <p:grpSpPr>
          <a:xfrm>
            <a:off x="5513388" y="1936751"/>
            <a:ext cx="1119188" cy="1120775"/>
            <a:chOff x="5513388" y="1936751"/>
            <a:chExt cx="1119188" cy="1120775"/>
          </a:xfrm>
        </p:grpSpPr>
        <p:sp>
          <p:nvSpPr>
            <p:cNvPr id="36" name="Oval 16">
              <a:extLst>
                <a:ext uri="{FF2B5EF4-FFF2-40B4-BE49-F238E27FC236}">
                  <a16:creationId xmlns:a16="http://schemas.microsoft.com/office/drawing/2014/main" id="{B4B5784A-0030-418E-70C6-54E476BF0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3388" y="1936751"/>
              <a:ext cx="1119188" cy="112077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7" name="Oval 17">
              <a:extLst>
                <a:ext uri="{FF2B5EF4-FFF2-40B4-BE49-F238E27FC236}">
                  <a16:creationId xmlns:a16="http://schemas.microsoft.com/office/drawing/2014/main" id="{7CA198C0-23AD-06FE-5C03-DECA212255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8800" y="2063751"/>
              <a:ext cx="868363" cy="86836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8" name="Freeform 18">
            <a:extLst>
              <a:ext uri="{FF2B5EF4-FFF2-40B4-BE49-F238E27FC236}">
                <a16:creationId xmlns:a16="http://schemas.microsoft.com/office/drawing/2014/main" id="{06C65BD9-9FCC-0C55-87C1-C9D156792124}"/>
              </a:ext>
            </a:extLst>
          </p:cNvPr>
          <p:cNvSpPr>
            <a:spLocks/>
          </p:cNvSpPr>
          <p:nvPr/>
        </p:nvSpPr>
        <p:spPr bwMode="auto">
          <a:xfrm>
            <a:off x="4724400" y="3386138"/>
            <a:ext cx="1173163" cy="1260475"/>
          </a:xfrm>
          <a:custGeom>
            <a:avLst/>
            <a:gdLst>
              <a:gd name="T0" fmla="*/ 40 w 308"/>
              <a:gd name="T1" fmla="*/ 0 h 331"/>
              <a:gd name="T2" fmla="*/ 0 w 308"/>
              <a:gd name="T3" fmla="*/ 37 h 331"/>
              <a:gd name="T4" fmla="*/ 268 w 308"/>
              <a:gd name="T5" fmla="*/ 331 h 331"/>
              <a:gd name="T6" fmla="*/ 286 w 308"/>
              <a:gd name="T7" fmla="*/ 311 h 331"/>
              <a:gd name="T8" fmla="*/ 308 w 308"/>
              <a:gd name="T9" fmla="*/ 295 h 331"/>
              <a:gd name="T10" fmla="*/ 40 w 308"/>
              <a:gd name="T11" fmla="*/ 0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08" h="331">
                <a:moveTo>
                  <a:pt x="40" y="0"/>
                </a:moveTo>
                <a:cubicBezTo>
                  <a:pt x="29" y="15"/>
                  <a:pt x="16" y="27"/>
                  <a:pt x="0" y="37"/>
                </a:cubicBezTo>
                <a:cubicBezTo>
                  <a:pt x="268" y="331"/>
                  <a:pt x="268" y="331"/>
                  <a:pt x="268" y="331"/>
                </a:cubicBezTo>
                <a:cubicBezTo>
                  <a:pt x="273" y="324"/>
                  <a:pt x="279" y="317"/>
                  <a:pt x="286" y="311"/>
                </a:cubicBezTo>
                <a:cubicBezTo>
                  <a:pt x="292" y="304"/>
                  <a:pt x="300" y="299"/>
                  <a:pt x="308" y="295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0EA79BB-E967-3AFD-ED4A-B4232182794E}"/>
              </a:ext>
            </a:extLst>
          </p:cNvPr>
          <p:cNvGrpSpPr/>
          <p:nvPr/>
        </p:nvGrpSpPr>
        <p:grpSpPr>
          <a:xfrm>
            <a:off x="3871913" y="2486026"/>
            <a:ext cx="1119188" cy="1123950"/>
            <a:chOff x="3871913" y="2486026"/>
            <a:chExt cx="1119188" cy="1123950"/>
          </a:xfrm>
        </p:grpSpPr>
        <p:sp>
          <p:nvSpPr>
            <p:cNvPr id="39" name="Oval 19">
              <a:extLst>
                <a:ext uri="{FF2B5EF4-FFF2-40B4-BE49-F238E27FC236}">
                  <a16:creationId xmlns:a16="http://schemas.microsoft.com/office/drawing/2014/main" id="{BBCB967F-5440-2635-23F0-3A5A782AE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1913" y="2486026"/>
              <a:ext cx="1119188" cy="11239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0" name="Oval 20">
              <a:extLst>
                <a:ext uri="{FF2B5EF4-FFF2-40B4-BE49-F238E27FC236}">
                  <a16:creationId xmlns:a16="http://schemas.microsoft.com/office/drawing/2014/main" id="{CD6A200E-34CC-26D5-B9B6-99C17C7FC6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7325" y="2611438"/>
              <a:ext cx="868363" cy="86995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41" name="Freeform 21">
            <a:extLst>
              <a:ext uri="{FF2B5EF4-FFF2-40B4-BE49-F238E27FC236}">
                <a16:creationId xmlns:a16="http://schemas.microsoft.com/office/drawing/2014/main" id="{DCCFF1E0-9DDE-64CE-6C68-DE913943BD75}"/>
              </a:ext>
            </a:extLst>
          </p:cNvPr>
          <p:cNvSpPr>
            <a:spLocks/>
          </p:cNvSpPr>
          <p:nvPr/>
        </p:nvSpPr>
        <p:spPr bwMode="auto">
          <a:xfrm>
            <a:off x="4305300" y="4772026"/>
            <a:ext cx="1390650" cy="236538"/>
          </a:xfrm>
          <a:custGeom>
            <a:avLst/>
            <a:gdLst>
              <a:gd name="T0" fmla="*/ 0 w 365"/>
              <a:gd name="T1" fmla="*/ 8 h 62"/>
              <a:gd name="T2" fmla="*/ 3 w 365"/>
              <a:gd name="T3" fmla="*/ 38 h 62"/>
              <a:gd name="T4" fmla="*/ 1 w 365"/>
              <a:gd name="T5" fmla="*/ 62 h 62"/>
              <a:gd name="T6" fmla="*/ 365 w 365"/>
              <a:gd name="T7" fmla="*/ 54 h 62"/>
              <a:gd name="T8" fmla="*/ 361 w 365"/>
              <a:gd name="T9" fmla="*/ 27 h 62"/>
              <a:gd name="T10" fmla="*/ 361 w 365"/>
              <a:gd name="T11" fmla="*/ 25 h 62"/>
              <a:gd name="T12" fmla="*/ 364 w 365"/>
              <a:gd name="T13" fmla="*/ 0 h 62"/>
              <a:gd name="T14" fmla="*/ 0 w 365"/>
              <a:gd name="T15" fmla="*/ 8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65" h="62">
                <a:moveTo>
                  <a:pt x="0" y="8"/>
                </a:moveTo>
                <a:cubicBezTo>
                  <a:pt x="2" y="18"/>
                  <a:pt x="3" y="28"/>
                  <a:pt x="3" y="38"/>
                </a:cubicBezTo>
                <a:cubicBezTo>
                  <a:pt x="3" y="46"/>
                  <a:pt x="3" y="54"/>
                  <a:pt x="1" y="62"/>
                </a:cubicBezTo>
                <a:cubicBezTo>
                  <a:pt x="365" y="54"/>
                  <a:pt x="365" y="54"/>
                  <a:pt x="365" y="54"/>
                </a:cubicBezTo>
                <a:cubicBezTo>
                  <a:pt x="363" y="46"/>
                  <a:pt x="362" y="37"/>
                  <a:pt x="361" y="27"/>
                </a:cubicBezTo>
                <a:cubicBezTo>
                  <a:pt x="361" y="27"/>
                  <a:pt x="361" y="26"/>
                  <a:pt x="361" y="25"/>
                </a:cubicBezTo>
                <a:cubicBezTo>
                  <a:pt x="361" y="17"/>
                  <a:pt x="362" y="8"/>
                  <a:pt x="364" y="0"/>
                </a:cubicBezTo>
                <a:lnTo>
                  <a:pt x="0" y="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8C685CE-DAA2-8353-2052-9192B34B6677}"/>
              </a:ext>
            </a:extLst>
          </p:cNvPr>
          <p:cNvGrpSpPr/>
          <p:nvPr/>
        </p:nvGrpSpPr>
        <p:grpSpPr>
          <a:xfrm>
            <a:off x="3197225" y="4357688"/>
            <a:ext cx="1120775" cy="1123950"/>
            <a:chOff x="3197225" y="4357688"/>
            <a:chExt cx="1120775" cy="1123950"/>
          </a:xfrm>
        </p:grpSpPr>
        <p:sp>
          <p:nvSpPr>
            <p:cNvPr id="42" name="Oval 22">
              <a:extLst>
                <a:ext uri="{FF2B5EF4-FFF2-40B4-BE49-F238E27FC236}">
                  <a16:creationId xmlns:a16="http://schemas.microsoft.com/office/drawing/2014/main" id="{E4C5904A-8701-E41A-C16D-C346F01600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7225" y="4357688"/>
              <a:ext cx="1120775" cy="11239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3" name="Oval 23">
              <a:extLst>
                <a:ext uri="{FF2B5EF4-FFF2-40B4-BE49-F238E27FC236}">
                  <a16:creationId xmlns:a16="http://schemas.microsoft.com/office/drawing/2014/main" id="{46664785-2AD5-AE54-7D75-24D276C08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4225" y="4483101"/>
              <a:ext cx="866775" cy="86836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endParaRPr>
            </a:p>
          </p:txBody>
        </p:sp>
      </p:grpSp>
      <p:sp>
        <p:nvSpPr>
          <p:cNvPr id="52" name="Freeform 29">
            <a:extLst>
              <a:ext uri="{FF2B5EF4-FFF2-40B4-BE49-F238E27FC236}">
                <a16:creationId xmlns:a16="http://schemas.microsoft.com/office/drawing/2014/main" id="{482C3589-BCC2-1E99-B20A-39156F2C5386}"/>
              </a:ext>
            </a:extLst>
          </p:cNvPr>
          <p:cNvSpPr>
            <a:spLocks/>
          </p:cNvSpPr>
          <p:nvPr/>
        </p:nvSpPr>
        <p:spPr bwMode="auto">
          <a:xfrm>
            <a:off x="6610350" y="3906838"/>
            <a:ext cx="1042988" cy="823913"/>
          </a:xfrm>
          <a:custGeom>
            <a:avLst/>
            <a:gdLst>
              <a:gd name="T0" fmla="*/ 183 w 274"/>
              <a:gd name="T1" fmla="*/ 0 h 216"/>
              <a:gd name="T2" fmla="*/ 172 w 274"/>
              <a:gd name="T3" fmla="*/ 5 h 216"/>
              <a:gd name="T4" fmla="*/ 9 w 274"/>
              <a:gd name="T5" fmla="*/ 169 h 216"/>
              <a:gd name="T6" fmla="*/ 3 w 274"/>
              <a:gd name="T7" fmla="*/ 196 h 216"/>
              <a:gd name="T8" fmla="*/ 26 w 274"/>
              <a:gd name="T9" fmla="*/ 211 h 216"/>
              <a:gd name="T10" fmla="*/ 257 w 274"/>
              <a:gd name="T11" fmla="*/ 216 h 216"/>
              <a:gd name="T12" fmla="*/ 257 w 274"/>
              <a:gd name="T13" fmla="*/ 216 h 216"/>
              <a:gd name="T14" fmla="*/ 273 w 274"/>
              <a:gd name="T15" fmla="*/ 198 h 216"/>
              <a:gd name="T16" fmla="*/ 196 w 274"/>
              <a:gd name="T17" fmla="*/ 7 h 216"/>
              <a:gd name="T18" fmla="*/ 183 w 274"/>
              <a:gd name="T19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4" h="216">
                <a:moveTo>
                  <a:pt x="183" y="0"/>
                </a:moveTo>
                <a:cubicBezTo>
                  <a:pt x="179" y="0"/>
                  <a:pt x="175" y="2"/>
                  <a:pt x="172" y="5"/>
                </a:cubicBezTo>
                <a:cubicBezTo>
                  <a:pt x="140" y="38"/>
                  <a:pt x="56" y="123"/>
                  <a:pt x="9" y="169"/>
                </a:cubicBezTo>
                <a:cubicBezTo>
                  <a:pt x="2" y="176"/>
                  <a:pt x="0" y="188"/>
                  <a:pt x="3" y="196"/>
                </a:cubicBezTo>
                <a:cubicBezTo>
                  <a:pt x="6" y="204"/>
                  <a:pt x="16" y="210"/>
                  <a:pt x="26" y="211"/>
                </a:cubicBezTo>
                <a:cubicBezTo>
                  <a:pt x="91" y="212"/>
                  <a:pt x="196" y="214"/>
                  <a:pt x="257" y="216"/>
                </a:cubicBezTo>
                <a:cubicBezTo>
                  <a:pt x="257" y="216"/>
                  <a:pt x="257" y="216"/>
                  <a:pt x="257" y="216"/>
                </a:cubicBezTo>
                <a:cubicBezTo>
                  <a:pt x="267" y="216"/>
                  <a:pt x="274" y="208"/>
                  <a:pt x="273" y="198"/>
                </a:cubicBezTo>
                <a:cubicBezTo>
                  <a:pt x="264" y="129"/>
                  <a:pt x="237" y="63"/>
                  <a:pt x="196" y="7"/>
                </a:cubicBezTo>
                <a:cubicBezTo>
                  <a:pt x="192" y="3"/>
                  <a:pt x="188" y="0"/>
                  <a:pt x="183" y="0"/>
                </a:cubicBezTo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3" name="Freeform 30">
            <a:extLst>
              <a:ext uri="{FF2B5EF4-FFF2-40B4-BE49-F238E27FC236}">
                <a16:creationId xmlns:a16="http://schemas.microsoft.com/office/drawing/2014/main" id="{1769B940-19DC-5D23-1A24-A53F6F4006FB}"/>
              </a:ext>
            </a:extLst>
          </p:cNvPr>
          <p:cNvSpPr>
            <a:spLocks/>
          </p:cNvSpPr>
          <p:nvPr/>
        </p:nvSpPr>
        <p:spPr bwMode="auto">
          <a:xfrm>
            <a:off x="6251575" y="3309938"/>
            <a:ext cx="795338" cy="1031875"/>
          </a:xfrm>
          <a:custGeom>
            <a:avLst/>
            <a:gdLst>
              <a:gd name="T0" fmla="*/ 16 w 209"/>
              <a:gd name="T1" fmla="*/ 0 h 271"/>
              <a:gd name="T2" fmla="*/ 0 w 209"/>
              <a:gd name="T3" fmla="*/ 16 h 271"/>
              <a:gd name="T4" fmla="*/ 2 w 209"/>
              <a:gd name="T5" fmla="*/ 247 h 271"/>
              <a:gd name="T6" fmla="*/ 14 w 209"/>
              <a:gd name="T7" fmla="*/ 270 h 271"/>
              <a:gd name="T8" fmla="*/ 20 w 209"/>
              <a:gd name="T9" fmla="*/ 271 h 271"/>
              <a:gd name="T10" fmla="*/ 39 w 209"/>
              <a:gd name="T11" fmla="*/ 263 h 271"/>
              <a:gd name="T12" fmla="*/ 202 w 209"/>
              <a:gd name="T13" fmla="*/ 99 h 271"/>
              <a:gd name="T14" fmla="*/ 200 w 209"/>
              <a:gd name="T15" fmla="*/ 75 h 271"/>
              <a:gd name="T16" fmla="*/ 18 w 209"/>
              <a:gd name="T17" fmla="*/ 1 h 271"/>
              <a:gd name="T18" fmla="*/ 16 w 209"/>
              <a:gd name="T19" fmla="*/ 0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9" h="271">
                <a:moveTo>
                  <a:pt x="16" y="0"/>
                </a:moveTo>
                <a:cubicBezTo>
                  <a:pt x="7" y="0"/>
                  <a:pt x="0" y="7"/>
                  <a:pt x="0" y="16"/>
                </a:cubicBezTo>
                <a:cubicBezTo>
                  <a:pt x="2" y="247"/>
                  <a:pt x="2" y="247"/>
                  <a:pt x="2" y="247"/>
                </a:cubicBezTo>
                <a:cubicBezTo>
                  <a:pt x="2" y="257"/>
                  <a:pt x="8" y="267"/>
                  <a:pt x="14" y="270"/>
                </a:cubicBezTo>
                <a:cubicBezTo>
                  <a:pt x="16" y="271"/>
                  <a:pt x="18" y="271"/>
                  <a:pt x="20" y="271"/>
                </a:cubicBezTo>
                <a:cubicBezTo>
                  <a:pt x="27" y="271"/>
                  <a:pt x="34" y="268"/>
                  <a:pt x="39" y="263"/>
                </a:cubicBezTo>
                <a:cubicBezTo>
                  <a:pt x="202" y="99"/>
                  <a:pt x="202" y="99"/>
                  <a:pt x="202" y="99"/>
                </a:cubicBezTo>
                <a:cubicBezTo>
                  <a:pt x="209" y="92"/>
                  <a:pt x="208" y="81"/>
                  <a:pt x="200" y="75"/>
                </a:cubicBezTo>
                <a:cubicBezTo>
                  <a:pt x="146" y="36"/>
                  <a:pt x="84" y="10"/>
                  <a:pt x="18" y="1"/>
                </a:cubicBezTo>
                <a:cubicBezTo>
                  <a:pt x="17" y="1"/>
                  <a:pt x="16" y="0"/>
                  <a:pt x="16" y="0"/>
                </a:cubicBezTo>
              </a:path>
            </a:pathLst>
          </a:custGeom>
          <a:solidFill>
            <a:schemeClr val="accent3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4" name="Freeform 31">
            <a:extLst>
              <a:ext uri="{FF2B5EF4-FFF2-40B4-BE49-F238E27FC236}">
                <a16:creationId xmlns:a16="http://schemas.microsoft.com/office/drawing/2014/main" id="{FC6AF526-68C0-4A48-E323-8F517A46775B}"/>
              </a:ext>
            </a:extLst>
          </p:cNvPr>
          <p:cNvSpPr>
            <a:spLocks/>
          </p:cNvSpPr>
          <p:nvPr/>
        </p:nvSpPr>
        <p:spPr bwMode="auto">
          <a:xfrm>
            <a:off x="5173663" y="3313113"/>
            <a:ext cx="742950" cy="1025525"/>
          </a:xfrm>
          <a:custGeom>
            <a:avLst/>
            <a:gdLst>
              <a:gd name="T0" fmla="*/ 178 w 195"/>
              <a:gd name="T1" fmla="*/ 0 h 269"/>
              <a:gd name="T2" fmla="*/ 175 w 195"/>
              <a:gd name="T3" fmla="*/ 0 h 269"/>
              <a:gd name="T4" fmla="*/ 9 w 195"/>
              <a:gd name="T5" fmla="*/ 66 h 269"/>
              <a:gd name="T6" fmla="*/ 7 w 195"/>
              <a:gd name="T7" fmla="*/ 90 h 269"/>
              <a:gd name="T8" fmla="*/ 164 w 195"/>
              <a:gd name="T9" fmla="*/ 259 h 269"/>
              <a:gd name="T10" fmla="*/ 182 w 195"/>
              <a:gd name="T11" fmla="*/ 269 h 269"/>
              <a:gd name="T12" fmla="*/ 185 w 195"/>
              <a:gd name="T13" fmla="*/ 268 h 269"/>
              <a:gd name="T14" fmla="*/ 195 w 195"/>
              <a:gd name="T15" fmla="*/ 247 h 269"/>
              <a:gd name="T16" fmla="*/ 193 w 195"/>
              <a:gd name="T17" fmla="*/ 16 h 269"/>
              <a:gd name="T18" fmla="*/ 178 w 195"/>
              <a:gd name="T19" fmla="*/ 0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5" h="269">
                <a:moveTo>
                  <a:pt x="178" y="0"/>
                </a:moveTo>
                <a:cubicBezTo>
                  <a:pt x="177" y="0"/>
                  <a:pt x="176" y="0"/>
                  <a:pt x="175" y="0"/>
                </a:cubicBezTo>
                <a:cubicBezTo>
                  <a:pt x="116" y="10"/>
                  <a:pt x="59" y="32"/>
                  <a:pt x="9" y="66"/>
                </a:cubicBezTo>
                <a:cubicBezTo>
                  <a:pt x="1" y="72"/>
                  <a:pt x="0" y="82"/>
                  <a:pt x="7" y="90"/>
                </a:cubicBezTo>
                <a:cubicBezTo>
                  <a:pt x="38" y="123"/>
                  <a:pt x="119" y="211"/>
                  <a:pt x="164" y="259"/>
                </a:cubicBezTo>
                <a:cubicBezTo>
                  <a:pt x="169" y="265"/>
                  <a:pt x="177" y="269"/>
                  <a:pt x="182" y="269"/>
                </a:cubicBezTo>
                <a:cubicBezTo>
                  <a:pt x="183" y="269"/>
                  <a:pt x="184" y="269"/>
                  <a:pt x="185" y="268"/>
                </a:cubicBezTo>
                <a:cubicBezTo>
                  <a:pt x="190" y="266"/>
                  <a:pt x="195" y="257"/>
                  <a:pt x="195" y="247"/>
                </a:cubicBezTo>
                <a:cubicBezTo>
                  <a:pt x="193" y="16"/>
                  <a:pt x="193" y="16"/>
                  <a:pt x="193" y="16"/>
                </a:cubicBezTo>
                <a:cubicBezTo>
                  <a:pt x="193" y="7"/>
                  <a:pt x="187" y="0"/>
                  <a:pt x="178" y="0"/>
                </a:cubicBezTo>
              </a:path>
            </a:pathLst>
          </a:custGeom>
          <a:solidFill>
            <a:schemeClr val="accent2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5" name="Freeform 32">
            <a:extLst>
              <a:ext uri="{FF2B5EF4-FFF2-40B4-BE49-F238E27FC236}">
                <a16:creationId xmlns:a16="http://schemas.microsoft.com/office/drawing/2014/main" id="{FB4A1F6A-1362-BC43-72B8-37FD39037062}"/>
              </a:ext>
            </a:extLst>
          </p:cNvPr>
          <p:cNvSpPr>
            <a:spLocks/>
          </p:cNvSpPr>
          <p:nvPr/>
        </p:nvSpPr>
        <p:spPr bwMode="auto">
          <a:xfrm>
            <a:off x="4527550" y="3868738"/>
            <a:ext cx="1050925" cy="862013"/>
          </a:xfrm>
          <a:custGeom>
            <a:avLst/>
            <a:gdLst>
              <a:gd name="T0" fmla="*/ 99 w 276"/>
              <a:gd name="T1" fmla="*/ 0 h 226"/>
              <a:gd name="T2" fmla="*/ 87 w 276"/>
              <a:gd name="T3" fmla="*/ 6 h 226"/>
              <a:gd name="T4" fmla="*/ 1 w 276"/>
              <a:gd name="T5" fmla="*/ 208 h 226"/>
              <a:gd name="T6" fmla="*/ 17 w 276"/>
              <a:gd name="T7" fmla="*/ 226 h 226"/>
              <a:gd name="T8" fmla="*/ 17 w 276"/>
              <a:gd name="T9" fmla="*/ 226 h 226"/>
              <a:gd name="T10" fmla="*/ 248 w 276"/>
              <a:gd name="T11" fmla="*/ 221 h 226"/>
              <a:gd name="T12" fmla="*/ 272 w 276"/>
              <a:gd name="T13" fmla="*/ 203 h 226"/>
              <a:gd name="T14" fmla="*/ 268 w 276"/>
              <a:gd name="T15" fmla="*/ 174 h 226"/>
              <a:gd name="T16" fmla="*/ 111 w 276"/>
              <a:gd name="T17" fmla="*/ 5 h 226"/>
              <a:gd name="T18" fmla="*/ 99 w 276"/>
              <a:gd name="T19" fmla="*/ 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6" h="226">
                <a:moveTo>
                  <a:pt x="99" y="0"/>
                </a:moveTo>
                <a:cubicBezTo>
                  <a:pt x="95" y="0"/>
                  <a:pt x="90" y="2"/>
                  <a:pt x="87" y="6"/>
                </a:cubicBezTo>
                <a:cubicBezTo>
                  <a:pt x="41" y="64"/>
                  <a:pt x="11" y="134"/>
                  <a:pt x="1" y="208"/>
                </a:cubicBezTo>
                <a:cubicBezTo>
                  <a:pt x="0" y="218"/>
                  <a:pt x="7" y="226"/>
                  <a:pt x="17" y="226"/>
                </a:cubicBezTo>
                <a:cubicBezTo>
                  <a:pt x="17" y="226"/>
                  <a:pt x="17" y="226"/>
                  <a:pt x="17" y="226"/>
                </a:cubicBezTo>
                <a:cubicBezTo>
                  <a:pt x="248" y="221"/>
                  <a:pt x="248" y="221"/>
                  <a:pt x="248" y="221"/>
                </a:cubicBezTo>
                <a:cubicBezTo>
                  <a:pt x="258" y="220"/>
                  <a:pt x="268" y="212"/>
                  <a:pt x="272" y="203"/>
                </a:cubicBezTo>
                <a:cubicBezTo>
                  <a:pt x="276" y="194"/>
                  <a:pt x="275" y="182"/>
                  <a:pt x="268" y="174"/>
                </a:cubicBezTo>
                <a:cubicBezTo>
                  <a:pt x="223" y="126"/>
                  <a:pt x="142" y="38"/>
                  <a:pt x="111" y="5"/>
                </a:cubicBezTo>
                <a:cubicBezTo>
                  <a:pt x="107" y="1"/>
                  <a:pt x="103" y="0"/>
                  <a:pt x="99" y="0"/>
                </a:cubicBezTo>
              </a:path>
            </a:pathLst>
          </a:custGeom>
          <a:solidFill>
            <a:schemeClr val="accent6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9" name="Freeform 33">
            <a:extLst>
              <a:ext uri="{FF2B5EF4-FFF2-40B4-BE49-F238E27FC236}">
                <a16:creationId xmlns:a16="http://schemas.microsoft.com/office/drawing/2014/main" id="{E32E8738-710C-AA15-C8E9-803EE15EF3A6}"/>
              </a:ext>
            </a:extLst>
          </p:cNvPr>
          <p:cNvSpPr>
            <a:spLocks/>
          </p:cNvSpPr>
          <p:nvPr/>
        </p:nvSpPr>
        <p:spPr bwMode="auto">
          <a:xfrm>
            <a:off x="4511675" y="5054601"/>
            <a:ext cx="3155950" cy="1409700"/>
          </a:xfrm>
          <a:custGeom>
            <a:avLst/>
            <a:gdLst>
              <a:gd name="T0" fmla="*/ 580 w 829"/>
              <a:gd name="T1" fmla="*/ 0 h 370"/>
              <a:gd name="T2" fmla="*/ 555 w 829"/>
              <a:gd name="T3" fmla="*/ 16 h 370"/>
              <a:gd name="T4" fmla="*/ 415 w 829"/>
              <a:gd name="T5" fmla="*/ 106 h 370"/>
              <a:gd name="T6" fmla="*/ 274 w 829"/>
              <a:gd name="T7" fmla="*/ 16 h 370"/>
              <a:gd name="T8" fmla="*/ 250 w 829"/>
              <a:gd name="T9" fmla="*/ 0 h 370"/>
              <a:gd name="T10" fmla="*/ 249 w 829"/>
              <a:gd name="T11" fmla="*/ 0 h 370"/>
              <a:gd name="T12" fmla="*/ 17 w 829"/>
              <a:gd name="T13" fmla="*/ 5 h 370"/>
              <a:gd name="T14" fmla="*/ 2 w 829"/>
              <a:gd name="T15" fmla="*/ 23 h 370"/>
              <a:gd name="T16" fmla="*/ 130 w 829"/>
              <a:gd name="T17" fmla="*/ 259 h 370"/>
              <a:gd name="T18" fmla="*/ 415 w 829"/>
              <a:gd name="T19" fmla="*/ 370 h 370"/>
              <a:gd name="T20" fmla="*/ 699 w 829"/>
              <a:gd name="T21" fmla="*/ 259 h 370"/>
              <a:gd name="T22" fmla="*/ 827 w 829"/>
              <a:gd name="T23" fmla="*/ 23 h 370"/>
              <a:gd name="T24" fmla="*/ 812 w 829"/>
              <a:gd name="T25" fmla="*/ 5 h 370"/>
              <a:gd name="T26" fmla="*/ 580 w 829"/>
              <a:gd name="T27" fmla="*/ 0 h 370"/>
              <a:gd name="T28" fmla="*/ 580 w 829"/>
              <a:gd name="T29" fmla="*/ 0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29" h="370">
                <a:moveTo>
                  <a:pt x="580" y="0"/>
                </a:moveTo>
                <a:cubicBezTo>
                  <a:pt x="570" y="0"/>
                  <a:pt x="559" y="7"/>
                  <a:pt x="555" y="16"/>
                </a:cubicBezTo>
                <a:cubicBezTo>
                  <a:pt x="531" y="69"/>
                  <a:pt x="477" y="106"/>
                  <a:pt x="415" y="106"/>
                </a:cubicBezTo>
                <a:cubicBezTo>
                  <a:pt x="352" y="106"/>
                  <a:pt x="298" y="69"/>
                  <a:pt x="274" y="16"/>
                </a:cubicBezTo>
                <a:cubicBezTo>
                  <a:pt x="270" y="7"/>
                  <a:pt x="259" y="0"/>
                  <a:pt x="250" y="0"/>
                </a:cubicBezTo>
                <a:cubicBezTo>
                  <a:pt x="249" y="0"/>
                  <a:pt x="249" y="0"/>
                  <a:pt x="249" y="0"/>
                </a:cubicBezTo>
                <a:cubicBezTo>
                  <a:pt x="17" y="5"/>
                  <a:pt x="17" y="5"/>
                  <a:pt x="17" y="5"/>
                </a:cubicBezTo>
                <a:cubicBezTo>
                  <a:pt x="7" y="5"/>
                  <a:pt x="0" y="13"/>
                  <a:pt x="2" y="23"/>
                </a:cubicBezTo>
                <a:cubicBezTo>
                  <a:pt x="17" y="113"/>
                  <a:pt x="62" y="196"/>
                  <a:pt x="130" y="259"/>
                </a:cubicBezTo>
                <a:cubicBezTo>
                  <a:pt x="208" y="331"/>
                  <a:pt x="309" y="370"/>
                  <a:pt x="415" y="370"/>
                </a:cubicBezTo>
                <a:cubicBezTo>
                  <a:pt x="520" y="370"/>
                  <a:pt x="621" y="331"/>
                  <a:pt x="699" y="259"/>
                </a:cubicBezTo>
                <a:cubicBezTo>
                  <a:pt x="767" y="196"/>
                  <a:pt x="812" y="113"/>
                  <a:pt x="827" y="23"/>
                </a:cubicBezTo>
                <a:cubicBezTo>
                  <a:pt x="829" y="13"/>
                  <a:pt x="822" y="5"/>
                  <a:pt x="812" y="5"/>
                </a:cubicBezTo>
                <a:cubicBezTo>
                  <a:pt x="580" y="0"/>
                  <a:pt x="580" y="0"/>
                  <a:pt x="580" y="0"/>
                </a:cubicBezTo>
                <a:cubicBezTo>
                  <a:pt x="580" y="0"/>
                  <a:pt x="580" y="0"/>
                  <a:pt x="580" y="0"/>
                </a:cubicBezTo>
              </a:path>
            </a:pathLst>
          </a:custGeom>
          <a:solidFill>
            <a:schemeClr val="accent5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5" name="Rectangle 64">
            <a:extLst>
              <a:ext uri="{FF2B5EF4-FFF2-40B4-BE49-F238E27FC236}">
                <a16:creationId xmlns:a16="http://schemas.microsoft.com/office/drawing/2014/main" id="{2792CB34-734F-53F6-EF39-8D1BA0B4C0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7724" y="4290924"/>
            <a:ext cx="183986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65381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Demand Forecasting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6538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6" name="Rectangle 65">
            <a:extLst>
              <a:ext uri="{FF2B5EF4-FFF2-40B4-BE49-F238E27FC236}">
                <a16:creationId xmlns:a16="http://schemas.microsoft.com/office/drawing/2014/main" id="{E6EF3EEF-8206-1680-399F-305E77901F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5006" y="1985963"/>
            <a:ext cx="182543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3A9F4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SAP Code Processing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3A9F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7" name="Rectangle 66">
            <a:extLst>
              <a:ext uri="{FF2B5EF4-FFF2-40B4-BE49-F238E27FC236}">
                <a16:creationId xmlns:a16="http://schemas.microsoft.com/office/drawing/2014/main" id="{808CFD77-CA01-24EA-794B-D444CDB50D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0509" y="954406"/>
            <a:ext cx="194405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CEE8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Product Management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CEE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8" name="Rectangle 67">
            <a:extLst>
              <a:ext uri="{FF2B5EF4-FFF2-40B4-BE49-F238E27FC236}">
                <a16:creationId xmlns:a16="http://schemas.microsoft.com/office/drawing/2014/main" id="{D7814BC5-3BD8-7FBF-2C2F-045E18A748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1244" y="1985963"/>
            <a:ext cx="182223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D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Production Planning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FFD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9" name="Rectangle 68">
            <a:extLst>
              <a:ext uri="{FF2B5EF4-FFF2-40B4-BE49-F238E27FC236}">
                <a16:creationId xmlns:a16="http://schemas.microsoft.com/office/drawing/2014/main" id="{EB396F34-B2C0-A264-C67D-2D7ED9390E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277" y="4313238"/>
            <a:ext cx="117141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altLang="ru-RU" sz="1400" b="1" dirty="0">
                <a:solidFill>
                  <a:srgbClr val="BD114D"/>
                </a:solidFill>
                <a:latin typeface="Open Sans" panose="020B0606030504020204" pitchFamily="34" charset="0"/>
              </a:rPr>
              <a:t>Coordination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BD114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2" name="Button">
            <a:extLst>
              <a:ext uri="{FF2B5EF4-FFF2-40B4-BE49-F238E27FC236}">
                <a16:creationId xmlns:a16="http://schemas.microsoft.com/office/drawing/2014/main" id="{F29E54C8-9D6A-9190-C403-2C89F15CAFCB}"/>
              </a:ext>
            </a:extLst>
          </p:cNvPr>
          <p:cNvGrpSpPr/>
          <p:nvPr/>
        </p:nvGrpSpPr>
        <p:grpSpPr>
          <a:xfrm>
            <a:off x="5680075" y="4460876"/>
            <a:ext cx="819150" cy="814388"/>
            <a:chOff x="5680075" y="4460876"/>
            <a:chExt cx="819150" cy="814388"/>
          </a:xfrm>
        </p:grpSpPr>
        <p:sp>
          <p:nvSpPr>
            <p:cNvPr id="7" name="Oval 7">
              <a:extLst>
                <a:ext uri="{FF2B5EF4-FFF2-40B4-BE49-F238E27FC236}">
                  <a16:creationId xmlns:a16="http://schemas.microsoft.com/office/drawing/2014/main" id="{30D3FDBB-4C87-04AD-27BB-2155CB7276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0075" y="4460876"/>
              <a:ext cx="819150" cy="814388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outerShdw blurRad="88900" dist="38100" dir="2700000" algn="tl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" name="Oval 8">
              <a:extLst>
                <a:ext uri="{FF2B5EF4-FFF2-40B4-BE49-F238E27FC236}">
                  <a16:creationId xmlns:a16="http://schemas.microsoft.com/office/drawing/2014/main" id="{9E1D25D6-6A64-D075-3148-1C36930AC5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1038" y="4540251"/>
              <a:ext cx="658813" cy="655638"/>
            </a:xfrm>
            <a:prstGeom prst="ellipse">
              <a:avLst/>
            </a:prstGeom>
            <a:solidFill>
              <a:srgbClr val="ED1C24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D9EC2E89-2E83-69E6-73C9-86F22D7475AE}"/>
              </a:ext>
            </a:extLst>
          </p:cNvPr>
          <p:cNvGrpSpPr/>
          <p:nvPr/>
        </p:nvGrpSpPr>
        <p:grpSpPr>
          <a:xfrm>
            <a:off x="5635625" y="4791076"/>
            <a:ext cx="1190626" cy="2078038"/>
            <a:chOff x="5635625" y="4791076"/>
            <a:chExt cx="1190626" cy="2078038"/>
          </a:xfrm>
        </p:grpSpPr>
        <p:sp>
          <p:nvSpPr>
            <p:cNvPr id="60" name="Freeform 34">
              <a:extLst>
                <a:ext uri="{FF2B5EF4-FFF2-40B4-BE49-F238E27FC236}">
                  <a16:creationId xmlns:a16="http://schemas.microsoft.com/office/drawing/2014/main" id="{9FDF3517-C587-9256-1574-64E20FAB6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4791076"/>
              <a:ext cx="1138238" cy="1357313"/>
            </a:xfrm>
            <a:custGeom>
              <a:avLst/>
              <a:gdLst>
                <a:gd name="T0" fmla="*/ 299 w 299"/>
                <a:gd name="T1" fmla="*/ 155 h 356"/>
                <a:gd name="T2" fmla="*/ 299 w 299"/>
                <a:gd name="T3" fmla="*/ 307 h 356"/>
                <a:gd name="T4" fmla="*/ 292 w 299"/>
                <a:gd name="T5" fmla="*/ 325 h 356"/>
                <a:gd name="T6" fmla="*/ 284 w 299"/>
                <a:gd name="T7" fmla="*/ 356 h 356"/>
                <a:gd name="T8" fmla="*/ 274 w 299"/>
                <a:gd name="T9" fmla="*/ 356 h 356"/>
                <a:gd name="T10" fmla="*/ 107 w 299"/>
                <a:gd name="T11" fmla="*/ 356 h 356"/>
                <a:gd name="T12" fmla="*/ 98 w 299"/>
                <a:gd name="T13" fmla="*/ 338 h 356"/>
                <a:gd name="T14" fmla="*/ 77 w 299"/>
                <a:gd name="T15" fmla="*/ 316 h 356"/>
                <a:gd name="T16" fmla="*/ 57 w 299"/>
                <a:gd name="T17" fmla="*/ 286 h 356"/>
                <a:gd name="T18" fmla="*/ 48 w 299"/>
                <a:gd name="T19" fmla="*/ 271 h 356"/>
                <a:gd name="T20" fmla="*/ 41 w 299"/>
                <a:gd name="T21" fmla="*/ 256 h 356"/>
                <a:gd name="T22" fmla="*/ 38 w 299"/>
                <a:gd name="T23" fmla="*/ 243 h 356"/>
                <a:gd name="T24" fmla="*/ 35 w 299"/>
                <a:gd name="T25" fmla="*/ 239 h 356"/>
                <a:gd name="T26" fmla="*/ 28 w 299"/>
                <a:gd name="T27" fmla="*/ 232 h 356"/>
                <a:gd name="T28" fmla="*/ 3 w 299"/>
                <a:gd name="T29" fmla="*/ 207 h 356"/>
                <a:gd name="T30" fmla="*/ 0 w 299"/>
                <a:gd name="T31" fmla="*/ 201 h 356"/>
                <a:gd name="T32" fmla="*/ 0 w 299"/>
                <a:gd name="T33" fmla="*/ 198 h 356"/>
                <a:gd name="T34" fmla="*/ 14 w 299"/>
                <a:gd name="T35" fmla="*/ 182 h 356"/>
                <a:gd name="T36" fmla="*/ 79 w 299"/>
                <a:gd name="T37" fmla="*/ 207 h 356"/>
                <a:gd name="T38" fmla="*/ 97 w 299"/>
                <a:gd name="T39" fmla="*/ 237 h 356"/>
                <a:gd name="T40" fmla="*/ 97 w 299"/>
                <a:gd name="T41" fmla="*/ 25 h 356"/>
                <a:gd name="T42" fmla="*/ 123 w 299"/>
                <a:gd name="T43" fmla="*/ 0 h 356"/>
                <a:gd name="T44" fmla="*/ 148 w 299"/>
                <a:gd name="T45" fmla="*/ 25 h 356"/>
                <a:gd name="T46" fmla="*/ 148 w 299"/>
                <a:gd name="T47" fmla="*/ 132 h 356"/>
                <a:gd name="T48" fmla="*/ 173 w 299"/>
                <a:gd name="T49" fmla="*/ 106 h 356"/>
                <a:gd name="T50" fmla="*/ 198 w 299"/>
                <a:gd name="T51" fmla="*/ 132 h 356"/>
                <a:gd name="T52" fmla="*/ 198 w 299"/>
                <a:gd name="T53" fmla="*/ 144 h 356"/>
                <a:gd name="T54" fmla="*/ 224 w 299"/>
                <a:gd name="T55" fmla="*/ 119 h 356"/>
                <a:gd name="T56" fmla="*/ 249 w 299"/>
                <a:gd name="T57" fmla="*/ 144 h 356"/>
                <a:gd name="T58" fmla="*/ 249 w 299"/>
                <a:gd name="T59" fmla="*/ 155 h 356"/>
                <a:gd name="T60" fmla="*/ 274 w 299"/>
                <a:gd name="T61" fmla="*/ 129 h 356"/>
                <a:gd name="T62" fmla="*/ 299 w 299"/>
                <a:gd name="T63" fmla="*/ 15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9" h="356">
                  <a:moveTo>
                    <a:pt x="299" y="155"/>
                  </a:moveTo>
                  <a:cubicBezTo>
                    <a:pt x="299" y="307"/>
                    <a:pt x="299" y="307"/>
                    <a:pt x="299" y="307"/>
                  </a:cubicBezTo>
                  <a:cubicBezTo>
                    <a:pt x="299" y="313"/>
                    <a:pt x="297" y="319"/>
                    <a:pt x="292" y="325"/>
                  </a:cubicBezTo>
                  <a:cubicBezTo>
                    <a:pt x="286" y="331"/>
                    <a:pt x="284" y="356"/>
                    <a:pt x="284" y="356"/>
                  </a:cubicBezTo>
                  <a:cubicBezTo>
                    <a:pt x="284" y="356"/>
                    <a:pt x="280" y="356"/>
                    <a:pt x="274" y="356"/>
                  </a:cubicBezTo>
                  <a:cubicBezTo>
                    <a:pt x="107" y="356"/>
                    <a:pt x="107" y="356"/>
                    <a:pt x="107" y="356"/>
                  </a:cubicBezTo>
                  <a:cubicBezTo>
                    <a:pt x="107" y="347"/>
                    <a:pt x="101" y="340"/>
                    <a:pt x="98" y="338"/>
                  </a:cubicBezTo>
                  <a:cubicBezTo>
                    <a:pt x="91" y="333"/>
                    <a:pt x="83" y="327"/>
                    <a:pt x="77" y="316"/>
                  </a:cubicBezTo>
                  <a:cubicBezTo>
                    <a:pt x="71" y="306"/>
                    <a:pt x="64" y="295"/>
                    <a:pt x="57" y="286"/>
                  </a:cubicBezTo>
                  <a:cubicBezTo>
                    <a:pt x="53" y="280"/>
                    <a:pt x="52" y="279"/>
                    <a:pt x="48" y="271"/>
                  </a:cubicBezTo>
                  <a:cubicBezTo>
                    <a:pt x="45" y="266"/>
                    <a:pt x="41" y="262"/>
                    <a:pt x="41" y="256"/>
                  </a:cubicBezTo>
                  <a:cubicBezTo>
                    <a:pt x="40" y="252"/>
                    <a:pt x="39" y="247"/>
                    <a:pt x="38" y="243"/>
                  </a:cubicBezTo>
                  <a:cubicBezTo>
                    <a:pt x="37" y="242"/>
                    <a:pt x="36" y="240"/>
                    <a:pt x="35" y="239"/>
                  </a:cubicBezTo>
                  <a:cubicBezTo>
                    <a:pt x="33" y="236"/>
                    <a:pt x="31" y="234"/>
                    <a:pt x="28" y="232"/>
                  </a:cubicBezTo>
                  <a:cubicBezTo>
                    <a:pt x="19" y="224"/>
                    <a:pt x="9" y="215"/>
                    <a:pt x="3" y="207"/>
                  </a:cubicBezTo>
                  <a:cubicBezTo>
                    <a:pt x="2" y="205"/>
                    <a:pt x="1" y="203"/>
                    <a:pt x="0" y="201"/>
                  </a:cubicBezTo>
                  <a:cubicBezTo>
                    <a:pt x="0" y="200"/>
                    <a:pt x="0" y="199"/>
                    <a:pt x="0" y="198"/>
                  </a:cubicBezTo>
                  <a:cubicBezTo>
                    <a:pt x="1" y="193"/>
                    <a:pt x="5" y="188"/>
                    <a:pt x="14" y="182"/>
                  </a:cubicBezTo>
                  <a:cubicBezTo>
                    <a:pt x="39" y="166"/>
                    <a:pt x="63" y="185"/>
                    <a:pt x="79" y="207"/>
                  </a:cubicBezTo>
                  <a:cubicBezTo>
                    <a:pt x="84" y="214"/>
                    <a:pt x="91" y="225"/>
                    <a:pt x="97" y="237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12"/>
                    <a:pt x="109" y="0"/>
                    <a:pt x="123" y="0"/>
                  </a:cubicBezTo>
                  <a:cubicBezTo>
                    <a:pt x="137" y="0"/>
                    <a:pt x="148" y="12"/>
                    <a:pt x="148" y="25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8" y="118"/>
                    <a:pt x="159" y="106"/>
                    <a:pt x="173" y="106"/>
                  </a:cubicBezTo>
                  <a:cubicBezTo>
                    <a:pt x="187" y="106"/>
                    <a:pt x="198" y="118"/>
                    <a:pt x="198" y="132"/>
                  </a:cubicBezTo>
                  <a:cubicBezTo>
                    <a:pt x="198" y="144"/>
                    <a:pt x="198" y="144"/>
                    <a:pt x="198" y="144"/>
                  </a:cubicBezTo>
                  <a:cubicBezTo>
                    <a:pt x="198" y="130"/>
                    <a:pt x="210" y="119"/>
                    <a:pt x="224" y="119"/>
                  </a:cubicBezTo>
                  <a:cubicBezTo>
                    <a:pt x="238" y="119"/>
                    <a:pt x="249" y="130"/>
                    <a:pt x="249" y="144"/>
                  </a:cubicBezTo>
                  <a:cubicBezTo>
                    <a:pt x="249" y="155"/>
                    <a:pt x="249" y="155"/>
                    <a:pt x="249" y="155"/>
                  </a:cubicBezTo>
                  <a:cubicBezTo>
                    <a:pt x="249" y="141"/>
                    <a:pt x="260" y="129"/>
                    <a:pt x="274" y="129"/>
                  </a:cubicBezTo>
                  <a:cubicBezTo>
                    <a:pt x="288" y="129"/>
                    <a:pt x="299" y="141"/>
                    <a:pt x="299" y="155"/>
                  </a:cubicBezTo>
                  <a:close/>
                </a:path>
              </a:pathLst>
            </a:custGeom>
            <a:solidFill>
              <a:srgbClr val="FCD0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1" name="Freeform 35">
              <a:extLst>
                <a:ext uri="{FF2B5EF4-FFF2-40B4-BE49-F238E27FC236}">
                  <a16:creationId xmlns:a16="http://schemas.microsoft.com/office/drawing/2014/main" id="{51C361FA-03C0-F027-95B2-558607360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5481638"/>
              <a:ext cx="482600" cy="666750"/>
            </a:xfrm>
            <a:custGeom>
              <a:avLst/>
              <a:gdLst>
                <a:gd name="T0" fmla="*/ 117 w 127"/>
                <a:gd name="T1" fmla="*/ 156 h 175"/>
                <a:gd name="T2" fmla="*/ 95 w 127"/>
                <a:gd name="T3" fmla="*/ 133 h 175"/>
                <a:gd name="T4" fmla="*/ 73 w 127"/>
                <a:gd name="T5" fmla="*/ 100 h 175"/>
                <a:gd name="T6" fmla="*/ 63 w 127"/>
                <a:gd name="T7" fmla="*/ 85 h 175"/>
                <a:gd name="T8" fmla="*/ 56 w 127"/>
                <a:gd name="T9" fmla="*/ 69 h 175"/>
                <a:gd name="T10" fmla="*/ 52 w 127"/>
                <a:gd name="T11" fmla="*/ 55 h 175"/>
                <a:gd name="T12" fmla="*/ 50 w 127"/>
                <a:gd name="T13" fmla="*/ 51 h 175"/>
                <a:gd name="T14" fmla="*/ 42 w 127"/>
                <a:gd name="T15" fmla="*/ 43 h 175"/>
                <a:gd name="T16" fmla="*/ 15 w 127"/>
                <a:gd name="T17" fmla="*/ 17 h 175"/>
                <a:gd name="T18" fmla="*/ 12 w 127"/>
                <a:gd name="T19" fmla="*/ 10 h 175"/>
                <a:gd name="T20" fmla="*/ 12 w 127"/>
                <a:gd name="T21" fmla="*/ 7 h 175"/>
                <a:gd name="T22" fmla="*/ 15 w 127"/>
                <a:gd name="T23" fmla="*/ 0 h 175"/>
                <a:gd name="T24" fmla="*/ 14 w 127"/>
                <a:gd name="T25" fmla="*/ 1 h 175"/>
                <a:gd name="T26" fmla="*/ 0 w 127"/>
                <a:gd name="T27" fmla="*/ 17 h 175"/>
                <a:gd name="T28" fmla="*/ 0 w 127"/>
                <a:gd name="T29" fmla="*/ 20 h 175"/>
                <a:gd name="T30" fmla="*/ 3 w 127"/>
                <a:gd name="T31" fmla="*/ 26 h 175"/>
                <a:gd name="T32" fmla="*/ 28 w 127"/>
                <a:gd name="T33" fmla="*/ 51 h 175"/>
                <a:gd name="T34" fmla="*/ 35 w 127"/>
                <a:gd name="T35" fmla="*/ 58 h 175"/>
                <a:gd name="T36" fmla="*/ 38 w 127"/>
                <a:gd name="T37" fmla="*/ 62 h 175"/>
                <a:gd name="T38" fmla="*/ 41 w 127"/>
                <a:gd name="T39" fmla="*/ 75 h 175"/>
                <a:gd name="T40" fmla="*/ 48 w 127"/>
                <a:gd name="T41" fmla="*/ 90 h 175"/>
                <a:gd name="T42" fmla="*/ 57 w 127"/>
                <a:gd name="T43" fmla="*/ 105 h 175"/>
                <a:gd name="T44" fmla="*/ 77 w 127"/>
                <a:gd name="T45" fmla="*/ 135 h 175"/>
                <a:gd name="T46" fmla="*/ 98 w 127"/>
                <a:gd name="T47" fmla="*/ 157 h 175"/>
                <a:gd name="T48" fmla="*/ 107 w 127"/>
                <a:gd name="T49" fmla="*/ 175 h 175"/>
                <a:gd name="T50" fmla="*/ 127 w 127"/>
                <a:gd name="T51" fmla="*/ 175 h 175"/>
                <a:gd name="T52" fmla="*/ 117 w 127"/>
                <a:gd name="T53" fmla="*/ 15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7" h="175">
                  <a:moveTo>
                    <a:pt x="117" y="156"/>
                  </a:moveTo>
                  <a:cubicBezTo>
                    <a:pt x="109" y="151"/>
                    <a:pt x="101" y="144"/>
                    <a:pt x="95" y="133"/>
                  </a:cubicBezTo>
                  <a:cubicBezTo>
                    <a:pt x="88" y="122"/>
                    <a:pt x="80" y="111"/>
                    <a:pt x="73" y="100"/>
                  </a:cubicBezTo>
                  <a:cubicBezTo>
                    <a:pt x="69" y="95"/>
                    <a:pt x="68" y="93"/>
                    <a:pt x="63" y="85"/>
                  </a:cubicBezTo>
                  <a:cubicBezTo>
                    <a:pt x="60" y="79"/>
                    <a:pt x="56" y="75"/>
                    <a:pt x="56" y="69"/>
                  </a:cubicBezTo>
                  <a:cubicBezTo>
                    <a:pt x="55" y="64"/>
                    <a:pt x="54" y="59"/>
                    <a:pt x="52" y="55"/>
                  </a:cubicBezTo>
                  <a:cubicBezTo>
                    <a:pt x="52" y="54"/>
                    <a:pt x="51" y="52"/>
                    <a:pt x="50" y="51"/>
                  </a:cubicBezTo>
                  <a:cubicBezTo>
                    <a:pt x="48" y="48"/>
                    <a:pt x="45" y="45"/>
                    <a:pt x="42" y="43"/>
                  </a:cubicBezTo>
                  <a:cubicBezTo>
                    <a:pt x="32" y="35"/>
                    <a:pt x="22" y="25"/>
                    <a:pt x="15" y="17"/>
                  </a:cubicBezTo>
                  <a:cubicBezTo>
                    <a:pt x="14" y="15"/>
                    <a:pt x="13" y="12"/>
                    <a:pt x="12" y="10"/>
                  </a:cubicBezTo>
                  <a:cubicBezTo>
                    <a:pt x="12" y="9"/>
                    <a:pt x="12" y="8"/>
                    <a:pt x="12" y="7"/>
                  </a:cubicBezTo>
                  <a:cubicBezTo>
                    <a:pt x="13" y="5"/>
                    <a:pt x="13" y="3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5" y="7"/>
                    <a:pt x="1" y="12"/>
                    <a:pt x="0" y="17"/>
                  </a:cubicBezTo>
                  <a:cubicBezTo>
                    <a:pt x="0" y="18"/>
                    <a:pt x="0" y="19"/>
                    <a:pt x="0" y="20"/>
                  </a:cubicBezTo>
                  <a:cubicBezTo>
                    <a:pt x="1" y="22"/>
                    <a:pt x="2" y="24"/>
                    <a:pt x="3" y="26"/>
                  </a:cubicBezTo>
                  <a:cubicBezTo>
                    <a:pt x="9" y="34"/>
                    <a:pt x="19" y="43"/>
                    <a:pt x="28" y="51"/>
                  </a:cubicBezTo>
                  <a:cubicBezTo>
                    <a:pt x="31" y="53"/>
                    <a:pt x="33" y="55"/>
                    <a:pt x="35" y="58"/>
                  </a:cubicBezTo>
                  <a:cubicBezTo>
                    <a:pt x="36" y="59"/>
                    <a:pt x="37" y="61"/>
                    <a:pt x="38" y="62"/>
                  </a:cubicBezTo>
                  <a:cubicBezTo>
                    <a:pt x="39" y="66"/>
                    <a:pt x="40" y="71"/>
                    <a:pt x="41" y="75"/>
                  </a:cubicBezTo>
                  <a:cubicBezTo>
                    <a:pt x="41" y="81"/>
                    <a:pt x="45" y="85"/>
                    <a:pt x="48" y="90"/>
                  </a:cubicBezTo>
                  <a:cubicBezTo>
                    <a:pt x="52" y="98"/>
                    <a:pt x="53" y="99"/>
                    <a:pt x="57" y="105"/>
                  </a:cubicBezTo>
                  <a:cubicBezTo>
                    <a:pt x="64" y="114"/>
                    <a:pt x="71" y="125"/>
                    <a:pt x="77" y="135"/>
                  </a:cubicBezTo>
                  <a:cubicBezTo>
                    <a:pt x="83" y="146"/>
                    <a:pt x="91" y="152"/>
                    <a:pt x="98" y="157"/>
                  </a:cubicBezTo>
                  <a:cubicBezTo>
                    <a:pt x="101" y="159"/>
                    <a:pt x="107" y="166"/>
                    <a:pt x="10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66"/>
                    <a:pt x="120" y="159"/>
                    <a:pt x="117" y="156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2" name="Freeform 36">
              <a:extLst>
                <a:ext uri="{FF2B5EF4-FFF2-40B4-BE49-F238E27FC236}">
                  <a16:creationId xmlns:a16="http://schemas.microsoft.com/office/drawing/2014/main" id="{9C954EC9-9764-5425-3654-0DE57FC97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4150" y="5260976"/>
              <a:ext cx="49213" cy="266700"/>
            </a:xfrm>
            <a:custGeom>
              <a:avLst/>
              <a:gdLst>
                <a:gd name="T0" fmla="*/ 13 w 13"/>
                <a:gd name="T1" fmla="*/ 32 h 70"/>
                <a:gd name="T2" fmla="*/ 13 w 13"/>
                <a:gd name="T3" fmla="*/ 21 h 70"/>
                <a:gd name="T4" fmla="*/ 0 w 13"/>
                <a:gd name="T5" fmla="*/ 0 h 70"/>
                <a:gd name="T6" fmla="*/ 7 w 13"/>
                <a:gd name="T7" fmla="*/ 17 h 70"/>
                <a:gd name="T8" fmla="*/ 7 w 13"/>
                <a:gd name="T9" fmla="*/ 27 h 70"/>
                <a:gd name="T10" fmla="*/ 7 w 13"/>
                <a:gd name="T11" fmla="*/ 70 h 70"/>
                <a:gd name="T12" fmla="*/ 13 w 13"/>
                <a:gd name="T13" fmla="*/ 70 h 70"/>
                <a:gd name="T14" fmla="*/ 13 w 13"/>
                <a:gd name="T15" fmla="*/ 3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0">
                  <a:moveTo>
                    <a:pt x="13" y="3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13" y="12"/>
                    <a:pt x="8" y="4"/>
                    <a:pt x="0" y="0"/>
                  </a:cubicBezTo>
                  <a:cubicBezTo>
                    <a:pt x="5" y="4"/>
                    <a:pt x="7" y="10"/>
                    <a:pt x="7" y="1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9" y="70"/>
                    <a:pt x="11" y="70"/>
                    <a:pt x="13" y="70"/>
                  </a:cubicBezTo>
                  <a:lnTo>
                    <a:pt x="13" y="32"/>
                  </a:ln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3" name="Freeform 37">
              <a:extLst>
                <a:ext uri="{FF2B5EF4-FFF2-40B4-BE49-F238E27FC236}">
                  <a16:creationId xmlns:a16="http://schemas.microsoft.com/office/drawing/2014/main" id="{3DF8A47B-BF94-39E8-3D6F-4390F5D75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3363" y="5291138"/>
              <a:ext cx="60325" cy="236538"/>
            </a:xfrm>
            <a:custGeom>
              <a:avLst/>
              <a:gdLst>
                <a:gd name="T0" fmla="*/ 16 w 16"/>
                <a:gd name="T1" fmla="*/ 0 h 62"/>
                <a:gd name="T2" fmla="*/ 0 w 16"/>
                <a:gd name="T3" fmla="*/ 24 h 62"/>
                <a:gd name="T4" fmla="*/ 0 w 16"/>
                <a:gd name="T5" fmla="*/ 62 h 62"/>
                <a:gd name="T6" fmla="*/ 3 w 16"/>
                <a:gd name="T7" fmla="*/ 62 h 62"/>
                <a:gd name="T8" fmla="*/ 8 w 16"/>
                <a:gd name="T9" fmla="*/ 62 h 62"/>
                <a:gd name="T10" fmla="*/ 8 w 16"/>
                <a:gd name="T11" fmla="*/ 18 h 62"/>
                <a:gd name="T12" fmla="*/ 16 w 16"/>
                <a:gd name="T1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62">
                  <a:moveTo>
                    <a:pt x="16" y="0"/>
                  </a:moveTo>
                  <a:cubicBezTo>
                    <a:pt x="7" y="4"/>
                    <a:pt x="0" y="13"/>
                    <a:pt x="0" y="2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2"/>
                    <a:pt x="2" y="62"/>
                    <a:pt x="3" y="62"/>
                  </a:cubicBezTo>
                  <a:cubicBezTo>
                    <a:pt x="5" y="62"/>
                    <a:pt x="7" y="62"/>
                    <a:pt x="8" y="62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1"/>
                    <a:pt x="11" y="5"/>
                    <a:pt x="16" y="0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5" name="Freeform 38">
              <a:extLst>
                <a:ext uri="{FF2B5EF4-FFF2-40B4-BE49-F238E27FC236}">
                  <a16:creationId xmlns:a16="http://schemas.microsoft.com/office/drawing/2014/main" id="{FA773ED9-1706-CF52-2B25-F53A499F7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9838" y="5199063"/>
              <a:ext cx="68263" cy="320675"/>
            </a:xfrm>
            <a:custGeom>
              <a:avLst/>
              <a:gdLst>
                <a:gd name="T0" fmla="*/ 18 w 18"/>
                <a:gd name="T1" fmla="*/ 37 h 84"/>
                <a:gd name="T2" fmla="*/ 18 w 18"/>
                <a:gd name="T3" fmla="*/ 25 h 84"/>
                <a:gd name="T4" fmla="*/ 0 w 18"/>
                <a:gd name="T5" fmla="*/ 0 h 84"/>
                <a:gd name="T6" fmla="*/ 12 w 18"/>
                <a:gd name="T7" fmla="*/ 22 h 84"/>
                <a:gd name="T8" fmla="*/ 12 w 18"/>
                <a:gd name="T9" fmla="*/ 35 h 84"/>
                <a:gd name="T10" fmla="*/ 12 w 18"/>
                <a:gd name="T11" fmla="*/ 83 h 84"/>
                <a:gd name="T12" fmla="*/ 18 w 18"/>
                <a:gd name="T13" fmla="*/ 84 h 84"/>
                <a:gd name="T14" fmla="*/ 18 w 18"/>
                <a:gd name="T15" fmla="*/ 3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84">
                  <a:moveTo>
                    <a:pt x="18" y="37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18" y="13"/>
                    <a:pt x="10" y="3"/>
                    <a:pt x="0" y="0"/>
                  </a:cubicBezTo>
                  <a:cubicBezTo>
                    <a:pt x="7" y="5"/>
                    <a:pt x="12" y="13"/>
                    <a:pt x="12" y="22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14" y="83"/>
                    <a:pt x="16" y="84"/>
                    <a:pt x="18" y="84"/>
                  </a:cubicBezTo>
                  <a:lnTo>
                    <a:pt x="18" y="37"/>
                  </a:ln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6" name="Freeform 39">
              <a:extLst>
                <a:ext uri="{FF2B5EF4-FFF2-40B4-BE49-F238E27FC236}">
                  <a16:creationId xmlns:a16="http://schemas.microsoft.com/office/drawing/2014/main" id="{0E4CA821-BDD8-0995-2D5C-318E5A167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8100" y="5260976"/>
              <a:ext cx="50800" cy="258763"/>
            </a:xfrm>
            <a:custGeom>
              <a:avLst/>
              <a:gdLst>
                <a:gd name="T0" fmla="*/ 8 w 13"/>
                <a:gd name="T1" fmla="*/ 68 h 68"/>
                <a:gd name="T2" fmla="*/ 8 w 13"/>
                <a:gd name="T3" fmla="*/ 15 h 68"/>
                <a:gd name="T4" fmla="*/ 13 w 13"/>
                <a:gd name="T5" fmla="*/ 0 h 68"/>
                <a:gd name="T6" fmla="*/ 0 w 13"/>
                <a:gd name="T7" fmla="*/ 21 h 68"/>
                <a:gd name="T8" fmla="*/ 0 w 13"/>
                <a:gd name="T9" fmla="*/ 68 h 68"/>
                <a:gd name="T10" fmla="*/ 8 w 13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68">
                  <a:moveTo>
                    <a:pt x="8" y="68"/>
                  </a:moveTo>
                  <a:cubicBezTo>
                    <a:pt x="8" y="15"/>
                    <a:pt x="8" y="15"/>
                    <a:pt x="8" y="15"/>
                  </a:cubicBezTo>
                  <a:cubicBezTo>
                    <a:pt x="8" y="9"/>
                    <a:pt x="10" y="4"/>
                    <a:pt x="13" y="0"/>
                  </a:cubicBezTo>
                  <a:cubicBezTo>
                    <a:pt x="5" y="4"/>
                    <a:pt x="0" y="12"/>
                    <a:pt x="0" y="2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" y="68"/>
                    <a:pt x="5" y="68"/>
                    <a:pt x="8" y="68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7" name="Freeform 40">
              <a:extLst>
                <a:ext uri="{FF2B5EF4-FFF2-40B4-BE49-F238E27FC236}">
                  <a16:creationId xmlns:a16="http://schemas.microsoft.com/office/drawing/2014/main" id="{60DF3344-B507-C40F-7370-5C9DEA99B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3150" y="4806951"/>
              <a:ext cx="46038" cy="688975"/>
            </a:xfrm>
            <a:custGeom>
              <a:avLst/>
              <a:gdLst>
                <a:gd name="T0" fmla="*/ 12 w 12"/>
                <a:gd name="T1" fmla="*/ 181 h 181"/>
                <a:gd name="T2" fmla="*/ 12 w 12"/>
                <a:gd name="T3" fmla="*/ 128 h 181"/>
                <a:gd name="T4" fmla="*/ 12 w 12"/>
                <a:gd name="T5" fmla="*/ 21 h 181"/>
                <a:gd name="T6" fmla="*/ 0 w 12"/>
                <a:gd name="T7" fmla="*/ 0 h 181"/>
                <a:gd name="T8" fmla="*/ 5 w 12"/>
                <a:gd name="T9" fmla="*/ 15 h 181"/>
                <a:gd name="T10" fmla="*/ 5 w 12"/>
                <a:gd name="T11" fmla="*/ 121 h 181"/>
                <a:gd name="T12" fmla="*/ 5 w 12"/>
                <a:gd name="T13" fmla="*/ 181 h 181"/>
                <a:gd name="T14" fmla="*/ 12 w 12"/>
                <a:gd name="T15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81">
                  <a:moveTo>
                    <a:pt x="12" y="181"/>
                  </a:moveTo>
                  <a:cubicBezTo>
                    <a:pt x="12" y="128"/>
                    <a:pt x="12" y="128"/>
                    <a:pt x="12" y="128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2"/>
                    <a:pt x="7" y="4"/>
                    <a:pt x="0" y="0"/>
                  </a:cubicBezTo>
                  <a:cubicBezTo>
                    <a:pt x="3" y="4"/>
                    <a:pt x="5" y="9"/>
                    <a:pt x="5" y="15"/>
                  </a:cubicBezTo>
                  <a:cubicBezTo>
                    <a:pt x="5" y="121"/>
                    <a:pt x="5" y="121"/>
                    <a:pt x="5" y="121"/>
                  </a:cubicBezTo>
                  <a:cubicBezTo>
                    <a:pt x="5" y="181"/>
                    <a:pt x="5" y="181"/>
                    <a:pt x="5" y="181"/>
                  </a:cubicBezTo>
                  <a:cubicBezTo>
                    <a:pt x="7" y="181"/>
                    <a:pt x="9" y="181"/>
                    <a:pt x="12" y="181"/>
                  </a:cubicBez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Freeform 41">
              <a:extLst>
                <a:ext uri="{FF2B5EF4-FFF2-40B4-BE49-F238E27FC236}">
                  <a16:creationId xmlns:a16="http://schemas.microsoft.com/office/drawing/2014/main" id="{5FA03E3B-7557-82EB-9908-CDB409121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9188" y="5199063"/>
              <a:ext cx="79375" cy="296863"/>
            </a:xfrm>
            <a:custGeom>
              <a:avLst/>
              <a:gdLst>
                <a:gd name="T0" fmla="*/ 8 w 21"/>
                <a:gd name="T1" fmla="*/ 76 h 78"/>
                <a:gd name="T2" fmla="*/ 8 w 21"/>
                <a:gd name="T3" fmla="*/ 22 h 78"/>
                <a:gd name="T4" fmla="*/ 21 w 21"/>
                <a:gd name="T5" fmla="*/ 0 h 78"/>
                <a:gd name="T6" fmla="*/ 0 w 21"/>
                <a:gd name="T7" fmla="*/ 25 h 78"/>
                <a:gd name="T8" fmla="*/ 0 w 21"/>
                <a:gd name="T9" fmla="*/ 78 h 78"/>
                <a:gd name="T10" fmla="*/ 8 w 21"/>
                <a:gd name="T11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78">
                  <a:moveTo>
                    <a:pt x="8" y="76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8" y="12"/>
                    <a:pt x="13" y="4"/>
                    <a:pt x="21" y="0"/>
                  </a:cubicBezTo>
                  <a:cubicBezTo>
                    <a:pt x="9" y="2"/>
                    <a:pt x="0" y="12"/>
                    <a:pt x="0" y="2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5" y="77"/>
                    <a:pt x="8" y="76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3" name="Freeform 42">
              <a:extLst>
                <a:ext uri="{FF2B5EF4-FFF2-40B4-BE49-F238E27FC236}">
                  <a16:creationId xmlns:a16="http://schemas.microsoft.com/office/drawing/2014/main" id="{47ADC347-44E9-5D17-94A9-32D19E25B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5299076"/>
              <a:ext cx="95250" cy="849313"/>
            </a:xfrm>
            <a:custGeom>
              <a:avLst/>
              <a:gdLst>
                <a:gd name="T0" fmla="*/ 25 w 25"/>
                <a:gd name="T1" fmla="*/ 174 h 223"/>
                <a:gd name="T2" fmla="*/ 25 w 25"/>
                <a:gd name="T3" fmla="*/ 174 h 223"/>
                <a:gd name="T4" fmla="*/ 25 w 25"/>
                <a:gd name="T5" fmla="*/ 22 h 223"/>
                <a:gd name="T6" fmla="*/ 12 w 25"/>
                <a:gd name="T7" fmla="*/ 0 h 223"/>
                <a:gd name="T8" fmla="*/ 19 w 25"/>
                <a:gd name="T9" fmla="*/ 16 h 223"/>
                <a:gd name="T10" fmla="*/ 19 w 25"/>
                <a:gd name="T11" fmla="*/ 169 h 223"/>
                <a:gd name="T12" fmla="*/ 18 w 25"/>
                <a:gd name="T13" fmla="*/ 172 h 223"/>
                <a:gd name="T14" fmla="*/ 9 w 25"/>
                <a:gd name="T15" fmla="*/ 188 h 223"/>
                <a:gd name="T16" fmla="*/ 0 w 25"/>
                <a:gd name="T17" fmla="*/ 223 h 223"/>
                <a:gd name="T18" fmla="*/ 10 w 25"/>
                <a:gd name="T19" fmla="*/ 223 h 223"/>
                <a:gd name="T20" fmla="*/ 18 w 25"/>
                <a:gd name="T21" fmla="*/ 192 h 223"/>
                <a:gd name="T22" fmla="*/ 25 w 25"/>
                <a:gd name="T23" fmla="*/ 17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223">
                  <a:moveTo>
                    <a:pt x="25" y="174"/>
                  </a:moveTo>
                  <a:cubicBezTo>
                    <a:pt x="25" y="174"/>
                    <a:pt x="25" y="174"/>
                    <a:pt x="25" y="174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12"/>
                    <a:pt x="20" y="4"/>
                    <a:pt x="12" y="0"/>
                  </a:cubicBezTo>
                  <a:cubicBezTo>
                    <a:pt x="16" y="4"/>
                    <a:pt x="19" y="10"/>
                    <a:pt x="19" y="16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71"/>
                    <a:pt x="18" y="172"/>
                    <a:pt x="18" y="172"/>
                  </a:cubicBezTo>
                  <a:cubicBezTo>
                    <a:pt x="17" y="177"/>
                    <a:pt x="13" y="184"/>
                    <a:pt x="9" y="188"/>
                  </a:cubicBezTo>
                  <a:cubicBezTo>
                    <a:pt x="4" y="194"/>
                    <a:pt x="0" y="223"/>
                    <a:pt x="0" y="223"/>
                  </a:cubicBezTo>
                  <a:cubicBezTo>
                    <a:pt x="6" y="223"/>
                    <a:pt x="10" y="223"/>
                    <a:pt x="10" y="223"/>
                  </a:cubicBezTo>
                  <a:cubicBezTo>
                    <a:pt x="10" y="223"/>
                    <a:pt x="12" y="198"/>
                    <a:pt x="18" y="192"/>
                  </a:cubicBezTo>
                  <a:cubicBezTo>
                    <a:pt x="23" y="186"/>
                    <a:pt x="25" y="180"/>
                    <a:pt x="25" y="174"/>
                  </a:cubicBez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4" name="Freeform 43">
              <a:extLst>
                <a:ext uri="{FF2B5EF4-FFF2-40B4-BE49-F238E27FC236}">
                  <a16:creationId xmlns:a16="http://schemas.microsoft.com/office/drawing/2014/main" id="{C8DE9062-F41E-A841-6D6E-3E90E0191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6875" y="5942013"/>
              <a:ext cx="3175" cy="12700"/>
            </a:xfrm>
            <a:custGeom>
              <a:avLst/>
              <a:gdLst>
                <a:gd name="T0" fmla="*/ 0 w 1"/>
                <a:gd name="T1" fmla="*/ 3 h 3"/>
                <a:gd name="T2" fmla="*/ 1 w 1"/>
                <a:gd name="T3" fmla="*/ 0 h 3"/>
                <a:gd name="T4" fmla="*/ 0 w 1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cubicBezTo>
                    <a:pt x="0" y="3"/>
                    <a:pt x="1" y="2"/>
                    <a:pt x="1" y="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5" name="Freeform 44">
              <a:extLst>
                <a:ext uri="{FF2B5EF4-FFF2-40B4-BE49-F238E27FC236}">
                  <a16:creationId xmlns:a16="http://schemas.microsoft.com/office/drawing/2014/main" id="{05575CE4-3E24-C8DC-328D-AD5D983FF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3925" y="4803776"/>
              <a:ext cx="53975" cy="944563"/>
            </a:xfrm>
            <a:custGeom>
              <a:avLst/>
              <a:gdLst>
                <a:gd name="T0" fmla="*/ 8 w 14"/>
                <a:gd name="T1" fmla="*/ 248 h 248"/>
                <a:gd name="T2" fmla="*/ 8 w 14"/>
                <a:gd name="T3" fmla="*/ 16 h 248"/>
                <a:gd name="T4" fmla="*/ 14 w 14"/>
                <a:gd name="T5" fmla="*/ 0 h 248"/>
                <a:gd name="T6" fmla="*/ 0 w 14"/>
                <a:gd name="T7" fmla="*/ 22 h 248"/>
                <a:gd name="T8" fmla="*/ 0 w 14"/>
                <a:gd name="T9" fmla="*/ 234 h 248"/>
                <a:gd name="T10" fmla="*/ 8 w 14"/>
                <a:gd name="T11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48">
                  <a:moveTo>
                    <a:pt x="8" y="24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8" y="10"/>
                    <a:pt x="10" y="5"/>
                    <a:pt x="14" y="0"/>
                  </a:cubicBezTo>
                  <a:cubicBezTo>
                    <a:pt x="6" y="5"/>
                    <a:pt x="0" y="13"/>
                    <a:pt x="0" y="22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3" y="238"/>
                    <a:pt x="6" y="243"/>
                    <a:pt x="8" y="248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6" name="Freeform 45">
              <a:extLst>
                <a:ext uri="{FF2B5EF4-FFF2-40B4-BE49-F238E27FC236}">
                  <a16:creationId xmlns:a16="http://schemas.microsoft.com/office/drawing/2014/main" id="{FB20827A-A671-E610-9585-E031D9673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8800" y="5424488"/>
              <a:ext cx="365125" cy="342900"/>
            </a:xfrm>
            <a:custGeom>
              <a:avLst/>
              <a:gdLst>
                <a:gd name="T0" fmla="*/ 78 w 96"/>
                <a:gd name="T1" fmla="*/ 41 h 90"/>
                <a:gd name="T2" fmla="*/ 13 w 96"/>
                <a:gd name="T3" fmla="*/ 16 h 90"/>
                <a:gd name="T4" fmla="*/ 0 w 96"/>
                <a:gd name="T5" fmla="*/ 29 h 90"/>
                <a:gd name="T6" fmla="*/ 7 w 96"/>
                <a:gd name="T7" fmla="*/ 24 h 90"/>
                <a:gd name="T8" fmla="*/ 72 w 96"/>
                <a:gd name="T9" fmla="*/ 49 h 90"/>
                <a:gd name="T10" fmla="*/ 96 w 96"/>
                <a:gd name="T11" fmla="*/ 90 h 90"/>
                <a:gd name="T12" fmla="*/ 96 w 96"/>
                <a:gd name="T13" fmla="*/ 71 h 90"/>
                <a:gd name="T14" fmla="*/ 78 w 96"/>
                <a:gd name="T15" fmla="*/ 4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90">
                  <a:moveTo>
                    <a:pt x="78" y="41"/>
                  </a:moveTo>
                  <a:cubicBezTo>
                    <a:pt x="62" y="19"/>
                    <a:pt x="38" y="0"/>
                    <a:pt x="13" y="16"/>
                  </a:cubicBezTo>
                  <a:cubicBezTo>
                    <a:pt x="6" y="21"/>
                    <a:pt x="2" y="25"/>
                    <a:pt x="0" y="29"/>
                  </a:cubicBezTo>
                  <a:cubicBezTo>
                    <a:pt x="2" y="27"/>
                    <a:pt x="4" y="25"/>
                    <a:pt x="7" y="24"/>
                  </a:cubicBezTo>
                  <a:cubicBezTo>
                    <a:pt x="31" y="8"/>
                    <a:pt x="56" y="27"/>
                    <a:pt x="72" y="49"/>
                  </a:cubicBezTo>
                  <a:cubicBezTo>
                    <a:pt x="79" y="58"/>
                    <a:pt x="87" y="74"/>
                    <a:pt x="96" y="90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0" y="59"/>
                    <a:pt x="83" y="48"/>
                    <a:pt x="78" y="41"/>
                  </a:cubicBez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7" name="Freeform 46">
              <a:extLst>
                <a:ext uri="{FF2B5EF4-FFF2-40B4-BE49-F238E27FC236}">
                  <a16:creationId xmlns:a16="http://schemas.microsoft.com/office/drawing/2014/main" id="{08C14BE0-50E8-2805-06AD-D5A9EBF7C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0913" y="4818063"/>
              <a:ext cx="144463" cy="176213"/>
            </a:xfrm>
            <a:custGeom>
              <a:avLst/>
              <a:gdLst>
                <a:gd name="T0" fmla="*/ 38 w 38"/>
                <a:gd name="T1" fmla="*/ 34 h 46"/>
                <a:gd name="T2" fmla="*/ 26 w 38"/>
                <a:gd name="T3" fmla="*/ 46 h 46"/>
                <a:gd name="T4" fmla="*/ 11 w 38"/>
                <a:gd name="T5" fmla="*/ 46 h 46"/>
                <a:gd name="T6" fmla="*/ 0 w 38"/>
                <a:gd name="T7" fmla="*/ 34 h 46"/>
                <a:gd name="T8" fmla="*/ 0 w 38"/>
                <a:gd name="T9" fmla="*/ 12 h 46"/>
                <a:gd name="T10" fmla="*/ 11 w 38"/>
                <a:gd name="T11" fmla="*/ 0 h 46"/>
                <a:gd name="T12" fmla="*/ 26 w 38"/>
                <a:gd name="T13" fmla="*/ 0 h 46"/>
                <a:gd name="T14" fmla="*/ 38 w 38"/>
                <a:gd name="T15" fmla="*/ 12 h 46"/>
                <a:gd name="T16" fmla="*/ 38 w 38"/>
                <a:gd name="T17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6">
                  <a:moveTo>
                    <a:pt x="38" y="34"/>
                  </a:moveTo>
                  <a:cubicBezTo>
                    <a:pt x="38" y="41"/>
                    <a:pt x="32" y="46"/>
                    <a:pt x="26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5" y="46"/>
                    <a:pt x="0" y="41"/>
                    <a:pt x="0" y="3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2" y="0"/>
                    <a:pt x="38" y="5"/>
                    <a:pt x="38" y="12"/>
                  </a:cubicBezTo>
                  <a:lnTo>
                    <a:pt x="3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8" name="Freeform 47">
              <a:extLst>
                <a:ext uri="{FF2B5EF4-FFF2-40B4-BE49-F238E27FC236}">
                  <a16:creationId xmlns:a16="http://schemas.microsoft.com/office/drawing/2014/main" id="{9E666269-5255-1AD6-C9E4-55E711499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5522913"/>
              <a:ext cx="169863" cy="179388"/>
            </a:xfrm>
            <a:custGeom>
              <a:avLst/>
              <a:gdLst>
                <a:gd name="T0" fmla="*/ 40 w 45"/>
                <a:gd name="T1" fmla="*/ 43 h 47"/>
                <a:gd name="T2" fmla="*/ 35 w 45"/>
                <a:gd name="T3" fmla="*/ 47 h 47"/>
                <a:gd name="T4" fmla="*/ 28 w 45"/>
                <a:gd name="T5" fmla="*/ 40 h 47"/>
                <a:gd name="T6" fmla="*/ 3 w 45"/>
                <a:gd name="T7" fmla="*/ 15 h 47"/>
                <a:gd name="T8" fmla="*/ 0 w 45"/>
                <a:gd name="T9" fmla="*/ 9 h 47"/>
                <a:gd name="T10" fmla="*/ 5 w 45"/>
                <a:gd name="T11" fmla="*/ 5 h 47"/>
                <a:gd name="T12" fmla="*/ 23 w 45"/>
                <a:gd name="T13" fmla="*/ 6 h 47"/>
                <a:gd name="T14" fmla="*/ 40 w 45"/>
                <a:gd name="T15" fmla="*/ 24 h 47"/>
                <a:gd name="T16" fmla="*/ 40 w 45"/>
                <a:gd name="T17" fmla="*/ 4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7">
                  <a:moveTo>
                    <a:pt x="40" y="43"/>
                  </a:moveTo>
                  <a:cubicBezTo>
                    <a:pt x="35" y="47"/>
                    <a:pt x="35" y="47"/>
                    <a:pt x="35" y="47"/>
                  </a:cubicBezTo>
                  <a:cubicBezTo>
                    <a:pt x="33" y="44"/>
                    <a:pt x="31" y="42"/>
                    <a:pt x="28" y="40"/>
                  </a:cubicBezTo>
                  <a:cubicBezTo>
                    <a:pt x="19" y="32"/>
                    <a:pt x="9" y="23"/>
                    <a:pt x="3" y="15"/>
                  </a:cubicBezTo>
                  <a:cubicBezTo>
                    <a:pt x="2" y="13"/>
                    <a:pt x="1" y="11"/>
                    <a:pt x="0" y="9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10" y="0"/>
                    <a:pt x="18" y="0"/>
                    <a:pt x="23" y="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5" y="30"/>
                    <a:pt x="45" y="38"/>
                    <a:pt x="40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9" name="Freeform 48">
              <a:extLst>
                <a:ext uri="{FF2B5EF4-FFF2-40B4-BE49-F238E27FC236}">
                  <a16:creationId xmlns:a16="http://schemas.microsoft.com/office/drawing/2014/main" id="{C7988C30-5D9B-03F6-DD18-B9B74CBC1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8688" y="6145213"/>
              <a:ext cx="760413" cy="166688"/>
            </a:xfrm>
            <a:custGeom>
              <a:avLst/>
              <a:gdLst>
                <a:gd name="T0" fmla="*/ 307 w 479"/>
                <a:gd name="T1" fmla="*/ 105 h 105"/>
                <a:gd name="T2" fmla="*/ 0 w 479"/>
                <a:gd name="T3" fmla="*/ 105 h 105"/>
                <a:gd name="T4" fmla="*/ 0 w 479"/>
                <a:gd name="T5" fmla="*/ 0 h 105"/>
                <a:gd name="T6" fmla="*/ 48 w 479"/>
                <a:gd name="T7" fmla="*/ 0 h 105"/>
                <a:gd name="T8" fmla="*/ 307 w 479"/>
                <a:gd name="T9" fmla="*/ 0 h 105"/>
                <a:gd name="T10" fmla="*/ 405 w 479"/>
                <a:gd name="T11" fmla="*/ 0 h 105"/>
                <a:gd name="T12" fmla="*/ 479 w 479"/>
                <a:gd name="T13" fmla="*/ 0 h 105"/>
                <a:gd name="T14" fmla="*/ 479 w 479"/>
                <a:gd name="T15" fmla="*/ 105 h 105"/>
                <a:gd name="T16" fmla="*/ 307 w 479"/>
                <a:gd name="T1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05">
                  <a:moveTo>
                    <a:pt x="307" y="105"/>
                  </a:moveTo>
                  <a:lnTo>
                    <a:pt x="0" y="105"/>
                  </a:lnTo>
                  <a:lnTo>
                    <a:pt x="0" y="0"/>
                  </a:lnTo>
                  <a:lnTo>
                    <a:pt x="48" y="0"/>
                  </a:lnTo>
                  <a:lnTo>
                    <a:pt x="307" y="0"/>
                  </a:lnTo>
                  <a:lnTo>
                    <a:pt x="405" y="0"/>
                  </a:lnTo>
                  <a:lnTo>
                    <a:pt x="479" y="0"/>
                  </a:lnTo>
                  <a:lnTo>
                    <a:pt x="479" y="105"/>
                  </a:lnTo>
                  <a:lnTo>
                    <a:pt x="307" y="1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0" name="Freeform 49">
              <a:extLst>
                <a:ext uri="{FF2B5EF4-FFF2-40B4-BE49-F238E27FC236}">
                  <a16:creationId xmlns:a16="http://schemas.microsoft.com/office/drawing/2014/main" id="{EBE2EA3C-4BA1-8C81-75E8-C89F37BAA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050" y="6151563"/>
              <a:ext cx="273050" cy="168275"/>
            </a:xfrm>
            <a:custGeom>
              <a:avLst/>
              <a:gdLst>
                <a:gd name="T0" fmla="*/ 16 w 172"/>
                <a:gd name="T1" fmla="*/ 5 h 106"/>
                <a:gd name="T2" fmla="*/ 172 w 172"/>
                <a:gd name="T3" fmla="*/ 0 h 106"/>
                <a:gd name="T4" fmla="*/ 172 w 172"/>
                <a:gd name="T5" fmla="*/ 106 h 106"/>
                <a:gd name="T6" fmla="*/ 0 w 172"/>
                <a:gd name="T7" fmla="*/ 106 h 106"/>
                <a:gd name="T8" fmla="*/ 16 w 172"/>
                <a:gd name="T9" fmla="*/ 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06">
                  <a:moveTo>
                    <a:pt x="16" y="5"/>
                  </a:moveTo>
                  <a:lnTo>
                    <a:pt x="172" y="0"/>
                  </a:lnTo>
                  <a:lnTo>
                    <a:pt x="172" y="106"/>
                  </a:lnTo>
                  <a:lnTo>
                    <a:pt x="0" y="106"/>
                  </a:lnTo>
                  <a:lnTo>
                    <a:pt x="16" y="5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1" name="Freeform 50">
              <a:extLst>
                <a:ext uri="{FF2B5EF4-FFF2-40B4-BE49-F238E27FC236}">
                  <a16:creationId xmlns:a16="http://schemas.microsoft.com/office/drawing/2014/main" id="{DD57C248-CE95-4DAC-133F-AD65B04A1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513" y="6208713"/>
              <a:ext cx="87313" cy="88900"/>
            </a:xfrm>
            <a:custGeom>
              <a:avLst/>
              <a:gdLst>
                <a:gd name="T0" fmla="*/ 15 w 23"/>
                <a:gd name="T1" fmla="*/ 21 h 23"/>
                <a:gd name="T2" fmla="*/ 21 w 23"/>
                <a:gd name="T3" fmla="*/ 8 h 23"/>
                <a:gd name="T4" fmla="*/ 7 w 23"/>
                <a:gd name="T5" fmla="*/ 2 h 23"/>
                <a:gd name="T6" fmla="*/ 2 w 23"/>
                <a:gd name="T7" fmla="*/ 15 h 23"/>
                <a:gd name="T8" fmla="*/ 15 w 2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5" y="21"/>
                  </a:moveTo>
                  <a:cubicBezTo>
                    <a:pt x="20" y="19"/>
                    <a:pt x="23" y="13"/>
                    <a:pt x="21" y="8"/>
                  </a:cubicBezTo>
                  <a:cubicBezTo>
                    <a:pt x="18" y="3"/>
                    <a:pt x="13" y="0"/>
                    <a:pt x="7" y="2"/>
                  </a:cubicBezTo>
                  <a:cubicBezTo>
                    <a:pt x="2" y="4"/>
                    <a:pt x="0" y="10"/>
                    <a:pt x="2" y="15"/>
                  </a:cubicBezTo>
                  <a:cubicBezTo>
                    <a:pt x="4" y="21"/>
                    <a:pt x="9" y="23"/>
                    <a:pt x="15" y="21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2" name="Freeform 51">
              <a:extLst>
                <a:ext uri="{FF2B5EF4-FFF2-40B4-BE49-F238E27FC236}">
                  <a16:creationId xmlns:a16="http://schemas.microsoft.com/office/drawing/2014/main" id="{AA9B941B-4506-7FD7-A781-3C1AF4AF3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2575" y="6205538"/>
              <a:ext cx="87313" cy="87313"/>
            </a:xfrm>
            <a:custGeom>
              <a:avLst/>
              <a:gdLst>
                <a:gd name="T0" fmla="*/ 15 w 23"/>
                <a:gd name="T1" fmla="*/ 21 h 23"/>
                <a:gd name="T2" fmla="*/ 21 w 23"/>
                <a:gd name="T3" fmla="*/ 8 h 23"/>
                <a:gd name="T4" fmla="*/ 8 w 23"/>
                <a:gd name="T5" fmla="*/ 2 h 23"/>
                <a:gd name="T6" fmla="*/ 2 w 23"/>
                <a:gd name="T7" fmla="*/ 15 h 23"/>
                <a:gd name="T8" fmla="*/ 15 w 2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5" y="21"/>
                  </a:moveTo>
                  <a:cubicBezTo>
                    <a:pt x="21" y="19"/>
                    <a:pt x="23" y="13"/>
                    <a:pt x="21" y="8"/>
                  </a:cubicBezTo>
                  <a:cubicBezTo>
                    <a:pt x="19" y="3"/>
                    <a:pt x="13" y="0"/>
                    <a:pt x="8" y="2"/>
                  </a:cubicBezTo>
                  <a:cubicBezTo>
                    <a:pt x="3" y="4"/>
                    <a:pt x="0" y="10"/>
                    <a:pt x="2" y="15"/>
                  </a:cubicBezTo>
                  <a:cubicBezTo>
                    <a:pt x="4" y="21"/>
                    <a:pt x="10" y="23"/>
                    <a:pt x="15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3" name="Freeform 52">
              <a:extLst>
                <a:ext uri="{FF2B5EF4-FFF2-40B4-BE49-F238E27FC236}">
                  <a16:creationId xmlns:a16="http://schemas.microsoft.com/office/drawing/2014/main" id="{F7BF2A54-DE95-EDF1-DD93-4F3B04C9A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800" y="6251576"/>
              <a:ext cx="12700" cy="11113"/>
            </a:xfrm>
            <a:custGeom>
              <a:avLst/>
              <a:gdLst>
                <a:gd name="T0" fmla="*/ 2 w 3"/>
                <a:gd name="T1" fmla="*/ 3 h 3"/>
                <a:gd name="T2" fmla="*/ 2 w 3"/>
                <a:gd name="T3" fmla="*/ 1 h 3"/>
                <a:gd name="T4" fmla="*/ 1 w 3"/>
                <a:gd name="T5" fmla="*/ 0 h 3"/>
                <a:gd name="T6" fmla="*/ 0 w 3"/>
                <a:gd name="T7" fmla="*/ 2 h 3"/>
                <a:gd name="T8" fmla="*/ 2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4" name="Freeform 53">
              <a:extLst>
                <a:ext uri="{FF2B5EF4-FFF2-40B4-BE49-F238E27FC236}">
                  <a16:creationId xmlns:a16="http://schemas.microsoft.com/office/drawing/2014/main" id="{AC412020-CA8D-F72D-305E-D32D5A754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7500" y="6227763"/>
              <a:ext cx="6350" cy="12700"/>
            </a:xfrm>
            <a:custGeom>
              <a:avLst/>
              <a:gdLst>
                <a:gd name="T0" fmla="*/ 0 w 2"/>
                <a:gd name="T1" fmla="*/ 2 h 3"/>
                <a:gd name="T2" fmla="*/ 1 w 2"/>
                <a:gd name="T3" fmla="*/ 2 h 3"/>
                <a:gd name="T4" fmla="*/ 2 w 2"/>
                <a:gd name="T5" fmla="*/ 1 h 3"/>
                <a:gd name="T6" fmla="*/ 1 w 2"/>
                <a:gd name="T7" fmla="*/ 0 h 3"/>
                <a:gd name="T8" fmla="*/ 0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0" y="2"/>
                    <a:pt x="1" y="3"/>
                    <a:pt x="1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5" name="Freeform 54">
              <a:extLst>
                <a:ext uri="{FF2B5EF4-FFF2-40B4-BE49-F238E27FC236}">
                  <a16:creationId xmlns:a16="http://schemas.microsoft.com/office/drawing/2014/main" id="{98E5F681-E35E-22C9-1ECA-281617FC7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9725" y="6240463"/>
              <a:ext cx="11113" cy="6350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2 w 3"/>
                <a:gd name="T5" fmla="*/ 2 h 2"/>
                <a:gd name="T6" fmla="*/ 2 w 3"/>
                <a:gd name="T7" fmla="*/ 1 h 2"/>
                <a:gd name="T8" fmla="*/ 1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2" y="2"/>
                    <a:pt x="3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6" name="Freeform 55">
              <a:extLst>
                <a:ext uri="{FF2B5EF4-FFF2-40B4-BE49-F238E27FC236}">
                  <a16:creationId xmlns:a16="http://schemas.microsoft.com/office/drawing/2014/main" id="{26DED763-BA99-E9EF-6DEC-ADF7513E8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6262688"/>
              <a:ext cx="11113" cy="11113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0 h 3"/>
                <a:gd name="T4" fmla="*/ 0 w 3"/>
                <a:gd name="T5" fmla="*/ 2 h 3"/>
                <a:gd name="T6" fmla="*/ 2 w 3"/>
                <a:gd name="T7" fmla="*/ 2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2"/>
                    <a:pt x="1" y="3"/>
                    <a:pt x="2" y="2"/>
                  </a:cubicBezTo>
                  <a:cubicBezTo>
                    <a:pt x="3" y="2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7" name="Freeform 56">
              <a:extLst>
                <a:ext uri="{FF2B5EF4-FFF2-40B4-BE49-F238E27FC236}">
                  <a16:creationId xmlns:a16="http://schemas.microsoft.com/office/drawing/2014/main" id="{5080FA8D-A2EA-DE97-C707-5314FFF16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5988" y="6311901"/>
              <a:ext cx="830263" cy="557213"/>
            </a:xfrm>
            <a:custGeom>
              <a:avLst/>
              <a:gdLst>
                <a:gd name="T0" fmla="*/ 0 w 523"/>
                <a:gd name="T1" fmla="*/ 351 h 351"/>
                <a:gd name="T2" fmla="*/ 0 w 523"/>
                <a:gd name="T3" fmla="*/ 0 h 351"/>
                <a:gd name="T4" fmla="*/ 8 w 523"/>
                <a:gd name="T5" fmla="*/ 0 h 351"/>
                <a:gd name="T6" fmla="*/ 315 w 523"/>
                <a:gd name="T7" fmla="*/ 0 h 351"/>
                <a:gd name="T8" fmla="*/ 487 w 523"/>
                <a:gd name="T9" fmla="*/ 0 h 351"/>
                <a:gd name="T10" fmla="*/ 523 w 523"/>
                <a:gd name="T11" fmla="*/ 0 h 351"/>
                <a:gd name="T12" fmla="*/ 523 w 523"/>
                <a:gd name="T13" fmla="*/ 351 h 351"/>
                <a:gd name="T14" fmla="*/ 0 w 523"/>
                <a:gd name="T15" fmla="*/ 35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3" h="351">
                  <a:moveTo>
                    <a:pt x="0" y="351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315" y="0"/>
                  </a:lnTo>
                  <a:lnTo>
                    <a:pt x="487" y="0"/>
                  </a:lnTo>
                  <a:lnTo>
                    <a:pt x="523" y="0"/>
                  </a:lnTo>
                  <a:lnTo>
                    <a:pt x="523" y="351"/>
                  </a:lnTo>
                  <a:lnTo>
                    <a:pt x="0" y="35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8" name="Freeform 57">
              <a:extLst>
                <a:ext uri="{FF2B5EF4-FFF2-40B4-BE49-F238E27FC236}">
                  <a16:creationId xmlns:a16="http://schemas.microsoft.com/office/drawing/2014/main" id="{CC2115D3-86C3-8EB8-78D5-603E46443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0175" y="6319838"/>
              <a:ext cx="346075" cy="549275"/>
            </a:xfrm>
            <a:custGeom>
              <a:avLst/>
              <a:gdLst>
                <a:gd name="T0" fmla="*/ 0 w 218"/>
                <a:gd name="T1" fmla="*/ 346 h 346"/>
                <a:gd name="T2" fmla="*/ 34 w 218"/>
                <a:gd name="T3" fmla="*/ 12 h 346"/>
                <a:gd name="T4" fmla="*/ 218 w 218"/>
                <a:gd name="T5" fmla="*/ 0 h 346"/>
                <a:gd name="T6" fmla="*/ 218 w 218"/>
                <a:gd name="T7" fmla="*/ 346 h 346"/>
                <a:gd name="T8" fmla="*/ 0 w 218"/>
                <a:gd name="T9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346">
                  <a:moveTo>
                    <a:pt x="0" y="346"/>
                  </a:moveTo>
                  <a:lnTo>
                    <a:pt x="34" y="12"/>
                  </a:lnTo>
                  <a:lnTo>
                    <a:pt x="218" y="0"/>
                  </a:lnTo>
                  <a:lnTo>
                    <a:pt x="218" y="346"/>
                  </a:lnTo>
                  <a:lnTo>
                    <a:pt x="0" y="34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9" name="Freeform 58">
              <a:extLst>
                <a:ext uri="{FF2B5EF4-FFF2-40B4-BE49-F238E27FC236}">
                  <a16:creationId xmlns:a16="http://schemas.microsoft.com/office/drawing/2014/main" id="{D6776863-5113-3ADF-FD93-48781F2CC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450" y="6445251"/>
              <a:ext cx="82550" cy="87313"/>
            </a:xfrm>
            <a:custGeom>
              <a:avLst/>
              <a:gdLst>
                <a:gd name="T0" fmla="*/ 15 w 22"/>
                <a:gd name="T1" fmla="*/ 21 h 23"/>
                <a:gd name="T2" fmla="*/ 20 w 22"/>
                <a:gd name="T3" fmla="*/ 8 h 23"/>
                <a:gd name="T4" fmla="*/ 7 w 22"/>
                <a:gd name="T5" fmla="*/ 2 h 23"/>
                <a:gd name="T6" fmla="*/ 2 w 22"/>
                <a:gd name="T7" fmla="*/ 15 h 23"/>
                <a:gd name="T8" fmla="*/ 15 w 22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3">
                  <a:moveTo>
                    <a:pt x="15" y="21"/>
                  </a:moveTo>
                  <a:cubicBezTo>
                    <a:pt x="20" y="19"/>
                    <a:pt x="22" y="13"/>
                    <a:pt x="20" y="8"/>
                  </a:cubicBezTo>
                  <a:cubicBezTo>
                    <a:pt x="18" y="2"/>
                    <a:pt x="13" y="0"/>
                    <a:pt x="7" y="2"/>
                  </a:cubicBezTo>
                  <a:cubicBezTo>
                    <a:pt x="2" y="4"/>
                    <a:pt x="0" y="10"/>
                    <a:pt x="2" y="15"/>
                  </a:cubicBezTo>
                  <a:cubicBezTo>
                    <a:pt x="4" y="20"/>
                    <a:pt x="9" y="23"/>
                    <a:pt x="15" y="21"/>
                  </a:cubicBez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0" name="Freeform 59">
              <a:extLst>
                <a:ext uri="{FF2B5EF4-FFF2-40B4-BE49-F238E27FC236}">
                  <a16:creationId xmlns:a16="http://schemas.microsoft.com/office/drawing/2014/main" id="{85FF00E5-CB11-BEA9-B220-FE6CB13D7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513" y="6442076"/>
              <a:ext cx="87313" cy="87313"/>
            </a:xfrm>
            <a:custGeom>
              <a:avLst/>
              <a:gdLst>
                <a:gd name="T0" fmla="*/ 15 w 23"/>
                <a:gd name="T1" fmla="*/ 21 h 23"/>
                <a:gd name="T2" fmla="*/ 21 w 23"/>
                <a:gd name="T3" fmla="*/ 8 h 23"/>
                <a:gd name="T4" fmla="*/ 8 w 23"/>
                <a:gd name="T5" fmla="*/ 2 h 23"/>
                <a:gd name="T6" fmla="*/ 2 w 23"/>
                <a:gd name="T7" fmla="*/ 15 h 23"/>
                <a:gd name="T8" fmla="*/ 15 w 2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5" y="21"/>
                  </a:moveTo>
                  <a:cubicBezTo>
                    <a:pt x="21" y="19"/>
                    <a:pt x="23" y="13"/>
                    <a:pt x="21" y="8"/>
                  </a:cubicBezTo>
                  <a:cubicBezTo>
                    <a:pt x="19" y="2"/>
                    <a:pt x="13" y="0"/>
                    <a:pt x="8" y="2"/>
                  </a:cubicBezTo>
                  <a:cubicBezTo>
                    <a:pt x="3" y="4"/>
                    <a:pt x="0" y="10"/>
                    <a:pt x="2" y="15"/>
                  </a:cubicBezTo>
                  <a:cubicBezTo>
                    <a:pt x="4" y="20"/>
                    <a:pt x="10" y="23"/>
                    <a:pt x="15" y="2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1" name="Freeform 60">
              <a:extLst>
                <a:ext uri="{FF2B5EF4-FFF2-40B4-BE49-F238E27FC236}">
                  <a16:creationId xmlns:a16="http://schemas.microsoft.com/office/drawing/2014/main" id="{B4F89BA9-D294-0D46-1EBE-6FFBED9D0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2738" y="6483351"/>
              <a:ext cx="11113" cy="11113"/>
            </a:xfrm>
            <a:custGeom>
              <a:avLst/>
              <a:gdLst>
                <a:gd name="T0" fmla="*/ 2 w 3"/>
                <a:gd name="T1" fmla="*/ 3 h 3"/>
                <a:gd name="T2" fmla="*/ 2 w 3"/>
                <a:gd name="T3" fmla="*/ 1 h 3"/>
                <a:gd name="T4" fmla="*/ 1 w 3"/>
                <a:gd name="T5" fmla="*/ 1 h 3"/>
                <a:gd name="T6" fmla="*/ 0 w 3"/>
                <a:gd name="T7" fmla="*/ 2 h 3"/>
                <a:gd name="T8" fmla="*/ 2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3"/>
                    <a:pt x="3" y="2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2" name="Freeform 61">
              <a:extLst>
                <a:ext uri="{FF2B5EF4-FFF2-40B4-BE49-F238E27FC236}">
                  <a16:creationId xmlns:a16="http://schemas.microsoft.com/office/drawing/2014/main" id="{9ED5E211-1616-80C0-8F03-B6B0056D5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850" y="6461126"/>
              <a:ext cx="7938" cy="11113"/>
            </a:xfrm>
            <a:custGeom>
              <a:avLst/>
              <a:gdLst>
                <a:gd name="T0" fmla="*/ 0 w 2"/>
                <a:gd name="T1" fmla="*/ 2 h 3"/>
                <a:gd name="T2" fmla="*/ 1 w 2"/>
                <a:gd name="T3" fmla="*/ 3 h 3"/>
                <a:gd name="T4" fmla="*/ 2 w 2"/>
                <a:gd name="T5" fmla="*/ 1 h 3"/>
                <a:gd name="T6" fmla="*/ 1 w 2"/>
                <a:gd name="T7" fmla="*/ 1 h 3"/>
                <a:gd name="T8" fmla="*/ 0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3" name="Freeform 62">
              <a:extLst>
                <a:ext uri="{FF2B5EF4-FFF2-40B4-BE49-F238E27FC236}">
                  <a16:creationId xmlns:a16="http://schemas.microsoft.com/office/drawing/2014/main" id="{A730BB83-C74C-5D0C-5047-B3B93438D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663" y="6472238"/>
              <a:ext cx="11113" cy="11113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4" name="Freeform 63">
              <a:extLst>
                <a:ext uri="{FF2B5EF4-FFF2-40B4-BE49-F238E27FC236}">
                  <a16:creationId xmlns:a16="http://schemas.microsoft.com/office/drawing/2014/main" id="{14FE737E-5813-27ED-A423-6CA4B81D1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6550" y="6494463"/>
              <a:ext cx="11113" cy="12700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0 h 3"/>
                <a:gd name="T4" fmla="*/ 0 w 3"/>
                <a:gd name="T5" fmla="*/ 2 h 3"/>
                <a:gd name="T6" fmla="*/ 2 w 3"/>
                <a:gd name="T7" fmla="*/ 3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3" y="3"/>
                    <a:pt x="3" y="2"/>
                    <a:pt x="3" y="1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04" name="Freeform 5">
            <a:extLst>
              <a:ext uri="{FF2B5EF4-FFF2-40B4-BE49-F238E27FC236}">
                <a16:creationId xmlns:a16="http://schemas.microsoft.com/office/drawing/2014/main" id="{41A618B8-1D37-B25E-1CE2-F2C58D0B53A8}"/>
              </a:ext>
            </a:extLst>
          </p:cNvPr>
          <p:cNvSpPr>
            <a:spLocks noEditPoints="1"/>
          </p:cNvSpPr>
          <p:nvPr/>
        </p:nvSpPr>
        <p:spPr bwMode="auto">
          <a:xfrm>
            <a:off x="5800788" y="401983"/>
            <a:ext cx="483500" cy="549249"/>
          </a:xfrm>
          <a:custGeom>
            <a:avLst/>
            <a:gdLst>
              <a:gd name="T0" fmla="*/ 40 w 126"/>
              <a:gd name="T1" fmla="*/ 112 h 143"/>
              <a:gd name="T2" fmla="*/ 30 w 126"/>
              <a:gd name="T3" fmla="*/ 86 h 143"/>
              <a:gd name="T4" fmla="*/ 24 w 126"/>
              <a:gd name="T5" fmla="*/ 64 h 143"/>
              <a:gd name="T6" fmla="*/ 63 w 126"/>
              <a:gd name="T7" fmla="*/ 25 h 143"/>
              <a:gd name="T8" fmla="*/ 103 w 126"/>
              <a:gd name="T9" fmla="*/ 64 h 143"/>
              <a:gd name="T10" fmla="*/ 96 w 126"/>
              <a:gd name="T11" fmla="*/ 86 h 143"/>
              <a:gd name="T12" fmla="*/ 86 w 126"/>
              <a:gd name="T13" fmla="*/ 107 h 143"/>
              <a:gd name="T14" fmla="*/ 63 w 126"/>
              <a:gd name="T15" fmla="*/ 40 h 143"/>
              <a:gd name="T16" fmla="*/ 40 w 126"/>
              <a:gd name="T17" fmla="*/ 64 h 143"/>
              <a:gd name="T18" fmla="*/ 63 w 126"/>
              <a:gd name="T19" fmla="*/ 87 h 143"/>
              <a:gd name="T20" fmla="*/ 87 w 126"/>
              <a:gd name="T21" fmla="*/ 64 h 143"/>
              <a:gd name="T22" fmla="*/ 63 w 126"/>
              <a:gd name="T23" fmla="*/ 40 h 143"/>
              <a:gd name="T24" fmla="*/ 54 w 126"/>
              <a:gd name="T25" fmla="*/ 68 h 143"/>
              <a:gd name="T26" fmla="*/ 61 w 126"/>
              <a:gd name="T27" fmla="*/ 76 h 143"/>
              <a:gd name="T28" fmla="*/ 72 w 126"/>
              <a:gd name="T29" fmla="*/ 56 h 143"/>
              <a:gd name="T30" fmla="*/ 63 w 126"/>
              <a:gd name="T31" fmla="*/ 13 h 143"/>
              <a:gd name="T32" fmla="*/ 63 w 126"/>
              <a:gd name="T33" fmla="*/ 0 h 143"/>
              <a:gd name="T34" fmla="*/ 38 w 126"/>
              <a:gd name="T35" fmla="*/ 19 h 143"/>
              <a:gd name="T36" fmla="*/ 32 w 126"/>
              <a:gd name="T37" fmla="*/ 9 h 143"/>
              <a:gd name="T38" fmla="*/ 9 w 126"/>
              <a:gd name="T39" fmla="*/ 32 h 143"/>
              <a:gd name="T40" fmla="*/ 19 w 126"/>
              <a:gd name="T41" fmla="*/ 38 h 143"/>
              <a:gd name="T42" fmla="*/ 0 w 126"/>
              <a:gd name="T43" fmla="*/ 64 h 143"/>
              <a:gd name="T44" fmla="*/ 12 w 126"/>
              <a:gd name="T45" fmla="*/ 64 h 143"/>
              <a:gd name="T46" fmla="*/ 95 w 126"/>
              <a:gd name="T47" fmla="*/ 9 h 143"/>
              <a:gd name="T48" fmla="*/ 89 w 126"/>
              <a:gd name="T49" fmla="*/ 19 h 143"/>
              <a:gd name="T50" fmla="*/ 118 w 126"/>
              <a:gd name="T51" fmla="*/ 32 h 143"/>
              <a:gd name="T52" fmla="*/ 107 w 126"/>
              <a:gd name="T53" fmla="*/ 38 h 143"/>
              <a:gd name="T54" fmla="*/ 114 w 126"/>
              <a:gd name="T55" fmla="*/ 64 h 143"/>
              <a:gd name="T56" fmla="*/ 126 w 126"/>
              <a:gd name="T57" fmla="*/ 64 h 143"/>
              <a:gd name="T58" fmla="*/ 77 w 126"/>
              <a:gd name="T59" fmla="*/ 115 h 143"/>
              <a:gd name="T60" fmla="*/ 46 w 126"/>
              <a:gd name="T61" fmla="*/ 124 h 143"/>
              <a:gd name="T62" fmla="*/ 43 w 126"/>
              <a:gd name="T63" fmla="*/ 129 h 143"/>
              <a:gd name="T64" fmla="*/ 48 w 126"/>
              <a:gd name="T65" fmla="*/ 134 h 143"/>
              <a:gd name="T66" fmla="*/ 50 w 126"/>
              <a:gd name="T67" fmla="*/ 134 h 143"/>
              <a:gd name="T68" fmla="*/ 77 w 126"/>
              <a:gd name="T69" fmla="*/ 126 h 143"/>
              <a:gd name="T70" fmla="*/ 77 w 126"/>
              <a:gd name="T71" fmla="*/ 126 h 143"/>
              <a:gd name="T72" fmla="*/ 79 w 126"/>
              <a:gd name="T73" fmla="*/ 126 h 143"/>
              <a:gd name="T74" fmla="*/ 84 w 126"/>
              <a:gd name="T75" fmla="*/ 131 h 143"/>
              <a:gd name="T76" fmla="*/ 80 w 126"/>
              <a:gd name="T77" fmla="*/ 136 h 143"/>
              <a:gd name="T78" fmla="*/ 54 w 126"/>
              <a:gd name="T79" fmla="*/ 143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26" h="143">
                <a:moveTo>
                  <a:pt x="40" y="112"/>
                </a:moveTo>
                <a:cubicBezTo>
                  <a:pt x="41" y="105"/>
                  <a:pt x="39" y="99"/>
                  <a:pt x="30" y="86"/>
                </a:cubicBezTo>
                <a:cubicBezTo>
                  <a:pt x="26" y="80"/>
                  <a:pt x="24" y="72"/>
                  <a:pt x="24" y="64"/>
                </a:cubicBezTo>
                <a:cubicBezTo>
                  <a:pt x="24" y="43"/>
                  <a:pt x="41" y="25"/>
                  <a:pt x="63" y="25"/>
                </a:cubicBezTo>
                <a:cubicBezTo>
                  <a:pt x="85" y="25"/>
                  <a:pt x="103" y="43"/>
                  <a:pt x="103" y="64"/>
                </a:cubicBezTo>
                <a:cubicBezTo>
                  <a:pt x="103" y="72"/>
                  <a:pt x="100" y="80"/>
                  <a:pt x="96" y="86"/>
                </a:cubicBezTo>
                <a:cubicBezTo>
                  <a:pt x="90" y="96"/>
                  <a:pt x="87" y="102"/>
                  <a:pt x="86" y="107"/>
                </a:cubicBezTo>
                <a:moveTo>
                  <a:pt x="63" y="40"/>
                </a:moveTo>
                <a:cubicBezTo>
                  <a:pt x="50" y="40"/>
                  <a:pt x="40" y="51"/>
                  <a:pt x="40" y="64"/>
                </a:cubicBezTo>
                <a:cubicBezTo>
                  <a:pt x="40" y="77"/>
                  <a:pt x="50" y="87"/>
                  <a:pt x="63" y="87"/>
                </a:cubicBezTo>
                <a:cubicBezTo>
                  <a:pt x="76" y="87"/>
                  <a:pt x="87" y="77"/>
                  <a:pt x="87" y="64"/>
                </a:cubicBezTo>
                <a:cubicBezTo>
                  <a:pt x="87" y="51"/>
                  <a:pt x="76" y="40"/>
                  <a:pt x="63" y="40"/>
                </a:cubicBezTo>
                <a:close/>
                <a:moveTo>
                  <a:pt x="54" y="68"/>
                </a:moveTo>
                <a:cubicBezTo>
                  <a:pt x="61" y="76"/>
                  <a:pt x="61" y="76"/>
                  <a:pt x="61" y="76"/>
                </a:cubicBezTo>
                <a:cubicBezTo>
                  <a:pt x="72" y="56"/>
                  <a:pt x="72" y="56"/>
                  <a:pt x="72" y="56"/>
                </a:cubicBezTo>
                <a:moveTo>
                  <a:pt x="63" y="13"/>
                </a:moveTo>
                <a:cubicBezTo>
                  <a:pt x="63" y="0"/>
                  <a:pt x="63" y="0"/>
                  <a:pt x="63" y="0"/>
                </a:cubicBezTo>
                <a:moveTo>
                  <a:pt x="38" y="19"/>
                </a:moveTo>
                <a:cubicBezTo>
                  <a:pt x="32" y="9"/>
                  <a:pt x="32" y="9"/>
                  <a:pt x="32" y="9"/>
                </a:cubicBezTo>
                <a:moveTo>
                  <a:pt x="9" y="32"/>
                </a:moveTo>
                <a:cubicBezTo>
                  <a:pt x="19" y="38"/>
                  <a:pt x="19" y="38"/>
                  <a:pt x="19" y="38"/>
                </a:cubicBezTo>
                <a:moveTo>
                  <a:pt x="0" y="64"/>
                </a:moveTo>
                <a:cubicBezTo>
                  <a:pt x="12" y="64"/>
                  <a:pt x="12" y="64"/>
                  <a:pt x="12" y="64"/>
                </a:cubicBezTo>
                <a:moveTo>
                  <a:pt x="95" y="9"/>
                </a:moveTo>
                <a:cubicBezTo>
                  <a:pt x="89" y="19"/>
                  <a:pt x="89" y="19"/>
                  <a:pt x="89" y="19"/>
                </a:cubicBezTo>
                <a:moveTo>
                  <a:pt x="118" y="32"/>
                </a:moveTo>
                <a:cubicBezTo>
                  <a:pt x="107" y="38"/>
                  <a:pt x="107" y="38"/>
                  <a:pt x="107" y="38"/>
                </a:cubicBezTo>
                <a:moveTo>
                  <a:pt x="114" y="64"/>
                </a:moveTo>
                <a:cubicBezTo>
                  <a:pt x="126" y="64"/>
                  <a:pt x="126" y="64"/>
                  <a:pt x="126" y="64"/>
                </a:cubicBezTo>
                <a:moveTo>
                  <a:pt x="77" y="115"/>
                </a:moveTo>
                <a:cubicBezTo>
                  <a:pt x="77" y="115"/>
                  <a:pt x="46" y="124"/>
                  <a:pt x="46" y="124"/>
                </a:cubicBezTo>
                <a:cubicBezTo>
                  <a:pt x="44" y="124"/>
                  <a:pt x="43" y="126"/>
                  <a:pt x="43" y="129"/>
                </a:cubicBezTo>
                <a:cubicBezTo>
                  <a:pt x="43" y="132"/>
                  <a:pt x="45" y="134"/>
                  <a:pt x="48" y="134"/>
                </a:cubicBezTo>
                <a:cubicBezTo>
                  <a:pt x="49" y="134"/>
                  <a:pt x="50" y="134"/>
                  <a:pt x="50" y="134"/>
                </a:cubicBezTo>
                <a:cubicBezTo>
                  <a:pt x="77" y="126"/>
                  <a:pt x="77" y="126"/>
                  <a:pt x="77" y="126"/>
                </a:cubicBezTo>
                <a:cubicBezTo>
                  <a:pt x="77" y="126"/>
                  <a:pt x="77" y="126"/>
                  <a:pt x="77" y="126"/>
                </a:cubicBezTo>
                <a:cubicBezTo>
                  <a:pt x="78" y="126"/>
                  <a:pt x="78" y="126"/>
                  <a:pt x="79" y="126"/>
                </a:cubicBezTo>
                <a:cubicBezTo>
                  <a:pt x="81" y="126"/>
                  <a:pt x="84" y="128"/>
                  <a:pt x="84" y="131"/>
                </a:cubicBezTo>
                <a:cubicBezTo>
                  <a:pt x="84" y="133"/>
                  <a:pt x="82" y="135"/>
                  <a:pt x="80" y="136"/>
                </a:cubicBezTo>
                <a:cubicBezTo>
                  <a:pt x="54" y="143"/>
                  <a:pt x="54" y="143"/>
                  <a:pt x="54" y="143"/>
                </a:cubicBezTo>
              </a:path>
            </a:pathLst>
          </a:custGeom>
          <a:noFill/>
          <a:ln w="12700" cap="rnd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5" name="Freeform 6">
            <a:extLst>
              <a:ext uri="{FF2B5EF4-FFF2-40B4-BE49-F238E27FC236}">
                <a16:creationId xmlns:a16="http://schemas.microsoft.com/office/drawing/2014/main" id="{9A105761-5978-A29F-1DAF-1824EFBEA96F}"/>
              </a:ext>
            </a:extLst>
          </p:cNvPr>
          <p:cNvSpPr>
            <a:spLocks noEditPoints="1"/>
          </p:cNvSpPr>
          <p:nvPr/>
        </p:nvSpPr>
        <p:spPr bwMode="auto">
          <a:xfrm>
            <a:off x="9827746" y="3748302"/>
            <a:ext cx="475481" cy="491518"/>
          </a:xfrm>
          <a:custGeom>
            <a:avLst/>
            <a:gdLst>
              <a:gd name="T0" fmla="*/ 46 w 124"/>
              <a:gd name="T1" fmla="*/ 13 h 128"/>
              <a:gd name="T2" fmla="*/ 109 w 124"/>
              <a:gd name="T3" fmla="*/ 51 h 128"/>
              <a:gd name="T4" fmla="*/ 124 w 124"/>
              <a:gd name="T5" fmla="*/ 82 h 128"/>
              <a:gd name="T6" fmla="*/ 111 w 124"/>
              <a:gd name="T7" fmla="*/ 82 h 128"/>
              <a:gd name="T8" fmla="*/ 111 w 124"/>
              <a:gd name="T9" fmla="*/ 103 h 128"/>
              <a:gd name="T10" fmla="*/ 104 w 124"/>
              <a:gd name="T11" fmla="*/ 110 h 128"/>
              <a:gd name="T12" fmla="*/ 90 w 124"/>
              <a:gd name="T13" fmla="*/ 110 h 128"/>
              <a:gd name="T14" fmla="*/ 90 w 124"/>
              <a:gd name="T15" fmla="*/ 128 h 128"/>
              <a:gd name="T16" fmla="*/ 33 w 124"/>
              <a:gd name="T17" fmla="*/ 128 h 128"/>
              <a:gd name="T18" fmla="*/ 33 w 124"/>
              <a:gd name="T19" fmla="*/ 109 h 128"/>
              <a:gd name="T20" fmla="*/ 27 w 124"/>
              <a:gd name="T21" fmla="*/ 96 h 128"/>
              <a:gd name="T22" fmla="*/ 69 w 124"/>
              <a:gd name="T23" fmla="*/ 58 h 128"/>
              <a:gd name="T24" fmla="*/ 69 w 124"/>
              <a:gd name="T25" fmla="*/ 49 h 128"/>
              <a:gd name="T26" fmla="*/ 59 w 124"/>
              <a:gd name="T27" fmla="*/ 45 h 128"/>
              <a:gd name="T28" fmla="*/ 58 w 124"/>
              <a:gd name="T29" fmla="*/ 42 h 128"/>
              <a:gd name="T30" fmla="*/ 62 w 124"/>
              <a:gd name="T31" fmla="*/ 32 h 128"/>
              <a:gd name="T32" fmla="*/ 56 w 124"/>
              <a:gd name="T33" fmla="*/ 26 h 128"/>
              <a:gd name="T34" fmla="*/ 46 w 124"/>
              <a:gd name="T35" fmla="*/ 30 h 128"/>
              <a:gd name="T36" fmla="*/ 43 w 124"/>
              <a:gd name="T37" fmla="*/ 29 h 128"/>
              <a:gd name="T38" fmla="*/ 39 w 124"/>
              <a:gd name="T39" fmla="*/ 19 h 128"/>
              <a:gd name="T40" fmla="*/ 31 w 124"/>
              <a:gd name="T41" fmla="*/ 19 h 128"/>
              <a:gd name="T42" fmla="*/ 27 w 124"/>
              <a:gd name="T43" fmla="*/ 29 h 128"/>
              <a:gd name="T44" fmla="*/ 23 w 124"/>
              <a:gd name="T45" fmla="*/ 30 h 128"/>
              <a:gd name="T46" fmla="*/ 14 w 124"/>
              <a:gd name="T47" fmla="*/ 26 h 128"/>
              <a:gd name="T48" fmla="*/ 7 w 124"/>
              <a:gd name="T49" fmla="*/ 32 h 128"/>
              <a:gd name="T50" fmla="*/ 12 w 124"/>
              <a:gd name="T51" fmla="*/ 42 h 128"/>
              <a:gd name="T52" fmla="*/ 10 w 124"/>
              <a:gd name="T53" fmla="*/ 45 h 128"/>
              <a:gd name="T54" fmla="*/ 0 w 124"/>
              <a:gd name="T55" fmla="*/ 49 h 128"/>
              <a:gd name="T56" fmla="*/ 0 w 124"/>
              <a:gd name="T57" fmla="*/ 58 h 128"/>
              <a:gd name="T58" fmla="*/ 10 w 124"/>
              <a:gd name="T59" fmla="*/ 62 h 128"/>
              <a:gd name="T60" fmla="*/ 12 w 124"/>
              <a:gd name="T61" fmla="*/ 65 h 128"/>
              <a:gd name="T62" fmla="*/ 7 w 124"/>
              <a:gd name="T63" fmla="*/ 75 h 128"/>
              <a:gd name="T64" fmla="*/ 14 w 124"/>
              <a:gd name="T65" fmla="*/ 81 h 128"/>
              <a:gd name="T66" fmla="*/ 23 w 124"/>
              <a:gd name="T67" fmla="*/ 77 h 128"/>
              <a:gd name="T68" fmla="*/ 27 w 124"/>
              <a:gd name="T69" fmla="*/ 78 h 128"/>
              <a:gd name="T70" fmla="*/ 31 w 124"/>
              <a:gd name="T71" fmla="*/ 88 h 128"/>
              <a:gd name="T72" fmla="*/ 39 w 124"/>
              <a:gd name="T73" fmla="*/ 88 h 128"/>
              <a:gd name="T74" fmla="*/ 43 w 124"/>
              <a:gd name="T75" fmla="*/ 78 h 128"/>
              <a:gd name="T76" fmla="*/ 46 w 124"/>
              <a:gd name="T77" fmla="*/ 77 h 128"/>
              <a:gd name="T78" fmla="*/ 56 w 124"/>
              <a:gd name="T79" fmla="*/ 81 h 128"/>
              <a:gd name="T80" fmla="*/ 62 w 124"/>
              <a:gd name="T81" fmla="*/ 75 h 128"/>
              <a:gd name="T82" fmla="*/ 58 w 124"/>
              <a:gd name="T83" fmla="*/ 65 h 128"/>
              <a:gd name="T84" fmla="*/ 59 w 124"/>
              <a:gd name="T85" fmla="*/ 62 h 128"/>
              <a:gd name="T86" fmla="*/ 69 w 124"/>
              <a:gd name="T87" fmla="*/ 58 h 128"/>
              <a:gd name="T88" fmla="*/ 35 w 124"/>
              <a:gd name="T89" fmla="*/ 39 h 128"/>
              <a:gd name="T90" fmla="*/ 20 w 124"/>
              <a:gd name="T91" fmla="*/ 53 h 128"/>
              <a:gd name="T92" fmla="*/ 35 w 124"/>
              <a:gd name="T93" fmla="*/ 68 h 128"/>
              <a:gd name="T94" fmla="*/ 49 w 124"/>
              <a:gd name="T95" fmla="*/ 53 h 128"/>
              <a:gd name="T96" fmla="*/ 35 w 124"/>
              <a:gd name="T97" fmla="*/ 39 h 128"/>
              <a:gd name="T98" fmla="*/ 90 w 124"/>
              <a:gd name="T99" fmla="*/ 110 h 128"/>
              <a:gd name="T100" fmla="*/ 82 w 124"/>
              <a:gd name="T101" fmla="*/ 110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24" h="128">
                <a:moveTo>
                  <a:pt x="46" y="13"/>
                </a:moveTo>
                <a:cubicBezTo>
                  <a:pt x="115" y="0"/>
                  <a:pt x="109" y="51"/>
                  <a:pt x="109" y="51"/>
                </a:cubicBezTo>
                <a:cubicBezTo>
                  <a:pt x="124" y="82"/>
                  <a:pt x="124" y="82"/>
                  <a:pt x="124" y="82"/>
                </a:cubicBezTo>
                <a:cubicBezTo>
                  <a:pt x="111" y="82"/>
                  <a:pt x="111" y="82"/>
                  <a:pt x="111" y="82"/>
                </a:cubicBezTo>
                <a:cubicBezTo>
                  <a:pt x="111" y="103"/>
                  <a:pt x="111" y="103"/>
                  <a:pt x="111" y="103"/>
                </a:cubicBezTo>
                <a:cubicBezTo>
                  <a:pt x="111" y="107"/>
                  <a:pt x="108" y="110"/>
                  <a:pt x="104" y="110"/>
                </a:cubicBezTo>
                <a:cubicBezTo>
                  <a:pt x="90" y="110"/>
                  <a:pt x="90" y="110"/>
                  <a:pt x="90" y="110"/>
                </a:cubicBezTo>
                <a:cubicBezTo>
                  <a:pt x="90" y="128"/>
                  <a:pt x="90" y="128"/>
                  <a:pt x="90" y="128"/>
                </a:cubicBezTo>
                <a:moveTo>
                  <a:pt x="33" y="128"/>
                </a:moveTo>
                <a:cubicBezTo>
                  <a:pt x="33" y="109"/>
                  <a:pt x="33" y="109"/>
                  <a:pt x="33" y="109"/>
                </a:cubicBezTo>
                <a:cubicBezTo>
                  <a:pt x="27" y="96"/>
                  <a:pt x="27" y="96"/>
                  <a:pt x="27" y="96"/>
                </a:cubicBezTo>
                <a:moveTo>
                  <a:pt x="69" y="58"/>
                </a:moveTo>
                <a:cubicBezTo>
                  <a:pt x="69" y="49"/>
                  <a:pt x="69" y="49"/>
                  <a:pt x="69" y="49"/>
                </a:cubicBezTo>
                <a:cubicBezTo>
                  <a:pt x="59" y="45"/>
                  <a:pt x="59" y="45"/>
                  <a:pt x="59" y="45"/>
                </a:cubicBezTo>
                <a:cubicBezTo>
                  <a:pt x="59" y="44"/>
                  <a:pt x="59" y="43"/>
                  <a:pt x="58" y="42"/>
                </a:cubicBezTo>
                <a:cubicBezTo>
                  <a:pt x="62" y="32"/>
                  <a:pt x="62" y="32"/>
                  <a:pt x="62" y="32"/>
                </a:cubicBezTo>
                <a:cubicBezTo>
                  <a:pt x="56" y="26"/>
                  <a:pt x="56" y="26"/>
                  <a:pt x="56" y="26"/>
                </a:cubicBezTo>
                <a:cubicBezTo>
                  <a:pt x="46" y="30"/>
                  <a:pt x="46" y="30"/>
                  <a:pt x="46" y="30"/>
                </a:cubicBezTo>
                <a:cubicBezTo>
                  <a:pt x="45" y="30"/>
                  <a:pt x="44" y="29"/>
                  <a:pt x="43" y="29"/>
                </a:cubicBezTo>
                <a:cubicBezTo>
                  <a:pt x="39" y="19"/>
                  <a:pt x="39" y="19"/>
                  <a:pt x="39" y="19"/>
                </a:cubicBezTo>
                <a:cubicBezTo>
                  <a:pt x="31" y="19"/>
                  <a:pt x="31" y="19"/>
                  <a:pt x="31" y="19"/>
                </a:cubicBezTo>
                <a:cubicBezTo>
                  <a:pt x="27" y="29"/>
                  <a:pt x="27" y="29"/>
                  <a:pt x="27" y="29"/>
                </a:cubicBezTo>
                <a:cubicBezTo>
                  <a:pt x="25" y="29"/>
                  <a:pt x="24" y="30"/>
                  <a:pt x="23" y="30"/>
                </a:cubicBezTo>
                <a:cubicBezTo>
                  <a:pt x="14" y="26"/>
                  <a:pt x="14" y="26"/>
                  <a:pt x="14" y="26"/>
                </a:cubicBezTo>
                <a:cubicBezTo>
                  <a:pt x="7" y="32"/>
                  <a:pt x="7" y="32"/>
                  <a:pt x="7" y="32"/>
                </a:cubicBezTo>
                <a:cubicBezTo>
                  <a:pt x="12" y="42"/>
                  <a:pt x="12" y="42"/>
                  <a:pt x="12" y="42"/>
                </a:cubicBezTo>
                <a:cubicBezTo>
                  <a:pt x="11" y="43"/>
                  <a:pt x="11" y="44"/>
                  <a:pt x="10" y="45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58"/>
                  <a:pt x="0" y="58"/>
                  <a:pt x="0" y="58"/>
                </a:cubicBezTo>
                <a:cubicBezTo>
                  <a:pt x="10" y="62"/>
                  <a:pt x="10" y="62"/>
                  <a:pt x="10" y="62"/>
                </a:cubicBezTo>
                <a:cubicBezTo>
                  <a:pt x="11" y="63"/>
                  <a:pt x="11" y="64"/>
                  <a:pt x="12" y="65"/>
                </a:cubicBezTo>
                <a:cubicBezTo>
                  <a:pt x="7" y="75"/>
                  <a:pt x="7" y="75"/>
                  <a:pt x="7" y="75"/>
                </a:cubicBezTo>
                <a:cubicBezTo>
                  <a:pt x="14" y="81"/>
                  <a:pt x="14" y="81"/>
                  <a:pt x="14" y="81"/>
                </a:cubicBezTo>
                <a:cubicBezTo>
                  <a:pt x="23" y="77"/>
                  <a:pt x="23" y="77"/>
                  <a:pt x="23" y="77"/>
                </a:cubicBezTo>
                <a:cubicBezTo>
                  <a:pt x="24" y="77"/>
                  <a:pt x="25" y="78"/>
                  <a:pt x="27" y="78"/>
                </a:cubicBezTo>
                <a:cubicBezTo>
                  <a:pt x="31" y="88"/>
                  <a:pt x="31" y="88"/>
                  <a:pt x="31" y="88"/>
                </a:cubicBezTo>
                <a:cubicBezTo>
                  <a:pt x="39" y="88"/>
                  <a:pt x="39" y="88"/>
                  <a:pt x="39" y="88"/>
                </a:cubicBezTo>
                <a:cubicBezTo>
                  <a:pt x="43" y="78"/>
                  <a:pt x="43" y="78"/>
                  <a:pt x="43" y="78"/>
                </a:cubicBezTo>
                <a:cubicBezTo>
                  <a:pt x="44" y="78"/>
                  <a:pt x="45" y="77"/>
                  <a:pt x="46" y="77"/>
                </a:cubicBezTo>
                <a:cubicBezTo>
                  <a:pt x="56" y="81"/>
                  <a:pt x="56" y="81"/>
                  <a:pt x="56" y="81"/>
                </a:cubicBezTo>
                <a:cubicBezTo>
                  <a:pt x="62" y="75"/>
                  <a:pt x="62" y="75"/>
                  <a:pt x="62" y="75"/>
                </a:cubicBezTo>
                <a:cubicBezTo>
                  <a:pt x="58" y="65"/>
                  <a:pt x="58" y="65"/>
                  <a:pt x="58" y="65"/>
                </a:cubicBezTo>
                <a:cubicBezTo>
                  <a:pt x="59" y="64"/>
                  <a:pt x="59" y="63"/>
                  <a:pt x="59" y="62"/>
                </a:cubicBezTo>
                <a:lnTo>
                  <a:pt x="69" y="58"/>
                </a:lnTo>
                <a:close/>
                <a:moveTo>
                  <a:pt x="35" y="39"/>
                </a:moveTo>
                <a:cubicBezTo>
                  <a:pt x="27" y="39"/>
                  <a:pt x="20" y="45"/>
                  <a:pt x="20" y="53"/>
                </a:cubicBezTo>
                <a:cubicBezTo>
                  <a:pt x="20" y="61"/>
                  <a:pt x="27" y="68"/>
                  <a:pt x="35" y="68"/>
                </a:cubicBezTo>
                <a:cubicBezTo>
                  <a:pt x="43" y="68"/>
                  <a:pt x="49" y="61"/>
                  <a:pt x="49" y="53"/>
                </a:cubicBezTo>
                <a:cubicBezTo>
                  <a:pt x="49" y="45"/>
                  <a:pt x="43" y="39"/>
                  <a:pt x="35" y="39"/>
                </a:cubicBezTo>
                <a:close/>
                <a:moveTo>
                  <a:pt x="90" y="110"/>
                </a:moveTo>
                <a:cubicBezTo>
                  <a:pt x="82" y="110"/>
                  <a:pt x="82" y="110"/>
                  <a:pt x="82" y="110"/>
                </a:cubicBezTo>
              </a:path>
            </a:pathLst>
          </a:custGeom>
          <a:noFill/>
          <a:ln w="12700" cap="rnd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6" name="Freeform 7">
            <a:extLst>
              <a:ext uri="{FF2B5EF4-FFF2-40B4-BE49-F238E27FC236}">
                <a16:creationId xmlns:a16="http://schemas.microsoft.com/office/drawing/2014/main" id="{2961ED5B-0623-CE7D-8957-DD4AC33AD7B2}"/>
              </a:ext>
            </a:extLst>
          </p:cNvPr>
          <p:cNvSpPr>
            <a:spLocks noEditPoints="1"/>
          </p:cNvSpPr>
          <p:nvPr/>
        </p:nvSpPr>
        <p:spPr bwMode="auto">
          <a:xfrm>
            <a:off x="1227923" y="3825875"/>
            <a:ext cx="613395" cy="345586"/>
          </a:xfrm>
          <a:custGeom>
            <a:avLst/>
            <a:gdLst>
              <a:gd name="T0" fmla="*/ 38 w 160"/>
              <a:gd name="T1" fmla="*/ 74 h 90"/>
              <a:gd name="T2" fmla="*/ 37 w 160"/>
              <a:gd name="T3" fmla="*/ 67 h 90"/>
              <a:gd name="T4" fmla="*/ 47 w 160"/>
              <a:gd name="T5" fmla="*/ 58 h 90"/>
              <a:gd name="T6" fmla="*/ 52 w 160"/>
              <a:gd name="T7" fmla="*/ 63 h 90"/>
              <a:gd name="T8" fmla="*/ 45 w 160"/>
              <a:gd name="T9" fmla="*/ 73 h 90"/>
              <a:gd name="T10" fmla="*/ 97 w 160"/>
              <a:gd name="T11" fmla="*/ 66 h 90"/>
              <a:gd name="T12" fmla="*/ 116 w 160"/>
              <a:gd name="T13" fmla="*/ 74 h 90"/>
              <a:gd name="T14" fmla="*/ 117 w 160"/>
              <a:gd name="T15" fmla="*/ 66 h 90"/>
              <a:gd name="T16" fmla="*/ 98 w 160"/>
              <a:gd name="T17" fmla="*/ 80 h 90"/>
              <a:gd name="T18" fmla="*/ 107 w 160"/>
              <a:gd name="T19" fmla="*/ 81 h 90"/>
              <a:gd name="T20" fmla="*/ 108 w 160"/>
              <a:gd name="T21" fmla="*/ 74 h 90"/>
              <a:gd name="T22" fmla="*/ 87 w 160"/>
              <a:gd name="T23" fmla="*/ 87 h 90"/>
              <a:gd name="T24" fmla="*/ 96 w 160"/>
              <a:gd name="T25" fmla="*/ 87 h 90"/>
              <a:gd name="T26" fmla="*/ 98 w 160"/>
              <a:gd name="T27" fmla="*/ 80 h 90"/>
              <a:gd name="T28" fmla="*/ 75 w 160"/>
              <a:gd name="T29" fmla="*/ 88 h 90"/>
              <a:gd name="T30" fmla="*/ 85 w 160"/>
              <a:gd name="T31" fmla="*/ 87 h 90"/>
              <a:gd name="T32" fmla="*/ 51 w 160"/>
              <a:gd name="T33" fmla="*/ 81 h 90"/>
              <a:gd name="T34" fmla="*/ 62 w 160"/>
              <a:gd name="T35" fmla="*/ 62 h 90"/>
              <a:gd name="T36" fmla="*/ 55 w 160"/>
              <a:gd name="T37" fmla="*/ 62 h 90"/>
              <a:gd name="T38" fmla="*/ 44 w 160"/>
              <a:gd name="T39" fmla="*/ 81 h 90"/>
              <a:gd name="T40" fmla="*/ 51 w 160"/>
              <a:gd name="T41" fmla="*/ 81 h 90"/>
              <a:gd name="T42" fmla="*/ 70 w 160"/>
              <a:gd name="T43" fmla="*/ 74 h 90"/>
              <a:gd name="T44" fmla="*/ 66 w 160"/>
              <a:gd name="T45" fmla="*/ 66 h 90"/>
              <a:gd name="T46" fmla="*/ 53 w 160"/>
              <a:gd name="T47" fmla="*/ 78 h 90"/>
              <a:gd name="T48" fmla="*/ 57 w 160"/>
              <a:gd name="T49" fmla="*/ 86 h 90"/>
              <a:gd name="T50" fmla="*/ 74 w 160"/>
              <a:gd name="T51" fmla="*/ 84 h 90"/>
              <a:gd name="T52" fmla="*/ 75 w 160"/>
              <a:gd name="T53" fmla="*/ 75 h 90"/>
              <a:gd name="T54" fmla="*/ 68 w 160"/>
              <a:gd name="T55" fmla="*/ 76 h 90"/>
              <a:gd name="T56" fmla="*/ 63 w 160"/>
              <a:gd name="T57" fmla="*/ 89 h 90"/>
              <a:gd name="T58" fmla="*/ 69 w 160"/>
              <a:gd name="T59" fmla="*/ 89 h 90"/>
              <a:gd name="T60" fmla="*/ 137 w 160"/>
              <a:gd name="T61" fmla="*/ 1 h 90"/>
              <a:gd name="T62" fmla="*/ 133 w 160"/>
              <a:gd name="T63" fmla="*/ 54 h 90"/>
              <a:gd name="T64" fmla="*/ 160 w 160"/>
              <a:gd name="T65" fmla="*/ 43 h 90"/>
              <a:gd name="T66" fmla="*/ 86 w 160"/>
              <a:gd name="T67" fmla="*/ 23 h 90"/>
              <a:gd name="T68" fmla="*/ 79 w 160"/>
              <a:gd name="T69" fmla="*/ 24 h 90"/>
              <a:gd name="T70" fmla="*/ 55 w 160"/>
              <a:gd name="T71" fmla="*/ 35 h 90"/>
              <a:gd name="T72" fmla="*/ 76 w 160"/>
              <a:gd name="T73" fmla="*/ 41 h 90"/>
              <a:gd name="T74" fmla="*/ 117 w 160"/>
              <a:gd name="T75" fmla="*/ 66 h 90"/>
              <a:gd name="T76" fmla="*/ 124 w 160"/>
              <a:gd name="T77" fmla="*/ 57 h 90"/>
              <a:gd name="T78" fmla="*/ 117 w 160"/>
              <a:gd name="T79" fmla="*/ 66 h 90"/>
              <a:gd name="T80" fmla="*/ 40 w 160"/>
              <a:gd name="T81" fmla="*/ 64 h 90"/>
              <a:gd name="T82" fmla="*/ 23 w 160"/>
              <a:gd name="T83" fmla="*/ 60 h 90"/>
              <a:gd name="T84" fmla="*/ 33 w 160"/>
              <a:gd name="T85" fmla="*/ 0 h 90"/>
              <a:gd name="T86" fmla="*/ 39 w 160"/>
              <a:gd name="T87" fmla="*/ 66 h 90"/>
              <a:gd name="T88" fmla="*/ 53 w 160"/>
              <a:gd name="T89" fmla="*/ 2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60" h="90">
                <a:moveTo>
                  <a:pt x="42" y="75"/>
                </a:moveTo>
                <a:cubicBezTo>
                  <a:pt x="40" y="75"/>
                  <a:pt x="39" y="75"/>
                  <a:pt x="38" y="74"/>
                </a:cubicBezTo>
                <a:cubicBezTo>
                  <a:pt x="37" y="73"/>
                  <a:pt x="36" y="72"/>
                  <a:pt x="36" y="70"/>
                </a:cubicBezTo>
                <a:cubicBezTo>
                  <a:pt x="36" y="69"/>
                  <a:pt x="37" y="68"/>
                  <a:pt x="37" y="67"/>
                </a:cubicBezTo>
                <a:cubicBezTo>
                  <a:pt x="44" y="60"/>
                  <a:pt x="44" y="60"/>
                  <a:pt x="44" y="60"/>
                </a:cubicBezTo>
                <a:cubicBezTo>
                  <a:pt x="44" y="59"/>
                  <a:pt x="45" y="59"/>
                  <a:pt x="47" y="58"/>
                </a:cubicBezTo>
                <a:cubicBezTo>
                  <a:pt x="48" y="58"/>
                  <a:pt x="49" y="59"/>
                  <a:pt x="50" y="60"/>
                </a:cubicBezTo>
                <a:cubicBezTo>
                  <a:pt x="51" y="61"/>
                  <a:pt x="52" y="62"/>
                  <a:pt x="52" y="63"/>
                </a:cubicBezTo>
                <a:cubicBezTo>
                  <a:pt x="52" y="64"/>
                  <a:pt x="52" y="65"/>
                  <a:pt x="51" y="66"/>
                </a:cubicBezTo>
                <a:cubicBezTo>
                  <a:pt x="45" y="73"/>
                  <a:pt x="45" y="73"/>
                  <a:pt x="45" y="73"/>
                </a:cubicBezTo>
                <a:cubicBezTo>
                  <a:pt x="44" y="74"/>
                  <a:pt x="43" y="75"/>
                  <a:pt x="42" y="75"/>
                </a:cubicBezTo>
                <a:close/>
                <a:moveTo>
                  <a:pt x="97" y="66"/>
                </a:moveTo>
                <a:cubicBezTo>
                  <a:pt x="97" y="66"/>
                  <a:pt x="109" y="75"/>
                  <a:pt x="112" y="76"/>
                </a:cubicBezTo>
                <a:cubicBezTo>
                  <a:pt x="114" y="76"/>
                  <a:pt x="115" y="75"/>
                  <a:pt x="116" y="74"/>
                </a:cubicBezTo>
                <a:cubicBezTo>
                  <a:pt x="118" y="73"/>
                  <a:pt x="119" y="71"/>
                  <a:pt x="119" y="69"/>
                </a:cubicBezTo>
                <a:cubicBezTo>
                  <a:pt x="119" y="68"/>
                  <a:pt x="118" y="67"/>
                  <a:pt x="117" y="66"/>
                </a:cubicBezTo>
                <a:moveTo>
                  <a:pt x="88" y="72"/>
                </a:moveTo>
                <a:cubicBezTo>
                  <a:pt x="98" y="80"/>
                  <a:pt x="98" y="80"/>
                  <a:pt x="98" y="80"/>
                </a:cubicBezTo>
                <a:cubicBezTo>
                  <a:pt x="99" y="82"/>
                  <a:pt x="100" y="82"/>
                  <a:pt x="102" y="82"/>
                </a:cubicBezTo>
                <a:cubicBezTo>
                  <a:pt x="104" y="82"/>
                  <a:pt x="105" y="82"/>
                  <a:pt x="107" y="81"/>
                </a:cubicBezTo>
                <a:cubicBezTo>
                  <a:pt x="108" y="80"/>
                  <a:pt x="109" y="78"/>
                  <a:pt x="109" y="76"/>
                </a:cubicBezTo>
                <a:cubicBezTo>
                  <a:pt x="109" y="75"/>
                  <a:pt x="109" y="74"/>
                  <a:pt x="108" y="74"/>
                </a:cubicBezTo>
                <a:moveTo>
                  <a:pt x="82" y="82"/>
                </a:moveTo>
                <a:cubicBezTo>
                  <a:pt x="87" y="87"/>
                  <a:pt x="87" y="87"/>
                  <a:pt x="87" y="87"/>
                </a:cubicBezTo>
                <a:cubicBezTo>
                  <a:pt x="88" y="88"/>
                  <a:pt x="90" y="89"/>
                  <a:pt x="91" y="89"/>
                </a:cubicBezTo>
                <a:cubicBezTo>
                  <a:pt x="93" y="89"/>
                  <a:pt x="95" y="88"/>
                  <a:pt x="96" y="87"/>
                </a:cubicBezTo>
                <a:cubicBezTo>
                  <a:pt x="97" y="86"/>
                  <a:pt x="98" y="84"/>
                  <a:pt x="98" y="82"/>
                </a:cubicBezTo>
                <a:cubicBezTo>
                  <a:pt x="98" y="81"/>
                  <a:pt x="98" y="81"/>
                  <a:pt x="98" y="80"/>
                </a:cubicBezTo>
                <a:moveTo>
                  <a:pt x="71" y="86"/>
                </a:moveTo>
                <a:cubicBezTo>
                  <a:pt x="75" y="88"/>
                  <a:pt x="75" y="88"/>
                  <a:pt x="75" y="88"/>
                </a:cubicBezTo>
                <a:cubicBezTo>
                  <a:pt x="76" y="89"/>
                  <a:pt x="78" y="89"/>
                  <a:pt x="81" y="89"/>
                </a:cubicBezTo>
                <a:cubicBezTo>
                  <a:pt x="82" y="89"/>
                  <a:pt x="84" y="89"/>
                  <a:pt x="85" y="87"/>
                </a:cubicBezTo>
                <a:cubicBezTo>
                  <a:pt x="86" y="87"/>
                  <a:pt x="86" y="86"/>
                  <a:pt x="86" y="86"/>
                </a:cubicBezTo>
                <a:moveTo>
                  <a:pt x="51" y="81"/>
                </a:moveTo>
                <a:cubicBezTo>
                  <a:pt x="62" y="68"/>
                  <a:pt x="62" y="68"/>
                  <a:pt x="62" y="68"/>
                </a:cubicBezTo>
                <a:cubicBezTo>
                  <a:pt x="64" y="66"/>
                  <a:pt x="63" y="63"/>
                  <a:pt x="62" y="62"/>
                </a:cubicBezTo>
                <a:cubicBezTo>
                  <a:pt x="60" y="61"/>
                  <a:pt x="59" y="60"/>
                  <a:pt x="58" y="60"/>
                </a:cubicBezTo>
                <a:cubicBezTo>
                  <a:pt x="57" y="61"/>
                  <a:pt x="56" y="61"/>
                  <a:pt x="55" y="62"/>
                </a:cubicBezTo>
                <a:cubicBezTo>
                  <a:pt x="44" y="74"/>
                  <a:pt x="44" y="74"/>
                  <a:pt x="44" y="74"/>
                </a:cubicBezTo>
                <a:cubicBezTo>
                  <a:pt x="42" y="76"/>
                  <a:pt x="42" y="79"/>
                  <a:pt x="44" y="81"/>
                </a:cubicBezTo>
                <a:cubicBezTo>
                  <a:pt x="45" y="82"/>
                  <a:pt x="47" y="82"/>
                  <a:pt x="48" y="82"/>
                </a:cubicBezTo>
                <a:cubicBezTo>
                  <a:pt x="49" y="82"/>
                  <a:pt x="50" y="81"/>
                  <a:pt x="51" y="81"/>
                </a:cubicBezTo>
                <a:close/>
                <a:moveTo>
                  <a:pt x="60" y="85"/>
                </a:moveTo>
                <a:cubicBezTo>
                  <a:pt x="70" y="74"/>
                  <a:pt x="70" y="74"/>
                  <a:pt x="70" y="74"/>
                </a:cubicBezTo>
                <a:cubicBezTo>
                  <a:pt x="72" y="72"/>
                  <a:pt x="72" y="69"/>
                  <a:pt x="70" y="67"/>
                </a:cubicBezTo>
                <a:cubicBezTo>
                  <a:pt x="69" y="66"/>
                  <a:pt x="67" y="65"/>
                  <a:pt x="66" y="66"/>
                </a:cubicBezTo>
                <a:cubicBezTo>
                  <a:pt x="65" y="66"/>
                  <a:pt x="64" y="66"/>
                  <a:pt x="63" y="67"/>
                </a:cubicBezTo>
                <a:cubicBezTo>
                  <a:pt x="53" y="78"/>
                  <a:pt x="53" y="78"/>
                  <a:pt x="53" y="78"/>
                </a:cubicBezTo>
                <a:cubicBezTo>
                  <a:pt x="51" y="80"/>
                  <a:pt x="51" y="83"/>
                  <a:pt x="53" y="85"/>
                </a:cubicBezTo>
                <a:cubicBezTo>
                  <a:pt x="54" y="86"/>
                  <a:pt x="56" y="87"/>
                  <a:pt x="57" y="86"/>
                </a:cubicBezTo>
                <a:cubicBezTo>
                  <a:pt x="58" y="86"/>
                  <a:pt x="59" y="86"/>
                  <a:pt x="60" y="85"/>
                </a:cubicBezTo>
                <a:close/>
                <a:moveTo>
                  <a:pt x="74" y="84"/>
                </a:moveTo>
                <a:cubicBezTo>
                  <a:pt x="75" y="82"/>
                  <a:pt x="75" y="82"/>
                  <a:pt x="75" y="82"/>
                </a:cubicBezTo>
                <a:cubicBezTo>
                  <a:pt x="77" y="80"/>
                  <a:pt x="77" y="77"/>
                  <a:pt x="75" y="75"/>
                </a:cubicBezTo>
                <a:cubicBezTo>
                  <a:pt x="74" y="74"/>
                  <a:pt x="72" y="74"/>
                  <a:pt x="71" y="74"/>
                </a:cubicBezTo>
                <a:cubicBezTo>
                  <a:pt x="70" y="74"/>
                  <a:pt x="69" y="75"/>
                  <a:pt x="68" y="76"/>
                </a:cubicBezTo>
                <a:cubicBezTo>
                  <a:pt x="62" y="82"/>
                  <a:pt x="62" y="82"/>
                  <a:pt x="62" y="82"/>
                </a:cubicBezTo>
                <a:cubicBezTo>
                  <a:pt x="61" y="84"/>
                  <a:pt x="61" y="87"/>
                  <a:pt x="63" y="89"/>
                </a:cubicBezTo>
                <a:cubicBezTo>
                  <a:pt x="64" y="90"/>
                  <a:pt x="65" y="90"/>
                  <a:pt x="67" y="90"/>
                </a:cubicBezTo>
                <a:cubicBezTo>
                  <a:pt x="68" y="90"/>
                  <a:pt x="69" y="89"/>
                  <a:pt x="69" y="89"/>
                </a:cubicBezTo>
                <a:lnTo>
                  <a:pt x="74" y="84"/>
                </a:lnTo>
                <a:close/>
                <a:moveTo>
                  <a:pt x="137" y="1"/>
                </a:moveTo>
                <a:cubicBezTo>
                  <a:pt x="127" y="6"/>
                  <a:pt x="112" y="14"/>
                  <a:pt x="110" y="15"/>
                </a:cubicBezTo>
                <a:cubicBezTo>
                  <a:pt x="112" y="19"/>
                  <a:pt x="121" y="34"/>
                  <a:pt x="133" y="54"/>
                </a:cubicBezTo>
                <a:cubicBezTo>
                  <a:pt x="134" y="57"/>
                  <a:pt x="134" y="57"/>
                  <a:pt x="134" y="57"/>
                </a:cubicBezTo>
                <a:cubicBezTo>
                  <a:pt x="160" y="43"/>
                  <a:pt x="160" y="43"/>
                  <a:pt x="160" y="43"/>
                </a:cubicBezTo>
                <a:moveTo>
                  <a:pt x="113" y="21"/>
                </a:moveTo>
                <a:cubicBezTo>
                  <a:pt x="101" y="16"/>
                  <a:pt x="94" y="23"/>
                  <a:pt x="86" y="23"/>
                </a:cubicBezTo>
                <a:cubicBezTo>
                  <a:pt x="83" y="23"/>
                  <a:pt x="81" y="24"/>
                  <a:pt x="79" y="24"/>
                </a:cubicBezTo>
                <a:cubicBezTo>
                  <a:pt x="79" y="24"/>
                  <a:pt x="79" y="24"/>
                  <a:pt x="79" y="24"/>
                </a:cubicBezTo>
                <a:cubicBezTo>
                  <a:pt x="78" y="24"/>
                  <a:pt x="77" y="24"/>
                  <a:pt x="77" y="24"/>
                </a:cubicBezTo>
                <a:cubicBezTo>
                  <a:pt x="55" y="35"/>
                  <a:pt x="55" y="35"/>
                  <a:pt x="55" y="35"/>
                </a:cubicBezTo>
                <a:cubicBezTo>
                  <a:pt x="45" y="40"/>
                  <a:pt x="55" y="48"/>
                  <a:pt x="58" y="47"/>
                </a:cubicBezTo>
                <a:cubicBezTo>
                  <a:pt x="62" y="46"/>
                  <a:pt x="70" y="43"/>
                  <a:pt x="76" y="41"/>
                </a:cubicBezTo>
                <a:cubicBezTo>
                  <a:pt x="79" y="39"/>
                  <a:pt x="83" y="40"/>
                  <a:pt x="86" y="42"/>
                </a:cubicBezTo>
                <a:cubicBezTo>
                  <a:pt x="96" y="49"/>
                  <a:pt x="116" y="64"/>
                  <a:pt x="117" y="66"/>
                </a:cubicBezTo>
                <a:moveTo>
                  <a:pt x="131" y="52"/>
                </a:moveTo>
                <a:cubicBezTo>
                  <a:pt x="130" y="53"/>
                  <a:pt x="125" y="56"/>
                  <a:pt x="124" y="57"/>
                </a:cubicBezTo>
                <a:cubicBezTo>
                  <a:pt x="124" y="57"/>
                  <a:pt x="123" y="58"/>
                  <a:pt x="122" y="60"/>
                </a:cubicBezTo>
                <a:cubicBezTo>
                  <a:pt x="121" y="62"/>
                  <a:pt x="119" y="65"/>
                  <a:pt x="117" y="66"/>
                </a:cubicBezTo>
                <a:moveTo>
                  <a:pt x="40" y="64"/>
                </a:moveTo>
                <a:cubicBezTo>
                  <a:pt x="40" y="64"/>
                  <a:pt x="40" y="64"/>
                  <a:pt x="40" y="64"/>
                </a:cubicBezTo>
                <a:moveTo>
                  <a:pt x="0" y="41"/>
                </a:moveTo>
                <a:cubicBezTo>
                  <a:pt x="23" y="60"/>
                  <a:pt x="23" y="60"/>
                  <a:pt x="23" y="60"/>
                </a:cubicBezTo>
                <a:cubicBezTo>
                  <a:pt x="56" y="19"/>
                  <a:pt x="56" y="19"/>
                  <a:pt x="56" y="19"/>
                </a:cubicBezTo>
                <a:cubicBezTo>
                  <a:pt x="33" y="0"/>
                  <a:pt x="33" y="0"/>
                  <a:pt x="33" y="0"/>
                </a:cubicBezTo>
                <a:moveTo>
                  <a:pt x="26" y="57"/>
                </a:moveTo>
                <a:cubicBezTo>
                  <a:pt x="32" y="62"/>
                  <a:pt x="39" y="66"/>
                  <a:pt x="39" y="66"/>
                </a:cubicBezTo>
                <a:moveTo>
                  <a:pt x="69" y="28"/>
                </a:moveTo>
                <a:cubicBezTo>
                  <a:pt x="66" y="27"/>
                  <a:pt x="59" y="24"/>
                  <a:pt x="53" y="22"/>
                </a:cubicBezTo>
              </a:path>
            </a:pathLst>
          </a:custGeom>
          <a:noFill/>
          <a:ln w="12700" cap="rnd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7" name="Freeform 8">
            <a:extLst>
              <a:ext uri="{FF2B5EF4-FFF2-40B4-BE49-F238E27FC236}">
                <a16:creationId xmlns:a16="http://schemas.microsoft.com/office/drawing/2014/main" id="{0CB895BB-1C97-7145-D78E-A4B8F8DFFC0E}"/>
              </a:ext>
            </a:extLst>
          </p:cNvPr>
          <p:cNvSpPr>
            <a:spLocks noEditPoints="1"/>
          </p:cNvSpPr>
          <p:nvPr/>
        </p:nvSpPr>
        <p:spPr bwMode="auto">
          <a:xfrm>
            <a:off x="1876832" y="1404552"/>
            <a:ext cx="468265" cy="376055"/>
          </a:xfrm>
          <a:custGeom>
            <a:avLst/>
            <a:gdLst>
              <a:gd name="T0" fmla="*/ 122 w 122"/>
              <a:gd name="T1" fmla="*/ 98 h 98"/>
              <a:gd name="T2" fmla="*/ 0 w 122"/>
              <a:gd name="T3" fmla="*/ 98 h 98"/>
              <a:gd name="T4" fmla="*/ 29 w 122"/>
              <a:gd name="T5" fmla="*/ 72 h 98"/>
              <a:gd name="T6" fmla="*/ 13 w 122"/>
              <a:gd name="T7" fmla="*/ 72 h 98"/>
              <a:gd name="T8" fmla="*/ 13 w 122"/>
              <a:gd name="T9" fmla="*/ 98 h 98"/>
              <a:gd name="T10" fmla="*/ 29 w 122"/>
              <a:gd name="T11" fmla="*/ 98 h 98"/>
              <a:gd name="T12" fmla="*/ 29 w 122"/>
              <a:gd name="T13" fmla="*/ 72 h 98"/>
              <a:gd name="T14" fmla="*/ 56 w 122"/>
              <a:gd name="T15" fmla="*/ 46 h 98"/>
              <a:gd name="T16" fmla="*/ 39 w 122"/>
              <a:gd name="T17" fmla="*/ 46 h 98"/>
              <a:gd name="T18" fmla="*/ 39 w 122"/>
              <a:gd name="T19" fmla="*/ 98 h 98"/>
              <a:gd name="T20" fmla="*/ 56 w 122"/>
              <a:gd name="T21" fmla="*/ 98 h 98"/>
              <a:gd name="T22" fmla="*/ 56 w 122"/>
              <a:gd name="T23" fmla="*/ 46 h 98"/>
              <a:gd name="T24" fmla="*/ 82 w 122"/>
              <a:gd name="T25" fmla="*/ 57 h 98"/>
              <a:gd name="T26" fmla="*/ 65 w 122"/>
              <a:gd name="T27" fmla="*/ 57 h 98"/>
              <a:gd name="T28" fmla="*/ 65 w 122"/>
              <a:gd name="T29" fmla="*/ 98 h 98"/>
              <a:gd name="T30" fmla="*/ 82 w 122"/>
              <a:gd name="T31" fmla="*/ 98 h 98"/>
              <a:gd name="T32" fmla="*/ 82 w 122"/>
              <a:gd name="T33" fmla="*/ 57 h 98"/>
              <a:gd name="T34" fmla="*/ 109 w 122"/>
              <a:gd name="T35" fmla="*/ 31 h 98"/>
              <a:gd name="T36" fmla="*/ 92 w 122"/>
              <a:gd name="T37" fmla="*/ 31 h 98"/>
              <a:gd name="T38" fmla="*/ 92 w 122"/>
              <a:gd name="T39" fmla="*/ 98 h 98"/>
              <a:gd name="T40" fmla="*/ 109 w 122"/>
              <a:gd name="T41" fmla="*/ 98 h 98"/>
              <a:gd name="T42" fmla="*/ 109 w 122"/>
              <a:gd name="T43" fmla="*/ 31 h 98"/>
              <a:gd name="T44" fmla="*/ 21 w 122"/>
              <a:gd name="T45" fmla="*/ 43 h 98"/>
              <a:gd name="T46" fmla="*/ 16 w 122"/>
              <a:gd name="T47" fmla="*/ 48 h 98"/>
              <a:gd name="T48" fmla="*/ 21 w 122"/>
              <a:gd name="T49" fmla="*/ 53 h 98"/>
              <a:gd name="T50" fmla="*/ 26 w 122"/>
              <a:gd name="T51" fmla="*/ 48 h 98"/>
              <a:gd name="T52" fmla="*/ 21 w 122"/>
              <a:gd name="T53" fmla="*/ 43 h 98"/>
              <a:gd name="T54" fmla="*/ 47 w 122"/>
              <a:gd name="T55" fmla="*/ 18 h 98"/>
              <a:gd name="T56" fmla="*/ 43 w 122"/>
              <a:gd name="T57" fmla="*/ 23 h 98"/>
              <a:gd name="T58" fmla="*/ 47 w 122"/>
              <a:gd name="T59" fmla="*/ 28 h 98"/>
              <a:gd name="T60" fmla="*/ 52 w 122"/>
              <a:gd name="T61" fmla="*/ 23 h 98"/>
              <a:gd name="T62" fmla="*/ 47 w 122"/>
              <a:gd name="T63" fmla="*/ 18 h 98"/>
              <a:gd name="T64" fmla="*/ 74 w 122"/>
              <a:gd name="T65" fmla="*/ 31 h 98"/>
              <a:gd name="T66" fmla="*/ 69 w 122"/>
              <a:gd name="T67" fmla="*/ 35 h 98"/>
              <a:gd name="T68" fmla="*/ 74 w 122"/>
              <a:gd name="T69" fmla="*/ 40 h 98"/>
              <a:gd name="T70" fmla="*/ 79 w 122"/>
              <a:gd name="T71" fmla="*/ 35 h 98"/>
              <a:gd name="T72" fmla="*/ 74 w 122"/>
              <a:gd name="T73" fmla="*/ 31 h 98"/>
              <a:gd name="T74" fmla="*/ 100 w 122"/>
              <a:gd name="T75" fmla="*/ 0 h 98"/>
              <a:gd name="T76" fmla="*/ 95 w 122"/>
              <a:gd name="T77" fmla="*/ 5 h 98"/>
              <a:gd name="T78" fmla="*/ 100 w 122"/>
              <a:gd name="T79" fmla="*/ 10 h 98"/>
              <a:gd name="T80" fmla="*/ 105 w 122"/>
              <a:gd name="T81" fmla="*/ 5 h 98"/>
              <a:gd name="T82" fmla="*/ 100 w 122"/>
              <a:gd name="T83" fmla="*/ 0 h 98"/>
              <a:gd name="T84" fmla="*/ 77 w 122"/>
              <a:gd name="T85" fmla="*/ 32 h 98"/>
              <a:gd name="T86" fmla="*/ 97 w 122"/>
              <a:gd name="T87" fmla="*/ 9 h 98"/>
              <a:gd name="T88" fmla="*/ 52 w 122"/>
              <a:gd name="T89" fmla="*/ 25 h 98"/>
              <a:gd name="T90" fmla="*/ 69 w 122"/>
              <a:gd name="T91" fmla="*/ 33 h 98"/>
              <a:gd name="T92" fmla="*/ 44 w 122"/>
              <a:gd name="T93" fmla="*/ 26 h 98"/>
              <a:gd name="T94" fmla="*/ 25 w 122"/>
              <a:gd name="T95" fmla="*/ 4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2" h="98">
                <a:moveTo>
                  <a:pt x="122" y="98"/>
                </a:moveTo>
                <a:cubicBezTo>
                  <a:pt x="0" y="98"/>
                  <a:pt x="0" y="98"/>
                  <a:pt x="0" y="98"/>
                </a:cubicBezTo>
                <a:moveTo>
                  <a:pt x="29" y="72"/>
                </a:moveTo>
                <a:cubicBezTo>
                  <a:pt x="13" y="72"/>
                  <a:pt x="13" y="72"/>
                  <a:pt x="13" y="72"/>
                </a:cubicBezTo>
                <a:cubicBezTo>
                  <a:pt x="13" y="98"/>
                  <a:pt x="13" y="98"/>
                  <a:pt x="13" y="98"/>
                </a:cubicBezTo>
                <a:cubicBezTo>
                  <a:pt x="29" y="98"/>
                  <a:pt x="29" y="98"/>
                  <a:pt x="29" y="98"/>
                </a:cubicBezTo>
                <a:lnTo>
                  <a:pt x="29" y="72"/>
                </a:lnTo>
                <a:close/>
                <a:moveTo>
                  <a:pt x="56" y="46"/>
                </a:moveTo>
                <a:cubicBezTo>
                  <a:pt x="39" y="46"/>
                  <a:pt x="39" y="46"/>
                  <a:pt x="39" y="46"/>
                </a:cubicBezTo>
                <a:cubicBezTo>
                  <a:pt x="39" y="98"/>
                  <a:pt x="39" y="98"/>
                  <a:pt x="39" y="98"/>
                </a:cubicBezTo>
                <a:cubicBezTo>
                  <a:pt x="56" y="98"/>
                  <a:pt x="56" y="98"/>
                  <a:pt x="56" y="98"/>
                </a:cubicBezTo>
                <a:lnTo>
                  <a:pt x="56" y="46"/>
                </a:lnTo>
                <a:close/>
                <a:moveTo>
                  <a:pt x="82" y="57"/>
                </a:moveTo>
                <a:cubicBezTo>
                  <a:pt x="65" y="57"/>
                  <a:pt x="65" y="57"/>
                  <a:pt x="65" y="57"/>
                </a:cubicBezTo>
                <a:cubicBezTo>
                  <a:pt x="65" y="98"/>
                  <a:pt x="65" y="98"/>
                  <a:pt x="65" y="98"/>
                </a:cubicBezTo>
                <a:cubicBezTo>
                  <a:pt x="82" y="98"/>
                  <a:pt x="82" y="98"/>
                  <a:pt x="82" y="98"/>
                </a:cubicBezTo>
                <a:lnTo>
                  <a:pt x="82" y="57"/>
                </a:lnTo>
                <a:close/>
                <a:moveTo>
                  <a:pt x="109" y="31"/>
                </a:moveTo>
                <a:cubicBezTo>
                  <a:pt x="92" y="31"/>
                  <a:pt x="92" y="31"/>
                  <a:pt x="92" y="31"/>
                </a:cubicBezTo>
                <a:cubicBezTo>
                  <a:pt x="92" y="98"/>
                  <a:pt x="92" y="98"/>
                  <a:pt x="92" y="98"/>
                </a:cubicBezTo>
                <a:cubicBezTo>
                  <a:pt x="109" y="98"/>
                  <a:pt x="109" y="98"/>
                  <a:pt x="109" y="98"/>
                </a:cubicBezTo>
                <a:lnTo>
                  <a:pt x="109" y="31"/>
                </a:lnTo>
                <a:close/>
                <a:moveTo>
                  <a:pt x="21" y="43"/>
                </a:moveTo>
                <a:cubicBezTo>
                  <a:pt x="18" y="43"/>
                  <a:pt x="16" y="45"/>
                  <a:pt x="16" y="48"/>
                </a:cubicBezTo>
                <a:cubicBezTo>
                  <a:pt x="16" y="50"/>
                  <a:pt x="18" y="53"/>
                  <a:pt x="21" y="53"/>
                </a:cubicBezTo>
                <a:cubicBezTo>
                  <a:pt x="24" y="53"/>
                  <a:pt x="26" y="50"/>
                  <a:pt x="26" y="48"/>
                </a:cubicBezTo>
                <a:cubicBezTo>
                  <a:pt x="26" y="45"/>
                  <a:pt x="24" y="43"/>
                  <a:pt x="21" y="43"/>
                </a:cubicBezTo>
                <a:close/>
                <a:moveTo>
                  <a:pt x="47" y="18"/>
                </a:moveTo>
                <a:cubicBezTo>
                  <a:pt x="45" y="18"/>
                  <a:pt x="43" y="20"/>
                  <a:pt x="43" y="23"/>
                </a:cubicBezTo>
                <a:cubicBezTo>
                  <a:pt x="43" y="25"/>
                  <a:pt x="45" y="28"/>
                  <a:pt x="47" y="28"/>
                </a:cubicBezTo>
                <a:cubicBezTo>
                  <a:pt x="50" y="28"/>
                  <a:pt x="52" y="25"/>
                  <a:pt x="52" y="23"/>
                </a:cubicBezTo>
                <a:cubicBezTo>
                  <a:pt x="52" y="20"/>
                  <a:pt x="50" y="18"/>
                  <a:pt x="47" y="18"/>
                </a:cubicBezTo>
                <a:close/>
                <a:moveTo>
                  <a:pt x="74" y="31"/>
                </a:moveTo>
                <a:cubicBezTo>
                  <a:pt x="71" y="31"/>
                  <a:pt x="69" y="33"/>
                  <a:pt x="69" y="35"/>
                </a:cubicBezTo>
                <a:cubicBezTo>
                  <a:pt x="69" y="38"/>
                  <a:pt x="71" y="40"/>
                  <a:pt x="74" y="40"/>
                </a:cubicBezTo>
                <a:cubicBezTo>
                  <a:pt x="76" y="40"/>
                  <a:pt x="79" y="38"/>
                  <a:pt x="79" y="35"/>
                </a:cubicBezTo>
                <a:cubicBezTo>
                  <a:pt x="79" y="33"/>
                  <a:pt x="76" y="31"/>
                  <a:pt x="74" y="31"/>
                </a:cubicBezTo>
                <a:close/>
                <a:moveTo>
                  <a:pt x="100" y="0"/>
                </a:moveTo>
                <a:cubicBezTo>
                  <a:pt x="98" y="0"/>
                  <a:pt x="95" y="3"/>
                  <a:pt x="95" y="5"/>
                </a:cubicBezTo>
                <a:cubicBezTo>
                  <a:pt x="95" y="8"/>
                  <a:pt x="98" y="10"/>
                  <a:pt x="100" y="10"/>
                </a:cubicBezTo>
                <a:cubicBezTo>
                  <a:pt x="103" y="10"/>
                  <a:pt x="105" y="8"/>
                  <a:pt x="105" y="5"/>
                </a:cubicBezTo>
                <a:cubicBezTo>
                  <a:pt x="105" y="3"/>
                  <a:pt x="103" y="0"/>
                  <a:pt x="100" y="0"/>
                </a:cubicBezTo>
                <a:close/>
                <a:moveTo>
                  <a:pt x="77" y="32"/>
                </a:moveTo>
                <a:cubicBezTo>
                  <a:pt x="97" y="9"/>
                  <a:pt x="97" y="9"/>
                  <a:pt x="97" y="9"/>
                </a:cubicBezTo>
                <a:moveTo>
                  <a:pt x="52" y="25"/>
                </a:moveTo>
                <a:cubicBezTo>
                  <a:pt x="69" y="33"/>
                  <a:pt x="69" y="33"/>
                  <a:pt x="69" y="33"/>
                </a:cubicBezTo>
                <a:moveTo>
                  <a:pt x="44" y="26"/>
                </a:moveTo>
                <a:cubicBezTo>
                  <a:pt x="25" y="45"/>
                  <a:pt x="25" y="45"/>
                  <a:pt x="25" y="45"/>
                </a:cubicBezTo>
              </a:path>
            </a:pathLst>
          </a:custGeom>
          <a:noFill/>
          <a:ln w="12700" cap="rnd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8" name="Freeform 9">
            <a:extLst>
              <a:ext uri="{FF2B5EF4-FFF2-40B4-BE49-F238E27FC236}">
                <a16:creationId xmlns:a16="http://schemas.microsoft.com/office/drawing/2014/main" id="{7D411D56-12FC-F9E5-6A9F-0AA9314622BC}"/>
              </a:ext>
            </a:extLst>
          </p:cNvPr>
          <p:cNvSpPr>
            <a:spLocks noEditPoints="1"/>
          </p:cNvSpPr>
          <p:nvPr/>
        </p:nvSpPr>
        <p:spPr bwMode="auto">
          <a:xfrm>
            <a:off x="9325713" y="1466222"/>
            <a:ext cx="360820" cy="425768"/>
          </a:xfrm>
          <a:custGeom>
            <a:avLst/>
            <a:gdLst>
              <a:gd name="T0" fmla="*/ 450 w 450"/>
              <a:gd name="T1" fmla="*/ 215 h 531"/>
              <a:gd name="T2" fmla="*/ 450 w 450"/>
              <a:gd name="T3" fmla="*/ 531 h 531"/>
              <a:gd name="T4" fmla="*/ 0 w 450"/>
              <a:gd name="T5" fmla="*/ 531 h 531"/>
              <a:gd name="T6" fmla="*/ 0 w 450"/>
              <a:gd name="T7" fmla="*/ 215 h 531"/>
              <a:gd name="T8" fmla="*/ 450 w 450"/>
              <a:gd name="T9" fmla="*/ 531 h 531"/>
              <a:gd name="T10" fmla="*/ 225 w 450"/>
              <a:gd name="T11" fmla="*/ 373 h 531"/>
              <a:gd name="T12" fmla="*/ 0 w 450"/>
              <a:gd name="T13" fmla="*/ 531 h 531"/>
              <a:gd name="T14" fmla="*/ 450 w 450"/>
              <a:gd name="T15" fmla="*/ 215 h 531"/>
              <a:gd name="T16" fmla="*/ 302 w 450"/>
              <a:gd name="T17" fmla="*/ 378 h 531"/>
              <a:gd name="T18" fmla="*/ 0 w 450"/>
              <a:gd name="T19" fmla="*/ 215 h 531"/>
              <a:gd name="T20" fmla="*/ 153 w 450"/>
              <a:gd name="T21" fmla="*/ 378 h 531"/>
              <a:gd name="T22" fmla="*/ 397 w 450"/>
              <a:gd name="T23" fmla="*/ 206 h 531"/>
              <a:gd name="T24" fmla="*/ 397 w 450"/>
              <a:gd name="T25" fmla="*/ 95 h 531"/>
              <a:gd name="T26" fmla="*/ 297 w 450"/>
              <a:gd name="T27" fmla="*/ 0 h 531"/>
              <a:gd name="T28" fmla="*/ 58 w 450"/>
              <a:gd name="T29" fmla="*/ 0 h 531"/>
              <a:gd name="T30" fmla="*/ 58 w 450"/>
              <a:gd name="T31" fmla="*/ 206 h 531"/>
              <a:gd name="T32" fmla="*/ 397 w 450"/>
              <a:gd name="T33" fmla="*/ 95 h 531"/>
              <a:gd name="T34" fmla="*/ 297 w 450"/>
              <a:gd name="T35" fmla="*/ 0 h 531"/>
              <a:gd name="T36" fmla="*/ 297 w 450"/>
              <a:gd name="T37" fmla="*/ 95 h 531"/>
              <a:gd name="T38" fmla="*/ 397 w 450"/>
              <a:gd name="T39" fmla="*/ 95 h 531"/>
              <a:gd name="T40" fmla="*/ 153 w 450"/>
              <a:gd name="T41" fmla="*/ 153 h 531"/>
              <a:gd name="T42" fmla="*/ 106 w 450"/>
              <a:gd name="T43" fmla="*/ 153 h 531"/>
              <a:gd name="T44" fmla="*/ 335 w 450"/>
              <a:gd name="T45" fmla="*/ 153 h 531"/>
              <a:gd name="T46" fmla="*/ 201 w 450"/>
              <a:gd name="T47" fmla="*/ 153 h 531"/>
              <a:gd name="T48" fmla="*/ 106 w 450"/>
              <a:gd name="T49" fmla="*/ 206 h 531"/>
              <a:gd name="T50" fmla="*/ 235 w 450"/>
              <a:gd name="T51" fmla="*/ 206 h 531"/>
              <a:gd name="T52" fmla="*/ 335 w 450"/>
              <a:gd name="T53" fmla="*/ 206 h 531"/>
              <a:gd name="T54" fmla="*/ 287 w 450"/>
              <a:gd name="T55" fmla="*/ 206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50" h="531">
                <a:moveTo>
                  <a:pt x="450" y="215"/>
                </a:moveTo>
                <a:lnTo>
                  <a:pt x="450" y="531"/>
                </a:lnTo>
                <a:lnTo>
                  <a:pt x="0" y="531"/>
                </a:lnTo>
                <a:lnTo>
                  <a:pt x="0" y="215"/>
                </a:lnTo>
                <a:moveTo>
                  <a:pt x="450" y="531"/>
                </a:moveTo>
                <a:lnTo>
                  <a:pt x="225" y="373"/>
                </a:lnTo>
                <a:lnTo>
                  <a:pt x="0" y="531"/>
                </a:lnTo>
                <a:moveTo>
                  <a:pt x="450" y="215"/>
                </a:moveTo>
                <a:lnTo>
                  <a:pt x="302" y="378"/>
                </a:lnTo>
                <a:moveTo>
                  <a:pt x="0" y="215"/>
                </a:moveTo>
                <a:lnTo>
                  <a:pt x="153" y="378"/>
                </a:lnTo>
                <a:moveTo>
                  <a:pt x="397" y="206"/>
                </a:moveTo>
                <a:lnTo>
                  <a:pt x="397" y="95"/>
                </a:lnTo>
                <a:moveTo>
                  <a:pt x="297" y="0"/>
                </a:moveTo>
                <a:lnTo>
                  <a:pt x="58" y="0"/>
                </a:lnTo>
                <a:lnTo>
                  <a:pt x="58" y="206"/>
                </a:lnTo>
                <a:moveTo>
                  <a:pt x="397" y="95"/>
                </a:moveTo>
                <a:lnTo>
                  <a:pt x="297" y="0"/>
                </a:lnTo>
                <a:lnTo>
                  <a:pt x="297" y="95"/>
                </a:lnTo>
                <a:lnTo>
                  <a:pt x="397" y="95"/>
                </a:lnTo>
                <a:moveTo>
                  <a:pt x="153" y="153"/>
                </a:moveTo>
                <a:lnTo>
                  <a:pt x="106" y="153"/>
                </a:lnTo>
                <a:moveTo>
                  <a:pt x="335" y="153"/>
                </a:moveTo>
                <a:lnTo>
                  <a:pt x="201" y="153"/>
                </a:lnTo>
                <a:moveTo>
                  <a:pt x="106" y="206"/>
                </a:moveTo>
                <a:lnTo>
                  <a:pt x="235" y="206"/>
                </a:lnTo>
                <a:moveTo>
                  <a:pt x="335" y="206"/>
                </a:moveTo>
                <a:lnTo>
                  <a:pt x="287" y="206"/>
                </a:lnTo>
              </a:path>
            </a:pathLst>
          </a:custGeom>
          <a:noFill/>
          <a:ln w="12700" cap="rnd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422B1C3F-0928-D197-58FA-2F994D9474EB}"/>
              </a:ext>
            </a:extLst>
          </p:cNvPr>
          <p:cNvSpPr txBox="1"/>
          <p:nvPr/>
        </p:nvSpPr>
        <p:spPr>
          <a:xfrm>
            <a:off x="1514007" y="2207484"/>
            <a:ext cx="24606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lays due to frequent changes in         demand trends, leading to rework.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122744E-29B9-AE05-C703-15EA0D48E039}"/>
              </a:ext>
            </a:extLst>
          </p:cNvPr>
          <p:cNvSpPr txBox="1"/>
          <p:nvPr/>
        </p:nvSpPr>
        <p:spPr>
          <a:xfrm>
            <a:off x="588197" y="4563339"/>
            <a:ext cx="25354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or coordination causes delays in     approvals   and  miscommunication   among teams.</a:t>
            </a:r>
          </a:p>
          <a:p>
            <a:pPr latinLnBrk="1"/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2D1A70F8-3BC8-DFD9-01BA-78645D828271}"/>
              </a:ext>
            </a:extLst>
          </p:cNvPr>
          <p:cNvSpPr txBox="1"/>
          <p:nvPr/>
        </p:nvSpPr>
        <p:spPr>
          <a:xfrm>
            <a:off x="8518336" y="2206793"/>
            <a:ext cx="227499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rrors in SAP coding led to misclassification and confusion in the    supply chain.</a:t>
            </a:r>
          </a:p>
          <a:p>
            <a:pPr latinLnBrk="1"/>
            <a:r>
              <a:rPr lang="en-US" sz="1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1BC0921C-B009-FF13-A78B-1CDB4CAB9FA8}"/>
              </a:ext>
            </a:extLst>
          </p:cNvPr>
          <p:cNvSpPr txBox="1"/>
          <p:nvPr/>
        </p:nvSpPr>
        <p:spPr>
          <a:xfrm>
            <a:off x="9519317" y="4541025"/>
            <a:ext cx="20844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ecasting inaccuracies lead   to overstocking or shortages,  causing inefficiencies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6A96ED0B-DF38-D016-0AFF-C597D524AA6F}"/>
              </a:ext>
            </a:extLst>
          </p:cNvPr>
          <p:cNvSpPr txBox="1"/>
          <p:nvPr/>
        </p:nvSpPr>
        <p:spPr>
          <a:xfrm>
            <a:off x="4854532" y="1209994"/>
            <a:ext cx="24527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cking ensures proper inventory  management, but occasional errors cause delays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3D565D-0380-960A-AA96-2348F7390ED7}"/>
              </a:ext>
            </a:extLst>
          </p:cNvPr>
          <p:cNvSpPr txBox="1"/>
          <p:nvPr/>
        </p:nvSpPr>
        <p:spPr>
          <a:xfrm>
            <a:off x="4097125" y="-5225"/>
            <a:ext cx="4204126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Current Process (VSM)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44A600-533E-46D5-AC91-655D3E72C24E}"/>
              </a:ext>
            </a:extLst>
          </p:cNvPr>
          <p:cNvSpPr txBox="1"/>
          <p:nvPr/>
        </p:nvSpPr>
        <p:spPr>
          <a:xfrm>
            <a:off x="3342693" y="4730751"/>
            <a:ext cx="7927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rPr>
              <a:t>NVA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23D5D2-8CEA-905F-81CA-A6B55BEFF947}"/>
              </a:ext>
            </a:extLst>
          </p:cNvPr>
          <p:cNvSpPr txBox="1"/>
          <p:nvPr/>
        </p:nvSpPr>
        <p:spPr>
          <a:xfrm>
            <a:off x="5746026" y="2252960"/>
            <a:ext cx="6328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rPr>
              <a:t>VA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51C8EC0-AE86-A86F-4C25-D9577E1563EF}"/>
              </a:ext>
            </a:extLst>
          </p:cNvPr>
          <p:cNvSpPr txBox="1"/>
          <p:nvPr/>
        </p:nvSpPr>
        <p:spPr>
          <a:xfrm>
            <a:off x="6862131" y="4736406"/>
            <a:ext cx="768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</a:rPr>
              <a:t>2 Day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7A3855-E49E-2805-F9CC-099D3A523618}"/>
              </a:ext>
            </a:extLst>
          </p:cNvPr>
          <p:cNvSpPr txBox="1"/>
          <p:nvPr/>
        </p:nvSpPr>
        <p:spPr>
          <a:xfrm>
            <a:off x="4495843" y="4751486"/>
            <a:ext cx="768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</a:rPr>
              <a:t>2 Day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06B6634-39F1-ADBE-D445-CD515956ED64}"/>
              </a:ext>
            </a:extLst>
          </p:cNvPr>
          <p:cNvSpPr txBox="1"/>
          <p:nvPr/>
        </p:nvSpPr>
        <p:spPr>
          <a:xfrm rot="2715503">
            <a:off x="4936426" y="3884581"/>
            <a:ext cx="768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</a:rPr>
              <a:t>3 Day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1429EDC-4DFA-4C99-FA88-DEA683387265}"/>
              </a:ext>
            </a:extLst>
          </p:cNvPr>
          <p:cNvSpPr txBox="1"/>
          <p:nvPr/>
        </p:nvSpPr>
        <p:spPr>
          <a:xfrm rot="5238494">
            <a:off x="5696848" y="3603367"/>
            <a:ext cx="768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</a:rPr>
              <a:t>2 Day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5D0B692-0311-8CB0-8345-B241D42FB110}"/>
              </a:ext>
            </a:extLst>
          </p:cNvPr>
          <p:cNvSpPr txBox="1"/>
          <p:nvPr/>
        </p:nvSpPr>
        <p:spPr>
          <a:xfrm rot="18741809">
            <a:off x="6452320" y="3964980"/>
            <a:ext cx="768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</a:rPr>
              <a:t>2 Day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22B806-1E4A-838F-8C11-266511BD6356}"/>
              </a:ext>
            </a:extLst>
          </p:cNvPr>
          <p:cNvSpPr txBox="1"/>
          <p:nvPr/>
        </p:nvSpPr>
        <p:spPr>
          <a:xfrm>
            <a:off x="4051783" y="2841276"/>
            <a:ext cx="7927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rPr>
              <a:t>NVA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0CA5CC2-8A44-1D13-1C43-0101E4BE4FB8}"/>
              </a:ext>
            </a:extLst>
          </p:cNvPr>
          <p:cNvSpPr txBox="1"/>
          <p:nvPr/>
        </p:nvSpPr>
        <p:spPr>
          <a:xfrm>
            <a:off x="7420457" y="2954501"/>
            <a:ext cx="7927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rPr>
              <a:t>NVA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AC84C45-0EF1-DDD6-F56B-008B5DEC4E0D}"/>
              </a:ext>
            </a:extLst>
          </p:cNvPr>
          <p:cNvSpPr txBox="1"/>
          <p:nvPr/>
        </p:nvSpPr>
        <p:spPr>
          <a:xfrm>
            <a:off x="8046177" y="4731039"/>
            <a:ext cx="7927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rPr>
              <a:t>NVA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87034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2" presetClass="entr" presetSubtype="4" fill="hold" nodeType="withEffect" p14:presetBounceEnd="67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2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3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5" presetID="2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7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4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6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33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5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42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4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5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1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2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3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53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6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7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8" dur="50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9" presetID="53" presetClass="entr" presetSubtype="16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1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2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7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8" dur="5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21" presetClass="entr" presetSubtype="1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81" dur="500"/>
                                            <p:tgtEl>
                                              <p:spTgt spid="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4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5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6" dur="500"/>
                                            <p:tgtEl>
                                              <p:spTgt spid="10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7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9" dur="500" fill="hold"/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0" dur="500" fill="hold"/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1" dur="500"/>
                                            <p:tgtEl>
                                              <p:spTgt spid="10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4" dur="500" fill="hold"/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5" dur="500" fill="hold"/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6" dur="500"/>
                                            <p:tgtEl>
                                              <p:spTgt spid="10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7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9" dur="500" fill="hold"/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0" dur="500" fill="hold"/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1" dur="500"/>
                                            <p:tgtEl>
                                              <p:spTgt spid="10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4" dur="500" fill="hold"/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5" dur="500" fill="hold"/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6" dur="500"/>
                                            <p:tgtEl>
                                              <p:spTgt spid="1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7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09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10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1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13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14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5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17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18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9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21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22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3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25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26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7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29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30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1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33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34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5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37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38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9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41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42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3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45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46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28" grpId="0" animBg="1"/>
          <p:bldP spid="33" grpId="0" animBg="1"/>
          <p:bldP spid="38" grpId="0" animBg="1"/>
          <p:bldP spid="41" grpId="0" animBg="1"/>
          <p:bldP spid="52" grpId="0" animBg="1"/>
          <p:bldP spid="53" grpId="0" animBg="1"/>
          <p:bldP spid="54" grpId="0" animBg="1"/>
          <p:bldP spid="55" grpId="0" animBg="1"/>
          <p:bldP spid="59" grpId="0" animBg="1"/>
          <p:bldP spid="95" grpId="0"/>
          <p:bldP spid="96" grpId="0"/>
          <p:bldP spid="97" grpId="0"/>
          <p:bldP spid="98" grpId="0"/>
          <p:bldP spid="99" grpId="0"/>
          <p:bldP spid="104" grpId="0" animBg="1"/>
          <p:bldP spid="105" grpId="0" animBg="1"/>
          <p:bldP spid="106" grpId="0" animBg="1"/>
          <p:bldP spid="107" grpId="0" animBg="1"/>
          <p:bldP spid="108" grpId="0" animBg="1"/>
          <p:bldP spid="109" grpId="0"/>
          <p:bldP spid="110" grpId="0"/>
          <p:bldP spid="112" grpId="0"/>
          <p:bldP spid="113" grpId="0"/>
          <p:bldP spid="11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5" presetID="2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7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4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6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33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5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42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4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5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1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2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3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53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6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7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8" dur="50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9" presetID="53" presetClass="entr" presetSubtype="16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1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2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7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8" dur="5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21" presetClass="entr" presetSubtype="1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81" dur="500"/>
                                            <p:tgtEl>
                                              <p:spTgt spid="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4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5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6" dur="500"/>
                                            <p:tgtEl>
                                              <p:spTgt spid="10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7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9" dur="500" fill="hold"/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0" dur="500" fill="hold"/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1" dur="500"/>
                                            <p:tgtEl>
                                              <p:spTgt spid="10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4" dur="500" fill="hold"/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5" dur="500" fill="hold"/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6" dur="500"/>
                                            <p:tgtEl>
                                              <p:spTgt spid="10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7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9" dur="500" fill="hold"/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0" dur="500" fill="hold"/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1" dur="500"/>
                                            <p:tgtEl>
                                              <p:spTgt spid="10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4" dur="500" fill="hold"/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5" dur="500" fill="hold"/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6" dur="500"/>
                                            <p:tgtEl>
                                              <p:spTgt spid="1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7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9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0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1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3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4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5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7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8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9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1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2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3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5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6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7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9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0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1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3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4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5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7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8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9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1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2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3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5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6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28" grpId="0" animBg="1"/>
          <p:bldP spid="33" grpId="0" animBg="1"/>
          <p:bldP spid="38" grpId="0" animBg="1"/>
          <p:bldP spid="41" grpId="0" animBg="1"/>
          <p:bldP spid="52" grpId="0" animBg="1"/>
          <p:bldP spid="53" grpId="0" animBg="1"/>
          <p:bldP spid="54" grpId="0" animBg="1"/>
          <p:bldP spid="55" grpId="0" animBg="1"/>
          <p:bldP spid="59" grpId="0" animBg="1"/>
          <p:bldP spid="95" grpId="0"/>
          <p:bldP spid="96" grpId="0"/>
          <p:bldP spid="97" grpId="0"/>
          <p:bldP spid="98" grpId="0"/>
          <p:bldP spid="99" grpId="0"/>
          <p:bldP spid="104" grpId="0" animBg="1"/>
          <p:bldP spid="105" grpId="0" animBg="1"/>
          <p:bldP spid="106" grpId="0" animBg="1"/>
          <p:bldP spid="107" grpId="0" animBg="1"/>
          <p:bldP spid="108" grpId="0" animBg="1"/>
          <p:bldP spid="109" grpId="0"/>
          <p:bldP spid="110" grpId="0"/>
          <p:bldP spid="112" grpId="0"/>
          <p:bldP spid="113" grpId="0"/>
          <p:bldP spid="114" grpId="0"/>
        </p:bldLst>
      </p:timing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/>
          </p:cNvSpPr>
          <p:nvPr/>
        </p:nvSpPr>
        <p:spPr bwMode="auto">
          <a:xfrm>
            <a:off x="6483350" y="4772026"/>
            <a:ext cx="1398588" cy="236538"/>
          </a:xfrm>
          <a:custGeom>
            <a:avLst/>
            <a:gdLst>
              <a:gd name="T0" fmla="*/ 0 w 367"/>
              <a:gd name="T1" fmla="*/ 54 h 62"/>
              <a:gd name="T2" fmla="*/ 366 w 367"/>
              <a:gd name="T3" fmla="*/ 62 h 62"/>
              <a:gd name="T4" fmla="*/ 364 w 367"/>
              <a:gd name="T5" fmla="*/ 38 h 62"/>
              <a:gd name="T6" fmla="*/ 367 w 367"/>
              <a:gd name="T7" fmla="*/ 8 h 62"/>
              <a:gd name="T8" fmla="*/ 1 w 367"/>
              <a:gd name="T9" fmla="*/ 0 h 62"/>
              <a:gd name="T10" fmla="*/ 4 w 367"/>
              <a:gd name="T11" fmla="*/ 25 h 62"/>
              <a:gd name="T12" fmla="*/ 4 w 367"/>
              <a:gd name="T13" fmla="*/ 27 h 62"/>
              <a:gd name="T14" fmla="*/ 0 w 367"/>
              <a:gd name="T15" fmla="*/ 54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67" h="62">
                <a:moveTo>
                  <a:pt x="0" y="54"/>
                </a:moveTo>
                <a:cubicBezTo>
                  <a:pt x="366" y="62"/>
                  <a:pt x="366" y="62"/>
                  <a:pt x="366" y="62"/>
                </a:cubicBezTo>
                <a:cubicBezTo>
                  <a:pt x="364" y="54"/>
                  <a:pt x="364" y="46"/>
                  <a:pt x="364" y="38"/>
                </a:cubicBezTo>
                <a:cubicBezTo>
                  <a:pt x="364" y="28"/>
                  <a:pt x="365" y="18"/>
                  <a:pt x="367" y="8"/>
                </a:cubicBezTo>
                <a:cubicBezTo>
                  <a:pt x="1" y="0"/>
                  <a:pt x="1" y="0"/>
                  <a:pt x="1" y="0"/>
                </a:cubicBezTo>
                <a:cubicBezTo>
                  <a:pt x="3" y="8"/>
                  <a:pt x="4" y="17"/>
                  <a:pt x="4" y="25"/>
                </a:cubicBezTo>
                <a:cubicBezTo>
                  <a:pt x="4" y="26"/>
                  <a:pt x="4" y="27"/>
                  <a:pt x="4" y="27"/>
                </a:cubicBezTo>
                <a:cubicBezTo>
                  <a:pt x="3" y="37"/>
                  <a:pt x="2" y="46"/>
                  <a:pt x="0" y="5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870825" y="4357688"/>
            <a:ext cx="1119188" cy="1123950"/>
            <a:chOff x="7870825" y="4357688"/>
            <a:chExt cx="1119188" cy="1123950"/>
          </a:xfrm>
        </p:grpSpPr>
        <p:sp>
          <p:nvSpPr>
            <p:cNvPr id="10" name="Oval 10"/>
            <p:cNvSpPr>
              <a:spLocks noChangeArrowheads="1"/>
            </p:cNvSpPr>
            <p:nvPr/>
          </p:nvSpPr>
          <p:spPr bwMode="auto">
            <a:xfrm>
              <a:off x="7870825" y="4357688"/>
              <a:ext cx="1119188" cy="112395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Oval 11"/>
            <p:cNvSpPr>
              <a:spLocks noChangeArrowheads="1"/>
            </p:cNvSpPr>
            <p:nvPr/>
          </p:nvSpPr>
          <p:spPr bwMode="auto">
            <a:xfrm>
              <a:off x="7996238" y="4483101"/>
              <a:ext cx="868363" cy="86836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8" name="Freeform 12"/>
          <p:cNvSpPr>
            <a:spLocks/>
          </p:cNvSpPr>
          <p:nvPr/>
        </p:nvSpPr>
        <p:spPr bwMode="auto">
          <a:xfrm>
            <a:off x="6292850" y="3443288"/>
            <a:ext cx="1211263" cy="1219200"/>
          </a:xfrm>
          <a:custGeom>
            <a:avLst/>
            <a:gdLst>
              <a:gd name="T0" fmla="*/ 279 w 318"/>
              <a:gd name="T1" fmla="*/ 0 h 320"/>
              <a:gd name="T2" fmla="*/ 0 w 318"/>
              <a:gd name="T3" fmla="*/ 281 h 320"/>
              <a:gd name="T4" fmla="*/ 22 w 318"/>
              <a:gd name="T5" fmla="*/ 298 h 320"/>
              <a:gd name="T6" fmla="*/ 39 w 318"/>
              <a:gd name="T7" fmla="*/ 320 h 320"/>
              <a:gd name="T8" fmla="*/ 318 w 318"/>
              <a:gd name="T9" fmla="*/ 38 h 320"/>
              <a:gd name="T10" fmla="*/ 279 w 318"/>
              <a:gd name="T11" fmla="*/ 0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" h="320">
                <a:moveTo>
                  <a:pt x="279" y="0"/>
                </a:moveTo>
                <a:cubicBezTo>
                  <a:pt x="0" y="281"/>
                  <a:pt x="0" y="281"/>
                  <a:pt x="0" y="281"/>
                </a:cubicBezTo>
                <a:cubicBezTo>
                  <a:pt x="8" y="286"/>
                  <a:pt x="16" y="292"/>
                  <a:pt x="22" y="298"/>
                </a:cubicBezTo>
                <a:cubicBezTo>
                  <a:pt x="28" y="304"/>
                  <a:pt x="34" y="312"/>
                  <a:pt x="39" y="320"/>
                </a:cubicBezTo>
                <a:cubicBezTo>
                  <a:pt x="318" y="38"/>
                  <a:pt x="318" y="38"/>
                  <a:pt x="318" y="38"/>
                </a:cubicBezTo>
                <a:cubicBezTo>
                  <a:pt x="303" y="28"/>
                  <a:pt x="290" y="15"/>
                  <a:pt x="279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256463" y="2562226"/>
            <a:ext cx="1123950" cy="1123950"/>
            <a:chOff x="7256463" y="2562226"/>
            <a:chExt cx="1123950" cy="1123950"/>
          </a:xfrm>
        </p:grpSpPr>
        <p:sp>
          <p:nvSpPr>
            <p:cNvPr id="30" name="Oval 13"/>
            <p:cNvSpPr>
              <a:spLocks noChangeArrowheads="1"/>
            </p:cNvSpPr>
            <p:nvPr/>
          </p:nvSpPr>
          <p:spPr bwMode="auto">
            <a:xfrm>
              <a:off x="7256463" y="2562226"/>
              <a:ext cx="1123950" cy="112395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Oval 14"/>
            <p:cNvSpPr>
              <a:spLocks noChangeArrowheads="1"/>
            </p:cNvSpPr>
            <p:nvPr/>
          </p:nvSpPr>
          <p:spPr bwMode="auto">
            <a:xfrm>
              <a:off x="7383463" y="2687638"/>
              <a:ext cx="866775" cy="86995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3" name="Freeform 15"/>
          <p:cNvSpPr>
            <a:spLocks/>
          </p:cNvSpPr>
          <p:nvPr/>
        </p:nvSpPr>
        <p:spPr bwMode="auto">
          <a:xfrm>
            <a:off x="5973763" y="3046413"/>
            <a:ext cx="217488" cy="1428750"/>
          </a:xfrm>
          <a:custGeom>
            <a:avLst/>
            <a:gdLst>
              <a:gd name="T0" fmla="*/ 26 w 57"/>
              <a:gd name="T1" fmla="*/ 3 h 375"/>
              <a:gd name="T2" fmla="*/ 0 w 57"/>
              <a:gd name="T3" fmla="*/ 1 h 375"/>
              <a:gd name="T4" fmla="*/ 3 w 57"/>
              <a:gd name="T5" fmla="*/ 375 h 375"/>
              <a:gd name="T6" fmla="*/ 30 w 57"/>
              <a:gd name="T7" fmla="*/ 371 h 375"/>
              <a:gd name="T8" fmla="*/ 31 w 57"/>
              <a:gd name="T9" fmla="*/ 371 h 375"/>
              <a:gd name="T10" fmla="*/ 57 w 57"/>
              <a:gd name="T11" fmla="*/ 374 h 375"/>
              <a:gd name="T12" fmla="*/ 54 w 57"/>
              <a:gd name="T13" fmla="*/ 0 h 375"/>
              <a:gd name="T14" fmla="*/ 26 w 57"/>
              <a:gd name="T15" fmla="*/ 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375">
                <a:moveTo>
                  <a:pt x="26" y="3"/>
                </a:moveTo>
                <a:cubicBezTo>
                  <a:pt x="17" y="3"/>
                  <a:pt x="9" y="2"/>
                  <a:pt x="0" y="1"/>
                </a:cubicBezTo>
                <a:cubicBezTo>
                  <a:pt x="3" y="375"/>
                  <a:pt x="3" y="375"/>
                  <a:pt x="3" y="375"/>
                </a:cubicBezTo>
                <a:cubicBezTo>
                  <a:pt x="12" y="372"/>
                  <a:pt x="21" y="371"/>
                  <a:pt x="30" y="371"/>
                </a:cubicBezTo>
                <a:cubicBezTo>
                  <a:pt x="31" y="371"/>
                  <a:pt x="31" y="371"/>
                  <a:pt x="31" y="371"/>
                </a:cubicBezTo>
                <a:cubicBezTo>
                  <a:pt x="40" y="371"/>
                  <a:pt x="48" y="372"/>
                  <a:pt x="57" y="374"/>
                </a:cubicBezTo>
                <a:cubicBezTo>
                  <a:pt x="54" y="0"/>
                  <a:pt x="54" y="0"/>
                  <a:pt x="54" y="0"/>
                </a:cubicBezTo>
                <a:cubicBezTo>
                  <a:pt x="45" y="2"/>
                  <a:pt x="36" y="3"/>
                  <a:pt x="26" y="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513388" y="1936751"/>
            <a:ext cx="1119188" cy="1120775"/>
            <a:chOff x="5513388" y="1936751"/>
            <a:chExt cx="1119188" cy="1120775"/>
          </a:xfrm>
        </p:grpSpPr>
        <p:sp>
          <p:nvSpPr>
            <p:cNvPr id="36" name="Oval 16"/>
            <p:cNvSpPr>
              <a:spLocks noChangeArrowheads="1"/>
            </p:cNvSpPr>
            <p:nvPr/>
          </p:nvSpPr>
          <p:spPr bwMode="auto">
            <a:xfrm>
              <a:off x="5513388" y="1936751"/>
              <a:ext cx="1119188" cy="112077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7" name="Oval 17"/>
            <p:cNvSpPr>
              <a:spLocks noChangeArrowheads="1"/>
            </p:cNvSpPr>
            <p:nvPr/>
          </p:nvSpPr>
          <p:spPr bwMode="auto">
            <a:xfrm>
              <a:off x="5638800" y="2063751"/>
              <a:ext cx="868363" cy="86836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8" name="Freeform 18"/>
          <p:cNvSpPr>
            <a:spLocks/>
          </p:cNvSpPr>
          <p:nvPr/>
        </p:nvSpPr>
        <p:spPr bwMode="auto">
          <a:xfrm>
            <a:off x="4724400" y="3386138"/>
            <a:ext cx="1173163" cy="1260475"/>
          </a:xfrm>
          <a:custGeom>
            <a:avLst/>
            <a:gdLst>
              <a:gd name="T0" fmla="*/ 40 w 308"/>
              <a:gd name="T1" fmla="*/ 0 h 331"/>
              <a:gd name="T2" fmla="*/ 0 w 308"/>
              <a:gd name="T3" fmla="*/ 37 h 331"/>
              <a:gd name="T4" fmla="*/ 268 w 308"/>
              <a:gd name="T5" fmla="*/ 331 h 331"/>
              <a:gd name="T6" fmla="*/ 286 w 308"/>
              <a:gd name="T7" fmla="*/ 311 h 331"/>
              <a:gd name="T8" fmla="*/ 308 w 308"/>
              <a:gd name="T9" fmla="*/ 295 h 331"/>
              <a:gd name="T10" fmla="*/ 40 w 308"/>
              <a:gd name="T11" fmla="*/ 0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08" h="331">
                <a:moveTo>
                  <a:pt x="40" y="0"/>
                </a:moveTo>
                <a:cubicBezTo>
                  <a:pt x="29" y="15"/>
                  <a:pt x="16" y="27"/>
                  <a:pt x="0" y="37"/>
                </a:cubicBezTo>
                <a:cubicBezTo>
                  <a:pt x="268" y="331"/>
                  <a:pt x="268" y="331"/>
                  <a:pt x="268" y="331"/>
                </a:cubicBezTo>
                <a:cubicBezTo>
                  <a:pt x="273" y="324"/>
                  <a:pt x="279" y="317"/>
                  <a:pt x="286" y="311"/>
                </a:cubicBezTo>
                <a:cubicBezTo>
                  <a:pt x="292" y="304"/>
                  <a:pt x="300" y="299"/>
                  <a:pt x="308" y="295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871913" y="2486026"/>
            <a:ext cx="1119188" cy="1123950"/>
            <a:chOff x="3871913" y="2486026"/>
            <a:chExt cx="1119188" cy="1123950"/>
          </a:xfrm>
        </p:grpSpPr>
        <p:sp>
          <p:nvSpPr>
            <p:cNvPr id="39" name="Oval 19"/>
            <p:cNvSpPr>
              <a:spLocks noChangeArrowheads="1"/>
            </p:cNvSpPr>
            <p:nvPr/>
          </p:nvSpPr>
          <p:spPr bwMode="auto">
            <a:xfrm>
              <a:off x="3871913" y="2486026"/>
              <a:ext cx="1119188" cy="11239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0" name="Oval 20"/>
            <p:cNvSpPr>
              <a:spLocks noChangeArrowheads="1"/>
            </p:cNvSpPr>
            <p:nvPr/>
          </p:nvSpPr>
          <p:spPr bwMode="auto">
            <a:xfrm>
              <a:off x="3997325" y="2611438"/>
              <a:ext cx="868363" cy="86995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41" name="Freeform 21"/>
          <p:cNvSpPr>
            <a:spLocks/>
          </p:cNvSpPr>
          <p:nvPr/>
        </p:nvSpPr>
        <p:spPr bwMode="auto">
          <a:xfrm>
            <a:off x="4305300" y="4772026"/>
            <a:ext cx="1390650" cy="236538"/>
          </a:xfrm>
          <a:custGeom>
            <a:avLst/>
            <a:gdLst>
              <a:gd name="T0" fmla="*/ 0 w 365"/>
              <a:gd name="T1" fmla="*/ 8 h 62"/>
              <a:gd name="T2" fmla="*/ 3 w 365"/>
              <a:gd name="T3" fmla="*/ 38 h 62"/>
              <a:gd name="T4" fmla="*/ 1 w 365"/>
              <a:gd name="T5" fmla="*/ 62 h 62"/>
              <a:gd name="T6" fmla="*/ 365 w 365"/>
              <a:gd name="T7" fmla="*/ 54 h 62"/>
              <a:gd name="T8" fmla="*/ 361 w 365"/>
              <a:gd name="T9" fmla="*/ 27 h 62"/>
              <a:gd name="T10" fmla="*/ 361 w 365"/>
              <a:gd name="T11" fmla="*/ 25 h 62"/>
              <a:gd name="T12" fmla="*/ 364 w 365"/>
              <a:gd name="T13" fmla="*/ 0 h 62"/>
              <a:gd name="T14" fmla="*/ 0 w 365"/>
              <a:gd name="T15" fmla="*/ 8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65" h="62">
                <a:moveTo>
                  <a:pt x="0" y="8"/>
                </a:moveTo>
                <a:cubicBezTo>
                  <a:pt x="2" y="18"/>
                  <a:pt x="3" y="28"/>
                  <a:pt x="3" y="38"/>
                </a:cubicBezTo>
                <a:cubicBezTo>
                  <a:pt x="3" y="46"/>
                  <a:pt x="3" y="54"/>
                  <a:pt x="1" y="62"/>
                </a:cubicBezTo>
                <a:cubicBezTo>
                  <a:pt x="365" y="54"/>
                  <a:pt x="365" y="54"/>
                  <a:pt x="365" y="54"/>
                </a:cubicBezTo>
                <a:cubicBezTo>
                  <a:pt x="363" y="46"/>
                  <a:pt x="362" y="37"/>
                  <a:pt x="361" y="27"/>
                </a:cubicBezTo>
                <a:cubicBezTo>
                  <a:pt x="361" y="27"/>
                  <a:pt x="361" y="26"/>
                  <a:pt x="361" y="25"/>
                </a:cubicBezTo>
                <a:cubicBezTo>
                  <a:pt x="361" y="17"/>
                  <a:pt x="362" y="8"/>
                  <a:pt x="364" y="0"/>
                </a:cubicBezTo>
                <a:lnTo>
                  <a:pt x="0" y="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197225" y="4357688"/>
            <a:ext cx="1120775" cy="1123950"/>
            <a:chOff x="3197225" y="4357688"/>
            <a:chExt cx="1120775" cy="1123950"/>
          </a:xfrm>
        </p:grpSpPr>
        <p:sp>
          <p:nvSpPr>
            <p:cNvPr id="42" name="Oval 22"/>
            <p:cNvSpPr>
              <a:spLocks noChangeArrowheads="1"/>
            </p:cNvSpPr>
            <p:nvPr/>
          </p:nvSpPr>
          <p:spPr bwMode="auto">
            <a:xfrm>
              <a:off x="3197225" y="4357688"/>
              <a:ext cx="1120775" cy="11239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3" name="Oval 23"/>
            <p:cNvSpPr>
              <a:spLocks noChangeArrowheads="1"/>
            </p:cNvSpPr>
            <p:nvPr/>
          </p:nvSpPr>
          <p:spPr bwMode="auto">
            <a:xfrm>
              <a:off x="3324225" y="4483101"/>
              <a:ext cx="866775" cy="86836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endParaRPr>
            </a:p>
          </p:txBody>
        </p:sp>
      </p:grpSp>
      <p:sp>
        <p:nvSpPr>
          <p:cNvPr id="52" name="Freeform 29"/>
          <p:cNvSpPr>
            <a:spLocks/>
          </p:cNvSpPr>
          <p:nvPr/>
        </p:nvSpPr>
        <p:spPr bwMode="auto">
          <a:xfrm>
            <a:off x="6610350" y="3906838"/>
            <a:ext cx="1042988" cy="823913"/>
          </a:xfrm>
          <a:custGeom>
            <a:avLst/>
            <a:gdLst>
              <a:gd name="T0" fmla="*/ 183 w 274"/>
              <a:gd name="T1" fmla="*/ 0 h 216"/>
              <a:gd name="T2" fmla="*/ 172 w 274"/>
              <a:gd name="T3" fmla="*/ 5 h 216"/>
              <a:gd name="T4" fmla="*/ 9 w 274"/>
              <a:gd name="T5" fmla="*/ 169 h 216"/>
              <a:gd name="T6" fmla="*/ 3 w 274"/>
              <a:gd name="T7" fmla="*/ 196 h 216"/>
              <a:gd name="T8" fmla="*/ 26 w 274"/>
              <a:gd name="T9" fmla="*/ 211 h 216"/>
              <a:gd name="T10" fmla="*/ 257 w 274"/>
              <a:gd name="T11" fmla="*/ 216 h 216"/>
              <a:gd name="T12" fmla="*/ 257 w 274"/>
              <a:gd name="T13" fmla="*/ 216 h 216"/>
              <a:gd name="T14" fmla="*/ 273 w 274"/>
              <a:gd name="T15" fmla="*/ 198 h 216"/>
              <a:gd name="T16" fmla="*/ 196 w 274"/>
              <a:gd name="T17" fmla="*/ 7 h 216"/>
              <a:gd name="T18" fmla="*/ 183 w 274"/>
              <a:gd name="T19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4" h="216">
                <a:moveTo>
                  <a:pt x="183" y="0"/>
                </a:moveTo>
                <a:cubicBezTo>
                  <a:pt x="179" y="0"/>
                  <a:pt x="175" y="2"/>
                  <a:pt x="172" y="5"/>
                </a:cubicBezTo>
                <a:cubicBezTo>
                  <a:pt x="140" y="38"/>
                  <a:pt x="56" y="123"/>
                  <a:pt x="9" y="169"/>
                </a:cubicBezTo>
                <a:cubicBezTo>
                  <a:pt x="2" y="176"/>
                  <a:pt x="0" y="188"/>
                  <a:pt x="3" y="196"/>
                </a:cubicBezTo>
                <a:cubicBezTo>
                  <a:pt x="6" y="204"/>
                  <a:pt x="16" y="210"/>
                  <a:pt x="26" y="211"/>
                </a:cubicBezTo>
                <a:cubicBezTo>
                  <a:pt x="91" y="212"/>
                  <a:pt x="196" y="214"/>
                  <a:pt x="257" y="216"/>
                </a:cubicBezTo>
                <a:cubicBezTo>
                  <a:pt x="257" y="216"/>
                  <a:pt x="257" y="216"/>
                  <a:pt x="257" y="216"/>
                </a:cubicBezTo>
                <a:cubicBezTo>
                  <a:pt x="267" y="216"/>
                  <a:pt x="274" y="208"/>
                  <a:pt x="273" y="198"/>
                </a:cubicBezTo>
                <a:cubicBezTo>
                  <a:pt x="264" y="129"/>
                  <a:pt x="237" y="63"/>
                  <a:pt x="196" y="7"/>
                </a:cubicBezTo>
                <a:cubicBezTo>
                  <a:pt x="192" y="3"/>
                  <a:pt x="188" y="0"/>
                  <a:pt x="183" y="0"/>
                </a:cubicBezTo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3" name="Freeform 30"/>
          <p:cNvSpPr>
            <a:spLocks/>
          </p:cNvSpPr>
          <p:nvPr/>
        </p:nvSpPr>
        <p:spPr bwMode="auto">
          <a:xfrm>
            <a:off x="6251575" y="3309938"/>
            <a:ext cx="795338" cy="1031875"/>
          </a:xfrm>
          <a:custGeom>
            <a:avLst/>
            <a:gdLst>
              <a:gd name="T0" fmla="*/ 16 w 209"/>
              <a:gd name="T1" fmla="*/ 0 h 271"/>
              <a:gd name="T2" fmla="*/ 0 w 209"/>
              <a:gd name="T3" fmla="*/ 16 h 271"/>
              <a:gd name="T4" fmla="*/ 2 w 209"/>
              <a:gd name="T5" fmla="*/ 247 h 271"/>
              <a:gd name="T6" fmla="*/ 14 w 209"/>
              <a:gd name="T7" fmla="*/ 270 h 271"/>
              <a:gd name="T8" fmla="*/ 20 w 209"/>
              <a:gd name="T9" fmla="*/ 271 h 271"/>
              <a:gd name="T10" fmla="*/ 39 w 209"/>
              <a:gd name="T11" fmla="*/ 263 h 271"/>
              <a:gd name="T12" fmla="*/ 202 w 209"/>
              <a:gd name="T13" fmla="*/ 99 h 271"/>
              <a:gd name="T14" fmla="*/ 200 w 209"/>
              <a:gd name="T15" fmla="*/ 75 h 271"/>
              <a:gd name="T16" fmla="*/ 18 w 209"/>
              <a:gd name="T17" fmla="*/ 1 h 271"/>
              <a:gd name="T18" fmla="*/ 16 w 209"/>
              <a:gd name="T19" fmla="*/ 0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9" h="271">
                <a:moveTo>
                  <a:pt x="16" y="0"/>
                </a:moveTo>
                <a:cubicBezTo>
                  <a:pt x="7" y="0"/>
                  <a:pt x="0" y="7"/>
                  <a:pt x="0" y="16"/>
                </a:cubicBezTo>
                <a:cubicBezTo>
                  <a:pt x="2" y="247"/>
                  <a:pt x="2" y="247"/>
                  <a:pt x="2" y="247"/>
                </a:cubicBezTo>
                <a:cubicBezTo>
                  <a:pt x="2" y="257"/>
                  <a:pt x="8" y="267"/>
                  <a:pt x="14" y="270"/>
                </a:cubicBezTo>
                <a:cubicBezTo>
                  <a:pt x="16" y="271"/>
                  <a:pt x="18" y="271"/>
                  <a:pt x="20" y="271"/>
                </a:cubicBezTo>
                <a:cubicBezTo>
                  <a:pt x="27" y="271"/>
                  <a:pt x="34" y="268"/>
                  <a:pt x="39" y="263"/>
                </a:cubicBezTo>
                <a:cubicBezTo>
                  <a:pt x="202" y="99"/>
                  <a:pt x="202" y="99"/>
                  <a:pt x="202" y="99"/>
                </a:cubicBezTo>
                <a:cubicBezTo>
                  <a:pt x="209" y="92"/>
                  <a:pt x="208" y="81"/>
                  <a:pt x="200" y="75"/>
                </a:cubicBezTo>
                <a:cubicBezTo>
                  <a:pt x="146" y="36"/>
                  <a:pt x="84" y="10"/>
                  <a:pt x="18" y="1"/>
                </a:cubicBezTo>
                <a:cubicBezTo>
                  <a:pt x="17" y="1"/>
                  <a:pt x="16" y="0"/>
                  <a:pt x="16" y="0"/>
                </a:cubicBezTo>
              </a:path>
            </a:pathLst>
          </a:custGeom>
          <a:solidFill>
            <a:schemeClr val="accent3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4" name="Freeform 31"/>
          <p:cNvSpPr>
            <a:spLocks/>
          </p:cNvSpPr>
          <p:nvPr/>
        </p:nvSpPr>
        <p:spPr bwMode="auto">
          <a:xfrm>
            <a:off x="5173663" y="3313113"/>
            <a:ext cx="742950" cy="1025525"/>
          </a:xfrm>
          <a:custGeom>
            <a:avLst/>
            <a:gdLst>
              <a:gd name="T0" fmla="*/ 178 w 195"/>
              <a:gd name="T1" fmla="*/ 0 h 269"/>
              <a:gd name="T2" fmla="*/ 175 w 195"/>
              <a:gd name="T3" fmla="*/ 0 h 269"/>
              <a:gd name="T4" fmla="*/ 9 w 195"/>
              <a:gd name="T5" fmla="*/ 66 h 269"/>
              <a:gd name="T6" fmla="*/ 7 w 195"/>
              <a:gd name="T7" fmla="*/ 90 h 269"/>
              <a:gd name="T8" fmla="*/ 164 w 195"/>
              <a:gd name="T9" fmla="*/ 259 h 269"/>
              <a:gd name="T10" fmla="*/ 182 w 195"/>
              <a:gd name="T11" fmla="*/ 269 h 269"/>
              <a:gd name="T12" fmla="*/ 185 w 195"/>
              <a:gd name="T13" fmla="*/ 268 h 269"/>
              <a:gd name="T14" fmla="*/ 195 w 195"/>
              <a:gd name="T15" fmla="*/ 247 h 269"/>
              <a:gd name="T16" fmla="*/ 193 w 195"/>
              <a:gd name="T17" fmla="*/ 16 h 269"/>
              <a:gd name="T18" fmla="*/ 178 w 195"/>
              <a:gd name="T19" fmla="*/ 0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5" h="269">
                <a:moveTo>
                  <a:pt x="178" y="0"/>
                </a:moveTo>
                <a:cubicBezTo>
                  <a:pt x="177" y="0"/>
                  <a:pt x="176" y="0"/>
                  <a:pt x="175" y="0"/>
                </a:cubicBezTo>
                <a:cubicBezTo>
                  <a:pt x="116" y="10"/>
                  <a:pt x="59" y="32"/>
                  <a:pt x="9" y="66"/>
                </a:cubicBezTo>
                <a:cubicBezTo>
                  <a:pt x="1" y="72"/>
                  <a:pt x="0" y="82"/>
                  <a:pt x="7" y="90"/>
                </a:cubicBezTo>
                <a:cubicBezTo>
                  <a:pt x="38" y="123"/>
                  <a:pt x="119" y="211"/>
                  <a:pt x="164" y="259"/>
                </a:cubicBezTo>
                <a:cubicBezTo>
                  <a:pt x="169" y="265"/>
                  <a:pt x="177" y="269"/>
                  <a:pt x="182" y="269"/>
                </a:cubicBezTo>
                <a:cubicBezTo>
                  <a:pt x="183" y="269"/>
                  <a:pt x="184" y="269"/>
                  <a:pt x="185" y="268"/>
                </a:cubicBezTo>
                <a:cubicBezTo>
                  <a:pt x="190" y="266"/>
                  <a:pt x="195" y="257"/>
                  <a:pt x="195" y="247"/>
                </a:cubicBezTo>
                <a:cubicBezTo>
                  <a:pt x="193" y="16"/>
                  <a:pt x="193" y="16"/>
                  <a:pt x="193" y="16"/>
                </a:cubicBezTo>
                <a:cubicBezTo>
                  <a:pt x="193" y="7"/>
                  <a:pt x="187" y="0"/>
                  <a:pt x="178" y="0"/>
                </a:cubicBezTo>
              </a:path>
            </a:pathLst>
          </a:custGeom>
          <a:solidFill>
            <a:schemeClr val="accent2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5" name="Freeform 32"/>
          <p:cNvSpPr>
            <a:spLocks/>
          </p:cNvSpPr>
          <p:nvPr/>
        </p:nvSpPr>
        <p:spPr bwMode="auto">
          <a:xfrm>
            <a:off x="4527550" y="3868738"/>
            <a:ext cx="1050925" cy="862013"/>
          </a:xfrm>
          <a:custGeom>
            <a:avLst/>
            <a:gdLst>
              <a:gd name="T0" fmla="*/ 99 w 276"/>
              <a:gd name="T1" fmla="*/ 0 h 226"/>
              <a:gd name="T2" fmla="*/ 87 w 276"/>
              <a:gd name="T3" fmla="*/ 6 h 226"/>
              <a:gd name="T4" fmla="*/ 1 w 276"/>
              <a:gd name="T5" fmla="*/ 208 h 226"/>
              <a:gd name="T6" fmla="*/ 17 w 276"/>
              <a:gd name="T7" fmla="*/ 226 h 226"/>
              <a:gd name="T8" fmla="*/ 17 w 276"/>
              <a:gd name="T9" fmla="*/ 226 h 226"/>
              <a:gd name="T10" fmla="*/ 248 w 276"/>
              <a:gd name="T11" fmla="*/ 221 h 226"/>
              <a:gd name="T12" fmla="*/ 272 w 276"/>
              <a:gd name="T13" fmla="*/ 203 h 226"/>
              <a:gd name="T14" fmla="*/ 268 w 276"/>
              <a:gd name="T15" fmla="*/ 174 h 226"/>
              <a:gd name="T16" fmla="*/ 111 w 276"/>
              <a:gd name="T17" fmla="*/ 5 h 226"/>
              <a:gd name="T18" fmla="*/ 99 w 276"/>
              <a:gd name="T19" fmla="*/ 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6" h="226">
                <a:moveTo>
                  <a:pt x="99" y="0"/>
                </a:moveTo>
                <a:cubicBezTo>
                  <a:pt x="95" y="0"/>
                  <a:pt x="90" y="2"/>
                  <a:pt x="87" y="6"/>
                </a:cubicBezTo>
                <a:cubicBezTo>
                  <a:pt x="41" y="64"/>
                  <a:pt x="11" y="134"/>
                  <a:pt x="1" y="208"/>
                </a:cubicBezTo>
                <a:cubicBezTo>
                  <a:pt x="0" y="218"/>
                  <a:pt x="7" y="226"/>
                  <a:pt x="17" y="226"/>
                </a:cubicBezTo>
                <a:cubicBezTo>
                  <a:pt x="17" y="226"/>
                  <a:pt x="17" y="226"/>
                  <a:pt x="17" y="226"/>
                </a:cubicBezTo>
                <a:cubicBezTo>
                  <a:pt x="248" y="221"/>
                  <a:pt x="248" y="221"/>
                  <a:pt x="248" y="221"/>
                </a:cubicBezTo>
                <a:cubicBezTo>
                  <a:pt x="258" y="220"/>
                  <a:pt x="268" y="212"/>
                  <a:pt x="272" y="203"/>
                </a:cubicBezTo>
                <a:cubicBezTo>
                  <a:pt x="276" y="194"/>
                  <a:pt x="275" y="182"/>
                  <a:pt x="268" y="174"/>
                </a:cubicBezTo>
                <a:cubicBezTo>
                  <a:pt x="223" y="126"/>
                  <a:pt x="142" y="38"/>
                  <a:pt x="111" y="5"/>
                </a:cubicBezTo>
                <a:cubicBezTo>
                  <a:pt x="107" y="1"/>
                  <a:pt x="103" y="0"/>
                  <a:pt x="99" y="0"/>
                </a:cubicBezTo>
              </a:path>
            </a:pathLst>
          </a:custGeom>
          <a:solidFill>
            <a:schemeClr val="accent6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9" name="Freeform 33"/>
          <p:cNvSpPr>
            <a:spLocks/>
          </p:cNvSpPr>
          <p:nvPr/>
        </p:nvSpPr>
        <p:spPr bwMode="auto">
          <a:xfrm>
            <a:off x="4511675" y="5054601"/>
            <a:ext cx="3155950" cy="1409700"/>
          </a:xfrm>
          <a:custGeom>
            <a:avLst/>
            <a:gdLst>
              <a:gd name="T0" fmla="*/ 580 w 829"/>
              <a:gd name="T1" fmla="*/ 0 h 370"/>
              <a:gd name="T2" fmla="*/ 555 w 829"/>
              <a:gd name="T3" fmla="*/ 16 h 370"/>
              <a:gd name="T4" fmla="*/ 415 w 829"/>
              <a:gd name="T5" fmla="*/ 106 h 370"/>
              <a:gd name="T6" fmla="*/ 274 w 829"/>
              <a:gd name="T7" fmla="*/ 16 h 370"/>
              <a:gd name="T8" fmla="*/ 250 w 829"/>
              <a:gd name="T9" fmla="*/ 0 h 370"/>
              <a:gd name="T10" fmla="*/ 249 w 829"/>
              <a:gd name="T11" fmla="*/ 0 h 370"/>
              <a:gd name="T12" fmla="*/ 17 w 829"/>
              <a:gd name="T13" fmla="*/ 5 h 370"/>
              <a:gd name="T14" fmla="*/ 2 w 829"/>
              <a:gd name="T15" fmla="*/ 23 h 370"/>
              <a:gd name="T16" fmla="*/ 130 w 829"/>
              <a:gd name="T17" fmla="*/ 259 h 370"/>
              <a:gd name="T18" fmla="*/ 415 w 829"/>
              <a:gd name="T19" fmla="*/ 370 h 370"/>
              <a:gd name="T20" fmla="*/ 699 w 829"/>
              <a:gd name="T21" fmla="*/ 259 h 370"/>
              <a:gd name="T22" fmla="*/ 827 w 829"/>
              <a:gd name="T23" fmla="*/ 23 h 370"/>
              <a:gd name="T24" fmla="*/ 812 w 829"/>
              <a:gd name="T25" fmla="*/ 5 h 370"/>
              <a:gd name="T26" fmla="*/ 580 w 829"/>
              <a:gd name="T27" fmla="*/ 0 h 370"/>
              <a:gd name="T28" fmla="*/ 580 w 829"/>
              <a:gd name="T29" fmla="*/ 0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29" h="370">
                <a:moveTo>
                  <a:pt x="580" y="0"/>
                </a:moveTo>
                <a:cubicBezTo>
                  <a:pt x="570" y="0"/>
                  <a:pt x="559" y="7"/>
                  <a:pt x="555" y="16"/>
                </a:cubicBezTo>
                <a:cubicBezTo>
                  <a:pt x="531" y="69"/>
                  <a:pt x="477" y="106"/>
                  <a:pt x="415" y="106"/>
                </a:cubicBezTo>
                <a:cubicBezTo>
                  <a:pt x="352" y="106"/>
                  <a:pt x="298" y="69"/>
                  <a:pt x="274" y="16"/>
                </a:cubicBezTo>
                <a:cubicBezTo>
                  <a:pt x="270" y="7"/>
                  <a:pt x="259" y="0"/>
                  <a:pt x="250" y="0"/>
                </a:cubicBezTo>
                <a:cubicBezTo>
                  <a:pt x="249" y="0"/>
                  <a:pt x="249" y="0"/>
                  <a:pt x="249" y="0"/>
                </a:cubicBezTo>
                <a:cubicBezTo>
                  <a:pt x="17" y="5"/>
                  <a:pt x="17" y="5"/>
                  <a:pt x="17" y="5"/>
                </a:cubicBezTo>
                <a:cubicBezTo>
                  <a:pt x="7" y="5"/>
                  <a:pt x="0" y="13"/>
                  <a:pt x="2" y="23"/>
                </a:cubicBezTo>
                <a:cubicBezTo>
                  <a:pt x="17" y="113"/>
                  <a:pt x="62" y="196"/>
                  <a:pt x="130" y="259"/>
                </a:cubicBezTo>
                <a:cubicBezTo>
                  <a:pt x="208" y="331"/>
                  <a:pt x="309" y="370"/>
                  <a:pt x="415" y="370"/>
                </a:cubicBezTo>
                <a:cubicBezTo>
                  <a:pt x="520" y="370"/>
                  <a:pt x="621" y="331"/>
                  <a:pt x="699" y="259"/>
                </a:cubicBezTo>
                <a:cubicBezTo>
                  <a:pt x="767" y="196"/>
                  <a:pt x="812" y="113"/>
                  <a:pt x="827" y="23"/>
                </a:cubicBezTo>
                <a:cubicBezTo>
                  <a:pt x="829" y="13"/>
                  <a:pt x="822" y="5"/>
                  <a:pt x="812" y="5"/>
                </a:cubicBezTo>
                <a:cubicBezTo>
                  <a:pt x="580" y="0"/>
                  <a:pt x="580" y="0"/>
                  <a:pt x="580" y="0"/>
                </a:cubicBezTo>
                <a:cubicBezTo>
                  <a:pt x="580" y="0"/>
                  <a:pt x="580" y="0"/>
                  <a:pt x="580" y="0"/>
                </a:cubicBezTo>
              </a:path>
            </a:pathLst>
          </a:custGeom>
          <a:solidFill>
            <a:schemeClr val="accent5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5" name="Rectangle 64"/>
          <p:cNvSpPr>
            <a:spLocks noChangeArrowheads="1"/>
          </p:cNvSpPr>
          <p:nvPr/>
        </p:nvSpPr>
        <p:spPr bwMode="auto">
          <a:xfrm>
            <a:off x="9557724" y="4290924"/>
            <a:ext cx="183986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65381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Demand Forecasting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6538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6" name="Rectangle 65"/>
          <p:cNvSpPr>
            <a:spLocks noChangeArrowheads="1"/>
          </p:cNvSpPr>
          <p:nvPr/>
        </p:nvSpPr>
        <p:spPr bwMode="auto">
          <a:xfrm>
            <a:off x="8645006" y="1985963"/>
            <a:ext cx="182543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3A9F4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SAP Code Processing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3A9F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7" name="Rectangle 66"/>
          <p:cNvSpPr>
            <a:spLocks noChangeArrowheads="1"/>
          </p:cNvSpPr>
          <p:nvPr/>
        </p:nvSpPr>
        <p:spPr bwMode="auto">
          <a:xfrm>
            <a:off x="5070509" y="954406"/>
            <a:ext cx="194405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CEE8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Product Management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CEE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8" name="Rectangle 67"/>
          <p:cNvSpPr>
            <a:spLocks noChangeArrowheads="1"/>
          </p:cNvSpPr>
          <p:nvPr/>
        </p:nvSpPr>
        <p:spPr bwMode="auto">
          <a:xfrm>
            <a:off x="1681244" y="1985963"/>
            <a:ext cx="182223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D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Production Planning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FFD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9" name="Rectangle 68"/>
          <p:cNvSpPr>
            <a:spLocks noChangeArrowheads="1"/>
          </p:cNvSpPr>
          <p:nvPr/>
        </p:nvSpPr>
        <p:spPr bwMode="auto">
          <a:xfrm>
            <a:off x="958277" y="4313238"/>
            <a:ext cx="117141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altLang="ru-RU" sz="1400" b="1" dirty="0">
                <a:solidFill>
                  <a:srgbClr val="BD114D"/>
                </a:solidFill>
                <a:latin typeface="Open Sans" panose="020B0606030504020204" pitchFamily="34" charset="0"/>
              </a:rPr>
              <a:t>Coordination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BD114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2" name="Button"/>
          <p:cNvGrpSpPr/>
          <p:nvPr/>
        </p:nvGrpSpPr>
        <p:grpSpPr>
          <a:xfrm>
            <a:off x="5680075" y="4460876"/>
            <a:ext cx="819150" cy="814388"/>
            <a:chOff x="5680075" y="4460876"/>
            <a:chExt cx="819150" cy="814388"/>
          </a:xfrm>
        </p:grpSpPr>
        <p:sp>
          <p:nvSpPr>
            <p:cNvPr id="7" name="Oval 7"/>
            <p:cNvSpPr>
              <a:spLocks noChangeArrowheads="1"/>
            </p:cNvSpPr>
            <p:nvPr/>
          </p:nvSpPr>
          <p:spPr bwMode="auto">
            <a:xfrm>
              <a:off x="5680075" y="4460876"/>
              <a:ext cx="819150" cy="814388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outerShdw blurRad="88900" dist="38100" dir="2700000" algn="tl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" name="Oval 8"/>
            <p:cNvSpPr>
              <a:spLocks noChangeArrowheads="1"/>
            </p:cNvSpPr>
            <p:nvPr/>
          </p:nvSpPr>
          <p:spPr bwMode="auto">
            <a:xfrm>
              <a:off x="5761038" y="4540251"/>
              <a:ext cx="658813" cy="655638"/>
            </a:xfrm>
            <a:prstGeom prst="ellipse">
              <a:avLst/>
            </a:prstGeom>
            <a:solidFill>
              <a:srgbClr val="ED1C24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5635625" y="4791076"/>
            <a:ext cx="1190626" cy="2078038"/>
            <a:chOff x="5635625" y="4791076"/>
            <a:chExt cx="1190626" cy="2078038"/>
          </a:xfrm>
        </p:grpSpPr>
        <p:sp>
          <p:nvSpPr>
            <p:cNvPr id="60" name="Freeform 34"/>
            <p:cNvSpPr>
              <a:spLocks/>
            </p:cNvSpPr>
            <p:nvPr/>
          </p:nvSpPr>
          <p:spPr bwMode="auto">
            <a:xfrm>
              <a:off x="5635625" y="4791076"/>
              <a:ext cx="1138238" cy="1357313"/>
            </a:xfrm>
            <a:custGeom>
              <a:avLst/>
              <a:gdLst>
                <a:gd name="T0" fmla="*/ 299 w 299"/>
                <a:gd name="T1" fmla="*/ 155 h 356"/>
                <a:gd name="T2" fmla="*/ 299 w 299"/>
                <a:gd name="T3" fmla="*/ 307 h 356"/>
                <a:gd name="T4" fmla="*/ 292 w 299"/>
                <a:gd name="T5" fmla="*/ 325 h 356"/>
                <a:gd name="T6" fmla="*/ 284 w 299"/>
                <a:gd name="T7" fmla="*/ 356 h 356"/>
                <a:gd name="T8" fmla="*/ 274 w 299"/>
                <a:gd name="T9" fmla="*/ 356 h 356"/>
                <a:gd name="T10" fmla="*/ 107 w 299"/>
                <a:gd name="T11" fmla="*/ 356 h 356"/>
                <a:gd name="T12" fmla="*/ 98 w 299"/>
                <a:gd name="T13" fmla="*/ 338 h 356"/>
                <a:gd name="T14" fmla="*/ 77 w 299"/>
                <a:gd name="T15" fmla="*/ 316 h 356"/>
                <a:gd name="T16" fmla="*/ 57 w 299"/>
                <a:gd name="T17" fmla="*/ 286 h 356"/>
                <a:gd name="T18" fmla="*/ 48 w 299"/>
                <a:gd name="T19" fmla="*/ 271 h 356"/>
                <a:gd name="T20" fmla="*/ 41 w 299"/>
                <a:gd name="T21" fmla="*/ 256 h 356"/>
                <a:gd name="T22" fmla="*/ 38 w 299"/>
                <a:gd name="T23" fmla="*/ 243 h 356"/>
                <a:gd name="T24" fmla="*/ 35 w 299"/>
                <a:gd name="T25" fmla="*/ 239 h 356"/>
                <a:gd name="T26" fmla="*/ 28 w 299"/>
                <a:gd name="T27" fmla="*/ 232 h 356"/>
                <a:gd name="T28" fmla="*/ 3 w 299"/>
                <a:gd name="T29" fmla="*/ 207 h 356"/>
                <a:gd name="T30" fmla="*/ 0 w 299"/>
                <a:gd name="T31" fmla="*/ 201 h 356"/>
                <a:gd name="T32" fmla="*/ 0 w 299"/>
                <a:gd name="T33" fmla="*/ 198 h 356"/>
                <a:gd name="T34" fmla="*/ 14 w 299"/>
                <a:gd name="T35" fmla="*/ 182 h 356"/>
                <a:gd name="T36" fmla="*/ 79 w 299"/>
                <a:gd name="T37" fmla="*/ 207 h 356"/>
                <a:gd name="T38" fmla="*/ 97 w 299"/>
                <a:gd name="T39" fmla="*/ 237 h 356"/>
                <a:gd name="T40" fmla="*/ 97 w 299"/>
                <a:gd name="T41" fmla="*/ 25 h 356"/>
                <a:gd name="T42" fmla="*/ 123 w 299"/>
                <a:gd name="T43" fmla="*/ 0 h 356"/>
                <a:gd name="T44" fmla="*/ 148 w 299"/>
                <a:gd name="T45" fmla="*/ 25 h 356"/>
                <a:gd name="T46" fmla="*/ 148 w 299"/>
                <a:gd name="T47" fmla="*/ 132 h 356"/>
                <a:gd name="T48" fmla="*/ 173 w 299"/>
                <a:gd name="T49" fmla="*/ 106 h 356"/>
                <a:gd name="T50" fmla="*/ 198 w 299"/>
                <a:gd name="T51" fmla="*/ 132 h 356"/>
                <a:gd name="T52" fmla="*/ 198 w 299"/>
                <a:gd name="T53" fmla="*/ 144 h 356"/>
                <a:gd name="T54" fmla="*/ 224 w 299"/>
                <a:gd name="T55" fmla="*/ 119 h 356"/>
                <a:gd name="T56" fmla="*/ 249 w 299"/>
                <a:gd name="T57" fmla="*/ 144 h 356"/>
                <a:gd name="T58" fmla="*/ 249 w 299"/>
                <a:gd name="T59" fmla="*/ 155 h 356"/>
                <a:gd name="T60" fmla="*/ 274 w 299"/>
                <a:gd name="T61" fmla="*/ 129 h 356"/>
                <a:gd name="T62" fmla="*/ 299 w 299"/>
                <a:gd name="T63" fmla="*/ 15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9" h="356">
                  <a:moveTo>
                    <a:pt x="299" y="155"/>
                  </a:moveTo>
                  <a:cubicBezTo>
                    <a:pt x="299" y="307"/>
                    <a:pt x="299" y="307"/>
                    <a:pt x="299" y="307"/>
                  </a:cubicBezTo>
                  <a:cubicBezTo>
                    <a:pt x="299" y="313"/>
                    <a:pt x="297" y="319"/>
                    <a:pt x="292" y="325"/>
                  </a:cubicBezTo>
                  <a:cubicBezTo>
                    <a:pt x="286" y="331"/>
                    <a:pt x="284" y="356"/>
                    <a:pt x="284" y="356"/>
                  </a:cubicBezTo>
                  <a:cubicBezTo>
                    <a:pt x="284" y="356"/>
                    <a:pt x="280" y="356"/>
                    <a:pt x="274" y="356"/>
                  </a:cubicBezTo>
                  <a:cubicBezTo>
                    <a:pt x="107" y="356"/>
                    <a:pt x="107" y="356"/>
                    <a:pt x="107" y="356"/>
                  </a:cubicBezTo>
                  <a:cubicBezTo>
                    <a:pt x="107" y="347"/>
                    <a:pt x="101" y="340"/>
                    <a:pt x="98" y="338"/>
                  </a:cubicBezTo>
                  <a:cubicBezTo>
                    <a:pt x="91" y="333"/>
                    <a:pt x="83" y="327"/>
                    <a:pt x="77" y="316"/>
                  </a:cubicBezTo>
                  <a:cubicBezTo>
                    <a:pt x="71" y="306"/>
                    <a:pt x="64" y="295"/>
                    <a:pt x="57" y="286"/>
                  </a:cubicBezTo>
                  <a:cubicBezTo>
                    <a:pt x="53" y="280"/>
                    <a:pt x="52" y="279"/>
                    <a:pt x="48" y="271"/>
                  </a:cubicBezTo>
                  <a:cubicBezTo>
                    <a:pt x="45" y="266"/>
                    <a:pt x="41" y="262"/>
                    <a:pt x="41" y="256"/>
                  </a:cubicBezTo>
                  <a:cubicBezTo>
                    <a:pt x="40" y="252"/>
                    <a:pt x="39" y="247"/>
                    <a:pt x="38" y="243"/>
                  </a:cubicBezTo>
                  <a:cubicBezTo>
                    <a:pt x="37" y="242"/>
                    <a:pt x="36" y="240"/>
                    <a:pt x="35" y="239"/>
                  </a:cubicBezTo>
                  <a:cubicBezTo>
                    <a:pt x="33" y="236"/>
                    <a:pt x="31" y="234"/>
                    <a:pt x="28" y="232"/>
                  </a:cubicBezTo>
                  <a:cubicBezTo>
                    <a:pt x="19" y="224"/>
                    <a:pt x="9" y="215"/>
                    <a:pt x="3" y="207"/>
                  </a:cubicBezTo>
                  <a:cubicBezTo>
                    <a:pt x="2" y="205"/>
                    <a:pt x="1" y="203"/>
                    <a:pt x="0" y="201"/>
                  </a:cubicBezTo>
                  <a:cubicBezTo>
                    <a:pt x="0" y="200"/>
                    <a:pt x="0" y="199"/>
                    <a:pt x="0" y="198"/>
                  </a:cubicBezTo>
                  <a:cubicBezTo>
                    <a:pt x="1" y="193"/>
                    <a:pt x="5" y="188"/>
                    <a:pt x="14" y="182"/>
                  </a:cubicBezTo>
                  <a:cubicBezTo>
                    <a:pt x="39" y="166"/>
                    <a:pt x="63" y="185"/>
                    <a:pt x="79" y="207"/>
                  </a:cubicBezTo>
                  <a:cubicBezTo>
                    <a:pt x="84" y="214"/>
                    <a:pt x="91" y="225"/>
                    <a:pt x="97" y="237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12"/>
                    <a:pt x="109" y="0"/>
                    <a:pt x="123" y="0"/>
                  </a:cubicBezTo>
                  <a:cubicBezTo>
                    <a:pt x="137" y="0"/>
                    <a:pt x="148" y="12"/>
                    <a:pt x="148" y="25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8" y="118"/>
                    <a:pt x="159" y="106"/>
                    <a:pt x="173" y="106"/>
                  </a:cubicBezTo>
                  <a:cubicBezTo>
                    <a:pt x="187" y="106"/>
                    <a:pt x="198" y="118"/>
                    <a:pt x="198" y="132"/>
                  </a:cubicBezTo>
                  <a:cubicBezTo>
                    <a:pt x="198" y="144"/>
                    <a:pt x="198" y="144"/>
                    <a:pt x="198" y="144"/>
                  </a:cubicBezTo>
                  <a:cubicBezTo>
                    <a:pt x="198" y="130"/>
                    <a:pt x="210" y="119"/>
                    <a:pt x="224" y="119"/>
                  </a:cubicBezTo>
                  <a:cubicBezTo>
                    <a:pt x="238" y="119"/>
                    <a:pt x="249" y="130"/>
                    <a:pt x="249" y="144"/>
                  </a:cubicBezTo>
                  <a:cubicBezTo>
                    <a:pt x="249" y="155"/>
                    <a:pt x="249" y="155"/>
                    <a:pt x="249" y="155"/>
                  </a:cubicBezTo>
                  <a:cubicBezTo>
                    <a:pt x="249" y="141"/>
                    <a:pt x="260" y="129"/>
                    <a:pt x="274" y="129"/>
                  </a:cubicBezTo>
                  <a:cubicBezTo>
                    <a:pt x="288" y="129"/>
                    <a:pt x="299" y="141"/>
                    <a:pt x="299" y="155"/>
                  </a:cubicBezTo>
                  <a:close/>
                </a:path>
              </a:pathLst>
            </a:custGeom>
            <a:solidFill>
              <a:srgbClr val="FCD0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1" name="Freeform 35"/>
            <p:cNvSpPr>
              <a:spLocks/>
            </p:cNvSpPr>
            <p:nvPr/>
          </p:nvSpPr>
          <p:spPr bwMode="auto">
            <a:xfrm>
              <a:off x="5635625" y="5481638"/>
              <a:ext cx="482600" cy="666750"/>
            </a:xfrm>
            <a:custGeom>
              <a:avLst/>
              <a:gdLst>
                <a:gd name="T0" fmla="*/ 117 w 127"/>
                <a:gd name="T1" fmla="*/ 156 h 175"/>
                <a:gd name="T2" fmla="*/ 95 w 127"/>
                <a:gd name="T3" fmla="*/ 133 h 175"/>
                <a:gd name="T4" fmla="*/ 73 w 127"/>
                <a:gd name="T5" fmla="*/ 100 h 175"/>
                <a:gd name="T6" fmla="*/ 63 w 127"/>
                <a:gd name="T7" fmla="*/ 85 h 175"/>
                <a:gd name="T8" fmla="*/ 56 w 127"/>
                <a:gd name="T9" fmla="*/ 69 h 175"/>
                <a:gd name="T10" fmla="*/ 52 w 127"/>
                <a:gd name="T11" fmla="*/ 55 h 175"/>
                <a:gd name="T12" fmla="*/ 50 w 127"/>
                <a:gd name="T13" fmla="*/ 51 h 175"/>
                <a:gd name="T14" fmla="*/ 42 w 127"/>
                <a:gd name="T15" fmla="*/ 43 h 175"/>
                <a:gd name="T16" fmla="*/ 15 w 127"/>
                <a:gd name="T17" fmla="*/ 17 h 175"/>
                <a:gd name="T18" fmla="*/ 12 w 127"/>
                <a:gd name="T19" fmla="*/ 10 h 175"/>
                <a:gd name="T20" fmla="*/ 12 w 127"/>
                <a:gd name="T21" fmla="*/ 7 h 175"/>
                <a:gd name="T22" fmla="*/ 15 w 127"/>
                <a:gd name="T23" fmla="*/ 0 h 175"/>
                <a:gd name="T24" fmla="*/ 14 w 127"/>
                <a:gd name="T25" fmla="*/ 1 h 175"/>
                <a:gd name="T26" fmla="*/ 0 w 127"/>
                <a:gd name="T27" fmla="*/ 17 h 175"/>
                <a:gd name="T28" fmla="*/ 0 w 127"/>
                <a:gd name="T29" fmla="*/ 20 h 175"/>
                <a:gd name="T30" fmla="*/ 3 w 127"/>
                <a:gd name="T31" fmla="*/ 26 h 175"/>
                <a:gd name="T32" fmla="*/ 28 w 127"/>
                <a:gd name="T33" fmla="*/ 51 h 175"/>
                <a:gd name="T34" fmla="*/ 35 w 127"/>
                <a:gd name="T35" fmla="*/ 58 h 175"/>
                <a:gd name="T36" fmla="*/ 38 w 127"/>
                <a:gd name="T37" fmla="*/ 62 h 175"/>
                <a:gd name="T38" fmla="*/ 41 w 127"/>
                <a:gd name="T39" fmla="*/ 75 h 175"/>
                <a:gd name="T40" fmla="*/ 48 w 127"/>
                <a:gd name="T41" fmla="*/ 90 h 175"/>
                <a:gd name="T42" fmla="*/ 57 w 127"/>
                <a:gd name="T43" fmla="*/ 105 h 175"/>
                <a:gd name="T44" fmla="*/ 77 w 127"/>
                <a:gd name="T45" fmla="*/ 135 h 175"/>
                <a:gd name="T46" fmla="*/ 98 w 127"/>
                <a:gd name="T47" fmla="*/ 157 h 175"/>
                <a:gd name="T48" fmla="*/ 107 w 127"/>
                <a:gd name="T49" fmla="*/ 175 h 175"/>
                <a:gd name="T50" fmla="*/ 127 w 127"/>
                <a:gd name="T51" fmla="*/ 175 h 175"/>
                <a:gd name="T52" fmla="*/ 117 w 127"/>
                <a:gd name="T53" fmla="*/ 15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7" h="175">
                  <a:moveTo>
                    <a:pt x="117" y="156"/>
                  </a:moveTo>
                  <a:cubicBezTo>
                    <a:pt x="109" y="151"/>
                    <a:pt x="101" y="144"/>
                    <a:pt x="95" y="133"/>
                  </a:cubicBezTo>
                  <a:cubicBezTo>
                    <a:pt x="88" y="122"/>
                    <a:pt x="80" y="111"/>
                    <a:pt x="73" y="100"/>
                  </a:cubicBezTo>
                  <a:cubicBezTo>
                    <a:pt x="69" y="95"/>
                    <a:pt x="68" y="93"/>
                    <a:pt x="63" y="85"/>
                  </a:cubicBezTo>
                  <a:cubicBezTo>
                    <a:pt x="60" y="79"/>
                    <a:pt x="56" y="75"/>
                    <a:pt x="56" y="69"/>
                  </a:cubicBezTo>
                  <a:cubicBezTo>
                    <a:pt x="55" y="64"/>
                    <a:pt x="54" y="59"/>
                    <a:pt x="52" y="55"/>
                  </a:cubicBezTo>
                  <a:cubicBezTo>
                    <a:pt x="52" y="54"/>
                    <a:pt x="51" y="52"/>
                    <a:pt x="50" y="51"/>
                  </a:cubicBezTo>
                  <a:cubicBezTo>
                    <a:pt x="48" y="48"/>
                    <a:pt x="45" y="45"/>
                    <a:pt x="42" y="43"/>
                  </a:cubicBezTo>
                  <a:cubicBezTo>
                    <a:pt x="32" y="35"/>
                    <a:pt x="22" y="25"/>
                    <a:pt x="15" y="17"/>
                  </a:cubicBezTo>
                  <a:cubicBezTo>
                    <a:pt x="14" y="15"/>
                    <a:pt x="13" y="12"/>
                    <a:pt x="12" y="10"/>
                  </a:cubicBezTo>
                  <a:cubicBezTo>
                    <a:pt x="12" y="9"/>
                    <a:pt x="12" y="8"/>
                    <a:pt x="12" y="7"/>
                  </a:cubicBezTo>
                  <a:cubicBezTo>
                    <a:pt x="13" y="5"/>
                    <a:pt x="13" y="3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5" y="7"/>
                    <a:pt x="1" y="12"/>
                    <a:pt x="0" y="17"/>
                  </a:cubicBezTo>
                  <a:cubicBezTo>
                    <a:pt x="0" y="18"/>
                    <a:pt x="0" y="19"/>
                    <a:pt x="0" y="20"/>
                  </a:cubicBezTo>
                  <a:cubicBezTo>
                    <a:pt x="1" y="22"/>
                    <a:pt x="2" y="24"/>
                    <a:pt x="3" y="26"/>
                  </a:cubicBezTo>
                  <a:cubicBezTo>
                    <a:pt x="9" y="34"/>
                    <a:pt x="19" y="43"/>
                    <a:pt x="28" y="51"/>
                  </a:cubicBezTo>
                  <a:cubicBezTo>
                    <a:pt x="31" y="53"/>
                    <a:pt x="33" y="55"/>
                    <a:pt x="35" y="58"/>
                  </a:cubicBezTo>
                  <a:cubicBezTo>
                    <a:pt x="36" y="59"/>
                    <a:pt x="37" y="61"/>
                    <a:pt x="38" y="62"/>
                  </a:cubicBezTo>
                  <a:cubicBezTo>
                    <a:pt x="39" y="66"/>
                    <a:pt x="40" y="71"/>
                    <a:pt x="41" y="75"/>
                  </a:cubicBezTo>
                  <a:cubicBezTo>
                    <a:pt x="41" y="81"/>
                    <a:pt x="45" y="85"/>
                    <a:pt x="48" y="90"/>
                  </a:cubicBezTo>
                  <a:cubicBezTo>
                    <a:pt x="52" y="98"/>
                    <a:pt x="53" y="99"/>
                    <a:pt x="57" y="105"/>
                  </a:cubicBezTo>
                  <a:cubicBezTo>
                    <a:pt x="64" y="114"/>
                    <a:pt x="71" y="125"/>
                    <a:pt x="77" y="135"/>
                  </a:cubicBezTo>
                  <a:cubicBezTo>
                    <a:pt x="83" y="146"/>
                    <a:pt x="91" y="152"/>
                    <a:pt x="98" y="157"/>
                  </a:cubicBezTo>
                  <a:cubicBezTo>
                    <a:pt x="101" y="159"/>
                    <a:pt x="107" y="166"/>
                    <a:pt x="10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66"/>
                    <a:pt x="120" y="159"/>
                    <a:pt x="117" y="156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2" name="Freeform 36"/>
            <p:cNvSpPr>
              <a:spLocks/>
            </p:cNvSpPr>
            <p:nvPr/>
          </p:nvSpPr>
          <p:spPr bwMode="auto">
            <a:xfrm>
              <a:off x="6534150" y="5260976"/>
              <a:ext cx="49213" cy="266700"/>
            </a:xfrm>
            <a:custGeom>
              <a:avLst/>
              <a:gdLst>
                <a:gd name="T0" fmla="*/ 13 w 13"/>
                <a:gd name="T1" fmla="*/ 32 h 70"/>
                <a:gd name="T2" fmla="*/ 13 w 13"/>
                <a:gd name="T3" fmla="*/ 21 h 70"/>
                <a:gd name="T4" fmla="*/ 0 w 13"/>
                <a:gd name="T5" fmla="*/ 0 h 70"/>
                <a:gd name="T6" fmla="*/ 7 w 13"/>
                <a:gd name="T7" fmla="*/ 17 h 70"/>
                <a:gd name="T8" fmla="*/ 7 w 13"/>
                <a:gd name="T9" fmla="*/ 27 h 70"/>
                <a:gd name="T10" fmla="*/ 7 w 13"/>
                <a:gd name="T11" fmla="*/ 70 h 70"/>
                <a:gd name="T12" fmla="*/ 13 w 13"/>
                <a:gd name="T13" fmla="*/ 70 h 70"/>
                <a:gd name="T14" fmla="*/ 13 w 13"/>
                <a:gd name="T15" fmla="*/ 3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0">
                  <a:moveTo>
                    <a:pt x="13" y="3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13" y="12"/>
                    <a:pt x="8" y="4"/>
                    <a:pt x="0" y="0"/>
                  </a:cubicBezTo>
                  <a:cubicBezTo>
                    <a:pt x="5" y="4"/>
                    <a:pt x="7" y="10"/>
                    <a:pt x="7" y="1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9" y="70"/>
                    <a:pt x="11" y="70"/>
                    <a:pt x="13" y="70"/>
                  </a:cubicBezTo>
                  <a:lnTo>
                    <a:pt x="13" y="32"/>
                  </a:ln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3" name="Freeform 37"/>
            <p:cNvSpPr>
              <a:spLocks/>
            </p:cNvSpPr>
            <p:nvPr/>
          </p:nvSpPr>
          <p:spPr bwMode="auto">
            <a:xfrm>
              <a:off x="6583363" y="5291138"/>
              <a:ext cx="60325" cy="236538"/>
            </a:xfrm>
            <a:custGeom>
              <a:avLst/>
              <a:gdLst>
                <a:gd name="T0" fmla="*/ 16 w 16"/>
                <a:gd name="T1" fmla="*/ 0 h 62"/>
                <a:gd name="T2" fmla="*/ 0 w 16"/>
                <a:gd name="T3" fmla="*/ 24 h 62"/>
                <a:gd name="T4" fmla="*/ 0 w 16"/>
                <a:gd name="T5" fmla="*/ 62 h 62"/>
                <a:gd name="T6" fmla="*/ 3 w 16"/>
                <a:gd name="T7" fmla="*/ 62 h 62"/>
                <a:gd name="T8" fmla="*/ 8 w 16"/>
                <a:gd name="T9" fmla="*/ 62 h 62"/>
                <a:gd name="T10" fmla="*/ 8 w 16"/>
                <a:gd name="T11" fmla="*/ 18 h 62"/>
                <a:gd name="T12" fmla="*/ 16 w 16"/>
                <a:gd name="T1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62">
                  <a:moveTo>
                    <a:pt x="16" y="0"/>
                  </a:moveTo>
                  <a:cubicBezTo>
                    <a:pt x="7" y="4"/>
                    <a:pt x="0" y="13"/>
                    <a:pt x="0" y="2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2"/>
                    <a:pt x="2" y="62"/>
                    <a:pt x="3" y="62"/>
                  </a:cubicBezTo>
                  <a:cubicBezTo>
                    <a:pt x="5" y="62"/>
                    <a:pt x="7" y="62"/>
                    <a:pt x="8" y="62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1"/>
                    <a:pt x="11" y="5"/>
                    <a:pt x="16" y="0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5" name="Freeform 38"/>
            <p:cNvSpPr>
              <a:spLocks/>
            </p:cNvSpPr>
            <p:nvPr/>
          </p:nvSpPr>
          <p:spPr bwMode="auto">
            <a:xfrm>
              <a:off x="6319838" y="5199063"/>
              <a:ext cx="68263" cy="320675"/>
            </a:xfrm>
            <a:custGeom>
              <a:avLst/>
              <a:gdLst>
                <a:gd name="T0" fmla="*/ 18 w 18"/>
                <a:gd name="T1" fmla="*/ 37 h 84"/>
                <a:gd name="T2" fmla="*/ 18 w 18"/>
                <a:gd name="T3" fmla="*/ 25 h 84"/>
                <a:gd name="T4" fmla="*/ 0 w 18"/>
                <a:gd name="T5" fmla="*/ 0 h 84"/>
                <a:gd name="T6" fmla="*/ 12 w 18"/>
                <a:gd name="T7" fmla="*/ 22 h 84"/>
                <a:gd name="T8" fmla="*/ 12 w 18"/>
                <a:gd name="T9" fmla="*/ 35 h 84"/>
                <a:gd name="T10" fmla="*/ 12 w 18"/>
                <a:gd name="T11" fmla="*/ 83 h 84"/>
                <a:gd name="T12" fmla="*/ 18 w 18"/>
                <a:gd name="T13" fmla="*/ 84 h 84"/>
                <a:gd name="T14" fmla="*/ 18 w 18"/>
                <a:gd name="T15" fmla="*/ 3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84">
                  <a:moveTo>
                    <a:pt x="18" y="37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18" y="13"/>
                    <a:pt x="10" y="3"/>
                    <a:pt x="0" y="0"/>
                  </a:cubicBezTo>
                  <a:cubicBezTo>
                    <a:pt x="7" y="5"/>
                    <a:pt x="12" y="13"/>
                    <a:pt x="12" y="22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14" y="83"/>
                    <a:pt x="16" y="84"/>
                    <a:pt x="18" y="84"/>
                  </a:cubicBezTo>
                  <a:lnTo>
                    <a:pt x="18" y="37"/>
                  </a:ln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6" name="Freeform 39"/>
            <p:cNvSpPr>
              <a:spLocks/>
            </p:cNvSpPr>
            <p:nvPr/>
          </p:nvSpPr>
          <p:spPr bwMode="auto">
            <a:xfrm>
              <a:off x="6388100" y="5260976"/>
              <a:ext cx="50800" cy="258763"/>
            </a:xfrm>
            <a:custGeom>
              <a:avLst/>
              <a:gdLst>
                <a:gd name="T0" fmla="*/ 8 w 13"/>
                <a:gd name="T1" fmla="*/ 68 h 68"/>
                <a:gd name="T2" fmla="*/ 8 w 13"/>
                <a:gd name="T3" fmla="*/ 15 h 68"/>
                <a:gd name="T4" fmla="*/ 13 w 13"/>
                <a:gd name="T5" fmla="*/ 0 h 68"/>
                <a:gd name="T6" fmla="*/ 0 w 13"/>
                <a:gd name="T7" fmla="*/ 21 h 68"/>
                <a:gd name="T8" fmla="*/ 0 w 13"/>
                <a:gd name="T9" fmla="*/ 68 h 68"/>
                <a:gd name="T10" fmla="*/ 8 w 13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68">
                  <a:moveTo>
                    <a:pt x="8" y="68"/>
                  </a:moveTo>
                  <a:cubicBezTo>
                    <a:pt x="8" y="15"/>
                    <a:pt x="8" y="15"/>
                    <a:pt x="8" y="15"/>
                  </a:cubicBezTo>
                  <a:cubicBezTo>
                    <a:pt x="8" y="9"/>
                    <a:pt x="10" y="4"/>
                    <a:pt x="13" y="0"/>
                  </a:cubicBezTo>
                  <a:cubicBezTo>
                    <a:pt x="5" y="4"/>
                    <a:pt x="0" y="12"/>
                    <a:pt x="0" y="2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" y="68"/>
                    <a:pt x="5" y="68"/>
                    <a:pt x="8" y="68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7" name="Freeform 40"/>
            <p:cNvSpPr>
              <a:spLocks/>
            </p:cNvSpPr>
            <p:nvPr/>
          </p:nvSpPr>
          <p:spPr bwMode="auto">
            <a:xfrm>
              <a:off x="6153150" y="4806951"/>
              <a:ext cx="46038" cy="688975"/>
            </a:xfrm>
            <a:custGeom>
              <a:avLst/>
              <a:gdLst>
                <a:gd name="T0" fmla="*/ 12 w 12"/>
                <a:gd name="T1" fmla="*/ 181 h 181"/>
                <a:gd name="T2" fmla="*/ 12 w 12"/>
                <a:gd name="T3" fmla="*/ 128 h 181"/>
                <a:gd name="T4" fmla="*/ 12 w 12"/>
                <a:gd name="T5" fmla="*/ 21 h 181"/>
                <a:gd name="T6" fmla="*/ 0 w 12"/>
                <a:gd name="T7" fmla="*/ 0 h 181"/>
                <a:gd name="T8" fmla="*/ 5 w 12"/>
                <a:gd name="T9" fmla="*/ 15 h 181"/>
                <a:gd name="T10" fmla="*/ 5 w 12"/>
                <a:gd name="T11" fmla="*/ 121 h 181"/>
                <a:gd name="T12" fmla="*/ 5 w 12"/>
                <a:gd name="T13" fmla="*/ 181 h 181"/>
                <a:gd name="T14" fmla="*/ 12 w 12"/>
                <a:gd name="T15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81">
                  <a:moveTo>
                    <a:pt x="12" y="181"/>
                  </a:moveTo>
                  <a:cubicBezTo>
                    <a:pt x="12" y="128"/>
                    <a:pt x="12" y="128"/>
                    <a:pt x="12" y="128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2"/>
                    <a:pt x="7" y="4"/>
                    <a:pt x="0" y="0"/>
                  </a:cubicBezTo>
                  <a:cubicBezTo>
                    <a:pt x="3" y="4"/>
                    <a:pt x="5" y="9"/>
                    <a:pt x="5" y="15"/>
                  </a:cubicBezTo>
                  <a:cubicBezTo>
                    <a:pt x="5" y="121"/>
                    <a:pt x="5" y="121"/>
                    <a:pt x="5" y="121"/>
                  </a:cubicBezTo>
                  <a:cubicBezTo>
                    <a:pt x="5" y="181"/>
                    <a:pt x="5" y="181"/>
                    <a:pt x="5" y="181"/>
                  </a:cubicBezTo>
                  <a:cubicBezTo>
                    <a:pt x="7" y="181"/>
                    <a:pt x="9" y="181"/>
                    <a:pt x="12" y="181"/>
                  </a:cubicBez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Freeform 41"/>
            <p:cNvSpPr>
              <a:spLocks/>
            </p:cNvSpPr>
            <p:nvPr/>
          </p:nvSpPr>
          <p:spPr bwMode="auto">
            <a:xfrm>
              <a:off x="6199188" y="5199063"/>
              <a:ext cx="79375" cy="296863"/>
            </a:xfrm>
            <a:custGeom>
              <a:avLst/>
              <a:gdLst>
                <a:gd name="T0" fmla="*/ 8 w 21"/>
                <a:gd name="T1" fmla="*/ 76 h 78"/>
                <a:gd name="T2" fmla="*/ 8 w 21"/>
                <a:gd name="T3" fmla="*/ 22 h 78"/>
                <a:gd name="T4" fmla="*/ 21 w 21"/>
                <a:gd name="T5" fmla="*/ 0 h 78"/>
                <a:gd name="T6" fmla="*/ 0 w 21"/>
                <a:gd name="T7" fmla="*/ 25 h 78"/>
                <a:gd name="T8" fmla="*/ 0 w 21"/>
                <a:gd name="T9" fmla="*/ 78 h 78"/>
                <a:gd name="T10" fmla="*/ 8 w 21"/>
                <a:gd name="T11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78">
                  <a:moveTo>
                    <a:pt x="8" y="76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8" y="12"/>
                    <a:pt x="13" y="4"/>
                    <a:pt x="21" y="0"/>
                  </a:cubicBezTo>
                  <a:cubicBezTo>
                    <a:pt x="9" y="2"/>
                    <a:pt x="0" y="12"/>
                    <a:pt x="0" y="2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5" y="77"/>
                    <a:pt x="8" y="76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3" name="Freeform 42"/>
            <p:cNvSpPr>
              <a:spLocks/>
            </p:cNvSpPr>
            <p:nvPr/>
          </p:nvSpPr>
          <p:spPr bwMode="auto">
            <a:xfrm>
              <a:off x="6678613" y="5299076"/>
              <a:ext cx="95250" cy="849313"/>
            </a:xfrm>
            <a:custGeom>
              <a:avLst/>
              <a:gdLst>
                <a:gd name="T0" fmla="*/ 25 w 25"/>
                <a:gd name="T1" fmla="*/ 174 h 223"/>
                <a:gd name="T2" fmla="*/ 25 w 25"/>
                <a:gd name="T3" fmla="*/ 174 h 223"/>
                <a:gd name="T4" fmla="*/ 25 w 25"/>
                <a:gd name="T5" fmla="*/ 22 h 223"/>
                <a:gd name="T6" fmla="*/ 12 w 25"/>
                <a:gd name="T7" fmla="*/ 0 h 223"/>
                <a:gd name="T8" fmla="*/ 19 w 25"/>
                <a:gd name="T9" fmla="*/ 16 h 223"/>
                <a:gd name="T10" fmla="*/ 19 w 25"/>
                <a:gd name="T11" fmla="*/ 169 h 223"/>
                <a:gd name="T12" fmla="*/ 18 w 25"/>
                <a:gd name="T13" fmla="*/ 172 h 223"/>
                <a:gd name="T14" fmla="*/ 9 w 25"/>
                <a:gd name="T15" fmla="*/ 188 h 223"/>
                <a:gd name="T16" fmla="*/ 0 w 25"/>
                <a:gd name="T17" fmla="*/ 223 h 223"/>
                <a:gd name="T18" fmla="*/ 10 w 25"/>
                <a:gd name="T19" fmla="*/ 223 h 223"/>
                <a:gd name="T20" fmla="*/ 18 w 25"/>
                <a:gd name="T21" fmla="*/ 192 h 223"/>
                <a:gd name="T22" fmla="*/ 25 w 25"/>
                <a:gd name="T23" fmla="*/ 17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223">
                  <a:moveTo>
                    <a:pt x="25" y="174"/>
                  </a:moveTo>
                  <a:cubicBezTo>
                    <a:pt x="25" y="174"/>
                    <a:pt x="25" y="174"/>
                    <a:pt x="25" y="174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12"/>
                    <a:pt x="20" y="4"/>
                    <a:pt x="12" y="0"/>
                  </a:cubicBezTo>
                  <a:cubicBezTo>
                    <a:pt x="16" y="4"/>
                    <a:pt x="19" y="10"/>
                    <a:pt x="19" y="16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71"/>
                    <a:pt x="18" y="172"/>
                    <a:pt x="18" y="172"/>
                  </a:cubicBezTo>
                  <a:cubicBezTo>
                    <a:pt x="17" y="177"/>
                    <a:pt x="13" y="184"/>
                    <a:pt x="9" y="188"/>
                  </a:cubicBezTo>
                  <a:cubicBezTo>
                    <a:pt x="4" y="194"/>
                    <a:pt x="0" y="223"/>
                    <a:pt x="0" y="223"/>
                  </a:cubicBezTo>
                  <a:cubicBezTo>
                    <a:pt x="6" y="223"/>
                    <a:pt x="10" y="223"/>
                    <a:pt x="10" y="223"/>
                  </a:cubicBezTo>
                  <a:cubicBezTo>
                    <a:pt x="10" y="223"/>
                    <a:pt x="12" y="198"/>
                    <a:pt x="18" y="192"/>
                  </a:cubicBezTo>
                  <a:cubicBezTo>
                    <a:pt x="23" y="186"/>
                    <a:pt x="25" y="180"/>
                    <a:pt x="25" y="174"/>
                  </a:cubicBez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4" name="Freeform 43"/>
            <p:cNvSpPr>
              <a:spLocks/>
            </p:cNvSpPr>
            <p:nvPr/>
          </p:nvSpPr>
          <p:spPr bwMode="auto">
            <a:xfrm>
              <a:off x="6746875" y="5942013"/>
              <a:ext cx="3175" cy="12700"/>
            </a:xfrm>
            <a:custGeom>
              <a:avLst/>
              <a:gdLst>
                <a:gd name="T0" fmla="*/ 0 w 1"/>
                <a:gd name="T1" fmla="*/ 3 h 3"/>
                <a:gd name="T2" fmla="*/ 1 w 1"/>
                <a:gd name="T3" fmla="*/ 0 h 3"/>
                <a:gd name="T4" fmla="*/ 0 w 1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cubicBezTo>
                    <a:pt x="0" y="3"/>
                    <a:pt x="1" y="2"/>
                    <a:pt x="1" y="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5" name="Freeform 44"/>
            <p:cNvSpPr>
              <a:spLocks/>
            </p:cNvSpPr>
            <p:nvPr/>
          </p:nvSpPr>
          <p:spPr bwMode="auto">
            <a:xfrm>
              <a:off x="6003925" y="4803776"/>
              <a:ext cx="53975" cy="944563"/>
            </a:xfrm>
            <a:custGeom>
              <a:avLst/>
              <a:gdLst>
                <a:gd name="T0" fmla="*/ 8 w 14"/>
                <a:gd name="T1" fmla="*/ 248 h 248"/>
                <a:gd name="T2" fmla="*/ 8 w 14"/>
                <a:gd name="T3" fmla="*/ 16 h 248"/>
                <a:gd name="T4" fmla="*/ 14 w 14"/>
                <a:gd name="T5" fmla="*/ 0 h 248"/>
                <a:gd name="T6" fmla="*/ 0 w 14"/>
                <a:gd name="T7" fmla="*/ 22 h 248"/>
                <a:gd name="T8" fmla="*/ 0 w 14"/>
                <a:gd name="T9" fmla="*/ 234 h 248"/>
                <a:gd name="T10" fmla="*/ 8 w 14"/>
                <a:gd name="T11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48">
                  <a:moveTo>
                    <a:pt x="8" y="24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8" y="10"/>
                    <a:pt x="10" y="5"/>
                    <a:pt x="14" y="0"/>
                  </a:cubicBezTo>
                  <a:cubicBezTo>
                    <a:pt x="6" y="5"/>
                    <a:pt x="0" y="13"/>
                    <a:pt x="0" y="22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3" y="238"/>
                    <a:pt x="6" y="243"/>
                    <a:pt x="8" y="248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6" name="Freeform 45"/>
            <p:cNvSpPr>
              <a:spLocks/>
            </p:cNvSpPr>
            <p:nvPr/>
          </p:nvSpPr>
          <p:spPr bwMode="auto">
            <a:xfrm>
              <a:off x="5638800" y="5424488"/>
              <a:ext cx="365125" cy="342900"/>
            </a:xfrm>
            <a:custGeom>
              <a:avLst/>
              <a:gdLst>
                <a:gd name="T0" fmla="*/ 78 w 96"/>
                <a:gd name="T1" fmla="*/ 41 h 90"/>
                <a:gd name="T2" fmla="*/ 13 w 96"/>
                <a:gd name="T3" fmla="*/ 16 h 90"/>
                <a:gd name="T4" fmla="*/ 0 w 96"/>
                <a:gd name="T5" fmla="*/ 29 h 90"/>
                <a:gd name="T6" fmla="*/ 7 w 96"/>
                <a:gd name="T7" fmla="*/ 24 h 90"/>
                <a:gd name="T8" fmla="*/ 72 w 96"/>
                <a:gd name="T9" fmla="*/ 49 h 90"/>
                <a:gd name="T10" fmla="*/ 96 w 96"/>
                <a:gd name="T11" fmla="*/ 90 h 90"/>
                <a:gd name="T12" fmla="*/ 96 w 96"/>
                <a:gd name="T13" fmla="*/ 71 h 90"/>
                <a:gd name="T14" fmla="*/ 78 w 96"/>
                <a:gd name="T15" fmla="*/ 4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90">
                  <a:moveTo>
                    <a:pt x="78" y="41"/>
                  </a:moveTo>
                  <a:cubicBezTo>
                    <a:pt x="62" y="19"/>
                    <a:pt x="38" y="0"/>
                    <a:pt x="13" y="16"/>
                  </a:cubicBezTo>
                  <a:cubicBezTo>
                    <a:pt x="6" y="21"/>
                    <a:pt x="2" y="25"/>
                    <a:pt x="0" y="29"/>
                  </a:cubicBezTo>
                  <a:cubicBezTo>
                    <a:pt x="2" y="27"/>
                    <a:pt x="4" y="25"/>
                    <a:pt x="7" y="24"/>
                  </a:cubicBezTo>
                  <a:cubicBezTo>
                    <a:pt x="31" y="8"/>
                    <a:pt x="56" y="27"/>
                    <a:pt x="72" y="49"/>
                  </a:cubicBezTo>
                  <a:cubicBezTo>
                    <a:pt x="79" y="58"/>
                    <a:pt x="87" y="74"/>
                    <a:pt x="96" y="90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0" y="59"/>
                    <a:pt x="83" y="48"/>
                    <a:pt x="78" y="41"/>
                  </a:cubicBez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7" name="Freeform 46"/>
            <p:cNvSpPr>
              <a:spLocks/>
            </p:cNvSpPr>
            <p:nvPr/>
          </p:nvSpPr>
          <p:spPr bwMode="auto">
            <a:xfrm>
              <a:off x="6030913" y="4818063"/>
              <a:ext cx="144463" cy="176213"/>
            </a:xfrm>
            <a:custGeom>
              <a:avLst/>
              <a:gdLst>
                <a:gd name="T0" fmla="*/ 38 w 38"/>
                <a:gd name="T1" fmla="*/ 34 h 46"/>
                <a:gd name="T2" fmla="*/ 26 w 38"/>
                <a:gd name="T3" fmla="*/ 46 h 46"/>
                <a:gd name="T4" fmla="*/ 11 w 38"/>
                <a:gd name="T5" fmla="*/ 46 h 46"/>
                <a:gd name="T6" fmla="*/ 0 w 38"/>
                <a:gd name="T7" fmla="*/ 34 h 46"/>
                <a:gd name="T8" fmla="*/ 0 w 38"/>
                <a:gd name="T9" fmla="*/ 12 h 46"/>
                <a:gd name="T10" fmla="*/ 11 w 38"/>
                <a:gd name="T11" fmla="*/ 0 h 46"/>
                <a:gd name="T12" fmla="*/ 26 w 38"/>
                <a:gd name="T13" fmla="*/ 0 h 46"/>
                <a:gd name="T14" fmla="*/ 38 w 38"/>
                <a:gd name="T15" fmla="*/ 12 h 46"/>
                <a:gd name="T16" fmla="*/ 38 w 38"/>
                <a:gd name="T17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6">
                  <a:moveTo>
                    <a:pt x="38" y="34"/>
                  </a:moveTo>
                  <a:cubicBezTo>
                    <a:pt x="38" y="41"/>
                    <a:pt x="32" y="46"/>
                    <a:pt x="26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5" y="46"/>
                    <a:pt x="0" y="41"/>
                    <a:pt x="0" y="3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2" y="0"/>
                    <a:pt x="38" y="5"/>
                    <a:pt x="38" y="12"/>
                  </a:cubicBezTo>
                  <a:lnTo>
                    <a:pt x="3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8" name="Freeform 47"/>
            <p:cNvSpPr>
              <a:spLocks/>
            </p:cNvSpPr>
            <p:nvPr/>
          </p:nvSpPr>
          <p:spPr bwMode="auto">
            <a:xfrm>
              <a:off x="5635625" y="5522913"/>
              <a:ext cx="169863" cy="179388"/>
            </a:xfrm>
            <a:custGeom>
              <a:avLst/>
              <a:gdLst>
                <a:gd name="T0" fmla="*/ 40 w 45"/>
                <a:gd name="T1" fmla="*/ 43 h 47"/>
                <a:gd name="T2" fmla="*/ 35 w 45"/>
                <a:gd name="T3" fmla="*/ 47 h 47"/>
                <a:gd name="T4" fmla="*/ 28 w 45"/>
                <a:gd name="T5" fmla="*/ 40 h 47"/>
                <a:gd name="T6" fmla="*/ 3 w 45"/>
                <a:gd name="T7" fmla="*/ 15 h 47"/>
                <a:gd name="T8" fmla="*/ 0 w 45"/>
                <a:gd name="T9" fmla="*/ 9 h 47"/>
                <a:gd name="T10" fmla="*/ 5 w 45"/>
                <a:gd name="T11" fmla="*/ 5 h 47"/>
                <a:gd name="T12" fmla="*/ 23 w 45"/>
                <a:gd name="T13" fmla="*/ 6 h 47"/>
                <a:gd name="T14" fmla="*/ 40 w 45"/>
                <a:gd name="T15" fmla="*/ 24 h 47"/>
                <a:gd name="T16" fmla="*/ 40 w 45"/>
                <a:gd name="T17" fmla="*/ 4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7">
                  <a:moveTo>
                    <a:pt x="40" y="43"/>
                  </a:moveTo>
                  <a:cubicBezTo>
                    <a:pt x="35" y="47"/>
                    <a:pt x="35" y="47"/>
                    <a:pt x="35" y="47"/>
                  </a:cubicBezTo>
                  <a:cubicBezTo>
                    <a:pt x="33" y="44"/>
                    <a:pt x="31" y="42"/>
                    <a:pt x="28" y="40"/>
                  </a:cubicBezTo>
                  <a:cubicBezTo>
                    <a:pt x="19" y="32"/>
                    <a:pt x="9" y="23"/>
                    <a:pt x="3" y="15"/>
                  </a:cubicBezTo>
                  <a:cubicBezTo>
                    <a:pt x="2" y="13"/>
                    <a:pt x="1" y="11"/>
                    <a:pt x="0" y="9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10" y="0"/>
                    <a:pt x="18" y="0"/>
                    <a:pt x="23" y="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5" y="30"/>
                    <a:pt x="45" y="38"/>
                    <a:pt x="40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9" name="Freeform 48"/>
            <p:cNvSpPr>
              <a:spLocks/>
            </p:cNvSpPr>
            <p:nvPr/>
          </p:nvSpPr>
          <p:spPr bwMode="auto">
            <a:xfrm>
              <a:off x="6008688" y="6145213"/>
              <a:ext cx="760413" cy="166688"/>
            </a:xfrm>
            <a:custGeom>
              <a:avLst/>
              <a:gdLst>
                <a:gd name="T0" fmla="*/ 307 w 479"/>
                <a:gd name="T1" fmla="*/ 105 h 105"/>
                <a:gd name="T2" fmla="*/ 0 w 479"/>
                <a:gd name="T3" fmla="*/ 105 h 105"/>
                <a:gd name="T4" fmla="*/ 0 w 479"/>
                <a:gd name="T5" fmla="*/ 0 h 105"/>
                <a:gd name="T6" fmla="*/ 48 w 479"/>
                <a:gd name="T7" fmla="*/ 0 h 105"/>
                <a:gd name="T8" fmla="*/ 307 w 479"/>
                <a:gd name="T9" fmla="*/ 0 h 105"/>
                <a:gd name="T10" fmla="*/ 405 w 479"/>
                <a:gd name="T11" fmla="*/ 0 h 105"/>
                <a:gd name="T12" fmla="*/ 479 w 479"/>
                <a:gd name="T13" fmla="*/ 0 h 105"/>
                <a:gd name="T14" fmla="*/ 479 w 479"/>
                <a:gd name="T15" fmla="*/ 105 h 105"/>
                <a:gd name="T16" fmla="*/ 307 w 479"/>
                <a:gd name="T1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05">
                  <a:moveTo>
                    <a:pt x="307" y="105"/>
                  </a:moveTo>
                  <a:lnTo>
                    <a:pt x="0" y="105"/>
                  </a:lnTo>
                  <a:lnTo>
                    <a:pt x="0" y="0"/>
                  </a:lnTo>
                  <a:lnTo>
                    <a:pt x="48" y="0"/>
                  </a:lnTo>
                  <a:lnTo>
                    <a:pt x="307" y="0"/>
                  </a:lnTo>
                  <a:lnTo>
                    <a:pt x="405" y="0"/>
                  </a:lnTo>
                  <a:lnTo>
                    <a:pt x="479" y="0"/>
                  </a:lnTo>
                  <a:lnTo>
                    <a:pt x="479" y="105"/>
                  </a:lnTo>
                  <a:lnTo>
                    <a:pt x="307" y="1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0" name="Freeform 49"/>
            <p:cNvSpPr>
              <a:spLocks/>
            </p:cNvSpPr>
            <p:nvPr/>
          </p:nvSpPr>
          <p:spPr bwMode="auto">
            <a:xfrm>
              <a:off x="6496050" y="6151563"/>
              <a:ext cx="273050" cy="168275"/>
            </a:xfrm>
            <a:custGeom>
              <a:avLst/>
              <a:gdLst>
                <a:gd name="T0" fmla="*/ 16 w 172"/>
                <a:gd name="T1" fmla="*/ 5 h 106"/>
                <a:gd name="T2" fmla="*/ 172 w 172"/>
                <a:gd name="T3" fmla="*/ 0 h 106"/>
                <a:gd name="T4" fmla="*/ 172 w 172"/>
                <a:gd name="T5" fmla="*/ 106 h 106"/>
                <a:gd name="T6" fmla="*/ 0 w 172"/>
                <a:gd name="T7" fmla="*/ 106 h 106"/>
                <a:gd name="T8" fmla="*/ 16 w 172"/>
                <a:gd name="T9" fmla="*/ 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06">
                  <a:moveTo>
                    <a:pt x="16" y="5"/>
                  </a:moveTo>
                  <a:lnTo>
                    <a:pt x="172" y="0"/>
                  </a:lnTo>
                  <a:lnTo>
                    <a:pt x="172" y="106"/>
                  </a:lnTo>
                  <a:lnTo>
                    <a:pt x="0" y="106"/>
                  </a:lnTo>
                  <a:lnTo>
                    <a:pt x="16" y="5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1" name="Freeform 50"/>
            <p:cNvSpPr>
              <a:spLocks/>
            </p:cNvSpPr>
            <p:nvPr/>
          </p:nvSpPr>
          <p:spPr bwMode="auto">
            <a:xfrm>
              <a:off x="6640513" y="6208713"/>
              <a:ext cx="87313" cy="88900"/>
            </a:xfrm>
            <a:custGeom>
              <a:avLst/>
              <a:gdLst>
                <a:gd name="T0" fmla="*/ 15 w 23"/>
                <a:gd name="T1" fmla="*/ 21 h 23"/>
                <a:gd name="T2" fmla="*/ 21 w 23"/>
                <a:gd name="T3" fmla="*/ 8 h 23"/>
                <a:gd name="T4" fmla="*/ 7 w 23"/>
                <a:gd name="T5" fmla="*/ 2 h 23"/>
                <a:gd name="T6" fmla="*/ 2 w 23"/>
                <a:gd name="T7" fmla="*/ 15 h 23"/>
                <a:gd name="T8" fmla="*/ 15 w 2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5" y="21"/>
                  </a:moveTo>
                  <a:cubicBezTo>
                    <a:pt x="20" y="19"/>
                    <a:pt x="23" y="13"/>
                    <a:pt x="21" y="8"/>
                  </a:cubicBezTo>
                  <a:cubicBezTo>
                    <a:pt x="18" y="3"/>
                    <a:pt x="13" y="0"/>
                    <a:pt x="7" y="2"/>
                  </a:cubicBezTo>
                  <a:cubicBezTo>
                    <a:pt x="2" y="4"/>
                    <a:pt x="0" y="10"/>
                    <a:pt x="2" y="15"/>
                  </a:cubicBezTo>
                  <a:cubicBezTo>
                    <a:pt x="4" y="21"/>
                    <a:pt x="9" y="23"/>
                    <a:pt x="15" y="21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2" name="Freeform 51"/>
            <p:cNvSpPr>
              <a:spLocks/>
            </p:cNvSpPr>
            <p:nvPr/>
          </p:nvSpPr>
          <p:spPr bwMode="auto">
            <a:xfrm>
              <a:off x="6632575" y="6205538"/>
              <a:ext cx="87313" cy="87313"/>
            </a:xfrm>
            <a:custGeom>
              <a:avLst/>
              <a:gdLst>
                <a:gd name="T0" fmla="*/ 15 w 23"/>
                <a:gd name="T1" fmla="*/ 21 h 23"/>
                <a:gd name="T2" fmla="*/ 21 w 23"/>
                <a:gd name="T3" fmla="*/ 8 h 23"/>
                <a:gd name="T4" fmla="*/ 8 w 23"/>
                <a:gd name="T5" fmla="*/ 2 h 23"/>
                <a:gd name="T6" fmla="*/ 2 w 23"/>
                <a:gd name="T7" fmla="*/ 15 h 23"/>
                <a:gd name="T8" fmla="*/ 15 w 2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5" y="21"/>
                  </a:moveTo>
                  <a:cubicBezTo>
                    <a:pt x="21" y="19"/>
                    <a:pt x="23" y="13"/>
                    <a:pt x="21" y="8"/>
                  </a:cubicBezTo>
                  <a:cubicBezTo>
                    <a:pt x="19" y="3"/>
                    <a:pt x="13" y="0"/>
                    <a:pt x="8" y="2"/>
                  </a:cubicBezTo>
                  <a:cubicBezTo>
                    <a:pt x="3" y="4"/>
                    <a:pt x="0" y="10"/>
                    <a:pt x="2" y="15"/>
                  </a:cubicBezTo>
                  <a:cubicBezTo>
                    <a:pt x="4" y="21"/>
                    <a:pt x="10" y="23"/>
                    <a:pt x="15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3" name="Freeform 52"/>
            <p:cNvSpPr>
              <a:spLocks/>
            </p:cNvSpPr>
            <p:nvPr/>
          </p:nvSpPr>
          <p:spPr bwMode="auto">
            <a:xfrm>
              <a:off x="6654800" y="6251576"/>
              <a:ext cx="12700" cy="11113"/>
            </a:xfrm>
            <a:custGeom>
              <a:avLst/>
              <a:gdLst>
                <a:gd name="T0" fmla="*/ 2 w 3"/>
                <a:gd name="T1" fmla="*/ 3 h 3"/>
                <a:gd name="T2" fmla="*/ 2 w 3"/>
                <a:gd name="T3" fmla="*/ 1 h 3"/>
                <a:gd name="T4" fmla="*/ 1 w 3"/>
                <a:gd name="T5" fmla="*/ 0 h 3"/>
                <a:gd name="T6" fmla="*/ 0 w 3"/>
                <a:gd name="T7" fmla="*/ 2 h 3"/>
                <a:gd name="T8" fmla="*/ 2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4" name="Freeform 53"/>
            <p:cNvSpPr>
              <a:spLocks/>
            </p:cNvSpPr>
            <p:nvPr/>
          </p:nvSpPr>
          <p:spPr bwMode="auto">
            <a:xfrm>
              <a:off x="6667500" y="6227763"/>
              <a:ext cx="6350" cy="12700"/>
            </a:xfrm>
            <a:custGeom>
              <a:avLst/>
              <a:gdLst>
                <a:gd name="T0" fmla="*/ 0 w 2"/>
                <a:gd name="T1" fmla="*/ 2 h 3"/>
                <a:gd name="T2" fmla="*/ 1 w 2"/>
                <a:gd name="T3" fmla="*/ 2 h 3"/>
                <a:gd name="T4" fmla="*/ 2 w 2"/>
                <a:gd name="T5" fmla="*/ 1 h 3"/>
                <a:gd name="T6" fmla="*/ 1 w 2"/>
                <a:gd name="T7" fmla="*/ 0 h 3"/>
                <a:gd name="T8" fmla="*/ 0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0" y="2"/>
                    <a:pt x="1" y="3"/>
                    <a:pt x="1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5" name="Freeform 54"/>
            <p:cNvSpPr>
              <a:spLocks/>
            </p:cNvSpPr>
            <p:nvPr/>
          </p:nvSpPr>
          <p:spPr bwMode="auto">
            <a:xfrm>
              <a:off x="6689725" y="6240463"/>
              <a:ext cx="11113" cy="6350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2 w 3"/>
                <a:gd name="T5" fmla="*/ 2 h 2"/>
                <a:gd name="T6" fmla="*/ 2 w 3"/>
                <a:gd name="T7" fmla="*/ 1 h 2"/>
                <a:gd name="T8" fmla="*/ 1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2" y="2"/>
                    <a:pt x="3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6" name="Freeform 55"/>
            <p:cNvSpPr>
              <a:spLocks/>
            </p:cNvSpPr>
            <p:nvPr/>
          </p:nvSpPr>
          <p:spPr bwMode="auto">
            <a:xfrm>
              <a:off x="6678613" y="6262688"/>
              <a:ext cx="11113" cy="11113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0 h 3"/>
                <a:gd name="T4" fmla="*/ 0 w 3"/>
                <a:gd name="T5" fmla="*/ 2 h 3"/>
                <a:gd name="T6" fmla="*/ 2 w 3"/>
                <a:gd name="T7" fmla="*/ 2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2"/>
                    <a:pt x="1" y="3"/>
                    <a:pt x="2" y="2"/>
                  </a:cubicBezTo>
                  <a:cubicBezTo>
                    <a:pt x="3" y="2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7" name="Freeform 56"/>
            <p:cNvSpPr>
              <a:spLocks/>
            </p:cNvSpPr>
            <p:nvPr/>
          </p:nvSpPr>
          <p:spPr bwMode="auto">
            <a:xfrm>
              <a:off x="5995988" y="6311901"/>
              <a:ext cx="830263" cy="557213"/>
            </a:xfrm>
            <a:custGeom>
              <a:avLst/>
              <a:gdLst>
                <a:gd name="T0" fmla="*/ 0 w 523"/>
                <a:gd name="T1" fmla="*/ 351 h 351"/>
                <a:gd name="T2" fmla="*/ 0 w 523"/>
                <a:gd name="T3" fmla="*/ 0 h 351"/>
                <a:gd name="T4" fmla="*/ 8 w 523"/>
                <a:gd name="T5" fmla="*/ 0 h 351"/>
                <a:gd name="T6" fmla="*/ 315 w 523"/>
                <a:gd name="T7" fmla="*/ 0 h 351"/>
                <a:gd name="T8" fmla="*/ 487 w 523"/>
                <a:gd name="T9" fmla="*/ 0 h 351"/>
                <a:gd name="T10" fmla="*/ 523 w 523"/>
                <a:gd name="T11" fmla="*/ 0 h 351"/>
                <a:gd name="T12" fmla="*/ 523 w 523"/>
                <a:gd name="T13" fmla="*/ 351 h 351"/>
                <a:gd name="T14" fmla="*/ 0 w 523"/>
                <a:gd name="T15" fmla="*/ 35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3" h="351">
                  <a:moveTo>
                    <a:pt x="0" y="351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315" y="0"/>
                  </a:lnTo>
                  <a:lnTo>
                    <a:pt x="487" y="0"/>
                  </a:lnTo>
                  <a:lnTo>
                    <a:pt x="523" y="0"/>
                  </a:lnTo>
                  <a:lnTo>
                    <a:pt x="523" y="351"/>
                  </a:lnTo>
                  <a:lnTo>
                    <a:pt x="0" y="35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8" name="Freeform 57"/>
            <p:cNvSpPr>
              <a:spLocks/>
            </p:cNvSpPr>
            <p:nvPr/>
          </p:nvSpPr>
          <p:spPr bwMode="auto">
            <a:xfrm>
              <a:off x="6480175" y="6319838"/>
              <a:ext cx="346075" cy="549275"/>
            </a:xfrm>
            <a:custGeom>
              <a:avLst/>
              <a:gdLst>
                <a:gd name="T0" fmla="*/ 0 w 218"/>
                <a:gd name="T1" fmla="*/ 346 h 346"/>
                <a:gd name="T2" fmla="*/ 34 w 218"/>
                <a:gd name="T3" fmla="*/ 12 h 346"/>
                <a:gd name="T4" fmla="*/ 218 w 218"/>
                <a:gd name="T5" fmla="*/ 0 h 346"/>
                <a:gd name="T6" fmla="*/ 218 w 218"/>
                <a:gd name="T7" fmla="*/ 346 h 346"/>
                <a:gd name="T8" fmla="*/ 0 w 218"/>
                <a:gd name="T9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346">
                  <a:moveTo>
                    <a:pt x="0" y="346"/>
                  </a:moveTo>
                  <a:lnTo>
                    <a:pt x="34" y="12"/>
                  </a:lnTo>
                  <a:lnTo>
                    <a:pt x="218" y="0"/>
                  </a:lnTo>
                  <a:lnTo>
                    <a:pt x="218" y="346"/>
                  </a:lnTo>
                  <a:lnTo>
                    <a:pt x="0" y="34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9" name="Freeform 58"/>
            <p:cNvSpPr>
              <a:spLocks/>
            </p:cNvSpPr>
            <p:nvPr/>
          </p:nvSpPr>
          <p:spPr bwMode="auto">
            <a:xfrm>
              <a:off x="6648450" y="6445251"/>
              <a:ext cx="82550" cy="87313"/>
            </a:xfrm>
            <a:custGeom>
              <a:avLst/>
              <a:gdLst>
                <a:gd name="T0" fmla="*/ 15 w 22"/>
                <a:gd name="T1" fmla="*/ 21 h 23"/>
                <a:gd name="T2" fmla="*/ 20 w 22"/>
                <a:gd name="T3" fmla="*/ 8 h 23"/>
                <a:gd name="T4" fmla="*/ 7 w 22"/>
                <a:gd name="T5" fmla="*/ 2 h 23"/>
                <a:gd name="T6" fmla="*/ 2 w 22"/>
                <a:gd name="T7" fmla="*/ 15 h 23"/>
                <a:gd name="T8" fmla="*/ 15 w 22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3">
                  <a:moveTo>
                    <a:pt x="15" y="21"/>
                  </a:moveTo>
                  <a:cubicBezTo>
                    <a:pt x="20" y="19"/>
                    <a:pt x="22" y="13"/>
                    <a:pt x="20" y="8"/>
                  </a:cubicBezTo>
                  <a:cubicBezTo>
                    <a:pt x="18" y="2"/>
                    <a:pt x="13" y="0"/>
                    <a:pt x="7" y="2"/>
                  </a:cubicBezTo>
                  <a:cubicBezTo>
                    <a:pt x="2" y="4"/>
                    <a:pt x="0" y="10"/>
                    <a:pt x="2" y="15"/>
                  </a:cubicBezTo>
                  <a:cubicBezTo>
                    <a:pt x="4" y="20"/>
                    <a:pt x="9" y="23"/>
                    <a:pt x="15" y="21"/>
                  </a:cubicBez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0" name="Freeform 59"/>
            <p:cNvSpPr>
              <a:spLocks/>
            </p:cNvSpPr>
            <p:nvPr/>
          </p:nvSpPr>
          <p:spPr bwMode="auto">
            <a:xfrm>
              <a:off x="6640513" y="6442076"/>
              <a:ext cx="87313" cy="87313"/>
            </a:xfrm>
            <a:custGeom>
              <a:avLst/>
              <a:gdLst>
                <a:gd name="T0" fmla="*/ 15 w 23"/>
                <a:gd name="T1" fmla="*/ 21 h 23"/>
                <a:gd name="T2" fmla="*/ 21 w 23"/>
                <a:gd name="T3" fmla="*/ 8 h 23"/>
                <a:gd name="T4" fmla="*/ 8 w 23"/>
                <a:gd name="T5" fmla="*/ 2 h 23"/>
                <a:gd name="T6" fmla="*/ 2 w 23"/>
                <a:gd name="T7" fmla="*/ 15 h 23"/>
                <a:gd name="T8" fmla="*/ 15 w 2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5" y="21"/>
                  </a:moveTo>
                  <a:cubicBezTo>
                    <a:pt x="21" y="19"/>
                    <a:pt x="23" y="13"/>
                    <a:pt x="21" y="8"/>
                  </a:cubicBezTo>
                  <a:cubicBezTo>
                    <a:pt x="19" y="2"/>
                    <a:pt x="13" y="0"/>
                    <a:pt x="8" y="2"/>
                  </a:cubicBezTo>
                  <a:cubicBezTo>
                    <a:pt x="3" y="4"/>
                    <a:pt x="0" y="10"/>
                    <a:pt x="2" y="15"/>
                  </a:cubicBezTo>
                  <a:cubicBezTo>
                    <a:pt x="4" y="20"/>
                    <a:pt x="10" y="23"/>
                    <a:pt x="15" y="2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1" name="Freeform 60"/>
            <p:cNvSpPr>
              <a:spLocks/>
            </p:cNvSpPr>
            <p:nvPr/>
          </p:nvSpPr>
          <p:spPr bwMode="auto">
            <a:xfrm>
              <a:off x="6662738" y="6483351"/>
              <a:ext cx="11113" cy="11113"/>
            </a:xfrm>
            <a:custGeom>
              <a:avLst/>
              <a:gdLst>
                <a:gd name="T0" fmla="*/ 2 w 3"/>
                <a:gd name="T1" fmla="*/ 3 h 3"/>
                <a:gd name="T2" fmla="*/ 2 w 3"/>
                <a:gd name="T3" fmla="*/ 1 h 3"/>
                <a:gd name="T4" fmla="*/ 1 w 3"/>
                <a:gd name="T5" fmla="*/ 1 h 3"/>
                <a:gd name="T6" fmla="*/ 0 w 3"/>
                <a:gd name="T7" fmla="*/ 2 h 3"/>
                <a:gd name="T8" fmla="*/ 2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3"/>
                    <a:pt x="3" y="2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2" name="Freeform 61"/>
            <p:cNvSpPr>
              <a:spLocks/>
            </p:cNvSpPr>
            <p:nvPr/>
          </p:nvSpPr>
          <p:spPr bwMode="auto">
            <a:xfrm>
              <a:off x="6673850" y="6461126"/>
              <a:ext cx="7938" cy="11113"/>
            </a:xfrm>
            <a:custGeom>
              <a:avLst/>
              <a:gdLst>
                <a:gd name="T0" fmla="*/ 0 w 2"/>
                <a:gd name="T1" fmla="*/ 2 h 3"/>
                <a:gd name="T2" fmla="*/ 1 w 2"/>
                <a:gd name="T3" fmla="*/ 3 h 3"/>
                <a:gd name="T4" fmla="*/ 2 w 2"/>
                <a:gd name="T5" fmla="*/ 1 h 3"/>
                <a:gd name="T6" fmla="*/ 1 w 2"/>
                <a:gd name="T7" fmla="*/ 1 h 3"/>
                <a:gd name="T8" fmla="*/ 0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3" name="Freeform 62"/>
            <p:cNvSpPr>
              <a:spLocks/>
            </p:cNvSpPr>
            <p:nvPr/>
          </p:nvSpPr>
          <p:spPr bwMode="auto">
            <a:xfrm>
              <a:off x="6697663" y="6472238"/>
              <a:ext cx="11113" cy="11113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4" name="Freeform 63"/>
            <p:cNvSpPr>
              <a:spLocks/>
            </p:cNvSpPr>
            <p:nvPr/>
          </p:nvSpPr>
          <p:spPr bwMode="auto">
            <a:xfrm>
              <a:off x="6686550" y="6494463"/>
              <a:ext cx="11113" cy="12700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0 h 3"/>
                <a:gd name="T4" fmla="*/ 0 w 3"/>
                <a:gd name="T5" fmla="*/ 2 h 3"/>
                <a:gd name="T6" fmla="*/ 2 w 3"/>
                <a:gd name="T7" fmla="*/ 3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3" y="3"/>
                    <a:pt x="3" y="2"/>
                    <a:pt x="3" y="1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04" name="Freeform 5"/>
          <p:cNvSpPr>
            <a:spLocks noEditPoints="1"/>
          </p:cNvSpPr>
          <p:nvPr/>
        </p:nvSpPr>
        <p:spPr bwMode="auto">
          <a:xfrm>
            <a:off x="5800788" y="401983"/>
            <a:ext cx="483500" cy="549249"/>
          </a:xfrm>
          <a:custGeom>
            <a:avLst/>
            <a:gdLst>
              <a:gd name="T0" fmla="*/ 40 w 126"/>
              <a:gd name="T1" fmla="*/ 112 h 143"/>
              <a:gd name="T2" fmla="*/ 30 w 126"/>
              <a:gd name="T3" fmla="*/ 86 h 143"/>
              <a:gd name="T4" fmla="*/ 24 w 126"/>
              <a:gd name="T5" fmla="*/ 64 h 143"/>
              <a:gd name="T6" fmla="*/ 63 w 126"/>
              <a:gd name="T7" fmla="*/ 25 h 143"/>
              <a:gd name="T8" fmla="*/ 103 w 126"/>
              <a:gd name="T9" fmla="*/ 64 h 143"/>
              <a:gd name="T10" fmla="*/ 96 w 126"/>
              <a:gd name="T11" fmla="*/ 86 h 143"/>
              <a:gd name="T12" fmla="*/ 86 w 126"/>
              <a:gd name="T13" fmla="*/ 107 h 143"/>
              <a:gd name="T14" fmla="*/ 63 w 126"/>
              <a:gd name="T15" fmla="*/ 40 h 143"/>
              <a:gd name="T16" fmla="*/ 40 w 126"/>
              <a:gd name="T17" fmla="*/ 64 h 143"/>
              <a:gd name="T18" fmla="*/ 63 w 126"/>
              <a:gd name="T19" fmla="*/ 87 h 143"/>
              <a:gd name="T20" fmla="*/ 87 w 126"/>
              <a:gd name="T21" fmla="*/ 64 h 143"/>
              <a:gd name="T22" fmla="*/ 63 w 126"/>
              <a:gd name="T23" fmla="*/ 40 h 143"/>
              <a:gd name="T24" fmla="*/ 54 w 126"/>
              <a:gd name="T25" fmla="*/ 68 h 143"/>
              <a:gd name="T26" fmla="*/ 61 w 126"/>
              <a:gd name="T27" fmla="*/ 76 h 143"/>
              <a:gd name="T28" fmla="*/ 72 w 126"/>
              <a:gd name="T29" fmla="*/ 56 h 143"/>
              <a:gd name="T30" fmla="*/ 63 w 126"/>
              <a:gd name="T31" fmla="*/ 13 h 143"/>
              <a:gd name="T32" fmla="*/ 63 w 126"/>
              <a:gd name="T33" fmla="*/ 0 h 143"/>
              <a:gd name="T34" fmla="*/ 38 w 126"/>
              <a:gd name="T35" fmla="*/ 19 h 143"/>
              <a:gd name="T36" fmla="*/ 32 w 126"/>
              <a:gd name="T37" fmla="*/ 9 h 143"/>
              <a:gd name="T38" fmla="*/ 9 w 126"/>
              <a:gd name="T39" fmla="*/ 32 h 143"/>
              <a:gd name="T40" fmla="*/ 19 w 126"/>
              <a:gd name="T41" fmla="*/ 38 h 143"/>
              <a:gd name="T42" fmla="*/ 0 w 126"/>
              <a:gd name="T43" fmla="*/ 64 h 143"/>
              <a:gd name="T44" fmla="*/ 12 w 126"/>
              <a:gd name="T45" fmla="*/ 64 h 143"/>
              <a:gd name="T46" fmla="*/ 95 w 126"/>
              <a:gd name="T47" fmla="*/ 9 h 143"/>
              <a:gd name="T48" fmla="*/ 89 w 126"/>
              <a:gd name="T49" fmla="*/ 19 h 143"/>
              <a:gd name="T50" fmla="*/ 118 w 126"/>
              <a:gd name="T51" fmla="*/ 32 h 143"/>
              <a:gd name="T52" fmla="*/ 107 w 126"/>
              <a:gd name="T53" fmla="*/ 38 h 143"/>
              <a:gd name="T54" fmla="*/ 114 w 126"/>
              <a:gd name="T55" fmla="*/ 64 h 143"/>
              <a:gd name="T56" fmla="*/ 126 w 126"/>
              <a:gd name="T57" fmla="*/ 64 h 143"/>
              <a:gd name="T58" fmla="*/ 77 w 126"/>
              <a:gd name="T59" fmla="*/ 115 h 143"/>
              <a:gd name="T60" fmla="*/ 46 w 126"/>
              <a:gd name="T61" fmla="*/ 124 h 143"/>
              <a:gd name="T62" fmla="*/ 43 w 126"/>
              <a:gd name="T63" fmla="*/ 129 h 143"/>
              <a:gd name="T64" fmla="*/ 48 w 126"/>
              <a:gd name="T65" fmla="*/ 134 h 143"/>
              <a:gd name="T66" fmla="*/ 50 w 126"/>
              <a:gd name="T67" fmla="*/ 134 h 143"/>
              <a:gd name="T68" fmla="*/ 77 w 126"/>
              <a:gd name="T69" fmla="*/ 126 h 143"/>
              <a:gd name="T70" fmla="*/ 77 w 126"/>
              <a:gd name="T71" fmla="*/ 126 h 143"/>
              <a:gd name="T72" fmla="*/ 79 w 126"/>
              <a:gd name="T73" fmla="*/ 126 h 143"/>
              <a:gd name="T74" fmla="*/ 84 w 126"/>
              <a:gd name="T75" fmla="*/ 131 h 143"/>
              <a:gd name="T76" fmla="*/ 80 w 126"/>
              <a:gd name="T77" fmla="*/ 136 h 143"/>
              <a:gd name="T78" fmla="*/ 54 w 126"/>
              <a:gd name="T79" fmla="*/ 143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26" h="143">
                <a:moveTo>
                  <a:pt x="40" y="112"/>
                </a:moveTo>
                <a:cubicBezTo>
                  <a:pt x="41" y="105"/>
                  <a:pt x="39" y="99"/>
                  <a:pt x="30" y="86"/>
                </a:cubicBezTo>
                <a:cubicBezTo>
                  <a:pt x="26" y="80"/>
                  <a:pt x="24" y="72"/>
                  <a:pt x="24" y="64"/>
                </a:cubicBezTo>
                <a:cubicBezTo>
                  <a:pt x="24" y="43"/>
                  <a:pt x="41" y="25"/>
                  <a:pt x="63" y="25"/>
                </a:cubicBezTo>
                <a:cubicBezTo>
                  <a:pt x="85" y="25"/>
                  <a:pt x="103" y="43"/>
                  <a:pt x="103" y="64"/>
                </a:cubicBezTo>
                <a:cubicBezTo>
                  <a:pt x="103" y="72"/>
                  <a:pt x="100" y="80"/>
                  <a:pt x="96" y="86"/>
                </a:cubicBezTo>
                <a:cubicBezTo>
                  <a:pt x="90" y="96"/>
                  <a:pt x="87" y="102"/>
                  <a:pt x="86" y="107"/>
                </a:cubicBezTo>
                <a:moveTo>
                  <a:pt x="63" y="40"/>
                </a:moveTo>
                <a:cubicBezTo>
                  <a:pt x="50" y="40"/>
                  <a:pt x="40" y="51"/>
                  <a:pt x="40" y="64"/>
                </a:cubicBezTo>
                <a:cubicBezTo>
                  <a:pt x="40" y="77"/>
                  <a:pt x="50" y="87"/>
                  <a:pt x="63" y="87"/>
                </a:cubicBezTo>
                <a:cubicBezTo>
                  <a:pt x="76" y="87"/>
                  <a:pt x="87" y="77"/>
                  <a:pt x="87" y="64"/>
                </a:cubicBezTo>
                <a:cubicBezTo>
                  <a:pt x="87" y="51"/>
                  <a:pt x="76" y="40"/>
                  <a:pt x="63" y="40"/>
                </a:cubicBezTo>
                <a:close/>
                <a:moveTo>
                  <a:pt x="54" y="68"/>
                </a:moveTo>
                <a:cubicBezTo>
                  <a:pt x="61" y="76"/>
                  <a:pt x="61" y="76"/>
                  <a:pt x="61" y="76"/>
                </a:cubicBezTo>
                <a:cubicBezTo>
                  <a:pt x="72" y="56"/>
                  <a:pt x="72" y="56"/>
                  <a:pt x="72" y="56"/>
                </a:cubicBezTo>
                <a:moveTo>
                  <a:pt x="63" y="13"/>
                </a:moveTo>
                <a:cubicBezTo>
                  <a:pt x="63" y="0"/>
                  <a:pt x="63" y="0"/>
                  <a:pt x="63" y="0"/>
                </a:cubicBezTo>
                <a:moveTo>
                  <a:pt x="38" y="19"/>
                </a:moveTo>
                <a:cubicBezTo>
                  <a:pt x="32" y="9"/>
                  <a:pt x="32" y="9"/>
                  <a:pt x="32" y="9"/>
                </a:cubicBezTo>
                <a:moveTo>
                  <a:pt x="9" y="32"/>
                </a:moveTo>
                <a:cubicBezTo>
                  <a:pt x="19" y="38"/>
                  <a:pt x="19" y="38"/>
                  <a:pt x="19" y="38"/>
                </a:cubicBezTo>
                <a:moveTo>
                  <a:pt x="0" y="64"/>
                </a:moveTo>
                <a:cubicBezTo>
                  <a:pt x="12" y="64"/>
                  <a:pt x="12" y="64"/>
                  <a:pt x="12" y="64"/>
                </a:cubicBezTo>
                <a:moveTo>
                  <a:pt x="95" y="9"/>
                </a:moveTo>
                <a:cubicBezTo>
                  <a:pt x="89" y="19"/>
                  <a:pt x="89" y="19"/>
                  <a:pt x="89" y="19"/>
                </a:cubicBezTo>
                <a:moveTo>
                  <a:pt x="118" y="32"/>
                </a:moveTo>
                <a:cubicBezTo>
                  <a:pt x="107" y="38"/>
                  <a:pt x="107" y="38"/>
                  <a:pt x="107" y="38"/>
                </a:cubicBezTo>
                <a:moveTo>
                  <a:pt x="114" y="64"/>
                </a:moveTo>
                <a:cubicBezTo>
                  <a:pt x="126" y="64"/>
                  <a:pt x="126" y="64"/>
                  <a:pt x="126" y="64"/>
                </a:cubicBezTo>
                <a:moveTo>
                  <a:pt x="77" y="115"/>
                </a:moveTo>
                <a:cubicBezTo>
                  <a:pt x="77" y="115"/>
                  <a:pt x="46" y="124"/>
                  <a:pt x="46" y="124"/>
                </a:cubicBezTo>
                <a:cubicBezTo>
                  <a:pt x="44" y="124"/>
                  <a:pt x="43" y="126"/>
                  <a:pt x="43" y="129"/>
                </a:cubicBezTo>
                <a:cubicBezTo>
                  <a:pt x="43" y="132"/>
                  <a:pt x="45" y="134"/>
                  <a:pt x="48" y="134"/>
                </a:cubicBezTo>
                <a:cubicBezTo>
                  <a:pt x="49" y="134"/>
                  <a:pt x="50" y="134"/>
                  <a:pt x="50" y="134"/>
                </a:cubicBezTo>
                <a:cubicBezTo>
                  <a:pt x="77" y="126"/>
                  <a:pt x="77" y="126"/>
                  <a:pt x="77" y="126"/>
                </a:cubicBezTo>
                <a:cubicBezTo>
                  <a:pt x="77" y="126"/>
                  <a:pt x="77" y="126"/>
                  <a:pt x="77" y="126"/>
                </a:cubicBezTo>
                <a:cubicBezTo>
                  <a:pt x="78" y="126"/>
                  <a:pt x="78" y="126"/>
                  <a:pt x="79" y="126"/>
                </a:cubicBezTo>
                <a:cubicBezTo>
                  <a:pt x="81" y="126"/>
                  <a:pt x="84" y="128"/>
                  <a:pt x="84" y="131"/>
                </a:cubicBezTo>
                <a:cubicBezTo>
                  <a:pt x="84" y="133"/>
                  <a:pt x="82" y="135"/>
                  <a:pt x="80" y="136"/>
                </a:cubicBezTo>
                <a:cubicBezTo>
                  <a:pt x="54" y="143"/>
                  <a:pt x="54" y="143"/>
                  <a:pt x="54" y="143"/>
                </a:cubicBezTo>
              </a:path>
            </a:pathLst>
          </a:custGeom>
          <a:noFill/>
          <a:ln w="12700" cap="rnd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5" name="Freeform 6"/>
          <p:cNvSpPr>
            <a:spLocks noEditPoints="1"/>
          </p:cNvSpPr>
          <p:nvPr/>
        </p:nvSpPr>
        <p:spPr bwMode="auto">
          <a:xfrm>
            <a:off x="9827746" y="3748302"/>
            <a:ext cx="475481" cy="491518"/>
          </a:xfrm>
          <a:custGeom>
            <a:avLst/>
            <a:gdLst>
              <a:gd name="T0" fmla="*/ 46 w 124"/>
              <a:gd name="T1" fmla="*/ 13 h 128"/>
              <a:gd name="T2" fmla="*/ 109 w 124"/>
              <a:gd name="T3" fmla="*/ 51 h 128"/>
              <a:gd name="T4" fmla="*/ 124 w 124"/>
              <a:gd name="T5" fmla="*/ 82 h 128"/>
              <a:gd name="T6" fmla="*/ 111 w 124"/>
              <a:gd name="T7" fmla="*/ 82 h 128"/>
              <a:gd name="T8" fmla="*/ 111 w 124"/>
              <a:gd name="T9" fmla="*/ 103 h 128"/>
              <a:gd name="T10" fmla="*/ 104 w 124"/>
              <a:gd name="T11" fmla="*/ 110 h 128"/>
              <a:gd name="T12" fmla="*/ 90 w 124"/>
              <a:gd name="T13" fmla="*/ 110 h 128"/>
              <a:gd name="T14" fmla="*/ 90 w 124"/>
              <a:gd name="T15" fmla="*/ 128 h 128"/>
              <a:gd name="T16" fmla="*/ 33 w 124"/>
              <a:gd name="T17" fmla="*/ 128 h 128"/>
              <a:gd name="T18" fmla="*/ 33 w 124"/>
              <a:gd name="T19" fmla="*/ 109 h 128"/>
              <a:gd name="T20" fmla="*/ 27 w 124"/>
              <a:gd name="T21" fmla="*/ 96 h 128"/>
              <a:gd name="T22" fmla="*/ 69 w 124"/>
              <a:gd name="T23" fmla="*/ 58 h 128"/>
              <a:gd name="T24" fmla="*/ 69 w 124"/>
              <a:gd name="T25" fmla="*/ 49 h 128"/>
              <a:gd name="T26" fmla="*/ 59 w 124"/>
              <a:gd name="T27" fmla="*/ 45 h 128"/>
              <a:gd name="T28" fmla="*/ 58 w 124"/>
              <a:gd name="T29" fmla="*/ 42 h 128"/>
              <a:gd name="T30" fmla="*/ 62 w 124"/>
              <a:gd name="T31" fmla="*/ 32 h 128"/>
              <a:gd name="T32" fmla="*/ 56 w 124"/>
              <a:gd name="T33" fmla="*/ 26 h 128"/>
              <a:gd name="T34" fmla="*/ 46 w 124"/>
              <a:gd name="T35" fmla="*/ 30 h 128"/>
              <a:gd name="T36" fmla="*/ 43 w 124"/>
              <a:gd name="T37" fmla="*/ 29 h 128"/>
              <a:gd name="T38" fmla="*/ 39 w 124"/>
              <a:gd name="T39" fmla="*/ 19 h 128"/>
              <a:gd name="T40" fmla="*/ 31 w 124"/>
              <a:gd name="T41" fmla="*/ 19 h 128"/>
              <a:gd name="T42" fmla="*/ 27 w 124"/>
              <a:gd name="T43" fmla="*/ 29 h 128"/>
              <a:gd name="T44" fmla="*/ 23 w 124"/>
              <a:gd name="T45" fmla="*/ 30 h 128"/>
              <a:gd name="T46" fmla="*/ 14 w 124"/>
              <a:gd name="T47" fmla="*/ 26 h 128"/>
              <a:gd name="T48" fmla="*/ 7 w 124"/>
              <a:gd name="T49" fmla="*/ 32 h 128"/>
              <a:gd name="T50" fmla="*/ 12 w 124"/>
              <a:gd name="T51" fmla="*/ 42 h 128"/>
              <a:gd name="T52" fmla="*/ 10 w 124"/>
              <a:gd name="T53" fmla="*/ 45 h 128"/>
              <a:gd name="T54" fmla="*/ 0 w 124"/>
              <a:gd name="T55" fmla="*/ 49 h 128"/>
              <a:gd name="T56" fmla="*/ 0 w 124"/>
              <a:gd name="T57" fmla="*/ 58 h 128"/>
              <a:gd name="T58" fmla="*/ 10 w 124"/>
              <a:gd name="T59" fmla="*/ 62 h 128"/>
              <a:gd name="T60" fmla="*/ 12 w 124"/>
              <a:gd name="T61" fmla="*/ 65 h 128"/>
              <a:gd name="T62" fmla="*/ 7 w 124"/>
              <a:gd name="T63" fmla="*/ 75 h 128"/>
              <a:gd name="T64" fmla="*/ 14 w 124"/>
              <a:gd name="T65" fmla="*/ 81 h 128"/>
              <a:gd name="T66" fmla="*/ 23 w 124"/>
              <a:gd name="T67" fmla="*/ 77 h 128"/>
              <a:gd name="T68" fmla="*/ 27 w 124"/>
              <a:gd name="T69" fmla="*/ 78 h 128"/>
              <a:gd name="T70" fmla="*/ 31 w 124"/>
              <a:gd name="T71" fmla="*/ 88 h 128"/>
              <a:gd name="T72" fmla="*/ 39 w 124"/>
              <a:gd name="T73" fmla="*/ 88 h 128"/>
              <a:gd name="T74" fmla="*/ 43 w 124"/>
              <a:gd name="T75" fmla="*/ 78 h 128"/>
              <a:gd name="T76" fmla="*/ 46 w 124"/>
              <a:gd name="T77" fmla="*/ 77 h 128"/>
              <a:gd name="T78" fmla="*/ 56 w 124"/>
              <a:gd name="T79" fmla="*/ 81 h 128"/>
              <a:gd name="T80" fmla="*/ 62 w 124"/>
              <a:gd name="T81" fmla="*/ 75 h 128"/>
              <a:gd name="T82" fmla="*/ 58 w 124"/>
              <a:gd name="T83" fmla="*/ 65 h 128"/>
              <a:gd name="T84" fmla="*/ 59 w 124"/>
              <a:gd name="T85" fmla="*/ 62 h 128"/>
              <a:gd name="T86" fmla="*/ 69 w 124"/>
              <a:gd name="T87" fmla="*/ 58 h 128"/>
              <a:gd name="T88" fmla="*/ 35 w 124"/>
              <a:gd name="T89" fmla="*/ 39 h 128"/>
              <a:gd name="T90" fmla="*/ 20 w 124"/>
              <a:gd name="T91" fmla="*/ 53 h 128"/>
              <a:gd name="T92" fmla="*/ 35 w 124"/>
              <a:gd name="T93" fmla="*/ 68 h 128"/>
              <a:gd name="T94" fmla="*/ 49 w 124"/>
              <a:gd name="T95" fmla="*/ 53 h 128"/>
              <a:gd name="T96" fmla="*/ 35 w 124"/>
              <a:gd name="T97" fmla="*/ 39 h 128"/>
              <a:gd name="T98" fmla="*/ 90 w 124"/>
              <a:gd name="T99" fmla="*/ 110 h 128"/>
              <a:gd name="T100" fmla="*/ 82 w 124"/>
              <a:gd name="T101" fmla="*/ 110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24" h="128">
                <a:moveTo>
                  <a:pt x="46" y="13"/>
                </a:moveTo>
                <a:cubicBezTo>
                  <a:pt x="115" y="0"/>
                  <a:pt x="109" y="51"/>
                  <a:pt x="109" y="51"/>
                </a:cubicBezTo>
                <a:cubicBezTo>
                  <a:pt x="124" y="82"/>
                  <a:pt x="124" y="82"/>
                  <a:pt x="124" y="82"/>
                </a:cubicBezTo>
                <a:cubicBezTo>
                  <a:pt x="111" y="82"/>
                  <a:pt x="111" y="82"/>
                  <a:pt x="111" y="82"/>
                </a:cubicBezTo>
                <a:cubicBezTo>
                  <a:pt x="111" y="103"/>
                  <a:pt x="111" y="103"/>
                  <a:pt x="111" y="103"/>
                </a:cubicBezTo>
                <a:cubicBezTo>
                  <a:pt x="111" y="107"/>
                  <a:pt x="108" y="110"/>
                  <a:pt x="104" y="110"/>
                </a:cubicBezTo>
                <a:cubicBezTo>
                  <a:pt x="90" y="110"/>
                  <a:pt x="90" y="110"/>
                  <a:pt x="90" y="110"/>
                </a:cubicBezTo>
                <a:cubicBezTo>
                  <a:pt x="90" y="128"/>
                  <a:pt x="90" y="128"/>
                  <a:pt x="90" y="128"/>
                </a:cubicBezTo>
                <a:moveTo>
                  <a:pt x="33" y="128"/>
                </a:moveTo>
                <a:cubicBezTo>
                  <a:pt x="33" y="109"/>
                  <a:pt x="33" y="109"/>
                  <a:pt x="33" y="109"/>
                </a:cubicBezTo>
                <a:cubicBezTo>
                  <a:pt x="27" y="96"/>
                  <a:pt x="27" y="96"/>
                  <a:pt x="27" y="96"/>
                </a:cubicBezTo>
                <a:moveTo>
                  <a:pt x="69" y="58"/>
                </a:moveTo>
                <a:cubicBezTo>
                  <a:pt x="69" y="49"/>
                  <a:pt x="69" y="49"/>
                  <a:pt x="69" y="49"/>
                </a:cubicBezTo>
                <a:cubicBezTo>
                  <a:pt x="59" y="45"/>
                  <a:pt x="59" y="45"/>
                  <a:pt x="59" y="45"/>
                </a:cubicBezTo>
                <a:cubicBezTo>
                  <a:pt x="59" y="44"/>
                  <a:pt x="59" y="43"/>
                  <a:pt x="58" y="42"/>
                </a:cubicBezTo>
                <a:cubicBezTo>
                  <a:pt x="62" y="32"/>
                  <a:pt x="62" y="32"/>
                  <a:pt x="62" y="32"/>
                </a:cubicBezTo>
                <a:cubicBezTo>
                  <a:pt x="56" y="26"/>
                  <a:pt x="56" y="26"/>
                  <a:pt x="56" y="26"/>
                </a:cubicBezTo>
                <a:cubicBezTo>
                  <a:pt x="46" y="30"/>
                  <a:pt x="46" y="30"/>
                  <a:pt x="46" y="30"/>
                </a:cubicBezTo>
                <a:cubicBezTo>
                  <a:pt x="45" y="30"/>
                  <a:pt x="44" y="29"/>
                  <a:pt x="43" y="29"/>
                </a:cubicBezTo>
                <a:cubicBezTo>
                  <a:pt x="39" y="19"/>
                  <a:pt x="39" y="19"/>
                  <a:pt x="39" y="19"/>
                </a:cubicBezTo>
                <a:cubicBezTo>
                  <a:pt x="31" y="19"/>
                  <a:pt x="31" y="19"/>
                  <a:pt x="31" y="19"/>
                </a:cubicBezTo>
                <a:cubicBezTo>
                  <a:pt x="27" y="29"/>
                  <a:pt x="27" y="29"/>
                  <a:pt x="27" y="29"/>
                </a:cubicBezTo>
                <a:cubicBezTo>
                  <a:pt x="25" y="29"/>
                  <a:pt x="24" y="30"/>
                  <a:pt x="23" y="30"/>
                </a:cubicBezTo>
                <a:cubicBezTo>
                  <a:pt x="14" y="26"/>
                  <a:pt x="14" y="26"/>
                  <a:pt x="14" y="26"/>
                </a:cubicBezTo>
                <a:cubicBezTo>
                  <a:pt x="7" y="32"/>
                  <a:pt x="7" y="32"/>
                  <a:pt x="7" y="32"/>
                </a:cubicBezTo>
                <a:cubicBezTo>
                  <a:pt x="12" y="42"/>
                  <a:pt x="12" y="42"/>
                  <a:pt x="12" y="42"/>
                </a:cubicBezTo>
                <a:cubicBezTo>
                  <a:pt x="11" y="43"/>
                  <a:pt x="11" y="44"/>
                  <a:pt x="10" y="45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58"/>
                  <a:pt x="0" y="58"/>
                  <a:pt x="0" y="58"/>
                </a:cubicBezTo>
                <a:cubicBezTo>
                  <a:pt x="10" y="62"/>
                  <a:pt x="10" y="62"/>
                  <a:pt x="10" y="62"/>
                </a:cubicBezTo>
                <a:cubicBezTo>
                  <a:pt x="11" y="63"/>
                  <a:pt x="11" y="64"/>
                  <a:pt x="12" y="65"/>
                </a:cubicBezTo>
                <a:cubicBezTo>
                  <a:pt x="7" y="75"/>
                  <a:pt x="7" y="75"/>
                  <a:pt x="7" y="75"/>
                </a:cubicBezTo>
                <a:cubicBezTo>
                  <a:pt x="14" y="81"/>
                  <a:pt x="14" y="81"/>
                  <a:pt x="14" y="81"/>
                </a:cubicBezTo>
                <a:cubicBezTo>
                  <a:pt x="23" y="77"/>
                  <a:pt x="23" y="77"/>
                  <a:pt x="23" y="77"/>
                </a:cubicBezTo>
                <a:cubicBezTo>
                  <a:pt x="24" y="77"/>
                  <a:pt x="25" y="78"/>
                  <a:pt x="27" y="78"/>
                </a:cubicBezTo>
                <a:cubicBezTo>
                  <a:pt x="31" y="88"/>
                  <a:pt x="31" y="88"/>
                  <a:pt x="31" y="88"/>
                </a:cubicBezTo>
                <a:cubicBezTo>
                  <a:pt x="39" y="88"/>
                  <a:pt x="39" y="88"/>
                  <a:pt x="39" y="88"/>
                </a:cubicBezTo>
                <a:cubicBezTo>
                  <a:pt x="43" y="78"/>
                  <a:pt x="43" y="78"/>
                  <a:pt x="43" y="78"/>
                </a:cubicBezTo>
                <a:cubicBezTo>
                  <a:pt x="44" y="78"/>
                  <a:pt x="45" y="77"/>
                  <a:pt x="46" y="77"/>
                </a:cubicBezTo>
                <a:cubicBezTo>
                  <a:pt x="56" y="81"/>
                  <a:pt x="56" y="81"/>
                  <a:pt x="56" y="81"/>
                </a:cubicBezTo>
                <a:cubicBezTo>
                  <a:pt x="62" y="75"/>
                  <a:pt x="62" y="75"/>
                  <a:pt x="62" y="75"/>
                </a:cubicBezTo>
                <a:cubicBezTo>
                  <a:pt x="58" y="65"/>
                  <a:pt x="58" y="65"/>
                  <a:pt x="58" y="65"/>
                </a:cubicBezTo>
                <a:cubicBezTo>
                  <a:pt x="59" y="64"/>
                  <a:pt x="59" y="63"/>
                  <a:pt x="59" y="62"/>
                </a:cubicBezTo>
                <a:lnTo>
                  <a:pt x="69" y="58"/>
                </a:lnTo>
                <a:close/>
                <a:moveTo>
                  <a:pt x="35" y="39"/>
                </a:moveTo>
                <a:cubicBezTo>
                  <a:pt x="27" y="39"/>
                  <a:pt x="20" y="45"/>
                  <a:pt x="20" y="53"/>
                </a:cubicBezTo>
                <a:cubicBezTo>
                  <a:pt x="20" y="61"/>
                  <a:pt x="27" y="68"/>
                  <a:pt x="35" y="68"/>
                </a:cubicBezTo>
                <a:cubicBezTo>
                  <a:pt x="43" y="68"/>
                  <a:pt x="49" y="61"/>
                  <a:pt x="49" y="53"/>
                </a:cubicBezTo>
                <a:cubicBezTo>
                  <a:pt x="49" y="45"/>
                  <a:pt x="43" y="39"/>
                  <a:pt x="35" y="39"/>
                </a:cubicBezTo>
                <a:close/>
                <a:moveTo>
                  <a:pt x="90" y="110"/>
                </a:moveTo>
                <a:cubicBezTo>
                  <a:pt x="82" y="110"/>
                  <a:pt x="82" y="110"/>
                  <a:pt x="82" y="110"/>
                </a:cubicBezTo>
              </a:path>
            </a:pathLst>
          </a:custGeom>
          <a:noFill/>
          <a:ln w="12700" cap="rnd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6" name="Freeform 7"/>
          <p:cNvSpPr>
            <a:spLocks noEditPoints="1"/>
          </p:cNvSpPr>
          <p:nvPr/>
        </p:nvSpPr>
        <p:spPr bwMode="auto">
          <a:xfrm>
            <a:off x="1227923" y="3825875"/>
            <a:ext cx="613395" cy="345586"/>
          </a:xfrm>
          <a:custGeom>
            <a:avLst/>
            <a:gdLst>
              <a:gd name="T0" fmla="*/ 38 w 160"/>
              <a:gd name="T1" fmla="*/ 74 h 90"/>
              <a:gd name="T2" fmla="*/ 37 w 160"/>
              <a:gd name="T3" fmla="*/ 67 h 90"/>
              <a:gd name="T4" fmla="*/ 47 w 160"/>
              <a:gd name="T5" fmla="*/ 58 h 90"/>
              <a:gd name="T6" fmla="*/ 52 w 160"/>
              <a:gd name="T7" fmla="*/ 63 h 90"/>
              <a:gd name="T8" fmla="*/ 45 w 160"/>
              <a:gd name="T9" fmla="*/ 73 h 90"/>
              <a:gd name="T10" fmla="*/ 97 w 160"/>
              <a:gd name="T11" fmla="*/ 66 h 90"/>
              <a:gd name="T12" fmla="*/ 116 w 160"/>
              <a:gd name="T13" fmla="*/ 74 h 90"/>
              <a:gd name="T14" fmla="*/ 117 w 160"/>
              <a:gd name="T15" fmla="*/ 66 h 90"/>
              <a:gd name="T16" fmla="*/ 98 w 160"/>
              <a:gd name="T17" fmla="*/ 80 h 90"/>
              <a:gd name="T18" fmla="*/ 107 w 160"/>
              <a:gd name="T19" fmla="*/ 81 h 90"/>
              <a:gd name="T20" fmla="*/ 108 w 160"/>
              <a:gd name="T21" fmla="*/ 74 h 90"/>
              <a:gd name="T22" fmla="*/ 87 w 160"/>
              <a:gd name="T23" fmla="*/ 87 h 90"/>
              <a:gd name="T24" fmla="*/ 96 w 160"/>
              <a:gd name="T25" fmla="*/ 87 h 90"/>
              <a:gd name="T26" fmla="*/ 98 w 160"/>
              <a:gd name="T27" fmla="*/ 80 h 90"/>
              <a:gd name="T28" fmla="*/ 75 w 160"/>
              <a:gd name="T29" fmla="*/ 88 h 90"/>
              <a:gd name="T30" fmla="*/ 85 w 160"/>
              <a:gd name="T31" fmla="*/ 87 h 90"/>
              <a:gd name="T32" fmla="*/ 51 w 160"/>
              <a:gd name="T33" fmla="*/ 81 h 90"/>
              <a:gd name="T34" fmla="*/ 62 w 160"/>
              <a:gd name="T35" fmla="*/ 62 h 90"/>
              <a:gd name="T36" fmla="*/ 55 w 160"/>
              <a:gd name="T37" fmla="*/ 62 h 90"/>
              <a:gd name="T38" fmla="*/ 44 w 160"/>
              <a:gd name="T39" fmla="*/ 81 h 90"/>
              <a:gd name="T40" fmla="*/ 51 w 160"/>
              <a:gd name="T41" fmla="*/ 81 h 90"/>
              <a:gd name="T42" fmla="*/ 70 w 160"/>
              <a:gd name="T43" fmla="*/ 74 h 90"/>
              <a:gd name="T44" fmla="*/ 66 w 160"/>
              <a:gd name="T45" fmla="*/ 66 h 90"/>
              <a:gd name="T46" fmla="*/ 53 w 160"/>
              <a:gd name="T47" fmla="*/ 78 h 90"/>
              <a:gd name="T48" fmla="*/ 57 w 160"/>
              <a:gd name="T49" fmla="*/ 86 h 90"/>
              <a:gd name="T50" fmla="*/ 74 w 160"/>
              <a:gd name="T51" fmla="*/ 84 h 90"/>
              <a:gd name="T52" fmla="*/ 75 w 160"/>
              <a:gd name="T53" fmla="*/ 75 h 90"/>
              <a:gd name="T54" fmla="*/ 68 w 160"/>
              <a:gd name="T55" fmla="*/ 76 h 90"/>
              <a:gd name="T56" fmla="*/ 63 w 160"/>
              <a:gd name="T57" fmla="*/ 89 h 90"/>
              <a:gd name="T58" fmla="*/ 69 w 160"/>
              <a:gd name="T59" fmla="*/ 89 h 90"/>
              <a:gd name="T60" fmla="*/ 137 w 160"/>
              <a:gd name="T61" fmla="*/ 1 h 90"/>
              <a:gd name="T62" fmla="*/ 133 w 160"/>
              <a:gd name="T63" fmla="*/ 54 h 90"/>
              <a:gd name="T64" fmla="*/ 160 w 160"/>
              <a:gd name="T65" fmla="*/ 43 h 90"/>
              <a:gd name="T66" fmla="*/ 86 w 160"/>
              <a:gd name="T67" fmla="*/ 23 h 90"/>
              <a:gd name="T68" fmla="*/ 79 w 160"/>
              <a:gd name="T69" fmla="*/ 24 h 90"/>
              <a:gd name="T70" fmla="*/ 55 w 160"/>
              <a:gd name="T71" fmla="*/ 35 h 90"/>
              <a:gd name="T72" fmla="*/ 76 w 160"/>
              <a:gd name="T73" fmla="*/ 41 h 90"/>
              <a:gd name="T74" fmla="*/ 117 w 160"/>
              <a:gd name="T75" fmla="*/ 66 h 90"/>
              <a:gd name="T76" fmla="*/ 124 w 160"/>
              <a:gd name="T77" fmla="*/ 57 h 90"/>
              <a:gd name="T78" fmla="*/ 117 w 160"/>
              <a:gd name="T79" fmla="*/ 66 h 90"/>
              <a:gd name="T80" fmla="*/ 40 w 160"/>
              <a:gd name="T81" fmla="*/ 64 h 90"/>
              <a:gd name="T82" fmla="*/ 23 w 160"/>
              <a:gd name="T83" fmla="*/ 60 h 90"/>
              <a:gd name="T84" fmla="*/ 33 w 160"/>
              <a:gd name="T85" fmla="*/ 0 h 90"/>
              <a:gd name="T86" fmla="*/ 39 w 160"/>
              <a:gd name="T87" fmla="*/ 66 h 90"/>
              <a:gd name="T88" fmla="*/ 53 w 160"/>
              <a:gd name="T89" fmla="*/ 2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60" h="90">
                <a:moveTo>
                  <a:pt x="42" y="75"/>
                </a:moveTo>
                <a:cubicBezTo>
                  <a:pt x="40" y="75"/>
                  <a:pt x="39" y="75"/>
                  <a:pt x="38" y="74"/>
                </a:cubicBezTo>
                <a:cubicBezTo>
                  <a:pt x="37" y="73"/>
                  <a:pt x="36" y="72"/>
                  <a:pt x="36" y="70"/>
                </a:cubicBezTo>
                <a:cubicBezTo>
                  <a:pt x="36" y="69"/>
                  <a:pt x="37" y="68"/>
                  <a:pt x="37" y="67"/>
                </a:cubicBezTo>
                <a:cubicBezTo>
                  <a:pt x="44" y="60"/>
                  <a:pt x="44" y="60"/>
                  <a:pt x="44" y="60"/>
                </a:cubicBezTo>
                <a:cubicBezTo>
                  <a:pt x="44" y="59"/>
                  <a:pt x="45" y="59"/>
                  <a:pt x="47" y="58"/>
                </a:cubicBezTo>
                <a:cubicBezTo>
                  <a:pt x="48" y="58"/>
                  <a:pt x="49" y="59"/>
                  <a:pt x="50" y="60"/>
                </a:cubicBezTo>
                <a:cubicBezTo>
                  <a:pt x="51" y="61"/>
                  <a:pt x="52" y="62"/>
                  <a:pt x="52" y="63"/>
                </a:cubicBezTo>
                <a:cubicBezTo>
                  <a:pt x="52" y="64"/>
                  <a:pt x="52" y="65"/>
                  <a:pt x="51" y="66"/>
                </a:cubicBezTo>
                <a:cubicBezTo>
                  <a:pt x="45" y="73"/>
                  <a:pt x="45" y="73"/>
                  <a:pt x="45" y="73"/>
                </a:cubicBezTo>
                <a:cubicBezTo>
                  <a:pt x="44" y="74"/>
                  <a:pt x="43" y="75"/>
                  <a:pt x="42" y="75"/>
                </a:cubicBezTo>
                <a:close/>
                <a:moveTo>
                  <a:pt x="97" y="66"/>
                </a:moveTo>
                <a:cubicBezTo>
                  <a:pt x="97" y="66"/>
                  <a:pt x="109" y="75"/>
                  <a:pt x="112" y="76"/>
                </a:cubicBezTo>
                <a:cubicBezTo>
                  <a:pt x="114" y="76"/>
                  <a:pt x="115" y="75"/>
                  <a:pt x="116" y="74"/>
                </a:cubicBezTo>
                <a:cubicBezTo>
                  <a:pt x="118" y="73"/>
                  <a:pt x="119" y="71"/>
                  <a:pt x="119" y="69"/>
                </a:cubicBezTo>
                <a:cubicBezTo>
                  <a:pt x="119" y="68"/>
                  <a:pt x="118" y="67"/>
                  <a:pt x="117" y="66"/>
                </a:cubicBezTo>
                <a:moveTo>
                  <a:pt x="88" y="72"/>
                </a:moveTo>
                <a:cubicBezTo>
                  <a:pt x="98" y="80"/>
                  <a:pt x="98" y="80"/>
                  <a:pt x="98" y="80"/>
                </a:cubicBezTo>
                <a:cubicBezTo>
                  <a:pt x="99" y="82"/>
                  <a:pt x="100" y="82"/>
                  <a:pt x="102" y="82"/>
                </a:cubicBezTo>
                <a:cubicBezTo>
                  <a:pt x="104" y="82"/>
                  <a:pt x="105" y="82"/>
                  <a:pt x="107" y="81"/>
                </a:cubicBezTo>
                <a:cubicBezTo>
                  <a:pt x="108" y="80"/>
                  <a:pt x="109" y="78"/>
                  <a:pt x="109" y="76"/>
                </a:cubicBezTo>
                <a:cubicBezTo>
                  <a:pt x="109" y="75"/>
                  <a:pt x="109" y="74"/>
                  <a:pt x="108" y="74"/>
                </a:cubicBezTo>
                <a:moveTo>
                  <a:pt x="82" y="82"/>
                </a:moveTo>
                <a:cubicBezTo>
                  <a:pt x="87" y="87"/>
                  <a:pt x="87" y="87"/>
                  <a:pt x="87" y="87"/>
                </a:cubicBezTo>
                <a:cubicBezTo>
                  <a:pt x="88" y="88"/>
                  <a:pt x="90" y="89"/>
                  <a:pt x="91" y="89"/>
                </a:cubicBezTo>
                <a:cubicBezTo>
                  <a:pt x="93" y="89"/>
                  <a:pt x="95" y="88"/>
                  <a:pt x="96" y="87"/>
                </a:cubicBezTo>
                <a:cubicBezTo>
                  <a:pt x="97" y="86"/>
                  <a:pt x="98" y="84"/>
                  <a:pt x="98" y="82"/>
                </a:cubicBezTo>
                <a:cubicBezTo>
                  <a:pt x="98" y="81"/>
                  <a:pt x="98" y="81"/>
                  <a:pt x="98" y="80"/>
                </a:cubicBezTo>
                <a:moveTo>
                  <a:pt x="71" y="86"/>
                </a:moveTo>
                <a:cubicBezTo>
                  <a:pt x="75" y="88"/>
                  <a:pt x="75" y="88"/>
                  <a:pt x="75" y="88"/>
                </a:cubicBezTo>
                <a:cubicBezTo>
                  <a:pt x="76" y="89"/>
                  <a:pt x="78" y="89"/>
                  <a:pt x="81" y="89"/>
                </a:cubicBezTo>
                <a:cubicBezTo>
                  <a:pt x="82" y="89"/>
                  <a:pt x="84" y="89"/>
                  <a:pt x="85" y="87"/>
                </a:cubicBezTo>
                <a:cubicBezTo>
                  <a:pt x="86" y="87"/>
                  <a:pt x="86" y="86"/>
                  <a:pt x="86" y="86"/>
                </a:cubicBezTo>
                <a:moveTo>
                  <a:pt x="51" y="81"/>
                </a:moveTo>
                <a:cubicBezTo>
                  <a:pt x="62" y="68"/>
                  <a:pt x="62" y="68"/>
                  <a:pt x="62" y="68"/>
                </a:cubicBezTo>
                <a:cubicBezTo>
                  <a:pt x="64" y="66"/>
                  <a:pt x="63" y="63"/>
                  <a:pt x="62" y="62"/>
                </a:cubicBezTo>
                <a:cubicBezTo>
                  <a:pt x="60" y="61"/>
                  <a:pt x="59" y="60"/>
                  <a:pt x="58" y="60"/>
                </a:cubicBezTo>
                <a:cubicBezTo>
                  <a:pt x="57" y="61"/>
                  <a:pt x="56" y="61"/>
                  <a:pt x="55" y="62"/>
                </a:cubicBezTo>
                <a:cubicBezTo>
                  <a:pt x="44" y="74"/>
                  <a:pt x="44" y="74"/>
                  <a:pt x="44" y="74"/>
                </a:cubicBezTo>
                <a:cubicBezTo>
                  <a:pt x="42" y="76"/>
                  <a:pt x="42" y="79"/>
                  <a:pt x="44" y="81"/>
                </a:cubicBezTo>
                <a:cubicBezTo>
                  <a:pt x="45" y="82"/>
                  <a:pt x="47" y="82"/>
                  <a:pt x="48" y="82"/>
                </a:cubicBezTo>
                <a:cubicBezTo>
                  <a:pt x="49" y="82"/>
                  <a:pt x="50" y="81"/>
                  <a:pt x="51" y="81"/>
                </a:cubicBezTo>
                <a:close/>
                <a:moveTo>
                  <a:pt x="60" y="85"/>
                </a:moveTo>
                <a:cubicBezTo>
                  <a:pt x="70" y="74"/>
                  <a:pt x="70" y="74"/>
                  <a:pt x="70" y="74"/>
                </a:cubicBezTo>
                <a:cubicBezTo>
                  <a:pt x="72" y="72"/>
                  <a:pt x="72" y="69"/>
                  <a:pt x="70" y="67"/>
                </a:cubicBezTo>
                <a:cubicBezTo>
                  <a:pt x="69" y="66"/>
                  <a:pt x="67" y="65"/>
                  <a:pt x="66" y="66"/>
                </a:cubicBezTo>
                <a:cubicBezTo>
                  <a:pt x="65" y="66"/>
                  <a:pt x="64" y="66"/>
                  <a:pt x="63" y="67"/>
                </a:cubicBezTo>
                <a:cubicBezTo>
                  <a:pt x="53" y="78"/>
                  <a:pt x="53" y="78"/>
                  <a:pt x="53" y="78"/>
                </a:cubicBezTo>
                <a:cubicBezTo>
                  <a:pt x="51" y="80"/>
                  <a:pt x="51" y="83"/>
                  <a:pt x="53" y="85"/>
                </a:cubicBezTo>
                <a:cubicBezTo>
                  <a:pt x="54" y="86"/>
                  <a:pt x="56" y="87"/>
                  <a:pt x="57" y="86"/>
                </a:cubicBezTo>
                <a:cubicBezTo>
                  <a:pt x="58" y="86"/>
                  <a:pt x="59" y="86"/>
                  <a:pt x="60" y="85"/>
                </a:cubicBezTo>
                <a:close/>
                <a:moveTo>
                  <a:pt x="74" y="84"/>
                </a:moveTo>
                <a:cubicBezTo>
                  <a:pt x="75" y="82"/>
                  <a:pt x="75" y="82"/>
                  <a:pt x="75" y="82"/>
                </a:cubicBezTo>
                <a:cubicBezTo>
                  <a:pt x="77" y="80"/>
                  <a:pt x="77" y="77"/>
                  <a:pt x="75" y="75"/>
                </a:cubicBezTo>
                <a:cubicBezTo>
                  <a:pt x="74" y="74"/>
                  <a:pt x="72" y="74"/>
                  <a:pt x="71" y="74"/>
                </a:cubicBezTo>
                <a:cubicBezTo>
                  <a:pt x="70" y="74"/>
                  <a:pt x="69" y="75"/>
                  <a:pt x="68" y="76"/>
                </a:cubicBezTo>
                <a:cubicBezTo>
                  <a:pt x="62" y="82"/>
                  <a:pt x="62" y="82"/>
                  <a:pt x="62" y="82"/>
                </a:cubicBezTo>
                <a:cubicBezTo>
                  <a:pt x="61" y="84"/>
                  <a:pt x="61" y="87"/>
                  <a:pt x="63" y="89"/>
                </a:cubicBezTo>
                <a:cubicBezTo>
                  <a:pt x="64" y="90"/>
                  <a:pt x="65" y="90"/>
                  <a:pt x="67" y="90"/>
                </a:cubicBezTo>
                <a:cubicBezTo>
                  <a:pt x="68" y="90"/>
                  <a:pt x="69" y="89"/>
                  <a:pt x="69" y="89"/>
                </a:cubicBezTo>
                <a:lnTo>
                  <a:pt x="74" y="84"/>
                </a:lnTo>
                <a:close/>
                <a:moveTo>
                  <a:pt x="137" y="1"/>
                </a:moveTo>
                <a:cubicBezTo>
                  <a:pt x="127" y="6"/>
                  <a:pt x="112" y="14"/>
                  <a:pt x="110" y="15"/>
                </a:cubicBezTo>
                <a:cubicBezTo>
                  <a:pt x="112" y="19"/>
                  <a:pt x="121" y="34"/>
                  <a:pt x="133" y="54"/>
                </a:cubicBezTo>
                <a:cubicBezTo>
                  <a:pt x="134" y="57"/>
                  <a:pt x="134" y="57"/>
                  <a:pt x="134" y="57"/>
                </a:cubicBezTo>
                <a:cubicBezTo>
                  <a:pt x="160" y="43"/>
                  <a:pt x="160" y="43"/>
                  <a:pt x="160" y="43"/>
                </a:cubicBezTo>
                <a:moveTo>
                  <a:pt x="113" y="21"/>
                </a:moveTo>
                <a:cubicBezTo>
                  <a:pt x="101" y="16"/>
                  <a:pt x="94" y="23"/>
                  <a:pt x="86" y="23"/>
                </a:cubicBezTo>
                <a:cubicBezTo>
                  <a:pt x="83" y="23"/>
                  <a:pt x="81" y="24"/>
                  <a:pt x="79" y="24"/>
                </a:cubicBezTo>
                <a:cubicBezTo>
                  <a:pt x="79" y="24"/>
                  <a:pt x="79" y="24"/>
                  <a:pt x="79" y="24"/>
                </a:cubicBezTo>
                <a:cubicBezTo>
                  <a:pt x="78" y="24"/>
                  <a:pt x="77" y="24"/>
                  <a:pt x="77" y="24"/>
                </a:cubicBezTo>
                <a:cubicBezTo>
                  <a:pt x="55" y="35"/>
                  <a:pt x="55" y="35"/>
                  <a:pt x="55" y="35"/>
                </a:cubicBezTo>
                <a:cubicBezTo>
                  <a:pt x="45" y="40"/>
                  <a:pt x="55" y="48"/>
                  <a:pt x="58" y="47"/>
                </a:cubicBezTo>
                <a:cubicBezTo>
                  <a:pt x="62" y="46"/>
                  <a:pt x="70" y="43"/>
                  <a:pt x="76" y="41"/>
                </a:cubicBezTo>
                <a:cubicBezTo>
                  <a:pt x="79" y="39"/>
                  <a:pt x="83" y="40"/>
                  <a:pt x="86" y="42"/>
                </a:cubicBezTo>
                <a:cubicBezTo>
                  <a:pt x="96" y="49"/>
                  <a:pt x="116" y="64"/>
                  <a:pt x="117" y="66"/>
                </a:cubicBezTo>
                <a:moveTo>
                  <a:pt x="131" y="52"/>
                </a:moveTo>
                <a:cubicBezTo>
                  <a:pt x="130" y="53"/>
                  <a:pt x="125" y="56"/>
                  <a:pt x="124" y="57"/>
                </a:cubicBezTo>
                <a:cubicBezTo>
                  <a:pt x="124" y="57"/>
                  <a:pt x="123" y="58"/>
                  <a:pt x="122" y="60"/>
                </a:cubicBezTo>
                <a:cubicBezTo>
                  <a:pt x="121" y="62"/>
                  <a:pt x="119" y="65"/>
                  <a:pt x="117" y="66"/>
                </a:cubicBezTo>
                <a:moveTo>
                  <a:pt x="40" y="64"/>
                </a:moveTo>
                <a:cubicBezTo>
                  <a:pt x="40" y="64"/>
                  <a:pt x="40" y="64"/>
                  <a:pt x="40" y="64"/>
                </a:cubicBezTo>
                <a:moveTo>
                  <a:pt x="0" y="41"/>
                </a:moveTo>
                <a:cubicBezTo>
                  <a:pt x="23" y="60"/>
                  <a:pt x="23" y="60"/>
                  <a:pt x="23" y="60"/>
                </a:cubicBezTo>
                <a:cubicBezTo>
                  <a:pt x="56" y="19"/>
                  <a:pt x="56" y="19"/>
                  <a:pt x="56" y="19"/>
                </a:cubicBezTo>
                <a:cubicBezTo>
                  <a:pt x="33" y="0"/>
                  <a:pt x="33" y="0"/>
                  <a:pt x="33" y="0"/>
                </a:cubicBezTo>
                <a:moveTo>
                  <a:pt x="26" y="57"/>
                </a:moveTo>
                <a:cubicBezTo>
                  <a:pt x="32" y="62"/>
                  <a:pt x="39" y="66"/>
                  <a:pt x="39" y="66"/>
                </a:cubicBezTo>
                <a:moveTo>
                  <a:pt x="69" y="28"/>
                </a:moveTo>
                <a:cubicBezTo>
                  <a:pt x="66" y="27"/>
                  <a:pt x="59" y="24"/>
                  <a:pt x="53" y="22"/>
                </a:cubicBezTo>
              </a:path>
            </a:pathLst>
          </a:custGeom>
          <a:noFill/>
          <a:ln w="12700" cap="rnd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7" name="Freeform 8"/>
          <p:cNvSpPr>
            <a:spLocks noEditPoints="1"/>
          </p:cNvSpPr>
          <p:nvPr/>
        </p:nvSpPr>
        <p:spPr bwMode="auto">
          <a:xfrm>
            <a:off x="1876832" y="1404552"/>
            <a:ext cx="468265" cy="376055"/>
          </a:xfrm>
          <a:custGeom>
            <a:avLst/>
            <a:gdLst>
              <a:gd name="T0" fmla="*/ 122 w 122"/>
              <a:gd name="T1" fmla="*/ 98 h 98"/>
              <a:gd name="T2" fmla="*/ 0 w 122"/>
              <a:gd name="T3" fmla="*/ 98 h 98"/>
              <a:gd name="T4" fmla="*/ 29 w 122"/>
              <a:gd name="T5" fmla="*/ 72 h 98"/>
              <a:gd name="T6" fmla="*/ 13 w 122"/>
              <a:gd name="T7" fmla="*/ 72 h 98"/>
              <a:gd name="T8" fmla="*/ 13 w 122"/>
              <a:gd name="T9" fmla="*/ 98 h 98"/>
              <a:gd name="T10" fmla="*/ 29 w 122"/>
              <a:gd name="T11" fmla="*/ 98 h 98"/>
              <a:gd name="T12" fmla="*/ 29 w 122"/>
              <a:gd name="T13" fmla="*/ 72 h 98"/>
              <a:gd name="T14" fmla="*/ 56 w 122"/>
              <a:gd name="T15" fmla="*/ 46 h 98"/>
              <a:gd name="T16" fmla="*/ 39 w 122"/>
              <a:gd name="T17" fmla="*/ 46 h 98"/>
              <a:gd name="T18" fmla="*/ 39 w 122"/>
              <a:gd name="T19" fmla="*/ 98 h 98"/>
              <a:gd name="T20" fmla="*/ 56 w 122"/>
              <a:gd name="T21" fmla="*/ 98 h 98"/>
              <a:gd name="T22" fmla="*/ 56 w 122"/>
              <a:gd name="T23" fmla="*/ 46 h 98"/>
              <a:gd name="T24" fmla="*/ 82 w 122"/>
              <a:gd name="T25" fmla="*/ 57 h 98"/>
              <a:gd name="T26" fmla="*/ 65 w 122"/>
              <a:gd name="T27" fmla="*/ 57 h 98"/>
              <a:gd name="T28" fmla="*/ 65 w 122"/>
              <a:gd name="T29" fmla="*/ 98 h 98"/>
              <a:gd name="T30" fmla="*/ 82 w 122"/>
              <a:gd name="T31" fmla="*/ 98 h 98"/>
              <a:gd name="T32" fmla="*/ 82 w 122"/>
              <a:gd name="T33" fmla="*/ 57 h 98"/>
              <a:gd name="T34" fmla="*/ 109 w 122"/>
              <a:gd name="T35" fmla="*/ 31 h 98"/>
              <a:gd name="T36" fmla="*/ 92 w 122"/>
              <a:gd name="T37" fmla="*/ 31 h 98"/>
              <a:gd name="T38" fmla="*/ 92 w 122"/>
              <a:gd name="T39" fmla="*/ 98 h 98"/>
              <a:gd name="T40" fmla="*/ 109 w 122"/>
              <a:gd name="T41" fmla="*/ 98 h 98"/>
              <a:gd name="T42" fmla="*/ 109 w 122"/>
              <a:gd name="T43" fmla="*/ 31 h 98"/>
              <a:gd name="T44" fmla="*/ 21 w 122"/>
              <a:gd name="T45" fmla="*/ 43 h 98"/>
              <a:gd name="T46" fmla="*/ 16 w 122"/>
              <a:gd name="T47" fmla="*/ 48 h 98"/>
              <a:gd name="T48" fmla="*/ 21 w 122"/>
              <a:gd name="T49" fmla="*/ 53 h 98"/>
              <a:gd name="T50" fmla="*/ 26 w 122"/>
              <a:gd name="T51" fmla="*/ 48 h 98"/>
              <a:gd name="T52" fmla="*/ 21 w 122"/>
              <a:gd name="T53" fmla="*/ 43 h 98"/>
              <a:gd name="T54" fmla="*/ 47 w 122"/>
              <a:gd name="T55" fmla="*/ 18 h 98"/>
              <a:gd name="T56" fmla="*/ 43 w 122"/>
              <a:gd name="T57" fmla="*/ 23 h 98"/>
              <a:gd name="T58" fmla="*/ 47 w 122"/>
              <a:gd name="T59" fmla="*/ 28 h 98"/>
              <a:gd name="T60" fmla="*/ 52 w 122"/>
              <a:gd name="T61" fmla="*/ 23 h 98"/>
              <a:gd name="T62" fmla="*/ 47 w 122"/>
              <a:gd name="T63" fmla="*/ 18 h 98"/>
              <a:gd name="T64" fmla="*/ 74 w 122"/>
              <a:gd name="T65" fmla="*/ 31 h 98"/>
              <a:gd name="T66" fmla="*/ 69 w 122"/>
              <a:gd name="T67" fmla="*/ 35 h 98"/>
              <a:gd name="T68" fmla="*/ 74 w 122"/>
              <a:gd name="T69" fmla="*/ 40 h 98"/>
              <a:gd name="T70" fmla="*/ 79 w 122"/>
              <a:gd name="T71" fmla="*/ 35 h 98"/>
              <a:gd name="T72" fmla="*/ 74 w 122"/>
              <a:gd name="T73" fmla="*/ 31 h 98"/>
              <a:gd name="T74" fmla="*/ 100 w 122"/>
              <a:gd name="T75" fmla="*/ 0 h 98"/>
              <a:gd name="T76" fmla="*/ 95 w 122"/>
              <a:gd name="T77" fmla="*/ 5 h 98"/>
              <a:gd name="T78" fmla="*/ 100 w 122"/>
              <a:gd name="T79" fmla="*/ 10 h 98"/>
              <a:gd name="T80" fmla="*/ 105 w 122"/>
              <a:gd name="T81" fmla="*/ 5 h 98"/>
              <a:gd name="T82" fmla="*/ 100 w 122"/>
              <a:gd name="T83" fmla="*/ 0 h 98"/>
              <a:gd name="T84" fmla="*/ 77 w 122"/>
              <a:gd name="T85" fmla="*/ 32 h 98"/>
              <a:gd name="T86" fmla="*/ 97 w 122"/>
              <a:gd name="T87" fmla="*/ 9 h 98"/>
              <a:gd name="T88" fmla="*/ 52 w 122"/>
              <a:gd name="T89" fmla="*/ 25 h 98"/>
              <a:gd name="T90" fmla="*/ 69 w 122"/>
              <a:gd name="T91" fmla="*/ 33 h 98"/>
              <a:gd name="T92" fmla="*/ 44 w 122"/>
              <a:gd name="T93" fmla="*/ 26 h 98"/>
              <a:gd name="T94" fmla="*/ 25 w 122"/>
              <a:gd name="T95" fmla="*/ 4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2" h="98">
                <a:moveTo>
                  <a:pt x="122" y="98"/>
                </a:moveTo>
                <a:cubicBezTo>
                  <a:pt x="0" y="98"/>
                  <a:pt x="0" y="98"/>
                  <a:pt x="0" y="98"/>
                </a:cubicBezTo>
                <a:moveTo>
                  <a:pt x="29" y="72"/>
                </a:moveTo>
                <a:cubicBezTo>
                  <a:pt x="13" y="72"/>
                  <a:pt x="13" y="72"/>
                  <a:pt x="13" y="72"/>
                </a:cubicBezTo>
                <a:cubicBezTo>
                  <a:pt x="13" y="98"/>
                  <a:pt x="13" y="98"/>
                  <a:pt x="13" y="98"/>
                </a:cubicBezTo>
                <a:cubicBezTo>
                  <a:pt x="29" y="98"/>
                  <a:pt x="29" y="98"/>
                  <a:pt x="29" y="98"/>
                </a:cubicBezTo>
                <a:lnTo>
                  <a:pt x="29" y="72"/>
                </a:lnTo>
                <a:close/>
                <a:moveTo>
                  <a:pt x="56" y="46"/>
                </a:moveTo>
                <a:cubicBezTo>
                  <a:pt x="39" y="46"/>
                  <a:pt x="39" y="46"/>
                  <a:pt x="39" y="46"/>
                </a:cubicBezTo>
                <a:cubicBezTo>
                  <a:pt x="39" y="98"/>
                  <a:pt x="39" y="98"/>
                  <a:pt x="39" y="98"/>
                </a:cubicBezTo>
                <a:cubicBezTo>
                  <a:pt x="56" y="98"/>
                  <a:pt x="56" y="98"/>
                  <a:pt x="56" y="98"/>
                </a:cubicBezTo>
                <a:lnTo>
                  <a:pt x="56" y="46"/>
                </a:lnTo>
                <a:close/>
                <a:moveTo>
                  <a:pt x="82" y="57"/>
                </a:moveTo>
                <a:cubicBezTo>
                  <a:pt x="65" y="57"/>
                  <a:pt x="65" y="57"/>
                  <a:pt x="65" y="57"/>
                </a:cubicBezTo>
                <a:cubicBezTo>
                  <a:pt x="65" y="98"/>
                  <a:pt x="65" y="98"/>
                  <a:pt x="65" y="98"/>
                </a:cubicBezTo>
                <a:cubicBezTo>
                  <a:pt x="82" y="98"/>
                  <a:pt x="82" y="98"/>
                  <a:pt x="82" y="98"/>
                </a:cubicBezTo>
                <a:lnTo>
                  <a:pt x="82" y="57"/>
                </a:lnTo>
                <a:close/>
                <a:moveTo>
                  <a:pt x="109" y="31"/>
                </a:moveTo>
                <a:cubicBezTo>
                  <a:pt x="92" y="31"/>
                  <a:pt x="92" y="31"/>
                  <a:pt x="92" y="31"/>
                </a:cubicBezTo>
                <a:cubicBezTo>
                  <a:pt x="92" y="98"/>
                  <a:pt x="92" y="98"/>
                  <a:pt x="92" y="98"/>
                </a:cubicBezTo>
                <a:cubicBezTo>
                  <a:pt x="109" y="98"/>
                  <a:pt x="109" y="98"/>
                  <a:pt x="109" y="98"/>
                </a:cubicBezTo>
                <a:lnTo>
                  <a:pt x="109" y="31"/>
                </a:lnTo>
                <a:close/>
                <a:moveTo>
                  <a:pt x="21" y="43"/>
                </a:moveTo>
                <a:cubicBezTo>
                  <a:pt x="18" y="43"/>
                  <a:pt x="16" y="45"/>
                  <a:pt x="16" y="48"/>
                </a:cubicBezTo>
                <a:cubicBezTo>
                  <a:pt x="16" y="50"/>
                  <a:pt x="18" y="53"/>
                  <a:pt x="21" y="53"/>
                </a:cubicBezTo>
                <a:cubicBezTo>
                  <a:pt x="24" y="53"/>
                  <a:pt x="26" y="50"/>
                  <a:pt x="26" y="48"/>
                </a:cubicBezTo>
                <a:cubicBezTo>
                  <a:pt x="26" y="45"/>
                  <a:pt x="24" y="43"/>
                  <a:pt x="21" y="43"/>
                </a:cubicBezTo>
                <a:close/>
                <a:moveTo>
                  <a:pt x="47" y="18"/>
                </a:moveTo>
                <a:cubicBezTo>
                  <a:pt x="45" y="18"/>
                  <a:pt x="43" y="20"/>
                  <a:pt x="43" y="23"/>
                </a:cubicBezTo>
                <a:cubicBezTo>
                  <a:pt x="43" y="25"/>
                  <a:pt x="45" y="28"/>
                  <a:pt x="47" y="28"/>
                </a:cubicBezTo>
                <a:cubicBezTo>
                  <a:pt x="50" y="28"/>
                  <a:pt x="52" y="25"/>
                  <a:pt x="52" y="23"/>
                </a:cubicBezTo>
                <a:cubicBezTo>
                  <a:pt x="52" y="20"/>
                  <a:pt x="50" y="18"/>
                  <a:pt x="47" y="18"/>
                </a:cubicBezTo>
                <a:close/>
                <a:moveTo>
                  <a:pt x="74" y="31"/>
                </a:moveTo>
                <a:cubicBezTo>
                  <a:pt x="71" y="31"/>
                  <a:pt x="69" y="33"/>
                  <a:pt x="69" y="35"/>
                </a:cubicBezTo>
                <a:cubicBezTo>
                  <a:pt x="69" y="38"/>
                  <a:pt x="71" y="40"/>
                  <a:pt x="74" y="40"/>
                </a:cubicBezTo>
                <a:cubicBezTo>
                  <a:pt x="76" y="40"/>
                  <a:pt x="79" y="38"/>
                  <a:pt x="79" y="35"/>
                </a:cubicBezTo>
                <a:cubicBezTo>
                  <a:pt x="79" y="33"/>
                  <a:pt x="76" y="31"/>
                  <a:pt x="74" y="31"/>
                </a:cubicBezTo>
                <a:close/>
                <a:moveTo>
                  <a:pt x="100" y="0"/>
                </a:moveTo>
                <a:cubicBezTo>
                  <a:pt x="98" y="0"/>
                  <a:pt x="95" y="3"/>
                  <a:pt x="95" y="5"/>
                </a:cubicBezTo>
                <a:cubicBezTo>
                  <a:pt x="95" y="8"/>
                  <a:pt x="98" y="10"/>
                  <a:pt x="100" y="10"/>
                </a:cubicBezTo>
                <a:cubicBezTo>
                  <a:pt x="103" y="10"/>
                  <a:pt x="105" y="8"/>
                  <a:pt x="105" y="5"/>
                </a:cubicBezTo>
                <a:cubicBezTo>
                  <a:pt x="105" y="3"/>
                  <a:pt x="103" y="0"/>
                  <a:pt x="100" y="0"/>
                </a:cubicBezTo>
                <a:close/>
                <a:moveTo>
                  <a:pt x="77" y="32"/>
                </a:moveTo>
                <a:cubicBezTo>
                  <a:pt x="97" y="9"/>
                  <a:pt x="97" y="9"/>
                  <a:pt x="97" y="9"/>
                </a:cubicBezTo>
                <a:moveTo>
                  <a:pt x="52" y="25"/>
                </a:moveTo>
                <a:cubicBezTo>
                  <a:pt x="69" y="33"/>
                  <a:pt x="69" y="33"/>
                  <a:pt x="69" y="33"/>
                </a:cubicBezTo>
                <a:moveTo>
                  <a:pt x="44" y="26"/>
                </a:moveTo>
                <a:cubicBezTo>
                  <a:pt x="25" y="45"/>
                  <a:pt x="25" y="45"/>
                  <a:pt x="25" y="45"/>
                </a:cubicBezTo>
              </a:path>
            </a:pathLst>
          </a:custGeom>
          <a:noFill/>
          <a:ln w="12700" cap="rnd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8" name="Freeform 9"/>
          <p:cNvSpPr>
            <a:spLocks noEditPoints="1"/>
          </p:cNvSpPr>
          <p:nvPr/>
        </p:nvSpPr>
        <p:spPr bwMode="auto">
          <a:xfrm>
            <a:off x="9325713" y="1466222"/>
            <a:ext cx="360820" cy="425768"/>
          </a:xfrm>
          <a:custGeom>
            <a:avLst/>
            <a:gdLst>
              <a:gd name="T0" fmla="*/ 450 w 450"/>
              <a:gd name="T1" fmla="*/ 215 h 531"/>
              <a:gd name="T2" fmla="*/ 450 w 450"/>
              <a:gd name="T3" fmla="*/ 531 h 531"/>
              <a:gd name="T4" fmla="*/ 0 w 450"/>
              <a:gd name="T5" fmla="*/ 531 h 531"/>
              <a:gd name="T6" fmla="*/ 0 w 450"/>
              <a:gd name="T7" fmla="*/ 215 h 531"/>
              <a:gd name="T8" fmla="*/ 450 w 450"/>
              <a:gd name="T9" fmla="*/ 531 h 531"/>
              <a:gd name="T10" fmla="*/ 225 w 450"/>
              <a:gd name="T11" fmla="*/ 373 h 531"/>
              <a:gd name="T12" fmla="*/ 0 w 450"/>
              <a:gd name="T13" fmla="*/ 531 h 531"/>
              <a:gd name="T14" fmla="*/ 450 w 450"/>
              <a:gd name="T15" fmla="*/ 215 h 531"/>
              <a:gd name="T16" fmla="*/ 302 w 450"/>
              <a:gd name="T17" fmla="*/ 378 h 531"/>
              <a:gd name="T18" fmla="*/ 0 w 450"/>
              <a:gd name="T19" fmla="*/ 215 h 531"/>
              <a:gd name="T20" fmla="*/ 153 w 450"/>
              <a:gd name="T21" fmla="*/ 378 h 531"/>
              <a:gd name="T22" fmla="*/ 397 w 450"/>
              <a:gd name="T23" fmla="*/ 206 h 531"/>
              <a:gd name="T24" fmla="*/ 397 w 450"/>
              <a:gd name="T25" fmla="*/ 95 h 531"/>
              <a:gd name="T26" fmla="*/ 297 w 450"/>
              <a:gd name="T27" fmla="*/ 0 h 531"/>
              <a:gd name="T28" fmla="*/ 58 w 450"/>
              <a:gd name="T29" fmla="*/ 0 h 531"/>
              <a:gd name="T30" fmla="*/ 58 w 450"/>
              <a:gd name="T31" fmla="*/ 206 h 531"/>
              <a:gd name="T32" fmla="*/ 397 w 450"/>
              <a:gd name="T33" fmla="*/ 95 h 531"/>
              <a:gd name="T34" fmla="*/ 297 w 450"/>
              <a:gd name="T35" fmla="*/ 0 h 531"/>
              <a:gd name="T36" fmla="*/ 297 w 450"/>
              <a:gd name="T37" fmla="*/ 95 h 531"/>
              <a:gd name="T38" fmla="*/ 397 w 450"/>
              <a:gd name="T39" fmla="*/ 95 h 531"/>
              <a:gd name="T40" fmla="*/ 153 w 450"/>
              <a:gd name="T41" fmla="*/ 153 h 531"/>
              <a:gd name="T42" fmla="*/ 106 w 450"/>
              <a:gd name="T43" fmla="*/ 153 h 531"/>
              <a:gd name="T44" fmla="*/ 335 w 450"/>
              <a:gd name="T45" fmla="*/ 153 h 531"/>
              <a:gd name="T46" fmla="*/ 201 w 450"/>
              <a:gd name="T47" fmla="*/ 153 h 531"/>
              <a:gd name="T48" fmla="*/ 106 w 450"/>
              <a:gd name="T49" fmla="*/ 206 h 531"/>
              <a:gd name="T50" fmla="*/ 235 w 450"/>
              <a:gd name="T51" fmla="*/ 206 h 531"/>
              <a:gd name="T52" fmla="*/ 335 w 450"/>
              <a:gd name="T53" fmla="*/ 206 h 531"/>
              <a:gd name="T54" fmla="*/ 287 w 450"/>
              <a:gd name="T55" fmla="*/ 206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50" h="531">
                <a:moveTo>
                  <a:pt x="450" y="215"/>
                </a:moveTo>
                <a:lnTo>
                  <a:pt x="450" y="531"/>
                </a:lnTo>
                <a:lnTo>
                  <a:pt x="0" y="531"/>
                </a:lnTo>
                <a:lnTo>
                  <a:pt x="0" y="215"/>
                </a:lnTo>
                <a:moveTo>
                  <a:pt x="450" y="531"/>
                </a:moveTo>
                <a:lnTo>
                  <a:pt x="225" y="373"/>
                </a:lnTo>
                <a:lnTo>
                  <a:pt x="0" y="531"/>
                </a:lnTo>
                <a:moveTo>
                  <a:pt x="450" y="215"/>
                </a:moveTo>
                <a:lnTo>
                  <a:pt x="302" y="378"/>
                </a:lnTo>
                <a:moveTo>
                  <a:pt x="0" y="215"/>
                </a:moveTo>
                <a:lnTo>
                  <a:pt x="153" y="378"/>
                </a:lnTo>
                <a:moveTo>
                  <a:pt x="397" y="206"/>
                </a:moveTo>
                <a:lnTo>
                  <a:pt x="397" y="95"/>
                </a:lnTo>
                <a:moveTo>
                  <a:pt x="297" y="0"/>
                </a:moveTo>
                <a:lnTo>
                  <a:pt x="58" y="0"/>
                </a:lnTo>
                <a:lnTo>
                  <a:pt x="58" y="206"/>
                </a:lnTo>
                <a:moveTo>
                  <a:pt x="397" y="95"/>
                </a:moveTo>
                <a:lnTo>
                  <a:pt x="297" y="0"/>
                </a:lnTo>
                <a:lnTo>
                  <a:pt x="297" y="95"/>
                </a:lnTo>
                <a:lnTo>
                  <a:pt x="397" y="95"/>
                </a:lnTo>
                <a:moveTo>
                  <a:pt x="153" y="153"/>
                </a:moveTo>
                <a:lnTo>
                  <a:pt x="106" y="153"/>
                </a:lnTo>
                <a:moveTo>
                  <a:pt x="335" y="153"/>
                </a:moveTo>
                <a:lnTo>
                  <a:pt x="201" y="153"/>
                </a:lnTo>
                <a:moveTo>
                  <a:pt x="106" y="206"/>
                </a:moveTo>
                <a:lnTo>
                  <a:pt x="235" y="206"/>
                </a:lnTo>
                <a:moveTo>
                  <a:pt x="335" y="206"/>
                </a:moveTo>
                <a:lnTo>
                  <a:pt x="287" y="206"/>
                </a:lnTo>
              </a:path>
            </a:pathLst>
          </a:custGeom>
          <a:noFill/>
          <a:ln w="12700" cap="rnd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514007" y="2207484"/>
            <a:ext cx="24606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ing a production schedule    that aligns with demand forecasts    and inventory levels.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588197" y="4563339"/>
            <a:ext cx="25439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acilitating effective communication  and coordination between                   departments to streamline operations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8518336" y="2206793"/>
            <a:ext cx="23345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suring products are processed with the correct SAP codes and     categorized appropriately.</a:t>
            </a:r>
            <a:endParaRPr lang="en-US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9519316" y="4541025"/>
            <a:ext cx="20844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ing future demand       using historical data   and       market  trends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4854532" y="1209994"/>
            <a:ext cx="26495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verseeing the movement of products  in and out of inventory, ensuring            accurate tracking and categorization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80C7E2A-76A7-AA2C-231F-62198A3DAFF9}"/>
              </a:ext>
            </a:extLst>
          </p:cNvPr>
          <p:cNvSpPr txBox="1"/>
          <p:nvPr/>
        </p:nvSpPr>
        <p:spPr>
          <a:xfrm>
            <a:off x="4097125" y="-5225"/>
            <a:ext cx="4204126" cy="684187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Proposed Process (VSM)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ECAE7F-626A-3285-0F85-DC17A7E19D96}"/>
              </a:ext>
            </a:extLst>
          </p:cNvPr>
          <p:cNvSpPr txBox="1"/>
          <p:nvPr/>
        </p:nvSpPr>
        <p:spPr>
          <a:xfrm>
            <a:off x="4112576" y="2840335"/>
            <a:ext cx="6328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rPr>
              <a:t>VA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311147-7707-6E75-660B-AC3F46766EE2}"/>
              </a:ext>
            </a:extLst>
          </p:cNvPr>
          <p:cNvSpPr txBox="1"/>
          <p:nvPr/>
        </p:nvSpPr>
        <p:spPr>
          <a:xfrm>
            <a:off x="3442898" y="4686449"/>
            <a:ext cx="6328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rPr>
              <a:t>VA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C9E27E-FD17-1CEE-341B-8B3FBA6E65EB}"/>
              </a:ext>
            </a:extLst>
          </p:cNvPr>
          <p:cNvSpPr txBox="1"/>
          <p:nvPr/>
        </p:nvSpPr>
        <p:spPr>
          <a:xfrm>
            <a:off x="5746026" y="2252960"/>
            <a:ext cx="6328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rPr>
              <a:t>VA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1201D6-08BC-E745-8938-5A587923835B}"/>
              </a:ext>
            </a:extLst>
          </p:cNvPr>
          <p:cNvSpPr txBox="1"/>
          <p:nvPr/>
        </p:nvSpPr>
        <p:spPr>
          <a:xfrm>
            <a:off x="7504113" y="2869059"/>
            <a:ext cx="6328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rPr>
              <a:t>VA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6EEBD5F-46EE-E4FA-9E8E-B575F6BDB860}"/>
              </a:ext>
            </a:extLst>
          </p:cNvPr>
          <p:cNvSpPr txBox="1"/>
          <p:nvPr/>
        </p:nvSpPr>
        <p:spPr>
          <a:xfrm>
            <a:off x="8103462" y="4684712"/>
            <a:ext cx="6328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</a:rPr>
              <a:t>VA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E9F6267-1F38-F12F-E057-1EA006967985}"/>
              </a:ext>
            </a:extLst>
          </p:cNvPr>
          <p:cNvSpPr txBox="1"/>
          <p:nvPr/>
        </p:nvSpPr>
        <p:spPr>
          <a:xfrm>
            <a:off x="6862131" y="4736406"/>
            <a:ext cx="768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</a:rPr>
              <a:t>1 Day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9C9379-7608-8565-E6BF-158E0826CC54}"/>
              </a:ext>
            </a:extLst>
          </p:cNvPr>
          <p:cNvSpPr txBox="1"/>
          <p:nvPr/>
        </p:nvSpPr>
        <p:spPr>
          <a:xfrm>
            <a:off x="4495843" y="4751486"/>
            <a:ext cx="768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</a:rPr>
              <a:t>1 Day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C07503-713C-8B5B-1E00-EF91DA71800C}"/>
              </a:ext>
            </a:extLst>
          </p:cNvPr>
          <p:cNvSpPr txBox="1"/>
          <p:nvPr/>
        </p:nvSpPr>
        <p:spPr>
          <a:xfrm rot="2715503">
            <a:off x="4936426" y="3884581"/>
            <a:ext cx="768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</a:rPr>
              <a:t>2 Day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893ECAF-4A8C-650D-C3AA-C8963077BAA1}"/>
              </a:ext>
            </a:extLst>
          </p:cNvPr>
          <p:cNvSpPr txBox="1"/>
          <p:nvPr/>
        </p:nvSpPr>
        <p:spPr>
          <a:xfrm rot="5238494">
            <a:off x="5696848" y="3603367"/>
            <a:ext cx="768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</a:rPr>
              <a:t>1 Day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8FE12E6-FC6E-E93F-16C0-CC2D02124EF8}"/>
              </a:ext>
            </a:extLst>
          </p:cNvPr>
          <p:cNvSpPr txBox="1"/>
          <p:nvPr/>
        </p:nvSpPr>
        <p:spPr>
          <a:xfrm rot="18741809">
            <a:off x="6452320" y="3964980"/>
            <a:ext cx="768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</a:rPr>
              <a:t>1 Days</a:t>
            </a:r>
          </a:p>
        </p:txBody>
      </p:sp>
    </p:spTree>
    <p:extLst>
      <p:ext uri="{BB962C8B-B14F-4D97-AF65-F5344CB8AC3E}">
        <p14:creationId xmlns:p14="http://schemas.microsoft.com/office/powerpoint/2010/main" val="208414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2" presetClass="entr" presetSubtype="4" fill="hold" nodeType="withEffect" p14:presetBounceEnd="67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2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3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5" presetID="2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7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4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6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33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5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42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4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5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1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2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3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53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6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7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8" dur="50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9" presetID="53" presetClass="entr" presetSubtype="16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1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2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7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8" dur="5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21" presetClass="entr" presetSubtype="1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81" dur="500"/>
                                            <p:tgtEl>
                                              <p:spTgt spid="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4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5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6" dur="500"/>
                                            <p:tgtEl>
                                              <p:spTgt spid="10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7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9" dur="500" fill="hold"/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0" dur="500" fill="hold"/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1" dur="500"/>
                                            <p:tgtEl>
                                              <p:spTgt spid="10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4" dur="500" fill="hold"/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5" dur="500" fill="hold"/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6" dur="500"/>
                                            <p:tgtEl>
                                              <p:spTgt spid="10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7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9" dur="500" fill="hold"/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0" dur="500" fill="hold"/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1" dur="500"/>
                                            <p:tgtEl>
                                              <p:spTgt spid="10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4" dur="500" fill="hold"/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5" dur="500" fill="hold"/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6" dur="500"/>
                                            <p:tgtEl>
                                              <p:spTgt spid="1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7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09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10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1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13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14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5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17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18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9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21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22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3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25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26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7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29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30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1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33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34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5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37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38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9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41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42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3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45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46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28" grpId="0" animBg="1"/>
          <p:bldP spid="33" grpId="0" animBg="1"/>
          <p:bldP spid="38" grpId="0" animBg="1"/>
          <p:bldP spid="41" grpId="0" animBg="1"/>
          <p:bldP spid="52" grpId="0" animBg="1"/>
          <p:bldP spid="53" grpId="0" animBg="1"/>
          <p:bldP spid="54" grpId="0" animBg="1"/>
          <p:bldP spid="55" grpId="0" animBg="1"/>
          <p:bldP spid="59" grpId="0" animBg="1"/>
          <p:bldP spid="95" grpId="0"/>
          <p:bldP spid="96" grpId="0"/>
          <p:bldP spid="97" grpId="0"/>
          <p:bldP spid="98" grpId="0"/>
          <p:bldP spid="99" grpId="0"/>
          <p:bldP spid="104" grpId="0" animBg="1"/>
          <p:bldP spid="105" grpId="0" animBg="1"/>
          <p:bldP spid="106" grpId="0" animBg="1"/>
          <p:bldP spid="107" grpId="0" animBg="1"/>
          <p:bldP spid="108" grpId="0" animBg="1"/>
          <p:bldP spid="109" grpId="0"/>
          <p:bldP spid="110" grpId="0"/>
          <p:bldP spid="112" grpId="0"/>
          <p:bldP spid="113" grpId="0"/>
          <p:bldP spid="11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5" presetID="2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7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4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6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33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5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42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4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5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1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2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3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53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6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7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8" dur="50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9" presetID="53" presetClass="entr" presetSubtype="16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1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2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7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8" dur="5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21" presetClass="entr" presetSubtype="1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81" dur="500"/>
                                            <p:tgtEl>
                                              <p:spTgt spid="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4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5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6" dur="500"/>
                                            <p:tgtEl>
                                              <p:spTgt spid="10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7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9" dur="500" fill="hold"/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0" dur="500" fill="hold"/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1" dur="500"/>
                                            <p:tgtEl>
                                              <p:spTgt spid="10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4" dur="500" fill="hold"/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5" dur="500" fill="hold"/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6" dur="500"/>
                                            <p:tgtEl>
                                              <p:spTgt spid="10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7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9" dur="500" fill="hold"/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0" dur="500" fill="hold"/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1" dur="500"/>
                                            <p:tgtEl>
                                              <p:spTgt spid="10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2" presetID="53" presetClass="entr" presetSubtype="16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4" dur="500" fill="hold"/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5" dur="500" fill="hold"/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6" dur="500"/>
                                            <p:tgtEl>
                                              <p:spTgt spid="1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7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9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0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1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3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4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5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7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8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9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1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2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3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5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6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7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9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0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1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3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4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5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7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8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9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1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2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3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5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6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28" grpId="0" animBg="1"/>
          <p:bldP spid="33" grpId="0" animBg="1"/>
          <p:bldP spid="38" grpId="0" animBg="1"/>
          <p:bldP spid="41" grpId="0" animBg="1"/>
          <p:bldP spid="52" grpId="0" animBg="1"/>
          <p:bldP spid="53" grpId="0" animBg="1"/>
          <p:bldP spid="54" grpId="0" animBg="1"/>
          <p:bldP spid="55" grpId="0" animBg="1"/>
          <p:bldP spid="59" grpId="0" animBg="1"/>
          <p:bldP spid="95" grpId="0"/>
          <p:bldP spid="96" grpId="0"/>
          <p:bldP spid="97" grpId="0"/>
          <p:bldP spid="98" grpId="0"/>
          <p:bldP spid="99" grpId="0"/>
          <p:bldP spid="104" grpId="0" animBg="1"/>
          <p:bldP spid="105" grpId="0" animBg="1"/>
          <p:bldP spid="106" grpId="0" animBg="1"/>
          <p:bldP spid="107" grpId="0" animBg="1"/>
          <p:bldP spid="108" grpId="0" animBg="1"/>
          <p:bldP spid="109" grpId="0"/>
          <p:bldP spid="110" grpId="0"/>
          <p:bldP spid="112" grpId="0"/>
          <p:bldP spid="113" grpId="0"/>
          <p:bldP spid="114" grpId="0"/>
        </p:bldLst>
      </p:timing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E1265ED-6EEA-E50A-484D-A6EA9F539B12}"/>
              </a:ext>
            </a:extLst>
          </p:cNvPr>
          <p:cNvSpPr txBox="1"/>
          <p:nvPr/>
        </p:nvSpPr>
        <p:spPr>
          <a:xfrm>
            <a:off x="715780" y="1828801"/>
            <a:ext cx="107604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5400" b="1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ventory Velocity (Current Statu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D101360-12A9-EA6F-A918-041C0E9011E8}"/>
              </a:ext>
            </a:extLst>
          </p:cNvPr>
          <p:cNvSpPr txBox="1"/>
          <p:nvPr/>
        </p:nvSpPr>
        <p:spPr>
          <a:xfrm>
            <a:off x="5359009" y="5680394"/>
            <a:ext cx="2297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3600" b="1" i="1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uly 2025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692C617-FF00-58CE-D3E9-B98763E0DE37}"/>
              </a:ext>
            </a:extLst>
          </p:cNvPr>
          <p:cNvGrpSpPr/>
          <p:nvPr/>
        </p:nvGrpSpPr>
        <p:grpSpPr>
          <a:xfrm>
            <a:off x="4738172" y="2893102"/>
            <a:ext cx="2715654" cy="1636428"/>
            <a:chOff x="8434594" y="3855068"/>
            <a:chExt cx="5432014" cy="4162835"/>
          </a:xfrm>
          <a:solidFill>
            <a:srgbClr val="00B050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6DDDA37F-41F1-FACB-D0B4-45EAABE4F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4594" y="3962528"/>
              <a:ext cx="5277118" cy="4055375"/>
            </a:xfrm>
            <a:custGeom>
              <a:avLst/>
              <a:gdLst>
                <a:gd name="T0" fmla="*/ 269 w 5451"/>
                <a:gd name="T1" fmla="*/ 4189 h 4189"/>
                <a:gd name="T2" fmla="*/ 0 w 5451"/>
                <a:gd name="T3" fmla="*/ 3912 h 4189"/>
                <a:gd name="T4" fmla="*/ 2226 w 5451"/>
                <a:gd name="T5" fmla="*/ 1755 h 4189"/>
                <a:gd name="T6" fmla="*/ 2707 w 5451"/>
                <a:gd name="T7" fmla="*/ 2368 h 4189"/>
                <a:gd name="T8" fmla="*/ 5184 w 5451"/>
                <a:gd name="T9" fmla="*/ 0 h 4189"/>
                <a:gd name="T10" fmla="*/ 5451 w 5451"/>
                <a:gd name="T11" fmla="*/ 279 h 4189"/>
                <a:gd name="T12" fmla="*/ 2666 w 5451"/>
                <a:gd name="T13" fmla="*/ 2941 h 4189"/>
                <a:gd name="T14" fmla="*/ 2186 w 5451"/>
                <a:gd name="T15" fmla="*/ 2329 h 4189"/>
                <a:gd name="T16" fmla="*/ 269 w 5451"/>
                <a:gd name="T17" fmla="*/ 4189 h 4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51" h="4189">
                  <a:moveTo>
                    <a:pt x="269" y="4189"/>
                  </a:moveTo>
                  <a:lnTo>
                    <a:pt x="0" y="3912"/>
                  </a:lnTo>
                  <a:lnTo>
                    <a:pt x="2226" y="1755"/>
                  </a:lnTo>
                  <a:lnTo>
                    <a:pt x="2707" y="2368"/>
                  </a:lnTo>
                  <a:lnTo>
                    <a:pt x="5184" y="0"/>
                  </a:lnTo>
                  <a:lnTo>
                    <a:pt x="5451" y="279"/>
                  </a:lnTo>
                  <a:lnTo>
                    <a:pt x="2666" y="2941"/>
                  </a:lnTo>
                  <a:lnTo>
                    <a:pt x="2186" y="2329"/>
                  </a:lnTo>
                  <a:lnTo>
                    <a:pt x="269" y="4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228600">
                <a:defRPr/>
              </a:pPr>
              <a:endParaRPr lang="en-US" sz="900">
                <a:solidFill>
                  <a:srgbClr val="272E3A"/>
                </a:solidFill>
                <a:latin typeface="Montserrat Light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E492AF87-7ED8-E711-8494-98CB7EAB4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7209" y="3855068"/>
              <a:ext cx="989399" cy="1001016"/>
            </a:xfrm>
            <a:custGeom>
              <a:avLst/>
              <a:gdLst>
                <a:gd name="T0" fmla="*/ 1022 w 1022"/>
                <a:gd name="T1" fmla="*/ 0 h 1034"/>
                <a:gd name="T2" fmla="*/ 0 w 1022"/>
                <a:gd name="T3" fmla="*/ 250 h 1034"/>
                <a:gd name="T4" fmla="*/ 728 w 1022"/>
                <a:gd name="T5" fmla="*/ 1034 h 1034"/>
                <a:gd name="T6" fmla="*/ 1022 w 1022"/>
                <a:gd name="T7" fmla="*/ 0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2" h="1034">
                  <a:moveTo>
                    <a:pt x="1022" y="0"/>
                  </a:moveTo>
                  <a:lnTo>
                    <a:pt x="0" y="250"/>
                  </a:lnTo>
                  <a:lnTo>
                    <a:pt x="728" y="1034"/>
                  </a:lnTo>
                  <a:lnTo>
                    <a:pt x="10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228600">
                <a:defRPr/>
              </a:pPr>
              <a:endParaRPr lang="en-US" sz="900">
                <a:solidFill>
                  <a:srgbClr val="272E3A"/>
                </a:solidFill>
                <a:latin typeface="Montserrat Light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3B89AA7-FB5A-2D15-84DE-7C3045BE61AA}"/>
              </a:ext>
            </a:extLst>
          </p:cNvPr>
          <p:cNvGrpSpPr/>
          <p:nvPr/>
        </p:nvGrpSpPr>
        <p:grpSpPr>
          <a:xfrm>
            <a:off x="5375099" y="3418790"/>
            <a:ext cx="2078727" cy="1964022"/>
            <a:chOff x="9423993" y="5760291"/>
            <a:chExt cx="4157994" cy="3928554"/>
          </a:xfrm>
          <a:solidFill>
            <a:schemeClr val="tx1">
              <a:lumMod val="75000"/>
            </a:schemeClr>
          </a:solidFill>
        </p:grpSpPr>
        <p:sp>
          <p:nvSpPr>
            <p:cNvPr id="14" name="Rectangle 7">
              <a:extLst>
                <a:ext uri="{FF2B5EF4-FFF2-40B4-BE49-F238E27FC236}">
                  <a16:creationId xmlns:a16="http://schemas.microsoft.com/office/drawing/2014/main" id="{E5598F6E-4397-433F-7C6D-7B29AECE3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23993" y="7964657"/>
              <a:ext cx="786098" cy="1724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Montserrat Light"/>
              </a:endParaRPr>
            </a:p>
          </p:txBody>
        </p:sp>
        <p:sp>
          <p:nvSpPr>
            <p:cNvPr id="15" name="Rectangle 8">
              <a:extLst>
                <a:ext uri="{FF2B5EF4-FFF2-40B4-BE49-F238E27FC236}">
                  <a16:creationId xmlns:a16="http://schemas.microsoft.com/office/drawing/2014/main" id="{2DCACF61-E016-93CD-3AD2-0F458282BF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0874" y="7095302"/>
              <a:ext cx="787066" cy="259354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Montserrat Light"/>
              </a:endParaRPr>
            </a:p>
          </p:txBody>
        </p:sp>
        <p:sp>
          <p:nvSpPr>
            <p:cNvPr id="16" name="Rectangle 9">
              <a:extLst>
                <a:ext uri="{FF2B5EF4-FFF2-40B4-BE49-F238E27FC236}">
                  <a16:creationId xmlns:a16="http://schemas.microsoft.com/office/drawing/2014/main" id="{7A36C7D3-B62E-9FE2-2052-DFBCE6F907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89350" y="6569623"/>
              <a:ext cx="785130" cy="31192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Montserrat Light"/>
              </a:endParaRPr>
            </a:p>
          </p:txBody>
        </p: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95C22B59-4604-812C-B224-64AFFED34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95889" y="5760291"/>
              <a:ext cx="786098" cy="392855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72E3A"/>
                </a:solidFill>
                <a:effectLst/>
                <a:uLnTx/>
                <a:uFillTx/>
                <a:latin typeface="Montserrat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89620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6160567-79DE-A0A1-6DCE-D5DE0D73F9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9049723"/>
              </p:ext>
            </p:extLst>
          </p:nvPr>
        </p:nvGraphicFramePr>
        <p:xfrm>
          <a:off x="4706912" y="0"/>
          <a:ext cx="7485088" cy="3582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1DCD3BD-03A2-B035-915D-85AEAA80C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399814"/>
              </p:ext>
            </p:extLst>
          </p:nvPr>
        </p:nvGraphicFramePr>
        <p:xfrm>
          <a:off x="5171607" y="3582649"/>
          <a:ext cx="7020392" cy="32753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13F8EBB-2A4D-EAF4-50BD-3722910736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764498"/>
            <a:ext cx="4706912" cy="266450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198D8E5-4194-FFA3-8567-D3A278071F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2" y="3428998"/>
            <a:ext cx="5171607" cy="327535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EEA9748-A639-FC46-D945-1762A152C91E}"/>
              </a:ext>
            </a:extLst>
          </p:cNvPr>
          <p:cNvSpPr txBox="1"/>
          <p:nvPr/>
        </p:nvSpPr>
        <p:spPr>
          <a:xfrm>
            <a:off x="108679" y="151417"/>
            <a:ext cx="44895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/>
              <a:t>Overall Inventory Reduction</a:t>
            </a:r>
          </a:p>
        </p:txBody>
      </p:sp>
    </p:spTree>
    <p:extLst>
      <p:ext uri="{BB962C8B-B14F-4D97-AF65-F5344CB8AC3E}">
        <p14:creationId xmlns:p14="http://schemas.microsoft.com/office/powerpoint/2010/main" val="13231483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ECF28-8E28-F8D3-300A-65A35A218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0" y="112426"/>
            <a:ext cx="10515819" cy="831928"/>
          </a:xfrm>
        </p:spPr>
        <p:txBody>
          <a:bodyPr/>
          <a:lstStyle/>
          <a:p>
            <a:r>
              <a:rPr lang="en-IN" b="1" dirty="0"/>
              <a:t>Problem State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EE4FA9E-44C2-3921-D372-E355E472C1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971" y="1197012"/>
            <a:ext cx="3968119" cy="1495232"/>
          </a:xfrm>
          <a:prstGeom prst="rect">
            <a:avLst/>
          </a:prstGeom>
        </p:spPr>
      </p:pic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082A96AB-D978-1C1D-B0FB-E879358A08B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08843582"/>
              </p:ext>
            </p:extLst>
          </p:nvPr>
        </p:nvGraphicFramePr>
        <p:xfrm>
          <a:off x="522342" y="3510665"/>
          <a:ext cx="3307376" cy="15902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1857352" imgH="800021" progId="Excel.Sheet.12">
                  <p:embed/>
                </p:oleObj>
              </mc:Choice>
              <mc:Fallback>
                <p:oleObj name="Worksheet" r:id="rId3" imgW="1857352" imgH="800021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082A96AB-D978-1C1D-B0FB-E879358A08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22342" y="3510665"/>
                        <a:ext cx="3307376" cy="15902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C72A179F-CC2D-FC2F-95E3-EDEFED4DC66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59756379"/>
              </p:ext>
            </p:extLst>
          </p:nvPr>
        </p:nvGraphicFramePr>
        <p:xfrm>
          <a:off x="4332158" y="1197012"/>
          <a:ext cx="7667872" cy="5548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5" imgW="6829380" imgH="4276644" progId="Excel.Sheet.12">
                  <p:embed/>
                </p:oleObj>
              </mc:Choice>
              <mc:Fallback>
                <p:oleObj name="Worksheet" r:id="rId5" imgW="6829380" imgH="4276644" progId="Excel.Sheet.12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C72A179F-CC2D-FC2F-95E3-EDEFED4DC6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332158" y="1197012"/>
                        <a:ext cx="7667872" cy="55485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249819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F39C0A-47FF-6E77-9D49-6ED676F482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>
            <a:extLst>
              <a:ext uri="{FF2B5EF4-FFF2-40B4-BE49-F238E27FC236}">
                <a16:creationId xmlns:a16="http://schemas.microsoft.com/office/drawing/2014/main" id="{B84FA83F-596F-1ED2-0DE0-D1026A75CC06}"/>
              </a:ext>
            </a:extLst>
          </p:cNvPr>
          <p:cNvSpPr>
            <a:spLocks/>
          </p:cNvSpPr>
          <p:nvPr/>
        </p:nvSpPr>
        <p:spPr bwMode="auto">
          <a:xfrm>
            <a:off x="6483350" y="4772026"/>
            <a:ext cx="1398588" cy="236538"/>
          </a:xfrm>
          <a:custGeom>
            <a:avLst/>
            <a:gdLst>
              <a:gd name="T0" fmla="*/ 0 w 367"/>
              <a:gd name="T1" fmla="*/ 54 h 62"/>
              <a:gd name="T2" fmla="*/ 366 w 367"/>
              <a:gd name="T3" fmla="*/ 62 h 62"/>
              <a:gd name="T4" fmla="*/ 364 w 367"/>
              <a:gd name="T5" fmla="*/ 38 h 62"/>
              <a:gd name="T6" fmla="*/ 367 w 367"/>
              <a:gd name="T7" fmla="*/ 8 h 62"/>
              <a:gd name="T8" fmla="*/ 1 w 367"/>
              <a:gd name="T9" fmla="*/ 0 h 62"/>
              <a:gd name="T10" fmla="*/ 4 w 367"/>
              <a:gd name="T11" fmla="*/ 25 h 62"/>
              <a:gd name="T12" fmla="*/ 4 w 367"/>
              <a:gd name="T13" fmla="*/ 27 h 62"/>
              <a:gd name="T14" fmla="*/ 0 w 367"/>
              <a:gd name="T15" fmla="*/ 54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67" h="62">
                <a:moveTo>
                  <a:pt x="0" y="54"/>
                </a:moveTo>
                <a:cubicBezTo>
                  <a:pt x="366" y="62"/>
                  <a:pt x="366" y="62"/>
                  <a:pt x="366" y="62"/>
                </a:cubicBezTo>
                <a:cubicBezTo>
                  <a:pt x="364" y="54"/>
                  <a:pt x="364" y="46"/>
                  <a:pt x="364" y="38"/>
                </a:cubicBezTo>
                <a:cubicBezTo>
                  <a:pt x="364" y="28"/>
                  <a:pt x="365" y="18"/>
                  <a:pt x="367" y="8"/>
                </a:cubicBezTo>
                <a:cubicBezTo>
                  <a:pt x="1" y="0"/>
                  <a:pt x="1" y="0"/>
                  <a:pt x="1" y="0"/>
                </a:cubicBezTo>
                <a:cubicBezTo>
                  <a:pt x="3" y="8"/>
                  <a:pt x="4" y="17"/>
                  <a:pt x="4" y="25"/>
                </a:cubicBezTo>
                <a:cubicBezTo>
                  <a:pt x="4" y="26"/>
                  <a:pt x="4" y="27"/>
                  <a:pt x="4" y="27"/>
                </a:cubicBezTo>
                <a:cubicBezTo>
                  <a:pt x="3" y="37"/>
                  <a:pt x="2" y="46"/>
                  <a:pt x="0" y="5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0D2560-F8E0-6F02-941C-8DA9CD7D4214}"/>
              </a:ext>
            </a:extLst>
          </p:cNvPr>
          <p:cNvGrpSpPr/>
          <p:nvPr/>
        </p:nvGrpSpPr>
        <p:grpSpPr>
          <a:xfrm>
            <a:off x="7870825" y="4357688"/>
            <a:ext cx="1119188" cy="1123950"/>
            <a:chOff x="7870825" y="4357688"/>
            <a:chExt cx="1119188" cy="1123950"/>
          </a:xfrm>
        </p:grpSpPr>
        <p:sp>
          <p:nvSpPr>
            <p:cNvPr id="10" name="Oval 10">
              <a:extLst>
                <a:ext uri="{FF2B5EF4-FFF2-40B4-BE49-F238E27FC236}">
                  <a16:creationId xmlns:a16="http://schemas.microsoft.com/office/drawing/2014/main" id="{AE31C745-49A4-03D8-FDA7-CD1BD60157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0825" y="4357688"/>
              <a:ext cx="1119188" cy="112395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Oval 11">
              <a:extLst>
                <a:ext uri="{FF2B5EF4-FFF2-40B4-BE49-F238E27FC236}">
                  <a16:creationId xmlns:a16="http://schemas.microsoft.com/office/drawing/2014/main" id="{72EAAE43-120B-CB20-9C6B-E4A87F96E0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6238" y="4483101"/>
              <a:ext cx="868363" cy="86836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8" name="Freeform 12">
            <a:extLst>
              <a:ext uri="{FF2B5EF4-FFF2-40B4-BE49-F238E27FC236}">
                <a16:creationId xmlns:a16="http://schemas.microsoft.com/office/drawing/2014/main" id="{68643754-0330-4288-6672-4D52B9327EE5}"/>
              </a:ext>
            </a:extLst>
          </p:cNvPr>
          <p:cNvSpPr>
            <a:spLocks/>
          </p:cNvSpPr>
          <p:nvPr/>
        </p:nvSpPr>
        <p:spPr bwMode="auto">
          <a:xfrm>
            <a:off x="6292850" y="3443288"/>
            <a:ext cx="1211263" cy="1219200"/>
          </a:xfrm>
          <a:custGeom>
            <a:avLst/>
            <a:gdLst>
              <a:gd name="T0" fmla="*/ 279 w 318"/>
              <a:gd name="T1" fmla="*/ 0 h 320"/>
              <a:gd name="T2" fmla="*/ 0 w 318"/>
              <a:gd name="T3" fmla="*/ 281 h 320"/>
              <a:gd name="T4" fmla="*/ 22 w 318"/>
              <a:gd name="T5" fmla="*/ 298 h 320"/>
              <a:gd name="T6" fmla="*/ 39 w 318"/>
              <a:gd name="T7" fmla="*/ 320 h 320"/>
              <a:gd name="T8" fmla="*/ 318 w 318"/>
              <a:gd name="T9" fmla="*/ 38 h 320"/>
              <a:gd name="T10" fmla="*/ 279 w 318"/>
              <a:gd name="T11" fmla="*/ 0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" h="320">
                <a:moveTo>
                  <a:pt x="279" y="0"/>
                </a:moveTo>
                <a:cubicBezTo>
                  <a:pt x="0" y="281"/>
                  <a:pt x="0" y="281"/>
                  <a:pt x="0" y="281"/>
                </a:cubicBezTo>
                <a:cubicBezTo>
                  <a:pt x="8" y="286"/>
                  <a:pt x="16" y="292"/>
                  <a:pt x="22" y="298"/>
                </a:cubicBezTo>
                <a:cubicBezTo>
                  <a:pt x="28" y="304"/>
                  <a:pt x="34" y="312"/>
                  <a:pt x="39" y="320"/>
                </a:cubicBezTo>
                <a:cubicBezTo>
                  <a:pt x="318" y="38"/>
                  <a:pt x="318" y="38"/>
                  <a:pt x="318" y="38"/>
                </a:cubicBezTo>
                <a:cubicBezTo>
                  <a:pt x="303" y="28"/>
                  <a:pt x="290" y="15"/>
                  <a:pt x="279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C84F1C4-7631-D822-ACF2-0BEF4CCE7554}"/>
              </a:ext>
            </a:extLst>
          </p:cNvPr>
          <p:cNvGrpSpPr/>
          <p:nvPr/>
        </p:nvGrpSpPr>
        <p:grpSpPr>
          <a:xfrm>
            <a:off x="7256463" y="2562226"/>
            <a:ext cx="1123950" cy="1123950"/>
            <a:chOff x="7256463" y="2562226"/>
            <a:chExt cx="1123950" cy="1123950"/>
          </a:xfrm>
        </p:grpSpPr>
        <p:sp>
          <p:nvSpPr>
            <p:cNvPr id="30" name="Oval 13">
              <a:extLst>
                <a:ext uri="{FF2B5EF4-FFF2-40B4-BE49-F238E27FC236}">
                  <a16:creationId xmlns:a16="http://schemas.microsoft.com/office/drawing/2014/main" id="{D687EEB9-5748-0DB7-FE53-4D24E72BB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6463" y="2562226"/>
              <a:ext cx="1123950" cy="112395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Oval 14">
              <a:extLst>
                <a:ext uri="{FF2B5EF4-FFF2-40B4-BE49-F238E27FC236}">
                  <a16:creationId xmlns:a16="http://schemas.microsoft.com/office/drawing/2014/main" id="{38760DFA-A916-A8E5-7B31-641170A7EA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3463" y="2687638"/>
              <a:ext cx="866775" cy="86995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3" name="Freeform 15">
            <a:extLst>
              <a:ext uri="{FF2B5EF4-FFF2-40B4-BE49-F238E27FC236}">
                <a16:creationId xmlns:a16="http://schemas.microsoft.com/office/drawing/2014/main" id="{AB28A188-FA3C-86B1-AD69-C6D67B0CFB2C}"/>
              </a:ext>
            </a:extLst>
          </p:cNvPr>
          <p:cNvSpPr>
            <a:spLocks/>
          </p:cNvSpPr>
          <p:nvPr/>
        </p:nvSpPr>
        <p:spPr bwMode="auto">
          <a:xfrm>
            <a:off x="5973763" y="3046413"/>
            <a:ext cx="217488" cy="1428750"/>
          </a:xfrm>
          <a:custGeom>
            <a:avLst/>
            <a:gdLst>
              <a:gd name="T0" fmla="*/ 26 w 57"/>
              <a:gd name="T1" fmla="*/ 3 h 375"/>
              <a:gd name="T2" fmla="*/ 0 w 57"/>
              <a:gd name="T3" fmla="*/ 1 h 375"/>
              <a:gd name="T4" fmla="*/ 3 w 57"/>
              <a:gd name="T5" fmla="*/ 375 h 375"/>
              <a:gd name="T6" fmla="*/ 30 w 57"/>
              <a:gd name="T7" fmla="*/ 371 h 375"/>
              <a:gd name="T8" fmla="*/ 31 w 57"/>
              <a:gd name="T9" fmla="*/ 371 h 375"/>
              <a:gd name="T10" fmla="*/ 57 w 57"/>
              <a:gd name="T11" fmla="*/ 374 h 375"/>
              <a:gd name="T12" fmla="*/ 54 w 57"/>
              <a:gd name="T13" fmla="*/ 0 h 375"/>
              <a:gd name="T14" fmla="*/ 26 w 57"/>
              <a:gd name="T15" fmla="*/ 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375">
                <a:moveTo>
                  <a:pt x="26" y="3"/>
                </a:moveTo>
                <a:cubicBezTo>
                  <a:pt x="17" y="3"/>
                  <a:pt x="9" y="2"/>
                  <a:pt x="0" y="1"/>
                </a:cubicBezTo>
                <a:cubicBezTo>
                  <a:pt x="3" y="375"/>
                  <a:pt x="3" y="375"/>
                  <a:pt x="3" y="375"/>
                </a:cubicBezTo>
                <a:cubicBezTo>
                  <a:pt x="12" y="372"/>
                  <a:pt x="21" y="371"/>
                  <a:pt x="30" y="371"/>
                </a:cubicBezTo>
                <a:cubicBezTo>
                  <a:pt x="31" y="371"/>
                  <a:pt x="31" y="371"/>
                  <a:pt x="31" y="371"/>
                </a:cubicBezTo>
                <a:cubicBezTo>
                  <a:pt x="40" y="371"/>
                  <a:pt x="48" y="372"/>
                  <a:pt x="57" y="374"/>
                </a:cubicBezTo>
                <a:cubicBezTo>
                  <a:pt x="54" y="0"/>
                  <a:pt x="54" y="0"/>
                  <a:pt x="54" y="0"/>
                </a:cubicBezTo>
                <a:cubicBezTo>
                  <a:pt x="45" y="2"/>
                  <a:pt x="36" y="3"/>
                  <a:pt x="26" y="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C095AA5-0EE4-74DE-FA2D-935F0447B9BD}"/>
              </a:ext>
            </a:extLst>
          </p:cNvPr>
          <p:cNvGrpSpPr/>
          <p:nvPr/>
        </p:nvGrpSpPr>
        <p:grpSpPr>
          <a:xfrm>
            <a:off x="5513388" y="1936751"/>
            <a:ext cx="1119188" cy="1120775"/>
            <a:chOff x="5513388" y="1936751"/>
            <a:chExt cx="1119188" cy="1120775"/>
          </a:xfrm>
        </p:grpSpPr>
        <p:sp>
          <p:nvSpPr>
            <p:cNvPr id="36" name="Oval 16">
              <a:extLst>
                <a:ext uri="{FF2B5EF4-FFF2-40B4-BE49-F238E27FC236}">
                  <a16:creationId xmlns:a16="http://schemas.microsoft.com/office/drawing/2014/main" id="{92CAE625-1B8F-9B42-86C2-B7DEBC1360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3388" y="1936751"/>
              <a:ext cx="1119188" cy="112077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7" name="Oval 17">
              <a:extLst>
                <a:ext uri="{FF2B5EF4-FFF2-40B4-BE49-F238E27FC236}">
                  <a16:creationId xmlns:a16="http://schemas.microsoft.com/office/drawing/2014/main" id="{B6C6B29C-D88C-44C3-A9EC-4E1B28A2A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8800" y="2063751"/>
              <a:ext cx="868363" cy="86836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8" name="Freeform 18">
            <a:extLst>
              <a:ext uri="{FF2B5EF4-FFF2-40B4-BE49-F238E27FC236}">
                <a16:creationId xmlns:a16="http://schemas.microsoft.com/office/drawing/2014/main" id="{95C5FB01-88F5-7A4F-334E-930A960C5F3A}"/>
              </a:ext>
            </a:extLst>
          </p:cNvPr>
          <p:cNvSpPr>
            <a:spLocks/>
          </p:cNvSpPr>
          <p:nvPr/>
        </p:nvSpPr>
        <p:spPr bwMode="auto">
          <a:xfrm>
            <a:off x="4724400" y="3386138"/>
            <a:ext cx="1173163" cy="1260475"/>
          </a:xfrm>
          <a:custGeom>
            <a:avLst/>
            <a:gdLst>
              <a:gd name="T0" fmla="*/ 40 w 308"/>
              <a:gd name="T1" fmla="*/ 0 h 331"/>
              <a:gd name="T2" fmla="*/ 0 w 308"/>
              <a:gd name="T3" fmla="*/ 37 h 331"/>
              <a:gd name="T4" fmla="*/ 268 w 308"/>
              <a:gd name="T5" fmla="*/ 331 h 331"/>
              <a:gd name="T6" fmla="*/ 286 w 308"/>
              <a:gd name="T7" fmla="*/ 311 h 331"/>
              <a:gd name="T8" fmla="*/ 308 w 308"/>
              <a:gd name="T9" fmla="*/ 295 h 331"/>
              <a:gd name="T10" fmla="*/ 40 w 308"/>
              <a:gd name="T11" fmla="*/ 0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08" h="331">
                <a:moveTo>
                  <a:pt x="40" y="0"/>
                </a:moveTo>
                <a:cubicBezTo>
                  <a:pt x="29" y="15"/>
                  <a:pt x="16" y="27"/>
                  <a:pt x="0" y="37"/>
                </a:cubicBezTo>
                <a:cubicBezTo>
                  <a:pt x="268" y="331"/>
                  <a:pt x="268" y="331"/>
                  <a:pt x="268" y="331"/>
                </a:cubicBezTo>
                <a:cubicBezTo>
                  <a:pt x="273" y="324"/>
                  <a:pt x="279" y="317"/>
                  <a:pt x="286" y="311"/>
                </a:cubicBezTo>
                <a:cubicBezTo>
                  <a:pt x="292" y="304"/>
                  <a:pt x="300" y="299"/>
                  <a:pt x="308" y="295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0A2AB9D-6BA5-6197-439D-24972D0E69EE}"/>
              </a:ext>
            </a:extLst>
          </p:cNvPr>
          <p:cNvGrpSpPr/>
          <p:nvPr/>
        </p:nvGrpSpPr>
        <p:grpSpPr>
          <a:xfrm>
            <a:off x="3871913" y="2486026"/>
            <a:ext cx="1119188" cy="1123950"/>
            <a:chOff x="3871913" y="2486026"/>
            <a:chExt cx="1119188" cy="1123950"/>
          </a:xfrm>
        </p:grpSpPr>
        <p:sp>
          <p:nvSpPr>
            <p:cNvPr id="39" name="Oval 19">
              <a:extLst>
                <a:ext uri="{FF2B5EF4-FFF2-40B4-BE49-F238E27FC236}">
                  <a16:creationId xmlns:a16="http://schemas.microsoft.com/office/drawing/2014/main" id="{1508A964-CB4B-3A9B-895C-2B548F564A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1913" y="2486026"/>
              <a:ext cx="1119188" cy="11239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0" name="Oval 20">
              <a:extLst>
                <a:ext uri="{FF2B5EF4-FFF2-40B4-BE49-F238E27FC236}">
                  <a16:creationId xmlns:a16="http://schemas.microsoft.com/office/drawing/2014/main" id="{1A112695-8AA0-0EAE-4AAA-E9A256D67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7325" y="2611438"/>
              <a:ext cx="868363" cy="86995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41" name="Freeform 21">
            <a:extLst>
              <a:ext uri="{FF2B5EF4-FFF2-40B4-BE49-F238E27FC236}">
                <a16:creationId xmlns:a16="http://schemas.microsoft.com/office/drawing/2014/main" id="{EF0B3B2D-AA25-B57C-8B6E-E2C6AA03B27F}"/>
              </a:ext>
            </a:extLst>
          </p:cNvPr>
          <p:cNvSpPr>
            <a:spLocks/>
          </p:cNvSpPr>
          <p:nvPr/>
        </p:nvSpPr>
        <p:spPr bwMode="auto">
          <a:xfrm>
            <a:off x="4305300" y="4772026"/>
            <a:ext cx="1390650" cy="236538"/>
          </a:xfrm>
          <a:custGeom>
            <a:avLst/>
            <a:gdLst>
              <a:gd name="T0" fmla="*/ 0 w 365"/>
              <a:gd name="T1" fmla="*/ 8 h 62"/>
              <a:gd name="T2" fmla="*/ 3 w 365"/>
              <a:gd name="T3" fmla="*/ 38 h 62"/>
              <a:gd name="T4" fmla="*/ 1 w 365"/>
              <a:gd name="T5" fmla="*/ 62 h 62"/>
              <a:gd name="T6" fmla="*/ 365 w 365"/>
              <a:gd name="T7" fmla="*/ 54 h 62"/>
              <a:gd name="T8" fmla="*/ 361 w 365"/>
              <a:gd name="T9" fmla="*/ 27 h 62"/>
              <a:gd name="T10" fmla="*/ 361 w 365"/>
              <a:gd name="T11" fmla="*/ 25 h 62"/>
              <a:gd name="T12" fmla="*/ 364 w 365"/>
              <a:gd name="T13" fmla="*/ 0 h 62"/>
              <a:gd name="T14" fmla="*/ 0 w 365"/>
              <a:gd name="T15" fmla="*/ 8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65" h="62">
                <a:moveTo>
                  <a:pt x="0" y="8"/>
                </a:moveTo>
                <a:cubicBezTo>
                  <a:pt x="2" y="18"/>
                  <a:pt x="3" y="28"/>
                  <a:pt x="3" y="38"/>
                </a:cubicBezTo>
                <a:cubicBezTo>
                  <a:pt x="3" y="46"/>
                  <a:pt x="3" y="54"/>
                  <a:pt x="1" y="62"/>
                </a:cubicBezTo>
                <a:cubicBezTo>
                  <a:pt x="365" y="54"/>
                  <a:pt x="365" y="54"/>
                  <a:pt x="365" y="54"/>
                </a:cubicBezTo>
                <a:cubicBezTo>
                  <a:pt x="363" y="46"/>
                  <a:pt x="362" y="37"/>
                  <a:pt x="361" y="27"/>
                </a:cubicBezTo>
                <a:cubicBezTo>
                  <a:pt x="361" y="27"/>
                  <a:pt x="361" y="26"/>
                  <a:pt x="361" y="25"/>
                </a:cubicBezTo>
                <a:cubicBezTo>
                  <a:pt x="361" y="17"/>
                  <a:pt x="362" y="8"/>
                  <a:pt x="364" y="0"/>
                </a:cubicBezTo>
                <a:lnTo>
                  <a:pt x="0" y="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BC8BACF-41CA-8E76-9241-5832C804A9B7}"/>
              </a:ext>
            </a:extLst>
          </p:cNvPr>
          <p:cNvGrpSpPr/>
          <p:nvPr/>
        </p:nvGrpSpPr>
        <p:grpSpPr>
          <a:xfrm>
            <a:off x="3197225" y="4357688"/>
            <a:ext cx="1120775" cy="1123950"/>
            <a:chOff x="3197225" y="4357688"/>
            <a:chExt cx="1120775" cy="1123950"/>
          </a:xfrm>
        </p:grpSpPr>
        <p:sp>
          <p:nvSpPr>
            <p:cNvPr id="42" name="Oval 22">
              <a:extLst>
                <a:ext uri="{FF2B5EF4-FFF2-40B4-BE49-F238E27FC236}">
                  <a16:creationId xmlns:a16="http://schemas.microsoft.com/office/drawing/2014/main" id="{6A8CA119-3C7C-97BF-682B-6C2DC75AAB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7225" y="4357688"/>
              <a:ext cx="1120775" cy="11239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3" name="Oval 23">
              <a:extLst>
                <a:ext uri="{FF2B5EF4-FFF2-40B4-BE49-F238E27FC236}">
                  <a16:creationId xmlns:a16="http://schemas.microsoft.com/office/drawing/2014/main" id="{3294E548-909D-E2AA-56F6-945B62DA15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4225" y="4483101"/>
              <a:ext cx="866775" cy="86836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52" name="Freeform 29">
            <a:extLst>
              <a:ext uri="{FF2B5EF4-FFF2-40B4-BE49-F238E27FC236}">
                <a16:creationId xmlns:a16="http://schemas.microsoft.com/office/drawing/2014/main" id="{B53F11C6-EE6B-6BFC-DF6C-9FF3DA38752F}"/>
              </a:ext>
            </a:extLst>
          </p:cNvPr>
          <p:cNvSpPr>
            <a:spLocks/>
          </p:cNvSpPr>
          <p:nvPr/>
        </p:nvSpPr>
        <p:spPr bwMode="auto">
          <a:xfrm>
            <a:off x="6610350" y="3906838"/>
            <a:ext cx="1042988" cy="823913"/>
          </a:xfrm>
          <a:custGeom>
            <a:avLst/>
            <a:gdLst>
              <a:gd name="T0" fmla="*/ 183 w 274"/>
              <a:gd name="T1" fmla="*/ 0 h 216"/>
              <a:gd name="T2" fmla="*/ 172 w 274"/>
              <a:gd name="T3" fmla="*/ 5 h 216"/>
              <a:gd name="T4" fmla="*/ 9 w 274"/>
              <a:gd name="T5" fmla="*/ 169 h 216"/>
              <a:gd name="T6" fmla="*/ 3 w 274"/>
              <a:gd name="T7" fmla="*/ 196 h 216"/>
              <a:gd name="T8" fmla="*/ 26 w 274"/>
              <a:gd name="T9" fmla="*/ 211 h 216"/>
              <a:gd name="T10" fmla="*/ 257 w 274"/>
              <a:gd name="T11" fmla="*/ 216 h 216"/>
              <a:gd name="T12" fmla="*/ 257 w 274"/>
              <a:gd name="T13" fmla="*/ 216 h 216"/>
              <a:gd name="T14" fmla="*/ 273 w 274"/>
              <a:gd name="T15" fmla="*/ 198 h 216"/>
              <a:gd name="T16" fmla="*/ 196 w 274"/>
              <a:gd name="T17" fmla="*/ 7 h 216"/>
              <a:gd name="T18" fmla="*/ 183 w 274"/>
              <a:gd name="T19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4" h="216">
                <a:moveTo>
                  <a:pt x="183" y="0"/>
                </a:moveTo>
                <a:cubicBezTo>
                  <a:pt x="179" y="0"/>
                  <a:pt x="175" y="2"/>
                  <a:pt x="172" y="5"/>
                </a:cubicBezTo>
                <a:cubicBezTo>
                  <a:pt x="140" y="38"/>
                  <a:pt x="56" y="123"/>
                  <a:pt x="9" y="169"/>
                </a:cubicBezTo>
                <a:cubicBezTo>
                  <a:pt x="2" y="176"/>
                  <a:pt x="0" y="188"/>
                  <a:pt x="3" y="196"/>
                </a:cubicBezTo>
                <a:cubicBezTo>
                  <a:pt x="6" y="204"/>
                  <a:pt x="16" y="210"/>
                  <a:pt x="26" y="211"/>
                </a:cubicBezTo>
                <a:cubicBezTo>
                  <a:pt x="91" y="212"/>
                  <a:pt x="196" y="214"/>
                  <a:pt x="257" y="216"/>
                </a:cubicBezTo>
                <a:cubicBezTo>
                  <a:pt x="257" y="216"/>
                  <a:pt x="257" y="216"/>
                  <a:pt x="257" y="216"/>
                </a:cubicBezTo>
                <a:cubicBezTo>
                  <a:pt x="267" y="216"/>
                  <a:pt x="274" y="208"/>
                  <a:pt x="273" y="198"/>
                </a:cubicBezTo>
                <a:cubicBezTo>
                  <a:pt x="264" y="129"/>
                  <a:pt x="237" y="63"/>
                  <a:pt x="196" y="7"/>
                </a:cubicBezTo>
                <a:cubicBezTo>
                  <a:pt x="192" y="3"/>
                  <a:pt x="188" y="0"/>
                  <a:pt x="183" y="0"/>
                </a:cubicBezTo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3" name="Freeform 30">
            <a:extLst>
              <a:ext uri="{FF2B5EF4-FFF2-40B4-BE49-F238E27FC236}">
                <a16:creationId xmlns:a16="http://schemas.microsoft.com/office/drawing/2014/main" id="{6200E854-6162-B8F5-5CF8-E38B897CC115}"/>
              </a:ext>
            </a:extLst>
          </p:cNvPr>
          <p:cNvSpPr>
            <a:spLocks/>
          </p:cNvSpPr>
          <p:nvPr/>
        </p:nvSpPr>
        <p:spPr bwMode="auto">
          <a:xfrm>
            <a:off x="6251575" y="3309938"/>
            <a:ext cx="795338" cy="1031875"/>
          </a:xfrm>
          <a:custGeom>
            <a:avLst/>
            <a:gdLst>
              <a:gd name="T0" fmla="*/ 16 w 209"/>
              <a:gd name="T1" fmla="*/ 0 h 271"/>
              <a:gd name="T2" fmla="*/ 0 w 209"/>
              <a:gd name="T3" fmla="*/ 16 h 271"/>
              <a:gd name="T4" fmla="*/ 2 w 209"/>
              <a:gd name="T5" fmla="*/ 247 h 271"/>
              <a:gd name="T6" fmla="*/ 14 w 209"/>
              <a:gd name="T7" fmla="*/ 270 h 271"/>
              <a:gd name="T8" fmla="*/ 20 w 209"/>
              <a:gd name="T9" fmla="*/ 271 h 271"/>
              <a:gd name="T10" fmla="*/ 39 w 209"/>
              <a:gd name="T11" fmla="*/ 263 h 271"/>
              <a:gd name="T12" fmla="*/ 202 w 209"/>
              <a:gd name="T13" fmla="*/ 99 h 271"/>
              <a:gd name="T14" fmla="*/ 200 w 209"/>
              <a:gd name="T15" fmla="*/ 75 h 271"/>
              <a:gd name="T16" fmla="*/ 18 w 209"/>
              <a:gd name="T17" fmla="*/ 1 h 271"/>
              <a:gd name="T18" fmla="*/ 16 w 209"/>
              <a:gd name="T19" fmla="*/ 0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9" h="271">
                <a:moveTo>
                  <a:pt x="16" y="0"/>
                </a:moveTo>
                <a:cubicBezTo>
                  <a:pt x="7" y="0"/>
                  <a:pt x="0" y="7"/>
                  <a:pt x="0" y="16"/>
                </a:cubicBezTo>
                <a:cubicBezTo>
                  <a:pt x="2" y="247"/>
                  <a:pt x="2" y="247"/>
                  <a:pt x="2" y="247"/>
                </a:cubicBezTo>
                <a:cubicBezTo>
                  <a:pt x="2" y="257"/>
                  <a:pt x="8" y="267"/>
                  <a:pt x="14" y="270"/>
                </a:cubicBezTo>
                <a:cubicBezTo>
                  <a:pt x="16" y="271"/>
                  <a:pt x="18" y="271"/>
                  <a:pt x="20" y="271"/>
                </a:cubicBezTo>
                <a:cubicBezTo>
                  <a:pt x="27" y="271"/>
                  <a:pt x="34" y="268"/>
                  <a:pt x="39" y="263"/>
                </a:cubicBezTo>
                <a:cubicBezTo>
                  <a:pt x="202" y="99"/>
                  <a:pt x="202" y="99"/>
                  <a:pt x="202" y="99"/>
                </a:cubicBezTo>
                <a:cubicBezTo>
                  <a:pt x="209" y="92"/>
                  <a:pt x="208" y="81"/>
                  <a:pt x="200" y="75"/>
                </a:cubicBezTo>
                <a:cubicBezTo>
                  <a:pt x="146" y="36"/>
                  <a:pt x="84" y="10"/>
                  <a:pt x="18" y="1"/>
                </a:cubicBezTo>
                <a:cubicBezTo>
                  <a:pt x="17" y="1"/>
                  <a:pt x="16" y="0"/>
                  <a:pt x="16" y="0"/>
                </a:cubicBezTo>
              </a:path>
            </a:pathLst>
          </a:custGeom>
          <a:solidFill>
            <a:schemeClr val="accent3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4" name="Freeform 31">
            <a:extLst>
              <a:ext uri="{FF2B5EF4-FFF2-40B4-BE49-F238E27FC236}">
                <a16:creationId xmlns:a16="http://schemas.microsoft.com/office/drawing/2014/main" id="{8BE0CA9E-9F0A-5BFA-D73C-6AA0342679F7}"/>
              </a:ext>
            </a:extLst>
          </p:cNvPr>
          <p:cNvSpPr>
            <a:spLocks/>
          </p:cNvSpPr>
          <p:nvPr/>
        </p:nvSpPr>
        <p:spPr bwMode="auto">
          <a:xfrm>
            <a:off x="5173663" y="3313113"/>
            <a:ext cx="742950" cy="1025525"/>
          </a:xfrm>
          <a:custGeom>
            <a:avLst/>
            <a:gdLst>
              <a:gd name="T0" fmla="*/ 178 w 195"/>
              <a:gd name="T1" fmla="*/ 0 h 269"/>
              <a:gd name="T2" fmla="*/ 175 w 195"/>
              <a:gd name="T3" fmla="*/ 0 h 269"/>
              <a:gd name="T4" fmla="*/ 9 w 195"/>
              <a:gd name="T5" fmla="*/ 66 h 269"/>
              <a:gd name="T6" fmla="*/ 7 w 195"/>
              <a:gd name="T7" fmla="*/ 90 h 269"/>
              <a:gd name="T8" fmla="*/ 164 w 195"/>
              <a:gd name="T9" fmla="*/ 259 h 269"/>
              <a:gd name="T10" fmla="*/ 182 w 195"/>
              <a:gd name="T11" fmla="*/ 269 h 269"/>
              <a:gd name="T12" fmla="*/ 185 w 195"/>
              <a:gd name="T13" fmla="*/ 268 h 269"/>
              <a:gd name="T14" fmla="*/ 195 w 195"/>
              <a:gd name="T15" fmla="*/ 247 h 269"/>
              <a:gd name="T16" fmla="*/ 193 w 195"/>
              <a:gd name="T17" fmla="*/ 16 h 269"/>
              <a:gd name="T18" fmla="*/ 178 w 195"/>
              <a:gd name="T19" fmla="*/ 0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5" h="269">
                <a:moveTo>
                  <a:pt x="178" y="0"/>
                </a:moveTo>
                <a:cubicBezTo>
                  <a:pt x="177" y="0"/>
                  <a:pt x="176" y="0"/>
                  <a:pt x="175" y="0"/>
                </a:cubicBezTo>
                <a:cubicBezTo>
                  <a:pt x="116" y="10"/>
                  <a:pt x="59" y="32"/>
                  <a:pt x="9" y="66"/>
                </a:cubicBezTo>
                <a:cubicBezTo>
                  <a:pt x="1" y="72"/>
                  <a:pt x="0" y="82"/>
                  <a:pt x="7" y="90"/>
                </a:cubicBezTo>
                <a:cubicBezTo>
                  <a:pt x="38" y="123"/>
                  <a:pt x="119" y="211"/>
                  <a:pt x="164" y="259"/>
                </a:cubicBezTo>
                <a:cubicBezTo>
                  <a:pt x="169" y="265"/>
                  <a:pt x="177" y="269"/>
                  <a:pt x="182" y="269"/>
                </a:cubicBezTo>
                <a:cubicBezTo>
                  <a:pt x="183" y="269"/>
                  <a:pt x="184" y="269"/>
                  <a:pt x="185" y="268"/>
                </a:cubicBezTo>
                <a:cubicBezTo>
                  <a:pt x="190" y="266"/>
                  <a:pt x="195" y="257"/>
                  <a:pt x="195" y="247"/>
                </a:cubicBezTo>
                <a:cubicBezTo>
                  <a:pt x="193" y="16"/>
                  <a:pt x="193" y="16"/>
                  <a:pt x="193" y="16"/>
                </a:cubicBezTo>
                <a:cubicBezTo>
                  <a:pt x="193" y="7"/>
                  <a:pt x="187" y="0"/>
                  <a:pt x="178" y="0"/>
                </a:cubicBezTo>
              </a:path>
            </a:pathLst>
          </a:custGeom>
          <a:solidFill>
            <a:schemeClr val="accent2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5" name="Freeform 32">
            <a:extLst>
              <a:ext uri="{FF2B5EF4-FFF2-40B4-BE49-F238E27FC236}">
                <a16:creationId xmlns:a16="http://schemas.microsoft.com/office/drawing/2014/main" id="{6F5BB394-9948-2706-2B47-B0E585AB71D9}"/>
              </a:ext>
            </a:extLst>
          </p:cNvPr>
          <p:cNvSpPr>
            <a:spLocks/>
          </p:cNvSpPr>
          <p:nvPr/>
        </p:nvSpPr>
        <p:spPr bwMode="auto">
          <a:xfrm>
            <a:off x="4527550" y="3868738"/>
            <a:ext cx="1050925" cy="862013"/>
          </a:xfrm>
          <a:custGeom>
            <a:avLst/>
            <a:gdLst>
              <a:gd name="T0" fmla="*/ 99 w 276"/>
              <a:gd name="T1" fmla="*/ 0 h 226"/>
              <a:gd name="T2" fmla="*/ 87 w 276"/>
              <a:gd name="T3" fmla="*/ 6 h 226"/>
              <a:gd name="T4" fmla="*/ 1 w 276"/>
              <a:gd name="T5" fmla="*/ 208 h 226"/>
              <a:gd name="T6" fmla="*/ 17 w 276"/>
              <a:gd name="T7" fmla="*/ 226 h 226"/>
              <a:gd name="T8" fmla="*/ 17 w 276"/>
              <a:gd name="T9" fmla="*/ 226 h 226"/>
              <a:gd name="T10" fmla="*/ 248 w 276"/>
              <a:gd name="T11" fmla="*/ 221 h 226"/>
              <a:gd name="T12" fmla="*/ 272 w 276"/>
              <a:gd name="T13" fmla="*/ 203 h 226"/>
              <a:gd name="T14" fmla="*/ 268 w 276"/>
              <a:gd name="T15" fmla="*/ 174 h 226"/>
              <a:gd name="T16" fmla="*/ 111 w 276"/>
              <a:gd name="T17" fmla="*/ 5 h 226"/>
              <a:gd name="T18" fmla="*/ 99 w 276"/>
              <a:gd name="T19" fmla="*/ 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6" h="226">
                <a:moveTo>
                  <a:pt x="99" y="0"/>
                </a:moveTo>
                <a:cubicBezTo>
                  <a:pt x="95" y="0"/>
                  <a:pt x="90" y="2"/>
                  <a:pt x="87" y="6"/>
                </a:cubicBezTo>
                <a:cubicBezTo>
                  <a:pt x="41" y="64"/>
                  <a:pt x="11" y="134"/>
                  <a:pt x="1" y="208"/>
                </a:cubicBezTo>
                <a:cubicBezTo>
                  <a:pt x="0" y="218"/>
                  <a:pt x="7" y="226"/>
                  <a:pt x="17" y="226"/>
                </a:cubicBezTo>
                <a:cubicBezTo>
                  <a:pt x="17" y="226"/>
                  <a:pt x="17" y="226"/>
                  <a:pt x="17" y="226"/>
                </a:cubicBezTo>
                <a:cubicBezTo>
                  <a:pt x="248" y="221"/>
                  <a:pt x="248" y="221"/>
                  <a:pt x="248" y="221"/>
                </a:cubicBezTo>
                <a:cubicBezTo>
                  <a:pt x="258" y="220"/>
                  <a:pt x="268" y="212"/>
                  <a:pt x="272" y="203"/>
                </a:cubicBezTo>
                <a:cubicBezTo>
                  <a:pt x="276" y="194"/>
                  <a:pt x="275" y="182"/>
                  <a:pt x="268" y="174"/>
                </a:cubicBezTo>
                <a:cubicBezTo>
                  <a:pt x="223" y="126"/>
                  <a:pt x="142" y="38"/>
                  <a:pt x="111" y="5"/>
                </a:cubicBezTo>
                <a:cubicBezTo>
                  <a:pt x="107" y="1"/>
                  <a:pt x="103" y="0"/>
                  <a:pt x="99" y="0"/>
                </a:cubicBezTo>
              </a:path>
            </a:pathLst>
          </a:custGeom>
          <a:solidFill>
            <a:schemeClr val="accent6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9" name="Freeform 33">
            <a:extLst>
              <a:ext uri="{FF2B5EF4-FFF2-40B4-BE49-F238E27FC236}">
                <a16:creationId xmlns:a16="http://schemas.microsoft.com/office/drawing/2014/main" id="{A0E47D42-96E9-A74D-4C4C-0265F20B100A}"/>
              </a:ext>
            </a:extLst>
          </p:cNvPr>
          <p:cNvSpPr>
            <a:spLocks/>
          </p:cNvSpPr>
          <p:nvPr/>
        </p:nvSpPr>
        <p:spPr bwMode="auto">
          <a:xfrm>
            <a:off x="4511675" y="5054601"/>
            <a:ext cx="3155950" cy="1409700"/>
          </a:xfrm>
          <a:custGeom>
            <a:avLst/>
            <a:gdLst>
              <a:gd name="T0" fmla="*/ 580 w 829"/>
              <a:gd name="T1" fmla="*/ 0 h 370"/>
              <a:gd name="T2" fmla="*/ 555 w 829"/>
              <a:gd name="T3" fmla="*/ 16 h 370"/>
              <a:gd name="T4" fmla="*/ 415 w 829"/>
              <a:gd name="T5" fmla="*/ 106 h 370"/>
              <a:gd name="T6" fmla="*/ 274 w 829"/>
              <a:gd name="T7" fmla="*/ 16 h 370"/>
              <a:gd name="T8" fmla="*/ 250 w 829"/>
              <a:gd name="T9" fmla="*/ 0 h 370"/>
              <a:gd name="T10" fmla="*/ 249 w 829"/>
              <a:gd name="T11" fmla="*/ 0 h 370"/>
              <a:gd name="T12" fmla="*/ 17 w 829"/>
              <a:gd name="T13" fmla="*/ 5 h 370"/>
              <a:gd name="T14" fmla="*/ 2 w 829"/>
              <a:gd name="T15" fmla="*/ 23 h 370"/>
              <a:gd name="T16" fmla="*/ 130 w 829"/>
              <a:gd name="T17" fmla="*/ 259 h 370"/>
              <a:gd name="T18" fmla="*/ 415 w 829"/>
              <a:gd name="T19" fmla="*/ 370 h 370"/>
              <a:gd name="T20" fmla="*/ 699 w 829"/>
              <a:gd name="T21" fmla="*/ 259 h 370"/>
              <a:gd name="T22" fmla="*/ 827 w 829"/>
              <a:gd name="T23" fmla="*/ 23 h 370"/>
              <a:gd name="T24" fmla="*/ 812 w 829"/>
              <a:gd name="T25" fmla="*/ 5 h 370"/>
              <a:gd name="T26" fmla="*/ 580 w 829"/>
              <a:gd name="T27" fmla="*/ 0 h 370"/>
              <a:gd name="T28" fmla="*/ 580 w 829"/>
              <a:gd name="T29" fmla="*/ 0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29" h="370">
                <a:moveTo>
                  <a:pt x="580" y="0"/>
                </a:moveTo>
                <a:cubicBezTo>
                  <a:pt x="570" y="0"/>
                  <a:pt x="559" y="7"/>
                  <a:pt x="555" y="16"/>
                </a:cubicBezTo>
                <a:cubicBezTo>
                  <a:pt x="531" y="69"/>
                  <a:pt x="477" y="106"/>
                  <a:pt x="415" y="106"/>
                </a:cubicBezTo>
                <a:cubicBezTo>
                  <a:pt x="352" y="106"/>
                  <a:pt x="298" y="69"/>
                  <a:pt x="274" y="16"/>
                </a:cubicBezTo>
                <a:cubicBezTo>
                  <a:pt x="270" y="7"/>
                  <a:pt x="259" y="0"/>
                  <a:pt x="250" y="0"/>
                </a:cubicBezTo>
                <a:cubicBezTo>
                  <a:pt x="249" y="0"/>
                  <a:pt x="249" y="0"/>
                  <a:pt x="249" y="0"/>
                </a:cubicBezTo>
                <a:cubicBezTo>
                  <a:pt x="17" y="5"/>
                  <a:pt x="17" y="5"/>
                  <a:pt x="17" y="5"/>
                </a:cubicBezTo>
                <a:cubicBezTo>
                  <a:pt x="7" y="5"/>
                  <a:pt x="0" y="13"/>
                  <a:pt x="2" y="23"/>
                </a:cubicBezTo>
                <a:cubicBezTo>
                  <a:pt x="17" y="113"/>
                  <a:pt x="62" y="196"/>
                  <a:pt x="130" y="259"/>
                </a:cubicBezTo>
                <a:cubicBezTo>
                  <a:pt x="208" y="331"/>
                  <a:pt x="309" y="370"/>
                  <a:pt x="415" y="370"/>
                </a:cubicBezTo>
                <a:cubicBezTo>
                  <a:pt x="520" y="370"/>
                  <a:pt x="621" y="331"/>
                  <a:pt x="699" y="259"/>
                </a:cubicBezTo>
                <a:cubicBezTo>
                  <a:pt x="767" y="196"/>
                  <a:pt x="812" y="113"/>
                  <a:pt x="827" y="23"/>
                </a:cubicBezTo>
                <a:cubicBezTo>
                  <a:pt x="829" y="13"/>
                  <a:pt x="822" y="5"/>
                  <a:pt x="812" y="5"/>
                </a:cubicBezTo>
                <a:cubicBezTo>
                  <a:pt x="580" y="0"/>
                  <a:pt x="580" y="0"/>
                  <a:pt x="580" y="0"/>
                </a:cubicBezTo>
                <a:cubicBezTo>
                  <a:pt x="580" y="0"/>
                  <a:pt x="580" y="0"/>
                  <a:pt x="580" y="0"/>
                </a:cubicBezTo>
              </a:path>
            </a:pathLst>
          </a:custGeom>
          <a:solidFill>
            <a:schemeClr val="accent5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5" name="Rectangle 64">
            <a:extLst>
              <a:ext uri="{FF2B5EF4-FFF2-40B4-BE49-F238E27FC236}">
                <a16:creationId xmlns:a16="http://schemas.microsoft.com/office/drawing/2014/main" id="{C1E89F35-6E66-14E7-73E4-E2D968770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7724" y="4290924"/>
            <a:ext cx="183986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65381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Demand Forecasting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6538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6" name="Rectangle 65">
            <a:extLst>
              <a:ext uri="{FF2B5EF4-FFF2-40B4-BE49-F238E27FC236}">
                <a16:creationId xmlns:a16="http://schemas.microsoft.com/office/drawing/2014/main" id="{6977BD00-71B2-90EF-AF81-6630923098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81191" y="1986478"/>
            <a:ext cx="221214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altLang="ru-RU" sz="1400" b="1" dirty="0">
                <a:solidFill>
                  <a:srgbClr val="03A9F4"/>
                </a:solidFill>
                <a:latin typeface="Open Sans" panose="020B0606030504020204" pitchFamily="34" charset="0"/>
              </a:rPr>
              <a:t>D-Chain Implementation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3A9F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7" name="Rectangle 66">
            <a:extLst>
              <a:ext uri="{FF2B5EF4-FFF2-40B4-BE49-F238E27FC236}">
                <a16:creationId xmlns:a16="http://schemas.microsoft.com/office/drawing/2014/main" id="{7FA2F170-DDB5-C4A7-39B0-EC3FA28BF7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0509" y="954406"/>
            <a:ext cx="198894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altLang="ru-RU" sz="1400" b="1" noProof="0" dirty="0">
                <a:solidFill>
                  <a:srgbClr val="00CEE8"/>
                </a:solidFill>
                <a:latin typeface="Open Sans" panose="020B0606030504020204" pitchFamily="34" charset="0"/>
              </a:rPr>
              <a:t>Product Life-cycle SOP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CEE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8" name="Rectangle 67">
            <a:extLst>
              <a:ext uri="{FF2B5EF4-FFF2-40B4-BE49-F238E27FC236}">
                <a16:creationId xmlns:a16="http://schemas.microsoft.com/office/drawing/2014/main" id="{ACFCD692-D2A8-9950-1A2C-17916607B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2505" y="1969588"/>
            <a:ext cx="204530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altLang="ru-RU" sz="1400" b="1" dirty="0">
                <a:solidFill>
                  <a:srgbClr val="FFD000"/>
                </a:solidFill>
                <a:latin typeface="Open Sans" panose="020B0606030504020204" pitchFamily="34" charset="0"/>
              </a:rPr>
              <a:t>Standardized CAT Code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FFD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9" name="Rectangle 68">
            <a:extLst>
              <a:ext uri="{FF2B5EF4-FFF2-40B4-BE49-F238E27FC236}">
                <a16:creationId xmlns:a16="http://schemas.microsoft.com/office/drawing/2014/main" id="{121BE8F6-19F9-BB55-FF68-4E96EEB8CF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277" y="4313238"/>
            <a:ext cx="119866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altLang="ru-RU" sz="1400" b="1" dirty="0">
                <a:solidFill>
                  <a:srgbClr val="BD114D"/>
                </a:solidFill>
                <a:latin typeface="Open Sans" panose="020B0606030504020204" pitchFamily="34" charset="0"/>
              </a:rPr>
              <a:t>Recalibration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BD114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2" name="Button">
            <a:extLst>
              <a:ext uri="{FF2B5EF4-FFF2-40B4-BE49-F238E27FC236}">
                <a16:creationId xmlns:a16="http://schemas.microsoft.com/office/drawing/2014/main" id="{83C7F9E9-7323-020B-0EE5-ACD1C7127E5E}"/>
              </a:ext>
            </a:extLst>
          </p:cNvPr>
          <p:cNvGrpSpPr/>
          <p:nvPr/>
        </p:nvGrpSpPr>
        <p:grpSpPr>
          <a:xfrm>
            <a:off x="5680075" y="4460876"/>
            <a:ext cx="819150" cy="814388"/>
            <a:chOff x="5680075" y="4460876"/>
            <a:chExt cx="819150" cy="814388"/>
          </a:xfrm>
        </p:grpSpPr>
        <p:sp>
          <p:nvSpPr>
            <p:cNvPr id="7" name="Oval 7">
              <a:extLst>
                <a:ext uri="{FF2B5EF4-FFF2-40B4-BE49-F238E27FC236}">
                  <a16:creationId xmlns:a16="http://schemas.microsoft.com/office/drawing/2014/main" id="{E5DB2638-97AA-F511-653C-D6CA6D495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0075" y="4460876"/>
              <a:ext cx="819150" cy="814388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outerShdw blurRad="88900" dist="38100" dir="2700000" algn="tl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" name="Oval 8">
              <a:extLst>
                <a:ext uri="{FF2B5EF4-FFF2-40B4-BE49-F238E27FC236}">
                  <a16:creationId xmlns:a16="http://schemas.microsoft.com/office/drawing/2014/main" id="{B0F74E8C-8832-7EE4-6BAD-95FD105BF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1038" y="4540251"/>
              <a:ext cx="658813" cy="655638"/>
            </a:xfrm>
            <a:prstGeom prst="ellipse">
              <a:avLst/>
            </a:prstGeom>
            <a:solidFill>
              <a:srgbClr val="ED1C24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86AD05BB-89A7-4768-ECF1-947E02113B59}"/>
              </a:ext>
            </a:extLst>
          </p:cNvPr>
          <p:cNvGrpSpPr/>
          <p:nvPr/>
        </p:nvGrpSpPr>
        <p:grpSpPr>
          <a:xfrm>
            <a:off x="5635625" y="4791076"/>
            <a:ext cx="1190626" cy="2078038"/>
            <a:chOff x="5635625" y="4791076"/>
            <a:chExt cx="1190626" cy="2078038"/>
          </a:xfrm>
        </p:grpSpPr>
        <p:sp>
          <p:nvSpPr>
            <p:cNvPr id="60" name="Freeform 34">
              <a:extLst>
                <a:ext uri="{FF2B5EF4-FFF2-40B4-BE49-F238E27FC236}">
                  <a16:creationId xmlns:a16="http://schemas.microsoft.com/office/drawing/2014/main" id="{09AF90DB-B4C0-FCE3-D760-3473D9FFB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4791076"/>
              <a:ext cx="1138238" cy="1357313"/>
            </a:xfrm>
            <a:custGeom>
              <a:avLst/>
              <a:gdLst>
                <a:gd name="T0" fmla="*/ 299 w 299"/>
                <a:gd name="T1" fmla="*/ 155 h 356"/>
                <a:gd name="T2" fmla="*/ 299 w 299"/>
                <a:gd name="T3" fmla="*/ 307 h 356"/>
                <a:gd name="T4" fmla="*/ 292 w 299"/>
                <a:gd name="T5" fmla="*/ 325 h 356"/>
                <a:gd name="T6" fmla="*/ 284 w 299"/>
                <a:gd name="T7" fmla="*/ 356 h 356"/>
                <a:gd name="T8" fmla="*/ 274 w 299"/>
                <a:gd name="T9" fmla="*/ 356 h 356"/>
                <a:gd name="T10" fmla="*/ 107 w 299"/>
                <a:gd name="T11" fmla="*/ 356 h 356"/>
                <a:gd name="T12" fmla="*/ 98 w 299"/>
                <a:gd name="T13" fmla="*/ 338 h 356"/>
                <a:gd name="T14" fmla="*/ 77 w 299"/>
                <a:gd name="T15" fmla="*/ 316 h 356"/>
                <a:gd name="T16" fmla="*/ 57 w 299"/>
                <a:gd name="T17" fmla="*/ 286 h 356"/>
                <a:gd name="T18" fmla="*/ 48 w 299"/>
                <a:gd name="T19" fmla="*/ 271 h 356"/>
                <a:gd name="T20" fmla="*/ 41 w 299"/>
                <a:gd name="T21" fmla="*/ 256 h 356"/>
                <a:gd name="T22" fmla="*/ 38 w 299"/>
                <a:gd name="T23" fmla="*/ 243 h 356"/>
                <a:gd name="T24" fmla="*/ 35 w 299"/>
                <a:gd name="T25" fmla="*/ 239 h 356"/>
                <a:gd name="T26" fmla="*/ 28 w 299"/>
                <a:gd name="T27" fmla="*/ 232 h 356"/>
                <a:gd name="T28" fmla="*/ 3 w 299"/>
                <a:gd name="T29" fmla="*/ 207 h 356"/>
                <a:gd name="T30" fmla="*/ 0 w 299"/>
                <a:gd name="T31" fmla="*/ 201 h 356"/>
                <a:gd name="T32" fmla="*/ 0 w 299"/>
                <a:gd name="T33" fmla="*/ 198 h 356"/>
                <a:gd name="T34" fmla="*/ 14 w 299"/>
                <a:gd name="T35" fmla="*/ 182 h 356"/>
                <a:gd name="T36" fmla="*/ 79 w 299"/>
                <a:gd name="T37" fmla="*/ 207 h 356"/>
                <a:gd name="T38" fmla="*/ 97 w 299"/>
                <a:gd name="T39" fmla="*/ 237 h 356"/>
                <a:gd name="T40" fmla="*/ 97 w 299"/>
                <a:gd name="T41" fmla="*/ 25 h 356"/>
                <a:gd name="T42" fmla="*/ 123 w 299"/>
                <a:gd name="T43" fmla="*/ 0 h 356"/>
                <a:gd name="T44" fmla="*/ 148 w 299"/>
                <a:gd name="T45" fmla="*/ 25 h 356"/>
                <a:gd name="T46" fmla="*/ 148 w 299"/>
                <a:gd name="T47" fmla="*/ 132 h 356"/>
                <a:gd name="T48" fmla="*/ 173 w 299"/>
                <a:gd name="T49" fmla="*/ 106 h 356"/>
                <a:gd name="T50" fmla="*/ 198 w 299"/>
                <a:gd name="T51" fmla="*/ 132 h 356"/>
                <a:gd name="T52" fmla="*/ 198 w 299"/>
                <a:gd name="T53" fmla="*/ 144 h 356"/>
                <a:gd name="T54" fmla="*/ 224 w 299"/>
                <a:gd name="T55" fmla="*/ 119 h 356"/>
                <a:gd name="T56" fmla="*/ 249 w 299"/>
                <a:gd name="T57" fmla="*/ 144 h 356"/>
                <a:gd name="T58" fmla="*/ 249 w 299"/>
                <a:gd name="T59" fmla="*/ 155 h 356"/>
                <a:gd name="T60" fmla="*/ 274 w 299"/>
                <a:gd name="T61" fmla="*/ 129 h 356"/>
                <a:gd name="T62" fmla="*/ 299 w 299"/>
                <a:gd name="T63" fmla="*/ 15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9" h="356">
                  <a:moveTo>
                    <a:pt x="299" y="155"/>
                  </a:moveTo>
                  <a:cubicBezTo>
                    <a:pt x="299" y="307"/>
                    <a:pt x="299" y="307"/>
                    <a:pt x="299" y="307"/>
                  </a:cubicBezTo>
                  <a:cubicBezTo>
                    <a:pt x="299" y="313"/>
                    <a:pt x="297" y="319"/>
                    <a:pt x="292" y="325"/>
                  </a:cubicBezTo>
                  <a:cubicBezTo>
                    <a:pt x="286" y="331"/>
                    <a:pt x="284" y="356"/>
                    <a:pt x="284" y="356"/>
                  </a:cubicBezTo>
                  <a:cubicBezTo>
                    <a:pt x="284" y="356"/>
                    <a:pt x="280" y="356"/>
                    <a:pt x="274" y="356"/>
                  </a:cubicBezTo>
                  <a:cubicBezTo>
                    <a:pt x="107" y="356"/>
                    <a:pt x="107" y="356"/>
                    <a:pt x="107" y="356"/>
                  </a:cubicBezTo>
                  <a:cubicBezTo>
                    <a:pt x="107" y="347"/>
                    <a:pt x="101" y="340"/>
                    <a:pt x="98" y="338"/>
                  </a:cubicBezTo>
                  <a:cubicBezTo>
                    <a:pt x="91" y="333"/>
                    <a:pt x="83" y="327"/>
                    <a:pt x="77" y="316"/>
                  </a:cubicBezTo>
                  <a:cubicBezTo>
                    <a:pt x="71" y="306"/>
                    <a:pt x="64" y="295"/>
                    <a:pt x="57" y="286"/>
                  </a:cubicBezTo>
                  <a:cubicBezTo>
                    <a:pt x="53" y="280"/>
                    <a:pt x="52" y="279"/>
                    <a:pt x="48" y="271"/>
                  </a:cubicBezTo>
                  <a:cubicBezTo>
                    <a:pt x="45" y="266"/>
                    <a:pt x="41" y="262"/>
                    <a:pt x="41" y="256"/>
                  </a:cubicBezTo>
                  <a:cubicBezTo>
                    <a:pt x="40" y="252"/>
                    <a:pt x="39" y="247"/>
                    <a:pt x="38" y="243"/>
                  </a:cubicBezTo>
                  <a:cubicBezTo>
                    <a:pt x="37" y="242"/>
                    <a:pt x="36" y="240"/>
                    <a:pt x="35" y="239"/>
                  </a:cubicBezTo>
                  <a:cubicBezTo>
                    <a:pt x="33" y="236"/>
                    <a:pt x="31" y="234"/>
                    <a:pt x="28" y="232"/>
                  </a:cubicBezTo>
                  <a:cubicBezTo>
                    <a:pt x="19" y="224"/>
                    <a:pt x="9" y="215"/>
                    <a:pt x="3" y="207"/>
                  </a:cubicBezTo>
                  <a:cubicBezTo>
                    <a:pt x="2" y="205"/>
                    <a:pt x="1" y="203"/>
                    <a:pt x="0" y="201"/>
                  </a:cubicBezTo>
                  <a:cubicBezTo>
                    <a:pt x="0" y="200"/>
                    <a:pt x="0" y="199"/>
                    <a:pt x="0" y="198"/>
                  </a:cubicBezTo>
                  <a:cubicBezTo>
                    <a:pt x="1" y="193"/>
                    <a:pt x="5" y="188"/>
                    <a:pt x="14" y="182"/>
                  </a:cubicBezTo>
                  <a:cubicBezTo>
                    <a:pt x="39" y="166"/>
                    <a:pt x="63" y="185"/>
                    <a:pt x="79" y="207"/>
                  </a:cubicBezTo>
                  <a:cubicBezTo>
                    <a:pt x="84" y="214"/>
                    <a:pt x="91" y="225"/>
                    <a:pt x="97" y="237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12"/>
                    <a:pt x="109" y="0"/>
                    <a:pt x="123" y="0"/>
                  </a:cubicBezTo>
                  <a:cubicBezTo>
                    <a:pt x="137" y="0"/>
                    <a:pt x="148" y="12"/>
                    <a:pt x="148" y="25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8" y="118"/>
                    <a:pt x="159" y="106"/>
                    <a:pt x="173" y="106"/>
                  </a:cubicBezTo>
                  <a:cubicBezTo>
                    <a:pt x="187" y="106"/>
                    <a:pt x="198" y="118"/>
                    <a:pt x="198" y="132"/>
                  </a:cubicBezTo>
                  <a:cubicBezTo>
                    <a:pt x="198" y="144"/>
                    <a:pt x="198" y="144"/>
                    <a:pt x="198" y="144"/>
                  </a:cubicBezTo>
                  <a:cubicBezTo>
                    <a:pt x="198" y="130"/>
                    <a:pt x="210" y="119"/>
                    <a:pt x="224" y="119"/>
                  </a:cubicBezTo>
                  <a:cubicBezTo>
                    <a:pt x="238" y="119"/>
                    <a:pt x="249" y="130"/>
                    <a:pt x="249" y="144"/>
                  </a:cubicBezTo>
                  <a:cubicBezTo>
                    <a:pt x="249" y="155"/>
                    <a:pt x="249" y="155"/>
                    <a:pt x="249" y="155"/>
                  </a:cubicBezTo>
                  <a:cubicBezTo>
                    <a:pt x="249" y="141"/>
                    <a:pt x="260" y="129"/>
                    <a:pt x="274" y="129"/>
                  </a:cubicBezTo>
                  <a:cubicBezTo>
                    <a:pt x="288" y="129"/>
                    <a:pt x="299" y="141"/>
                    <a:pt x="299" y="155"/>
                  </a:cubicBezTo>
                  <a:close/>
                </a:path>
              </a:pathLst>
            </a:custGeom>
            <a:solidFill>
              <a:srgbClr val="FCD0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1" name="Freeform 35">
              <a:extLst>
                <a:ext uri="{FF2B5EF4-FFF2-40B4-BE49-F238E27FC236}">
                  <a16:creationId xmlns:a16="http://schemas.microsoft.com/office/drawing/2014/main" id="{8E61BB4B-1E81-1E2F-481B-3F1D663CF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5481638"/>
              <a:ext cx="482600" cy="666750"/>
            </a:xfrm>
            <a:custGeom>
              <a:avLst/>
              <a:gdLst>
                <a:gd name="T0" fmla="*/ 117 w 127"/>
                <a:gd name="T1" fmla="*/ 156 h 175"/>
                <a:gd name="T2" fmla="*/ 95 w 127"/>
                <a:gd name="T3" fmla="*/ 133 h 175"/>
                <a:gd name="T4" fmla="*/ 73 w 127"/>
                <a:gd name="T5" fmla="*/ 100 h 175"/>
                <a:gd name="T6" fmla="*/ 63 w 127"/>
                <a:gd name="T7" fmla="*/ 85 h 175"/>
                <a:gd name="T8" fmla="*/ 56 w 127"/>
                <a:gd name="T9" fmla="*/ 69 h 175"/>
                <a:gd name="T10" fmla="*/ 52 w 127"/>
                <a:gd name="T11" fmla="*/ 55 h 175"/>
                <a:gd name="T12" fmla="*/ 50 w 127"/>
                <a:gd name="T13" fmla="*/ 51 h 175"/>
                <a:gd name="T14" fmla="*/ 42 w 127"/>
                <a:gd name="T15" fmla="*/ 43 h 175"/>
                <a:gd name="T16" fmla="*/ 15 w 127"/>
                <a:gd name="T17" fmla="*/ 17 h 175"/>
                <a:gd name="T18" fmla="*/ 12 w 127"/>
                <a:gd name="T19" fmla="*/ 10 h 175"/>
                <a:gd name="T20" fmla="*/ 12 w 127"/>
                <a:gd name="T21" fmla="*/ 7 h 175"/>
                <a:gd name="T22" fmla="*/ 15 w 127"/>
                <a:gd name="T23" fmla="*/ 0 h 175"/>
                <a:gd name="T24" fmla="*/ 14 w 127"/>
                <a:gd name="T25" fmla="*/ 1 h 175"/>
                <a:gd name="T26" fmla="*/ 0 w 127"/>
                <a:gd name="T27" fmla="*/ 17 h 175"/>
                <a:gd name="T28" fmla="*/ 0 w 127"/>
                <a:gd name="T29" fmla="*/ 20 h 175"/>
                <a:gd name="T30" fmla="*/ 3 w 127"/>
                <a:gd name="T31" fmla="*/ 26 h 175"/>
                <a:gd name="T32" fmla="*/ 28 w 127"/>
                <a:gd name="T33" fmla="*/ 51 h 175"/>
                <a:gd name="T34" fmla="*/ 35 w 127"/>
                <a:gd name="T35" fmla="*/ 58 h 175"/>
                <a:gd name="T36" fmla="*/ 38 w 127"/>
                <a:gd name="T37" fmla="*/ 62 h 175"/>
                <a:gd name="T38" fmla="*/ 41 w 127"/>
                <a:gd name="T39" fmla="*/ 75 h 175"/>
                <a:gd name="T40" fmla="*/ 48 w 127"/>
                <a:gd name="T41" fmla="*/ 90 h 175"/>
                <a:gd name="T42" fmla="*/ 57 w 127"/>
                <a:gd name="T43" fmla="*/ 105 h 175"/>
                <a:gd name="T44" fmla="*/ 77 w 127"/>
                <a:gd name="T45" fmla="*/ 135 h 175"/>
                <a:gd name="T46" fmla="*/ 98 w 127"/>
                <a:gd name="T47" fmla="*/ 157 h 175"/>
                <a:gd name="T48" fmla="*/ 107 w 127"/>
                <a:gd name="T49" fmla="*/ 175 h 175"/>
                <a:gd name="T50" fmla="*/ 127 w 127"/>
                <a:gd name="T51" fmla="*/ 175 h 175"/>
                <a:gd name="T52" fmla="*/ 117 w 127"/>
                <a:gd name="T53" fmla="*/ 15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7" h="175">
                  <a:moveTo>
                    <a:pt x="117" y="156"/>
                  </a:moveTo>
                  <a:cubicBezTo>
                    <a:pt x="109" y="151"/>
                    <a:pt x="101" y="144"/>
                    <a:pt x="95" y="133"/>
                  </a:cubicBezTo>
                  <a:cubicBezTo>
                    <a:pt x="88" y="122"/>
                    <a:pt x="80" y="111"/>
                    <a:pt x="73" y="100"/>
                  </a:cubicBezTo>
                  <a:cubicBezTo>
                    <a:pt x="69" y="95"/>
                    <a:pt x="68" y="93"/>
                    <a:pt x="63" y="85"/>
                  </a:cubicBezTo>
                  <a:cubicBezTo>
                    <a:pt x="60" y="79"/>
                    <a:pt x="56" y="75"/>
                    <a:pt x="56" y="69"/>
                  </a:cubicBezTo>
                  <a:cubicBezTo>
                    <a:pt x="55" y="64"/>
                    <a:pt x="54" y="59"/>
                    <a:pt x="52" y="55"/>
                  </a:cubicBezTo>
                  <a:cubicBezTo>
                    <a:pt x="52" y="54"/>
                    <a:pt x="51" y="52"/>
                    <a:pt x="50" y="51"/>
                  </a:cubicBezTo>
                  <a:cubicBezTo>
                    <a:pt x="48" y="48"/>
                    <a:pt x="45" y="45"/>
                    <a:pt x="42" y="43"/>
                  </a:cubicBezTo>
                  <a:cubicBezTo>
                    <a:pt x="32" y="35"/>
                    <a:pt x="22" y="25"/>
                    <a:pt x="15" y="17"/>
                  </a:cubicBezTo>
                  <a:cubicBezTo>
                    <a:pt x="14" y="15"/>
                    <a:pt x="13" y="12"/>
                    <a:pt x="12" y="10"/>
                  </a:cubicBezTo>
                  <a:cubicBezTo>
                    <a:pt x="12" y="9"/>
                    <a:pt x="12" y="8"/>
                    <a:pt x="12" y="7"/>
                  </a:cubicBezTo>
                  <a:cubicBezTo>
                    <a:pt x="13" y="5"/>
                    <a:pt x="13" y="3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5" y="7"/>
                    <a:pt x="1" y="12"/>
                    <a:pt x="0" y="17"/>
                  </a:cubicBezTo>
                  <a:cubicBezTo>
                    <a:pt x="0" y="18"/>
                    <a:pt x="0" y="19"/>
                    <a:pt x="0" y="20"/>
                  </a:cubicBezTo>
                  <a:cubicBezTo>
                    <a:pt x="1" y="22"/>
                    <a:pt x="2" y="24"/>
                    <a:pt x="3" y="26"/>
                  </a:cubicBezTo>
                  <a:cubicBezTo>
                    <a:pt x="9" y="34"/>
                    <a:pt x="19" y="43"/>
                    <a:pt x="28" y="51"/>
                  </a:cubicBezTo>
                  <a:cubicBezTo>
                    <a:pt x="31" y="53"/>
                    <a:pt x="33" y="55"/>
                    <a:pt x="35" y="58"/>
                  </a:cubicBezTo>
                  <a:cubicBezTo>
                    <a:pt x="36" y="59"/>
                    <a:pt x="37" y="61"/>
                    <a:pt x="38" y="62"/>
                  </a:cubicBezTo>
                  <a:cubicBezTo>
                    <a:pt x="39" y="66"/>
                    <a:pt x="40" y="71"/>
                    <a:pt x="41" y="75"/>
                  </a:cubicBezTo>
                  <a:cubicBezTo>
                    <a:pt x="41" y="81"/>
                    <a:pt x="45" y="85"/>
                    <a:pt x="48" y="90"/>
                  </a:cubicBezTo>
                  <a:cubicBezTo>
                    <a:pt x="52" y="98"/>
                    <a:pt x="53" y="99"/>
                    <a:pt x="57" y="105"/>
                  </a:cubicBezTo>
                  <a:cubicBezTo>
                    <a:pt x="64" y="114"/>
                    <a:pt x="71" y="125"/>
                    <a:pt x="77" y="135"/>
                  </a:cubicBezTo>
                  <a:cubicBezTo>
                    <a:pt x="83" y="146"/>
                    <a:pt x="91" y="152"/>
                    <a:pt x="98" y="157"/>
                  </a:cubicBezTo>
                  <a:cubicBezTo>
                    <a:pt x="101" y="159"/>
                    <a:pt x="107" y="166"/>
                    <a:pt x="10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66"/>
                    <a:pt x="120" y="159"/>
                    <a:pt x="117" y="156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2" name="Freeform 36">
              <a:extLst>
                <a:ext uri="{FF2B5EF4-FFF2-40B4-BE49-F238E27FC236}">
                  <a16:creationId xmlns:a16="http://schemas.microsoft.com/office/drawing/2014/main" id="{EEBF50C6-8D11-A88B-35F3-7C6374266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4150" y="5260976"/>
              <a:ext cx="49213" cy="266700"/>
            </a:xfrm>
            <a:custGeom>
              <a:avLst/>
              <a:gdLst>
                <a:gd name="T0" fmla="*/ 13 w 13"/>
                <a:gd name="T1" fmla="*/ 32 h 70"/>
                <a:gd name="T2" fmla="*/ 13 w 13"/>
                <a:gd name="T3" fmla="*/ 21 h 70"/>
                <a:gd name="T4" fmla="*/ 0 w 13"/>
                <a:gd name="T5" fmla="*/ 0 h 70"/>
                <a:gd name="T6" fmla="*/ 7 w 13"/>
                <a:gd name="T7" fmla="*/ 17 h 70"/>
                <a:gd name="T8" fmla="*/ 7 w 13"/>
                <a:gd name="T9" fmla="*/ 27 h 70"/>
                <a:gd name="T10" fmla="*/ 7 w 13"/>
                <a:gd name="T11" fmla="*/ 70 h 70"/>
                <a:gd name="T12" fmla="*/ 13 w 13"/>
                <a:gd name="T13" fmla="*/ 70 h 70"/>
                <a:gd name="T14" fmla="*/ 13 w 13"/>
                <a:gd name="T15" fmla="*/ 3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0">
                  <a:moveTo>
                    <a:pt x="13" y="32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13" y="12"/>
                    <a:pt x="8" y="4"/>
                    <a:pt x="0" y="0"/>
                  </a:cubicBezTo>
                  <a:cubicBezTo>
                    <a:pt x="5" y="4"/>
                    <a:pt x="7" y="10"/>
                    <a:pt x="7" y="1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9" y="70"/>
                    <a:pt x="11" y="70"/>
                    <a:pt x="13" y="70"/>
                  </a:cubicBezTo>
                  <a:lnTo>
                    <a:pt x="13" y="32"/>
                  </a:ln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3" name="Freeform 37">
              <a:extLst>
                <a:ext uri="{FF2B5EF4-FFF2-40B4-BE49-F238E27FC236}">
                  <a16:creationId xmlns:a16="http://schemas.microsoft.com/office/drawing/2014/main" id="{32EE7CFB-4465-3D63-0688-5B16C5AD1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3363" y="5291138"/>
              <a:ext cx="60325" cy="236538"/>
            </a:xfrm>
            <a:custGeom>
              <a:avLst/>
              <a:gdLst>
                <a:gd name="T0" fmla="*/ 16 w 16"/>
                <a:gd name="T1" fmla="*/ 0 h 62"/>
                <a:gd name="T2" fmla="*/ 0 w 16"/>
                <a:gd name="T3" fmla="*/ 24 h 62"/>
                <a:gd name="T4" fmla="*/ 0 w 16"/>
                <a:gd name="T5" fmla="*/ 62 h 62"/>
                <a:gd name="T6" fmla="*/ 3 w 16"/>
                <a:gd name="T7" fmla="*/ 62 h 62"/>
                <a:gd name="T8" fmla="*/ 8 w 16"/>
                <a:gd name="T9" fmla="*/ 62 h 62"/>
                <a:gd name="T10" fmla="*/ 8 w 16"/>
                <a:gd name="T11" fmla="*/ 18 h 62"/>
                <a:gd name="T12" fmla="*/ 16 w 16"/>
                <a:gd name="T1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62">
                  <a:moveTo>
                    <a:pt x="16" y="0"/>
                  </a:moveTo>
                  <a:cubicBezTo>
                    <a:pt x="7" y="4"/>
                    <a:pt x="0" y="13"/>
                    <a:pt x="0" y="2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2"/>
                    <a:pt x="2" y="62"/>
                    <a:pt x="3" y="62"/>
                  </a:cubicBezTo>
                  <a:cubicBezTo>
                    <a:pt x="5" y="62"/>
                    <a:pt x="7" y="62"/>
                    <a:pt x="8" y="62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1"/>
                    <a:pt x="11" y="5"/>
                    <a:pt x="16" y="0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5" name="Freeform 38">
              <a:extLst>
                <a:ext uri="{FF2B5EF4-FFF2-40B4-BE49-F238E27FC236}">
                  <a16:creationId xmlns:a16="http://schemas.microsoft.com/office/drawing/2014/main" id="{9E619E97-CAD7-8FF9-7ADC-D606A1903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9838" y="5199063"/>
              <a:ext cx="68263" cy="320675"/>
            </a:xfrm>
            <a:custGeom>
              <a:avLst/>
              <a:gdLst>
                <a:gd name="T0" fmla="*/ 18 w 18"/>
                <a:gd name="T1" fmla="*/ 37 h 84"/>
                <a:gd name="T2" fmla="*/ 18 w 18"/>
                <a:gd name="T3" fmla="*/ 25 h 84"/>
                <a:gd name="T4" fmla="*/ 0 w 18"/>
                <a:gd name="T5" fmla="*/ 0 h 84"/>
                <a:gd name="T6" fmla="*/ 12 w 18"/>
                <a:gd name="T7" fmla="*/ 22 h 84"/>
                <a:gd name="T8" fmla="*/ 12 w 18"/>
                <a:gd name="T9" fmla="*/ 35 h 84"/>
                <a:gd name="T10" fmla="*/ 12 w 18"/>
                <a:gd name="T11" fmla="*/ 83 h 84"/>
                <a:gd name="T12" fmla="*/ 18 w 18"/>
                <a:gd name="T13" fmla="*/ 84 h 84"/>
                <a:gd name="T14" fmla="*/ 18 w 18"/>
                <a:gd name="T15" fmla="*/ 3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84">
                  <a:moveTo>
                    <a:pt x="18" y="37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18" y="13"/>
                    <a:pt x="10" y="3"/>
                    <a:pt x="0" y="0"/>
                  </a:cubicBezTo>
                  <a:cubicBezTo>
                    <a:pt x="7" y="5"/>
                    <a:pt x="12" y="13"/>
                    <a:pt x="12" y="22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14" y="83"/>
                    <a:pt x="16" y="84"/>
                    <a:pt x="18" y="84"/>
                  </a:cubicBezTo>
                  <a:lnTo>
                    <a:pt x="18" y="37"/>
                  </a:ln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6" name="Freeform 39">
              <a:extLst>
                <a:ext uri="{FF2B5EF4-FFF2-40B4-BE49-F238E27FC236}">
                  <a16:creationId xmlns:a16="http://schemas.microsoft.com/office/drawing/2014/main" id="{D41E4AD9-8E3B-AA9A-F39B-0C0A85A4B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8100" y="5260976"/>
              <a:ext cx="50800" cy="258763"/>
            </a:xfrm>
            <a:custGeom>
              <a:avLst/>
              <a:gdLst>
                <a:gd name="T0" fmla="*/ 8 w 13"/>
                <a:gd name="T1" fmla="*/ 68 h 68"/>
                <a:gd name="T2" fmla="*/ 8 w 13"/>
                <a:gd name="T3" fmla="*/ 15 h 68"/>
                <a:gd name="T4" fmla="*/ 13 w 13"/>
                <a:gd name="T5" fmla="*/ 0 h 68"/>
                <a:gd name="T6" fmla="*/ 0 w 13"/>
                <a:gd name="T7" fmla="*/ 21 h 68"/>
                <a:gd name="T8" fmla="*/ 0 w 13"/>
                <a:gd name="T9" fmla="*/ 68 h 68"/>
                <a:gd name="T10" fmla="*/ 8 w 13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68">
                  <a:moveTo>
                    <a:pt x="8" y="68"/>
                  </a:moveTo>
                  <a:cubicBezTo>
                    <a:pt x="8" y="15"/>
                    <a:pt x="8" y="15"/>
                    <a:pt x="8" y="15"/>
                  </a:cubicBezTo>
                  <a:cubicBezTo>
                    <a:pt x="8" y="9"/>
                    <a:pt x="10" y="4"/>
                    <a:pt x="13" y="0"/>
                  </a:cubicBezTo>
                  <a:cubicBezTo>
                    <a:pt x="5" y="4"/>
                    <a:pt x="0" y="12"/>
                    <a:pt x="0" y="2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" y="68"/>
                    <a:pt x="5" y="68"/>
                    <a:pt x="8" y="68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7" name="Freeform 40">
              <a:extLst>
                <a:ext uri="{FF2B5EF4-FFF2-40B4-BE49-F238E27FC236}">
                  <a16:creationId xmlns:a16="http://schemas.microsoft.com/office/drawing/2014/main" id="{F1C10CC0-DA5B-C638-AAC9-5930BB503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3150" y="4806951"/>
              <a:ext cx="46038" cy="688975"/>
            </a:xfrm>
            <a:custGeom>
              <a:avLst/>
              <a:gdLst>
                <a:gd name="T0" fmla="*/ 12 w 12"/>
                <a:gd name="T1" fmla="*/ 181 h 181"/>
                <a:gd name="T2" fmla="*/ 12 w 12"/>
                <a:gd name="T3" fmla="*/ 128 h 181"/>
                <a:gd name="T4" fmla="*/ 12 w 12"/>
                <a:gd name="T5" fmla="*/ 21 h 181"/>
                <a:gd name="T6" fmla="*/ 0 w 12"/>
                <a:gd name="T7" fmla="*/ 0 h 181"/>
                <a:gd name="T8" fmla="*/ 5 w 12"/>
                <a:gd name="T9" fmla="*/ 15 h 181"/>
                <a:gd name="T10" fmla="*/ 5 w 12"/>
                <a:gd name="T11" fmla="*/ 121 h 181"/>
                <a:gd name="T12" fmla="*/ 5 w 12"/>
                <a:gd name="T13" fmla="*/ 181 h 181"/>
                <a:gd name="T14" fmla="*/ 12 w 12"/>
                <a:gd name="T15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81">
                  <a:moveTo>
                    <a:pt x="12" y="181"/>
                  </a:moveTo>
                  <a:cubicBezTo>
                    <a:pt x="12" y="128"/>
                    <a:pt x="12" y="128"/>
                    <a:pt x="12" y="128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2"/>
                    <a:pt x="7" y="4"/>
                    <a:pt x="0" y="0"/>
                  </a:cubicBezTo>
                  <a:cubicBezTo>
                    <a:pt x="3" y="4"/>
                    <a:pt x="5" y="9"/>
                    <a:pt x="5" y="15"/>
                  </a:cubicBezTo>
                  <a:cubicBezTo>
                    <a:pt x="5" y="121"/>
                    <a:pt x="5" y="121"/>
                    <a:pt x="5" y="121"/>
                  </a:cubicBezTo>
                  <a:cubicBezTo>
                    <a:pt x="5" y="181"/>
                    <a:pt x="5" y="181"/>
                    <a:pt x="5" y="181"/>
                  </a:cubicBezTo>
                  <a:cubicBezTo>
                    <a:pt x="7" y="181"/>
                    <a:pt x="9" y="181"/>
                    <a:pt x="12" y="181"/>
                  </a:cubicBez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Freeform 41">
              <a:extLst>
                <a:ext uri="{FF2B5EF4-FFF2-40B4-BE49-F238E27FC236}">
                  <a16:creationId xmlns:a16="http://schemas.microsoft.com/office/drawing/2014/main" id="{299B5DCF-8D1E-14FC-D239-D7B433B9F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9188" y="5199063"/>
              <a:ext cx="79375" cy="296863"/>
            </a:xfrm>
            <a:custGeom>
              <a:avLst/>
              <a:gdLst>
                <a:gd name="T0" fmla="*/ 8 w 21"/>
                <a:gd name="T1" fmla="*/ 76 h 78"/>
                <a:gd name="T2" fmla="*/ 8 w 21"/>
                <a:gd name="T3" fmla="*/ 22 h 78"/>
                <a:gd name="T4" fmla="*/ 21 w 21"/>
                <a:gd name="T5" fmla="*/ 0 h 78"/>
                <a:gd name="T6" fmla="*/ 0 w 21"/>
                <a:gd name="T7" fmla="*/ 25 h 78"/>
                <a:gd name="T8" fmla="*/ 0 w 21"/>
                <a:gd name="T9" fmla="*/ 78 h 78"/>
                <a:gd name="T10" fmla="*/ 8 w 21"/>
                <a:gd name="T11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78">
                  <a:moveTo>
                    <a:pt x="8" y="76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8" y="12"/>
                    <a:pt x="13" y="4"/>
                    <a:pt x="21" y="0"/>
                  </a:cubicBezTo>
                  <a:cubicBezTo>
                    <a:pt x="9" y="2"/>
                    <a:pt x="0" y="12"/>
                    <a:pt x="0" y="2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5" y="77"/>
                    <a:pt x="8" y="76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3" name="Freeform 42">
              <a:extLst>
                <a:ext uri="{FF2B5EF4-FFF2-40B4-BE49-F238E27FC236}">
                  <a16:creationId xmlns:a16="http://schemas.microsoft.com/office/drawing/2014/main" id="{712BB409-2138-82FE-F84D-E939D9E28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5299076"/>
              <a:ext cx="95250" cy="849313"/>
            </a:xfrm>
            <a:custGeom>
              <a:avLst/>
              <a:gdLst>
                <a:gd name="T0" fmla="*/ 25 w 25"/>
                <a:gd name="T1" fmla="*/ 174 h 223"/>
                <a:gd name="T2" fmla="*/ 25 w 25"/>
                <a:gd name="T3" fmla="*/ 174 h 223"/>
                <a:gd name="T4" fmla="*/ 25 w 25"/>
                <a:gd name="T5" fmla="*/ 22 h 223"/>
                <a:gd name="T6" fmla="*/ 12 w 25"/>
                <a:gd name="T7" fmla="*/ 0 h 223"/>
                <a:gd name="T8" fmla="*/ 19 w 25"/>
                <a:gd name="T9" fmla="*/ 16 h 223"/>
                <a:gd name="T10" fmla="*/ 19 w 25"/>
                <a:gd name="T11" fmla="*/ 169 h 223"/>
                <a:gd name="T12" fmla="*/ 18 w 25"/>
                <a:gd name="T13" fmla="*/ 172 h 223"/>
                <a:gd name="T14" fmla="*/ 9 w 25"/>
                <a:gd name="T15" fmla="*/ 188 h 223"/>
                <a:gd name="T16" fmla="*/ 0 w 25"/>
                <a:gd name="T17" fmla="*/ 223 h 223"/>
                <a:gd name="T18" fmla="*/ 10 w 25"/>
                <a:gd name="T19" fmla="*/ 223 h 223"/>
                <a:gd name="T20" fmla="*/ 18 w 25"/>
                <a:gd name="T21" fmla="*/ 192 h 223"/>
                <a:gd name="T22" fmla="*/ 25 w 25"/>
                <a:gd name="T23" fmla="*/ 17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223">
                  <a:moveTo>
                    <a:pt x="25" y="174"/>
                  </a:moveTo>
                  <a:cubicBezTo>
                    <a:pt x="25" y="174"/>
                    <a:pt x="25" y="174"/>
                    <a:pt x="25" y="174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12"/>
                    <a:pt x="20" y="4"/>
                    <a:pt x="12" y="0"/>
                  </a:cubicBezTo>
                  <a:cubicBezTo>
                    <a:pt x="16" y="4"/>
                    <a:pt x="19" y="10"/>
                    <a:pt x="19" y="16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71"/>
                    <a:pt x="18" y="172"/>
                    <a:pt x="18" y="172"/>
                  </a:cubicBezTo>
                  <a:cubicBezTo>
                    <a:pt x="17" y="177"/>
                    <a:pt x="13" y="184"/>
                    <a:pt x="9" y="188"/>
                  </a:cubicBezTo>
                  <a:cubicBezTo>
                    <a:pt x="4" y="194"/>
                    <a:pt x="0" y="223"/>
                    <a:pt x="0" y="223"/>
                  </a:cubicBezTo>
                  <a:cubicBezTo>
                    <a:pt x="6" y="223"/>
                    <a:pt x="10" y="223"/>
                    <a:pt x="10" y="223"/>
                  </a:cubicBezTo>
                  <a:cubicBezTo>
                    <a:pt x="10" y="223"/>
                    <a:pt x="12" y="198"/>
                    <a:pt x="18" y="192"/>
                  </a:cubicBezTo>
                  <a:cubicBezTo>
                    <a:pt x="23" y="186"/>
                    <a:pt x="25" y="180"/>
                    <a:pt x="25" y="174"/>
                  </a:cubicBez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4" name="Freeform 43">
              <a:extLst>
                <a:ext uri="{FF2B5EF4-FFF2-40B4-BE49-F238E27FC236}">
                  <a16:creationId xmlns:a16="http://schemas.microsoft.com/office/drawing/2014/main" id="{8C0AC9BB-D089-E801-C1D1-3364AB42D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6875" y="5942013"/>
              <a:ext cx="3175" cy="12700"/>
            </a:xfrm>
            <a:custGeom>
              <a:avLst/>
              <a:gdLst>
                <a:gd name="T0" fmla="*/ 0 w 1"/>
                <a:gd name="T1" fmla="*/ 3 h 3"/>
                <a:gd name="T2" fmla="*/ 1 w 1"/>
                <a:gd name="T3" fmla="*/ 0 h 3"/>
                <a:gd name="T4" fmla="*/ 0 w 1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cubicBezTo>
                    <a:pt x="0" y="3"/>
                    <a:pt x="1" y="2"/>
                    <a:pt x="1" y="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5" name="Freeform 44">
              <a:extLst>
                <a:ext uri="{FF2B5EF4-FFF2-40B4-BE49-F238E27FC236}">
                  <a16:creationId xmlns:a16="http://schemas.microsoft.com/office/drawing/2014/main" id="{6B39873D-28A0-3B99-7B8A-B6622C0BC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3925" y="4803776"/>
              <a:ext cx="53975" cy="944563"/>
            </a:xfrm>
            <a:custGeom>
              <a:avLst/>
              <a:gdLst>
                <a:gd name="T0" fmla="*/ 8 w 14"/>
                <a:gd name="T1" fmla="*/ 248 h 248"/>
                <a:gd name="T2" fmla="*/ 8 w 14"/>
                <a:gd name="T3" fmla="*/ 16 h 248"/>
                <a:gd name="T4" fmla="*/ 14 w 14"/>
                <a:gd name="T5" fmla="*/ 0 h 248"/>
                <a:gd name="T6" fmla="*/ 0 w 14"/>
                <a:gd name="T7" fmla="*/ 22 h 248"/>
                <a:gd name="T8" fmla="*/ 0 w 14"/>
                <a:gd name="T9" fmla="*/ 234 h 248"/>
                <a:gd name="T10" fmla="*/ 8 w 14"/>
                <a:gd name="T11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48">
                  <a:moveTo>
                    <a:pt x="8" y="24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8" y="10"/>
                    <a:pt x="10" y="5"/>
                    <a:pt x="14" y="0"/>
                  </a:cubicBezTo>
                  <a:cubicBezTo>
                    <a:pt x="6" y="5"/>
                    <a:pt x="0" y="13"/>
                    <a:pt x="0" y="22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3" y="238"/>
                    <a:pt x="6" y="243"/>
                    <a:pt x="8" y="248"/>
                  </a:cubicBezTo>
                  <a:close/>
                </a:path>
              </a:pathLst>
            </a:custGeom>
            <a:solidFill>
              <a:srgbClr val="F0B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6" name="Freeform 45">
              <a:extLst>
                <a:ext uri="{FF2B5EF4-FFF2-40B4-BE49-F238E27FC236}">
                  <a16:creationId xmlns:a16="http://schemas.microsoft.com/office/drawing/2014/main" id="{6FB93934-A0BA-3F01-6E3F-53B8C0D7A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8800" y="5424488"/>
              <a:ext cx="365125" cy="342900"/>
            </a:xfrm>
            <a:custGeom>
              <a:avLst/>
              <a:gdLst>
                <a:gd name="T0" fmla="*/ 78 w 96"/>
                <a:gd name="T1" fmla="*/ 41 h 90"/>
                <a:gd name="T2" fmla="*/ 13 w 96"/>
                <a:gd name="T3" fmla="*/ 16 h 90"/>
                <a:gd name="T4" fmla="*/ 0 w 96"/>
                <a:gd name="T5" fmla="*/ 29 h 90"/>
                <a:gd name="T6" fmla="*/ 7 w 96"/>
                <a:gd name="T7" fmla="*/ 24 h 90"/>
                <a:gd name="T8" fmla="*/ 72 w 96"/>
                <a:gd name="T9" fmla="*/ 49 h 90"/>
                <a:gd name="T10" fmla="*/ 96 w 96"/>
                <a:gd name="T11" fmla="*/ 90 h 90"/>
                <a:gd name="T12" fmla="*/ 96 w 96"/>
                <a:gd name="T13" fmla="*/ 71 h 90"/>
                <a:gd name="T14" fmla="*/ 78 w 96"/>
                <a:gd name="T15" fmla="*/ 4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90">
                  <a:moveTo>
                    <a:pt x="78" y="41"/>
                  </a:moveTo>
                  <a:cubicBezTo>
                    <a:pt x="62" y="19"/>
                    <a:pt x="38" y="0"/>
                    <a:pt x="13" y="16"/>
                  </a:cubicBezTo>
                  <a:cubicBezTo>
                    <a:pt x="6" y="21"/>
                    <a:pt x="2" y="25"/>
                    <a:pt x="0" y="29"/>
                  </a:cubicBezTo>
                  <a:cubicBezTo>
                    <a:pt x="2" y="27"/>
                    <a:pt x="4" y="25"/>
                    <a:pt x="7" y="24"/>
                  </a:cubicBezTo>
                  <a:cubicBezTo>
                    <a:pt x="31" y="8"/>
                    <a:pt x="56" y="27"/>
                    <a:pt x="72" y="49"/>
                  </a:cubicBezTo>
                  <a:cubicBezTo>
                    <a:pt x="79" y="58"/>
                    <a:pt x="87" y="74"/>
                    <a:pt x="96" y="90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0" y="59"/>
                    <a:pt x="83" y="48"/>
                    <a:pt x="78" y="41"/>
                  </a:cubicBezTo>
                  <a:close/>
                </a:path>
              </a:pathLst>
            </a:custGeom>
            <a:solidFill>
              <a:srgbClr val="FDE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7" name="Freeform 46">
              <a:extLst>
                <a:ext uri="{FF2B5EF4-FFF2-40B4-BE49-F238E27FC236}">
                  <a16:creationId xmlns:a16="http://schemas.microsoft.com/office/drawing/2014/main" id="{CE35DD7C-E5B7-C9BD-9A62-A5165C710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0913" y="4818063"/>
              <a:ext cx="144463" cy="176213"/>
            </a:xfrm>
            <a:custGeom>
              <a:avLst/>
              <a:gdLst>
                <a:gd name="T0" fmla="*/ 38 w 38"/>
                <a:gd name="T1" fmla="*/ 34 h 46"/>
                <a:gd name="T2" fmla="*/ 26 w 38"/>
                <a:gd name="T3" fmla="*/ 46 h 46"/>
                <a:gd name="T4" fmla="*/ 11 w 38"/>
                <a:gd name="T5" fmla="*/ 46 h 46"/>
                <a:gd name="T6" fmla="*/ 0 w 38"/>
                <a:gd name="T7" fmla="*/ 34 h 46"/>
                <a:gd name="T8" fmla="*/ 0 w 38"/>
                <a:gd name="T9" fmla="*/ 12 h 46"/>
                <a:gd name="T10" fmla="*/ 11 w 38"/>
                <a:gd name="T11" fmla="*/ 0 h 46"/>
                <a:gd name="T12" fmla="*/ 26 w 38"/>
                <a:gd name="T13" fmla="*/ 0 h 46"/>
                <a:gd name="T14" fmla="*/ 38 w 38"/>
                <a:gd name="T15" fmla="*/ 12 h 46"/>
                <a:gd name="T16" fmla="*/ 38 w 38"/>
                <a:gd name="T17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6">
                  <a:moveTo>
                    <a:pt x="38" y="34"/>
                  </a:moveTo>
                  <a:cubicBezTo>
                    <a:pt x="38" y="41"/>
                    <a:pt x="32" y="46"/>
                    <a:pt x="26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5" y="46"/>
                    <a:pt x="0" y="41"/>
                    <a:pt x="0" y="3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2" y="0"/>
                    <a:pt x="38" y="5"/>
                    <a:pt x="38" y="12"/>
                  </a:cubicBezTo>
                  <a:lnTo>
                    <a:pt x="3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8" name="Freeform 47">
              <a:extLst>
                <a:ext uri="{FF2B5EF4-FFF2-40B4-BE49-F238E27FC236}">
                  <a16:creationId xmlns:a16="http://schemas.microsoft.com/office/drawing/2014/main" id="{9CCC92DB-AA9E-F49D-17FA-8A7E3207F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5522913"/>
              <a:ext cx="169863" cy="179388"/>
            </a:xfrm>
            <a:custGeom>
              <a:avLst/>
              <a:gdLst>
                <a:gd name="T0" fmla="*/ 40 w 45"/>
                <a:gd name="T1" fmla="*/ 43 h 47"/>
                <a:gd name="T2" fmla="*/ 35 w 45"/>
                <a:gd name="T3" fmla="*/ 47 h 47"/>
                <a:gd name="T4" fmla="*/ 28 w 45"/>
                <a:gd name="T5" fmla="*/ 40 h 47"/>
                <a:gd name="T6" fmla="*/ 3 w 45"/>
                <a:gd name="T7" fmla="*/ 15 h 47"/>
                <a:gd name="T8" fmla="*/ 0 w 45"/>
                <a:gd name="T9" fmla="*/ 9 h 47"/>
                <a:gd name="T10" fmla="*/ 5 w 45"/>
                <a:gd name="T11" fmla="*/ 5 h 47"/>
                <a:gd name="T12" fmla="*/ 23 w 45"/>
                <a:gd name="T13" fmla="*/ 6 h 47"/>
                <a:gd name="T14" fmla="*/ 40 w 45"/>
                <a:gd name="T15" fmla="*/ 24 h 47"/>
                <a:gd name="T16" fmla="*/ 40 w 45"/>
                <a:gd name="T17" fmla="*/ 4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7">
                  <a:moveTo>
                    <a:pt x="40" y="43"/>
                  </a:moveTo>
                  <a:cubicBezTo>
                    <a:pt x="35" y="47"/>
                    <a:pt x="35" y="47"/>
                    <a:pt x="35" y="47"/>
                  </a:cubicBezTo>
                  <a:cubicBezTo>
                    <a:pt x="33" y="44"/>
                    <a:pt x="31" y="42"/>
                    <a:pt x="28" y="40"/>
                  </a:cubicBezTo>
                  <a:cubicBezTo>
                    <a:pt x="19" y="32"/>
                    <a:pt x="9" y="23"/>
                    <a:pt x="3" y="15"/>
                  </a:cubicBezTo>
                  <a:cubicBezTo>
                    <a:pt x="2" y="13"/>
                    <a:pt x="1" y="11"/>
                    <a:pt x="0" y="9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10" y="0"/>
                    <a:pt x="18" y="0"/>
                    <a:pt x="23" y="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5" y="30"/>
                    <a:pt x="45" y="38"/>
                    <a:pt x="40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9" name="Freeform 48">
              <a:extLst>
                <a:ext uri="{FF2B5EF4-FFF2-40B4-BE49-F238E27FC236}">
                  <a16:creationId xmlns:a16="http://schemas.microsoft.com/office/drawing/2014/main" id="{9092E170-1607-6DDA-69E9-E9F5A4165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8688" y="6145213"/>
              <a:ext cx="760413" cy="166688"/>
            </a:xfrm>
            <a:custGeom>
              <a:avLst/>
              <a:gdLst>
                <a:gd name="T0" fmla="*/ 307 w 479"/>
                <a:gd name="T1" fmla="*/ 105 h 105"/>
                <a:gd name="T2" fmla="*/ 0 w 479"/>
                <a:gd name="T3" fmla="*/ 105 h 105"/>
                <a:gd name="T4" fmla="*/ 0 w 479"/>
                <a:gd name="T5" fmla="*/ 0 h 105"/>
                <a:gd name="T6" fmla="*/ 48 w 479"/>
                <a:gd name="T7" fmla="*/ 0 h 105"/>
                <a:gd name="T8" fmla="*/ 307 w 479"/>
                <a:gd name="T9" fmla="*/ 0 h 105"/>
                <a:gd name="T10" fmla="*/ 405 w 479"/>
                <a:gd name="T11" fmla="*/ 0 h 105"/>
                <a:gd name="T12" fmla="*/ 479 w 479"/>
                <a:gd name="T13" fmla="*/ 0 h 105"/>
                <a:gd name="T14" fmla="*/ 479 w 479"/>
                <a:gd name="T15" fmla="*/ 105 h 105"/>
                <a:gd name="T16" fmla="*/ 307 w 479"/>
                <a:gd name="T1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05">
                  <a:moveTo>
                    <a:pt x="307" y="105"/>
                  </a:moveTo>
                  <a:lnTo>
                    <a:pt x="0" y="105"/>
                  </a:lnTo>
                  <a:lnTo>
                    <a:pt x="0" y="0"/>
                  </a:lnTo>
                  <a:lnTo>
                    <a:pt x="48" y="0"/>
                  </a:lnTo>
                  <a:lnTo>
                    <a:pt x="307" y="0"/>
                  </a:lnTo>
                  <a:lnTo>
                    <a:pt x="405" y="0"/>
                  </a:lnTo>
                  <a:lnTo>
                    <a:pt x="479" y="0"/>
                  </a:lnTo>
                  <a:lnTo>
                    <a:pt x="479" y="105"/>
                  </a:lnTo>
                  <a:lnTo>
                    <a:pt x="307" y="1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0" name="Freeform 49">
              <a:extLst>
                <a:ext uri="{FF2B5EF4-FFF2-40B4-BE49-F238E27FC236}">
                  <a16:creationId xmlns:a16="http://schemas.microsoft.com/office/drawing/2014/main" id="{D7C4D21B-CC48-4A1B-3404-D6577076A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050" y="6151563"/>
              <a:ext cx="273050" cy="168275"/>
            </a:xfrm>
            <a:custGeom>
              <a:avLst/>
              <a:gdLst>
                <a:gd name="T0" fmla="*/ 16 w 172"/>
                <a:gd name="T1" fmla="*/ 5 h 106"/>
                <a:gd name="T2" fmla="*/ 172 w 172"/>
                <a:gd name="T3" fmla="*/ 0 h 106"/>
                <a:gd name="T4" fmla="*/ 172 w 172"/>
                <a:gd name="T5" fmla="*/ 106 h 106"/>
                <a:gd name="T6" fmla="*/ 0 w 172"/>
                <a:gd name="T7" fmla="*/ 106 h 106"/>
                <a:gd name="T8" fmla="*/ 16 w 172"/>
                <a:gd name="T9" fmla="*/ 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06">
                  <a:moveTo>
                    <a:pt x="16" y="5"/>
                  </a:moveTo>
                  <a:lnTo>
                    <a:pt x="172" y="0"/>
                  </a:lnTo>
                  <a:lnTo>
                    <a:pt x="172" y="106"/>
                  </a:lnTo>
                  <a:lnTo>
                    <a:pt x="0" y="106"/>
                  </a:lnTo>
                  <a:lnTo>
                    <a:pt x="16" y="5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1" name="Freeform 50">
              <a:extLst>
                <a:ext uri="{FF2B5EF4-FFF2-40B4-BE49-F238E27FC236}">
                  <a16:creationId xmlns:a16="http://schemas.microsoft.com/office/drawing/2014/main" id="{8EE15C3C-71E4-5668-C58F-085164535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513" y="6208713"/>
              <a:ext cx="87313" cy="88900"/>
            </a:xfrm>
            <a:custGeom>
              <a:avLst/>
              <a:gdLst>
                <a:gd name="T0" fmla="*/ 15 w 23"/>
                <a:gd name="T1" fmla="*/ 21 h 23"/>
                <a:gd name="T2" fmla="*/ 21 w 23"/>
                <a:gd name="T3" fmla="*/ 8 h 23"/>
                <a:gd name="T4" fmla="*/ 7 w 23"/>
                <a:gd name="T5" fmla="*/ 2 h 23"/>
                <a:gd name="T6" fmla="*/ 2 w 23"/>
                <a:gd name="T7" fmla="*/ 15 h 23"/>
                <a:gd name="T8" fmla="*/ 15 w 2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5" y="21"/>
                  </a:moveTo>
                  <a:cubicBezTo>
                    <a:pt x="20" y="19"/>
                    <a:pt x="23" y="13"/>
                    <a:pt x="21" y="8"/>
                  </a:cubicBezTo>
                  <a:cubicBezTo>
                    <a:pt x="18" y="3"/>
                    <a:pt x="13" y="0"/>
                    <a:pt x="7" y="2"/>
                  </a:cubicBezTo>
                  <a:cubicBezTo>
                    <a:pt x="2" y="4"/>
                    <a:pt x="0" y="10"/>
                    <a:pt x="2" y="15"/>
                  </a:cubicBezTo>
                  <a:cubicBezTo>
                    <a:pt x="4" y="21"/>
                    <a:pt x="9" y="23"/>
                    <a:pt x="15" y="21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2" name="Freeform 51">
              <a:extLst>
                <a:ext uri="{FF2B5EF4-FFF2-40B4-BE49-F238E27FC236}">
                  <a16:creationId xmlns:a16="http://schemas.microsoft.com/office/drawing/2014/main" id="{E0722D7B-59CF-BFF8-399E-24E157E1B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2575" y="6205538"/>
              <a:ext cx="87313" cy="87313"/>
            </a:xfrm>
            <a:custGeom>
              <a:avLst/>
              <a:gdLst>
                <a:gd name="T0" fmla="*/ 15 w 23"/>
                <a:gd name="T1" fmla="*/ 21 h 23"/>
                <a:gd name="T2" fmla="*/ 21 w 23"/>
                <a:gd name="T3" fmla="*/ 8 h 23"/>
                <a:gd name="T4" fmla="*/ 8 w 23"/>
                <a:gd name="T5" fmla="*/ 2 h 23"/>
                <a:gd name="T6" fmla="*/ 2 w 23"/>
                <a:gd name="T7" fmla="*/ 15 h 23"/>
                <a:gd name="T8" fmla="*/ 15 w 2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5" y="21"/>
                  </a:moveTo>
                  <a:cubicBezTo>
                    <a:pt x="21" y="19"/>
                    <a:pt x="23" y="13"/>
                    <a:pt x="21" y="8"/>
                  </a:cubicBezTo>
                  <a:cubicBezTo>
                    <a:pt x="19" y="3"/>
                    <a:pt x="13" y="0"/>
                    <a:pt x="8" y="2"/>
                  </a:cubicBezTo>
                  <a:cubicBezTo>
                    <a:pt x="3" y="4"/>
                    <a:pt x="0" y="10"/>
                    <a:pt x="2" y="15"/>
                  </a:cubicBezTo>
                  <a:cubicBezTo>
                    <a:pt x="4" y="21"/>
                    <a:pt x="10" y="23"/>
                    <a:pt x="15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3" name="Freeform 52">
              <a:extLst>
                <a:ext uri="{FF2B5EF4-FFF2-40B4-BE49-F238E27FC236}">
                  <a16:creationId xmlns:a16="http://schemas.microsoft.com/office/drawing/2014/main" id="{C95EF7F2-67D9-B6FE-BC4E-9F878DF0E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800" y="6251576"/>
              <a:ext cx="12700" cy="11113"/>
            </a:xfrm>
            <a:custGeom>
              <a:avLst/>
              <a:gdLst>
                <a:gd name="T0" fmla="*/ 2 w 3"/>
                <a:gd name="T1" fmla="*/ 3 h 3"/>
                <a:gd name="T2" fmla="*/ 2 w 3"/>
                <a:gd name="T3" fmla="*/ 1 h 3"/>
                <a:gd name="T4" fmla="*/ 1 w 3"/>
                <a:gd name="T5" fmla="*/ 0 h 3"/>
                <a:gd name="T6" fmla="*/ 0 w 3"/>
                <a:gd name="T7" fmla="*/ 2 h 3"/>
                <a:gd name="T8" fmla="*/ 2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4" name="Freeform 53">
              <a:extLst>
                <a:ext uri="{FF2B5EF4-FFF2-40B4-BE49-F238E27FC236}">
                  <a16:creationId xmlns:a16="http://schemas.microsoft.com/office/drawing/2014/main" id="{F62575CD-6632-073C-EE14-74BDFE613E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7500" y="6227763"/>
              <a:ext cx="6350" cy="12700"/>
            </a:xfrm>
            <a:custGeom>
              <a:avLst/>
              <a:gdLst>
                <a:gd name="T0" fmla="*/ 0 w 2"/>
                <a:gd name="T1" fmla="*/ 2 h 3"/>
                <a:gd name="T2" fmla="*/ 1 w 2"/>
                <a:gd name="T3" fmla="*/ 2 h 3"/>
                <a:gd name="T4" fmla="*/ 2 w 2"/>
                <a:gd name="T5" fmla="*/ 1 h 3"/>
                <a:gd name="T6" fmla="*/ 1 w 2"/>
                <a:gd name="T7" fmla="*/ 0 h 3"/>
                <a:gd name="T8" fmla="*/ 0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0" y="2"/>
                    <a:pt x="1" y="3"/>
                    <a:pt x="1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5" name="Freeform 54">
              <a:extLst>
                <a:ext uri="{FF2B5EF4-FFF2-40B4-BE49-F238E27FC236}">
                  <a16:creationId xmlns:a16="http://schemas.microsoft.com/office/drawing/2014/main" id="{D8E03B78-C654-8BE4-3F17-0E199A016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9725" y="6240463"/>
              <a:ext cx="11113" cy="6350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2 w 3"/>
                <a:gd name="T5" fmla="*/ 2 h 2"/>
                <a:gd name="T6" fmla="*/ 2 w 3"/>
                <a:gd name="T7" fmla="*/ 1 h 2"/>
                <a:gd name="T8" fmla="*/ 1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2" y="2"/>
                    <a:pt x="3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6" name="Freeform 55">
              <a:extLst>
                <a:ext uri="{FF2B5EF4-FFF2-40B4-BE49-F238E27FC236}">
                  <a16:creationId xmlns:a16="http://schemas.microsoft.com/office/drawing/2014/main" id="{737EF048-01A8-E83F-44FE-C5C2E74D5D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6262688"/>
              <a:ext cx="11113" cy="11113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0 h 3"/>
                <a:gd name="T4" fmla="*/ 0 w 3"/>
                <a:gd name="T5" fmla="*/ 2 h 3"/>
                <a:gd name="T6" fmla="*/ 2 w 3"/>
                <a:gd name="T7" fmla="*/ 2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2"/>
                    <a:pt x="1" y="3"/>
                    <a:pt x="2" y="2"/>
                  </a:cubicBezTo>
                  <a:cubicBezTo>
                    <a:pt x="3" y="2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7" name="Freeform 56">
              <a:extLst>
                <a:ext uri="{FF2B5EF4-FFF2-40B4-BE49-F238E27FC236}">
                  <a16:creationId xmlns:a16="http://schemas.microsoft.com/office/drawing/2014/main" id="{7D073F01-1C54-6657-B3AB-795BAB418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5988" y="6311901"/>
              <a:ext cx="830263" cy="557213"/>
            </a:xfrm>
            <a:custGeom>
              <a:avLst/>
              <a:gdLst>
                <a:gd name="T0" fmla="*/ 0 w 523"/>
                <a:gd name="T1" fmla="*/ 351 h 351"/>
                <a:gd name="T2" fmla="*/ 0 w 523"/>
                <a:gd name="T3" fmla="*/ 0 h 351"/>
                <a:gd name="T4" fmla="*/ 8 w 523"/>
                <a:gd name="T5" fmla="*/ 0 h 351"/>
                <a:gd name="T6" fmla="*/ 315 w 523"/>
                <a:gd name="T7" fmla="*/ 0 h 351"/>
                <a:gd name="T8" fmla="*/ 487 w 523"/>
                <a:gd name="T9" fmla="*/ 0 h 351"/>
                <a:gd name="T10" fmla="*/ 523 w 523"/>
                <a:gd name="T11" fmla="*/ 0 h 351"/>
                <a:gd name="T12" fmla="*/ 523 w 523"/>
                <a:gd name="T13" fmla="*/ 351 h 351"/>
                <a:gd name="T14" fmla="*/ 0 w 523"/>
                <a:gd name="T15" fmla="*/ 35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3" h="351">
                  <a:moveTo>
                    <a:pt x="0" y="351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315" y="0"/>
                  </a:lnTo>
                  <a:lnTo>
                    <a:pt x="487" y="0"/>
                  </a:lnTo>
                  <a:lnTo>
                    <a:pt x="523" y="0"/>
                  </a:lnTo>
                  <a:lnTo>
                    <a:pt x="523" y="351"/>
                  </a:lnTo>
                  <a:lnTo>
                    <a:pt x="0" y="35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8" name="Freeform 57">
              <a:extLst>
                <a:ext uri="{FF2B5EF4-FFF2-40B4-BE49-F238E27FC236}">
                  <a16:creationId xmlns:a16="http://schemas.microsoft.com/office/drawing/2014/main" id="{A3564A43-BE95-4044-9DAF-A39E90D02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0175" y="6319838"/>
              <a:ext cx="346075" cy="549275"/>
            </a:xfrm>
            <a:custGeom>
              <a:avLst/>
              <a:gdLst>
                <a:gd name="T0" fmla="*/ 0 w 218"/>
                <a:gd name="T1" fmla="*/ 346 h 346"/>
                <a:gd name="T2" fmla="*/ 34 w 218"/>
                <a:gd name="T3" fmla="*/ 12 h 346"/>
                <a:gd name="T4" fmla="*/ 218 w 218"/>
                <a:gd name="T5" fmla="*/ 0 h 346"/>
                <a:gd name="T6" fmla="*/ 218 w 218"/>
                <a:gd name="T7" fmla="*/ 346 h 346"/>
                <a:gd name="T8" fmla="*/ 0 w 218"/>
                <a:gd name="T9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346">
                  <a:moveTo>
                    <a:pt x="0" y="346"/>
                  </a:moveTo>
                  <a:lnTo>
                    <a:pt x="34" y="12"/>
                  </a:lnTo>
                  <a:lnTo>
                    <a:pt x="218" y="0"/>
                  </a:lnTo>
                  <a:lnTo>
                    <a:pt x="218" y="346"/>
                  </a:lnTo>
                  <a:lnTo>
                    <a:pt x="0" y="34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9" name="Freeform 58">
              <a:extLst>
                <a:ext uri="{FF2B5EF4-FFF2-40B4-BE49-F238E27FC236}">
                  <a16:creationId xmlns:a16="http://schemas.microsoft.com/office/drawing/2014/main" id="{924B4EFC-3B98-73D5-56BE-C95925F877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450" y="6445251"/>
              <a:ext cx="82550" cy="87313"/>
            </a:xfrm>
            <a:custGeom>
              <a:avLst/>
              <a:gdLst>
                <a:gd name="T0" fmla="*/ 15 w 22"/>
                <a:gd name="T1" fmla="*/ 21 h 23"/>
                <a:gd name="T2" fmla="*/ 20 w 22"/>
                <a:gd name="T3" fmla="*/ 8 h 23"/>
                <a:gd name="T4" fmla="*/ 7 w 22"/>
                <a:gd name="T5" fmla="*/ 2 h 23"/>
                <a:gd name="T6" fmla="*/ 2 w 22"/>
                <a:gd name="T7" fmla="*/ 15 h 23"/>
                <a:gd name="T8" fmla="*/ 15 w 22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3">
                  <a:moveTo>
                    <a:pt x="15" y="21"/>
                  </a:moveTo>
                  <a:cubicBezTo>
                    <a:pt x="20" y="19"/>
                    <a:pt x="22" y="13"/>
                    <a:pt x="20" y="8"/>
                  </a:cubicBezTo>
                  <a:cubicBezTo>
                    <a:pt x="18" y="2"/>
                    <a:pt x="13" y="0"/>
                    <a:pt x="7" y="2"/>
                  </a:cubicBezTo>
                  <a:cubicBezTo>
                    <a:pt x="2" y="4"/>
                    <a:pt x="0" y="10"/>
                    <a:pt x="2" y="15"/>
                  </a:cubicBezTo>
                  <a:cubicBezTo>
                    <a:pt x="4" y="20"/>
                    <a:pt x="9" y="23"/>
                    <a:pt x="15" y="21"/>
                  </a:cubicBez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0" name="Freeform 59">
              <a:extLst>
                <a:ext uri="{FF2B5EF4-FFF2-40B4-BE49-F238E27FC236}">
                  <a16:creationId xmlns:a16="http://schemas.microsoft.com/office/drawing/2014/main" id="{12721BB9-906B-160E-F417-049FDAD4E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513" y="6442076"/>
              <a:ext cx="87313" cy="87313"/>
            </a:xfrm>
            <a:custGeom>
              <a:avLst/>
              <a:gdLst>
                <a:gd name="T0" fmla="*/ 15 w 23"/>
                <a:gd name="T1" fmla="*/ 21 h 23"/>
                <a:gd name="T2" fmla="*/ 21 w 23"/>
                <a:gd name="T3" fmla="*/ 8 h 23"/>
                <a:gd name="T4" fmla="*/ 8 w 23"/>
                <a:gd name="T5" fmla="*/ 2 h 23"/>
                <a:gd name="T6" fmla="*/ 2 w 23"/>
                <a:gd name="T7" fmla="*/ 15 h 23"/>
                <a:gd name="T8" fmla="*/ 15 w 2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5" y="21"/>
                  </a:moveTo>
                  <a:cubicBezTo>
                    <a:pt x="21" y="19"/>
                    <a:pt x="23" y="13"/>
                    <a:pt x="21" y="8"/>
                  </a:cubicBezTo>
                  <a:cubicBezTo>
                    <a:pt x="19" y="2"/>
                    <a:pt x="13" y="0"/>
                    <a:pt x="8" y="2"/>
                  </a:cubicBezTo>
                  <a:cubicBezTo>
                    <a:pt x="3" y="4"/>
                    <a:pt x="0" y="10"/>
                    <a:pt x="2" y="15"/>
                  </a:cubicBezTo>
                  <a:cubicBezTo>
                    <a:pt x="4" y="20"/>
                    <a:pt x="10" y="23"/>
                    <a:pt x="15" y="2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1" name="Freeform 60">
              <a:extLst>
                <a:ext uri="{FF2B5EF4-FFF2-40B4-BE49-F238E27FC236}">
                  <a16:creationId xmlns:a16="http://schemas.microsoft.com/office/drawing/2014/main" id="{88411F46-EE29-FD57-8558-48A24C215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2738" y="6483351"/>
              <a:ext cx="11113" cy="11113"/>
            </a:xfrm>
            <a:custGeom>
              <a:avLst/>
              <a:gdLst>
                <a:gd name="T0" fmla="*/ 2 w 3"/>
                <a:gd name="T1" fmla="*/ 3 h 3"/>
                <a:gd name="T2" fmla="*/ 2 w 3"/>
                <a:gd name="T3" fmla="*/ 1 h 3"/>
                <a:gd name="T4" fmla="*/ 1 w 3"/>
                <a:gd name="T5" fmla="*/ 1 h 3"/>
                <a:gd name="T6" fmla="*/ 0 w 3"/>
                <a:gd name="T7" fmla="*/ 2 h 3"/>
                <a:gd name="T8" fmla="*/ 2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3"/>
                    <a:pt x="3" y="2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2" name="Freeform 61">
              <a:extLst>
                <a:ext uri="{FF2B5EF4-FFF2-40B4-BE49-F238E27FC236}">
                  <a16:creationId xmlns:a16="http://schemas.microsoft.com/office/drawing/2014/main" id="{630DBE41-986C-BDDD-C184-BB85B89C0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850" y="6461126"/>
              <a:ext cx="7938" cy="11113"/>
            </a:xfrm>
            <a:custGeom>
              <a:avLst/>
              <a:gdLst>
                <a:gd name="T0" fmla="*/ 0 w 2"/>
                <a:gd name="T1" fmla="*/ 2 h 3"/>
                <a:gd name="T2" fmla="*/ 1 w 2"/>
                <a:gd name="T3" fmla="*/ 3 h 3"/>
                <a:gd name="T4" fmla="*/ 2 w 2"/>
                <a:gd name="T5" fmla="*/ 1 h 3"/>
                <a:gd name="T6" fmla="*/ 1 w 2"/>
                <a:gd name="T7" fmla="*/ 1 h 3"/>
                <a:gd name="T8" fmla="*/ 0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3" name="Freeform 62">
              <a:extLst>
                <a:ext uri="{FF2B5EF4-FFF2-40B4-BE49-F238E27FC236}">
                  <a16:creationId xmlns:a16="http://schemas.microsoft.com/office/drawing/2014/main" id="{00A6E233-5AAD-E4D6-68D8-9E2F0E62B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663" y="6472238"/>
              <a:ext cx="11113" cy="11113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3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4" name="Freeform 63">
              <a:extLst>
                <a:ext uri="{FF2B5EF4-FFF2-40B4-BE49-F238E27FC236}">
                  <a16:creationId xmlns:a16="http://schemas.microsoft.com/office/drawing/2014/main" id="{2FA3E519-1CCA-F21C-5962-B74A07088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6550" y="6494463"/>
              <a:ext cx="11113" cy="12700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0 h 3"/>
                <a:gd name="T4" fmla="*/ 0 w 3"/>
                <a:gd name="T5" fmla="*/ 2 h 3"/>
                <a:gd name="T6" fmla="*/ 2 w 3"/>
                <a:gd name="T7" fmla="*/ 3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3" y="3"/>
                    <a:pt x="3" y="2"/>
                    <a:pt x="3" y="1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4E33CB5D-97CB-7A13-3F1D-E499FDF63BDB}"/>
              </a:ext>
            </a:extLst>
          </p:cNvPr>
          <p:cNvSpPr txBox="1"/>
          <p:nvPr/>
        </p:nvSpPr>
        <p:spPr>
          <a:xfrm>
            <a:off x="1514007" y="2207484"/>
            <a:ext cx="24606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 dirty="0"/>
              <a:t>Implementation of Standardized CAT code to minimize order deviation and stock buildup.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FA781E30-A1EF-F345-47CA-CE12FD7AA3D6}"/>
              </a:ext>
            </a:extLst>
          </p:cNvPr>
          <p:cNvSpPr txBox="1"/>
          <p:nvPr/>
        </p:nvSpPr>
        <p:spPr>
          <a:xfrm>
            <a:off x="588197" y="4563339"/>
            <a:ext cx="25354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 dirty="0"/>
              <a:t>Recalibration of production and purchase guidance provided by Product Team.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562DCFFB-80A7-5C44-CE49-F17788860ABD}"/>
              </a:ext>
            </a:extLst>
          </p:cNvPr>
          <p:cNvSpPr txBox="1"/>
          <p:nvPr/>
        </p:nvSpPr>
        <p:spPr>
          <a:xfrm>
            <a:off x="8518336" y="2206793"/>
            <a:ext cx="2274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 dirty="0"/>
              <a:t>D-Chain Implementation in SAP for flagging of discontinued products.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31F2A67-C522-62BA-BB09-12AD6563C37B}"/>
              </a:ext>
            </a:extLst>
          </p:cNvPr>
          <p:cNvSpPr txBox="1"/>
          <p:nvPr/>
        </p:nvSpPr>
        <p:spPr>
          <a:xfrm>
            <a:off x="9207500" y="4541025"/>
            <a:ext cx="27696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latinLnBrk="1"/>
            <a:r>
              <a:rPr lang="en-IN" sz="1200" b="1" dirty="0"/>
              <a:t>Multi-variate analysis forecasting for accurate forecasting in             demand planning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14042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64242F43-CF4C-82C0-7FF7-F30934D3200B}"/>
              </a:ext>
            </a:extLst>
          </p:cNvPr>
          <p:cNvSpPr txBox="1"/>
          <p:nvPr/>
        </p:nvSpPr>
        <p:spPr>
          <a:xfrm>
            <a:off x="5093443" y="1242875"/>
            <a:ext cx="24527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/>
              <a:t>Proper Product Lifecycle SOP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26A6F67-8D5E-F9A7-4CB5-EA5A85BCCDBF}"/>
              </a:ext>
            </a:extLst>
          </p:cNvPr>
          <p:cNvSpPr txBox="1"/>
          <p:nvPr/>
        </p:nvSpPr>
        <p:spPr>
          <a:xfrm>
            <a:off x="3354918" y="55920"/>
            <a:ext cx="5767913" cy="684187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prstClr val="black"/>
                </a:solidFill>
                <a:latin typeface="Aptos Display" panose="02110004020202020204"/>
              </a:rPr>
              <a:t>Inventory Reduction Result (Action Plan)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D37FB4C-7DAB-D796-B1CE-EF81B0DC6D0B}"/>
              </a:ext>
            </a:extLst>
          </p:cNvPr>
          <p:cNvSpPr txBox="1"/>
          <p:nvPr/>
        </p:nvSpPr>
        <p:spPr>
          <a:xfrm>
            <a:off x="3342693" y="4730751"/>
            <a:ext cx="7927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srgbClr val="414042"/>
                </a:solidFill>
                <a:latin typeface="Open Sans"/>
              </a:rPr>
              <a:t>1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B6D901-1454-69EA-ECDC-FA3979FCDF51}"/>
              </a:ext>
            </a:extLst>
          </p:cNvPr>
          <p:cNvSpPr txBox="1"/>
          <p:nvPr/>
        </p:nvSpPr>
        <p:spPr>
          <a:xfrm>
            <a:off x="5746026" y="2252960"/>
            <a:ext cx="6328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400" b="1" dirty="0">
                <a:solidFill>
                  <a:srgbClr val="414042"/>
                </a:solidFill>
                <a:latin typeface="Open Sans"/>
              </a:rPr>
              <a:t>3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8EC477-3170-3F42-4157-95A88038630F}"/>
              </a:ext>
            </a:extLst>
          </p:cNvPr>
          <p:cNvSpPr txBox="1"/>
          <p:nvPr/>
        </p:nvSpPr>
        <p:spPr>
          <a:xfrm>
            <a:off x="4051783" y="2841276"/>
            <a:ext cx="7927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srgbClr val="414042"/>
                </a:solidFill>
                <a:latin typeface="Open Sans"/>
              </a:rPr>
              <a:t>2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336ABB9-3C22-9213-2F1B-BF1BFFF37AD4}"/>
              </a:ext>
            </a:extLst>
          </p:cNvPr>
          <p:cNvSpPr txBox="1"/>
          <p:nvPr/>
        </p:nvSpPr>
        <p:spPr>
          <a:xfrm>
            <a:off x="7420457" y="2954501"/>
            <a:ext cx="7927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srgbClr val="414042"/>
                </a:solidFill>
                <a:latin typeface="Open Sans"/>
              </a:rPr>
              <a:t>4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D67FFF5-336E-8396-F071-E0D307BA042B}"/>
              </a:ext>
            </a:extLst>
          </p:cNvPr>
          <p:cNvSpPr txBox="1"/>
          <p:nvPr/>
        </p:nvSpPr>
        <p:spPr>
          <a:xfrm>
            <a:off x="8046177" y="4731039"/>
            <a:ext cx="7927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srgbClr val="414042"/>
                </a:solidFill>
                <a:latin typeface="Open Sans"/>
              </a:rPr>
              <a:t>5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2564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2" presetClass="entr" presetSubtype="4" fill="hold" nodeType="withEffect" p14:presetBounceEnd="67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2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3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5" presetID="2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7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4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6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33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5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42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4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5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1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2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3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53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6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7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8" dur="50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9" presetID="53" presetClass="entr" presetSubtype="16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1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2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7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8" dur="5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21" presetClass="entr" presetSubtype="1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81" dur="500"/>
                                            <p:tgtEl>
                                              <p:spTgt spid="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84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85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6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88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89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0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92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93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4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96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97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8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00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01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2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04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05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6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08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09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0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12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13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4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16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17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8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20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21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28" grpId="0" animBg="1"/>
          <p:bldP spid="33" grpId="0" animBg="1"/>
          <p:bldP spid="38" grpId="0" animBg="1"/>
          <p:bldP spid="41" grpId="0" animBg="1"/>
          <p:bldP spid="52" grpId="0" animBg="1"/>
          <p:bldP spid="53" grpId="0" animBg="1"/>
          <p:bldP spid="54" grpId="0" animBg="1"/>
          <p:bldP spid="55" grpId="0" animBg="1"/>
          <p:bldP spid="59" grpId="0" animBg="1"/>
          <p:bldP spid="95" grpId="0"/>
          <p:bldP spid="96" grpId="0"/>
          <p:bldP spid="97" grpId="0"/>
          <p:bldP spid="98" grpId="0"/>
          <p:bldP spid="99" grpId="0"/>
          <p:bldP spid="109" grpId="0"/>
          <p:bldP spid="110" grpId="0"/>
          <p:bldP spid="112" grpId="0"/>
          <p:bldP spid="113" grpId="0"/>
          <p:bldP spid="11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5" presetID="2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7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4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6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33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5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42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4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5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1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2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3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53" presetClass="entr" presetSubtype="16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6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7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8" dur="50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9" presetID="53" presetClass="entr" presetSubtype="16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1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2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7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8" dur="5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21" presetClass="entr" presetSubtype="1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81" dur="500"/>
                                            <p:tgtEl>
                                              <p:spTgt spid="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4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5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6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8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9" dur="500" fill="hold"/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0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2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3" dur="500" fill="hold"/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4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6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7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8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0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1" dur="500" fill="hold"/>
                                            <p:tgtEl>
                                              <p:spTgt spid="1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2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4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5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6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8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9" dur="500" fill="hold"/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0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2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3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4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6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7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8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0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1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28" grpId="0" animBg="1"/>
          <p:bldP spid="33" grpId="0" animBg="1"/>
          <p:bldP spid="38" grpId="0" animBg="1"/>
          <p:bldP spid="41" grpId="0" animBg="1"/>
          <p:bldP spid="52" grpId="0" animBg="1"/>
          <p:bldP spid="53" grpId="0" animBg="1"/>
          <p:bldP spid="54" grpId="0" animBg="1"/>
          <p:bldP spid="55" grpId="0" animBg="1"/>
          <p:bldP spid="59" grpId="0" animBg="1"/>
          <p:bldP spid="95" grpId="0"/>
          <p:bldP spid="96" grpId="0"/>
          <p:bldP spid="97" grpId="0"/>
          <p:bldP spid="98" grpId="0"/>
          <p:bldP spid="99" grpId="0"/>
          <p:bldP spid="109" grpId="0"/>
          <p:bldP spid="110" grpId="0"/>
          <p:bldP spid="112" grpId="0"/>
          <p:bldP spid="113" grpId="0"/>
          <p:bldP spid="114" grpId="0"/>
        </p:bldLst>
      </p:timing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A36C1FEA-EC57-D8B9-4706-2939155942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0062764"/>
              </p:ext>
            </p:extLst>
          </p:nvPr>
        </p:nvGraphicFramePr>
        <p:xfrm>
          <a:off x="2076971" y="779628"/>
          <a:ext cx="7261902" cy="12590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53707AD-ACB7-C9F3-391F-B65017C14A7A}"/>
              </a:ext>
            </a:extLst>
          </p:cNvPr>
          <p:cNvSpPr/>
          <p:nvPr/>
        </p:nvSpPr>
        <p:spPr>
          <a:xfrm>
            <a:off x="2533338" y="2398426"/>
            <a:ext cx="2623277" cy="52465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tinued:174.32 C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9A79A5-786A-61D5-1E4B-9B5026FD09E1}"/>
              </a:ext>
            </a:extLst>
          </p:cNvPr>
          <p:cNvSpPr/>
          <p:nvPr/>
        </p:nvSpPr>
        <p:spPr>
          <a:xfrm>
            <a:off x="6096000" y="2398426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hase Out: 56.51 C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821DDB-193A-7CCE-966D-C9F749A8B960}"/>
              </a:ext>
            </a:extLst>
          </p:cNvPr>
          <p:cNvCxnSpPr/>
          <p:nvPr/>
        </p:nvCxnSpPr>
        <p:spPr>
          <a:xfrm>
            <a:off x="5696262" y="2038664"/>
            <a:ext cx="0" cy="224851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80841ABC-B5E6-B807-6E7B-CD33AC832BE7}"/>
              </a:ext>
            </a:extLst>
          </p:cNvPr>
          <p:cNvCxnSpPr>
            <a:endCxn id="6" idx="0"/>
          </p:cNvCxnSpPr>
          <p:nvPr/>
        </p:nvCxnSpPr>
        <p:spPr>
          <a:xfrm rot="10800000" flipV="1">
            <a:off x="3844978" y="2263514"/>
            <a:ext cx="1851285" cy="134911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F21C2FB4-2DB0-61B9-493F-0B1080528E58}"/>
              </a:ext>
            </a:extLst>
          </p:cNvPr>
          <p:cNvCxnSpPr>
            <a:cxnSpLocks/>
          </p:cNvCxnSpPr>
          <p:nvPr/>
        </p:nvCxnSpPr>
        <p:spPr>
          <a:xfrm>
            <a:off x="5696262" y="2263514"/>
            <a:ext cx="2398427" cy="134912"/>
          </a:xfrm>
          <a:prstGeom prst="bentConnector3">
            <a:avLst>
              <a:gd name="adj1" fmla="val 10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2D87731F-FB19-5125-E0C3-D338C01885CC}"/>
              </a:ext>
            </a:extLst>
          </p:cNvPr>
          <p:cNvSpPr/>
          <p:nvPr/>
        </p:nvSpPr>
        <p:spPr>
          <a:xfrm>
            <a:off x="6096000" y="3166673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1AE0B74-6A68-7C70-DCAF-FC6CF64754D2}"/>
              </a:ext>
            </a:extLst>
          </p:cNvPr>
          <p:cNvSpPr/>
          <p:nvPr/>
        </p:nvSpPr>
        <p:spPr>
          <a:xfrm>
            <a:off x="6096000" y="3781272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8094CA1-0D59-53D3-55CA-45846BF97FCA}"/>
              </a:ext>
            </a:extLst>
          </p:cNvPr>
          <p:cNvSpPr/>
          <p:nvPr/>
        </p:nvSpPr>
        <p:spPr>
          <a:xfrm>
            <a:off x="6096000" y="4395871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ED793C6-766F-9410-627C-85F8362A9551}"/>
              </a:ext>
            </a:extLst>
          </p:cNvPr>
          <p:cNvSpPr/>
          <p:nvPr/>
        </p:nvSpPr>
        <p:spPr>
          <a:xfrm>
            <a:off x="6069673" y="4968480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3" name="TextBox 48">
            <a:extLst>
              <a:ext uri="{FF2B5EF4-FFF2-40B4-BE49-F238E27FC236}">
                <a16:creationId xmlns:a16="http://schemas.microsoft.com/office/drawing/2014/main" id="{59A5AC36-31B5-4D34-A3F3-E5B63CDBBCDF}"/>
              </a:ext>
            </a:extLst>
          </p:cNvPr>
          <p:cNvSpPr txBox="1"/>
          <p:nvPr/>
        </p:nvSpPr>
        <p:spPr>
          <a:xfrm rot="5400000">
            <a:off x="4663858" y="4184086"/>
            <a:ext cx="1319142" cy="333630"/>
          </a:xfrm>
          <a:prstGeom prst="rect">
            <a:avLst/>
          </a:prstGeom>
          <a:solidFill>
            <a:srgbClr val="FFFF00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16.35 Cr</a:t>
            </a: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50A3E335-0CBE-DC80-853C-5752170B43F6}"/>
              </a:ext>
            </a:extLst>
          </p:cNvPr>
          <p:cNvSpPr/>
          <p:nvPr/>
        </p:nvSpPr>
        <p:spPr>
          <a:xfrm>
            <a:off x="5156615" y="3166673"/>
            <a:ext cx="313396" cy="444718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980DDF7D-DE14-41B0-BD83-548E20886268}"/>
              </a:ext>
            </a:extLst>
          </p:cNvPr>
          <p:cNvSpPr/>
          <p:nvPr/>
        </p:nvSpPr>
        <p:spPr>
          <a:xfrm>
            <a:off x="5136380" y="5112550"/>
            <a:ext cx="333630" cy="66617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35A068E-89FA-B2A8-8880-8414C2725EDC}"/>
              </a:ext>
            </a:extLst>
          </p:cNvPr>
          <p:cNvSpPr/>
          <p:nvPr/>
        </p:nvSpPr>
        <p:spPr>
          <a:xfrm>
            <a:off x="7455107" y="3166673"/>
            <a:ext cx="1264170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4.53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6C29F0F-37E1-AEB8-62FC-8A47ADC4C4AE}"/>
              </a:ext>
            </a:extLst>
          </p:cNvPr>
          <p:cNvSpPr/>
          <p:nvPr/>
        </p:nvSpPr>
        <p:spPr>
          <a:xfrm>
            <a:off x="7455107" y="3781272"/>
            <a:ext cx="1264170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3.67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703C82F-D094-786B-699C-FB3ACDF7BA61}"/>
              </a:ext>
            </a:extLst>
          </p:cNvPr>
          <p:cNvSpPr/>
          <p:nvPr/>
        </p:nvSpPr>
        <p:spPr>
          <a:xfrm>
            <a:off x="7455107" y="4395871"/>
            <a:ext cx="1264170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3.47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FE0F766-EC6B-5BCC-8603-C91331978CB6}"/>
              </a:ext>
            </a:extLst>
          </p:cNvPr>
          <p:cNvSpPr/>
          <p:nvPr/>
        </p:nvSpPr>
        <p:spPr>
          <a:xfrm>
            <a:off x="7455107" y="4968480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.60 Cr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DD36455-BE2D-179B-9BE4-1678AF7A77D6}"/>
              </a:ext>
            </a:extLst>
          </p:cNvPr>
          <p:cNvSpPr/>
          <p:nvPr/>
        </p:nvSpPr>
        <p:spPr>
          <a:xfrm>
            <a:off x="1248932" y="6155688"/>
            <a:ext cx="3887448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hase Out Stock (Pending Value)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FF7CD4C-F8E6-550F-AF67-0C379A84A26D}"/>
              </a:ext>
            </a:extLst>
          </p:cNvPr>
          <p:cNvSpPr/>
          <p:nvPr/>
        </p:nvSpPr>
        <p:spPr>
          <a:xfrm>
            <a:off x="5457822" y="6155688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40.16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E63FDD37-68E5-AF53-7BCF-1EF28AC2AB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4034" y="-30916"/>
            <a:ext cx="4400655" cy="644717"/>
          </a:xfrm>
        </p:spPr>
        <p:txBody>
          <a:bodyPr>
            <a:norm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Liquidation Summar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867A8F7-76D0-C8F9-C044-F692C6C56B01}"/>
              </a:ext>
            </a:extLst>
          </p:cNvPr>
          <p:cNvSpPr/>
          <p:nvPr/>
        </p:nvSpPr>
        <p:spPr>
          <a:xfrm>
            <a:off x="6089907" y="5520332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08A2B4-744D-5D4A-AFD3-BA3FA946FCB9}"/>
              </a:ext>
            </a:extLst>
          </p:cNvPr>
          <p:cNvSpPr/>
          <p:nvPr/>
        </p:nvSpPr>
        <p:spPr>
          <a:xfrm>
            <a:off x="7455107" y="5520332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 dirty="0">
                <a:solidFill>
                  <a:prstClr val="black"/>
                </a:solidFill>
                <a:latin typeface="Avenir Next LT Pro"/>
              </a:rPr>
              <a:t>1</a:t>
            </a: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97 Cr.</a:t>
            </a:r>
          </a:p>
        </p:txBody>
      </p:sp>
    </p:spTree>
    <p:extLst>
      <p:ext uri="{BB962C8B-B14F-4D97-AF65-F5344CB8AC3E}">
        <p14:creationId xmlns:p14="http://schemas.microsoft.com/office/powerpoint/2010/main" val="4575126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1C7D407-BD53-9C8F-D5ED-56FDEAEF2C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5974960"/>
              </p:ext>
            </p:extLst>
          </p:nvPr>
        </p:nvGraphicFramePr>
        <p:xfrm>
          <a:off x="4482060" y="1"/>
          <a:ext cx="7709940" cy="38824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F4FF4EC-F566-1FAA-17A3-EE35BCC092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2737837"/>
              </p:ext>
            </p:extLst>
          </p:nvPr>
        </p:nvGraphicFramePr>
        <p:xfrm>
          <a:off x="4482060" y="3882453"/>
          <a:ext cx="7709940" cy="2975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83EF0008-E8FB-423B-4F83-A07AE078C5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81053"/>
            <a:ext cx="4482060" cy="23479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C46906D-D2D1-5DF4-437C-851EE15723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8550" y="4196252"/>
            <a:ext cx="3844960" cy="234794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AAE8037-4159-ED1F-E41D-80F736F3D0BF}"/>
              </a:ext>
            </a:extLst>
          </p:cNvPr>
          <p:cNvSpPr txBox="1"/>
          <p:nvPr/>
        </p:nvSpPr>
        <p:spPr>
          <a:xfrm>
            <a:off x="0" y="161829"/>
            <a:ext cx="44895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err="1"/>
              <a:t>Discont</a:t>
            </a:r>
            <a:r>
              <a:rPr lang="en-IN" sz="2400" b="1" dirty="0"/>
              <a:t>.- Inventory Reduction</a:t>
            </a:r>
          </a:p>
        </p:txBody>
      </p:sp>
    </p:spTree>
    <p:extLst>
      <p:ext uri="{BB962C8B-B14F-4D97-AF65-F5344CB8AC3E}">
        <p14:creationId xmlns:p14="http://schemas.microsoft.com/office/powerpoint/2010/main" val="280628023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7968D0-8921-69C5-CA38-720F20C7DB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79">
            <a:extLst>
              <a:ext uri="{FF2B5EF4-FFF2-40B4-BE49-F238E27FC236}">
                <a16:creationId xmlns:a16="http://schemas.microsoft.com/office/drawing/2014/main" id="{7F37B9B9-4407-3E83-27BF-3D69B0A6E511}"/>
              </a:ext>
            </a:extLst>
          </p:cNvPr>
          <p:cNvSpPr>
            <a:spLocks/>
          </p:cNvSpPr>
          <p:nvPr/>
        </p:nvSpPr>
        <p:spPr bwMode="auto">
          <a:xfrm>
            <a:off x="7857377" y="1214438"/>
            <a:ext cx="3445623" cy="5005386"/>
          </a:xfrm>
          <a:custGeom>
            <a:avLst/>
            <a:gdLst>
              <a:gd name="T0" fmla="*/ 3616669 w 868"/>
              <a:gd name="T1" fmla="*/ 5090272 h 1263"/>
              <a:gd name="T2" fmla="*/ 738616 w 868"/>
              <a:gd name="T3" fmla="*/ 114436 h 1263"/>
              <a:gd name="T4" fmla="*/ 437226 w 868"/>
              <a:gd name="T5" fmla="*/ 114436 h 1263"/>
              <a:gd name="T6" fmla="*/ 0 w 868"/>
              <a:gd name="T7" fmla="*/ 873102 h 1263"/>
              <a:gd name="T8" fmla="*/ 50939 w 868"/>
              <a:gd name="T9" fmla="*/ 868864 h 1263"/>
              <a:gd name="T10" fmla="*/ 50939 w 868"/>
              <a:gd name="T11" fmla="*/ 868864 h 1263"/>
              <a:gd name="T12" fmla="*/ 280165 w 868"/>
              <a:gd name="T13" fmla="*/ 1000253 h 1263"/>
              <a:gd name="T14" fmla="*/ 2619114 w 868"/>
              <a:gd name="T15" fmla="*/ 5043650 h 1263"/>
              <a:gd name="T16" fmla="*/ 2619114 w 868"/>
              <a:gd name="T17" fmla="*/ 5310666 h 1263"/>
              <a:gd name="T18" fmla="*/ 2589399 w 868"/>
              <a:gd name="T19" fmla="*/ 5353050 h 1263"/>
              <a:gd name="T20" fmla="*/ 3463852 w 868"/>
              <a:gd name="T21" fmla="*/ 5353050 h 1263"/>
              <a:gd name="T22" fmla="*/ 3616669 w 868"/>
              <a:gd name="T23" fmla="*/ 5090272 h 12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868" h="1263">
                <a:moveTo>
                  <a:pt x="852" y="1201"/>
                </a:moveTo>
                <a:cubicBezTo>
                  <a:pt x="174" y="27"/>
                  <a:pt x="174" y="27"/>
                  <a:pt x="174" y="27"/>
                </a:cubicBezTo>
                <a:cubicBezTo>
                  <a:pt x="158" y="0"/>
                  <a:pt x="119" y="0"/>
                  <a:pt x="103" y="27"/>
                </a:cubicBezTo>
                <a:cubicBezTo>
                  <a:pt x="0" y="206"/>
                  <a:pt x="0" y="206"/>
                  <a:pt x="0" y="206"/>
                </a:cubicBezTo>
                <a:cubicBezTo>
                  <a:pt x="4" y="205"/>
                  <a:pt x="8" y="205"/>
                  <a:pt x="12" y="205"/>
                </a:cubicBezTo>
                <a:cubicBezTo>
                  <a:pt x="12" y="205"/>
                  <a:pt x="12" y="205"/>
                  <a:pt x="12" y="205"/>
                </a:cubicBezTo>
                <a:cubicBezTo>
                  <a:pt x="35" y="205"/>
                  <a:pt x="55" y="216"/>
                  <a:pt x="66" y="236"/>
                </a:cubicBezTo>
                <a:cubicBezTo>
                  <a:pt x="617" y="1190"/>
                  <a:pt x="617" y="1190"/>
                  <a:pt x="617" y="1190"/>
                </a:cubicBezTo>
                <a:cubicBezTo>
                  <a:pt x="628" y="1210"/>
                  <a:pt x="628" y="1233"/>
                  <a:pt x="617" y="1253"/>
                </a:cubicBezTo>
                <a:cubicBezTo>
                  <a:pt x="615" y="1256"/>
                  <a:pt x="613" y="1260"/>
                  <a:pt x="610" y="1263"/>
                </a:cubicBezTo>
                <a:cubicBezTo>
                  <a:pt x="816" y="1263"/>
                  <a:pt x="816" y="1263"/>
                  <a:pt x="816" y="1263"/>
                </a:cubicBezTo>
                <a:cubicBezTo>
                  <a:pt x="848" y="1263"/>
                  <a:pt x="868" y="1228"/>
                  <a:pt x="852" y="120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4" name="Freeform 80">
            <a:extLst>
              <a:ext uri="{FF2B5EF4-FFF2-40B4-BE49-F238E27FC236}">
                <a16:creationId xmlns:a16="http://schemas.microsoft.com/office/drawing/2014/main" id="{8BD2E7CC-9B73-6CD8-1011-FD80A3E4D7C7}"/>
              </a:ext>
            </a:extLst>
          </p:cNvPr>
          <p:cNvSpPr>
            <a:spLocks/>
          </p:cNvSpPr>
          <p:nvPr/>
        </p:nvSpPr>
        <p:spPr bwMode="auto">
          <a:xfrm>
            <a:off x="7325911" y="2082811"/>
            <a:ext cx="2969085" cy="4137014"/>
          </a:xfrm>
          <a:custGeom>
            <a:avLst/>
            <a:gdLst>
              <a:gd name="T0" fmla="*/ 3107086 w 748"/>
              <a:gd name="T1" fmla="*/ 4161613 h 1044"/>
              <a:gd name="T2" fmla="*/ 772527 w 748"/>
              <a:gd name="T3" fmla="*/ 118661 h 1044"/>
              <a:gd name="T4" fmla="*/ 466912 w 748"/>
              <a:gd name="T5" fmla="*/ 118661 h 1044"/>
              <a:gd name="T6" fmla="*/ 0 w 748"/>
              <a:gd name="T7" fmla="*/ 928099 h 1044"/>
              <a:gd name="T8" fmla="*/ 50936 w 748"/>
              <a:gd name="T9" fmla="*/ 919623 h 1044"/>
              <a:gd name="T10" fmla="*/ 280147 w 748"/>
              <a:gd name="T11" fmla="*/ 1055236 h 1044"/>
              <a:gd name="T12" fmla="*/ 2050167 w 748"/>
              <a:gd name="T13" fmla="*/ 4114997 h 1044"/>
              <a:gd name="T14" fmla="*/ 2050167 w 748"/>
              <a:gd name="T15" fmla="*/ 4381984 h 1044"/>
              <a:gd name="T16" fmla="*/ 2020455 w 748"/>
              <a:gd name="T17" fmla="*/ 4424363 h 1044"/>
              <a:gd name="T18" fmla="*/ 2958523 w 748"/>
              <a:gd name="T19" fmla="*/ 4424363 h 1044"/>
              <a:gd name="T20" fmla="*/ 3107086 w 748"/>
              <a:gd name="T21" fmla="*/ 4161613 h 104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748" h="1044">
                <a:moveTo>
                  <a:pt x="732" y="982"/>
                </a:moveTo>
                <a:cubicBezTo>
                  <a:pt x="182" y="28"/>
                  <a:pt x="182" y="28"/>
                  <a:pt x="182" y="28"/>
                </a:cubicBezTo>
                <a:cubicBezTo>
                  <a:pt x="166" y="0"/>
                  <a:pt x="126" y="0"/>
                  <a:pt x="110" y="28"/>
                </a:cubicBezTo>
                <a:cubicBezTo>
                  <a:pt x="0" y="219"/>
                  <a:pt x="0" y="219"/>
                  <a:pt x="0" y="219"/>
                </a:cubicBezTo>
                <a:cubicBezTo>
                  <a:pt x="4" y="218"/>
                  <a:pt x="8" y="217"/>
                  <a:pt x="12" y="217"/>
                </a:cubicBezTo>
                <a:cubicBezTo>
                  <a:pt x="35" y="217"/>
                  <a:pt x="55" y="229"/>
                  <a:pt x="66" y="249"/>
                </a:cubicBezTo>
                <a:cubicBezTo>
                  <a:pt x="483" y="971"/>
                  <a:pt x="483" y="971"/>
                  <a:pt x="483" y="971"/>
                </a:cubicBezTo>
                <a:cubicBezTo>
                  <a:pt x="495" y="991"/>
                  <a:pt x="495" y="1014"/>
                  <a:pt x="483" y="1034"/>
                </a:cubicBezTo>
                <a:cubicBezTo>
                  <a:pt x="481" y="1037"/>
                  <a:pt x="479" y="1041"/>
                  <a:pt x="476" y="1044"/>
                </a:cubicBezTo>
                <a:cubicBezTo>
                  <a:pt x="697" y="1044"/>
                  <a:pt x="697" y="1044"/>
                  <a:pt x="697" y="1044"/>
                </a:cubicBezTo>
                <a:cubicBezTo>
                  <a:pt x="728" y="1044"/>
                  <a:pt x="748" y="1009"/>
                  <a:pt x="732" y="98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Freeform 81">
            <a:extLst>
              <a:ext uri="{FF2B5EF4-FFF2-40B4-BE49-F238E27FC236}">
                <a16:creationId xmlns:a16="http://schemas.microsoft.com/office/drawing/2014/main" id="{D92C56DD-0420-7DB7-5C72-6AAA4B517013}"/>
              </a:ext>
            </a:extLst>
          </p:cNvPr>
          <p:cNvSpPr>
            <a:spLocks/>
          </p:cNvSpPr>
          <p:nvPr/>
        </p:nvSpPr>
        <p:spPr bwMode="auto">
          <a:xfrm>
            <a:off x="6778115" y="3001652"/>
            <a:ext cx="2456918" cy="3218172"/>
          </a:xfrm>
          <a:custGeom>
            <a:avLst/>
            <a:gdLst>
              <a:gd name="T0" fmla="*/ 2559402 w 619"/>
              <a:gd name="T1" fmla="*/ 3178910 h 812"/>
              <a:gd name="T2" fmla="*/ 789467 w 619"/>
              <a:gd name="T3" fmla="*/ 118679 h 812"/>
              <a:gd name="T4" fmla="*/ 483867 w 619"/>
              <a:gd name="T5" fmla="*/ 118679 h 812"/>
              <a:gd name="T6" fmla="*/ 0 w 619"/>
              <a:gd name="T7" fmla="*/ 957912 h 812"/>
              <a:gd name="T8" fmla="*/ 50933 w 619"/>
              <a:gd name="T9" fmla="*/ 953673 h 812"/>
              <a:gd name="T10" fmla="*/ 280134 w 619"/>
              <a:gd name="T11" fmla="*/ 1085068 h 812"/>
              <a:gd name="T12" fmla="*/ 1464334 w 619"/>
              <a:gd name="T13" fmla="*/ 3132286 h 812"/>
              <a:gd name="T14" fmla="*/ 1464334 w 619"/>
              <a:gd name="T15" fmla="*/ 3399315 h 812"/>
              <a:gd name="T16" fmla="*/ 1434623 w 619"/>
              <a:gd name="T17" fmla="*/ 3441700 h 812"/>
              <a:gd name="T18" fmla="*/ 2406602 w 619"/>
              <a:gd name="T19" fmla="*/ 3441700 h 812"/>
              <a:gd name="T20" fmla="*/ 2559402 w 619"/>
              <a:gd name="T21" fmla="*/ 3178910 h 8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619" h="812">
                <a:moveTo>
                  <a:pt x="603" y="750"/>
                </a:moveTo>
                <a:cubicBezTo>
                  <a:pt x="186" y="28"/>
                  <a:pt x="186" y="28"/>
                  <a:pt x="186" y="28"/>
                </a:cubicBezTo>
                <a:cubicBezTo>
                  <a:pt x="170" y="0"/>
                  <a:pt x="130" y="0"/>
                  <a:pt x="114" y="28"/>
                </a:cubicBezTo>
                <a:cubicBezTo>
                  <a:pt x="0" y="226"/>
                  <a:pt x="0" y="226"/>
                  <a:pt x="0" y="226"/>
                </a:cubicBezTo>
                <a:cubicBezTo>
                  <a:pt x="4" y="225"/>
                  <a:pt x="8" y="225"/>
                  <a:pt x="12" y="225"/>
                </a:cubicBezTo>
                <a:cubicBezTo>
                  <a:pt x="35" y="225"/>
                  <a:pt x="55" y="236"/>
                  <a:pt x="66" y="256"/>
                </a:cubicBezTo>
                <a:cubicBezTo>
                  <a:pt x="345" y="739"/>
                  <a:pt x="345" y="739"/>
                  <a:pt x="345" y="739"/>
                </a:cubicBezTo>
                <a:cubicBezTo>
                  <a:pt x="357" y="759"/>
                  <a:pt x="357" y="782"/>
                  <a:pt x="345" y="802"/>
                </a:cubicBezTo>
                <a:cubicBezTo>
                  <a:pt x="343" y="805"/>
                  <a:pt x="341" y="809"/>
                  <a:pt x="338" y="812"/>
                </a:cubicBezTo>
                <a:cubicBezTo>
                  <a:pt x="567" y="812"/>
                  <a:pt x="567" y="812"/>
                  <a:pt x="567" y="812"/>
                </a:cubicBezTo>
                <a:cubicBezTo>
                  <a:pt x="599" y="812"/>
                  <a:pt x="619" y="777"/>
                  <a:pt x="603" y="7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8" name="Rectangle 75">
            <a:extLst>
              <a:ext uri="{FF2B5EF4-FFF2-40B4-BE49-F238E27FC236}">
                <a16:creationId xmlns:a16="http://schemas.microsoft.com/office/drawing/2014/main" id="{45DD3AD8-77DB-DDD9-F637-D5428BDDCD59}"/>
              </a:ext>
            </a:extLst>
          </p:cNvPr>
          <p:cNvSpPr>
            <a:spLocks noChangeArrowheads="1"/>
          </p:cNvSpPr>
          <p:nvPr/>
        </p:nvSpPr>
        <p:spPr bwMode="auto">
          <a:xfrm rot="3600000">
            <a:off x="7457634" y="3668937"/>
            <a:ext cx="440185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IN" sz="2000" b="1" dirty="0">
                <a:solidFill>
                  <a:schemeClr val="tx1">
                    <a:lumMod val="50000"/>
                  </a:schemeClr>
                </a:solidFill>
              </a:rPr>
              <a:t>SKU Rationalization/ ABC Classification (Pareto Principle)</a:t>
            </a:r>
          </a:p>
        </p:txBody>
      </p:sp>
      <p:sp>
        <p:nvSpPr>
          <p:cNvPr id="19" name="Rectangle 75">
            <a:extLst>
              <a:ext uri="{FF2B5EF4-FFF2-40B4-BE49-F238E27FC236}">
                <a16:creationId xmlns:a16="http://schemas.microsoft.com/office/drawing/2014/main" id="{8B765AFD-A75B-3E52-284B-5E983BDD5DB7}"/>
              </a:ext>
            </a:extLst>
          </p:cNvPr>
          <p:cNvSpPr>
            <a:spLocks noChangeArrowheads="1"/>
          </p:cNvSpPr>
          <p:nvPr/>
        </p:nvSpPr>
        <p:spPr bwMode="auto">
          <a:xfrm rot="3600000">
            <a:off x="6835198" y="3992340"/>
            <a:ext cx="3944714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IN" sz="1500" b="1" dirty="0">
                <a:solidFill>
                  <a:schemeClr val="tx1">
                    <a:lumMod val="50000"/>
                  </a:schemeClr>
                </a:solidFill>
              </a:rPr>
              <a:t>Monthly Communication of Liquidation stock to Trade sales team, Institutional and Ecommerce team for liquidation efforts.</a:t>
            </a:r>
          </a:p>
        </p:txBody>
      </p:sp>
      <p:sp>
        <p:nvSpPr>
          <p:cNvPr id="20" name="Rectangle 75">
            <a:extLst>
              <a:ext uri="{FF2B5EF4-FFF2-40B4-BE49-F238E27FC236}">
                <a16:creationId xmlns:a16="http://schemas.microsoft.com/office/drawing/2014/main" id="{61A24E79-54FE-515F-0F1B-6ACCB390AD44}"/>
              </a:ext>
            </a:extLst>
          </p:cNvPr>
          <p:cNvSpPr>
            <a:spLocks noChangeArrowheads="1"/>
          </p:cNvSpPr>
          <p:nvPr/>
        </p:nvSpPr>
        <p:spPr bwMode="auto">
          <a:xfrm rot="3600000">
            <a:off x="6618279" y="4386061"/>
            <a:ext cx="273713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IN" sz="1500" b="1" dirty="0">
                <a:solidFill>
                  <a:schemeClr val="tx1">
                    <a:lumMod val="50000"/>
                  </a:schemeClr>
                </a:solidFill>
              </a:rPr>
              <a:t>Case to case basis discount and Net Landing price approval and billing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97F85CE-E875-A07F-7CCB-2B2E51713FE6}"/>
              </a:ext>
            </a:extLst>
          </p:cNvPr>
          <p:cNvGrpSpPr/>
          <p:nvPr/>
        </p:nvGrpSpPr>
        <p:grpSpPr>
          <a:xfrm>
            <a:off x="1488211" y="4240298"/>
            <a:ext cx="2623008" cy="628650"/>
            <a:chOff x="1450975" y="2800350"/>
            <a:chExt cx="2623008" cy="628650"/>
          </a:xfrm>
        </p:grpSpPr>
        <p:sp>
          <p:nvSpPr>
            <p:cNvPr id="5" name="Freeform 70">
              <a:extLst>
                <a:ext uri="{FF2B5EF4-FFF2-40B4-BE49-F238E27FC236}">
                  <a16:creationId xmlns:a16="http://schemas.microsoft.com/office/drawing/2014/main" id="{705FFA76-55D1-6B31-BACF-876597F55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2800350"/>
              <a:ext cx="544513" cy="628650"/>
            </a:xfrm>
            <a:custGeom>
              <a:avLst/>
              <a:gdLst>
                <a:gd name="T0" fmla="*/ 0 w 343"/>
                <a:gd name="T1" fmla="*/ 0 h 396"/>
                <a:gd name="T2" fmla="*/ 544513 w 343"/>
                <a:gd name="T3" fmla="*/ 315913 h 396"/>
                <a:gd name="T4" fmla="*/ 0 w 343"/>
                <a:gd name="T5" fmla="*/ 628650 h 396"/>
                <a:gd name="T6" fmla="*/ 0 w 343"/>
                <a:gd name="T7" fmla="*/ 0 h 39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43" h="396">
                  <a:moveTo>
                    <a:pt x="0" y="0"/>
                  </a:moveTo>
                  <a:lnTo>
                    <a:pt x="343" y="199"/>
                  </a:lnTo>
                  <a:lnTo>
                    <a:pt x="0" y="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" name="Rectangle 74">
              <a:extLst>
                <a:ext uri="{FF2B5EF4-FFF2-40B4-BE49-F238E27FC236}">
                  <a16:creationId xmlns:a16="http://schemas.microsoft.com/office/drawing/2014/main" id="{516A9F92-EAC8-E7C0-30F6-CE567AD74B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7023" y="2976175"/>
              <a:ext cx="200696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IN" altLang="ru-RU" b="1" dirty="0">
                  <a:solidFill>
                    <a:schemeClr val="tx1">
                      <a:lumMod val="50000"/>
                    </a:schemeClr>
                  </a:solidFill>
                  <a:latin typeface="Open Sans"/>
                </a:rPr>
                <a:t>Special Discounts</a:t>
              </a: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6B17318-AEE1-A396-9BE5-6621E6178C42}"/>
              </a:ext>
            </a:extLst>
          </p:cNvPr>
          <p:cNvGrpSpPr/>
          <p:nvPr/>
        </p:nvGrpSpPr>
        <p:grpSpPr>
          <a:xfrm>
            <a:off x="1488211" y="3032993"/>
            <a:ext cx="3831737" cy="627063"/>
            <a:chOff x="1450975" y="4033838"/>
            <a:chExt cx="3831737" cy="627063"/>
          </a:xfrm>
        </p:grpSpPr>
        <p:sp>
          <p:nvSpPr>
            <p:cNvPr id="4" name="Freeform 69">
              <a:extLst>
                <a:ext uri="{FF2B5EF4-FFF2-40B4-BE49-F238E27FC236}">
                  <a16:creationId xmlns:a16="http://schemas.microsoft.com/office/drawing/2014/main" id="{0E17D5FB-0F62-0617-C040-1E1ACD84B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4033838"/>
              <a:ext cx="544513" cy="627063"/>
            </a:xfrm>
            <a:custGeom>
              <a:avLst/>
              <a:gdLst>
                <a:gd name="T0" fmla="*/ 0 w 343"/>
                <a:gd name="T1" fmla="*/ 0 h 395"/>
                <a:gd name="T2" fmla="*/ 544513 w 343"/>
                <a:gd name="T3" fmla="*/ 315913 h 395"/>
                <a:gd name="T4" fmla="*/ 0 w 343"/>
                <a:gd name="T5" fmla="*/ 627063 h 395"/>
                <a:gd name="T6" fmla="*/ 0 w 343"/>
                <a:gd name="T7" fmla="*/ 0 h 3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43" h="395">
                  <a:moveTo>
                    <a:pt x="0" y="0"/>
                  </a:moveTo>
                  <a:lnTo>
                    <a:pt x="343" y="199"/>
                  </a:lnTo>
                  <a:lnTo>
                    <a:pt x="0" y="3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" name="Rectangle 73">
              <a:extLst>
                <a:ext uri="{FF2B5EF4-FFF2-40B4-BE49-F238E27FC236}">
                  <a16:creationId xmlns:a16="http://schemas.microsoft.com/office/drawing/2014/main" id="{CC527B0B-8AE0-06D7-E445-0702AA2E3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5242" y="4223992"/>
              <a:ext cx="316747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Sales Team Communication</a:t>
              </a: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3D3EF0E-1A72-9FB1-F416-0435A62E3CAF}"/>
              </a:ext>
            </a:extLst>
          </p:cNvPr>
          <p:cNvGrpSpPr/>
          <p:nvPr/>
        </p:nvGrpSpPr>
        <p:grpSpPr>
          <a:xfrm>
            <a:off x="1450975" y="1736702"/>
            <a:ext cx="2903329" cy="628650"/>
            <a:chOff x="1450975" y="5265738"/>
            <a:chExt cx="2903329" cy="628650"/>
          </a:xfrm>
        </p:grpSpPr>
        <p:sp>
          <p:nvSpPr>
            <p:cNvPr id="3" name="Freeform 68">
              <a:extLst>
                <a:ext uri="{FF2B5EF4-FFF2-40B4-BE49-F238E27FC236}">
                  <a16:creationId xmlns:a16="http://schemas.microsoft.com/office/drawing/2014/main" id="{7957D46F-CD2B-59D5-7405-C8DCBB975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5265738"/>
              <a:ext cx="544513" cy="628650"/>
            </a:xfrm>
            <a:custGeom>
              <a:avLst/>
              <a:gdLst>
                <a:gd name="T0" fmla="*/ 0 w 343"/>
                <a:gd name="T1" fmla="*/ 0 h 396"/>
                <a:gd name="T2" fmla="*/ 544513 w 343"/>
                <a:gd name="T3" fmla="*/ 315913 h 396"/>
                <a:gd name="T4" fmla="*/ 0 w 343"/>
                <a:gd name="T5" fmla="*/ 628650 h 396"/>
                <a:gd name="T6" fmla="*/ 0 w 343"/>
                <a:gd name="T7" fmla="*/ 0 h 39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43" h="396">
                  <a:moveTo>
                    <a:pt x="0" y="0"/>
                  </a:moveTo>
                  <a:lnTo>
                    <a:pt x="343" y="199"/>
                  </a:lnTo>
                  <a:lnTo>
                    <a:pt x="0" y="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" name="Rectangle 72">
              <a:extLst>
                <a:ext uri="{FF2B5EF4-FFF2-40B4-BE49-F238E27FC236}">
                  <a16:creationId xmlns:a16="http://schemas.microsoft.com/office/drawing/2014/main" id="{0C8B51A4-4AEE-09F3-A80A-3D1329B0C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2848" y="5473347"/>
              <a:ext cx="227145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IN" altLang="ru-RU" b="1" dirty="0">
                  <a:solidFill>
                    <a:schemeClr val="tx1">
                      <a:lumMod val="50000"/>
                    </a:schemeClr>
                  </a:solidFill>
                  <a:latin typeface="Open Sans"/>
                </a:rPr>
                <a:t>SKU Rationalization</a:t>
              </a: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36D088D1-71FC-C660-3161-04FBFC42DBD9}"/>
              </a:ext>
            </a:extLst>
          </p:cNvPr>
          <p:cNvSpPr txBox="1"/>
          <p:nvPr/>
        </p:nvSpPr>
        <p:spPr>
          <a:xfrm>
            <a:off x="3695411" y="173926"/>
            <a:ext cx="4801177" cy="684187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Action Plan – </a:t>
            </a:r>
            <a:r>
              <a:rPr lang="en-US" sz="3200" b="1" dirty="0">
                <a:solidFill>
                  <a:prstClr val="black"/>
                </a:solidFill>
                <a:latin typeface="Aptos Display" panose="02110004020202020204"/>
              </a:rPr>
              <a:t>(Liquidation Result)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Display" panose="021100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14719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8" grpId="0"/>
      <p:bldP spid="19" grpId="0"/>
      <p:bldP spid="20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5D0B0D3-D735-4619-AA45-B57B791E17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5" name="Picture 4" descr="A web of dots connected">
            <a:extLst>
              <a:ext uri="{FF2B5EF4-FFF2-40B4-BE49-F238E27FC236}">
                <a16:creationId xmlns:a16="http://schemas.microsoft.com/office/drawing/2014/main" id="{DEA5246D-3CA9-BF0E-4EF5-09CAE656DC9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</a:blip>
          <a:srcRect l="20464" r="1" b="1"/>
          <a:stretch>
            <a:fillRect/>
          </a:stretch>
        </p:blipFill>
        <p:spPr>
          <a:xfrm>
            <a:off x="20" y="10"/>
            <a:ext cx="12188932" cy="685799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01BA3F61-D571-3D4A-C1D9-67494156AE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0351" y="3509963"/>
            <a:ext cx="7630931" cy="1747837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rgbClr val="FFFFFF"/>
                </a:solidFill>
              </a:rPr>
              <a:t>PRODUCT FLAG  IMPLEMENTATION IN SAP</a:t>
            </a:r>
            <a:endParaRPr lang="en-IN" sz="2800" b="1" dirty="0">
              <a:solidFill>
                <a:srgbClr val="FFFFFF"/>
              </a:solidFill>
            </a:endParaRPr>
          </a:p>
        </p:txBody>
      </p:sp>
      <p:grpSp>
        <p:nvGrpSpPr>
          <p:cNvPr id="10" name="Graphic 78">
            <a:extLst>
              <a:ext uri="{FF2B5EF4-FFF2-40B4-BE49-F238E27FC236}">
                <a16:creationId xmlns:a16="http://schemas.microsoft.com/office/drawing/2014/main" id="{DBBA0A0D-8F6A-400A-9E49-8C008E2C7D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30225" y="3267662"/>
            <a:ext cx="972241" cy="45718"/>
            <a:chOff x="4886325" y="3371754"/>
            <a:chExt cx="2418492" cy="113728"/>
          </a:xfrm>
          <a:solidFill>
            <a:schemeClr val="accent1"/>
          </a:solidFill>
        </p:grpSpPr>
        <p:sp>
          <p:nvSpPr>
            <p:cNvPr id="11" name="Graphic 78">
              <a:extLst>
                <a:ext uri="{FF2B5EF4-FFF2-40B4-BE49-F238E27FC236}">
                  <a16:creationId xmlns:a16="http://schemas.microsoft.com/office/drawing/2014/main" id="{A5DD701E-4BC9-48E3-AF4F-013B52D63D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886325" y="3428428"/>
              <a:ext cx="2418302" cy="9525"/>
            </a:xfrm>
            <a:custGeom>
              <a:avLst/>
              <a:gdLst>
                <a:gd name="connsiteX0" fmla="*/ 0 w 2418302"/>
                <a:gd name="connsiteY0" fmla="*/ 0 h 9525"/>
                <a:gd name="connsiteX1" fmla="*/ 2418302 w 241830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8302" h="9525">
                  <a:moveTo>
                    <a:pt x="0" y="0"/>
                  </a:moveTo>
                  <a:lnTo>
                    <a:pt x="2418302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grpSp>
          <p:nvGrpSpPr>
            <p:cNvPr id="12" name="Graphic 78">
              <a:extLst>
                <a:ext uri="{FF2B5EF4-FFF2-40B4-BE49-F238E27FC236}">
                  <a16:creationId xmlns:a16="http://schemas.microsoft.com/office/drawing/2014/main" id="{FB658B62-664D-4B3B-BBDA-235666290B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GrpSpPr>
          <p:grpSpPr>
            <a:xfrm>
              <a:off x="4886709" y="3371754"/>
              <a:ext cx="2418108" cy="113728"/>
              <a:chOff x="4886709" y="3371754"/>
              <a:chExt cx="2418108" cy="113728"/>
            </a:xfrm>
            <a:grpFill/>
          </p:grpSpPr>
          <p:sp>
            <p:nvSpPr>
              <p:cNvPr id="13" name="Graphic 78">
                <a:extLst>
                  <a:ext uri="{FF2B5EF4-FFF2-40B4-BE49-F238E27FC236}">
                    <a16:creationId xmlns:a16="http://schemas.microsoft.com/office/drawing/2014/main" id="{B11F9D25-67B1-4BDB-A290-97B93A19DFA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4895088" y="3474384"/>
                <a:ext cx="32575" cy="2906"/>
              </a:xfrm>
              <a:custGeom>
                <a:avLst/>
                <a:gdLst>
                  <a:gd name="connsiteX0" fmla="*/ 0 w 32575"/>
                  <a:gd name="connsiteY0" fmla="*/ 49 h 2906"/>
                  <a:gd name="connsiteX1" fmla="*/ 32576 w 32575"/>
                  <a:gd name="connsiteY1" fmla="*/ 2907 h 2906"/>
                  <a:gd name="connsiteX2" fmla="*/ 0 w 32575"/>
                  <a:gd name="connsiteY2" fmla="*/ 49 h 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575" h="2906">
                    <a:moveTo>
                      <a:pt x="0" y="49"/>
                    </a:moveTo>
                    <a:cubicBezTo>
                      <a:pt x="7430" y="2335"/>
                      <a:pt x="20384" y="2526"/>
                      <a:pt x="32576" y="2907"/>
                    </a:cubicBezTo>
                    <a:cubicBezTo>
                      <a:pt x="23146" y="716"/>
                      <a:pt x="13240" y="-236"/>
                      <a:pt x="0" y="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sp>
            <p:nvSpPr>
              <p:cNvPr id="14" name="Graphic 78">
                <a:extLst>
                  <a:ext uri="{FF2B5EF4-FFF2-40B4-BE49-F238E27FC236}">
                    <a16:creationId xmlns:a16="http://schemas.microsoft.com/office/drawing/2014/main" id="{B9D5C40A-1B1B-4C25-9707-E8F1CF6EEC9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4927758" y="3477344"/>
                <a:ext cx="380" cy="42"/>
              </a:xfrm>
              <a:custGeom>
                <a:avLst/>
                <a:gdLst>
                  <a:gd name="connsiteX0" fmla="*/ 190 w 380"/>
                  <a:gd name="connsiteY0" fmla="*/ 42 h 42"/>
                  <a:gd name="connsiteX1" fmla="*/ 381 w 380"/>
                  <a:gd name="connsiteY1" fmla="*/ 42 h 42"/>
                  <a:gd name="connsiteX2" fmla="*/ 0 w 380"/>
                  <a:gd name="connsiteY2" fmla="*/ 42 h 42"/>
                  <a:gd name="connsiteX3" fmla="*/ 190 w 380"/>
                  <a:gd name="connsiteY3" fmla="*/ 42 h 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" h="42">
                    <a:moveTo>
                      <a:pt x="190" y="42"/>
                    </a:moveTo>
                    <a:cubicBezTo>
                      <a:pt x="190" y="42"/>
                      <a:pt x="286" y="42"/>
                      <a:pt x="381" y="42"/>
                    </a:cubicBezTo>
                    <a:cubicBezTo>
                      <a:pt x="190" y="42"/>
                      <a:pt x="95" y="42"/>
                      <a:pt x="0" y="42"/>
                    </a:cubicBezTo>
                    <a:cubicBezTo>
                      <a:pt x="0" y="-53"/>
                      <a:pt x="95" y="42"/>
                      <a:pt x="190" y="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sp>
            <p:nvSpPr>
              <p:cNvPr id="15" name="Graphic 78">
                <a:extLst>
                  <a:ext uri="{FF2B5EF4-FFF2-40B4-BE49-F238E27FC236}">
                    <a16:creationId xmlns:a16="http://schemas.microsoft.com/office/drawing/2014/main" id="{2DD0C1D6-FF64-45AB-8775-83AB3C470B8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7285577" y="3374517"/>
                <a:ext cx="10001" cy="190"/>
              </a:xfrm>
              <a:custGeom>
                <a:avLst/>
                <a:gdLst>
                  <a:gd name="connsiteX0" fmla="*/ 10001 w 10001"/>
                  <a:gd name="connsiteY0" fmla="*/ 0 h 190"/>
                  <a:gd name="connsiteX1" fmla="*/ 0 w 10001"/>
                  <a:gd name="connsiteY1" fmla="*/ 191 h 190"/>
                  <a:gd name="connsiteX2" fmla="*/ 10001 w 10001"/>
                  <a:gd name="connsiteY2" fmla="*/ 0 h 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1" h="190">
                    <a:moveTo>
                      <a:pt x="10001" y="0"/>
                    </a:moveTo>
                    <a:cubicBezTo>
                      <a:pt x="6953" y="0"/>
                      <a:pt x="3524" y="95"/>
                      <a:pt x="0" y="191"/>
                    </a:cubicBezTo>
                    <a:cubicBezTo>
                      <a:pt x="3334" y="191"/>
                      <a:pt x="6763" y="191"/>
                      <a:pt x="10001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sp>
            <p:nvSpPr>
              <p:cNvPr id="16" name="Graphic 78">
                <a:extLst>
                  <a:ext uri="{FF2B5EF4-FFF2-40B4-BE49-F238E27FC236}">
                    <a16:creationId xmlns:a16="http://schemas.microsoft.com/office/drawing/2014/main" id="{15AFBB84-8485-4329-89FC-04663D985BA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4886709" y="3371754"/>
                <a:ext cx="2418108" cy="113728"/>
              </a:xfrm>
              <a:custGeom>
                <a:avLst/>
                <a:gdLst>
                  <a:gd name="connsiteX0" fmla="*/ 632266 w 2418108"/>
                  <a:gd name="connsiteY0" fmla="*/ 112205 h 113728"/>
                  <a:gd name="connsiteX1" fmla="*/ 723039 w 2418108"/>
                  <a:gd name="connsiteY1" fmla="*/ 109538 h 113728"/>
                  <a:gd name="connsiteX2" fmla="*/ 735136 w 2418108"/>
                  <a:gd name="connsiteY2" fmla="*/ 111823 h 113728"/>
                  <a:gd name="connsiteX3" fmla="*/ 752471 w 2418108"/>
                  <a:gd name="connsiteY3" fmla="*/ 108680 h 113728"/>
                  <a:gd name="connsiteX4" fmla="*/ 772569 w 2418108"/>
                  <a:gd name="connsiteY4" fmla="*/ 110585 h 113728"/>
                  <a:gd name="connsiteX5" fmla="*/ 1112993 w 2418108"/>
                  <a:gd name="connsiteY5" fmla="*/ 112967 h 113728"/>
                  <a:gd name="connsiteX6" fmla="*/ 1083465 w 2418108"/>
                  <a:gd name="connsiteY6" fmla="*/ 108776 h 113728"/>
                  <a:gd name="connsiteX7" fmla="*/ 1296825 w 2418108"/>
                  <a:gd name="connsiteY7" fmla="*/ 108966 h 113728"/>
                  <a:gd name="connsiteX8" fmla="*/ 1346736 w 2418108"/>
                  <a:gd name="connsiteY8" fmla="*/ 103632 h 113728"/>
                  <a:gd name="connsiteX9" fmla="*/ 1360643 w 2418108"/>
                  <a:gd name="connsiteY9" fmla="*/ 107633 h 113728"/>
                  <a:gd name="connsiteX10" fmla="*/ 1381788 w 2418108"/>
                  <a:gd name="connsiteY10" fmla="*/ 107442 h 113728"/>
                  <a:gd name="connsiteX11" fmla="*/ 1371692 w 2418108"/>
                  <a:gd name="connsiteY11" fmla="*/ 106490 h 113728"/>
                  <a:gd name="connsiteX12" fmla="*/ 1430080 w 2418108"/>
                  <a:gd name="connsiteY12" fmla="*/ 105537 h 113728"/>
                  <a:gd name="connsiteX13" fmla="*/ 1420269 w 2418108"/>
                  <a:gd name="connsiteY13" fmla="*/ 104108 h 113728"/>
                  <a:gd name="connsiteX14" fmla="*/ 1455702 w 2418108"/>
                  <a:gd name="connsiteY14" fmla="*/ 107061 h 113728"/>
                  <a:gd name="connsiteX15" fmla="*/ 1439414 w 2418108"/>
                  <a:gd name="connsiteY15" fmla="*/ 108109 h 113728"/>
                  <a:gd name="connsiteX16" fmla="*/ 1503613 w 2418108"/>
                  <a:gd name="connsiteY16" fmla="*/ 105918 h 113728"/>
                  <a:gd name="connsiteX17" fmla="*/ 1495802 w 2418108"/>
                  <a:gd name="connsiteY17" fmla="*/ 105823 h 113728"/>
                  <a:gd name="connsiteX18" fmla="*/ 1695923 w 2418108"/>
                  <a:gd name="connsiteY18" fmla="*/ 95155 h 113728"/>
                  <a:gd name="connsiteX19" fmla="*/ 1684016 w 2418108"/>
                  <a:gd name="connsiteY19" fmla="*/ 92488 h 113728"/>
                  <a:gd name="connsiteX20" fmla="*/ 1706210 w 2418108"/>
                  <a:gd name="connsiteY20" fmla="*/ 90202 h 113728"/>
                  <a:gd name="connsiteX21" fmla="*/ 1693351 w 2418108"/>
                  <a:gd name="connsiteY21" fmla="*/ 98108 h 113728"/>
                  <a:gd name="connsiteX22" fmla="*/ 2058539 w 2418108"/>
                  <a:gd name="connsiteY22" fmla="*/ 102203 h 113728"/>
                  <a:gd name="connsiteX23" fmla="*/ 2064540 w 2418108"/>
                  <a:gd name="connsiteY23" fmla="*/ 95060 h 113728"/>
                  <a:gd name="connsiteX24" fmla="*/ 2227132 w 2418108"/>
                  <a:gd name="connsiteY24" fmla="*/ 96203 h 113728"/>
                  <a:gd name="connsiteX25" fmla="*/ 2245229 w 2418108"/>
                  <a:gd name="connsiteY25" fmla="*/ 96869 h 113728"/>
                  <a:gd name="connsiteX26" fmla="*/ 2254278 w 2418108"/>
                  <a:gd name="connsiteY26" fmla="*/ 94393 h 113728"/>
                  <a:gd name="connsiteX27" fmla="*/ 2418108 w 2418108"/>
                  <a:gd name="connsiteY27" fmla="*/ 5810 h 113728"/>
                  <a:gd name="connsiteX28" fmla="*/ 2399058 w 2418108"/>
                  <a:gd name="connsiteY28" fmla="*/ 2858 h 113728"/>
                  <a:gd name="connsiteX29" fmla="*/ 2241039 w 2418108"/>
                  <a:gd name="connsiteY29" fmla="*/ 1905 h 113728"/>
                  <a:gd name="connsiteX30" fmla="*/ 2243991 w 2418108"/>
                  <a:gd name="connsiteY30" fmla="*/ 1048 h 113728"/>
                  <a:gd name="connsiteX31" fmla="*/ 2197128 w 2418108"/>
                  <a:gd name="connsiteY31" fmla="*/ 0 h 113728"/>
                  <a:gd name="connsiteX32" fmla="*/ 1710591 w 2418108"/>
                  <a:gd name="connsiteY32" fmla="*/ 6287 h 113728"/>
                  <a:gd name="connsiteX33" fmla="*/ 1713353 w 2418108"/>
                  <a:gd name="connsiteY33" fmla="*/ 5906 h 113728"/>
                  <a:gd name="connsiteX34" fmla="*/ 1210814 w 2418108"/>
                  <a:gd name="connsiteY34" fmla="*/ 7715 h 113728"/>
                  <a:gd name="connsiteX35" fmla="*/ 684463 w 2418108"/>
                  <a:gd name="connsiteY35" fmla="*/ 13716 h 113728"/>
                  <a:gd name="connsiteX36" fmla="*/ 687511 w 2418108"/>
                  <a:gd name="connsiteY36" fmla="*/ 12859 h 113728"/>
                  <a:gd name="connsiteX37" fmla="*/ 435670 w 2418108"/>
                  <a:gd name="connsiteY37" fmla="*/ 12192 h 113728"/>
                  <a:gd name="connsiteX38" fmla="*/ 440718 w 2418108"/>
                  <a:gd name="connsiteY38" fmla="*/ 12668 h 113728"/>
                  <a:gd name="connsiteX39" fmla="*/ 386807 w 2418108"/>
                  <a:gd name="connsiteY39" fmla="*/ 9906 h 113728"/>
                  <a:gd name="connsiteX40" fmla="*/ 16856 w 2418108"/>
                  <a:gd name="connsiteY40" fmla="*/ 12192 h 113728"/>
                  <a:gd name="connsiteX41" fmla="*/ 63528 w 2418108"/>
                  <a:gd name="connsiteY41" fmla="*/ 102870 h 113728"/>
                  <a:gd name="connsiteX42" fmla="*/ 42668 w 2418108"/>
                  <a:gd name="connsiteY42" fmla="*/ 102584 h 113728"/>
                  <a:gd name="connsiteX43" fmla="*/ 41430 w 2418108"/>
                  <a:gd name="connsiteY43" fmla="*/ 105537 h 113728"/>
                  <a:gd name="connsiteX44" fmla="*/ 54575 w 2418108"/>
                  <a:gd name="connsiteY44" fmla="*/ 105347 h 113728"/>
                  <a:gd name="connsiteX45" fmla="*/ 388140 w 2418108"/>
                  <a:gd name="connsiteY45" fmla="*/ 112109 h 113728"/>
                  <a:gd name="connsiteX46" fmla="*/ 482152 w 2418108"/>
                  <a:gd name="connsiteY46" fmla="*/ 113729 h 113728"/>
                  <a:gd name="connsiteX47" fmla="*/ 632266 w 2418108"/>
                  <a:gd name="connsiteY47" fmla="*/ 112205 h 11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418108" h="113728">
                    <a:moveTo>
                      <a:pt x="632266" y="112205"/>
                    </a:moveTo>
                    <a:cubicBezTo>
                      <a:pt x="656364" y="104680"/>
                      <a:pt x="694940" y="114110"/>
                      <a:pt x="723039" y="109538"/>
                    </a:cubicBezTo>
                    <a:cubicBezTo>
                      <a:pt x="722849" y="109919"/>
                      <a:pt x="735898" y="110109"/>
                      <a:pt x="735136" y="111823"/>
                    </a:cubicBezTo>
                    <a:cubicBezTo>
                      <a:pt x="735041" y="108776"/>
                      <a:pt x="767616" y="112300"/>
                      <a:pt x="752471" y="108680"/>
                    </a:cubicBezTo>
                    <a:cubicBezTo>
                      <a:pt x="754757" y="107633"/>
                      <a:pt x="790571" y="107633"/>
                      <a:pt x="772569" y="110585"/>
                    </a:cubicBezTo>
                    <a:cubicBezTo>
                      <a:pt x="822099" y="111633"/>
                      <a:pt x="1059653" y="114395"/>
                      <a:pt x="1112993" y="112967"/>
                    </a:cubicBezTo>
                    <a:cubicBezTo>
                      <a:pt x="1106135" y="110776"/>
                      <a:pt x="1089656" y="112205"/>
                      <a:pt x="1083465" y="108776"/>
                    </a:cubicBezTo>
                    <a:cubicBezTo>
                      <a:pt x="1153950" y="111728"/>
                      <a:pt x="1230626" y="113157"/>
                      <a:pt x="1296825" y="108966"/>
                    </a:cubicBezTo>
                    <a:cubicBezTo>
                      <a:pt x="1277680" y="103251"/>
                      <a:pt x="1356071" y="110966"/>
                      <a:pt x="1346736" y="103632"/>
                    </a:cubicBezTo>
                    <a:cubicBezTo>
                      <a:pt x="1351213" y="105347"/>
                      <a:pt x="1374454" y="106109"/>
                      <a:pt x="1360643" y="107633"/>
                    </a:cubicBezTo>
                    <a:cubicBezTo>
                      <a:pt x="1368548" y="107728"/>
                      <a:pt x="1376168" y="108299"/>
                      <a:pt x="1381788" y="107442"/>
                    </a:cubicBezTo>
                    <a:lnTo>
                      <a:pt x="1371692" y="106490"/>
                    </a:lnTo>
                    <a:cubicBezTo>
                      <a:pt x="1398266" y="106013"/>
                      <a:pt x="1412744" y="108680"/>
                      <a:pt x="1430080" y="105537"/>
                    </a:cubicBezTo>
                    <a:lnTo>
                      <a:pt x="1420269" y="104108"/>
                    </a:lnTo>
                    <a:cubicBezTo>
                      <a:pt x="1436176" y="103918"/>
                      <a:pt x="1449416" y="103632"/>
                      <a:pt x="1455702" y="107061"/>
                    </a:cubicBezTo>
                    <a:lnTo>
                      <a:pt x="1439414" y="108109"/>
                    </a:lnTo>
                    <a:cubicBezTo>
                      <a:pt x="1465799" y="108014"/>
                      <a:pt x="1481610" y="107823"/>
                      <a:pt x="1503613" y="105918"/>
                    </a:cubicBezTo>
                    <a:lnTo>
                      <a:pt x="1495802" y="105823"/>
                    </a:lnTo>
                    <a:cubicBezTo>
                      <a:pt x="1523806" y="102394"/>
                      <a:pt x="1670110" y="99441"/>
                      <a:pt x="1695923" y="95155"/>
                    </a:cubicBezTo>
                    <a:lnTo>
                      <a:pt x="1684016" y="92488"/>
                    </a:lnTo>
                    <a:lnTo>
                      <a:pt x="1706210" y="90202"/>
                    </a:lnTo>
                    <a:cubicBezTo>
                      <a:pt x="1703543" y="90202"/>
                      <a:pt x="1695542" y="98965"/>
                      <a:pt x="1693351" y="98108"/>
                    </a:cubicBezTo>
                    <a:cubicBezTo>
                      <a:pt x="1757549" y="99441"/>
                      <a:pt x="2045109" y="91345"/>
                      <a:pt x="2058539" y="102203"/>
                    </a:cubicBezTo>
                    <a:cubicBezTo>
                      <a:pt x="2079780" y="101917"/>
                      <a:pt x="2071303" y="103918"/>
                      <a:pt x="2064540" y="95060"/>
                    </a:cubicBezTo>
                    <a:cubicBezTo>
                      <a:pt x="2086638" y="95441"/>
                      <a:pt x="2259707" y="88773"/>
                      <a:pt x="2227132" y="96203"/>
                    </a:cubicBezTo>
                    <a:cubicBezTo>
                      <a:pt x="2232371" y="96298"/>
                      <a:pt x="2240372" y="95917"/>
                      <a:pt x="2245229" y="96869"/>
                    </a:cubicBezTo>
                    <a:cubicBezTo>
                      <a:pt x="2235704" y="94583"/>
                      <a:pt x="2261708" y="95345"/>
                      <a:pt x="2254278" y="94393"/>
                    </a:cubicBezTo>
                    <a:cubicBezTo>
                      <a:pt x="2395724" y="108776"/>
                      <a:pt x="2341527" y="36576"/>
                      <a:pt x="2418108" y="5810"/>
                    </a:cubicBezTo>
                    <a:cubicBezTo>
                      <a:pt x="2398772" y="4763"/>
                      <a:pt x="2335717" y="7239"/>
                      <a:pt x="2399058" y="2858"/>
                    </a:cubicBezTo>
                    <a:cubicBezTo>
                      <a:pt x="2343527" y="-572"/>
                      <a:pt x="2296283" y="1238"/>
                      <a:pt x="2241039" y="1905"/>
                    </a:cubicBezTo>
                    <a:lnTo>
                      <a:pt x="2243991" y="1048"/>
                    </a:lnTo>
                    <a:cubicBezTo>
                      <a:pt x="2234181" y="-381"/>
                      <a:pt x="2214845" y="1524"/>
                      <a:pt x="2197128" y="0"/>
                    </a:cubicBezTo>
                    <a:cubicBezTo>
                      <a:pt x="2115880" y="6096"/>
                      <a:pt x="1816128" y="3524"/>
                      <a:pt x="1710591" y="6287"/>
                    </a:cubicBezTo>
                    <a:lnTo>
                      <a:pt x="1713353" y="5906"/>
                    </a:lnTo>
                    <a:cubicBezTo>
                      <a:pt x="1577146" y="5429"/>
                      <a:pt x="1349308" y="11240"/>
                      <a:pt x="1210814" y="7715"/>
                    </a:cubicBezTo>
                    <a:cubicBezTo>
                      <a:pt x="1095848" y="23717"/>
                      <a:pt x="819051" y="5429"/>
                      <a:pt x="684463" y="13716"/>
                    </a:cubicBezTo>
                    <a:lnTo>
                      <a:pt x="687511" y="12859"/>
                    </a:lnTo>
                    <a:cubicBezTo>
                      <a:pt x="655316" y="14192"/>
                      <a:pt x="473008" y="10954"/>
                      <a:pt x="435670" y="12192"/>
                    </a:cubicBezTo>
                    <a:lnTo>
                      <a:pt x="440718" y="12668"/>
                    </a:lnTo>
                    <a:cubicBezTo>
                      <a:pt x="408047" y="14764"/>
                      <a:pt x="412524" y="11049"/>
                      <a:pt x="386807" y="9906"/>
                    </a:cubicBezTo>
                    <a:cubicBezTo>
                      <a:pt x="275174" y="28004"/>
                      <a:pt x="142395" y="18764"/>
                      <a:pt x="16856" y="12192"/>
                    </a:cubicBezTo>
                    <a:cubicBezTo>
                      <a:pt x="-6195" y="35528"/>
                      <a:pt x="-17434" y="114395"/>
                      <a:pt x="63528" y="102870"/>
                    </a:cubicBezTo>
                    <a:cubicBezTo>
                      <a:pt x="63528" y="102870"/>
                      <a:pt x="42668" y="102584"/>
                      <a:pt x="42668" y="102584"/>
                    </a:cubicBezTo>
                    <a:cubicBezTo>
                      <a:pt x="58004" y="103156"/>
                      <a:pt x="47336" y="104299"/>
                      <a:pt x="41430" y="105537"/>
                    </a:cubicBezTo>
                    <a:cubicBezTo>
                      <a:pt x="46764" y="105537"/>
                      <a:pt x="68386" y="107442"/>
                      <a:pt x="54575" y="105347"/>
                    </a:cubicBezTo>
                    <a:cubicBezTo>
                      <a:pt x="158588" y="108109"/>
                      <a:pt x="297462" y="110109"/>
                      <a:pt x="388140" y="112109"/>
                    </a:cubicBezTo>
                    <a:cubicBezTo>
                      <a:pt x="420525" y="113348"/>
                      <a:pt x="453577" y="106680"/>
                      <a:pt x="482152" y="113729"/>
                    </a:cubicBezTo>
                    <a:cubicBezTo>
                      <a:pt x="477580" y="111919"/>
                      <a:pt x="629885" y="111728"/>
                      <a:pt x="632266" y="1122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</p:grp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D505D40-32E9-4C48-81F8-AD80433BE6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753030" y="5516668"/>
            <a:ext cx="2438970" cy="1341332"/>
          </a:xfrm>
          <a:custGeom>
            <a:avLst/>
            <a:gdLst>
              <a:gd name="connsiteX0" fmla="*/ 2025355 w 2438970"/>
              <a:gd name="connsiteY0" fmla="*/ 235 h 1341332"/>
              <a:gd name="connsiteX1" fmla="*/ 2381960 w 2438970"/>
              <a:gd name="connsiteY1" fmla="*/ 44517 h 1341332"/>
              <a:gd name="connsiteX2" fmla="*/ 2438970 w 2438970"/>
              <a:gd name="connsiteY2" fmla="*/ 58872 h 1341332"/>
              <a:gd name="connsiteX3" fmla="*/ 2438970 w 2438970"/>
              <a:gd name="connsiteY3" fmla="*/ 1341332 h 1341332"/>
              <a:gd name="connsiteX4" fmla="*/ 0 w 2438970"/>
              <a:gd name="connsiteY4" fmla="*/ 1341332 h 1341332"/>
              <a:gd name="connsiteX5" fmla="*/ 13333 w 2438970"/>
              <a:gd name="connsiteY5" fmla="*/ 1328018 h 1341332"/>
              <a:gd name="connsiteX6" fmla="*/ 936262 w 2438970"/>
              <a:gd name="connsiteY6" fmla="*/ 459947 h 1341332"/>
              <a:gd name="connsiteX7" fmla="*/ 1554028 w 2438970"/>
              <a:gd name="connsiteY7" fmla="*/ 71153 h 1341332"/>
              <a:gd name="connsiteX8" fmla="*/ 2025355 w 2438970"/>
              <a:gd name="connsiteY8" fmla="*/ 235 h 1341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38970" h="1341332">
                <a:moveTo>
                  <a:pt x="2025355" y="235"/>
                </a:moveTo>
                <a:cubicBezTo>
                  <a:pt x="2143847" y="2306"/>
                  <a:pt x="2262766" y="17993"/>
                  <a:pt x="2381960" y="44517"/>
                </a:cubicBezTo>
                <a:lnTo>
                  <a:pt x="2438970" y="58872"/>
                </a:lnTo>
                <a:lnTo>
                  <a:pt x="2438970" y="1341332"/>
                </a:lnTo>
                <a:lnTo>
                  <a:pt x="0" y="1341332"/>
                </a:lnTo>
                <a:lnTo>
                  <a:pt x="13333" y="1328018"/>
                </a:lnTo>
                <a:cubicBezTo>
                  <a:pt x="324723" y="1028950"/>
                  <a:pt x="645390" y="738459"/>
                  <a:pt x="936262" y="459947"/>
                </a:cubicBezTo>
                <a:cubicBezTo>
                  <a:pt x="1139660" y="265152"/>
                  <a:pt x="1345794" y="140817"/>
                  <a:pt x="1554028" y="71153"/>
                </a:cubicBezTo>
                <a:cubicBezTo>
                  <a:pt x="1710136" y="18918"/>
                  <a:pt x="1867365" y="-2526"/>
                  <a:pt x="2025355" y="235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507BF36-B92B-4CAC-BCA7-8364B51E1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0776050" y="5204025"/>
            <a:ext cx="886141" cy="802496"/>
            <a:chOff x="10948005" y="3272152"/>
            <a:chExt cx="868640" cy="786648"/>
          </a:xfrm>
          <a:solidFill>
            <a:schemeClr val="accent1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276237E-3A6D-452F-879C-FB8C77A18D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1194317" y="3944888"/>
              <a:ext cx="128449" cy="113912"/>
            </a:xfrm>
            <a:custGeom>
              <a:avLst/>
              <a:gdLst>
                <a:gd name="connsiteX0" fmla="*/ 237621 w 453152"/>
                <a:gd name="connsiteY0" fmla="*/ 965 h 401867"/>
                <a:gd name="connsiteX1" fmla="*/ 370246 w 453152"/>
                <a:gd name="connsiteY1" fmla="*/ 23666 h 401867"/>
                <a:gd name="connsiteX2" fmla="*/ 437392 w 453152"/>
                <a:gd name="connsiteY2" fmla="*/ 198545 h 401867"/>
                <a:gd name="connsiteX3" fmla="*/ 67745 w 453152"/>
                <a:gd name="connsiteY3" fmla="*/ 392003 h 401867"/>
                <a:gd name="connsiteX4" fmla="*/ 911 w 453152"/>
                <a:gd name="connsiteY4" fmla="*/ 254095 h 401867"/>
                <a:gd name="connsiteX5" fmla="*/ 115564 w 453152"/>
                <a:gd name="connsiteY5" fmla="*/ 51160 h 401867"/>
                <a:gd name="connsiteX6" fmla="*/ 237621 w 453152"/>
                <a:gd name="connsiteY6" fmla="*/ 965 h 401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3152" h="401867">
                  <a:moveTo>
                    <a:pt x="237621" y="965"/>
                  </a:moveTo>
                  <a:cubicBezTo>
                    <a:pt x="283632" y="-2971"/>
                    <a:pt x="331405" y="5243"/>
                    <a:pt x="370246" y="23666"/>
                  </a:cubicBezTo>
                  <a:cubicBezTo>
                    <a:pt x="436830" y="55275"/>
                    <a:pt x="477168" y="116810"/>
                    <a:pt x="437392" y="198545"/>
                  </a:cubicBezTo>
                  <a:cubicBezTo>
                    <a:pt x="391568" y="292624"/>
                    <a:pt x="176850" y="441630"/>
                    <a:pt x="67745" y="392003"/>
                  </a:cubicBezTo>
                  <a:cubicBezTo>
                    <a:pt x="18056" y="369372"/>
                    <a:pt x="-5012" y="308398"/>
                    <a:pt x="911" y="254095"/>
                  </a:cubicBezTo>
                  <a:cubicBezTo>
                    <a:pt x="9203" y="178033"/>
                    <a:pt x="61012" y="103094"/>
                    <a:pt x="115564" y="51160"/>
                  </a:cubicBezTo>
                  <a:cubicBezTo>
                    <a:pt x="147361" y="20985"/>
                    <a:pt x="191610" y="4900"/>
                    <a:pt x="237621" y="96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8BC9243-F4BF-48A7-89AE-DFA5B37DE64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53045" y="3808430"/>
              <a:ext cx="144912" cy="193414"/>
            </a:xfrm>
            <a:custGeom>
              <a:avLst/>
              <a:gdLst>
                <a:gd name="connsiteX0" fmla="*/ 390625 w 511232"/>
                <a:gd name="connsiteY0" fmla="*/ 1621 h 682341"/>
                <a:gd name="connsiteX1" fmla="*/ 508142 w 511232"/>
                <a:gd name="connsiteY1" fmla="*/ 64038 h 682341"/>
                <a:gd name="connsiteX2" fmla="*/ 508453 w 511232"/>
                <a:gd name="connsiteY2" fmla="*/ 121832 h 682341"/>
                <a:gd name="connsiteX3" fmla="*/ 316492 w 511232"/>
                <a:gd name="connsiteY3" fmla="*/ 567602 h 682341"/>
                <a:gd name="connsiteX4" fmla="*/ 80265 w 511232"/>
                <a:gd name="connsiteY4" fmla="*/ 640359 h 682341"/>
                <a:gd name="connsiteX5" fmla="*/ 13306 w 511232"/>
                <a:gd name="connsiteY5" fmla="*/ 274828 h 682341"/>
                <a:gd name="connsiteX6" fmla="*/ 140989 w 511232"/>
                <a:gd name="connsiteY6" fmla="*/ 107181 h 682341"/>
                <a:gd name="connsiteX7" fmla="*/ 390625 w 511232"/>
                <a:gd name="connsiteY7" fmla="*/ 1621 h 68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232" h="682341">
                  <a:moveTo>
                    <a:pt x="390625" y="1621"/>
                  </a:moveTo>
                  <a:cubicBezTo>
                    <a:pt x="446543" y="-5212"/>
                    <a:pt x="493343" y="8441"/>
                    <a:pt x="508142" y="64038"/>
                  </a:cubicBezTo>
                  <a:cubicBezTo>
                    <a:pt x="513192" y="82866"/>
                    <a:pt x="511134" y="102754"/>
                    <a:pt x="508453" y="121832"/>
                  </a:cubicBezTo>
                  <a:cubicBezTo>
                    <a:pt x="485324" y="287796"/>
                    <a:pt x="417242" y="443971"/>
                    <a:pt x="316492" y="567602"/>
                  </a:cubicBezTo>
                  <a:cubicBezTo>
                    <a:pt x="253024" y="645534"/>
                    <a:pt x="165055" y="737743"/>
                    <a:pt x="80265" y="640359"/>
                  </a:cubicBezTo>
                  <a:cubicBezTo>
                    <a:pt x="5014" y="553948"/>
                    <a:pt x="-17368" y="383621"/>
                    <a:pt x="13306" y="274828"/>
                  </a:cubicBezTo>
                  <a:cubicBezTo>
                    <a:pt x="33443" y="203318"/>
                    <a:pt x="83382" y="146521"/>
                    <a:pt x="140989" y="107181"/>
                  </a:cubicBezTo>
                  <a:cubicBezTo>
                    <a:pt x="178904" y="81308"/>
                    <a:pt x="297428" y="13010"/>
                    <a:pt x="390625" y="162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DE414EC-F3DF-412E-9B22-5328DAA99C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1684524" y="3907536"/>
              <a:ext cx="132121" cy="93006"/>
            </a:xfrm>
            <a:custGeom>
              <a:avLst/>
              <a:gdLst>
                <a:gd name="connsiteX0" fmla="*/ 252822 w 466107"/>
                <a:gd name="connsiteY0" fmla="*/ 1539 h 328114"/>
                <a:gd name="connsiteX1" fmla="*/ 451641 w 466107"/>
                <a:gd name="connsiteY1" fmla="*/ 122177 h 328114"/>
                <a:gd name="connsiteX2" fmla="*/ 391790 w 466107"/>
                <a:gd name="connsiteY2" fmla="*/ 297430 h 328114"/>
                <a:gd name="connsiteX3" fmla="*/ 8614 w 466107"/>
                <a:gd name="connsiteY3" fmla="*/ 243252 h 328114"/>
                <a:gd name="connsiteX4" fmla="*/ 45897 w 466107"/>
                <a:gd name="connsiteY4" fmla="*/ 97302 h 328114"/>
                <a:gd name="connsiteX5" fmla="*/ 252822 w 466107"/>
                <a:gd name="connsiteY5" fmla="*/ 1539 h 328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6107" h="328114">
                  <a:moveTo>
                    <a:pt x="252822" y="1539"/>
                  </a:moveTo>
                  <a:cubicBezTo>
                    <a:pt x="335429" y="-10494"/>
                    <a:pt x="418848" y="49794"/>
                    <a:pt x="451641" y="122177"/>
                  </a:cubicBezTo>
                  <a:cubicBezTo>
                    <a:pt x="479697" y="184273"/>
                    <a:pt x="470594" y="255285"/>
                    <a:pt x="391790" y="297430"/>
                  </a:cubicBezTo>
                  <a:cubicBezTo>
                    <a:pt x="301077" y="345935"/>
                    <a:pt x="55935" y="343254"/>
                    <a:pt x="8614" y="243252"/>
                  </a:cubicBezTo>
                  <a:cubicBezTo>
                    <a:pt x="-12895" y="197678"/>
                    <a:pt x="8240" y="136766"/>
                    <a:pt x="45897" y="97302"/>
                  </a:cubicBezTo>
                  <a:cubicBezTo>
                    <a:pt x="98704" y="42064"/>
                    <a:pt x="181872" y="11950"/>
                    <a:pt x="252822" y="153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endParaRPr>
            </a:p>
          </p:txBody>
        </p:sp>
        <p:sp>
          <p:nvSpPr>
            <p:cNvPr id="24" name="Graphic 12">
              <a:extLst>
                <a:ext uri="{FF2B5EF4-FFF2-40B4-BE49-F238E27FC236}">
                  <a16:creationId xmlns:a16="http://schemas.microsoft.com/office/drawing/2014/main" id="{039C06B1-FDEA-47B1-8222-7D622CD72F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1142141" y="3272152"/>
              <a:ext cx="180625" cy="158824"/>
            </a:xfrm>
            <a:custGeom>
              <a:avLst/>
              <a:gdLst>
                <a:gd name="connsiteX0" fmla="*/ 63289 w 3341477"/>
                <a:gd name="connsiteY0" fmla="*/ 1933384 h 2938167"/>
                <a:gd name="connsiteX1" fmla="*/ 263314 w 3341477"/>
                <a:gd name="connsiteY1" fmla="*/ 514159 h 2938167"/>
                <a:gd name="connsiteX2" fmla="*/ 1098276 w 3341477"/>
                <a:gd name="connsiteY2" fmla="*/ 952 h 2938167"/>
                <a:gd name="connsiteX3" fmla="*/ 2654089 w 3341477"/>
                <a:gd name="connsiteY3" fmla="*/ 371284 h 2938167"/>
                <a:gd name="connsiteX4" fmla="*/ 3219398 w 3341477"/>
                <a:gd name="connsiteY4" fmla="*/ 2080926 h 2938167"/>
                <a:gd name="connsiteX5" fmla="*/ 2044489 w 3341477"/>
                <a:gd name="connsiteY5" fmla="*/ 2933509 h 2938167"/>
                <a:gd name="connsiteX6" fmla="*/ 453814 w 3341477"/>
                <a:gd name="connsiteY6" fmla="*/ 2495359 h 2938167"/>
                <a:gd name="connsiteX7" fmla="*/ 63289 w 3341477"/>
                <a:gd name="connsiteY7" fmla="*/ 1933384 h 2938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1477" h="2938167">
                  <a:moveTo>
                    <a:pt x="63289" y="1933384"/>
                  </a:moveTo>
                  <a:cubicBezTo>
                    <a:pt x="56717" y="1895856"/>
                    <a:pt x="-165311" y="914209"/>
                    <a:pt x="263314" y="514159"/>
                  </a:cubicBezTo>
                  <a:cubicBezTo>
                    <a:pt x="691939" y="114109"/>
                    <a:pt x="609262" y="11620"/>
                    <a:pt x="1098276" y="952"/>
                  </a:cubicBezTo>
                  <a:cubicBezTo>
                    <a:pt x="1587289" y="-9716"/>
                    <a:pt x="2320714" y="66484"/>
                    <a:pt x="2654089" y="371284"/>
                  </a:cubicBezTo>
                  <a:cubicBezTo>
                    <a:pt x="2987464" y="676084"/>
                    <a:pt x="3603732" y="1514094"/>
                    <a:pt x="3219398" y="2080926"/>
                  </a:cubicBezTo>
                  <a:cubicBezTo>
                    <a:pt x="2835064" y="2647759"/>
                    <a:pt x="2558839" y="2895409"/>
                    <a:pt x="2044489" y="2933509"/>
                  </a:cubicBezTo>
                  <a:cubicBezTo>
                    <a:pt x="1530139" y="2971609"/>
                    <a:pt x="701464" y="2771584"/>
                    <a:pt x="453814" y="2495359"/>
                  </a:cubicBezTo>
                  <a:cubicBezTo>
                    <a:pt x="206164" y="2219134"/>
                    <a:pt x="101389" y="2152459"/>
                    <a:pt x="63289" y="19333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25" name="Graphic 15">
              <a:extLst>
                <a:ext uri="{FF2B5EF4-FFF2-40B4-BE49-F238E27FC236}">
                  <a16:creationId xmlns:a16="http://schemas.microsoft.com/office/drawing/2014/main" id="{B834C8C1-9BD1-4635-8E5B-65815F9017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1602136" y="3379098"/>
              <a:ext cx="82388" cy="75292"/>
            </a:xfrm>
            <a:custGeom>
              <a:avLst/>
              <a:gdLst>
                <a:gd name="connsiteX0" fmla="*/ 17664 w 5240764"/>
                <a:gd name="connsiteY0" fmla="*/ 2947947 h 4789394"/>
                <a:gd name="connsiteX1" fmla="*/ 903489 w 5240764"/>
                <a:gd name="connsiteY1" fmla="*/ 195222 h 4789394"/>
                <a:gd name="connsiteX2" fmla="*/ 3560964 w 5240764"/>
                <a:gd name="connsiteY2" fmla="*/ 357147 h 4789394"/>
                <a:gd name="connsiteX3" fmla="*/ 5240602 w 5240764"/>
                <a:gd name="connsiteY3" fmla="*/ 2076409 h 4789394"/>
                <a:gd name="connsiteX4" fmla="*/ 4568328 w 5240764"/>
                <a:gd name="connsiteY4" fmla="*/ 3879397 h 4789394"/>
                <a:gd name="connsiteX5" fmla="*/ 3284739 w 5240764"/>
                <a:gd name="connsiteY5" fmla="*/ 4605297 h 4789394"/>
                <a:gd name="connsiteX6" fmla="*/ 1074939 w 5240764"/>
                <a:gd name="connsiteY6" fmla="*/ 4357647 h 4789394"/>
                <a:gd name="connsiteX7" fmla="*/ 15187 w 5240764"/>
                <a:gd name="connsiteY7" fmla="*/ 2830313 h 478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40764" h="4789394">
                  <a:moveTo>
                    <a:pt x="17664" y="2947947"/>
                  </a:moveTo>
                  <a:cubicBezTo>
                    <a:pt x="17664" y="2900322"/>
                    <a:pt x="-201411" y="490497"/>
                    <a:pt x="903489" y="195222"/>
                  </a:cubicBezTo>
                  <a:cubicBezTo>
                    <a:pt x="2008389" y="-100053"/>
                    <a:pt x="2598939" y="-71478"/>
                    <a:pt x="3560964" y="357147"/>
                  </a:cubicBezTo>
                  <a:cubicBezTo>
                    <a:pt x="4522989" y="785772"/>
                    <a:pt x="5253271" y="1338222"/>
                    <a:pt x="5240602" y="2076409"/>
                  </a:cubicBezTo>
                  <a:cubicBezTo>
                    <a:pt x="5227934" y="2814597"/>
                    <a:pt x="4842267" y="3677276"/>
                    <a:pt x="4568328" y="3879397"/>
                  </a:cubicBezTo>
                  <a:cubicBezTo>
                    <a:pt x="4294389" y="4081422"/>
                    <a:pt x="4065789" y="4548147"/>
                    <a:pt x="3284739" y="4605297"/>
                  </a:cubicBezTo>
                  <a:cubicBezTo>
                    <a:pt x="2503689" y="4662447"/>
                    <a:pt x="1579764" y="5110122"/>
                    <a:pt x="1074939" y="4357647"/>
                  </a:cubicBezTo>
                  <a:cubicBezTo>
                    <a:pt x="570114" y="3605172"/>
                    <a:pt x="12615" y="3617554"/>
                    <a:pt x="15187" y="283031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26" name="Graphic 15">
              <a:extLst>
                <a:ext uri="{FF2B5EF4-FFF2-40B4-BE49-F238E27FC236}">
                  <a16:creationId xmlns:a16="http://schemas.microsoft.com/office/drawing/2014/main" id="{2963D456-B3F4-4EDC-827E-645741F64D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8005" y="3504095"/>
              <a:ext cx="82388" cy="75292"/>
            </a:xfrm>
            <a:custGeom>
              <a:avLst/>
              <a:gdLst>
                <a:gd name="connsiteX0" fmla="*/ 17664 w 5240764"/>
                <a:gd name="connsiteY0" fmla="*/ 2947947 h 4789394"/>
                <a:gd name="connsiteX1" fmla="*/ 903489 w 5240764"/>
                <a:gd name="connsiteY1" fmla="*/ 195222 h 4789394"/>
                <a:gd name="connsiteX2" fmla="*/ 3560964 w 5240764"/>
                <a:gd name="connsiteY2" fmla="*/ 357147 h 4789394"/>
                <a:gd name="connsiteX3" fmla="*/ 5240602 w 5240764"/>
                <a:gd name="connsiteY3" fmla="*/ 2076409 h 4789394"/>
                <a:gd name="connsiteX4" fmla="*/ 4568328 w 5240764"/>
                <a:gd name="connsiteY4" fmla="*/ 3879397 h 4789394"/>
                <a:gd name="connsiteX5" fmla="*/ 3284739 w 5240764"/>
                <a:gd name="connsiteY5" fmla="*/ 4605297 h 4789394"/>
                <a:gd name="connsiteX6" fmla="*/ 1074939 w 5240764"/>
                <a:gd name="connsiteY6" fmla="*/ 4357647 h 4789394"/>
                <a:gd name="connsiteX7" fmla="*/ 15187 w 5240764"/>
                <a:gd name="connsiteY7" fmla="*/ 2830313 h 478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40764" h="4789394">
                  <a:moveTo>
                    <a:pt x="17664" y="2947947"/>
                  </a:moveTo>
                  <a:cubicBezTo>
                    <a:pt x="17664" y="2900322"/>
                    <a:pt x="-201411" y="490497"/>
                    <a:pt x="903489" y="195222"/>
                  </a:cubicBezTo>
                  <a:cubicBezTo>
                    <a:pt x="2008389" y="-100053"/>
                    <a:pt x="2598939" y="-71478"/>
                    <a:pt x="3560964" y="357147"/>
                  </a:cubicBezTo>
                  <a:cubicBezTo>
                    <a:pt x="4522989" y="785772"/>
                    <a:pt x="5253271" y="1338222"/>
                    <a:pt x="5240602" y="2076409"/>
                  </a:cubicBezTo>
                  <a:cubicBezTo>
                    <a:pt x="5227934" y="2814597"/>
                    <a:pt x="4842267" y="3677276"/>
                    <a:pt x="4568328" y="3879397"/>
                  </a:cubicBezTo>
                  <a:cubicBezTo>
                    <a:pt x="4294389" y="4081422"/>
                    <a:pt x="4065789" y="4548147"/>
                    <a:pt x="3284739" y="4605297"/>
                  </a:cubicBezTo>
                  <a:cubicBezTo>
                    <a:pt x="2503689" y="4662447"/>
                    <a:pt x="1579764" y="5110122"/>
                    <a:pt x="1074939" y="4357647"/>
                  </a:cubicBezTo>
                  <a:cubicBezTo>
                    <a:pt x="570114" y="3605172"/>
                    <a:pt x="12615" y="3617554"/>
                    <a:pt x="15187" y="283031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3A58845-EFFB-4806-BC6D-47418C15554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1343727" y="3666564"/>
              <a:ext cx="173527" cy="138496"/>
            </a:xfrm>
            <a:custGeom>
              <a:avLst/>
              <a:gdLst>
                <a:gd name="connsiteX0" fmla="*/ 237392 w 789043"/>
                <a:gd name="connsiteY0" fmla="*/ 81 h 629754"/>
                <a:gd name="connsiteX1" fmla="*/ 758692 w 789043"/>
                <a:gd name="connsiteY1" fmla="*/ 233550 h 629754"/>
                <a:gd name="connsiteX2" fmla="*/ 650647 w 789043"/>
                <a:gd name="connsiteY2" fmla="*/ 335111 h 629754"/>
                <a:gd name="connsiteX3" fmla="*/ 315041 w 789043"/>
                <a:gd name="connsiteY3" fmla="*/ 584992 h 629754"/>
                <a:gd name="connsiteX4" fmla="*/ 192159 w 789043"/>
                <a:gd name="connsiteY4" fmla="*/ 625953 h 629754"/>
                <a:gd name="connsiteX5" fmla="*/ 124264 w 789043"/>
                <a:gd name="connsiteY5" fmla="*/ 552260 h 629754"/>
                <a:gd name="connsiteX6" fmla="*/ 1631 w 789043"/>
                <a:gd name="connsiteY6" fmla="*/ 133735 h 629754"/>
                <a:gd name="connsiteX7" fmla="*/ 35422 w 789043"/>
                <a:gd name="connsiteY7" fmla="*/ 14157 h 629754"/>
                <a:gd name="connsiteX8" fmla="*/ 113728 w 789043"/>
                <a:gd name="connsiteY8" fmla="*/ 378 h 629754"/>
                <a:gd name="connsiteX9" fmla="*/ 237392 w 789043"/>
                <a:gd name="connsiteY9" fmla="*/ 81 h 629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9043" h="629754">
                  <a:moveTo>
                    <a:pt x="237392" y="81"/>
                  </a:moveTo>
                  <a:cubicBezTo>
                    <a:pt x="474795" y="-992"/>
                    <a:pt x="907215" y="10463"/>
                    <a:pt x="758692" y="233550"/>
                  </a:cubicBezTo>
                  <a:cubicBezTo>
                    <a:pt x="731135" y="274948"/>
                    <a:pt x="690486" y="305435"/>
                    <a:pt x="650647" y="335111"/>
                  </a:cubicBezTo>
                  <a:cubicBezTo>
                    <a:pt x="538737" y="418405"/>
                    <a:pt x="426889" y="501698"/>
                    <a:pt x="315041" y="584992"/>
                  </a:cubicBezTo>
                  <a:cubicBezTo>
                    <a:pt x="278943" y="611863"/>
                    <a:pt x="234865" y="640167"/>
                    <a:pt x="192159" y="625953"/>
                  </a:cubicBezTo>
                  <a:cubicBezTo>
                    <a:pt x="159614" y="615105"/>
                    <a:pt x="139851" y="582810"/>
                    <a:pt x="124264" y="552260"/>
                  </a:cubicBezTo>
                  <a:cubicBezTo>
                    <a:pt x="57742" y="422021"/>
                    <a:pt x="15908" y="279250"/>
                    <a:pt x="1631" y="133735"/>
                  </a:cubicBezTo>
                  <a:cubicBezTo>
                    <a:pt x="-2671" y="90343"/>
                    <a:pt x="-676" y="38596"/>
                    <a:pt x="35422" y="14157"/>
                  </a:cubicBezTo>
                  <a:cubicBezTo>
                    <a:pt x="57804" y="-931"/>
                    <a:pt x="86795" y="-557"/>
                    <a:pt x="113728" y="378"/>
                  </a:cubicBezTo>
                  <a:cubicBezTo>
                    <a:pt x="138207" y="1243"/>
                    <a:pt x="182606" y="328"/>
                    <a:pt x="237392" y="8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45437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4" name="Freeform 1882"/>
          <p:cNvSpPr>
            <a:spLocks noChangeArrowheads="1"/>
          </p:cNvSpPr>
          <p:nvPr/>
        </p:nvSpPr>
        <p:spPr bwMode="auto">
          <a:xfrm>
            <a:off x="576824" y="2129756"/>
            <a:ext cx="2082369" cy="3769524"/>
          </a:xfrm>
          <a:custGeom>
            <a:avLst/>
            <a:gdLst>
              <a:gd name="T0" fmla="*/ 1485 w 1486"/>
              <a:gd name="T1" fmla="*/ 2582 h 2692"/>
              <a:gd name="T2" fmla="*/ 1485 w 1486"/>
              <a:gd name="T3" fmla="*/ 2582 h 2692"/>
              <a:gd name="T4" fmla="*/ 1382 w 1486"/>
              <a:gd name="T5" fmla="*/ 2691 h 2692"/>
              <a:gd name="T6" fmla="*/ 103 w 1486"/>
              <a:gd name="T7" fmla="*/ 2691 h 2692"/>
              <a:gd name="T8" fmla="*/ 0 w 1486"/>
              <a:gd name="T9" fmla="*/ 2582 h 2692"/>
              <a:gd name="T10" fmla="*/ 0 w 1486"/>
              <a:gd name="T11" fmla="*/ 109 h 2692"/>
              <a:gd name="T12" fmla="*/ 103 w 1486"/>
              <a:gd name="T13" fmla="*/ 0 h 2692"/>
              <a:gd name="T14" fmla="*/ 1382 w 1486"/>
              <a:gd name="T15" fmla="*/ 0 h 2692"/>
              <a:gd name="T16" fmla="*/ 1485 w 1486"/>
              <a:gd name="T17" fmla="*/ 109 h 2692"/>
              <a:gd name="T18" fmla="*/ 1485 w 1486"/>
              <a:gd name="T19" fmla="*/ 2582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86" h="2692">
                <a:moveTo>
                  <a:pt x="1485" y="2582"/>
                </a:moveTo>
                <a:lnTo>
                  <a:pt x="1485" y="2582"/>
                </a:lnTo>
                <a:cubicBezTo>
                  <a:pt x="1485" y="2642"/>
                  <a:pt x="1436" y="2691"/>
                  <a:pt x="1382" y="2691"/>
                </a:cubicBezTo>
                <a:cubicBezTo>
                  <a:pt x="103" y="2691"/>
                  <a:pt x="103" y="2691"/>
                  <a:pt x="103" y="2691"/>
                </a:cubicBezTo>
                <a:cubicBezTo>
                  <a:pt x="43" y="2691"/>
                  <a:pt x="0" y="2642"/>
                  <a:pt x="0" y="2582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49"/>
                  <a:pt x="43" y="0"/>
                  <a:pt x="103" y="0"/>
                </a:cubicBezTo>
                <a:cubicBezTo>
                  <a:pt x="1382" y="0"/>
                  <a:pt x="1382" y="0"/>
                  <a:pt x="1382" y="0"/>
                </a:cubicBezTo>
                <a:cubicBezTo>
                  <a:pt x="1436" y="0"/>
                  <a:pt x="1485" y="49"/>
                  <a:pt x="1485" y="109"/>
                </a:cubicBezTo>
                <a:cubicBezTo>
                  <a:pt x="1485" y="2582"/>
                  <a:pt x="1485" y="2582"/>
                  <a:pt x="1485" y="2582"/>
                </a:cubicBezTo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45" name="Freeform 1883"/>
          <p:cNvSpPr>
            <a:spLocks noChangeArrowheads="1"/>
          </p:cNvSpPr>
          <p:nvPr/>
        </p:nvSpPr>
        <p:spPr bwMode="auto">
          <a:xfrm>
            <a:off x="1602558" y="2129756"/>
            <a:ext cx="1056630" cy="3769524"/>
          </a:xfrm>
          <a:custGeom>
            <a:avLst/>
            <a:gdLst>
              <a:gd name="T0" fmla="*/ 649 w 753"/>
              <a:gd name="T1" fmla="*/ 0 h 2692"/>
              <a:gd name="T2" fmla="*/ 752 w 753"/>
              <a:gd name="T3" fmla="*/ 109 h 2692"/>
              <a:gd name="T4" fmla="*/ 752 w 753"/>
              <a:gd name="T5" fmla="*/ 2582 h 2692"/>
              <a:gd name="T6" fmla="*/ 649 w 753"/>
              <a:gd name="T7" fmla="*/ 2691 h 2692"/>
              <a:gd name="T8" fmla="*/ 0 w 753"/>
              <a:gd name="T9" fmla="*/ 2691 h 2692"/>
              <a:gd name="T10" fmla="*/ 0 w 753"/>
              <a:gd name="T11" fmla="*/ 0 h 2692"/>
              <a:gd name="T12" fmla="*/ 649 w 753"/>
              <a:gd name="T13" fmla="*/ 0 h 2692"/>
              <a:gd name="T14" fmla="*/ 649 w 753"/>
              <a:gd name="T15" fmla="*/ 0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3" h="2692">
                <a:moveTo>
                  <a:pt x="649" y="0"/>
                </a:moveTo>
                <a:cubicBezTo>
                  <a:pt x="703" y="0"/>
                  <a:pt x="752" y="49"/>
                  <a:pt x="752" y="109"/>
                </a:cubicBezTo>
                <a:cubicBezTo>
                  <a:pt x="752" y="109"/>
                  <a:pt x="752" y="109"/>
                  <a:pt x="752" y="2582"/>
                </a:cubicBezTo>
                <a:cubicBezTo>
                  <a:pt x="752" y="2642"/>
                  <a:pt x="703" y="2691"/>
                  <a:pt x="649" y="2691"/>
                </a:cubicBezTo>
                <a:cubicBezTo>
                  <a:pt x="649" y="2691"/>
                  <a:pt x="649" y="2691"/>
                  <a:pt x="0" y="2691"/>
                </a:cubicBezTo>
                <a:cubicBezTo>
                  <a:pt x="0" y="2691"/>
                  <a:pt x="0" y="2691"/>
                  <a:pt x="0" y="0"/>
                </a:cubicBezTo>
                <a:cubicBezTo>
                  <a:pt x="0" y="0"/>
                  <a:pt x="0" y="0"/>
                  <a:pt x="649" y="0"/>
                </a:cubicBezTo>
                <a:lnTo>
                  <a:pt x="649" y="0"/>
                </a:lnTo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48" name="Freeform 1905"/>
          <p:cNvSpPr>
            <a:spLocks noChangeArrowheads="1"/>
          </p:cNvSpPr>
          <p:nvPr/>
        </p:nvSpPr>
        <p:spPr bwMode="auto">
          <a:xfrm>
            <a:off x="2770417" y="2129756"/>
            <a:ext cx="2082373" cy="3769524"/>
          </a:xfrm>
          <a:custGeom>
            <a:avLst/>
            <a:gdLst>
              <a:gd name="T0" fmla="*/ 1484 w 1485"/>
              <a:gd name="T1" fmla="*/ 2582 h 2692"/>
              <a:gd name="T2" fmla="*/ 1484 w 1485"/>
              <a:gd name="T3" fmla="*/ 2582 h 2692"/>
              <a:gd name="T4" fmla="*/ 1381 w 1485"/>
              <a:gd name="T5" fmla="*/ 2691 h 2692"/>
              <a:gd name="T6" fmla="*/ 109 w 1485"/>
              <a:gd name="T7" fmla="*/ 2691 h 2692"/>
              <a:gd name="T8" fmla="*/ 0 w 1485"/>
              <a:gd name="T9" fmla="*/ 2582 h 2692"/>
              <a:gd name="T10" fmla="*/ 0 w 1485"/>
              <a:gd name="T11" fmla="*/ 109 h 2692"/>
              <a:gd name="T12" fmla="*/ 109 w 1485"/>
              <a:gd name="T13" fmla="*/ 0 h 2692"/>
              <a:gd name="T14" fmla="*/ 1381 w 1485"/>
              <a:gd name="T15" fmla="*/ 0 h 2692"/>
              <a:gd name="T16" fmla="*/ 1484 w 1485"/>
              <a:gd name="T17" fmla="*/ 109 h 2692"/>
              <a:gd name="T18" fmla="*/ 1484 w 1485"/>
              <a:gd name="T19" fmla="*/ 2582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85" h="2692">
                <a:moveTo>
                  <a:pt x="1484" y="2582"/>
                </a:moveTo>
                <a:lnTo>
                  <a:pt x="1484" y="2582"/>
                </a:lnTo>
                <a:cubicBezTo>
                  <a:pt x="1484" y="2642"/>
                  <a:pt x="1442" y="2691"/>
                  <a:pt x="1381" y="2691"/>
                </a:cubicBezTo>
                <a:cubicBezTo>
                  <a:pt x="109" y="2691"/>
                  <a:pt x="109" y="2691"/>
                  <a:pt x="109" y="2691"/>
                </a:cubicBezTo>
                <a:cubicBezTo>
                  <a:pt x="48" y="2691"/>
                  <a:pt x="0" y="2642"/>
                  <a:pt x="0" y="2582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49"/>
                  <a:pt x="48" y="0"/>
                  <a:pt x="109" y="0"/>
                </a:cubicBezTo>
                <a:cubicBezTo>
                  <a:pt x="1381" y="0"/>
                  <a:pt x="1381" y="0"/>
                  <a:pt x="1381" y="0"/>
                </a:cubicBezTo>
                <a:cubicBezTo>
                  <a:pt x="1442" y="0"/>
                  <a:pt x="1484" y="49"/>
                  <a:pt x="1484" y="109"/>
                </a:cubicBezTo>
                <a:cubicBezTo>
                  <a:pt x="1484" y="2582"/>
                  <a:pt x="1484" y="2582"/>
                  <a:pt x="1484" y="2582"/>
                </a:cubicBezTo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49" name="Freeform 1906"/>
          <p:cNvSpPr>
            <a:spLocks noChangeArrowheads="1"/>
          </p:cNvSpPr>
          <p:nvPr/>
        </p:nvSpPr>
        <p:spPr bwMode="auto">
          <a:xfrm>
            <a:off x="3796155" y="2129756"/>
            <a:ext cx="1056634" cy="3769524"/>
          </a:xfrm>
          <a:custGeom>
            <a:avLst/>
            <a:gdLst>
              <a:gd name="T0" fmla="*/ 648 w 752"/>
              <a:gd name="T1" fmla="*/ 0 h 2692"/>
              <a:gd name="T2" fmla="*/ 751 w 752"/>
              <a:gd name="T3" fmla="*/ 109 h 2692"/>
              <a:gd name="T4" fmla="*/ 751 w 752"/>
              <a:gd name="T5" fmla="*/ 2582 h 2692"/>
              <a:gd name="T6" fmla="*/ 648 w 752"/>
              <a:gd name="T7" fmla="*/ 2691 h 2692"/>
              <a:gd name="T8" fmla="*/ 0 w 752"/>
              <a:gd name="T9" fmla="*/ 2691 h 2692"/>
              <a:gd name="T10" fmla="*/ 0 w 752"/>
              <a:gd name="T11" fmla="*/ 0 h 2692"/>
              <a:gd name="T12" fmla="*/ 648 w 752"/>
              <a:gd name="T13" fmla="*/ 0 h 2692"/>
              <a:gd name="T14" fmla="*/ 648 w 752"/>
              <a:gd name="T15" fmla="*/ 0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2" h="2692">
                <a:moveTo>
                  <a:pt x="648" y="0"/>
                </a:moveTo>
                <a:cubicBezTo>
                  <a:pt x="709" y="0"/>
                  <a:pt x="751" y="49"/>
                  <a:pt x="751" y="109"/>
                </a:cubicBezTo>
                <a:cubicBezTo>
                  <a:pt x="751" y="109"/>
                  <a:pt x="751" y="109"/>
                  <a:pt x="751" y="2582"/>
                </a:cubicBezTo>
                <a:cubicBezTo>
                  <a:pt x="751" y="2642"/>
                  <a:pt x="709" y="2691"/>
                  <a:pt x="648" y="2691"/>
                </a:cubicBezTo>
                <a:cubicBezTo>
                  <a:pt x="648" y="2691"/>
                  <a:pt x="648" y="2691"/>
                  <a:pt x="0" y="2691"/>
                </a:cubicBezTo>
                <a:cubicBezTo>
                  <a:pt x="0" y="2691"/>
                  <a:pt x="0" y="2691"/>
                  <a:pt x="0" y="0"/>
                </a:cubicBezTo>
                <a:cubicBezTo>
                  <a:pt x="0" y="0"/>
                  <a:pt x="0" y="0"/>
                  <a:pt x="648" y="0"/>
                </a:cubicBezTo>
                <a:lnTo>
                  <a:pt x="648" y="0"/>
                </a:lnTo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52" name="Freeform 1928"/>
          <p:cNvSpPr>
            <a:spLocks noChangeArrowheads="1"/>
          </p:cNvSpPr>
          <p:nvPr/>
        </p:nvSpPr>
        <p:spPr bwMode="auto">
          <a:xfrm>
            <a:off x="4970191" y="2129756"/>
            <a:ext cx="2082373" cy="3769524"/>
          </a:xfrm>
          <a:custGeom>
            <a:avLst/>
            <a:gdLst>
              <a:gd name="T0" fmla="*/ 1483 w 1484"/>
              <a:gd name="T1" fmla="*/ 2582 h 2692"/>
              <a:gd name="T2" fmla="*/ 1483 w 1484"/>
              <a:gd name="T3" fmla="*/ 2582 h 2692"/>
              <a:gd name="T4" fmla="*/ 1381 w 1484"/>
              <a:gd name="T5" fmla="*/ 2691 h 2692"/>
              <a:gd name="T6" fmla="*/ 103 w 1484"/>
              <a:gd name="T7" fmla="*/ 2691 h 2692"/>
              <a:gd name="T8" fmla="*/ 0 w 1484"/>
              <a:gd name="T9" fmla="*/ 2582 h 2692"/>
              <a:gd name="T10" fmla="*/ 0 w 1484"/>
              <a:gd name="T11" fmla="*/ 109 h 2692"/>
              <a:gd name="T12" fmla="*/ 103 w 1484"/>
              <a:gd name="T13" fmla="*/ 0 h 2692"/>
              <a:gd name="T14" fmla="*/ 1381 w 1484"/>
              <a:gd name="T15" fmla="*/ 0 h 2692"/>
              <a:gd name="T16" fmla="*/ 1483 w 1484"/>
              <a:gd name="T17" fmla="*/ 109 h 2692"/>
              <a:gd name="T18" fmla="*/ 1483 w 1484"/>
              <a:gd name="T19" fmla="*/ 2582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84" h="2692">
                <a:moveTo>
                  <a:pt x="1483" y="2582"/>
                </a:moveTo>
                <a:lnTo>
                  <a:pt x="1483" y="2582"/>
                </a:lnTo>
                <a:cubicBezTo>
                  <a:pt x="1483" y="2642"/>
                  <a:pt x="1435" y="2691"/>
                  <a:pt x="1381" y="2691"/>
                </a:cubicBezTo>
                <a:cubicBezTo>
                  <a:pt x="103" y="2691"/>
                  <a:pt x="103" y="2691"/>
                  <a:pt x="103" y="2691"/>
                </a:cubicBezTo>
                <a:cubicBezTo>
                  <a:pt x="42" y="2691"/>
                  <a:pt x="0" y="2642"/>
                  <a:pt x="0" y="2582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49"/>
                  <a:pt x="42" y="0"/>
                  <a:pt x="103" y="0"/>
                </a:cubicBezTo>
                <a:cubicBezTo>
                  <a:pt x="1381" y="0"/>
                  <a:pt x="1381" y="0"/>
                  <a:pt x="1381" y="0"/>
                </a:cubicBezTo>
                <a:cubicBezTo>
                  <a:pt x="1435" y="0"/>
                  <a:pt x="1483" y="49"/>
                  <a:pt x="1483" y="109"/>
                </a:cubicBezTo>
                <a:cubicBezTo>
                  <a:pt x="1483" y="2582"/>
                  <a:pt x="1483" y="2582"/>
                  <a:pt x="1483" y="2582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53" name="Freeform 1929"/>
          <p:cNvSpPr>
            <a:spLocks noChangeArrowheads="1"/>
          </p:cNvSpPr>
          <p:nvPr/>
        </p:nvSpPr>
        <p:spPr bwMode="auto">
          <a:xfrm>
            <a:off x="6002111" y="2129756"/>
            <a:ext cx="1044276" cy="3769524"/>
          </a:xfrm>
          <a:custGeom>
            <a:avLst/>
            <a:gdLst>
              <a:gd name="T0" fmla="*/ 643 w 746"/>
              <a:gd name="T1" fmla="*/ 0 h 2692"/>
              <a:gd name="T2" fmla="*/ 745 w 746"/>
              <a:gd name="T3" fmla="*/ 109 h 2692"/>
              <a:gd name="T4" fmla="*/ 745 w 746"/>
              <a:gd name="T5" fmla="*/ 2582 h 2692"/>
              <a:gd name="T6" fmla="*/ 643 w 746"/>
              <a:gd name="T7" fmla="*/ 2691 h 2692"/>
              <a:gd name="T8" fmla="*/ 0 w 746"/>
              <a:gd name="T9" fmla="*/ 2691 h 2692"/>
              <a:gd name="T10" fmla="*/ 0 w 746"/>
              <a:gd name="T11" fmla="*/ 0 h 2692"/>
              <a:gd name="T12" fmla="*/ 643 w 746"/>
              <a:gd name="T13" fmla="*/ 0 h 2692"/>
              <a:gd name="T14" fmla="*/ 643 w 746"/>
              <a:gd name="T15" fmla="*/ 0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46" h="2692">
                <a:moveTo>
                  <a:pt x="643" y="0"/>
                </a:moveTo>
                <a:cubicBezTo>
                  <a:pt x="697" y="0"/>
                  <a:pt x="745" y="49"/>
                  <a:pt x="745" y="109"/>
                </a:cubicBezTo>
                <a:cubicBezTo>
                  <a:pt x="745" y="109"/>
                  <a:pt x="745" y="109"/>
                  <a:pt x="745" y="2582"/>
                </a:cubicBezTo>
                <a:cubicBezTo>
                  <a:pt x="745" y="2642"/>
                  <a:pt x="697" y="2691"/>
                  <a:pt x="643" y="2691"/>
                </a:cubicBezTo>
                <a:cubicBezTo>
                  <a:pt x="643" y="2691"/>
                  <a:pt x="643" y="2691"/>
                  <a:pt x="0" y="2691"/>
                </a:cubicBezTo>
                <a:cubicBezTo>
                  <a:pt x="0" y="2691"/>
                  <a:pt x="0" y="2691"/>
                  <a:pt x="0" y="0"/>
                </a:cubicBezTo>
                <a:cubicBezTo>
                  <a:pt x="0" y="0"/>
                  <a:pt x="0" y="0"/>
                  <a:pt x="643" y="0"/>
                </a:cubicBezTo>
                <a:lnTo>
                  <a:pt x="643" y="0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56" name="Freeform 1951"/>
          <p:cNvSpPr>
            <a:spLocks noChangeArrowheads="1"/>
          </p:cNvSpPr>
          <p:nvPr/>
        </p:nvSpPr>
        <p:spPr bwMode="auto">
          <a:xfrm>
            <a:off x="7157606" y="2129756"/>
            <a:ext cx="2082373" cy="3769524"/>
          </a:xfrm>
          <a:custGeom>
            <a:avLst/>
            <a:gdLst>
              <a:gd name="T0" fmla="*/ 1485 w 1486"/>
              <a:gd name="T1" fmla="*/ 2582 h 2692"/>
              <a:gd name="T2" fmla="*/ 1485 w 1486"/>
              <a:gd name="T3" fmla="*/ 2582 h 2692"/>
              <a:gd name="T4" fmla="*/ 1382 w 1486"/>
              <a:gd name="T5" fmla="*/ 2691 h 2692"/>
              <a:gd name="T6" fmla="*/ 109 w 1486"/>
              <a:gd name="T7" fmla="*/ 2691 h 2692"/>
              <a:gd name="T8" fmla="*/ 0 w 1486"/>
              <a:gd name="T9" fmla="*/ 2582 h 2692"/>
              <a:gd name="T10" fmla="*/ 0 w 1486"/>
              <a:gd name="T11" fmla="*/ 109 h 2692"/>
              <a:gd name="T12" fmla="*/ 109 w 1486"/>
              <a:gd name="T13" fmla="*/ 0 h 2692"/>
              <a:gd name="T14" fmla="*/ 1382 w 1486"/>
              <a:gd name="T15" fmla="*/ 0 h 2692"/>
              <a:gd name="T16" fmla="*/ 1485 w 1486"/>
              <a:gd name="T17" fmla="*/ 109 h 2692"/>
              <a:gd name="T18" fmla="*/ 1485 w 1486"/>
              <a:gd name="T19" fmla="*/ 2582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86" h="2692">
                <a:moveTo>
                  <a:pt x="1485" y="2582"/>
                </a:moveTo>
                <a:lnTo>
                  <a:pt x="1485" y="2582"/>
                </a:lnTo>
                <a:cubicBezTo>
                  <a:pt x="1485" y="2642"/>
                  <a:pt x="1442" y="2691"/>
                  <a:pt x="1382" y="2691"/>
                </a:cubicBezTo>
                <a:cubicBezTo>
                  <a:pt x="109" y="2691"/>
                  <a:pt x="109" y="2691"/>
                  <a:pt x="109" y="2691"/>
                </a:cubicBezTo>
                <a:cubicBezTo>
                  <a:pt x="49" y="2691"/>
                  <a:pt x="0" y="2642"/>
                  <a:pt x="0" y="2582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49"/>
                  <a:pt x="49" y="0"/>
                  <a:pt x="109" y="0"/>
                </a:cubicBezTo>
                <a:cubicBezTo>
                  <a:pt x="1382" y="0"/>
                  <a:pt x="1382" y="0"/>
                  <a:pt x="1382" y="0"/>
                </a:cubicBezTo>
                <a:cubicBezTo>
                  <a:pt x="1442" y="0"/>
                  <a:pt x="1485" y="49"/>
                  <a:pt x="1485" y="109"/>
                </a:cubicBezTo>
                <a:cubicBezTo>
                  <a:pt x="1485" y="2582"/>
                  <a:pt x="1485" y="2582"/>
                  <a:pt x="1485" y="2582"/>
                </a:cubicBezTo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57" name="Freeform 1952"/>
          <p:cNvSpPr>
            <a:spLocks noChangeArrowheads="1"/>
          </p:cNvSpPr>
          <p:nvPr/>
        </p:nvSpPr>
        <p:spPr bwMode="auto">
          <a:xfrm>
            <a:off x="8183349" y="2129756"/>
            <a:ext cx="1056634" cy="3769524"/>
          </a:xfrm>
          <a:custGeom>
            <a:avLst/>
            <a:gdLst>
              <a:gd name="T0" fmla="*/ 648 w 752"/>
              <a:gd name="T1" fmla="*/ 0 h 2692"/>
              <a:gd name="T2" fmla="*/ 751 w 752"/>
              <a:gd name="T3" fmla="*/ 109 h 2692"/>
              <a:gd name="T4" fmla="*/ 751 w 752"/>
              <a:gd name="T5" fmla="*/ 2582 h 2692"/>
              <a:gd name="T6" fmla="*/ 648 w 752"/>
              <a:gd name="T7" fmla="*/ 2691 h 2692"/>
              <a:gd name="T8" fmla="*/ 0 w 752"/>
              <a:gd name="T9" fmla="*/ 2691 h 2692"/>
              <a:gd name="T10" fmla="*/ 0 w 752"/>
              <a:gd name="T11" fmla="*/ 0 h 2692"/>
              <a:gd name="T12" fmla="*/ 648 w 752"/>
              <a:gd name="T13" fmla="*/ 0 h 2692"/>
              <a:gd name="T14" fmla="*/ 648 w 752"/>
              <a:gd name="T15" fmla="*/ 0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2" h="2692">
                <a:moveTo>
                  <a:pt x="648" y="0"/>
                </a:moveTo>
                <a:cubicBezTo>
                  <a:pt x="708" y="0"/>
                  <a:pt x="751" y="49"/>
                  <a:pt x="751" y="109"/>
                </a:cubicBezTo>
                <a:cubicBezTo>
                  <a:pt x="751" y="109"/>
                  <a:pt x="751" y="109"/>
                  <a:pt x="751" y="2582"/>
                </a:cubicBezTo>
                <a:cubicBezTo>
                  <a:pt x="751" y="2642"/>
                  <a:pt x="708" y="2691"/>
                  <a:pt x="648" y="2691"/>
                </a:cubicBezTo>
                <a:cubicBezTo>
                  <a:pt x="648" y="2691"/>
                  <a:pt x="648" y="2691"/>
                  <a:pt x="0" y="2691"/>
                </a:cubicBezTo>
                <a:cubicBezTo>
                  <a:pt x="0" y="2691"/>
                  <a:pt x="0" y="2691"/>
                  <a:pt x="0" y="0"/>
                </a:cubicBezTo>
                <a:cubicBezTo>
                  <a:pt x="0" y="0"/>
                  <a:pt x="0" y="0"/>
                  <a:pt x="648" y="0"/>
                </a:cubicBezTo>
                <a:lnTo>
                  <a:pt x="648" y="0"/>
                </a:lnTo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60" name="Freeform 1974"/>
          <p:cNvSpPr>
            <a:spLocks noChangeArrowheads="1"/>
          </p:cNvSpPr>
          <p:nvPr/>
        </p:nvSpPr>
        <p:spPr bwMode="auto">
          <a:xfrm>
            <a:off x="9357381" y="2129756"/>
            <a:ext cx="2082373" cy="3769524"/>
          </a:xfrm>
          <a:custGeom>
            <a:avLst/>
            <a:gdLst>
              <a:gd name="T0" fmla="*/ 1484 w 1485"/>
              <a:gd name="T1" fmla="*/ 2582 h 2692"/>
              <a:gd name="T2" fmla="*/ 1484 w 1485"/>
              <a:gd name="T3" fmla="*/ 2582 h 2692"/>
              <a:gd name="T4" fmla="*/ 1381 w 1485"/>
              <a:gd name="T5" fmla="*/ 2691 h 2692"/>
              <a:gd name="T6" fmla="*/ 103 w 1485"/>
              <a:gd name="T7" fmla="*/ 2691 h 2692"/>
              <a:gd name="T8" fmla="*/ 0 w 1485"/>
              <a:gd name="T9" fmla="*/ 2582 h 2692"/>
              <a:gd name="T10" fmla="*/ 0 w 1485"/>
              <a:gd name="T11" fmla="*/ 109 h 2692"/>
              <a:gd name="T12" fmla="*/ 103 w 1485"/>
              <a:gd name="T13" fmla="*/ 0 h 2692"/>
              <a:gd name="T14" fmla="*/ 1381 w 1485"/>
              <a:gd name="T15" fmla="*/ 0 h 2692"/>
              <a:gd name="T16" fmla="*/ 1484 w 1485"/>
              <a:gd name="T17" fmla="*/ 109 h 2692"/>
              <a:gd name="T18" fmla="*/ 1484 w 1485"/>
              <a:gd name="T19" fmla="*/ 2582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85" h="2692">
                <a:moveTo>
                  <a:pt x="1484" y="2582"/>
                </a:moveTo>
                <a:lnTo>
                  <a:pt x="1484" y="2582"/>
                </a:lnTo>
                <a:cubicBezTo>
                  <a:pt x="1484" y="2642"/>
                  <a:pt x="1436" y="2691"/>
                  <a:pt x="1381" y="2691"/>
                </a:cubicBezTo>
                <a:cubicBezTo>
                  <a:pt x="103" y="2691"/>
                  <a:pt x="103" y="2691"/>
                  <a:pt x="103" y="2691"/>
                </a:cubicBezTo>
                <a:cubicBezTo>
                  <a:pt x="42" y="2691"/>
                  <a:pt x="0" y="2642"/>
                  <a:pt x="0" y="2582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49"/>
                  <a:pt x="42" y="0"/>
                  <a:pt x="103" y="0"/>
                </a:cubicBezTo>
                <a:cubicBezTo>
                  <a:pt x="1381" y="0"/>
                  <a:pt x="1381" y="0"/>
                  <a:pt x="1381" y="0"/>
                </a:cubicBezTo>
                <a:cubicBezTo>
                  <a:pt x="1436" y="0"/>
                  <a:pt x="1484" y="49"/>
                  <a:pt x="1484" y="109"/>
                </a:cubicBezTo>
                <a:cubicBezTo>
                  <a:pt x="1484" y="2582"/>
                  <a:pt x="1484" y="2582"/>
                  <a:pt x="1484" y="2582"/>
                </a:cubicBez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61" name="Freeform 1975"/>
          <p:cNvSpPr>
            <a:spLocks noChangeArrowheads="1"/>
          </p:cNvSpPr>
          <p:nvPr/>
        </p:nvSpPr>
        <p:spPr bwMode="auto">
          <a:xfrm>
            <a:off x="10383123" y="2129756"/>
            <a:ext cx="1056634" cy="3769524"/>
          </a:xfrm>
          <a:custGeom>
            <a:avLst/>
            <a:gdLst>
              <a:gd name="T0" fmla="*/ 648 w 752"/>
              <a:gd name="T1" fmla="*/ 0 h 2692"/>
              <a:gd name="T2" fmla="*/ 751 w 752"/>
              <a:gd name="T3" fmla="*/ 109 h 2692"/>
              <a:gd name="T4" fmla="*/ 751 w 752"/>
              <a:gd name="T5" fmla="*/ 2582 h 2692"/>
              <a:gd name="T6" fmla="*/ 648 w 752"/>
              <a:gd name="T7" fmla="*/ 2691 h 2692"/>
              <a:gd name="T8" fmla="*/ 0 w 752"/>
              <a:gd name="T9" fmla="*/ 2691 h 2692"/>
              <a:gd name="T10" fmla="*/ 0 w 752"/>
              <a:gd name="T11" fmla="*/ 0 h 2692"/>
              <a:gd name="T12" fmla="*/ 648 w 752"/>
              <a:gd name="T13" fmla="*/ 0 h 2692"/>
              <a:gd name="T14" fmla="*/ 648 w 752"/>
              <a:gd name="T15" fmla="*/ 0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2" h="2692">
                <a:moveTo>
                  <a:pt x="648" y="0"/>
                </a:moveTo>
                <a:cubicBezTo>
                  <a:pt x="703" y="0"/>
                  <a:pt x="751" y="49"/>
                  <a:pt x="751" y="109"/>
                </a:cubicBezTo>
                <a:cubicBezTo>
                  <a:pt x="751" y="109"/>
                  <a:pt x="751" y="109"/>
                  <a:pt x="751" y="2582"/>
                </a:cubicBezTo>
                <a:cubicBezTo>
                  <a:pt x="751" y="2642"/>
                  <a:pt x="703" y="2691"/>
                  <a:pt x="648" y="2691"/>
                </a:cubicBezTo>
                <a:cubicBezTo>
                  <a:pt x="648" y="2691"/>
                  <a:pt x="648" y="2691"/>
                  <a:pt x="0" y="2691"/>
                </a:cubicBezTo>
                <a:cubicBezTo>
                  <a:pt x="0" y="2691"/>
                  <a:pt x="0" y="2691"/>
                  <a:pt x="0" y="0"/>
                </a:cubicBezTo>
                <a:cubicBezTo>
                  <a:pt x="0" y="0"/>
                  <a:pt x="0" y="0"/>
                  <a:pt x="648" y="0"/>
                </a:cubicBezTo>
                <a:lnTo>
                  <a:pt x="648" y="0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64" name="TextBox 2463"/>
          <p:cNvSpPr txBox="1"/>
          <p:nvPr/>
        </p:nvSpPr>
        <p:spPr>
          <a:xfrm>
            <a:off x="2878486" y="3429000"/>
            <a:ext cx="1830344" cy="176020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f a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 is flagged as “blocked for sale,” SAP can automatically prevent sales orders from being created for it.</a:t>
            </a:r>
          </a:p>
        </p:txBody>
      </p:sp>
      <p:sp>
        <p:nvSpPr>
          <p:cNvPr id="2465" name="TextBox 2464"/>
          <p:cNvSpPr txBox="1"/>
          <p:nvPr/>
        </p:nvSpPr>
        <p:spPr>
          <a:xfrm>
            <a:off x="5096205" y="3429311"/>
            <a:ext cx="1830344" cy="161888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nsure that the right logistics processes are followed, especially in warehouse and production environments.</a:t>
            </a:r>
          </a:p>
        </p:txBody>
      </p:sp>
      <p:sp>
        <p:nvSpPr>
          <p:cNvPr id="2466" name="TextBox 2465"/>
          <p:cNvSpPr txBox="1"/>
          <p:nvPr/>
        </p:nvSpPr>
        <p:spPr>
          <a:xfrm>
            <a:off x="7385578" y="3429000"/>
            <a:ext cx="1830344" cy="2231683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ags help enforce regulatory compliance by marking products that require special handling, documentation, or are restricted in certain market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2467" name="TextBox 2466"/>
          <p:cNvSpPr txBox="1"/>
          <p:nvPr/>
        </p:nvSpPr>
        <p:spPr>
          <a:xfrm>
            <a:off x="9467951" y="3429000"/>
            <a:ext cx="1830344" cy="809755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ags make it easier to filter and analyze product dat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2468" name="TextBox 2467"/>
          <p:cNvSpPr txBox="1"/>
          <p:nvPr/>
        </p:nvSpPr>
        <p:spPr>
          <a:xfrm>
            <a:off x="628686" y="2214085"/>
            <a:ext cx="1830344" cy="62848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Regular"/>
                <a:ea typeface="+mn-ea"/>
                <a:cs typeface="Lato Regular"/>
              </a:rPr>
              <a:t>LIFE CYCLE MANAGEMENT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1953C4-9F4D-4F0C-A8C4-492C30D35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b="1" dirty="0"/>
              <a:t>WHY ?</a:t>
            </a:r>
            <a:endParaRPr 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BE060A-83D6-E7B0-552B-1367C2853E91}"/>
              </a:ext>
            </a:extLst>
          </p:cNvPr>
          <p:cNvSpPr txBox="1"/>
          <p:nvPr/>
        </p:nvSpPr>
        <p:spPr>
          <a:xfrm>
            <a:off x="656442" y="3429000"/>
            <a:ext cx="1923132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 flags indicate whether a product is in development, active, obsolete, or discontinued. This helps prevent outdated or non-compliant products from being sold or produced.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DB6C74-684E-625A-57F3-C81D5A37BE58}"/>
              </a:ext>
            </a:extLst>
          </p:cNvPr>
          <p:cNvSpPr txBox="1"/>
          <p:nvPr/>
        </p:nvSpPr>
        <p:spPr>
          <a:xfrm>
            <a:off x="2852019" y="2214084"/>
            <a:ext cx="1830344" cy="62848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Regular"/>
                <a:ea typeface="+mn-ea"/>
                <a:cs typeface="Lato Regular"/>
              </a:rPr>
              <a:t>PROCESS AUTOMA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DD7596-E9BA-C130-E726-8C809CA8B244}"/>
              </a:ext>
            </a:extLst>
          </p:cNvPr>
          <p:cNvSpPr txBox="1"/>
          <p:nvPr/>
        </p:nvSpPr>
        <p:spPr>
          <a:xfrm>
            <a:off x="5086939" y="2214083"/>
            <a:ext cx="1830344" cy="89933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Regular"/>
                <a:ea typeface="+mn-ea"/>
                <a:cs typeface="Lato Regular"/>
              </a:rPr>
              <a:t>INVENTORY &amp; SUPPLY CHAIN CONTROL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3784D0-71DF-1774-C6BB-ACC8858CCFF9}"/>
              </a:ext>
            </a:extLst>
          </p:cNvPr>
          <p:cNvSpPr txBox="1"/>
          <p:nvPr/>
        </p:nvSpPr>
        <p:spPr>
          <a:xfrm>
            <a:off x="7243281" y="2214082"/>
            <a:ext cx="1830344" cy="89933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Regular"/>
                <a:ea typeface="+mn-ea"/>
                <a:cs typeface="Lato Regular"/>
              </a:rPr>
              <a:t>COMPLIANCE &amp; RISK MITIGRA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3BB213-D202-3ABB-55AC-E6B3F38723E9}"/>
              </a:ext>
            </a:extLst>
          </p:cNvPr>
          <p:cNvSpPr txBox="1"/>
          <p:nvPr/>
        </p:nvSpPr>
        <p:spPr>
          <a:xfrm>
            <a:off x="9421583" y="2214081"/>
            <a:ext cx="1830344" cy="62848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Regular"/>
                <a:ea typeface="+mn-ea"/>
                <a:cs typeface="Lato Regular"/>
              </a:rPr>
              <a:t>REPORTING &amp; ANALYTIC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493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xmlns:p14="http://schemas.microsoft.com/office/powerpoint/2010/main" advClick="0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86A9F8-910F-44FD-7882-E26296350B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4" name="Freeform 1882">
            <a:extLst>
              <a:ext uri="{FF2B5EF4-FFF2-40B4-BE49-F238E27FC236}">
                <a16:creationId xmlns:a16="http://schemas.microsoft.com/office/drawing/2014/main" id="{7C6AD2CC-CFCE-8B27-CBA3-763CF1E339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24" y="2129756"/>
            <a:ext cx="2082369" cy="3769524"/>
          </a:xfrm>
          <a:custGeom>
            <a:avLst/>
            <a:gdLst>
              <a:gd name="T0" fmla="*/ 1485 w 1486"/>
              <a:gd name="T1" fmla="*/ 2582 h 2692"/>
              <a:gd name="T2" fmla="*/ 1485 w 1486"/>
              <a:gd name="T3" fmla="*/ 2582 h 2692"/>
              <a:gd name="T4" fmla="*/ 1382 w 1486"/>
              <a:gd name="T5" fmla="*/ 2691 h 2692"/>
              <a:gd name="T6" fmla="*/ 103 w 1486"/>
              <a:gd name="T7" fmla="*/ 2691 h 2692"/>
              <a:gd name="T8" fmla="*/ 0 w 1486"/>
              <a:gd name="T9" fmla="*/ 2582 h 2692"/>
              <a:gd name="T10" fmla="*/ 0 w 1486"/>
              <a:gd name="T11" fmla="*/ 109 h 2692"/>
              <a:gd name="T12" fmla="*/ 103 w 1486"/>
              <a:gd name="T13" fmla="*/ 0 h 2692"/>
              <a:gd name="T14" fmla="*/ 1382 w 1486"/>
              <a:gd name="T15" fmla="*/ 0 h 2692"/>
              <a:gd name="T16" fmla="*/ 1485 w 1486"/>
              <a:gd name="T17" fmla="*/ 109 h 2692"/>
              <a:gd name="T18" fmla="*/ 1485 w 1486"/>
              <a:gd name="T19" fmla="*/ 2582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86" h="2692">
                <a:moveTo>
                  <a:pt x="1485" y="2582"/>
                </a:moveTo>
                <a:lnTo>
                  <a:pt x="1485" y="2582"/>
                </a:lnTo>
                <a:cubicBezTo>
                  <a:pt x="1485" y="2642"/>
                  <a:pt x="1436" y="2691"/>
                  <a:pt x="1382" y="2691"/>
                </a:cubicBezTo>
                <a:cubicBezTo>
                  <a:pt x="103" y="2691"/>
                  <a:pt x="103" y="2691"/>
                  <a:pt x="103" y="2691"/>
                </a:cubicBezTo>
                <a:cubicBezTo>
                  <a:pt x="43" y="2691"/>
                  <a:pt x="0" y="2642"/>
                  <a:pt x="0" y="2582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49"/>
                  <a:pt x="43" y="0"/>
                  <a:pt x="103" y="0"/>
                </a:cubicBezTo>
                <a:cubicBezTo>
                  <a:pt x="1382" y="0"/>
                  <a:pt x="1382" y="0"/>
                  <a:pt x="1382" y="0"/>
                </a:cubicBezTo>
                <a:cubicBezTo>
                  <a:pt x="1436" y="0"/>
                  <a:pt x="1485" y="49"/>
                  <a:pt x="1485" y="109"/>
                </a:cubicBezTo>
                <a:cubicBezTo>
                  <a:pt x="1485" y="2582"/>
                  <a:pt x="1485" y="2582"/>
                  <a:pt x="1485" y="2582"/>
                </a:cubicBezTo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45" name="Freeform 1883">
            <a:extLst>
              <a:ext uri="{FF2B5EF4-FFF2-40B4-BE49-F238E27FC236}">
                <a16:creationId xmlns:a16="http://schemas.microsoft.com/office/drawing/2014/main" id="{3032F3D1-0400-3A45-E88E-A3265F652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2558" y="2129756"/>
            <a:ext cx="1056630" cy="3769524"/>
          </a:xfrm>
          <a:custGeom>
            <a:avLst/>
            <a:gdLst>
              <a:gd name="T0" fmla="*/ 649 w 753"/>
              <a:gd name="T1" fmla="*/ 0 h 2692"/>
              <a:gd name="T2" fmla="*/ 752 w 753"/>
              <a:gd name="T3" fmla="*/ 109 h 2692"/>
              <a:gd name="T4" fmla="*/ 752 w 753"/>
              <a:gd name="T5" fmla="*/ 2582 h 2692"/>
              <a:gd name="T6" fmla="*/ 649 w 753"/>
              <a:gd name="T7" fmla="*/ 2691 h 2692"/>
              <a:gd name="T8" fmla="*/ 0 w 753"/>
              <a:gd name="T9" fmla="*/ 2691 h 2692"/>
              <a:gd name="T10" fmla="*/ 0 w 753"/>
              <a:gd name="T11" fmla="*/ 0 h 2692"/>
              <a:gd name="T12" fmla="*/ 649 w 753"/>
              <a:gd name="T13" fmla="*/ 0 h 2692"/>
              <a:gd name="T14" fmla="*/ 649 w 753"/>
              <a:gd name="T15" fmla="*/ 0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3" h="2692">
                <a:moveTo>
                  <a:pt x="649" y="0"/>
                </a:moveTo>
                <a:cubicBezTo>
                  <a:pt x="703" y="0"/>
                  <a:pt x="752" y="49"/>
                  <a:pt x="752" y="109"/>
                </a:cubicBezTo>
                <a:cubicBezTo>
                  <a:pt x="752" y="109"/>
                  <a:pt x="752" y="109"/>
                  <a:pt x="752" y="2582"/>
                </a:cubicBezTo>
                <a:cubicBezTo>
                  <a:pt x="752" y="2642"/>
                  <a:pt x="703" y="2691"/>
                  <a:pt x="649" y="2691"/>
                </a:cubicBezTo>
                <a:cubicBezTo>
                  <a:pt x="649" y="2691"/>
                  <a:pt x="649" y="2691"/>
                  <a:pt x="0" y="2691"/>
                </a:cubicBezTo>
                <a:cubicBezTo>
                  <a:pt x="0" y="2691"/>
                  <a:pt x="0" y="2691"/>
                  <a:pt x="0" y="0"/>
                </a:cubicBezTo>
                <a:cubicBezTo>
                  <a:pt x="0" y="0"/>
                  <a:pt x="0" y="0"/>
                  <a:pt x="649" y="0"/>
                </a:cubicBezTo>
                <a:lnTo>
                  <a:pt x="649" y="0"/>
                </a:lnTo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48" name="Freeform 1905">
            <a:extLst>
              <a:ext uri="{FF2B5EF4-FFF2-40B4-BE49-F238E27FC236}">
                <a16:creationId xmlns:a16="http://schemas.microsoft.com/office/drawing/2014/main" id="{45FAF4EE-F203-F8C8-C8F2-9BA541BC9D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0417" y="2129756"/>
            <a:ext cx="2082373" cy="3769524"/>
          </a:xfrm>
          <a:custGeom>
            <a:avLst/>
            <a:gdLst>
              <a:gd name="T0" fmla="*/ 1484 w 1485"/>
              <a:gd name="T1" fmla="*/ 2582 h 2692"/>
              <a:gd name="T2" fmla="*/ 1484 w 1485"/>
              <a:gd name="T3" fmla="*/ 2582 h 2692"/>
              <a:gd name="T4" fmla="*/ 1381 w 1485"/>
              <a:gd name="T5" fmla="*/ 2691 h 2692"/>
              <a:gd name="T6" fmla="*/ 109 w 1485"/>
              <a:gd name="T7" fmla="*/ 2691 h 2692"/>
              <a:gd name="T8" fmla="*/ 0 w 1485"/>
              <a:gd name="T9" fmla="*/ 2582 h 2692"/>
              <a:gd name="T10" fmla="*/ 0 w 1485"/>
              <a:gd name="T11" fmla="*/ 109 h 2692"/>
              <a:gd name="T12" fmla="*/ 109 w 1485"/>
              <a:gd name="T13" fmla="*/ 0 h 2692"/>
              <a:gd name="T14" fmla="*/ 1381 w 1485"/>
              <a:gd name="T15" fmla="*/ 0 h 2692"/>
              <a:gd name="T16" fmla="*/ 1484 w 1485"/>
              <a:gd name="T17" fmla="*/ 109 h 2692"/>
              <a:gd name="T18" fmla="*/ 1484 w 1485"/>
              <a:gd name="T19" fmla="*/ 2582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85" h="2692">
                <a:moveTo>
                  <a:pt x="1484" y="2582"/>
                </a:moveTo>
                <a:lnTo>
                  <a:pt x="1484" y="2582"/>
                </a:lnTo>
                <a:cubicBezTo>
                  <a:pt x="1484" y="2642"/>
                  <a:pt x="1442" y="2691"/>
                  <a:pt x="1381" y="2691"/>
                </a:cubicBezTo>
                <a:cubicBezTo>
                  <a:pt x="109" y="2691"/>
                  <a:pt x="109" y="2691"/>
                  <a:pt x="109" y="2691"/>
                </a:cubicBezTo>
                <a:cubicBezTo>
                  <a:pt x="48" y="2691"/>
                  <a:pt x="0" y="2642"/>
                  <a:pt x="0" y="2582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49"/>
                  <a:pt x="48" y="0"/>
                  <a:pt x="109" y="0"/>
                </a:cubicBezTo>
                <a:cubicBezTo>
                  <a:pt x="1381" y="0"/>
                  <a:pt x="1381" y="0"/>
                  <a:pt x="1381" y="0"/>
                </a:cubicBezTo>
                <a:cubicBezTo>
                  <a:pt x="1442" y="0"/>
                  <a:pt x="1484" y="49"/>
                  <a:pt x="1484" y="109"/>
                </a:cubicBezTo>
                <a:cubicBezTo>
                  <a:pt x="1484" y="2582"/>
                  <a:pt x="1484" y="2582"/>
                  <a:pt x="1484" y="2582"/>
                </a:cubicBezTo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49" name="Freeform 1906">
            <a:extLst>
              <a:ext uri="{FF2B5EF4-FFF2-40B4-BE49-F238E27FC236}">
                <a16:creationId xmlns:a16="http://schemas.microsoft.com/office/drawing/2014/main" id="{210ED957-BE76-1C4A-B7B4-449BE846C3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6155" y="2129756"/>
            <a:ext cx="1056634" cy="3769524"/>
          </a:xfrm>
          <a:custGeom>
            <a:avLst/>
            <a:gdLst>
              <a:gd name="T0" fmla="*/ 648 w 752"/>
              <a:gd name="T1" fmla="*/ 0 h 2692"/>
              <a:gd name="T2" fmla="*/ 751 w 752"/>
              <a:gd name="T3" fmla="*/ 109 h 2692"/>
              <a:gd name="T4" fmla="*/ 751 w 752"/>
              <a:gd name="T5" fmla="*/ 2582 h 2692"/>
              <a:gd name="T6" fmla="*/ 648 w 752"/>
              <a:gd name="T7" fmla="*/ 2691 h 2692"/>
              <a:gd name="T8" fmla="*/ 0 w 752"/>
              <a:gd name="T9" fmla="*/ 2691 h 2692"/>
              <a:gd name="T10" fmla="*/ 0 w 752"/>
              <a:gd name="T11" fmla="*/ 0 h 2692"/>
              <a:gd name="T12" fmla="*/ 648 w 752"/>
              <a:gd name="T13" fmla="*/ 0 h 2692"/>
              <a:gd name="T14" fmla="*/ 648 w 752"/>
              <a:gd name="T15" fmla="*/ 0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2" h="2692">
                <a:moveTo>
                  <a:pt x="648" y="0"/>
                </a:moveTo>
                <a:cubicBezTo>
                  <a:pt x="709" y="0"/>
                  <a:pt x="751" y="49"/>
                  <a:pt x="751" y="109"/>
                </a:cubicBezTo>
                <a:cubicBezTo>
                  <a:pt x="751" y="109"/>
                  <a:pt x="751" y="109"/>
                  <a:pt x="751" y="2582"/>
                </a:cubicBezTo>
                <a:cubicBezTo>
                  <a:pt x="751" y="2642"/>
                  <a:pt x="709" y="2691"/>
                  <a:pt x="648" y="2691"/>
                </a:cubicBezTo>
                <a:cubicBezTo>
                  <a:pt x="648" y="2691"/>
                  <a:pt x="648" y="2691"/>
                  <a:pt x="0" y="2691"/>
                </a:cubicBezTo>
                <a:cubicBezTo>
                  <a:pt x="0" y="2691"/>
                  <a:pt x="0" y="2691"/>
                  <a:pt x="0" y="0"/>
                </a:cubicBezTo>
                <a:cubicBezTo>
                  <a:pt x="0" y="0"/>
                  <a:pt x="0" y="0"/>
                  <a:pt x="648" y="0"/>
                </a:cubicBezTo>
                <a:lnTo>
                  <a:pt x="648" y="0"/>
                </a:lnTo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52" name="Freeform 1928">
            <a:extLst>
              <a:ext uri="{FF2B5EF4-FFF2-40B4-BE49-F238E27FC236}">
                <a16:creationId xmlns:a16="http://schemas.microsoft.com/office/drawing/2014/main" id="{18D60BC3-BC22-A2E5-F298-71026CBAE5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0191" y="2129756"/>
            <a:ext cx="2082373" cy="3769524"/>
          </a:xfrm>
          <a:custGeom>
            <a:avLst/>
            <a:gdLst>
              <a:gd name="T0" fmla="*/ 1483 w 1484"/>
              <a:gd name="T1" fmla="*/ 2582 h 2692"/>
              <a:gd name="T2" fmla="*/ 1483 w 1484"/>
              <a:gd name="T3" fmla="*/ 2582 h 2692"/>
              <a:gd name="T4" fmla="*/ 1381 w 1484"/>
              <a:gd name="T5" fmla="*/ 2691 h 2692"/>
              <a:gd name="T6" fmla="*/ 103 w 1484"/>
              <a:gd name="T7" fmla="*/ 2691 h 2692"/>
              <a:gd name="T8" fmla="*/ 0 w 1484"/>
              <a:gd name="T9" fmla="*/ 2582 h 2692"/>
              <a:gd name="T10" fmla="*/ 0 w 1484"/>
              <a:gd name="T11" fmla="*/ 109 h 2692"/>
              <a:gd name="T12" fmla="*/ 103 w 1484"/>
              <a:gd name="T13" fmla="*/ 0 h 2692"/>
              <a:gd name="T14" fmla="*/ 1381 w 1484"/>
              <a:gd name="T15" fmla="*/ 0 h 2692"/>
              <a:gd name="T16" fmla="*/ 1483 w 1484"/>
              <a:gd name="T17" fmla="*/ 109 h 2692"/>
              <a:gd name="T18" fmla="*/ 1483 w 1484"/>
              <a:gd name="T19" fmla="*/ 2582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84" h="2692">
                <a:moveTo>
                  <a:pt x="1483" y="2582"/>
                </a:moveTo>
                <a:lnTo>
                  <a:pt x="1483" y="2582"/>
                </a:lnTo>
                <a:cubicBezTo>
                  <a:pt x="1483" y="2642"/>
                  <a:pt x="1435" y="2691"/>
                  <a:pt x="1381" y="2691"/>
                </a:cubicBezTo>
                <a:cubicBezTo>
                  <a:pt x="103" y="2691"/>
                  <a:pt x="103" y="2691"/>
                  <a:pt x="103" y="2691"/>
                </a:cubicBezTo>
                <a:cubicBezTo>
                  <a:pt x="42" y="2691"/>
                  <a:pt x="0" y="2642"/>
                  <a:pt x="0" y="2582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49"/>
                  <a:pt x="42" y="0"/>
                  <a:pt x="103" y="0"/>
                </a:cubicBezTo>
                <a:cubicBezTo>
                  <a:pt x="1381" y="0"/>
                  <a:pt x="1381" y="0"/>
                  <a:pt x="1381" y="0"/>
                </a:cubicBezTo>
                <a:cubicBezTo>
                  <a:pt x="1435" y="0"/>
                  <a:pt x="1483" y="49"/>
                  <a:pt x="1483" y="109"/>
                </a:cubicBezTo>
                <a:cubicBezTo>
                  <a:pt x="1483" y="2582"/>
                  <a:pt x="1483" y="2582"/>
                  <a:pt x="1483" y="2582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53" name="Freeform 1929">
            <a:extLst>
              <a:ext uri="{FF2B5EF4-FFF2-40B4-BE49-F238E27FC236}">
                <a16:creationId xmlns:a16="http://schemas.microsoft.com/office/drawing/2014/main" id="{45614E1E-2B87-8DC4-B49F-E384E87C03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2111" y="2129756"/>
            <a:ext cx="1044276" cy="3769524"/>
          </a:xfrm>
          <a:custGeom>
            <a:avLst/>
            <a:gdLst>
              <a:gd name="T0" fmla="*/ 643 w 746"/>
              <a:gd name="T1" fmla="*/ 0 h 2692"/>
              <a:gd name="T2" fmla="*/ 745 w 746"/>
              <a:gd name="T3" fmla="*/ 109 h 2692"/>
              <a:gd name="T4" fmla="*/ 745 w 746"/>
              <a:gd name="T5" fmla="*/ 2582 h 2692"/>
              <a:gd name="T6" fmla="*/ 643 w 746"/>
              <a:gd name="T7" fmla="*/ 2691 h 2692"/>
              <a:gd name="T8" fmla="*/ 0 w 746"/>
              <a:gd name="T9" fmla="*/ 2691 h 2692"/>
              <a:gd name="T10" fmla="*/ 0 w 746"/>
              <a:gd name="T11" fmla="*/ 0 h 2692"/>
              <a:gd name="T12" fmla="*/ 643 w 746"/>
              <a:gd name="T13" fmla="*/ 0 h 2692"/>
              <a:gd name="T14" fmla="*/ 643 w 746"/>
              <a:gd name="T15" fmla="*/ 0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46" h="2692">
                <a:moveTo>
                  <a:pt x="643" y="0"/>
                </a:moveTo>
                <a:cubicBezTo>
                  <a:pt x="697" y="0"/>
                  <a:pt x="745" y="49"/>
                  <a:pt x="745" y="109"/>
                </a:cubicBezTo>
                <a:cubicBezTo>
                  <a:pt x="745" y="109"/>
                  <a:pt x="745" y="109"/>
                  <a:pt x="745" y="2582"/>
                </a:cubicBezTo>
                <a:cubicBezTo>
                  <a:pt x="745" y="2642"/>
                  <a:pt x="697" y="2691"/>
                  <a:pt x="643" y="2691"/>
                </a:cubicBezTo>
                <a:cubicBezTo>
                  <a:pt x="643" y="2691"/>
                  <a:pt x="643" y="2691"/>
                  <a:pt x="0" y="2691"/>
                </a:cubicBezTo>
                <a:cubicBezTo>
                  <a:pt x="0" y="2691"/>
                  <a:pt x="0" y="2691"/>
                  <a:pt x="0" y="0"/>
                </a:cubicBezTo>
                <a:cubicBezTo>
                  <a:pt x="0" y="0"/>
                  <a:pt x="0" y="0"/>
                  <a:pt x="643" y="0"/>
                </a:cubicBezTo>
                <a:lnTo>
                  <a:pt x="643" y="0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56" name="Freeform 1951">
            <a:extLst>
              <a:ext uri="{FF2B5EF4-FFF2-40B4-BE49-F238E27FC236}">
                <a16:creationId xmlns:a16="http://schemas.microsoft.com/office/drawing/2014/main" id="{3919A4F5-9652-4B52-5081-B42BA06DD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606" y="2129756"/>
            <a:ext cx="2082373" cy="3769524"/>
          </a:xfrm>
          <a:custGeom>
            <a:avLst/>
            <a:gdLst>
              <a:gd name="T0" fmla="*/ 1485 w 1486"/>
              <a:gd name="T1" fmla="*/ 2582 h 2692"/>
              <a:gd name="T2" fmla="*/ 1485 w 1486"/>
              <a:gd name="T3" fmla="*/ 2582 h 2692"/>
              <a:gd name="T4" fmla="*/ 1382 w 1486"/>
              <a:gd name="T5" fmla="*/ 2691 h 2692"/>
              <a:gd name="T6" fmla="*/ 109 w 1486"/>
              <a:gd name="T7" fmla="*/ 2691 h 2692"/>
              <a:gd name="T8" fmla="*/ 0 w 1486"/>
              <a:gd name="T9" fmla="*/ 2582 h 2692"/>
              <a:gd name="T10" fmla="*/ 0 w 1486"/>
              <a:gd name="T11" fmla="*/ 109 h 2692"/>
              <a:gd name="T12" fmla="*/ 109 w 1486"/>
              <a:gd name="T13" fmla="*/ 0 h 2692"/>
              <a:gd name="T14" fmla="*/ 1382 w 1486"/>
              <a:gd name="T15" fmla="*/ 0 h 2692"/>
              <a:gd name="T16" fmla="*/ 1485 w 1486"/>
              <a:gd name="T17" fmla="*/ 109 h 2692"/>
              <a:gd name="T18" fmla="*/ 1485 w 1486"/>
              <a:gd name="T19" fmla="*/ 2582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86" h="2692">
                <a:moveTo>
                  <a:pt x="1485" y="2582"/>
                </a:moveTo>
                <a:lnTo>
                  <a:pt x="1485" y="2582"/>
                </a:lnTo>
                <a:cubicBezTo>
                  <a:pt x="1485" y="2642"/>
                  <a:pt x="1442" y="2691"/>
                  <a:pt x="1382" y="2691"/>
                </a:cubicBezTo>
                <a:cubicBezTo>
                  <a:pt x="109" y="2691"/>
                  <a:pt x="109" y="2691"/>
                  <a:pt x="109" y="2691"/>
                </a:cubicBezTo>
                <a:cubicBezTo>
                  <a:pt x="49" y="2691"/>
                  <a:pt x="0" y="2642"/>
                  <a:pt x="0" y="2582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49"/>
                  <a:pt x="49" y="0"/>
                  <a:pt x="109" y="0"/>
                </a:cubicBezTo>
                <a:cubicBezTo>
                  <a:pt x="1382" y="0"/>
                  <a:pt x="1382" y="0"/>
                  <a:pt x="1382" y="0"/>
                </a:cubicBezTo>
                <a:cubicBezTo>
                  <a:pt x="1442" y="0"/>
                  <a:pt x="1485" y="49"/>
                  <a:pt x="1485" y="109"/>
                </a:cubicBezTo>
                <a:cubicBezTo>
                  <a:pt x="1485" y="2582"/>
                  <a:pt x="1485" y="2582"/>
                  <a:pt x="1485" y="2582"/>
                </a:cubicBezTo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57" name="Freeform 1952">
            <a:extLst>
              <a:ext uri="{FF2B5EF4-FFF2-40B4-BE49-F238E27FC236}">
                <a16:creationId xmlns:a16="http://schemas.microsoft.com/office/drawing/2014/main" id="{EE9AFD0C-232D-3ACD-11A9-B34F030FF2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3349" y="2129756"/>
            <a:ext cx="1056634" cy="3769524"/>
          </a:xfrm>
          <a:custGeom>
            <a:avLst/>
            <a:gdLst>
              <a:gd name="T0" fmla="*/ 648 w 752"/>
              <a:gd name="T1" fmla="*/ 0 h 2692"/>
              <a:gd name="T2" fmla="*/ 751 w 752"/>
              <a:gd name="T3" fmla="*/ 109 h 2692"/>
              <a:gd name="T4" fmla="*/ 751 w 752"/>
              <a:gd name="T5" fmla="*/ 2582 h 2692"/>
              <a:gd name="T6" fmla="*/ 648 w 752"/>
              <a:gd name="T7" fmla="*/ 2691 h 2692"/>
              <a:gd name="T8" fmla="*/ 0 w 752"/>
              <a:gd name="T9" fmla="*/ 2691 h 2692"/>
              <a:gd name="T10" fmla="*/ 0 w 752"/>
              <a:gd name="T11" fmla="*/ 0 h 2692"/>
              <a:gd name="T12" fmla="*/ 648 w 752"/>
              <a:gd name="T13" fmla="*/ 0 h 2692"/>
              <a:gd name="T14" fmla="*/ 648 w 752"/>
              <a:gd name="T15" fmla="*/ 0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2" h="2692">
                <a:moveTo>
                  <a:pt x="648" y="0"/>
                </a:moveTo>
                <a:cubicBezTo>
                  <a:pt x="708" y="0"/>
                  <a:pt x="751" y="49"/>
                  <a:pt x="751" y="109"/>
                </a:cubicBezTo>
                <a:cubicBezTo>
                  <a:pt x="751" y="109"/>
                  <a:pt x="751" y="109"/>
                  <a:pt x="751" y="2582"/>
                </a:cubicBezTo>
                <a:cubicBezTo>
                  <a:pt x="751" y="2642"/>
                  <a:pt x="708" y="2691"/>
                  <a:pt x="648" y="2691"/>
                </a:cubicBezTo>
                <a:cubicBezTo>
                  <a:pt x="648" y="2691"/>
                  <a:pt x="648" y="2691"/>
                  <a:pt x="0" y="2691"/>
                </a:cubicBezTo>
                <a:cubicBezTo>
                  <a:pt x="0" y="2691"/>
                  <a:pt x="0" y="2691"/>
                  <a:pt x="0" y="0"/>
                </a:cubicBezTo>
                <a:cubicBezTo>
                  <a:pt x="0" y="0"/>
                  <a:pt x="0" y="0"/>
                  <a:pt x="648" y="0"/>
                </a:cubicBezTo>
                <a:lnTo>
                  <a:pt x="648" y="0"/>
                </a:lnTo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60" name="Freeform 1974">
            <a:extLst>
              <a:ext uri="{FF2B5EF4-FFF2-40B4-BE49-F238E27FC236}">
                <a16:creationId xmlns:a16="http://schemas.microsoft.com/office/drawing/2014/main" id="{3C3CA00F-7F2D-C51A-B9A2-B2FF34E5E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7381" y="2129756"/>
            <a:ext cx="2082373" cy="3769524"/>
          </a:xfrm>
          <a:custGeom>
            <a:avLst/>
            <a:gdLst>
              <a:gd name="T0" fmla="*/ 1484 w 1485"/>
              <a:gd name="T1" fmla="*/ 2582 h 2692"/>
              <a:gd name="T2" fmla="*/ 1484 w 1485"/>
              <a:gd name="T3" fmla="*/ 2582 h 2692"/>
              <a:gd name="T4" fmla="*/ 1381 w 1485"/>
              <a:gd name="T5" fmla="*/ 2691 h 2692"/>
              <a:gd name="T6" fmla="*/ 103 w 1485"/>
              <a:gd name="T7" fmla="*/ 2691 h 2692"/>
              <a:gd name="T8" fmla="*/ 0 w 1485"/>
              <a:gd name="T9" fmla="*/ 2582 h 2692"/>
              <a:gd name="T10" fmla="*/ 0 w 1485"/>
              <a:gd name="T11" fmla="*/ 109 h 2692"/>
              <a:gd name="T12" fmla="*/ 103 w 1485"/>
              <a:gd name="T13" fmla="*/ 0 h 2692"/>
              <a:gd name="T14" fmla="*/ 1381 w 1485"/>
              <a:gd name="T15" fmla="*/ 0 h 2692"/>
              <a:gd name="T16" fmla="*/ 1484 w 1485"/>
              <a:gd name="T17" fmla="*/ 109 h 2692"/>
              <a:gd name="T18" fmla="*/ 1484 w 1485"/>
              <a:gd name="T19" fmla="*/ 2582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85" h="2692">
                <a:moveTo>
                  <a:pt x="1484" y="2582"/>
                </a:moveTo>
                <a:lnTo>
                  <a:pt x="1484" y="2582"/>
                </a:lnTo>
                <a:cubicBezTo>
                  <a:pt x="1484" y="2642"/>
                  <a:pt x="1436" y="2691"/>
                  <a:pt x="1381" y="2691"/>
                </a:cubicBezTo>
                <a:cubicBezTo>
                  <a:pt x="103" y="2691"/>
                  <a:pt x="103" y="2691"/>
                  <a:pt x="103" y="2691"/>
                </a:cubicBezTo>
                <a:cubicBezTo>
                  <a:pt x="42" y="2691"/>
                  <a:pt x="0" y="2642"/>
                  <a:pt x="0" y="2582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49"/>
                  <a:pt x="42" y="0"/>
                  <a:pt x="103" y="0"/>
                </a:cubicBezTo>
                <a:cubicBezTo>
                  <a:pt x="1381" y="0"/>
                  <a:pt x="1381" y="0"/>
                  <a:pt x="1381" y="0"/>
                </a:cubicBezTo>
                <a:cubicBezTo>
                  <a:pt x="1436" y="0"/>
                  <a:pt x="1484" y="49"/>
                  <a:pt x="1484" y="109"/>
                </a:cubicBezTo>
                <a:cubicBezTo>
                  <a:pt x="1484" y="2582"/>
                  <a:pt x="1484" y="2582"/>
                  <a:pt x="1484" y="2582"/>
                </a:cubicBez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61" name="Freeform 1975">
            <a:extLst>
              <a:ext uri="{FF2B5EF4-FFF2-40B4-BE49-F238E27FC236}">
                <a16:creationId xmlns:a16="http://schemas.microsoft.com/office/drawing/2014/main" id="{061EF232-4293-E450-2AAA-2F9FAA5B3F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83123" y="2129756"/>
            <a:ext cx="1056634" cy="3769524"/>
          </a:xfrm>
          <a:custGeom>
            <a:avLst/>
            <a:gdLst>
              <a:gd name="T0" fmla="*/ 648 w 752"/>
              <a:gd name="T1" fmla="*/ 0 h 2692"/>
              <a:gd name="T2" fmla="*/ 751 w 752"/>
              <a:gd name="T3" fmla="*/ 109 h 2692"/>
              <a:gd name="T4" fmla="*/ 751 w 752"/>
              <a:gd name="T5" fmla="*/ 2582 h 2692"/>
              <a:gd name="T6" fmla="*/ 648 w 752"/>
              <a:gd name="T7" fmla="*/ 2691 h 2692"/>
              <a:gd name="T8" fmla="*/ 0 w 752"/>
              <a:gd name="T9" fmla="*/ 2691 h 2692"/>
              <a:gd name="T10" fmla="*/ 0 w 752"/>
              <a:gd name="T11" fmla="*/ 0 h 2692"/>
              <a:gd name="T12" fmla="*/ 648 w 752"/>
              <a:gd name="T13" fmla="*/ 0 h 2692"/>
              <a:gd name="T14" fmla="*/ 648 w 752"/>
              <a:gd name="T15" fmla="*/ 0 h 2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2" h="2692">
                <a:moveTo>
                  <a:pt x="648" y="0"/>
                </a:moveTo>
                <a:cubicBezTo>
                  <a:pt x="703" y="0"/>
                  <a:pt x="751" y="49"/>
                  <a:pt x="751" y="109"/>
                </a:cubicBezTo>
                <a:cubicBezTo>
                  <a:pt x="751" y="109"/>
                  <a:pt x="751" y="109"/>
                  <a:pt x="751" y="2582"/>
                </a:cubicBezTo>
                <a:cubicBezTo>
                  <a:pt x="751" y="2642"/>
                  <a:pt x="703" y="2691"/>
                  <a:pt x="648" y="2691"/>
                </a:cubicBezTo>
                <a:cubicBezTo>
                  <a:pt x="648" y="2691"/>
                  <a:pt x="648" y="2691"/>
                  <a:pt x="0" y="2691"/>
                </a:cubicBezTo>
                <a:cubicBezTo>
                  <a:pt x="0" y="2691"/>
                  <a:pt x="0" y="2691"/>
                  <a:pt x="0" y="0"/>
                </a:cubicBezTo>
                <a:cubicBezTo>
                  <a:pt x="0" y="0"/>
                  <a:pt x="0" y="0"/>
                  <a:pt x="648" y="0"/>
                </a:cubicBezTo>
                <a:lnTo>
                  <a:pt x="648" y="0"/>
                </a:ln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64" name="TextBox 2463">
            <a:extLst>
              <a:ext uri="{FF2B5EF4-FFF2-40B4-BE49-F238E27FC236}">
                <a16:creationId xmlns:a16="http://schemas.microsoft.com/office/drawing/2014/main" id="{68BD4254-683F-B5A8-D0CA-56A2092F2055}"/>
              </a:ext>
            </a:extLst>
          </p:cNvPr>
          <p:cNvSpPr txBox="1"/>
          <p:nvPr/>
        </p:nvSpPr>
        <p:spPr>
          <a:xfrm>
            <a:off x="2874806" y="3359116"/>
            <a:ext cx="1830344" cy="2540164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P can trigger automatic actions based on flags—like preventing stock transfers of discontinued items or alerting procurement when a flagged item is running low. This reduces manual errors and speeds up oper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65" name="TextBox 2464">
            <a:extLst>
              <a:ext uri="{FF2B5EF4-FFF2-40B4-BE49-F238E27FC236}">
                <a16:creationId xmlns:a16="http://schemas.microsoft.com/office/drawing/2014/main" id="{2F9178CA-0E69-65E3-DFE3-A51848CBA987}"/>
              </a:ext>
            </a:extLst>
          </p:cNvPr>
          <p:cNvSpPr txBox="1"/>
          <p:nvPr/>
        </p:nvSpPr>
        <p:spPr>
          <a:xfrm>
            <a:off x="5096205" y="3359116"/>
            <a:ext cx="1830344" cy="226521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y flagging slow-moving or obsolete items, businesses can avoid overstocking and free up valuable warehouse space. This directly cuts down on storage costs and waste.</a:t>
            </a:r>
          </a:p>
        </p:txBody>
      </p:sp>
      <p:sp>
        <p:nvSpPr>
          <p:cNvPr id="2466" name="TextBox 2465">
            <a:extLst>
              <a:ext uri="{FF2B5EF4-FFF2-40B4-BE49-F238E27FC236}">
                <a16:creationId xmlns:a16="http://schemas.microsoft.com/office/drawing/2014/main" id="{CFCD2B4C-BC89-D84B-5BC6-AB795054D5DD}"/>
              </a:ext>
            </a:extLst>
          </p:cNvPr>
          <p:cNvSpPr txBox="1"/>
          <p:nvPr/>
        </p:nvSpPr>
        <p:spPr>
          <a:xfrm>
            <a:off x="7283620" y="3237600"/>
            <a:ext cx="1830344" cy="2705659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ags help segment inventory for more accurate demand planning. Planners can exclude “phase-out” products from forecasts and focus on active SKUs, improving supply chain responsivenes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2467" name="TextBox 2466">
            <a:extLst>
              <a:ext uri="{FF2B5EF4-FFF2-40B4-BE49-F238E27FC236}">
                <a16:creationId xmlns:a16="http://schemas.microsoft.com/office/drawing/2014/main" id="{0AC7D680-1058-DF2A-F66B-EAC3000027EB}"/>
              </a:ext>
            </a:extLst>
          </p:cNvPr>
          <p:cNvSpPr txBox="1"/>
          <p:nvPr/>
        </p:nvSpPr>
        <p:spPr>
          <a:xfrm>
            <a:off x="9467951" y="3237600"/>
            <a:ext cx="1830344" cy="1046743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ags can indicate if a product is restricted in certain region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2468" name="TextBox 2467">
            <a:extLst>
              <a:ext uri="{FF2B5EF4-FFF2-40B4-BE49-F238E27FC236}">
                <a16:creationId xmlns:a16="http://schemas.microsoft.com/office/drawing/2014/main" id="{C516A165-BD93-A38B-8E23-B71202C9FF3A}"/>
              </a:ext>
            </a:extLst>
          </p:cNvPr>
          <p:cNvSpPr txBox="1"/>
          <p:nvPr/>
        </p:nvSpPr>
        <p:spPr>
          <a:xfrm>
            <a:off x="628686" y="2214085"/>
            <a:ext cx="1830344" cy="89933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Regular"/>
                <a:ea typeface="+mn-ea"/>
                <a:cs typeface="Lato Regular"/>
              </a:rPr>
              <a:t>STOCK VISIBILITY &amp; CONTROL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8B1EB5-DAAA-E438-A89A-B8C0BAF3C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86" y="350303"/>
            <a:ext cx="10515819" cy="831928"/>
          </a:xfrm>
        </p:spPr>
        <p:txBody>
          <a:bodyPr>
            <a:normAutofit fontScale="90000"/>
          </a:bodyPr>
          <a:lstStyle/>
          <a:p>
            <a:r>
              <a:rPr lang="en-US" sz="3000" b="1" dirty="0"/>
              <a:t>FROM BUSINESS PERSPECTIVE HOW INVENTORY MANAGEMENT CAN BE BENEFITED FROM  FLAG ?</a:t>
            </a:r>
            <a:endParaRPr 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7F1B04-F01C-B08C-7C87-CC5D0AEBB1FF}"/>
              </a:ext>
            </a:extLst>
          </p:cNvPr>
          <p:cNvSpPr txBox="1"/>
          <p:nvPr/>
        </p:nvSpPr>
        <p:spPr>
          <a:xfrm>
            <a:off x="656442" y="3429000"/>
            <a:ext cx="1923132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ags like “blocked for sale,” “only for projects ,” or “obsolete” help warehouse and sales teams instantly know which items are usable, restricted, open for a specific project.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440C48-224F-31C8-6CC2-C4B885A674D7}"/>
              </a:ext>
            </a:extLst>
          </p:cNvPr>
          <p:cNvSpPr txBox="1"/>
          <p:nvPr/>
        </p:nvSpPr>
        <p:spPr>
          <a:xfrm>
            <a:off x="2852019" y="2214084"/>
            <a:ext cx="1830344" cy="89933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Regular"/>
                <a:ea typeface="+mn-ea"/>
                <a:cs typeface="Lato Regular"/>
              </a:rPr>
              <a:t>AUTOMATED INVENTORY ACTION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1B372E-577E-A27A-BB5E-988C922C1BBD}"/>
              </a:ext>
            </a:extLst>
          </p:cNvPr>
          <p:cNvSpPr txBox="1"/>
          <p:nvPr/>
        </p:nvSpPr>
        <p:spPr>
          <a:xfrm>
            <a:off x="5086939" y="2214083"/>
            <a:ext cx="1830344" cy="62848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Regular"/>
                <a:ea typeface="+mn-ea"/>
                <a:cs typeface="Lato Regular"/>
              </a:rPr>
              <a:t>REDUCING HOLDING COS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8E7F4EF-0B9E-B9D4-86FF-D4097A66AE1E}"/>
              </a:ext>
            </a:extLst>
          </p:cNvPr>
          <p:cNvSpPr txBox="1"/>
          <p:nvPr/>
        </p:nvSpPr>
        <p:spPr>
          <a:xfrm>
            <a:off x="7243281" y="2214082"/>
            <a:ext cx="1830344" cy="899331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Regular"/>
                <a:ea typeface="+mn-ea"/>
                <a:cs typeface="Lato Regular"/>
              </a:rPr>
              <a:t>BETTER FORECASTING &amp; PLANNING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2F595F-57D9-650C-8B0E-C4E1B130706C}"/>
              </a:ext>
            </a:extLst>
          </p:cNvPr>
          <p:cNvSpPr txBox="1"/>
          <p:nvPr/>
        </p:nvSpPr>
        <p:spPr>
          <a:xfrm>
            <a:off x="9421583" y="2214081"/>
            <a:ext cx="1830344" cy="62848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Regular"/>
                <a:ea typeface="+mn-ea"/>
                <a:cs typeface="Lato Regular"/>
              </a:rPr>
              <a:t>REGULATORY COMPLIANC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/>
              <a:ea typeface="+mn-ea"/>
              <a:cs typeface="Lato Ligh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8245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xmlns:p14="http://schemas.microsoft.com/office/powerpoint/2010/main" advClick="0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63AD84B-73BC-50FC-AB9C-10F19782D00A}"/>
              </a:ext>
            </a:extLst>
          </p:cNvPr>
          <p:cNvSpPr txBox="1"/>
          <p:nvPr/>
        </p:nvSpPr>
        <p:spPr>
          <a:xfrm>
            <a:off x="248265" y="54531"/>
            <a:ext cx="609858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fining Criteria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6F605E3-9C53-A574-C905-E21BD50ABD25}"/>
              </a:ext>
            </a:extLst>
          </p:cNvPr>
          <p:cNvGraphicFramePr>
            <a:graphicFrameLocks noGrp="1"/>
          </p:cNvGraphicFramePr>
          <p:nvPr/>
        </p:nvGraphicFramePr>
        <p:xfrm>
          <a:off x="248265" y="636745"/>
          <a:ext cx="11695470" cy="5903006"/>
        </p:xfrm>
        <a:graphic>
          <a:graphicData uri="http://schemas.openxmlformats.org/drawingml/2006/table">
            <a:tbl>
              <a:tblPr/>
              <a:tblGrid>
                <a:gridCol w="1961536">
                  <a:extLst>
                    <a:ext uri="{9D8B030D-6E8A-4147-A177-3AD203B41FA5}">
                      <a16:colId xmlns:a16="http://schemas.microsoft.com/office/drawing/2014/main" val="1655716188"/>
                    </a:ext>
                  </a:extLst>
                </a:gridCol>
                <a:gridCol w="3259393">
                  <a:extLst>
                    <a:ext uri="{9D8B030D-6E8A-4147-A177-3AD203B41FA5}">
                      <a16:colId xmlns:a16="http://schemas.microsoft.com/office/drawing/2014/main" val="4231392604"/>
                    </a:ext>
                  </a:extLst>
                </a:gridCol>
                <a:gridCol w="2462981">
                  <a:extLst>
                    <a:ext uri="{9D8B030D-6E8A-4147-A177-3AD203B41FA5}">
                      <a16:colId xmlns:a16="http://schemas.microsoft.com/office/drawing/2014/main" val="1237389103"/>
                    </a:ext>
                  </a:extLst>
                </a:gridCol>
                <a:gridCol w="1224116">
                  <a:extLst>
                    <a:ext uri="{9D8B030D-6E8A-4147-A177-3AD203B41FA5}">
                      <a16:colId xmlns:a16="http://schemas.microsoft.com/office/drawing/2014/main" val="800408607"/>
                    </a:ext>
                  </a:extLst>
                </a:gridCol>
                <a:gridCol w="1179871">
                  <a:extLst>
                    <a:ext uri="{9D8B030D-6E8A-4147-A177-3AD203B41FA5}">
                      <a16:colId xmlns:a16="http://schemas.microsoft.com/office/drawing/2014/main" val="2782965386"/>
                    </a:ext>
                  </a:extLst>
                </a:gridCol>
                <a:gridCol w="1607573">
                  <a:extLst>
                    <a:ext uri="{9D8B030D-6E8A-4147-A177-3AD203B41FA5}">
                      <a16:colId xmlns:a16="http://schemas.microsoft.com/office/drawing/2014/main" val="2801626315"/>
                    </a:ext>
                  </a:extLst>
                </a:gridCol>
              </a:tblGrid>
              <a:tr h="340528"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282" marR="5282" marT="52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escription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annels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lag  Nomenclatur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BC INDICATOR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T status Key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4275401"/>
                  </a:ext>
                </a:extLst>
              </a:tr>
              <a:tr h="32280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hase 1</a:t>
                      </a:r>
                    </a:p>
                  </a:txBody>
                  <a:tcPr marL="5282" marR="5282" marT="52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his phase will include Idea generation , Prototype , Design finalization , Naming , SKU code creation , production , stock for launch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ales Block for all 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ut  INTER  DEPO  transfer should be ope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0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 (NO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O-All Block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071934"/>
                  </a:ext>
                </a:extLst>
              </a:tr>
              <a:tr h="29748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S- DEPO TRANSFER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3490557"/>
                  </a:ext>
                </a:extLst>
              </a:tr>
              <a:tr h="158238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hase 2 - Launch </a:t>
                      </a:r>
                    </a:p>
                  </a:txBody>
                  <a:tcPr marL="5282" marR="5282" marT="52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his phase is from the Date of launch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upto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180 days in market </a:t>
                      </a:r>
                      <a:b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ptos Narrow" panose="020B0004020202020204" pitchFamily="34" charset="0"/>
                        </a:rPr>
                        <a:t>Note : In this phase Product is open only in Trade Bill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ly Retail launch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R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 (TRADE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R-ONLY TRAD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4926038"/>
                  </a:ext>
                </a:extLst>
              </a:tr>
              <a:tr h="17722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ly Project Launch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P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 (PROJECT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P-ONLY PROJECT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221019"/>
                  </a:ext>
                </a:extLst>
              </a:tr>
              <a:tr h="22547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e+Project Launch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R+P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 (BOTH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B -PROJECT+TRAD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8595217"/>
                  </a:ext>
                </a:extLst>
              </a:tr>
              <a:tr h="12659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pecific E-Com launch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 (ECOM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E- ECOM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3443440"/>
                  </a:ext>
                </a:extLst>
              </a:tr>
              <a:tr h="22547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e+Project+E com launch+Export Launch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ALL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 (ALL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A- ALL CHANNEL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8992805"/>
                  </a:ext>
                </a:extLst>
              </a:tr>
              <a:tr h="22547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xport specific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EX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 (EXPORT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X- OPEN FOR EXPORT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7523446"/>
                  </a:ext>
                </a:extLst>
              </a:tr>
              <a:tr h="132920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hase 3- Maturity period</a:t>
                      </a:r>
                    </a:p>
                  </a:txBody>
                  <a:tcPr marL="5282" marR="5282" marT="52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his phase includes complete Maturity Cycl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ly Trade Launch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-R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 (TRADE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R-ONLY TRAD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142974"/>
                  </a:ext>
                </a:extLst>
              </a:tr>
              <a:tr h="12659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ly Project Launch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-P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 (PROJECT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P-ONLY PROJECT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776898"/>
                  </a:ext>
                </a:extLst>
              </a:tr>
              <a:tr h="22547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e+Project Launch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-R+P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 (BOTH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B -PROJECT+TRAD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0052701"/>
                  </a:ext>
                </a:extLst>
              </a:tr>
              <a:tr h="22547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e+Project+E com launch+Export Launch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ALL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 (ALL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A- ALL CHANNEL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2471871"/>
                  </a:ext>
                </a:extLst>
              </a:tr>
              <a:tr h="12659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pecific E-Com launch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-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 (ECOM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E- ECOM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82031"/>
                  </a:ext>
                </a:extLst>
              </a:tr>
              <a:tr h="22547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xport specific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-EX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 (EXPORT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X- OPEN FOR EXPORT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956738"/>
                  </a:ext>
                </a:extLst>
              </a:tr>
              <a:tr h="126591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hase 4- Declining Phase</a:t>
                      </a:r>
                    </a:p>
                  </a:txBody>
                  <a:tcPr marL="5282" marR="5282" marT="52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EW PO/PR/ INDENT  process Stop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tinue for All </a:t>
                      </a:r>
                      <a:b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e/ Project/ E comm / Export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SLALL -Till stock last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 (TSL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T-TSL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4601203"/>
                  </a:ext>
                </a:extLst>
              </a:tr>
              <a:tr h="189885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nufaturing Stop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4585839"/>
                  </a:ext>
                </a:extLst>
              </a:tr>
              <a:tr h="1962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ittings Procurement Stop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2589178"/>
                  </a:ext>
                </a:extLst>
              </a:tr>
              <a:tr h="37344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rtoon Procurement stop (verifying present inventory vs remaining product stock &amp; Project requirement 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6950889"/>
                  </a:ext>
                </a:extLst>
              </a:tr>
              <a:tr h="126591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hase 5 - Phased out </a:t>
                      </a:r>
                    </a:p>
                  </a:txBody>
                  <a:tcPr marL="5282" marR="5282" marT="52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QT billing only (for Projects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ly ZQT serve Complete sale stop in Retail/ Trade/ E com/ Export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SLD -Till Discontinu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 (for ZQT ONLY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Z-ZQT ONLY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149234"/>
                  </a:ext>
                </a:extLst>
              </a:tr>
              <a:tr h="22547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nuf Open as per PENDING  ZQT requirement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9279514"/>
                  </a:ext>
                </a:extLst>
              </a:tr>
              <a:tr h="22786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EW PO process Stop  but can open in case of any specific ZQT requirement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917780"/>
                  </a:ext>
                </a:extLst>
              </a:tr>
              <a:tr h="22547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ittings Procurement as per PENDING  ZQT only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377712"/>
                  </a:ext>
                </a:extLst>
              </a:tr>
              <a:tr h="22547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rtoon Procurement as per PENDING  ZQT only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5630080"/>
                  </a:ext>
                </a:extLst>
              </a:tr>
              <a:tr h="170897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hase 6- Last phase </a:t>
                      </a:r>
                    </a:p>
                  </a:txBody>
                  <a:tcPr marL="5282" marR="5282" marT="52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duction Stop in all Manufacturing Plant.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ales Block for everyone 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SCONTNU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 (DISCONTINUE)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D- DISCONTINU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6535351"/>
                  </a:ext>
                </a:extLst>
              </a:tr>
              <a:tr h="12659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ing completely stopped .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865778"/>
                  </a:ext>
                </a:extLst>
              </a:tr>
              <a:tr h="22786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e / Project everything stopped . Product no longer available</a:t>
                      </a: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6270498"/>
                  </a:ext>
                </a:extLst>
              </a:tr>
              <a:tr h="13292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PR/PO release to Vendor</a:t>
                      </a:r>
                      <a:endParaRPr lang="en-IN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82" marR="5282" marT="52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0945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41706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8645309-EDFB-460C-701A-1E27A3C2A0DF}"/>
              </a:ext>
            </a:extLst>
          </p:cNvPr>
          <p:cNvGraphicFramePr>
            <a:graphicFrameLocks noGrp="1"/>
          </p:cNvGraphicFramePr>
          <p:nvPr/>
        </p:nvGraphicFramePr>
        <p:xfrm>
          <a:off x="248265" y="988141"/>
          <a:ext cx="11695470" cy="5608072"/>
        </p:xfrm>
        <a:graphic>
          <a:graphicData uri="http://schemas.openxmlformats.org/drawingml/2006/table">
            <a:tbl>
              <a:tblPr/>
              <a:tblGrid>
                <a:gridCol w="1887793">
                  <a:extLst>
                    <a:ext uri="{9D8B030D-6E8A-4147-A177-3AD203B41FA5}">
                      <a16:colId xmlns:a16="http://schemas.microsoft.com/office/drawing/2014/main" val="953498150"/>
                    </a:ext>
                  </a:extLst>
                </a:gridCol>
                <a:gridCol w="2551471">
                  <a:extLst>
                    <a:ext uri="{9D8B030D-6E8A-4147-A177-3AD203B41FA5}">
                      <a16:colId xmlns:a16="http://schemas.microsoft.com/office/drawing/2014/main" val="1202470951"/>
                    </a:ext>
                  </a:extLst>
                </a:gridCol>
                <a:gridCol w="2920181">
                  <a:extLst>
                    <a:ext uri="{9D8B030D-6E8A-4147-A177-3AD203B41FA5}">
                      <a16:colId xmlns:a16="http://schemas.microsoft.com/office/drawing/2014/main" val="3993987209"/>
                    </a:ext>
                  </a:extLst>
                </a:gridCol>
                <a:gridCol w="2566219">
                  <a:extLst>
                    <a:ext uri="{9D8B030D-6E8A-4147-A177-3AD203B41FA5}">
                      <a16:colId xmlns:a16="http://schemas.microsoft.com/office/drawing/2014/main" val="1170050816"/>
                    </a:ext>
                  </a:extLst>
                </a:gridCol>
                <a:gridCol w="1769806">
                  <a:extLst>
                    <a:ext uri="{9D8B030D-6E8A-4147-A177-3AD203B41FA5}">
                      <a16:colId xmlns:a16="http://schemas.microsoft.com/office/drawing/2014/main" val="1982927298"/>
                    </a:ext>
                  </a:extLst>
                </a:gridCol>
              </a:tblGrid>
              <a:tr h="1886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973" marR="6973" marT="69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urpose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escription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annels 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lag  Nomenclature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8316718"/>
                  </a:ext>
                </a:extLst>
              </a:tr>
              <a:tr h="58379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hase 1</a:t>
                      </a:r>
                    </a:p>
                  </a:txBody>
                  <a:tcPr marL="6973" marR="6973" marT="69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evelopment till Stocking for launch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his phase will include Idea generation , Prototype , Design finalization , Naming , SKU code creation , production , stock for launch 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ales Block for all </a:t>
                      </a:r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ut  INTER  DEPO  transfer should be ope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0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9036899"/>
                  </a:ext>
                </a:extLst>
              </a:tr>
              <a:tr h="179628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hase 2 - Launch </a:t>
                      </a:r>
                    </a:p>
                  </a:txBody>
                  <a:tcPr marL="6973" marR="6973" marT="69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Under Product Team supervision for 180 days from Launch to product establishment in market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his phase is from the Date of launch upto 180 days in market </a:t>
                      </a:r>
                      <a:b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n-US" sz="1050" b="0" i="0" u="none" strike="noStrike">
                          <a:solidFill>
                            <a:srgbClr val="002060"/>
                          </a:solidFill>
                          <a:effectLst/>
                          <a:latin typeface="Aptos Narrow" panose="020B0004020202020204" pitchFamily="34" charset="0"/>
                        </a:rPr>
                        <a:t>Note : In this phase Product is open only in Trade Billing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ly Retail launch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R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914060"/>
                  </a:ext>
                </a:extLst>
              </a:tr>
              <a:tr h="17962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ly Project Launch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P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0478630"/>
                  </a:ext>
                </a:extLst>
              </a:tr>
              <a:tr h="17962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e+Project Launch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R+P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8618749"/>
                  </a:ext>
                </a:extLst>
              </a:tr>
              <a:tr h="17962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pecific E-Com launch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E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8610607"/>
                  </a:ext>
                </a:extLst>
              </a:tr>
              <a:tr h="29638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e+Project+E com launch+Export Launch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ALL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486940"/>
                  </a:ext>
                </a:extLst>
              </a:tr>
              <a:tr h="18860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xport specific 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-EX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6132317"/>
                  </a:ext>
                </a:extLst>
              </a:tr>
              <a:tr h="179628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hase 3- Maturity period</a:t>
                      </a:r>
                    </a:p>
                  </a:txBody>
                  <a:tcPr marL="6973" marR="6973" marT="69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fter 90 days Product ownership will move from Product Team to Supply Chain/ Supply planner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his phase includes complete Maturity Cycle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ly Trade Launch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-R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3531488"/>
                  </a:ext>
                </a:extLst>
              </a:tr>
              <a:tr h="17962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ly Project Launch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-P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44574"/>
                  </a:ext>
                </a:extLst>
              </a:tr>
              <a:tr h="17962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e+Project Launch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-R+P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9187847"/>
                  </a:ext>
                </a:extLst>
              </a:tr>
              <a:tr h="29638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e+Project+E com launch+Export Launch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ALL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353045"/>
                  </a:ext>
                </a:extLst>
              </a:tr>
              <a:tr h="17962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pecific E-Com launch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-E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459268"/>
                  </a:ext>
                </a:extLst>
              </a:tr>
              <a:tr h="18860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xport specific 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2S-EX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9272930"/>
                  </a:ext>
                </a:extLst>
              </a:tr>
              <a:tr h="179628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hase 4- Declining Phase</a:t>
                      </a:r>
                    </a:p>
                  </a:txBody>
                  <a:tcPr marL="6973" marR="6973" marT="69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fresh Production/Stock liquidation starts  - TRADE/ MANUFACTURING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EW PO/PR/ INDENT  process Stop 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tinue for All </a:t>
                      </a:r>
                      <a:b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de/ Project/ E comm / Export 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SLALL -Till stock last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3380070"/>
                  </a:ext>
                </a:extLst>
              </a:tr>
              <a:tr h="17962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nufacturing Stop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5407416"/>
                  </a:ext>
                </a:extLst>
              </a:tr>
              <a:tr h="17962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ittings Procurement Stop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2978914"/>
                  </a:ext>
                </a:extLst>
              </a:tr>
              <a:tr h="49397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rtoon Procurement stop (verifying present inventory vs remaining product stock &amp; Project requirement )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7638719"/>
                  </a:ext>
                </a:extLst>
              </a:tr>
              <a:tr h="179628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hase 5 - Phased out </a:t>
                      </a:r>
                    </a:p>
                  </a:txBody>
                  <a:tcPr marL="6973" marR="6973" marT="69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paration for complete Discontinuation </a:t>
                      </a:r>
                      <a:b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 SAP integration - Discontinuation approval matrix should be attached 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QT billing only (for Projects)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ly ZQT serve Complete sale stop in Retail/ Trade/ E com/ Export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N" sz="105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SLD -Till Discontinue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343923"/>
                  </a:ext>
                </a:extLst>
              </a:tr>
              <a:tr h="29638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nuf Open as per PENDING  ZQT requirement 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5964780"/>
                  </a:ext>
                </a:extLst>
              </a:tr>
              <a:tr h="32333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EW PO process Stop  but can open in case of any specific ZQT requirement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5428482"/>
                  </a:ext>
                </a:extLst>
              </a:tr>
              <a:tr h="29638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ittings Procurement as per PENDING  ZQT only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28552"/>
                  </a:ext>
                </a:extLst>
              </a:tr>
              <a:tr h="29638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rtoon Procurement as per PENDING  ZQT only</a:t>
                      </a:r>
                    </a:p>
                  </a:txBody>
                  <a:tcPr marL="6973" marR="6973" marT="69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13237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0B9AE6D-7401-06C4-3123-AA97AC882C1B}"/>
              </a:ext>
            </a:extLst>
          </p:cNvPr>
          <p:cNvSpPr txBox="1"/>
          <p:nvPr/>
        </p:nvSpPr>
        <p:spPr>
          <a:xfrm>
            <a:off x="170481" y="113525"/>
            <a:ext cx="609858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lag Nomenclature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6343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0" name="Google Shape;1470;p47"/>
          <p:cNvGrpSpPr/>
          <p:nvPr/>
        </p:nvGrpSpPr>
        <p:grpSpPr>
          <a:xfrm>
            <a:off x="-51000" y="3390767"/>
            <a:ext cx="12262800" cy="416400"/>
            <a:chOff x="-38250" y="2543075"/>
            <a:chExt cx="9197100" cy="312300"/>
          </a:xfrm>
        </p:grpSpPr>
        <p:cxnSp>
          <p:nvCxnSpPr>
            <p:cNvPr id="1471" name="Google Shape;1471;p47"/>
            <p:cNvCxnSpPr/>
            <p:nvPr/>
          </p:nvCxnSpPr>
          <p:spPr>
            <a:xfrm rot="10800000" flipH="1">
              <a:off x="-38250" y="2696100"/>
              <a:ext cx="9197100" cy="6300"/>
            </a:xfrm>
            <a:prstGeom prst="straightConnector1">
              <a:avLst/>
            </a:prstGeom>
            <a:noFill/>
            <a:ln w="285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1473" name="Google Shape;1473;p47"/>
            <p:cNvSpPr/>
            <p:nvPr/>
          </p:nvSpPr>
          <p:spPr>
            <a:xfrm>
              <a:off x="1769875" y="2543075"/>
              <a:ext cx="1401000" cy="312300"/>
            </a:xfrm>
            <a:prstGeom prst="rect">
              <a:avLst/>
            </a:prstGeom>
            <a:solidFill>
              <a:srgbClr val="EBCFB2"/>
            </a:solidFill>
            <a:ln w="9525" cap="flat" cmpd="sng">
              <a:solidFill>
                <a:srgbClr val="EBC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1" name="Google Shape;1481;p47"/>
            <p:cNvSpPr/>
            <p:nvPr/>
          </p:nvSpPr>
          <p:spPr>
            <a:xfrm>
              <a:off x="4572000" y="2543075"/>
              <a:ext cx="1401000" cy="312300"/>
            </a:xfrm>
            <a:prstGeom prst="rect">
              <a:avLst/>
            </a:prstGeom>
            <a:solidFill>
              <a:srgbClr val="998888"/>
            </a:solidFill>
            <a:ln w="9525" cap="flat" cmpd="sng">
              <a:solidFill>
                <a:srgbClr val="99888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87" name="Google Shape;1487;p47"/>
            <p:cNvSpPr/>
            <p:nvPr/>
          </p:nvSpPr>
          <p:spPr>
            <a:xfrm>
              <a:off x="3170875" y="2543075"/>
              <a:ext cx="1401000" cy="312300"/>
            </a:xfrm>
            <a:prstGeom prst="rect">
              <a:avLst/>
            </a:prstGeom>
            <a:solidFill>
              <a:srgbClr val="C5BAAF"/>
            </a:solidFill>
            <a:ln w="9525" cap="flat" cmpd="sng">
              <a:solidFill>
                <a:srgbClr val="C5BAA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95" name="Google Shape;1495;p47"/>
            <p:cNvSpPr/>
            <p:nvPr/>
          </p:nvSpPr>
          <p:spPr>
            <a:xfrm>
              <a:off x="5973125" y="2543075"/>
              <a:ext cx="1401000" cy="312300"/>
            </a:xfrm>
            <a:prstGeom prst="rect">
              <a:avLst/>
            </a:prstGeom>
            <a:solidFill>
              <a:srgbClr val="FFFFF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504" name="Google Shape;1504;p47"/>
          <p:cNvSpPr txBox="1"/>
          <p:nvPr/>
        </p:nvSpPr>
        <p:spPr>
          <a:xfrm>
            <a:off x="4029034" y="2494067"/>
            <a:ext cx="2265600" cy="5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Light"/>
                <a:ea typeface="Roboto Slab Regular"/>
                <a:cs typeface="Roboto Slab Regular"/>
                <a:sym typeface="Roboto Slab Regular"/>
              </a:rPr>
              <a:t>Scope analysis with SAP Team &amp; Process defined Channel wise .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Light"/>
              <a:ea typeface="Roboto Slab Regular"/>
              <a:cs typeface="Roboto Slab Regular"/>
              <a:sym typeface="Roboto Slab Regular"/>
            </a:endParaRPr>
          </a:p>
        </p:txBody>
      </p:sp>
      <p:sp>
        <p:nvSpPr>
          <p:cNvPr id="1506" name="Google Shape;1506;p47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" dirty="0">
                <a:solidFill>
                  <a:srgbClr val="EBCFB2"/>
                </a:solidFill>
              </a:rPr>
              <a:t>TIMELINE</a:t>
            </a:r>
            <a:endParaRPr dirty="0"/>
          </a:p>
        </p:txBody>
      </p:sp>
      <p:sp>
        <p:nvSpPr>
          <p:cNvPr id="1507" name="Google Shape;1507;p47"/>
          <p:cNvSpPr txBox="1"/>
          <p:nvPr/>
        </p:nvSpPr>
        <p:spPr>
          <a:xfrm>
            <a:off x="2695534" y="3342400"/>
            <a:ext cx="1196800" cy="5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s" sz="16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  <a:sym typeface="Roboto Condensed"/>
              </a:rPr>
              <a:t>MAY’25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434343"/>
              </a:solidFill>
              <a:effectLst/>
              <a:uLnTx/>
              <a:uFillTx/>
              <a:latin typeface="Roboto Condensed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1508" name="Google Shape;1508;p47"/>
          <p:cNvSpPr txBox="1"/>
          <p:nvPr/>
        </p:nvSpPr>
        <p:spPr>
          <a:xfrm>
            <a:off x="4563518" y="3342400"/>
            <a:ext cx="1196800" cy="5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s" sz="16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  <a:sym typeface="Roboto Condensed"/>
              </a:rPr>
              <a:t>JUNE’25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434343"/>
              </a:solidFill>
              <a:effectLst/>
              <a:uLnTx/>
              <a:uFillTx/>
              <a:latin typeface="Roboto Condensed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1509" name="Google Shape;1509;p47"/>
          <p:cNvSpPr txBox="1"/>
          <p:nvPr/>
        </p:nvSpPr>
        <p:spPr>
          <a:xfrm>
            <a:off x="6445384" y="3342400"/>
            <a:ext cx="1196800" cy="5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s" sz="16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  <a:sym typeface="Roboto Condensed"/>
              </a:rPr>
              <a:t>JULY’25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434343"/>
              </a:solidFill>
              <a:effectLst/>
              <a:uLnTx/>
              <a:uFillTx/>
              <a:latin typeface="Roboto Condensed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1510" name="Google Shape;1510;p47"/>
          <p:cNvSpPr txBox="1"/>
          <p:nvPr/>
        </p:nvSpPr>
        <p:spPr>
          <a:xfrm>
            <a:off x="8327251" y="3342400"/>
            <a:ext cx="1196800" cy="5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s" sz="16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  <a:sym typeface="Roboto Condensed"/>
              </a:rPr>
              <a:t>AUG’25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434343"/>
              </a:solidFill>
              <a:effectLst/>
              <a:uLnTx/>
              <a:uFillTx/>
              <a:latin typeface="Roboto Condensed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44" name="Google Shape;1504;p47">
            <a:extLst>
              <a:ext uri="{FF2B5EF4-FFF2-40B4-BE49-F238E27FC236}">
                <a16:creationId xmlns:a16="http://schemas.microsoft.com/office/drawing/2014/main" id="{03968FDA-8491-445B-8C47-34C3695AA81F}"/>
              </a:ext>
            </a:extLst>
          </p:cNvPr>
          <p:cNvSpPr txBox="1"/>
          <p:nvPr/>
        </p:nvSpPr>
        <p:spPr>
          <a:xfrm>
            <a:off x="7882495" y="2494067"/>
            <a:ext cx="2265600" cy="5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Light"/>
                <a:ea typeface="Roboto Slab Regular"/>
                <a:cs typeface="Roboto Slab Regular"/>
                <a:sym typeface="Roboto Slab Regular"/>
              </a:rPr>
              <a:t>Final Implementation in all Channels before this month end 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Light"/>
              <a:ea typeface="Roboto Slab Regular"/>
              <a:cs typeface="Roboto Slab Regular"/>
              <a:sym typeface="Roboto Slab Regular"/>
            </a:endParaRPr>
          </a:p>
        </p:txBody>
      </p:sp>
      <p:sp>
        <p:nvSpPr>
          <p:cNvPr id="45" name="Google Shape;1504;p47">
            <a:extLst>
              <a:ext uri="{FF2B5EF4-FFF2-40B4-BE49-F238E27FC236}">
                <a16:creationId xmlns:a16="http://schemas.microsoft.com/office/drawing/2014/main" id="{AAE09F02-B1BD-4E1E-8393-9161BAA881F5}"/>
              </a:ext>
            </a:extLst>
          </p:cNvPr>
          <p:cNvSpPr txBox="1"/>
          <p:nvPr/>
        </p:nvSpPr>
        <p:spPr>
          <a:xfrm>
            <a:off x="2161033" y="4245072"/>
            <a:ext cx="2265600" cy="5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Light"/>
                <a:ea typeface="Roboto Slab Regular"/>
                <a:cs typeface="Roboto Slab Regular"/>
                <a:sym typeface="Roboto Slab Regular"/>
              </a:rPr>
              <a:t>Project had taken up to implement Flag tag  SKU Wise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Light"/>
              <a:ea typeface="Roboto Slab Regular"/>
              <a:cs typeface="Roboto Slab Regular"/>
              <a:sym typeface="Roboto Slab Regular"/>
            </a:endParaRPr>
          </a:p>
        </p:txBody>
      </p:sp>
      <p:sp>
        <p:nvSpPr>
          <p:cNvPr id="46" name="Google Shape;1504;p47">
            <a:extLst>
              <a:ext uri="{FF2B5EF4-FFF2-40B4-BE49-F238E27FC236}">
                <a16:creationId xmlns:a16="http://schemas.microsoft.com/office/drawing/2014/main" id="{A4505881-B65E-4764-8B00-9B8B51E2A4F8}"/>
              </a:ext>
            </a:extLst>
          </p:cNvPr>
          <p:cNvSpPr txBox="1"/>
          <p:nvPr/>
        </p:nvSpPr>
        <p:spPr>
          <a:xfrm>
            <a:off x="6444296" y="4239100"/>
            <a:ext cx="1438199" cy="873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Light"/>
                <a:ea typeface="Roboto Slab Regular"/>
                <a:cs typeface="Roboto Slab Regular"/>
                <a:sym typeface="Roboto Slab Regular"/>
              </a:rPr>
              <a:t>Phase wise Testing completed in SAP &amp; moved to PRD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Light"/>
              <a:ea typeface="Roboto Slab Regular"/>
              <a:cs typeface="Roboto Slab Regular"/>
              <a:sym typeface="Roboto Slab Regular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8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POC</a:t>
            </a:r>
          </a:p>
        </p:txBody>
      </p:sp>
      <p:graphicFrame>
        <p:nvGraphicFramePr>
          <p:cNvPr id="82" name="Table 81">
            <a:extLst>
              <a:ext uri="{FF2B5EF4-FFF2-40B4-BE49-F238E27FC236}">
                <a16:creationId xmlns:a16="http://schemas.microsoft.com/office/drawing/2014/main" id="{F7E53C1D-62A9-ED64-895A-BF4F0FA6A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8982994"/>
              </p:ext>
            </p:extLst>
          </p:nvPr>
        </p:nvGraphicFramePr>
        <p:xfrm>
          <a:off x="284814" y="1650790"/>
          <a:ext cx="11473618" cy="4799542"/>
        </p:xfrm>
        <a:graphic>
          <a:graphicData uri="http://schemas.openxmlformats.org/drawingml/2006/table">
            <a:tbl>
              <a:tblPr/>
              <a:tblGrid>
                <a:gridCol w="1938731">
                  <a:extLst>
                    <a:ext uri="{9D8B030D-6E8A-4147-A177-3AD203B41FA5}">
                      <a16:colId xmlns:a16="http://schemas.microsoft.com/office/drawing/2014/main" val="1417782537"/>
                    </a:ext>
                  </a:extLst>
                </a:gridCol>
                <a:gridCol w="1785902">
                  <a:extLst>
                    <a:ext uri="{9D8B030D-6E8A-4147-A177-3AD203B41FA5}">
                      <a16:colId xmlns:a16="http://schemas.microsoft.com/office/drawing/2014/main" val="3058583946"/>
                    </a:ext>
                  </a:extLst>
                </a:gridCol>
                <a:gridCol w="2691156">
                  <a:extLst>
                    <a:ext uri="{9D8B030D-6E8A-4147-A177-3AD203B41FA5}">
                      <a16:colId xmlns:a16="http://schemas.microsoft.com/office/drawing/2014/main" val="307786092"/>
                    </a:ext>
                  </a:extLst>
                </a:gridCol>
                <a:gridCol w="2698230">
                  <a:extLst>
                    <a:ext uri="{9D8B030D-6E8A-4147-A177-3AD203B41FA5}">
                      <a16:colId xmlns:a16="http://schemas.microsoft.com/office/drawing/2014/main" val="264857834"/>
                    </a:ext>
                  </a:extLst>
                </a:gridCol>
                <a:gridCol w="2359599">
                  <a:extLst>
                    <a:ext uri="{9D8B030D-6E8A-4147-A177-3AD203B41FA5}">
                      <a16:colId xmlns:a16="http://schemas.microsoft.com/office/drawing/2014/main" val="719719728"/>
                    </a:ext>
                  </a:extLst>
                </a:gridCol>
              </a:tblGrid>
              <a:tr h="57010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nal Suppliers</a:t>
                      </a:r>
                    </a:p>
                  </a:txBody>
                  <a:tcPr marL="3424" marR="3424" marT="34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ntory Data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en-IN" sz="1100" b="1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and Forecasting: Using sales data and market trends to predict future demand.</a:t>
                      </a:r>
                      <a:endParaRPr lang="en-US" sz="1100" b="1" i="0" u="none" strike="noStrike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curate demand planning &amp; minimized overstock/understock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tributors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9276265"/>
                  </a:ext>
                </a:extLst>
              </a:tr>
              <a:tr h="57010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curement team</a:t>
                      </a:r>
                    </a:p>
                  </a:txBody>
                  <a:tcPr marL="3424" marR="3424" marT="34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chase orders &amp; supplier contracts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Procurement planning: Aligning inventory with demand forecasts.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timized inventory procurement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tailers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869239"/>
                  </a:ext>
                </a:extLst>
              </a:tr>
              <a:tr h="75904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ufacturing team</a:t>
                      </a:r>
                    </a:p>
                  </a:txBody>
                  <a:tcPr marL="3424" marR="3424" marT="34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w materials &amp; production schedules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Production scheduling: </a:t>
                      </a:r>
                      <a:r>
                        <a:rPr lang="en-IN" sz="1100" b="1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djusting production to match demand while minimizing excess inventory.</a:t>
                      </a:r>
                      <a:endParaRPr lang="en-US" sz="1100" b="1" i="0" u="none" strike="noStrike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ght-sized production batches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chitects/ Builders/ Distributors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3713435"/>
                  </a:ext>
                </a:extLst>
              </a:tr>
              <a:tr h="57010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gistics Team</a:t>
                      </a:r>
                    </a:p>
                  </a:txBody>
                  <a:tcPr marL="3424" marR="3424" marT="34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pment schedules &amp; lead time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</a:t>
                      </a:r>
                      <a:r>
                        <a:rPr lang="en-IN" sz="1100" b="1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ntory Receiving: Ensuring timely receipt and verification of goods.</a:t>
                      </a:r>
                      <a:endParaRPr lang="en-US" sz="1100" b="1" i="0" u="none" strike="noStrike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d inventory levels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nal Stakeholders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7987493"/>
                  </a:ext>
                </a:extLst>
              </a:tr>
              <a:tr h="75904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rehousing team</a:t>
                      </a:r>
                    </a:p>
                  </a:txBody>
                  <a:tcPr marL="3424" marR="3424" marT="34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 stock requirements &amp; SKU data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Inventory storage &amp; categorization: Organizing SKUs effectively for easy retrieval.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lined inventory storage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umbers &amp; Contractors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5059273"/>
                  </a:ext>
                </a:extLst>
              </a:tr>
              <a:tr h="75904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rnal Suppliers</a:t>
                      </a:r>
                    </a:p>
                  </a:txBody>
                  <a:tcPr marL="3424" marR="3424" marT="34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dor reliability and lead times data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Inventory monitoring: Using ERP systems to track inventory in real-time (cycle counts, stock audits).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imized stock discrepancies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les &amp; Marketing</a:t>
                      </a:r>
                    </a:p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424" marR="3424" marT="34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63608"/>
                  </a:ext>
                </a:extLst>
              </a:tr>
              <a:tr h="81210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 intelligence</a:t>
                      </a: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etitive pricing &amp; demand trend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4" marR="3424" marT="34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100" b="1" kern="1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. Order Fulfilment: Dispatching inventory efficiently to prevent overstock and delays.</a:t>
                      </a: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100" b="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mproved order fulfilment rates.</a:t>
                      </a: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100" b="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d Customers</a:t>
                      </a: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88791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14744DDE-F867-ACD4-B083-8696C93E5016}"/>
              </a:ext>
            </a:extLst>
          </p:cNvPr>
          <p:cNvGrpSpPr/>
          <p:nvPr/>
        </p:nvGrpSpPr>
        <p:grpSpPr>
          <a:xfrm>
            <a:off x="2372859" y="1031696"/>
            <a:ext cx="1728029" cy="542896"/>
            <a:chOff x="1475492" y="1490169"/>
            <a:chExt cx="1132301" cy="1082797"/>
          </a:xfrm>
          <a:solidFill>
            <a:srgbClr val="92D050"/>
          </a:solidFill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DB445D55-8657-9B15-EA27-CB7275C01C67}"/>
                </a:ext>
              </a:extLst>
            </p:cNvPr>
            <p:cNvSpPr/>
            <p:nvPr/>
          </p:nvSpPr>
          <p:spPr>
            <a:xfrm>
              <a:off x="1475492" y="1490169"/>
              <a:ext cx="1132301" cy="94823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puts</a:t>
              </a:r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0C4BB8D5-0621-5B54-31DF-91A44E58A8D4}"/>
                </a:ext>
              </a:extLst>
            </p:cNvPr>
            <p:cNvSpPr/>
            <p:nvPr/>
          </p:nvSpPr>
          <p:spPr>
            <a:xfrm flipV="1">
              <a:off x="1894592" y="2378194"/>
              <a:ext cx="304800" cy="1947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55BC629-40A1-DFDA-0CC7-B8F2464F0E6E}"/>
              </a:ext>
            </a:extLst>
          </p:cNvPr>
          <p:cNvGrpSpPr/>
          <p:nvPr/>
        </p:nvGrpSpPr>
        <p:grpSpPr>
          <a:xfrm>
            <a:off x="9426709" y="966902"/>
            <a:ext cx="2331723" cy="635348"/>
            <a:chOff x="1475490" y="1199898"/>
            <a:chExt cx="1416426" cy="1373068"/>
          </a:xfrm>
          <a:solidFill>
            <a:srgbClr val="92D050"/>
          </a:solidFill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6925E57C-7026-D925-FE9F-67A5F64CE25B}"/>
                </a:ext>
              </a:extLst>
            </p:cNvPr>
            <p:cNvSpPr/>
            <p:nvPr/>
          </p:nvSpPr>
          <p:spPr>
            <a:xfrm>
              <a:off x="1475490" y="1199898"/>
              <a:ext cx="1416426" cy="123850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5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stomers</a:t>
              </a:r>
              <a:endPara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FDDF9716-EC21-E330-7D13-7BA1F3B378DB}"/>
                </a:ext>
              </a:extLst>
            </p:cNvPr>
            <p:cNvSpPr/>
            <p:nvPr/>
          </p:nvSpPr>
          <p:spPr>
            <a:xfrm flipV="1">
              <a:off x="1894592" y="2378194"/>
              <a:ext cx="304800" cy="1947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9039A1E-6D96-4920-2992-DAA1B2FDBC68}"/>
              </a:ext>
            </a:extLst>
          </p:cNvPr>
          <p:cNvGrpSpPr/>
          <p:nvPr/>
        </p:nvGrpSpPr>
        <p:grpSpPr>
          <a:xfrm>
            <a:off x="6784674" y="1007685"/>
            <a:ext cx="2331723" cy="595580"/>
            <a:chOff x="1475492" y="1385091"/>
            <a:chExt cx="1334736" cy="1187875"/>
          </a:xfrm>
          <a:solidFill>
            <a:srgbClr val="92D050"/>
          </a:solidFill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2F3D94D-AC77-63D8-1559-934791CDFF6F}"/>
                </a:ext>
              </a:extLst>
            </p:cNvPr>
            <p:cNvSpPr/>
            <p:nvPr/>
          </p:nvSpPr>
          <p:spPr>
            <a:xfrm>
              <a:off x="1475492" y="1385091"/>
              <a:ext cx="1334736" cy="114300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utputs</a:t>
              </a:r>
            </a:p>
          </p:txBody>
        </p:sp>
        <p:sp>
          <p:nvSpPr>
            <p:cNvPr id="28" name="Isosceles Triangle 27">
              <a:extLst>
                <a:ext uri="{FF2B5EF4-FFF2-40B4-BE49-F238E27FC236}">
                  <a16:creationId xmlns:a16="http://schemas.microsoft.com/office/drawing/2014/main" id="{2B494035-EE6E-D9EE-5807-32FB59DA016C}"/>
                </a:ext>
              </a:extLst>
            </p:cNvPr>
            <p:cNvSpPr/>
            <p:nvPr/>
          </p:nvSpPr>
          <p:spPr>
            <a:xfrm flipV="1">
              <a:off x="1894592" y="2378194"/>
              <a:ext cx="304800" cy="1947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0663B2D-A15E-CE83-F4DB-28215423B6B2}"/>
              </a:ext>
            </a:extLst>
          </p:cNvPr>
          <p:cNvGrpSpPr/>
          <p:nvPr/>
        </p:nvGrpSpPr>
        <p:grpSpPr>
          <a:xfrm>
            <a:off x="4276919" y="950021"/>
            <a:ext cx="2331724" cy="660188"/>
            <a:chOff x="1475492" y="1394923"/>
            <a:chExt cx="1334736" cy="1178043"/>
          </a:xfrm>
          <a:solidFill>
            <a:srgbClr val="00B0F0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0893D9F-9EB5-5B60-5952-EF2DECBEE2EE}"/>
                </a:ext>
              </a:extLst>
            </p:cNvPr>
            <p:cNvSpPr/>
            <p:nvPr/>
          </p:nvSpPr>
          <p:spPr>
            <a:xfrm>
              <a:off x="1475492" y="1394923"/>
              <a:ext cx="1334736" cy="10434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cess Steps</a:t>
              </a:r>
            </a:p>
          </p:txBody>
        </p:sp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DD3BA42C-CF9A-3574-2EC3-32B86619F79F}"/>
                </a:ext>
              </a:extLst>
            </p:cNvPr>
            <p:cNvSpPr/>
            <p:nvPr/>
          </p:nvSpPr>
          <p:spPr>
            <a:xfrm flipV="1">
              <a:off x="1894592" y="2378194"/>
              <a:ext cx="304800" cy="1947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258524" y="1059369"/>
            <a:ext cx="2023658" cy="550840"/>
            <a:chOff x="1475492" y="1590044"/>
            <a:chExt cx="1334736" cy="982922"/>
          </a:xfrm>
          <a:solidFill>
            <a:srgbClr val="92D050"/>
          </a:solidFill>
        </p:grpSpPr>
        <p:sp>
          <p:nvSpPr>
            <p:cNvPr id="14" name="Oval 13"/>
            <p:cNvSpPr/>
            <p:nvPr/>
          </p:nvSpPr>
          <p:spPr>
            <a:xfrm>
              <a:off x="1475492" y="1590044"/>
              <a:ext cx="1334736" cy="84835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pplier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Isosceles Triangle 14"/>
            <p:cNvSpPr/>
            <p:nvPr/>
          </p:nvSpPr>
          <p:spPr>
            <a:xfrm flipV="1">
              <a:off x="1894592" y="2378194"/>
              <a:ext cx="304800" cy="1947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413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A9619-DFD3-2D99-F872-7278613A44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0066" y="1122363"/>
            <a:ext cx="5397933" cy="23876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AT CODES IMPLEMENTATION</a:t>
            </a:r>
            <a:br>
              <a:rPr lang="en-US" dirty="0"/>
            </a:br>
            <a:endParaRPr lang="en-IN" dirty="0"/>
          </a:p>
        </p:txBody>
      </p:sp>
      <p:pic>
        <p:nvPicPr>
          <p:cNvPr id="82" name="Picture 81" descr="A white mouse eating cheese in the labyrinth">
            <a:extLst>
              <a:ext uri="{FF2B5EF4-FFF2-40B4-BE49-F238E27FC236}">
                <a16:creationId xmlns:a16="http://schemas.microsoft.com/office/drawing/2014/main" id="{EF0E01AE-D357-9B8A-5058-259D7EA97F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2025"/>
          <a:stretch>
            <a:fillRect/>
          </a:stretch>
        </p:blipFill>
        <p:spPr>
          <a:xfrm>
            <a:off x="-5597" y="10"/>
            <a:ext cx="4635583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58948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45F500-3D51-80A1-DF56-AC184B33F0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D2E325-3C4A-02F4-A159-B9B13ED3F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1905" y="4493241"/>
            <a:ext cx="9152154" cy="1646302"/>
          </a:xfrm>
        </p:spPr>
        <p:txBody>
          <a:bodyPr>
            <a:normAutofit/>
          </a:bodyPr>
          <a:lstStyle/>
          <a:p>
            <a:pPr algn="ctr"/>
            <a:r>
              <a:rPr lang="en-US" sz="1400">
                <a:latin typeface="Arial Narrow" panose="020B0606020202030204" pitchFamily="34" charset="0"/>
              </a:rPr>
              <a:t>1. </a:t>
            </a:r>
            <a:br>
              <a:rPr lang="en-US" sz="1400">
                <a:latin typeface="Arial Narrow" panose="020B0606020202030204" pitchFamily="34" charset="0"/>
              </a:rPr>
            </a:br>
            <a:r>
              <a:rPr lang="en-US" sz="1800" b="1">
                <a:solidFill>
                  <a:schemeClr val="bg1"/>
                </a:solidFill>
                <a:latin typeface="Arial Narrow" panose="020B0606020202030204" pitchFamily="34" charset="0"/>
              </a:rPr>
              <a:t>1</a:t>
            </a:r>
            <a:endParaRPr lang="en-IN" sz="20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BB3A3E-094C-F504-C252-BF777B612C7F}"/>
              </a:ext>
            </a:extLst>
          </p:cNvPr>
          <p:cNvSpPr txBox="1"/>
          <p:nvPr/>
        </p:nvSpPr>
        <p:spPr>
          <a:xfrm>
            <a:off x="3069771" y="718457"/>
            <a:ext cx="558437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What is cat code?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821502-1D21-BA55-365A-9F0AF3FA0239}"/>
              </a:ext>
            </a:extLst>
          </p:cNvPr>
          <p:cNvSpPr txBox="1"/>
          <p:nvPr/>
        </p:nvSpPr>
        <p:spPr>
          <a:xfrm>
            <a:off x="2081905" y="1987935"/>
            <a:ext cx="926374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1, Catalogue Code is a System of codes or numbers used to organize, catalogue and identity items in a collection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2, Catalogue code is used to identify a catalogue item, and it contains a unique value for each catalogue item.</a:t>
            </a: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82290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684A11-57B1-C260-DA07-517EEF25F5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2AC0D-68F9-0908-93B2-F1B6ABB45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7105" y="1782698"/>
            <a:ext cx="9152154" cy="1646302"/>
          </a:xfrm>
        </p:spPr>
        <p:txBody>
          <a:bodyPr/>
          <a:lstStyle/>
          <a:p>
            <a:pPr algn="ctr"/>
            <a:r>
              <a:rPr lang="en-US" sz="1400">
                <a:latin typeface="Arial Narrow" panose="020B0606020202030204" pitchFamily="34" charset="0"/>
              </a:rPr>
              <a:t> </a:t>
            </a:r>
            <a:endParaRPr lang="en-IN" sz="2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2D7EF6-E971-32F0-C5D7-EA52FB2653CD}"/>
              </a:ext>
            </a:extLst>
          </p:cNvPr>
          <p:cNvSpPr txBox="1"/>
          <p:nvPr/>
        </p:nvSpPr>
        <p:spPr>
          <a:xfrm>
            <a:off x="2144484" y="544286"/>
            <a:ext cx="891540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How it Impact our business right now ?</a:t>
            </a:r>
            <a:endParaRPr kumimoji="0" lang="en-IN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42FABA-C5E8-8979-D3F1-E72A792AE418}"/>
              </a:ext>
            </a:extLst>
          </p:cNvPr>
          <p:cNvSpPr txBox="1"/>
          <p:nvPr/>
        </p:nvSpPr>
        <p:spPr>
          <a:xfrm>
            <a:off x="2334986" y="1556658"/>
            <a:ext cx="752202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.Efficient Order Fulfillment: Ensures minimal sale loss which happens due to CAT CODE VS SAP CODE confusion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.Customer Experience: Helps the sales and channel to understand the product better thus helping in conversion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3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. Cost Savings: Helps bill lesser COGS SKU thus improving margins</a:t>
            </a: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004104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633B19-4A93-D0E7-935D-881C8E848E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1C214-B07E-5CDD-B837-95FA900EA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7105" y="1782698"/>
            <a:ext cx="9152154" cy="1646302"/>
          </a:xfrm>
        </p:spPr>
        <p:txBody>
          <a:bodyPr/>
          <a:lstStyle/>
          <a:p>
            <a:pPr algn="ctr"/>
            <a:r>
              <a:rPr lang="en-US" sz="1400" dirty="0">
                <a:latin typeface="Arial Narrow" panose="020B0606020202030204" pitchFamily="34" charset="0"/>
              </a:rPr>
              <a:t> </a:t>
            </a:r>
            <a:endParaRPr lang="en-IN" sz="2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288359-5058-D2E8-19E6-8374FAFE49B1}"/>
              </a:ext>
            </a:extLst>
          </p:cNvPr>
          <p:cNvSpPr txBox="1"/>
          <p:nvPr/>
        </p:nvSpPr>
        <p:spPr>
          <a:xfrm>
            <a:off x="2144484" y="544286"/>
            <a:ext cx="891540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            </a:t>
            </a: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Who are Using It ?</a:t>
            </a:r>
            <a:endParaRPr kumimoji="0" lang="en-IN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1ED268-95E1-3B43-4174-F338692E02F5}"/>
              </a:ext>
            </a:extLst>
          </p:cNvPr>
          <p:cNvSpPr txBox="1"/>
          <p:nvPr/>
        </p:nvSpPr>
        <p:spPr>
          <a:xfrm>
            <a:off x="2514600" y="1981201"/>
            <a:ext cx="752202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. Cat Codes are used by retailers and sales team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. Cat Codes are used by supply chain, Planning, Commercial &amp; product team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, Cat Codes are used in Websites, Catalogue, Flyers any other activity related to Marketing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831694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D2E57E-2432-7487-B358-A46715134E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C04EF4F-5783-F618-5C77-4E4F36110871}"/>
              </a:ext>
            </a:extLst>
          </p:cNvPr>
          <p:cNvSpPr txBox="1"/>
          <p:nvPr/>
        </p:nvSpPr>
        <p:spPr>
          <a:xfrm>
            <a:off x="1798876" y="413657"/>
            <a:ext cx="891540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       </a:t>
            </a: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Why we want to Change?</a:t>
            </a:r>
            <a:endParaRPr kumimoji="0" lang="en-IN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91C750-A482-53A3-3D19-F87FF46F9C79}"/>
              </a:ext>
            </a:extLst>
          </p:cNvPr>
          <p:cNvSpPr txBox="1"/>
          <p:nvPr/>
        </p:nvSpPr>
        <p:spPr>
          <a:xfrm>
            <a:off x="2188028" y="1328184"/>
            <a:ext cx="9002485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1, We make cat code meaningful where users can get critical information about product from cat code itself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2.Changing from forecasting to order fulfillment in cat code. Instead of multiple sap code.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3. Project team punched ZQT’s in sap code &amp; our system is not allowed to move another sap code within same CAT code thus resulting in possible sale los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4, There is a multiple SAP codes in our current system against one CAT code so we will implement below set of rules to  manage multiple SAP codes:-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Rule 1:- Which SAP code has the stock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Rule 2:- which will be lowest cog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Rule 3:- Which was last frequently used SAP code.</a:t>
            </a: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28110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82F34F-C02B-8E39-498D-358526DFE2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8821411-BA86-3716-0391-D1072AD02698}"/>
              </a:ext>
            </a:extLst>
          </p:cNvPr>
          <p:cNvSpPr txBox="1"/>
          <p:nvPr/>
        </p:nvSpPr>
        <p:spPr>
          <a:xfrm>
            <a:off x="2441137" y="533400"/>
            <a:ext cx="891540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What are benefits of this change?</a:t>
            </a:r>
            <a:endParaRPr kumimoji="0" lang="en-IN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0FDE5-EA12-43B3-C92C-079248999DF7}"/>
              </a:ext>
            </a:extLst>
          </p:cNvPr>
          <p:cNvSpPr txBox="1"/>
          <p:nvPr/>
        </p:nvSpPr>
        <p:spPr>
          <a:xfrm>
            <a:off x="2245194" y="1741712"/>
            <a:ext cx="9111344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1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AT code re definition to make it easier to understand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. Punching to CAT codes instead of SAP codes (In project) to reduce sale los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. At billing point, IT to be help identify stock in each SAP code with first preference to lowest COGS 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. Uniform CAT code is used with proper logic. and standard across all Faucets &amp; Sanitaryware. 8 digits is use for all codes(CP/SW) &amp; 10 digits is use for all colors.(PGD/RGD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. If we use new CAT code then user easily remember &amp; better understanding  all types of item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6. Easier Identification of products via CAT codes. </a:t>
            </a: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26651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DFC80D-AB05-2A4D-C168-A0181D4462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DEFF30B-01DB-E26E-FA05-61AC2082A19F}"/>
              </a:ext>
            </a:extLst>
          </p:cNvPr>
          <p:cNvSpPr txBox="1"/>
          <p:nvPr/>
        </p:nvSpPr>
        <p:spPr>
          <a:xfrm>
            <a:off x="3494314" y="414047"/>
            <a:ext cx="6096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OMPETITION SW CAT COD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B646D8-8895-62C6-C4B7-10EB5EB61D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2050" y="1392980"/>
            <a:ext cx="4246493" cy="370313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6B8B3AA-CF9F-673C-42C5-551BD3C97D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4832" y="1228530"/>
            <a:ext cx="3842653" cy="396671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1170616-9EB1-39C6-CDF9-929BC38A065F}"/>
              </a:ext>
            </a:extLst>
          </p:cNvPr>
          <p:cNvSpPr txBox="1"/>
          <p:nvPr/>
        </p:nvSpPr>
        <p:spPr>
          <a:xfrm>
            <a:off x="2373086" y="5455730"/>
            <a:ext cx="32112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ARRYWARE</a:t>
            </a: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86843E-319F-00FE-480C-B66AD85D3D4C}"/>
              </a:ext>
            </a:extLst>
          </p:cNvPr>
          <p:cNvSpPr txBox="1"/>
          <p:nvPr/>
        </p:nvSpPr>
        <p:spPr>
          <a:xfrm>
            <a:off x="7217228" y="5455730"/>
            <a:ext cx="3211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            CERA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532341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375E8-D251-5D87-4561-221999A51B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02B8ACF-28F9-9ADC-C047-E92F01F2B274}"/>
              </a:ext>
            </a:extLst>
          </p:cNvPr>
          <p:cNvSpPr txBox="1"/>
          <p:nvPr/>
        </p:nvSpPr>
        <p:spPr>
          <a:xfrm>
            <a:off x="3494314" y="414047"/>
            <a:ext cx="6096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OMPETITION SW CAT COD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BB9C9E-A3E4-1F98-5555-B053B59859BE}"/>
              </a:ext>
            </a:extLst>
          </p:cNvPr>
          <p:cNvSpPr txBox="1"/>
          <p:nvPr/>
        </p:nvSpPr>
        <p:spPr>
          <a:xfrm>
            <a:off x="3124200" y="5099084"/>
            <a:ext cx="32112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JAQUAR</a:t>
            </a: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08488B-A0CF-CDE3-DF99-78E55FC47148}"/>
              </a:ext>
            </a:extLst>
          </p:cNvPr>
          <p:cNvSpPr txBox="1"/>
          <p:nvPr/>
        </p:nvSpPr>
        <p:spPr>
          <a:xfrm>
            <a:off x="7282542" y="5037529"/>
            <a:ext cx="3211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           KOHLAR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1BE99A-C3D2-E258-3BE1-D6C390E076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4860" y="1235696"/>
            <a:ext cx="5260625" cy="343797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D83469A-E41B-C03E-3D55-815605F700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2314" y="1792867"/>
            <a:ext cx="5573460" cy="243078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72721053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8F5143-7D36-630F-E550-400E100DA6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4F9FF57-8B9B-48AC-AD36-20E235A6916B}"/>
              </a:ext>
            </a:extLst>
          </p:cNvPr>
          <p:cNvSpPr txBox="1"/>
          <p:nvPr/>
        </p:nvSpPr>
        <p:spPr>
          <a:xfrm>
            <a:off x="3494313" y="414047"/>
            <a:ext cx="677091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OMPETITION FAUCETS CAT COD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D448F2-93C5-F1B4-4382-503DECFE012E}"/>
              </a:ext>
            </a:extLst>
          </p:cNvPr>
          <p:cNvSpPr txBox="1"/>
          <p:nvPr/>
        </p:nvSpPr>
        <p:spPr>
          <a:xfrm>
            <a:off x="2405743" y="4647134"/>
            <a:ext cx="32112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ARRYWARE</a:t>
            </a: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C1B05A-348B-A343-6807-59A83D7826DB}"/>
              </a:ext>
            </a:extLst>
          </p:cNvPr>
          <p:cNvSpPr txBox="1"/>
          <p:nvPr/>
        </p:nvSpPr>
        <p:spPr>
          <a:xfrm>
            <a:off x="8088084" y="4585579"/>
            <a:ext cx="3211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           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CERA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19A62DF-1E54-6884-D7FB-BC5A291530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6135" y="1786483"/>
            <a:ext cx="1819981" cy="244633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58185F-3E69-3EDD-1847-3BD5CB8324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4006" y="1786483"/>
            <a:ext cx="5105764" cy="244144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4030690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CE25DD-5758-90EA-B0EA-4CF4A520D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830F224-176E-3A13-E797-6F31F59BE350}"/>
              </a:ext>
            </a:extLst>
          </p:cNvPr>
          <p:cNvSpPr txBox="1"/>
          <p:nvPr/>
        </p:nvSpPr>
        <p:spPr>
          <a:xfrm>
            <a:off x="3494313" y="414047"/>
            <a:ext cx="677091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OMPETITION FAUCETS CAT COD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1BCC59-C5CA-911F-7552-A4D61EA87923}"/>
              </a:ext>
            </a:extLst>
          </p:cNvPr>
          <p:cNvSpPr txBox="1"/>
          <p:nvPr/>
        </p:nvSpPr>
        <p:spPr>
          <a:xfrm>
            <a:off x="1284515" y="4585579"/>
            <a:ext cx="32112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JAQUAR</a:t>
            </a: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454B1B3-17B9-0C21-4215-8B1ED9A27AFA}"/>
              </a:ext>
            </a:extLst>
          </p:cNvPr>
          <p:cNvSpPr txBox="1"/>
          <p:nvPr/>
        </p:nvSpPr>
        <p:spPr>
          <a:xfrm>
            <a:off x="6270170" y="4293191"/>
            <a:ext cx="3211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          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KOHLER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1D8042D-51AD-337F-3E88-8241811FC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24" y="998822"/>
            <a:ext cx="2393521" cy="313955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61C76C7-825F-D773-D154-66AB8948FF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6344" y="1726624"/>
            <a:ext cx="7579856" cy="177819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332893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D6DB55-1D1E-32F3-89DE-990D7468B3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488D13D-BCDD-4715-ECCD-6151BFFCA1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6708716"/>
              </p:ext>
            </p:extLst>
          </p:nvPr>
        </p:nvGraphicFramePr>
        <p:xfrm>
          <a:off x="171146" y="1012487"/>
          <a:ext cx="11850965" cy="5624543"/>
        </p:xfrm>
        <a:graphic>
          <a:graphicData uri="http://schemas.openxmlformats.org/drawingml/2006/table">
            <a:tbl>
              <a:tblPr/>
              <a:tblGrid>
                <a:gridCol w="1742506">
                  <a:extLst>
                    <a:ext uri="{9D8B030D-6E8A-4147-A177-3AD203B41FA5}">
                      <a16:colId xmlns:a16="http://schemas.microsoft.com/office/drawing/2014/main" val="289420400"/>
                    </a:ext>
                  </a:extLst>
                </a:gridCol>
                <a:gridCol w="2684021">
                  <a:extLst>
                    <a:ext uri="{9D8B030D-6E8A-4147-A177-3AD203B41FA5}">
                      <a16:colId xmlns:a16="http://schemas.microsoft.com/office/drawing/2014/main" val="574897475"/>
                    </a:ext>
                  </a:extLst>
                </a:gridCol>
                <a:gridCol w="2852651">
                  <a:extLst>
                    <a:ext uri="{9D8B030D-6E8A-4147-A177-3AD203B41FA5}">
                      <a16:colId xmlns:a16="http://schemas.microsoft.com/office/drawing/2014/main" val="1767166608"/>
                    </a:ext>
                  </a:extLst>
                </a:gridCol>
                <a:gridCol w="4571787">
                  <a:extLst>
                    <a:ext uri="{9D8B030D-6E8A-4147-A177-3AD203B41FA5}">
                      <a16:colId xmlns:a16="http://schemas.microsoft.com/office/drawing/2014/main" val="4131117739"/>
                    </a:ext>
                  </a:extLst>
                </a:gridCol>
              </a:tblGrid>
              <a:tr h="549063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IN" sz="1800" b="1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akeholder</a:t>
                      </a:r>
                      <a:endParaRPr lang="en-IN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IN" sz="1800" b="1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erbatim</a:t>
                      </a:r>
                      <a:endParaRPr lang="en-IN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IN" sz="1800" b="1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ed</a:t>
                      </a:r>
                      <a:endParaRPr lang="en-IN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IN" sz="1800" b="1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quirement</a:t>
                      </a:r>
                      <a:endParaRPr lang="en-IN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1708583"/>
                  </a:ext>
                </a:extLst>
              </a:tr>
              <a:tr h="803506">
                <a:tc rowSpan="2">
                  <a:txBody>
                    <a:bodyPr/>
                    <a:lstStyle/>
                    <a:p>
                      <a:pPr algn="ctr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IN" sz="1600" b="1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aler/ Distributor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"I can't find the products I want to buy”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IN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vailability of correct inventory</a:t>
                      </a:r>
                      <a:endParaRPr lang="en-IN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curate forecasting is required.</a:t>
                      </a:r>
                      <a:endParaRPr lang="en-US" sz="14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0634047"/>
                  </a:ext>
                </a:extLst>
              </a:tr>
              <a:tr h="80350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"I am confused of which product is continued and discontinued in catalogue.”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IN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curate inventory communication.</a:t>
                      </a:r>
                      <a:endParaRPr lang="en-IN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mplementation of a standardized SKU coding system.</a:t>
                      </a:r>
                      <a:endParaRPr lang="en-US" sz="14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80281"/>
                  </a:ext>
                </a:extLst>
              </a:tr>
              <a:tr h="803506">
                <a:tc rowSpan="2">
                  <a:txBody>
                    <a:bodyPr/>
                    <a:lstStyle/>
                    <a:p>
                      <a:pPr algn="ctr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IN" sz="1600" b="1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ales Team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"We are losing sales because too many CAT codes causing confusion.”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IN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liable inventory information</a:t>
                      </a:r>
                      <a:endParaRPr lang="en-IN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obust inventory management system with proper CAT code driven business.</a:t>
                      </a:r>
                      <a:endParaRPr lang="en-US" sz="14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7365912"/>
                  </a:ext>
                </a:extLst>
              </a:tr>
              <a:tr h="80350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"Order delays and incorrect stock information frustrate our customer.”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IN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mproved customer satisfaction</a:t>
                      </a:r>
                      <a:endParaRPr lang="en-IN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ed of proper communication of SKUs among the stakeholders.</a:t>
                      </a:r>
                      <a:endParaRPr lang="en-US" sz="14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163789"/>
                  </a:ext>
                </a:extLst>
              </a:tr>
              <a:tr h="803506">
                <a:tc rowSpan="2">
                  <a:txBody>
                    <a:bodyPr/>
                    <a:lstStyle/>
                    <a:p>
                      <a:pPr algn="ctr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IN" sz="1600" b="1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arehouse and Logistics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"We have too many discontinued items taking up space and reducing space for current product storage.”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fficient warehouse utilization.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ed for a proper product management process.</a:t>
                      </a:r>
                      <a:endParaRPr lang="en-US" sz="14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7139"/>
                  </a:ext>
                </a:extLst>
              </a:tr>
              <a:tr h="105795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“Presence of too many SKU coding is causing confusion and delays in order processing."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curate and efficient inventory coding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ed for proper inventory information communication throughout the stakeholder chain.</a:t>
                      </a:r>
                      <a:endParaRPr lang="en-US" sz="14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0800" marR="50800" marT="12700" marB="12700" anchor="ctr">
                    <a:lnL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424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2916622"/>
                  </a:ext>
                </a:extLst>
              </a:tr>
            </a:tbl>
          </a:graphicData>
        </a:graphic>
      </p:graphicFrame>
      <p:sp>
        <p:nvSpPr>
          <p:cNvPr id="7" name="Rectangle 1">
            <a:extLst>
              <a:ext uri="{FF2B5EF4-FFF2-40B4-BE49-F238E27FC236}">
                <a16:creationId xmlns:a16="http://schemas.microsoft.com/office/drawing/2014/main" id="{E40585F4-2B84-4F69-D74E-395278E193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436" y="1012487"/>
            <a:ext cx="11551128" cy="642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IN"/>
          </a:p>
        </p:txBody>
      </p:sp>
      <p:sp>
        <p:nvSpPr>
          <p:cNvPr id="8" name="Title 1"/>
          <p:cNvSpPr txBox="1"/>
          <p:nvPr/>
        </p:nvSpPr>
        <p:spPr>
          <a:xfrm>
            <a:off x="102235" y="215418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/>
              <a:t>Voice of Customer (VOC)</a:t>
            </a:r>
            <a:endParaRPr lang="en-IN" sz="3200" b="1" dirty="0"/>
          </a:p>
        </p:txBody>
      </p:sp>
    </p:spTree>
    <p:extLst>
      <p:ext uri="{BB962C8B-B14F-4D97-AF65-F5344CB8AC3E}">
        <p14:creationId xmlns:p14="http://schemas.microsoft.com/office/powerpoint/2010/main" val="60030681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383AAF-287C-4F2B-2826-DDF9A17EF0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CE1F7FA-80EA-EDBE-DDF3-2F12F3C5D0E5}"/>
              </a:ext>
            </a:extLst>
          </p:cNvPr>
          <p:cNvSpPr txBox="1"/>
          <p:nvPr/>
        </p:nvSpPr>
        <p:spPr>
          <a:xfrm>
            <a:off x="2428569" y="414047"/>
            <a:ext cx="86622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prstClr val="black"/>
                </a:solidFill>
                <a:latin typeface="Arial Narrow" panose="020B0606020202030204" pitchFamily="34" charset="0"/>
              </a:rPr>
              <a:t>CU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RRENT STRUCTURE 	</a:t>
            </a:r>
            <a:r>
              <a:rPr lang="en-US" sz="3200" dirty="0">
                <a:solidFill>
                  <a:prstClr val="black"/>
                </a:solidFill>
                <a:latin typeface="Arial Narrow" panose="020B0606020202030204" pitchFamily="34" charset="0"/>
              </a:rPr>
              <a:t>AUREET/ ITALIAN SERIE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C63271E-842B-1F03-6910-8776A168DC8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912"/>
          <a:stretch>
            <a:fillRect/>
          </a:stretch>
        </p:blipFill>
        <p:spPr>
          <a:xfrm>
            <a:off x="857009" y="1779639"/>
            <a:ext cx="5711033" cy="3656499"/>
          </a:xfrm>
          <a:prstGeom prst="round2DiagRect">
            <a:avLst>
              <a:gd name="adj1" fmla="val 16667"/>
              <a:gd name="adj2" fmla="val 2985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FBF0145-3C32-BDFA-4264-DE5CC4BFCB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9820" y="1353435"/>
            <a:ext cx="4487718" cy="392122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74BC3A2-111A-B349-3DF4-55074E7D9C3A}"/>
              </a:ext>
            </a:extLst>
          </p:cNvPr>
          <p:cNvSpPr txBox="1"/>
          <p:nvPr/>
        </p:nvSpPr>
        <p:spPr>
          <a:xfrm>
            <a:off x="2721428" y="5859177"/>
            <a:ext cx="27976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anitaryware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887F37-8FA6-6842-CF69-EC4B4A72E7A8}"/>
              </a:ext>
            </a:extLst>
          </p:cNvPr>
          <p:cNvSpPr txBox="1"/>
          <p:nvPr/>
        </p:nvSpPr>
        <p:spPr>
          <a:xfrm>
            <a:off x="7663542" y="5869009"/>
            <a:ext cx="27976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Faucets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946254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3AA298-704E-4A5E-F5DC-E52735F372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ECB20F8-6663-391D-5C4E-43FB2CB3123C}"/>
              </a:ext>
            </a:extLst>
          </p:cNvPr>
          <p:cNvSpPr txBox="1"/>
          <p:nvPr/>
        </p:nvSpPr>
        <p:spPr>
          <a:xfrm>
            <a:off x="3494313" y="414047"/>
            <a:ext cx="67709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roposed Cat Cod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CBD912-15CF-AFA8-C30C-B30A1D9DDE1F}"/>
              </a:ext>
            </a:extLst>
          </p:cNvPr>
          <p:cNvSpPr txBox="1"/>
          <p:nvPr/>
        </p:nvSpPr>
        <p:spPr>
          <a:xfrm>
            <a:off x="2095498" y="1341606"/>
            <a:ext cx="27976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anitaryware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A1946C2-F3D0-5873-ADB7-70F9E9A5F1A5}"/>
              </a:ext>
            </a:extLst>
          </p:cNvPr>
          <p:cNvSpPr/>
          <p:nvPr/>
        </p:nvSpPr>
        <p:spPr>
          <a:xfrm>
            <a:off x="1010219" y="2487045"/>
            <a:ext cx="703905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4E7498-30BB-D18C-B52C-33D34A8FCD94}"/>
              </a:ext>
            </a:extLst>
          </p:cNvPr>
          <p:cNvSpPr/>
          <p:nvPr/>
        </p:nvSpPr>
        <p:spPr>
          <a:xfrm>
            <a:off x="3361093" y="2536641"/>
            <a:ext cx="793048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</a:t>
            </a:r>
            <a:r>
              <a:rPr lang="en-US" sz="3600" dirty="0">
                <a:solidFill>
                  <a:prstClr val="black"/>
                </a:solidFill>
                <a:latin typeface="Tw Cen MT" panose="020B0602020104020603"/>
              </a:rPr>
              <a:t>A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AA756C-3A52-472D-700B-6DCA42100654}"/>
              </a:ext>
            </a:extLst>
          </p:cNvPr>
          <p:cNvSpPr/>
          <p:nvPr/>
        </p:nvSpPr>
        <p:spPr>
          <a:xfrm>
            <a:off x="4465676" y="2517980"/>
            <a:ext cx="975324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D50339-DD2E-611C-A287-791633051048}"/>
              </a:ext>
            </a:extLst>
          </p:cNvPr>
          <p:cNvSpPr/>
          <p:nvPr/>
        </p:nvSpPr>
        <p:spPr>
          <a:xfrm>
            <a:off x="5822048" y="2535600"/>
            <a:ext cx="975324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1E9D40-2127-717D-EF39-390453D6717E}"/>
              </a:ext>
            </a:extLst>
          </p:cNvPr>
          <p:cNvSpPr/>
          <p:nvPr/>
        </p:nvSpPr>
        <p:spPr>
          <a:xfrm>
            <a:off x="7139839" y="2446360"/>
            <a:ext cx="879766" cy="141585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 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8594A9-BB5C-685D-35C1-DDF69BB6F0DA}"/>
              </a:ext>
            </a:extLst>
          </p:cNvPr>
          <p:cNvSpPr txBox="1"/>
          <p:nvPr/>
        </p:nvSpPr>
        <p:spPr>
          <a:xfrm>
            <a:off x="4502341" y="2841263"/>
            <a:ext cx="81024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5F2F635-58D9-32E5-2E4A-748B05F78DD5}"/>
              </a:ext>
            </a:extLst>
          </p:cNvPr>
          <p:cNvSpPr txBox="1"/>
          <p:nvPr/>
        </p:nvSpPr>
        <p:spPr>
          <a:xfrm>
            <a:off x="5689152" y="2822602"/>
            <a:ext cx="11538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W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B8D0E5-6873-ADBF-ADF1-92AB89675BBE}"/>
              </a:ext>
            </a:extLst>
          </p:cNvPr>
          <p:cNvSpPr/>
          <p:nvPr/>
        </p:nvSpPr>
        <p:spPr>
          <a:xfrm>
            <a:off x="8642675" y="2506491"/>
            <a:ext cx="3144164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1D35344C-493C-D6C9-626C-4E070BFCC23C}"/>
              </a:ext>
            </a:extLst>
          </p:cNvPr>
          <p:cNvSpPr/>
          <p:nvPr/>
        </p:nvSpPr>
        <p:spPr>
          <a:xfrm>
            <a:off x="922785" y="4146448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FE9D5C17-7613-739B-13FB-535DE3E3F277}"/>
              </a:ext>
            </a:extLst>
          </p:cNvPr>
          <p:cNvSpPr/>
          <p:nvPr/>
        </p:nvSpPr>
        <p:spPr>
          <a:xfrm>
            <a:off x="3450236" y="4167069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2950A1E6-8FFE-13F6-890F-453E20117C9B}"/>
              </a:ext>
            </a:extLst>
          </p:cNvPr>
          <p:cNvSpPr/>
          <p:nvPr/>
        </p:nvSpPr>
        <p:spPr>
          <a:xfrm>
            <a:off x="4608683" y="4097778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3" name="Arrow: Down 22">
            <a:extLst>
              <a:ext uri="{FF2B5EF4-FFF2-40B4-BE49-F238E27FC236}">
                <a16:creationId xmlns:a16="http://schemas.microsoft.com/office/drawing/2014/main" id="{10E90068-083D-8C11-F7CD-7C0EC2EB7264}"/>
              </a:ext>
            </a:extLst>
          </p:cNvPr>
          <p:cNvSpPr/>
          <p:nvPr/>
        </p:nvSpPr>
        <p:spPr>
          <a:xfrm>
            <a:off x="5953070" y="4167069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B9FDC2DA-714D-F469-00B8-F26CD9AF7CFB}"/>
              </a:ext>
            </a:extLst>
          </p:cNvPr>
          <p:cNvSpPr/>
          <p:nvPr/>
        </p:nvSpPr>
        <p:spPr>
          <a:xfrm>
            <a:off x="7315700" y="4097778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DCEEEA06-5F40-BA2E-8116-C5E83CDCCF39}"/>
              </a:ext>
            </a:extLst>
          </p:cNvPr>
          <p:cNvSpPr/>
          <p:nvPr/>
        </p:nvSpPr>
        <p:spPr>
          <a:xfrm>
            <a:off x="9561323" y="4097778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8F5FA43-99C2-22F9-49CF-2D39715E9CBE}"/>
              </a:ext>
            </a:extLst>
          </p:cNvPr>
          <p:cNvSpPr txBox="1"/>
          <p:nvPr/>
        </p:nvSpPr>
        <p:spPr>
          <a:xfrm>
            <a:off x="8814045" y="2855918"/>
            <a:ext cx="297279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40HA1W2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CDDDF37-CE90-A6DB-2B20-B5F9CF6F38EF}"/>
              </a:ext>
            </a:extLst>
          </p:cNvPr>
          <p:cNvSpPr txBox="1"/>
          <p:nvPr/>
        </p:nvSpPr>
        <p:spPr>
          <a:xfrm>
            <a:off x="289037" y="5351116"/>
            <a:ext cx="1823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          SW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9899700-3D7A-82BF-02A9-898857E21BAA}"/>
              </a:ext>
            </a:extLst>
          </p:cNvPr>
          <p:cNvSpPr txBox="1"/>
          <p:nvPr/>
        </p:nvSpPr>
        <p:spPr>
          <a:xfrm>
            <a:off x="1829735" y="5331728"/>
            <a:ext cx="11356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1 P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206DB43-A267-B3DB-4DC7-A43B6C99E4CE}"/>
              </a:ext>
            </a:extLst>
          </p:cNvPr>
          <p:cNvSpPr txBox="1"/>
          <p:nvPr/>
        </p:nvSpPr>
        <p:spPr>
          <a:xfrm>
            <a:off x="4465676" y="523947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RANGE NAM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5F6DC8D-725B-BCEF-5FAB-B61BFF9642F7}"/>
              </a:ext>
            </a:extLst>
          </p:cNvPr>
          <p:cNvSpPr txBox="1"/>
          <p:nvPr/>
        </p:nvSpPr>
        <p:spPr>
          <a:xfrm>
            <a:off x="6126708" y="5265703"/>
            <a:ext cx="11356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RAP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2ACF144-7C0E-ECF7-108A-CF9B5E137BCA}"/>
              </a:ext>
            </a:extLst>
          </p:cNvPr>
          <p:cNvSpPr txBox="1"/>
          <p:nvPr/>
        </p:nvSpPr>
        <p:spPr>
          <a:xfrm>
            <a:off x="7217228" y="52657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eatCove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E4B7C64-DE12-A6E3-8E5B-80FB150673FA}"/>
              </a:ext>
            </a:extLst>
          </p:cNvPr>
          <p:cNvSpPr txBox="1"/>
          <p:nvPr/>
        </p:nvSpPr>
        <p:spPr>
          <a:xfrm>
            <a:off x="9043605" y="5252591"/>
            <a:ext cx="6335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INAL CO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5FBEAB-5734-A56B-5B4E-18AD3BC81211}"/>
              </a:ext>
            </a:extLst>
          </p:cNvPr>
          <p:cNvSpPr txBox="1"/>
          <p:nvPr/>
        </p:nvSpPr>
        <p:spPr>
          <a:xfrm>
            <a:off x="6008934" y="1341606"/>
            <a:ext cx="58763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CURRENT CAT CODE- 9263831SW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2C2AFC-F7CE-CDAC-EAE5-FCC00A446482}"/>
              </a:ext>
            </a:extLst>
          </p:cNvPr>
          <p:cNvSpPr/>
          <p:nvPr/>
        </p:nvSpPr>
        <p:spPr>
          <a:xfrm>
            <a:off x="2010925" y="2487045"/>
            <a:ext cx="805903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</a:t>
            </a:r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0E6E23D8-0973-ACF7-FC51-4E75316D180A}"/>
              </a:ext>
            </a:extLst>
          </p:cNvPr>
          <p:cNvSpPr/>
          <p:nvPr/>
        </p:nvSpPr>
        <p:spPr>
          <a:xfrm>
            <a:off x="2045596" y="4170979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D55FD77-C46B-2DCD-21AF-3BD9CCE12C01}"/>
              </a:ext>
            </a:extLst>
          </p:cNvPr>
          <p:cNvSpPr txBox="1"/>
          <p:nvPr/>
        </p:nvSpPr>
        <p:spPr>
          <a:xfrm>
            <a:off x="2425272" y="5284284"/>
            <a:ext cx="23303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HINDWA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/ITALIA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72A5E83-0DB5-3484-D60C-8FD03325907B}"/>
              </a:ext>
            </a:extLst>
          </p:cNvPr>
          <p:cNvSpPr txBox="1"/>
          <p:nvPr/>
        </p:nvSpPr>
        <p:spPr>
          <a:xfrm>
            <a:off x="1988575" y="2786442"/>
            <a:ext cx="8950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40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458457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18AB50-4854-D739-99BF-14DB31770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FD939DF-0E38-990F-CF08-B5F9D9839B72}"/>
              </a:ext>
            </a:extLst>
          </p:cNvPr>
          <p:cNvSpPr txBox="1"/>
          <p:nvPr/>
        </p:nvSpPr>
        <p:spPr>
          <a:xfrm>
            <a:off x="3494313" y="414047"/>
            <a:ext cx="67709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roposed Cat Cod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1D9CDD-0DC0-1A65-DFAE-BE33E88346AF}"/>
              </a:ext>
            </a:extLst>
          </p:cNvPr>
          <p:cNvSpPr txBox="1"/>
          <p:nvPr/>
        </p:nvSpPr>
        <p:spPr>
          <a:xfrm>
            <a:off x="2095498" y="1341606"/>
            <a:ext cx="37065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anitaryware Logic:-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A9665E2-701A-79AD-7F89-0ABF6C55E4D4}"/>
              </a:ext>
            </a:extLst>
          </p:cNvPr>
          <p:cNvSpPr/>
          <p:nvPr/>
        </p:nvSpPr>
        <p:spPr>
          <a:xfrm>
            <a:off x="2063719" y="2449389"/>
            <a:ext cx="2861188" cy="14158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35812B-E157-1821-5C46-7603FBED7AF2}"/>
              </a:ext>
            </a:extLst>
          </p:cNvPr>
          <p:cNvSpPr txBox="1"/>
          <p:nvPr/>
        </p:nvSpPr>
        <p:spPr>
          <a:xfrm>
            <a:off x="2198913" y="2798475"/>
            <a:ext cx="27259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40AA1W2P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26D531-9A82-38E7-2724-DC86C7210440}"/>
              </a:ext>
            </a:extLst>
          </p:cNvPr>
          <p:cNvSpPr/>
          <p:nvPr/>
        </p:nvSpPr>
        <p:spPr>
          <a:xfrm>
            <a:off x="2063719" y="2449389"/>
            <a:ext cx="2861188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B5727965-D026-BAF5-5D68-16AAEABD9305}"/>
              </a:ext>
            </a:extLst>
          </p:cNvPr>
          <p:cNvSpPr/>
          <p:nvPr/>
        </p:nvSpPr>
        <p:spPr>
          <a:xfrm>
            <a:off x="3142360" y="4075897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154C09-80E7-A273-C726-221FB86D7848}"/>
              </a:ext>
            </a:extLst>
          </p:cNvPr>
          <p:cNvSpPr txBox="1"/>
          <p:nvPr/>
        </p:nvSpPr>
        <p:spPr>
          <a:xfrm>
            <a:off x="2734146" y="5147062"/>
            <a:ext cx="14241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INAL COD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1C469A6-12FD-3A8D-C52B-B3EEF946617C}"/>
              </a:ext>
            </a:extLst>
          </p:cNvPr>
          <p:cNvSpPr/>
          <p:nvPr/>
        </p:nvSpPr>
        <p:spPr>
          <a:xfrm>
            <a:off x="6428968" y="1926381"/>
            <a:ext cx="5142624" cy="403864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7C0970D7-C4F1-539F-5EFF-CFE64CC93776}"/>
              </a:ext>
            </a:extLst>
          </p:cNvPr>
          <p:cNvSpPr/>
          <p:nvPr/>
        </p:nvSpPr>
        <p:spPr>
          <a:xfrm rot="16200000">
            <a:off x="5324985" y="2703292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65900C-568A-AFC0-53A5-7463518B0A35}"/>
              </a:ext>
            </a:extLst>
          </p:cNvPr>
          <p:cNvSpPr txBox="1"/>
          <p:nvPr/>
        </p:nvSpPr>
        <p:spPr>
          <a:xfrm>
            <a:off x="6654408" y="1926381"/>
            <a:ext cx="4691743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S- SW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40- EWC 1 PC(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Prod.Ca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A &amp; </a:t>
            </a:r>
            <a:r>
              <a:rPr lang="en-US" sz="2000" dirty="0">
                <a:solidFill>
                  <a:prstClr val="black"/>
                </a:solidFill>
                <a:latin typeface="Aptos Narrow" panose="020B0004020202020204" pitchFamily="34" charset="0"/>
              </a:rPr>
              <a:t>I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- 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Aure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 /Italia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A1- A Stands for ACE(Range Name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      1 Stands for ranking in pricing-     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  (Bottom to Top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W2- W Stands for Wash Dow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         2 Stand for 220 Trap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P-    PP Seat Cover</a:t>
            </a:r>
          </a:p>
        </p:txBody>
      </p:sp>
    </p:spTree>
    <p:extLst>
      <p:ext uri="{BB962C8B-B14F-4D97-AF65-F5344CB8AC3E}">
        <p14:creationId xmlns:p14="http://schemas.microsoft.com/office/powerpoint/2010/main" val="35787225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9FAC0B-8DC9-A65A-29C4-0890B2BEB6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B19CBFF-9FD9-4A79-23A8-C2A6E2C6DAF5}"/>
              </a:ext>
            </a:extLst>
          </p:cNvPr>
          <p:cNvSpPr txBox="1"/>
          <p:nvPr/>
        </p:nvSpPr>
        <p:spPr>
          <a:xfrm>
            <a:off x="2775857" y="337458"/>
            <a:ext cx="66402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                           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SW LOGIC 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634A4F-11F9-4A59-F591-B4E4A64021E5}"/>
              </a:ext>
            </a:extLst>
          </p:cNvPr>
          <p:cNvSpPr txBox="1"/>
          <p:nvPr/>
        </p:nvSpPr>
        <p:spPr>
          <a:xfrm>
            <a:off x="2133601" y="953479"/>
            <a:ext cx="30806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EWC  1 PC LOGIC</a:t>
            </a: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BEBDC5-0AED-C8B3-22D0-0F8D36FBDBAC}"/>
              </a:ext>
            </a:extLst>
          </p:cNvPr>
          <p:cNvSpPr txBox="1"/>
          <p:nvPr/>
        </p:nvSpPr>
        <p:spPr>
          <a:xfrm>
            <a:off x="2265501" y="3739355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SEAT COVER LOGIC</a:t>
            </a: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30B97F6E-6C99-9B61-9555-D6096E987A0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133601" y="1689557"/>
          <a:ext cx="8937170" cy="17441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4921386" imgH="895481" progId="Excel.Sheet.12">
                  <p:embed/>
                </p:oleObj>
              </mc:Choice>
              <mc:Fallback>
                <p:oleObj name="Worksheet" r:id="rId2" imgW="4921386" imgH="895481" progId="Excel.Sheet.12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30B97F6E-6C99-9B61-9555-D6096E987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33601" y="1689557"/>
                        <a:ext cx="8937170" cy="17441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7C754A3A-764A-13D1-1426-A30AADB944B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265501" y="4326613"/>
          <a:ext cx="7242895" cy="11162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3626035" imgH="558888" progId="Excel.Sheet.12">
                  <p:embed/>
                </p:oleObj>
              </mc:Choice>
              <mc:Fallback>
                <p:oleObj name="Worksheet" r:id="rId4" imgW="3626035" imgH="558888" progId="Excel.Sheet.12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7C754A3A-764A-13D1-1426-A30AADB94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65501" y="4326613"/>
                        <a:ext cx="7242895" cy="11162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1177405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62B95-D269-7D4E-F6CC-7F2848A16B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CBF6658-7A4F-4A91-5910-442F86AF1FA3}"/>
              </a:ext>
            </a:extLst>
          </p:cNvPr>
          <p:cNvGraphicFramePr>
            <a:graphicFrameLocks noGrp="1"/>
          </p:cNvGraphicFramePr>
          <p:nvPr/>
        </p:nvGraphicFramePr>
        <p:xfrm>
          <a:off x="6458453" y="1722627"/>
          <a:ext cx="3670300" cy="2017678"/>
        </p:xfrm>
        <a:graphic>
          <a:graphicData uri="http://schemas.openxmlformats.org/drawingml/2006/table">
            <a:tbl>
              <a:tblPr/>
              <a:tblGrid>
                <a:gridCol w="2273300">
                  <a:extLst>
                    <a:ext uri="{9D8B030D-6E8A-4147-A177-3AD203B41FA5}">
                      <a16:colId xmlns:a16="http://schemas.microsoft.com/office/drawing/2014/main" val="2341672188"/>
                    </a:ext>
                  </a:extLst>
                </a:gridCol>
                <a:gridCol w="1397000">
                  <a:extLst>
                    <a:ext uri="{9D8B030D-6E8A-4147-A177-3AD203B41FA5}">
                      <a16:colId xmlns:a16="http://schemas.microsoft.com/office/drawing/2014/main" val="2989618041"/>
                    </a:ext>
                  </a:extLst>
                </a:gridCol>
              </a:tblGrid>
              <a:tr h="116423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ge 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ge Cod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4216500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DG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7949138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LEMEN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9522525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CA92B776-E134-FD84-A46B-184B71208A9F}"/>
              </a:ext>
            </a:extLst>
          </p:cNvPr>
          <p:cNvGraphicFramePr>
            <a:graphicFrameLocks noGrp="1"/>
          </p:cNvGraphicFramePr>
          <p:nvPr/>
        </p:nvGraphicFramePr>
        <p:xfrm>
          <a:off x="2063247" y="814225"/>
          <a:ext cx="3858051" cy="5486400"/>
        </p:xfrm>
        <a:graphic>
          <a:graphicData uri="http://schemas.openxmlformats.org/drawingml/2006/table">
            <a:tbl>
              <a:tblPr/>
              <a:tblGrid>
                <a:gridCol w="2336264">
                  <a:extLst>
                    <a:ext uri="{9D8B030D-6E8A-4147-A177-3AD203B41FA5}">
                      <a16:colId xmlns:a16="http://schemas.microsoft.com/office/drawing/2014/main" val="881611881"/>
                    </a:ext>
                  </a:extLst>
                </a:gridCol>
                <a:gridCol w="1521787">
                  <a:extLst>
                    <a:ext uri="{9D8B030D-6E8A-4147-A177-3AD203B41FA5}">
                      <a16:colId xmlns:a16="http://schemas.microsoft.com/office/drawing/2014/main" val="2344287684"/>
                    </a:ext>
                  </a:extLst>
                </a:gridCol>
              </a:tblGrid>
              <a:tr h="27524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 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ge Cod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7893163"/>
                  </a:ext>
                </a:extLst>
              </a:tr>
              <a:tr h="2921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4095958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cen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2842851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PIRO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286542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TER 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940364"/>
                  </a:ext>
                </a:extLst>
              </a:tr>
              <a:tr h="189973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TER 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3552422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MAT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3958669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NE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4061621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PIRO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7107766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NE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110686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QUASHE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3811716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CEN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248138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HEN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0461225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PH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6997578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PH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3161914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10FC1F76-505A-13BC-48C3-919402DB35E8}"/>
              </a:ext>
            </a:extLst>
          </p:cNvPr>
          <p:cNvSpPr txBox="1"/>
          <p:nvPr/>
        </p:nvSpPr>
        <p:spPr>
          <a:xfrm>
            <a:off x="3546222" y="111512"/>
            <a:ext cx="7114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SW &amp; FAUCETS RANGES NAME &amp; CODES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864691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563332-1716-E2CB-189C-AB135AA3EB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98D23DF-FCFF-BF00-F281-C32705ACEA56}"/>
              </a:ext>
            </a:extLst>
          </p:cNvPr>
          <p:cNvSpPr txBox="1"/>
          <p:nvPr/>
        </p:nvSpPr>
        <p:spPr>
          <a:xfrm>
            <a:off x="3494313" y="414047"/>
            <a:ext cx="67709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roposed Cat Cod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C37953-1F43-7AF3-2F57-80BB29FF1243}"/>
              </a:ext>
            </a:extLst>
          </p:cNvPr>
          <p:cNvSpPr txBox="1"/>
          <p:nvPr/>
        </p:nvSpPr>
        <p:spPr>
          <a:xfrm>
            <a:off x="2095498" y="1341606"/>
            <a:ext cx="27976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Faucets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5E4650-7A5A-EAE2-3AA2-218E94F06204}"/>
              </a:ext>
            </a:extLst>
          </p:cNvPr>
          <p:cNvSpPr/>
          <p:nvPr/>
        </p:nvSpPr>
        <p:spPr>
          <a:xfrm>
            <a:off x="1727468" y="2510602"/>
            <a:ext cx="703905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C6DB03A-ACF8-578F-431E-282C45FBAC37}"/>
              </a:ext>
            </a:extLst>
          </p:cNvPr>
          <p:cNvSpPr/>
          <p:nvPr/>
        </p:nvSpPr>
        <p:spPr>
          <a:xfrm>
            <a:off x="2869570" y="2510602"/>
            <a:ext cx="720953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01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FAC5AEA-C53F-96D4-2054-945D1556DE5C}"/>
              </a:ext>
            </a:extLst>
          </p:cNvPr>
          <p:cNvSpPr/>
          <p:nvPr/>
        </p:nvSpPr>
        <p:spPr>
          <a:xfrm>
            <a:off x="3917803" y="2471162"/>
            <a:ext cx="975324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5C728C2-5AB6-80D1-E2DA-EF2A14DF61B1}"/>
              </a:ext>
            </a:extLst>
          </p:cNvPr>
          <p:cNvSpPr/>
          <p:nvPr/>
        </p:nvSpPr>
        <p:spPr>
          <a:xfrm>
            <a:off x="6407121" y="2471160"/>
            <a:ext cx="975324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58CBB8C-DABA-34DB-A689-951BC04E380A}"/>
              </a:ext>
            </a:extLst>
          </p:cNvPr>
          <p:cNvSpPr/>
          <p:nvPr/>
        </p:nvSpPr>
        <p:spPr>
          <a:xfrm>
            <a:off x="5210241" y="2471160"/>
            <a:ext cx="879766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B36457-097D-28B9-2093-21DF8CA10D83}"/>
              </a:ext>
            </a:extLst>
          </p:cNvPr>
          <p:cNvSpPr txBox="1"/>
          <p:nvPr/>
        </p:nvSpPr>
        <p:spPr>
          <a:xfrm>
            <a:off x="4003270" y="2754360"/>
            <a:ext cx="97532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>
                <a:solidFill>
                  <a:prstClr val="black"/>
                </a:solidFill>
                <a:latin typeface="Tw Cen MT" panose="020B0602020104020603"/>
              </a:rPr>
              <a:t>A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&amp; I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3B2A8DF-EA5D-6BE4-C182-257B8C0FE3FE}"/>
              </a:ext>
            </a:extLst>
          </p:cNvPr>
          <p:cNvSpPr txBox="1"/>
          <p:nvPr/>
        </p:nvSpPr>
        <p:spPr>
          <a:xfrm>
            <a:off x="6489659" y="2871942"/>
            <a:ext cx="11538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21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98EB788-8321-90CA-F756-7CB759BE1D29}"/>
              </a:ext>
            </a:extLst>
          </p:cNvPr>
          <p:cNvSpPr/>
          <p:nvPr/>
        </p:nvSpPr>
        <p:spPr>
          <a:xfrm>
            <a:off x="8301234" y="2471160"/>
            <a:ext cx="3346479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11B2E358-6B42-4FD9-8B3F-B13257A6EBCB}"/>
              </a:ext>
            </a:extLst>
          </p:cNvPr>
          <p:cNvSpPr/>
          <p:nvPr/>
        </p:nvSpPr>
        <p:spPr>
          <a:xfrm>
            <a:off x="1743545" y="4184753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3C718E10-EFC5-CF9C-A278-1B5F08297ADD}"/>
              </a:ext>
            </a:extLst>
          </p:cNvPr>
          <p:cNvSpPr/>
          <p:nvPr/>
        </p:nvSpPr>
        <p:spPr>
          <a:xfrm>
            <a:off x="2822636" y="4184753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E5EF0D20-F10E-D6EB-3778-4E2DAA5A087A}"/>
              </a:ext>
            </a:extLst>
          </p:cNvPr>
          <p:cNvSpPr/>
          <p:nvPr/>
        </p:nvSpPr>
        <p:spPr>
          <a:xfrm>
            <a:off x="4067838" y="4184753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3" name="Arrow: Down 22">
            <a:extLst>
              <a:ext uri="{FF2B5EF4-FFF2-40B4-BE49-F238E27FC236}">
                <a16:creationId xmlns:a16="http://schemas.microsoft.com/office/drawing/2014/main" id="{E63206D6-01D9-D73A-4ADF-FC946A7BBDB0}"/>
              </a:ext>
            </a:extLst>
          </p:cNvPr>
          <p:cNvSpPr/>
          <p:nvPr/>
        </p:nvSpPr>
        <p:spPr>
          <a:xfrm>
            <a:off x="5305029" y="4184753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791678C1-7C0D-35E7-E0D3-375B3A765F02}"/>
              </a:ext>
            </a:extLst>
          </p:cNvPr>
          <p:cNvSpPr/>
          <p:nvPr/>
        </p:nvSpPr>
        <p:spPr>
          <a:xfrm>
            <a:off x="6660359" y="4184753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9BFAF11A-EA6D-8E7B-1018-123240B6A7C7}"/>
              </a:ext>
            </a:extLst>
          </p:cNvPr>
          <p:cNvSpPr/>
          <p:nvPr/>
        </p:nvSpPr>
        <p:spPr>
          <a:xfrm>
            <a:off x="9379876" y="4097668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8870793-78DE-61C6-DCA2-9428315B98D0}"/>
              </a:ext>
            </a:extLst>
          </p:cNvPr>
          <p:cNvSpPr txBox="1"/>
          <p:nvPr/>
        </p:nvSpPr>
        <p:spPr>
          <a:xfrm>
            <a:off x="8844555" y="2894575"/>
            <a:ext cx="284134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01AE92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11D8DE-9253-A93B-4934-AEFF5918F8C4}"/>
              </a:ext>
            </a:extLst>
          </p:cNvPr>
          <p:cNvSpPr txBox="1"/>
          <p:nvPr/>
        </p:nvSpPr>
        <p:spPr>
          <a:xfrm>
            <a:off x="1727158" y="5281227"/>
            <a:ext cx="1823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AUCET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E01456F-7D2D-9652-7B4D-D768E3F04C45}"/>
              </a:ext>
            </a:extLst>
          </p:cNvPr>
          <p:cNvSpPr txBox="1"/>
          <p:nvPr/>
        </p:nvSpPr>
        <p:spPr>
          <a:xfrm>
            <a:off x="2828511" y="5281227"/>
            <a:ext cx="11982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LBM Cat. 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2DE346E-F65F-68D5-614C-6D12D3B5E335}"/>
              </a:ext>
            </a:extLst>
          </p:cNvPr>
          <p:cNvSpPr txBox="1"/>
          <p:nvPr/>
        </p:nvSpPr>
        <p:spPr>
          <a:xfrm>
            <a:off x="6660359" y="5188894"/>
            <a:ext cx="13022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LBM/SLBM Tall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9C16831-DAA0-8A0F-C91B-1EF61BAD52F3}"/>
              </a:ext>
            </a:extLst>
          </p:cNvPr>
          <p:cNvSpPr txBox="1"/>
          <p:nvPr/>
        </p:nvSpPr>
        <p:spPr>
          <a:xfrm>
            <a:off x="9320379" y="5216367"/>
            <a:ext cx="6335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INAL CO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814411-C9F8-A83C-A0CD-AF7F2AE90B4F}"/>
              </a:ext>
            </a:extLst>
          </p:cNvPr>
          <p:cNvSpPr txBox="1"/>
          <p:nvPr/>
        </p:nvSpPr>
        <p:spPr>
          <a:xfrm>
            <a:off x="5250254" y="2896825"/>
            <a:ext cx="7586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ABCE04E-0F79-B1FA-3CBB-4CA4985500AE}"/>
              </a:ext>
            </a:extLst>
          </p:cNvPr>
          <p:cNvSpPr txBox="1"/>
          <p:nvPr/>
        </p:nvSpPr>
        <p:spPr>
          <a:xfrm>
            <a:off x="4026779" y="5262533"/>
            <a:ext cx="13872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Tw Cen MT" panose="020B0602020104020603"/>
              </a:rPr>
              <a:t>AUREE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/ITALIAN.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2D300C-2C96-5F37-CEFA-8509010EC37F}"/>
              </a:ext>
            </a:extLst>
          </p:cNvPr>
          <p:cNvSpPr txBox="1"/>
          <p:nvPr/>
        </p:nvSpPr>
        <p:spPr>
          <a:xfrm>
            <a:off x="5477785" y="5196188"/>
            <a:ext cx="119826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Range Nam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0B7A61-5684-9341-3603-15F6AB49B208}"/>
              </a:ext>
            </a:extLst>
          </p:cNvPr>
          <p:cNvSpPr txBox="1"/>
          <p:nvPr/>
        </p:nvSpPr>
        <p:spPr>
          <a:xfrm>
            <a:off x="5629594" y="1312684"/>
            <a:ext cx="78268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CURRENT CAT CODE- F360001CP</a:t>
            </a:r>
            <a:endParaRPr kumimoji="0" lang="en-IN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555281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7607B1-03C2-4527-F272-D638D2D5E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C5C79C1-E174-037D-4E76-79862D820B92}"/>
              </a:ext>
            </a:extLst>
          </p:cNvPr>
          <p:cNvSpPr txBox="1"/>
          <p:nvPr/>
        </p:nvSpPr>
        <p:spPr>
          <a:xfrm>
            <a:off x="3494313" y="414047"/>
            <a:ext cx="67709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roposed Cat Cod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B55C399-DF8E-D5B9-B7D5-0249E26A5B12}"/>
              </a:ext>
            </a:extLst>
          </p:cNvPr>
          <p:cNvSpPr txBox="1"/>
          <p:nvPr/>
        </p:nvSpPr>
        <p:spPr>
          <a:xfrm>
            <a:off x="2095498" y="1341606"/>
            <a:ext cx="37065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Faucets Logic:-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B67EC7-FB41-1001-84DE-0CDE73405D7F}"/>
              </a:ext>
            </a:extLst>
          </p:cNvPr>
          <p:cNvSpPr/>
          <p:nvPr/>
        </p:nvSpPr>
        <p:spPr>
          <a:xfrm>
            <a:off x="2063719" y="2449389"/>
            <a:ext cx="2861188" cy="14158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111607-81A6-BC21-C03A-ECD158E9D4EA}"/>
              </a:ext>
            </a:extLst>
          </p:cNvPr>
          <p:cNvSpPr/>
          <p:nvPr/>
        </p:nvSpPr>
        <p:spPr>
          <a:xfrm>
            <a:off x="2063719" y="2449389"/>
            <a:ext cx="2861188" cy="14158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5B31BD58-FFBF-44D9-7B21-17A536D9DA34}"/>
              </a:ext>
            </a:extLst>
          </p:cNvPr>
          <p:cNvSpPr/>
          <p:nvPr/>
        </p:nvSpPr>
        <p:spPr>
          <a:xfrm>
            <a:off x="3142360" y="4075897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213E05-C571-18AC-3DDE-EA239899F321}"/>
              </a:ext>
            </a:extLst>
          </p:cNvPr>
          <p:cNvSpPr txBox="1"/>
          <p:nvPr/>
        </p:nvSpPr>
        <p:spPr>
          <a:xfrm>
            <a:off x="2734146" y="5147062"/>
            <a:ext cx="14241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INAL COD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5591977-7BB0-6494-AF76-0836E837A288}"/>
              </a:ext>
            </a:extLst>
          </p:cNvPr>
          <p:cNvSpPr/>
          <p:nvPr/>
        </p:nvSpPr>
        <p:spPr>
          <a:xfrm>
            <a:off x="6428968" y="1926381"/>
            <a:ext cx="5142624" cy="403864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BC4CAAE0-0BD1-6D99-371C-BDEE9EC267E1}"/>
              </a:ext>
            </a:extLst>
          </p:cNvPr>
          <p:cNvSpPr/>
          <p:nvPr/>
        </p:nvSpPr>
        <p:spPr>
          <a:xfrm rot="16200000">
            <a:off x="5324985" y="2703292"/>
            <a:ext cx="703905" cy="942418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8080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A4B65A9-CB3B-1B58-21C3-20A5B69DC38E}"/>
              </a:ext>
            </a:extLst>
          </p:cNvPr>
          <p:cNvSpPr txBox="1"/>
          <p:nvPr/>
        </p:nvSpPr>
        <p:spPr>
          <a:xfrm>
            <a:off x="2322705" y="2733977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01AE92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C7E7C7-AA19-28D5-CD4E-B70C62823E96}"/>
              </a:ext>
            </a:extLst>
          </p:cNvPr>
          <p:cNvSpPr txBox="1"/>
          <p:nvPr/>
        </p:nvSpPr>
        <p:spPr>
          <a:xfrm>
            <a:off x="6602223" y="2449389"/>
            <a:ext cx="6096000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F- Fauce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01- Single Lever Basin Mix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H- </a:t>
            </a: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AURE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/ITALIA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E9- E Stands for Edg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     9 Stands for ranking in pricing-   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Bottom to Top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1-  Sub Category (SLBM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Tall)</a:t>
            </a: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098817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FA25F4-B02F-6A04-5E68-74D34921F6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0C63F91-4101-9DC7-CA7A-8A9A57C8AC09}"/>
              </a:ext>
            </a:extLst>
          </p:cNvPr>
          <p:cNvSpPr txBox="1"/>
          <p:nvPr/>
        </p:nvSpPr>
        <p:spPr>
          <a:xfrm>
            <a:off x="2775857" y="337458"/>
            <a:ext cx="66402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                           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SW PRODUCT CATEGORY LIST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577FD829-962A-C399-048E-04DEA0AC2C7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911688" y="1017166"/>
          <a:ext cx="4775112" cy="522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2895699" imgH="4273638" progId="Excel.Sheet.12">
                  <p:embed/>
                </p:oleObj>
              </mc:Choice>
              <mc:Fallback>
                <p:oleObj name="Worksheet" r:id="rId2" imgW="2895699" imgH="4273638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577FD829-962A-C399-048E-04DEA0AC2C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911688" y="1017166"/>
                        <a:ext cx="4775112" cy="5229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6132665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848AD520-EF7C-93FA-6C66-3267D03FFDC1}"/>
              </a:ext>
            </a:extLst>
          </p:cNvPr>
          <p:cNvSpPr txBox="1"/>
          <p:nvPr/>
        </p:nvSpPr>
        <p:spPr>
          <a:xfrm>
            <a:off x="3680766" y="167260"/>
            <a:ext cx="610144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FAUCETS PRODUCT CATEGORY LIST</a:t>
            </a: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084FDD1-58B1-D7D3-757C-4B70FEDC92BF}"/>
              </a:ext>
            </a:extLst>
          </p:cNvPr>
          <p:cNvGraphicFramePr>
            <a:graphicFrameLocks noGrp="1"/>
          </p:cNvGraphicFramePr>
          <p:nvPr/>
        </p:nvGraphicFramePr>
        <p:xfrm>
          <a:off x="2802408" y="1048215"/>
          <a:ext cx="6979800" cy="5368288"/>
        </p:xfrm>
        <a:graphic>
          <a:graphicData uri="http://schemas.openxmlformats.org/drawingml/2006/table">
            <a:tbl>
              <a:tblPr/>
              <a:tblGrid>
                <a:gridCol w="2032049">
                  <a:extLst>
                    <a:ext uri="{9D8B030D-6E8A-4147-A177-3AD203B41FA5}">
                      <a16:colId xmlns:a16="http://schemas.microsoft.com/office/drawing/2014/main" val="501076783"/>
                    </a:ext>
                  </a:extLst>
                </a:gridCol>
                <a:gridCol w="1234231">
                  <a:extLst>
                    <a:ext uri="{9D8B030D-6E8A-4147-A177-3AD203B41FA5}">
                      <a16:colId xmlns:a16="http://schemas.microsoft.com/office/drawing/2014/main" val="3692699070"/>
                    </a:ext>
                  </a:extLst>
                </a:gridCol>
                <a:gridCol w="2782433">
                  <a:extLst>
                    <a:ext uri="{9D8B030D-6E8A-4147-A177-3AD203B41FA5}">
                      <a16:colId xmlns:a16="http://schemas.microsoft.com/office/drawing/2014/main" val="555511086"/>
                    </a:ext>
                  </a:extLst>
                </a:gridCol>
                <a:gridCol w="931087">
                  <a:extLst>
                    <a:ext uri="{9D8B030D-6E8A-4147-A177-3AD203B41FA5}">
                      <a16:colId xmlns:a16="http://schemas.microsoft.com/office/drawing/2014/main" val="2240998990"/>
                    </a:ext>
                  </a:extLst>
                </a:gridCol>
              </a:tblGrid>
              <a:tr h="513568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roduct Cat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Numb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Sub Cat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Numb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0514732"/>
                  </a:ext>
                </a:extLst>
              </a:tr>
              <a:tr h="24535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SLB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SLB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9699024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SLBM TAL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5371753"/>
                  </a:ext>
                </a:extLst>
              </a:tr>
              <a:tr h="224738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ILLAR COC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ILLAR COCK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585568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ILLAR COCK TAL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3607"/>
                  </a:ext>
                </a:extLst>
              </a:tr>
              <a:tr h="35396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ILLAR COCK LONG NECK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461919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SWAN NECK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2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896110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TURBO FLOW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2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529898"/>
                  </a:ext>
                </a:extLst>
              </a:tr>
              <a:tr h="224738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WALL MIX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NON TELEPHONIC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2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2990252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TELEPHONIC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2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1552324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L BEN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3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820278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3 IN L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75868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S/L TELEPHONIC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3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1366283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S/L </a:t>
                      </a:r>
                      <a:r>
                        <a:rPr lang="en-IN" sz="16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L</a:t>
                      </a:r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 BEN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3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3460759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TURBO FLOW L BEN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3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7435409"/>
                  </a:ext>
                </a:extLst>
              </a:tr>
              <a:tr h="224738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DIVERTER UPPER PAR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REGULAR DIVERT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4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5726824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ABS REGULAR DIVERT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4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1339746"/>
                  </a:ext>
                </a:extLst>
              </a:tr>
              <a:tr h="35396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Regular 35 MM DIVERT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2480722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HI FLOW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5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1643546"/>
                  </a:ext>
                </a:extLst>
              </a:tr>
              <a:tr h="2247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3 IN L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5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637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287167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D874AC-B6F4-92B2-7ED2-A718EB187F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64537B8-85E8-55DF-B86A-1F373EB63335}"/>
              </a:ext>
            </a:extLst>
          </p:cNvPr>
          <p:cNvSpPr txBox="1"/>
          <p:nvPr/>
        </p:nvSpPr>
        <p:spPr>
          <a:xfrm>
            <a:off x="2394857" y="262785"/>
            <a:ext cx="74022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                           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FAUCETS PRODUCT CATEGORY LIST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3E25578-42D6-D188-A3BC-56E28B58557B}"/>
              </a:ext>
            </a:extLst>
          </p:cNvPr>
          <p:cNvGraphicFramePr>
            <a:graphicFrameLocks noGrp="1"/>
          </p:cNvGraphicFramePr>
          <p:nvPr/>
        </p:nvGraphicFramePr>
        <p:xfrm>
          <a:off x="3179936" y="1265495"/>
          <a:ext cx="6700043" cy="4153996"/>
        </p:xfrm>
        <a:graphic>
          <a:graphicData uri="http://schemas.openxmlformats.org/drawingml/2006/table">
            <a:tbl>
              <a:tblPr/>
              <a:tblGrid>
                <a:gridCol w="1620978">
                  <a:extLst>
                    <a:ext uri="{9D8B030D-6E8A-4147-A177-3AD203B41FA5}">
                      <a16:colId xmlns:a16="http://schemas.microsoft.com/office/drawing/2014/main" val="2200108540"/>
                    </a:ext>
                  </a:extLst>
                </a:gridCol>
                <a:gridCol w="1037426">
                  <a:extLst>
                    <a:ext uri="{9D8B030D-6E8A-4147-A177-3AD203B41FA5}">
                      <a16:colId xmlns:a16="http://schemas.microsoft.com/office/drawing/2014/main" val="1501800436"/>
                    </a:ext>
                  </a:extLst>
                </a:gridCol>
                <a:gridCol w="3004213">
                  <a:extLst>
                    <a:ext uri="{9D8B030D-6E8A-4147-A177-3AD203B41FA5}">
                      <a16:colId xmlns:a16="http://schemas.microsoft.com/office/drawing/2014/main" val="2795013473"/>
                    </a:ext>
                  </a:extLst>
                </a:gridCol>
                <a:gridCol w="1037426">
                  <a:extLst>
                    <a:ext uri="{9D8B030D-6E8A-4147-A177-3AD203B41FA5}">
                      <a16:colId xmlns:a16="http://schemas.microsoft.com/office/drawing/2014/main" val="2619477126"/>
                    </a:ext>
                  </a:extLst>
                </a:gridCol>
              </a:tblGrid>
              <a:tr h="29671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.cat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.Cat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094079"/>
                  </a:ext>
                </a:extLst>
              </a:tr>
              <a:tr h="296714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ESSORI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E HHO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250612"/>
                  </a:ext>
                </a:extLst>
              </a:tr>
              <a:tr h="2967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PER HOLDER W/O COV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1974364"/>
                  </a:ext>
                </a:extLst>
              </a:tr>
              <a:tr h="2967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PER HOLDER WITH COV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602280"/>
                  </a:ext>
                </a:extLst>
              </a:tr>
              <a:tr h="2967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MBLER HOLD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4250990"/>
                  </a:ext>
                </a:extLst>
              </a:tr>
              <a:tr h="2967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AP DISH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7567560"/>
                  </a:ext>
                </a:extLst>
              </a:tr>
              <a:tr h="2967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AP DISH 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5977823"/>
                  </a:ext>
                </a:extLst>
              </a:tr>
              <a:tr h="2967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WEL 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1393980"/>
                  </a:ext>
                </a:extLst>
              </a:tr>
              <a:tr h="2967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WEL BA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9846445"/>
                  </a:ext>
                </a:extLst>
              </a:tr>
              <a:tr h="2967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ASS SHELF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125285"/>
                  </a:ext>
                </a:extLst>
              </a:tr>
              <a:tr h="2967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UBLE TOWEL BA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9246955"/>
                  </a:ext>
                </a:extLst>
              </a:tr>
              <a:tr h="2967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WEL SHELF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490900"/>
                  </a:ext>
                </a:extLst>
              </a:tr>
              <a:tr h="29671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GNIFYING GLAS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7681017"/>
                  </a:ext>
                </a:extLst>
              </a:tr>
              <a:tr h="29671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BO S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6107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2710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075855" y="1520890"/>
            <a:ext cx="2146040" cy="70912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tal Invento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343.11 Cr.)</a:t>
            </a:r>
          </a:p>
        </p:txBody>
      </p:sp>
      <p:sp>
        <p:nvSpPr>
          <p:cNvPr id="8" name="Rectangle 7"/>
          <p:cNvSpPr/>
          <p:nvPr/>
        </p:nvSpPr>
        <p:spPr>
          <a:xfrm>
            <a:off x="6270171" y="3186664"/>
            <a:ext cx="1595535" cy="5256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ndware / Itali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260 Cr.)</a:t>
            </a:r>
          </a:p>
        </p:txBody>
      </p:sp>
      <p:sp>
        <p:nvSpPr>
          <p:cNvPr id="9" name="Rectangle 8"/>
          <p:cNvSpPr/>
          <p:nvPr/>
        </p:nvSpPr>
        <p:spPr>
          <a:xfrm>
            <a:off x="4618653" y="3194440"/>
            <a:ext cx="1455577" cy="510072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nelave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21.76 Cr.)</a:t>
            </a:r>
          </a:p>
        </p:txBody>
      </p:sp>
      <p:sp>
        <p:nvSpPr>
          <p:cNvPr id="10" name="Rectangle 9"/>
          <p:cNvSpPr/>
          <p:nvPr/>
        </p:nvSpPr>
        <p:spPr>
          <a:xfrm>
            <a:off x="8061647" y="3212847"/>
            <a:ext cx="1455576" cy="510072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7.54 Cr.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315617" y="3197293"/>
            <a:ext cx="1455576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chymi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9.67 Cr.)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967135" y="3197293"/>
            <a:ext cx="1455576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o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40.0 Cr.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9713164" y="3212849"/>
            <a:ext cx="1455576" cy="510072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th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4.58 Cr.)</a:t>
            </a:r>
          </a:p>
        </p:txBody>
      </p:sp>
      <p:cxnSp>
        <p:nvCxnSpPr>
          <p:cNvPr id="15" name="Straight Connector 14"/>
          <p:cNvCxnSpPr>
            <a:stCxn id="3" idx="2"/>
          </p:cNvCxnSpPr>
          <p:nvPr/>
        </p:nvCxnSpPr>
        <p:spPr>
          <a:xfrm>
            <a:off x="6148875" y="2230017"/>
            <a:ext cx="0" cy="47586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2043405" y="2696676"/>
            <a:ext cx="8397547" cy="2475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endCxn id="11" idx="0"/>
          </p:cNvCxnSpPr>
          <p:nvPr/>
        </p:nvCxnSpPr>
        <p:spPr>
          <a:xfrm>
            <a:off x="2043405" y="2705878"/>
            <a:ext cx="0" cy="4914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3694923" y="2695249"/>
            <a:ext cx="0" cy="4914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5346441" y="2705878"/>
            <a:ext cx="0" cy="4914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7067938" y="2721432"/>
            <a:ext cx="0" cy="4914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8792546" y="2701471"/>
            <a:ext cx="0" cy="4914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10440952" y="2721432"/>
            <a:ext cx="0" cy="4914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628192" y="4820834"/>
            <a:ext cx="928395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e will focus to reduce the inventory of Hindware / Italian brand only in phase 1    (30</a:t>
            </a:r>
            <a:r>
              <a:rPr kumimoji="0" lang="en-IN" sz="18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</a:t>
            </a: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May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 Phase 2 remaining brand inventory will be targeted for inventory reduction        (25</a:t>
            </a:r>
            <a:r>
              <a:rPr kumimoji="0" lang="en-IN" sz="18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h</a:t>
            </a: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July)</a:t>
            </a:r>
          </a:p>
        </p:txBody>
      </p:sp>
      <p:sp>
        <p:nvSpPr>
          <p:cNvPr id="25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Inventory Summary</a:t>
            </a:r>
          </a:p>
        </p:txBody>
      </p:sp>
    </p:spTree>
    <p:extLst>
      <p:ext uri="{BB962C8B-B14F-4D97-AF65-F5344CB8AC3E}">
        <p14:creationId xmlns:p14="http://schemas.microsoft.com/office/powerpoint/2010/main" val="404157832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897808-87F6-218E-8447-FDFE2CF06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179" y="362040"/>
            <a:ext cx="9905998" cy="1478570"/>
          </a:xfrm>
        </p:spPr>
        <p:txBody>
          <a:bodyPr>
            <a:normAutofit/>
          </a:bodyPr>
          <a:lstStyle/>
          <a:p>
            <a:r>
              <a:rPr lang="en-US" sz="4400" dirty="0">
                <a:latin typeface="Aptos Narrow" panose="020B0004020202020204" pitchFamily="34" charset="0"/>
              </a:rPr>
              <a:t>                      </a:t>
            </a:r>
            <a:r>
              <a:rPr lang="en-US" sz="4400" dirty="0">
                <a:solidFill>
                  <a:schemeClr val="bg1"/>
                </a:solidFill>
                <a:latin typeface="Aptos Narrow" panose="020B0004020202020204" pitchFamily="34" charset="0"/>
              </a:rPr>
              <a:t>PROJECT ACTION PLANS</a:t>
            </a:r>
            <a:endParaRPr lang="en-IN" sz="4400" dirty="0">
              <a:solidFill>
                <a:schemeClr val="bg1"/>
              </a:solidFill>
              <a:latin typeface="Aptos Narrow" panose="020B000402020202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E418C24-C00E-5A88-AFA6-9913C6AD27BC}"/>
              </a:ext>
            </a:extLst>
          </p:cNvPr>
          <p:cNvGraphicFramePr>
            <a:graphicFrameLocks noGrp="1"/>
          </p:cNvGraphicFramePr>
          <p:nvPr/>
        </p:nvGraphicFramePr>
        <p:xfrm>
          <a:off x="1799178" y="1987275"/>
          <a:ext cx="8794482" cy="2883449"/>
        </p:xfrm>
        <a:graphic>
          <a:graphicData uri="http://schemas.openxmlformats.org/drawingml/2006/table">
            <a:tbl>
              <a:tblPr/>
              <a:tblGrid>
                <a:gridCol w="5499731">
                  <a:extLst>
                    <a:ext uri="{9D8B030D-6E8A-4147-A177-3AD203B41FA5}">
                      <a16:colId xmlns:a16="http://schemas.microsoft.com/office/drawing/2014/main" val="79269785"/>
                    </a:ext>
                  </a:extLst>
                </a:gridCol>
                <a:gridCol w="1826372">
                  <a:extLst>
                    <a:ext uri="{9D8B030D-6E8A-4147-A177-3AD203B41FA5}">
                      <a16:colId xmlns:a16="http://schemas.microsoft.com/office/drawing/2014/main" val="393314071"/>
                    </a:ext>
                  </a:extLst>
                </a:gridCol>
                <a:gridCol w="1468379">
                  <a:extLst>
                    <a:ext uri="{9D8B030D-6E8A-4147-A177-3AD203B41FA5}">
                      <a16:colId xmlns:a16="http://schemas.microsoft.com/office/drawing/2014/main" val="2383239099"/>
                    </a:ext>
                  </a:extLst>
                </a:gridCol>
              </a:tblGrid>
              <a:tr h="66527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C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PONSIBILIT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IMELINE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766743"/>
                  </a:ext>
                </a:extLst>
              </a:tr>
              <a:tr h="3326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T CODE Crea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DUC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uly'25 Wk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743"/>
                  </a:ext>
                </a:extLst>
              </a:tr>
              <a:tr h="33263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ining to Sales Team and relevant stakehold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DUC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ug'25 Wk 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2302390"/>
                  </a:ext>
                </a:extLst>
              </a:tr>
              <a:tr h="3326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raining to Channel Partn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DUC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ug'25 Wk 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4801383"/>
                  </a:ext>
                </a:extLst>
              </a:tr>
              <a:tr h="3326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STERS/FLYERS for RSO'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RKET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ug'25 Wk 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6869223"/>
                  </a:ext>
                </a:extLst>
              </a:tr>
              <a:tr h="3326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anges in CATALOG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RKET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ep'25 </a:t>
                      </a:r>
                      <a:r>
                        <a:rPr lang="en-IN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k</a:t>
                      </a: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990160"/>
                  </a:ext>
                </a:extLst>
              </a:tr>
              <a:tr h="33263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RP LABEL Changes + Back end integration as per SOP in SAP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ept'25 </a:t>
                      </a:r>
                      <a:r>
                        <a:rPr lang="en-IN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k</a:t>
                      </a: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58963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652049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A18C9FB-EC4C-4DAE-8F7D-C6E5AF607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CBA4E02-3E60-5247-AF7A-5DB4D59DFE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3205" y="2398427"/>
            <a:ext cx="5221923" cy="1259174"/>
          </a:xfrm>
        </p:spPr>
        <p:txBody>
          <a:bodyPr>
            <a:normAutofit fontScale="90000"/>
          </a:bodyPr>
          <a:lstStyle/>
          <a:p>
            <a:pPr algn="l"/>
            <a:r>
              <a:rPr lang="en-IN" sz="4800" b="1" dirty="0">
                <a:solidFill>
                  <a:schemeClr val="bg1"/>
                </a:solidFill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INVENTORY VELOCITY </a:t>
            </a:r>
            <a:br>
              <a:rPr lang="en-IN" sz="4800" b="1" dirty="0">
                <a:solidFill>
                  <a:schemeClr val="bg1"/>
                </a:solidFill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</a:br>
            <a:r>
              <a:rPr lang="en-IN" sz="4800" b="1" dirty="0">
                <a:solidFill>
                  <a:schemeClr val="bg1"/>
                </a:solidFill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(Stock Liquidation)</a:t>
            </a:r>
          </a:p>
        </p:txBody>
      </p:sp>
      <p:pic>
        <p:nvPicPr>
          <p:cNvPr id="4" name="Picture 3" descr="Triangular abstract background">
            <a:extLst>
              <a:ext uri="{FF2B5EF4-FFF2-40B4-BE49-F238E27FC236}">
                <a16:creationId xmlns:a16="http://schemas.microsoft.com/office/drawing/2014/main" id="{2F192DAB-F259-7ABB-62AF-64D86DBF95B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4050" r="20811" b="-2"/>
          <a:stretch/>
        </p:blipFill>
        <p:spPr>
          <a:xfrm>
            <a:off x="-8" y="762006"/>
            <a:ext cx="5948805" cy="6095979"/>
          </a:xfrm>
          <a:custGeom>
            <a:avLst/>
            <a:gdLst/>
            <a:ahLst/>
            <a:cxnLst/>
            <a:rect l="l" t="t" r="r" b="b"/>
            <a:pathLst>
              <a:path w="5948805" h="6095979">
                <a:moveTo>
                  <a:pt x="1573832" y="765"/>
                </a:moveTo>
                <a:cubicBezTo>
                  <a:pt x="1940190" y="-10734"/>
                  <a:pt x="2329345" y="109280"/>
                  <a:pt x="2734663" y="238687"/>
                </a:cubicBezTo>
                <a:cubicBezTo>
                  <a:pt x="4118244" y="680647"/>
                  <a:pt x="5296697" y="1302752"/>
                  <a:pt x="5668316" y="3639516"/>
                </a:cubicBezTo>
                <a:cubicBezTo>
                  <a:pt x="5788298" y="4393559"/>
                  <a:pt x="5890546" y="5142244"/>
                  <a:pt x="5937022" y="5865869"/>
                </a:cubicBezTo>
                <a:lnTo>
                  <a:pt x="5948805" y="6095979"/>
                </a:lnTo>
                <a:lnTo>
                  <a:pt x="0" y="6095979"/>
                </a:lnTo>
                <a:lnTo>
                  <a:pt x="0" y="1621672"/>
                </a:lnTo>
                <a:lnTo>
                  <a:pt x="36310" y="1518814"/>
                </a:lnTo>
                <a:cubicBezTo>
                  <a:pt x="109805" y="1321982"/>
                  <a:pt x="192755" y="1133640"/>
                  <a:pt x="287891" y="956872"/>
                </a:cubicBezTo>
                <a:cubicBezTo>
                  <a:pt x="669453" y="247734"/>
                  <a:pt x="1102800" y="15549"/>
                  <a:pt x="1573832" y="765"/>
                </a:cubicBezTo>
                <a:close/>
              </a:path>
            </a:pathLst>
          </a:custGeom>
        </p:spPr>
      </p:pic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47DB6CD-8E9E-4643-B3B6-01BD80429B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223838" y="538152"/>
            <a:ext cx="6095989" cy="6543686"/>
          </a:xfrm>
          <a:custGeom>
            <a:avLst/>
            <a:gdLst>
              <a:gd name="connsiteX0" fmla="*/ 0 w 4033589"/>
              <a:gd name="connsiteY0" fmla="*/ 0 h 6858000"/>
              <a:gd name="connsiteX1" fmla="*/ 1878934 w 4033589"/>
              <a:gd name="connsiteY1" fmla="*/ 0 h 6858000"/>
              <a:gd name="connsiteX2" fmla="*/ 1882313 w 4033589"/>
              <a:gd name="connsiteY2" fmla="*/ 2021 h 6858000"/>
              <a:gd name="connsiteX3" fmla="*/ 3475371 w 4033589"/>
              <a:gd name="connsiteY3" fmla="*/ 1517967 h 6858000"/>
              <a:gd name="connsiteX4" fmla="*/ 3975977 w 4033589"/>
              <a:gd name="connsiteY4" fmla="*/ 4379386 h 6858000"/>
              <a:gd name="connsiteX5" fmla="*/ 3312864 w 4033589"/>
              <a:gd name="connsiteY5" fmla="*/ 6852362 h 6858000"/>
              <a:gd name="connsiteX6" fmla="*/ 3310593 w 4033589"/>
              <a:gd name="connsiteY6" fmla="*/ 6858000 h 6858000"/>
              <a:gd name="connsiteX7" fmla="*/ 0 w 4033589"/>
              <a:gd name="connsiteY7" fmla="*/ 6858000 h 6858000"/>
              <a:gd name="connsiteX8" fmla="*/ 0 w 4033589"/>
              <a:gd name="connsiteY8" fmla="*/ 0 h 6858000"/>
              <a:gd name="connsiteX0" fmla="*/ 0 w 4033589"/>
              <a:gd name="connsiteY0" fmla="*/ 6858000 h 6858000"/>
              <a:gd name="connsiteX1" fmla="*/ 1878934 w 4033589"/>
              <a:gd name="connsiteY1" fmla="*/ 0 h 6858000"/>
              <a:gd name="connsiteX2" fmla="*/ 1882313 w 4033589"/>
              <a:gd name="connsiteY2" fmla="*/ 2021 h 6858000"/>
              <a:gd name="connsiteX3" fmla="*/ 3475371 w 4033589"/>
              <a:gd name="connsiteY3" fmla="*/ 1517967 h 6858000"/>
              <a:gd name="connsiteX4" fmla="*/ 3975977 w 4033589"/>
              <a:gd name="connsiteY4" fmla="*/ 4379386 h 6858000"/>
              <a:gd name="connsiteX5" fmla="*/ 3312864 w 4033589"/>
              <a:gd name="connsiteY5" fmla="*/ 6852362 h 6858000"/>
              <a:gd name="connsiteX6" fmla="*/ 3310593 w 4033589"/>
              <a:gd name="connsiteY6" fmla="*/ 6858000 h 6858000"/>
              <a:gd name="connsiteX7" fmla="*/ 0 w 4033589"/>
              <a:gd name="connsiteY7" fmla="*/ 6858000 h 6858000"/>
              <a:gd name="connsiteX0" fmla="*/ 1787494 w 3942149"/>
              <a:gd name="connsiteY0" fmla="*/ 0 h 6949440"/>
              <a:gd name="connsiteX1" fmla="*/ 1790873 w 3942149"/>
              <a:gd name="connsiteY1" fmla="*/ 2021 h 6949440"/>
              <a:gd name="connsiteX2" fmla="*/ 3383931 w 3942149"/>
              <a:gd name="connsiteY2" fmla="*/ 1517967 h 6949440"/>
              <a:gd name="connsiteX3" fmla="*/ 3884537 w 3942149"/>
              <a:gd name="connsiteY3" fmla="*/ 4379386 h 6949440"/>
              <a:gd name="connsiteX4" fmla="*/ 3221424 w 3942149"/>
              <a:gd name="connsiteY4" fmla="*/ 6852362 h 6949440"/>
              <a:gd name="connsiteX5" fmla="*/ 3219153 w 3942149"/>
              <a:gd name="connsiteY5" fmla="*/ 6858000 h 6949440"/>
              <a:gd name="connsiteX6" fmla="*/ 0 w 3942149"/>
              <a:gd name="connsiteY6" fmla="*/ 6949440 h 6949440"/>
              <a:gd name="connsiteX0" fmla="*/ 1787494 w 3942149"/>
              <a:gd name="connsiteY0" fmla="*/ 0 h 6949440"/>
              <a:gd name="connsiteX1" fmla="*/ 1790873 w 3942149"/>
              <a:gd name="connsiteY1" fmla="*/ 2021 h 6949440"/>
              <a:gd name="connsiteX2" fmla="*/ 3383931 w 3942149"/>
              <a:gd name="connsiteY2" fmla="*/ 1517967 h 6949440"/>
              <a:gd name="connsiteX3" fmla="*/ 3884537 w 3942149"/>
              <a:gd name="connsiteY3" fmla="*/ 4379386 h 6949440"/>
              <a:gd name="connsiteX4" fmla="*/ 3221424 w 3942149"/>
              <a:gd name="connsiteY4" fmla="*/ 6852362 h 6949440"/>
              <a:gd name="connsiteX5" fmla="*/ 3219153 w 3942149"/>
              <a:gd name="connsiteY5" fmla="*/ 6858000 h 6949440"/>
              <a:gd name="connsiteX6" fmla="*/ 0 w 3942149"/>
              <a:gd name="connsiteY6" fmla="*/ 6949440 h 6949440"/>
              <a:gd name="connsiteX0" fmla="*/ 0 w 2154655"/>
              <a:gd name="connsiteY0" fmla="*/ 0 h 6858000"/>
              <a:gd name="connsiteX1" fmla="*/ 3379 w 2154655"/>
              <a:gd name="connsiteY1" fmla="*/ 2021 h 6858000"/>
              <a:gd name="connsiteX2" fmla="*/ 1596437 w 2154655"/>
              <a:gd name="connsiteY2" fmla="*/ 1517967 h 6858000"/>
              <a:gd name="connsiteX3" fmla="*/ 2097043 w 2154655"/>
              <a:gd name="connsiteY3" fmla="*/ 4379386 h 6858000"/>
              <a:gd name="connsiteX4" fmla="*/ 1433930 w 2154655"/>
              <a:gd name="connsiteY4" fmla="*/ 6852362 h 6858000"/>
              <a:gd name="connsiteX5" fmla="*/ 1431659 w 2154655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54655" h="6858000">
                <a:moveTo>
                  <a:pt x="0" y="0"/>
                </a:moveTo>
                <a:lnTo>
                  <a:pt x="3379" y="2021"/>
                </a:lnTo>
                <a:cubicBezTo>
                  <a:pt x="667061" y="423753"/>
                  <a:pt x="1239365" y="963389"/>
                  <a:pt x="1596437" y="1517967"/>
                </a:cubicBezTo>
                <a:cubicBezTo>
                  <a:pt x="2133142" y="2350886"/>
                  <a:pt x="2239839" y="3395752"/>
                  <a:pt x="2097043" y="4379386"/>
                </a:cubicBezTo>
                <a:cubicBezTo>
                  <a:pt x="2032295" y="4824358"/>
                  <a:pt x="1812506" y="5869368"/>
                  <a:pt x="1433930" y="6852362"/>
                </a:cubicBezTo>
                <a:lnTo>
                  <a:pt x="1431659" y="6858000"/>
                </a:lnTo>
              </a:path>
            </a:pathLst>
          </a:cu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89675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4A84ECE2-974D-6BCB-BD1A-FEF068183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2361" y="163086"/>
            <a:ext cx="8822284" cy="644717"/>
          </a:xfrm>
        </p:spPr>
        <p:txBody>
          <a:bodyPr>
            <a:normAutofit fontScale="90000"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Inventory Reduction (Overall: Sanitary and CP Stock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F383AFB-CFD0-3883-3174-63CDEED2F1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822" y="2114783"/>
            <a:ext cx="4958820" cy="317674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AAA281-54D2-E975-F072-873CA6EA94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2623" y="1766371"/>
            <a:ext cx="6488347" cy="3899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27179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A36C1FEA-EC57-D8B9-4706-293915594236}"/>
              </a:ext>
            </a:extLst>
          </p:cNvPr>
          <p:cNvGraphicFramePr/>
          <p:nvPr/>
        </p:nvGraphicFramePr>
        <p:xfrm>
          <a:off x="4930098" y="846041"/>
          <a:ext cx="7261902" cy="12590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EB9A79A5-786A-61D5-1E4B-9B5026FD09E1}"/>
              </a:ext>
            </a:extLst>
          </p:cNvPr>
          <p:cNvSpPr/>
          <p:nvPr/>
        </p:nvSpPr>
        <p:spPr>
          <a:xfrm>
            <a:off x="8949127" y="2464839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tinued: 174.31 C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821DDB-193A-7CCE-966D-C9F749A8B960}"/>
              </a:ext>
            </a:extLst>
          </p:cNvPr>
          <p:cNvCxnSpPr>
            <a:cxnSpLocks/>
          </p:cNvCxnSpPr>
          <p:nvPr/>
        </p:nvCxnSpPr>
        <p:spPr>
          <a:xfrm>
            <a:off x="8549389" y="2105077"/>
            <a:ext cx="0" cy="224851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F21C2FB4-2DB0-61B9-493F-0B1080528E58}"/>
              </a:ext>
            </a:extLst>
          </p:cNvPr>
          <p:cNvCxnSpPr>
            <a:cxnSpLocks/>
          </p:cNvCxnSpPr>
          <p:nvPr/>
        </p:nvCxnSpPr>
        <p:spPr>
          <a:xfrm>
            <a:off x="8549389" y="2329927"/>
            <a:ext cx="2398427" cy="134912"/>
          </a:xfrm>
          <a:prstGeom prst="bentConnector3">
            <a:avLst>
              <a:gd name="adj1" fmla="val 10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2D87731F-FB19-5125-E0C3-D338C01885CC}"/>
              </a:ext>
            </a:extLst>
          </p:cNvPr>
          <p:cNvSpPr/>
          <p:nvPr/>
        </p:nvSpPr>
        <p:spPr>
          <a:xfrm>
            <a:off x="8949127" y="323308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1AE0B74-6A68-7C70-DCAF-FC6CF64754D2}"/>
              </a:ext>
            </a:extLst>
          </p:cNvPr>
          <p:cNvSpPr/>
          <p:nvPr/>
        </p:nvSpPr>
        <p:spPr>
          <a:xfrm>
            <a:off x="8949127" y="3847685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8094CA1-0D59-53D3-55CA-45846BF97FCA}"/>
              </a:ext>
            </a:extLst>
          </p:cNvPr>
          <p:cNvSpPr/>
          <p:nvPr/>
        </p:nvSpPr>
        <p:spPr>
          <a:xfrm>
            <a:off x="8949127" y="4462284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ED793C6-766F-9410-627C-85F8362A9551}"/>
              </a:ext>
            </a:extLst>
          </p:cNvPr>
          <p:cNvSpPr/>
          <p:nvPr/>
        </p:nvSpPr>
        <p:spPr>
          <a:xfrm>
            <a:off x="8949127" y="5076883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35A068E-89FA-B2A8-8880-8414C2725EDC}"/>
              </a:ext>
            </a:extLst>
          </p:cNvPr>
          <p:cNvSpPr/>
          <p:nvPr/>
        </p:nvSpPr>
        <p:spPr>
          <a:xfrm>
            <a:off x="10308233" y="3233086"/>
            <a:ext cx="1402583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52.85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6C29F0F-37E1-AEB8-62FC-8A47ADC4C4AE}"/>
              </a:ext>
            </a:extLst>
          </p:cNvPr>
          <p:cNvSpPr/>
          <p:nvPr/>
        </p:nvSpPr>
        <p:spPr>
          <a:xfrm>
            <a:off x="10308233" y="3847685"/>
            <a:ext cx="1411717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26.97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703C82F-D094-786B-699C-FB3ACDF7BA61}"/>
              </a:ext>
            </a:extLst>
          </p:cNvPr>
          <p:cNvSpPr/>
          <p:nvPr/>
        </p:nvSpPr>
        <p:spPr>
          <a:xfrm>
            <a:off x="10308234" y="4462284"/>
            <a:ext cx="1411716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18.5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FE0F766-EC6B-5BCC-8603-C91331978CB6}"/>
              </a:ext>
            </a:extLst>
          </p:cNvPr>
          <p:cNvSpPr/>
          <p:nvPr/>
        </p:nvSpPr>
        <p:spPr>
          <a:xfrm>
            <a:off x="10308233" y="5076883"/>
            <a:ext cx="1411715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07.6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E63FDD37-68E5-AF53-7BCF-1EF28AC2AB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0691" y="106160"/>
            <a:ext cx="7261902" cy="644717"/>
          </a:xfrm>
        </p:spPr>
        <p:txBody>
          <a:bodyPr>
            <a:normAutofit fontScale="90000"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Inventory Reduction (Overall: Continued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E7396E7-C51E-F325-8770-3B424FE9C85F}"/>
              </a:ext>
            </a:extLst>
          </p:cNvPr>
          <p:cNvSpPr/>
          <p:nvPr/>
        </p:nvSpPr>
        <p:spPr>
          <a:xfrm>
            <a:off x="8943034" y="5617435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769F33-633F-071D-29BA-521F7188EC46}"/>
              </a:ext>
            </a:extLst>
          </p:cNvPr>
          <p:cNvSpPr/>
          <p:nvPr/>
        </p:nvSpPr>
        <p:spPr>
          <a:xfrm>
            <a:off x="10302141" y="5617435"/>
            <a:ext cx="1402582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13.28 C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B763B22-53F5-A8D5-C7BA-D8201B625D0A}"/>
              </a:ext>
            </a:extLst>
          </p:cNvPr>
          <p:cNvSpPr/>
          <p:nvPr/>
        </p:nvSpPr>
        <p:spPr>
          <a:xfrm>
            <a:off x="8943034" y="6107242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u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6E7D299-2CAE-5BE4-99AA-F0D4A304F5CE}"/>
              </a:ext>
            </a:extLst>
          </p:cNvPr>
          <p:cNvSpPr/>
          <p:nvPr/>
        </p:nvSpPr>
        <p:spPr>
          <a:xfrm>
            <a:off x="10302140" y="6107242"/>
            <a:ext cx="1411715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17.89 Cr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807CEC-6D3F-A2F7-E1DB-2B5A7E4977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49" y="1907778"/>
            <a:ext cx="6911703" cy="4154375"/>
          </a:xfrm>
          <a:prstGeom prst="rect">
            <a:avLst/>
          </a:prstGeom>
        </p:spPr>
      </p:pic>
      <p:sp>
        <p:nvSpPr>
          <p:cNvPr id="9" name="TextBox 48">
            <a:extLst>
              <a:ext uri="{FF2B5EF4-FFF2-40B4-BE49-F238E27FC236}">
                <a16:creationId xmlns:a16="http://schemas.microsoft.com/office/drawing/2014/main" id="{E5A5570D-F6AA-8694-767E-9CCBD672B5BF}"/>
              </a:ext>
            </a:extLst>
          </p:cNvPr>
          <p:cNvSpPr txBox="1"/>
          <p:nvPr/>
        </p:nvSpPr>
        <p:spPr>
          <a:xfrm rot="5400000">
            <a:off x="7516985" y="4250499"/>
            <a:ext cx="1319142" cy="333630"/>
          </a:xfrm>
          <a:prstGeom prst="rect">
            <a:avLst/>
          </a:prstGeom>
          <a:solidFill>
            <a:srgbClr val="FFFF00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56.42 Cr</a:t>
            </a:r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B02842B2-B4DF-D269-A08B-7CA5DB194CF1}"/>
              </a:ext>
            </a:extLst>
          </p:cNvPr>
          <p:cNvSpPr/>
          <p:nvPr/>
        </p:nvSpPr>
        <p:spPr>
          <a:xfrm>
            <a:off x="8009742" y="3233086"/>
            <a:ext cx="313396" cy="444718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CBE26FB7-ACC5-B157-D809-D149C08AB8A0}"/>
              </a:ext>
            </a:extLst>
          </p:cNvPr>
          <p:cNvSpPr/>
          <p:nvPr/>
        </p:nvSpPr>
        <p:spPr>
          <a:xfrm>
            <a:off x="7989507" y="5178963"/>
            <a:ext cx="333630" cy="66617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009538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C9FAB0-F005-7004-5D81-1D1B8A4AF5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459B446-1D73-CA42-1229-E594C872170B}"/>
              </a:ext>
            </a:extLst>
          </p:cNvPr>
          <p:cNvSpPr/>
          <p:nvPr/>
        </p:nvSpPr>
        <p:spPr>
          <a:xfrm>
            <a:off x="8514412" y="1997293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ues in Cr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8B23AA5-D1DC-E97C-9ACA-1781B12595F6}"/>
              </a:ext>
            </a:extLst>
          </p:cNvPr>
          <p:cNvSpPr/>
          <p:nvPr/>
        </p:nvSpPr>
        <p:spPr>
          <a:xfrm>
            <a:off x="8514412" y="2765540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F1A90D1-FFC3-7039-20C4-3871E6752BF7}"/>
              </a:ext>
            </a:extLst>
          </p:cNvPr>
          <p:cNvSpPr/>
          <p:nvPr/>
        </p:nvSpPr>
        <p:spPr>
          <a:xfrm>
            <a:off x="8514412" y="3380139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105DAE8-1621-5D14-B9B1-931CF75EDEEF}"/>
              </a:ext>
            </a:extLst>
          </p:cNvPr>
          <p:cNvSpPr/>
          <p:nvPr/>
        </p:nvSpPr>
        <p:spPr>
          <a:xfrm>
            <a:off x="8514412" y="3994738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748BBCB-337A-5623-9C97-1F7FBAE80D23}"/>
              </a:ext>
            </a:extLst>
          </p:cNvPr>
          <p:cNvSpPr/>
          <p:nvPr/>
        </p:nvSpPr>
        <p:spPr>
          <a:xfrm>
            <a:off x="8514412" y="4609337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1CBB2A7-109B-3877-DD41-4EB1C0AD579B}"/>
              </a:ext>
            </a:extLst>
          </p:cNvPr>
          <p:cNvSpPr/>
          <p:nvPr/>
        </p:nvSpPr>
        <p:spPr>
          <a:xfrm>
            <a:off x="9873518" y="2765540"/>
            <a:ext cx="1402583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3.01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0CFF684-0903-A28C-BE5D-341C61AB3F45}"/>
              </a:ext>
            </a:extLst>
          </p:cNvPr>
          <p:cNvSpPr/>
          <p:nvPr/>
        </p:nvSpPr>
        <p:spPr>
          <a:xfrm>
            <a:off x="9873518" y="3380139"/>
            <a:ext cx="1411717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2.66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8369E4A-EF31-E42D-09FC-A44FAAD9B1BC}"/>
              </a:ext>
            </a:extLst>
          </p:cNvPr>
          <p:cNvSpPr/>
          <p:nvPr/>
        </p:nvSpPr>
        <p:spPr>
          <a:xfrm>
            <a:off x="9873519" y="3994738"/>
            <a:ext cx="1411716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2.96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0748092-438A-4F38-CDB6-4ADACA0B0524}"/>
              </a:ext>
            </a:extLst>
          </p:cNvPr>
          <p:cNvSpPr/>
          <p:nvPr/>
        </p:nvSpPr>
        <p:spPr>
          <a:xfrm>
            <a:off x="9873518" y="4609337"/>
            <a:ext cx="1411715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1.99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C0A705EE-37BA-EB74-82DE-1894C41B1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1674" y="107632"/>
            <a:ext cx="9426411" cy="644717"/>
          </a:xfrm>
        </p:spPr>
        <p:txBody>
          <a:bodyPr>
            <a:normAutofit fontScale="90000"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Inventory Reduction (Overall: Continued) (SKU&gt;3 years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CE736FA-ECA7-EA46-6FA0-7C2162791372}"/>
              </a:ext>
            </a:extLst>
          </p:cNvPr>
          <p:cNvSpPr/>
          <p:nvPr/>
        </p:nvSpPr>
        <p:spPr>
          <a:xfrm>
            <a:off x="8508319" y="5149889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26555D8-833E-B770-4117-25C0F2278823}"/>
              </a:ext>
            </a:extLst>
          </p:cNvPr>
          <p:cNvSpPr/>
          <p:nvPr/>
        </p:nvSpPr>
        <p:spPr>
          <a:xfrm>
            <a:off x="9867426" y="5149889"/>
            <a:ext cx="1402582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1.44 C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C47C9D0-B21A-846D-C767-A7DE453783C2}"/>
              </a:ext>
            </a:extLst>
          </p:cNvPr>
          <p:cNvSpPr/>
          <p:nvPr/>
        </p:nvSpPr>
        <p:spPr>
          <a:xfrm>
            <a:off x="8508319" y="563969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u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E0122B-D833-2C22-70DE-C709AE86CBDB}"/>
              </a:ext>
            </a:extLst>
          </p:cNvPr>
          <p:cNvSpPr/>
          <p:nvPr/>
        </p:nvSpPr>
        <p:spPr>
          <a:xfrm>
            <a:off x="9867425" y="5639696"/>
            <a:ext cx="1411715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1.16 Cr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B92C88-EEE2-581E-32C4-7A2B65B3BA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050" y="1997293"/>
            <a:ext cx="6837790" cy="4109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4911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F6F84F-2688-C75C-B9B4-444347C346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5D2DC6B-EE1F-DA2D-8069-2CB08009BE70}"/>
              </a:ext>
            </a:extLst>
          </p:cNvPr>
          <p:cNvSpPr/>
          <p:nvPr/>
        </p:nvSpPr>
        <p:spPr>
          <a:xfrm>
            <a:off x="8514412" y="1997293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ues in Cr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0FF603-6640-C501-DD64-6CBCB5ECF6D8}"/>
              </a:ext>
            </a:extLst>
          </p:cNvPr>
          <p:cNvSpPr/>
          <p:nvPr/>
        </p:nvSpPr>
        <p:spPr>
          <a:xfrm>
            <a:off x="8514412" y="2765540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D60FDB3-C65E-6DD4-EBE6-8BDEDF7AFC56}"/>
              </a:ext>
            </a:extLst>
          </p:cNvPr>
          <p:cNvSpPr/>
          <p:nvPr/>
        </p:nvSpPr>
        <p:spPr>
          <a:xfrm>
            <a:off x="8514412" y="3380139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1D7284D-9251-874F-6B5E-60D068029E84}"/>
              </a:ext>
            </a:extLst>
          </p:cNvPr>
          <p:cNvSpPr/>
          <p:nvPr/>
        </p:nvSpPr>
        <p:spPr>
          <a:xfrm>
            <a:off x="8514412" y="3994738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C1154C7-456E-0E55-CCE6-8ACA04FA18CF}"/>
              </a:ext>
            </a:extLst>
          </p:cNvPr>
          <p:cNvSpPr/>
          <p:nvPr/>
        </p:nvSpPr>
        <p:spPr>
          <a:xfrm>
            <a:off x="8514412" y="4609337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BA0C5C-1136-C14A-39B8-28025B8C5778}"/>
              </a:ext>
            </a:extLst>
          </p:cNvPr>
          <p:cNvSpPr/>
          <p:nvPr/>
        </p:nvSpPr>
        <p:spPr>
          <a:xfrm>
            <a:off x="9873518" y="2765540"/>
            <a:ext cx="1402583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4.14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955AD25-93A6-DCFD-460B-BB9852F67F6D}"/>
              </a:ext>
            </a:extLst>
          </p:cNvPr>
          <p:cNvSpPr/>
          <p:nvPr/>
        </p:nvSpPr>
        <p:spPr>
          <a:xfrm>
            <a:off x="9873518" y="3380139"/>
            <a:ext cx="1411717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3.7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D8C9272-D50B-CC5D-DCFD-D3A60EF54968}"/>
              </a:ext>
            </a:extLst>
          </p:cNvPr>
          <p:cNvSpPr/>
          <p:nvPr/>
        </p:nvSpPr>
        <p:spPr>
          <a:xfrm>
            <a:off x="9873519" y="3994738"/>
            <a:ext cx="1411716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3.67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BC66C75-B66F-D363-04B6-8A75378BB106}"/>
              </a:ext>
            </a:extLst>
          </p:cNvPr>
          <p:cNvSpPr/>
          <p:nvPr/>
        </p:nvSpPr>
        <p:spPr>
          <a:xfrm>
            <a:off x="9873518" y="4609337"/>
            <a:ext cx="1411715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2.51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359AB932-3DEA-C56F-9BCD-69D2896B7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1674" y="107632"/>
            <a:ext cx="10026015" cy="644717"/>
          </a:xfrm>
        </p:spPr>
        <p:txBody>
          <a:bodyPr>
            <a:normAutofit fontScale="90000"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Inventory Reduction (Overall: Continued) (SKU: 2-3 years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7A6697D-8EF7-366A-3C35-9EFE785E0CAB}"/>
              </a:ext>
            </a:extLst>
          </p:cNvPr>
          <p:cNvSpPr/>
          <p:nvPr/>
        </p:nvSpPr>
        <p:spPr>
          <a:xfrm>
            <a:off x="8508319" y="5149889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66034C-ABD5-5D74-1CB8-4571AFFB706F}"/>
              </a:ext>
            </a:extLst>
          </p:cNvPr>
          <p:cNvSpPr/>
          <p:nvPr/>
        </p:nvSpPr>
        <p:spPr>
          <a:xfrm>
            <a:off x="9867426" y="5149889"/>
            <a:ext cx="1402582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1.81 C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13D6CD1-3882-CE54-A9ED-1C8308BFE70D}"/>
              </a:ext>
            </a:extLst>
          </p:cNvPr>
          <p:cNvSpPr/>
          <p:nvPr/>
        </p:nvSpPr>
        <p:spPr>
          <a:xfrm>
            <a:off x="8508319" y="563969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u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C3D0C16-D5CB-3189-8C9E-5E3135C16556}"/>
              </a:ext>
            </a:extLst>
          </p:cNvPr>
          <p:cNvSpPr/>
          <p:nvPr/>
        </p:nvSpPr>
        <p:spPr>
          <a:xfrm>
            <a:off x="9867425" y="5639696"/>
            <a:ext cx="1411715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1.44 Cr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3F562EB-9439-9591-BD28-E0DF3C36B6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51" y="1853706"/>
            <a:ext cx="6916063" cy="415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65860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E2A6A8-F18D-F402-2ABA-9E05E0989F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D5ECB09-361B-1E43-E494-57C889B7FEA9}"/>
              </a:ext>
            </a:extLst>
          </p:cNvPr>
          <p:cNvSpPr/>
          <p:nvPr/>
        </p:nvSpPr>
        <p:spPr>
          <a:xfrm>
            <a:off x="8514412" y="1997293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ues in Cr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6E6D5D-499D-2444-B2BC-72C500C2FBE1}"/>
              </a:ext>
            </a:extLst>
          </p:cNvPr>
          <p:cNvSpPr/>
          <p:nvPr/>
        </p:nvSpPr>
        <p:spPr>
          <a:xfrm>
            <a:off x="8514412" y="2765540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57E48C9-1D97-E9C1-9461-85D379B4CA0C}"/>
              </a:ext>
            </a:extLst>
          </p:cNvPr>
          <p:cNvSpPr/>
          <p:nvPr/>
        </p:nvSpPr>
        <p:spPr>
          <a:xfrm>
            <a:off x="8514412" y="3380139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FB18A5A-8428-46A2-6276-6F24EF030384}"/>
              </a:ext>
            </a:extLst>
          </p:cNvPr>
          <p:cNvSpPr/>
          <p:nvPr/>
        </p:nvSpPr>
        <p:spPr>
          <a:xfrm>
            <a:off x="8514412" y="3994738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5FBC0CB-B3B4-81C4-4D4E-B698151F2C1D}"/>
              </a:ext>
            </a:extLst>
          </p:cNvPr>
          <p:cNvSpPr/>
          <p:nvPr/>
        </p:nvSpPr>
        <p:spPr>
          <a:xfrm>
            <a:off x="8514412" y="4609337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AF2A43-CBFF-A02A-F9E7-B3098AE714A6}"/>
              </a:ext>
            </a:extLst>
          </p:cNvPr>
          <p:cNvSpPr/>
          <p:nvPr/>
        </p:nvSpPr>
        <p:spPr>
          <a:xfrm>
            <a:off x="9873518" y="2765540"/>
            <a:ext cx="1402583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32.86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EF2A50-9C8E-1DF9-3DB4-495D94DC0543}"/>
              </a:ext>
            </a:extLst>
          </p:cNvPr>
          <p:cNvSpPr/>
          <p:nvPr/>
        </p:nvSpPr>
        <p:spPr>
          <a:xfrm>
            <a:off x="9873518" y="3380139"/>
            <a:ext cx="1411717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31.26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B6B2800-C0DC-A177-9779-3F85D0D16371}"/>
              </a:ext>
            </a:extLst>
          </p:cNvPr>
          <p:cNvSpPr/>
          <p:nvPr/>
        </p:nvSpPr>
        <p:spPr>
          <a:xfrm>
            <a:off x="9873519" y="3994738"/>
            <a:ext cx="1411716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31.08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3F71F70-8B79-729E-C307-03DBBF4852A6}"/>
              </a:ext>
            </a:extLst>
          </p:cNvPr>
          <p:cNvSpPr/>
          <p:nvPr/>
        </p:nvSpPr>
        <p:spPr>
          <a:xfrm>
            <a:off x="9873518" y="4609337"/>
            <a:ext cx="1411715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8.78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DF93F955-6579-8174-B62B-FF5A073AB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1674" y="107632"/>
            <a:ext cx="10026015" cy="644717"/>
          </a:xfrm>
        </p:spPr>
        <p:txBody>
          <a:bodyPr>
            <a:normAutofit fontScale="90000"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Inventory Reduction (Overall: Continued) (SKU: 1-2 years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66BAD9E-0AB3-BDCC-A4B9-CEBC4FAFE045}"/>
              </a:ext>
            </a:extLst>
          </p:cNvPr>
          <p:cNvSpPr/>
          <p:nvPr/>
        </p:nvSpPr>
        <p:spPr>
          <a:xfrm>
            <a:off x="8508319" y="5149889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A427697-A993-2991-DEBD-7C82F534C9AB}"/>
              </a:ext>
            </a:extLst>
          </p:cNvPr>
          <p:cNvSpPr/>
          <p:nvPr/>
        </p:nvSpPr>
        <p:spPr>
          <a:xfrm>
            <a:off x="9867426" y="5149889"/>
            <a:ext cx="1402582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7.98 C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5AF81B-FC62-7232-F16B-44E14CA25C62}"/>
              </a:ext>
            </a:extLst>
          </p:cNvPr>
          <p:cNvSpPr/>
          <p:nvPr/>
        </p:nvSpPr>
        <p:spPr>
          <a:xfrm>
            <a:off x="8508319" y="563969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u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629EA1-025F-1A42-39DB-BE81D6A8BEEF}"/>
              </a:ext>
            </a:extLst>
          </p:cNvPr>
          <p:cNvSpPr/>
          <p:nvPr/>
        </p:nvSpPr>
        <p:spPr>
          <a:xfrm>
            <a:off x="9867425" y="5639696"/>
            <a:ext cx="1411715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7.38 Cr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8B39DB-3132-09B9-11DD-B2D0AB5BD2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768" y="1756433"/>
            <a:ext cx="7034011" cy="422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60829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AC89D8-9454-763A-309E-DFC5A5F8F6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3D6C9BD-9F7B-3C6B-0689-37B1735DC379}"/>
              </a:ext>
            </a:extLst>
          </p:cNvPr>
          <p:cNvSpPr/>
          <p:nvPr/>
        </p:nvSpPr>
        <p:spPr>
          <a:xfrm>
            <a:off x="8514412" y="1997293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ues in Cr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2FED58A-BC91-B3E9-1211-19EA76645625}"/>
              </a:ext>
            </a:extLst>
          </p:cNvPr>
          <p:cNvSpPr/>
          <p:nvPr/>
        </p:nvSpPr>
        <p:spPr>
          <a:xfrm>
            <a:off x="8514412" y="2765540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DA1E91D-3C4B-FB00-F21D-41214581BE00}"/>
              </a:ext>
            </a:extLst>
          </p:cNvPr>
          <p:cNvSpPr/>
          <p:nvPr/>
        </p:nvSpPr>
        <p:spPr>
          <a:xfrm>
            <a:off x="8514412" y="3380139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03E06F2-FC39-C938-BC07-6953795BA9BD}"/>
              </a:ext>
            </a:extLst>
          </p:cNvPr>
          <p:cNvSpPr/>
          <p:nvPr/>
        </p:nvSpPr>
        <p:spPr>
          <a:xfrm>
            <a:off x="8514412" y="3994738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B423E1C-D725-410A-E8FC-C148615693C1}"/>
              </a:ext>
            </a:extLst>
          </p:cNvPr>
          <p:cNvSpPr/>
          <p:nvPr/>
        </p:nvSpPr>
        <p:spPr>
          <a:xfrm>
            <a:off x="8514412" y="4609337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BCE68D-CC0A-6579-39CF-3FC3A7650607}"/>
              </a:ext>
            </a:extLst>
          </p:cNvPr>
          <p:cNvSpPr/>
          <p:nvPr/>
        </p:nvSpPr>
        <p:spPr>
          <a:xfrm>
            <a:off x="9873518" y="2765540"/>
            <a:ext cx="1402583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27.27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0E7574B-4A10-3F5B-251F-144EA90F3C5F}"/>
              </a:ext>
            </a:extLst>
          </p:cNvPr>
          <p:cNvSpPr/>
          <p:nvPr/>
        </p:nvSpPr>
        <p:spPr>
          <a:xfrm>
            <a:off x="9873518" y="3380139"/>
            <a:ext cx="1411717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02.47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524828E-BFC0-DE13-E344-E7D3CD5F27EA}"/>
              </a:ext>
            </a:extLst>
          </p:cNvPr>
          <p:cNvSpPr/>
          <p:nvPr/>
        </p:nvSpPr>
        <p:spPr>
          <a:xfrm>
            <a:off x="9873519" y="3994738"/>
            <a:ext cx="1411716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93.78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3F04B6F-4375-DE93-1D3E-16115A02113C}"/>
              </a:ext>
            </a:extLst>
          </p:cNvPr>
          <p:cNvSpPr/>
          <p:nvPr/>
        </p:nvSpPr>
        <p:spPr>
          <a:xfrm>
            <a:off x="9873518" y="4609337"/>
            <a:ext cx="1411715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84.59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92BF0FCA-5D1A-105A-F3E9-A9C6F5D12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1674" y="107632"/>
            <a:ext cx="10580654" cy="644717"/>
          </a:xfrm>
        </p:spPr>
        <p:txBody>
          <a:bodyPr>
            <a:normAutofit fontScale="90000"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Inventory Reduction (Overall: Continued) (SKU: Within 1 years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3AFA9C4-ECF7-C985-E677-4C5D1910EBE3}"/>
              </a:ext>
            </a:extLst>
          </p:cNvPr>
          <p:cNvSpPr/>
          <p:nvPr/>
        </p:nvSpPr>
        <p:spPr>
          <a:xfrm>
            <a:off x="8508319" y="5149889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416BDC9-1754-E2B1-C270-A98347EA75D2}"/>
              </a:ext>
            </a:extLst>
          </p:cNvPr>
          <p:cNvSpPr/>
          <p:nvPr/>
        </p:nvSpPr>
        <p:spPr>
          <a:xfrm>
            <a:off x="9867426" y="5149889"/>
            <a:ext cx="1402582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92.14 C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587B234-F5DB-520E-EAE9-6790386EE3FA}"/>
              </a:ext>
            </a:extLst>
          </p:cNvPr>
          <p:cNvSpPr/>
          <p:nvPr/>
        </p:nvSpPr>
        <p:spPr>
          <a:xfrm>
            <a:off x="8508319" y="563969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u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63D8AE4-2E6E-BB1E-C8B7-79BEBFEF3810}"/>
              </a:ext>
            </a:extLst>
          </p:cNvPr>
          <p:cNvSpPr/>
          <p:nvPr/>
        </p:nvSpPr>
        <p:spPr>
          <a:xfrm>
            <a:off x="9867425" y="5639696"/>
            <a:ext cx="1411715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97.5 Cr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C1FBA85-C5E8-83D2-6ACD-052011A1BB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899" y="1895964"/>
            <a:ext cx="6765452" cy="4066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70815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32EC-2308-E95F-ACCA-D2DFDD40CE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413DBC38-03BF-8199-4F98-C44B2A7BA77F}"/>
              </a:ext>
            </a:extLst>
          </p:cNvPr>
          <p:cNvGraphicFramePr/>
          <p:nvPr/>
        </p:nvGraphicFramePr>
        <p:xfrm>
          <a:off x="4930098" y="846041"/>
          <a:ext cx="7261902" cy="12590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8B4B987D-B902-4528-C26D-EBB3DA03659D}"/>
              </a:ext>
            </a:extLst>
          </p:cNvPr>
          <p:cNvSpPr/>
          <p:nvPr/>
        </p:nvSpPr>
        <p:spPr>
          <a:xfrm>
            <a:off x="8949127" y="2464839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hase Out: 56.51 C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4028CB6-84BB-112E-50DE-3F652B8FD68D}"/>
              </a:ext>
            </a:extLst>
          </p:cNvPr>
          <p:cNvCxnSpPr>
            <a:cxnSpLocks/>
          </p:cNvCxnSpPr>
          <p:nvPr/>
        </p:nvCxnSpPr>
        <p:spPr>
          <a:xfrm>
            <a:off x="8549389" y="2105077"/>
            <a:ext cx="0" cy="224851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AFE03C31-9866-385F-53CC-A927323F223D}"/>
              </a:ext>
            </a:extLst>
          </p:cNvPr>
          <p:cNvCxnSpPr>
            <a:cxnSpLocks/>
          </p:cNvCxnSpPr>
          <p:nvPr/>
        </p:nvCxnSpPr>
        <p:spPr>
          <a:xfrm>
            <a:off x="8549389" y="2329927"/>
            <a:ext cx="2398427" cy="134912"/>
          </a:xfrm>
          <a:prstGeom prst="bentConnector3">
            <a:avLst>
              <a:gd name="adj1" fmla="val 10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07B658E-3198-B9E0-748E-60007F2B998D}"/>
              </a:ext>
            </a:extLst>
          </p:cNvPr>
          <p:cNvSpPr/>
          <p:nvPr/>
        </p:nvSpPr>
        <p:spPr>
          <a:xfrm>
            <a:off x="8949127" y="323308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9F59A96-6883-9FD2-8F3C-FA76B4188F6B}"/>
              </a:ext>
            </a:extLst>
          </p:cNvPr>
          <p:cNvSpPr/>
          <p:nvPr/>
        </p:nvSpPr>
        <p:spPr>
          <a:xfrm>
            <a:off x="8949127" y="3847685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D177E3-1A67-770C-7037-9D7EE6541CD8}"/>
              </a:ext>
            </a:extLst>
          </p:cNvPr>
          <p:cNvSpPr/>
          <p:nvPr/>
        </p:nvSpPr>
        <p:spPr>
          <a:xfrm>
            <a:off x="8949127" y="4462284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C0D3F1C-58E2-09D0-0E7D-9D7A016A19E9}"/>
              </a:ext>
            </a:extLst>
          </p:cNvPr>
          <p:cNvSpPr/>
          <p:nvPr/>
        </p:nvSpPr>
        <p:spPr>
          <a:xfrm>
            <a:off x="8949127" y="5076883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3" name="TextBox 48">
            <a:extLst>
              <a:ext uri="{FF2B5EF4-FFF2-40B4-BE49-F238E27FC236}">
                <a16:creationId xmlns:a16="http://schemas.microsoft.com/office/drawing/2014/main" id="{467C075A-BB0E-B6F8-D1FE-C41AF664F91A}"/>
              </a:ext>
            </a:extLst>
          </p:cNvPr>
          <p:cNvSpPr txBox="1"/>
          <p:nvPr/>
        </p:nvSpPr>
        <p:spPr>
          <a:xfrm rot="5400000">
            <a:off x="7516985" y="4250499"/>
            <a:ext cx="1319142" cy="333630"/>
          </a:xfrm>
          <a:prstGeom prst="rect">
            <a:avLst/>
          </a:prstGeom>
          <a:solidFill>
            <a:srgbClr val="FFFF00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11.03 Cr</a:t>
            </a: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40336C30-2568-97E0-AD5F-1241F49450CB}"/>
              </a:ext>
            </a:extLst>
          </p:cNvPr>
          <p:cNvSpPr/>
          <p:nvPr/>
        </p:nvSpPr>
        <p:spPr>
          <a:xfrm>
            <a:off x="8009742" y="3233086"/>
            <a:ext cx="313396" cy="444718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0944E1AC-00C4-9BD4-8C48-8F86CCAC42AD}"/>
              </a:ext>
            </a:extLst>
          </p:cNvPr>
          <p:cNvSpPr/>
          <p:nvPr/>
        </p:nvSpPr>
        <p:spPr>
          <a:xfrm>
            <a:off x="7989507" y="5178963"/>
            <a:ext cx="333630" cy="66617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9B4FD81-3FFA-45BF-8337-F8A73D50EFAF}"/>
              </a:ext>
            </a:extLst>
          </p:cNvPr>
          <p:cNvSpPr/>
          <p:nvPr/>
        </p:nvSpPr>
        <p:spPr>
          <a:xfrm>
            <a:off x="10308234" y="3233086"/>
            <a:ext cx="1264170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.94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496AFBA-EF98-18A2-0A1D-0B777AD1BDAE}"/>
              </a:ext>
            </a:extLst>
          </p:cNvPr>
          <p:cNvSpPr/>
          <p:nvPr/>
        </p:nvSpPr>
        <p:spPr>
          <a:xfrm>
            <a:off x="10308234" y="3847685"/>
            <a:ext cx="1264170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.04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23F997-2208-9F19-2324-007FC67086D7}"/>
              </a:ext>
            </a:extLst>
          </p:cNvPr>
          <p:cNvSpPr/>
          <p:nvPr/>
        </p:nvSpPr>
        <p:spPr>
          <a:xfrm>
            <a:off x="10308234" y="4462284"/>
            <a:ext cx="1264170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.74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DF87918-B074-BB56-E4E1-22664919E1FB}"/>
              </a:ext>
            </a:extLst>
          </p:cNvPr>
          <p:cNvSpPr/>
          <p:nvPr/>
        </p:nvSpPr>
        <p:spPr>
          <a:xfrm>
            <a:off x="10308234" y="5076883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.55 Cr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DA37BB5-3543-B186-35B4-48CCA299BD7F}"/>
              </a:ext>
            </a:extLst>
          </p:cNvPr>
          <p:cNvSpPr/>
          <p:nvPr/>
        </p:nvSpPr>
        <p:spPr>
          <a:xfrm>
            <a:off x="234586" y="6392890"/>
            <a:ext cx="3887448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hase Out Stock (Pending Value)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A62177F-4313-ED85-D71E-27759B9CDA7B}"/>
              </a:ext>
            </a:extLst>
          </p:cNvPr>
          <p:cNvSpPr/>
          <p:nvPr/>
        </p:nvSpPr>
        <p:spPr>
          <a:xfrm>
            <a:off x="4298013" y="6395387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45.47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08450E46-6C74-1F8D-1AB7-61044DCEE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5248" y="73145"/>
            <a:ext cx="6068614" cy="644717"/>
          </a:xfrm>
        </p:spPr>
        <p:txBody>
          <a:bodyPr>
            <a:normAutofit fontScale="90000"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Liquidation Summary (Overall Sale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70FA458-034E-9DA9-008E-9017F663473F}"/>
              </a:ext>
            </a:extLst>
          </p:cNvPr>
          <p:cNvSpPr/>
          <p:nvPr/>
        </p:nvSpPr>
        <p:spPr>
          <a:xfrm>
            <a:off x="8943034" y="5617435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C12BD01-CDDC-7AB5-89F1-D9EB8D920E69}"/>
              </a:ext>
            </a:extLst>
          </p:cNvPr>
          <p:cNvSpPr/>
          <p:nvPr/>
        </p:nvSpPr>
        <p:spPr>
          <a:xfrm>
            <a:off x="10302141" y="5617435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.18 C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99CE31D-1E63-A947-D1AA-3ADB7CE4107B}"/>
              </a:ext>
            </a:extLst>
          </p:cNvPr>
          <p:cNvSpPr/>
          <p:nvPr/>
        </p:nvSpPr>
        <p:spPr>
          <a:xfrm>
            <a:off x="8943034" y="6107242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u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C46C86A-032B-2AF1-F22D-FD9441C63E2C}"/>
              </a:ext>
            </a:extLst>
          </p:cNvPr>
          <p:cNvSpPr/>
          <p:nvPr/>
        </p:nvSpPr>
        <p:spPr>
          <a:xfrm>
            <a:off x="10302141" y="6107242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.56 Cr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CEF34AF-A44B-464F-1918-F4F0E959C1E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3555"/>
          <a:stretch>
            <a:fillRect/>
          </a:stretch>
        </p:blipFill>
        <p:spPr>
          <a:xfrm>
            <a:off x="481183" y="2105076"/>
            <a:ext cx="6882334" cy="400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65317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641CF8-9BB4-4141-C376-788135272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5A89D0E-05CD-5D1F-0062-1F9FAD7687E1}"/>
              </a:ext>
            </a:extLst>
          </p:cNvPr>
          <p:cNvSpPr/>
          <p:nvPr/>
        </p:nvSpPr>
        <p:spPr>
          <a:xfrm>
            <a:off x="8719279" y="1858780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ues in Cr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20CF178-1912-C451-336E-00DC93FE098C}"/>
              </a:ext>
            </a:extLst>
          </p:cNvPr>
          <p:cNvSpPr/>
          <p:nvPr/>
        </p:nvSpPr>
        <p:spPr>
          <a:xfrm>
            <a:off x="8719279" y="2627027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93D8CF3-CB28-A3B7-EEFA-A3E55C982F62}"/>
              </a:ext>
            </a:extLst>
          </p:cNvPr>
          <p:cNvSpPr/>
          <p:nvPr/>
        </p:nvSpPr>
        <p:spPr>
          <a:xfrm>
            <a:off x="8719279" y="324162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265F0B7-FC86-D78C-4AD3-001F34672263}"/>
              </a:ext>
            </a:extLst>
          </p:cNvPr>
          <p:cNvSpPr/>
          <p:nvPr/>
        </p:nvSpPr>
        <p:spPr>
          <a:xfrm>
            <a:off x="8719279" y="3856225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D441C5B-16BF-8E78-8385-B9410989590E}"/>
              </a:ext>
            </a:extLst>
          </p:cNvPr>
          <p:cNvSpPr/>
          <p:nvPr/>
        </p:nvSpPr>
        <p:spPr>
          <a:xfrm>
            <a:off x="8719279" y="4470824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3" name="TextBox 48">
            <a:extLst>
              <a:ext uri="{FF2B5EF4-FFF2-40B4-BE49-F238E27FC236}">
                <a16:creationId xmlns:a16="http://schemas.microsoft.com/office/drawing/2014/main" id="{4E79594F-2C51-6F86-4DA7-34E83C9DC9DA}"/>
              </a:ext>
            </a:extLst>
          </p:cNvPr>
          <p:cNvSpPr txBox="1"/>
          <p:nvPr/>
        </p:nvSpPr>
        <p:spPr>
          <a:xfrm rot="5400000">
            <a:off x="7287137" y="3644440"/>
            <a:ext cx="1319142" cy="333630"/>
          </a:xfrm>
          <a:prstGeom prst="rect">
            <a:avLst/>
          </a:prstGeom>
          <a:solidFill>
            <a:srgbClr val="FFFF00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0.74 Cr</a:t>
            </a: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2FFD4324-B15A-392D-60EB-9CBF63F39E30}"/>
              </a:ext>
            </a:extLst>
          </p:cNvPr>
          <p:cNvSpPr/>
          <p:nvPr/>
        </p:nvSpPr>
        <p:spPr>
          <a:xfrm>
            <a:off x="7779894" y="2627027"/>
            <a:ext cx="313396" cy="444718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B5434235-1BB0-F84F-423F-3F18E4341274}"/>
              </a:ext>
            </a:extLst>
          </p:cNvPr>
          <p:cNvSpPr/>
          <p:nvPr/>
        </p:nvSpPr>
        <p:spPr>
          <a:xfrm>
            <a:off x="7759659" y="4572904"/>
            <a:ext cx="333630" cy="66617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FBC19F5-10ED-B058-A168-A9BEBD1C3866}"/>
              </a:ext>
            </a:extLst>
          </p:cNvPr>
          <p:cNvSpPr/>
          <p:nvPr/>
        </p:nvSpPr>
        <p:spPr>
          <a:xfrm>
            <a:off x="10078386" y="2627027"/>
            <a:ext cx="1264170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29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E19E94D-1356-8CDC-30AC-4E869A548896}"/>
              </a:ext>
            </a:extLst>
          </p:cNvPr>
          <p:cNvSpPr/>
          <p:nvPr/>
        </p:nvSpPr>
        <p:spPr>
          <a:xfrm>
            <a:off x="10078386" y="3241626"/>
            <a:ext cx="1264170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13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6A3DE67-73A2-D02C-2F67-A9EDB43A09EA}"/>
              </a:ext>
            </a:extLst>
          </p:cNvPr>
          <p:cNvSpPr/>
          <p:nvPr/>
        </p:nvSpPr>
        <p:spPr>
          <a:xfrm>
            <a:off x="10078386" y="3856225"/>
            <a:ext cx="1264170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068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0B7D981-F5B9-24ED-0C21-63310B59A325}"/>
              </a:ext>
            </a:extLst>
          </p:cNvPr>
          <p:cNvSpPr/>
          <p:nvPr/>
        </p:nvSpPr>
        <p:spPr>
          <a:xfrm>
            <a:off x="10078386" y="4470824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10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7EFF8B2B-34EF-0F08-E858-B7DC4BD22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0651" y="54972"/>
            <a:ext cx="6413389" cy="644717"/>
          </a:xfrm>
        </p:spPr>
        <p:txBody>
          <a:bodyPr>
            <a:norm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Liquidation Sale (SKU&gt;3 years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2A8C6EE-2A82-9096-C038-E614FC28F3EE}"/>
              </a:ext>
            </a:extLst>
          </p:cNvPr>
          <p:cNvSpPr/>
          <p:nvPr/>
        </p:nvSpPr>
        <p:spPr>
          <a:xfrm>
            <a:off x="8713186" y="501137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04FAE4-5BF5-92BC-2BAF-64AE293F1CDD}"/>
              </a:ext>
            </a:extLst>
          </p:cNvPr>
          <p:cNvSpPr/>
          <p:nvPr/>
        </p:nvSpPr>
        <p:spPr>
          <a:xfrm>
            <a:off x="10072293" y="5011376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07 C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FA774A-B5B5-6ACE-2CFE-75D7F6ABFE0E}"/>
              </a:ext>
            </a:extLst>
          </p:cNvPr>
          <p:cNvSpPr/>
          <p:nvPr/>
        </p:nvSpPr>
        <p:spPr>
          <a:xfrm>
            <a:off x="8713186" y="5501183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u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DECEE3-0C26-AF34-9BAF-D8AA23B9A98E}"/>
              </a:ext>
            </a:extLst>
          </p:cNvPr>
          <p:cNvSpPr/>
          <p:nvPr/>
        </p:nvSpPr>
        <p:spPr>
          <a:xfrm>
            <a:off x="10072293" y="5501183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08 Cr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90E2687-C116-F479-9748-795D4C23A4D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2447"/>
          <a:stretch>
            <a:fillRect/>
          </a:stretch>
        </p:blipFill>
        <p:spPr>
          <a:xfrm>
            <a:off x="510191" y="2383434"/>
            <a:ext cx="7012708" cy="3690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2185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075855" y="1101009"/>
            <a:ext cx="2146040" cy="70912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dirty="0" err="1">
                <a:solidFill>
                  <a:prstClr val="whit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reet</a:t>
            </a:r>
            <a:r>
              <a:rPr lang="en-IN" sz="1600" dirty="0">
                <a:solidFill>
                  <a:prstClr val="whit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/ Itali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260 Cr.)</a:t>
            </a:r>
          </a:p>
        </p:txBody>
      </p:sp>
      <p:sp>
        <p:nvSpPr>
          <p:cNvPr id="8" name="Rectangle 7"/>
          <p:cNvSpPr/>
          <p:nvPr/>
        </p:nvSpPr>
        <p:spPr>
          <a:xfrm>
            <a:off x="8354007" y="2443708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n-Saleab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29 Cr.)</a:t>
            </a:r>
          </a:p>
        </p:txBody>
      </p:sp>
      <p:sp>
        <p:nvSpPr>
          <p:cNvPr id="9" name="Rectangle 8"/>
          <p:cNvSpPr/>
          <p:nvPr/>
        </p:nvSpPr>
        <p:spPr>
          <a:xfrm>
            <a:off x="4603101" y="2459260"/>
            <a:ext cx="1455577" cy="51007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leab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231 Cr.)</a:t>
            </a:r>
          </a:p>
        </p:txBody>
      </p:sp>
      <p:cxnSp>
        <p:nvCxnSpPr>
          <p:cNvPr id="15" name="Straight Connector 14"/>
          <p:cNvCxnSpPr>
            <a:stCxn id="3" idx="2"/>
          </p:cNvCxnSpPr>
          <p:nvPr/>
        </p:nvCxnSpPr>
        <p:spPr>
          <a:xfrm>
            <a:off x="6148875" y="1810136"/>
            <a:ext cx="0" cy="27992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5346441" y="2090050"/>
            <a:ext cx="374857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5346441" y="2090050"/>
            <a:ext cx="0" cy="3545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7017398" y="3598220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continu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56.5 Cr.)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374562" y="3607322"/>
            <a:ext cx="1525557" cy="500752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inu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174.5 Cr.)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101374" y="4459313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re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46.5 Cr.)</a:t>
            </a:r>
          </a:p>
        </p:txBody>
      </p:sp>
      <p:sp>
        <p:nvSpPr>
          <p:cNvPr id="35" name="Rectangle 34"/>
          <p:cNvSpPr/>
          <p:nvPr/>
        </p:nvSpPr>
        <p:spPr>
          <a:xfrm>
            <a:off x="9427028" y="3517470"/>
            <a:ext cx="2455507" cy="65651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liverable ZQT – 10.04 Cr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tal ZQT – 86.23 Cr.</a:t>
            </a:r>
          </a:p>
        </p:txBody>
      </p:sp>
      <p:cxnSp>
        <p:nvCxnSpPr>
          <p:cNvPr id="18" name="Straight Connector 17"/>
          <p:cNvCxnSpPr>
            <a:stCxn id="31" idx="3"/>
            <a:endCxn id="35" idx="1"/>
          </p:cNvCxnSpPr>
          <p:nvPr/>
        </p:nvCxnSpPr>
        <p:spPr>
          <a:xfrm flipV="1">
            <a:off x="8612933" y="3845729"/>
            <a:ext cx="81409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3304584" y="4448439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re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80.75 Cr.)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15381" y="3530975"/>
            <a:ext cx="2455507" cy="65651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liverable ZQT – 93.75 Cr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tal ZQT – 475.93 Cr.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2693433" y="3845729"/>
            <a:ext cx="656253" cy="26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9095012" y="2104690"/>
            <a:ext cx="0" cy="3545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5351108" y="2970242"/>
            <a:ext cx="0" cy="27992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4137340" y="3250156"/>
            <a:ext cx="367782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137340" y="3253262"/>
            <a:ext cx="0" cy="3545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>
            <a:off x="7815165" y="3243650"/>
            <a:ext cx="0" cy="3545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4137340" y="4108074"/>
            <a:ext cx="0" cy="3545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7815164" y="4123844"/>
            <a:ext cx="0" cy="3545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4228313" y="5582046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39.67 Cr.)</a:t>
            </a:r>
          </a:p>
        </p:txBody>
      </p:sp>
      <p:sp>
        <p:nvSpPr>
          <p:cNvPr id="57" name="Rectangle 56"/>
          <p:cNvSpPr/>
          <p:nvPr/>
        </p:nvSpPr>
        <p:spPr>
          <a:xfrm>
            <a:off x="2506816" y="5582046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/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41.08 Cr.)</a:t>
            </a:r>
          </a:p>
        </p:txBody>
      </p:sp>
      <p:cxnSp>
        <p:nvCxnSpPr>
          <p:cNvPr id="58" name="Straight Connector 57"/>
          <p:cNvCxnSpPr/>
          <p:nvPr/>
        </p:nvCxnSpPr>
        <p:spPr>
          <a:xfrm>
            <a:off x="4107018" y="4947569"/>
            <a:ext cx="0" cy="27992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V="1">
            <a:off x="3304584" y="5227483"/>
            <a:ext cx="172149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3304584" y="5227483"/>
            <a:ext cx="0" cy="3545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>
            <a:off x="5010530" y="5227483"/>
            <a:ext cx="0" cy="3545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094298" y="5595819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25.0 Cr.)</a:t>
            </a:r>
          </a:p>
        </p:txBody>
      </p:sp>
      <p:sp>
        <p:nvSpPr>
          <p:cNvPr id="67" name="Rectangle 66"/>
          <p:cNvSpPr/>
          <p:nvPr/>
        </p:nvSpPr>
        <p:spPr>
          <a:xfrm>
            <a:off x="6372801" y="5595819"/>
            <a:ext cx="1595535" cy="52562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/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21.5 Cr.)</a:t>
            </a:r>
          </a:p>
        </p:txBody>
      </p:sp>
      <p:cxnSp>
        <p:nvCxnSpPr>
          <p:cNvPr id="68" name="Straight Connector 67"/>
          <p:cNvCxnSpPr/>
          <p:nvPr/>
        </p:nvCxnSpPr>
        <p:spPr>
          <a:xfrm>
            <a:off x="7973003" y="4961342"/>
            <a:ext cx="0" cy="27992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 flipV="1">
            <a:off x="7170569" y="5241256"/>
            <a:ext cx="172149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>
            <a:off x="7170569" y="5241256"/>
            <a:ext cx="0" cy="3545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/>
          <p:cNvCxnSpPr/>
          <p:nvPr/>
        </p:nvCxnSpPr>
        <p:spPr>
          <a:xfrm>
            <a:off x="8876515" y="5241256"/>
            <a:ext cx="0" cy="3545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2506816" y="6283393"/>
            <a:ext cx="1595535" cy="5256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/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27.87 Cr.)</a:t>
            </a:r>
          </a:p>
        </p:txBody>
      </p:sp>
      <p:cxnSp>
        <p:nvCxnSpPr>
          <p:cNvPr id="40" name="Straight Arrow Connector 39"/>
          <p:cNvCxnSpPr>
            <a:stCxn id="57" idx="2"/>
          </p:cNvCxnSpPr>
          <p:nvPr/>
        </p:nvCxnSpPr>
        <p:spPr>
          <a:xfrm>
            <a:off x="3304584" y="6107670"/>
            <a:ext cx="0" cy="17573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4271848" y="6276402"/>
            <a:ext cx="1595535" cy="5256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29.35 Cr.)</a:t>
            </a: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5069616" y="6100679"/>
            <a:ext cx="0" cy="17573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6372801" y="6274482"/>
            <a:ext cx="1595535" cy="5256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/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16.88 Cr.)</a:t>
            </a: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7221895" y="6100762"/>
            <a:ext cx="0" cy="17573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8094298" y="6276402"/>
            <a:ext cx="1595535" cy="5256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19.14 Cr.)</a:t>
            </a:r>
          </a:p>
        </p:txBody>
      </p:sp>
      <p:cxnSp>
        <p:nvCxnSpPr>
          <p:cNvPr id="51" name="Straight Arrow Connector 50"/>
          <p:cNvCxnSpPr/>
          <p:nvPr/>
        </p:nvCxnSpPr>
        <p:spPr>
          <a:xfrm>
            <a:off x="8892066" y="6100679"/>
            <a:ext cx="0" cy="17573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9949542" y="6244967"/>
            <a:ext cx="20900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 per Pareto 80-20 Rule: 20% SKUs Value</a:t>
            </a:r>
          </a:p>
        </p:txBody>
      </p:sp>
      <p:sp>
        <p:nvSpPr>
          <p:cNvPr id="52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IN" sz="3200" b="1" dirty="0" err="1">
                <a:solidFill>
                  <a:prstClr val="black"/>
                </a:solidFill>
                <a:latin typeface="Aptos Display" panose="02110004020202020204"/>
              </a:rPr>
              <a:t>Aureet</a:t>
            </a:r>
            <a:r>
              <a:rPr lang="en-IN" sz="3200" b="1" dirty="0">
                <a:solidFill>
                  <a:prstClr val="black"/>
                </a:solidFill>
                <a:latin typeface="Aptos Display" panose="02110004020202020204"/>
              </a:rPr>
              <a:t>/ Italian series</a:t>
            </a: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 Inventory Summary</a:t>
            </a:r>
          </a:p>
        </p:txBody>
      </p:sp>
    </p:spTree>
    <p:extLst>
      <p:ext uri="{BB962C8B-B14F-4D97-AF65-F5344CB8AC3E}">
        <p14:creationId xmlns:p14="http://schemas.microsoft.com/office/powerpoint/2010/main" val="316931982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CF5A65-A0E0-779F-D81C-7432D12E16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93B2665-8D8A-0537-F0A2-36BB3ACFB4AB}"/>
              </a:ext>
            </a:extLst>
          </p:cNvPr>
          <p:cNvSpPr/>
          <p:nvPr/>
        </p:nvSpPr>
        <p:spPr>
          <a:xfrm>
            <a:off x="8719279" y="1858780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ues in Cr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7FF3E42-9749-3F93-0FBF-F3D1DA010EDE}"/>
              </a:ext>
            </a:extLst>
          </p:cNvPr>
          <p:cNvSpPr/>
          <p:nvPr/>
        </p:nvSpPr>
        <p:spPr>
          <a:xfrm>
            <a:off x="8719279" y="2627027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0864E93-FD12-EC43-929F-02B9BFCE4B13}"/>
              </a:ext>
            </a:extLst>
          </p:cNvPr>
          <p:cNvSpPr/>
          <p:nvPr/>
        </p:nvSpPr>
        <p:spPr>
          <a:xfrm>
            <a:off x="8719279" y="324162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F19377E-A0E7-D578-B92A-1741AC2B33D2}"/>
              </a:ext>
            </a:extLst>
          </p:cNvPr>
          <p:cNvSpPr/>
          <p:nvPr/>
        </p:nvSpPr>
        <p:spPr>
          <a:xfrm>
            <a:off x="8719279" y="3856225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D2E573F-4EBB-1B6C-EF5D-A9F864D3E4B9}"/>
              </a:ext>
            </a:extLst>
          </p:cNvPr>
          <p:cNvSpPr/>
          <p:nvPr/>
        </p:nvSpPr>
        <p:spPr>
          <a:xfrm>
            <a:off x="8719279" y="4470824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3" name="TextBox 48">
            <a:extLst>
              <a:ext uri="{FF2B5EF4-FFF2-40B4-BE49-F238E27FC236}">
                <a16:creationId xmlns:a16="http://schemas.microsoft.com/office/drawing/2014/main" id="{132D96B3-4458-BA50-0113-D8ED339BAFCA}"/>
              </a:ext>
            </a:extLst>
          </p:cNvPr>
          <p:cNvSpPr txBox="1"/>
          <p:nvPr/>
        </p:nvSpPr>
        <p:spPr>
          <a:xfrm rot="5400000">
            <a:off x="7287137" y="3644440"/>
            <a:ext cx="1319142" cy="333630"/>
          </a:xfrm>
          <a:prstGeom prst="rect">
            <a:avLst/>
          </a:prstGeom>
          <a:solidFill>
            <a:srgbClr val="FFFF00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0.74 Cr</a:t>
            </a: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58FEDD1C-3781-E3D7-1F25-16A7D976EE8D}"/>
              </a:ext>
            </a:extLst>
          </p:cNvPr>
          <p:cNvSpPr/>
          <p:nvPr/>
        </p:nvSpPr>
        <p:spPr>
          <a:xfrm>
            <a:off x="7779894" y="2627027"/>
            <a:ext cx="313396" cy="444718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B7925453-AE81-0D0A-91F8-AC34441E1BDF}"/>
              </a:ext>
            </a:extLst>
          </p:cNvPr>
          <p:cNvSpPr/>
          <p:nvPr/>
        </p:nvSpPr>
        <p:spPr>
          <a:xfrm>
            <a:off x="7759659" y="4572904"/>
            <a:ext cx="333630" cy="66617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B5F7754-FCB0-BAC3-B0BA-F4EDB04D1054}"/>
              </a:ext>
            </a:extLst>
          </p:cNvPr>
          <p:cNvSpPr/>
          <p:nvPr/>
        </p:nvSpPr>
        <p:spPr>
          <a:xfrm>
            <a:off x="10078386" y="2627027"/>
            <a:ext cx="1264170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29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3BCCF2B-A708-CB27-9880-6F400C1ADB79}"/>
              </a:ext>
            </a:extLst>
          </p:cNvPr>
          <p:cNvSpPr/>
          <p:nvPr/>
        </p:nvSpPr>
        <p:spPr>
          <a:xfrm>
            <a:off x="10078386" y="3241626"/>
            <a:ext cx="1264170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13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7B7E27B-A023-086C-B5CE-07806847C0C2}"/>
              </a:ext>
            </a:extLst>
          </p:cNvPr>
          <p:cNvSpPr/>
          <p:nvPr/>
        </p:nvSpPr>
        <p:spPr>
          <a:xfrm>
            <a:off x="10078386" y="3856225"/>
            <a:ext cx="1264170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068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22F3ACA-0B4E-DBDD-3058-E2936098FC10}"/>
              </a:ext>
            </a:extLst>
          </p:cNvPr>
          <p:cNvSpPr/>
          <p:nvPr/>
        </p:nvSpPr>
        <p:spPr>
          <a:xfrm>
            <a:off x="10078386" y="4470824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10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D945CC49-6D76-EFF4-5F20-152D58D36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0651" y="54972"/>
            <a:ext cx="6413389" cy="644717"/>
          </a:xfrm>
        </p:spPr>
        <p:txBody>
          <a:bodyPr>
            <a:norm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Liquidation Sale (SKU&gt;3 years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2AD3CE7-A69D-9557-CDCB-45FAC000B5D1}"/>
              </a:ext>
            </a:extLst>
          </p:cNvPr>
          <p:cNvSpPr/>
          <p:nvPr/>
        </p:nvSpPr>
        <p:spPr>
          <a:xfrm>
            <a:off x="8713186" y="501137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1A0EA3-7A36-574A-2CCE-7C1F8FAB5300}"/>
              </a:ext>
            </a:extLst>
          </p:cNvPr>
          <p:cNvSpPr/>
          <p:nvPr/>
        </p:nvSpPr>
        <p:spPr>
          <a:xfrm>
            <a:off x="10072293" y="5011376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07 C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6D4C88-C89F-5B76-5996-28ACF7410D28}"/>
              </a:ext>
            </a:extLst>
          </p:cNvPr>
          <p:cNvSpPr/>
          <p:nvPr/>
        </p:nvSpPr>
        <p:spPr>
          <a:xfrm>
            <a:off x="8713186" y="5501183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u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6B1191-2097-1465-73AC-03BA365EC6B6}"/>
              </a:ext>
            </a:extLst>
          </p:cNvPr>
          <p:cNvSpPr/>
          <p:nvPr/>
        </p:nvSpPr>
        <p:spPr>
          <a:xfrm>
            <a:off x="10072293" y="5501183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08 Cr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7A60865-84F3-7579-7C1C-FDDA68C8BAD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2447"/>
          <a:stretch>
            <a:fillRect/>
          </a:stretch>
        </p:blipFill>
        <p:spPr>
          <a:xfrm>
            <a:off x="510191" y="2383434"/>
            <a:ext cx="7012708" cy="3690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53000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41C474-F6C9-685E-3646-299BB3009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54697E3-C0F5-9000-46DC-966D793177F8}"/>
              </a:ext>
            </a:extLst>
          </p:cNvPr>
          <p:cNvSpPr/>
          <p:nvPr/>
        </p:nvSpPr>
        <p:spPr>
          <a:xfrm>
            <a:off x="8719279" y="1858780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ues in Cr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C93A8DE-B5CC-72A4-4CD2-6A28B291347D}"/>
              </a:ext>
            </a:extLst>
          </p:cNvPr>
          <p:cNvSpPr/>
          <p:nvPr/>
        </p:nvSpPr>
        <p:spPr>
          <a:xfrm>
            <a:off x="8719279" y="2627027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5B2D58-696E-39F7-BB70-CFDAA29D6C55}"/>
              </a:ext>
            </a:extLst>
          </p:cNvPr>
          <p:cNvSpPr/>
          <p:nvPr/>
        </p:nvSpPr>
        <p:spPr>
          <a:xfrm>
            <a:off x="8719279" y="324162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345855C-9931-DF77-2963-F401388CAF69}"/>
              </a:ext>
            </a:extLst>
          </p:cNvPr>
          <p:cNvSpPr/>
          <p:nvPr/>
        </p:nvSpPr>
        <p:spPr>
          <a:xfrm>
            <a:off x="8719279" y="3856225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2303BD-024C-BA38-A34A-638F66C8EA64}"/>
              </a:ext>
            </a:extLst>
          </p:cNvPr>
          <p:cNvSpPr/>
          <p:nvPr/>
        </p:nvSpPr>
        <p:spPr>
          <a:xfrm>
            <a:off x="8719279" y="4470824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3" name="TextBox 48">
            <a:extLst>
              <a:ext uri="{FF2B5EF4-FFF2-40B4-BE49-F238E27FC236}">
                <a16:creationId xmlns:a16="http://schemas.microsoft.com/office/drawing/2014/main" id="{9FDF6D23-877B-182A-D5D2-63740895DF67}"/>
              </a:ext>
            </a:extLst>
          </p:cNvPr>
          <p:cNvSpPr txBox="1"/>
          <p:nvPr/>
        </p:nvSpPr>
        <p:spPr>
          <a:xfrm rot="5400000">
            <a:off x="7287137" y="3644440"/>
            <a:ext cx="1319142" cy="333630"/>
          </a:xfrm>
          <a:prstGeom prst="rect">
            <a:avLst/>
          </a:prstGeom>
          <a:solidFill>
            <a:srgbClr val="FFFF00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1.22 Cr</a:t>
            </a: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388D3BC7-BD83-70AC-1B04-FB37774E6880}"/>
              </a:ext>
            </a:extLst>
          </p:cNvPr>
          <p:cNvSpPr/>
          <p:nvPr/>
        </p:nvSpPr>
        <p:spPr>
          <a:xfrm>
            <a:off x="7779894" y="2627027"/>
            <a:ext cx="313396" cy="444718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E2AFF212-0E59-CBFB-5930-3F1924546B03}"/>
              </a:ext>
            </a:extLst>
          </p:cNvPr>
          <p:cNvSpPr/>
          <p:nvPr/>
        </p:nvSpPr>
        <p:spPr>
          <a:xfrm>
            <a:off x="7759659" y="4572904"/>
            <a:ext cx="333630" cy="66617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3378CE4-8094-6074-B3C1-3156DF8A3283}"/>
              </a:ext>
            </a:extLst>
          </p:cNvPr>
          <p:cNvSpPr/>
          <p:nvPr/>
        </p:nvSpPr>
        <p:spPr>
          <a:xfrm>
            <a:off x="10078386" y="2627027"/>
            <a:ext cx="1264170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35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572A0CD-FC48-C2D5-DBDD-FD28B210A63C}"/>
              </a:ext>
            </a:extLst>
          </p:cNvPr>
          <p:cNvSpPr/>
          <p:nvPr/>
        </p:nvSpPr>
        <p:spPr>
          <a:xfrm>
            <a:off x="10078386" y="3241626"/>
            <a:ext cx="1264170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19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004956F-32DB-0524-D115-51F3A0B34DFF}"/>
              </a:ext>
            </a:extLst>
          </p:cNvPr>
          <p:cNvSpPr/>
          <p:nvPr/>
        </p:nvSpPr>
        <p:spPr>
          <a:xfrm>
            <a:off x="10078386" y="3856225"/>
            <a:ext cx="1264170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13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F2B919E-6009-A2E2-1595-1AD0B8DC14BE}"/>
              </a:ext>
            </a:extLst>
          </p:cNvPr>
          <p:cNvSpPr/>
          <p:nvPr/>
        </p:nvSpPr>
        <p:spPr>
          <a:xfrm>
            <a:off x="10078386" y="4470824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35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CF8EC02B-2990-5D39-AEAF-4A9C82A3B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0651" y="54972"/>
            <a:ext cx="7012708" cy="644717"/>
          </a:xfrm>
        </p:spPr>
        <p:txBody>
          <a:bodyPr>
            <a:norm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Liquidation Sale (SKU: 2 to 3 years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DE468EF-4966-02C1-3645-01BB47032BBF}"/>
              </a:ext>
            </a:extLst>
          </p:cNvPr>
          <p:cNvSpPr/>
          <p:nvPr/>
        </p:nvSpPr>
        <p:spPr>
          <a:xfrm>
            <a:off x="8713186" y="501137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054CBF6-59F7-AB48-4521-326AC232D9BC}"/>
              </a:ext>
            </a:extLst>
          </p:cNvPr>
          <p:cNvSpPr/>
          <p:nvPr/>
        </p:nvSpPr>
        <p:spPr>
          <a:xfrm>
            <a:off x="10072293" y="5011376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14 C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66774B-DE21-C194-F00B-0F13DC48EEE8}"/>
              </a:ext>
            </a:extLst>
          </p:cNvPr>
          <p:cNvSpPr/>
          <p:nvPr/>
        </p:nvSpPr>
        <p:spPr>
          <a:xfrm>
            <a:off x="8713186" y="5501183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u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8B486F-6F25-497A-ECC9-80F01BA84375}"/>
              </a:ext>
            </a:extLst>
          </p:cNvPr>
          <p:cNvSpPr/>
          <p:nvPr/>
        </p:nvSpPr>
        <p:spPr>
          <a:xfrm>
            <a:off x="10072293" y="5501183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05 Cr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444EAB-897A-155E-4075-2B6E716EC3F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5068"/>
          <a:stretch>
            <a:fillRect/>
          </a:stretch>
        </p:blipFill>
        <p:spPr>
          <a:xfrm>
            <a:off x="538864" y="2488366"/>
            <a:ext cx="6951440" cy="3548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73321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97041-7442-36F8-866B-ABF188589D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98B672-50C8-2D26-C510-2E52BE91FAAC}"/>
              </a:ext>
            </a:extLst>
          </p:cNvPr>
          <p:cNvSpPr/>
          <p:nvPr/>
        </p:nvSpPr>
        <p:spPr>
          <a:xfrm>
            <a:off x="8719279" y="1858780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ues in Cr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22077B3-D154-A964-A9AB-B3BFA3FF8AAD}"/>
              </a:ext>
            </a:extLst>
          </p:cNvPr>
          <p:cNvSpPr/>
          <p:nvPr/>
        </p:nvSpPr>
        <p:spPr>
          <a:xfrm>
            <a:off x="8719279" y="2627027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A264427-C6BC-F0BB-4953-567E036BC1B4}"/>
              </a:ext>
            </a:extLst>
          </p:cNvPr>
          <p:cNvSpPr/>
          <p:nvPr/>
        </p:nvSpPr>
        <p:spPr>
          <a:xfrm>
            <a:off x="8719279" y="324162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B141EEC-0A12-6BCF-54BE-EBD30225D70C}"/>
              </a:ext>
            </a:extLst>
          </p:cNvPr>
          <p:cNvSpPr/>
          <p:nvPr/>
        </p:nvSpPr>
        <p:spPr>
          <a:xfrm>
            <a:off x="8719279" y="3856225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406D892-123A-0252-4EA6-1F02E1E40AED}"/>
              </a:ext>
            </a:extLst>
          </p:cNvPr>
          <p:cNvSpPr/>
          <p:nvPr/>
        </p:nvSpPr>
        <p:spPr>
          <a:xfrm>
            <a:off x="8719279" y="4470824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3" name="TextBox 48">
            <a:extLst>
              <a:ext uri="{FF2B5EF4-FFF2-40B4-BE49-F238E27FC236}">
                <a16:creationId xmlns:a16="http://schemas.microsoft.com/office/drawing/2014/main" id="{AE9B2592-7D08-B8C9-052C-DC461846D307}"/>
              </a:ext>
            </a:extLst>
          </p:cNvPr>
          <p:cNvSpPr txBox="1"/>
          <p:nvPr/>
        </p:nvSpPr>
        <p:spPr>
          <a:xfrm rot="5400000">
            <a:off x="7287137" y="3644440"/>
            <a:ext cx="1319142" cy="333630"/>
          </a:xfrm>
          <a:prstGeom prst="rect">
            <a:avLst/>
          </a:prstGeom>
          <a:solidFill>
            <a:srgbClr val="FFFF00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0.66 Cr</a:t>
            </a: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EA9D7E5A-51BF-836E-218E-4B325315276E}"/>
              </a:ext>
            </a:extLst>
          </p:cNvPr>
          <p:cNvSpPr/>
          <p:nvPr/>
        </p:nvSpPr>
        <p:spPr>
          <a:xfrm>
            <a:off x="7779894" y="2627027"/>
            <a:ext cx="313396" cy="444718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38D8D492-F17C-4A11-0D8A-A8DA8F9211D9}"/>
              </a:ext>
            </a:extLst>
          </p:cNvPr>
          <p:cNvSpPr/>
          <p:nvPr/>
        </p:nvSpPr>
        <p:spPr>
          <a:xfrm>
            <a:off x="7759659" y="4572904"/>
            <a:ext cx="333630" cy="66617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F6A05EA-D403-2C74-048F-2EA336D1C4C8}"/>
              </a:ext>
            </a:extLst>
          </p:cNvPr>
          <p:cNvSpPr/>
          <p:nvPr/>
        </p:nvSpPr>
        <p:spPr>
          <a:xfrm>
            <a:off x="10078386" y="2627027"/>
            <a:ext cx="1264170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26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E46216-EADC-B3B7-5469-080BD70A87E5}"/>
              </a:ext>
            </a:extLst>
          </p:cNvPr>
          <p:cNvSpPr/>
          <p:nvPr/>
        </p:nvSpPr>
        <p:spPr>
          <a:xfrm>
            <a:off x="10078386" y="3241626"/>
            <a:ext cx="1264170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05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8161B9A-1E09-5060-0225-F1F4CE257A30}"/>
              </a:ext>
            </a:extLst>
          </p:cNvPr>
          <p:cNvSpPr/>
          <p:nvPr/>
        </p:nvSpPr>
        <p:spPr>
          <a:xfrm>
            <a:off x="10078386" y="3856225"/>
            <a:ext cx="1264170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08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93EF800-502B-A1A4-C614-EF5AB740BD38}"/>
              </a:ext>
            </a:extLst>
          </p:cNvPr>
          <p:cNvSpPr/>
          <p:nvPr/>
        </p:nvSpPr>
        <p:spPr>
          <a:xfrm>
            <a:off x="10078386" y="4470824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07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7EDB89EF-C348-3B64-223F-86809351C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0651" y="54972"/>
            <a:ext cx="6863093" cy="644717"/>
          </a:xfrm>
        </p:spPr>
        <p:txBody>
          <a:bodyPr>
            <a:norm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Liquidation Sale (SKU: 1 to 2 years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1D8827-469B-9DB9-D0EC-A782C7227968}"/>
              </a:ext>
            </a:extLst>
          </p:cNvPr>
          <p:cNvSpPr/>
          <p:nvPr/>
        </p:nvSpPr>
        <p:spPr>
          <a:xfrm>
            <a:off x="8713186" y="501137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33AFB96-52F8-5EC6-2F7F-5E5B6CC6D2D7}"/>
              </a:ext>
            </a:extLst>
          </p:cNvPr>
          <p:cNvSpPr/>
          <p:nvPr/>
        </p:nvSpPr>
        <p:spPr>
          <a:xfrm>
            <a:off x="10072293" y="5011376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08 C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95B16-F163-50BB-6659-CA209984C421}"/>
              </a:ext>
            </a:extLst>
          </p:cNvPr>
          <p:cNvSpPr/>
          <p:nvPr/>
        </p:nvSpPr>
        <p:spPr>
          <a:xfrm>
            <a:off x="8713186" y="5501183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u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2B3FE0F-1A89-7A8D-B6E4-A86C1E68211D}"/>
              </a:ext>
            </a:extLst>
          </p:cNvPr>
          <p:cNvSpPr/>
          <p:nvPr/>
        </p:nvSpPr>
        <p:spPr>
          <a:xfrm>
            <a:off x="10072293" y="5501183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13 Cr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17516DF-A031-3A00-0EE1-13FA79364D5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4857"/>
          <a:stretch>
            <a:fillRect/>
          </a:stretch>
        </p:blipFill>
        <p:spPr>
          <a:xfrm>
            <a:off x="490699" y="2383434"/>
            <a:ext cx="6972526" cy="3568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48817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73BCED-662A-0F22-236C-9754ACE3C8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EB5DCD4-2C31-68A8-8048-38C641FFE6B5}"/>
              </a:ext>
            </a:extLst>
          </p:cNvPr>
          <p:cNvSpPr/>
          <p:nvPr/>
        </p:nvSpPr>
        <p:spPr>
          <a:xfrm>
            <a:off x="8719279" y="1858780"/>
            <a:ext cx="2623277" cy="5246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ues in Cr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080664A-7369-CD2C-648F-973899A07555}"/>
              </a:ext>
            </a:extLst>
          </p:cNvPr>
          <p:cNvSpPr/>
          <p:nvPr/>
        </p:nvSpPr>
        <p:spPr>
          <a:xfrm>
            <a:off x="8719279" y="2627027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rch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E6FD596-3A14-5037-B204-318B52DAC4D0}"/>
              </a:ext>
            </a:extLst>
          </p:cNvPr>
          <p:cNvSpPr/>
          <p:nvPr/>
        </p:nvSpPr>
        <p:spPr>
          <a:xfrm>
            <a:off x="8719279" y="324162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pr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AFCD5EE-7D42-A399-9E70-55E601566C19}"/>
              </a:ext>
            </a:extLst>
          </p:cNvPr>
          <p:cNvSpPr/>
          <p:nvPr/>
        </p:nvSpPr>
        <p:spPr>
          <a:xfrm>
            <a:off x="8719279" y="3856225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1A379F-1888-5763-B5CB-11688CC0ED44}"/>
              </a:ext>
            </a:extLst>
          </p:cNvPr>
          <p:cNvSpPr/>
          <p:nvPr/>
        </p:nvSpPr>
        <p:spPr>
          <a:xfrm>
            <a:off x="8719279" y="4470824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ne</a:t>
            </a:r>
          </a:p>
        </p:txBody>
      </p:sp>
      <p:sp>
        <p:nvSpPr>
          <p:cNvPr id="23" name="TextBox 48">
            <a:extLst>
              <a:ext uri="{FF2B5EF4-FFF2-40B4-BE49-F238E27FC236}">
                <a16:creationId xmlns:a16="http://schemas.microsoft.com/office/drawing/2014/main" id="{325F5126-A249-AA73-877C-60252E6AA59E}"/>
              </a:ext>
            </a:extLst>
          </p:cNvPr>
          <p:cNvSpPr txBox="1"/>
          <p:nvPr/>
        </p:nvSpPr>
        <p:spPr>
          <a:xfrm rot="5400000">
            <a:off x="7287137" y="3644440"/>
            <a:ext cx="1319142" cy="333630"/>
          </a:xfrm>
          <a:prstGeom prst="rect">
            <a:avLst/>
          </a:prstGeom>
          <a:solidFill>
            <a:srgbClr val="FFFF00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8.94 Cr</a:t>
            </a: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E1E3F184-C614-3580-D4BD-8D25F073FF4D}"/>
              </a:ext>
            </a:extLst>
          </p:cNvPr>
          <p:cNvSpPr/>
          <p:nvPr/>
        </p:nvSpPr>
        <p:spPr>
          <a:xfrm>
            <a:off x="7779894" y="2627027"/>
            <a:ext cx="313396" cy="444718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99F69D43-8D36-55A9-8F1A-59E20310FCA8}"/>
              </a:ext>
            </a:extLst>
          </p:cNvPr>
          <p:cNvSpPr/>
          <p:nvPr/>
        </p:nvSpPr>
        <p:spPr>
          <a:xfrm>
            <a:off x="7759659" y="4572904"/>
            <a:ext cx="333630" cy="66617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75ABF25-D353-A729-3D6A-E171DCEFFB6F}"/>
              </a:ext>
            </a:extLst>
          </p:cNvPr>
          <p:cNvSpPr/>
          <p:nvPr/>
        </p:nvSpPr>
        <p:spPr>
          <a:xfrm>
            <a:off x="10078386" y="2627027"/>
            <a:ext cx="1264170" cy="37100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.32 C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C531E6F-7AC6-2A29-F13F-2F43C663931D}"/>
              </a:ext>
            </a:extLst>
          </p:cNvPr>
          <p:cNvSpPr/>
          <p:nvPr/>
        </p:nvSpPr>
        <p:spPr>
          <a:xfrm>
            <a:off x="10078386" y="3241626"/>
            <a:ext cx="1264170" cy="371006"/>
          </a:xfrm>
          <a:prstGeom prst="rect">
            <a:avLst/>
          </a:prstGeom>
          <a:solidFill>
            <a:srgbClr val="93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.79 Cr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0EEED26-6FF2-6C0D-86AB-6110FC698E96}"/>
              </a:ext>
            </a:extLst>
          </p:cNvPr>
          <p:cNvSpPr/>
          <p:nvPr/>
        </p:nvSpPr>
        <p:spPr>
          <a:xfrm>
            <a:off x="10078386" y="3856225"/>
            <a:ext cx="1264170" cy="371006"/>
          </a:xfrm>
          <a:prstGeom prst="rect">
            <a:avLst/>
          </a:prstGeom>
          <a:solidFill>
            <a:srgbClr val="ABDB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.50 Cr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29FF60A-D513-A76C-49C1-D618DAD5A79E}"/>
              </a:ext>
            </a:extLst>
          </p:cNvPr>
          <p:cNvSpPr/>
          <p:nvPr/>
        </p:nvSpPr>
        <p:spPr>
          <a:xfrm>
            <a:off x="10078386" y="4470824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.1 Cr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9C341379-F75D-89FF-AF31-902CAD048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0650" y="54972"/>
            <a:ext cx="7732523" cy="644717"/>
          </a:xfrm>
        </p:spPr>
        <p:txBody>
          <a:bodyPr>
            <a:norm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Liquidation Sale (SKU: Within 1 years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E64850-D706-8C93-25AB-9D85BD40B8E9}"/>
              </a:ext>
            </a:extLst>
          </p:cNvPr>
          <p:cNvSpPr/>
          <p:nvPr/>
        </p:nvSpPr>
        <p:spPr>
          <a:xfrm>
            <a:off x="8713186" y="5011376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Ju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EE0481E-05F1-D5E1-D18B-30E4193BD284}"/>
              </a:ext>
            </a:extLst>
          </p:cNvPr>
          <p:cNvSpPr/>
          <p:nvPr/>
        </p:nvSpPr>
        <p:spPr>
          <a:xfrm>
            <a:off x="10072293" y="5011376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.94 C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42A00E5-EF31-3407-9B3F-629FCCE22503}"/>
              </a:ext>
            </a:extLst>
          </p:cNvPr>
          <p:cNvSpPr/>
          <p:nvPr/>
        </p:nvSpPr>
        <p:spPr>
          <a:xfrm>
            <a:off x="8713186" y="5501183"/>
            <a:ext cx="1264170" cy="3710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u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9C0B1D-8350-06F2-B7D1-A76051204424}"/>
              </a:ext>
            </a:extLst>
          </p:cNvPr>
          <p:cNvSpPr/>
          <p:nvPr/>
        </p:nvSpPr>
        <p:spPr>
          <a:xfrm>
            <a:off x="10072293" y="5501183"/>
            <a:ext cx="1264170" cy="3710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.27 Cr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21DDBBE-A1CE-61BF-F546-1767E3FE80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1305"/>
          <a:stretch>
            <a:fillRect/>
          </a:stretch>
        </p:blipFill>
        <p:spPr>
          <a:xfrm>
            <a:off x="525181" y="2248525"/>
            <a:ext cx="6847829" cy="3650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674560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6D41943-DA6A-2482-438F-660C18685465}"/>
              </a:ext>
            </a:extLst>
          </p:cNvPr>
          <p:cNvSpPr txBox="1"/>
          <p:nvPr/>
        </p:nvSpPr>
        <p:spPr>
          <a:xfrm>
            <a:off x="609445" y="2216878"/>
            <a:ext cx="29156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AT Code : 92509SW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4609746-0FC6-4C58-E5C2-24C864B9DD0F}"/>
              </a:ext>
            </a:extLst>
          </p:cNvPr>
          <p:cNvSpPr txBox="1"/>
          <p:nvPr/>
        </p:nvSpPr>
        <p:spPr>
          <a:xfrm>
            <a:off x="609445" y="1386867"/>
            <a:ext cx="507562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WC 1 Pc "VENICE"(S-300)-SW </a:t>
            </a:r>
            <a:endParaRPr kumimoji="0" lang="en-IN" sz="2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D76928-CFD6-72B0-59F8-F738D5D252BB}"/>
              </a:ext>
            </a:extLst>
          </p:cNvPr>
          <p:cNvSpPr txBox="1"/>
          <p:nvPr/>
        </p:nvSpPr>
        <p:spPr>
          <a:xfrm>
            <a:off x="609445" y="4185808"/>
            <a:ext cx="21133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MRP: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upee" panose="02000500000000000000" pitchFamily="2" charset="0"/>
                <a:ea typeface="+mn-ea"/>
                <a:cs typeface="+mn-cs"/>
              </a:rPr>
              <a:t> ` 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 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14,900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 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/-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FC9CB2-742E-E97A-2039-B2C4C4BECD33}"/>
              </a:ext>
            </a:extLst>
          </p:cNvPr>
          <p:cNvSpPr txBox="1"/>
          <p:nvPr/>
        </p:nvSpPr>
        <p:spPr>
          <a:xfrm>
            <a:off x="609445" y="3503487"/>
            <a:ext cx="38458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ategory : EWC - 1 Pc CLOSET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9F5494-0106-4DBC-BCC3-5E06D1E0C2A8}"/>
              </a:ext>
            </a:extLst>
          </p:cNvPr>
          <p:cNvSpPr txBox="1"/>
          <p:nvPr/>
        </p:nvSpPr>
        <p:spPr>
          <a:xfrm>
            <a:off x="609445" y="4868129"/>
            <a:ext cx="27190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alable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Qty: 1319 P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023E9E-4C7C-378D-8299-558D68EBA5CF}"/>
              </a:ext>
            </a:extLst>
          </p:cNvPr>
          <p:cNvSpPr txBox="1"/>
          <p:nvPr/>
        </p:nvSpPr>
        <p:spPr>
          <a:xfrm>
            <a:off x="609445" y="2821166"/>
            <a:ext cx="26613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AP Code : 511078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 </a:t>
            </a:r>
          </a:p>
        </p:txBody>
      </p:sp>
      <p:pic>
        <p:nvPicPr>
          <p:cNvPr id="12" name="Picture 11" descr="A white toilet with a black background&#10;&#10;AI-generated content may be incorrect.">
            <a:extLst>
              <a:ext uri="{FF2B5EF4-FFF2-40B4-BE49-F238E27FC236}">
                <a16:creationId xmlns:a16="http://schemas.microsoft.com/office/drawing/2014/main" id="{684B3984-EABE-9747-E41B-70CA420C4C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8915" y="687044"/>
            <a:ext cx="4703640" cy="568943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C3160A0-39B4-D53C-303D-7A6DE93D7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0405" y="0"/>
            <a:ext cx="7711190" cy="951875"/>
          </a:xfrm>
        </p:spPr>
        <p:txBody>
          <a:bodyPr>
            <a:normAutofit/>
          </a:bodyPr>
          <a:lstStyle/>
          <a:p>
            <a:r>
              <a:rPr lang="en-IN" sz="3000" b="1" dirty="0">
                <a:solidFill>
                  <a:schemeClr val="bg1"/>
                </a:solidFill>
              </a:rPr>
              <a:t>Sales Team (Communication Sample)</a:t>
            </a:r>
          </a:p>
        </p:txBody>
      </p:sp>
    </p:spTree>
    <p:extLst>
      <p:ext uri="{BB962C8B-B14F-4D97-AF65-F5344CB8AC3E}">
        <p14:creationId xmlns:p14="http://schemas.microsoft.com/office/powerpoint/2010/main" val="239191208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41D0546C-CDAB-7534-1AA7-1CCEFB37FFDD}"/>
              </a:ext>
            </a:extLst>
          </p:cNvPr>
          <p:cNvGraphicFramePr/>
          <p:nvPr/>
        </p:nvGraphicFramePr>
        <p:xfrm>
          <a:off x="2031999" y="719666"/>
          <a:ext cx="8592457" cy="371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B27A7E17-8068-2913-B951-1BDE1F0B0D1C}"/>
              </a:ext>
            </a:extLst>
          </p:cNvPr>
          <p:cNvSpPr txBox="1"/>
          <p:nvPr/>
        </p:nvSpPr>
        <p:spPr>
          <a:xfrm>
            <a:off x="524656" y="254833"/>
            <a:ext cx="106430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PD – VARIOUS TYP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E6FB45-CA24-E60E-DCB2-37E321FEBBDD}"/>
              </a:ext>
            </a:extLst>
          </p:cNvPr>
          <p:cNvSpPr txBox="1"/>
          <p:nvPr/>
        </p:nvSpPr>
        <p:spPr>
          <a:xfrm>
            <a:off x="974360" y="4571842"/>
            <a:ext cx="1038818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PD Business can come in various for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 Gap – Any portfolio gaps, addressing price points et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novation – Providing innovative/new solutions to consumer nee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ustomised Requirement – Customer/project specific requirements which includes dimension modifications, specific </a:t>
            </a:r>
            <a:r>
              <a:rPr kumimoji="0" lang="en-IN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lors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etc</a:t>
            </a:r>
          </a:p>
        </p:txBody>
      </p:sp>
    </p:spTree>
    <p:extLst>
      <p:ext uri="{BB962C8B-B14F-4D97-AF65-F5344CB8AC3E}">
        <p14:creationId xmlns:p14="http://schemas.microsoft.com/office/powerpoint/2010/main" val="340240169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462B67-DBED-BC77-B553-17572F8884C4}"/>
              </a:ext>
            </a:extLst>
          </p:cNvPr>
          <p:cNvSpPr/>
          <p:nvPr/>
        </p:nvSpPr>
        <p:spPr>
          <a:xfrm>
            <a:off x="709535" y="509666"/>
            <a:ext cx="1449050" cy="689543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ed Identific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1F2F61-69EF-D084-F626-511976D6D997}"/>
              </a:ext>
            </a:extLst>
          </p:cNvPr>
          <p:cNvSpPr/>
          <p:nvPr/>
        </p:nvSpPr>
        <p:spPr>
          <a:xfrm>
            <a:off x="4494547" y="494677"/>
            <a:ext cx="864427" cy="6895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480F5A-84F4-1750-33A8-3B31F0876B76}"/>
              </a:ext>
            </a:extLst>
          </p:cNvPr>
          <p:cNvSpPr/>
          <p:nvPr/>
        </p:nvSpPr>
        <p:spPr>
          <a:xfrm>
            <a:off x="8252084" y="484678"/>
            <a:ext cx="1334125" cy="6895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mercial + Feasibility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1BECF1-5E94-C3DB-034A-25759C8B7075}"/>
              </a:ext>
            </a:extLst>
          </p:cNvPr>
          <p:cNvSpPr/>
          <p:nvPr/>
        </p:nvSpPr>
        <p:spPr>
          <a:xfrm>
            <a:off x="5776209" y="509662"/>
            <a:ext cx="1334125" cy="6895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sign + Featur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CAA6B1C-6518-5E55-8C37-0AFE8B636448}"/>
              </a:ext>
            </a:extLst>
          </p:cNvPr>
          <p:cNvSpPr/>
          <p:nvPr/>
        </p:nvSpPr>
        <p:spPr>
          <a:xfrm>
            <a:off x="8439462" y="1858780"/>
            <a:ext cx="2173574" cy="689547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totype Development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184704F-0E9E-D9D1-0C70-6471A08D799A}"/>
              </a:ext>
            </a:extLst>
          </p:cNvPr>
          <p:cNvSpPr/>
          <p:nvPr/>
        </p:nvSpPr>
        <p:spPr>
          <a:xfrm>
            <a:off x="4779366" y="1843787"/>
            <a:ext cx="2173574" cy="689547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cceptance Chec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Channel/ Consumer/ Sales Team)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8F8F849-0731-9452-5C48-BE619B2AEEA5}"/>
              </a:ext>
            </a:extLst>
          </p:cNvPr>
          <p:cNvSpPr/>
          <p:nvPr/>
        </p:nvSpPr>
        <p:spPr>
          <a:xfrm>
            <a:off x="1159238" y="1858779"/>
            <a:ext cx="997055" cy="689547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 or Bu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006B6F7-9D1F-701D-4D2E-A2F83FE5F2FD}"/>
              </a:ext>
            </a:extLst>
          </p:cNvPr>
          <p:cNvCxnSpPr>
            <a:cxnSpLocks/>
          </p:cNvCxnSpPr>
          <p:nvPr/>
        </p:nvCxnSpPr>
        <p:spPr>
          <a:xfrm>
            <a:off x="2129849" y="875867"/>
            <a:ext cx="475942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AE627CB-33C9-A9D6-98F9-E62E85D4E7D8}"/>
              </a:ext>
            </a:extLst>
          </p:cNvPr>
          <p:cNvCxnSpPr>
            <a:cxnSpLocks/>
          </p:cNvCxnSpPr>
          <p:nvPr/>
        </p:nvCxnSpPr>
        <p:spPr>
          <a:xfrm>
            <a:off x="5330764" y="846934"/>
            <a:ext cx="466681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AA7960C-9ACE-5552-A364-9DDDE179CEE6}"/>
              </a:ext>
            </a:extLst>
          </p:cNvPr>
          <p:cNvCxnSpPr/>
          <p:nvPr/>
        </p:nvCxnSpPr>
        <p:spPr>
          <a:xfrm flipV="1">
            <a:off x="7110334" y="846931"/>
            <a:ext cx="1141750" cy="3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D2CF7580-E545-88CC-A837-2B7678A81692}"/>
              </a:ext>
            </a:extLst>
          </p:cNvPr>
          <p:cNvCxnSpPr>
            <a:cxnSpLocks/>
          </p:cNvCxnSpPr>
          <p:nvPr/>
        </p:nvCxnSpPr>
        <p:spPr>
          <a:xfrm rot="16200000" flipH="1">
            <a:off x="9355111" y="1090522"/>
            <a:ext cx="1514006" cy="1026827"/>
          </a:xfrm>
          <a:prstGeom prst="bentConnector4">
            <a:avLst>
              <a:gd name="adj1" fmla="val 0"/>
              <a:gd name="adj2" fmla="val 123723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439D841-1248-72CB-607A-C2A13DF3BE55}"/>
              </a:ext>
            </a:extLst>
          </p:cNvPr>
          <p:cNvCxnSpPr>
            <a:cxnSpLocks/>
            <a:stCxn id="8" idx="1"/>
            <a:endCxn id="9" idx="3"/>
          </p:cNvCxnSpPr>
          <p:nvPr/>
        </p:nvCxnSpPr>
        <p:spPr>
          <a:xfrm flipH="1" flipV="1">
            <a:off x="6952940" y="2188561"/>
            <a:ext cx="1486522" cy="14993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8" name="Diamond 27">
            <a:extLst>
              <a:ext uri="{FF2B5EF4-FFF2-40B4-BE49-F238E27FC236}">
                <a16:creationId xmlns:a16="http://schemas.microsoft.com/office/drawing/2014/main" id="{04CE43CE-5B45-BBF7-BCC6-071D4305467F}"/>
              </a:ext>
            </a:extLst>
          </p:cNvPr>
          <p:cNvSpPr/>
          <p:nvPr/>
        </p:nvSpPr>
        <p:spPr>
          <a:xfrm>
            <a:off x="545443" y="2704602"/>
            <a:ext cx="1449051" cy="421359"/>
          </a:xfrm>
          <a:prstGeom prst="diamond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</a:t>
            </a:r>
          </a:p>
        </p:txBody>
      </p:sp>
      <p:sp>
        <p:nvSpPr>
          <p:cNvPr id="29" name="Diamond 28">
            <a:extLst>
              <a:ext uri="{FF2B5EF4-FFF2-40B4-BE49-F238E27FC236}">
                <a16:creationId xmlns:a16="http://schemas.microsoft.com/office/drawing/2014/main" id="{5F0C6AB4-2759-53D7-DAAB-7221B61AC3F2}"/>
              </a:ext>
            </a:extLst>
          </p:cNvPr>
          <p:cNvSpPr/>
          <p:nvPr/>
        </p:nvSpPr>
        <p:spPr>
          <a:xfrm>
            <a:off x="3735380" y="3719195"/>
            <a:ext cx="1083471" cy="730763"/>
          </a:xfrm>
          <a:prstGeom prst="diamond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endor </a:t>
            </a:r>
            <a:r>
              <a:rPr kumimoji="0" lang="en-IN" sz="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vl</a:t>
            </a: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.</a:t>
            </a:r>
          </a:p>
        </p:txBody>
      </p:sp>
      <p:sp>
        <p:nvSpPr>
          <p:cNvPr id="30" name="Diamond 29">
            <a:extLst>
              <a:ext uri="{FF2B5EF4-FFF2-40B4-BE49-F238E27FC236}">
                <a16:creationId xmlns:a16="http://schemas.microsoft.com/office/drawing/2014/main" id="{D65A39D5-2AFE-618A-1F53-59631234D85B}"/>
              </a:ext>
            </a:extLst>
          </p:cNvPr>
          <p:cNvSpPr/>
          <p:nvPr/>
        </p:nvSpPr>
        <p:spPr>
          <a:xfrm>
            <a:off x="7325200" y="3627618"/>
            <a:ext cx="1109268" cy="1026829"/>
          </a:xfrm>
          <a:prstGeom prst="diamond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C Check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3E81076-192D-9A45-F929-D459BC0AF68D}"/>
              </a:ext>
            </a:extLst>
          </p:cNvPr>
          <p:cNvSpPr/>
          <p:nvPr/>
        </p:nvSpPr>
        <p:spPr>
          <a:xfrm>
            <a:off x="2972426" y="3814990"/>
            <a:ext cx="653830" cy="6895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o for Bu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56BA88E-3A67-2577-6037-56920ACFC1F8}"/>
              </a:ext>
            </a:extLst>
          </p:cNvPr>
          <p:cNvSpPr/>
          <p:nvPr/>
        </p:nvSpPr>
        <p:spPr>
          <a:xfrm>
            <a:off x="4634459" y="2863116"/>
            <a:ext cx="1334125" cy="5396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out + Develop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E69B738F-68F6-43EB-E4CE-46F9CED84FCC}"/>
              </a:ext>
            </a:extLst>
          </p:cNvPr>
          <p:cNvCxnSpPr>
            <a:stCxn id="34" idx="3"/>
          </p:cNvCxnSpPr>
          <p:nvPr/>
        </p:nvCxnSpPr>
        <p:spPr>
          <a:xfrm flipH="1" flipV="1">
            <a:off x="5861151" y="3132939"/>
            <a:ext cx="107433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CABEC77E-3220-E0B8-D806-A5C42ABE4A1E}"/>
              </a:ext>
            </a:extLst>
          </p:cNvPr>
          <p:cNvCxnSpPr>
            <a:cxnSpLocks/>
          </p:cNvCxnSpPr>
          <p:nvPr/>
        </p:nvCxnSpPr>
        <p:spPr>
          <a:xfrm rot="16200000" flipV="1">
            <a:off x="7628553" y="3051155"/>
            <a:ext cx="1326992" cy="824429"/>
          </a:xfrm>
          <a:prstGeom prst="bentConnector3">
            <a:avLst>
              <a:gd name="adj1" fmla="val 100395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DA17C978-8211-1B8A-773C-1C11E8FAC7BC}"/>
              </a:ext>
            </a:extLst>
          </p:cNvPr>
          <p:cNvSpPr/>
          <p:nvPr/>
        </p:nvSpPr>
        <p:spPr>
          <a:xfrm>
            <a:off x="1067087" y="4905068"/>
            <a:ext cx="1140487" cy="47123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delling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2A0C2593-7437-FAA5-61D1-10FEF5954A3A}"/>
              </a:ext>
            </a:extLst>
          </p:cNvPr>
          <p:cNvSpPr/>
          <p:nvPr/>
        </p:nvSpPr>
        <p:spPr>
          <a:xfrm>
            <a:off x="1064480" y="5637170"/>
            <a:ext cx="1143138" cy="239949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C + Sample Approval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06E479-74CC-12F2-96E3-906C008A9E6B}"/>
              </a:ext>
            </a:extLst>
          </p:cNvPr>
          <p:cNvSpPr/>
          <p:nvPr/>
        </p:nvSpPr>
        <p:spPr>
          <a:xfrm>
            <a:off x="2888161" y="5793702"/>
            <a:ext cx="1218055" cy="47123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ial Casting (SW)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651B341-10BB-D259-B521-7C7FFE94AB6E}"/>
              </a:ext>
            </a:extLst>
          </p:cNvPr>
          <p:cNvSpPr/>
          <p:nvPr/>
        </p:nvSpPr>
        <p:spPr>
          <a:xfrm>
            <a:off x="4714606" y="5782067"/>
            <a:ext cx="1232316" cy="47123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lock Making (SW)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7888040D-E499-BED1-13D6-CA88D214A88A}"/>
              </a:ext>
            </a:extLst>
          </p:cNvPr>
          <p:cNvSpPr/>
          <p:nvPr/>
        </p:nvSpPr>
        <p:spPr>
          <a:xfrm>
            <a:off x="6743077" y="5766970"/>
            <a:ext cx="1334125" cy="47123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uld Production (SW)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43E8B07-DA0B-FA75-ACF4-90385EF66E3F}"/>
              </a:ext>
            </a:extLst>
          </p:cNvPr>
          <p:cNvSpPr/>
          <p:nvPr/>
        </p:nvSpPr>
        <p:spPr>
          <a:xfrm>
            <a:off x="8870547" y="5766971"/>
            <a:ext cx="1334125" cy="591252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mercial Trial Casting + Product Signoff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8DC88A2-7675-7426-E8D6-37D7DB2A1B96}"/>
              </a:ext>
            </a:extLst>
          </p:cNvPr>
          <p:cNvSpPr/>
          <p:nvPr/>
        </p:nvSpPr>
        <p:spPr>
          <a:xfrm>
            <a:off x="10682524" y="5766969"/>
            <a:ext cx="1087252" cy="671915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-Cast block making and drying (SW)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BA68BD28-43EC-29B5-8278-0262CF470B3B}"/>
              </a:ext>
            </a:extLst>
          </p:cNvPr>
          <p:cNvSpPr/>
          <p:nvPr/>
        </p:nvSpPr>
        <p:spPr>
          <a:xfrm>
            <a:off x="11090722" y="4911052"/>
            <a:ext cx="848492" cy="541928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ulk Mould Production and drying</a:t>
            </a:r>
          </a:p>
        </p:txBody>
      </p: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999B4C29-3852-F228-7634-5DF14712B990}"/>
              </a:ext>
            </a:extLst>
          </p:cNvPr>
          <p:cNvCxnSpPr>
            <a:cxnSpLocks/>
            <a:stCxn id="101" idx="3"/>
          </p:cNvCxnSpPr>
          <p:nvPr/>
        </p:nvCxnSpPr>
        <p:spPr>
          <a:xfrm flipV="1">
            <a:off x="5946922" y="6002587"/>
            <a:ext cx="806773" cy="1509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BDC0E0D6-CBF4-0BB7-2454-68034A8EC06E}"/>
              </a:ext>
            </a:extLst>
          </p:cNvPr>
          <p:cNvCxnSpPr>
            <a:cxnSpLocks/>
            <a:stCxn id="100" idx="3"/>
            <a:endCxn id="101" idx="1"/>
          </p:cNvCxnSpPr>
          <p:nvPr/>
        </p:nvCxnSpPr>
        <p:spPr>
          <a:xfrm flipV="1">
            <a:off x="4106216" y="6017686"/>
            <a:ext cx="608390" cy="116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30088867-61DE-D1FF-709C-9BEEBE4C9222}"/>
              </a:ext>
            </a:extLst>
          </p:cNvPr>
          <p:cNvCxnSpPr>
            <a:cxnSpLocks/>
          </p:cNvCxnSpPr>
          <p:nvPr/>
        </p:nvCxnSpPr>
        <p:spPr>
          <a:xfrm flipV="1">
            <a:off x="8077713" y="6002587"/>
            <a:ext cx="806773" cy="1509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060E2553-CFE7-0C17-A01A-070C06F354B0}"/>
              </a:ext>
            </a:extLst>
          </p:cNvPr>
          <p:cNvCxnSpPr>
            <a:cxnSpLocks/>
          </p:cNvCxnSpPr>
          <p:nvPr/>
        </p:nvCxnSpPr>
        <p:spPr>
          <a:xfrm rot="10800000">
            <a:off x="2207574" y="5376306"/>
            <a:ext cx="2098978" cy="633833"/>
          </a:xfrm>
          <a:prstGeom prst="bentConnector3">
            <a:avLst>
              <a:gd name="adj1" fmla="val -220"/>
            </a:avLst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5" name="Connector: Elbow 194">
            <a:extLst>
              <a:ext uri="{FF2B5EF4-FFF2-40B4-BE49-F238E27FC236}">
                <a16:creationId xmlns:a16="http://schemas.microsoft.com/office/drawing/2014/main" id="{A93FA312-0498-0A13-E25C-4DD9C3AE3BB9}"/>
              </a:ext>
            </a:extLst>
          </p:cNvPr>
          <p:cNvCxnSpPr>
            <a:endCxn id="101" idx="0"/>
          </p:cNvCxnSpPr>
          <p:nvPr/>
        </p:nvCxnSpPr>
        <p:spPr>
          <a:xfrm rot="10800000">
            <a:off x="5330764" y="5782068"/>
            <a:ext cx="3254436" cy="228069"/>
          </a:xfrm>
          <a:prstGeom prst="bentConnector4">
            <a:avLst>
              <a:gd name="adj1" fmla="val -943"/>
              <a:gd name="adj2" fmla="val 200233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8" name="TextBox 197">
            <a:extLst>
              <a:ext uri="{FF2B5EF4-FFF2-40B4-BE49-F238E27FC236}">
                <a16:creationId xmlns:a16="http://schemas.microsoft.com/office/drawing/2014/main" id="{90F178B3-2546-6BA5-3374-727344E2788C}"/>
              </a:ext>
            </a:extLst>
          </p:cNvPr>
          <p:cNvSpPr txBox="1"/>
          <p:nvPr/>
        </p:nvSpPr>
        <p:spPr>
          <a:xfrm>
            <a:off x="7325200" y="2402172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2B034D5-38BB-2E08-B672-4DD8F1A71DC3}"/>
              </a:ext>
            </a:extLst>
          </p:cNvPr>
          <p:cNvSpPr txBox="1"/>
          <p:nvPr/>
        </p:nvSpPr>
        <p:spPr>
          <a:xfrm rot="16200000">
            <a:off x="8597319" y="2989980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0869F69E-0365-8633-A402-CCF90F0D1F11}"/>
              </a:ext>
            </a:extLst>
          </p:cNvPr>
          <p:cNvSpPr txBox="1"/>
          <p:nvPr/>
        </p:nvSpPr>
        <p:spPr>
          <a:xfrm>
            <a:off x="3969275" y="3272492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C7D8046C-B61B-AE86-3BDB-61AB3F61F1C6}"/>
              </a:ext>
            </a:extLst>
          </p:cNvPr>
          <p:cNvSpPr txBox="1"/>
          <p:nvPr/>
        </p:nvSpPr>
        <p:spPr>
          <a:xfrm>
            <a:off x="4200108" y="4457125"/>
            <a:ext cx="4311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DFBA986D-4FA8-46BB-0B49-4BC2806710A7}"/>
              </a:ext>
            </a:extLst>
          </p:cNvPr>
          <p:cNvSpPr txBox="1"/>
          <p:nvPr/>
        </p:nvSpPr>
        <p:spPr>
          <a:xfrm>
            <a:off x="8238167" y="3837390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A33AEA1C-571C-C06B-0795-68AAC4F800AB}"/>
              </a:ext>
            </a:extLst>
          </p:cNvPr>
          <p:cNvSpPr txBox="1"/>
          <p:nvPr/>
        </p:nvSpPr>
        <p:spPr>
          <a:xfrm rot="16200000">
            <a:off x="2571833" y="3825768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8A2F4F95-4A1F-1184-1DD6-331FA9D76E96}"/>
              </a:ext>
            </a:extLst>
          </p:cNvPr>
          <p:cNvSpPr txBox="1"/>
          <p:nvPr/>
        </p:nvSpPr>
        <p:spPr>
          <a:xfrm rot="5400000">
            <a:off x="1343491" y="4010946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906FD881-62C1-3EB5-B8AB-D949367C9F18}"/>
              </a:ext>
            </a:extLst>
          </p:cNvPr>
          <p:cNvSpPr txBox="1"/>
          <p:nvPr/>
        </p:nvSpPr>
        <p:spPr>
          <a:xfrm>
            <a:off x="2410309" y="5553597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4EFAEC17-9A8D-152E-2C38-0C12E53726F1}"/>
              </a:ext>
            </a:extLst>
          </p:cNvPr>
          <p:cNvSpPr txBox="1"/>
          <p:nvPr/>
        </p:nvSpPr>
        <p:spPr>
          <a:xfrm>
            <a:off x="4264302" y="5516903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A70C5E74-DA75-8003-3E25-336EA4EB7C07}"/>
              </a:ext>
            </a:extLst>
          </p:cNvPr>
          <p:cNvSpPr txBox="1"/>
          <p:nvPr/>
        </p:nvSpPr>
        <p:spPr>
          <a:xfrm>
            <a:off x="197444" y="5692096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370252C8-23CE-680A-6E96-5575A053DB86}"/>
              </a:ext>
            </a:extLst>
          </p:cNvPr>
          <p:cNvSpPr txBox="1"/>
          <p:nvPr/>
        </p:nvSpPr>
        <p:spPr>
          <a:xfrm>
            <a:off x="4185845" y="6017685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02C1F32A-5D69-9AB9-1860-E27C0E1B9373}"/>
              </a:ext>
            </a:extLst>
          </p:cNvPr>
          <p:cNvSpPr txBox="1"/>
          <p:nvPr/>
        </p:nvSpPr>
        <p:spPr>
          <a:xfrm>
            <a:off x="6107775" y="603686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08C706D2-2B45-D96C-76FB-988A97CB9B16}"/>
              </a:ext>
            </a:extLst>
          </p:cNvPr>
          <p:cNvSpPr txBox="1"/>
          <p:nvPr/>
        </p:nvSpPr>
        <p:spPr>
          <a:xfrm>
            <a:off x="8262758" y="6025236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641749C2-ED44-3DFF-9E53-488800982232}"/>
              </a:ext>
            </a:extLst>
          </p:cNvPr>
          <p:cNvSpPr txBox="1"/>
          <p:nvPr/>
        </p:nvSpPr>
        <p:spPr>
          <a:xfrm>
            <a:off x="10214211" y="603686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96ED7ADA-F2EA-B24D-B910-33D14D178CFA}"/>
              </a:ext>
            </a:extLst>
          </p:cNvPr>
          <p:cNvSpPr txBox="1"/>
          <p:nvPr/>
        </p:nvSpPr>
        <p:spPr>
          <a:xfrm>
            <a:off x="11260159" y="5424772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274FE3B-3196-2044-12D2-98671580ABFA}"/>
              </a:ext>
            </a:extLst>
          </p:cNvPr>
          <p:cNvSpPr/>
          <p:nvPr/>
        </p:nvSpPr>
        <p:spPr>
          <a:xfrm>
            <a:off x="199918" y="6462691"/>
            <a:ext cx="2288721" cy="25677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w Product Planning (NPP</a:t>
            </a: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 (Only Sanitary) + Indent Signoff (CP)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455F5A45-C361-B1FB-9B3E-738B33D8C32D}"/>
              </a:ext>
            </a:extLst>
          </p:cNvPr>
          <p:cNvCxnSpPr>
            <a:cxnSpLocks/>
          </p:cNvCxnSpPr>
          <p:nvPr/>
        </p:nvCxnSpPr>
        <p:spPr>
          <a:xfrm>
            <a:off x="1427650" y="3137160"/>
            <a:ext cx="6410" cy="33714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E309A71F-C4AC-6DEA-5832-B84A67A2751F}"/>
              </a:ext>
            </a:extLst>
          </p:cNvPr>
          <p:cNvCxnSpPr>
            <a:cxnSpLocks/>
          </p:cNvCxnSpPr>
          <p:nvPr/>
        </p:nvCxnSpPr>
        <p:spPr>
          <a:xfrm>
            <a:off x="1456056" y="3882128"/>
            <a:ext cx="0" cy="100888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080204A-26D9-B372-AE15-2B65FD1FFB9E}"/>
              </a:ext>
            </a:extLst>
          </p:cNvPr>
          <p:cNvSpPr/>
          <p:nvPr/>
        </p:nvSpPr>
        <p:spPr>
          <a:xfrm>
            <a:off x="167249" y="4535939"/>
            <a:ext cx="728719" cy="76872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ster Mould + Tooling + Est. COGS</a:t>
            </a:r>
          </a:p>
        </p:txBody>
      </p: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0ADB1225-F1EC-B688-E359-5DE48E7A5FE0}"/>
              </a:ext>
            </a:extLst>
          </p:cNvPr>
          <p:cNvCxnSpPr>
            <a:cxnSpLocks/>
            <a:stCxn id="77" idx="2"/>
          </p:cNvCxnSpPr>
          <p:nvPr/>
        </p:nvCxnSpPr>
        <p:spPr>
          <a:xfrm rot="16200000" flipH="1">
            <a:off x="582913" y="5253356"/>
            <a:ext cx="387436" cy="490044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D1236B4-EF3B-3EA9-6E74-CF193C53D2D5}"/>
              </a:ext>
            </a:extLst>
          </p:cNvPr>
          <p:cNvSpPr/>
          <p:nvPr/>
        </p:nvSpPr>
        <p:spPr>
          <a:xfrm>
            <a:off x="9946571" y="2734317"/>
            <a:ext cx="915028" cy="498566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mercial Production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9A9D7C7-ABA6-AC94-FB37-2EBC877E1047}"/>
              </a:ext>
            </a:extLst>
          </p:cNvPr>
          <p:cNvSpPr/>
          <p:nvPr/>
        </p:nvSpPr>
        <p:spPr>
          <a:xfrm>
            <a:off x="11213786" y="2737568"/>
            <a:ext cx="915028" cy="839449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orting and QC and dispatch</a:t>
            </a:r>
          </a:p>
        </p:txBody>
      </p: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A4ECBE04-4D24-5F69-FA95-20A1643B97E8}"/>
              </a:ext>
            </a:extLst>
          </p:cNvPr>
          <p:cNvCxnSpPr>
            <a:cxnSpLocks/>
          </p:cNvCxnSpPr>
          <p:nvPr/>
        </p:nvCxnSpPr>
        <p:spPr>
          <a:xfrm flipV="1">
            <a:off x="11671300" y="5475527"/>
            <a:ext cx="0" cy="29144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C75F7333-A9DC-7A9C-9284-D35988D5A2F8}"/>
              </a:ext>
            </a:extLst>
          </p:cNvPr>
          <p:cNvSpPr/>
          <p:nvPr/>
        </p:nvSpPr>
        <p:spPr>
          <a:xfrm>
            <a:off x="5113453" y="3740664"/>
            <a:ext cx="825681" cy="6008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 Selection + Sampling + Validation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26B3F5DE-9989-2DDD-C503-AAFB0C6BF4D4}"/>
              </a:ext>
            </a:extLst>
          </p:cNvPr>
          <p:cNvSpPr/>
          <p:nvPr/>
        </p:nvSpPr>
        <p:spPr>
          <a:xfrm>
            <a:off x="6250898" y="4040740"/>
            <a:ext cx="1065261" cy="4637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dent Signoff (Operational documentation)</a:t>
            </a:r>
          </a:p>
        </p:txBody>
      </p: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1C7780A8-B271-3E15-8833-5A1CE0B19D79}"/>
              </a:ext>
            </a:extLst>
          </p:cNvPr>
          <p:cNvCxnSpPr>
            <a:cxnSpLocks/>
            <a:stCxn id="29" idx="0"/>
            <a:endCxn id="34" idx="1"/>
          </p:cNvCxnSpPr>
          <p:nvPr/>
        </p:nvCxnSpPr>
        <p:spPr>
          <a:xfrm rot="5400000" flipH="1" flipV="1">
            <a:off x="4162660" y="3247397"/>
            <a:ext cx="586255" cy="357343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28B43B83-A3F3-EA92-E06C-D4B06302D98E}"/>
              </a:ext>
            </a:extLst>
          </p:cNvPr>
          <p:cNvCxnSpPr>
            <a:cxnSpLocks/>
          </p:cNvCxnSpPr>
          <p:nvPr/>
        </p:nvCxnSpPr>
        <p:spPr>
          <a:xfrm>
            <a:off x="3626256" y="4391151"/>
            <a:ext cx="47996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1" name="Connector: Elbow 130">
            <a:extLst>
              <a:ext uri="{FF2B5EF4-FFF2-40B4-BE49-F238E27FC236}">
                <a16:creationId xmlns:a16="http://schemas.microsoft.com/office/drawing/2014/main" id="{010971F8-C521-218F-AA7A-06ABC1275EE3}"/>
              </a:ext>
            </a:extLst>
          </p:cNvPr>
          <p:cNvCxnSpPr>
            <a:cxnSpLocks/>
            <a:stCxn id="81" idx="0"/>
          </p:cNvCxnSpPr>
          <p:nvPr/>
        </p:nvCxnSpPr>
        <p:spPr>
          <a:xfrm rot="5400000" flipH="1" flipV="1">
            <a:off x="5759285" y="3313365"/>
            <a:ext cx="194308" cy="660291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538D83A-D555-AB27-3838-50715CB1D42D}"/>
              </a:ext>
            </a:extLst>
          </p:cNvPr>
          <p:cNvSpPr/>
          <p:nvPr/>
        </p:nvSpPr>
        <p:spPr>
          <a:xfrm>
            <a:off x="6556315" y="4659573"/>
            <a:ext cx="766377" cy="30845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</a:p>
        </p:txBody>
      </p: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77A1338F-9F30-2E93-E834-BC10744A11E7}"/>
              </a:ext>
            </a:extLst>
          </p:cNvPr>
          <p:cNvCxnSpPr>
            <a:cxnSpLocks/>
            <a:stCxn id="83" idx="2"/>
            <a:endCxn id="132" idx="1"/>
          </p:cNvCxnSpPr>
          <p:nvPr/>
        </p:nvCxnSpPr>
        <p:spPr>
          <a:xfrm rot="5400000">
            <a:off x="6515290" y="4545562"/>
            <a:ext cx="309265" cy="227214"/>
          </a:xfrm>
          <a:prstGeom prst="bentConnector4">
            <a:avLst>
              <a:gd name="adj1" fmla="val 25065"/>
              <a:gd name="adj2" fmla="val 200610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7" name="Connector: Elbow 136">
            <a:extLst>
              <a:ext uri="{FF2B5EF4-FFF2-40B4-BE49-F238E27FC236}">
                <a16:creationId xmlns:a16="http://schemas.microsoft.com/office/drawing/2014/main" id="{C59F96AF-E5D4-6570-5D4D-55FAFD833547}"/>
              </a:ext>
            </a:extLst>
          </p:cNvPr>
          <p:cNvCxnSpPr>
            <a:cxnSpLocks/>
            <a:stCxn id="132" idx="3"/>
            <a:endCxn id="30" idx="2"/>
          </p:cNvCxnSpPr>
          <p:nvPr/>
        </p:nvCxnSpPr>
        <p:spPr>
          <a:xfrm flipV="1">
            <a:off x="7322692" y="4654447"/>
            <a:ext cx="557142" cy="159355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71AA854E-2386-BBF4-6E6C-13A180F21CA6}"/>
              </a:ext>
            </a:extLst>
          </p:cNvPr>
          <p:cNvSpPr txBox="1"/>
          <p:nvPr/>
        </p:nvSpPr>
        <p:spPr>
          <a:xfrm>
            <a:off x="5655817" y="3491905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7B536DFA-9206-E444-8D00-24F15139A3E6}"/>
              </a:ext>
            </a:extLst>
          </p:cNvPr>
          <p:cNvSpPr txBox="1"/>
          <p:nvPr/>
        </p:nvSpPr>
        <p:spPr>
          <a:xfrm>
            <a:off x="6188462" y="476688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09A2FB7-02D4-8633-E4DF-235F35618768}"/>
              </a:ext>
            </a:extLst>
          </p:cNvPr>
          <p:cNvSpPr txBox="1"/>
          <p:nvPr/>
        </p:nvSpPr>
        <p:spPr>
          <a:xfrm>
            <a:off x="7380223" y="456082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1B14932D-6FAA-703A-7171-EE5FB7984213}"/>
              </a:ext>
            </a:extLst>
          </p:cNvPr>
          <p:cNvSpPr/>
          <p:nvPr/>
        </p:nvSpPr>
        <p:spPr>
          <a:xfrm>
            <a:off x="4548798" y="4480962"/>
            <a:ext cx="931755" cy="47096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ple Availability + Estimate  COGS</a:t>
            </a:r>
          </a:p>
        </p:txBody>
      </p:sp>
      <p:cxnSp>
        <p:nvCxnSpPr>
          <p:cNvPr id="152" name="Connector: Elbow 151">
            <a:extLst>
              <a:ext uri="{FF2B5EF4-FFF2-40B4-BE49-F238E27FC236}">
                <a16:creationId xmlns:a16="http://schemas.microsoft.com/office/drawing/2014/main" id="{957C0B00-3E7B-8865-DE46-7406473FF277}"/>
              </a:ext>
            </a:extLst>
          </p:cNvPr>
          <p:cNvCxnSpPr>
            <a:endCxn id="150" idx="1"/>
          </p:cNvCxnSpPr>
          <p:nvPr/>
        </p:nvCxnSpPr>
        <p:spPr>
          <a:xfrm>
            <a:off x="4264302" y="4477353"/>
            <a:ext cx="284496" cy="239091"/>
          </a:xfrm>
          <a:prstGeom prst="bentConnector3">
            <a:avLst>
              <a:gd name="adj1" fmla="val -3568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2BB11717-2A50-44A4-CEFF-D62B9943F05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399112" y="4458368"/>
            <a:ext cx="493668" cy="293695"/>
          </a:xfrm>
          <a:prstGeom prst="bentConnector3">
            <a:avLst>
              <a:gd name="adj1" fmla="val -1452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7" name="TextBox 156">
            <a:extLst>
              <a:ext uri="{FF2B5EF4-FFF2-40B4-BE49-F238E27FC236}">
                <a16:creationId xmlns:a16="http://schemas.microsoft.com/office/drawing/2014/main" id="{9514949A-11C7-EAA2-0EFC-ECFFF4F48669}"/>
              </a:ext>
            </a:extLst>
          </p:cNvPr>
          <p:cNvSpPr txBox="1"/>
          <p:nvPr/>
        </p:nvSpPr>
        <p:spPr>
          <a:xfrm>
            <a:off x="5423320" y="4575050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F77D0D90-CCC7-4F88-303F-7479714B0D4B}"/>
              </a:ext>
            </a:extLst>
          </p:cNvPr>
          <p:cNvSpPr txBox="1"/>
          <p:nvPr/>
        </p:nvSpPr>
        <p:spPr>
          <a:xfrm rot="16200000">
            <a:off x="1339437" y="3114607"/>
            <a:ext cx="4608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62218964-5D5E-47A2-59C4-F3B8194CFFAE}"/>
              </a:ext>
            </a:extLst>
          </p:cNvPr>
          <p:cNvSpPr/>
          <p:nvPr/>
        </p:nvSpPr>
        <p:spPr>
          <a:xfrm>
            <a:off x="2879630" y="4898918"/>
            <a:ext cx="1171889" cy="31201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velop + Validate</a:t>
            </a:r>
          </a:p>
        </p:txBody>
      </p:sp>
      <p:cxnSp>
        <p:nvCxnSpPr>
          <p:cNvPr id="165" name="Connector: Elbow 164">
            <a:extLst>
              <a:ext uri="{FF2B5EF4-FFF2-40B4-BE49-F238E27FC236}">
                <a16:creationId xmlns:a16="http://schemas.microsoft.com/office/drawing/2014/main" id="{A66D65CF-7507-ACE4-B8FE-96368BA2423C}"/>
              </a:ext>
            </a:extLst>
          </p:cNvPr>
          <p:cNvCxnSpPr>
            <a:cxnSpLocks/>
            <a:endCxn id="159" idx="0"/>
          </p:cNvCxnSpPr>
          <p:nvPr/>
        </p:nvCxnSpPr>
        <p:spPr>
          <a:xfrm rot="10800000" flipV="1">
            <a:off x="3465575" y="4792200"/>
            <a:ext cx="1064426" cy="106718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7" name="TextBox 166">
            <a:extLst>
              <a:ext uri="{FF2B5EF4-FFF2-40B4-BE49-F238E27FC236}">
                <a16:creationId xmlns:a16="http://schemas.microsoft.com/office/drawing/2014/main" id="{EFB98AAE-67FD-C985-1BE2-E379DA4BD3E4}"/>
              </a:ext>
            </a:extLst>
          </p:cNvPr>
          <p:cNvSpPr txBox="1"/>
          <p:nvPr/>
        </p:nvSpPr>
        <p:spPr>
          <a:xfrm>
            <a:off x="3572298" y="4567778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cxnSp>
        <p:nvCxnSpPr>
          <p:cNvPr id="171" name="Connector: Elbow 170">
            <a:extLst>
              <a:ext uri="{FF2B5EF4-FFF2-40B4-BE49-F238E27FC236}">
                <a16:creationId xmlns:a16="http://schemas.microsoft.com/office/drawing/2014/main" id="{58BC9929-BEA6-A92B-F27A-835ABAD36AEF}"/>
              </a:ext>
            </a:extLst>
          </p:cNvPr>
          <p:cNvCxnSpPr>
            <a:cxnSpLocks/>
            <a:stCxn id="159" idx="3"/>
          </p:cNvCxnSpPr>
          <p:nvPr/>
        </p:nvCxnSpPr>
        <p:spPr>
          <a:xfrm flipV="1">
            <a:off x="4051519" y="4324161"/>
            <a:ext cx="2160657" cy="730763"/>
          </a:xfrm>
          <a:prstGeom prst="bentConnector3">
            <a:avLst>
              <a:gd name="adj1" fmla="val 90557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0" name="Connector: Elbow 179">
            <a:extLst>
              <a:ext uri="{FF2B5EF4-FFF2-40B4-BE49-F238E27FC236}">
                <a16:creationId xmlns:a16="http://schemas.microsoft.com/office/drawing/2014/main" id="{FC3748A7-80C2-9007-5991-16F0685AFC66}"/>
              </a:ext>
            </a:extLst>
          </p:cNvPr>
          <p:cNvCxnSpPr>
            <a:endCxn id="150" idx="0"/>
          </p:cNvCxnSpPr>
          <p:nvPr/>
        </p:nvCxnSpPr>
        <p:spPr>
          <a:xfrm rot="5400000">
            <a:off x="4800486" y="3950684"/>
            <a:ext cx="744468" cy="316088"/>
          </a:xfrm>
          <a:prstGeom prst="bentConnector3">
            <a:avLst>
              <a:gd name="adj1" fmla="val -21648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7B76DFD4-084F-6176-D114-A73D7B716491}"/>
              </a:ext>
            </a:extLst>
          </p:cNvPr>
          <p:cNvSpPr txBox="1"/>
          <p:nvPr/>
        </p:nvSpPr>
        <p:spPr>
          <a:xfrm>
            <a:off x="5007537" y="3539509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F4638A19-CC18-CC00-6A76-7CAEC6C0048B}"/>
              </a:ext>
            </a:extLst>
          </p:cNvPr>
          <p:cNvCxnSpPr/>
          <p:nvPr/>
        </p:nvCxnSpPr>
        <p:spPr>
          <a:xfrm>
            <a:off x="4945928" y="3429000"/>
            <a:ext cx="0" cy="107553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7" name="TextBox 186">
            <a:extLst>
              <a:ext uri="{FF2B5EF4-FFF2-40B4-BE49-F238E27FC236}">
                <a16:creationId xmlns:a16="http://schemas.microsoft.com/office/drawing/2014/main" id="{EA910919-5FE6-41DF-580E-7471C5A99EFD}"/>
              </a:ext>
            </a:extLst>
          </p:cNvPr>
          <p:cNvSpPr txBox="1"/>
          <p:nvPr/>
        </p:nvSpPr>
        <p:spPr>
          <a:xfrm rot="16200000">
            <a:off x="4572049" y="3563644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4AC29533-5897-1CF3-B5EA-106E98D68337}"/>
              </a:ext>
            </a:extLst>
          </p:cNvPr>
          <p:cNvSpPr txBox="1"/>
          <p:nvPr/>
        </p:nvSpPr>
        <p:spPr>
          <a:xfrm rot="5400000">
            <a:off x="10828326" y="135992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1E0B8DD5-EF5D-FE9F-0B99-F6210886B396}"/>
              </a:ext>
            </a:extLst>
          </p:cNvPr>
          <p:cNvSpPr/>
          <p:nvPr/>
        </p:nvSpPr>
        <p:spPr>
          <a:xfrm>
            <a:off x="10986448" y="287523"/>
            <a:ext cx="1030200" cy="541928"/>
          </a:xfrm>
          <a:prstGeom prst="ellipse">
            <a:avLst/>
          </a:prstGeom>
          <a:solidFill>
            <a:srgbClr val="F5555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nd of Project</a:t>
            </a:r>
          </a:p>
        </p:txBody>
      </p: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440D03F5-C401-996B-EA17-DDA73DEA90CE}"/>
              </a:ext>
            </a:extLst>
          </p:cNvPr>
          <p:cNvCxnSpPr>
            <a:cxnSpLocks/>
            <a:endCxn id="189" idx="2"/>
          </p:cNvCxnSpPr>
          <p:nvPr/>
        </p:nvCxnSpPr>
        <p:spPr>
          <a:xfrm>
            <a:off x="9609011" y="549102"/>
            <a:ext cx="1377437" cy="938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4" name="TextBox 193">
            <a:extLst>
              <a:ext uri="{FF2B5EF4-FFF2-40B4-BE49-F238E27FC236}">
                <a16:creationId xmlns:a16="http://schemas.microsoft.com/office/drawing/2014/main" id="{FCD5694C-9709-7B5D-E8B3-4C6BA53BF564}"/>
              </a:ext>
            </a:extLst>
          </p:cNvPr>
          <p:cNvSpPr txBox="1"/>
          <p:nvPr/>
        </p:nvSpPr>
        <p:spPr>
          <a:xfrm>
            <a:off x="9959818" y="296485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cxnSp>
        <p:nvCxnSpPr>
          <p:cNvPr id="258" name="Connector: Elbow 257">
            <a:extLst>
              <a:ext uri="{FF2B5EF4-FFF2-40B4-BE49-F238E27FC236}">
                <a16:creationId xmlns:a16="http://schemas.microsoft.com/office/drawing/2014/main" id="{B3D0AC27-E6ED-3677-00BA-A64953711B52}"/>
              </a:ext>
            </a:extLst>
          </p:cNvPr>
          <p:cNvCxnSpPr>
            <a:cxnSpLocks/>
            <a:stCxn id="28" idx="3"/>
            <a:endCxn id="31" idx="1"/>
          </p:cNvCxnSpPr>
          <p:nvPr/>
        </p:nvCxnSpPr>
        <p:spPr>
          <a:xfrm>
            <a:off x="1994494" y="2915282"/>
            <a:ext cx="977932" cy="124448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60" name="Rectangle 259">
            <a:extLst>
              <a:ext uri="{FF2B5EF4-FFF2-40B4-BE49-F238E27FC236}">
                <a16:creationId xmlns:a16="http://schemas.microsoft.com/office/drawing/2014/main" id="{71519860-E136-D089-16A1-5746F056E274}"/>
              </a:ext>
            </a:extLst>
          </p:cNvPr>
          <p:cNvSpPr/>
          <p:nvPr/>
        </p:nvSpPr>
        <p:spPr>
          <a:xfrm>
            <a:off x="723900" y="3477534"/>
            <a:ext cx="1487216" cy="39090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 design + Estimate COGS</a:t>
            </a:r>
          </a:p>
        </p:txBody>
      </p:sp>
      <p:cxnSp>
        <p:nvCxnSpPr>
          <p:cNvPr id="270" name="Connector: Elbow 269">
            <a:extLst>
              <a:ext uri="{FF2B5EF4-FFF2-40B4-BE49-F238E27FC236}">
                <a16:creationId xmlns:a16="http://schemas.microsoft.com/office/drawing/2014/main" id="{990A24ED-B959-DCB2-E59E-56A9D20CEDD9}"/>
              </a:ext>
            </a:extLst>
          </p:cNvPr>
          <p:cNvCxnSpPr>
            <a:cxnSpLocks/>
            <a:stCxn id="99" idx="3"/>
          </p:cNvCxnSpPr>
          <p:nvPr/>
        </p:nvCxnSpPr>
        <p:spPr>
          <a:xfrm flipH="1" flipV="1">
            <a:off x="2002085" y="5384977"/>
            <a:ext cx="205533" cy="372168"/>
          </a:xfrm>
          <a:prstGeom prst="bentConnector4">
            <a:avLst>
              <a:gd name="adj1" fmla="val -111223"/>
              <a:gd name="adj2" fmla="val 66118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2" name="Connector: Elbow 271">
            <a:extLst>
              <a:ext uri="{FF2B5EF4-FFF2-40B4-BE49-F238E27FC236}">
                <a16:creationId xmlns:a16="http://schemas.microsoft.com/office/drawing/2014/main" id="{E5CAF8D1-9133-60A8-2D56-542DBFA1979E}"/>
              </a:ext>
            </a:extLst>
          </p:cNvPr>
          <p:cNvCxnSpPr>
            <a:stCxn id="40" idx="3"/>
            <a:endCxn id="100" idx="2"/>
          </p:cNvCxnSpPr>
          <p:nvPr/>
        </p:nvCxnSpPr>
        <p:spPr>
          <a:xfrm flipV="1">
            <a:off x="2488639" y="6264939"/>
            <a:ext cx="1008550" cy="326139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73" name="TextBox 272">
            <a:extLst>
              <a:ext uri="{FF2B5EF4-FFF2-40B4-BE49-F238E27FC236}">
                <a16:creationId xmlns:a16="http://schemas.microsoft.com/office/drawing/2014/main" id="{002FE6AD-5D67-F50D-DDC8-2C6D7F386D1E}"/>
              </a:ext>
            </a:extLst>
          </p:cNvPr>
          <p:cNvSpPr txBox="1"/>
          <p:nvPr/>
        </p:nvSpPr>
        <p:spPr>
          <a:xfrm>
            <a:off x="2700723" y="6368479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cxnSp>
        <p:nvCxnSpPr>
          <p:cNvPr id="279" name="Connector: Elbow 278">
            <a:extLst>
              <a:ext uri="{FF2B5EF4-FFF2-40B4-BE49-F238E27FC236}">
                <a16:creationId xmlns:a16="http://schemas.microsoft.com/office/drawing/2014/main" id="{B251B887-D26D-A0B3-5B3E-18EA2E9B94D9}"/>
              </a:ext>
            </a:extLst>
          </p:cNvPr>
          <p:cNvCxnSpPr>
            <a:cxnSpLocks/>
          </p:cNvCxnSpPr>
          <p:nvPr/>
        </p:nvCxnSpPr>
        <p:spPr>
          <a:xfrm flipV="1">
            <a:off x="2488639" y="6427534"/>
            <a:ext cx="7396961" cy="291931"/>
          </a:xfrm>
          <a:prstGeom prst="bentConnector3">
            <a:avLst>
              <a:gd name="adj1" fmla="val 100001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82" name="TextBox 281">
            <a:extLst>
              <a:ext uri="{FF2B5EF4-FFF2-40B4-BE49-F238E27FC236}">
                <a16:creationId xmlns:a16="http://schemas.microsoft.com/office/drawing/2014/main" id="{53C140EF-C7D3-6C9A-9169-7414E9134953}"/>
              </a:ext>
            </a:extLst>
          </p:cNvPr>
          <p:cNvSpPr txBox="1"/>
          <p:nvPr/>
        </p:nvSpPr>
        <p:spPr>
          <a:xfrm>
            <a:off x="6138943" y="6442466"/>
            <a:ext cx="10872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 (For CP)</a:t>
            </a:r>
          </a:p>
        </p:txBody>
      </p:sp>
      <p:sp>
        <p:nvSpPr>
          <p:cNvPr id="283" name="Oval 282">
            <a:extLst>
              <a:ext uri="{FF2B5EF4-FFF2-40B4-BE49-F238E27FC236}">
                <a16:creationId xmlns:a16="http://schemas.microsoft.com/office/drawing/2014/main" id="{931F7BA1-384F-E632-6F88-DAA3AAD82FD5}"/>
              </a:ext>
            </a:extLst>
          </p:cNvPr>
          <p:cNvSpPr/>
          <p:nvPr/>
        </p:nvSpPr>
        <p:spPr>
          <a:xfrm>
            <a:off x="8697310" y="4968031"/>
            <a:ext cx="1188290" cy="50165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alidation</a:t>
            </a:r>
          </a:p>
        </p:txBody>
      </p:sp>
      <p:cxnSp>
        <p:nvCxnSpPr>
          <p:cNvPr id="285" name="Straight Arrow Connector 284">
            <a:extLst>
              <a:ext uri="{FF2B5EF4-FFF2-40B4-BE49-F238E27FC236}">
                <a16:creationId xmlns:a16="http://schemas.microsoft.com/office/drawing/2014/main" id="{F0DE2896-9446-09A7-20E4-E428BF9B8316}"/>
              </a:ext>
            </a:extLst>
          </p:cNvPr>
          <p:cNvCxnSpPr/>
          <p:nvPr/>
        </p:nvCxnSpPr>
        <p:spPr>
          <a:xfrm flipV="1">
            <a:off x="9144000" y="5475527"/>
            <a:ext cx="0" cy="29144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7" name="Connector: Elbow 286">
            <a:extLst>
              <a:ext uri="{FF2B5EF4-FFF2-40B4-BE49-F238E27FC236}">
                <a16:creationId xmlns:a16="http://schemas.microsoft.com/office/drawing/2014/main" id="{C0276DF6-129B-37C0-B091-4395A63F70C8}"/>
              </a:ext>
            </a:extLst>
          </p:cNvPr>
          <p:cNvCxnSpPr>
            <a:cxnSpLocks/>
          </p:cNvCxnSpPr>
          <p:nvPr/>
        </p:nvCxnSpPr>
        <p:spPr>
          <a:xfrm flipV="1">
            <a:off x="9277678" y="4631743"/>
            <a:ext cx="423289" cy="322258"/>
          </a:xfrm>
          <a:prstGeom prst="bentConnector3">
            <a:avLst>
              <a:gd name="adj1" fmla="val 2274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0" name="TextBox 289">
            <a:extLst>
              <a:ext uri="{FF2B5EF4-FFF2-40B4-BE49-F238E27FC236}">
                <a16:creationId xmlns:a16="http://schemas.microsoft.com/office/drawing/2014/main" id="{88CA2C75-1CD9-3022-C4C2-EA7C3073CFED}"/>
              </a:ext>
            </a:extLst>
          </p:cNvPr>
          <p:cNvSpPr txBox="1"/>
          <p:nvPr/>
        </p:nvSpPr>
        <p:spPr>
          <a:xfrm rot="16200000">
            <a:off x="8761142" y="4524020"/>
            <a:ext cx="79778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 (For CP)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1C01EDD4-C3DB-B757-AD30-08346B5208CB}"/>
              </a:ext>
            </a:extLst>
          </p:cNvPr>
          <p:cNvSpPr txBox="1"/>
          <p:nvPr/>
        </p:nvSpPr>
        <p:spPr>
          <a:xfrm>
            <a:off x="9092949" y="5543167"/>
            <a:ext cx="9002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 (For CP)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5D35A864-A8FD-CBD2-6609-022A49466E88}"/>
              </a:ext>
            </a:extLst>
          </p:cNvPr>
          <p:cNvSpPr txBox="1"/>
          <p:nvPr/>
        </p:nvSpPr>
        <p:spPr>
          <a:xfrm>
            <a:off x="6617392" y="5339374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cxnSp>
        <p:nvCxnSpPr>
          <p:cNvPr id="299" name="Straight Arrow Connector 298">
            <a:extLst>
              <a:ext uri="{FF2B5EF4-FFF2-40B4-BE49-F238E27FC236}">
                <a16:creationId xmlns:a16="http://schemas.microsoft.com/office/drawing/2014/main" id="{BEC052EC-50CE-A1C4-5575-1126F09CC748}"/>
              </a:ext>
            </a:extLst>
          </p:cNvPr>
          <p:cNvCxnSpPr/>
          <p:nvPr/>
        </p:nvCxnSpPr>
        <p:spPr>
          <a:xfrm>
            <a:off x="10214211" y="6002587"/>
            <a:ext cx="468313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70428000-938C-EAA0-6011-851EA71FB2A6}"/>
              </a:ext>
            </a:extLst>
          </p:cNvPr>
          <p:cNvSpPr/>
          <p:nvPr/>
        </p:nvSpPr>
        <p:spPr>
          <a:xfrm>
            <a:off x="2611938" y="509666"/>
            <a:ext cx="1299768" cy="689543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rket Survey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CC688CA-D698-33F1-99A1-AC0C93CB26E9}"/>
              </a:ext>
            </a:extLst>
          </p:cNvPr>
          <p:cNvCxnSpPr>
            <a:cxnSpLocks/>
          </p:cNvCxnSpPr>
          <p:nvPr/>
        </p:nvCxnSpPr>
        <p:spPr>
          <a:xfrm>
            <a:off x="3962137" y="878911"/>
            <a:ext cx="475942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D94F994A-2FDD-77FB-F383-06D71499618D}"/>
              </a:ext>
            </a:extLst>
          </p:cNvPr>
          <p:cNvCxnSpPr>
            <a:cxnSpLocks/>
          </p:cNvCxnSpPr>
          <p:nvPr/>
        </p:nvCxnSpPr>
        <p:spPr>
          <a:xfrm rot="16200000" flipV="1">
            <a:off x="6176539" y="1985956"/>
            <a:ext cx="2683863" cy="697853"/>
          </a:xfrm>
          <a:prstGeom prst="bentConnector3">
            <a:avLst>
              <a:gd name="adj1" fmla="val 99834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0CB218E0-C566-B6A3-280C-7EF3BE16D1F8}"/>
              </a:ext>
            </a:extLst>
          </p:cNvPr>
          <p:cNvCxnSpPr>
            <a:cxnSpLocks/>
          </p:cNvCxnSpPr>
          <p:nvPr/>
        </p:nvCxnSpPr>
        <p:spPr>
          <a:xfrm flipH="1">
            <a:off x="5990754" y="2873647"/>
            <a:ext cx="1877735" cy="446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3245202F-A40A-0D84-4E77-8A379AEF125C}"/>
              </a:ext>
            </a:extLst>
          </p:cNvPr>
          <p:cNvCxnSpPr>
            <a:cxnSpLocks/>
            <a:stCxn id="74" idx="3"/>
          </p:cNvCxnSpPr>
          <p:nvPr/>
        </p:nvCxnSpPr>
        <p:spPr>
          <a:xfrm flipV="1">
            <a:off x="2207574" y="4449684"/>
            <a:ext cx="744777" cy="691003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51094293-9C41-7C13-6FB3-E06CEA076EEC}"/>
              </a:ext>
            </a:extLst>
          </p:cNvPr>
          <p:cNvSpPr txBox="1"/>
          <p:nvPr/>
        </p:nvSpPr>
        <p:spPr>
          <a:xfrm rot="16200000">
            <a:off x="2233056" y="4654447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6A5244A-885D-31B8-40A6-5789FBA5BD91}"/>
              </a:ext>
            </a:extLst>
          </p:cNvPr>
          <p:cNvSpPr/>
          <p:nvPr/>
        </p:nvSpPr>
        <p:spPr>
          <a:xfrm>
            <a:off x="9695287" y="4204135"/>
            <a:ext cx="1564872" cy="57189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 evaluation through market survey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E07F5359-53BC-0856-D9C3-838C42CAC1F9}"/>
              </a:ext>
            </a:extLst>
          </p:cNvPr>
          <p:cNvCxnSpPr>
            <a:cxnSpLocks/>
            <a:stCxn id="106" idx="3"/>
          </p:cNvCxnSpPr>
          <p:nvPr/>
        </p:nvCxnSpPr>
        <p:spPr>
          <a:xfrm>
            <a:off x="10861599" y="2983600"/>
            <a:ext cx="35218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67E1B1EF-76AD-415E-5747-A353F6425E73}"/>
              </a:ext>
            </a:extLst>
          </p:cNvPr>
          <p:cNvCxnSpPr>
            <a:cxnSpLocks/>
            <a:stCxn id="10" idx="1"/>
          </p:cNvCxnSpPr>
          <p:nvPr/>
        </p:nvCxnSpPr>
        <p:spPr>
          <a:xfrm rot="10800000" flipV="1">
            <a:off x="908052" y="2203552"/>
            <a:ext cx="251187" cy="573723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1E73FC38-3FB0-7367-F774-6E29B1B5A6C3}"/>
              </a:ext>
            </a:extLst>
          </p:cNvPr>
          <p:cNvSpPr/>
          <p:nvPr/>
        </p:nvSpPr>
        <p:spPr>
          <a:xfrm>
            <a:off x="2801300" y="1858779"/>
            <a:ext cx="1304915" cy="689546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PP/ Indent – </a:t>
            </a:r>
            <a:r>
              <a:rPr kumimoji="0" lang="en-I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gt</a:t>
            </a: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Cost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6D8FA69-57C6-36A1-FFA6-6D5D69BBCA66}"/>
              </a:ext>
            </a:extLst>
          </p:cNvPr>
          <p:cNvCxnSpPr/>
          <p:nvPr/>
        </p:nvCxnSpPr>
        <p:spPr>
          <a:xfrm flipH="1">
            <a:off x="4118297" y="2203554"/>
            <a:ext cx="67315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48E5C12-4A27-94A8-5B6E-F739FD0DD6CD}"/>
              </a:ext>
            </a:extLst>
          </p:cNvPr>
          <p:cNvCxnSpPr/>
          <p:nvPr/>
        </p:nvCxnSpPr>
        <p:spPr>
          <a:xfrm flipH="1">
            <a:off x="2156293" y="2188561"/>
            <a:ext cx="64500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5AA08C3C-2392-65C6-B830-BA7D08ED72BE}"/>
              </a:ext>
            </a:extLst>
          </p:cNvPr>
          <p:cNvCxnSpPr>
            <a:stCxn id="30" idx="3"/>
            <a:endCxn id="62" idx="1"/>
          </p:cNvCxnSpPr>
          <p:nvPr/>
        </p:nvCxnSpPr>
        <p:spPr>
          <a:xfrm>
            <a:off x="8434468" y="4141033"/>
            <a:ext cx="1260819" cy="349049"/>
          </a:xfrm>
          <a:prstGeom prst="bentConnector3">
            <a:avLst>
              <a:gd name="adj1" fmla="val 74456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EA6C88C6-BEBE-023F-3AAE-249DEB19DC5A}"/>
              </a:ext>
            </a:extLst>
          </p:cNvPr>
          <p:cNvCxnSpPr>
            <a:stCxn id="105" idx="1"/>
            <a:endCxn id="62" idx="2"/>
          </p:cNvCxnSpPr>
          <p:nvPr/>
        </p:nvCxnSpPr>
        <p:spPr>
          <a:xfrm rot="10800000">
            <a:off x="10477724" y="4776028"/>
            <a:ext cx="612999" cy="405988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8A3A782-C7F2-ABD6-1C06-E7F261DD430B}"/>
              </a:ext>
            </a:extLst>
          </p:cNvPr>
          <p:cNvSpPr/>
          <p:nvPr/>
        </p:nvSpPr>
        <p:spPr>
          <a:xfrm>
            <a:off x="9258898" y="3466233"/>
            <a:ext cx="1727837" cy="498566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ustomer or Employee End user feedback</a:t>
            </a:r>
          </a:p>
        </p:txBody>
      </p: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C9553BB8-6802-5AF7-243A-842D6479EDA5}"/>
              </a:ext>
            </a:extLst>
          </p:cNvPr>
          <p:cNvCxnSpPr>
            <a:cxnSpLocks/>
            <a:stCxn id="62" idx="3"/>
            <a:endCxn id="52" idx="3"/>
          </p:cNvCxnSpPr>
          <p:nvPr/>
        </p:nvCxnSpPr>
        <p:spPr>
          <a:xfrm flipH="1" flipV="1">
            <a:off x="10986735" y="3715516"/>
            <a:ext cx="273424" cy="774566"/>
          </a:xfrm>
          <a:prstGeom prst="bentConnector3">
            <a:avLst>
              <a:gd name="adj1" fmla="val -83606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C9CD196B-482E-3E8B-A5BA-507AEC51E44E}"/>
              </a:ext>
            </a:extLst>
          </p:cNvPr>
          <p:cNvCxnSpPr>
            <a:cxnSpLocks/>
            <a:stCxn id="52" idx="1"/>
          </p:cNvCxnSpPr>
          <p:nvPr/>
        </p:nvCxnSpPr>
        <p:spPr>
          <a:xfrm rot="10800000" flipH="1">
            <a:off x="9258898" y="2932984"/>
            <a:ext cx="630272" cy="782532"/>
          </a:xfrm>
          <a:prstGeom prst="bentConnector4">
            <a:avLst>
              <a:gd name="adj1" fmla="val -36270"/>
              <a:gd name="adj2" fmla="val 99896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C915CF8-ED93-1DCD-0CE1-A9066CDEA80E}"/>
              </a:ext>
            </a:extLst>
          </p:cNvPr>
          <p:cNvSpPr/>
          <p:nvPr/>
        </p:nvSpPr>
        <p:spPr>
          <a:xfrm>
            <a:off x="6195626" y="2941522"/>
            <a:ext cx="1377025" cy="9206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sortment Finalization – Inform Quality &amp; Service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BOM Creation – Quality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P Code Creation – Service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pare Cost Sharing – To Service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ternative Spares List – From Quality Team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6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77C8A0A-2C75-615B-6C90-1D7C7B79908F}"/>
              </a:ext>
            </a:extLst>
          </p:cNvPr>
          <p:cNvCxnSpPr>
            <a:cxnSpLocks/>
          </p:cNvCxnSpPr>
          <p:nvPr/>
        </p:nvCxnSpPr>
        <p:spPr>
          <a:xfrm>
            <a:off x="6586313" y="3882128"/>
            <a:ext cx="0" cy="14657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9163C205-0622-5C2C-8C61-66D7D3A3496C}"/>
              </a:ext>
            </a:extLst>
          </p:cNvPr>
          <p:cNvCxnSpPr>
            <a:endCxn id="77" idx="0"/>
          </p:cNvCxnSpPr>
          <p:nvPr/>
        </p:nvCxnSpPr>
        <p:spPr>
          <a:xfrm rot="10800000">
            <a:off x="531609" y="4535940"/>
            <a:ext cx="812670" cy="355071"/>
          </a:xfrm>
          <a:prstGeom prst="bentConnector4">
            <a:avLst>
              <a:gd name="adj1" fmla="val 108"/>
              <a:gd name="adj2" fmla="val 164381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7EC5BB8E-3589-B89A-D809-03060CFA0670}"/>
              </a:ext>
            </a:extLst>
          </p:cNvPr>
          <p:cNvSpPr/>
          <p:nvPr/>
        </p:nvSpPr>
        <p:spPr>
          <a:xfrm>
            <a:off x="156322" y="5980152"/>
            <a:ext cx="901268" cy="36716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2FB06397-92D9-BDB8-0388-CB5978B0DD7A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4129" y="5766969"/>
            <a:ext cx="457524" cy="223007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88A49C09-0B71-00EF-E203-0F4E93A4C15B}"/>
              </a:ext>
            </a:extLst>
          </p:cNvPr>
          <p:cNvCxnSpPr>
            <a:stCxn id="79" idx="3"/>
          </p:cNvCxnSpPr>
          <p:nvPr/>
        </p:nvCxnSpPr>
        <p:spPr>
          <a:xfrm>
            <a:off x="1057590" y="6163735"/>
            <a:ext cx="936904" cy="275149"/>
          </a:xfrm>
          <a:prstGeom prst="bentConnector3">
            <a:avLst>
              <a:gd name="adj1" fmla="val 99934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9E42A2F9-80F4-AF98-75A4-694B9A843ACB}"/>
              </a:ext>
            </a:extLst>
          </p:cNvPr>
          <p:cNvSpPr txBox="1"/>
          <p:nvPr/>
        </p:nvSpPr>
        <p:spPr>
          <a:xfrm>
            <a:off x="7322692" y="3623389"/>
            <a:ext cx="317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#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6AF28EAC-D9DD-BE76-2C5B-AADAD0B8AF6E}"/>
              </a:ext>
            </a:extLst>
          </p:cNvPr>
          <p:cNvSpPr txBox="1"/>
          <p:nvPr/>
        </p:nvSpPr>
        <p:spPr>
          <a:xfrm>
            <a:off x="422224" y="6040715"/>
            <a:ext cx="317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4981992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5D8E8F-46A1-3C1E-EAB1-9E7BA3D4A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think-cell data - do not delete" hidden="1">
            <a:extLst>
              <a:ext uri="{FF2B5EF4-FFF2-40B4-BE49-F238E27FC236}">
                <a16:creationId xmlns:a16="http://schemas.microsoft.com/office/drawing/2014/main" id="{BAC47230-BC7B-7AE6-A5C3-510B404AC4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C47230-BC7B-7AE6-A5C3-510B404AC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8D7ADF2F-B9F8-F72E-1952-3CD3C43F41D1}"/>
              </a:ext>
            </a:extLst>
          </p:cNvPr>
          <p:cNvCxnSpPr>
            <a:cxnSpLocks/>
            <a:stCxn id="50" idx="0"/>
            <a:endCxn id="111" idx="2"/>
          </p:cNvCxnSpPr>
          <p:nvPr/>
        </p:nvCxnSpPr>
        <p:spPr>
          <a:xfrm flipV="1">
            <a:off x="3141311" y="2145337"/>
            <a:ext cx="8897" cy="450198"/>
          </a:xfrm>
          <a:prstGeom prst="straightConnector1">
            <a:avLst/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07D8F49-B7BD-DF94-634F-C3CD512C5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000583" cy="590880"/>
          </a:xfrm>
        </p:spPr>
        <p:txBody>
          <a:bodyPr vert="horz"/>
          <a:lstStyle/>
          <a:p>
            <a:r>
              <a:rPr lang="en-US"/>
              <a:t>Make-Vs-Buy Decision Tre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3254F9-EC70-86EE-C4CA-F0D8A8F14F31}"/>
              </a:ext>
            </a:extLst>
          </p:cNvPr>
          <p:cNvSpPr/>
          <p:nvPr/>
        </p:nvSpPr>
        <p:spPr>
          <a:xfrm>
            <a:off x="471192" y="2686245"/>
            <a:ext cx="1322288" cy="5010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 there competitive advantage as per product strategy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56A8504-38F0-FCEE-7159-DF039EC7479E}"/>
              </a:ext>
            </a:extLst>
          </p:cNvPr>
          <p:cNvSpPr/>
          <p:nvPr/>
        </p:nvSpPr>
        <p:spPr>
          <a:xfrm>
            <a:off x="10150830" y="982453"/>
            <a:ext cx="1451641" cy="3668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Make in-hou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2081B37-023B-E3D4-A4FE-9A19994912BF}"/>
              </a:ext>
            </a:extLst>
          </p:cNvPr>
          <p:cNvSpPr/>
          <p:nvPr/>
        </p:nvSpPr>
        <p:spPr>
          <a:xfrm>
            <a:off x="10150830" y="1751429"/>
            <a:ext cx="1451641" cy="3668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nvest to make in-hous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23CB5F-0F10-A225-A87C-AEDEF11CAEF5}"/>
              </a:ext>
            </a:extLst>
          </p:cNvPr>
          <p:cNvSpPr/>
          <p:nvPr/>
        </p:nvSpPr>
        <p:spPr>
          <a:xfrm>
            <a:off x="10150830" y="2235532"/>
            <a:ext cx="1451641" cy="3668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Buy from suppli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BC569A-6DF7-EF53-902E-077926FF4EF0}"/>
              </a:ext>
            </a:extLst>
          </p:cNvPr>
          <p:cNvSpPr/>
          <p:nvPr/>
        </p:nvSpPr>
        <p:spPr>
          <a:xfrm>
            <a:off x="10150830" y="2719635"/>
            <a:ext cx="1451641" cy="3668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nvest in supplier (Outsourcing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6477E5-A947-358D-930B-928064FFA712}"/>
              </a:ext>
            </a:extLst>
          </p:cNvPr>
          <p:cNvSpPr/>
          <p:nvPr/>
        </p:nvSpPr>
        <p:spPr>
          <a:xfrm>
            <a:off x="10150830" y="3203738"/>
            <a:ext cx="1451641" cy="3668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Redefine or do not make the produc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9EF4881-353F-D067-E36A-E6F28894828B}"/>
              </a:ext>
            </a:extLst>
          </p:cNvPr>
          <p:cNvSpPr/>
          <p:nvPr/>
        </p:nvSpPr>
        <p:spPr>
          <a:xfrm>
            <a:off x="10150830" y="5140150"/>
            <a:ext cx="1451641" cy="3668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nvest to make in-hous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72225D8-239D-724F-DD4F-E1497C7AFBB2}"/>
              </a:ext>
            </a:extLst>
          </p:cNvPr>
          <p:cNvSpPr/>
          <p:nvPr/>
        </p:nvSpPr>
        <p:spPr>
          <a:xfrm>
            <a:off x="10150830" y="5624250"/>
            <a:ext cx="1451641" cy="3668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Buy from supplier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A78514-8145-CC64-3B43-816CBC66C099}"/>
              </a:ext>
            </a:extLst>
          </p:cNvPr>
          <p:cNvSpPr/>
          <p:nvPr/>
        </p:nvSpPr>
        <p:spPr>
          <a:xfrm>
            <a:off x="10150830" y="4171944"/>
            <a:ext cx="1451641" cy="3668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nvest in supplier (Outsourcing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5D48092-5FCE-CD72-F692-233573778241}"/>
              </a:ext>
            </a:extLst>
          </p:cNvPr>
          <p:cNvSpPr/>
          <p:nvPr/>
        </p:nvSpPr>
        <p:spPr>
          <a:xfrm>
            <a:off x="10150830" y="4656047"/>
            <a:ext cx="1451641" cy="3668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Redefine or do not make the product</a:t>
            </a:r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324583F8-DB7E-063C-A15C-C8F52DDB8C23}"/>
              </a:ext>
            </a:extLst>
          </p:cNvPr>
          <p:cNvCxnSpPr>
            <a:cxnSpLocks/>
            <a:stCxn id="5" idx="3"/>
            <a:endCxn id="28" idx="1"/>
          </p:cNvCxnSpPr>
          <p:nvPr/>
        </p:nvCxnSpPr>
        <p:spPr>
          <a:xfrm>
            <a:off x="1826139" y="4157995"/>
            <a:ext cx="8324691" cy="1649686"/>
          </a:xfrm>
          <a:prstGeom prst="bentConnector3">
            <a:avLst>
              <a:gd name="adj1" fmla="val 2794"/>
            </a:avLst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2937F18C-1980-81FB-794A-54A3C5103EA7}"/>
              </a:ext>
            </a:extLst>
          </p:cNvPr>
          <p:cNvCxnSpPr>
            <a:cxnSpLocks/>
            <a:stCxn id="4" idx="3"/>
            <a:endCxn id="50" idx="1"/>
          </p:cNvCxnSpPr>
          <p:nvPr/>
        </p:nvCxnSpPr>
        <p:spPr>
          <a:xfrm flipV="1">
            <a:off x="1793480" y="2928974"/>
            <a:ext cx="796138" cy="7789"/>
          </a:xfrm>
          <a:prstGeom prst="bentConnector3">
            <a:avLst>
              <a:gd name="adj1" fmla="val 50000"/>
            </a:avLst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DE607302-4B29-9A00-9B38-4AEA764C496E}"/>
              </a:ext>
            </a:extLst>
          </p:cNvPr>
          <p:cNvSpPr/>
          <p:nvPr/>
        </p:nvSpPr>
        <p:spPr>
          <a:xfrm>
            <a:off x="1969741" y="2808107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7B0F569-C673-26E8-5323-7643C164D284}"/>
              </a:ext>
            </a:extLst>
          </p:cNvPr>
          <p:cNvSpPr/>
          <p:nvPr/>
        </p:nvSpPr>
        <p:spPr>
          <a:xfrm>
            <a:off x="2589618" y="2595535"/>
            <a:ext cx="1103386" cy="6668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Do we have the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Development &amp; 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manufacturing capabilty?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DB36CA2-5DFE-52C5-64D4-01EF895C31BE}"/>
              </a:ext>
            </a:extLst>
          </p:cNvPr>
          <p:cNvSpPr/>
          <p:nvPr/>
        </p:nvSpPr>
        <p:spPr>
          <a:xfrm>
            <a:off x="2327717" y="4150504"/>
            <a:ext cx="1637357" cy="4001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 there an IP risk in outsourcing?</a:t>
            </a:r>
          </a:p>
        </p:txBody>
      </p: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1EE8570B-F78B-2C93-90F0-E8A2561D75DF}"/>
              </a:ext>
            </a:extLst>
          </p:cNvPr>
          <p:cNvCxnSpPr>
            <a:cxnSpLocks/>
            <a:stCxn id="58" idx="2"/>
            <a:endCxn id="20" idx="1"/>
          </p:cNvCxnSpPr>
          <p:nvPr/>
        </p:nvCxnSpPr>
        <p:spPr>
          <a:xfrm rot="16200000" flipH="1">
            <a:off x="3054129" y="4642941"/>
            <a:ext cx="776006" cy="591473"/>
          </a:xfrm>
          <a:prstGeom prst="bentConnector2">
            <a:avLst/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C9C18E01-8BEC-C458-25C1-E9A8B6697721}"/>
              </a:ext>
            </a:extLst>
          </p:cNvPr>
          <p:cNvSpPr/>
          <p:nvPr/>
        </p:nvSpPr>
        <p:spPr>
          <a:xfrm>
            <a:off x="2961166" y="4741476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4440EFE-254E-3C0D-C990-181E35531E12}"/>
              </a:ext>
            </a:extLst>
          </p:cNvPr>
          <p:cNvSpPr/>
          <p:nvPr/>
        </p:nvSpPr>
        <p:spPr>
          <a:xfrm>
            <a:off x="7661216" y="4167159"/>
            <a:ext cx="1369983" cy="3668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 there a business case to outsource?</a:t>
            </a:r>
          </a:p>
        </p:txBody>
      </p: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E5B6AC18-9397-8667-4556-2DAE7362282E}"/>
              </a:ext>
            </a:extLst>
          </p:cNvPr>
          <p:cNvCxnSpPr>
            <a:cxnSpLocks/>
            <a:stCxn id="82" idx="3"/>
            <a:endCxn id="29" idx="1"/>
          </p:cNvCxnSpPr>
          <p:nvPr/>
        </p:nvCxnSpPr>
        <p:spPr>
          <a:xfrm>
            <a:off x="9031199" y="4350590"/>
            <a:ext cx="1119631" cy="4785"/>
          </a:xfrm>
          <a:prstGeom prst="bentConnector3">
            <a:avLst>
              <a:gd name="adj1" fmla="val 50000"/>
            </a:avLst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AE0E54DC-EA9D-200F-71EB-793F85D5E18D}"/>
              </a:ext>
            </a:extLst>
          </p:cNvPr>
          <p:cNvSpPr/>
          <p:nvPr/>
        </p:nvSpPr>
        <p:spPr>
          <a:xfrm>
            <a:off x="9278422" y="4248589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A5BCBC4-B78B-56D4-2CAD-09A15C70F8D5}"/>
              </a:ext>
            </a:extLst>
          </p:cNvPr>
          <p:cNvSpPr/>
          <p:nvPr/>
        </p:nvSpPr>
        <p:spPr>
          <a:xfrm>
            <a:off x="2958907" y="2320107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2E6A1DB-03F9-0FCB-1291-CB6BA70F8011}"/>
              </a:ext>
            </a:extLst>
          </p:cNvPr>
          <p:cNvSpPr/>
          <p:nvPr/>
        </p:nvSpPr>
        <p:spPr>
          <a:xfrm>
            <a:off x="2432482" y="1644302"/>
            <a:ext cx="1435451" cy="5010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Does it meet the manufacturing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rms of produt-mix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?</a:t>
            </a:r>
          </a:p>
        </p:txBody>
      </p: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AD900CC2-5157-CDC3-5E46-5C8DE46A487B}"/>
              </a:ext>
            </a:extLst>
          </p:cNvPr>
          <p:cNvCxnSpPr>
            <a:cxnSpLocks/>
            <a:stCxn id="111" idx="0"/>
            <a:endCxn id="124" idx="1"/>
          </p:cNvCxnSpPr>
          <p:nvPr/>
        </p:nvCxnSpPr>
        <p:spPr>
          <a:xfrm rot="5400000" flipH="1" flipV="1">
            <a:off x="3352184" y="965654"/>
            <a:ext cx="476673" cy="880625"/>
          </a:xfrm>
          <a:prstGeom prst="bentConnector2">
            <a:avLst/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nector: Elbow 120">
            <a:extLst>
              <a:ext uri="{FF2B5EF4-FFF2-40B4-BE49-F238E27FC236}">
                <a16:creationId xmlns:a16="http://schemas.microsoft.com/office/drawing/2014/main" id="{052AA393-00DE-17F3-FA90-814692276895}"/>
              </a:ext>
            </a:extLst>
          </p:cNvPr>
          <p:cNvCxnSpPr>
            <a:cxnSpLocks/>
            <a:stCxn id="111" idx="3"/>
            <a:endCxn id="127" idx="1"/>
          </p:cNvCxnSpPr>
          <p:nvPr/>
        </p:nvCxnSpPr>
        <p:spPr>
          <a:xfrm>
            <a:off x="3867933" y="1894820"/>
            <a:ext cx="374109" cy="1038154"/>
          </a:xfrm>
          <a:prstGeom prst="bentConnector3">
            <a:avLst>
              <a:gd name="adj1" fmla="val 50000"/>
            </a:avLst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E5A5B3DE-74B1-02A9-7F65-80A5C833FC93}"/>
              </a:ext>
            </a:extLst>
          </p:cNvPr>
          <p:cNvSpPr/>
          <p:nvPr/>
        </p:nvSpPr>
        <p:spPr>
          <a:xfrm>
            <a:off x="4030833" y="977512"/>
            <a:ext cx="1305927" cy="38023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 making in house competitive?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FABD3F4B-2E03-B8EA-CD5C-463426C58238}"/>
              </a:ext>
            </a:extLst>
          </p:cNvPr>
          <p:cNvSpPr/>
          <p:nvPr/>
        </p:nvSpPr>
        <p:spPr>
          <a:xfrm>
            <a:off x="2966420" y="1336868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8B068A34-101D-F412-A58C-57CE288CCB7A}"/>
              </a:ext>
            </a:extLst>
          </p:cNvPr>
          <p:cNvSpPr/>
          <p:nvPr/>
        </p:nvSpPr>
        <p:spPr>
          <a:xfrm>
            <a:off x="3850241" y="2320107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B2B20D5B-F61D-A111-36A6-6C88CACB81C5}"/>
              </a:ext>
            </a:extLst>
          </p:cNvPr>
          <p:cNvSpPr/>
          <p:nvPr/>
        </p:nvSpPr>
        <p:spPr>
          <a:xfrm>
            <a:off x="4242042" y="2734490"/>
            <a:ext cx="1248182" cy="3969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 there an IP risk in outsourcing?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14389637-101E-6434-7D71-39EFB7545A71}"/>
              </a:ext>
            </a:extLst>
          </p:cNvPr>
          <p:cNvSpPr/>
          <p:nvPr/>
        </p:nvSpPr>
        <p:spPr>
          <a:xfrm>
            <a:off x="6572300" y="980055"/>
            <a:ext cx="1698898" cy="3693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 in-house capacity available?</a:t>
            </a:r>
          </a:p>
        </p:txBody>
      </p:sp>
      <p:cxnSp>
        <p:nvCxnSpPr>
          <p:cNvPr id="130" name="Connector: Elbow 129">
            <a:extLst>
              <a:ext uri="{FF2B5EF4-FFF2-40B4-BE49-F238E27FC236}">
                <a16:creationId xmlns:a16="http://schemas.microsoft.com/office/drawing/2014/main" id="{31E04123-509C-AE29-9A1A-B89CCD8F8D94}"/>
              </a:ext>
            </a:extLst>
          </p:cNvPr>
          <p:cNvCxnSpPr>
            <a:cxnSpLocks/>
            <a:stCxn id="124" idx="3"/>
            <a:endCxn id="129" idx="1"/>
          </p:cNvCxnSpPr>
          <p:nvPr/>
        </p:nvCxnSpPr>
        <p:spPr>
          <a:xfrm flipV="1">
            <a:off x="5336760" y="1164725"/>
            <a:ext cx="1235540" cy="2904"/>
          </a:xfrm>
          <a:prstGeom prst="bentConnector3">
            <a:avLst>
              <a:gd name="adj1" fmla="val 50000"/>
            </a:avLst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>
            <a:extLst>
              <a:ext uri="{FF2B5EF4-FFF2-40B4-BE49-F238E27FC236}">
                <a16:creationId xmlns:a16="http://schemas.microsoft.com/office/drawing/2014/main" id="{92F41A02-291A-CEBE-AE12-9A6DE17CB395}"/>
              </a:ext>
            </a:extLst>
          </p:cNvPr>
          <p:cNvSpPr/>
          <p:nvPr/>
        </p:nvSpPr>
        <p:spPr>
          <a:xfrm>
            <a:off x="5639923" y="1042889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8D14CBD8-2B17-D3A9-337C-42D2B2EEA584}"/>
              </a:ext>
            </a:extLst>
          </p:cNvPr>
          <p:cNvCxnSpPr>
            <a:cxnSpLocks/>
            <a:stCxn id="124" idx="2"/>
            <a:endCxn id="145" idx="1"/>
          </p:cNvCxnSpPr>
          <p:nvPr/>
        </p:nvCxnSpPr>
        <p:spPr>
          <a:xfrm rot="16200000" flipH="1">
            <a:off x="5347110" y="694432"/>
            <a:ext cx="574235" cy="1900860"/>
          </a:xfrm>
          <a:prstGeom prst="bentConnector2">
            <a:avLst/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tangle 136">
            <a:extLst>
              <a:ext uri="{FF2B5EF4-FFF2-40B4-BE49-F238E27FC236}">
                <a16:creationId xmlns:a16="http://schemas.microsoft.com/office/drawing/2014/main" id="{08EF38E4-8D82-907B-B6DE-CB7FA06AE23C}"/>
              </a:ext>
            </a:extLst>
          </p:cNvPr>
          <p:cNvSpPr/>
          <p:nvPr/>
        </p:nvSpPr>
        <p:spPr>
          <a:xfrm>
            <a:off x="5639923" y="1811433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61F8C7FB-55D1-062D-DBDB-B8204BB4B2F9}"/>
              </a:ext>
            </a:extLst>
          </p:cNvPr>
          <p:cNvCxnSpPr>
            <a:cxnSpLocks/>
            <a:stCxn id="129" idx="3"/>
            <a:endCxn id="7" idx="1"/>
          </p:cNvCxnSpPr>
          <p:nvPr/>
        </p:nvCxnSpPr>
        <p:spPr>
          <a:xfrm>
            <a:off x="8271198" y="1164725"/>
            <a:ext cx="1879632" cy="1159"/>
          </a:xfrm>
          <a:prstGeom prst="bentConnector3">
            <a:avLst>
              <a:gd name="adj1" fmla="val 50000"/>
            </a:avLst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tangle 140">
            <a:extLst>
              <a:ext uri="{FF2B5EF4-FFF2-40B4-BE49-F238E27FC236}">
                <a16:creationId xmlns:a16="http://schemas.microsoft.com/office/drawing/2014/main" id="{11CC5912-B9B5-85BF-8944-392ABEB4F3EE}"/>
              </a:ext>
            </a:extLst>
          </p:cNvPr>
          <p:cNvSpPr/>
          <p:nvPr/>
        </p:nvSpPr>
        <p:spPr>
          <a:xfrm>
            <a:off x="9127518" y="1042889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00519657-C8FE-77B0-0B8E-8A737B3DC088}"/>
              </a:ext>
            </a:extLst>
          </p:cNvPr>
          <p:cNvSpPr/>
          <p:nvPr/>
        </p:nvSpPr>
        <p:spPr>
          <a:xfrm>
            <a:off x="6584657" y="1741537"/>
            <a:ext cx="1698898" cy="3808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 there a business case to make in-house?</a:t>
            </a:r>
          </a:p>
        </p:txBody>
      </p: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73A98C79-58F8-DCC0-358B-6166581497D9}"/>
              </a:ext>
            </a:extLst>
          </p:cNvPr>
          <p:cNvCxnSpPr>
            <a:cxnSpLocks/>
            <a:stCxn id="129" idx="2"/>
            <a:endCxn id="145" idx="0"/>
          </p:cNvCxnSpPr>
          <p:nvPr/>
        </p:nvCxnSpPr>
        <p:spPr>
          <a:xfrm>
            <a:off x="7421749" y="1349394"/>
            <a:ext cx="12357" cy="392143"/>
          </a:xfrm>
          <a:prstGeom prst="straightConnector1">
            <a:avLst/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Connector: Elbow 149">
            <a:extLst>
              <a:ext uri="{FF2B5EF4-FFF2-40B4-BE49-F238E27FC236}">
                <a16:creationId xmlns:a16="http://schemas.microsoft.com/office/drawing/2014/main" id="{954EC8D6-6489-5C20-7D79-3A95881D3571}"/>
              </a:ext>
            </a:extLst>
          </p:cNvPr>
          <p:cNvCxnSpPr>
            <a:cxnSpLocks/>
            <a:stCxn id="145" idx="3"/>
            <a:endCxn id="8" idx="1"/>
          </p:cNvCxnSpPr>
          <p:nvPr/>
        </p:nvCxnSpPr>
        <p:spPr>
          <a:xfrm>
            <a:off x="8283555" y="1931980"/>
            <a:ext cx="1867275" cy="2880"/>
          </a:xfrm>
          <a:prstGeom prst="bentConnector3">
            <a:avLst>
              <a:gd name="adj1" fmla="val 50000"/>
            </a:avLst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52">
            <a:extLst>
              <a:ext uri="{FF2B5EF4-FFF2-40B4-BE49-F238E27FC236}">
                <a16:creationId xmlns:a16="http://schemas.microsoft.com/office/drawing/2014/main" id="{7B0FD4F1-0C2E-D2FD-81E8-ADF367B2EB13}"/>
              </a:ext>
            </a:extLst>
          </p:cNvPr>
          <p:cNvSpPr/>
          <p:nvPr/>
        </p:nvSpPr>
        <p:spPr>
          <a:xfrm>
            <a:off x="9127518" y="1829528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cxnSp>
        <p:nvCxnSpPr>
          <p:cNvPr id="154" name="Connector: Elbow 153">
            <a:extLst>
              <a:ext uri="{FF2B5EF4-FFF2-40B4-BE49-F238E27FC236}">
                <a16:creationId xmlns:a16="http://schemas.microsoft.com/office/drawing/2014/main" id="{E7DF9358-F17F-84FC-384A-85FB80812B75}"/>
              </a:ext>
            </a:extLst>
          </p:cNvPr>
          <p:cNvCxnSpPr>
            <a:cxnSpLocks/>
            <a:stCxn id="145" idx="2"/>
            <a:endCxn id="169" idx="1"/>
          </p:cNvCxnSpPr>
          <p:nvPr/>
        </p:nvCxnSpPr>
        <p:spPr>
          <a:xfrm rot="5400000">
            <a:off x="6435856" y="1925590"/>
            <a:ext cx="801418" cy="1195083"/>
          </a:xfrm>
          <a:prstGeom prst="bentConnector4">
            <a:avLst>
              <a:gd name="adj1" fmla="val 37197"/>
              <a:gd name="adj2" fmla="val 119128"/>
            </a:avLst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tangle 157">
            <a:extLst>
              <a:ext uri="{FF2B5EF4-FFF2-40B4-BE49-F238E27FC236}">
                <a16:creationId xmlns:a16="http://schemas.microsoft.com/office/drawing/2014/main" id="{2BE8FA04-E55B-9853-14A1-928155169547}"/>
              </a:ext>
            </a:extLst>
          </p:cNvPr>
          <p:cNvSpPr/>
          <p:nvPr/>
        </p:nvSpPr>
        <p:spPr>
          <a:xfrm>
            <a:off x="8179166" y="2729249"/>
            <a:ext cx="1319674" cy="3815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 there a business case to outsource?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550AB2E9-3F19-3370-FD33-16E5609C5DB5}"/>
              </a:ext>
            </a:extLst>
          </p:cNvPr>
          <p:cNvSpPr/>
          <p:nvPr/>
        </p:nvSpPr>
        <p:spPr>
          <a:xfrm>
            <a:off x="5822701" y="2331437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E55D668E-E3AF-7E5E-05A5-DFB1615C4E30}"/>
              </a:ext>
            </a:extLst>
          </p:cNvPr>
          <p:cNvSpPr/>
          <p:nvPr/>
        </p:nvSpPr>
        <p:spPr>
          <a:xfrm>
            <a:off x="5528079" y="4183683"/>
            <a:ext cx="1329545" cy="3338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Are capable suppliers available?</a:t>
            </a:r>
          </a:p>
        </p:txBody>
      </p:sp>
      <p:cxnSp>
        <p:nvCxnSpPr>
          <p:cNvPr id="165" name="Connector: Elbow 164">
            <a:extLst>
              <a:ext uri="{FF2B5EF4-FFF2-40B4-BE49-F238E27FC236}">
                <a16:creationId xmlns:a16="http://schemas.microsoft.com/office/drawing/2014/main" id="{94E2AB11-1B7C-E121-E392-B7CAE9FF8E57}"/>
              </a:ext>
            </a:extLst>
          </p:cNvPr>
          <p:cNvCxnSpPr>
            <a:cxnSpLocks/>
            <a:stCxn id="163" idx="2"/>
            <a:endCxn id="32" idx="1"/>
          </p:cNvCxnSpPr>
          <p:nvPr/>
        </p:nvCxnSpPr>
        <p:spPr>
          <a:xfrm rot="16200000" flipH="1">
            <a:off x="8010850" y="2699497"/>
            <a:ext cx="321983" cy="3957978"/>
          </a:xfrm>
          <a:prstGeom prst="bentConnector2">
            <a:avLst/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1F25B824-318E-1D6B-4009-8C05163E6BF1}"/>
              </a:ext>
            </a:extLst>
          </p:cNvPr>
          <p:cNvSpPr/>
          <p:nvPr/>
        </p:nvSpPr>
        <p:spPr>
          <a:xfrm>
            <a:off x="6239023" y="2740409"/>
            <a:ext cx="1310579" cy="3668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Are capable suppliers available?</a:t>
            </a:r>
          </a:p>
        </p:txBody>
      </p:sp>
      <p:cxnSp>
        <p:nvCxnSpPr>
          <p:cNvPr id="172" name="Connector: Elbow 171">
            <a:extLst>
              <a:ext uri="{FF2B5EF4-FFF2-40B4-BE49-F238E27FC236}">
                <a16:creationId xmlns:a16="http://schemas.microsoft.com/office/drawing/2014/main" id="{E54DAEDE-CEFD-4FBA-5A6A-246DFAB4480E}"/>
              </a:ext>
            </a:extLst>
          </p:cNvPr>
          <p:cNvCxnSpPr>
            <a:cxnSpLocks/>
            <a:stCxn id="169" idx="3"/>
            <a:endCxn id="158" idx="1"/>
          </p:cNvCxnSpPr>
          <p:nvPr/>
        </p:nvCxnSpPr>
        <p:spPr>
          <a:xfrm flipV="1">
            <a:off x="7549602" y="2920012"/>
            <a:ext cx="629564" cy="3828"/>
          </a:xfrm>
          <a:prstGeom prst="bentConnector3">
            <a:avLst>
              <a:gd name="adj1" fmla="val 50000"/>
            </a:avLst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FB4D870D-484D-D9C3-92B9-9EADB3A203C2}"/>
              </a:ext>
            </a:extLst>
          </p:cNvPr>
          <p:cNvSpPr/>
          <p:nvPr/>
        </p:nvSpPr>
        <p:spPr>
          <a:xfrm>
            <a:off x="7615242" y="2808107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cxnSp>
        <p:nvCxnSpPr>
          <p:cNvPr id="175" name="Connector: Elbow 174">
            <a:extLst>
              <a:ext uri="{FF2B5EF4-FFF2-40B4-BE49-F238E27FC236}">
                <a16:creationId xmlns:a16="http://schemas.microsoft.com/office/drawing/2014/main" id="{F527057B-46F4-691C-E9AC-78151DFD4133}"/>
              </a:ext>
            </a:extLst>
          </p:cNvPr>
          <p:cNvCxnSpPr>
            <a:cxnSpLocks/>
            <a:stCxn id="158" idx="3"/>
            <a:endCxn id="13" idx="1"/>
          </p:cNvCxnSpPr>
          <p:nvPr/>
        </p:nvCxnSpPr>
        <p:spPr>
          <a:xfrm flipV="1">
            <a:off x="9498840" y="2903066"/>
            <a:ext cx="651990" cy="1694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FE71DEE8-DCF7-3C66-7274-302269D164A8}"/>
              </a:ext>
            </a:extLst>
          </p:cNvPr>
          <p:cNvCxnSpPr>
            <a:cxnSpLocks/>
            <a:stCxn id="169" idx="2"/>
            <a:endCxn id="14" idx="1"/>
          </p:cNvCxnSpPr>
          <p:nvPr/>
        </p:nvCxnSpPr>
        <p:spPr>
          <a:xfrm rot="16200000" flipH="1">
            <a:off x="8382622" y="1618960"/>
            <a:ext cx="279899" cy="3256517"/>
          </a:xfrm>
          <a:prstGeom prst="bentConnector2">
            <a:avLst/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Connector: Elbow 181">
            <a:extLst>
              <a:ext uri="{FF2B5EF4-FFF2-40B4-BE49-F238E27FC236}">
                <a16:creationId xmlns:a16="http://schemas.microsoft.com/office/drawing/2014/main" id="{EEF1A345-79CB-B91D-BBF8-61737C7EB994}"/>
              </a:ext>
            </a:extLst>
          </p:cNvPr>
          <p:cNvCxnSpPr>
            <a:cxnSpLocks/>
            <a:stCxn id="158" idx="2"/>
            <a:endCxn id="14" idx="1"/>
          </p:cNvCxnSpPr>
          <p:nvPr/>
        </p:nvCxnSpPr>
        <p:spPr>
          <a:xfrm rot="16200000" flipH="1">
            <a:off x="9356719" y="2593057"/>
            <a:ext cx="276395" cy="1311827"/>
          </a:xfrm>
          <a:prstGeom prst="bentConnector2">
            <a:avLst/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Connector: Elbow 184">
            <a:extLst>
              <a:ext uri="{FF2B5EF4-FFF2-40B4-BE49-F238E27FC236}">
                <a16:creationId xmlns:a16="http://schemas.microsoft.com/office/drawing/2014/main" id="{A299E76E-A146-79DC-38EE-4665C4867083}"/>
              </a:ext>
            </a:extLst>
          </p:cNvPr>
          <p:cNvCxnSpPr>
            <a:cxnSpLocks/>
            <a:stCxn id="127" idx="3"/>
            <a:endCxn id="169" idx="1"/>
          </p:cNvCxnSpPr>
          <p:nvPr/>
        </p:nvCxnSpPr>
        <p:spPr>
          <a:xfrm flipV="1">
            <a:off x="5490224" y="2923840"/>
            <a:ext cx="748799" cy="9134"/>
          </a:xfrm>
          <a:prstGeom prst="bentConnector3">
            <a:avLst>
              <a:gd name="adj1" fmla="val 50000"/>
            </a:avLst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Rectangle 188">
            <a:extLst>
              <a:ext uri="{FF2B5EF4-FFF2-40B4-BE49-F238E27FC236}">
                <a16:creationId xmlns:a16="http://schemas.microsoft.com/office/drawing/2014/main" id="{9F9FD815-AF04-8914-9298-6FDB1A1820E6}"/>
              </a:ext>
            </a:extLst>
          </p:cNvPr>
          <p:cNvSpPr/>
          <p:nvPr/>
        </p:nvSpPr>
        <p:spPr>
          <a:xfrm>
            <a:off x="5557046" y="2808107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F0F0EBEF-4F9C-6B2C-82A0-FF044B86B193}"/>
              </a:ext>
            </a:extLst>
          </p:cNvPr>
          <p:cNvCxnSpPr>
            <a:cxnSpLocks/>
            <a:stCxn id="127" idx="2"/>
            <a:endCxn id="199" idx="1"/>
          </p:cNvCxnSpPr>
          <p:nvPr/>
        </p:nvCxnSpPr>
        <p:spPr>
          <a:xfrm rot="16200000" flipH="1">
            <a:off x="4847882" y="3149708"/>
            <a:ext cx="738185" cy="701682"/>
          </a:xfrm>
          <a:prstGeom prst="bentConnector2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Rectangle 193">
            <a:extLst>
              <a:ext uri="{FF2B5EF4-FFF2-40B4-BE49-F238E27FC236}">
                <a16:creationId xmlns:a16="http://schemas.microsoft.com/office/drawing/2014/main" id="{B7B1ACA3-A3BF-6EAC-1BA0-0410F58DEAC1}"/>
              </a:ext>
            </a:extLst>
          </p:cNvPr>
          <p:cNvSpPr/>
          <p:nvPr/>
        </p:nvSpPr>
        <p:spPr>
          <a:xfrm>
            <a:off x="4677979" y="3448033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22519C05-0396-CA8E-F927-345CB72C759E}"/>
              </a:ext>
            </a:extLst>
          </p:cNvPr>
          <p:cNvSpPr/>
          <p:nvPr/>
        </p:nvSpPr>
        <p:spPr>
          <a:xfrm>
            <a:off x="5567815" y="3681995"/>
            <a:ext cx="1598891" cy="3752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 there a business case to make in-house?</a:t>
            </a:r>
          </a:p>
        </p:txBody>
      </p: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8997D930-094B-978B-A326-1F6C49866D8D}"/>
              </a:ext>
            </a:extLst>
          </p:cNvPr>
          <p:cNvCxnSpPr>
            <a:cxnSpLocks/>
            <a:stCxn id="199" idx="3"/>
            <a:endCxn id="10" idx="1"/>
          </p:cNvCxnSpPr>
          <p:nvPr/>
        </p:nvCxnSpPr>
        <p:spPr>
          <a:xfrm>
            <a:off x="7166706" y="3869642"/>
            <a:ext cx="2984124" cy="1630"/>
          </a:xfrm>
          <a:prstGeom prst="bentConnector3">
            <a:avLst>
              <a:gd name="adj1" fmla="val 50000"/>
            </a:avLst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Rectangle 204">
            <a:extLst>
              <a:ext uri="{FF2B5EF4-FFF2-40B4-BE49-F238E27FC236}">
                <a16:creationId xmlns:a16="http://schemas.microsoft.com/office/drawing/2014/main" id="{1078D1B7-0757-67FC-B7A4-D6D43C5E5B35}"/>
              </a:ext>
            </a:extLst>
          </p:cNvPr>
          <p:cNvSpPr/>
          <p:nvPr/>
        </p:nvSpPr>
        <p:spPr>
          <a:xfrm>
            <a:off x="8472379" y="3810459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cxnSp>
        <p:nvCxnSpPr>
          <p:cNvPr id="208" name="Connector: Elbow 207">
            <a:extLst>
              <a:ext uri="{FF2B5EF4-FFF2-40B4-BE49-F238E27FC236}">
                <a16:creationId xmlns:a16="http://schemas.microsoft.com/office/drawing/2014/main" id="{C7CD9287-7049-F545-29A0-055A092F256C}"/>
              </a:ext>
            </a:extLst>
          </p:cNvPr>
          <p:cNvCxnSpPr>
            <a:cxnSpLocks/>
            <a:stCxn id="199" idx="0"/>
            <a:endCxn id="14" idx="1"/>
          </p:cNvCxnSpPr>
          <p:nvPr/>
        </p:nvCxnSpPr>
        <p:spPr>
          <a:xfrm rot="5400000" flipH="1" flipV="1">
            <a:off x="8111632" y="1642798"/>
            <a:ext cx="294826" cy="3783569"/>
          </a:xfrm>
          <a:prstGeom prst="bentConnector2">
            <a:avLst/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180">
            <a:extLst>
              <a:ext uri="{FF2B5EF4-FFF2-40B4-BE49-F238E27FC236}">
                <a16:creationId xmlns:a16="http://schemas.microsoft.com/office/drawing/2014/main" id="{8AF02CAF-F332-8CD3-D59B-E0F6821FEC10}"/>
              </a:ext>
            </a:extLst>
          </p:cNvPr>
          <p:cNvSpPr/>
          <p:nvPr/>
        </p:nvSpPr>
        <p:spPr>
          <a:xfrm>
            <a:off x="9250485" y="3308899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1E5C0368-0278-A8AE-03C9-E768C42CCC7F}"/>
              </a:ext>
            </a:extLst>
          </p:cNvPr>
          <p:cNvSpPr/>
          <p:nvPr/>
        </p:nvSpPr>
        <p:spPr>
          <a:xfrm>
            <a:off x="7250299" y="1397071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39A577-444B-39AF-2BAB-ED49FC3967B7}"/>
              </a:ext>
            </a:extLst>
          </p:cNvPr>
          <p:cNvSpPr/>
          <p:nvPr/>
        </p:nvSpPr>
        <p:spPr>
          <a:xfrm>
            <a:off x="10150830" y="3687841"/>
            <a:ext cx="1451641" cy="3668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nvest to make in-house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B9BB471D-B149-1337-CFB3-46B7C2857C51}"/>
              </a:ext>
            </a:extLst>
          </p:cNvPr>
          <p:cNvCxnSpPr>
            <a:cxnSpLocks/>
            <a:stCxn id="82" idx="2"/>
            <a:endCxn id="32" idx="1"/>
          </p:cNvCxnSpPr>
          <p:nvPr/>
        </p:nvCxnSpPr>
        <p:spPr>
          <a:xfrm rot="16200000" flipH="1">
            <a:off x="9095790" y="3784438"/>
            <a:ext cx="305458" cy="1804622"/>
          </a:xfrm>
          <a:prstGeom prst="bentConnector2">
            <a:avLst/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3FA2D6F-4199-FA52-3380-50C072B9E01F}"/>
              </a:ext>
            </a:extLst>
          </p:cNvPr>
          <p:cNvCxnSpPr>
            <a:cxnSpLocks/>
            <a:stCxn id="58" idx="3"/>
            <a:endCxn id="163" idx="1"/>
          </p:cNvCxnSpPr>
          <p:nvPr/>
        </p:nvCxnSpPr>
        <p:spPr>
          <a:xfrm flipV="1">
            <a:off x="3965074" y="4350589"/>
            <a:ext cx="1563005" cy="1"/>
          </a:xfrm>
          <a:prstGeom prst="straightConnector1">
            <a:avLst/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5BE30D88-801E-DA79-7AFB-397370A885CF}"/>
              </a:ext>
            </a:extLst>
          </p:cNvPr>
          <p:cNvSpPr/>
          <p:nvPr/>
        </p:nvSpPr>
        <p:spPr>
          <a:xfrm>
            <a:off x="4466151" y="4267185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742A68B1-6E97-3FB2-3498-82A2A133DB0B}"/>
              </a:ext>
            </a:extLst>
          </p:cNvPr>
          <p:cNvCxnSpPr>
            <a:cxnSpLocks/>
            <a:stCxn id="163" idx="3"/>
            <a:endCxn id="82" idx="1"/>
          </p:cNvCxnSpPr>
          <p:nvPr/>
        </p:nvCxnSpPr>
        <p:spPr>
          <a:xfrm>
            <a:off x="6857624" y="4350589"/>
            <a:ext cx="803592" cy="1"/>
          </a:xfrm>
          <a:prstGeom prst="straightConnector1">
            <a:avLst/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C29452EA-1F62-008B-73FA-A00F39F92E0B}"/>
              </a:ext>
            </a:extLst>
          </p:cNvPr>
          <p:cNvSpPr/>
          <p:nvPr/>
        </p:nvSpPr>
        <p:spPr>
          <a:xfrm>
            <a:off x="7042296" y="4248589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871D7C1-1F42-0D2F-0D6C-81E4624EF323}"/>
              </a:ext>
            </a:extLst>
          </p:cNvPr>
          <p:cNvSpPr/>
          <p:nvPr/>
        </p:nvSpPr>
        <p:spPr>
          <a:xfrm>
            <a:off x="9580342" y="2808107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5E62DBD6-5555-CD78-D557-352736ED0242}"/>
              </a:ext>
            </a:extLst>
          </p:cNvPr>
          <p:cNvCxnSpPr>
            <a:cxnSpLocks/>
            <a:stCxn id="169" idx="0"/>
            <a:endCxn id="12" idx="1"/>
          </p:cNvCxnSpPr>
          <p:nvPr/>
        </p:nvCxnSpPr>
        <p:spPr>
          <a:xfrm rot="5400000" flipH="1" flipV="1">
            <a:off x="8361848" y="951428"/>
            <a:ext cx="321446" cy="3256517"/>
          </a:xfrm>
          <a:prstGeom prst="bentConnector2">
            <a:avLst/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590E445C-4155-E5C1-4BEF-EBC9EA265C44}"/>
              </a:ext>
            </a:extLst>
          </p:cNvPr>
          <p:cNvSpPr/>
          <p:nvPr/>
        </p:nvSpPr>
        <p:spPr>
          <a:xfrm>
            <a:off x="8224543" y="2302336"/>
            <a:ext cx="372778" cy="239543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0F292262-1AB1-CF37-ECF0-81C3A98179B5}"/>
              </a:ext>
            </a:extLst>
          </p:cNvPr>
          <p:cNvCxnSpPr>
            <a:cxnSpLocks/>
            <a:stCxn id="50" idx="2"/>
            <a:endCxn id="58" idx="0"/>
          </p:cNvCxnSpPr>
          <p:nvPr/>
        </p:nvCxnSpPr>
        <p:spPr>
          <a:xfrm rot="16200000" flipH="1">
            <a:off x="2699808" y="3703915"/>
            <a:ext cx="888091" cy="5085"/>
          </a:xfrm>
          <a:prstGeom prst="bentConnector3">
            <a:avLst>
              <a:gd name="adj1" fmla="val 50000"/>
            </a:avLst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65D0D71A-F10F-47E4-839E-41BDEBBF74D1}"/>
              </a:ext>
            </a:extLst>
          </p:cNvPr>
          <p:cNvSpPr/>
          <p:nvPr/>
        </p:nvSpPr>
        <p:spPr>
          <a:xfrm>
            <a:off x="2957873" y="3434990"/>
            <a:ext cx="389184" cy="230087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30C593-7B5D-69A0-58F2-8671F2FF01A0}"/>
              </a:ext>
            </a:extLst>
          </p:cNvPr>
          <p:cNvSpPr/>
          <p:nvPr/>
        </p:nvSpPr>
        <p:spPr>
          <a:xfrm>
            <a:off x="451205" y="3928208"/>
            <a:ext cx="1374934" cy="4595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 it helping drive capacity utilisation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D9D2C41-BA54-94B5-D484-1428D09F73F6}"/>
              </a:ext>
            </a:extLst>
          </p:cNvPr>
          <p:cNvSpPr/>
          <p:nvPr/>
        </p:nvSpPr>
        <p:spPr>
          <a:xfrm>
            <a:off x="10150829" y="6101793"/>
            <a:ext cx="1451641" cy="3668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Make in-house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65FD552B-1B25-706F-D27C-47E61D6CAB76}"/>
              </a:ext>
            </a:extLst>
          </p:cNvPr>
          <p:cNvCxnSpPr>
            <a:cxnSpLocks/>
            <a:stCxn id="5" idx="2"/>
            <a:endCxn id="6" idx="1"/>
          </p:cNvCxnSpPr>
          <p:nvPr/>
        </p:nvCxnSpPr>
        <p:spPr>
          <a:xfrm rot="16200000" flipH="1">
            <a:off x="4696029" y="830423"/>
            <a:ext cx="1897443" cy="9012157"/>
          </a:xfrm>
          <a:prstGeom prst="bentConnector2">
            <a:avLst/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D1A612E7-6A56-DCEC-37E3-4EF22B40F665}"/>
              </a:ext>
            </a:extLst>
          </p:cNvPr>
          <p:cNvSpPr/>
          <p:nvPr/>
        </p:nvSpPr>
        <p:spPr>
          <a:xfrm>
            <a:off x="1852912" y="4741476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9B091B9-A607-0B03-FD57-033CA0910EFF}"/>
              </a:ext>
            </a:extLst>
          </p:cNvPr>
          <p:cNvSpPr/>
          <p:nvPr/>
        </p:nvSpPr>
        <p:spPr>
          <a:xfrm>
            <a:off x="945947" y="4741476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cxnSp>
        <p:nvCxnSpPr>
          <p:cNvPr id="206" name="Connector: Elbow 205">
            <a:extLst>
              <a:ext uri="{FF2B5EF4-FFF2-40B4-BE49-F238E27FC236}">
                <a16:creationId xmlns:a16="http://schemas.microsoft.com/office/drawing/2014/main" id="{3E1B2040-C6F6-5AE7-B269-C8A9CFCC83E4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 rot="16200000" flipH="1">
            <a:off x="765040" y="3554576"/>
            <a:ext cx="740928" cy="633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9A7EEDC3-007E-065D-BA3E-F51F203DAF4A}"/>
              </a:ext>
            </a:extLst>
          </p:cNvPr>
          <p:cNvSpPr/>
          <p:nvPr/>
        </p:nvSpPr>
        <p:spPr>
          <a:xfrm>
            <a:off x="952769" y="3448033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0D37490-A443-32A7-112A-3C30974A938A}"/>
              </a:ext>
            </a:extLst>
          </p:cNvPr>
          <p:cNvSpPr/>
          <p:nvPr/>
        </p:nvSpPr>
        <p:spPr>
          <a:xfrm>
            <a:off x="3737869" y="5139034"/>
            <a:ext cx="1598891" cy="3752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 there a business case to make in-house?</a:t>
            </a: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B0975FA-81DA-A4F7-C03A-922E931403EE}"/>
              </a:ext>
            </a:extLst>
          </p:cNvPr>
          <p:cNvCxnSpPr>
            <a:cxnSpLocks/>
            <a:stCxn id="20" idx="3"/>
            <a:endCxn id="27" idx="1"/>
          </p:cNvCxnSpPr>
          <p:nvPr/>
        </p:nvCxnSpPr>
        <p:spPr>
          <a:xfrm flipV="1">
            <a:off x="5336760" y="5323581"/>
            <a:ext cx="4814070" cy="3100"/>
          </a:xfrm>
          <a:prstGeom prst="bentConnector3">
            <a:avLst>
              <a:gd name="adj1" fmla="val 50000"/>
            </a:avLst>
          </a:prstGeom>
          <a:ln w="9525">
            <a:solidFill>
              <a:schemeClr val="accent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3FEA5888-D0FA-71CD-7D3A-6FF8F1729215}"/>
              </a:ext>
            </a:extLst>
          </p:cNvPr>
          <p:cNvSpPr/>
          <p:nvPr/>
        </p:nvSpPr>
        <p:spPr>
          <a:xfrm>
            <a:off x="6156628" y="5221580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Yes</a:t>
            </a:r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04E94252-8121-BFE6-41FE-F72CC5A644E2}"/>
              </a:ext>
            </a:extLst>
          </p:cNvPr>
          <p:cNvCxnSpPr>
            <a:cxnSpLocks/>
            <a:stCxn id="20" idx="0"/>
            <a:endCxn id="32" idx="1"/>
          </p:cNvCxnSpPr>
          <p:nvPr/>
        </p:nvCxnSpPr>
        <p:spPr>
          <a:xfrm rot="5400000" flipH="1" flipV="1">
            <a:off x="7194294" y="2182499"/>
            <a:ext cx="299556" cy="5613515"/>
          </a:xfrm>
          <a:prstGeom prst="bentConnector2">
            <a:avLst/>
          </a:prstGeom>
          <a:ln w="9525">
            <a:solidFill>
              <a:schemeClr val="accent5">
                <a:lumMod val="40000"/>
                <a:lumOff val="6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5FE006CA-71F9-3DF6-D183-ACBBDE955F59}"/>
              </a:ext>
            </a:extLst>
          </p:cNvPr>
          <p:cNvSpPr/>
          <p:nvPr/>
        </p:nvSpPr>
        <p:spPr>
          <a:xfrm>
            <a:off x="8941129" y="4754640"/>
            <a:ext cx="372778" cy="204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No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CBF9C28-3BB5-84B5-9497-366FA93C585C}"/>
              </a:ext>
            </a:extLst>
          </p:cNvPr>
          <p:cNvSpPr/>
          <p:nvPr/>
        </p:nvSpPr>
        <p:spPr>
          <a:xfrm>
            <a:off x="9824834" y="6496831"/>
            <a:ext cx="1777635" cy="265935"/>
          </a:xfrm>
          <a:prstGeom prst="round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5602199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94AF98-F2BA-1499-F288-5E1C65E155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BA967F9-208B-BE08-9A9F-C361A2BC1E8F}"/>
              </a:ext>
            </a:extLst>
          </p:cNvPr>
          <p:cNvSpPr/>
          <p:nvPr/>
        </p:nvSpPr>
        <p:spPr>
          <a:xfrm>
            <a:off x="656525" y="1216561"/>
            <a:ext cx="2173574" cy="689547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 or Buy</a:t>
            </a:r>
          </a:p>
        </p:txBody>
      </p:sp>
      <p:sp>
        <p:nvSpPr>
          <p:cNvPr id="28" name="Diamond 27">
            <a:extLst>
              <a:ext uri="{FF2B5EF4-FFF2-40B4-BE49-F238E27FC236}">
                <a16:creationId xmlns:a16="http://schemas.microsoft.com/office/drawing/2014/main" id="{2C355F85-390A-9864-ECB6-BE4C2040ADFD}"/>
              </a:ext>
            </a:extLst>
          </p:cNvPr>
          <p:cNvSpPr/>
          <p:nvPr/>
        </p:nvSpPr>
        <p:spPr>
          <a:xfrm>
            <a:off x="780310" y="2864443"/>
            <a:ext cx="1487216" cy="689546"/>
          </a:xfrm>
          <a:prstGeom prst="diamond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</a:t>
            </a:r>
          </a:p>
        </p:txBody>
      </p:sp>
      <p:sp>
        <p:nvSpPr>
          <p:cNvPr id="29" name="Diamond 28">
            <a:extLst>
              <a:ext uri="{FF2B5EF4-FFF2-40B4-BE49-F238E27FC236}">
                <a16:creationId xmlns:a16="http://schemas.microsoft.com/office/drawing/2014/main" id="{E759441D-13EE-5825-6468-32186262B9C3}"/>
              </a:ext>
            </a:extLst>
          </p:cNvPr>
          <p:cNvSpPr/>
          <p:nvPr/>
        </p:nvSpPr>
        <p:spPr>
          <a:xfrm>
            <a:off x="3735380" y="3719195"/>
            <a:ext cx="1083471" cy="730763"/>
          </a:xfrm>
          <a:prstGeom prst="diamond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endor </a:t>
            </a:r>
            <a:r>
              <a:rPr kumimoji="0" lang="en-IN" sz="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vl</a:t>
            </a: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.</a:t>
            </a:r>
          </a:p>
        </p:txBody>
      </p:sp>
      <p:sp>
        <p:nvSpPr>
          <p:cNvPr id="30" name="Diamond 29">
            <a:extLst>
              <a:ext uri="{FF2B5EF4-FFF2-40B4-BE49-F238E27FC236}">
                <a16:creationId xmlns:a16="http://schemas.microsoft.com/office/drawing/2014/main" id="{87ED941D-B681-D6AD-09EB-F6021FAAEEAA}"/>
              </a:ext>
            </a:extLst>
          </p:cNvPr>
          <p:cNvSpPr/>
          <p:nvPr/>
        </p:nvSpPr>
        <p:spPr>
          <a:xfrm>
            <a:off x="7325200" y="3627618"/>
            <a:ext cx="1109268" cy="1026829"/>
          </a:xfrm>
          <a:prstGeom prst="diamond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C Check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E1FEB8-7038-7A67-EB1F-480116121D08}"/>
              </a:ext>
            </a:extLst>
          </p:cNvPr>
          <p:cNvSpPr/>
          <p:nvPr/>
        </p:nvSpPr>
        <p:spPr>
          <a:xfrm>
            <a:off x="2972426" y="3814990"/>
            <a:ext cx="653830" cy="6895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o for Buy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8017DE3B-4AA1-9716-B1EA-0A6F6604C8A3}"/>
              </a:ext>
            </a:extLst>
          </p:cNvPr>
          <p:cNvCxnSpPr>
            <a:cxnSpLocks/>
            <a:endCxn id="28" idx="0"/>
          </p:cNvCxnSpPr>
          <p:nvPr/>
        </p:nvCxnSpPr>
        <p:spPr>
          <a:xfrm>
            <a:off x="1523918" y="1906108"/>
            <a:ext cx="0" cy="958335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1FFF21CB-56AC-949A-839D-DA5EF05D90A0}"/>
              </a:ext>
            </a:extLst>
          </p:cNvPr>
          <p:cNvCxnSpPr>
            <a:cxnSpLocks/>
          </p:cNvCxnSpPr>
          <p:nvPr/>
        </p:nvCxnSpPr>
        <p:spPr>
          <a:xfrm>
            <a:off x="8434468" y="4135194"/>
            <a:ext cx="1451132" cy="5838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17FEA76D-9C32-A3F0-3752-8D5F97B3A27D}"/>
              </a:ext>
            </a:extLst>
          </p:cNvPr>
          <p:cNvSpPr/>
          <p:nvPr/>
        </p:nvSpPr>
        <p:spPr>
          <a:xfrm>
            <a:off x="1075559" y="5782067"/>
            <a:ext cx="1143138" cy="482872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C + Sample Approval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CFD17C0-5C7A-1D46-E79A-1E587A24B178}"/>
              </a:ext>
            </a:extLst>
          </p:cNvPr>
          <p:cNvSpPr/>
          <p:nvPr/>
        </p:nvSpPr>
        <p:spPr>
          <a:xfrm>
            <a:off x="2888161" y="5793702"/>
            <a:ext cx="1218055" cy="47123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ial Casting (SW)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7B392591-3185-59EF-9234-F3435F314FCD}"/>
              </a:ext>
            </a:extLst>
          </p:cNvPr>
          <p:cNvCxnSpPr>
            <a:cxnSpLocks/>
            <a:endCxn id="40" idx="0"/>
          </p:cNvCxnSpPr>
          <p:nvPr/>
        </p:nvCxnSpPr>
        <p:spPr>
          <a:xfrm>
            <a:off x="1344279" y="6302235"/>
            <a:ext cx="0" cy="1604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03" name="TextBox 202">
            <a:extLst>
              <a:ext uri="{FF2B5EF4-FFF2-40B4-BE49-F238E27FC236}">
                <a16:creationId xmlns:a16="http://schemas.microsoft.com/office/drawing/2014/main" id="{544A3726-51C4-9D66-857C-E365CD802618}"/>
              </a:ext>
            </a:extLst>
          </p:cNvPr>
          <p:cNvSpPr txBox="1"/>
          <p:nvPr/>
        </p:nvSpPr>
        <p:spPr>
          <a:xfrm>
            <a:off x="4200108" y="4457125"/>
            <a:ext cx="4311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C470C565-A970-8E10-4B29-C16EBCF3D96C}"/>
              </a:ext>
            </a:extLst>
          </p:cNvPr>
          <p:cNvSpPr txBox="1"/>
          <p:nvPr/>
        </p:nvSpPr>
        <p:spPr>
          <a:xfrm>
            <a:off x="8238167" y="3837390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0E41098D-0B84-BAAF-14B2-360717ABC2D7}"/>
              </a:ext>
            </a:extLst>
          </p:cNvPr>
          <p:cNvSpPr txBox="1"/>
          <p:nvPr/>
        </p:nvSpPr>
        <p:spPr>
          <a:xfrm>
            <a:off x="6743077" y="5051682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5AC7844E-EA8D-A0FE-F11A-56B76C437AD8}"/>
              </a:ext>
            </a:extLst>
          </p:cNvPr>
          <p:cNvSpPr txBox="1"/>
          <p:nvPr/>
        </p:nvSpPr>
        <p:spPr>
          <a:xfrm rot="16200000">
            <a:off x="2571833" y="3825768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8CD0D681-4B4B-E760-C0D7-A6A52D88EC2B}"/>
              </a:ext>
            </a:extLst>
          </p:cNvPr>
          <p:cNvSpPr txBox="1"/>
          <p:nvPr/>
        </p:nvSpPr>
        <p:spPr>
          <a:xfrm rot="5400000">
            <a:off x="1300585" y="4544387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091D8DD0-C508-638C-C482-E7C1ED390F7E}"/>
              </a:ext>
            </a:extLst>
          </p:cNvPr>
          <p:cNvSpPr txBox="1"/>
          <p:nvPr/>
        </p:nvSpPr>
        <p:spPr>
          <a:xfrm>
            <a:off x="800917" y="6240111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F846674-E2E6-F0C5-46EA-F2160367F1E0}"/>
              </a:ext>
            </a:extLst>
          </p:cNvPr>
          <p:cNvSpPr/>
          <p:nvPr/>
        </p:nvSpPr>
        <p:spPr>
          <a:xfrm>
            <a:off x="199918" y="6462691"/>
            <a:ext cx="2288721" cy="25677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w Product Planning (NPP</a:t>
            </a: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 (Only Sanitary) + Indent Signoff (CP)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0CD6C2EF-7FCE-F5F7-4399-14D0FD6A8FF5}"/>
              </a:ext>
            </a:extLst>
          </p:cNvPr>
          <p:cNvCxnSpPr>
            <a:cxnSpLocks/>
          </p:cNvCxnSpPr>
          <p:nvPr/>
        </p:nvCxnSpPr>
        <p:spPr>
          <a:xfrm>
            <a:off x="1547944" y="3577017"/>
            <a:ext cx="0" cy="43145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347905A3-DC39-038F-8CBA-7439097DEE47}"/>
              </a:ext>
            </a:extLst>
          </p:cNvPr>
          <p:cNvCxnSpPr>
            <a:cxnSpLocks/>
          </p:cNvCxnSpPr>
          <p:nvPr/>
        </p:nvCxnSpPr>
        <p:spPr>
          <a:xfrm>
            <a:off x="1434060" y="4391151"/>
            <a:ext cx="9243" cy="48947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834DB41B-9F72-496B-CC63-8506571E22BE}"/>
              </a:ext>
            </a:extLst>
          </p:cNvPr>
          <p:cNvSpPr/>
          <p:nvPr/>
        </p:nvSpPr>
        <p:spPr>
          <a:xfrm>
            <a:off x="1081504" y="4889917"/>
            <a:ext cx="728719" cy="69749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st. COG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EDFBC21D-17B2-CD08-2640-BB6DCF5505E1}"/>
              </a:ext>
            </a:extLst>
          </p:cNvPr>
          <p:cNvSpPr/>
          <p:nvPr/>
        </p:nvSpPr>
        <p:spPr>
          <a:xfrm>
            <a:off x="9959818" y="4762292"/>
            <a:ext cx="915028" cy="839449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mercial Production with colour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BA29270-B548-5A54-5B0B-879789A070DB}"/>
              </a:ext>
            </a:extLst>
          </p:cNvPr>
          <p:cNvSpPr/>
          <p:nvPr/>
        </p:nvSpPr>
        <p:spPr>
          <a:xfrm>
            <a:off x="9953432" y="3553989"/>
            <a:ext cx="915028" cy="839449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orting and QC and dispatch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8BAE2B15-925E-10CA-438F-96C8144960EC}"/>
              </a:ext>
            </a:extLst>
          </p:cNvPr>
          <p:cNvSpPr/>
          <p:nvPr/>
        </p:nvSpPr>
        <p:spPr>
          <a:xfrm>
            <a:off x="5113453" y="3740664"/>
            <a:ext cx="825681" cy="6008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ampling + Validation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F32F7C6-B52D-89DC-EA02-4D4828CA98AC}"/>
              </a:ext>
            </a:extLst>
          </p:cNvPr>
          <p:cNvSpPr/>
          <p:nvPr/>
        </p:nvSpPr>
        <p:spPr>
          <a:xfrm>
            <a:off x="6250898" y="3848824"/>
            <a:ext cx="1065261" cy="6008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dent Signoff (Operational documentation)</a:t>
            </a:r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869013C6-E596-DCD4-2F42-C9212AF4F7EA}"/>
              </a:ext>
            </a:extLst>
          </p:cNvPr>
          <p:cNvCxnSpPr>
            <a:cxnSpLocks/>
          </p:cNvCxnSpPr>
          <p:nvPr/>
        </p:nvCxnSpPr>
        <p:spPr>
          <a:xfrm>
            <a:off x="3626256" y="4391151"/>
            <a:ext cx="47996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1" name="Connector: Elbow 130">
            <a:extLst>
              <a:ext uri="{FF2B5EF4-FFF2-40B4-BE49-F238E27FC236}">
                <a16:creationId xmlns:a16="http://schemas.microsoft.com/office/drawing/2014/main" id="{C9725714-3E7C-5A00-6359-728AEFF9383F}"/>
              </a:ext>
            </a:extLst>
          </p:cNvPr>
          <p:cNvCxnSpPr>
            <a:cxnSpLocks/>
            <a:stCxn id="81" idx="0"/>
            <a:endCxn id="83" idx="0"/>
          </p:cNvCxnSpPr>
          <p:nvPr/>
        </p:nvCxnSpPr>
        <p:spPr>
          <a:xfrm rot="16200000" flipH="1">
            <a:off x="6100831" y="3166127"/>
            <a:ext cx="108160" cy="1257235"/>
          </a:xfrm>
          <a:prstGeom prst="bentConnector3">
            <a:avLst>
              <a:gd name="adj1" fmla="val -211354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AA975B5-7AAB-CBCC-41F4-79CE81F22374}"/>
              </a:ext>
            </a:extLst>
          </p:cNvPr>
          <p:cNvSpPr/>
          <p:nvPr/>
        </p:nvSpPr>
        <p:spPr>
          <a:xfrm>
            <a:off x="6556315" y="4659573"/>
            <a:ext cx="766377" cy="30845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</a:p>
        </p:txBody>
      </p: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C1EFCD29-396B-6985-703C-64BE37D06D43}"/>
              </a:ext>
            </a:extLst>
          </p:cNvPr>
          <p:cNvCxnSpPr>
            <a:cxnSpLocks/>
            <a:stCxn id="83" idx="2"/>
            <a:endCxn id="132" idx="1"/>
          </p:cNvCxnSpPr>
          <p:nvPr/>
        </p:nvCxnSpPr>
        <p:spPr>
          <a:xfrm rot="5400000">
            <a:off x="6487863" y="4518136"/>
            <a:ext cx="364118" cy="227214"/>
          </a:xfrm>
          <a:prstGeom prst="bentConnector4">
            <a:avLst>
              <a:gd name="adj1" fmla="val 28821"/>
              <a:gd name="adj2" fmla="val 200610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7" name="Connector: Elbow 136">
            <a:extLst>
              <a:ext uri="{FF2B5EF4-FFF2-40B4-BE49-F238E27FC236}">
                <a16:creationId xmlns:a16="http://schemas.microsoft.com/office/drawing/2014/main" id="{DD06C3B9-DAEE-F578-1063-53E901151D7C}"/>
              </a:ext>
            </a:extLst>
          </p:cNvPr>
          <p:cNvCxnSpPr>
            <a:cxnSpLocks/>
            <a:stCxn id="132" idx="3"/>
            <a:endCxn id="30" idx="2"/>
          </p:cNvCxnSpPr>
          <p:nvPr/>
        </p:nvCxnSpPr>
        <p:spPr>
          <a:xfrm flipV="1">
            <a:off x="7322692" y="4654447"/>
            <a:ext cx="557142" cy="159355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85489762-33C6-E456-7C85-AF51AF9C3641}"/>
              </a:ext>
            </a:extLst>
          </p:cNvPr>
          <p:cNvSpPr txBox="1"/>
          <p:nvPr/>
        </p:nvSpPr>
        <p:spPr>
          <a:xfrm>
            <a:off x="6134178" y="3577017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015D2E53-AE8E-B9A8-4DE3-B820BA2415D5}"/>
              </a:ext>
            </a:extLst>
          </p:cNvPr>
          <p:cNvSpPr txBox="1"/>
          <p:nvPr/>
        </p:nvSpPr>
        <p:spPr>
          <a:xfrm>
            <a:off x="6188462" y="476688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B89C54E-A836-59FA-9268-490C59FA679C}"/>
              </a:ext>
            </a:extLst>
          </p:cNvPr>
          <p:cNvSpPr txBox="1"/>
          <p:nvPr/>
        </p:nvSpPr>
        <p:spPr>
          <a:xfrm>
            <a:off x="7380223" y="456082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5E9E5263-69A0-AB27-27D5-D88896D70CB8}"/>
              </a:ext>
            </a:extLst>
          </p:cNvPr>
          <p:cNvSpPr/>
          <p:nvPr/>
        </p:nvSpPr>
        <p:spPr>
          <a:xfrm>
            <a:off x="4548798" y="4480962"/>
            <a:ext cx="931755" cy="47096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ple Availability + Target COGS</a:t>
            </a:r>
          </a:p>
        </p:txBody>
      </p:sp>
      <p:cxnSp>
        <p:nvCxnSpPr>
          <p:cNvPr id="152" name="Connector: Elbow 151">
            <a:extLst>
              <a:ext uri="{FF2B5EF4-FFF2-40B4-BE49-F238E27FC236}">
                <a16:creationId xmlns:a16="http://schemas.microsoft.com/office/drawing/2014/main" id="{218A8297-A635-5092-72BF-3CB6065F02EA}"/>
              </a:ext>
            </a:extLst>
          </p:cNvPr>
          <p:cNvCxnSpPr>
            <a:endCxn id="150" idx="1"/>
          </p:cNvCxnSpPr>
          <p:nvPr/>
        </p:nvCxnSpPr>
        <p:spPr>
          <a:xfrm>
            <a:off x="4264302" y="4477353"/>
            <a:ext cx="284496" cy="239091"/>
          </a:xfrm>
          <a:prstGeom prst="bentConnector3">
            <a:avLst>
              <a:gd name="adj1" fmla="val -3568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FDD7E007-329B-6BC9-67EB-689E4E5B43D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399112" y="4458368"/>
            <a:ext cx="493668" cy="293695"/>
          </a:xfrm>
          <a:prstGeom prst="bentConnector3">
            <a:avLst>
              <a:gd name="adj1" fmla="val -1452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7" name="TextBox 156">
            <a:extLst>
              <a:ext uri="{FF2B5EF4-FFF2-40B4-BE49-F238E27FC236}">
                <a16:creationId xmlns:a16="http://schemas.microsoft.com/office/drawing/2014/main" id="{BC828B62-D56D-2A6C-60AD-E8E73FECA091}"/>
              </a:ext>
            </a:extLst>
          </p:cNvPr>
          <p:cNvSpPr txBox="1"/>
          <p:nvPr/>
        </p:nvSpPr>
        <p:spPr>
          <a:xfrm>
            <a:off x="5423320" y="4575050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0247C307-47D8-83FB-B370-21815F6CFFD5}"/>
              </a:ext>
            </a:extLst>
          </p:cNvPr>
          <p:cNvSpPr txBox="1"/>
          <p:nvPr/>
        </p:nvSpPr>
        <p:spPr>
          <a:xfrm rot="16200000">
            <a:off x="1445735" y="3720027"/>
            <a:ext cx="4608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8D43CFD0-0DCD-47A2-6228-9F51F10B2A90}"/>
              </a:ext>
            </a:extLst>
          </p:cNvPr>
          <p:cNvSpPr/>
          <p:nvPr/>
        </p:nvSpPr>
        <p:spPr>
          <a:xfrm>
            <a:off x="2879630" y="4898918"/>
            <a:ext cx="1171889" cy="31201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velop + Validate</a:t>
            </a:r>
          </a:p>
        </p:txBody>
      </p:sp>
      <p:cxnSp>
        <p:nvCxnSpPr>
          <p:cNvPr id="165" name="Connector: Elbow 164">
            <a:extLst>
              <a:ext uri="{FF2B5EF4-FFF2-40B4-BE49-F238E27FC236}">
                <a16:creationId xmlns:a16="http://schemas.microsoft.com/office/drawing/2014/main" id="{CF4B5226-6D6A-417E-2C8B-A8B32B4C4F82}"/>
              </a:ext>
            </a:extLst>
          </p:cNvPr>
          <p:cNvCxnSpPr>
            <a:cxnSpLocks/>
            <a:endCxn id="159" idx="0"/>
          </p:cNvCxnSpPr>
          <p:nvPr/>
        </p:nvCxnSpPr>
        <p:spPr>
          <a:xfrm rot="10800000" flipV="1">
            <a:off x="3465575" y="4792200"/>
            <a:ext cx="1064426" cy="106718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7" name="TextBox 166">
            <a:extLst>
              <a:ext uri="{FF2B5EF4-FFF2-40B4-BE49-F238E27FC236}">
                <a16:creationId xmlns:a16="http://schemas.microsoft.com/office/drawing/2014/main" id="{59845F66-CDD2-8B09-37EE-6B0F7F960182}"/>
              </a:ext>
            </a:extLst>
          </p:cNvPr>
          <p:cNvSpPr txBox="1"/>
          <p:nvPr/>
        </p:nvSpPr>
        <p:spPr>
          <a:xfrm>
            <a:off x="3572298" y="4567778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cxnSp>
        <p:nvCxnSpPr>
          <p:cNvPr id="171" name="Connector: Elbow 170">
            <a:extLst>
              <a:ext uri="{FF2B5EF4-FFF2-40B4-BE49-F238E27FC236}">
                <a16:creationId xmlns:a16="http://schemas.microsoft.com/office/drawing/2014/main" id="{31946B8F-EC4C-1FF7-14A1-843A552B03B0}"/>
              </a:ext>
            </a:extLst>
          </p:cNvPr>
          <p:cNvCxnSpPr>
            <a:cxnSpLocks/>
            <a:stCxn id="159" idx="3"/>
          </p:cNvCxnSpPr>
          <p:nvPr/>
        </p:nvCxnSpPr>
        <p:spPr>
          <a:xfrm flipV="1">
            <a:off x="4051519" y="4324161"/>
            <a:ext cx="2160657" cy="730763"/>
          </a:xfrm>
          <a:prstGeom prst="bentConnector3">
            <a:avLst>
              <a:gd name="adj1" fmla="val 90557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0" name="Connector: Elbow 179">
            <a:extLst>
              <a:ext uri="{FF2B5EF4-FFF2-40B4-BE49-F238E27FC236}">
                <a16:creationId xmlns:a16="http://schemas.microsoft.com/office/drawing/2014/main" id="{1312396C-1AF3-189A-29C1-015E5CCF3E7E}"/>
              </a:ext>
            </a:extLst>
          </p:cNvPr>
          <p:cNvCxnSpPr>
            <a:endCxn id="150" idx="0"/>
          </p:cNvCxnSpPr>
          <p:nvPr/>
        </p:nvCxnSpPr>
        <p:spPr>
          <a:xfrm rot="5400000">
            <a:off x="4800486" y="3950684"/>
            <a:ext cx="744468" cy="316088"/>
          </a:xfrm>
          <a:prstGeom prst="bentConnector3">
            <a:avLst>
              <a:gd name="adj1" fmla="val -21648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98494FBB-EE4F-30E3-BACC-1B2C499809D9}"/>
              </a:ext>
            </a:extLst>
          </p:cNvPr>
          <p:cNvSpPr txBox="1"/>
          <p:nvPr/>
        </p:nvSpPr>
        <p:spPr>
          <a:xfrm>
            <a:off x="5007537" y="3539509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A1368744-71BE-3CA8-C6D7-A9A9D190098B}"/>
              </a:ext>
            </a:extLst>
          </p:cNvPr>
          <p:cNvCxnSpPr>
            <a:cxnSpLocks/>
          </p:cNvCxnSpPr>
          <p:nvPr/>
        </p:nvCxnSpPr>
        <p:spPr>
          <a:xfrm flipV="1">
            <a:off x="10613036" y="4449684"/>
            <a:ext cx="0" cy="28249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8" name="Connector: Elbow 257">
            <a:extLst>
              <a:ext uri="{FF2B5EF4-FFF2-40B4-BE49-F238E27FC236}">
                <a16:creationId xmlns:a16="http://schemas.microsoft.com/office/drawing/2014/main" id="{33098A88-00A1-261F-BEE0-9B7D4C7F726A}"/>
              </a:ext>
            </a:extLst>
          </p:cNvPr>
          <p:cNvCxnSpPr>
            <a:cxnSpLocks/>
            <a:stCxn id="28" idx="3"/>
            <a:endCxn id="31" idx="1"/>
          </p:cNvCxnSpPr>
          <p:nvPr/>
        </p:nvCxnSpPr>
        <p:spPr>
          <a:xfrm>
            <a:off x="2267526" y="3209216"/>
            <a:ext cx="704900" cy="95054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60" name="Rectangle 259">
            <a:extLst>
              <a:ext uri="{FF2B5EF4-FFF2-40B4-BE49-F238E27FC236}">
                <a16:creationId xmlns:a16="http://schemas.microsoft.com/office/drawing/2014/main" id="{D71414A3-F6F1-E761-234F-4801FAAC55B7}"/>
              </a:ext>
            </a:extLst>
          </p:cNvPr>
          <p:cNvSpPr/>
          <p:nvPr/>
        </p:nvSpPr>
        <p:spPr>
          <a:xfrm>
            <a:off x="818195" y="4040741"/>
            <a:ext cx="1487216" cy="39090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 design + Tgt. COGS</a:t>
            </a:r>
          </a:p>
        </p:txBody>
      </p:sp>
      <p:cxnSp>
        <p:nvCxnSpPr>
          <p:cNvPr id="272" name="Connector: Elbow 271">
            <a:extLst>
              <a:ext uri="{FF2B5EF4-FFF2-40B4-BE49-F238E27FC236}">
                <a16:creationId xmlns:a16="http://schemas.microsoft.com/office/drawing/2014/main" id="{B039AE79-15C6-0B2F-AFE9-78B9D83ABC0F}"/>
              </a:ext>
            </a:extLst>
          </p:cNvPr>
          <p:cNvCxnSpPr>
            <a:stCxn id="40" idx="3"/>
            <a:endCxn id="100" idx="2"/>
          </p:cNvCxnSpPr>
          <p:nvPr/>
        </p:nvCxnSpPr>
        <p:spPr>
          <a:xfrm flipV="1">
            <a:off x="2488639" y="6264939"/>
            <a:ext cx="1008550" cy="326139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73" name="TextBox 272">
            <a:extLst>
              <a:ext uri="{FF2B5EF4-FFF2-40B4-BE49-F238E27FC236}">
                <a16:creationId xmlns:a16="http://schemas.microsoft.com/office/drawing/2014/main" id="{10E9947D-A0AA-0EB4-FA12-9A8A63A9566E}"/>
              </a:ext>
            </a:extLst>
          </p:cNvPr>
          <p:cNvSpPr txBox="1"/>
          <p:nvPr/>
        </p:nvSpPr>
        <p:spPr>
          <a:xfrm>
            <a:off x="2700723" y="6368479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cxnSp>
        <p:nvCxnSpPr>
          <p:cNvPr id="4" name="Connector: Elbow 3">
            <a:extLst>
              <a:ext uri="{FF2B5EF4-FFF2-40B4-BE49-F238E27FC236}">
                <a16:creationId xmlns:a16="http://schemas.microsoft.com/office/drawing/2014/main" id="{6F26C312-73D8-DFB6-F803-DC4A07B4E830}"/>
              </a:ext>
            </a:extLst>
          </p:cNvPr>
          <p:cNvCxnSpPr>
            <a:stCxn id="100" idx="3"/>
            <a:endCxn id="106" idx="2"/>
          </p:cNvCxnSpPr>
          <p:nvPr/>
        </p:nvCxnSpPr>
        <p:spPr>
          <a:xfrm flipV="1">
            <a:off x="4106216" y="5601741"/>
            <a:ext cx="6311116" cy="427580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C18785F6-CEB0-7891-229D-CC04FDA91AD1}"/>
              </a:ext>
            </a:extLst>
          </p:cNvPr>
          <p:cNvSpPr txBox="1"/>
          <p:nvPr/>
        </p:nvSpPr>
        <p:spPr>
          <a:xfrm>
            <a:off x="6813075" y="6026681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F95119E6-9628-83BC-D2F5-1E212FA1862E}"/>
              </a:ext>
            </a:extLst>
          </p:cNvPr>
          <p:cNvCxnSpPr>
            <a:stCxn id="77" idx="1"/>
            <a:endCxn id="99" idx="1"/>
          </p:cNvCxnSpPr>
          <p:nvPr/>
        </p:nvCxnSpPr>
        <p:spPr>
          <a:xfrm rot="10800000" flipV="1">
            <a:off x="1075560" y="5238663"/>
            <a:ext cx="5945" cy="784839"/>
          </a:xfrm>
          <a:prstGeom prst="bentConnector3">
            <a:avLst>
              <a:gd name="adj1" fmla="val 7475307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F2AC4D9-62C1-6D8F-504D-D7B1ED97655C}"/>
              </a:ext>
            </a:extLst>
          </p:cNvPr>
          <p:cNvSpPr txBox="1"/>
          <p:nvPr/>
        </p:nvSpPr>
        <p:spPr>
          <a:xfrm rot="16200000">
            <a:off x="258100" y="5483226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78546FE8-9898-88EB-93F8-60F78B02D606}"/>
              </a:ext>
            </a:extLst>
          </p:cNvPr>
          <p:cNvCxnSpPr>
            <a:cxnSpLocks/>
            <a:stCxn id="100" idx="0"/>
          </p:cNvCxnSpPr>
          <p:nvPr/>
        </p:nvCxnSpPr>
        <p:spPr>
          <a:xfrm rot="16200000" flipV="1">
            <a:off x="2722955" y="5019468"/>
            <a:ext cx="12700" cy="1548468"/>
          </a:xfrm>
          <a:prstGeom prst="bentConnector4">
            <a:avLst>
              <a:gd name="adj1" fmla="val 2331150"/>
              <a:gd name="adj2" fmla="val 99676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B0FD0D82-ABA0-F2C0-0A1A-BBAF019FC3BC}"/>
              </a:ext>
            </a:extLst>
          </p:cNvPr>
          <p:cNvSpPr txBox="1"/>
          <p:nvPr/>
        </p:nvSpPr>
        <p:spPr>
          <a:xfrm>
            <a:off x="2420987" y="5258432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5EF7CCE1-2B81-F5CD-294F-BA4E7CE6D070}"/>
              </a:ext>
            </a:extLst>
          </p:cNvPr>
          <p:cNvCxnSpPr>
            <a:stCxn id="40" idx="3"/>
          </p:cNvCxnSpPr>
          <p:nvPr/>
        </p:nvCxnSpPr>
        <p:spPr>
          <a:xfrm flipV="1">
            <a:off x="2488639" y="5621725"/>
            <a:ext cx="8311989" cy="969353"/>
          </a:xfrm>
          <a:prstGeom prst="bentConnector3">
            <a:avLst>
              <a:gd name="adj1" fmla="val 99955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FA71D3F4-0084-A82B-DDBF-C53DFBEF86CA}"/>
              </a:ext>
            </a:extLst>
          </p:cNvPr>
          <p:cNvSpPr txBox="1"/>
          <p:nvPr/>
        </p:nvSpPr>
        <p:spPr>
          <a:xfrm>
            <a:off x="8434468" y="6349580"/>
            <a:ext cx="10568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 for CP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38B2B8B3-173D-C5B0-E7D0-6BF92A8B8316}"/>
              </a:ext>
            </a:extLst>
          </p:cNvPr>
          <p:cNvSpPr/>
          <p:nvPr/>
        </p:nvSpPr>
        <p:spPr>
          <a:xfrm>
            <a:off x="5037421" y="149142"/>
            <a:ext cx="2874499" cy="527014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ustomised  Requirement</a:t>
            </a: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0F893AC6-88F6-1C83-1FE3-27D7C4146255}"/>
              </a:ext>
            </a:extLst>
          </p:cNvPr>
          <p:cNvSpPr/>
          <p:nvPr/>
        </p:nvSpPr>
        <p:spPr>
          <a:xfrm>
            <a:off x="8800812" y="231421"/>
            <a:ext cx="1194548" cy="469806"/>
          </a:xfrm>
          <a:prstGeom prst="ellipse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easibility Evaluation</a:t>
            </a: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CF5A3042-3CED-DD04-60AE-C766AC496BEE}"/>
              </a:ext>
            </a:extLst>
          </p:cNvPr>
          <p:cNvSpPr/>
          <p:nvPr/>
        </p:nvSpPr>
        <p:spPr>
          <a:xfrm>
            <a:off x="10417326" y="1692323"/>
            <a:ext cx="1285145" cy="863500"/>
          </a:xfrm>
          <a:prstGeom prst="ellipse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usiness Case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AFD2143A-68C5-0766-BDA7-65456AFC87A5}"/>
              </a:ext>
            </a:extLst>
          </p:cNvPr>
          <p:cNvSpPr/>
          <p:nvPr/>
        </p:nvSpPr>
        <p:spPr>
          <a:xfrm>
            <a:off x="7635031" y="1826136"/>
            <a:ext cx="1911537" cy="438235"/>
          </a:xfrm>
          <a:prstGeom prst="ellipse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usiness Head or CEO Approval</a:t>
            </a:r>
          </a:p>
        </p:txBody>
      </p:sp>
      <p:cxnSp>
        <p:nvCxnSpPr>
          <p:cNvPr id="199" name="Connector: Elbow 198">
            <a:extLst>
              <a:ext uri="{FF2B5EF4-FFF2-40B4-BE49-F238E27FC236}">
                <a16:creationId xmlns:a16="http://schemas.microsoft.com/office/drawing/2014/main" id="{18E4739B-538F-3AA3-3B52-D75AFD98A869}"/>
              </a:ext>
            </a:extLst>
          </p:cNvPr>
          <p:cNvCxnSpPr>
            <a:cxnSpLocks/>
            <a:stCxn id="170" idx="4"/>
            <a:endCxn id="197" idx="6"/>
          </p:cNvCxnSpPr>
          <p:nvPr/>
        </p:nvCxnSpPr>
        <p:spPr>
          <a:xfrm rot="5400000" flipH="1">
            <a:off x="10047949" y="1543874"/>
            <a:ext cx="510569" cy="1513331"/>
          </a:xfrm>
          <a:prstGeom prst="bentConnector4">
            <a:avLst>
              <a:gd name="adj1" fmla="val -44774"/>
              <a:gd name="adj2" fmla="val 71230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00" name="Oval 199">
            <a:extLst>
              <a:ext uri="{FF2B5EF4-FFF2-40B4-BE49-F238E27FC236}">
                <a16:creationId xmlns:a16="http://schemas.microsoft.com/office/drawing/2014/main" id="{9CCB3FE6-F77E-5A48-8F21-90C39E2C3DF6}"/>
              </a:ext>
            </a:extLst>
          </p:cNvPr>
          <p:cNvSpPr/>
          <p:nvPr/>
        </p:nvSpPr>
        <p:spPr>
          <a:xfrm>
            <a:off x="5330764" y="1876784"/>
            <a:ext cx="1911537" cy="352561"/>
          </a:xfrm>
          <a:prstGeom prst="ellipse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  Finalization</a:t>
            </a:r>
          </a:p>
        </p:txBody>
      </p:sp>
      <p:cxnSp>
        <p:nvCxnSpPr>
          <p:cNvPr id="202" name="Connector: Elbow 201">
            <a:extLst>
              <a:ext uri="{FF2B5EF4-FFF2-40B4-BE49-F238E27FC236}">
                <a16:creationId xmlns:a16="http://schemas.microsoft.com/office/drawing/2014/main" id="{58332B99-B598-C444-9C1A-6CA997C513E3}"/>
              </a:ext>
            </a:extLst>
          </p:cNvPr>
          <p:cNvCxnSpPr>
            <a:cxnSpLocks/>
            <a:stCxn id="197" idx="0"/>
            <a:endCxn id="200" idx="0"/>
          </p:cNvCxnSpPr>
          <p:nvPr/>
        </p:nvCxnSpPr>
        <p:spPr>
          <a:xfrm rot="16200000" flipH="1" flipV="1">
            <a:off x="7413343" y="699326"/>
            <a:ext cx="50648" cy="2304267"/>
          </a:xfrm>
          <a:prstGeom prst="bentConnector3">
            <a:avLst>
              <a:gd name="adj1" fmla="val -451350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09" name="Oval 208">
            <a:extLst>
              <a:ext uri="{FF2B5EF4-FFF2-40B4-BE49-F238E27FC236}">
                <a16:creationId xmlns:a16="http://schemas.microsoft.com/office/drawing/2014/main" id="{5D31294E-DA7B-DD32-F61E-76FA85F6B89F}"/>
              </a:ext>
            </a:extLst>
          </p:cNvPr>
          <p:cNvSpPr/>
          <p:nvPr/>
        </p:nvSpPr>
        <p:spPr>
          <a:xfrm>
            <a:off x="4776491" y="2644000"/>
            <a:ext cx="749802" cy="337683"/>
          </a:xfrm>
          <a:prstGeom prst="ellipse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w</a:t>
            </a:r>
          </a:p>
        </p:txBody>
      </p:sp>
      <p:sp>
        <p:nvSpPr>
          <p:cNvPr id="210" name="Oval 209">
            <a:extLst>
              <a:ext uri="{FF2B5EF4-FFF2-40B4-BE49-F238E27FC236}">
                <a16:creationId xmlns:a16="http://schemas.microsoft.com/office/drawing/2014/main" id="{C869416A-DA7A-CC2F-7652-6AAAB94C64FA}"/>
              </a:ext>
            </a:extLst>
          </p:cNvPr>
          <p:cNvSpPr/>
          <p:nvPr/>
        </p:nvSpPr>
        <p:spPr>
          <a:xfrm>
            <a:off x="4818851" y="1125436"/>
            <a:ext cx="749802" cy="337683"/>
          </a:xfrm>
          <a:prstGeom prst="ellipse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D</a:t>
            </a:r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0F717169-43FB-956B-1E2C-B38814450F4D}"/>
              </a:ext>
            </a:extLst>
          </p:cNvPr>
          <p:cNvSpPr/>
          <p:nvPr/>
        </p:nvSpPr>
        <p:spPr>
          <a:xfrm>
            <a:off x="3465574" y="741904"/>
            <a:ext cx="953090" cy="340683"/>
          </a:xfrm>
          <a:prstGeom prst="ellipse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lour</a:t>
            </a:r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CE45758C-5975-D772-1A61-EE8FC0598E29}"/>
              </a:ext>
            </a:extLst>
          </p:cNvPr>
          <p:cNvSpPr/>
          <p:nvPr/>
        </p:nvSpPr>
        <p:spPr>
          <a:xfrm>
            <a:off x="3439705" y="1500967"/>
            <a:ext cx="978959" cy="360388"/>
          </a:xfrm>
          <a:prstGeom prst="ellipse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sign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EFCB787D-1946-3606-CEA6-B1D902741F48}"/>
              </a:ext>
            </a:extLst>
          </p:cNvPr>
          <p:cNvSpPr/>
          <p:nvPr/>
        </p:nvSpPr>
        <p:spPr>
          <a:xfrm>
            <a:off x="10317712" y="641776"/>
            <a:ext cx="1384766" cy="68954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mercial +Timing</a:t>
            </a:r>
          </a:p>
        </p:txBody>
      </p:sp>
      <p:cxnSp>
        <p:nvCxnSpPr>
          <p:cNvPr id="292" name="Straight Arrow Connector 291">
            <a:extLst>
              <a:ext uri="{FF2B5EF4-FFF2-40B4-BE49-F238E27FC236}">
                <a16:creationId xmlns:a16="http://schemas.microsoft.com/office/drawing/2014/main" id="{A853445E-8CCA-225B-78AA-C1AA0BF4FE48}"/>
              </a:ext>
            </a:extLst>
          </p:cNvPr>
          <p:cNvCxnSpPr>
            <a:cxnSpLocks/>
          </p:cNvCxnSpPr>
          <p:nvPr/>
        </p:nvCxnSpPr>
        <p:spPr>
          <a:xfrm>
            <a:off x="11068960" y="1331323"/>
            <a:ext cx="0" cy="35581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D8B77E81-38A3-3E55-EEAC-EBD2DE97AD74}"/>
              </a:ext>
            </a:extLst>
          </p:cNvPr>
          <p:cNvCxnSpPr>
            <a:cxnSpLocks/>
          </p:cNvCxnSpPr>
          <p:nvPr/>
        </p:nvCxnSpPr>
        <p:spPr>
          <a:xfrm>
            <a:off x="7911920" y="399001"/>
            <a:ext cx="888892" cy="2635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E58F56C-D20B-52B7-7369-DD58F4E9B3F1}"/>
              </a:ext>
            </a:extLst>
          </p:cNvPr>
          <p:cNvCxnSpPr>
            <a:cxnSpLocks/>
            <a:stCxn id="169" idx="6"/>
            <a:endCxn id="286" idx="0"/>
          </p:cNvCxnSpPr>
          <p:nvPr/>
        </p:nvCxnSpPr>
        <p:spPr>
          <a:xfrm>
            <a:off x="9995360" y="466324"/>
            <a:ext cx="1014735" cy="175452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281F0C1-4FC6-47FC-7C0A-5CC9D766C762}"/>
              </a:ext>
            </a:extLst>
          </p:cNvPr>
          <p:cNvCxnSpPr>
            <a:cxnSpLocks/>
            <a:endCxn id="210" idx="5"/>
          </p:cNvCxnSpPr>
          <p:nvPr/>
        </p:nvCxnSpPr>
        <p:spPr>
          <a:xfrm flipH="1" flipV="1">
            <a:off x="5458847" y="1413666"/>
            <a:ext cx="333947" cy="48304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73ABD805-93FC-3D0F-9431-8E6F8086AE91}"/>
              </a:ext>
            </a:extLst>
          </p:cNvPr>
          <p:cNvCxnSpPr>
            <a:cxnSpLocks/>
            <a:endCxn id="209" idx="7"/>
          </p:cNvCxnSpPr>
          <p:nvPr/>
        </p:nvCxnSpPr>
        <p:spPr>
          <a:xfrm flipH="1">
            <a:off x="5416487" y="2253182"/>
            <a:ext cx="376307" cy="44027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84640CC1-B033-94FC-49C7-D404E6142C05}"/>
              </a:ext>
            </a:extLst>
          </p:cNvPr>
          <p:cNvCxnSpPr>
            <a:cxnSpLocks/>
            <a:stCxn id="209" idx="2"/>
          </p:cNvCxnSpPr>
          <p:nvPr/>
        </p:nvCxnSpPr>
        <p:spPr>
          <a:xfrm rot="10800000">
            <a:off x="2163915" y="1967592"/>
            <a:ext cx="2612576" cy="845251"/>
          </a:xfrm>
          <a:prstGeom prst="bentConnector3">
            <a:avLst>
              <a:gd name="adj1" fmla="val 100149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2ECF0BE8-0B0D-8BB2-FB36-D833F81E4DA1}"/>
              </a:ext>
            </a:extLst>
          </p:cNvPr>
          <p:cNvCxnSpPr>
            <a:stCxn id="210" idx="1"/>
            <a:endCxn id="243" idx="6"/>
          </p:cNvCxnSpPr>
          <p:nvPr/>
        </p:nvCxnSpPr>
        <p:spPr>
          <a:xfrm flipH="1" flipV="1">
            <a:off x="4418664" y="912246"/>
            <a:ext cx="509993" cy="26264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055783BB-F755-5665-5715-315AA7A0C34A}"/>
              </a:ext>
            </a:extLst>
          </p:cNvPr>
          <p:cNvCxnSpPr>
            <a:stCxn id="210" idx="3"/>
            <a:endCxn id="244" idx="6"/>
          </p:cNvCxnSpPr>
          <p:nvPr/>
        </p:nvCxnSpPr>
        <p:spPr>
          <a:xfrm flipH="1">
            <a:off x="4418664" y="1413666"/>
            <a:ext cx="509993" cy="26749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055A4CBC-E12F-18F4-C35B-8AB70DD3B6FB}"/>
              </a:ext>
            </a:extLst>
          </p:cNvPr>
          <p:cNvCxnSpPr>
            <a:stCxn id="244" idx="2"/>
            <a:endCxn id="10" idx="0"/>
          </p:cNvCxnSpPr>
          <p:nvPr/>
        </p:nvCxnSpPr>
        <p:spPr>
          <a:xfrm rot="10800000">
            <a:off x="1743313" y="1216561"/>
            <a:ext cx="1696393" cy="464600"/>
          </a:xfrm>
          <a:prstGeom prst="bentConnector4">
            <a:avLst>
              <a:gd name="adj1" fmla="val 17968"/>
              <a:gd name="adj2" fmla="val 163892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7867D3DA-122D-66C2-C5E4-9CF4A635483C}"/>
              </a:ext>
            </a:extLst>
          </p:cNvPr>
          <p:cNvCxnSpPr>
            <a:cxnSpLocks/>
            <a:stCxn id="243" idx="2"/>
          </p:cNvCxnSpPr>
          <p:nvPr/>
        </p:nvCxnSpPr>
        <p:spPr>
          <a:xfrm flipH="1" flipV="1">
            <a:off x="3111690" y="912245"/>
            <a:ext cx="353884" cy="1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A3649B85-D09D-EF58-1C4D-178A32D9DABA}"/>
              </a:ext>
            </a:extLst>
          </p:cNvPr>
          <p:cNvSpPr txBox="1"/>
          <p:nvPr/>
        </p:nvSpPr>
        <p:spPr>
          <a:xfrm>
            <a:off x="9519945" y="224535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A1FE60-94FB-4317-028B-DC0152866557}"/>
              </a:ext>
            </a:extLst>
          </p:cNvPr>
          <p:cNvSpPr txBox="1"/>
          <p:nvPr/>
        </p:nvSpPr>
        <p:spPr>
          <a:xfrm>
            <a:off x="10303233" y="2808345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7" name="Callout: Quad Arrow 6">
            <a:extLst>
              <a:ext uri="{FF2B5EF4-FFF2-40B4-BE49-F238E27FC236}">
                <a16:creationId xmlns:a16="http://schemas.microsoft.com/office/drawing/2014/main" id="{2B4A9D86-F60B-CAE8-0A03-506BEB6B3629}"/>
              </a:ext>
            </a:extLst>
          </p:cNvPr>
          <p:cNvSpPr/>
          <p:nvPr/>
        </p:nvSpPr>
        <p:spPr>
          <a:xfrm>
            <a:off x="9759520" y="2864443"/>
            <a:ext cx="227391" cy="176131"/>
          </a:xfrm>
          <a:prstGeom prst="quadArrowCallou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2F82B58-DC0F-13F9-FA31-CBF8A81BD385}"/>
              </a:ext>
            </a:extLst>
          </p:cNvPr>
          <p:cNvCxnSpPr>
            <a:cxnSpLocks/>
          </p:cNvCxnSpPr>
          <p:nvPr/>
        </p:nvCxnSpPr>
        <p:spPr>
          <a:xfrm>
            <a:off x="9969538" y="3078370"/>
            <a:ext cx="415586" cy="394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75F1884-D14B-2D04-C9AD-44804E13A470}"/>
              </a:ext>
            </a:extLst>
          </p:cNvPr>
          <p:cNvCxnSpPr>
            <a:cxnSpLocks/>
          </p:cNvCxnSpPr>
          <p:nvPr/>
        </p:nvCxnSpPr>
        <p:spPr>
          <a:xfrm flipV="1">
            <a:off x="9645717" y="2555823"/>
            <a:ext cx="0" cy="41058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217571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E760B5-87F0-5217-34D3-1BBA6231F0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AA18FFB-4142-E876-913A-CA96C003CDBC}"/>
              </a:ext>
            </a:extLst>
          </p:cNvPr>
          <p:cNvSpPr/>
          <p:nvPr/>
        </p:nvSpPr>
        <p:spPr>
          <a:xfrm>
            <a:off x="3465575" y="494677"/>
            <a:ext cx="1893400" cy="6895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dification for Design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2BEF363-5A1C-9A32-4E3A-538EAB91F972}"/>
              </a:ext>
            </a:extLst>
          </p:cNvPr>
          <p:cNvSpPr/>
          <p:nvPr/>
        </p:nvSpPr>
        <p:spPr>
          <a:xfrm>
            <a:off x="8252084" y="484678"/>
            <a:ext cx="1334125" cy="6895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mercial + Feasibility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78BAA7-A9E2-FE0C-24E3-9A7787CA5479}"/>
              </a:ext>
            </a:extLst>
          </p:cNvPr>
          <p:cNvSpPr/>
          <p:nvPr/>
        </p:nvSpPr>
        <p:spPr>
          <a:xfrm>
            <a:off x="5776209" y="509662"/>
            <a:ext cx="1334125" cy="6895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sign + Featur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1EF7858-7CFB-2985-40BE-2A6DECAF5FDB}"/>
              </a:ext>
            </a:extLst>
          </p:cNvPr>
          <p:cNvSpPr/>
          <p:nvPr/>
        </p:nvSpPr>
        <p:spPr>
          <a:xfrm>
            <a:off x="8439462" y="1858780"/>
            <a:ext cx="2173574" cy="689547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totype Development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AA51DDF-7B94-FBCC-463B-4847B1304EFE}"/>
              </a:ext>
            </a:extLst>
          </p:cNvPr>
          <p:cNvSpPr/>
          <p:nvPr/>
        </p:nvSpPr>
        <p:spPr>
          <a:xfrm>
            <a:off x="4779366" y="1843787"/>
            <a:ext cx="2173574" cy="689547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cceptance Chec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Channel/ Consumer/ Sales Team)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2738EFA-B6C2-5D22-43E6-ECFD694144EF}"/>
              </a:ext>
            </a:extLst>
          </p:cNvPr>
          <p:cNvSpPr/>
          <p:nvPr/>
        </p:nvSpPr>
        <p:spPr>
          <a:xfrm>
            <a:off x="1159238" y="1858779"/>
            <a:ext cx="997055" cy="689547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 or Buy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233FCC5-69A5-4D15-4620-F7AF304E76DE}"/>
              </a:ext>
            </a:extLst>
          </p:cNvPr>
          <p:cNvCxnSpPr>
            <a:cxnSpLocks/>
          </p:cNvCxnSpPr>
          <p:nvPr/>
        </p:nvCxnSpPr>
        <p:spPr>
          <a:xfrm>
            <a:off x="5330764" y="846934"/>
            <a:ext cx="466681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61E0189-347B-41DF-81E4-885F65C7C3F0}"/>
              </a:ext>
            </a:extLst>
          </p:cNvPr>
          <p:cNvCxnSpPr/>
          <p:nvPr/>
        </p:nvCxnSpPr>
        <p:spPr>
          <a:xfrm flipV="1">
            <a:off x="7110334" y="846931"/>
            <a:ext cx="1141750" cy="3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C077A065-0727-8FB3-3AD3-4CC73B23E3F8}"/>
              </a:ext>
            </a:extLst>
          </p:cNvPr>
          <p:cNvCxnSpPr>
            <a:cxnSpLocks/>
          </p:cNvCxnSpPr>
          <p:nvPr/>
        </p:nvCxnSpPr>
        <p:spPr>
          <a:xfrm rot="16200000" flipH="1">
            <a:off x="9355111" y="1090522"/>
            <a:ext cx="1514006" cy="1026827"/>
          </a:xfrm>
          <a:prstGeom prst="bentConnector4">
            <a:avLst>
              <a:gd name="adj1" fmla="val 0"/>
              <a:gd name="adj2" fmla="val 123723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171E917-3D24-BB11-2E78-4262EC19043C}"/>
              </a:ext>
            </a:extLst>
          </p:cNvPr>
          <p:cNvCxnSpPr>
            <a:cxnSpLocks/>
            <a:stCxn id="8" idx="1"/>
            <a:endCxn id="9" idx="3"/>
          </p:cNvCxnSpPr>
          <p:nvPr/>
        </p:nvCxnSpPr>
        <p:spPr>
          <a:xfrm flipH="1" flipV="1">
            <a:off x="6952940" y="2188561"/>
            <a:ext cx="1486522" cy="14993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8" name="Diamond 27">
            <a:extLst>
              <a:ext uri="{FF2B5EF4-FFF2-40B4-BE49-F238E27FC236}">
                <a16:creationId xmlns:a16="http://schemas.microsoft.com/office/drawing/2014/main" id="{5DE35887-390A-9159-8B54-10DE821BB4FF}"/>
              </a:ext>
            </a:extLst>
          </p:cNvPr>
          <p:cNvSpPr/>
          <p:nvPr/>
        </p:nvSpPr>
        <p:spPr>
          <a:xfrm>
            <a:off x="837278" y="3297836"/>
            <a:ext cx="1449051" cy="421359"/>
          </a:xfrm>
          <a:prstGeom prst="diamond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</a:t>
            </a:r>
          </a:p>
        </p:txBody>
      </p:sp>
      <p:sp>
        <p:nvSpPr>
          <p:cNvPr id="29" name="Diamond 28">
            <a:extLst>
              <a:ext uri="{FF2B5EF4-FFF2-40B4-BE49-F238E27FC236}">
                <a16:creationId xmlns:a16="http://schemas.microsoft.com/office/drawing/2014/main" id="{F9D30A18-134E-12A0-8FBC-BD8062CC5F7B}"/>
              </a:ext>
            </a:extLst>
          </p:cNvPr>
          <p:cNvSpPr/>
          <p:nvPr/>
        </p:nvSpPr>
        <p:spPr>
          <a:xfrm>
            <a:off x="3735380" y="3719195"/>
            <a:ext cx="1083471" cy="730763"/>
          </a:xfrm>
          <a:prstGeom prst="diamond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endor </a:t>
            </a:r>
            <a:r>
              <a:rPr kumimoji="0" lang="en-IN" sz="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vl</a:t>
            </a: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.</a:t>
            </a:r>
          </a:p>
        </p:txBody>
      </p:sp>
      <p:sp>
        <p:nvSpPr>
          <p:cNvPr id="30" name="Diamond 29">
            <a:extLst>
              <a:ext uri="{FF2B5EF4-FFF2-40B4-BE49-F238E27FC236}">
                <a16:creationId xmlns:a16="http://schemas.microsoft.com/office/drawing/2014/main" id="{0185552C-D02A-DFD6-CF4B-0F8C3924563B}"/>
              </a:ext>
            </a:extLst>
          </p:cNvPr>
          <p:cNvSpPr/>
          <p:nvPr/>
        </p:nvSpPr>
        <p:spPr>
          <a:xfrm>
            <a:off x="7325200" y="3627618"/>
            <a:ext cx="1109268" cy="1026829"/>
          </a:xfrm>
          <a:prstGeom prst="diamond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C Check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B3CCEDF-B71D-8586-6F24-D5D111F63F17}"/>
              </a:ext>
            </a:extLst>
          </p:cNvPr>
          <p:cNvSpPr/>
          <p:nvPr/>
        </p:nvSpPr>
        <p:spPr>
          <a:xfrm>
            <a:off x="2972426" y="3814990"/>
            <a:ext cx="653830" cy="6895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o for Bu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4B9396A-1AC8-93DF-FC74-04B6CE737AA3}"/>
              </a:ext>
            </a:extLst>
          </p:cNvPr>
          <p:cNvSpPr/>
          <p:nvPr/>
        </p:nvSpPr>
        <p:spPr>
          <a:xfrm>
            <a:off x="4634459" y="2863116"/>
            <a:ext cx="1334125" cy="5396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out + Develop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64AEDF9-CBC7-6EC8-1BD9-1A8BA1906987}"/>
              </a:ext>
            </a:extLst>
          </p:cNvPr>
          <p:cNvCxnSpPr>
            <a:stCxn id="34" idx="3"/>
          </p:cNvCxnSpPr>
          <p:nvPr/>
        </p:nvCxnSpPr>
        <p:spPr>
          <a:xfrm flipH="1" flipV="1">
            <a:off x="5861151" y="3132939"/>
            <a:ext cx="107433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63F09AB5-EA37-3063-02A1-628861C92B34}"/>
              </a:ext>
            </a:extLst>
          </p:cNvPr>
          <p:cNvCxnSpPr>
            <a:cxnSpLocks/>
          </p:cNvCxnSpPr>
          <p:nvPr/>
        </p:nvCxnSpPr>
        <p:spPr>
          <a:xfrm rot="16200000" flipV="1">
            <a:off x="7628553" y="3051155"/>
            <a:ext cx="1326992" cy="824429"/>
          </a:xfrm>
          <a:prstGeom prst="bentConnector3">
            <a:avLst>
              <a:gd name="adj1" fmla="val 100395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65A5EB02-466E-CAAD-FAB4-70925E36DB22}"/>
              </a:ext>
            </a:extLst>
          </p:cNvPr>
          <p:cNvSpPr/>
          <p:nvPr/>
        </p:nvSpPr>
        <p:spPr>
          <a:xfrm>
            <a:off x="1067087" y="4905068"/>
            <a:ext cx="1140487" cy="47123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delling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D671C41-40D2-3EF8-65DD-36A58C861D79}"/>
              </a:ext>
            </a:extLst>
          </p:cNvPr>
          <p:cNvSpPr/>
          <p:nvPr/>
        </p:nvSpPr>
        <p:spPr>
          <a:xfrm>
            <a:off x="1075559" y="5782067"/>
            <a:ext cx="1143138" cy="482872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QC + Sample Approval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CD4BA9D-84A6-0FFB-87C0-A578F90E60A5}"/>
              </a:ext>
            </a:extLst>
          </p:cNvPr>
          <p:cNvSpPr/>
          <p:nvPr/>
        </p:nvSpPr>
        <p:spPr>
          <a:xfrm>
            <a:off x="2888161" y="5793702"/>
            <a:ext cx="1218055" cy="47123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ial Casting (SW)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0F99275-BF64-84BC-7CF3-9CC48A485394}"/>
              </a:ext>
            </a:extLst>
          </p:cNvPr>
          <p:cNvSpPr/>
          <p:nvPr/>
        </p:nvSpPr>
        <p:spPr>
          <a:xfrm>
            <a:off x="4714606" y="5782067"/>
            <a:ext cx="1232316" cy="47123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lock Making (SW)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9428E5C-5461-DC3F-3AD6-F53F3C4F323F}"/>
              </a:ext>
            </a:extLst>
          </p:cNvPr>
          <p:cNvSpPr/>
          <p:nvPr/>
        </p:nvSpPr>
        <p:spPr>
          <a:xfrm>
            <a:off x="6743077" y="5766970"/>
            <a:ext cx="1334125" cy="47123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ould Production (SW)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EB0E445-994A-42E6-3B39-A1929660D72F}"/>
              </a:ext>
            </a:extLst>
          </p:cNvPr>
          <p:cNvSpPr/>
          <p:nvPr/>
        </p:nvSpPr>
        <p:spPr>
          <a:xfrm>
            <a:off x="8870547" y="5766971"/>
            <a:ext cx="1334125" cy="591252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mercial Trial Casting + Product Signoff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062254-578B-36ED-02E7-F6166225CA4E}"/>
              </a:ext>
            </a:extLst>
          </p:cNvPr>
          <p:cNvSpPr/>
          <p:nvPr/>
        </p:nvSpPr>
        <p:spPr>
          <a:xfrm>
            <a:off x="10682524" y="5766969"/>
            <a:ext cx="1087252" cy="671915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e-Cast block making and drying (SW)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F4AD10F-F5FB-69C8-1748-2AFFB64FB919}"/>
              </a:ext>
            </a:extLst>
          </p:cNvPr>
          <p:cNvSpPr/>
          <p:nvPr/>
        </p:nvSpPr>
        <p:spPr>
          <a:xfrm>
            <a:off x="11090722" y="4911052"/>
            <a:ext cx="848492" cy="541928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ulk Mould Production and drying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9E2F2F08-2CD0-044A-E5D7-E0E389D9E9F0}"/>
              </a:ext>
            </a:extLst>
          </p:cNvPr>
          <p:cNvCxnSpPr>
            <a:cxnSpLocks/>
            <a:endCxn id="40" idx="0"/>
          </p:cNvCxnSpPr>
          <p:nvPr/>
        </p:nvCxnSpPr>
        <p:spPr>
          <a:xfrm>
            <a:off x="1344279" y="6302235"/>
            <a:ext cx="0" cy="1604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3916659C-8380-5A14-C6FE-1D881567DA29}"/>
              </a:ext>
            </a:extLst>
          </p:cNvPr>
          <p:cNvCxnSpPr>
            <a:cxnSpLocks/>
            <a:stCxn id="101" idx="3"/>
          </p:cNvCxnSpPr>
          <p:nvPr/>
        </p:nvCxnSpPr>
        <p:spPr>
          <a:xfrm flipV="1">
            <a:off x="5946922" y="6002587"/>
            <a:ext cx="806773" cy="1509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FF940C1E-04CC-CF9A-B09F-AF6ADE6B6151}"/>
              </a:ext>
            </a:extLst>
          </p:cNvPr>
          <p:cNvCxnSpPr>
            <a:cxnSpLocks/>
            <a:stCxn id="100" idx="3"/>
            <a:endCxn id="101" idx="1"/>
          </p:cNvCxnSpPr>
          <p:nvPr/>
        </p:nvCxnSpPr>
        <p:spPr>
          <a:xfrm flipV="1">
            <a:off x="4106216" y="6017686"/>
            <a:ext cx="608390" cy="116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F76704FB-9534-0C61-AF82-3CFF3A072814}"/>
              </a:ext>
            </a:extLst>
          </p:cNvPr>
          <p:cNvCxnSpPr>
            <a:cxnSpLocks/>
          </p:cNvCxnSpPr>
          <p:nvPr/>
        </p:nvCxnSpPr>
        <p:spPr>
          <a:xfrm flipV="1">
            <a:off x="8077713" y="6002587"/>
            <a:ext cx="806773" cy="1509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0380572F-F6E6-44E1-177F-3DCC42800406}"/>
              </a:ext>
            </a:extLst>
          </p:cNvPr>
          <p:cNvCxnSpPr>
            <a:cxnSpLocks/>
          </p:cNvCxnSpPr>
          <p:nvPr/>
        </p:nvCxnSpPr>
        <p:spPr>
          <a:xfrm rot="10800000">
            <a:off x="2207574" y="5376306"/>
            <a:ext cx="2098978" cy="633833"/>
          </a:xfrm>
          <a:prstGeom prst="bentConnector3">
            <a:avLst>
              <a:gd name="adj1" fmla="val -220"/>
            </a:avLst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5" name="Connector: Elbow 194">
            <a:extLst>
              <a:ext uri="{FF2B5EF4-FFF2-40B4-BE49-F238E27FC236}">
                <a16:creationId xmlns:a16="http://schemas.microsoft.com/office/drawing/2014/main" id="{6437E579-41BF-BF87-2EB2-EB791EA757CA}"/>
              </a:ext>
            </a:extLst>
          </p:cNvPr>
          <p:cNvCxnSpPr>
            <a:endCxn id="101" idx="0"/>
          </p:cNvCxnSpPr>
          <p:nvPr/>
        </p:nvCxnSpPr>
        <p:spPr>
          <a:xfrm rot="10800000">
            <a:off x="5330764" y="5782068"/>
            <a:ext cx="3254436" cy="228069"/>
          </a:xfrm>
          <a:prstGeom prst="bentConnector4">
            <a:avLst>
              <a:gd name="adj1" fmla="val -943"/>
              <a:gd name="adj2" fmla="val 200233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8" name="TextBox 197">
            <a:extLst>
              <a:ext uri="{FF2B5EF4-FFF2-40B4-BE49-F238E27FC236}">
                <a16:creationId xmlns:a16="http://schemas.microsoft.com/office/drawing/2014/main" id="{5FB1B60C-54AC-BC99-DB35-7B8CC580F73F}"/>
              </a:ext>
            </a:extLst>
          </p:cNvPr>
          <p:cNvSpPr txBox="1"/>
          <p:nvPr/>
        </p:nvSpPr>
        <p:spPr>
          <a:xfrm>
            <a:off x="7325200" y="2402172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A80A6933-CB29-88E6-D1DC-2473A194065C}"/>
              </a:ext>
            </a:extLst>
          </p:cNvPr>
          <p:cNvSpPr txBox="1"/>
          <p:nvPr/>
        </p:nvSpPr>
        <p:spPr>
          <a:xfrm rot="16200000">
            <a:off x="8597319" y="2989980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D509BBA5-E524-A660-EEFF-B947C2FBEDF1}"/>
              </a:ext>
            </a:extLst>
          </p:cNvPr>
          <p:cNvSpPr txBox="1"/>
          <p:nvPr/>
        </p:nvSpPr>
        <p:spPr>
          <a:xfrm>
            <a:off x="3969275" y="3272492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249584AA-1F3E-36CE-3105-B7B773E34E5D}"/>
              </a:ext>
            </a:extLst>
          </p:cNvPr>
          <p:cNvSpPr txBox="1"/>
          <p:nvPr/>
        </p:nvSpPr>
        <p:spPr>
          <a:xfrm>
            <a:off x="4200108" y="4457125"/>
            <a:ext cx="4311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F4B9B115-AE85-CD73-8930-4799CFA417E1}"/>
              </a:ext>
            </a:extLst>
          </p:cNvPr>
          <p:cNvSpPr txBox="1"/>
          <p:nvPr/>
        </p:nvSpPr>
        <p:spPr>
          <a:xfrm>
            <a:off x="8238167" y="3837390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A6751F14-9796-71EC-A412-401574C61187}"/>
              </a:ext>
            </a:extLst>
          </p:cNvPr>
          <p:cNvSpPr txBox="1"/>
          <p:nvPr/>
        </p:nvSpPr>
        <p:spPr>
          <a:xfrm rot="16200000">
            <a:off x="2571833" y="3825768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6DACC862-5F34-7F6E-DF9B-93A3F3529C94}"/>
              </a:ext>
            </a:extLst>
          </p:cNvPr>
          <p:cNvSpPr txBox="1"/>
          <p:nvPr/>
        </p:nvSpPr>
        <p:spPr>
          <a:xfrm rot="5400000">
            <a:off x="1300585" y="4544387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3DBCDB1C-AB03-914A-E1BE-80ECFC1269B7}"/>
              </a:ext>
            </a:extLst>
          </p:cNvPr>
          <p:cNvSpPr txBox="1"/>
          <p:nvPr/>
        </p:nvSpPr>
        <p:spPr>
          <a:xfrm>
            <a:off x="2410309" y="5553597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71336F43-A84C-171B-BBE4-2B6A3939F5D1}"/>
              </a:ext>
            </a:extLst>
          </p:cNvPr>
          <p:cNvSpPr txBox="1"/>
          <p:nvPr/>
        </p:nvSpPr>
        <p:spPr>
          <a:xfrm>
            <a:off x="4264302" y="5516903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ADC74337-CAC1-E0BE-269B-1408CDC10AA6}"/>
              </a:ext>
            </a:extLst>
          </p:cNvPr>
          <p:cNvSpPr txBox="1"/>
          <p:nvPr/>
        </p:nvSpPr>
        <p:spPr>
          <a:xfrm>
            <a:off x="858614" y="6209834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0A46D7A7-F231-7AE9-7E41-B2FEF18FE48B}"/>
              </a:ext>
            </a:extLst>
          </p:cNvPr>
          <p:cNvSpPr txBox="1"/>
          <p:nvPr/>
        </p:nvSpPr>
        <p:spPr>
          <a:xfrm>
            <a:off x="4185845" y="6017685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44E1F303-547A-3659-1404-C09F54E62E1B}"/>
              </a:ext>
            </a:extLst>
          </p:cNvPr>
          <p:cNvSpPr txBox="1"/>
          <p:nvPr/>
        </p:nvSpPr>
        <p:spPr>
          <a:xfrm>
            <a:off x="6107775" y="603686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8002BDB9-B71F-DDCD-E544-685B2BBE078B}"/>
              </a:ext>
            </a:extLst>
          </p:cNvPr>
          <p:cNvSpPr txBox="1"/>
          <p:nvPr/>
        </p:nvSpPr>
        <p:spPr>
          <a:xfrm>
            <a:off x="8262758" y="6025236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858BCB59-1289-2FDE-66C5-97C120F50DA0}"/>
              </a:ext>
            </a:extLst>
          </p:cNvPr>
          <p:cNvSpPr txBox="1"/>
          <p:nvPr/>
        </p:nvSpPr>
        <p:spPr>
          <a:xfrm>
            <a:off x="10214211" y="603686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64720EE4-CDFF-981C-8E2A-74932231D4C1}"/>
              </a:ext>
            </a:extLst>
          </p:cNvPr>
          <p:cNvSpPr txBox="1"/>
          <p:nvPr/>
        </p:nvSpPr>
        <p:spPr>
          <a:xfrm>
            <a:off x="11260159" y="5424772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1DB795-8DA5-DFF3-280A-0E959204F78D}"/>
              </a:ext>
            </a:extLst>
          </p:cNvPr>
          <p:cNvSpPr/>
          <p:nvPr/>
        </p:nvSpPr>
        <p:spPr>
          <a:xfrm>
            <a:off x="199918" y="6462691"/>
            <a:ext cx="2288721" cy="25677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w Product Planning (NPP</a:t>
            </a: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) (Only Sanitary) + Indent Signoff (CP)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6451E54A-E71B-D667-A89C-97AD14F868ED}"/>
              </a:ext>
            </a:extLst>
          </p:cNvPr>
          <p:cNvCxnSpPr>
            <a:cxnSpLocks/>
            <a:endCxn id="260" idx="0"/>
          </p:cNvCxnSpPr>
          <p:nvPr/>
        </p:nvCxnSpPr>
        <p:spPr>
          <a:xfrm>
            <a:off x="1555393" y="3703597"/>
            <a:ext cx="6410" cy="33714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E69583BA-B475-9218-5580-EFB912D46626}"/>
              </a:ext>
            </a:extLst>
          </p:cNvPr>
          <p:cNvCxnSpPr>
            <a:cxnSpLocks/>
          </p:cNvCxnSpPr>
          <p:nvPr/>
        </p:nvCxnSpPr>
        <p:spPr>
          <a:xfrm>
            <a:off x="1434060" y="4391151"/>
            <a:ext cx="9243" cy="48947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49352188-C65F-AE5C-98DD-CFD16D1DE82F}"/>
              </a:ext>
            </a:extLst>
          </p:cNvPr>
          <p:cNvSpPr/>
          <p:nvPr/>
        </p:nvSpPr>
        <p:spPr>
          <a:xfrm>
            <a:off x="49048" y="5268147"/>
            <a:ext cx="728719" cy="76872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ster Mould + Tooling + Est. COGS</a:t>
            </a:r>
          </a:p>
        </p:txBody>
      </p: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6825E8C2-5F36-2FD6-23C0-A120B52EFFD3}"/>
              </a:ext>
            </a:extLst>
          </p:cNvPr>
          <p:cNvCxnSpPr>
            <a:cxnSpLocks/>
            <a:endCxn id="77" idx="0"/>
          </p:cNvCxnSpPr>
          <p:nvPr/>
        </p:nvCxnSpPr>
        <p:spPr>
          <a:xfrm rot="10800000" flipV="1">
            <a:off x="413409" y="5103751"/>
            <a:ext cx="662155" cy="164395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FC8550BD-1445-FBAC-E43C-27DD4B467010}"/>
              </a:ext>
            </a:extLst>
          </p:cNvPr>
          <p:cNvCxnSpPr>
            <a:cxnSpLocks/>
          </p:cNvCxnSpPr>
          <p:nvPr/>
        </p:nvCxnSpPr>
        <p:spPr>
          <a:xfrm>
            <a:off x="558800" y="6036868"/>
            <a:ext cx="516248" cy="97232"/>
          </a:xfrm>
          <a:prstGeom prst="bentConnector3">
            <a:avLst>
              <a:gd name="adj1" fmla="val -1661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1FD0047-28A3-794F-F0B8-54267AFD63F1}"/>
              </a:ext>
            </a:extLst>
          </p:cNvPr>
          <p:cNvSpPr/>
          <p:nvPr/>
        </p:nvSpPr>
        <p:spPr>
          <a:xfrm>
            <a:off x="9946571" y="2734317"/>
            <a:ext cx="915028" cy="498566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mercial Production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2C3CCB0-576E-E90C-08D5-80913439F678}"/>
              </a:ext>
            </a:extLst>
          </p:cNvPr>
          <p:cNvSpPr/>
          <p:nvPr/>
        </p:nvSpPr>
        <p:spPr>
          <a:xfrm>
            <a:off x="11213786" y="2737568"/>
            <a:ext cx="915028" cy="839449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orting and QC and dispatch</a:t>
            </a:r>
          </a:p>
        </p:txBody>
      </p: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A876CE89-558C-C719-9685-44B76F9EC39C}"/>
              </a:ext>
            </a:extLst>
          </p:cNvPr>
          <p:cNvCxnSpPr>
            <a:cxnSpLocks/>
          </p:cNvCxnSpPr>
          <p:nvPr/>
        </p:nvCxnSpPr>
        <p:spPr>
          <a:xfrm flipV="1">
            <a:off x="11671300" y="5475527"/>
            <a:ext cx="0" cy="29144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E1828681-422C-3FA2-D80D-A628AFD88AEC}"/>
              </a:ext>
            </a:extLst>
          </p:cNvPr>
          <p:cNvSpPr/>
          <p:nvPr/>
        </p:nvSpPr>
        <p:spPr>
          <a:xfrm>
            <a:off x="5113453" y="3740664"/>
            <a:ext cx="825681" cy="6008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 Selection + Sampling + Validation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AC378BC-9340-9DCF-F1EB-B8930019AC23}"/>
              </a:ext>
            </a:extLst>
          </p:cNvPr>
          <p:cNvSpPr/>
          <p:nvPr/>
        </p:nvSpPr>
        <p:spPr>
          <a:xfrm>
            <a:off x="6250898" y="3848824"/>
            <a:ext cx="1065261" cy="6008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dent Signoff (Operational documentation)</a:t>
            </a:r>
          </a:p>
        </p:txBody>
      </p: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A9592259-4BE9-3BC9-B870-0260E8FAADC9}"/>
              </a:ext>
            </a:extLst>
          </p:cNvPr>
          <p:cNvCxnSpPr>
            <a:cxnSpLocks/>
            <a:stCxn id="29" idx="0"/>
            <a:endCxn id="34" idx="1"/>
          </p:cNvCxnSpPr>
          <p:nvPr/>
        </p:nvCxnSpPr>
        <p:spPr>
          <a:xfrm rot="5400000" flipH="1" flipV="1">
            <a:off x="4162660" y="3247397"/>
            <a:ext cx="586255" cy="357343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D178B5E8-9793-CFCA-E85A-5609356CCB70}"/>
              </a:ext>
            </a:extLst>
          </p:cNvPr>
          <p:cNvCxnSpPr>
            <a:cxnSpLocks/>
          </p:cNvCxnSpPr>
          <p:nvPr/>
        </p:nvCxnSpPr>
        <p:spPr>
          <a:xfrm>
            <a:off x="3626256" y="4391151"/>
            <a:ext cx="47996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1" name="Connector: Elbow 130">
            <a:extLst>
              <a:ext uri="{FF2B5EF4-FFF2-40B4-BE49-F238E27FC236}">
                <a16:creationId xmlns:a16="http://schemas.microsoft.com/office/drawing/2014/main" id="{A9550C69-D000-1A1A-F7E4-F506D0B3BBD5}"/>
              </a:ext>
            </a:extLst>
          </p:cNvPr>
          <p:cNvCxnSpPr>
            <a:cxnSpLocks/>
            <a:stCxn id="81" idx="0"/>
            <a:endCxn id="83" idx="0"/>
          </p:cNvCxnSpPr>
          <p:nvPr/>
        </p:nvCxnSpPr>
        <p:spPr>
          <a:xfrm rot="16200000" flipH="1">
            <a:off x="6100831" y="3166127"/>
            <a:ext cx="108160" cy="1257235"/>
          </a:xfrm>
          <a:prstGeom prst="bentConnector3">
            <a:avLst>
              <a:gd name="adj1" fmla="val -211354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F0B7AE2-61A8-EC38-A7E9-12092D554BB0}"/>
              </a:ext>
            </a:extLst>
          </p:cNvPr>
          <p:cNvSpPr/>
          <p:nvPr/>
        </p:nvSpPr>
        <p:spPr>
          <a:xfrm>
            <a:off x="6556315" y="4659573"/>
            <a:ext cx="766377" cy="30845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</a:p>
        </p:txBody>
      </p: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BF806879-7729-0FCC-B19D-2CC0FCE43C67}"/>
              </a:ext>
            </a:extLst>
          </p:cNvPr>
          <p:cNvCxnSpPr>
            <a:cxnSpLocks/>
            <a:stCxn id="83" idx="2"/>
            <a:endCxn id="132" idx="1"/>
          </p:cNvCxnSpPr>
          <p:nvPr/>
        </p:nvCxnSpPr>
        <p:spPr>
          <a:xfrm rot="5400000">
            <a:off x="6487863" y="4518136"/>
            <a:ext cx="364118" cy="227214"/>
          </a:xfrm>
          <a:prstGeom prst="bentConnector4">
            <a:avLst>
              <a:gd name="adj1" fmla="val 28821"/>
              <a:gd name="adj2" fmla="val 200610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7" name="Connector: Elbow 136">
            <a:extLst>
              <a:ext uri="{FF2B5EF4-FFF2-40B4-BE49-F238E27FC236}">
                <a16:creationId xmlns:a16="http://schemas.microsoft.com/office/drawing/2014/main" id="{F771BC10-4F79-9E06-4065-964DB7105947}"/>
              </a:ext>
            </a:extLst>
          </p:cNvPr>
          <p:cNvCxnSpPr>
            <a:cxnSpLocks/>
            <a:stCxn id="132" idx="3"/>
            <a:endCxn id="30" idx="2"/>
          </p:cNvCxnSpPr>
          <p:nvPr/>
        </p:nvCxnSpPr>
        <p:spPr>
          <a:xfrm flipV="1">
            <a:off x="7322692" y="4654447"/>
            <a:ext cx="557142" cy="159355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95127133-E30F-8115-584A-E1514CF820E5}"/>
              </a:ext>
            </a:extLst>
          </p:cNvPr>
          <p:cNvSpPr txBox="1"/>
          <p:nvPr/>
        </p:nvSpPr>
        <p:spPr>
          <a:xfrm>
            <a:off x="6134178" y="3577017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BAF3E4C0-B4C7-AB07-E4EE-7A24D89C54EA}"/>
              </a:ext>
            </a:extLst>
          </p:cNvPr>
          <p:cNvSpPr txBox="1"/>
          <p:nvPr/>
        </p:nvSpPr>
        <p:spPr>
          <a:xfrm>
            <a:off x="6188462" y="476688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8AC42DD7-7C69-C05E-1487-0D50F5328A56}"/>
              </a:ext>
            </a:extLst>
          </p:cNvPr>
          <p:cNvSpPr txBox="1"/>
          <p:nvPr/>
        </p:nvSpPr>
        <p:spPr>
          <a:xfrm>
            <a:off x="7380223" y="456082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A305CDF1-0472-0803-8D24-45C1B6A44EAD}"/>
              </a:ext>
            </a:extLst>
          </p:cNvPr>
          <p:cNvSpPr/>
          <p:nvPr/>
        </p:nvSpPr>
        <p:spPr>
          <a:xfrm>
            <a:off x="4548798" y="4480962"/>
            <a:ext cx="931755" cy="47096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ample Availability + Estimate  COGS</a:t>
            </a:r>
          </a:p>
        </p:txBody>
      </p:sp>
      <p:cxnSp>
        <p:nvCxnSpPr>
          <p:cNvPr id="152" name="Connector: Elbow 151">
            <a:extLst>
              <a:ext uri="{FF2B5EF4-FFF2-40B4-BE49-F238E27FC236}">
                <a16:creationId xmlns:a16="http://schemas.microsoft.com/office/drawing/2014/main" id="{D7D164AC-A57F-85CC-C1B9-C636D8DF1222}"/>
              </a:ext>
            </a:extLst>
          </p:cNvPr>
          <p:cNvCxnSpPr>
            <a:endCxn id="150" idx="1"/>
          </p:cNvCxnSpPr>
          <p:nvPr/>
        </p:nvCxnSpPr>
        <p:spPr>
          <a:xfrm>
            <a:off x="4264302" y="4477353"/>
            <a:ext cx="284496" cy="239091"/>
          </a:xfrm>
          <a:prstGeom prst="bentConnector3">
            <a:avLst>
              <a:gd name="adj1" fmla="val -3568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17EC9A55-A8D1-B459-270C-E2BA8C25F74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399112" y="4458368"/>
            <a:ext cx="493668" cy="293695"/>
          </a:xfrm>
          <a:prstGeom prst="bentConnector3">
            <a:avLst>
              <a:gd name="adj1" fmla="val -1452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7" name="TextBox 156">
            <a:extLst>
              <a:ext uri="{FF2B5EF4-FFF2-40B4-BE49-F238E27FC236}">
                <a16:creationId xmlns:a16="http://schemas.microsoft.com/office/drawing/2014/main" id="{6550AD3F-9A46-6298-290B-1B4CA70003F9}"/>
              </a:ext>
            </a:extLst>
          </p:cNvPr>
          <p:cNvSpPr txBox="1"/>
          <p:nvPr/>
        </p:nvSpPr>
        <p:spPr>
          <a:xfrm>
            <a:off x="5423320" y="4575050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BC57813F-D554-733B-A0B5-75EB5CADB6F7}"/>
              </a:ext>
            </a:extLst>
          </p:cNvPr>
          <p:cNvSpPr txBox="1"/>
          <p:nvPr/>
        </p:nvSpPr>
        <p:spPr>
          <a:xfrm rot="16200000">
            <a:off x="1445735" y="3720027"/>
            <a:ext cx="4608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194D1A9C-611E-935F-6AF0-DCCD94F62034}"/>
              </a:ext>
            </a:extLst>
          </p:cNvPr>
          <p:cNvSpPr/>
          <p:nvPr/>
        </p:nvSpPr>
        <p:spPr>
          <a:xfrm>
            <a:off x="2879630" y="4898918"/>
            <a:ext cx="1171889" cy="31201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velop + Validate</a:t>
            </a:r>
          </a:p>
        </p:txBody>
      </p:sp>
      <p:cxnSp>
        <p:nvCxnSpPr>
          <p:cNvPr id="165" name="Connector: Elbow 164">
            <a:extLst>
              <a:ext uri="{FF2B5EF4-FFF2-40B4-BE49-F238E27FC236}">
                <a16:creationId xmlns:a16="http://schemas.microsoft.com/office/drawing/2014/main" id="{FF1F247C-27C3-6023-317B-EF469835F495}"/>
              </a:ext>
            </a:extLst>
          </p:cNvPr>
          <p:cNvCxnSpPr>
            <a:cxnSpLocks/>
            <a:endCxn id="159" idx="0"/>
          </p:cNvCxnSpPr>
          <p:nvPr/>
        </p:nvCxnSpPr>
        <p:spPr>
          <a:xfrm rot="10800000" flipV="1">
            <a:off x="3465575" y="4792200"/>
            <a:ext cx="1064426" cy="106718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7" name="TextBox 166">
            <a:extLst>
              <a:ext uri="{FF2B5EF4-FFF2-40B4-BE49-F238E27FC236}">
                <a16:creationId xmlns:a16="http://schemas.microsoft.com/office/drawing/2014/main" id="{0BD9181D-6671-DF28-B85D-A22CFB4C2426}"/>
              </a:ext>
            </a:extLst>
          </p:cNvPr>
          <p:cNvSpPr txBox="1"/>
          <p:nvPr/>
        </p:nvSpPr>
        <p:spPr>
          <a:xfrm>
            <a:off x="3572298" y="4567778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cxnSp>
        <p:nvCxnSpPr>
          <p:cNvPr id="171" name="Connector: Elbow 170">
            <a:extLst>
              <a:ext uri="{FF2B5EF4-FFF2-40B4-BE49-F238E27FC236}">
                <a16:creationId xmlns:a16="http://schemas.microsoft.com/office/drawing/2014/main" id="{55E01D56-F443-63A7-7150-8411019EB69F}"/>
              </a:ext>
            </a:extLst>
          </p:cNvPr>
          <p:cNvCxnSpPr>
            <a:cxnSpLocks/>
            <a:stCxn id="159" idx="3"/>
          </p:cNvCxnSpPr>
          <p:nvPr/>
        </p:nvCxnSpPr>
        <p:spPr>
          <a:xfrm flipV="1">
            <a:off x="4051519" y="4324161"/>
            <a:ext cx="2160657" cy="730763"/>
          </a:xfrm>
          <a:prstGeom prst="bentConnector3">
            <a:avLst>
              <a:gd name="adj1" fmla="val 90557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0" name="Connector: Elbow 179">
            <a:extLst>
              <a:ext uri="{FF2B5EF4-FFF2-40B4-BE49-F238E27FC236}">
                <a16:creationId xmlns:a16="http://schemas.microsoft.com/office/drawing/2014/main" id="{44F6CFE2-BB6D-707D-4611-2451A68384B4}"/>
              </a:ext>
            </a:extLst>
          </p:cNvPr>
          <p:cNvCxnSpPr>
            <a:endCxn id="150" idx="0"/>
          </p:cNvCxnSpPr>
          <p:nvPr/>
        </p:nvCxnSpPr>
        <p:spPr>
          <a:xfrm rot="5400000">
            <a:off x="4800486" y="3950684"/>
            <a:ext cx="744468" cy="316088"/>
          </a:xfrm>
          <a:prstGeom prst="bentConnector3">
            <a:avLst>
              <a:gd name="adj1" fmla="val -21648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20CD89E8-614D-F9E5-6A06-B6E85F542D77}"/>
              </a:ext>
            </a:extLst>
          </p:cNvPr>
          <p:cNvSpPr txBox="1"/>
          <p:nvPr/>
        </p:nvSpPr>
        <p:spPr>
          <a:xfrm>
            <a:off x="5007537" y="3539509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DAD81AB7-8AF4-541F-9122-541BCF7D8E9C}"/>
              </a:ext>
            </a:extLst>
          </p:cNvPr>
          <p:cNvCxnSpPr/>
          <p:nvPr/>
        </p:nvCxnSpPr>
        <p:spPr>
          <a:xfrm>
            <a:off x="4945928" y="3429000"/>
            <a:ext cx="0" cy="107553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7" name="TextBox 186">
            <a:extLst>
              <a:ext uri="{FF2B5EF4-FFF2-40B4-BE49-F238E27FC236}">
                <a16:creationId xmlns:a16="http://schemas.microsoft.com/office/drawing/2014/main" id="{1370D9FD-878A-BBBC-7BEF-D3286500DC55}"/>
              </a:ext>
            </a:extLst>
          </p:cNvPr>
          <p:cNvSpPr txBox="1"/>
          <p:nvPr/>
        </p:nvSpPr>
        <p:spPr>
          <a:xfrm rot="16200000">
            <a:off x="4572049" y="3563644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A07035F4-6831-0047-B80C-449269358790}"/>
              </a:ext>
            </a:extLst>
          </p:cNvPr>
          <p:cNvSpPr txBox="1"/>
          <p:nvPr/>
        </p:nvSpPr>
        <p:spPr>
          <a:xfrm rot="5400000">
            <a:off x="10828326" y="1359928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EEDF8ADF-E1D9-8DCE-F32F-A93E7FAFAF8C}"/>
              </a:ext>
            </a:extLst>
          </p:cNvPr>
          <p:cNvSpPr/>
          <p:nvPr/>
        </p:nvSpPr>
        <p:spPr>
          <a:xfrm>
            <a:off x="10986448" y="287523"/>
            <a:ext cx="1030200" cy="541928"/>
          </a:xfrm>
          <a:prstGeom prst="ellipse">
            <a:avLst/>
          </a:prstGeom>
          <a:solidFill>
            <a:srgbClr val="F5555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nd of Project</a:t>
            </a:r>
          </a:p>
        </p:txBody>
      </p: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6D27D2CC-FE33-6160-110D-213DDA0F3070}"/>
              </a:ext>
            </a:extLst>
          </p:cNvPr>
          <p:cNvCxnSpPr>
            <a:cxnSpLocks/>
            <a:endCxn id="189" idx="2"/>
          </p:cNvCxnSpPr>
          <p:nvPr/>
        </p:nvCxnSpPr>
        <p:spPr>
          <a:xfrm>
            <a:off x="9609011" y="549102"/>
            <a:ext cx="1377437" cy="938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4" name="TextBox 193">
            <a:extLst>
              <a:ext uri="{FF2B5EF4-FFF2-40B4-BE49-F238E27FC236}">
                <a16:creationId xmlns:a16="http://schemas.microsoft.com/office/drawing/2014/main" id="{4D8B6EB8-20C7-CDF3-190F-97D11A61486E}"/>
              </a:ext>
            </a:extLst>
          </p:cNvPr>
          <p:cNvSpPr txBox="1"/>
          <p:nvPr/>
        </p:nvSpPr>
        <p:spPr>
          <a:xfrm>
            <a:off x="9959818" y="296485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cxnSp>
        <p:nvCxnSpPr>
          <p:cNvPr id="258" name="Connector: Elbow 257">
            <a:extLst>
              <a:ext uri="{FF2B5EF4-FFF2-40B4-BE49-F238E27FC236}">
                <a16:creationId xmlns:a16="http://schemas.microsoft.com/office/drawing/2014/main" id="{4088E423-FA9C-797F-940B-2A365C6C09BF}"/>
              </a:ext>
            </a:extLst>
          </p:cNvPr>
          <p:cNvCxnSpPr>
            <a:cxnSpLocks/>
            <a:stCxn id="28" idx="3"/>
            <a:endCxn id="31" idx="1"/>
          </p:cNvCxnSpPr>
          <p:nvPr/>
        </p:nvCxnSpPr>
        <p:spPr>
          <a:xfrm>
            <a:off x="2286329" y="3508516"/>
            <a:ext cx="686097" cy="651248"/>
          </a:xfrm>
          <a:prstGeom prst="bentConnector3">
            <a:avLst>
              <a:gd name="adj1" fmla="val 57404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60" name="Rectangle 259">
            <a:extLst>
              <a:ext uri="{FF2B5EF4-FFF2-40B4-BE49-F238E27FC236}">
                <a16:creationId xmlns:a16="http://schemas.microsoft.com/office/drawing/2014/main" id="{04345746-C287-2CEA-6E4B-BD2D6D08452D}"/>
              </a:ext>
            </a:extLst>
          </p:cNvPr>
          <p:cNvSpPr/>
          <p:nvPr/>
        </p:nvSpPr>
        <p:spPr>
          <a:xfrm>
            <a:off x="818195" y="4040741"/>
            <a:ext cx="1487216" cy="39090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 design + Estimate COGS</a:t>
            </a:r>
          </a:p>
        </p:txBody>
      </p:sp>
      <p:cxnSp>
        <p:nvCxnSpPr>
          <p:cNvPr id="270" name="Connector: Elbow 269">
            <a:extLst>
              <a:ext uri="{FF2B5EF4-FFF2-40B4-BE49-F238E27FC236}">
                <a16:creationId xmlns:a16="http://schemas.microsoft.com/office/drawing/2014/main" id="{ED3418B4-DE37-B788-E6DD-0AA45BBA5DE1}"/>
              </a:ext>
            </a:extLst>
          </p:cNvPr>
          <p:cNvCxnSpPr>
            <a:cxnSpLocks/>
            <a:stCxn id="99" idx="3"/>
          </p:cNvCxnSpPr>
          <p:nvPr/>
        </p:nvCxnSpPr>
        <p:spPr>
          <a:xfrm flipH="1" flipV="1">
            <a:off x="2129849" y="5376305"/>
            <a:ext cx="88848" cy="647198"/>
          </a:xfrm>
          <a:prstGeom prst="bentConnector4">
            <a:avLst>
              <a:gd name="adj1" fmla="val -257293"/>
              <a:gd name="adj2" fmla="val 68652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2" name="Connector: Elbow 271">
            <a:extLst>
              <a:ext uri="{FF2B5EF4-FFF2-40B4-BE49-F238E27FC236}">
                <a16:creationId xmlns:a16="http://schemas.microsoft.com/office/drawing/2014/main" id="{090A203E-4B79-B5AD-5221-018DABE43D42}"/>
              </a:ext>
            </a:extLst>
          </p:cNvPr>
          <p:cNvCxnSpPr>
            <a:stCxn id="40" idx="3"/>
            <a:endCxn id="100" idx="2"/>
          </p:cNvCxnSpPr>
          <p:nvPr/>
        </p:nvCxnSpPr>
        <p:spPr>
          <a:xfrm flipV="1">
            <a:off x="2488639" y="6264939"/>
            <a:ext cx="1008550" cy="326139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73" name="TextBox 272">
            <a:extLst>
              <a:ext uri="{FF2B5EF4-FFF2-40B4-BE49-F238E27FC236}">
                <a16:creationId xmlns:a16="http://schemas.microsoft.com/office/drawing/2014/main" id="{EB6EDC50-1386-D915-897A-0B191DE24A80}"/>
              </a:ext>
            </a:extLst>
          </p:cNvPr>
          <p:cNvSpPr txBox="1"/>
          <p:nvPr/>
        </p:nvSpPr>
        <p:spPr>
          <a:xfrm>
            <a:off x="2700723" y="6368479"/>
            <a:ext cx="509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</a:t>
            </a:r>
          </a:p>
        </p:txBody>
      </p:sp>
      <p:cxnSp>
        <p:nvCxnSpPr>
          <p:cNvPr id="279" name="Connector: Elbow 278">
            <a:extLst>
              <a:ext uri="{FF2B5EF4-FFF2-40B4-BE49-F238E27FC236}">
                <a16:creationId xmlns:a16="http://schemas.microsoft.com/office/drawing/2014/main" id="{BA1A3745-3E1E-068E-2EF8-DFAC4DC270EF}"/>
              </a:ext>
            </a:extLst>
          </p:cNvPr>
          <p:cNvCxnSpPr>
            <a:cxnSpLocks/>
          </p:cNvCxnSpPr>
          <p:nvPr/>
        </p:nvCxnSpPr>
        <p:spPr>
          <a:xfrm flipV="1">
            <a:off x="2488639" y="6427534"/>
            <a:ext cx="7396961" cy="291931"/>
          </a:xfrm>
          <a:prstGeom prst="bentConnector3">
            <a:avLst>
              <a:gd name="adj1" fmla="val 100001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82" name="TextBox 281">
            <a:extLst>
              <a:ext uri="{FF2B5EF4-FFF2-40B4-BE49-F238E27FC236}">
                <a16:creationId xmlns:a16="http://schemas.microsoft.com/office/drawing/2014/main" id="{A24D4DB4-3B8A-7CD8-7F1E-AFB154D66320}"/>
              </a:ext>
            </a:extLst>
          </p:cNvPr>
          <p:cNvSpPr txBox="1"/>
          <p:nvPr/>
        </p:nvSpPr>
        <p:spPr>
          <a:xfrm>
            <a:off x="6138943" y="6442466"/>
            <a:ext cx="10872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 (For CP)</a:t>
            </a:r>
          </a:p>
        </p:txBody>
      </p:sp>
      <p:sp>
        <p:nvSpPr>
          <p:cNvPr id="283" name="Oval 282">
            <a:extLst>
              <a:ext uri="{FF2B5EF4-FFF2-40B4-BE49-F238E27FC236}">
                <a16:creationId xmlns:a16="http://schemas.microsoft.com/office/drawing/2014/main" id="{E36F4C4B-2D56-0FEF-61BE-6CFE526B0E68}"/>
              </a:ext>
            </a:extLst>
          </p:cNvPr>
          <p:cNvSpPr/>
          <p:nvPr/>
        </p:nvSpPr>
        <p:spPr>
          <a:xfrm>
            <a:off x="8697310" y="4968031"/>
            <a:ext cx="1188290" cy="50165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alidation</a:t>
            </a:r>
          </a:p>
        </p:txBody>
      </p:sp>
      <p:cxnSp>
        <p:nvCxnSpPr>
          <p:cNvPr id="285" name="Straight Arrow Connector 284">
            <a:extLst>
              <a:ext uri="{FF2B5EF4-FFF2-40B4-BE49-F238E27FC236}">
                <a16:creationId xmlns:a16="http://schemas.microsoft.com/office/drawing/2014/main" id="{6D3262D6-F7FB-A419-5CED-A681F2C98732}"/>
              </a:ext>
            </a:extLst>
          </p:cNvPr>
          <p:cNvCxnSpPr/>
          <p:nvPr/>
        </p:nvCxnSpPr>
        <p:spPr>
          <a:xfrm flipV="1">
            <a:off x="9144000" y="5475527"/>
            <a:ext cx="0" cy="29144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7" name="Connector: Elbow 286">
            <a:extLst>
              <a:ext uri="{FF2B5EF4-FFF2-40B4-BE49-F238E27FC236}">
                <a16:creationId xmlns:a16="http://schemas.microsoft.com/office/drawing/2014/main" id="{8E22C888-3DAC-F2DC-92CF-0226BFB439F3}"/>
              </a:ext>
            </a:extLst>
          </p:cNvPr>
          <p:cNvCxnSpPr>
            <a:cxnSpLocks/>
          </p:cNvCxnSpPr>
          <p:nvPr/>
        </p:nvCxnSpPr>
        <p:spPr>
          <a:xfrm flipV="1">
            <a:off x="9277678" y="4631743"/>
            <a:ext cx="423289" cy="322258"/>
          </a:xfrm>
          <a:prstGeom prst="bentConnector3">
            <a:avLst>
              <a:gd name="adj1" fmla="val 2274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0" name="TextBox 289">
            <a:extLst>
              <a:ext uri="{FF2B5EF4-FFF2-40B4-BE49-F238E27FC236}">
                <a16:creationId xmlns:a16="http://schemas.microsoft.com/office/drawing/2014/main" id="{AE5ECBF8-17BF-191F-FADF-C3D55C24B07A}"/>
              </a:ext>
            </a:extLst>
          </p:cNvPr>
          <p:cNvSpPr txBox="1"/>
          <p:nvPr/>
        </p:nvSpPr>
        <p:spPr>
          <a:xfrm rot="16200000">
            <a:off x="8761142" y="4524020"/>
            <a:ext cx="79778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 (For CP)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7E2ACCDF-451F-4C0F-0C85-9B1577371428}"/>
              </a:ext>
            </a:extLst>
          </p:cNvPr>
          <p:cNvSpPr txBox="1"/>
          <p:nvPr/>
        </p:nvSpPr>
        <p:spPr>
          <a:xfrm>
            <a:off x="9092949" y="5543167"/>
            <a:ext cx="9002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Yes (For CP)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24A20E07-4E41-CBA5-91FC-1095C937694A}"/>
              </a:ext>
            </a:extLst>
          </p:cNvPr>
          <p:cNvSpPr txBox="1"/>
          <p:nvPr/>
        </p:nvSpPr>
        <p:spPr>
          <a:xfrm>
            <a:off x="6617392" y="5339374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cxnSp>
        <p:nvCxnSpPr>
          <p:cNvPr id="299" name="Straight Arrow Connector 298">
            <a:extLst>
              <a:ext uri="{FF2B5EF4-FFF2-40B4-BE49-F238E27FC236}">
                <a16:creationId xmlns:a16="http://schemas.microsoft.com/office/drawing/2014/main" id="{1C1C0994-3790-3193-2B73-F797130BE2B0}"/>
              </a:ext>
            </a:extLst>
          </p:cNvPr>
          <p:cNvCxnSpPr/>
          <p:nvPr/>
        </p:nvCxnSpPr>
        <p:spPr>
          <a:xfrm>
            <a:off x="10214211" y="6002587"/>
            <a:ext cx="468313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A4A95470-CF95-9F16-D037-AF4DFC3E0BFA}"/>
              </a:ext>
            </a:extLst>
          </p:cNvPr>
          <p:cNvCxnSpPr>
            <a:cxnSpLocks/>
          </p:cNvCxnSpPr>
          <p:nvPr/>
        </p:nvCxnSpPr>
        <p:spPr>
          <a:xfrm rot="16200000" flipV="1">
            <a:off x="6176539" y="1985956"/>
            <a:ext cx="2683863" cy="697853"/>
          </a:xfrm>
          <a:prstGeom prst="bentConnector3">
            <a:avLst>
              <a:gd name="adj1" fmla="val 99834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29576AE8-9921-3F0D-D574-C8A953DBF68F}"/>
              </a:ext>
            </a:extLst>
          </p:cNvPr>
          <p:cNvCxnSpPr>
            <a:endCxn id="34" idx="3"/>
          </p:cNvCxnSpPr>
          <p:nvPr/>
        </p:nvCxnSpPr>
        <p:spPr>
          <a:xfrm flipH="1">
            <a:off x="5968584" y="3128479"/>
            <a:ext cx="1877735" cy="446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D04B9047-CEB4-485B-3BB7-E5802945EC0C}"/>
              </a:ext>
            </a:extLst>
          </p:cNvPr>
          <p:cNvCxnSpPr>
            <a:cxnSpLocks/>
            <a:stCxn id="74" idx="3"/>
          </p:cNvCxnSpPr>
          <p:nvPr/>
        </p:nvCxnSpPr>
        <p:spPr>
          <a:xfrm flipV="1">
            <a:off x="2207574" y="4449684"/>
            <a:ext cx="744777" cy="691003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07F2612F-A7D3-75F3-71E0-B34418A14EC9}"/>
              </a:ext>
            </a:extLst>
          </p:cNvPr>
          <p:cNvSpPr txBox="1"/>
          <p:nvPr/>
        </p:nvSpPr>
        <p:spPr>
          <a:xfrm rot="16200000">
            <a:off x="2233056" y="4654447"/>
            <a:ext cx="390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D34268F-23C7-197E-1861-BB54C6F7C463}"/>
              </a:ext>
            </a:extLst>
          </p:cNvPr>
          <p:cNvSpPr/>
          <p:nvPr/>
        </p:nvSpPr>
        <p:spPr>
          <a:xfrm>
            <a:off x="9695287" y="4204135"/>
            <a:ext cx="1564872" cy="57189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 evaluation through market survey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EA4FDF7A-0D8C-C190-F948-607B563D3A93}"/>
              </a:ext>
            </a:extLst>
          </p:cNvPr>
          <p:cNvCxnSpPr>
            <a:cxnSpLocks/>
            <a:stCxn id="106" idx="3"/>
          </p:cNvCxnSpPr>
          <p:nvPr/>
        </p:nvCxnSpPr>
        <p:spPr>
          <a:xfrm>
            <a:off x="10861599" y="2983600"/>
            <a:ext cx="35218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7839F2B9-1882-DA06-8EB0-2569ACB3350C}"/>
              </a:ext>
            </a:extLst>
          </p:cNvPr>
          <p:cNvCxnSpPr>
            <a:stCxn id="10" idx="1"/>
          </p:cNvCxnSpPr>
          <p:nvPr/>
        </p:nvCxnSpPr>
        <p:spPr>
          <a:xfrm rot="10800000" flipV="1">
            <a:off x="1159238" y="2203553"/>
            <a:ext cx="12700" cy="1199210"/>
          </a:xfrm>
          <a:prstGeom prst="bentConnector4">
            <a:avLst>
              <a:gd name="adj1" fmla="val 2134890"/>
              <a:gd name="adj2" fmla="val 64375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2C6911C-F92D-78E3-1F83-37E69C263134}"/>
              </a:ext>
            </a:extLst>
          </p:cNvPr>
          <p:cNvSpPr/>
          <p:nvPr/>
        </p:nvSpPr>
        <p:spPr>
          <a:xfrm>
            <a:off x="2801300" y="1858779"/>
            <a:ext cx="1304915" cy="689546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PP/ Indent – </a:t>
            </a:r>
            <a:r>
              <a:rPr kumimoji="0" lang="en-I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gt</a:t>
            </a: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Cost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958CA26-6F55-F291-E487-8F633C79CC61}"/>
              </a:ext>
            </a:extLst>
          </p:cNvPr>
          <p:cNvCxnSpPr/>
          <p:nvPr/>
        </p:nvCxnSpPr>
        <p:spPr>
          <a:xfrm flipH="1">
            <a:off x="4118297" y="2203554"/>
            <a:ext cx="67315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F15F093F-8D29-BB0F-ED21-1556B5637C4E}"/>
              </a:ext>
            </a:extLst>
          </p:cNvPr>
          <p:cNvCxnSpPr/>
          <p:nvPr/>
        </p:nvCxnSpPr>
        <p:spPr>
          <a:xfrm flipH="1">
            <a:off x="2156293" y="2188561"/>
            <a:ext cx="64500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F16F0020-EBD5-6495-A764-F30AE8800BFE}"/>
              </a:ext>
            </a:extLst>
          </p:cNvPr>
          <p:cNvCxnSpPr>
            <a:stCxn id="30" idx="3"/>
            <a:endCxn id="62" idx="1"/>
          </p:cNvCxnSpPr>
          <p:nvPr/>
        </p:nvCxnSpPr>
        <p:spPr>
          <a:xfrm>
            <a:off x="8434468" y="4141033"/>
            <a:ext cx="1260819" cy="349049"/>
          </a:xfrm>
          <a:prstGeom prst="bentConnector3">
            <a:avLst>
              <a:gd name="adj1" fmla="val 74456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79DDA2C0-1009-10C7-9560-0F16818711B3}"/>
              </a:ext>
            </a:extLst>
          </p:cNvPr>
          <p:cNvCxnSpPr>
            <a:stCxn id="105" idx="1"/>
            <a:endCxn id="62" idx="2"/>
          </p:cNvCxnSpPr>
          <p:nvPr/>
        </p:nvCxnSpPr>
        <p:spPr>
          <a:xfrm rot="10800000">
            <a:off x="10477724" y="4776028"/>
            <a:ext cx="612999" cy="405988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84C6FF3C-1EBE-C36E-2873-6D7EF978DA4E}"/>
              </a:ext>
            </a:extLst>
          </p:cNvPr>
          <p:cNvSpPr/>
          <p:nvPr/>
        </p:nvSpPr>
        <p:spPr>
          <a:xfrm>
            <a:off x="9258898" y="3466233"/>
            <a:ext cx="1727837" cy="498566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ustomer or Employee End user feedback</a:t>
            </a:r>
          </a:p>
        </p:txBody>
      </p: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67C8B95A-CDE6-125B-6BE0-F2C5124AB033}"/>
              </a:ext>
            </a:extLst>
          </p:cNvPr>
          <p:cNvCxnSpPr>
            <a:cxnSpLocks/>
            <a:stCxn id="62" idx="3"/>
            <a:endCxn id="52" idx="3"/>
          </p:cNvCxnSpPr>
          <p:nvPr/>
        </p:nvCxnSpPr>
        <p:spPr>
          <a:xfrm flipH="1" flipV="1">
            <a:off x="10986735" y="3715516"/>
            <a:ext cx="273424" cy="774566"/>
          </a:xfrm>
          <a:prstGeom prst="bentConnector3">
            <a:avLst>
              <a:gd name="adj1" fmla="val -83606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0B8CAFA6-0F91-5C09-F668-A490B77B0EC4}"/>
              </a:ext>
            </a:extLst>
          </p:cNvPr>
          <p:cNvCxnSpPr>
            <a:cxnSpLocks/>
            <a:stCxn id="52" idx="1"/>
          </p:cNvCxnSpPr>
          <p:nvPr/>
        </p:nvCxnSpPr>
        <p:spPr>
          <a:xfrm rot="10800000" flipH="1">
            <a:off x="9258898" y="2932984"/>
            <a:ext cx="630272" cy="782532"/>
          </a:xfrm>
          <a:prstGeom prst="bentConnector4">
            <a:avLst>
              <a:gd name="adj1" fmla="val -36270"/>
              <a:gd name="adj2" fmla="val 99896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6985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4C7308-1335-FEFC-0E12-FE7430E918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" name="Chart 1">
                <a:extLst>
                  <a:ext uri="{FF2B5EF4-FFF2-40B4-BE49-F238E27FC236}">
                    <a16:creationId xmlns:a16="http://schemas.microsoft.com/office/drawing/2014/main" id="{6819E48D-9D58-ECD1-1994-E148C35470F8}"/>
                  </a:ext>
                </a:extLst>
              </p:cNvPr>
              <p:cNvGraphicFramePr/>
              <p:nvPr/>
            </p:nvGraphicFramePr>
            <p:xfrm>
              <a:off x="4137285" y="1004340"/>
              <a:ext cx="8054715" cy="585365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2" name="Chart 1">
                <a:extLst>
                  <a:ext uri="{FF2B5EF4-FFF2-40B4-BE49-F238E27FC236}">
                    <a16:creationId xmlns:a16="http://schemas.microsoft.com/office/drawing/2014/main" id="{6819E48D-9D58-ECD1-1994-E148C35470F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137285" y="1004340"/>
                <a:ext cx="8054715" cy="5853659"/>
              </a:xfrm>
              <a:prstGeom prst="rect">
                <a:avLst/>
              </a:prstGeom>
            </p:spPr>
          </p:pic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41B63FC3-7212-6610-1B41-D97F50153D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37842"/>
            <a:ext cx="4252686" cy="4182316"/>
          </a:xfrm>
          <a:prstGeom prst="rect">
            <a:avLst/>
          </a:prstGeom>
        </p:spPr>
      </p:pic>
      <p:sp>
        <p:nvSpPr>
          <p:cNvPr id="5" name="Title 1"/>
          <p:cNvSpPr txBox="1"/>
          <p:nvPr/>
        </p:nvSpPr>
        <p:spPr>
          <a:xfrm>
            <a:off x="102235" y="205586"/>
            <a:ext cx="10515600" cy="6841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j-ea"/>
                <a:cs typeface="+mj-cs"/>
              </a:rPr>
              <a:t>Pareto Chart Free SKU SW (Cont.) (Breakup of 27.87 Cr.)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0D363EF-E15D-E950-1A4E-8485FC600776}"/>
              </a:ext>
            </a:extLst>
          </p:cNvPr>
          <p:cNvSpPr/>
          <p:nvPr/>
        </p:nvSpPr>
        <p:spPr>
          <a:xfrm>
            <a:off x="4766872" y="1848067"/>
            <a:ext cx="1903751" cy="4598762"/>
          </a:xfrm>
          <a:prstGeom prst="ellipse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  <a:prstDash val="dash"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AA8157E-4EFC-6BED-DAB9-AE9B8F2ABCF6}"/>
              </a:ext>
            </a:extLst>
          </p:cNvPr>
          <p:cNvSpPr/>
          <p:nvPr/>
        </p:nvSpPr>
        <p:spPr>
          <a:xfrm>
            <a:off x="2982607" y="1738860"/>
            <a:ext cx="1469472" cy="824460"/>
          </a:xfrm>
          <a:prstGeom prst="ellipse">
            <a:avLst/>
          </a:prstGeom>
          <a:noFill/>
          <a:ln cmpd="sng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70068537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3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AD9EB66-0C90-1E79-02C0-C53D93AD1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60BCD21-B882-5C29-17BB-146C646AA91D}"/>
              </a:ext>
            </a:extLst>
          </p:cNvPr>
          <p:cNvSpPr txBox="1"/>
          <p:nvPr/>
        </p:nvSpPr>
        <p:spPr>
          <a:xfrm>
            <a:off x="2116076" y="363146"/>
            <a:ext cx="7402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</a:rPr>
              <a:t>                            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0DFF50-8D17-C3AB-29C7-2FE9BABA2934}"/>
              </a:ext>
            </a:extLst>
          </p:cNvPr>
          <p:cNvSpPr txBox="1"/>
          <p:nvPr/>
        </p:nvSpPr>
        <p:spPr>
          <a:xfrm>
            <a:off x="4025591" y="2442116"/>
            <a:ext cx="53637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as Bold ITC" panose="020B0907030504020204" pitchFamily="34" charset="0"/>
                <a:ea typeface="+mn-ea"/>
                <a:cs typeface="+mn-cs"/>
              </a:rPr>
              <a:t>THANK YOU !</a:t>
            </a:r>
            <a:endParaRPr kumimoji="0" lang="en-IN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as Bold ITC" panose="020B0907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2792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940*463"/>
  <p:tag name="TABLE_ENDDRAG_RECT" val="8*68*940*46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Meaningful Template">
  <a:themeElements>
    <a:clrScheme name="Meaningful Template">
      <a:dk1>
        <a:srgbClr val="000000"/>
      </a:dk1>
      <a:lt1>
        <a:srgbClr val="FFFFFF"/>
      </a:lt1>
      <a:dk2>
        <a:srgbClr val="5E6970"/>
      </a:dk2>
      <a:lt2>
        <a:srgbClr val="FFFFFF"/>
      </a:lt2>
      <a:accent1>
        <a:srgbClr val="264653"/>
      </a:accent1>
      <a:accent2>
        <a:srgbClr val="2A9D8F"/>
      </a:accent2>
      <a:accent3>
        <a:srgbClr val="E9C46A"/>
      </a:accent3>
      <a:accent4>
        <a:srgbClr val="F4A261"/>
      </a:accent4>
      <a:accent5>
        <a:srgbClr val="E76F51"/>
      </a:accent5>
      <a:accent6>
        <a:srgbClr val="8D248D"/>
      </a:accent6>
      <a:hlink>
        <a:srgbClr val="2A9D8F"/>
      </a:hlink>
      <a:folHlink>
        <a:srgbClr val="000000"/>
      </a:folHlink>
    </a:clrScheme>
    <a:fontScheme name="Custom 77">
      <a:majorFont>
        <a:latin typeface="Open Sans"/>
        <a:ea typeface=""/>
        <a:cs typeface=""/>
      </a:majorFont>
      <a:minorFont>
        <a:latin typeface="Open Sans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Circuit">
  <a:themeElements>
    <a:clrScheme name="Circuit">
      <a:dk1>
        <a:sysClr val="windowText" lastClr="000000"/>
      </a:dk1>
      <a:lt1>
        <a:sysClr val="window" lastClr="FFFFFF"/>
      </a:lt1>
      <a:dk2>
        <a:srgbClr val="134770"/>
      </a:dk2>
      <a:lt2>
        <a:srgbClr val="82FFFF"/>
      </a:lt2>
      <a:accent1>
        <a:srgbClr val="9ACD4C"/>
      </a:accent1>
      <a:accent2>
        <a:srgbClr val="FAA93A"/>
      </a:accent2>
      <a:accent3>
        <a:srgbClr val="D35940"/>
      </a:accent3>
      <a:accent4>
        <a:srgbClr val="B258D3"/>
      </a:accent4>
      <a:accent5>
        <a:srgbClr val="63A0CC"/>
      </a:accent5>
      <a:accent6>
        <a:srgbClr val="8AC4A7"/>
      </a:accent6>
      <a:hlink>
        <a:srgbClr val="B8FA56"/>
      </a:hlink>
      <a:folHlink>
        <a:srgbClr val="7AF8CC"/>
      </a:folHlink>
    </a:clrScheme>
    <a:fontScheme name="Circui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ircuit">
      <a:fillStyleLst>
        <a:solidFill>
          <a:schemeClr val="phClr"/>
        </a:solidFill>
        <a:gradFill rotWithShape="1">
          <a:gsLst>
            <a:gs pos="0">
              <a:schemeClr val="phClr">
                <a:tint val="58000"/>
                <a:satMod val="108000"/>
                <a:lumMod val="110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040000" scaled="0"/>
        </a:gradFill>
        <a:gradFill rotWithShape="1">
          <a:gsLst>
            <a:gs pos="0">
              <a:schemeClr val="phClr">
                <a:tint val="94000"/>
                <a:satMod val="105000"/>
                <a:lumMod val="102000"/>
              </a:schemeClr>
            </a:gs>
            <a:gs pos="100000">
              <a:schemeClr val="phClr">
                <a:shade val="74000"/>
                <a:satMod val="128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94000"/>
                <a:satMod val="148000"/>
                <a:lumMod val="150000"/>
              </a:schemeClr>
            </a:gs>
            <a:gs pos="100000">
              <a:schemeClr val="phClr">
                <a:shade val="92000"/>
                <a:hueMod val="104000"/>
                <a:satMod val="140000"/>
                <a:lumMod val="68000"/>
              </a:schemeClr>
            </a:gs>
          </a:gsLst>
          <a:lin ang="5040000" scaled="0"/>
        </a:gradFill>
        <a:blipFill>
          <a:blip xmlns:r="http://schemas.openxmlformats.org/officeDocument/2006/relationships" r:embed="rId1">
            <a:duotone>
              <a:schemeClr val="phClr">
                <a:shade val="88000"/>
                <a:hueMod val="106000"/>
                <a:satMod val="140000"/>
                <a:lumMod val="54000"/>
              </a:schemeClr>
              <a:schemeClr val="phClr">
                <a:tint val="98000"/>
                <a:hueMod val="90000"/>
                <a:satMod val="150000"/>
                <a:lumMod val="16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rcuit" id="{0AC2F7E7-15F5-431C-B2A2-456FE929F56C}" vid="{0911B802-464C-4241-8DD9-B60FF88E379F}"/>
    </a:ext>
  </a:extLst>
</a:theme>
</file>

<file path=ppt/theme/theme11.xml><?xml version="1.0" encoding="utf-8"?>
<a:theme xmlns:a="http://schemas.openxmlformats.org/drawingml/2006/main" name="PebbleVTI">
  <a:themeElements>
    <a:clrScheme name="Blush 3">
      <a:dk1>
        <a:sysClr val="windowText" lastClr="000000"/>
      </a:dk1>
      <a:lt1>
        <a:sysClr val="window" lastClr="FFFFFF"/>
      </a:lt1>
      <a:dk2>
        <a:srgbClr val="B15E4E"/>
      </a:dk2>
      <a:lt2>
        <a:srgbClr val="FFFFFF"/>
      </a:lt2>
      <a:accent1>
        <a:srgbClr val="C5B096"/>
      </a:accent1>
      <a:accent2>
        <a:srgbClr val="ECA855"/>
      </a:accent2>
      <a:accent3>
        <a:srgbClr val="9BBFB0"/>
      </a:accent3>
      <a:accent4>
        <a:srgbClr val="A9AEA7"/>
      </a:accent4>
      <a:accent5>
        <a:srgbClr val="6A787C"/>
      </a:accent5>
      <a:accent6>
        <a:srgbClr val="3B4345"/>
      </a:accent6>
      <a:hlink>
        <a:srgbClr val="ECA855"/>
      </a:hlink>
      <a:folHlink>
        <a:srgbClr val="6A392F"/>
      </a:folHlink>
    </a:clrScheme>
    <a:fontScheme name="Custom 4">
      <a:majorFont>
        <a:latin typeface="Sitka Subheading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ebbleVTI" id="{8B4DB91D-6BB4-4BA3-973A-733D3AF2680E}" vid="{9A19CF0D-2077-4BF4-BAA5-86934C336D59}"/>
    </a:ext>
  </a:extLst>
</a:theme>
</file>

<file path=ppt/theme/theme12.xml><?xml version="1.0" encoding="utf-8"?>
<a:theme xmlns:a="http://schemas.openxmlformats.org/drawingml/2006/main" name="1_PebbleVTI">
  <a:themeElements>
    <a:clrScheme name="Blush 3">
      <a:dk1>
        <a:sysClr val="windowText" lastClr="000000"/>
      </a:dk1>
      <a:lt1>
        <a:sysClr val="window" lastClr="FFFFFF"/>
      </a:lt1>
      <a:dk2>
        <a:srgbClr val="B15E4E"/>
      </a:dk2>
      <a:lt2>
        <a:srgbClr val="FFFFFF"/>
      </a:lt2>
      <a:accent1>
        <a:srgbClr val="C5B096"/>
      </a:accent1>
      <a:accent2>
        <a:srgbClr val="ECA855"/>
      </a:accent2>
      <a:accent3>
        <a:srgbClr val="9BBFB0"/>
      </a:accent3>
      <a:accent4>
        <a:srgbClr val="A9AEA7"/>
      </a:accent4>
      <a:accent5>
        <a:srgbClr val="6A787C"/>
      </a:accent5>
      <a:accent6>
        <a:srgbClr val="3B4345"/>
      </a:accent6>
      <a:hlink>
        <a:srgbClr val="ECA855"/>
      </a:hlink>
      <a:folHlink>
        <a:srgbClr val="6A392F"/>
      </a:folHlink>
    </a:clrScheme>
    <a:fontScheme name="Custom 4">
      <a:majorFont>
        <a:latin typeface="Sitka Subheading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ebbleVTI" id="{8B4DB91D-6BB4-4BA3-973A-733D3AF2680E}" vid="{9A19CF0D-2077-4BF4-BAA5-86934C336D59}"/>
    </a:ext>
  </a:extLst>
</a:theme>
</file>

<file path=ppt/theme/theme1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4.xml><?xml version="1.0" encoding="utf-8"?>
<a:theme xmlns:a="http://schemas.openxmlformats.org/drawingml/2006/main" name="EY-P Widescreen Template 2024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blank.potx" id="{F9D865C9-BD0C-47F4-95BB-C626A26F52C8}" vid="{AA1FED9D-3B56-4544-8A9A-0239F13DB821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7_Office Theme">
  <a:themeElements>
    <a:clrScheme name="ThemeBMC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779B7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Тема Office">
  <a:themeElements>
    <a:clrScheme name="Proposal">
      <a:dk1>
        <a:srgbClr val="2A2833"/>
      </a:dk1>
      <a:lt1>
        <a:srgbClr val="FFFFFF"/>
      </a:lt1>
      <a:dk2>
        <a:srgbClr val="2A2834"/>
      </a:dk2>
      <a:lt2>
        <a:srgbClr val="FAFBFF"/>
      </a:lt2>
      <a:accent1>
        <a:srgbClr val="2BDEA7"/>
      </a:accent1>
      <a:accent2>
        <a:srgbClr val="088696"/>
      </a:accent2>
      <a:accent3>
        <a:srgbClr val="C6CED4"/>
      </a:accent3>
      <a:accent4>
        <a:srgbClr val="A0A6AB"/>
      </a:accent4>
      <a:accent5>
        <a:srgbClr val="7F8387"/>
      </a:accent5>
      <a:accent6>
        <a:srgbClr val="66666E"/>
      </a:accent6>
      <a:hlink>
        <a:srgbClr val="0AB2C8"/>
      </a:hlink>
      <a:folHlink>
        <a:srgbClr val="85DFD0"/>
      </a:folHlink>
    </a:clrScheme>
    <a:fontScheme name="Другая 5">
      <a:majorFont>
        <a:latin typeface="Source Serif Pro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Тема Office">
  <a:themeElements>
    <a:clrScheme name="Custom 17">
      <a:dk1>
        <a:srgbClr val="000000"/>
      </a:dk1>
      <a:lt1>
        <a:srgbClr val="FFFFFF"/>
      </a:lt1>
      <a:dk2>
        <a:srgbClr val="5E6970"/>
      </a:dk2>
      <a:lt2>
        <a:srgbClr val="FFFFFF"/>
      </a:lt2>
      <a:accent1>
        <a:srgbClr val="0074CF"/>
      </a:accent1>
      <a:accent2>
        <a:srgbClr val="E98300"/>
      </a:accent2>
      <a:accent3>
        <a:srgbClr val="00B299"/>
      </a:accent3>
      <a:accent4>
        <a:srgbClr val="F0AB00"/>
      </a:accent4>
      <a:accent5>
        <a:srgbClr val="009B3A"/>
      </a:accent5>
      <a:accent6>
        <a:srgbClr val="8D248D"/>
      </a:accent6>
      <a:hlink>
        <a:srgbClr val="0073CF"/>
      </a:hlink>
      <a:folHlink>
        <a:srgbClr val="394957"/>
      </a:folHlink>
    </a:clrScheme>
    <a:fontScheme name="Custom 57">
      <a:majorFont>
        <a:latin typeface="Montserrat "/>
        <a:ea typeface=""/>
        <a:cs typeface=""/>
      </a:majorFont>
      <a:minorFont>
        <a:latin typeface="Montserrat Light 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Office Theme">
  <a:themeElements>
    <a:clrScheme name="00 Main light">
      <a:dk1>
        <a:srgbClr val="414042"/>
      </a:dk1>
      <a:lt1>
        <a:sysClr val="window" lastClr="FFFFFF"/>
      </a:lt1>
      <a:dk2>
        <a:srgbClr val="58595B"/>
      </a:dk2>
      <a:lt2>
        <a:srgbClr val="FFFFFF"/>
      </a:lt2>
      <a:accent1>
        <a:srgbClr val="FE2635"/>
      </a:accent1>
      <a:accent2>
        <a:srgbClr val="FFD000"/>
      </a:accent2>
      <a:accent3>
        <a:srgbClr val="00CEE8"/>
      </a:accent3>
      <a:accent4>
        <a:srgbClr val="03A9F4"/>
      </a:accent4>
      <a:accent5>
        <a:srgbClr val="065381"/>
      </a:accent5>
      <a:accent6>
        <a:srgbClr val="BD114D"/>
      </a:accent6>
      <a:hlink>
        <a:srgbClr val="F33B48"/>
      </a:hlink>
      <a:folHlink>
        <a:srgbClr val="FFC000"/>
      </a:folHlink>
    </a:clrScheme>
    <a:fontScheme name="Другая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RocaVTI">
  <a:themeElements>
    <a:clrScheme name="Custom 101">
      <a:dk1>
        <a:sysClr val="windowText" lastClr="000000"/>
      </a:dk1>
      <a:lt1>
        <a:sysClr val="window" lastClr="FFFFFF"/>
      </a:lt1>
      <a:dk2>
        <a:srgbClr val="463443"/>
      </a:dk2>
      <a:lt2>
        <a:srgbClr val="F3F0E9"/>
      </a:lt2>
      <a:accent1>
        <a:srgbClr val="D45E5E"/>
      </a:accent1>
      <a:accent2>
        <a:srgbClr val="D49D8C"/>
      </a:accent2>
      <a:accent3>
        <a:srgbClr val="BF873A"/>
      </a:accent3>
      <a:accent4>
        <a:srgbClr val="C05050"/>
      </a:accent4>
      <a:accent5>
        <a:srgbClr val="A89F68"/>
      </a:accent5>
      <a:accent6>
        <a:srgbClr val="8F6B8A"/>
      </a:accent6>
      <a:hlink>
        <a:srgbClr val="D75681"/>
      </a:hlink>
      <a:folHlink>
        <a:srgbClr val="6C9D92"/>
      </a:folHlink>
    </a:clrScheme>
    <a:fontScheme name="Custom 36">
      <a:majorFont>
        <a:latin typeface="Georgia Pro Semibold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caVTI" id="{D79FE1D1-0489-4A69-8531-D0B8CDC31CBE}" vid="{CEBA7FE6-C04B-474E-964F-B022887AD13B}"/>
    </a:ext>
  </a:extLst>
</a:theme>
</file>

<file path=ppt/theme/theme8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9.xml><?xml version="1.0" encoding="utf-8"?>
<a:theme xmlns:a="http://schemas.openxmlformats.org/drawingml/2006/main" name="3_Office Theme">
  <a:themeElements>
    <a:clrScheme name="Custom 19">
      <a:dk1>
        <a:srgbClr val="272E3A"/>
      </a:dk1>
      <a:lt1>
        <a:sysClr val="window" lastClr="FFFFFF"/>
      </a:lt1>
      <a:dk2>
        <a:srgbClr val="272E3A"/>
      </a:dk2>
      <a:lt2>
        <a:srgbClr val="E7E6E6"/>
      </a:lt2>
      <a:accent1>
        <a:srgbClr val="33B6D2"/>
      </a:accent1>
      <a:accent2>
        <a:srgbClr val="3DA9CF"/>
      </a:accent2>
      <a:accent3>
        <a:srgbClr val="5390CB"/>
      </a:accent3>
      <a:accent4>
        <a:srgbClr val="6977C7"/>
      </a:accent4>
      <a:accent5>
        <a:srgbClr val="746BC5"/>
      </a:accent5>
      <a:accent6>
        <a:srgbClr val="5B51BB"/>
      </a:accent6>
      <a:hlink>
        <a:srgbClr val="FFE18B"/>
      </a:hlink>
      <a:folHlink>
        <a:srgbClr val="954F72"/>
      </a:folHlink>
    </a:clrScheme>
    <a:fontScheme name="Custom 48">
      <a:majorFont>
        <a:latin typeface="Montserrat"/>
        <a:ea typeface=""/>
        <a:cs typeface=""/>
      </a:majorFont>
      <a:minorFont>
        <a:latin typeface="Montserra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040</TotalTime>
  <Words>7147</Words>
  <Application>Microsoft Office PowerPoint</Application>
  <PresentationFormat>Widescreen</PresentationFormat>
  <Paragraphs>1763</Paragraphs>
  <Slides>90</Slides>
  <Notes>8</Notes>
  <HiddenSlides>5</HiddenSlides>
  <MMClips>0</MMClips>
  <ScaleCrop>false</ScaleCrop>
  <HeadingPairs>
    <vt:vector size="8" baseType="variant">
      <vt:variant>
        <vt:lpstr>Fonts Used</vt:lpstr>
      </vt:variant>
      <vt:variant>
        <vt:i4>35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0</vt:i4>
      </vt:variant>
    </vt:vector>
  </HeadingPairs>
  <TitlesOfParts>
    <vt:vector size="141" baseType="lpstr">
      <vt:lpstr>Amasis MT Pro Black</vt:lpstr>
      <vt:lpstr>Amazon Ember Display</vt:lpstr>
      <vt:lpstr>Aptos</vt:lpstr>
      <vt:lpstr>Aptos Display</vt:lpstr>
      <vt:lpstr>Aptos Narrow</vt:lpstr>
      <vt:lpstr>Arial</vt:lpstr>
      <vt:lpstr>Arial Narrow</vt:lpstr>
      <vt:lpstr>Avenir Next LT Pro</vt:lpstr>
      <vt:lpstr>Avenir Next LT Pro Light</vt:lpstr>
      <vt:lpstr>Calibri</vt:lpstr>
      <vt:lpstr>dt-line-business-01</vt:lpstr>
      <vt:lpstr>Eras Bold ITC</vt:lpstr>
      <vt:lpstr>EYInterstate Light</vt:lpstr>
      <vt:lpstr>Georgia Pro Semibold</vt:lpstr>
      <vt:lpstr>Josefin Sans</vt:lpstr>
      <vt:lpstr>Josefin Sans Thin</vt:lpstr>
      <vt:lpstr>Lato Light</vt:lpstr>
      <vt:lpstr>Lato Regular</vt:lpstr>
      <vt:lpstr>Mongolian Baiti</vt:lpstr>
      <vt:lpstr>Montserrat</vt:lpstr>
      <vt:lpstr>Montserrat Light</vt:lpstr>
      <vt:lpstr>Montserrat Light </vt:lpstr>
      <vt:lpstr>Montserrat SemiBold</vt:lpstr>
      <vt:lpstr>Open Sans</vt:lpstr>
      <vt:lpstr>Open Sans Light</vt:lpstr>
      <vt:lpstr>Roboto Black</vt:lpstr>
      <vt:lpstr>Roboto Condensed</vt:lpstr>
      <vt:lpstr>Roboto Light</vt:lpstr>
      <vt:lpstr>Rupee</vt:lpstr>
      <vt:lpstr>Segoe UI</vt:lpstr>
      <vt:lpstr>Sitka Subheading</vt:lpstr>
      <vt:lpstr>Tahoma</vt:lpstr>
      <vt:lpstr>Times New Roman</vt:lpstr>
      <vt:lpstr>Tw Cen MT</vt:lpstr>
      <vt:lpstr>Wingdings 3</vt:lpstr>
      <vt:lpstr>Meaningful Template</vt:lpstr>
      <vt:lpstr>7_Office Theme</vt:lpstr>
      <vt:lpstr>Office Theme</vt:lpstr>
      <vt:lpstr>Тема Office</vt:lpstr>
      <vt:lpstr>1_Тема Office</vt:lpstr>
      <vt:lpstr>1_Office Theme</vt:lpstr>
      <vt:lpstr>RocaVTI</vt:lpstr>
      <vt:lpstr>2_Office Theme</vt:lpstr>
      <vt:lpstr>3_Office Theme</vt:lpstr>
      <vt:lpstr>Circuit</vt:lpstr>
      <vt:lpstr>PebbleVTI</vt:lpstr>
      <vt:lpstr>1_PebbleVTI</vt:lpstr>
      <vt:lpstr>4_Office Theme</vt:lpstr>
      <vt:lpstr>EY-P Widescreen Template 2024</vt:lpstr>
      <vt:lpstr>think-cell Slide</vt:lpstr>
      <vt:lpstr>Worksheet</vt:lpstr>
      <vt:lpstr>PowerPoint Presentation</vt:lpstr>
      <vt:lpstr>PowerPoint Presentation</vt:lpstr>
      <vt:lpstr>PowerPoint Presentation</vt:lpstr>
      <vt:lpstr>Problem Statement</vt:lpstr>
      <vt:lpstr>SIPOC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ishbone Diagram</vt:lpstr>
      <vt:lpstr>Process Bottleneck</vt:lpstr>
      <vt:lpstr>PowerPoint Presentation</vt:lpstr>
      <vt:lpstr>PowerPoint Presentation</vt:lpstr>
      <vt:lpstr>PowerPoint Presentation</vt:lpstr>
      <vt:lpstr>PowerPoint Presentation</vt:lpstr>
      <vt:lpstr>Action Plan -Step 2 (Liquidation) </vt:lpstr>
      <vt:lpstr>PowerPoint Presentation</vt:lpstr>
      <vt:lpstr>PowerPoint Presentation</vt:lpstr>
      <vt:lpstr>D-Chain</vt:lpstr>
      <vt:lpstr>PowerPoint Presentation</vt:lpstr>
      <vt:lpstr>PowerPoint Presentation</vt:lpstr>
      <vt:lpstr>Types of methodologies</vt:lpstr>
      <vt:lpstr>EWC 1Pc [Trap type]</vt:lpstr>
      <vt:lpstr>Prediction Accuracy Comparis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quidation Summary</vt:lpstr>
      <vt:lpstr>PowerPoint Presentation</vt:lpstr>
      <vt:lpstr>PowerPoint Presentation</vt:lpstr>
      <vt:lpstr>PowerPoint Presentation</vt:lpstr>
      <vt:lpstr>WHY ?</vt:lpstr>
      <vt:lpstr>FROM BUSINESS PERSPECTIVE HOW INVENTORY MANAGEMENT CAN BE BENEFITED FROM  FLAG ?</vt:lpstr>
      <vt:lpstr>PowerPoint Presentation</vt:lpstr>
      <vt:lpstr>PowerPoint Presentation</vt:lpstr>
      <vt:lpstr>TIMELINE</vt:lpstr>
      <vt:lpstr>CAT CODES IMPLEMENTATION </vt:lpstr>
      <vt:lpstr>1.  1</vt:lpstr>
      <vt:lpstr> 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                PROJECT ACTION PLANS</vt:lpstr>
      <vt:lpstr>INVENTORY VELOCITY  (Stock Liquidation)</vt:lpstr>
      <vt:lpstr>Inventory Reduction (Overall: Sanitary and CP Stock)</vt:lpstr>
      <vt:lpstr>Inventory Reduction (Overall: Continued)</vt:lpstr>
      <vt:lpstr>Inventory Reduction (Overall: Continued) (SKU&gt;3 years)</vt:lpstr>
      <vt:lpstr>Inventory Reduction (Overall: Continued) (SKU: 2-3 years)</vt:lpstr>
      <vt:lpstr>Inventory Reduction (Overall: Continued) (SKU: 1-2 years)</vt:lpstr>
      <vt:lpstr>Inventory Reduction (Overall: Continued) (SKU: Within 1 years)</vt:lpstr>
      <vt:lpstr>Liquidation Summary (Overall Sale)</vt:lpstr>
      <vt:lpstr>Liquidation Sale (SKU&gt;3 years)</vt:lpstr>
      <vt:lpstr>Liquidation Sale (SKU&gt;3 years)</vt:lpstr>
      <vt:lpstr>Liquidation Sale (SKU: 2 to 3 years)</vt:lpstr>
      <vt:lpstr>Liquidation Sale (SKU: 1 to 2 years)</vt:lpstr>
      <vt:lpstr>Liquidation Sale (SKU: Within 1 years)</vt:lpstr>
      <vt:lpstr>Sales Team (Communication Sample)</vt:lpstr>
      <vt:lpstr>PowerPoint Presentation</vt:lpstr>
      <vt:lpstr>PowerPoint Presentation</vt:lpstr>
      <vt:lpstr>Make-Vs-Buy Decision Tre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upratim Sarkar</dc:creator>
  <cp:lastModifiedBy>Preety Chauhan</cp:lastModifiedBy>
  <cp:revision>50</cp:revision>
  <dcterms:created xsi:type="dcterms:W3CDTF">2025-04-08T07:09:22Z</dcterms:created>
  <dcterms:modified xsi:type="dcterms:W3CDTF">2025-11-16T10:31:07Z</dcterms:modified>
</cp:coreProperties>
</file>